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14.xml" ContentType="application/vnd.openxmlformats-officedocument.presentationml.tags+xml"/>
  <Override PartName="/ppt/notesSlides/notesSlide1.xml" ContentType="application/vnd.openxmlformats-officedocument.presentationml.notesSlide+xml"/>
  <Override PartName="/ppt/comments/modernComment_7FFFD87A_1CA49F50.xml" ContentType="application/vnd.ms-powerpoint.comments+xml"/>
  <Override PartName="/ppt/tags/tag115.xml" ContentType="application/vnd.openxmlformats-officedocument.presentationml.tags+xml"/>
  <Override PartName="/ppt/comments/modernComment_7FFFD973_38FE641F.xml" ContentType="application/vnd.ms-powerpoint.comments+xml"/>
  <Override PartName="/ppt/tags/tag116.xml" ContentType="application/vnd.openxmlformats-officedocument.presentationml.tags+xml"/>
  <Override PartName="/ppt/notesSlides/notesSlide2.xml" ContentType="application/vnd.openxmlformats-officedocument.presentationml.notesSlide+xml"/>
  <Override PartName="/ppt/tags/tag117.xml" ContentType="application/vnd.openxmlformats-officedocument.presentationml.tags+xml"/>
  <Override PartName="/ppt/notesSlides/notesSlide3.xml" ContentType="application/vnd.openxmlformats-officedocument.presentationml.notesSlide+xml"/>
  <Override PartName="/ppt/comments/modernComment_7FFFCD6A_6E76C52E.xml" ContentType="application/vnd.ms-powerpoint.comments+xml"/>
  <Override PartName="/ppt/notesSlides/notesSlide4.xml" ContentType="application/vnd.openxmlformats-officedocument.presentationml.notesSlide+xml"/>
  <Override PartName="/ppt/tags/tag118.xml" ContentType="application/vnd.openxmlformats-officedocument.presentationml.tags+xml"/>
  <Override PartName="/ppt/notesSlides/notesSlide5.xml" ContentType="application/vnd.openxmlformats-officedocument.presentationml.notesSlide+xml"/>
  <Override PartName="/ppt/comments/modernComment_7FFFD8BD_B38D12FA.xml" ContentType="application/vnd.ms-powerpoint.comments+xml"/>
  <Override PartName="/ppt/tags/tag119.xml" ContentType="application/vnd.openxmlformats-officedocument.presentationml.tags+xml"/>
  <Override PartName="/ppt/notesSlides/notesSlide6.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139.xml" ContentType="application/vnd.openxmlformats-officedocument.presentationml.tags+xml"/>
  <Override PartName="/ppt/notesSlides/notesSlide8.xml" ContentType="application/vnd.openxmlformats-officedocument.presentationml.notesSlide+xml"/>
  <Override PartName="/ppt/tags/tag140.xml" ContentType="application/vnd.openxmlformats-officedocument.presentationml.tags+xml"/>
  <Override PartName="/ppt/notesSlides/notesSlide9.xml" ContentType="application/vnd.openxmlformats-officedocument.presentationml.notesSlide+xml"/>
  <Override PartName="/ppt/tags/tag141.xml" ContentType="application/vnd.openxmlformats-officedocument.presentationml.tags+xml"/>
  <Override PartName="/ppt/notesSlides/notesSlide10.xml" ContentType="application/vnd.openxmlformats-officedocument.presentationml.notesSlide+xml"/>
  <Override PartName="/ppt/tags/tag142.xml" ContentType="application/vnd.openxmlformats-officedocument.presentationml.tags+xml"/>
  <Override PartName="/ppt/notesSlides/notesSlide11.xml" ContentType="application/vnd.openxmlformats-officedocument.presentationml.notesSlide+xml"/>
  <Override PartName="/ppt/tags/tag143.xml" ContentType="application/vnd.openxmlformats-officedocument.presentationml.tags+xml"/>
  <Override PartName="/ppt/notesSlides/notesSlide12.xml" ContentType="application/vnd.openxmlformats-officedocument.presentationml.notesSlide+xml"/>
  <Override PartName="/ppt/tags/tag144.xml" ContentType="application/vnd.openxmlformats-officedocument.presentationml.tags+xml"/>
  <Override PartName="/ppt/notesSlides/notesSlide13.xml" ContentType="application/vnd.openxmlformats-officedocument.presentationml.notesSlide+xml"/>
  <Override PartName="/ppt/tags/tag145.xml" ContentType="application/vnd.openxmlformats-officedocument.presentationml.tags+xml"/>
  <Override PartName="/ppt/notesSlides/notesSlide14.xml" ContentType="application/vnd.openxmlformats-officedocument.presentationml.notesSlide+xml"/>
  <Override PartName="/ppt/tags/tag146.xml" ContentType="application/vnd.openxmlformats-officedocument.presentationml.tags+xml"/>
  <Override PartName="/ppt/notesSlides/notesSlide15.xml" ContentType="application/vnd.openxmlformats-officedocument.presentationml.notesSlide+xml"/>
  <Override PartName="/ppt/tags/tag147.xml" ContentType="application/vnd.openxmlformats-officedocument.presentationml.tags+xml"/>
  <Override PartName="/ppt/notesSlides/notesSlide16.xml" ContentType="application/vnd.openxmlformats-officedocument.presentationml.notesSlide+xml"/>
  <Override PartName="/ppt/tags/tag148.xml" ContentType="application/vnd.openxmlformats-officedocument.presentationml.tags+xml"/>
  <Override PartName="/ppt/notesSlides/notesSlide17.xml" ContentType="application/vnd.openxmlformats-officedocument.presentationml.notesSlide+xml"/>
  <Override PartName="/ppt/comments/modernComment_7FFFD8BF_CCBBF258.xml" ContentType="application/vnd.ms-powerpoint.comments+xml"/>
  <Override PartName="/ppt/tags/tag149.xml" ContentType="application/vnd.openxmlformats-officedocument.presentationml.tags+xml"/>
  <Override PartName="/ppt/notesSlides/notesSlide18.xml" ContentType="application/vnd.openxmlformats-officedocument.presentationml.notesSlide+xml"/>
  <Override PartName="/ppt/tags/tag150.xml" ContentType="application/vnd.openxmlformats-officedocument.presentationml.tags+xml"/>
  <Override PartName="/ppt/notesSlides/notesSlide19.xml" ContentType="application/vnd.openxmlformats-officedocument.presentationml.notesSlide+xml"/>
  <Override PartName="/ppt/tags/tag151.xml" ContentType="application/vnd.openxmlformats-officedocument.presentationml.tags+xml"/>
  <Override PartName="/ppt/notesSlides/notesSlide20.xml" ContentType="application/vnd.openxmlformats-officedocument.presentationml.notesSlide+xml"/>
  <Override PartName="/ppt/tags/tag152.xml" ContentType="application/vnd.openxmlformats-officedocument.presentationml.tags+xml"/>
  <Override PartName="/ppt/notesSlides/notesSlide21.xml" ContentType="application/vnd.openxmlformats-officedocument.presentationml.notesSlide+xml"/>
  <Override PartName="/ppt/tags/tag15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54.xml" ContentType="application/vnd.openxmlformats-officedocument.presentationml.tags+xml"/>
  <Override PartName="/ppt/notesSlides/notesSlide24.xml" ContentType="application/vnd.openxmlformats-officedocument.presentationml.notesSlide+xml"/>
  <Override PartName="/ppt/comments/modernComment_7FFFD931_5C9D1904.xml" ContentType="application/vnd.ms-powerpoint.comments+xml"/>
  <Override PartName="/ppt/tags/tag155.xml" ContentType="application/vnd.openxmlformats-officedocument.presentationml.tags+xml"/>
  <Override PartName="/ppt/notesSlides/notesSlide25.xml" ContentType="application/vnd.openxmlformats-officedocument.presentationml.notesSlide+xml"/>
  <Override PartName="/ppt/comments/modernComment_7FFFF990_7B508653.xml" ContentType="application/vnd.ms-powerpoint.comments+xml"/>
  <Override PartName="/ppt/tags/tag156.xml" ContentType="application/vnd.openxmlformats-officedocument.presentationml.tags+xml"/>
  <Override PartName="/ppt/notesSlides/notesSlide26.xml" ContentType="application/vnd.openxmlformats-officedocument.presentationml.notesSlide+xml"/>
  <Override PartName="/ppt/tags/tag157.xml" ContentType="application/vnd.openxmlformats-officedocument.presentationml.tags+xml"/>
  <Override PartName="/ppt/notesSlides/notesSlide27.xml" ContentType="application/vnd.openxmlformats-officedocument.presentationml.notesSlide+xml"/>
  <Override PartName="/ppt/tags/tag15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59.xml" ContentType="application/vnd.openxmlformats-officedocument.presentationml.tags+xml"/>
  <Override PartName="/ppt/notesSlides/notesSlide31.xml" ContentType="application/vnd.openxmlformats-officedocument.presentationml.notesSlide+xml"/>
  <Override PartName="/ppt/tags/tag160.xml" ContentType="application/vnd.openxmlformats-officedocument.presentationml.tags+xml"/>
  <Override PartName="/ppt/notesSlides/notesSlide32.xml" ContentType="application/vnd.openxmlformats-officedocument.presentationml.notesSlide+xml"/>
  <Override PartName="/ppt/tags/tag161.xml" ContentType="application/vnd.openxmlformats-officedocument.presentationml.tags+xml"/>
  <Override PartName="/ppt/notesSlides/notesSlide33.xml" ContentType="application/vnd.openxmlformats-officedocument.presentationml.notesSlide+xml"/>
  <Override PartName="/ppt/tags/tag162.xml" ContentType="application/vnd.openxmlformats-officedocument.presentationml.tags+xml"/>
  <Override PartName="/ppt/notesSlides/notesSlide34.xml" ContentType="application/vnd.openxmlformats-officedocument.presentationml.notesSlide+xml"/>
  <Override PartName="/ppt/tags/tag163.xml" ContentType="application/vnd.openxmlformats-officedocument.presentationml.tags+xml"/>
  <Override PartName="/ppt/notesSlides/notesSlide35.xml" ContentType="application/vnd.openxmlformats-officedocument.presentationml.notesSlide+xml"/>
  <Override PartName="/ppt/comments/modernComment_7FFFF96F_57BB953.xml" ContentType="application/vnd.ms-powerpoint.comments+xml"/>
  <Override PartName="/ppt/tags/tag164.xml" ContentType="application/vnd.openxmlformats-officedocument.presentationml.tags+xml"/>
  <Override PartName="/ppt/notesSlides/notesSlide36.xml" ContentType="application/vnd.openxmlformats-officedocument.presentationml.notesSlide+xml"/>
  <Override PartName="/ppt/comments/modernComment_7FFFD921_B8D38E0B.xml" ContentType="application/vnd.ms-powerpoint.comments+xml"/>
  <Override PartName="/ppt/tags/tag165.xml" ContentType="application/vnd.openxmlformats-officedocument.presentationml.tags+xml"/>
  <Override PartName="/ppt/notesSlides/notesSlide37.xml" ContentType="application/vnd.openxmlformats-officedocument.presentationml.notesSlide+xml"/>
  <Override PartName="/ppt/tags/tag166.xml" ContentType="application/vnd.openxmlformats-officedocument.presentationml.tags+xml"/>
  <Override PartName="/ppt/notesSlides/notesSlide38.xml" ContentType="application/vnd.openxmlformats-officedocument.presentationml.notesSlide+xml"/>
  <Override PartName="/ppt/tags/tag167.xml" ContentType="application/vnd.openxmlformats-officedocument.presentationml.tags+xml"/>
  <Override PartName="/ppt/notesSlides/notesSlide39.xml" ContentType="application/vnd.openxmlformats-officedocument.presentationml.notesSlide+xml"/>
  <Override PartName="/ppt/comments/modernComment_7FFFD91D_58A7BBD6.xml" ContentType="application/vnd.ms-powerpoint.comments+xml"/>
  <Override PartName="/ppt/tags/tag168.xml" ContentType="application/vnd.openxmlformats-officedocument.presentationml.tags+xml"/>
  <Override PartName="/ppt/notesSlides/notesSlide40.xml" ContentType="application/vnd.openxmlformats-officedocument.presentationml.notesSlide+xml"/>
  <Override PartName="/ppt/tags/tag169.xml" ContentType="application/vnd.openxmlformats-officedocument.presentationml.tags+xml"/>
  <Override PartName="/ppt/notesSlides/notesSlide41.xml" ContentType="application/vnd.openxmlformats-officedocument.presentationml.notesSlide+xml"/>
  <Override PartName="/ppt/tags/tag170.xml" ContentType="application/vnd.openxmlformats-officedocument.presentationml.tags+xml"/>
  <Override PartName="/ppt/notesSlides/notesSlide42.xml" ContentType="application/vnd.openxmlformats-officedocument.presentationml.notesSlide+xml"/>
  <Override PartName="/ppt/tags/tag171.xml" ContentType="application/vnd.openxmlformats-officedocument.presentationml.tags+xml"/>
  <Override PartName="/ppt/notesSlides/notesSlide43.xml" ContentType="application/vnd.openxmlformats-officedocument.presentationml.notesSlide+xml"/>
  <Override PartName="/ppt/tags/tag172.xml" ContentType="application/vnd.openxmlformats-officedocument.presentationml.tags+xml"/>
  <Override PartName="/ppt/notesSlides/notesSlide44.xml" ContentType="application/vnd.openxmlformats-officedocument.presentationml.notesSlide+xml"/>
  <Override PartName="/ppt/comments/modernComment_7FFFD937_DC4BC6F1.xml" ContentType="application/vnd.ms-powerpoint.comments+xml"/>
  <Override PartName="/ppt/tags/tag173.xml" ContentType="application/vnd.openxmlformats-officedocument.presentationml.tags+xml"/>
  <Override PartName="/ppt/notesSlides/notesSlide45.xml" ContentType="application/vnd.openxmlformats-officedocument.presentationml.notesSlide+xml"/>
  <Override PartName="/ppt/tags/tag174.xml" ContentType="application/vnd.openxmlformats-officedocument.presentationml.tags+xml"/>
  <Override PartName="/ppt/notesSlides/notesSlide46.xml" ContentType="application/vnd.openxmlformats-officedocument.presentationml.notesSlide+xml"/>
  <Override PartName="/ppt/tags/tag175.xml" ContentType="application/vnd.openxmlformats-officedocument.presentationml.tags+xml"/>
  <Override PartName="/ppt/notesSlides/notesSlide4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76.xml" ContentType="application/vnd.openxmlformats-officedocument.presentationml.tags+xml"/>
  <Override PartName="/ppt/notesSlides/notesSlide48.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77.xml" ContentType="application/vnd.openxmlformats-officedocument.presentationml.tags+xml"/>
  <Override PartName="/ppt/notesSlides/notesSlide49.xml" ContentType="application/vnd.openxmlformats-officedocument.presentationml.notesSlide+xml"/>
  <Override PartName="/ppt/tags/tag178.xml" ContentType="application/vnd.openxmlformats-officedocument.presentationml.tags+xml"/>
  <Override PartName="/ppt/notesSlides/notesSlide50.xml" ContentType="application/vnd.openxmlformats-officedocument.presentationml.notesSlide+xml"/>
  <Override PartName="/ppt/tags/tag179.xml" ContentType="application/vnd.openxmlformats-officedocument.presentationml.tags+xml"/>
  <Override PartName="/ppt/notesSlides/notesSlide51.xml" ContentType="application/vnd.openxmlformats-officedocument.presentationml.notesSlide+xml"/>
  <Override PartName="/ppt/tags/tag180.xml" ContentType="application/vnd.openxmlformats-officedocument.presentationml.tags+xml"/>
  <Override PartName="/ppt/notesSlides/notesSlide52.xml" ContentType="application/vnd.openxmlformats-officedocument.presentationml.notesSlide+xml"/>
  <Override PartName="/ppt/comments/modernComment_7FFFF920_2EE847F2.xml" ContentType="application/vnd.ms-powerpoint.comments+xml"/>
  <Override PartName="/ppt/notesSlides/notesSlide53.xml" ContentType="application/vnd.openxmlformats-officedocument.presentationml.notesSlide+xml"/>
  <Override PartName="/ppt/comments/modernComment_7FFFD94B_63828397.xml" ContentType="application/vnd.ms-powerpoint.comments+xml"/>
  <Override PartName="/ppt/tags/tag181.xml" ContentType="application/vnd.openxmlformats-officedocument.presentationml.tags+xml"/>
  <Override PartName="/ppt/notesSlides/notesSlide54.xml" ContentType="application/vnd.openxmlformats-officedocument.presentationml.notesSlide+xml"/>
  <Override PartName="/ppt/tags/tag182.xml" ContentType="application/vnd.openxmlformats-officedocument.presentationml.tags+xml"/>
  <Override PartName="/ppt/notesSlides/notesSlide55.xml" ContentType="application/vnd.openxmlformats-officedocument.presentationml.notesSlide+xml"/>
  <Override PartName="/ppt/tags/tag183.xml" ContentType="application/vnd.openxmlformats-officedocument.presentationml.tags+xml"/>
  <Override PartName="/ppt/notesSlides/notesSlide56.xml" ContentType="application/vnd.openxmlformats-officedocument.presentationml.notesSlide+xml"/>
  <Override PartName="/ppt/tags/tag184.xml" ContentType="application/vnd.openxmlformats-officedocument.presentationml.tags+xml"/>
  <Override PartName="/ppt/notesSlides/notesSlide57.xml" ContentType="application/vnd.openxmlformats-officedocument.presentationml.notesSlide+xml"/>
  <Override PartName="/ppt/tags/tag185.xml" ContentType="application/vnd.openxmlformats-officedocument.presentationml.tags+xml"/>
  <Override PartName="/ppt/notesSlides/notesSlide58.xml" ContentType="application/vnd.openxmlformats-officedocument.presentationml.notesSlide+xml"/>
  <Override PartName="/ppt/tags/tag186.xml" ContentType="application/vnd.openxmlformats-officedocument.presentationml.tags+xml"/>
  <Override PartName="/ppt/notesSlides/notesSlide59.xml" ContentType="application/vnd.openxmlformats-officedocument.presentationml.notesSlide+xml"/>
  <Override PartName="/ppt/tags/tag187.xml" ContentType="application/vnd.openxmlformats-officedocument.presentationml.tags+xml"/>
  <Override PartName="/ppt/notesSlides/notesSlide60.xml" ContentType="application/vnd.openxmlformats-officedocument.presentationml.notesSlide+xml"/>
  <Override PartName="/ppt/tags/tag188.xml" ContentType="application/vnd.openxmlformats-officedocument.presentationml.tags+xml"/>
  <Override PartName="/ppt/notesSlides/notesSlide61.xml" ContentType="application/vnd.openxmlformats-officedocument.presentationml.notesSlide+xml"/>
  <Override PartName="/ppt/comments/modernComment_7FFFF949_2E361F5D.xml" ContentType="application/vnd.ms-powerpoint.comments+xml"/>
  <Override PartName="/ppt/tags/tag189.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190.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191.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comments/modernComment_7FFFD96B_5A06B0BD.xml" ContentType="application/vnd.ms-powerpoint.comments+xml"/>
  <Override PartName="/ppt/tags/tag192.xml" ContentType="application/vnd.openxmlformats-officedocument.presentationml.tags+xml"/>
  <Override PartName="/ppt/notesSlides/notesSlide70.xml" ContentType="application/vnd.openxmlformats-officedocument.presentationml.notesSlide+xml"/>
  <Override PartName="/ppt/tags/tag193.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ink/ink1.xml" ContentType="application/inkml+xml"/>
  <Override PartName="/ppt/notesSlides/notesSlide74.xml" ContentType="application/vnd.openxmlformats-officedocument.presentationml.notesSlide+xml"/>
  <Override PartName="/ppt/tags/tag194.xml" ContentType="application/vnd.openxmlformats-officedocument.presentationml.tags+xml"/>
  <Override PartName="/ppt/notesSlides/notesSlide75.xml" ContentType="application/vnd.openxmlformats-officedocument.presentationml.notesSlide+xml"/>
  <Override PartName="/ppt/tags/tag195.xml" ContentType="application/vnd.openxmlformats-officedocument.presentationml.tags+xml"/>
  <Override PartName="/ppt/notesSlides/notesSlide76.xml" ContentType="application/vnd.openxmlformats-officedocument.presentationml.notesSlide+xml"/>
  <Override PartName="/ppt/tags/tag196.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197.xml" ContentType="application/vnd.openxmlformats-officedocument.presentationml.tags+xml"/>
  <Override PartName="/ppt/notesSlides/notesSlide79.xml" ContentType="application/vnd.openxmlformats-officedocument.presentationml.notesSlide+xml"/>
  <Override PartName="/ppt/comments/modernComment_7FFFD96E_AD8EE829.xml" ContentType="application/vnd.ms-powerpoint.comments+xml"/>
  <Override PartName="/ppt/tags/tag198.xml" ContentType="application/vnd.openxmlformats-officedocument.presentationml.tags+xml"/>
  <Override PartName="/ppt/notesSlides/notesSlide80.xml" ContentType="application/vnd.openxmlformats-officedocument.presentationml.notesSlide+xml"/>
  <Override PartName="/ppt/tags/tag199.xml" ContentType="application/vnd.openxmlformats-officedocument.presentationml.tags+xml"/>
  <Override PartName="/ppt/notesSlides/notesSlide81.xml" ContentType="application/vnd.openxmlformats-officedocument.presentationml.notesSlide+xml"/>
  <Override PartName="/ppt/comments/modernComment_7FFFD96F_7835C621.xml" ContentType="application/vnd.ms-powerpoint.comments+xml"/>
  <Override PartName="/ppt/tags/tag200.xml" ContentType="application/vnd.openxmlformats-officedocument.presentationml.tags+xml"/>
  <Override PartName="/ppt/notesSlides/notesSlide82.xml" ContentType="application/vnd.openxmlformats-officedocument.presentationml.notesSlide+xml"/>
  <Override PartName="/ppt/tags/tag201.xml" ContentType="application/vnd.openxmlformats-officedocument.presentationml.tags+xml"/>
  <Override PartName="/ppt/notesSlides/notesSlide83.xml" ContentType="application/vnd.openxmlformats-officedocument.presentationml.notesSlide+xml"/>
  <Override PartName="/ppt/tags/tag202.xml" ContentType="application/vnd.openxmlformats-officedocument.presentationml.tags+xml"/>
  <Override PartName="/ppt/notesSlides/notesSlide84.xml" ContentType="application/vnd.openxmlformats-officedocument.presentationml.notesSlide+xml"/>
  <Override PartName="/ppt/tags/tag203.xml" ContentType="application/vnd.openxmlformats-officedocument.presentationml.tags+xml"/>
  <Override PartName="/ppt/notesSlides/notesSlide85.xml" ContentType="application/vnd.openxmlformats-officedocument.presentationml.notesSlide+xml"/>
  <Override PartName="/ppt/tags/tag204.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205.xml" ContentType="application/vnd.openxmlformats-officedocument.presentationml.tags+xml"/>
  <Override PartName="/ppt/notesSlides/notesSlide88.xml" ContentType="application/vnd.openxmlformats-officedocument.presentationml.notesSlide+xml"/>
  <Override PartName="/ppt/tags/tag206.xml" ContentType="application/vnd.openxmlformats-officedocument.presentationml.tags+xml"/>
  <Override PartName="/ppt/comments/modernComment_7FFFF9A3_12BB73CD.xml" ContentType="application/vnd.ms-powerpoint.comments+xml"/>
  <Override PartName="/ppt/tags/tag207.xml" ContentType="application/vnd.openxmlformats-officedocument.presentationml.tags+xml"/>
  <Override PartName="/ppt/notesSlides/notesSlide89.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90.xml" ContentType="application/vnd.openxmlformats-officedocument.presentationml.notesSlide+xml"/>
  <Override PartName="/ppt/tags/tag215.xml" ContentType="application/vnd.openxmlformats-officedocument.presentationml.tags+xml"/>
  <Override PartName="/ppt/notesSlides/notesSlide91.xml" ContentType="application/vnd.openxmlformats-officedocument.presentationml.notesSlide+xml"/>
  <Override PartName="/ppt/tags/tag216.xml" ContentType="application/vnd.openxmlformats-officedocument.presentationml.tags+xml"/>
  <Override PartName="/ppt/notesSlides/notesSlide92.xml" ContentType="application/vnd.openxmlformats-officedocument.presentationml.notesSlide+xml"/>
  <Override PartName="/ppt/tags/tag217.xml" ContentType="application/vnd.openxmlformats-officedocument.presentationml.tags+xml"/>
  <Override PartName="/ppt/notesSlides/notesSlide93.xml" ContentType="application/vnd.openxmlformats-officedocument.presentationml.notesSlide+xml"/>
  <Override PartName="/ppt/tags/tag218.xml" ContentType="application/vnd.openxmlformats-officedocument.presentationml.tags+xml"/>
  <Override PartName="/ppt/notesSlides/notesSlide94.xml" ContentType="application/vnd.openxmlformats-officedocument.presentationml.notesSlide+xml"/>
  <Override PartName="/ppt/tags/tag219.xml" ContentType="application/vnd.openxmlformats-officedocument.presentationml.tags+xml"/>
  <Override PartName="/ppt/notesSlides/notesSlide95.xml" ContentType="application/vnd.openxmlformats-officedocument.presentationml.notesSlide+xml"/>
  <Override PartName="/ppt/tags/tag220.xml" ContentType="application/vnd.openxmlformats-officedocument.presentationml.tags+xml"/>
  <Override PartName="/ppt/notesSlides/notesSlide96.xml" ContentType="application/vnd.openxmlformats-officedocument.presentationml.notesSlide+xml"/>
  <Override PartName="/ppt/tags/tag221.xml" ContentType="application/vnd.openxmlformats-officedocument.presentationml.tags+xml"/>
  <Override PartName="/ppt/notesSlides/notesSlide97.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notesSlides/notesSlide98.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notesSlides/notesSlide99.xml" ContentType="application/vnd.openxmlformats-officedocument.presentationml.notesSlide+xml"/>
  <Override PartName="/ppt/tags/tag226.xml" ContentType="application/vnd.openxmlformats-officedocument.presentationml.tags+xml"/>
  <Override PartName="/ppt/notesSlides/notesSlide100.xml" ContentType="application/vnd.openxmlformats-officedocument.presentationml.notesSlide+xml"/>
  <Override PartName="/ppt/comments/modernComment_7FFFF9A4_3075E6C4.xml" ContentType="application/vnd.ms-powerpoint.comments+xml"/>
  <Override PartName="/ppt/tags/tag227.xml" ContentType="application/vnd.openxmlformats-officedocument.presentationml.tags+xml"/>
  <Override PartName="/ppt/tags/tag228.xml" ContentType="application/vnd.openxmlformats-officedocument.presentationml.tags+xml"/>
  <Override PartName="/ppt/notesSlides/notesSlide101.xml" ContentType="application/vnd.openxmlformats-officedocument.presentationml.notesSlide+xml"/>
  <Override PartName="/ppt/tags/tag229.xml" ContentType="application/vnd.openxmlformats-officedocument.presentationml.tags+xml"/>
  <Override PartName="/ppt/notesSlides/notesSlide102.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103.xml" ContentType="application/vnd.openxmlformats-officedocument.presentationml.notesSlide+xml"/>
  <Override PartName="/ppt/tags/tag233.xml" ContentType="application/vnd.openxmlformats-officedocument.presentationml.tags+xml"/>
  <Override PartName="/ppt/notesSlides/notesSlide104.xml" ContentType="application/vnd.openxmlformats-officedocument.presentationml.notesSlide+xml"/>
  <Override PartName="/ppt/tags/tag234.xml" ContentType="application/vnd.openxmlformats-officedocument.presentationml.tags+xml"/>
  <Override PartName="/ppt/notesSlides/notesSlide105.xml" ContentType="application/vnd.openxmlformats-officedocument.presentationml.notesSlide+xml"/>
  <Override PartName="/ppt/tags/tag235.xml" ContentType="application/vnd.openxmlformats-officedocument.presentationml.tags+xml"/>
  <Override PartName="/ppt/notesSlides/notesSlide106.xml" ContentType="application/vnd.openxmlformats-officedocument.presentationml.notesSlide+xml"/>
  <Override PartName="/ppt/tags/tag236.xml" ContentType="application/vnd.openxmlformats-officedocument.presentationml.tags+xml"/>
  <Override PartName="/ppt/notesSlides/notesSlide107.xml" ContentType="application/vnd.openxmlformats-officedocument.presentationml.notesSlide+xml"/>
  <Override PartName="/ppt/tags/tag237.xml" ContentType="application/vnd.openxmlformats-officedocument.presentationml.tags+xml"/>
  <Override PartName="/ppt/notesSlides/notesSlide108.xml" ContentType="application/vnd.openxmlformats-officedocument.presentationml.notesSlide+xml"/>
  <Override PartName="/ppt/tags/tag238.xml" ContentType="application/vnd.openxmlformats-officedocument.presentationml.tags+xml"/>
  <Override PartName="/ppt/notesSlides/notesSlide109.xml" ContentType="application/vnd.openxmlformats-officedocument.presentationml.notesSlide+xml"/>
  <Override PartName="/ppt/tags/tag239.xml" ContentType="application/vnd.openxmlformats-officedocument.presentationml.tags+xml"/>
  <Override PartName="/ppt/notesSlides/notesSlide110.xml" ContentType="application/vnd.openxmlformats-officedocument.presentationml.notesSlide+xml"/>
  <Override PartName="/ppt/tags/tag240.xml" ContentType="application/vnd.openxmlformats-officedocument.presentationml.tags+xml"/>
  <Override PartName="/ppt/notesSlides/notesSlide111.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112.xml" ContentType="application/vnd.openxmlformats-officedocument.presentationml.notesSlide+xml"/>
  <Override PartName="/ppt/tags/tag243.xml" ContentType="application/vnd.openxmlformats-officedocument.presentationml.tags+xml"/>
  <Override PartName="/ppt/notesSlides/notesSlide113.xml" ContentType="application/vnd.openxmlformats-officedocument.presentationml.notesSlide+xml"/>
  <Override PartName="/ppt/tags/tag244.xml" ContentType="application/vnd.openxmlformats-officedocument.presentationml.tags+xml"/>
  <Override PartName="/ppt/notesSlides/notesSlide114.xml" ContentType="application/vnd.openxmlformats-officedocument.presentationml.notesSlide+xml"/>
  <Override PartName="/ppt/tags/tag245.xml" ContentType="application/vnd.openxmlformats-officedocument.presentationml.tags+xml"/>
  <Override PartName="/ppt/notesSlides/notesSlide115.xml" ContentType="application/vnd.openxmlformats-officedocument.presentationml.notesSlide+xml"/>
  <Override PartName="/ppt/tags/tag246.xml" ContentType="application/vnd.openxmlformats-officedocument.presentationml.tags+xml"/>
  <Override PartName="/ppt/notesSlides/notesSlide116.xml" ContentType="application/vnd.openxmlformats-officedocument.presentationml.notesSlide+xml"/>
  <Override PartName="/ppt/tags/tag247.xml" ContentType="application/vnd.openxmlformats-officedocument.presentationml.tags+xml"/>
  <Override PartName="/ppt/notesSlides/notesSlide117.xml" ContentType="application/vnd.openxmlformats-officedocument.presentationml.notesSlide+xml"/>
  <Override PartName="/ppt/tags/tag248.xml" ContentType="application/vnd.openxmlformats-officedocument.presentationml.tags+xml"/>
  <Override PartName="/ppt/notesSlides/notesSlide118.xml" ContentType="application/vnd.openxmlformats-officedocument.presentationml.notesSlide+xml"/>
  <Override PartName="/ppt/tags/tag249.xml" ContentType="application/vnd.openxmlformats-officedocument.presentationml.tags+xml"/>
  <Override PartName="/ppt/notesSlides/notesSlide119.xml" ContentType="application/vnd.openxmlformats-officedocument.presentationml.notesSlide+xml"/>
  <Override PartName="/ppt/tags/tag250.xml" ContentType="application/vnd.openxmlformats-officedocument.presentationml.tags+xml"/>
  <Override PartName="/ppt/notesSlides/notesSlide120.xml" ContentType="application/vnd.openxmlformats-officedocument.presentationml.notesSlide+xml"/>
  <Override PartName="/ppt/tags/tag251.xml" ContentType="application/vnd.openxmlformats-officedocument.presentationml.tags+xml"/>
  <Override PartName="/ppt/notesSlides/notesSlide121.xml" ContentType="application/vnd.openxmlformats-officedocument.presentationml.notesSlide+xml"/>
  <Override PartName="/ppt/tags/tag252.xml" ContentType="application/vnd.openxmlformats-officedocument.presentationml.tags+xml"/>
  <Override PartName="/ppt/notesSlides/notesSlide122.xml" ContentType="application/vnd.openxmlformats-officedocument.presentationml.notesSlide+xml"/>
  <Override PartName="/ppt/tags/tag253.xml" ContentType="application/vnd.openxmlformats-officedocument.presentationml.tags+xml"/>
  <Override PartName="/ppt/notesSlides/notesSlide12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tags/tag256.xml" ContentType="application/vnd.openxmlformats-officedocument.presentationml.tags+xml"/>
  <Override PartName="/ppt/notesSlides/notesSlide126.xml" ContentType="application/vnd.openxmlformats-officedocument.presentationml.notesSlide+xml"/>
  <Override PartName="/ppt/tags/tag257.xml" ContentType="application/vnd.openxmlformats-officedocument.presentationml.tags+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tags/tag258.xml" ContentType="application/vnd.openxmlformats-officedocument.presentationml.tags+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tags/tag259.xml" ContentType="application/vnd.openxmlformats-officedocument.presentationml.tags+xml"/>
  <Override PartName="/ppt/notesSlides/notesSlide134.xml" ContentType="application/vnd.openxmlformats-officedocument.presentationml.notesSlide+xml"/>
  <Override PartName="/ppt/tags/tag260.xml" ContentType="application/vnd.openxmlformats-officedocument.presentationml.tags+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charts/chart4.xml" ContentType="application/vnd.openxmlformats-officedocument.drawingml.chart+xml"/>
  <Override PartName="/ppt/notesSlides/notesSlide142.xml" ContentType="application/vnd.openxmlformats-officedocument.presentationml.notesSlide+xml"/>
  <Override PartName="/ppt/tags/tag261.xml" ContentType="application/vnd.openxmlformats-officedocument.presentationml.tags+xml"/>
  <Override PartName="/ppt/notesSlides/notesSlide143.xml" ContentType="application/vnd.openxmlformats-officedocument.presentationml.notesSlide+xml"/>
  <Override PartName="/ppt/tags/tag262.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tags/tag263.xml" ContentType="application/vnd.openxmlformats-officedocument.presentationml.tags+xml"/>
  <Override PartName="/ppt/notesSlides/notesSlide146.xml" ContentType="application/vnd.openxmlformats-officedocument.presentationml.notesSlide+xml"/>
  <Override PartName="/ppt/comments/modernComment_7FFFD8AF_23C388E1.xml" ContentType="application/vnd.ms-powerpoint.comments+xml"/>
  <Override PartName="/ppt/tags/tag264.xml" ContentType="application/vnd.openxmlformats-officedocument.presentationml.tags+xml"/>
  <Override PartName="/ppt/notesSlides/notesSlide147.xml" ContentType="application/vnd.openxmlformats-officedocument.presentationml.notesSlide+xml"/>
  <Override PartName="/ppt/comments/modernComment_7FFFD92F_14E88974.xml" ContentType="application/vnd.ms-powerpoint.comments+xml"/>
  <Override PartName="/ppt/tags/tag265.xml" ContentType="application/vnd.openxmlformats-officedocument.presentationml.tags+xml"/>
  <Override PartName="/ppt/notesSlides/notesSlide148.xml" ContentType="application/vnd.openxmlformats-officedocument.presentationml.notesSlide+xml"/>
  <Override PartName="/ppt/comments/modernComment_7FFFD8F7_331340B2.xml" ContentType="application/vnd.ms-powerpoint.comments+xml"/>
  <Override PartName="/ppt/tags/tag266.xml" ContentType="application/vnd.openxmlformats-officedocument.presentationml.tags+xml"/>
  <Override PartName="/ppt/notesSlides/notesSlide149.xml" ContentType="application/vnd.openxmlformats-officedocument.presentationml.notesSlide+xml"/>
  <Override PartName="/ppt/comments/modernComment_7FFFF922_CF6E05FE.xml" ContentType="application/vnd.ms-powerpoint.comments+xml"/>
  <Override PartName="/ppt/tags/tag267.xml" ContentType="application/vnd.openxmlformats-officedocument.presentationml.tags+xml"/>
  <Override PartName="/ppt/notesSlides/notesSlide150.xml" ContentType="application/vnd.openxmlformats-officedocument.presentationml.notesSlide+xml"/>
  <Override PartName="/ppt/comments/modernComment_7FFFF993_ADA3974.xml" ContentType="application/vnd.ms-powerpoint.comment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drawings/drawing1.xml" ContentType="application/vnd.openxmlformats-officedocument.drawingml.chartshapes+xml"/>
  <Override PartName="/ppt/tags/tag268.xml" ContentType="application/vnd.openxmlformats-officedocument.presentationml.tags+xml"/>
  <Override PartName="/ppt/notesSlides/notesSlide151.xml" ContentType="application/vnd.openxmlformats-officedocument.presentationml.notesSlide+xml"/>
  <Override PartName="/ppt/comments/modernComment_7FFFD978_1C1992F0.xml" ContentType="application/vnd.ms-powerpoint.comments+xml"/>
  <Override PartName="/ppt/tags/tag269.xml" ContentType="application/vnd.openxmlformats-officedocument.presentationml.tags+xml"/>
  <Override PartName="/ppt/notesSlides/notesSlide152.xml" ContentType="application/vnd.openxmlformats-officedocument.presentationml.notesSlide+xml"/>
  <Override PartName="/ppt/tags/tag270.xml" ContentType="application/vnd.openxmlformats-officedocument.presentationml.tags+xml"/>
  <Override PartName="/ppt/notesSlides/notesSlide153.xml" ContentType="application/vnd.openxmlformats-officedocument.presentationml.notesSlide+xml"/>
  <Override PartName="/ppt/tags/tag271.xml" ContentType="application/vnd.openxmlformats-officedocument.presentationml.tags+xml"/>
  <Override PartName="/ppt/notesSlides/notesSlide154.xml" ContentType="application/vnd.openxmlformats-officedocument.presentationml.notesSlide+xml"/>
  <Override PartName="/ppt/tags/tag272.xml" ContentType="application/vnd.openxmlformats-officedocument.presentationml.tags+xml"/>
  <Override PartName="/ppt/notesSlides/notesSlide155.xml" ContentType="application/vnd.openxmlformats-officedocument.presentationml.notesSlide+xml"/>
  <Override PartName="/ppt/comments/modernComment_7FFFD961_45306062.xml" ContentType="application/vnd.ms-powerpoint.comments+xml"/>
  <Override PartName="/ppt/tags/tag273.xml" ContentType="application/vnd.openxmlformats-officedocument.presentationml.tags+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tags/tag274.xml" ContentType="application/vnd.openxmlformats-officedocument.presentationml.tags+xml"/>
  <Override PartName="/ppt/notesSlides/notesSlide158.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comments/modernComment_7FFFF9BA_FE9D42F9.xml" ContentType="application/vnd.ms-powerpoint.comments+xml"/>
  <Override PartName="/ppt/notesSlides/notesSlide159.xml" ContentType="application/vnd.openxmlformats-officedocument.presentationml.notesSlide+xml"/>
  <Override PartName="/ppt/tags/tag277.xml" ContentType="application/vnd.openxmlformats-officedocument.presentationml.tags+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tags/tag286.xml" ContentType="application/vnd.openxmlformats-officedocument.presentationml.tags+xml"/>
  <Override PartName="/ppt/notesSlides/notesSlide164.xml" ContentType="application/vnd.openxmlformats-officedocument.presentationml.notesSlide+xml"/>
  <Override PartName="/ppt/tags/tag287.xml" ContentType="application/vnd.openxmlformats-officedocument.presentationml.tags+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tags/tag288.xml" ContentType="application/vnd.openxmlformats-officedocument.presentationml.tags+xml"/>
  <Override PartName="/ppt/notesSlides/notesSlide167.xml" ContentType="application/vnd.openxmlformats-officedocument.presentationml.notesSlide+xml"/>
  <Override PartName="/ppt/tags/tag289.xml" ContentType="application/vnd.openxmlformats-officedocument.presentationml.tags+xml"/>
  <Override PartName="/ppt/notesSlides/notesSlide168.xml" ContentType="application/vnd.openxmlformats-officedocument.presentationml.notesSlide+xml"/>
  <Override PartName="/ppt/tags/tag290.xml" ContentType="application/vnd.openxmlformats-officedocument.presentationml.tags+xml"/>
  <Override PartName="/ppt/notesSlides/notesSlide169.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comments/modernComment_7FFFF9DF_5BDAB6E6.xml" ContentType="application/vnd.ms-powerpoint.comment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omments/modernComment_7FFFF9EB_9BF04F45.xml" ContentType="application/vnd.ms-powerpoint.comments+xml"/>
  <Override PartName="/ppt/tags/tag327.xml" ContentType="application/vnd.openxmlformats-officedocument.presentationml.tags+xml"/>
  <Override PartName="/ppt/notesSlides/notesSlide170.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tags/tag328.xml" ContentType="application/vnd.openxmlformats-officedocument.presentationml.tags+xml"/>
  <Override PartName="/ppt/tags/tag329.xml" ContentType="application/vnd.openxmlformats-officedocument.presentationml.tags+xml"/>
  <Override PartName="/ppt/notesSlides/notesSlide171.xml" ContentType="application/vnd.openxmlformats-officedocument.presentationml.notesSlide+xml"/>
  <Override PartName="/ppt/tags/tag330.xml" ContentType="application/vnd.openxmlformats-officedocument.presentationml.tags+xml"/>
  <Override PartName="/ppt/notesSlides/notesSlide172.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173.xml" ContentType="application/vnd.openxmlformats-officedocument.presentationml.notesSlide+xml"/>
  <Override PartName="/ppt/tags/tag334.xml" ContentType="application/vnd.openxmlformats-officedocument.presentationml.tags+xml"/>
  <Override PartName="/ppt/notesSlides/notesSlide17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notesSlides/notesSlide175.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comments/modernComment_7FFFF9F7_AD9554E.xml" ContentType="application/vnd.ms-powerpoint.comment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notesSlides/notesSlide176.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charts/chart10.xml" ContentType="application/vnd.openxmlformats-officedocument.drawingml.chart+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comments/modernComment_7FFFF984_8A2FBF95.xml" ContentType="application/vnd.ms-powerpoint.comment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177.xml" ContentType="application/vnd.openxmlformats-officedocument.presentationml.notesSlide+xml"/>
  <Override PartName="/ppt/tags/tag399.xml" ContentType="application/vnd.openxmlformats-officedocument.presentationml.tags+xml"/>
  <Override PartName="/ppt/notesSlides/notesSlide178.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tags/tag402.xml" ContentType="application/vnd.openxmlformats-officedocument.presentationml.tags+xml"/>
  <Override PartName="/ppt/comments/modernComment_7FFFF985_C46BFA86.xml" ContentType="application/vnd.ms-powerpoint.comments+xml"/>
  <Override PartName="/ppt/notesSlides/notesSlide181.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notesSlides/notesSlide18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3.xml" ContentType="application/vnd.openxmlformats-officedocument.presentationml.notesSlide+xml"/>
  <Override PartName="/ppt/comments/modernComment_7FFFF986_69DBD849.xml" ContentType="application/vnd.ms-powerpoint.comments+xml"/>
  <Override PartName="/ppt/tags/tag405.xml" ContentType="application/vnd.openxmlformats-officedocument.presentationml.tags+xml"/>
  <Override PartName="/ppt/notesSlides/notesSlide184.xml" ContentType="application/vnd.openxmlformats-officedocument.presentationml.notesSlide+xml"/>
  <Override PartName="/ppt/tags/tag406.xml" ContentType="application/vnd.openxmlformats-officedocument.presentationml.tags+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saveSubsetFonts="1" autoCompressPictures="0">
  <p:sldMasterIdLst>
    <p:sldMasterId id="2147484738" r:id="rId4"/>
    <p:sldMasterId id="2147484686" r:id="rId5"/>
    <p:sldMasterId id="2147484622" r:id="rId6"/>
    <p:sldMasterId id="2147483945" r:id="rId7"/>
    <p:sldMasterId id="2147485020" r:id="rId8"/>
  </p:sldMasterIdLst>
  <p:notesMasterIdLst>
    <p:notesMasterId r:id="rId261"/>
  </p:notesMasterIdLst>
  <p:handoutMasterIdLst>
    <p:handoutMasterId r:id="rId262"/>
  </p:handoutMasterIdLst>
  <p:sldIdLst>
    <p:sldId id="2147473530" r:id="rId9"/>
    <p:sldId id="2147473779" r:id="rId10"/>
    <p:sldId id="2147482109" r:id="rId11"/>
    <p:sldId id="2147470698" r:id="rId12"/>
    <p:sldId id="2147473594" r:id="rId13"/>
    <p:sldId id="2147473597" r:id="rId14"/>
    <p:sldId id="2147473600" r:id="rId15"/>
    <p:sldId id="2147473605" r:id="rId16"/>
    <p:sldId id="2147473603" r:id="rId17"/>
    <p:sldId id="2147473616" r:id="rId18"/>
    <p:sldId id="2147473592" r:id="rId19"/>
    <p:sldId id="2147473625" r:id="rId20"/>
    <p:sldId id="2147473623" r:id="rId21"/>
    <p:sldId id="2147473619" r:id="rId22"/>
    <p:sldId id="2147473650" r:id="rId23"/>
    <p:sldId id="2147473654" r:id="rId24"/>
    <p:sldId id="2147473595" r:id="rId25"/>
    <p:sldId id="2147473599" r:id="rId26"/>
    <p:sldId id="2147473635" r:id="rId27"/>
    <p:sldId id="2147473652" r:id="rId28"/>
    <p:sldId id="2147473657" r:id="rId29"/>
    <p:sldId id="2147473656" r:id="rId30"/>
    <p:sldId id="2147473662" r:id="rId31"/>
    <p:sldId id="2147473596" r:id="rId32"/>
    <p:sldId id="2147473713" r:id="rId33"/>
    <p:sldId id="2147482000" r:id="rId34"/>
    <p:sldId id="2147482001" r:id="rId35"/>
    <p:sldId id="2147482002" r:id="rId36"/>
    <p:sldId id="2147482050" r:id="rId37"/>
    <p:sldId id="2147473593" r:id="rId38"/>
    <p:sldId id="2147473678" r:id="rId39"/>
    <p:sldId id="2147481940" r:id="rId40"/>
    <p:sldId id="2147481939" r:id="rId41"/>
    <p:sldId id="2147481938" r:id="rId42"/>
    <p:sldId id="2147481966" r:id="rId43"/>
    <p:sldId id="2147481967" r:id="rId44"/>
    <p:sldId id="2147473697" r:id="rId45"/>
    <p:sldId id="2147473691" r:id="rId46"/>
    <p:sldId id="2147473692" r:id="rId47"/>
    <p:sldId id="2147473693" r:id="rId48"/>
    <p:sldId id="2147482111" r:id="rId49"/>
    <p:sldId id="2147482112" r:id="rId50"/>
    <p:sldId id="2147482113" r:id="rId51"/>
    <p:sldId id="2147482114" r:id="rId52"/>
    <p:sldId id="2147473719" r:id="rId53"/>
    <p:sldId id="2147473718" r:id="rId54"/>
    <p:sldId id="2147473724" r:id="rId55"/>
    <p:sldId id="2147473721" r:id="rId56"/>
    <p:sldId id="2147473720" r:id="rId57"/>
    <p:sldId id="2147473723" r:id="rId58"/>
    <p:sldId id="2147473722" r:id="rId59"/>
    <p:sldId id="2147481887" r:id="rId60"/>
    <p:sldId id="2147481888" r:id="rId61"/>
    <p:sldId id="2147473739" r:id="rId62"/>
    <p:sldId id="2147473725" r:id="rId63"/>
    <p:sldId id="2147473737" r:id="rId64"/>
    <p:sldId id="2147473778" r:id="rId65"/>
    <p:sldId id="2147481900" r:id="rId66"/>
    <p:sldId id="2147481970" r:id="rId67"/>
    <p:sldId id="2147473777" r:id="rId68"/>
    <p:sldId id="2147481928" r:id="rId69"/>
    <p:sldId id="2147481929" r:id="rId70"/>
    <p:sldId id="2147481930" r:id="rId71"/>
    <p:sldId id="2147473679" r:id="rId72"/>
    <p:sldId id="2147473764" r:id="rId73"/>
    <p:sldId id="2147473765" r:id="rId74"/>
    <p:sldId id="2147473580" r:id="rId75"/>
    <p:sldId id="2147473766" r:id="rId76"/>
    <p:sldId id="2147473767" r:id="rId77"/>
    <p:sldId id="2147473771" r:id="rId78"/>
    <p:sldId id="2147481892" r:id="rId79"/>
    <p:sldId id="2147481889" r:id="rId80"/>
    <p:sldId id="2147473768" r:id="rId81"/>
    <p:sldId id="2147473769" r:id="rId82"/>
    <p:sldId id="2147473770" r:id="rId83"/>
    <p:sldId id="2147473199" r:id="rId84"/>
    <p:sldId id="2147473772" r:id="rId85"/>
    <p:sldId id="2147473773" r:id="rId86"/>
    <p:sldId id="2147473780" r:id="rId87"/>
    <p:sldId id="2147473774" r:id="rId88"/>
    <p:sldId id="2147481898" r:id="rId89"/>
    <p:sldId id="2147473775" r:id="rId90"/>
    <p:sldId id="2147482115" r:id="rId91"/>
    <p:sldId id="2147482116" r:id="rId92"/>
    <p:sldId id="2147481901" r:id="rId93"/>
    <p:sldId id="2147481904" r:id="rId94"/>
    <p:sldId id="2147481905" r:id="rId95"/>
    <p:sldId id="2147473680" r:id="rId96"/>
    <p:sldId id="2147482004" r:id="rId97"/>
    <p:sldId id="2147482019" r:id="rId98"/>
    <p:sldId id="2147482018" r:id="rId99"/>
    <p:sldId id="2147482016" r:id="rId100"/>
    <p:sldId id="2147482015" r:id="rId101"/>
    <p:sldId id="2147482014" r:id="rId102"/>
    <p:sldId id="2147482012" r:id="rId103"/>
    <p:sldId id="2147482011" r:id="rId104"/>
    <p:sldId id="2147482010" r:id="rId105"/>
    <p:sldId id="2147482008" r:id="rId106"/>
    <p:sldId id="2147482007" r:id="rId107"/>
    <p:sldId id="2147482005" r:id="rId108"/>
    <p:sldId id="2147482023" r:id="rId109"/>
    <p:sldId id="2147482022" r:id="rId110"/>
    <p:sldId id="2147482020" r:id="rId111"/>
    <p:sldId id="2147482037" r:id="rId112"/>
    <p:sldId id="2147482034" r:id="rId113"/>
    <p:sldId id="2147482033" r:id="rId114"/>
    <p:sldId id="2882" r:id="rId115"/>
    <p:sldId id="2147482030" r:id="rId116"/>
    <p:sldId id="2147482029" r:id="rId117"/>
    <p:sldId id="2147482028" r:id="rId118"/>
    <p:sldId id="2147482027" r:id="rId119"/>
    <p:sldId id="2147482026" r:id="rId120"/>
    <p:sldId id="2147482025" r:id="rId121"/>
    <p:sldId id="2147482024" r:id="rId122"/>
    <p:sldId id="2147482041" r:id="rId123"/>
    <p:sldId id="2147473681" r:id="rId124"/>
    <p:sldId id="2147473776" r:id="rId125"/>
    <p:sldId id="2147472576" r:id="rId126"/>
    <p:sldId id="2147481878" r:id="rId127"/>
    <p:sldId id="2147472376" r:id="rId128"/>
    <p:sldId id="2147375760" r:id="rId129"/>
    <p:sldId id="2147481880" r:id="rId130"/>
    <p:sldId id="2147481881" r:id="rId131"/>
    <p:sldId id="2147481882" r:id="rId132"/>
    <p:sldId id="2147481883" r:id="rId133"/>
    <p:sldId id="2147481885" r:id="rId134"/>
    <p:sldId id="2147481886" r:id="rId135"/>
    <p:sldId id="2147473552" r:id="rId136"/>
    <p:sldId id="2147473555" r:id="rId137"/>
    <p:sldId id="2147473556" r:id="rId138"/>
    <p:sldId id="2147473541" r:id="rId139"/>
    <p:sldId id="2147475657" r:id="rId140"/>
    <p:sldId id="2147475651" r:id="rId141"/>
    <p:sldId id="2147475650" r:id="rId142"/>
    <p:sldId id="2147473682" r:id="rId143"/>
    <p:sldId id="2147473663" r:id="rId144"/>
    <p:sldId id="2147473676" r:id="rId145"/>
    <p:sldId id="2147473677" r:id="rId146"/>
    <p:sldId id="2147473667" r:id="rId147"/>
    <p:sldId id="2147473671" r:id="rId148"/>
    <p:sldId id="2147473672" r:id="rId149"/>
    <p:sldId id="2147473673" r:id="rId150"/>
    <p:sldId id="2147473716" r:id="rId151"/>
    <p:sldId id="2147473781" r:id="rId152"/>
    <p:sldId id="2147481950" r:id="rId153"/>
    <p:sldId id="2147473670" r:id="rId154"/>
    <p:sldId id="2147473715" r:id="rId155"/>
    <p:sldId id="2147473714" r:id="rId156"/>
    <p:sldId id="2147473675" r:id="rId157"/>
    <p:sldId id="2147473762" r:id="rId158"/>
    <p:sldId id="2147481941" r:id="rId159"/>
    <p:sldId id="2147473683" r:id="rId160"/>
    <p:sldId id="2147473583" r:id="rId161"/>
    <p:sldId id="2147473711" r:id="rId162"/>
    <p:sldId id="2147473655" r:id="rId163"/>
    <p:sldId id="2147481890" r:id="rId164"/>
    <p:sldId id="2147482003" r:id="rId165"/>
    <p:sldId id="2147473784" r:id="rId166"/>
    <p:sldId id="2147481884" r:id="rId167"/>
    <p:sldId id="2147473587" r:id="rId168"/>
    <p:sldId id="2147481899" r:id="rId169"/>
    <p:sldId id="2147473761" r:id="rId170"/>
    <p:sldId id="2147481902" r:id="rId171"/>
    <p:sldId id="2147473684" r:id="rId172"/>
    <p:sldId id="2147482047" r:id="rId173"/>
    <p:sldId id="2147482046" r:id="rId174"/>
    <p:sldId id="2147482045" r:id="rId175"/>
    <p:sldId id="2147482044" r:id="rId176"/>
    <p:sldId id="2147482043" r:id="rId177"/>
    <p:sldId id="2147482042" r:id="rId178"/>
    <p:sldId id="2147473686" r:id="rId179"/>
    <p:sldId id="2147481908" r:id="rId180"/>
    <p:sldId id="522" r:id="rId181"/>
    <p:sldId id="971" r:id="rId182"/>
    <p:sldId id="2147481918" r:id="rId183"/>
    <p:sldId id="2142533087" r:id="rId184"/>
    <p:sldId id="2147347445" r:id="rId185"/>
    <p:sldId id="2142533069" r:id="rId186"/>
    <p:sldId id="2147475794" r:id="rId187"/>
    <p:sldId id="2147475795" r:id="rId188"/>
    <p:sldId id="2147473687" r:id="rId189"/>
    <p:sldId id="2147473633" r:id="rId190"/>
    <p:sldId id="2147482056" r:id="rId191"/>
    <p:sldId id="2147473634" r:id="rId192"/>
    <p:sldId id="2147481984" r:id="rId193"/>
    <p:sldId id="2147482057" r:id="rId194"/>
    <p:sldId id="2147482058" r:id="rId195"/>
    <p:sldId id="2147482059" r:id="rId196"/>
    <p:sldId id="2147482064" r:id="rId197"/>
    <p:sldId id="2147482077" r:id="rId198"/>
    <p:sldId id="2147482078" r:id="rId199"/>
    <p:sldId id="2147482133" r:id="rId200"/>
    <p:sldId id="2147482079" r:id="rId201"/>
    <p:sldId id="2147482081" r:id="rId202"/>
    <p:sldId id="2147482082" r:id="rId203"/>
    <p:sldId id="2147482083" r:id="rId204"/>
    <p:sldId id="2147482084" r:id="rId205"/>
    <p:sldId id="2147482085" r:id="rId206"/>
    <p:sldId id="2147482086" r:id="rId207"/>
    <p:sldId id="2147481985" r:id="rId208"/>
    <p:sldId id="2147482087" r:id="rId209"/>
    <p:sldId id="2147482088" r:id="rId210"/>
    <p:sldId id="2147482089" r:id="rId211"/>
    <p:sldId id="2147482090" r:id="rId212"/>
    <p:sldId id="2147482091" r:id="rId213"/>
    <p:sldId id="2147482093" r:id="rId214"/>
    <p:sldId id="2147481965" r:id="rId215"/>
    <p:sldId id="2147482095" r:id="rId216"/>
    <p:sldId id="2147482092" r:id="rId217"/>
    <p:sldId id="2147482094" r:id="rId218"/>
    <p:sldId id="2147481986" r:id="rId219"/>
    <p:sldId id="2147482096" r:id="rId220"/>
    <p:sldId id="2147482097" r:id="rId221"/>
    <p:sldId id="2147481987" r:id="rId222"/>
    <p:sldId id="2147482098" r:id="rId223"/>
    <p:sldId id="2147482099" r:id="rId224"/>
    <p:sldId id="2147481975" r:id="rId225"/>
    <p:sldId id="2147482100" r:id="rId226"/>
    <p:sldId id="2147482101" r:id="rId227"/>
    <p:sldId id="2147482102" r:id="rId228"/>
    <p:sldId id="2147482103" r:id="rId229"/>
    <p:sldId id="2147482118" r:id="rId230"/>
    <p:sldId id="2147482119" r:id="rId231"/>
    <p:sldId id="2147482120" r:id="rId232"/>
    <p:sldId id="2147482121" r:id="rId233"/>
    <p:sldId id="2147482122" r:id="rId234"/>
    <p:sldId id="2147482123" r:id="rId235"/>
    <p:sldId id="2147482124" r:id="rId236"/>
    <p:sldId id="2147481988" r:id="rId237"/>
    <p:sldId id="2147482104" r:id="rId238"/>
    <p:sldId id="2147482105" r:id="rId239"/>
    <p:sldId id="2147481983" r:id="rId240"/>
    <p:sldId id="2147482106" r:id="rId241"/>
    <p:sldId id="2147481982" r:id="rId242"/>
    <p:sldId id="2147482107" r:id="rId243"/>
    <p:sldId id="2147482061" r:id="rId244"/>
    <p:sldId id="2147473688" r:id="rId245"/>
    <p:sldId id="2147481909" r:id="rId246"/>
    <p:sldId id="380" r:id="rId247"/>
    <p:sldId id="2147481980" r:id="rId248"/>
    <p:sldId id="2147481981" r:id="rId249"/>
    <p:sldId id="2147473689" r:id="rId250"/>
    <p:sldId id="2147473690" r:id="rId251"/>
    <p:sldId id="2147481989" r:id="rId252"/>
    <p:sldId id="2147473708" r:id="rId253"/>
    <p:sldId id="2147473707" r:id="rId254"/>
    <p:sldId id="2147473706" r:id="rId255"/>
    <p:sldId id="2147481990" r:id="rId256"/>
    <p:sldId id="2147481991" r:id="rId257"/>
    <p:sldId id="2147473699" r:id="rId258"/>
    <p:sldId id="2147470880" r:id="rId259"/>
    <p:sldId id="2147473551" r:id="rId260"/>
  </p:sldIdLst>
  <p:sldSz cx="12192000" cy="6858000"/>
  <p:notesSz cx="7315200" cy="9601200"/>
  <p:embeddedFontLst>
    <p:embeddedFont>
      <p:font typeface="华文细黑" panose="02010600040101010101" pitchFamily="2" charset="-122"/>
      <p:regular r:id="rId263"/>
    </p:embeddedFont>
    <p:embeddedFont>
      <p:font typeface="Arial Black" panose="020B0604020202020204" pitchFamily="34" charset="0"/>
      <p:bold r:id="rId264"/>
    </p:embeddedFont>
    <p:embeddedFont>
      <p:font typeface="Calibri" panose="020F0502020204030204" pitchFamily="34" charset="0"/>
      <p:regular r:id="rId265"/>
      <p:bold r:id="rId266"/>
      <p:italic r:id="rId267"/>
      <p:boldItalic r:id="rId268"/>
    </p:embeddedFont>
    <p:embeddedFont>
      <p:font typeface="Calibri Light" panose="020F0302020204030204" pitchFamily="34" charset="0"/>
      <p:regular r:id="rId269"/>
      <p:italic r:id="rId270"/>
    </p:embeddedFont>
    <p:embeddedFont>
      <p:font typeface="Chronicle Display Black" panose="020B0604020202020204" pitchFamily="34" charset="0"/>
      <p:regular r:id="rId271"/>
      <p:bold r:id="rId272"/>
      <p:italic r:id="rId273"/>
      <p:boldItalic r:id="rId274"/>
    </p:embeddedFont>
    <p:embeddedFont>
      <p:font typeface="Noto Sans" panose="020B0502040504020204" pitchFamily="34" charset="0"/>
      <p:regular r:id="rId275"/>
      <p:bold r:id="rId276"/>
      <p:italic r:id="rId277"/>
      <p:boldItalic r:id="rId278"/>
    </p:embeddedFont>
    <p:embeddedFont>
      <p:font typeface="Open Sans" panose="020B0606030504020204" pitchFamily="34" charset="0"/>
      <p:regular r:id="rId279"/>
      <p:bold r:id="rId280"/>
      <p:italic r:id="rId281"/>
      <p:boldItalic r:id="rId282"/>
    </p:embeddedFont>
    <p:embeddedFont>
      <p:font typeface="Open Sans (Body)" panose="020B0606030504020204" pitchFamily="34" charset="0"/>
      <p:regular r:id="rId283"/>
      <p:bold r:id="rId284"/>
      <p:italic r:id="rId285"/>
      <p:boldItalic r:id="rId286"/>
    </p:embeddedFont>
    <p:embeddedFont>
      <p:font typeface="Open Sans Bold" panose="020B0606030504020204" pitchFamily="34" charset="0"/>
      <p:bold r:id="rId287"/>
      <p:italic r:id="rId288"/>
      <p:boldItalic r:id="rId289"/>
    </p:embeddedFont>
    <p:embeddedFont>
      <p:font typeface="Open Sans Extrabold" panose="020B0606030504020204" pitchFamily="34" charset="0"/>
      <p:bold r:id="rId290"/>
      <p:italic r:id="rId291"/>
      <p:boldItalic r:id="rId292"/>
    </p:embeddedFont>
    <p:embeddedFont>
      <p:font typeface="Open Sans Extrabold" panose="020B0606030504020204" pitchFamily="34" charset="0"/>
      <p:bold r:id="rId290"/>
      <p:italic r:id="rId291"/>
      <p:boldItalic r:id="rId292"/>
    </p:embeddedFont>
    <p:embeddedFont>
      <p:font typeface="Open Sans Light" panose="020B0306030504020204" pitchFamily="34" charset="0"/>
      <p:regular r:id="rId293"/>
      <p:italic r:id="rId294"/>
    </p:embeddedFont>
    <p:embeddedFont>
      <p:font typeface="Open Sans Regular" panose="020B0606030504020204" pitchFamily="34" charset="0"/>
      <p:regular r:id="rId295"/>
      <p:bold r:id="rId296"/>
      <p:italic r:id="rId297"/>
      <p:boldItalic r:id="rId298"/>
    </p:embeddedFont>
    <p:embeddedFont>
      <p:font typeface="Open Sans Semibold" panose="020B0606030504020204" pitchFamily="34" charset="0"/>
      <p:regular r:id="rId299"/>
      <p:bold r:id="rId300"/>
      <p:italic r:id="rId301"/>
      <p:boldItalic r:id="rId302"/>
    </p:embeddedFont>
    <p:embeddedFont>
      <p:font typeface="Open Sans Semibold" panose="020B0606030504020204" pitchFamily="34" charset="0"/>
      <p:regular r:id="rId299"/>
      <p:bold r:id="rId300"/>
      <p:italic r:id="rId301"/>
      <p:boldItalic r:id="rId302"/>
    </p:embeddedFont>
    <p:embeddedFont>
      <p:font typeface="Roboto" panose="02000000000000000000" pitchFamily="2" charset="0"/>
      <p:regular r:id="rId303"/>
      <p:bold r:id="rId304"/>
      <p:italic r:id="rId305"/>
      <p:boldItalic r:id="rId306"/>
    </p:embeddedFont>
    <p:embeddedFont>
      <p:font typeface="Roboto Light" panose="020F0302020204030204" pitchFamily="34" charset="0"/>
      <p:regular r:id="rId307"/>
      <p:italic r:id="rId308"/>
    </p:embeddedFont>
    <p:embeddedFont>
      <p:font typeface="Segoe UI Semilight" panose="020B0402040204020203" pitchFamily="34" charset="0"/>
      <p:regular r:id="rId309"/>
      <p:italic r:id="rId310"/>
    </p:embeddedFont>
    <p:embeddedFont>
      <p:font typeface="Verdana" panose="020B0604030504040204" pitchFamily="34" charset="0"/>
      <p:regular r:id="rId311"/>
      <p:bold r:id="rId312"/>
      <p:italic r:id="rId313"/>
      <p:boldItalic r:id="rId314"/>
    </p:embeddedFont>
    <p:embeddedFont>
      <p:font typeface="Wingdings 2" pitchFamily="2" charset="2"/>
      <p:regular r:id="rId315"/>
    </p:embeddedFont>
  </p:embeddedFontLst>
  <p:custDataLst>
    <p:tags r:id="rId3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page" id="{90D4B9B6-6E54-3B49-BFB1-2D8A9B6D6633}">
          <p14:sldIdLst>
            <p14:sldId id="2147473530"/>
            <p14:sldId id="2147473779"/>
          </p14:sldIdLst>
        </p14:section>
        <p14:section name="Cover letter" id="{19976ED9-6097-47F2-9001-C444F51F8024}">
          <p14:sldIdLst>
            <p14:sldId id="2147482109"/>
          </p14:sldIdLst>
        </p14:section>
        <p14:section name="Table of Contents" id="{D2390EA2-18AB-4C5D-88B3-FC177EEB9093}">
          <p14:sldIdLst>
            <p14:sldId id="2147470698"/>
          </p14:sldIdLst>
        </p14:section>
        <p14:section name="About Deloitte" id="{BE7BCF8B-FA72-4034-B137-1F5F6D7F274D}">
          <p14:sldIdLst>
            <p14:sldId id="2147473594"/>
            <p14:sldId id="2147473597"/>
            <p14:sldId id="2147473600"/>
            <p14:sldId id="2147473605"/>
            <p14:sldId id="2147473603"/>
            <p14:sldId id="2147473616"/>
            <p14:sldId id="2147473592"/>
            <p14:sldId id="2147473625"/>
            <p14:sldId id="2147473623"/>
            <p14:sldId id="2147473619"/>
            <p14:sldId id="2147473650"/>
            <p14:sldId id="2147473654"/>
            <p14:sldId id="2147473595"/>
            <p14:sldId id="2147473599"/>
            <p14:sldId id="2147473635"/>
            <p14:sldId id="2147473652"/>
            <p14:sldId id="2147473657"/>
            <p14:sldId id="2147473656"/>
            <p14:sldId id="2147473662"/>
            <p14:sldId id="2147473596"/>
            <p14:sldId id="2147473713"/>
            <p14:sldId id="2147482000"/>
            <p14:sldId id="2147482001"/>
            <p14:sldId id="2147482002"/>
            <p14:sldId id="2147482050"/>
          </p14:sldIdLst>
        </p14:section>
        <p14:section name="Servicies" id="{770370FA-3FC5-401A-B0CD-EBEECB124C71}">
          <p14:sldIdLst>
            <p14:sldId id="2147473593"/>
          </p14:sldIdLst>
        </p14:section>
        <p14:section name="1. Technology Consulting Services" id="{4F2FD4B7-A1F6-4C77-85D2-1937398DD599}">
          <p14:sldIdLst>
            <p14:sldId id="2147473678"/>
            <p14:sldId id="2147481940"/>
            <p14:sldId id="2147481939"/>
            <p14:sldId id="2147481938"/>
            <p14:sldId id="2147481966"/>
            <p14:sldId id="2147481967"/>
            <p14:sldId id="2147473697"/>
            <p14:sldId id="2147473691"/>
            <p14:sldId id="2147473692"/>
            <p14:sldId id="2147473693"/>
            <p14:sldId id="2147482111"/>
            <p14:sldId id="2147482112"/>
            <p14:sldId id="2147482113"/>
            <p14:sldId id="2147482114"/>
            <p14:sldId id="2147473719"/>
            <p14:sldId id="2147473718"/>
            <p14:sldId id="2147473724"/>
            <p14:sldId id="2147473721"/>
            <p14:sldId id="2147473720"/>
            <p14:sldId id="2147473723"/>
            <p14:sldId id="2147473722"/>
            <p14:sldId id="2147481887"/>
            <p14:sldId id="2147481888"/>
            <p14:sldId id="2147473739"/>
            <p14:sldId id="2147473725"/>
            <p14:sldId id="2147473737"/>
            <p14:sldId id="2147473778"/>
            <p14:sldId id="2147481900"/>
            <p14:sldId id="2147481970"/>
            <p14:sldId id="2147473777"/>
            <p14:sldId id="2147481928"/>
            <p14:sldId id="2147481929"/>
            <p14:sldId id="2147481930"/>
          </p14:sldIdLst>
        </p14:section>
        <p14:section name="2. Data and Analytics Services" id="{7B308D16-1DFB-4266-B8AB-10657D0AFE34}">
          <p14:sldIdLst>
            <p14:sldId id="2147473679"/>
            <p14:sldId id="2147473764"/>
            <p14:sldId id="2147473765"/>
            <p14:sldId id="2147473580"/>
            <p14:sldId id="2147473766"/>
            <p14:sldId id="2147473767"/>
            <p14:sldId id="2147473771"/>
            <p14:sldId id="2147481892"/>
            <p14:sldId id="2147481889"/>
            <p14:sldId id="2147473768"/>
            <p14:sldId id="2147473769"/>
            <p14:sldId id="2147473770"/>
            <p14:sldId id="2147473199"/>
            <p14:sldId id="2147473772"/>
            <p14:sldId id="2147473773"/>
            <p14:sldId id="2147473780"/>
            <p14:sldId id="2147473774"/>
            <p14:sldId id="2147481898"/>
            <p14:sldId id="2147473775"/>
            <p14:sldId id="2147482115"/>
            <p14:sldId id="2147482116"/>
            <p14:sldId id="2147481901"/>
            <p14:sldId id="2147481904"/>
            <p14:sldId id="2147481905"/>
          </p14:sldIdLst>
        </p14:section>
        <p14:section name="3. Process Improvement Services" id="{9770C84F-B4A6-4747-8DAA-BB3DAAB07E45}">
          <p14:sldIdLst>
            <p14:sldId id="2147473680"/>
            <p14:sldId id="2147482004"/>
            <p14:sldId id="2147482019"/>
            <p14:sldId id="2147482018"/>
            <p14:sldId id="2147482016"/>
            <p14:sldId id="2147482015"/>
            <p14:sldId id="2147482014"/>
            <p14:sldId id="2147482012"/>
            <p14:sldId id="2147482011"/>
            <p14:sldId id="2147482010"/>
            <p14:sldId id="2147482008"/>
            <p14:sldId id="2147482007"/>
            <p14:sldId id="2147482005"/>
            <p14:sldId id="2147482023"/>
            <p14:sldId id="2147482022"/>
            <p14:sldId id="2147482020"/>
            <p14:sldId id="2147482037"/>
            <p14:sldId id="2147482034"/>
            <p14:sldId id="2147482033"/>
            <p14:sldId id="2882"/>
            <p14:sldId id="2147482030"/>
            <p14:sldId id="2147482029"/>
            <p14:sldId id="2147482028"/>
            <p14:sldId id="2147482027"/>
            <p14:sldId id="2147482026"/>
            <p14:sldId id="2147482025"/>
            <p14:sldId id="2147482024"/>
            <p14:sldId id="2147482041"/>
          </p14:sldIdLst>
        </p14:section>
        <p14:section name="4. Design and User Experience Services" id="{3994BC3C-F175-484F-B126-B5BD3631BA39}">
          <p14:sldIdLst>
            <p14:sldId id="2147473681"/>
            <p14:sldId id="2147473776"/>
            <p14:sldId id="2147472576"/>
            <p14:sldId id="2147481878"/>
            <p14:sldId id="2147472376"/>
            <p14:sldId id="2147375760"/>
            <p14:sldId id="2147481880"/>
            <p14:sldId id="2147481881"/>
            <p14:sldId id="2147481882"/>
            <p14:sldId id="2147481883"/>
            <p14:sldId id="2147481885"/>
            <p14:sldId id="2147481886"/>
            <p14:sldId id="2147473552"/>
            <p14:sldId id="2147473555"/>
            <p14:sldId id="2147473556"/>
            <p14:sldId id="2147473541"/>
            <p14:sldId id="2147475657"/>
            <p14:sldId id="2147475651"/>
            <p14:sldId id="2147475650"/>
          </p14:sldIdLst>
        </p14:section>
        <p14:section name="5. Support and Maintenance Services" id="{A35D0E56-8F6B-492A-BA60-23E5B771FC8F}">
          <p14:sldIdLst>
            <p14:sldId id="2147473682"/>
            <p14:sldId id="2147473663"/>
            <p14:sldId id="2147473676"/>
            <p14:sldId id="2147473677"/>
            <p14:sldId id="2147473667"/>
            <p14:sldId id="2147473671"/>
            <p14:sldId id="2147473672"/>
            <p14:sldId id="2147473673"/>
            <p14:sldId id="2147473716"/>
            <p14:sldId id="2147473781"/>
            <p14:sldId id="2147481950"/>
            <p14:sldId id="2147473670"/>
            <p14:sldId id="2147473715"/>
            <p14:sldId id="2147473714"/>
            <p14:sldId id="2147473675"/>
            <p14:sldId id="2147473762"/>
            <p14:sldId id="2147481941"/>
          </p14:sldIdLst>
        </p14:section>
        <p14:section name="6. Strategy Consulting Services" id="{ACDC5DE3-0678-4D0F-89EC-59ABC7E09510}">
          <p14:sldIdLst>
            <p14:sldId id="2147473683"/>
            <p14:sldId id="2147473583"/>
            <p14:sldId id="2147473711"/>
            <p14:sldId id="2147473655"/>
            <p14:sldId id="2147481890"/>
            <p14:sldId id="2147482003"/>
            <p14:sldId id="2147473784"/>
            <p14:sldId id="2147481884"/>
            <p14:sldId id="2147473587"/>
            <p14:sldId id="2147481899"/>
            <p14:sldId id="2147473761"/>
            <p14:sldId id="2147481902"/>
          </p14:sldIdLst>
        </p14:section>
        <p14:section name="7. Project Management Services" id="{8AA5D642-72AE-4789-B4B6-D94F019EA0FB}">
          <p14:sldIdLst>
            <p14:sldId id="2147473684"/>
            <p14:sldId id="2147482047"/>
            <p14:sldId id="2147482046"/>
            <p14:sldId id="2147482045"/>
            <p14:sldId id="2147482044"/>
            <p14:sldId id="2147482043"/>
            <p14:sldId id="2147482042"/>
          </p14:sldIdLst>
        </p14:section>
        <p14:section name="8. Organizational change management services" id="{AB322B0C-1AC4-42DC-ACCD-4BB998260E05}">
          <p14:sldIdLst>
            <p14:sldId id="2147473686"/>
            <p14:sldId id="2147481908"/>
            <p14:sldId id="522"/>
            <p14:sldId id="971"/>
            <p14:sldId id="2147481918"/>
            <p14:sldId id="2142533087"/>
            <p14:sldId id="2147347445"/>
            <p14:sldId id="2142533069"/>
            <p14:sldId id="2147475794"/>
            <p14:sldId id="2147475795"/>
          </p14:sldIdLst>
        </p14:section>
        <p14:section name="9. Management Advisory services" id="{44CE8C78-E5D0-49B9-86D6-38BEB929BF8A}">
          <p14:sldIdLst>
            <p14:sldId id="2147473687"/>
            <p14:sldId id="2147473633"/>
            <p14:sldId id="2147482056"/>
            <p14:sldId id="2147473634"/>
            <p14:sldId id="2147481984"/>
            <p14:sldId id="2147482057"/>
            <p14:sldId id="2147482058"/>
            <p14:sldId id="2147482059"/>
            <p14:sldId id="2147482064"/>
            <p14:sldId id="2147482077"/>
            <p14:sldId id="2147482078"/>
            <p14:sldId id="2147482133"/>
            <p14:sldId id="2147482079"/>
            <p14:sldId id="2147482081"/>
            <p14:sldId id="2147482082"/>
            <p14:sldId id="2147482083"/>
            <p14:sldId id="2147482084"/>
            <p14:sldId id="2147482085"/>
            <p14:sldId id="2147482086"/>
            <p14:sldId id="2147481985"/>
            <p14:sldId id="2147482087"/>
            <p14:sldId id="2147482088"/>
            <p14:sldId id="2147482089"/>
            <p14:sldId id="2147482090"/>
            <p14:sldId id="2147482091"/>
            <p14:sldId id="2147482093"/>
            <p14:sldId id="2147481965"/>
            <p14:sldId id="2147482095"/>
            <p14:sldId id="2147482092"/>
            <p14:sldId id="2147482094"/>
            <p14:sldId id="2147481986"/>
            <p14:sldId id="2147482096"/>
            <p14:sldId id="2147482097"/>
            <p14:sldId id="2147481987"/>
            <p14:sldId id="2147482098"/>
            <p14:sldId id="2147482099"/>
            <p14:sldId id="2147481975"/>
            <p14:sldId id="2147482100"/>
            <p14:sldId id="2147482101"/>
            <p14:sldId id="2147482102"/>
            <p14:sldId id="2147482103"/>
            <p14:sldId id="2147482118"/>
            <p14:sldId id="2147482119"/>
            <p14:sldId id="2147482120"/>
            <p14:sldId id="2147482121"/>
            <p14:sldId id="2147482122"/>
            <p14:sldId id="2147482123"/>
            <p14:sldId id="2147482124"/>
            <p14:sldId id="2147481988"/>
            <p14:sldId id="2147482104"/>
            <p14:sldId id="2147482105"/>
            <p14:sldId id="2147481983"/>
            <p14:sldId id="2147482106"/>
            <p14:sldId id="2147481982"/>
            <p14:sldId id="2147482107"/>
            <p14:sldId id="2147482061"/>
          </p14:sldIdLst>
        </p14:section>
        <p14:section name="10. Human resources consulting service" id="{867D73A0-26B5-4257-89E2-125D676E7198}">
          <p14:sldIdLst>
            <p14:sldId id="2147473688"/>
            <p14:sldId id="2147481909"/>
            <p14:sldId id="380"/>
            <p14:sldId id="2147481980"/>
            <p14:sldId id="2147481981"/>
          </p14:sldIdLst>
        </p14:section>
        <p14:section name="11. Instructional Design Services" id="{A1DF67E7-475C-43C5-ADD6-82319A00C7BC}">
          <p14:sldIdLst>
            <p14:sldId id="2147473689"/>
          </p14:sldIdLst>
        </p14:section>
        <p14:section name="12. Risk and Compliance Services" id="{AC306595-0843-4999-804B-86A9EAA528E7}">
          <p14:sldIdLst>
            <p14:sldId id="2147473690"/>
            <p14:sldId id="2147481989"/>
            <p14:sldId id="2147473708"/>
            <p14:sldId id="2147473707"/>
            <p14:sldId id="2147473706"/>
            <p14:sldId id="2147481990"/>
            <p14:sldId id="2147481991"/>
            <p14:sldId id="2147473699"/>
          </p14:sldIdLst>
        </p14:section>
        <p14:section name="CVs from our global team" id="{F8E4C68E-E347-4723-A506-4F95DD75F34B}">
          <p14:sldIdLst/>
        </p14:section>
        <p14:section name="Appendix" id="{2DB0B1BB-09B5-43FA-8F85-FC549E7270C5}">
          <p14:sldIdLst>
            <p14:sldId id="2147470880"/>
            <p14:sldId id="2147473551"/>
          </p14:sldIdLst>
        </p14:section>
        <p14:section name="CVs map by chapter relevance" id="{C28914D7-7ED6-4CCD-9666-F10564F60034}">
          <p14:sldIdLst/>
        </p14:section>
        <p14:section name="Untitled Section" id="{96156C37-6923-44E6-82BF-4A8E1B6A5CCE}">
          <p14:sldIdLst/>
        </p14:section>
      </p14:sectionLst>
    </p:ext>
    <p:ext uri="{EFAFB233-063F-42B5-8137-9DF3F51BA10A}">
      <p15:sldGuideLst xmlns:p15="http://schemas.microsoft.com/office/powerpoint/2012/main">
        <p15:guide id="3" orient="horz" pos="726" userDrawn="1">
          <p15:clr>
            <a:srgbClr val="A4A3A4"/>
          </p15:clr>
        </p15:guide>
        <p15:guide id="4" pos="1980" userDrawn="1">
          <p15:clr>
            <a:srgbClr val="A4A3A4"/>
          </p15:clr>
        </p15:guide>
        <p15:guide id="5" pos="3318" userDrawn="1">
          <p15:clr>
            <a:srgbClr val="A4A3A4"/>
          </p15:clr>
        </p15:guide>
        <p15:guide id="6" pos="4248" userDrawn="1">
          <p15:clr>
            <a:srgbClr val="A4A3A4"/>
          </p15:clr>
        </p15:guide>
        <p15:guide id="7" pos="6698" userDrawn="1">
          <p15:clr>
            <a:srgbClr val="A4A3A4"/>
          </p15:clr>
        </p15:guide>
        <p15:guide id="8" pos="6992" userDrawn="1">
          <p15:clr>
            <a:srgbClr val="A4A3A4"/>
          </p15:clr>
        </p15:guide>
        <p15:guide id="9" orient="horz" pos="1752"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2"/>
    <a:srgbClr val="1CABE3"/>
    <a:srgbClr val="F2F2F2"/>
    <a:srgbClr val="CCEEEE"/>
    <a:srgbClr val="9EE6EC"/>
    <a:srgbClr val="44B9E6"/>
    <a:srgbClr val="BBF8FF"/>
    <a:srgbClr val="ECECEC"/>
    <a:srgbClr val="007CB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45BC4D-6DBD-3235-532C-73314C0EE790}" v="5" dt="2023-11-08T18:53:40.4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224" autoAdjust="0"/>
  </p:normalViewPr>
  <p:slideViewPr>
    <p:cSldViewPr snapToGrid="0" showGuides="1">
      <p:cViewPr varScale="1">
        <p:scale>
          <a:sx n="157" d="100"/>
          <a:sy n="157" d="100"/>
        </p:scale>
        <p:origin x="488" y="168"/>
      </p:cViewPr>
      <p:guideLst>
        <p:guide orient="horz" pos="726"/>
        <p:guide pos="1980"/>
        <p:guide pos="3318"/>
        <p:guide pos="4248"/>
        <p:guide pos="6698"/>
        <p:guide pos="6992"/>
        <p:guide orient="horz" pos="1752"/>
      </p:guideLst>
    </p:cSldViewPr>
  </p:slideViewPr>
  <p:outlineViewPr>
    <p:cViewPr>
      <p:scale>
        <a:sx n="33" d="100"/>
        <a:sy n="33" d="100"/>
      </p:scale>
      <p:origin x="0" y="-5919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102" d="100"/>
          <a:sy n="102" d="100"/>
        </p:scale>
        <p:origin x="4032" y="18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9.xml"/><Relationship Id="rId299" Type="http://schemas.openxmlformats.org/officeDocument/2006/relationships/font" Target="fonts/font37.fntdata"/><Relationship Id="rId21" Type="http://schemas.openxmlformats.org/officeDocument/2006/relationships/slide" Target="slides/slide13.xml"/><Relationship Id="rId63" Type="http://schemas.openxmlformats.org/officeDocument/2006/relationships/slide" Target="slides/slide55.xml"/><Relationship Id="rId159" Type="http://schemas.openxmlformats.org/officeDocument/2006/relationships/slide" Target="slides/slide151.xml"/><Relationship Id="rId170" Type="http://schemas.openxmlformats.org/officeDocument/2006/relationships/slide" Target="slides/slide162.xml"/><Relationship Id="rId226" Type="http://schemas.openxmlformats.org/officeDocument/2006/relationships/slide" Target="slides/slide218.xml"/><Relationship Id="rId268" Type="http://schemas.openxmlformats.org/officeDocument/2006/relationships/font" Target="fonts/font6.fntdata"/><Relationship Id="rId32" Type="http://schemas.openxmlformats.org/officeDocument/2006/relationships/slide" Target="slides/slide24.xml"/><Relationship Id="rId74" Type="http://schemas.openxmlformats.org/officeDocument/2006/relationships/slide" Target="slides/slide66.xml"/><Relationship Id="rId128" Type="http://schemas.openxmlformats.org/officeDocument/2006/relationships/slide" Target="slides/slide120.xml"/><Relationship Id="rId5" Type="http://schemas.openxmlformats.org/officeDocument/2006/relationships/slideMaster" Target="slideMasters/slideMaster2.xml"/><Relationship Id="rId181" Type="http://schemas.openxmlformats.org/officeDocument/2006/relationships/slide" Target="slides/slide173.xml"/><Relationship Id="rId237" Type="http://schemas.openxmlformats.org/officeDocument/2006/relationships/slide" Target="slides/slide229.xml"/><Relationship Id="rId279" Type="http://schemas.openxmlformats.org/officeDocument/2006/relationships/font" Target="fonts/font17.fntdata"/><Relationship Id="rId43" Type="http://schemas.openxmlformats.org/officeDocument/2006/relationships/slide" Target="slides/slide35.xml"/><Relationship Id="rId139" Type="http://schemas.openxmlformats.org/officeDocument/2006/relationships/slide" Target="slides/slide131.xml"/><Relationship Id="rId290" Type="http://schemas.openxmlformats.org/officeDocument/2006/relationships/font" Target="fonts/font28.fntdata"/><Relationship Id="rId304" Type="http://schemas.openxmlformats.org/officeDocument/2006/relationships/font" Target="fonts/font42.fntdata"/><Relationship Id="rId85" Type="http://schemas.openxmlformats.org/officeDocument/2006/relationships/slide" Target="slides/slide77.xml"/><Relationship Id="rId150" Type="http://schemas.openxmlformats.org/officeDocument/2006/relationships/slide" Target="slides/slide142.xml"/><Relationship Id="rId192" Type="http://schemas.openxmlformats.org/officeDocument/2006/relationships/slide" Target="slides/slide184.xml"/><Relationship Id="rId206" Type="http://schemas.openxmlformats.org/officeDocument/2006/relationships/slide" Target="slides/slide198.xml"/><Relationship Id="rId248" Type="http://schemas.openxmlformats.org/officeDocument/2006/relationships/slide" Target="slides/slide240.xml"/><Relationship Id="rId12" Type="http://schemas.openxmlformats.org/officeDocument/2006/relationships/slide" Target="slides/slide4.xml"/><Relationship Id="rId108" Type="http://schemas.openxmlformats.org/officeDocument/2006/relationships/slide" Target="slides/slide100.xml"/><Relationship Id="rId315" Type="http://schemas.openxmlformats.org/officeDocument/2006/relationships/font" Target="fonts/font53.fntdata"/><Relationship Id="rId54" Type="http://schemas.openxmlformats.org/officeDocument/2006/relationships/slide" Target="slides/slide46.xml"/><Relationship Id="rId96" Type="http://schemas.openxmlformats.org/officeDocument/2006/relationships/slide" Target="slides/slide88.xml"/><Relationship Id="rId161" Type="http://schemas.openxmlformats.org/officeDocument/2006/relationships/slide" Target="slides/slide153.xml"/><Relationship Id="rId217" Type="http://schemas.openxmlformats.org/officeDocument/2006/relationships/slide" Target="slides/slide209.xml"/><Relationship Id="rId259" Type="http://schemas.openxmlformats.org/officeDocument/2006/relationships/slide" Target="slides/slide251.xml"/><Relationship Id="rId23" Type="http://schemas.openxmlformats.org/officeDocument/2006/relationships/slide" Target="slides/slide15.xml"/><Relationship Id="rId119" Type="http://schemas.openxmlformats.org/officeDocument/2006/relationships/slide" Target="slides/slide111.xml"/><Relationship Id="rId270" Type="http://schemas.openxmlformats.org/officeDocument/2006/relationships/font" Target="fonts/font8.fntdata"/><Relationship Id="rId65" Type="http://schemas.openxmlformats.org/officeDocument/2006/relationships/slide" Target="slides/slide57.xml"/><Relationship Id="rId130" Type="http://schemas.openxmlformats.org/officeDocument/2006/relationships/slide" Target="slides/slide122.xml"/><Relationship Id="rId172" Type="http://schemas.openxmlformats.org/officeDocument/2006/relationships/slide" Target="slides/slide164.xml"/><Relationship Id="rId228" Type="http://schemas.openxmlformats.org/officeDocument/2006/relationships/slide" Target="slides/slide220.xml"/><Relationship Id="rId281" Type="http://schemas.openxmlformats.org/officeDocument/2006/relationships/font" Target="fonts/font19.fntdata"/><Relationship Id="rId34" Type="http://schemas.openxmlformats.org/officeDocument/2006/relationships/slide" Target="slides/slide26.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20" Type="http://schemas.openxmlformats.org/officeDocument/2006/relationships/slide" Target="slides/slide112.xml"/><Relationship Id="rId141" Type="http://schemas.openxmlformats.org/officeDocument/2006/relationships/slide" Target="slides/slide133.xml"/><Relationship Id="rId7" Type="http://schemas.openxmlformats.org/officeDocument/2006/relationships/slideMaster" Target="slideMasters/slideMaster4.xml"/><Relationship Id="rId162" Type="http://schemas.openxmlformats.org/officeDocument/2006/relationships/slide" Target="slides/slide154.xml"/><Relationship Id="rId183" Type="http://schemas.openxmlformats.org/officeDocument/2006/relationships/slide" Target="slides/slide175.xml"/><Relationship Id="rId218" Type="http://schemas.openxmlformats.org/officeDocument/2006/relationships/slide" Target="slides/slide210.xml"/><Relationship Id="rId239" Type="http://schemas.openxmlformats.org/officeDocument/2006/relationships/slide" Target="slides/slide231.xml"/><Relationship Id="rId250" Type="http://schemas.openxmlformats.org/officeDocument/2006/relationships/slide" Target="slides/slide242.xml"/><Relationship Id="rId271" Type="http://schemas.openxmlformats.org/officeDocument/2006/relationships/font" Target="fonts/font9.fntdata"/><Relationship Id="rId292" Type="http://schemas.openxmlformats.org/officeDocument/2006/relationships/font" Target="fonts/font30.fntdata"/><Relationship Id="rId306" Type="http://schemas.openxmlformats.org/officeDocument/2006/relationships/font" Target="fonts/font44.fntdata"/><Relationship Id="rId24" Type="http://schemas.openxmlformats.org/officeDocument/2006/relationships/slide" Target="slides/slide16.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31" Type="http://schemas.openxmlformats.org/officeDocument/2006/relationships/slide" Target="slides/slide123.xml"/><Relationship Id="rId152" Type="http://schemas.openxmlformats.org/officeDocument/2006/relationships/slide" Target="slides/slide144.xml"/><Relationship Id="rId173" Type="http://schemas.openxmlformats.org/officeDocument/2006/relationships/slide" Target="slides/slide165.xml"/><Relationship Id="rId194" Type="http://schemas.openxmlformats.org/officeDocument/2006/relationships/slide" Target="slides/slide186.xml"/><Relationship Id="rId208" Type="http://schemas.openxmlformats.org/officeDocument/2006/relationships/slide" Target="slides/slide200.xml"/><Relationship Id="rId229" Type="http://schemas.openxmlformats.org/officeDocument/2006/relationships/slide" Target="slides/slide221.xml"/><Relationship Id="rId240" Type="http://schemas.openxmlformats.org/officeDocument/2006/relationships/slide" Target="slides/slide232.xml"/><Relationship Id="rId261" Type="http://schemas.openxmlformats.org/officeDocument/2006/relationships/notesMaster" Target="notesMasters/notesMaster1.xml"/><Relationship Id="rId14" Type="http://schemas.openxmlformats.org/officeDocument/2006/relationships/slide" Target="slides/slide6.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282" Type="http://schemas.openxmlformats.org/officeDocument/2006/relationships/font" Target="fonts/font20.fntdata"/><Relationship Id="rId317" Type="http://schemas.openxmlformats.org/officeDocument/2006/relationships/commentAuthors" Target="commentAuthors.xml"/><Relationship Id="rId8" Type="http://schemas.openxmlformats.org/officeDocument/2006/relationships/slideMaster" Target="slideMasters/slideMaster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slide" Target="slides/slide134.xml"/><Relationship Id="rId163" Type="http://schemas.openxmlformats.org/officeDocument/2006/relationships/slide" Target="slides/slide155.xml"/><Relationship Id="rId184" Type="http://schemas.openxmlformats.org/officeDocument/2006/relationships/slide" Target="slides/slide176.xml"/><Relationship Id="rId219" Type="http://schemas.openxmlformats.org/officeDocument/2006/relationships/slide" Target="slides/slide211.xml"/><Relationship Id="rId230" Type="http://schemas.openxmlformats.org/officeDocument/2006/relationships/slide" Target="slides/slide222.xml"/><Relationship Id="rId251" Type="http://schemas.openxmlformats.org/officeDocument/2006/relationships/slide" Target="slides/slide24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72" Type="http://schemas.openxmlformats.org/officeDocument/2006/relationships/font" Target="fonts/font10.fntdata"/><Relationship Id="rId293" Type="http://schemas.openxmlformats.org/officeDocument/2006/relationships/font" Target="fonts/font31.fntdata"/><Relationship Id="rId307" Type="http://schemas.openxmlformats.org/officeDocument/2006/relationships/font" Target="fonts/font45.fntdata"/><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3" Type="http://schemas.openxmlformats.org/officeDocument/2006/relationships/slide" Target="slides/slide145.xml"/><Relationship Id="rId174" Type="http://schemas.openxmlformats.org/officeDocument/2006/relationships/slide" Target="slides/slide166.xml"/><Relationship Id="rId195" Type="http://schemas.openxmlformats.org/officeDocument/2006/relationships/slide" Target="slides/slide187.xml"/><Relationship Id="rId209" Type="http://schemas.openxmlformats.org/officeDocument/2006/relationships/slide" Target="slides/slide201.xml"/><Relationship Id="rId220" Type="http://schemas.openxmlformats.org/officeDocument/2006/relationships/slide" Target="slides/slide212.xml"/><Relationship Id="rId241" Type="http://schemas.openxmlformats.org/officeDocument/2006/relationships/slide" Target="slides/slide233.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262" Type="http://schemas.openxmlformats.org/officeDocument/2006/relationships/handoutMaster" Target="handoutMasters/handoutMaster1.xml"/><Relationship Id="rId283" Type="http://schemas.openxmlformats.org/officeDocument/2006/relationships/font" Target="fonts/font21.fntdata"/><Relationship Id="rId318" Type="http://schemas.openxmlformats.org/officeDocument/2006/relationships/presProps" Target="presProps.xml"/><Relationship Id="rId78" Type="http://schemas.openxmlformats.org/officeDocument/2006/relationships/slide" Target="slides/slide70.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43" Type="http://schemas.openxmlformats.org/officeDocument/2006/relationships/slide" Target="slides/slide135.xml"/><Relationship Id="rId164" Type="http://schemas.openxmlformats.org/officeDocument/2006/relationships/slide" Target="slides/slide156.xml"/><Relationship Id="rId185" Type="http://schemas.openxmlformats.org/officeDocument/2006/relationships/slide" Target="slides/slide177.xml"/><Relationship Id="rId9" Type="http://schemas.openxmlformats.org/officeDocument/2006/relationships/slide" Target="slides/slide1.xml"/><Relationship Id="rId210" Type="http://schemas.openxmlformats.org/officeDocument/2006/relationships/slide" Target="slides/slide202.xml"/><Relationship Id="rId26" Type="http://schemas.openxmlformats.org/officeDocument/2006/relationships/slide" Target="slides/slide18.xml"/><Relationship Id="rId231" Type="http://schemas.openxmlformats.org/officeDocument/2006/relationships/slide" Target="slides/slide223.xml"/><Relationship Id="rId252" Type="http://schemas.openxmlformats.org/officeDocument/2006/relationships/slide" Target="slides/slide244.xml"/><Relationship Id="rId273" Type="http://schemas.openxmlformats.org/officeDocument/2006/relationships/font" Target="fonts/font11.fntdata"/><Relationship Id="rId294" Type="http://schemas.openxmlformats.org/officeDocument/2006/relationships/font" Target="fonts/font32.fntdata"/><Relationship Id="rId308" Type="http://schemas.openxmlformats.org/officeDocument/2006/relationships/font" Target="fonts/font46.fntdata"/><Relationship Id="rId47" Type="http://schemas.openxmlformats.org/officeDocument/2006/relationships/slide" Target="slides/slide39.xml"/><Relationship Id="rId68" Type="http://schemas.openxmlformats.org/officeDocument/2006/relationships/slide" Target="slides/slide60.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54" Type="http://schemas.openxmlformats.org/officeDocument/2006/relationships/slide" Target="slides/slide146.xml"/><Relationship Id="rId175" Type="http://schemas.openxmlformats.org/officeDocument/2006/relationships/slide" Target="slides/slide167.xml"/><Relationship Id="rId196" Type="http://schemas.openxmlformats.org/officeDocument/2006/relationships/slide" Target="slides/slide188.xml"/><Relationship Id="rId200" Type="http://schemas.openxmlformats.org/officeDocument/2006/relationships/slide" Target="slides/slide192.xml"/><Relationship Id="rId16" Type="http://schemas.openxmlformats.org/officeDocument/2006/relationships/slide" Target="slides/slide8.xml"/><Relationship Id="rId221" Type="http://schemas.openxmlformats.org/officeDocument/2006/relationships/slide" Target="slides/slide213.xml"/><Relationship Id="rId242" Type="http://schemas.openxmlformats.org/officeDocument/2006/relationships/slide" Target="slides/slide234.xml"/><Relationship Id="rId263" Type="http://schemas.openxmlformats.org/officeDocument/2006/relationships/font" Target="fonts/font1.fntdata"/><Relationship Id="rId284" Type="http://schemas.openxmlformats.org/officeDocument/2006/relationships/font" Target="fonts/font22.fntdata"/><Relationship Id="rId319" Type="http://schemas.openxmlformats.org/officeDocument/2006/relationships/viewProps" Target="viewProps.xml"/><Relationship Id="rId37" Type="http://schemas.openxmlformats.org/officeDocument/2006/relationships/slide" Target="slides/slide29.xml"/><Relationship Id="rId58" Type="http://schemas.openxmlformats.org/officeDocument/2006/relationships/slide" Target="slides/slide50.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44" Type="http://schemas.openxmlformats.org/officeDocument/2006/relationships/slide" Target="slides/slide136.xml"/><Relationship Id="rId90" Type="http://schemas.openxmlformats.org/officeDocument/2006/relationships/slide" Target="slides/slide82.xml"/><Relationship Id="rId165" Type="http://schemas.openxmlformats.org/officeDocument/2006/relationships/slide" Target="slides/slide157.xml"/><Relationship Id="rId186" Type="http://schemas.openxmlformats.org/officeDocument/2006/relationships/slide" Target="slides/slide178.xml"/><Relationship Id="rId211" Type="http://schemas.openxmlformats.org/officeDocument/2006/relationships/slide" Target="slides/slide203.xml"/><Relationship Id="rId232" Type="http://schemas.openxmlformats.org/officeDocument/2006/relationships/slide" Target="slides/slide224.xml"/><Relationship Id="rId253" Type="http://schemas.openxmlformats.org/officeDocument/2006/relationships/slide" Target="slides/slide245.xml"/><Relationship Id="rId274" Type="http://schemas.openxmlformats.org/officeDocument/2006/relationships/font" Target="fonts/font12.fntdata"/><Relationship Id="rId295" Type="http://schemas.openxmlformats.org/officeDocument/2006/relationships/font" Target="fonts/font33.fntdata"/><Relationship Id="rId309" Type="http://schemas.openxmlformats.org/officeDocument/2006/relationships/font" Target="fonts/font47.fntdata"/><Relationship Id="rId27" Type="http://schemas.openxmlformats.org/officeDocument/2006/relationships/slide" Target="slides/slide19.xml"/><Relationship Id="rId48" Type="http://schemas.openxmlformats.org/officeDocument/2006/relationships/slide" Target="slides/slide40.xml"/><Relationship Id="rId69" Type="http://schemas.openxmlformats.org/officeDocument/2006/relationships/slide" Target="slides/slide61.xml"/><Relationship Id="rId113" Type="http://schemas.openxmlformats.org/officeDocument/2006/relationships/slide" Target="slides/slide105.xml"/><Relationship Id="rId134" Type="http://schemas.openxmlformats.org/officeDocument/2006/relationships/slide" Target="slides/slide126.xml"/><Relationship Id="rId320" Type="http://schemas.openxmlformats.org/officeDocument/2006/relationships/theme" Target="theme/theme1.xml"/><Relationship Id="rId80" Type="http://schemas.openxmlformats.org/officeDocument/2006/relationships/slide" Target="slides/slide72.xml"/><Relationship Id="rId155" Type="http://schemas.openxmlformats.org/officeDocument/2006/relationships/slide" Target="slides/slide147.xml"/><Relationship Id="rId176" Type="http://schemas.openxmlformats.org/officeDocument/2006/relationships/slide" Target="slides/slide168.xml"/><Relationship Id="rId197" Type="http://schemas.openxmlformats.org/officeDocument/2006/relationships/slide" Target="slides/slide189.xml"/><Relationship Id="rId201" Type="http://schemas.openxmlformats.org/officeDocument/2006/relationships/slide" Target="slides/slide193.xml"/><Relationship Id="rId222" Type="http://schemas.openxmlformats.org/officeDocument/2006/relationships/slide" Target="slides/slide214.xml"/><Relationship Id="rId243" Type="http://schemas.openxmlformats.org/officeDocument/2006/relationships/slide" Target="slides/slide235.xml"/><Relationship Id="rId264" Type="http://schemas.openxmlformats.org/officeDocument/2006/relationships/font" Target="fonts/font2.fntdata"/><Relationship Id="rId285" Type="http://schemas.openxmlformats.org/officeDocument/2006/relationships/font" Target="fonts/font23.fntdata"/><Relationship Id="rId17" Type="http://schemas.openxmlformats.org/officeDocument/2006/relationships/slide" Target="slides/slide9.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24" Type="http://schemas.openxmlformats.org/officeDocument/2006/relationships/slide" Target="slides/slide116.xml"/><Relationship Id="rId310" Type="http://schemas.openxmlformats.org/officeDocument/2006/relationships/font" Target="fonts/font48.fntdata"/><Relationship Id="rId70" Type="http://schemas.openxmlformats.org/officeDocument/2006/relationships/slide" Target="slides/slide62.xml"/><Relationship Id="rId91" Type="http://schemas.openxmlformats.org/officeDocument/2006/relationships/slide" Target="slides/slide83.xml"/><Relationship Id="rId145" Type="http://schemas.openxmlformats.org/officeDocument/2006/relationships/slide" Target="slides/slide137.xml"/><Relationship Id="rId166" Type="http://schemas.openxmlformats.org/officeDocument/2006/relationships/slide" Target="slides/slide158.xml"/><Relationship Id="rId187" Type="http://schemas.openxmlformats.org/officeDocument/2006/relationships/slide" Target="slides/slide179.xml"/><Relationship Id="rId1" Type="http://schemas.openxmlformats.org/officeDocument/2006/relationships/customXml" Target="../customXml/item1.xml"/><Relationship Id="rId212" Type="http://schemas.openxmlformats.org/officeDocument/2006/relationships/slide" Target="slides/slide204.xml"/><Relationship Id="rId233" Type="http://schemas.openxmlformats.org/officeDocument/2006/relationships/slide" Target="slides/slide225.xml"/><Relationship Id="rId254" Type="http://schemas.openxmlformats.org/officeDocument/2006/relationships/slide" Target="slides/slide246.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275" Type="http://schemas.openxmlformats.org/officeDocument/2006/relationships/font" Target="fonts/font13.fntdata"/><Relationship Id="rId296" Type="http://schemas.openxmlformats.org/officeDocument/2006/relationships/font" Target="fonts/font34.fntdata"/><Relationship Id="rId300" Type="http://schemas.openxmlformats.org/officeDocument/2006/relationships/font" Target="fonts/font38.fntdata"/><Relationship Id="rId60" Type="http://schemas.openxmlformats.org/officeDocument/2006/relationships/slide" Target="slides/slide52.xml"/><Relationship Id="rId81" Type="http://schemas.openxmlformats.org/officeDocument/2006/relationships/slide" Target="slides/slide73.xml"/><Relationship Id="rId135" Type="http://schemas.openxmlformats.org/officeDocument/2006/relationships/slide" Target="slides/slide127.xml"/><Relationship Id="rId156" Type="http://schemas.openxmlformats.org/officeDocument/2006/relationships/slide" Target="slides/slide148.xml"/><Relationship Id="rId177" Type="http://schemas.openxmlformats.org/officeDocument/2006/relationships/slide" Target="slides/slide169.xml"/><Relationship Id="rId198" Type="http://schemas.openxmlformats.org/officeDocument/2006/relationships/slide" Target="slides/slide190.xml"/><Relationship Id="rId321" Type="http://schemas.openxmlformats.org/officeDocument/2006/relationships/tableStyles" Target="tableStyles.xml"/><Relationship Id="rId202" Type="http://schemas.openxmlformats.org/officeDocument/2006/relationships/slide" Target="slides/slide194.xml"/><Relationship Id="rId223" Type="http://schemas.openxmlformats.org/officeDocument/2006/relationships/slide" Target="slides/slide215.xml"/><Relationship Id="rId244" Type="http://schemas.openxmlformats.org/officeDocument/2006/relationships/slide" Target="slides/slide236.xml"/><Relationship Id="rId18" Type="http://schemas.openxmlformats.org/officeDocument/2006/relationships/slide" Target="slides/slide10.xml"/><Relationship Id="rId39" Type="http://schemas.openxmlformats.org/officeDocument/2006/relationships/slide" Target="slides/slide31.xml"/><Relationship Id="rId265" Type="http://schemas.openxmlformats.org/officeDocument/2006/relationships/font" Target="fonts/font3.fntdata"/><Relationship Id="rId286" Type="http://schemas.openxmlformats.org/officeDocument/2006/relationships/font" Target="fonts/font24.fntdata"/><Relationship Id="rId50" Type="http://schemas.openxmlformats.org/officeDocument/2006/relationships/slide" Target="slides/slide42.xml"/><Relationship Id="rId104" Type="http://schemas.openxmlformats.org/officeDocument/2006/relationships/slide" Target="slides/slide96.xml"/><Relationship Id="rId125" Type="http://schemas.openxmlformats.org/officeDocument/2006/relationships/slide" Target="slides/slide117.xml"/><Relationship Id="rId146" Type="http://schemas.openxmlformats.org/officeDocument/2006/relationships/slide" Target="slides/slide138.xml"/><Relationship Id="rId167" Type="http://schemas.openxmlformats.org/officeDocument/2006/relationships/slide" Target="slides/slide159.xml"/><Relationship Id="rId188" Type="http://schemas.openxmlformats.org/officeDocument/2006/relationships/slide" Target="slides/slide180.xml"/><Relationship Id="rId311" Type="http://schemas.openxmlformats.org/officeDocument/2006/relationships/font" Target="fonts/font49.fntdata"/><Relationship Id="rId71" Type="http://schemas.openxmlformats.org/officeDocument/2006/relationships/slide" Target="slides/slide63.xml"/><Relationship Id="rId92" Type="http://schemas.openxmlformats.org/officeDocument/2006/relationships/slide" Target="slides/slide84.xml"/><Relationship Id="rId213" Type="http://schemas.openxmlformats.org/officeDocument/2006/relationships/slide" Target="slides/slide205.xml"/><Relationship Id="rId234" Type="http://schemas.openxmlformats.org/officeDocument/2006/relationships/slide" Target="slides/slide226.xml"/><Relationship Id="rId2" Type="http://schemas.openxmlformats.org/officeDocument/2006/relationships/customXml" Target="../customXml/item2.xml"/><Relationship Id="rId29" Type="http://schemas.openxmlformats.org/officeDocument/2006/relationships/slide" Target="slides/slide21.xml"/><Relationship Id="rId255" Type="http://schemas.openxmlformats.org/officeDocument/2006/relationships/slide" Target="slides/slide247.xml"/><Relationship Id="rId276" Type="http://schemas.openxmlformats.org/officeDocument/2006/relationships/font" Target="fonts/font14.fntdata"/><Relationship Id="rId297" Type="http://schemas.openxmlformats.org/officeDocument/2006/relationships/font" Target="fonts/font35.fntdata"/><Relationship Id="rId40" Type="http://schemas.openxmlformats.org/officeDocument/2006/relationships/slide" Target="slides/slide32.xml"/><Relationship Id="rId115" Type="http://schemas.openxmlformats.org/officeDocument/2006/relationships/slide" Target="slides/slide107.xml"/><Relationship Id="rId136" Type="http://schemas.openxmlformats.org/officeDocument/2006/relationships/slide" Target="slides/slide128.xml"/><Relationship Id="rId157" Type="http://schemas.openxmlformats.org/officeDocument/2006/relationships/slide" Target="slides/slide149.xml"/><Relationship Id="rId178" Type="http://schemas.openxmlformats.org/officeDocument/2006/relationships/slide" Target="slides/slide170.xml"/><Relationship Id="rId301" Type="http://schemas.openxmlformats.org/officeDocument/2006/relationships/font" Target="fonts/font39.fntdata"/><Relationship Id="rId322" Type="http://schemas.microsoft.com/office/2015/10/relationships/revisionInfo" Target="revisionInfo.xml"/><Relationship Id="rId61" Type="http://schemas.openxmlformats.org/officeDocument/2006/relationships/slide" Target="slides/slide53.xml"/><Relationship Id="rId82" Type="http://schemas.openxmlformats.org/officeDocument/2006/relationships/slide" Target="slides/slide74.xml"/><Relationship Id="rId199" Type="http://schemas.openxmlformats.org/officeDocument/2006/relationships/slide" Target="slides/slide191.xml"/><Relationship Id="rId203" Type="http://schemas.openxmlformats.org/officeDocument/2006/relationships/slide" Target="slides/slide195.xml"/><Relationship Id="rId19" Type="http://schemas.openxmlformats.org/officeDocument/2006/relationships/slide" Target="slides/slide11.xml"/><Relationship Id="rId224" Type="http://schemas.openxmlformats.org/officeDocument/2006/relationships/slide" Target="slides/slide216.xml"/><Relationship Id="rId245" Type="http://schemas.openxmlformats.org/officeDocument/2006/relationships/slide" Target="slides/slide237.xml"/><Relationship Id="rId266" Type="http://schemas.openxmlformats.org/officeDocument/2006/relationships/font" Target="fonts/font4.fntdata"/><Relationship Id="rId287" Type="http://schemas.openxmlformats.org/officeDocument/2006/relationships/font" Target="fonts/font25.fntdata"/><Relationship Id="rId30" Type="http://schemas.openxmlformats.org/officeDocument/2006/relationships/slide" Target="slides/slide22.xml"/><Relationship Id="rId105" Type="http://schemas.openxmlformats.org/officeDocument/2006/relationships/slide" Target="slides/slide97.xml"/><Relationship Id="rId126" Type="http://schemas.openxmlformats.org/officeDocument/2006/relationships/slide" Target="slides/slide118.xml"/><Relationship Id="rId147" Type="http://schemas.openxmlformats.org/officeDocument/2006/relationships/slide" Target="slides/slide139.xml"/><Relationship Id="rId168" Type="http://schemas.openxmlformats.org/officeDocument/2006/relationships/slide" Target="slides/slide160.xml"/><Relationship Id="rId312" Type="http://schemas.openxmlformats.org/officeDocument/2006/relationships/font" Target="fonts/font50.fntdata"/><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189" Type="http://schemas.openxmlformats.org/officeDocument/2006/relationships/slide" Target="slides/slide181.xml"/><Relationship Id="rId3" Type="http://schemas.openxmlformats.org/officeDocument/2006/relationships/customXml" Target="../customXml/item3.xml"/><Relationship Id="rId214" Type="http://schemas.openxmlformats.org/officeDocument/2006/relationships/slide" Target="slides/slide206.xml"/><Relationship Id="rId235" Type="http://schemas.openxmlformats.org/officeDocument/2006/relationships/slide" Target="slides/slide227.xml"/><Relationship Id="rId256" Type="http://schemas.openxmlformats.org/officeDocument/2006/relationships/slide" Target="slides/slide248.xml"/><Relationship Id="rId277" Type="http://schemas.openxmlformats.org/officeDocument/2006/relationships/font" Target="fonts/font15.fntdata"/><Relationship Id="rId298" Type="http://schemas.openxmlformats.org/officeDocument/2006/relationships/font" Target="fonts/font36.fntdata"/><Relationship Id="rId116" Type="http://schemas.openxmlformats.org/officeDocument/2006/relationships/slide" Target="slides/slide108.xml"/><Relationship Id="rId137" Type="http://schemas.openxmlformats.org/officeDocument/2006/relationships/slide" Target="slides/slide129.xml"/><Relationship Id="rId158" Type="http://schemas.openxmlformats.org/officeDocument/2006/relationships/slide" Target="slides/slide150.xml"/><Relationship Id="rId302" Type="http://schemas.openxmlformats.org/officeDocument/2006/relationships/font" Target="fonts/font40.fntdata"/><Relationship Id="rId323" Type="http://schemas.microsoft.com/office/2018/10/relationships/authors" Target="authors.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179" Type="http://schemas.openxmlformats.org/officeDocument/2006/relationships/slide" Target="slides/slide171.xml"/><Relationship Id="rId190" Type="http://schemas.openxmlformats.org/officeDocument/2006/relationships/slide" Target="slides/slide182.xml"/><Relationship Id="rId204" Type="http://schemas.openxmlformats.org/officeDocument/2006/relationships/slide" Target="slides/slide196.xml"/><Relationship Id="rId225" Type="http://schemas.openxmlformats.org/officeDocument/2006/relationships/slide" Target="slides/slide217.xml"/><Relationship Id="rId246" Type="http://schemas.openxmlformats.org/officeDocument/2006/relationships/slide" Target="slides/slide238.xml"/><Relationship Id="rId267" Type="http://schemas.openxmlformats.org/officeDocument/2006/relationships/font" Target="fonts/font5.fntdata"/><Relationship Id="rId288" Type="http://schemas.openxmlformats.org/officeDocument/2006/relationships/font" Target="fonts/font26.fntdata"/><Relationship Id="rId106" Type="http://schemas.openxmlformats.org/officeDocument/2006/relationships/slide" Target="slides/slide98.xml"/><Relationship Id="rId127" Type="http://schemas.openxmlformats.org/officeDocument/2006/relationships/slide" Target="slides/slide119.xml"/><Relationship Id="rId313" Type="http://schemas.openxmlformats.org/officeDocument/2006/relationships/font" Target="fonts/font51.fntdata"/><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94" Type="http://schemas.openxmlformats.org/officeDocument/2006/relationships/slide" Target="slides/slide86.xml"/><Relationship Id="rId148" Type="http://schemas.openxmlformats.org/officeDocument/2006/relationships/slide" Target="slides/slide140.xml"/><Relationship Id="rId169" Type="http://schemas.openxmlformats.org/officeDocument/2006/relationships/slide" Target="slides/slide161.xml"/><Relationship Id="rId4" Type="http://schemas.openxmlformats.org/officeDocument/2006/relationships/slideMaster" Target="slideMasters/slideMaster1.xml"/><Relationship Id="rId180" Type="http://schemas.openxmlformats.org/officeDocument/2006/relationships/slide" Target="slides/slide172.xml"/><Relationship Id="rId215" Type="http://schemas.openxmlformats.org/officeDocument/2006/relationships/slide" Target="slides/slide207.xml"/><Relationship Id="rId236" Type="http://schemas.openxmlformats.org/officeDocument/2006/relationships/slide" Target="slides/slide228.xml"/><Relationship Id="rId257" Type="http://schemas.openxmlformats.org/officeDocument/2006/relationships/slide" Target="slides/slide249.xml"/><Relationship Id="rId278" Type="http://schemas.openxmlformats.org/officeDocument/2006/relationships/font" Target="fonts/font16.fntdata"/><Relationship Id="rId303" Type="http://schemas.openxmlformats.org/officeDocument/2006/relationships/font" Target="fonts/font41.fntdata"/><Relationship Id="rId42" Type="http://schemas.openxmlformats.org/officeDocument/2006/relationships/slide" Target="slides/slide34.xml"/><Relationship Id="rId84" Type="http://schemas.openxmlformats.org/officeDocument/2006/relationships/slide" Target="slides/slide76.xml"/><Relationship Id="rId138" Type="http://schemas.openxmlformats.org/officeDocument/2006/relationships/slide" Target="slides/slide130.xml"/><Relationship Id="rId191" Type="http://schemas.openxmlformats.org/officeDocument/2006/relationships/slide" Target="slides/slide183.xml"/><Relationship Id="rId205" Type="http://schemas.openxmlformats.org/officeDocument/2006/relationships/slide" Target="slides/slide197.xml"/><Relationship Id="rId247" Type="http://schemas.openxmlformats.org/officeDocument/2006/relationships/slide" Target="slides/slide239.xml"/><Relationship Id="rId107" Type="http://schemas.openxmlformats.org/officeDocument/2006/relationships/slide" Target="slides/slide99.xml"/><Relationship Id="rId289" Type="http://schemas.openxmlformats.org/officeDocument/2006/relationships/font" Target="fonts/font27.fntdata"/><Relationship Id="rId11" Type="http://schemas.openxmlformats.org/officeDocument/2006/relationships/slide" Target="slides/slide3.xml"/><Relationship Id="rId53" Type="http://schemas.openxmlformats.org/officeDocument/2006/relationships/slide" Target="slides/slide45.xml"/><Relationship Id="rId149" Type="http://schemas.openxmlformats.org/officeDocument/2006/relationships/slide" Target="slides/slide141.xml"/><Relationship Id="rId314" Type="http://schemas.openxmlformats.org/officeDocument/2006/relationships/font" Target="fonts/font52.fntdata"/><Relationship Id="rId95" Type="http://schemas.openxmlformats.org/officeDocument/2006/relationships/slide" Target="slides/slide87.xml"/><Relationship Id="rId160" Type="http://schemas.openxmlformats.org/officeDocument/2006/relationships/slide" Target="slides/slide152.xml"/><Relationship Id="rId216" Type="http://schemas.openxmlformats.org/officeDocument/2006/relationships/slide" Target="slides/slide208.xml"/><Relationship Id="rId258" Type="http://schemas.openxmlformats.org/officeDocument/2006/relationships/slide" Target="slides/slide250.xml"/><Relationship Id="rId22" Type="http://schemas.openxmlformats.org/officeDocument/2006/relationships/slide" Target="slides/slide14.xml"/><Relationship Id="rId64" Type="http://schemas.openxmlformats.org/officeDocument/2006/relationships/slide" Target="slides/slide56.xml"/><Relationship Id="rId118" Type="http://schemas.openxmlformats.org/officeDocument/2006/relationships/slide" Target="slides/slide110.xml"/><Relationship Id="rId171" Type="http://schemas.openxmlformats.org/officeDocument/2006/relationships/slide" Target="slides/slide163.xml"/><Relationship Id="rId227" Type="http://schemas.openxmlformats.org/officeDocument/2006/relationships/slide" Target="slides/slide219.xml"/><Relationship Id="rId269" Type="http://schemas.openxmlformats.org/officeDocument/2006/relationships/font" Target="fonts/font7.fntdata"/><Relationship Id="rId33" Type="http://schemas.openxmlformats.org/officeDocument/2006/relationships/slide" Target="slides/slide25.xml"/><Relationship Id="rId129" Type="http://schemas.openxmlformats.org/officeDocument/2006/relationships/slide" Target="slides/slide121.xml"/><Relationship Id="rId280" Type="http://schemas.openxmlformats.org/officeDocument/2006/relationships/font" Target="fonts/font18.fntdata"/><Relationship Id="rId75" Type="http://schemas.openxmlformats.org/officeDocument/2006/relationships/slide" Target="slides/slide67.xml"/><Relationship Id="rId140" Type="http://schemas.openxmlformats.org/officeDocument/2006/relationships/slide" Target="slides/slide132.xml"/><Relationship Id="rId182" Type="http://schemas.openxmlformats.org/officeDocument/2006/relationships/slide" Target="slides/slide174.xml"/><Relationship Id="rId6" Type="http://schemas.openxmlformats.org/officeDocument/2006/relationships/slideMaster" Target="slideMasters/slideMaster3.xml"/><Relationship Id="rId238" Type="http://schemas.openxmlformats.org/officeDocument/2006/relationships/slide" Target="slides/slide230.xml"/><Relationship Id="rId291" Type="http://schemas.openxmlformats.org/officeDocument/2006/relationships/font" Target="fonts/font29.fntdata"/><Relationship Id="rId305" Type="http://schemas.openxmlformats.org/officeDocument/2006/relationships/font" Target="fonts/font43.fntdata"/><Relationship Id="rId44" Type="http://schemas.openxmlformats.org/officeDocument/2006/relationships/slide" Target="slides/slide36.xml"/><Relationship Id="rId86" Type="http://schemas.openxmlformats.org/officeDocument/2006/relationships/slide" Target="slides/slide78.xml"/><Relationship Id="rId151" Type="http://schemas.openxmlformats.org/officeDocument/2006/relationships/slide" Target="slides/slide143.xml"/><Relationship Id="rId193" Type="http://schemas.openxmlformats.org/officeDocument/2006/relationships/slide" Target="slides/slide185.xml"/><Relationship Id="rId207" Type="http://schemas.openxmlformats.org/officeDocument/2006/relationships/slide" Target="slides/slide199.xml"/><Relationship Id="rId249" Type="http://schemas.openxmlformats.org/officeDocument/2006/relationships/slide" Target="slides/slide241.xml"/><Relationship Id="rId13" Type="http://schemas.openxmlformats.org/officeDocument/2006/relationships/slide" Target="slides/slide5.xml"/><Relationship Id="rId109" Type="http://schemas.openxmlformats.org/officeDocument/2006/relationships/slide" Target="slides/slide101.xml"/><Relationship Id="rId260" Type="http://schemas.openxmlformats.org/officeDocument/2006/relationships/slide" Target="slides/slide252.xml"/><Relationship Id="rId316"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39114043355328E-2"/>
          <c:y val="1.8433179723502304E-2"/>
          <c:w val="0.88501413760603209"/>
          <c:h val="0.91456930166607586"/>
        </c:manualLayout>
      </c:layout>
      <c:barChart>
        <c:barDir val="bar"/>
        <c:grouping val="stacked"/>
        <c:varyColors val="0"/>
        <c:ser>
          <c:idx val="0"/>
          <c:order val="0"/>
          <c:spPr>
            <a:solidFill>
              <a:srgbClr val="17B9DC"/>
            </a:solidFill>
            <a:ln>
              <a:noFill/>
            </a:ln>
          </c:spPr>
          <c:invertIfNegative val="0"/>
          <c:val>
            <c:numRef>
              <c:f>Sheet1!$A$1:$Q$1</c:f>
              <c:numCache>
                <c:formatCode>General</c:formatCode>
                <c:ptCount val="17"/>
                <c:pt idx="0">
                  <c:v>330</c:v>
                </c:pt>
                <c:pt idx="1">
                  <c:v>250</c:v>
                </c:pt>
                <c:pt idx="2">
                  <c:v>200</c:v>
                </c:pt>
                <c:pt idx="3">
                  <c:v>200</c:v>
                </c:pt>
                <c:pt idx="4">
                  <c:v>200</c:v>
                </c:pt>
                <c:pt idx="5">
                  <c:v>160</c:v>
                </c:pt>
                <c:pt idx="6">
                  <c:v>150</c:v>
                </c:pt>
                <c:pt idx="7">
                  <c:v>150</c:v>
                </c:pt>
                <c:pt idx="8">
                  <c:v>150</c:v>
                </c:pt>
                <c:pt idx="9">
                  <c:v>130</c:v>
                </c:pt>
                <c:pt idx="10">
                  <c:v>100</c:v>
                </c:pt>
                <c:pt idx="11">
                  <c:v>90</c:v>
                </c:pt>
                <c:pt idx="12">
                  <c:v>50</c:v>
                </c:pt>
                <c:pt idx="13">
                  <c:v>40</c:v>
                </c:pt>
                <c:pt idx="14">
                  <c:v>20</c:v>
                </c:pt>
                <c:pt idx="15">
                  <c:v>20</c:v>
                </c:pt>
                <c:pt idx="16">
                  <c:v>15</c:v>
                </c:pt>
              </c:numCache>
            </c:numRef>
          </c:val>
          <c:extLst>
            <c:ext xmlns:c16="http://schemas.microsoft.com/office/drawing/2014/chart" uri="{C3380CC4-5D6E-409C-BE32-E72D297353CC}">
              <c16:uniqueId val="{00000000-D1D9-4824-8FEB-505C590E640D}"/>
            </c:ext>
          </c:extLst>
        </c:ser>
        <c:dLbls>
          <c:showLegendKey val="0"/>
          <c:showVal val="0"/>
          <c:showCatName val="0"/>
          <c:showSerName val="0"/>
          <c:showPercent val="0"/>
          <c:showBubbleSize val="0"/>
        </c:dLbls>
        <c:gapWidth val="80"/>
        <c:overlap val="100"/>
        <c:axId val="1735917951"/>
        <c:axId val="1"/>
      </c:barChart>
      <c:catAx>
        <c:axId val="1735917951"/>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sz="800" b="1" kern="1200">
                <a:latin typeface="Open Sans"/>
                <a:ea typeface="Open Sans"/>
                <a:cs typeface="Open Sans"/>
                <a:sym typeface="Open Sans"/>
              </a:defRPr>
            </a:pPr>
            <a:endParaRPr lang="en-HU"/>
          </a:p>
        </c:txPr>
        <c:crossAx val="1"/>
        <c:crosses val="min"/>
        <c:auto val="0"/>
        <c:lblAlgn val="ctr"/>
        <c:lblOffset val="100"/>
        <c:noMultiLvlLbl val="0"/>
      </c:catAx>
      <c:valAx>
        <c:axId val="1"/>
        <c:scaling>
          <c:orientation val="minMax"/>
          <c:max val="40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Open Sans"/>
                <a:ea typeface="Open Sans"/>
                <a:cs typeface="Open Sans"/>
                <a:sym typeface="Open Sans"/>
              </a:defRPr>
            </a:pPr>
            <a:endParaRPr lang="en-HU"/>
          </a:p>
        </c:txPr>
        <c:crossAx val="1735917951"/>
        <c:crosses val="max"/>
        <c:crossBetween val="between"/>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759358288770054E-2"/>
          <c:y val="0.11304347826086956"/>
          <c:w val="0.93048128342245995"/>
          <c:h val="0.77391304347826084"/>
        </c:manualLayout>
      </c:layout>
      <c:barChart>
        <c:barDir val="bar"/>
        <c:grouping val="stacked"/>
        <c:varyColors val="0"/>
        <c:ser>
          <c:idx val="0"/>
          <c:order val="0"/>
          <c:spPr>
            <a:solidFill>
              <a:srgbClr val="C0C0C0"/>
            </a:solidFill>
            <a:ln>
              <a:noFill/>
            </a:ln>
          </c:spPr>
          <c:invertIfNegative val="0"/>
          <c:val>
            <c:numRef>
              <c:f>Sheet1!$A$1</c:f>
              <c:numCache>
                <c:formatCode>General</c:formatCode>
                <c:ptCount val="1"/>
                <c:pt idx="0">
                  <c:v>-92</c:v>
                </c:pt>
              </c:numCache>
            </c:numRef>
          </c:val>
          <c:extLst>
            <c:ext xmlns:c16="http://schemas.microsoft.com/office/drawing/2014/chart" uri="{C3380CC4-5D6E-409C-BE32-E72D297353CC}">
              <c16:uniqueId val="{00000000-E747-4D64-826B-2477FAFA26CA}"/>
            </c:ext>
          </c:extLst>
        </c:ser>
        <c:ser>
          <c:idx val="1"/>
          <c:order val="1"/>
          <c:spPr>
            <a:solidFill>
              <a:srgbClr val="DA291C"/>
            </a:solidFill>
            <a:ln>
              <a:noFill/>
            </a:ln>
          </c:spPr>
          <c:invertIfNegative val="0"/>
          <c:val>
            <c:numRef>
              <c:f>Sheet1!$A$2</c:f>
              <c:numCache>
                <c:formatCode>General</c:formatCode>
                <c:ptCount val="1"/>
                <c:pt idx="0">
                  <c:v>-8</c:v>
                </c:pt>
              </c:numCache>
            </c:numRef>
          </c:val>
          <c:extLst>
            <c:ext xmlns:c16="http://schemas.microsoft.com/office/drawing/2014/chart" uri="{C3380CC4-5D6E-409C-BE32-E72D297353CC}">
              <c16:uniqueId val="{00000001-E747-4D64-826B-2477FAFA26CA}"/>
            </c:ext>
          </c:extLst>
        </c:ser>
        <c:ser>
          <c:idx val="2"/>
          <c:order val="2"/>
          <c:spPr>
            <a:solidFill>
              <a:srgbClr val="969696"/>
            </a:solidFill>
            <a:ln>
              <a:noFill/>
            </a:ln>
          </c:spPr>
          <c:invertIfNegative val="0"/>
          <c:val>
            <c:numRef>
              <c:f>Sheet1!$A$3</c:f>
              <c:numCache>
                <c:formatCode>General</c:formatCode>
                <c:ptCount val="1"/>
                <c:pt idx="0">
                  <c:v>114</c:v>
                </c:pt>
              </c:numCache>
            </c:numRef>
          </c:val>
          <c:extLst>
            <c:ext xmlns:c16="http://schemas.microsoft.com/office/drawing/2014/chart" uri="{C3380CC4-5D6E-409C-BE32-E72D297353CC}">
              <c16:uniqueId val="{00000002-E747-4D64-826B-2477FAFA26CA}"/>
            </c:ext>
          </c:extLst>
        </c:ser>
        <c:dLbls>
          <c:showLegendKey val="0"/>
          <c:showVal val="0"/>
          <c:showCatName val="0"/>
          <c:showSerName val="0"/>
          <c:showPercent val="0"/>
          <c:showBubbleSize val="0"/>
        </c:dLbls>
        <c:gapWidth val="80"/>
        <c:overlap val="100"/>
        <c:axId val="358119648"/>
        <c:axId val="1"/>
      </c:barChart>
      <c:catAx>
        <c:axId val="358119648"/>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Open Sans (Body)"/>
                <a:ea typeface="Open Sans (Body)"/>
                <a:cs typeface="Open Sans (Body)"/>
                <a:sym typeface="Open Sans (Body)"/>
              </a:defRPr>
            </a:pPr>
            <a:endParaRPr lang="en-HU"/>
          </a:p>
        </c:txPr>
        <c:crossAx val="1"/>
        <c:crossesAt val="0"/>
        <c:auto val="0"/>
        <c:lblAlgn val="ctr"/>
        <c:lblOffset val="100"/>
        <c:noMultiLvlLbl val="0"/>
      </c:catAx>
      <c:valAx>
        <c:axId val="1"/>
        <c:scaling>
          <c:orientation val="minMax"/>
          <c:max val="150"/>
          <c:min val="-13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358119648"/>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dPt>
            <c:idx val="0"/>
            <c:bubble3D val="0"/>
            <c:spPr>
              <a:solidFill>
                <a:schemeClr val="accent6">
                  <a:shade val="44000"/>
                </a:schemeClr>
              </a:solidFill>
              <a:ln>
                <a:noFill/>
              </a:ln>
              <a:effectLst/>
            </c:spPr>
            <c:extLst>
              <c:ext xmlns:c16="http://schemas.microsoft.com/office/drawing/2014/chart" uri="{C3380CC4-5D6E-409C-BE32-E72D297353CC}">
                <c16:uniqueId val="{00000001-0431-45FE-A8C4-8A894A735542}"/>
              </c:ext>
            </c:extLst>
          </c:dPt>
          <c:dPt>
            <c:idx val="1"/>
            <c:bubble3D val="0"/>
            <c:spPr>
              <a:solidFill>
                <a:schemeClr val="accent6">
                  <a:shade val="58000"/>
                </a:schemeClr>
              </a:solidFill>
              <a:ln>
                <a:noFill/>
              </a:ln>
              <a:effectLst/>
            </c:spPr>
            <c:extLst>
              <c:ext xmlns:c16="http://schemas.microsoft.com/office/drawing/2014/chart" uri="{C3380CC4-5D6E-409C-BE32-E72D297353CC}">
                <c16:uniqueId val="{00000003-0431-45FE-A8C4-8A894A735542}"/>
              </c:ext>
            </c:extLst>
          </c:dPt>
          <c:dPt>
            <c:idx val="2"/>
            <c:bubble3D val="0"/>
            <c:spPr>
              <a:solidFill>
                <a:schemeClr val="accent6">
                  <a:shade val="72000"/>
                </a:schemeClr>
              </a:solidFill>
              <a:ln>
                <a:noFill/>
              </a:ln>
              <a:effectLst/>
            </c:spPr>
            <c:extLst>
              <c:ext xmlns:c16="http://schemas.microsoft.com/office/drawing/2014/chart" uri="{C3380CC4-5D6E-409C-BE32-E72D297353CC}">
                <c16:uniqueId val="{00000005-0431-45FE-A8C4-8A894A735542}"/>
              </c:ext>
            </c:extLst>
          </c:dPt>
          <c:dPt>
            <c:idx val="3"/>
            <c:bubble3D val="0"/>
            <c:spPr>
              <a:solidFill>
                <a:schemeClr val="accent6">
                  <a:shade val="86000"/>
                </a:schemeClr>
              </a:solidFill>
              <a:ln>
                <a:noFill/>
              </a:ln>
              <a:effectLst/>
            </c:spPr>
            <c:extLst>
              <c:ext xmlns:c16="http://schemas.microsoft.com/office/drawing/2014/chart" uri="{C3380CC4-5D6E-409C-BE32-E72D297353CC}">
                <c16:uniqueId val="{00000007-0431-45FE-A8C4-8A894A735542}"/>
              </c:ext>
            </c:extLst>
          </c:dPt>
          <c:dPt>
            <c:idx val="4"/>
            <c:bubble3D val="0"/>
            <c:spPr>
              <a:solidFill>
                <a:schemeClr val="accent6"/>
              </a:solidFill>
              <a:ln>
                <a:noFill/>
              </a:ln>
              <a:effectLst/>
            </c:spPr>
            <c:extLst>
              <c:ext xmlns:c16="http://schemas.microsoft.com/office/drawing/2014/chart" uri="{C3380CC4-5D6E-409C-BE32-E72D297353CC}">
                <c16:uniqueId val="{00000009-0431-45FE-A8C4-8A894A735542}"/>
              </c:ext>
            </c:extLst>
          </c:dPt>
          <c:dPt>
            <c:idx val="5"/>
            <c:bubble3D val="0"/>
            <c:spPr>
              <a:solidFill>
                <a:schemeClr val="accent6">
                  <a:tint val="86000"/>
                </a:schemeClr>
              </a:solidFill>
              <a:ln>
                <a:noFill/>
              </a:ln>
              <a:effectLst/>
            </c:spPr>
            <c:extLst>
              <c:ext xmlns:c16="http://schemas.microsoft.com/office/drawing/2014/chart" uri="{C3380CC4-5D6E-409C-BE32-E72D297353CC}">
                <c16:uniqueId val="{0000000B-0431-45FE-A8C4-8A894A735542}"/>
              </c:ext>
            </c:extLst>
          </c:dPt>
          <c:dPt>
            <c:idx val="6"/>
            <c:bubble3D val="0"/>
            <c:spPr>
              <a:solidFill>
                <a:schemeClr val="accent6">
                  <a:tint val="72000"/>
                </a:schemeClr>
              </a:solidFill>
              <a:ln>
                <a:noFill/>
              </a:ln>
              <a:effectLst/>
            </c:spPr>
            <c:extLst>
              <c:ext xmlns:c16="http://schemas.microsoft.com/office/drawing/2014/chart" uri="{C3380CC4-5D6E-409C-BE32-E72D297353CC}">
                <c16:uniqueId val="{0000000D-0431-45FE-A8C4-8A894A735542}"/>
              </c:ext>
            </c:extLst>
          </c:dPt>
          <c:dPt>
            <c:idx val="7"/>
            <c:bubble3D val="0"/>
            <c:spPr>
              <a:solidFill>
                <a:schemeClr val="accent6">
                  <a:tint val="58000"/>
                </a:schemeClr>
              </a:solidFill>
              <a:ln>
                <a:noFill/>
              </a:ln>
              <a:effectLst/>
            </c:spPr>
            <c:extLst>
              <c:ext xmlns:c16="http://schemas.microsoft.com/office/drawing/2014/chart" uri="{C3380CC4-5D6E-409C-BE32-E72D297353CC}">
                <c16:uniqueId val="{0000000F-0431-45FE-A8C4-8A894A735542}"/>
              </c:ext>
            </c:extLst>
          </c:dPt>
          <c:dPt>
            <c:idx val="8"/>
            <c:bubble3D val="0"/>
            <c:spPr>
              <a:solidFill>
                <a:schemeClr val="accent6">
                  <a:tint val="44000"/>
                </a:schemeClr>
              </a:solidFill>
              <a:ln>
                <a:noFill/>
              </a:ln>
              <a:effectLst/>
            </c:spPr>
            <c:extLst>
              <c:ext xmlns:c16="http://schemas.microsoft.com/office/drawing/2014/chart" uri="{C3380CC4-5D6E-409C-BE32-E72D297353CC}">
                <c16:uniqueId val="{00000011-0431-45FE-A8C4-8A894A735542}"/>
              </c:ext>
            </c:extLst>
          </c:dPt>
          <c:cat>
            <c:strRef>
              <c:f>Sheet1!$A$2:$A$10</c:f>
              <c:strCache>
                <c:ptCount val="9"/>
                <c:pt idx="0">
                  <c:v>Label A</c:v>
                </c:pt>
                <c:pt idx="1">
                  <c:v>Label B</c:v>
                </c:pt>
                <c:pt idx="2">
                  <c:v>Label C</c:v>
                </c:pt>
                <c:pt idx="3">
                  <c:v>Label D</c:v>
                </c:pt>
                <c:pt idx="4">
                  <c:v>Label E</c:v>
                </c:pt>
                <c:pt idx="5">
                  <c:v>Label F</c:v>
                </c:pt>
                <c:pt idx="6">
                  <c:v>Label G</c:v>
                </c:pt>
                <c:pt idx="7">
                  <c:v>Label H</c:v>
                </c:pt>
                <c:pt idx="8">
                  <c:v>Label U</c:v>
                </c:pt>
              </c:strCache>
            </c:strRef>
          </c:cat>
          <c:val>
            <c:numRef>
              <c:f>Sheet1!$B$2:$B$10</c:f>
              <c:numCache>
                <c:formatCode>General</c:formatCode>
                <c:ptCount val="9"/>
                <c:pt idx="0">
                  <c:v>0</c:v>
                </c:pt>
                <c:pt idx="1">
                  <c:v>11</c:v>
                </c:pt>
                <c:pt idx="2">
                  <c:v>11</c:v>
                </c:pt>
                <c:pt idx="3">
                  <c:v>11</c:v>
                </c:pt>
                <c:pt idx="4">
                  <c:v>11</c:v>
                </c:pt>
                <c:pt idx="5">
                  <c:v>11</c:v>
                </c:pt>
                <c:pt idx="6">
                  <c:v>11</c:v>
                </c:pt>
                <c:pt idx="7">
                  <c:v>11</c:v>
                </c:pt>
                <c:pt idx="8">
                  <c:v>11</c:v>
                </c:pt>
              </c:numCache>
            </c:numRef>
          </c:val>
          <c:extLst>
            <c:ext xmlns:c16="http://schemas.microsoft.com/office/drawing/2014/chart" uri="{C3380CC4-5D6E-409C-BE32-E72D297353CC}">
              <c16:uniqueId val="{00000012-0431-45FE-A8C4-8A894A735542}"/>
            </c:ext>
          </c:extLst>
        </c:ser>
        <c:dLbls>
          <c:showLegendKey val="0"/>
          <c:showVal val="0"/>
          <c:showCatName val="0"/>
          <c:showSerName val="0"/>
          <c:showPercent val="0"/>
          <c:showBubbleSize val="0"/>
          <c:showLeaderLines val="1"/>
        </c:dLbls>
        <c:firstSliceAng val="44"/>
      </c:pieChart>
      <c:spPr>
        <a:noFill/>
        <a:ln>
          <a:noFill/>
        </a:ln>
        <a:effectLst/>
      </c:spPr>
    </c:plotArea>
    <c:plotVisOnly val="1"/>
    <c:dispBlanksAs val="zero"/>
    <c:showDLblsOverMax val="0"/>
  </c:chart>
  <c:spPr>
    <a:noFill/>
    <a:ln w="9525" cap="flat" cmpd="sng" algn="ctr">
      <a:noFill/>
      <a:prstDash val="solid"/>
    </a:ln>
    <a:effectLst/>
  </c:spPr>
  <c:txPr>
    <a:bodyPr/>
    <a:lstStyle/>
    <a:p>
      <a:pPr>
        <a:defRPr sz="1000" b="1">
          <a:solidFill>
            <a:schemeClr val="bg1"/>
          </a:solidFill>
        </a:defRPr>
      </a:pPr>
      <a:endParaRPr lang="en-HU"/>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00A3E0"/>
            </a:solidFill>
            <a:ln w="38100">
              <a:solidFill>
                <a:schemeClr val="tx1"/>
              </a:solidFill>
            </a:ln>
          </c:spPr>
          <c:dPt>
            <c:idx val="0"/>
            <c:bubble3D val="0"/>
            <c:spPr>
              <a:solidFill>
                <a:srgbClr val="0076A8"/>
              </a:solidFill>
              <a:ln w="38100">
                <a:solidFill>
                  <a:schemeClr val="tx1"/>
                </a:solidFill>
              </a:ln>
              <a:effectLst/>
            </c:spPr>
            <c:extLst>
              <c:ext xmlns:c16="http://schemas.microsoft.com/office/drawing/2014/chart" uri="{C3380CC4-5D6E-409C-BE32-E72D297353CC}">
                <c16:uniqueId val="{00000001-ADCF-4876-8B7F-513C462E0538}"/>
              </c:ext>
            </c:extLst>
          </c:dPt>
          <c:dPt>
            <c:idx val="1"/>
            <c:bubble3D val="0"/>
            <c:spPr>
              <a:solidFill>
                <a:srgbClr val="00A3E0"/>
              </a:solidFill>
              <a:ln w="38100">
                <a:solidFill>
                  <a:schemeClr val="tx1"/>
                </a:solidFill>
              </a:ln>
              <a:effectLst/>
            </c:spPr>
            <c:extLst>
              <c:ext xmlns:c16="http://schemas.microsoft.com/office/drawing/2014/chart" uri="{C3380CC4-5D6E-409C-BE32-E72D297353CC}">
                <c16:uniqueId val="{00000003-ADCF-4876-8B7F-513C462E0538}"/>
              </c:ext>
            </c:extLst>
          </c:dPt>
          <c:dPt>
            <c:idx val="2"/>
            <c:bubble3D val="0"/>
            <c:spPr>
              <a:solidFill>
                <a:srgbClr val="0076A8"/>
              </a:solidFill>
              <a:ln w="38100">
                <a:solidFill>
                  <a:schemeClr val="tx1"/>
                </a:solidFill>
              </a:ln>
              <a:effectLst/>
            </c:spPr>
            <c:extLst>
              <c:ext xmlns:c16="http://schemas.microsoft.com/office/drawing/2014/chart" uri="{C3380CC4-5D6E-409C-BE32-E72D297353CC}">
                <c16:uniqueId val="{00000005-ADCF-4876-8B7F-513C462E0538}"/>
              </c:ext>
            </c:extLst>
          </c:dPt>
          <c:dPt>
            <c:idx val="3"/>
            <c:bubble3D val="0"/>
            <c:spPr>
              <a:solidFill>
                <a:srgbClr val="00A3E0"/>
              </a:solidFill>
              <a:ln w="38100">
                <a:solidFill>
                  <a:schemeClr val="tx1"/>
                </a:solidFill>
              </a:ln>
              <a:effectLst/>
            </c:spPr>
            <c:extLst>
              <c:ext xmlns:c16="http://schemas.microsoft.com/office/drawing/2014/chart" uri="{C3380CC4-5D6E-409C-BE32-E72D297353CC}">
                <c16:uniqueId val="{00000007-ADCF-4876-8B7F-513C462E0538}"/>
              </c:ext>
            </c:extLst>
          </c:dPt>
          <c:dPt>
            <c:idx val="4"/>
            <c:bubble3D val="0"/>
            <c:spPr>
              <a:solidFill>
                <a:srgbClr val="0076A8"/>
              </a:solidFill>
              <a:ln w="38100">
                <a:solidFill>
                  <a:schemeClr val="tx1"/>
                </a:solidFill>
              </a:ln>
              <a:effectLst/>
            </c:spPr>
            <c:extLst>
              <c:ext xmlns:c16="http://schemas.microsoft.com/office/drawing/2014/chart" uri="{C3380CC4-5D6E-409C-BE32-E72D297353CC}">
                <c16:uniqueId val="{00000009-ADCF-4876-8B7F-513C462E0538}"/>
              </c:ext>
            </c:extLst>
          </c:dPt>
          <c:dPt>
            <c:idx val="5"/>
            <c:bubble3D val="0"/>
            <c:spPr>
              <a:solidFill>
                <a:srgbClr val="00A3E0"/>
              </a:solidFill>
              <a:ln w="38100">
                <a:solidFill>
                  <a:schemeClr val="tx1"/>
                </a:solidFill>
              </a:ln>
              <a:effectLst/>
            </c:spPr>
            <c:extLst>
              <c:ext xmlns:c16="http://schemas.microsoft.com/office/drawing/2014/chart" uri="{C3380CC4-5D6E-409C-BE32-E72D297353CC}">
                <c16:uniqueId val="{0000000B-ADCF-4876-8B7F-513C462E0538}"/>
              </c:ext>
            </c:extLst>
          </c:dPt>
          <c:dPt>
            <c:idx val="6"/>
            <c:bubble3D val="0"/>
            <c:spPr>
              <a:solidFill>
                <a:srgbClr val="0076A8"/>
              </a:solidFill>
              <a:ln w="38100">
                <a:solidFill>
                  <a:schemeClr val="tx1"/>
                </a:solidFill>
              </a:ln>
              <a:effectLst/>
            </c:spPr>
            <c:extLst>
              <c:ext xmlns:c16="http://schemas.microsoft.com/office/drawing/2014/chart" uri="{C3380CC4-5D6E-409C-BE32-E72D297353CC}">
                <c16:uniqueId val="{0000000D-ADCF-4876-8B7F-513C462E0538}"/>
              </c:ext>
            </c:extLst>
          </c:dPt>
          <c:dPt>
            <c:idx val="7"/>
            <c:bubble3D val="0"/>
            <c:spPr>
              <a:solidFill>
                <a:srgbClr val="00A3E0"/>
              </a:solidFill>
              <a:ln w="38100">
                <a:solidFill>
                  <a:schemeClr val="tx1"/>
                </a:solidFill>
              </a:ln>
              <a:effectLst/>
            </c:spPr>
            <c:extLst>
              <c:ext xmlns:c16="http://schemas.microsoft.com/office/drawing/2014/chart" uri="{C3380CC4-5D6E-409C-BE32-E72D297353CC}">
                <c16:uniqueId val="{0000000F-ADCF-4876-8B7F-513C462E0538}"/>
              </c:ext>
            </c:extLst>
          </c:dPt>
          <c:cat>
            <c:strRef>
              <c:f>Sheet1!$A$2:$A$9</c:f>
              <c:strCache>
                <c:ptCount val="4"/>
                <c:pt idx="0">
                  <c:v>1st Qtr</c:v>
                </c:pt>
                <c:pt idx="1">
                  <c:v>2nd Qtr</c:v>
                </c:pt>
                <c:pt idx="2">
                  <c:v>3rd Qtr</c:v>
                </c:pt>
                <c:pt idx="3">
                  <c:v>4th Qtr</c:v>
                </c:pt>
              </c:strCache>
            </c:strRef>
          </c:cat>
          <c:val>
            <c:numRef>
              <c:f>Sheet1!$B$2:$B$9</c:f>
              <c:numCache>
                <c:formatCode>General</c:formatCode>
                <c:ptCount val="8"/>
                <c:pt idx="0">
                  <c:v>1</c:v>
                </c:pt>
                <c:pt idx="1">
                  <c:v>1</c:v>
                </c:pt>
                <c:pt idx="2">
                  <c:v>1</c:v>
                </c:pt>
                <c:pt idx="3">
                  <c:v>1</c:v>
                </c:pt>
                <c:pt idx="4">
                  <c:v>1</c:v>
                </c:pt>
                <c:pt idx="5">
                  <c:v>1</c:v>
                </c:pt>
                <c:pt idx="6">
                  <c:v>1</c:v>
                </c:pt>
                <c:pt idx="7">
                  <c:v>1</c:v>
                </c:pt>
              </c:numCache>
            </c:numRef>
          </c:val>
          <c:extLst>
            <c:ext xmlns:c16="http://schemas.microsoft.com/office/drawing/2014/chart" uri="{C3380CC4-5D6E-409C-BE32-E72D297353CC}">
              <c16:uniqueId val="{00000010-ADCF-4876-8B7F-513C462E053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12838494678110221"/>
          <c:y val="0.10715440002097711"/>
          <c:w val="0.78756398194330601"/>
          <c:h val="0.81717898401498801"/>
        </c:manualLayout>
      </c:layout>
      <c:doughnutChart>
        <c:varyColors val="1"/>
        <c:ser>
          <c:idx val="0"/>
          <c:order val="0"/>
          <c:tx>
            <c:strRef>
              <c:f>Sheet1!$B$1</c:f>
              <c:strCache>
                <c:ptCount val="1"/>
                <c:pt idx="0">
                  <c:v>Q1</c:v>
                </c:pt>
              </c:strCache>
            </c:strRef>
          </c:tx>
          <c:spPr>
            <a:ln>
              <a:solidFill>
                <a:schemeClr val="bg1"/>
              </a:solidFill>
            </a:ln>
          </c:spPr>
          <c:dPt>
            <c:idx val="0"/>
            <c:bubble3D val="0"/>
            <c:spPr>
              <a:solidFill>
                <a:schemeClr val="accent5">
                  <a:tint val="65000"/>
                </a:schemeClr>
              </a:solidFill>
              <a:ln>
                <a:solidFill>
                  <a:schemeClr val="bg1"/>
                </a:solidFill>
              </a:ln>
              <a:effectLst/>
            </c:spPr>
            <c:extLst>
              <c:ext xmlns:c16="http://schemas.microsoft.com/office/drawing/2014/chart" uri="{C3380CC4-5D6E-409C-BE32-E72D297353CC}">
                <c16:uniqueId val="{00000001-E812-4B40-A4CD-4FB4DF2A372E}"/>
              </c:ext>
            </c:extLst>
          </c:dPt>
          <c:dPt>
            <c:idx val="1"/>
            <c:bubble3D val="0"/>
            <c:spPr>
              <a:solidFill>
                <a:schemeClr val="bg1">
                  <a:lumMod val="75000"/>
                </a:schemeClr>
              </a:solidFill>
              <a:ln>
                <a:solidFill>
                  <a:schemeClr val="bg1"/>
                </a:solidFill>
              </a:ln>
              <a:effectLst/>
            </c:spPr>
            <c:extLst>
              <c:ext xmlns:c16="http://schemas.microsoft.com/office/drawing/2014/chart" uri="{C3380CC4-5D6E-409C-BE32-E72D297353CC}">
                <c16:uniqueId val="{00000003-E812-4B40-A4CD-4FB4DF2A372E}"/>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5-E812-4B40-A4CD-4FB4DF2A372E}"/>
              </c:ext>
            </c:extLst>
          </c:dPt>
          <c:dPt>
            <c:idx val="3"/>
            <c:bubble3D val="0"/>
            <c:spPr>
              <a:solidFill>
                <a:schemeClr val="accent5">
                  <a:shade val="65000"/>
                </a:schemeClr>
              </a:solidFill>
              <a:ln>
                <a:solidFill>
                  <a:schemeClr val="bg1"/>
                </a:solidFill>
              </a:ln>
              <a:effectLst/>
            </c:spPr>
            <c:extLst>
              <c:ext xmlns:c16="http://schemas.microsoft.com/office/drawing/2014/chart" uri="{C3380CC4-5D6E-409C-BE32-E72D297353CC}">
                <c16:uniqueId val="{00000007-E812-4B40-A4CD-4FB4DF2A372E}"/>
              </c:ext>
            </c:extLst>
          </c:dPt>
          <c:dPt>
            <c:idx val="4"/>
            <c:bubble3D val="0"/>
            <c:spPr>
              <a:solidFill>
                <a:schemeClr val="accent5">
                  <a:shade val="65000"/>
                </a:schemeClr>
              </a:solidFill>
              <a:ln>
                <a:solidFill>
                  <a:schemeClr val="bg1"/>
                </a:solidFill>
              </a:ln>
              <a:effectLst/>
            </c:spPr>
            <c:extLst>
              <c:ext xmlns:c16="http://schemas.microsoft.com/office/drawing/2014/chart" uri="{C3380CC4-5D6E-409C-BE32-E72D297353CC}">
                <c16:uniqueId val="{00000009-E812-4B40-A4CD-4FB4DF2A372E}"/>
              </c:ext>
            </c:extLst>
          </c:dPt>
          <c:dPt>
            <c:idx val="5"/>
            <c:bubble3D val="0"/>
            <c:spPr>
              <a:solidFill>
                <a:schemeClr val="accent5">
                  <a:shade val="65000"/>
                </a:schemeClr>
              </a:solidFill>
              <a:ln>
                <a:solidFill>
                  <a:schemeClr val="bg1"/>
                </a:solidFill>
              </a:ln>
              <a:effectLst/>
            </c:spPr>
            <c:extLst>
              <c:ext xmlns:c16="http://schemas.microsoft.com/office/drawing/2014/chart" uri="{C3380CC4-5D6E-409C-BE32-E72D297353CC}">
                <c16:uniqueId val="{0000000B-E812-4B40-A4CD-4FB4DF2A372E}"/>
              </c:ext>
            </c:extLst>
          </c:dPt>
          <c:dPt>
            <c:idx val="6"/>
            <c:bubble3D val="0"/>
            <c:spPr>
              <a:solidFill>
                <a:schemeClr val="accent5">
                  <a:shade val="65000"/>
                </a:schemeClr>
              </a:solidFill>
              <a:ln>
                <a:solidFill>
                  <a:schemeClr val="bg1"/>
                </a:solidFill>
              </a:ln>
              <a:effectLst/>
            </c:spPr>
            <c:extLst>
              <c:ext xmlns:c16="http://schemas.microsoft.com/office/drawing/2014/chart" uri="{C3380CC4-5D6E-409C-BE32-E72D297353CC}">
                <c16:uniqueId val="{0000000D-E812-4B40-A4CD-4FB4DF2A372E}"/>
              </c:ext>
            </c:extLst>
          </c:dPt>
          <c:dPt>
            <c:idx val="7"/>
            <c:bubble3D val="0"/>
            <c:spPr>
              <a:solidFill>
                <a:schemeClr val="accent5">
                  <a:shade val="65000"/>
                </a:schemeClr>
              </a:solidFill>
              <a:ln>
                <a:solidFill>
                  <a:schemeClr val="bg1"/>
                </a:solidFill>
              </a:ln>
              <a:effectLst/>
            </c:spPr>
            <c:extLst>
              <c:ext xmlns:c16="http://schemas.microsoft.com/office/drawing/2014/chart" uri="{C3380CC4-5D6E-409C-BE32-E72D297353CC}">
                <c16:uniqueId val="{0000000F-E812-4B40-A4CD-4FB4DF2A372E}"/>
              </c:ext>
            </c:extLst>
          </c:dPt>
          <c:dPt>
            <c:idx val="8"/>
            <c:bubble3D val="0"/>
            <c:spPr>
              <a:solidFill>
                <a:schemeClr val="accent5">
                  <a:shade val="65000"/>
                </a:schemeClr>
              </a:solidFill>
              <a:ln>
                <a:solidFill>
                  <a:schemeClr val="bg1"/>
                </a:solidFill>
              </a:ln>
              <a:effectLst/>
            </c:spPr>
            <c:extLst>
              <c:ext xmlns:c16="http://schemas.microsoft.com/office/drawing/2014/chart" uri="{C3380CC4-5D6E-409C-BE32-E72D297353CC}">
                <c16:uniqueId val="{00000011-E812-4B40-A4CD-4FB4DF2A372E}"/>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E812-4B40-A4CD-4FB4DF2A372E}"/>
            </c:ext>
          </c:extLst>
        </c:ser>
        <c:ser>
          <c:idx val="1"/>
          <c:order val="1"/>
          <c:tx>
            <c:strRef>
              <c:f>Sheet1!$C$1</c:f>
              <c:strCache>
                <c:ptCount val="1"/>
                <c:pt idx="0">
                  <c:v>Q2</c:v>
                </c:pt>
              </c:strCache>
            </c:strRef>
          </c:tx>
          <c:spPr>
            <a:ln>
              <a:solidFill>
                <a:schemeClr val="bg1"/>
              </a:solidFill>
            </a:ln>
          </c:spPr>
          <c:dPt>
            <c:idx val="0"/>
            <c:bubble3D val="0"/>
            <c:spPr>
              <a:solidFill>
                <a:schemeClr val="accent5">
                  <a:tint val="65000"/>
                </a:schemeClr>
              </a:solidFill>
              <a:ln>
                <a:solidFill>
                  <a:schemeClr val="bg1"/>
                </a:solidFill>
              </a:ln>
              <a:effectLst/>
            </c:spPr>
            <c:extLst>
              <c:ext xmlns:c16="http://schemas.microsoft.com/office/drawing/2014/chart" uri="{C3380CC4-5D6E-409C-BE32-E72D297353CC}">
                <c16:uniqueId val="{00000014-E812-4B40-A4CD-4FB4DF2A372E}"/>
              </c:ext>
            </c:extLst>
          </c:dPt>
          <c:dPt>
            <c:idx val="1"/>
            <c:bubble3D val="0"/>
            <c:spPr>
              <a:solidFill>
                <a:schemeClr val="bg1">
                  <a:lumMod val="75000"/>
                </a:schemeClr>
              </a:solidFill>
              <a:ln>
                <a:solidFill>
                  <a:schemeClr val="bg1"/>
                </a:solidFill>
              </a:ln>
              <a:effectLst/>
            </c:spPr>
            <c:extLst>
              <c:ext xmlns:c16="http://schemas.microsoft.com/office/drawing/2014/chart" uri="{C3380CC4-5D6E-409C-BE32-E72D297353CC}">
                <c16:uniqueId val="{00000016-E812-4B40-A4CD-4FB4DF2A372E}"/>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18-E812-4B40-A4CD-4FB4DF2A372E}"/>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E812-4B40-A4CD-4FB4DF2A372E}"/>
            </c:ext>
          </c:extLst>
        </c:ser>
        <c:ser>
          <c:idx val="2"/>
          <c:order val="2"/>
          <c:tx>
            <c:strRef>
              <c:f>Sheet1!$D$1</c:f>
              <c:strCache>
                <c:ptCount val="1"/>
                <c:pt idx="0">
                  <c:v>Q3</c:v>
                </c:pt>
              </c:strCache>
            </c:strRef>
          </c:tx>
          <c:spPr>
            <a:ln>
              <a:solidFill>
                <a:schemeClr val="bg1"/>
              </a:solidFill>
            </a:ln>
          </c:spPr>
          <c:dPt>
            <c:idx val="0"/>
            <c:bubble3D val="0"/>
            <c:spPr>
              <a:solidFill>
                <a:schemeClr val="accent5">
                  <a:tint val="65000"/>
                </a:schemeClr>
              </a:solidFill>
              <a:ln>
                <a:solidFill>
                  <a:schemeClr val="bg1"/>
                </a:solidFill>
              </a:ln>
              <a:effectLst/>
            </c:spPr>
            <c:extLst>
              <c:ext xmlns:c16="http://schemas.microsoft.com/office/drawing/2014/chart" uri="{C3380CC4-5D6E-409C-BE32-E72D297353CC}">
                <c16:uniqueId val="{0000001B-E812-4B40-A4CD-4FB4DF2A372E}"/>
              </c:ext>
            </c:extLst>
          </c:dPt>
          <c:dPt>
            <c:idx val="1"/>
            <c:bubble3D val="0"/>
            <c:spPr>
              <a:solidFill>
                <a:schemeClr val="bg1">
                  <a:lumMod val="75000"/>
                </a:schemeClr>
              </a:solidFill>
              <a:ln>
                <a:solidFill>
                  <a:schemeClr val="bg1"/>
                </a:solidFill>
              </a:ln>
              <a:effectLst/>
            </c:spPr>
            <c:extLst>
              <c:ext xmlns:c16="http://schemas.microsoft.com/office/drawing/2014/chart" uri="{C3380CC4-5D6E-409C-BE32-E72D297353CC}">
                <c16:uniqueId val="{0000001D-E812-4B40-A4CD-4FB4DF2A372E}"/>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1F-E812-4B40-A4CD-4FB4DF2A372E}"/>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E812-4B40-A4CD-4FB4DF2A372E}"/>
            </c:ext>
          </c:extLst>
        </c:ser>
        <c:ser>
          <c:idx val="3"/>
          <c:order val="3"/>
          <c:tx>
            <c:strRef>
              <c:f>Sheet1!$E$1</c:f>
              <c:strCache>
                <c:ptCount val="1"/>
                <c:pt idx="0">
                  <c:v>Q4</c:v>
                </c:pt>
              </c:strCache>
            </c:strRef>
          </c:tx>
          <c:spPr>
            <a:ln>
              <a:solidFill>
                <a:schemeClr val="bg1"/>
              </a:solidFill>
            </a:ln>
          </c:spPr>
          <c:dPt>
            <c:idx val="0"/>
            <c:bubble3D val="0"/>
            <c:spPr>
              <a:solidFill>
                <a:schemeClr val="accent5">
                  <a:tint val="65000"/>
                </a:schemeClr>
              </a:solidFill>
              <a:ln>
                <a:solidFill>
                  <a:schemeClr val="bg1"/>
                </a:solidFill>
              </a:ln>
              <a:effectLst/>
            </c:spPr>
            <c:extLst>
              <c:ext xmlns:c16="http://schemas.microsoft.com/office/drawing/2014/chart" uri="{C3380CC4-5D6E-409C-BE32-E72D297353CC}">
                <c16:uniqueId val="{00000022-E812-4B40-A4CD-4FB4DF2A372E}"/>
              </c:ext>
            </c:extLst>
          </c:dPt>
          <c:dPt>
            <c:idx val="1"/>
            <c:bubble3D val="0"/>
            <c:spPr>
              <a:solidFill>
                <a:schemeClr val="bg1">
                  <a:lumMod val="75000"/>
                </a:schemeClr>
              </a:solidFill>
              <a:ln>
                <a:solidFill>
                  <a:schemeClr val="bg1"/>
                </a:solidFill>
              </a:ln>
              <a:effectLst/>
            </c:spPr>
            <c:extLst>
              <c:ext xmlns:c16="http://schemas.microsoft.com/office/drawing/2014/chart" uri="{C3380CC4-5D6E-409C-BE32-E72D297353CC}">
                <c16:uniqueId val="{00000024-E812-4B40-A4CD-4FB4DF2A372E}"/>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26-E812-4B40-A4CD-4FB4DF2A372E}"/>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E812-4B40-A4CD-4FB4DF2A372E}"/>
            </c:ext>
          </c:extLst>
        </c:ser>
        <c:ser>
          <c:idx val="4"/>
          <c:order val="4"/>
          <c:tx>
            <c:strRef>
              <c:f>Sheet1!$F$1</c:f>
              <c:strCache>
                <c:ptCount val="1"/>
                <c:pt idx="0">
                  <c:v>Q42</c:v>
                </c:pt>
              </c:strCache>
            </c:strRef>
          </c:tx>
          <c:spPr>
            <a:ln>
              <a:solidFill>
                <a:schemeClr val="bg1"/>
              </a:solidFill>
            </a:ln>
          </c:spPr>
          <c:dPt>
            <c:idx val="0"/>
            <c:bubble3D val="0"/>
            <c:spPr>
              <a:solidFill>
                <a:schemeClr val="accent5">
                  <a:tint val="65000"/>
                </a:schemeClr>
              </a:solidFill>
              <a:ln>
                <a:solidFill>
                  <a:schemeClr val="bg1"/>
                </a:solidFill>
              </a:ln>
              <a:effectLst/>
            </c:spPr>
            <c:extLst>
              <c:ext xmlns:c16="http://schemas.microsoft.com/office/drawing/2014/chart" uri="{C3380CC4-5D6E-409C-BE32-E72D297353CC}">
                <c16:uniqueId val="{00000029-E812-4B40-A4CD-4FB4DF2A372E}"/>
              </c:ext>
            </c:extLst>
          </c:dPt>
          <c:dPt>
            <c:idx val="1"/>
            <c:bubble3D val="0"/>
            <c:spPr>
              <a:solidFill>
                <a:schemeClr val="bg1">
                  <a:lumMod val="75000"/>
                </a:schemeClr>
              </a:solidFill>
              <a:ln>
                <a:solidFill>
                  <a:schemeClr val="bg1"/>
                </a:solidFill>
              </a:ln>
              <a:effectLst/>
            </c:spPr>
            <c:extLst>
              <c:ext xmlns:c16="http://schemas.microsoft.com/office/drawing/2014/chart" uri="{C3380CC4-5D6E-409C-BE32-E72D297353CC}">
                <c16:uniqueId val="{0000002B-E812-4B40-A4CD-4FB4DF2A372E}"/>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2D-E812-4B40-A4CD-4FB4DF2A372E}"/>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E812-4B40-A4CD-4FB4DF2A372E}"/>
            </c:ext>
          </c:extLst>
        </c:ser>
        <c:ser>
          <c:idx val="5"/>
          <c:order val="5"/>
          <c:tx>
            <c:strRef>
              <c:f>Sheet1!$G$1</c:f>
              <c:strCache>
                <c:ptCount val="1"/>
                <c:pt idx="0">
                  <c:v>Q43</c:v>
                </c:pt>
              </c:strCache>
            </c:strRef>
          </c:tx>
          <c:spPr>
            <a:ln>
              <a:solidFill>
                <a:schemeClr val="bg1"/>
              </a:solidFill>
            </a:ln>
          </c:spPr>
          <c:dPt>
            <c:idx val="0"/>
            <c:bubble3D val="0"/>
            <c:spPr>
              <a:solidFill>
                <a:schemeClr val="accent5">
                  <a:tint val="65000"/>
                </a:schemeClr>
              </a:solidFill>
              <a:ln>
                <a:solidFill>
                  <a:schemeClr val="bg1"/>
                </a:solidFill>
              </a:ln>
              <a:effectLst/>
            </c:spPr>
            <c:extLst>
              <c:ext xmlns:c16="http://schemas.microsoft.com/office/drawing/2014/chart" uri="{C3380CC4-5D6E-409C-BE32-E72D297353CC}">
                <c16:uniqueId val="{00000030-E812-4B40-A4CD-4FB4DF2A372E}"/>
              </c:ext>
            </c:extLst>
          </c:dPt>
          <c:dPt>
            <c:idx val="1"/>
            <c:bubble3D val="0"/>
            <c:spPr>
              <a:solidFill>
                <a:schemeClr val="bg1">
                  <a:lumMod val="75000"/>
                </a:schemeClr>
              </a:solidFill>
              <a:ln>
                <a:solidFill>
                  <a:schemeClr val="bg1"/>
                </a:solidFill>
              </a:ln>
              <a:effectLst/>
            </c:spPr>
            <c:extLst>
              <c:ext xmlns:c16="http://schemas.microsoft.com/office/drawing/2014/chart" uri="{C3380CC4-5D6E-409C-BE32-E72D297353CC}">
                <c16:uniqueId val="{00000032-E812-4B40-A4CD-4FB4DF2A372E}"/>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34-E812-4B40-A4CD-4FB4DF2A372E}"/>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E812-4B40-A4CD-4FB4DF2A372E}"/>
            </c:ext>
          </c:extLst>
        </c:ser>
        <c:ser>
          <c:idx val="6"/>
          <c:order val="6"/>
          <c:tx>
            <c:strRef>
              <c:f>Sheet1!$H$1</c:f>
              <c:strCache>
                <c:ptCount val="1"/>
                <c:pt idx="0">
                  <c:v>Q44</c:v>
                </c:pt>
              </c:strCache>
            </c:strRef>
          </c:tx>
          <c:spPr>
            <a:ln>
              <a:solidFill>
                <a:schemeClr val="bg1"/>
              </a:solidFill>
            </a:ln>
          </c:spPr>
          <c:dPt>
            <c:idx val="0"/>
            <c:bubble3D val="0"/>
            <c:spPr>
              <a:solidFill>
                <a:schemeClr val="accent5">
                  <a:tint val="65000"/>
                </a:schemeClr>
              </a:solidFill>
              <a:ln>
                <a:solidFill>
                  <a:schemeClr val="bg1"/>
                </a:solidFill>
              </a:ln>
              <a:effectLst/>
            </c:spPr>
            <c:extLst>
              <c:ext xmlns:c16="http://schemas.microsoft.com/office/drawing/2014/chart" uri="{C3380CC4-5D6E-409C-BE32-E72D297353CC}">
                <c16:uniqueId val="{00000037-E812-4B40-A4CD-4FB4DF2A372E}"/>
              </c:ext>
            </c:extLst>
          </c:dPt>
          <c:dPt>
            <c:idx val="1"/>
            <c:bubble3D val="0"/>
            <c:spPr>
              <a:solidFill>
                <a:schemeClr val="bg1">
                  <a:lumMod val="75000"/>
                </a:schemeClr>
              </a:solidFill>
              <a:ln>
                <a:solidFill>
                  <a:schemeClr val="bg1"/>
                </a:solidFill>
              </a:ln>
              <a:effectLst/>
            </c:spPr>
            <c:extLst>
              <c:ext xmlns:c16="http://schemas.microsoft.com/office/drawing/2014/chart" uri="{C3380CC4-5D6E-409C-BE32-E72D297353CC}">
                <c16:uniqueId val="{00000039-E812-4B40-A4CD-4FB4DF2A372E}"/>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3B-E812-4B40-A4CD-4FB4DF2A372E}"/>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E812-4B40-A4CD-4FB4DF2A372E}"/>
            </c:ext>
          </c:extLst>
        </c:ser>
        <c:ser>
          <c:idx val="7"/>
          <c:order val="7"/>
          <c:tx>
            <c:strRef>
              <c:f>Sheet1!$I$1</c:f>
              <c:strCache>
                <c:ptCount val="1"/>
                <c:pt idx="0">
                  <c:v>Q45</c:v>
                </c:pt>
              </c:strCache>
            </c:strRef>
          </c:tx>
          <c:dPt>
            <c:idx val="0"/>
            <c:bubble3D val="0"/>
            <c:spPr>
              <a:solidFill>
                <a:schemeClr val="accent5">
                  <a:tint val="65000"/>
                </a:schemeClr>
              </a:solidFill>
              <a:ln>
                <a:noFill/>
              </a:ln>
              <a:effectLst/>
            </c:spPr>
            <c:extLst>
              <c:ext xmlns:c16="http://schemas.microsoft.com/office/drawing/2014/chart" uri="{C3380CC4-5D6E-409C-BE32-E72D297353CC}">
                <c16:uniqueId val="{0000003E-E812-4B40-A4CD-4FB4DF2A372E}"/>
              </c:ext>
            </c:extLst>
          </c:dPt>
          <c:dPt>
            <c:idx val="1"/>
            <c:bubble3D val="0"/>
            <c:spPr>
              <a:solidFill>
                <a:schemeClr val="bg1">
                  <a:lumMod val="75000"/>
                </a:schemeClr>
              </a:solidFill>
              <a:ln>
                <a:solidFill>
                  <a:schemeClr val="bg1"/>
                </a:solidFill>
              </a:ln>
              <a:effectLst/>
            </c:spPr>
            <c:extLst>
              <c:ext xmlns:c16="http://schemas.microsoft.com/office/drawing/2014/chart" uri="{C3380CC4-5D6E-409C-BE32-E72D297353CC}">
                <c16:uniqueId val="{00000040-E812-4B40-A4CD-4FB4DF2A372E}"/>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42-E812-4B40-A4CD-4FB4DF2A372E}"/>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E812-4B40-A4CD-4FB4DF2A372E}"/>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miter lim="800000"/>
    </a:ln>
    <a:effectLst/>
  </c:spPr>
  <c:txPr>
    <a:bodyPr/>
    <a:lstStyle/>
    <a:p>
      <a:pPr>
        <a:defRPr/>
      </a:pPr>
      <a:endParaRPr lang="en-H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TBD</c:v>
                </c:pt>
              </c:strCache>
            </c:strRef>
          </c:tx>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45A1-43E5-A2F7-E6EEFC4E22F6}"/>
              </c:ext>
            </c:extLst>
          </c:dPt>
          <c:dPt>
            <c:idx val="1"/>
            <c:bubble3D val="0"/>
            <c:spPr>
              <a:solidFill>
                <a:srgbClr val="007CB0">
                  <a:lumMod val="60000"/>
                  <a:lumOff val="40000"/>
                </a:srgbClr>
              </a:solidFill>
              <a:ln w="19050">
                <a:solidFill>
                  <a:schemeClr val="lt1"/>
                </a:solidFill>
              </a:ln>
              <a:effectLst/>
            </c:spPr>
            <c:extLst>
              <c:ext xmlns:c16="http://schemas.microsoft.com/office/drawing/2014/chart" uri="{C3380CC4-5D6E-409C-BE32-E72D297353CC}">
                <c16:uniqueId val="{00000003-45A1-43E5-A2F7-E6EEFC4E22F6}"/>
              </c:ext>
            </c:extLst>
          </c:dPt>
          <c:dPt>
            <c:idx val="2"/>
            <c:bubble3D val="0"/>
            <c:spPr>
              <a:solidFill>
                <a:schemeClr val="accent6">
                  <a:shade val="90000"/>
                </a:schemeClr>
              </a:solidFill>
              <a:ln w="19050">
                <a:solidFill>
                  <a:schemeClr val="lt1"/>
                </a:solidFill>
              </a:ln>
              <a:effectLst/>
            </c:spPr>
            <c:extLst>
              <c:ext xmlns:c16="http://schemas.microsoft.com/office/drawing/2014/chart" uri="{C3380CC4-5D6E-409C-BE32-E72D297353CC}">
                <c16:uniqueId val="{00000005-45A1-43E5-A2F7-E6EEFC4E22F6}"/>
              </c:ext>
            </c:extLst>
          </c:dPt>
          <c:dPt>
            <c:idx val="3"/>
            <c:bubble3D val="0"/>
            <c:spPr>
              <a:solidFill>
                <a:schemeClr val="accent6">
                  <a:tint val="90000"/>
                </a:schemeClr>
              </a:solidFill>
              <a:ln w="19050">
                <a:solidFill>
                  <a:schemeClr val="lt1"/>
                </a:solidFill>
              </a:ln>
              <a:effectLst/>
            </c:spPr>
            <c:extLst>
              <c:ext xmlns:c16="http://schemas.microsoft.com/office/drawing/2014/chart" uri="{C3380CC4-5D6E-409C-BE32-E72D297353CC}">
                <c16:uniqueId val="{00000007-45A1-43E5-A2F7-E6EEFC4E22F6}"/>
              </c:ext>
            </c:extLst>
          </c:dPt>
          <c:dPt>
            <c:idx val="4"/>
            <c:bubble3D val="0"/>
            <c:spPr>
              <a:solidFill>
                <a:schemeClr val="accent6">
                  <a:tint val="70000"/>
                </a:schemeClr>
              </a:solidFill>
              <a:ln w="19050">
                <a:solidFill>
                  <a:schemeClr val="lt1"/>
                </a:solidFill>
              </a:ln>
              <a:effectLst/>
            </c:spPr>
            <c:extLst>
              <c:ext xmlns:c16="http://schemas.microsoft.com/office/drawing/2014/chart" uri="{C3380CC4-5D6E-409C-BE32-E72D297353CC}">
                <c16:uniqueId val="{00000009-45A1-43E5-A2F7-E6EEFC4E22F6}"/>
              </c:ext>
            </c:extLst>
          </c:dPt>
          <c:dPt>
            <c:idx val="5"/>
            <c:bubble3D val="0"/>
            <c:spPr>
              <a:solidFill>
                <a:schemeClr val="accent6">
                  <a:tint val="50000"/>
                </a:schemeClr>
              </a:solidFill>
              <a:ln w="19050">
                <a:solidFill>
                  <a:schemeClr val="lt1"/>
                </a:solidFill>
              </a:ln>
              <a:effectLst/>
            </c:spPr>
            <c:extLst>
              <c:ext xmlns:c16="http://schemas.microsoft.com/office/drawing/2014/chart" uri="{C3380CC4-5D6E-409C-BE32-E72D297353CC}">
                <c16:uniqueId val="{0000000B-45A1-43E5-A2F7-E6EEFC4E22F6}"/>
              </c:ext>
            </c:extLst>
          </c:dPt>
          <c:dPt>
            <c:idx val="6"/>
            <c:bubble3D val="0"/>
            <c:spPr>
              <a:solidFill>
                <a:schemeClr val="accent6">
                  <a:tint val="30000"/>
                </a:schemeClr>
              </a:solidFill>
              <a:ln w="19050">
                <a:solidFill>
                  <a:schemeClr val="lt1"/>
                </a:solidFill>
              </a:ln>
              <a:effectLst/>
            </c:spPr>
            <c:extLst>
              <c:ext xmlns:c16="http://schemas.microsoft.com/office/drawing/2014/chart" uri="{C3380CC4-5D6E-409C-BE32-E72D297353CC}">
                <c16:uniqueId val="{0000000D-45A1-43E5-A2F7-E6EEFC4E22F6}"/>
              </c:ext>
            </c:extLst>
          </c:dPt>
          <c:dPt>
            <c:idx val="7"/>
            <c:bubble3D val="0"/>
            <c:spPr>
              <a:solidFill>
                <a:schemeClr val="accent6">
                  <a:tint val="10000"/>
                </a:schemeClr>
              </a:solidFill>
              <a:ln w="19050">
                <a:solidFill>
                  <a:schemeClr val="lt1"/>
                </a:solidFill>
              </a:ln>
              <a:effectLst/>
            </c:spPr>
            <c:extLst>
              <c:ext xmlns:c16="http://schemas.microsoft.com/office/drawing/2014/chart" uri="{C3380CC4-5D6E-409C-BE32-E72D297353CC}">
                <c16:uniqueId val="{0000000F-45A1-43E5-A2F7-E6EEFC4E22F6}"/>
              </c:ext>
            </c:extLst>
          </c:dPt>
          <c:cat>
            <c:strRef>
              <c:f>Sheet1!$A$2:$A$7</c:f>
              <c:strCache>
                <c:ptCount val="6"/>
                <c:pt idx="0">
                  <c:v>1st Qtr</c:v>
                </c:pt>
                <c:pt idx="1">
                  <c:v>2nd Qtr</c:v>
                </c:pt>
                <c:pt idx="2">
                  <c:v>3rd Qtr</c:v>
                </c:pt>
                <c:pt idx="3">
                  <c:v>4th Qtr</c:v>
                </c:pt>
                <c:pt idx="4">
                  <c:v>4th Qtr</c:v>
                </c:pt>
                <c:pt idx="5">
                  <c:v>4th Qtr</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0-45A1-43E5-A2F7-E6EEFC4E22F6}"/>
            </c:ext>
          </c:extLst>
        </c:ser>
        <c:dLbls>
          <c:showLegendKey val="0"/>
          <c:showVal val="0"/>
          <c:showCatName val="0"/>
          <c:showSerName val="0"/>
          <c:showPercent val="0"/>
          <c:showBubbleSize val="0"/>
          <c:showLeaderLines val="1"/>
        </c:dLbls>
        <c:firstSliceAng val="0"/>
        <c:holeSize val="75"/>
      </c:doughnutChart>
      <c:spPr>
        <a:noFill/>
        <a:ln w="25400">
          <a:noFill/>
        </a:ln>
        <a:effectLst/>
      </c:spPr>
    </c:plotArea>
    <c:plotVisOnly val="1"/>
    <c:dispBlanksAs val="gap"/>
    <c:showDLblsOverMax val="0"/>
  </c:chart>
  <c:spPr>
    <a:noFill/>
    <a:ln>
      <a:noFill/>
    </a:ln>
    <a:effectLst/>
  </c:spPr>
  <c:txPr>
    <a:bodyPr/>
    <a:lstStyle/>
    <a:p>
      <a:pPr>
        <a:defRPr/>
      </a:pPr>
      <a:endParaRPr lang="en-HU"/>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031249999999999"/>
          <c:y val="6.625201850503766E-2"/>
          <c:w val="0.61250000000000004"/>
          <c:h val="0.88722466379151133"/>
        </c:manualLayout>
      </c:layout>
      <c:lineChart>
        <c:grouping val="standard"/>
        <c:varyColors val="0"/>
        <c:ser>
          <c:idx val="0"/>
          <c:order val="0"/>
          <c:tx>
            <c:strRef>
              <c:f>Sheet1!$B$1</c:f>
              <c:strCache>
                <c:ptCount val="1"/>
                <c:pt idx="0">
                  <c:v>Series 1</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HU"/>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0%</c:formatCode>
                <c:ptCount val="4"/>
                <c:pt idx="0">
                  <c:v>0.5</c:v>
                </c:pt>
                <c:pt idx="1">
                  <c:v>0.47</c:v>
                </c:pt>
                <c:pt idx="2">
                  <c:v>0.53</c:v>
                </c:pt>
                <c:pt idx="3">
                  <c:v>0.4</c:v>
                </c:pt>
              </c:numCache>
            </c:numRef>
          </c:val>
          <c:smooth val="0"/>
          <c:extLst>
            <c:ext xmlns:c16="http://schemas.microsoft.com/office/drawing/2014/chart" uri="{C3380CC4-5D6E-409C-BE32-E72D297353CC}">
              <c16:uniqueId val="{00000000-515C-4399-80B8-B74629A27562}"/>
            </c:ext>
          </c:extLst>
        </c:ser>
        <c:dLbls>
          <c:showLegendKey val="0"/>
          <c:showVal val="0"/>
          <c:showCatName val="0"/>
          <c:showSerName val="0"/>
          <c:showPercent val="0"/>
          <c:showBubbleSize val="0"/>
        </c:dLbls>
        <c:marker val="1"/>
        <c:smooth val="0"/>
        <c:axId val="1216899167"/>
        <c:axId val="1195278127"/>
      </c:lineChart>
      <c:catAx>
        <c:axId val="1216899167"/>
        <c:scaling>
          <c:orientation val="minMax"/>
        </c:scaling>
        <c:delete val="1"/>
        <c:axPos val="b"/>
        <c:numFmt formatCode="General" sourceLinked="1"/>
        <c:majorTickMark val="none"/>
        <c:minorTickMark val="none"/>
        <c:tickLblPos val="nextTo"/>
        <c:crossAx val="1195278127"/>
        <c:crosses val="autoZero"/>
        <c:auto val="1"/>
        <c:lblAlgn val="ctr"/>
        <c:lblOffset val="100"/>
        <c:noMultiLvlLbl val="0"/>
      </c:catAx>
      <c:valAx>
        <c:axId val="1195278127"/>
        <c:scaling>
          <c:orientation val="minMax"/>
        </c:scaling>
        <c:delete val="1"/>
        <c:axPos val="l"/>
        <c:numFmt formatCode="0%" sourceLinked="1"/>
        <c:majorTickMark val="none"/>
        <c:minorTickMark val="none"/>
        <c:tickLblPos val="nextTo"/>
        <c:crossAx val="1216899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187500000000001E-2"/>
          <c:y val="6.625201850503766E-2"/>
          <c:w val="0.96562499999999996"/>
          <c:h val="0.88722466379151133"/>
        </c:manualLayout>
      </c:layout>
      <c:lineChart>
        <c:grouping val="standard"/>
        <c:varyColors val="0"/>
        <c:ser>
          <c:idx val="0"/>
          <c:order val="0"/>
          <c:tx>
            <c:strRef>
              <c:f>Sheet1!$B$1</c:f>
              <c:strCache>
                <c:ptCount val="1"/>
                <c:pt idx="0">
                  <c:v>Series 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HU"/>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0%</c:formatCode>
                <c:ptCount val="4"/>
                <c:pt idx="0">
                  <c:v>0.26</c:v>
                </c:pt>
                <c:pt idx="1">
                  <c:v>0.4</c:v>
                </c:pt>
                <c:pt idx="2">
                  <c:v>0.47</c:v>
                </c:pt>
                <c:pt idx="3">
                  <c:v>0.63</c:v>
                </c:pt>
              </c:numCache>
            </c:numRef>
          </c:val>
          <c:smooth val="0"/>
          <c:extLst>
            <c:ext xmlns:c16="http://schemas.microsoft.com/office/drawing/2014/chart" uri="{C3380CC4-5D6E-409C-BE32-E72D297353CC}">
              <c16:uniqueId val="{00000000-7AEF-47F3-87C6-1E911F355A95}"/>
            </c:ext>
          </c:extLst>
        </c:ser>
        <c:dLbls>
          <c:showLegendKey val="0"/>
          <c:showVal val="0"/>
          <c:showCatName val="0"/>
          <c:showSerName val="0"/>
          <c:showPercent val="0"/>
          <c:showBubbleSize val="0"/>
        </c:dLbls>
        <c:marker val="1"/>
        <c:smooth val="0"/>
        <c:axId val="1216899167"/>
        <c:axId val="1195278127"/>
      </c:lineChart>
      <c:catAx>
        <c:axId val="1216899167"/>
        <c:scaling>
          <c:orientation val="minMax"/>
        </c:scaling>
        <c:delete val="1"/>
        <c:axPos val="b"/>
        <c:numFmt formatCode="General" sourceLinked="1"/>
        <c:majorTickMark val="none"/>
        <c:minorTickMark val="none"/>
        <c:tickLblPos val="nextTo"/>
        <c:crossAx val="1195278127"/>
        <c:crosses val="autoZero"/>
        <c:auto val="1"/>
        <c:lblAlgn val="ctr"/>
        <c:lblOffset val="100"/>
        <c:noMultiLvlLbl val="0"/>
      </c:catAx>
      <c:valAx>
        <c:axId val="1195278127"/>
        <c:scaling>
          <c:orientation val="minMax"/>
        </c:scaling>
        <c:delete val="1"/>
        <c:axPos val="l"/>
        <c:numFmt formatCode="0%" sourceLinked="1"/>
        <c:majorTickMark val="none"/>
        <c:minorTickMark val="none"/>
        <c:tickLblPos val="nextTo"/>
        <c:crossAx val="1216899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187500000000001E-2"/>
          <c:y val="6.625201850503766E-2"/>
          <c:w val="0.96562499999999996"/>
          <c:h val="0.88722466379151133"/>
        </c:manualLayout>
      </c:layout>
      <c:lineChart>
        <c:grouping val="standard"/>
        <c:varyColors val="0"/>
        <c:ser>
          <c:idx val="0"/>
          <c:order val="0"/>
          <c:tx>
            <c:strRef>
              <c:f>Sheet1!$B$1</c:f>
              <c:strCache>
                <c:ptCount val="1"/>
                <c:pt idx="0">
                  <c:v>Series 1</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HU"/>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0%</c:formatCode>
                <c:ptCount val="4"/>
                <c:pt idx="0">
                  <c:v>0.37</c:v>
                </c:pt>
                <c:pt idx="1">
                  <c:v>0.3</c:v>
                </c:pt>
                <c:pt idx="2">
                  <c:v>0.3</c:v>
                </c:pt>
                <c:pt idx="3">
                  <c:v>0.42</c:v>
                </c:pt>
              </c:numCache>
            </c:numRef>
          </c:val>
          <c:smooth val="0"/>
          <c:extLst>
            <c:ext xmlns:c16="http://schemas.microsoft.com/office/drawing/2014/chart" uri="{C3380CC4-5D6E-409C-BE32-E72D297353CC}">
              <c16:uniqueId val="{00000000-943B-4DB8-9D73-D832DC356153}"/>
            </c:ext>
          </c:extLst>
        </c:ser>
        <c:dLbls>
          <c:showLegendKey val="0"/>
          <c:showVal val="0"/>
          <c:showCatName val="0"/>
          <c:showSerName val="0"/>
          <c:showPercent val="0"/>
          <c:showBubbleSize val="0"/>
        </c:dLbls>
        <c:marker val="1"/>
        <c:smooth val="0"/>
        <c:axId val="1216899167"/>
        <c:axId val="1195278127"/>
      </c:lineChart>
      <c:catAx>
        <c:axId val="1216899167"/>
        <c:scaling>
          <c:orientation val="minMax"/>
        </c:scaling>
        <c:delete val="1"/>
        <c:axPos val="b"/>
        <c:numFmt formatCode="General" sourceLinked="1"/>
        <c:majorTickMark val="none"/>
        <c:minorTickMark val="none"/>
        <c:tickLblPos val="nextTo"/>
        <c:crossAx val="1195278127"/>
        <c:crosses val="autoZero"/>
        <c:auto val="1"/>
        <c:lblAlgn val="ctr"/>
        <c:lblOffset val="100"/>
        <c:noMultiLvlLbl val="0"/>
      </c:catAx>
      <c:valAx>
        <c:axId val="1195278127"/>
        <c:scaling>
          <c:orientation val="minMax"/>
        </c:scaling>
        <c:delete val="1"/>
        <c:axPos val="l"/>
        <c:numFmt formatCode="0%" sourceLinked="1"/>
        <c:majorTickMark val="none"/>
        <c:minorTickMark val="none"/>
        <c:tickLblPos val="nextTo"/>
        <c:crossAx val="1216899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187500000000001E-2"/>
          <c:y val="6.625201850503766E-2"/>
          <c:w val="0.96562499999999996"/>
          <c:h val="0.8872246637915113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HU"/>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0%</c:formatCode>
                <c:ptCount val="4"/>
                <c:pt idx="0">
                  <c:v>0.33</c:v>
                </c:pt>
                <c:pt idx="1">
                  <c:v>0.61</c:v>
                </c:pt>
                <c:pt idx="2">
                  <c:v>0.55000000000000004</c:v>
                </c:pt>
                <c:pt idx="3">
                  <c:v>0.56999999999999995</c:v>
                </c:pt>
              </c:numCache>
            </c:numRef>
          </c:val>
          <c:smooth val="0"/>
          <c:extLst>
            <c:ext xmlns:c16="http://schemas.microsoft.com/office/drawing/2014/chart" uri="{C3380CC4-5D6E-409C-BE32-E72D297353CC}">
              <c16:uniqueId val="{00000000-055E-4DD7-9F8A-F370A85A6F84}"/>
            </c:ext>
          </c:extLst>
        </c:ser>
        <c:dLbls>
          <c:showLegendKey val="0"/>
          <c:showVal val="0"/>
          <c:showCatName val="0"/>
          <c:showSerName val="0"/>
          <c:showPercent val="0"/>
          <c:showBubbleSize val="0"/>
        </c:dLbls>
        <c:marker val="1"/>
        <c:smooth val="0"/>
        <c:axId val="1216899167"/>
        <c:axId val="1195278127"/>
      </c:lineChart>
      <c:catAx>
        <c:axId val="1216899167"/>
        <c:scaling>
          <c:orientation val="minMax"/>
        </c:scaling>
        <c:delete val="1"/>
        <c:axPos val="b"/>
        <c:numFmt formatCode="General" sourceLinked="1"/>
        <c:majorTickMark val="none"/>
        <c:minorTickMark val="none"/>
        <c:tickLblPos val="nextTo"/>
        <c:crossAx val="1195278127"/>
        <c:crosses val="autoZero"/>
        <c:auto val="1"/>
        <c:lblAlgn val="ctr"/>
        <c:lblOffset val="100"/>
        <c:noMultiLvlLbl val="0"/>
      </c:catAx>
      <c:valAx>
        <c:axId val="1195278127"/>
        <c:scaling>
          <c:orientation val="minMax"/>
        </c:scaling>
        <c:delete val="1"/>
        <c:axPos val="l"/>
        <c:numFmt formatCode="0%" sourceLinked="1"/>
        <c:majorTickMark val="none"/>
        <c:minorTickMark val="none"/>
        <c:tickLblPos val="nextTo"/>
        <c:crossAx val="1216899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CD6A_6E76C52E.xml><?xml version="1.0" encoding="utf-8"?>
<p188:cmLst xmlns:a="http://schemas.openxmlformats.org/drawingml/2006/main" xmlns:r="http://schemas.openxmlformats.org/officeDocument/2006/relationships" xmlns:p188="http://schemas.microsoft.com/office/powerpoint/2018/8/main">
  <p188:cm id="{F98E659B-67CE-4C88-B0C4-F3B75FB89C2D}" authorId="{00000000-0000-0000-0000-000000000000}" created="2023-10-16T13:29:52.942">
    <ac:txMkLst xmlns:ac="http://schemas.microsoft.com/office/drawing/2013/main/command">
      <pc:docMk xmlns:pc="http://schemas.microsoft.com/office/powerpoint/2013/main/command"/>
      <pc:sldMk xmlns:pc="http://schemas.microsoft.com/office/powerpoint/2013/main/command" cId="1853277486" sldId="2147470698"/>
      <ac:graphicFrameMk id="16" creationId="{AB313C9C-E231-47FB-B715-28D7939D5400}"/>
      <ac:tblMk/>
      <ac:tcMk rowId="2132789227" colId="3605828426"/>
      <ac:txMk cp="0" len="10">
        <ac:context len="11" hash="3523345897"/>
      </ac:txMk>
    </ac:txMkLst>
    <p188:pos x="2168165" y="3337960"/>
    <p188:txBody>
      <a:bodyPr/>
      <a:lstStyle/>
      <a:p>
        <a:r>
          <a:rPr lang="en-GB"/>
          <a:t>Past 2y audited financial statements</a:t>
        </a:r>
      </a:p>
    </p188:txBody>
  </p188:cm>
  <p188:cm id="{5180CAC3-05F2-4419-82F0-18812F2F0B51}" authorId="{00000000-0000-0000-0000-000000000000}" created="2023-10-16T13:30:13.815">
    <ac:txMkLst xmlns:ac="http://schemas.microsoft.com/office/drawing/2013/main/command">
      <pc:docMk xmlns:pc="http://schemas.microsoft.com/office/powerpoint/2013/main/command"/>
      <pc:sldMk xmlns:pc="http://schemas.microsoft.com/office/powerpoint/2013/main/command" cId="1853277486" sldId="2147470698"/>
      <ac:graphicFrameMk id="16" creationId="{AB313C9C-E231-47FB-B715-28D7939D5400}"/>
      <ac:tblMk/>
      <ac:tcMk rowId="2132789227" colId="3605828426"/>
      <ac:txMk cp="0" len="10">
        <ac:context len="11" hash="3523345897"/>
      </ac:txMk>
    </ac:txMkLst>
    <p188:pos x="2168165" y="3337960"/>
    <p188:txBody>
      <a:bodyPr/>
      <a:lstStyle/>
      <a:p>
        <a:r>
          <a:rPr lang="en-GB"/>
          <a:t>Reference letters</a:t>
        </a:r>
      </a:p>
    </p188:txBody>
  </p188:cm>
  <p188:cm id="{24373266-1B14-44C8-A4FB-58F2648D72A7}" authorId="{00000000-0000-0000-0000-000000000000}" created="2023-10-18T07:42:35.987">
    <ac:txMkLst xmlns:ac="http://schemas.microsoft.com/office/drawing/2013/main/command">
      <pc:docMk xmlns:pc="http://schemas.microsoft.com/office/powerpoint/2013/main/command"/>
      <pc:sldMk xmlns:pc="http://schemas.microsoft.com/office/powerpoint/2013/main/command" cId="1853277486" sldId="2147470698"/>
      <ac:graphicFrameMk id="16" creationId="{AB313C9C-E231-47FB-B715-28D7939D5400}"/>
      <ac:tblMk/>
      <ac:tcMk rowId="2456299992" colId="3605828426"/>
      <ac:txMk cp="0" len="14">
        <ac:context len="15" hash="2276385570"/>
      </ac:txMk>
    </ac:txMkLst>
    <p188:pos x="3166753" y="148441"/>
    <p188:txBody>
      <a:bodyPr/>
      <a:lstStyle/>
      <a:p>
        <a:r>
          <a:rPr lang="en-US"/>
          <a:t>Inputs:
Global: TGF ajánlatban meglévő áttekintő slide
Regional: Consulting áttekintő
Magyar: Eszter által küldött leaflet</a:t>
        </a:r>
      </a:p>
    </p188:txBody>
  </p188:cm>
  <p188:cm id="{04EE903B-011A-4E08-9F5A-396CF8F9C57F}" authorId="{00000000-0000-0000-0000-000000000000}" created="2023-11-01T23:47:57.541">
    <ac:deMkLst xmlns:ac="http://schemas.microsoft.com/office/drawing/2013/main/command">
      <pc:docMk xmlns:pc="http://schemas.microsoft.com/office/powerpoint/2013/main/command"/>
      <pc:sldMk xmlns:pc="http://schemas.microsoft.com/office/powerpoint/2013/main/command" cId="1853277486" sldId="2147470698"/>
      <ac:picMk id="10" creationId="{5C09D0C4-272B-4AFC-A1B3-621E0DC61B5B}"/>
    </ac:deMkLst>
    <p188:txBody>
      <a:bodyPr/>
      <a:lstStyle/>
      <a:p>
        <a:r>
          <a:rPr lang="en-US"/>
          <a:t>[Mention was removed]  ezt pls cseréljük valami másra, Daninak nem igazán tetszett ez a visual</a:t>
        </a:r>
      </a:p>
    </p188:txBody>
  </p188:cm>
</p188:cmLst>
</file>

<file path=ppt/comments/modernComment_7FFFD87A_1CA49F50.xml><?xml version="1.0" encoding="utf-8"?>
<p188:cmLst xmlns:a="http://schemas.openxmlformats.org/drawingml/2006/main" xmlns:r="http://schemas.openxmlformats.org/officeDocument/2006/relationships" xmlns:p188="http://schemas.microsoft.com/office/powerpoint/2018/8/main">
  <p188:cm id="{139B555C-533B-4F45-A365-BE3F405DA15A}" authorId="{00000000-0000-0000-0000-000000000000}" created="2023-10-31T14:04:19.075">
    <ac:txMkLst xmlns:ac="http://schemas.microsoft.com/office/drawing/2013/main/command">
      <pc:docMk xmlns:pc="http://schemas.microsoft.com/office/powerpoint/2013/main/command"/>
      <pc:sldMk xmlns:pc="http://schemas.microsoft.com/office/powerpoint/2013/main/command" cId="480550736" sldId="2147473530"/>
      <ac:spMk id="13" creationId="{37194EFA-2971-4EA8-9C69-165CDF59BFF1}"/>
      <ac:txMk cp="108" len="47">
        <ac:context len="157" hash="2356582916"/>
      </ac:txMk>
    </ac:txMkLst>
    <p188:pos x="4422709" y="1317022"/>
    <p188:txBody>
      <a:bodyPr/>
      <a:lstStyle/>
      <a:p>
        <a:r>
          <a:rPr lang="hu-HU"/>
          <a:t>Kiírás formai követelménye:
Title page clearly indicating name of the bidding entity and contact person
[Mention was removed]  mindkettőtöket ide írtam contact személynek, ok?</a:t>
        </a:r>
      </a:p>
    </p188:txBody>
  </p188:cm>
  <p188:cm id="{DF260DD0-6F48-4A67-849B-6571456D8CB1}" authorId="{00000000-0000-0000-0000-000000000000}" created="2023-10-31T19:30:28.205">
    <pc:sldMkLst xmlns:pc="http://schemas.microsoft.com/office/powerpoint/2013/main/command">
      <pc:docMk/>
      <pc:sldMk cId="480550736" sldId="2147473530"/>
    </pc:sldMkLst>
    <p188:txBody>
      <a:bodyPr/>
      <a:lstStyle/>
      <a:p>
        <a:r>
          <a:rPr lang="en-GB"/>
          <a:t>Cover page-re felvittem a Confidentiality caveat-ot</a:t>
        </a:r>
      </a:p>
    </p188:txBody>
  </p188:cm>
</p188:cmLst>
</file>

<file path=ppt/comments/modernComment_7FFFD8AF_23C388E1.xml><?xml version="1.0" encoding="utf-8"?>
<p188:cmLst xmlns:a="http://schemas.openxmlformats.org/drawingml/2006/main" xmlns:r="http://schemas.openxmlformats.org/officeDocument/2006/relationships" xmlns:p188="http://schemas.microsoft.com/office/powerpoint/2018/8/main">
  <p188:cm id="{D71FE264-73EF-4E38-9C72-2AB1B8109078}" authorId="{00000000-0000-0000-0000-000000000000}" created="2023-10-26T08:42:33.940">
    <ac:txMkLst xmlns:ac="http://schemas.microsoft.com/office/drawing/2013/main/command">
      <pc:docMk xmlns:pc="http://schemas.microsoft.com/office/powerpoint/2013/main/command"/>
      <pc:sldMk xmlns:pc="http://schemas.microsoft.com/office/powerpoint/2013/main/command" cId="600017121" sldId="2147473583"/>
      <ac:spMk id="23" creationId="{71042AB0-6C28-0519-0123-4B35425F7BBA}"/>
      <ac:txMk cp="0">
        <ac:context len="1" hash="13"/>
      </ac:txMk>
    </ac:txMkLst>
    <p188:txBody>
      <a:bodyPr/>
      <a:lstStyle/>
      <a:p>
        <a:r>
          <a:rPr lang="en-US"/>
          <a:t>[Mention was removed] KX research. Referencia: MBH Merit 2 projekt. MBH alapításához kapcsolódó MNB folyamat</a:t>
        </a:r>
      </a:p>
    </p188:txBody>
    <p188:extLst>
      <p:ext xmlns:p="http://schemas.openxmlformats.org/presentationml/2006/main" uri="{5BB2D875-25FF-4072-B9AC-8F64D62656EB}">
        <p228:taskDetails xmlns:p228="http://schemas.microsoft.com/office/powerpoint/2022/08/main">
          <p228:history>
            <p228:event time="2023-10-26T08:42:33.940" id="{0ED5D6C8-A265-4B59-A0C0-70C21FC9DE4E}">
              <p228:atrbtn authorId="{F75F1AF7-CD25-3144-D2FE-5C5E302550CA}"/>
              <p228:anchr>
                <p228:comment id="{D71FE264-73EF-4E38-9C72-2AB1B8109078}"/>
              </p228:anchr>
              <p228:add/>
            </p228:event>
            <p228:event time="2023-10-26T08:42:33.940" id="{E1176870-4825-47FF-B16B-47BC1FF754ED}">
              <p228:atrbtn authorId="{F75F1AF7-CD25-3144-D2FE-5C5E302550CA}"/>
              <p228:anchr>
                <p228:comment id="{D71FE264-73EF-4E38-9C72-2AB1B8109078}"/>
              </p228:anchr>
              <p228:asgn authorId="{FA477770-5905-B9D2-5531-69FD0FB92610}"/>
            </p228:event>
            <p228:event time="2023-10-26T08:42:33.940" id="{5A27FD34-A998-491C-9983-B7345C5D2BEC}">
              <p228:atrbtn authorId="{F75F1AF7-CD25-3144-D2FE-5C5E302550CA}"/>
              <p228:anchr>
                <p228:comment id="{D71FE264-73EF-4E38-9C72-2AB1B8109078}"/>
              </p228:anchr>
              <p228:title val="[@Reti, Anna] KX research. Referencia: MBH Merit 2 projekt. MBH alapításához kapcsolódó MNB folyamat&#10;"/>
            </p228:event>
            <p228:event time="2023-10-26T08:42:33.940" id="{4810A7BA-297F-432A-BF5C-4AB1BC64EFEC}">
              <p228:atrbtn authorId="{F75F1AF7-CD25-3144-D2FE-5C5E302550CA}"/>
              <p228:anchr>
                <p228:comment id="{D71FE264-73EF-4E38-9C72-2AB1B8109078}"/>
              </p228:anchr>
              <p228:date stDt="2023-10-26T08:42:33.940" endDt="2023-10-26T08:42:33.940"/>
            </p228:event>
          </p228:history>
        </p228:taskDetails>
      </p:ext>
    </p188:extLst>
  </p188:cm>
  <p188:cm id="{AA354FB6-F884-4B92-B835-4DD1CD2BBC74}" authorId="{00000000-0000-0000-0000-000000000000}" status="resolved" created="2023-10-26T08:42:45.034">
    <ac:txMkLst xmlns:ac="http://schemas.microsoft.com/office/drawing/2013/main/command">
      <pc:docMk xmlns:pc="http://schemas.microsoft.com/office/powerpoint/2013/main/command"/>
      <pc:sldMk xmlns:pc="http://schemas.microsoft.com/office/powerpoint/2013/main/command" cId="600017121" sldId="2147473583"/>
      <ac:spMk id="4" creationId="{B88C12BF-C83A-D83A-08A4-81D19DD4007B}"/>
      <ac:txMk cp="0">
        <ac:context len="281" hash="3057622433"/>
      </ac:txMk>
    </ac:txMkLst>
    <p188:pos x="2642259" y="188025"/>
    <p188:replyLst>
      <p188:reply id="{3142284D-E5C1-4803-A5D1-E56113CEDF06}" authorId="{00000000-0000-0000-0000-000000000000}" created="2023-10-26T08:45:25.148">
        <p188:txBody>
          <a:bodyPr/>
          <a:lstStyle/>
          <a:p>
            <a:r>
              <a:rPr lang="en-US"/>
              <a:t>Sőt, inkább Tamást berakni ide az ő CV-jével</a:t>
            </a:r>
          </a:p>
        </p188:txBody>
      </p188:reply>
    </p188:replyLst>
    <p188:txBody>
      <a:bodyPr/>
      <a:lstStyle/>
      <a:p>
        <a:r>
          <a:rPr lang="en-US"/>
          <a:t>[Mention was removed] , pls pimp up</a:t>
        </a:r>
      </a:p>
    </p188:txBody>
    <p188:extLst>
      <p:ext xmlns:p="http://schemas.openxmlformats.org/presentationml/2006/main" uri="{5BB2D875-25FF-4072-B9AC-8F64D62656EB}">
        <p228:taskDetails xmlns:p228="http://schemas.microsoft.com/office/powerpoint/2022/08/main">
          <p228:history>
            <p228:event time="2023-10-26T08:42:45.034" id="{AAE61E7D-A666-4B73-A695-AA5E29DDF338}">
              <p228:atrbtn authorId="{F75F1AF7-CD25-3144-D2FE-5C5E302550CA}"/>
              <p228:anchr>
                <p228:comment id="{AA354FB6-F884-4B92-B835-4DD1CD2BBC74}"/>
              </p228:anchr>
              <p228:add/>
            </p228:event>
            <p228:event time="2023-10-26T08:42:45.034" id="{72682808-DA5F-4646-AF05-E90A80F69FAD}">
              <p228:atrbtn authorId="{F75F1AF7-CD25-3144-D2FE-5C5E302550CA}"/>
              <p228:anchr>
                <p228:comment id="{AA354FB6-F884-4B92-B835-4DD1CD2BBC74}"/>
              </p228:anchr>
              <p228:asgn authorId="{FA477770-5905-B9D2-5531-69FD0FB92610}"/>
            </p228:event>
            <p228:event time="2023-10-26T08:42:45.034" id="{B9A98658-014D-4D2E-ADB4-55AC64BBF210}">
              <p228:atrbtn authorId="{F75F1AF7-CD25-3144-D2FE-5C5E302550CA}"/>
              <p228:anchr>
                <p228:comment id="{AA354FB6-F884-4B92-B835-4DD1CD2BBC74}"/>
              </p228:anchr>
              <p228:title val="[@Reti, Anna] , pls pimp up&#10;"/>
            </p228:event>
            <p228:event time="2023-10-26T08:42:45.034" id="{D0E0F3E7-E59E-4174-AC18-70A63C575743}">
              <p228:atrbtn authorId="{F75F1AF7-CD25-3144-D2FE-5C5E302550CA}"/>
              <p228:anchr>
                <p228:comment id="{AA354FB6-F884-4B92-B835-4DD1CD2BBC74}"/>
              </p228:anchr>
              <p228:date stDt="2023-10-26T08:42:45.034" endDt="2023-10-26T08:42:45.034"/>
            </p228:event>
          </p228:history>
        </p228:taskDetails>
      </p:ext>
    </p188:extLst>
  </p188:cm>
  <p188:cm id="{B877254C-0597-40ED-B773-1EF6FFE62FB1}" authorId="{00000000-0000-0000-0000-000000000000}" created="2023-11-02T12:48:28.421">
    <ac:txMkLst xmlns:ac="http://schemas.microsoft.com/office/drawing/2013/main/command">
      <pc:docMk xmlns:pc="http://schemas.microsoft.com/office/powerpoint/2013/main/command"/>
      <pc:sldMk xmlns:pc="http://schemas.microsoft.com/office/powerpoint/2013/main/command" cId="600017121" sldId="2147473583"/>
      <ac:spMk id="11" creationId="{C695A72C-7C27-F987-2688-131C85183D2B}"/>
      <ac:txMk cp="1" len="139">
        <ac:context len="142" hash="2508315140"/>
      </ac:txMk>
    </ac:txMkLst>
    <p188:pos x="2706296" y="287405"/>
    <p188:replyLst>
      <p188:reply id="{811A2CCF-38D7-40B9-896B-A438B765FC46}" authorId="{00000000-0000-0000-0000-000000000000}" created="2023-11-02T12:51:37.068">
        <p188:txBody>
          <a:bodyPr/>
          <a:lstStyle/>
          <a:p>
            <a:r>
              <a:rPr lang="en-US"/>
              <a:t>Every startegy starts with a mision. So it is importat for us, to strongly unify with Unicefs mission, to impart….</a:t>
            </a:r>
          </a:p>
        </p188:txBody>
      </p188:reply>
    </p188:replyLst>
    <p188:txBody>
      <a:bodyPr/>
      <a:lstStyle/>
      <a:p>
        <a:r>
          <a:rPr lang="en-US"/>
          <a:t>ESG helyett mást betenni - Uniceffel való közösség kapcsolódása</a:t>
        </a:r>
      </a:p>
    </p188:txBody>
  </p188:cm>
</p188:cmLst>
</file>

<file path=ppt/comments/modernComment_7FFFD8BD_B38D12FA.xml><?xml version="1.0" encoding="utf-8"?>
<p188:cmLst xmlns:a="http://schemas.openxmlformats.org/drawingml/2006/main" xmlns:r="http://schemas.openxmlformats.org/officeDocument/2006/relationships" xmlns:p188="http://schemas.microsoft.com/office/powerpoint/2018/8/main">
  <p188:cm id="{A072E11B-B5C6-4B17-AA07-AB0BD6CED900}" authorId="{00000000-0000-0000-0000-000000000000}" created="2023-11-01T18:07:26.937">
    <pc:sldMkLst xmlns:pc="http://schemas.microsoft.com/office/powerpoint/2013/main/command">
      <pc:docMk/>
      <pc:sldMk cId="3012367098" sldId="2147473597"/>
    </pc:sldMkLst>
    <p188:replyLst>
      <p188:reply id="{833D7EB1-9A55-48E8-9437-A9D74D0F9B7B}" authorId="{00000000-0000-0000-0000-000000000000}" created="2023-11-02T04:51:40.477">
        <p188:txBody>
          <a:bodyPr/>
          <a:lstStyle/>
          <a:p>
            <a:r>
              <a:rPr lang="en-US"/>
              <a:t>Olyasmire gondolok, mint a 117. slide.</a:t>
            </a:r>
          </a:p>
        </p188:txBody>
      </p188:reply>
    </p188:replyLst>
    <p188:txBody>
      <a:bodyPr/>
      <a:lstStyle/>
      <a:p>
        <a:r>
          <a:rPr lang="en-US"/>
          <a:t>Ebbe a részbe esetleg tudunk még Gartner féle kimutatást tenni, hogy hogy áll a Deloitte Consulting részlege?</a:t>
        </a:r>
      </a:p>
    </p188:txBody>
  </p188:cm>
</p188:cmLst>
</file>

<file path=ppt/comments/modernComment_7FFFD8BF_CCBBF258.xml><?xml version="1.0" encoding="utf-8"?>
<p188:cmLst xmlns:a="http://schemas.openxmlformats.org/drawingml/2006/main" xmlns:r="http://schemas.openxmlformats.org/officeDocument/2006/relationships" xmlns:p188="http://schemas.microsoft.com/office/powerpoint/2018/8/main">
  <p188:cm id="{DB613015-9365-44FC-AEB8-2DBF52D9BB7D}" authorId="{00000000-0000-0000-0000-000000000000}" created="2023-10-30T14:01:36.757">
    <ac:deMkLst xmlns:ac="http://schemas.microsoft.com/office/drawing/2013/main/command">
      <pc:docMk xmlns:pc="http://schemas.microsoft.com/office/powerpoint/2013/main/command"/>
      <pc:sldMk xmlns:pc="http://schemas.microsoft.com/office/powerpoint/2013/main/command" cId="3434869336" sldId="2147473599"/>
      <ac:spMk id="3" creationId="{A8C5DE25-FF84-83D5-6D3B-61F7AED53846}"/>
    </ac:deMkLst>
    <p188:replyLst>
      <p188:reply id="{CAB0748E-C1DC-4DAB-9E70-B22240B22C00}" authorId="{00000000-0000-0000-0000-000000000000}" created="2023-11-01T22:30:36.414">
        <p188:txBody>
          <a:bodyPr/>
          <a:lstStyle/>
          <a:p>
            <a:r>
              <a:rPr lang="en-US"/>
              <a:t>[Mention was removed]  én továbbra is advokálnék a logós verzió mellett. Szerintem ez a slide így vizuálisan nagyon sivár pusztán szöveggel.
Szerintem még ha nem is teljesen konzisztens (mivel nincs meg mindennek a logója), még akkor is jobban járunk, ha bedobjuk a főbb ügyfelekhez a logót. Mit gondolsz?</a:t>
            </a:r>
          </a:p>
        </p188:txBody>
      </p188:reply>
      <p188:reply id="{4AFC021D-79EC-4B6E-B8A2-E724084D42FB}" authorId="{00000000-0000-0000-0000-000000000000}" created="2023-11-02T10:18:49.764">
        <p188:txBody>
          <a:bodyPr/>
          <a:lstStyle/>
          <a:p>
            <a:r>
              <a:rPr lang="en-US"/>
              <a:t>Ok, de úgy is elég fura volt. Mondjuk nem ezen fog múlni szeirntem.:) Tudunk csak logót betenni?</a:t>
            </a:r>
          </a:p>
        </p188:txBody>
      </p188:reply>
    </p188:replyLst>
    <p188:txBody>
      <a:bodyPr/>
      <a:lstStyle/>
      <a:p>
        <a:r>
          <a:rPr lang="en-US"/>
          <a:t>A referenciák nem konzisztensek. LSz vagy logo legyen, vagy név.</a:t>
        </a:r>
      </a:p>
    </p188:txBody>
  </p188:cm>
</p188:cmLst>
</file>

<file path=ppt/comments/modernComment_7FFFD8F7_331340B2.xml><?xml version="1.0" encoding="utf-8"?>
<p188:cmLst xmlns:a="http://schemas.openxmlformats.org/drawingml/2006/main" xmlns:r="http://schemas.openxmlformats.org/officeDocument/2006/relationships" xmlns:p188="http://schemas.microsoft.com/office/powerpoint/2018/8/main">
  <p188:cm id="{3F1DC872-0C98-477A-8BF4-4D40C302832C}" authorId="{00000000-0000-0000-0000-000000000000}" status="resolved" created="2023-10-26T08:44:19.771">
    <pc:sldMkLst xmlns:pc="http://schemas.microsoft.com/office/powerpoint/2013/main/command">
      <pc:docMk/>
      <pc:sldMk cId="856899762" sldId="2147473655"/>
    </pc:sldMkLst>
    <p188:txBody>
      <a:bodyPr/>
      <a:lstStyle/>
      <a:p>
        <a:r>
          <a:rPr lang="en-US"/>
          <a:t>[Mention was removed] , pls increase font size</a:t>
        </a:r>
      </a:p>
    </p188:txBody>
    <p188:extLst>
      <p:ext xmlns:p="http://schemas.openxmlformats.org/presentationml/2006/main" uri="{5BB2D875-25FF-4072-B9AC-8F64D62656EB}">
        <p228:taskDetails xmlns:p228="http://schemas.microsoft.com/office/powerpoint/2022/08/main">
          <p228:history>
            <p228:event time="2023-10-26T08:44:19.771" id="{16FFA4C6-AE61-4357-B5D9-2B58B444448D}">
              <p228:atrbtn authorId="{F75F1AF7-CD25-3144-D2FE-5C5E302550CA}"/>
              <p228:anchr>
                <p228:comment id="{3F1DC872-0C98-477A-8BF4-4D40C302832C}"/>
              </p228:anchr>
              <p228:add/>
            </p228:event>
            <p228:event time="2023-10-26T08:44:19.771" id="{754BC157-69BD-4F20-889C-C54853BCA73F}">
              <p228:atrbtn authorId="{F75F1AF7-CD25-3144-D2FE-5C5E302550CA}"/>
              <p228:anchr>
                <p228:comment id="{3F1DC872-0C98-477A-8BF4-4D40C302832C}"/>
              </p228:anchr>
              <p228:asgn authorId="{FA477770-5905-B9D2-5531-69FD0FB92610}"/>
            </p228:event>
            <p228:event time="2023-10-26T08:44:19.771" id="{5417CA2F-505C-44B7-B986-F7588641B603}">
              <p228:atrbtn authorId="{F75F1AF7-CD25-3144-D2FE-5C5E302550CA}"/>
              <p228:anchr>
                <p228:comment id="{3F1DC872-0C98-477A-8BF4-4D40C302832C}"/>
              </p228:anchr>
              <p228:title val="[@Reti, Anna] , pls increase font size&#10;"/>
            </p228:event>
            <p228:event time="2023-10-26T08:44:19.771" id="{F323DF94-D017-4813-BCC8-3BBDBBE7D4E5}">
              <p228:atrbtn authorId="{F75F1AF7-CD25-3144-D2FE-5C5E302550CA}"/>
              <p228:anchr>
                <p228:comment id="{3F1DC872-0C98-477A-8BF4-4D40C302832C}"/>
              </p228:anchr>
              <p228:date stDt="2023-10-26T08:44:19.771" endDt="2023-10-26T08:44:19.771"/>
            </p228:event>
          </p228:history>
        </p228:taskDetails>
      </p:ext>
    </p188:extLst>
  </p188:cm>
</p188:cmLst>
</file>

<file path=ppt/comments/modernComment_7FFFD91D_58A7BBD6.xml><?xml version="1.0" encoding="utf-8"?>
<p188:cmLst xmlns:a="http://schemas.openxmlformats.org/drawingml/2006/main" xmlns:r="http://schemas.openxmlformats.org/officeDocument/2006/relationships" xmlns:p188="http://schemas.microsoft.com/office/powerpoint/2018/8/main">
  <p188:cm id="{585FE1CF-75AF-49B4-BC0B-7E2BBECF3B89}" authorId="{00000000-0000-0000-0000-000000000000}" created="2023-11-01T23:34:45.130">
    <ac:txMkLst xmlns:ac="http://schemas.microsoft.com/office/drawing/2013/main/command">
      <pc:docMk xmlns:pc="http://schemas.microsoft.com/office/powerpoint/2013/main/command"/>
      <pc:sldMk xmlns:pc="http://schemas.microsoft.com/office/powerpoint/2013/main/command" cId="1487387606" sldId="2147473693"/>
      <ac:spMk id="113" creationId="{2073888D-D36A-9120-48F2-66BA9216459B}"/>
      <ac:txMk cp="0" len="40">
        <ac:context len="41" hash="2380797061"/>
      </ac:txMk>
    </ac:txMkLst>
    <p188:pos x="6912195" y="254250"/>
    <p188:txBody>
      <a:bodyPr/>
      <a:lstStyle/>
      <a:p>
        <a:r>
          <a:rPr lang="en-GB"/>
          <a:t>[Mention was removed]  pls ezt majd egységes phrasingre cseréljük, pl:
Our selected credentials for Technology Consulting Services</a:t>
        </a:r>
      </a:p>
    </p188:txBody>
  </p188:cm>
</p188:cmLst>
</file>

<file path=ppt/comments/modernComment_7FFFD921_B8D38E0B.xml><?xml version="1.0" encoding="utf-8"?>
<p188:cmLst xmlns:a="http://schemas.openxmlformats.org/drawingml/2006/main" xmlns:r="http://schemas.openxmlformats.org/officeDocument/2006/relationships" xmlns:p188="http://schemas.microsoft.com/office/powerpoint/2018/8/main">
  <p188:cm id="{ABF1E19B-09A3-4B2B-A5B2-032A641D043F}" authorId="{00000000-0000-0000-0000-000000000000}" created="2023-11-02T16:13:15.974">
    <pc:sldMkLst xmlns:pc="http://schemas.microsoft.com/office/powerpoint/2013/main/command">
      <pc:docMk/>
      <pc:sldMk cId="3100872203" sldId="2147473697"/>
    </pc:sldMkLst>
    <p188:txBody>
      <a:bodyPr/>
      <a:lstStyle/>
      <a:p>
        <a:r>
          <a:rPr lang="en-GB"/>
          <a:t>Maradjon, mert publikus is.</a:t>
        </a:r>
      </a:p>
    </p188:txBody>
  </p188:cm>
</p188:cmLst>
</file>

<file path=ppt/comments/modernComment_7FFFD92F_14E88974.xml><?xml version="1.0" encoding="utf-8"?>
<p188:cmLst xmlns:a="http://schemas.openxmlformats.org/drawingml/2006/main" xmlns:r="http://schemas.openxmlformats.org/officeDocument/2006/relationships" xmlns:p188="http://schemas.microsoft.com/office/powerpoint/2018/8/main">
  <p188:cm id="{AE7876FE-99BB-4E79-961A-477AEB3A2A7B}" authorId="{00000000-0000-0000-0000-000000000000}" status="resolved" created="2023-10-26T08:43:44.255">
    <pc:sldMkLst xmlns:pc="http://schemas.microsoft.com/office/powerpoint/2013/main/command">
      <pc:docMk/>
      <pc:sldMk cId="1252120329" sldId="2147473653"/>
    </pc:sldMkLst>
    <p188:txBody>
      <a:bodyPr/>
      <a:lstStyle/>
      <a:p>
        <a:r>
          <a:rPr lang="en-US"/>
          <a:t>[Mention was removed] , ha a Strategic Choice Cascade-ről bármilyen részletesebb leírás van, vagy jobb design, akkor pls rakd ide</a:t>
        </a:r>
      </a:p>
    </p188:txBody>
    <p188:extLst>
      <p:ext xmlns:p="http://schemas.openxmlformats.org/presentationml/2006/main" uri="{5BB2D875-25FF-4072-B9AC-8F64D62656EB}">
        <p228:taskDetails xmlns:p228="http://schemas.microsoft.com/office/powerpoint/2022/08/main">
          <p228:history>
            <p228:event time="2023-10-26T08:43:49.974" id="{C889A3A9-6D56-4901-9D34-61100A285A4C}">
              <p228:atrbtn authorId="{F75F1AF7-CD25-3144-D2FE-5C5E302550CA}"/>
              <p228:anchr>
                <p228:comment id="{00000000-0000-0000-0000-000000000000}"/>
              </p228:anchr>
              <p228:pcntCmplt val="100000"/>
            </p228:event>
            <p228:event time="2023-10-26T08:44:02.880" id="{C2C44699-FEAE-495F-A15B-23125204B2EB}">
              <p228:atrbtn authorId="{F75F1AF7-CD25-3144-D2FE-5C5E302550CA}"/>
              <p228:anchr>
                <p228:comment id="{00000000-0000-0000-0000-000000000000}"/>
              </p228:anchr>
              <p228:pcntCmplt val="0"/>
            </p228:event>
          </p228:history>
        </p228:taskDetails>
      </p:ext>
    </p188:extLst>
  </p188:cm>
</p188:cmLst>
</file>

<file path=ppt/comments/modernComment_7FFFD931_5C9D1904.xml><?xml version="1.0" encoding="utf-8"?>
<p188:cmLst xmlns:a="http://schemas.openxmlformats.org/drawingml/2006/main" xmlns:r="http://schemas.openxmlformats.org/officeDocument/2006/relationships" xmlns:p188="http://schemas.microsoft.com/office/powerpoint/2018/8/main">
  <p188:cm id="{53A817DD-B931-4E8D-A247-773968481A8C}" authorId="{00000000-0000-0000-0000-000000000000}" created="2023-10-27T15:08:19.561">
    <ac:deMkLst xmlns:ac="http://schemas.microsoft.com/office/drawing/2013/main/command">
      <pc:docMk xmlns:pc="http://schemas.microsoft.com/office/powerpoint/2013/main/command"/>
      <pc:sldMk xmlns:pc="http://schemas.microsoft.com/office/powerpoint/2013/main/command" cId="1553799428" sldId="2147473713"/>
      <ac:spMk id="10" creationId="{7EF4EFBA-A6B6-177D-D10B-65761581C3DB}"/>
    </ac:deMkLst>
    <p188:txBody>
      <a:bodyPr/>
      <a:lstStyle/>
      <a:p>
        <a:r>
          <a:rPr lang="en-US"/>
          <a:t>Majd a végén az oldalszámokat beírni</a:t>
        </a:r>
      </a:p>
    </p188:txBody>
  </p188:cm>
</p188:cmLst>
</file>

<file path=ppt/comments/modernComment_7FFFD937_DC4BC6F1.xml><?xml version="1.0" encoding="utf-8"?>
<p188:cmLst xmlns:a="http://schemas.openxmlformats.org/drawingml/2006/main" xmlns:r="http://schemas.openxmlformats.org/officeDocument/2006/relationships" xmlns:p188="http://schemas.microsoft.com/office/powerpoint/2018/8/main">
  <p188:cm id="{7CA45EDC-8AC9-4313-BA53-7339F31D0C74}" authorId="{00000000-0000-0000-0000-000000000000}" created="2023-11-01T23:35:26.745">
    <pc:sldMkLst xmlns:pc="http://schemas.microsoft.com/office/powerpoint/2013/main/command">
      <pc:docMk/>
      <pc:sldMk cId="3695953649" sldId="2147473719"/>
    </pc:sldMkLst>
    <p188:txBody>
      <a:bodyPr/>
      <a:lstStyle/>
      <a:p>
        <a:r>
          <a:rPr lang="en-GB"/>
          <a:t>[Mention was removed] , pls ezt a slide-ot vizuálisan pimpeljük fel.</a:t>
        </a:r>
      </a:p>
    </p188:txBody>
  </p188:cm>
</p188:cmLst>
</file>

<file path=ppt/comments/modernComment_7FFFD94B_63828397.xml><?xml version="1.0" encoding="utf-8"?>
<p188:cmLst xmlns:a="http://schemas.openxmlformats.org/drawingml/2006/main" xmlns:r="http://schemas.openxmlformats.org/officeDocument/2006/relationships" xmlns:p188="http://schemas.microsoft.com/office/powerpoint/2018/8/main">
  <p188:cm id="{B59B4DB5-B8D3-4F7F-8386-259F2FE27B45}" authorId="{00000000-0000-0000-0000-000000000000}" created="2023-11-02T16:23:03.201">
    <pc:sldMkLst xmlns:pc="http://schemas.microsoft.com/office/powerpoint/2013/main/command">
      <pc:docMk/>
      <pc:sldMk cId="1669497751" sldId="2147473739"/>
    </pc:sldMkLst>
    <p188:txBody>
      <a:bodyPr/>
      <a:lstStyle/>
      <a:p>
        <a:r>
          <a:rPr lang="hu-HU"/>
          <a:t>Footnote-ban [Mention was removed] </a:t>
        </a:r>
      </a:p>
    </p188:txBody>
  </p188:cm>
</p188:cmLst>
</file>

<file path=ppt/comments/modernComment_7FFFD961_45306062.xml><?xml version="1.0" encoding="utf-8"?>
<p188:cmLst xmlns:a="http://schemas.openxmlformats.org/drawingml/2006/main" xmlns:r="http://schemas.openxmlformats.org/officeDocument/2006/relationships" xmlns:p188="http://schemas.microsoft.com/office/powerpoint/2018/8/main">
  <p188:cm id="{F6870CFE-5992-447F-A5E7-34EBFD63F6CE}" authorId="{00000000-0000-0000-0000-000000000000}" created="2023-10-19T09:36:38.974">
    <ac:deMkLst xmlns:ac="http://schemas.microsoft.com/office/drawing/2013/main/command">
      <pc:docMk xmlns:pc="http://schemas.microsoft.com/office/powerpoint/2013/main/command"/>
      <pc:sldMk xmlns:pc="http://schemas.microsoft.com/office/powerpoint/2013/main/command" cId="1160798306" sldId="2147473761"/>
      <ac:spMk id="216" creationId="{D84CF974-E33C-3D3E-31AE-70E6D82CDD9C}"/>
    </ac:deMkLst>
    <p188:txBody>
      <a:bodyPr/>
      <a:lstStyle/>
      <a:p>
        <a:r>
          <a:rPr lang="en-US"/>
          <a:t>This might be changed for more relevant project</a:t>
        </a:r>
      </a:p>
    </p188:txBody>
  </p188:cm>
  <p188:cm id="{BCFEEA46-D7E1-4433-8023-C70A985771FF}" authorId="{00000000-0000-0000-0000-000000000000}" status="resolved" created="2023-10-26T08:47:42.917">
    <ac:deMkLst xmlns:ac="http://schemas.microsoft.com/office/drawing/2013/main/command">
      <pc:docMk xmlns:pc="http://schemas.microsoft.com/office/powerpoint/2013/main/command"/>
      <pc:sldMk xmlns:pc="http://schemas.microsoft.com/office/powerpoint/2013/main/command" cId="1160798306" sldId="2147473761"/>
      <ac:spMk id="133" creationId="{0438F638-92A7-4437-0857-B8718F77E13A}"/>
    </ac:deMkLst>
    <p188:txBody>
      <a:bodyPr/>
      <a:lstStyle/>
      <a:p>
        <a:r>
          <a:rPr lang="en-US"/>
          <a:t>1) NN CZ Sales strategy project
2) MBH Leasing integration project
3) DSK premium segment strategy
4) Merit Back office
5) GIRO
6) CIB Mortgage in agile</a:t>
        </a:r>
      </a:p>
    </p188:txBody>
  </p188:cm>
  <p188:cm id="{180BAD93-2DE8-4C68-B2EF-D61DBD4C69C6}" authorId="{00000000-0000-0000-0000-000000000000}" status="resolved" created="2023-10-26T14:05:40.336">
    <pc:sldMkLst xmlns:pc="http://schemas.microsoft.com/office/powerpoint/2013/main/command">
      <pc:docMk/>
      <pc:sldMk cId="3064246930" sldId="2147473611"/>
    </pc:sldMkLst>
    <p188:txBody>
      <a:bodyPr/>
      <a:lstStyle/>
      <a:p>
        <a:r>
          <a:rPr lang="en-US"/>
          <a:t>1) Stimulus - Anna
2) NN - Dani /valami junior volt még?
3) MBH leasing - Dani/Péter
4) DSK - Anna
5) back-office - Péter
6) Giro - Anna
7) CIB - kész </a:t>
        </a:r>
      </a:p>
    </p188:txBody>
  </p188:cm>
</p188:cmLst>
</file>

<file path=ppt/comments/modernComment_7FFFD96B_5A06B0BD.xml><?xml version="1.0" encoding="utf-8"?>
<p188:cmLst xmlns:a="http://schemas.openxmlformats.org/drawingml/2006/main" xmlns:r="http://schemas.openxmlformats.org/officeDocument/2006/relationships" xmlns:p188="http://schemas.microsoft.com/office/powerpoint/2018/8/main">
  <p188:cm id="{15DDD24D-098A-3C4F-9F73-41B6157A77FE}" authorId="{00000000-0000-0000-0000-000000000000}" status="resolved" created="2023-10-20T14:26:26.009">
    <pc:sldMkLst xmlns:pc="http://schemas.microsoft.com/office/powerpoint/2013/main/command">
      <pc:docMk/>
      <pc:sldMk cId="3443717574" sldId="12417"/>
    </pc:sldMkLst>
    <p188:txBody>
      <a:bodyPr/>
      <a:lstStyle/>
      <a:p>
        <a:r>
          <a:rPr lang="en-US"/>
          <a:t>Slide for Data Privacy</a:t>
        </a:r>
      </a:p>
    </p188:txBody>
  </p188:cm>
  <p188:cm id="{D3FFDB18-79F7-4559-AB81-713EF89B6B66}" authorId="{00000000-0000-0000-0000-000000000000}" status="resolved" created="2023-11-02T16:38:51.813">
    <ac:deMkLst xmlns:ac="http://schemas.microsoft.com/office/drawing/2013/main/command">
      <pc:docMk xmlns:pc="http://schemas.microsoft.com/office/powerpoint/2013/main/command"/>
      <pc:sldMk xmlns:pc="http://schemas.microsoft.com/office/powerpoint/2013/main/command" cId="1510387901" sldId="2147473771"/>
      <ac:spMk id="65" creationId="{40C773EF-3755-4BD5-A0BD-303E5F935110}"/>
    </ac:deMkLst>
    <p188:txBody>
      <a:bodyPr/>
      <a:lstStyle/>
      <a:p>
        <a:r>
          <a:rPr lang="hu-HU"/>
          <a:t>Direkt piros? </a:t>
        </a:r>
      </a:p>
    </p188:txBody>
  </p188:cm>
</p188:cmLst>
</file>

<file path=ppt/comments/modernComment_7FFFD96E_AD8EE829.xml><?xml version="1.0" encoding="utf-8"?>
<p188:cmLst xmlns:a="http://schemas.openxmlformats.org/drawingml/2006/main" xmlns:r="http://schemas.openxmlformats.org/officeDocument/2006/relationships" xmlns:p188="http://schemas.microsoft.com/office/powerpoint/2018/8/main">
  <p188:cm id="{717D1186-A46E-43DA-B569-F90BBD87E2B1}" authorId="{00000000-0000-0000-0000-000000000000}" created="2023-10-30T13:27:08.929">
    <pc:sldMkLst xmlns:pc="http://schemas.microsoft.com/office/powerpoint/2013/main/command">
      <pc:docMk/>
      <pc:sldMk cId="2911823913" sldId="2147473774"/>
    </pc:sldMkLst>
    <p188:txBody>
      <a:bodyPr/>
      <a:lstStyle/>
      <a:p>
        <a:r>
          <a:rPr lang="en-US"/>
          <a:t>A profilképek hiányoznak</a:t>
        </a:r>
      </a:p>
    </p188:txBody>
  </p188:cm>
</p188:cmLst>
</file>

<file path=ppt/comments/modernComment_7FFFD96F_7835C621.xml><?xml version="1.0" encoding="utf-8"?>
<p188:cmLst xmlns:a="http://schemas.openxmlformats.org/drawingml/2006/main" xmlns:r="http://schemas.openxmlformats.org/officeDocument/2006/relationships" xmlns:p188="http://schemas.microsoft.com/office/powerpoint/2018/8/main">
  <p188:cm id="{730F1854-1DB1-2446-A3F7-5DCF24FF0A7E}" authorId="{00000000-0000-0000-0000-000000000000}" created="2023-10-19T09:36:38.974">
    <ac:deMkLst xmlns:ac="http://schemas.microsoft.com/office/drawing/2013/main/command">
      <pc:docMk xmlns:pc="http://schemas.microsoft.com/office/powerpoint/2013/main/command"/>
      <pc:sldMk xmlns:pc="http://schemas.microsoft.com/office/powerpoint/2013/main/command" cId="2016790049" sldId="2147473775"/>
      <ac:spMk id="179" creationId="{D84CF974-E33C-3D3E-31AE-70E6D82CDD9C}"/>
    </ac:deMkLst>
    <p188:replyLst/>
    <p188:txBody>
      <a:bodyPr/>
      <a:lstStyle/>
      <a:p>
        <a:r>
          <a:rPr lang="en-US"/>
          <a:t>This might be changed for more relevant project</a:t>
        </a:r>
      </a:p>
    </p188:txBody>
  </p188:cm>
</p188:cmLst>
</file>

<file path=ppt/comments/modernComment_7FFFD973_38FE641F.xml><?xml version="1.0" encoding="utf-8"?>
<p188:cmLst xmlns:a="http://schemas.openxmlformats.org/drawingml/2006/main" xmlns:r="http://schemas.openxmlformats.org/officeDocument/2006/relationships" xmlns:p188="http://schemas.microsoft.com/office/powerpoint/2018/8/main">
  <p188:cm id="{6E836CF9-93FE-43C0-B679-F42FC499DF05}" authorId="{00000000-0000-0000-0000-000000000000}" created="2023-11-01T22:08:26.954">
    <ac:txMkLst xmlns:ac="http://schemas.microsoft.com/office/drawing/2013/main/command">
      <pc:docMk xmlns:pc="http://schemas.microsoft.com/office/powerpoint/2013/main/command"/>
      <pc:sldMk xmlns:pc="http://schemas.microsoft.com/office/powerpoint/2013/main/command" cId="956195871" sldId="2147473779"/>
      <ac:spMk id="11" creationId="{59EED19D-037B-1BC0-216D-F728A109D770}"/>
      <ac:txMk cp="248" len="108">
        <ac:context len="357" hash="456128525"/>
      </ac:txMk>
    </ac:txMkLst>
    <p188:pos x="3132815" y="1116503"/>
    <p188:txBody>
      <a:bodyPr/>
      <a:lstStyle/>
      <a:p>
        <a:r>
          <a:rPr lang="hu-HU"/>
          <a:t>Max 150 words of short company description. To be finalised.</a:t>
        </a:r>
      </a:p>
    </p188:txBody>
  </p188:cm>
</p188:cmLst>
</file>

<file path=ppt/comments/modernComment_7FFFD978_1C1992F0.xml><?xml version="1.0" encoding="utf-8"?>
<p188:cmLst xmlns:a="http://schemas.openxmlformats.org/drawingml/2006/main" xmlns:r="http://schemas.openxmlformats.org/officeDocument/2006/relationships" xmlns:p188="http://schemas.microsoft.com/office/powerpoint/2018/8/main">
  <p188:cm id="{48535F38-A9EC-4F0B-B671-372B367397E8}" authorId="{00000000-0000-0000-0000-000000000000}" created="2023-11-02T13:00:46.476">
    <pc:sldMkLst xmlns:pc="http://schemas.microsoft.com/office/powerpoint/2013/main/command">
      <pc:docMk/>
      <pc:sldMk cId="471438064" sldId="2147473784"/>
    </pc:sldMkLst>
    <p188:txBody>
      <a:bodyPr/>
      <a:lstStyle/>
      <a:p>
        <a:r>
          <a:rPr lang="en-US"/>
          <a:t>Candidate for hiding</a:t>
        </a:r>
      </a:p>
    </p188:txBody>
  </p188:cm>
</p188:cmLst>
</file>

<file path=ppt/comments/modernComment_7FFFF920_2EE847F2.xml><?xml version="1.0" encoding="utf-8"?>
<p188:cmLst xmlns:a="http://schemas.openxmlformats.org/drawingml/2006/main" xmlns:r="http://schemas.openxmlformats.org/officeDocument/2006/relationships" xmlns:p188="http://schemas.microsoft.com/office/powerpoint/2018/8/main">
  <p188:cm id="{0CB3F74E-6D41-40EF-93FA-6DA6C6423749}" authorId="{00000000-0000-0000-0000-000000000000}" created="2023-11-02T16:21:11.808">
    <ac:deMkLst xmlns:ac="http://schemas.microsoft.com/office/drawing/2013/main/command">
      <pc:docMk xmlns:pc="http://schemas.microsoft.com/office/powerpoint/2013/main/command"/>
      <pc:sldMk xmlns:pc="http://schemas.microsoft.com/office/powerpoint/2013/main/command" cId="786974706" sldId="2147481888"/>
      <ac:spMk id="5" creationId="{23E39807-C99B-2DC8-687E-873D89C292B4}"/>
    </ac:deMkLst>
    <p188:txBody>
      <a:bodyPr/>
      <a:lstStyle/>
      <a:p>
        <a:r>
          <a:rPr lang="hu-HU"/>
          <a:t>Footnote:
Részletesebben kifejtve a DevOps módszertan megtalálható a későbbi TBD chapterben. [Mention was removed] </a:t>
        </a:r>
      </a:p>
    </p188:txBody>
  </p188:cm>
</p188:cmLst>
</file>

<file path=ppt/comments/modernComment_7FFFF922_CF6E05FE.xml><?xml version="1.0" encoding="utf-8"?>
<p188:cmLst xmlns:a="http://schemas.openxmlformats.org/drawingml/2006/main" xmlns:r="http://schemas.openxmlformats.org/officeDocument/2006/relationships" xmlns:p188="http://schemas.microsoft.com/office/powerpoint/2018/8/main">
  <p188:cm id="{83E0FDFA-ACB9-4C54-8AA2-4345A4F27261}" authorId="{00000000-0000-0000-0000-000000000000}" created="2023-11-02T12:56:56.768">
    <pc:sldMkLst xmlns:pc="http://schemas.microsoft.com/office/powerpoint/2013/main/command">
      <pc:docMk/>
      <pc:sldMk cId="3480094206" sldId="2147481890"/>
    </pc:sldMkLst>
    <p188:txBody>
      <a:bodyPr/>
      <a:lstStyle/>
      <a:p>
        <a:r>
          <a:rPr lang="en-US"/>
          <a:t>Candidate for hiding</a:t>
        </a:r>
      </a:p>
    </p188:txBody>
  </p188:cm>
</p188:cmLst>
</file>

<file path=ppt/comments/modernComment_7FFFF949_2E361F5D.xml><?xml version="1.0" encoding="utf-8"?>
<p188:cmLst xmlns:a="http://schemas.openxmlformats.org/drawingml/2006/main" xmlns:r="http://schemas.openxmlformats.org/officeDocument/2006/relationships" xmlns:p188="http://schemas.microsoft.com/office/powerpoint/2018/8/main">
  <p188:cm id="{E403D8C6-FC6D-4F03-95A8-4CF229D48275}" authorId="{00000000-0000-0000-0000-000000000000}" created="2023-11-02T16:33:27.927">
    <pc:sldMkLst xmlns:pc="http://schemas.microsoft.com/office/powerpoint/2013/main/command">
      <pc:docMk/>
      <pc:sldMk cId="775298909" sldId="2147481929"/>
    </pc:sldMkLst>
    <p188:txBody>
      <a:bodyPr/>
      <a:lstStyle/>
      <a:p>
        <a:r>
          <a:rPr lang="hu-HU"/>
          <a:t>Footnote átvezetőt írni [Mention was removed]  Support &amp; maintenance chapterben ld részletes kifejtés</a:t>
        </a:r>
      </a:p>
    </p188:txBody>
  </p188:cm>
</p188:cmLst>
</file>

<file path=ppt/comments/modernComment_7FFFF96F_57BB953.xml><?xml version="1.0" encoding="utf-8"?>
<p188:cmLst xmlns:a="http://schemas.openxmlformats.org/drawingml/2006/main" xmlns:r="http://schemas.openxmlformats.org/officeDocument/2006/relationships" xmlns:p188="http://schemas.microsoft.com/office/powerpoint/2018/8/main">
  <p188:cm id="{54BBB1A1-D67B-4289-B0D5-3908F09D176D}" authorId="{00000000-0000-0000-0000-000000000000}" created="2023-11-01T23:30:13.865">
    <pc:sldMkLst xmlns:pc="http://schemas.microsoft.com/office/powerpoint/2013/main/command">
      <pc:docMk/>
      <pc:sldMk cId="91994451" sldId="2147481967"/>
    </pc:sldMkLst>
    <p188:txBody>
      <a:bodyPr/>
      <a:lstStyle/>
      <a:p>
        <a:r>
          <a:rPr lang="en-GB"/>
          <a:t>[Mention was removed] , mit jelent az egyes emberek mögött a zöld és kék kiemelés?</a:t>
        </a:r>
      </a:p>
    </p188:txBody>
  </p188:cm>
</p188:cmLst>
</file>

<file path=ppt/comments/modernComment_7FFFF984_8A2FBF95.xml><?xml version="1.0" encoding="utf-8"?>
<p188:cmLst xmlns:a="http://schemas.openxmlformats.org/drawingml/2006/main" xmlns:r="http://schemas.openxmlformats.org/officeDocument/2006/relationships" xmlns:p188="http://schemas.microsoft.com/office/powerpoint/2018/8/main">
  <p188:cm id="{6B25F152-5D8F-4902-8CE9-5928859192F9}" authorId="{00000000-0000-0000-0000-000000000000}" status="resolved" created="2023-11-02T08:29:35.364">
    <pc:sldMkLst xmlns:pc="http://schemas.microsoft.com/office/powerpoint/2013/main/command">
      <pc:docMk/>
      <pc:sldMk cId="2318385045" sldId="2147481988"/>
    </pc:sldMkLst>
    <p188:txBody>
      <a:bodyPr/>
      <a:lstStyle/>
      <a:p>
        <a:r>
          <a:rPr lang="en-US"/>
          <a:t>KATA</a:t>
        </a:r>
      </a:p>
    </p188:txBody>
  </p188:cm>
</p188:cmLst>
</file>

<file path=ppt/comments/modernComment_7FFFF985_C46BFA86.xml><?xml version="1.0" encoding="utf-8"?>
<p188:cmLst xmlns:a="http://schemas.openxmlformats.org/drawingml/2006/main" xmlns:r="http://schemas.openxmlformats.org/officeDocument/2006/relationships" xmlns:p188="http://schemas.microsoft.com/office/powerpoint/2018/8/main">
  <p188:cm id="{61041F60-BF82-40A1-B5D5-E25C19A4A99E}" authorId="{00000000-0000-0000-0000-000000000000}" created="2023-11-01T18:35:47.004">
    <ac:txMkLst xmlns:ac="http://schemas.microsoft.com/office/drawing/2013/main/command">
      <pc:docMk xmlns:pc="http://schemas.microsoft.com/office/powerpoint/2013/main/command"/>
      <pc:sldMk xmlns:pc="http://schemas.microsoft.com/office/powerpoint/2013/main/command" cId="3295410822" sldId="2147481989"/>
      <ac:spMk id="11" creationId="{C695A72C-7C27-F987-2688-131C85183D2B}"/>
      <ac:txMk cp="1" len="60">
        <ac:context len="63" hash="3213951465"/>
      </ac:txMk>
    </ac:txMkLst>
    <p188:txBody>
      <a:bodyPr/>
      <a:lstStyle/>
      <a:p>
        <a:r>
          <a:rPr lang="en-US"/>
          <a:t>[Mention was removed] , az idézetben azt kérik, hogy a UNICEF value-khoz való kapcsolódást fogalmazzuk meg valahogy.</a:t>
        </a:r>
      </a:p>
    </p188:txBody>
  </p188:cm>
  <p188:cm id="{F02F3B81-AC07-44BC-9F9C-6E309DD57FD3}" authorId="{00000000-0000-0000-0000-000000000000}" created="2023-11-01T18:36:22.137">
    <pc:sldMkLst xmlns:pc="http://schemas.microsoft.com/office/powerpoint/2013/main/command">
      <pc:docMk/>
      <pc:sldMk cId="3101320035" sldId="2147481982"/>
    </pc:sldMkLst>
    <p188:txBody>
      <a:bodyPr/>
      <a:lstStyle/>
      <a:p>
        <a:r>
          <a:rPr lang="en-US"/>
          <a:t>[Mention was removed] a risk advisory rész kifejtettségében eltér a többi résztől. Kevésbé részletes. Kérlek, nézd meg a többi részt és próbáld meg úgy alakítani a risk részt, hogy konzisztens legyen a teljes anyag kifejtettségben. Köszönöm!</a:t>
        </a:r>
      </a:p>
    </p188:txBody>
  </p188:cm>
</p188:cmLst>
</file>

<file path=ppt/comments/modernComment_7FFFF986_69DBD849.xml><?xml version="1.0" encoding="utf-8"?>
<p188:cmLst xmlns:a="http://schemas.openxmlformats.org/drawingml/2006/main" xmlns:r="http://schemas.openxmlformats.org/officeDocument/2006/relationships" xmlns:p188="http://schemas.microsoft.com/office/powerpoint/2018/8/main">
  <p188:cm id="{F7913B5A-EC94-4640-A17E-1F2E00446F46}" authorId="{00000000-0000-0000-0000-000000000000}" created="2023-11-01T18:37:11.473">
    <pc:sldMkLst xmlns:pc="http://schemas.microsoft.com/office/powerpoint/2013/main/command">
      <pc:docMk/>
      <pc:sldMk cId="2050684890" sldId="2147481983"/>
    </pc:sldMkLst>
    <p188:txBody>
      <a:bodyPr/>
      <a:lstStyle/>
      <a:p>
        <a:r>
          <a:rPr lang="en-US"/>
          <a:t>[Mention was removed] kérlek, hogy ezeket tombstone-osítsátok!</a:t>
        </a:r>
      </a:p>
    </p188:txBody>
  </p188:cm>
  <p188:cm id="{4FAA027B-BDF9-426D-9C10-D68A2D65666A}" authorId="{00000000-0000-0000-0000-000000000000}" created="2023-11-01T18:38:19.782">
    <pc:sldMkLst xmlns:pc="http://schemas.microsoft.com/office/powerpoint/2013/main/command">
      <pc:docMk/>
      <pc:sldMk cId="2050684890" sldId="2147481983"/>
    </pc:sldMkLst>
    <p188:txBody>
      <a:bodyPr/>
      <a:lstStyle/>
      <a:p>
        <a:r>
          <a:rPr lang="en-GB"/>
          <a:t>[Mention was removed] a rövid referencialeírásokon kívül kérnek case study szerű projektleírásokat is az egyes feladatelemekhez. Kérlek, tegyetek be ilyet ebbe a fejezetbe is. Bemásolok egy mintát az után a slide után.</a:t>
        </a:r>
      </a:p>
    </p188:txBody>
  </p188:cm>
</p188:cmLst>
</file>

<file path=ppt/comments/modernComment_7FFFF990_7B508653.xml><?xml version="1.0" encoding="utf-8"?>
<p188:cmLst xmlns:a="http://schemas.openxmlformats.org/drawingml/2006/main" xmlns:r="http://schemas.openxmlformats.org/officeDocument/2006/relationships" xmlns:p188="http://schemas.microsoft.com/office/powerpoint/2018/8/main">
  <p188:cm id="{CEAEA482-6BC2-46C2-9435-82B738669C18}" authorId="{00000000-0000-0000-0000-000000000000}" created="2023-11-03T10:11:46.251">
    <pc:sldMkLst xmlns:pc="http://schemas.microsoft.com/office/powerpoint/2013/main/command">
      <pc:docMk/>
      <pc:sldMk cId="2068874835" sldId="2147482000"/>
    </pc:sldMkLst>
    <p188:txBody>
      <a:bodyPr/>
      <a:lstStyle/>
      <a:p>
        <a:r>
          <a:rPr lang="en-US"/>
          <a:t>[Mention was removed] , akkor egy ember egy chapterhez tartozzon, igaz? Akkor ez a slide nem kell.</a:t>
        </a:r>
      </a:p>
    </p188:txBody>
  </p188:cm>
</p188:cmLst>
</file>

<file path=ppt/comments/modernComment_7FFFF993_ADA3974.xml><?xml version="1.0" encoding="utf-8"?>
<p188:cmLst xmlns:a="http://schemas.openxmlformats.org/drawingml/2006/main" xmlns:r="http://schemas.openxmlformats.org/officeDocument/2006/relationships" xmlns:p188="http://schemas.microsoft.com/office/powerpoint/2018/8/main">
  <p188:cm id="{1994F31E-5A15-4AA5-BF82-BC49E774A07A}" authorId="{00000000-0000-0000-0000-000000000000}" created="2023-11-03T10:52:05.989">
    <pc:sldMkLst xmlns:pc="http://schemas.microsoft.com/office/powerpoint/2013/main/command">
      <pc:docMk/>
      <pc:sldMk cId="182073716" sldId="2147482003"/>
    </pc:sldMkLst>
    <p188:txBody>
      <a:bodyPr/>
      <a:lstStyle/>
      <a:p>
        <a:r>
          <a:rPr lang="en-US"/>
          <a:t>Design pimpelése</a:t>
        </a:r>
      </a:p>
    </p188:txBody>
  </p188:cm>
</p188:cmLst>
</file>

<file path=ppt/comments/modernComment_7FFFF9A3_12BB73CD.xml><?xml version="1.0" encoding="utf-8"?>
<p188:cmLst xmlns:a="http://schemas.openxmlformats.org/drawingml/2006/main" xmlns:r="http://schemas.openxmlformats.org/officeDocument/2006/relationships" xmlns:p188="http://schemas.microsoft.com/office/powerpoint/2018/8/main">
  <p188:cm id="{6600CC5A-831F-4C91-93B4-105AE678E50F}" authorId="{00000000-0000-0000-0000-000000000000}" created="2023-11-01T07:39:33.257">
    <pc:sldMkLst xmlns:pc="http://schemas.microsoft.com/office/powerpoint/2013/main/command">
      <pc:docMk/>
      <pc:sldMk cId="806223190" sldId="2147481979"/>
    </pc:sldMkLst>
    <p188:replyLst>
      <p188:reply id="{3EDCAD6C-5DCE-4C70-B132-14A97E4843A3}" authorId="{00000000-0000-0000-0000-000000000000}" created="2023-11-02T08:22:33.677">
        <p188:txBody>
          <a:bodyPr/>
          <a:lstStyle/>
          <a:p>
            <a:r>
              <a:rPr lang="en-US"/>
              <a:t>PETI</a:t>
            </a:r>
          </a:p>
        </p188:txBody>
      </p188:reply>
    </p188:replyLst>
    <p188:txBody>
      <a:bodyPr/>
      <a:lstStyle/>
      <a:p>
        <a:r>
          <a:rPr lang="en-US"/>
          <a:t>Kérlek, majd nézzük meg, h a többi chapterben is - amik nem hozzánk tartoznak a MASTERben - alkalmazva legyenek ezek a slide-ok! </a:t>
        </a:r>
      </a:p>
    </p188:txBody>
  </p188:cm>
</p188:cmLst>
</file>

<file path=ppt/comments/modernComment_7FFFF9A4_3075E6C4.xml><?xml version="1.0" encoding="utf-8"?>
<p188:cmLst xmlns:a="http://schemas.openxmlformats.org/drawingml/2006/main" xmlns:r="http://schemas.openxmlformats.org/officeDocument/2006/relationships" xmlns:p188="http://schemas.microsoft.com/office/powerpoint/2018/8/main">
  <p188:cm id="{FEB7768C-45E0-4D5C-BFE1-CDEDA6677503}" authorId="{00000000-0000-0000-0000-000000000000}" created="2023-11-02T14:50:41.343">
    <pc:sldMkLst xmlns:pc="http://schemas.microsoft.com/office/powerpoint/2013/main/command">
      <pc:docMk/>
      <pc:sldMk cId="2162879687" sldId="2147482060"/>
    </pc:sldMkLst>
    <p188:replyLst>
      <p188:reply id="{774934DA-C027-4129-B212-4FFD2ABC6043}" authorId="{00000000-0000-0000-0000-000000000000}" created="2023-11-02T14:51:19.845">
        <p188:txBody>
          <a:bodyPr/>
          <a:lstStyle/>
          <a:p>
            <a:r>
              <a:rPr lang="en-US"/>
              <a:t>Hagytam placeholdert, viszont én nem pontosan tudom, hogy melyikre gondolsz Eszter - tudsz segíteni?</a:t>
            </a:r>
          </a:p>
        </p188:txBody>
      </p188:reply>
    </p188:replyLst>
    <p188:txBody>
      <a:bodyPr/>
      <a:lstStyle/>
      <a:p>
        <a:r>
          <a:rPr lang="en-US"/>
          <a:t>Kérlek, azokból az anyagokból, amit küldtem, tegyünk bele egy sample process management folyamatábrát is! Köszi.</a:t>
        </a:r>
      </a:p>
    </p188:txBody>
  </p188:cm>
</p188:cmLst>
</file>

<file path=ppt/comments/modernComment_7FFFF9BA_FE9D42F9.xml><?xml version="1.0" encoding="utf-8"?>
<p188:cmLst xmlns:a="http://schemas.openxmlformats.org/drawingml/2006/main" xmlns:r="http://schemas.openxmlformats.org/officeDocument/2006/relationships" xmlns:p188="http://schemas.microsoft.com/office/powerpoint/2018/8/main">
  <p188:cm id="{0A643942-1BC7-4F0B-8A0B-BA45BB1F2F67}" authorId="{00000000-0000-0000-0000-000000000000}" created="2023-11-01T14:07:26.144">
    <pc:sldMkLst xmlns:pc="http://schemas.microsoft.com/office/powerpoint/2013/main/command">
      <pc:docMk/>
      <pc:sldMk cId="1265746958" sldId="2147481990"/>
    </pc:sldMkLst>
    <p188:txBody>
      <a:bodyPr/>
      <a:lstStyle/>
      <a:p>
        <a:r>
          <a:rPr lang="en-US"/>
          <a:t>Kérlek, ezt egészítsük ki más kollégákkal is, akiknek van PM tapasztalata a Team Excel alapján!</a:t>
        </a:r>
      </a:p>
    </p188:txBody>
  </p188:cm>
</p188:cmLst>
</file>

<file path=ppt/comments/modernComment_7FFFF9DF_5BDAB6E6.xml><?xml version="1.0" encoding="utf-8"?>
<p188:cmLst xmlns:a="http://schemas.openxmlformats.org/drawingml/2006/main" xmlns:r="http://schemas.openxmlformats.org/officeDocument/2006/relationships" xmlns:p188="http://schemas.microsoft.com/office/powerpoint/2018/8/main">
  <p188:cm id="{898D4E78-1CF3-428D-902B-7814DDEEBA31}" authorId="{00000000-0000-0000-0000-000000000000}" created="2023-11-02T08:27:52.403">
    <pc:sldMkLst xmlns:pc="http://schemas.microsoft.com/office/powerpoint/2013/main/command">
      <pc:docMk/>
      <pc:sldMk cId="1541060326" sldId="2147481998"/>
    </pc:sldMkLst>
    <p188:txBody>
      <a:bodyPr/>
      <a:lstStyle/>
      <a:p>
        <a:r>
          <a:rPr lang="en-US"/>
          <a:t>KATA</a:t>
        </a:r>
      </a:p>
    </p188:txBody>
  </p188:cm>
</p188:cmLst>
</file>

<file path=ppt/comments/modernComment_7FFFF9EB_9BF04F45.xml><?xml version="1.0" encoding="utf-8"?>
<p188:cmLst xmlns:a="http://schemas.openxmlformats.org/drawingml/2006/main" xmlns:r="http://schemas.openxmlformats.org/officeDocument/2006/relationships" xmlns:p188="http://schemas.microsoft.com/office/powerpoint/2018/8/main">
  <p188:cm id="{2706B070-D299-4B36-9CD1-36A1CC24859B}" authorId="{00000000-0000-0000-0000-000000000000}" status="resolved" created="2023-11-02T08:28:47.470">
    <pc:sldMkLst xmlns:pc="http://schemas.microsoft.com/office/powerpoint/2013/main/command">
      <pc:docMk/>
      <pc:sldMk cId="2616217413" sldId="2147482006"/>
    </pc:sldMkLst>
    <p188:txBody>
      <a:bodyPr/>
      <a:lstStyle/>
      <a:p>
        <a:r>
          <a:rPr lang="en-US"/>
          <a:t>LUCA</a:t>
        </a:r>
      </a:p>
    </p188:txBody>
  </p188:cm>
</p188:cmLst>
</file>

<file path=ppt/comments/modernComment_7FFFF9F7_AD9554E.xml><?xml version="1.0" encoding="utf-8"?>
<p188:cmLst xmlns:a="http://schemas.openxmlformats.org/drawingml/2006/main" xmlns:r="http://schemas.openxmlformats.org/officeDocument/2006/relationships" xmlns:p188="http://schemas.microsoft.com/office/powerpoint/2018/8/main">
  <p188:cm id="{9E7647CB-7DB4-43D3-ACD6-9E11763A58AA}" authorId="{00000000-0000-0000-0000-000000000000}" status="resolved" created="2023-11-02T08:29:23.441">
    <pc:sldMkLst xmlns:pc="http://schemas.microsoft.com/office/powerpoint/2013/main/command">
      <pc:docMk/>
      <pc:sldMk cId="182015310" sldId="2147481989"/>
    </pc:sldMkLst>
    <p188:txBody>
      <a:bodyPr/>
      <a:lstStyle/>
      <a:p>
        <a:r>
          <a:rPr lang="en-US"/>
          <a:t>LUCA</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2D913B-5D05-7647-8EAA-8AC2BFAECCBF}" type="doc">
      <dgm:prSet loTypeId="urn:microsoft.com/office/officeart/2005/8/layout/cycle8" loCatId="" qsTypeId="urn:microsoft.com/office/officeart/2005/8/quickstyle/simple1" qsCatId="simple" csTypeId="urn:microsoft.com/office/officeart/2005/8/colors/accent1_2" csCatId="accent1" phldr="1"/>
      <dgm:spPr/>
    </dgm:pt>
    <dgm:pt modelId="{0DDC32E9-748A-5649-9264-2BE71CDEC3A5}">
      <dgm:prSet phldrT="[Text]" custT="1"/>
      <dgm:spPr>
        <a:solidFill>
          <a:schemeClr val="bg1">
            <a:lumMod val="85000"/>
          </a:schemeClr>
        </a:solidFill>
      </dgm:spPr>
      <dgm:t>
        <a:bodyPr/>
        <a:lstStyle/>
        <a:p>
          <a:r>
            <a:rPr lang="en-US" sz="1200" b="0" i="0" dirty="0">
              <a:solidFill>
                <a:schemeClr val="tx1"/>
              </a:solidFill>
              <a:latin typeface="+mj-lt"/>
              <a:ea typeface="Open Sans Light" panose="020B0306030504020204" pitchFamily="34" charset="0"/>
              <a:cs typeface="Open Sans Light" panose="020B0306030504020204" pitchFamily="34" charset="0"/>
            </a:rPr>
            <a:t>Advise</a:t>
          </a:r>
          <a:endParaRPr lang="en-US" sz="1400" b="0" i="0" dirty="0">
            <a:solidFill>
              <a:schemeClr val="tx1"/>
            </a:solidFill>
            <a:latin typeface="+mj-lt"/>
            <a:ea typeface="Open Sans Light" panose="020B0306030504020204" pitchFamily="34" charset="0"/>
            <a:cs typeface="Open Sans Light" panose="020B0306030504020204" pitchFamily="34" charset="0"/>
          </a:endParaRPr>
        </a:p>
      </dgm:t>
    </dgm:pt>
    <dgm:pt modelId="{B9FF844D-31F0-424D-8425-E20AF22D455A}" type="parTrans" cxnId="{45B27857-DF05-A144-AF03-02AD7AB473D5}">
      <dgm:prSet/>
      <dgm:spPr/>
      <dgm:t>
        <a:bodyPr/>
        <a:lstStyle/>
        <a:p>
          <a:endParaRPr lang="en-US" sz="700"/>
        </a:p>
      </dgm:t>
    </dgm:pt>
    <dgm:pt modelId="{5813F255-3CD5-4E45-A06F-4EBA7C4046F5}" type="sibTrans" cxnId="{45B27857-DF05-A144-AF03-02AD7AB473D5}">
      <dgm:prSet/>
      <dgm:spPr/>
      <dgm:t>
        <a:bodyPr/>
        <a:lstStyle/>
        <a:p>
          <a:endParaRPr lang="en-US" sz="700"/>
        </a:p>
      </dgm:t>
    </dgm:pt>
    <dgm:pt modelId="{B7219350-8577-8540-8B44-104857FB7C55}">
      <dgm:prSet phldrT="[Text]" custT="1"/>
      <dgm:spPr>
        <a:solidFill>
          <a:srgbClr val="86BC25">
            <a:alpha val="53000"/>
          </a:srgbClr>
        </a:solidFill>
      </dgm:spPr>
      <dgm:t>
        <a:bodyPr/>
        <a:lstStyle/>
        <a:p>
          <a:r>
            <a:rPr lang="en-US" sz="1200" b="1" i="0" dirty="0">
              <a:solidFill>
                <a:schemeClr val="tx1"/>
              </a:solidFill>
              <a:latin typeface="+mj-lt"/>
              <a:ea typeface="Open Sans SemiBold" panose="020B0606030504020204" pitchFamily="34" charset="0"/>
              <a:cs typeface="Open Sans SemiBold" panose="020B0606030504020204" pitchFamily="34" charset="0"/>
            </a:rPr>
            <a:t>Operate</a:t>
          </a:r>
        </a:p>
      </dgm:t>
    </dgm:pt>
    <dgm:pt modelId="{82F0A6C9-797B-D44F-905C-28AEABD06065}" type="sibTrans" cxnId="{08E45DE5-1289-4746-AA6D-90052EA37A70}">
      <dgm:prSet/>
      <dgm:spPr/>
      <dgm:t>
        <a:bodyPr/>
        <a:lstStyle/>
        <a:p>
          <a:endParaRPr lang="en-US" sz="700"/>
        </a:p>
      </dgm:t>
    </dgm:pt>
    <dgm:pt modelId="{12E84E5D-AD90-D446-A4FD-30905B4B2DD8}" type="parTrans" cxnId="{08E45DE5-1289-4746-AA6D-90052EA37A70}">
      <dgm:prSet/>
      <dgm:spPr/>
      <dgm:t>
        <a:bodyPr/>
        <a:lstStyle/>
        <a:p>
          <a:endParaRPr lang="en-US" sz="700"/>
        </a:p>
      </dgm:t>
    </dgm:pt>
    <dgm:pt modelId="{9A88AE0F-95F6-934A-8B95-FA571AC40B84}">
      <dgm:prSet phldrT="[Text]" custT="1"/>
      <dgm:spPr>
        <a:solidFill>
          <a:schemeClr val="bg1">
            <a:lumMod val="85000"/>
          </a:schemeClr>
        </a:solidFill>
      </dgm:spPr>
      <dgm:t>
        <a:bodyPr/>
        <a:lstStyle/>
        <a:p>
          <a:r>
            <a:rPr lang="en-US" sz="1200" b="0" i="0" dirty="0">
              <a:solidFill>
                <a:schemeClr val="tx1"/>
              </a:solidFill>
              <a:latin typeface="+mj-lt"/>
              <a:ea typeface="Open Sans Light" panose="020B0306030504020204" pitchFamily="34" charset="0"/>
              <a:cs typeface="Open Sans Light" panose="020B0306030504020204" pitchFamily="34" charset="0"/>
            </a:rPr>
            <a:t>Implement</a:t>
          </a:r>
          <a:endParaRPr lang="en-US" sz="1100" b="0" i="0" dirty="0">
            <a:solidFill>
              <a:schemeClr val="tx1"/>
            </a:solidFill>
            <a:latin typeface="+mj-lt"/>
            <a:ea typeface="Open Sans Light" panose="020B0306030504020204" pitchFamily="34" charset="0"/>
            <a:cs typeface="Open Sans Light" panose="020B0306030504020204" pitchFamily="34" charset="0"/>
          </a:endParaRPr>
        </a:p>
      </dgm:t>
    </dgm:pt>
    <dgm:pt modelId="{DCB03F36-C654-724C-B8B8-F540991D8305}" type="sibTrans" cxnId="{9261BCF4-B7B0-914D-A0D5-D369A0216E95}">
      <dgm:prSet/>
      <dgm:spPr/>
      <dgm:t>
        <a:bodyPr/>
        <a:lstStyle/>
        <a:p>
          <a:endParaRPr lang="en-US" sz="700"/>
        </a:p>
      </dgm:t>
    </dgm:pt>
    <dgm:pt modelId="{1056E510-3977-8944-A862-DF004A48F0E8}" type="parTrans" cxnId="{9261BCF4-B7B0-914D-A0D5-D369A0216E95}">
      <dgm:prSet/>
      <dgm:spPr/>
      <dgm:t>
        <a:bodyPr/>
        <a:lstStyle/>
        <a:p>
          <a:endParaRPr lang="en-US" sz="700"/>
        </a:p>
      </dgm:t>
    </dgm:pt>
    <dgm:pt modelId="{B40D8BE8-A490-C142-A9D6-662189AD8097}" type="pres">
      <dgm:prSet presAssocID="{EA2D913B-5D05-7647-8EAA-8AC2BFAECCBF}" presName="compositeShape" presStyleCnt="0">
        <dgm:presLayoutVars>
          <dgm:chMax val="7"/>
          <dgm:dir/>
          <dgm:resizeHandles val="exact"/>
        </dgm:presLayoutVars>
      </dgm:prSet>
      <dgm:spPr/>
    </dgm:pt>
    <dgm:pt modelId="{08353917-7B78-DA4B-B58F-ADC925E63BD4}" type="pres">
      <dgm:prSet presAssocID="{EA2D913B-5D05-7647-8EAA-8AC2BFAECCBF}" presName="wedge1" presStyleLbl="node1" presStyleIdx="0" presStyleCnt="3" custLinFactNeighborX="286" custLinFactNeighborY="550"/>
      <dgm:spPr/>
    </dgm:pt>
    <dgm:pt modelId="{6E479D54-3FC2-E843-9E9E-CA7EF5627DB6}" type="pres">
      <dgm:prSet presAssocID="{EA2D913B-5D05-7647-8EAA-8AC2BFAECCBF}" presName="dummy1a" presStyleCnt="0"/>
      <dgm:spPr/>
    </dgm:pt>
    <dgm:pt modelId="{BCA65A76-BD6A-664B-BA33-119F5F7BE240}" type="pres">
      <dgm:prSet presAssocID="{EA2D913B-5D05-7647-8EAA-8AC2BFAECCBF}" presName="dummy1b" presStyleCnt="0"/>
      <dgm:spPr/>
    </dgm:pt>
    <dgm:pt modelId="{39F7EC22-E3CF-6E48-9B9E-A332FAB76C15}" type="pres">
      <dgm:prSet presAssocID="{EA2D913B-5D05-7647-8EAA-8AC2BFAECCBF}" presName="wedge1Tx" presStyleLbl="node1" presStyleIdx="0" presStyleCnt="3">
        <dgm:presLayoutVars>
          <dgm:chMax val="0"/>
          <dgm:chPref val="0"/>
          <dgm:bulletEnabled val="1"/>
        </dgm:presLayoutVars>
      </dgm:prSet>
      <dgm:spPr/>
    </dgm:pt>
    <dgm:pt modelId="{EE60C10D-9D17-5643-86ED-9281549D0A3D}" type="pres">
      <dgm:prSet presAssocID="{EA2D913B-5D05-7647-8EAA-8AC2BFAECCBF}" presName="wedge2" presStyleLbl="node1" presStyleIdx="1" presStyleCnt="3"/>
      <dgm:spPr/>
    </dgm:pt>
    <dgm:pt modelId="{9B4A0ED9-21CE-2A4E-8676-E43E268633F3}" type="pres">
      <dgm:prSet presAssocID="{EA2D913B-5D05-7647-8EAA-8AC2BFAECCBF}" presName="dummy2a" presStyleCnt="0"/>
      <dgm:spPr/>
    </dgm:pt>
    <dgm:pt modelId="{03C21054-ABA3-0D4B-96B5-A7E2463515FB}" type="pres">
      <dgm:prSet presAssocID="{EA2D913B-5D05-7647-8EAA-8AC2BFAECCBF}" presName="dummy2b" presStyleCnt="0"/>
      <dgm:spPr/>
    </dgm:pt>
    <dgm:pt modelId="{BF9BFA54-2087-B741-A950-71867ABB6D94}" type="pres">
      <dgm:prSet presAssocID="{EA2D913B-5D05-7647-8EAA-8AC2BFAECCBF}" presName="wedge2Tx" presStyleLbl="node1" presStyleIdx="1" presStyleCnt="3">
        <dgm:presLayoutVars>
          <dgm:chMax val="0"/>
          <dgm:chPref val="0"/>
          <dgm:bulletEnabled val="1"/>
        </dgm:presLayoutVars>
      </dgm:prSet>
      <dgm:spPr/>
    </dgm:pt>
    <dgm:pt modelId="{446B950E-A9FB-654B-9DDE-B2E74AC4A3D6}" type="pres">
      <dgm:prSet presAssocID="{EA2D913B-5D05-7647-8EAA-8AC2BFAECCBF}" presName="wedge3" presStyleLbl="node1" presStyleIdx="2" presStyleCnt="3"/>
      <dgm:spPr/>
    </dgm:pt>
    <dgm:pt modelId="{795EA688-D9DA-BC42-8A41-DE7E31165001}" type="pres">
      <dgm:prSet presAssocID="{EA2D913B-5D05-7647-8EAA-8AC2BFAECCBF}" presName="dummy3a" presStyleCnt="0"/>
      <dgm:spPr/>
    </dgm:pt>
    <dgm:pt modelId="{08FC8296-3324-AF45-8275-7E8F893EDB3F}" type="pres">
      <dgm:prSet presAssocID="{EA2D913B-5D05-7647-8EAA-8AC2BFAECCBF}" presName="dummy3b" presStyleCnt="0"/>
      <dgm:spPr/>
    </dgm:pt>
    <dgm:pt modelId="{B474A752-E9A1-3640-907F-E2305C4D500F}" type="pres">
      <dgm:prSet presAssocID="{EA2D913B-5D05-7647-8EAA-8AC2BFAECCBF}" presName="wedge3Tx" presStyleLbl="node1" presStyleIdx="2" presStyleCnt="3">
        <dgm:presLayoutVars>
          <dgm:chMax val="0"/>
          <dgm:chPref val="0"/>
          <dgm:bulletEnabled val="1"/>
        </dgm:presLayoutVars>
      </dgm:prSet>
      <dgm:spPr/>
    </dgm:pt>
    <dgm:pt modelId="{F740CD90-1B68-7D48-9DA1-FB1EDDA81D01}" type="pres">
      <dgm:prSet presAssocID="{82F0A6C9-797B-D44F-905C-28AEABD06065}" presName="arrowWedge1" presStyleLbl="fgSibTrans2D1" presStyleIdx="0" presStyleCnt="3"/>
      <dgm:spPr>
        <a:solidFill>
          <a:srgbClr val="86BC25"/>
        </a:solidFill>
      </dgm:spPr>
    </dgm:pt>
    <dgm:pt modelId="{30CEFD2B-2432-984D-B261-0736B4BE5D62}" type="pres">
      <dgm:prSet presAssocID="{5813F255-3CD5-4E45-A06F-4EBA7C4046F5}" presName="arrowWedge2" presStyleLbl="fgSibTrans2D1" presStyleIdx="1" presStyleCnt="3"/>
      <dgm:spPr>
        <a:solidFill>
          <a:schemeClr val="bg1">
            <a:lumMod val="50000"/>
          </a:schemeClr>
        </a:solidFill>
      </dgm:spPr>
    </dgm:pt>
    <dgm:pt modelId="{2C1319B6-30FE-414F-A608-7C69DFCD06EE}" type="pres">
      <dgm:prSet presAssocID="{DCB03F36-C654-724C-B8B8-F540991D8305}" presName="arrowWedge3" presStyleLbl="fgSibTrans2D1" presStyleIdx="2" presStyleCnt="3"/>
      <dgm:spPr>
        <a:solidFill>
          <a:schemeClr val="bg1">
            <a:lumMod val="50000"/>
          </a:schemeClr>
        </a:solidFill>
      </dgm:spPr>
    </dgm:pt>
  </dgm:ptLst>
  <dgm:cxnLst>
    <dgm:cxn modelId="{ABFDD449-9A0A-E644-B52A-516C6EC1D5F2}" type="presOf" srcId="{0DDC32E9-748A-5649-9264-2BE71CDEC3A5}" destId="{BF9BFA54-2087-B741-A950-71867ABB6D94}" srcOrd="1" destOrd="0" presId="urn:microsoft.com/office/officeart/2005/8/layout/cycle8"/>
    <dgm:cxn modelId="{45B27857-DF05-A144-AF03-02AD7AB473D5}" srcId="{EA2D913B-5D05-7647-8EAA-8AC2BFAECCBF}" destId="{0DDC32E9-748A-5649-9264-2BE71CDEC3A5}" srcOrd="1" destOrd="0" parTransId="{B9FF844D-31F0-424D-8425-E20AF22D455A}" sibTransId="{5813F255-3CD5-4E45-A06F-4EBA7C4046F5}"/>
    <dgm:cxn modelId="{B849DE8B-FC92-E64D-80F2-17DD4D35A5D3}" type="presOf" srcId="{0DDC32E9-748A-5649-9264-2BE71CDEC3A5}" destId="{EE60C10D-9D17-5643-86ED-9281549D0A3D}" srcOrd="0" destOrd="0" presId="urn:microsoft.com/office/officeart/2005/8/layout/cycle8"/>
    <dgm:cxn modelId="{3977EC8D-199E-8A4C-B8AA-6A52D4DB80DF}" type="presOf" srcId="{EA2D913B-5D05-7647-8EAA-8AC2BFAECCBF}" destId="{B40D8BE8-A490-C142-A9D6-662189AD8097}" srcOrd="0" destOrd="0" presId="urn:microsoft.com/office/officeart/2005/8/layout/cycle8"/>
    <dgm:cxn modelId="{4440C6A7-0C43-784E-B9BB-A2EEB1C3B75A}" type="presOf" srcId="{9A88AE0F-95F6-934A-8B95-FA571AC40B84}" destId="{B474A752-E9A1-3640-907F-E2305C4D500F}" srcOrd="1" destOrd="0" presId="urn:microsoft.com/office/officeart/2005/8/layout/cycle8"/>
    <dgm:cxn modelId="{E24A69B1-DF30-A84B-BAD1-384BEB790737}" type="presOf" srcId="{9A88AE0F-95F6-934A-8B95-FA571AC40B84}" destId="{446B950E-A9FB-654B-9DDE-B2E74AC4A3D6}" srcOrd="0" destOrd="0" presId="urn:microsoft.com/office/officeart/2005/8/layout/cycle8"/>
    <dgm:cxn modelId="{0403EEBC-1CF6-C64A-A36D-A9BFBED58670}" type="presOf" srcId="{B7219350-8577-8540-8B44-104857FB7C55}" destId="{08353917-7B78-DA4B-B58F-ADC925E63BD4}" srcOrd="0" destOrd="0" presId="urn:microsoft.com/office/officeart/2005/8/layout/cycle8"/>
    <dgm:cxn modelId="{08E45DE5-1289-4746-AA6D-90052EA37A70}" srcId="{EA2D913B-5D05-7647-8EAA-8AC2BFAECCBF}" destId="{B7219350-8577-8540-8B44-104857FB7C55}" srcOrd="0" destOrd="0" parTransId="{12E84E5D-AD90-D446-A4FD-30905B4B2DD8}" sibTransId="{82F0A6C9-797B-D44F-905C-28AEABD06065}"/>
    <dgm:cxn modelId="{9261BCF4-B7B0-914D-A0D5-D369A0216E95}" srcId="{EA2D913B-5D05-7647-8EAA-8AC2BFAECCBF}" destId="{9A88AE0F-95F6-934A-8B95-FA571AC40B84}" srcOrd="2" destOrd="0" parTransId="{1056E510-3977-8944-A862-DF004A48F0E8}" sibTransId="{DCB03F36-C654-724C-B8B8-F540991D8305}"/>
    <dgm:cxn modelId="{1B28C6FC-F7C6-ED45-BE75-A856CDF2C58D}" type="presOf" srcId="{B7219350-8577-8540-8B44-104857FB7C55}" destId="{39F7EC22-E3CF-6E48-9B9E-A332FAB76C15}" srcOrd="1" destOrd="0" presId="urn:microsoft.com/office/officeart/2005/8/layout/cycle8"/>
    <dgm:cxn modelId="{77311BC3-3338-C94B-AB1F-B6917C0810C9}" type="presParOf" srcId="{B40D8BE8-A490-C142-A9D6-662189AD8097}" destId="{08353917-7B78-DA4B-B58F-ADC925E63BD4}" srcOrd="0" destOrd="0" presId="urn:microsoft.com/office/officeart/2005/8/layout/cycle8"/>
    <dgm:cxn modelId="{D4BA8A98-A711-7D40-A61B-3A55FB8A220A}" type="presParOf" srcId="{B40D8BE8-A490-C142-A9D6-662189AD8097}" destId="{6E479D54-3FC2-E843-9E9E-CA7EF5627DB6}" srcOrd="1" destOrd="0" presId="urn:microsoft.com/office/officeart/2005/8/layout/cycle8"/>
    <dgm:cxn modelId="{075BCE6B-9246-494A-8DEA-9815C807BB62}" type="presParOf" srcId="{B40D8BE8-A490-C142-A9D6-662189AD8097}" destId="{BCA65A76-BD6A-664B-BA33-119F5F7BE240}" srcOrd="2" destOrd="0" presId="urn:microsoft.com/office/officeart/2005/8/layout/cycle8"/>
    <dgm:cxn modelId="{6F6AE751-D875-8748-A60B-346827C71FC2}" type="presParOf" srcId="{B40D8BE8-A490-C142-A9D6-662189AD8097}" destId="{39F7EC22-E3CF-6E48-9B9E-A332FAB76C15}" srcOrd="3" destOrd="0" presId="urn:microsoft.com/office/officeart/2005/8/layout/cycle8"/>
    <dgm:cxn modelId="{27EF1562-2257-3848-93C6-7BB061CFDB31}" type="presParOf" srcId="{B40D8BE8-A490-C142-A9D6-662189AD8097}" destId="{EE60C10D-9D17-5643-86ED-9281549D0A3D}" srcOrd="4" destOrd="0" presId="urn:microsoft.com/office/officeart/2005/8/layout/cycle8"/>
    <dgm:cxn modelId="{600A16C0-CC41-0D4D-B0E4-A95D2030F5E1}" type="presParOf" srcId="{B40D8BE8-A490-C142-A9D6-662189AD8097}" destId="{9B4A0ED9-21CE-2A4E-8676-E43E268633F3}" srcOrd="5" destOrd="0" presId="urn:microsoft.com/office/officeart/2005/8/layout/cycle8"/>
    <dgm:cxn modelId="{B94AE963-71F0-DA4B-8303-571C13F8267F}" type="presParOf" srcId="{B40D8BE8-A490-C142-A9D6-662189AD8097}" destId="{03C21054-ABA3-0D4B-96B5-A7E2463515FB}" srcOrd="6" destOrd="0" presId="urn:microsoft.com/office/officeart/2005/8/layout/cycle8"/>
    <dgm:cxn modelId="{12657964-E5F5-4549-B4B9-4F6A51AEDFD7}" type="presParOf" srcId="{B40D8BE8-A490-C142-A9D6-662189AD8097}" destId="{BF9BFA54-2087-B741-A950-71867ABB6D94}" srcOrd="7" destOrd="0" presId="urn:microsoft.com/office/officeart/2005/8/layout/cycle8"/>
    <dgm:cxn modelId="{B046CC10-569A-F047-BCFA-F48A6C9057A9}" type="presParOf" srcId="{B40D8BE8-A490-C142-A9D6-662189AD8097}" destId="{446B950E-A9FB-654B-9DDE-B2E74AC4A3D6}" srcOrd="8" destOrd="0" presId="urn:microsoft.com/office/officeart/2005/8/layout/cycle8"/>
    <dgm:cxn modelId="{DBD2681F-1026-3642-8744-9CBB75FBBD3A}" type="presParOf" srcId="{B40D8BE8-A490-C142-A9D6-662189AD8097}" destId="{795EA688-D9DA-BC42-8A41-DE7E31165001}" srcOrd="9" destOrd="0" presId="urn:microsoft.com/office/officeart/2005/8/layout/cycle8"/>
    <dgm:cxn modelId="{2A5487C8-E310-B54C-94C5-5D0C8DF08FDF}" type="presParOf" srcId="{B40D8BE8-A490-C142-A9D6-662189AD8097}" destId="{08FC8296-3324-AF45-8275-7E8F893EDB3F}" srcOrd="10" destOrd="0" presId="urn:microsoft.com/office/officeart/2005/8/layout/cycle8"/>
    <dgm:cxn modelId="{BDD04CAC-B2DC-D44B-9480-951992CE22EB}" type="presParOf" srcId="{B40D8BE8-A490-C142-A9D6-662189AD8097}" destId="{B474A752-E9A1-3640-907F-E2305C4D500F}" srcOrd="11" destOrd="0" presId="urn:microsoft.com/office/officeart/2005/8/layout/cycle8"/>
    <dgm:cxn modelId="{143A5C40-2E9C-7A4F-98C6-5203251F07B6}" type="presParOf" srcId="{B40D8BE8-A490-C142-A9D6-662189AD8097}" destId="{F740CD90-1B68-7D48-9DA1-FB1EDDA81D01}" srcOrd="12" destOrd="0" presId="urn:microsoft.com/office/officeart/2005/8/layout/cycle8"/>
    <dgm:cxn modelId="{BEB7FAB5-B1B8-FD4D-A9C3-C72801556B74}" type="presParOf" srcId="{B40D8BE8-A490-C142-A9D6-662189AD8097}" destId="{30CEFD2B-2432-984D-B261-0736B4BE5D62}" srcOrd="13" destOrd="0" presId="urn:microsoft.com/office/officeart/2005/8/layout/cycle8"/>
    <dgm:cxn modelId="{2220CA9F-1C85-A94F-8663-E124A5257180}" type="presParOf" srcId="{B40D8BE8-A490-C142-A9D6-662189AD8097}" destId="{2C1319B6-30FE-414F-A608-7C69DFCD06EE}" srcOrd="14" destOrd="0" presId="urn:microsoft.com/office/officeart/2005/8/layout/cycle8"/>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F7A532-64CC-4E30-8964-7F25A7DE8F59}"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US"/>
        </a:p>
      </dgm:t>
    </dgm:pt>
    <dgm:pt modelId="{782CB4ED-0AEB-42D7-87F1-AC6D388F6056}">
      <dgm:prSet phldrT="[Text]" custT="1"/>
      <dgm:spPr/>
      <dgm:t>
        <a:bodyPr/>
        <a:lstStyle/>
        <a:p>
          <a:r>
            <a:rPr lang="en-US" sz="1200" b="1"/>
            <a:t>Decide</a:t>
          </a:r>
        </a:p>
      </dgm:t>
    </dgm:pt>
    <dgm:pt modelId="{5FDDFB6D-C66C-4230-B5F8-FA79126B934A}" type="parTrans" cxnId="{BAFA3F8E-1DC5-4FDD-BE69-BA828CEBC451}">
      <dgm:prSet/>
      <dgm:spPr/>
      <dgm:t>
        <a:bodyPr/>
        <a:lstStyle/>
        <a:p>
          <a:endParaRPr lang="en-US"/>
        </a:p>
      </dgm:t>
    </dgm:pt>
    <dgm:pt modelId="{2B8461E1-1B2E-48B9-BDAB-AD03C304A23E}" type="sibTrans" cxnId="{BAFA3F8E-1DC5-4FDD-BE69-BA828CEBC451}">
      <dgm:prSet/>
      <dgm:spPr/>
      <dgm:t>
        <a:bodyPr/>
        <a:lstStyle/>
        <a:p>
          <a:endParaRPr lang="en-US"/>
        </a:p>
      </dgm:t>
    </dgm:pt>
    <dgm:pt modelId="{FE10F6D8-A7E3-41CF-9186-AB31E6E03723}">
      <dgm:prSet phldrT="[Text]" custT="1"/>
      <dgm:spPr/>
      <dgm:t>
        <a:bodyPr/>
        <a:lstStyle/>
        <a:p>
          <a:r>
            <a:rPr lang="en-US" sz="1200" b="1"/>
            <a:t>Design</a:t>
          </a:r>
          <a:endParaRPr lang="en-US" sz="1100" b="1"/>
        </a:p>
      </dgm:t>
    </dgm:pt>
    <dgm:pt modelId="{56EBB3F4-BB41-458C-B5CD-088B7151B786}" type="parTrans" cxnId="{2A7B759A-8DDA-44B4-ADAC-660990A1C0FF}">
      <dgm:prSet/>
      <dgm:spPr/>
      <dgm:t>
        <a:bodyPr/>
        <a:lstStyle/>
        <a:p>
          <a:endParaRPr lang="en-US"/>
        </a:p>
      </dgm:t>
    </dgm:pt>
    <dgm:pt modelId="{AE06214B-385D-497C-8CC5-EAC70025D946}" type="sibTrans" cxnId="{2A7B759A-8DDA-44B4-ADAC-660990A1C0FF}">
      <dgm:prSet/>
      <dgm:spPr/>
      <dgm:t>
        <a:bodyPr/>
        <a:lstStyle/>
        <a:p>
          <a:endParaRPr lang="en-US"/>
        </a:p>
      </dgm:t>
    </dgm:pt>
    <dgm:pt modelId="{D61C8982-D197-460C-8AEF-51A185174C63}">
      <dgm:prSet phldrT="[Text]" custT="1"/>
      <dgm:spPr/>
      <dgm:t>
        <a:bodyPr/>
        <a:lstStyle/>
        <a:p>
          <a:r>
            <a:rPr lang="en-US" sz="1200" b="1"/>
            <a:t>Deliver</a:t>
          </a:r>
        </a:p>
      </dgm:t>
    </dgm:pt>
    <dgm:pt modelId="{086CC374-057D-445E-9CCD-929AC4DDEEC4}" type="parTrans" cxnId="{570C0F8B-1C8F-49A9-832D-052D9C0FEC08}">
      <dgm:prSet/>
      <dgm:spPr/>
      <dgm:t>
        <a:bodyPr/>
        <a:lstStyle/>
        <a:p>
          <a:endParaRPr lang="en-US"/>
        </a:p>
      </dgm:t>
    </dgm:pt>
    <dgm:pt modelId="{9956536C-14AF-4578-BC71-E198600B9329}" type="sibTrans" cxnId="{570C0F8B-1C8F-49A9-832D-052D9C0FEC08}">
      <dgm:prSet/>
      <dgm:spPr/>
      <dgm:t>
        <a:bodyPr/>
        <a:lstStyle/>
        <a:p>
          <a:endParaRPr lang="en-US"/>
        </a:p>
      </dgm:t>
    </dgm:pt>
    <dgm:pt modelId="{7293E969-C65B-4210-8140-B54981512C3C}" type="pres">
      <dgm:prSet presAssocID="{4FF7A532-64CC-4E30-8964-7F25A7DE8F59}" presName="Name0" presStyleCnt="0">
        <dgm:presLayoutVars>
          <dgm:chMax val="7"/>
          <dgm:chPref val="7"/>
          <dgm:dir/>
          <dgm:animLvl val="lvl"/>
        </dgm:presLayoutVars>
      </dgm:prSet>
      <dgm:spPr/>
    </dgm:pt>
    <dgm:pt modelId="{951FAB32-1263-4BD2-9E29-AC979E90B402}" type="pres">
      <dgm:prSet presAssocID="{782CB4ED-0AEB-42D7-87F1-AC6D388F6056}" presName="Accent1" presStyleCnt="0"/>
      <dgm:spPr/>
    </dgm:pt>
    <dgm:pt modelId="{F5291787-0E3F-49A7-B8AD-82DAA1D64BC1}" type="pres">
      <dgm:prSet presAssocID="{782CB4ED-0AEB-42D7-87F1-AC6D388F6056}" presName="Accent" presStyleLbl="node1" presStyleIdx="0" presStyleCnt="3" custLinFactNeighborX="844" custLinFactNeighborY="1932"/>
      <dgm:spPr>
        <a:solidFill>
          <a:schemeClr val="accent2">
            <a:lumMod val="75000"/>
          </a:schemeClr>
        </a:solidFill>
      </dgm:spPr>
    </dgm:pt>
    <dgm:pt modelId="{619F9649-4B2F-4592-91B3-20A11AE135C6}" type="pres">
      <dgm:prSet presAssocID="{782CB4ED-0AEB-42D7-87F1-AC6D388F6056}" presName="Parent1" presStyleLbl="revTx" presStyleIdx="0" presStyleCnt="3" custScaleX="70590" custScaleY="12589" custLinFactNeighborX="2119" custLinFactNeighborY="41908">
        <dgm:presLayoutVars>
          <dgm:chMax val="1"/>
          <dgm:chPref val="1"/>
          <dgm:bulletEnabled val="1"/>
        </dgm:presLayoutVars>
      </dgm:prSet>
      <dgm:spPr/>
    </dgm:pt>
    <dgm:pt modelId="{45A8AF61-D025-4EDF-9AA3-3FD7AF05EEB3}" type="pres">
      <dgm:prSet presAssocID="{FE10F6D8-A7E3-41CF-9186-AB31E6E03723}" presName="Accent2" presStyleCnt="0"/>
      <dgm:spPr/>
    </dgm:pt>
    <dgm:pt modelId="{CB3B5985-FCAB-4FBB-A043-009801C861BA}" type="pres">
      <dgm:prSet presAssocID="{FE10F6D8-A7E3-41CF-9186-AB31E6E03723}" presName="Accent" presStyleLbl="node1" presStyleIdx="1" presStyleCnt="3"/>
      <dgm:spPr>
        <a:solidFill>
          <a:schemeClr val="accent1"/>
        </a:solidFill>
      </dgm:spPr>
    </dgm:pt>
    <dgm:pt modelId="{B998B148-4FA2-4B25-97C9-41F52BABA450}" type="pres">
      <dgm:prSet presAssocID="{FE10F6D8-A7E3-41CF-9186-AB31E6E03723}" presName="Parent2" presStyleLbl="revTx" presStyleIdx="1" presStyleCnt="3" custScaleX="113734" custScaleY="28362" custLinFactNeighborX="1752" custLinFactNeighborY="40186">
        <dgm:presLayoutVars>
          <dgm:chMax val="1"/>
          <dgm:chPref val="1"/>
          <dgm:bulletEnabled val="1"/>
        </dgm:presLayoutVars>
      </dgm:prSet>
      <dgm:spPr/>
    </dgm:pt>
    <dgm:pt modelId="{D0A7B1C2-05FD-4926-9C51-1BEADC1E0F16}" type="pres">
      <dgm:prSet presAssocID="{D61C8982-D197-460C-8AEF-51A185174C63}" presName="Accent3" presStyleCnt="0"/>
      <dgm:spPr/>
    </dgm:pt>
    <dgm:pt modelId="{DE78D6DD-B4B1-4CD1-A39D-B0C5F74AD50C}" type="pres">
      <dgm:prSet presAssocID="{D61C8982-D197-460C-8AEF-51A185174C63}" presName="Accent" presStyleLbl="node1" presStyleIdx="2" presStyleCnt="3"/>
      <dgm:spPr>
        <a:solidFill>
          <a:schemeClr val="accent3"/>
        </a:solidFill>
      </dgm:spPr>
    </dgm:pt>
    <dgm:pt modelId="{B0958016-CE40-4D20-9AE1-CEBBAA0EC491}" type="pres">
      <dgm:prSet presAssocID="{D61C8982-D197-460C-8AEF-51A185174C63}" presName="Parent3" presStyleLbl="revTx" presStyleIdx="2" presStyleCnt="3" custLinFactNeighborX="1412" custLinFactNeighborY="40222">
        <dgm:presLayoutVars>
          <dgm:chMax val="1"/>
          <dgm:chPref val="1"/>
          <dgm:bulletEnabled val="1"/>
        </dgm:presLayoutVars>
      </dgm:prSet>
      <dgm:spPr/>
    </dgm:pt>
  </dgm:ptLst>
  <dgm:cxnLst>
    <dgm:cxn modelId="{5D08D513-2B32-483E-808A-78E0EA0AD0F2}" type="presOf" srcId="{4FF7A532-64CC-4E30-8964-7F25A7DE8F59}" destId="{7293E969-C65B-4210-8140-B54981512C3C}" srcOrd="0" destOrd="0" presId="urn:microsoft.com/office/officeart/2009/layout/CircleArrowProcess"/>
    <dgm:cxn modelId="{E4940867-CB7D-4BF0-92B5-441F5417083F}" type="presOf" srcId="{FE10F6D8-A7E3-41CF-9186-AB31E6E03723}" destId="{B998B148-4FA2-4B25-97C9-41F52BABA450}" srcOrd="0" destOrd="0" presId="urn:microsoft.com/office/officeart/2009/layout/CircleArrowProcess"/>
    <dgm:cxn modelId="{570C0F8B-1C8F-49A9-832D-052D9C0FEC08}" srcId="{4FF7A532-64CC-4E30-8964-7F25A7DE8F59}" destId="{D61C8982-D197-460C-8AEF-51A185174C63}" srcOrd="2" destOrd="0" parTransId="{086CC374-057D-445E-9CCD-929AC4DDEEC4}" sibTransId="{9956536C-14AF-4578-BC71-E198600B9329}"/>
    <dgm:cxn modelId="{BAFA3F8E-1DC5-4FDD-BE69-BA828CEBC451}" srcId="{4FF7A532-64CC-4E30-8964-7F25A7DE8F59}" destId="{782CB4ED-0AEB-42D7-87F1-AC6D388F6056}" srcOrd="0" destOrd="0" parTransId="{5FDDFB6D-C66C-4230-B5F8-FA79126B934A}" sibTransId="{2B8461E1-1B2E-48B9-BDAB-AD03C304A23E}"/>
    <dgm:cxn modelId="{2A7B759A-8DDA-44B4-ADAC-660990A1C0FF}" srcId="{4FF7A532-64CC-4E30-8964-7F25A7DE8F59}" destId="{FE10F6D8-A7E3-41CF-9186-AB31E6E03723}" srcOrd="1" destOrd="0" parTransId="{56EBB3F4-BB41-458C-B5CD-088B7151B786}" sibTransId="{AE06214B-385D-497C-8CC5-EAC70025D946}"/>
    <dgm:cxn modelId="{F0B8AF9F-50BB-4F14-9A34-868E921656DC}" type="presOf" srcId="{782CB4ED-0AEB-42D7-87F1-AC6D388F6056}" destId="{619F9649-4B2F-4592-91B3-20A11AE135C6}" srcOrd="0" destOrd="0" presId="urn:microsoft.com/office/officeart/2009/layout/CircleArrowProcess"/>
    <dgm:cxn modelId="{5C0C42CE-CE36-421E-B8B3-FDE28D15D57D}" type="presOf" srcId="{D61C8982-D197-460C-8AEF-51A185174C63}" destId="{B0958016-CE40-4D20-9AE1-CEBBAA0EC491}" srcOrd="0" destOrd="0" presId="urn:microsoft.com/office/officeart/2009/layout/CircleArrowProcess"/>
    <dgm:cxn modelId="{213DE733-5537-4855-8997-A76FAF8954EE}" type="presParOf" srcId="{7293E969-C65B-4210-8140-B54981512C3C}" destId="{951FAB32-1263-4BD2-9E29-AC979E90B402}" srcOrd="0" destOrd="0" presId="urn:microsoft.com/office/officeart/2009/layout/CircleArrowProcess"/>
    <dgm:cxn modelId="{34D4C763-632B-457E-895B-B69B81D66133}" type="presParOf" srcId="{951FAB32-1263-4BD2-9E29-AC979E90B402}" destId="{F5291787-0E3F-49A7-B8AD-82DAA1D64BC1}" srcOrd="0" destOrd="0" presId="urn:microsoft.com/office/officeart/2009/layout/CircleArrowProcess"/>
    <dgm:cxn modelId="{124A512C-80EC-45BA-894C-3A3CDD0DC6FC}" type="presParOf" srcId="{7293E969-C65B-4210-8140-B54981512C3C}" destId="{619F9649-4B2F-4592-91B3-20A11AE135C6}" srcOrd="1" destOrd="0" presId="urn:microsoft.com/office/officeart/2009/layout/CircleArrowProcess"/>
    <dgm:cxn modelId="{CB060C19-5964-46CD-9586-A33457722CA5}" type="presParOf" srcId="{7293E969-C65B-4210-8140-B54981512C3C}" destId="{45A8AF61-D025-4EDF-9AA3-3FD7AF05EEB3}" srcOrd="2" destOrd="0" presId="urn:microsoft.com/office/officeart/2009/layout/CircleArrowProcess"/>
    <dgm:cxn modelId="{057D03E8-2B5F-4E2D-9918-2BDC2EBF867B}" type="presParOf" srcId="{45A8AF61-D025-4EDF-9AA3-3FD7AF05EEB3}" destId="{CB3B5985-FCAB-4FBB-A043-009801C861BA}" srcOrd="0" destOrd="0" presId="urn:microsoft.com/office/officeart/2009/layout/CircleArrowProcess"/>
    <dgm:cxn modelId="{001DBD41-3CA1-465C-AD17-F9C3138151AD}" type="presParOf" srcId="{7293E969-C65B-4210-8140-B54981512C3C}" destId="{B998B148-4FA2-4B25-97C9-41F52BABA450}" srcOrd="3" destOrd="0" presId="urn:microsoft.com/office/officeart/2009/layout/CircleArrowProcess"/>
    <dgm:cxn modelId="{D9201C34-0FFC-4D24-B0FF-49C1EFED4026}" type="presParOf" srcId="{7293E969-C65B-4210-8140-B54981512C3C}" destId="{D0A7B1C2-05FD-4926-9C51-1BEADC1E0F16}" srcOrd="4" destOrd="0" presId="urn:microsoft.com/office/officeart/2009/layout/CircleArrowProcess"/>
    <dgm:cxn modelId="{FDE08BFE-565F-40E6-B444-CC956F4898DC}" type="presParOf" srcId="{D0A7B1C2-05FD-4926-9C51-1BEADC1E0F16}" destId="{DE78D6DD-B4B1-4CD1-A39D-B0C5F74AD50C}" srcOrd="0" destOrd="0" presId="urn:microsoft.com/office/officeart/2009/layout/CircleArrowProcess"/>
    <dgm:cxn modelId="{4BA4F7DD-C2AF-45C4-8452-7C3092F263FC}" type="presParOf" srcId="{7293E969-C65B-4210-8140-B54981512C3C}" destId="{B0958016-CE40-4D20-9AE1-CEBBAA0EC491}"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C58931-07CE-4118-B31D-041E3A1553AB}"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5F365D75-FB9A-4C90-B2E2-12A17CE5865D}">
      <dgm:prSet phldrT="[Text]" custT="1"/>
      <dgm:spPr>
        <a:xfrm>
          <a:off x="1318625" y="155391"/>
          <a:ext cx="930179" cy="465089"/>
        </a:xfrm>
        <a:prstGeom prst="roundRect">
          <a:avLst/>
        </a:prstGeom>
        <a:solidFill>
          <a:srgbClr val="86BC25"/>
        </a:solidFill>
        <a:ln w="25400" cap="flat" cmpd="sng" algn="ctr">
          <a:solidFill>
            <a:srgbClr val="86BC25"/>
          </a:solidFill>
          <a:prstDash val="solid"/>
        </a:ln>
        <a:effectLst/>
      </dgm:spPr>
      <dgm:t>
        <a:bodyPr lIns="0" tIns="0" rIns="0" bIns="0"/>
        <a:lstStyle/>
        <a:p>
          <a:pPr>
            <a:buNone/>
          </a:pPr>
          <a:r>
            <a:rPr lang="en-US" sz="800" b="0" i="0" dirty="0">
              <a:solidFill>
                <a:sysClr val="window" lastClr="FFFFFF"/>
              </a:solidFill>
              <a:latin typeface="Open Sans" panose="020B0606030504020204" pitchFamily="34" charset="0"/>
              <a:ea typeface="+mn-ea"/>
              <a:cs typeface="Open Sans" panose="020B0606030504020204" pitchFamily="34" charset="0"/>
            </a:rPr>
            <a:t>Governance</a:t>
          </a:r>
        </a:p>
      </dgm:t>
    </dgm:pt>
    <dgm:pt modelId="{C99D4D4D-5C5C-4CE1-AB29-088E15B2059E}" type="parTrans" cxnId="{1ABF9C6D-C777-41F5-9666-5B318DA10AA2}">
      <dgm:prSet/>
      <dgm:spPr/>
      <dgm:t>
        <a:bodyPr/>
        <a:lstStyle/>
        <a:p>
          <a:endParaRPr lang="en-US" b="1">
            <a:latin typeface="Arial" panose="020B0604020202020204" pitchFamily="34" charset="0"/>
            <a:cs typeface="Arial" panose="020B0604020202020204" pitchFamily="34" charset="0"/>
          </a:endParaRPr>
        </a:p>
      </dgm:t>
    </dgm:pt>
    <dgm:pt modelId="{777F605B-2582-42A7-BA9B-4C535D58FDF7}" type="sibTrans" cxnId="{1ABF9C6D-C777-41F5-9666-5B318DA10AA2}">
      <dgm:prSet/>
      <dgm:spPr>
        <a:xfrm>
          <a:off x="198206" y="129632"/>
          <a:ext cx="3171017" cy="3171017"/>
        </a:xfrm>
        <a:prstGeom prst="circularArrow">
          <a:avLst>
            <a:gd name="adj1" fmla="val 5544"/>
            <a:gd name="adj2" fmla="val 330680"/>
            <a:gd name="adj3" fmla="val 14561396"/>
            <a:gd name="adj4" fmla="val 16924183"/>
            <a:gd name="adj5" fmla="val 5757"/>
          </a:avLst>
        </a:prstGeom>
        <a:solidFill>
          <a:srgbClr val="53565A"/>
        </a:solidFill>
        <a:ln>
          <a:solidFill>
            <a:srgbClr val="53565A"/>
          </a:solidFill>
        </a:ln>
        <a:effectLst/>
      </dgm:spPr>
      <dgm:t>
        <a:bodyPr/>
        <a:lstStyle/>
        <a:p>
          <a:endParaRPr lang="en-US" b="1">
            <a:latin typeface="Arial" panose="020B0604020202020204" pitchFamily="34" charset="0"/>
            <a:cs typeface="Arial" panose="020B0604020202020204" pitchFamily="34" charset="0"/>
          </a:endParaRPr>
        </a:p>
      </dgm:t>
    </dgm:pt>
    <dgm:pt modelId="{A40DC7B3-88B3-4B46-A5DA-20C7BE90D6BB}">
      <dgm:prSet phldrT="[Text]" custT="1"/>
      <dgm:spPr>
        <a:xfrm>
          <a:off x="2375853" y="664525"/>
          <a:ext cx="930179" cy="465089"/>
        </a:xfrm>
        <a:prstGeom prst="roundRect">
          <a:avLst/>
        </a:prstGeom>
        <a:solidFill>
          <a:srgbClr val="26890D"/>
        </a:solidFill>
        <a:ln w="25400" cap="flat" cmpd="sng" algn="ctr">
          <a:solidFill>
            <a:srgbClr val="26890D"/>
          </a:solidFill>
          <a:prstDash val="solid"/>
        </a:ln>
        <a:effectLst/>
      </dgm:spPr>
      <dgm:t>
        <a:bodyPr lIns="0" tIns="0" rIns="0" bIns="0"/>
        <a:lstStyle/>
        <a:p>
          <a:pPr>
            <a:buNone/>
          </a:pPr>
          <a:r>
            <a:rPr lang="en-US" sz="800" b="0" i="0" dirty="0">
              <a:solidFill>
                <a:sysClr val="window" lastClr="FFFFFF"/>
              </a:solidFill>
              <a:latin typeface="Open Sans" panose="020B0606030504020204" pitchFamily="34" charset="0"/>
              <a:ea typeface="+mn-ea"/>
              <a:cs typeface="Open Sans" panose="020B0606030504020204" pitchFamily="34" charset="0"/>
            </a:rPr>
            <a:t>Risk Assessment</a:t>
          </a:r>
        </a:p>
      </dgm:t>
    </dgm:pt>
    <dgm:pt modelId="{BFF5A2F1-A6A5-4EF0-B900-27183A5C91A9}" type="parTrans" cxnId="{52B95017-EBCA-4BBA-83C1-8F315AA337F2}">
      <dgm:prSet/>
      <dgm:spPr/>
      <dgm:t>
        <a:bodyPr/>
        <a:lstStyle/>
        <a:p>
          <a:endParaRPr lang="en-US" b="1">
            <a:latin typeface="Arial" panose="020B0604020202020204" pitchFamily="34" charset="0"/>
            <a:cs typeface="Arial" panose="020B0604020202020204" pitchFamily="34" charset="0"/>
          </a:endParaRPr>
        </a:p>
      </dgm:t>
    </dgm:pt>
    <dgm:pt modelId="{7458BB51-C622-45C5-A490-BDC9CB289373}" type="sibTrans" cxnId="{52B95017-EBCA-4BBA-83C1-8F315AA337F2}">
      <dgm:prSet/>
      <dgm:spPr/>
      <dgm:t>
        <a:bodyPr/>
        <a:lstStyle/>
        <a:p>
          <a:endParaRPr lang="en-US" b="1">
            <a:latin typeface="Arial" panose="020B0604020202020204" pitchFamily="34" charset="0"/>
            <a:cs typeface="Arial" panose="020B0604020202020204" pitchFamily="34" charset="0"/>
          </a:endParaRPr>
        </a:p>
      </dgm:t>
    </dgm:pt>
    <dgm:pt modelId="{E85B0B8E-88E2-4C5C-AD1C-998F02E4A9FF}">
      <dgm:prSet phldrT="[Text]" custT="1"/>
      <dgm:spPr>
        <a:xfrm>
          <a:off x="2636967" y="1808540"/>
          <a:ext cx="930179" cy="465089"/>
        </a:xfrm>
        <a:prstGeom prst="roundRect">
          <a:avLst/>
        </a:prstGeom>
        <a:solidFill>
          <a:srgbClr val="26890D"/>
        </a:solidFill>
        <a:ln w="25400" cap="flat" cmpd="sng" algn="ctr">
          <a:solidFill>
            <a:srgbClr val="26890D"/>
          </a:solidFill>
          <a:prstDash val="solid"/>
        </a:ln>
        <a:effectLst/>
      </dgm:spPr>
      <dgm:t>
        <a:bodyPr lIns="0" tIns="0" rIns="0" bIns="0"/>
        <a:lstStyle/>
        <a:p>
          <a:pPr>
            <a:buNone/>
          </a:pPr>
          <a:r>
            <a:rPr lang="en-US" sz="800" b="0" i="0" dirty="0">
              <a:solidFill>
                <a:sysClr val="window" lastClr="FFFFFF"/>
              </a:solidFill>
              <a:latin typeface="Open Sans" panose="020B0606030504020204" pitchFamily="34" charset="0"/>
              <a:ea typeface="+mn-ea"/>
              <a:cs typeface="Open Sans" panose="020B0606030504020204" pitchFamily="34" charset="0"/>
            </a:rPr>
            <a:t>Business Impact Assessment</a:t>
          </a:r>
        </a:p>
      </dgm:t>
    </dgm:pt>
    <dgm:pt modelId="{FB3DC417-AD1F-49A9-8D84-B36BF1A7DB45}" type="parTrans" cxnId="{0FDCD3D7-F595-4A69-959B-F3F3ED9A3AA0}">
      <dgm:prSet/>
      <dgm:spPr/>
      <dgm:t>
        <a:bodyPr/>
        <a:lstStyle/>
        <a:p>
          <a:endParaRPr lang="en-US" b="1">
            <a:latin typeface="Arial" panose="020B0604020202020204" pitchFamily="34" charset="0"/>
            <a:cs typeface="Arial" panose="020B0604020202020204" pitchFamily="34" charset="0"/>
          </a:endParaRPr>
        </a:p>
      </dgm:t>
    </dgm:pt>
    <dgm:pt modelId="{A82883E5-3694-4016-B9B8-A8E34439B3A1}" type="sibTrans" cxnId="{0FDCD3D7-F595-4A69-959B-F3F3ED9A3AA0}">
      <dgm:prSet/>
      <dgm:spPr/>
      <dgm:t>
        <a:bodyPr/>
        <a:lstStyle/>
        <a:p>
          <a:endParaRPr lang="en-US" b="1">
            <a:latin typeface="Arial" panose="020B0604020202020204" pitchFamily="34" charset="0"/>
            <a:cs typeface="Arial" panose="020B0604020202020204" pitchFamily="34" charset="0"/>
          </a:endParaRPr>
        </a:p>
      </dgm:t>
    </dgm:pt>
    <dgm:pt modelId="{5F302E09-F175-4FE4-87EC-45D97509B214}">
      <dgm:prSet phldrT="[Text]" custT="1"/>
      <dgm:spPr>
        <a:xfrm>
          <a:off x="282" y="1808540"/>
          <a:ext cx="930179" cy="465089"/>
        </a:xfrm>
        <a:prstGeom prst="roundRect">
          <a:avLst/>
        </a:prstGeom>
        <a:solidFill>
          <a:srgbClr val="007CB0"/>
        </a:solidFill>
        <a:ln w="25400" cap="flat" cmpd="sng" algn="ctr">
          <a:solidFill>
            <a:srgbClr val="007CB0"/>
          </a:solidFill>
          <a:prstDash val="solid"/>
        </a:ln>
        <a:effectLst/>
      </dgm:spPr>
      <dgm:t>
        <a:bodyPr lIns="0" tIns="0" rIns="0" bIns="0"/>
        <a:lstStyle/>
        <a:p>
          <a:pPr>
            <a:buNone/>
          </a:pPr>
          <a:r>
            <a:rPr lang="en-US" sz="800" b="0" i="0" dirty="0">
              <a:solidFill>
                <a:sysClr val="window" lastClr="FFFFFF"/>
              </a:solidFill>
              <a:latin typeface="Open Sans" panose="020B0606030504020204" pitchFamily="34" charset="0"/>
              <a:ea typeface="+mn-ea"/>
              <a:cs typeface="Open Sans" panose="020B0606030504020204" pitchFamily="34" charset="0"/>
            </a:rPr>
            <a:t>Exercising &amp; Testing</a:t>
          </a:r>
        </a:p>
      </dgm:t>
    </dgm:pt>
    <dgm:pt modelId="{7B2AACE9-3B5F-403B-AEF5-F508783DC56B}" type="parTrans" cxnId="{C8268DD2-9F7F-48FB-853B-BE77D5012DBA}">
      <dgm:prSet/>
      <dgm:spPr/>
      <dgm:t>
        <a:bodyPr/>
        <a:lstStyle/>
        <a:p>
          <a:endParaRPr lang="en-US" b="1">
            <a:latin typeface="Arial" panose="020B0604020202020204" pitchFamily="34" charset="0"/>
            <a:cs typeface="Arial" panose="020B0604020202020204" pitchFamily="34" charset="0"/>
          </a:endParaRPr>
        </a:p>
      </dgm:t>
    </dgm:pt>
    <dgm:pt modelId="{5829BF31-CC0E-419D-A000-8A3F4083CB6F}" type="sibTrans" cxnId="{C8268DD2-9F7F-48FB-853B-BE77D5012DBA}">
      <dgm:prSet/>
      <dgm:spPr/>
      <dgm:t>
        <a:bodyPr/>
        <a:lstStyle/>
        <a:p>
          <a:endParaRPr lang="en-US" b="1">
            <a:latin typeface="Arial" panose="020B0604020202020204" pitchFamily="34" charset="0"/>
            <a:cs typeface="Arial" panose="020B0604020202020204" pitchFamily="34" charset="0"/>
          </a:endParaRPr>
        </a:p>
      </dgm:t>
    </dgm:pt>
    <dgm:pt modelId="{5B338A33-F3A8-484D-94A0-EE44C300A559}">
      <dgm:prSet phldrT="[Text]" custT="1"/>
      <dgm:spPr>
        <a:xfrm>
          <a:off x="1905342" y="2725969"/>
          <a:ext cx="930179" cy="465089"/>
        </a:xfrm>
        <a:prstGeom prst="roundRect">
          <a:avLst/>
        </a:prstGeom>
        <a:solidFill>
          <a:srgbClr val="26890D"/>
        </a:solidFill>
        <a:ln w="25400" cap="flat" cmpd="sng" algn="ctr">
          <a:solidFill>
            <a:srgbClr val="26890D"/>
          </a:solidFill>
          <a:prstDash val="solid"/>
        </a:ln>
        <a:effectLst/>
      </dgm:spPr>
      <dgm:t>
        <a:bodyPr lIns="0" tIns="0" rIns="0" bIns="0"/>
        <a:lstStyle/>
        <a:p>
          <a:pPr>
            <a:buNone/>
          </a:pPr>
          <a:r>
            <a:rPr lang="en-US" sz="800" b="0" i="0" dirty="0">
              <a:solidFill>
                <a:sysClr val="window" lastClr="FFFFFF"/>
              </a:solidFill>
              <a:latin typeface="Open Sans" panose="020B0606030504020204" pitchFamily="34" charset="0"/>
              <a:ea typeface="+mn-ea"/>
              <a:cs typeface="Open Sans" panose="020B0606030504020204" pitchFamily="34" charset="0"/>
            </a:rPr>
            <a:t>BCM Plan Development</a:t>
          </a:r>
        </a:p>
      </dgm:t>
    </dgm:pt>
    <dgm:pt modelId="{65347008-F78F-4704-B0C4-4A543EF5AE00}" type="parTrans" cxnId="{AB01FC00-6D24-4B25-8FE7-FBE2966A2193}">
      <dgm:prSet/>
      <dgm:spPr/>
      <dgm:t>
        <a:bodyPr/>
        <a:lstStyle/>
        <a:p>
          <a:endParaRPr lang="en-US" b="1">
            <a:latin typeface="Arial" panose="020B0604020202020204" pitchFamily="34" charset="0"/>
            <a:cs typeface="Arial" panose="020B0604020202020204" pitchFamily="34" charset="0"/>
          </a:endParaRPr>
        </a:p>
      </dgm:t>
    </dgm:pt>
    <dgm:pt modelId="{7A36382F-3C9F-440C-8665-4788D96125BC}" type="sibTrans" cxnId="{AB01FC00-6D24-4B25-8FE7-FBE2966A2193}">
      <dgm:prSet/>
      <dgm:spPr/>
      <dgm:t>
        <a:bodyPr/>
        <a:lstStyle/>
        <a:p>
          <a:endParaRPr lang="en-US" b="1">
            <a:latin typeface="Arial" panose="020B0604020202020204" pitchFamily="34" charset="0"/>
            <a:cs typeface="Arial" panose="020B0604020202020204" pitchFamily="34" charset="0"/>
          </a:endParaRPr>
        </a:p>
      </dgm:t>
    </dgm:pt>
    <dgm:pt modelId="{1943E56B-E478-4703-BEE7-7308C92A649D}">
      <dgm:prSet phldrT="[Text]" custT="1"/>
      <dgm:spPr>
        <a:xfrm>
          <a:off x="731907" y="2725969"/>
          <a:ext cx="930179" cy="465089"/>
        </a:xfrm>
        <a:prstGeom prst="roundRect">
          <a:avLst/>
        </a:prstGeom>
        <a:solidFill>
          <a:srgbClr val="007CB0"/>
        </a:solidFill>
        <a:ln w="25400" cap="flat" cmpd="sng" algn="ctr">
          <a:solidFill>
            <a:srgbClr val="007CB0"/>
          </a:solidFill>
          <a:prstDash val="solid"/>
        </a:ln>
        <a:effectLst/>
      </dgm:spPr>
      <dgm:t>
        <a:bodyPr lIns="0" tIns="0" rIns="0" bIns="0"/>
        <a:lstStyle/>
        <a:p>
          <a:pPr>
            <a:buNone/>
          </a:pPr>
          <a:r>
            <a:rPr lang="en-US" sz="800" b="0" i="0" dirty="0">
              <a:solidFill>
                <a:sysClr val="window" lastClr="FFFFFF"/>
              </a:solidFill>
              <a:latin typeface="Open Sans" panose="020B0606030504020204" pitchFamily="34" charset="0"/>
              <a:ea typeface="+mn-ea"/>
              <a:cs typeface="Open Sans" panose="020B0606030504020204" pitchFamily="34" charset="0"/>
            </a:rPr>
            <a:t>Training &amp; Awareness</a:t>
          </a:r>
        </a:p>
      </dgm:t>
    </dgm:pt>
    <dgm:pt modelId="{40E72F8F-435D-4D59-9998-EA3A24D759B2}" type="parTrans" cxnId="{6BA7BAA9-5E19-486D-B9C0-8A36068253B6}">
      <dgm:prSet/>
      <dgm:spPr/>
      <dgm:t>
        <a:bodyPr/>
        <a:lstStyle/>
        <a:p>
          <a:endParaRPr lang="en-US" b="1">
            <a:latin typeface="Arial" panose="020B0604020202020204" pitchFamily="34" charset="0"/>
            <a:cs typeface="Arial" panose="020B0604020202020204" pitchFamily="34" charset="0"/>
          </a:endParaRPr>
        </a:p>
      </dgm:t>
    </dgm:pt>
    <dgm:pt modelId="{0BFF171D-0BAB-41D6-9C7C-2B3DC3575BE8}" type="sibTrans" cxnId="{6BA7BAA9-5E19-486D-B9C0-8A36068253B6}">
      <dgm:prSet/>
      <dgm:spPr/>
      <dgm:t>
        <a:bodyPr/>
        <a:lstStyle/>
        <a:p>
          <a:endParaRPr lang="en-US" b="1">
            <a:latin typeface="Arial" panose="020B0604020202020204" pitchFamily="34" charset="0"/>
            <a:cs typeface="Arial" panose="020B0604020202020204" pitchFamily="34" charset="0"/>
          </a:endParaRPr>
        </a:p>
      </dgm:t>
    </dgm:pt>
    <dgm:pt modelId="{F2C9EA83-A971-44BF-8BEE-A7C05B3EECE7}">
      <dgm:prSet custT="1"/>
      <dgm:spPr>
        <a:xfrm>
          <a:off x="261396" y="664525"/>
          <a:ext cx="930179" cy="465089"/>
        </a:xfrm>
        <a:prstGeom prst="roundRect">
          <a:avLst/>
        </a:prstGeom>
        <a:solidFill>
          <a:sysClr val="windowText" lastClr="000000"/>
        </a:solidFill>
        <a:ln w="25400" cap="flat" cmpd="sng" algn="ctr">
          <a:solidFill>
            <a:sysClr val="windowText" lastClr="000000"/>
          </a:solidFill>
          <a:prstDash val="solid"/>
        </a:ln>
        <a:effectLst/>
      </dgm:spPr>
      <dgm:t>
        <a:bodyPr lIns="0" tIns="0" rIns="0" bIns="0"/>
        <a:lstStyle/>
        <a:p>
          <a:pPr>
            <a:buNone/>
          </a:pPr>
          <a:r>
            <a:rPr lang="en-US" sz="800" b="0" i="0" dirty="0">
              <a:solidFill>
                <a:sysClr val="window" lastClr="FFFFFF"/>
              </a:solidFill>
              <a:latin typeface="Open Sans" panose="020B0606030504020204" pitchFamily="34" charset="0"/>
              <a:ea typeface="+mn-ea"/>
              <a:cs typeface="Open Sans" panose="020B0606030504020204" pitchFamily="34" charset="0"/>
            </a:rPr>
            <a:t>Continuous Improvement</a:t>
          </a:r>
        </a:p>
      </dgm:t>
    </dgm:pt>
    <dgm:pt modelId="{9A6EE1D2-4BD4-4D7C-AB66-C380C3853938}" type="parTrans" cxnId="{C148D9A8-F3C4-4B8B-B373-66FE8E2E18AA}">
      <dgm:prSet/>
      <dgm:spPr/>
      <dgm:t>
        <a:bodyPr/>
        <a:lstStyle/>
        <a:p>
          <a:endParaRPr lang="en-US">
            <a:latin typeface="Arial" panose="020B0604020202020204" pitchFamily="34" charset="0"/>
            <a:cs typeface="Arial" panose="020B0604020202020204" pitchFamily="34" charset="0"/>
          </a:endParaRPr>
        </a:p>
      </dgm:t>
    </dgm:pt>
    <dgm:pt modelId="{55245474-1F98-413E-994B-4A5365A94B01}" type="sibTrans" cxnId="{C148D9A8-F3C4-4B8B-B373-66FE8E2E18AA}">
      <dgm:prSet/>
      <dgm:spPr/>
      <dgm:t>
        <a:bodyPr/>
        <a:lstStyle/>
        <a:p>
          <a:endParaRPr lang="en-US">
            <a:latin typeface="Arial" panose="020B0604020202020204" pitchFamily="34" charset="0"/>
            <a:cs typeface="Arial" panose="020B0604020202020204" pitchFamily="34" charset="0"/>
          </a:endParaRPr>
        </a:p>
      </dgm:t>
    </dgm:pt>
    <dgm:pt modelId="{D770866D-DAC7-4885-93E0-42EF435FF82B}" type="pres">
      <dgm:prSet presAssocID="{5FC58931-07CE-4118-B31D-041E3A1553AB}" presName="Name0" presStyleCnt="0">
        <dgm:presLayoutVars>
          <dgm:dir/>
          <dgm:resizeHandles val="exact"/>
        </dgm:presLayoutVars>
      </dgm:prSet>
      <dgm:spPr/>
    </dgm:pt>
    <dgm:pt modelId="{244BC606-632B-48F8-B502-E06D694EF649}" type="pres">
      <dgm:prSet presAssocID="{5FC58931-07CE-4118-B31D-041E3A1553AB}" presName="cycle" presStyleCnt="0"/>
      <dgm:spPr/>
    </dgm:pt>
    <dgm:pt modelId="{1D2B7E7F-BD64-4298-958C-F1B59D90D48C}" type="pres">
      <dgm:prSet presAssocID="{5F365D75-FB9A-4C90-B2E2-12A17CE5865D}" presName="nodeFirstNode" presStyleLbl="node1" presStyleIdx="0" presStyleCnt="7">
        <dgm:presLayoutVars>
          <dgm:bulletEnabled val="1"/>
        </dgm:presLayoutVars>
      </dgm:prSet>
      <dgm:spPr/>
    </dgm:pt>
    <dgm:pt modelId="{8CEE0D2A-58ED-410C-9DE2-3B18C3C2E319}" type="pres">
      <dgm:prSet presAssocID="{777F605B-2582-42A7-BA9B-4C535D58FDF7}" presName="sibTransFirstNode" presStyleLbl="bgShp" presStyleIdx="0" presStyleCnt="1"/>
      <dgm:spPr/>
    </dgm:pt>
    <dgm:pt modelId="{671AA6B8-ECFA-42BC-8DE8-F24B06573803}" type="pres">
      <dgm:prSet presAssocID="{A40DC7B3-88B3-4B46-A5DA-20C7BE90D6BB}" presName="nodeFollowingNodes" presStyleLbl="node1" presStyleIdx="1" presStyleCnt="7">
        <dgm:presLayoutVars>
          <dgm:bulletEnabled val="1"/>
        </dgm:presLayoutVars>
      </dgm:prSet>
      <dgm:spPr/>
    </dgm:pt>
    <dgm:pt modelId="{8C5DADDA-86CB-4055-9D00-185D9F188644}" type="pres">
      <dgm:prSet presAssocID="{E85B0B8E-88E2-4C5C-AD1C-998F02E4A9FF}" presName="nodeFollowingNodes" presStyleLbl="node1" presStyleIdx="2" presStyleCnt="7">
        <dgm:presLayoutVars>
          <dgm:bulletEnabled val="1"/>
        </dgm:presLayoutVars>
      </dgm:prSet>
      <dgm:spPr/>
    </dgm:pt>
    <dgm:pt modelId="{C59D0919-4F1C-4CFC-98DB-615EE3EA86B2}" type="pres">
      <dgm:prSet presAssocID="{5B338A33-F3A8-484D-94A0-EE44C300A559}" presName="nodeFollowingNodes" presStyleLbl="node1" presStyleIdx="3" presStyleCnt="7">
        <dgm:presLayoutVars>
          <dgm:bulletEnabled val="1"/>
        </dgm:presLayoutVars>
      </dgm:prSet>
      <dgm:spPr/>
    </dgm:pt>
    <dgm:pt modelId="{02520F46-27AB-450A-81E9-8F9729384913}" type="pres">
      <dgm:prSet presAssocID="{1943E56B-E478-4703-BEE7-7308C92A649D}" presName="nodeFollowingNodes" presStyleLbl="node1" presStyleIdx="4" presStyleCnt="7">
        <dgm:presLayoutVars>
          <dgm:bulletEnabled val="1"/>
        </dgm:presLayoutVars>
      </dgm:prSet>
      <dgm:spPr/>
    </dgm:pt>
    <dgm:pt modelId="{33FA7877-A648-48B2-97C2-B4680E4BCE82}" type="pres">
      <dgm:prSet presAssocID="{5F302E09-F175-4FE4-87EC-45D97509B214}" presName="nodeFollowingNodes" presStyleLbl="node1" presStyleIdx="5" presStyleCnt="7">
        <dgm:presLayoutVars>
          <dgm:bulletEnabled val="1"/>
        </dgm:presLayoutVars>
      </dgm:prSet>
      <dgm:spPr/>
    </dgm:pt>
    <dgm:pt modelId="{3F528DC6-73E2-473A-AFA3-4BCE442B4C6B}" type="pres">
      <dgm:prSet presAssocID="{F2C9EA83-A971-44BF-8BEE-A7C05B3EECE7}" presName="nodeFollowingNodes" presStyleLbl="node1" presStyleIdx="6" presStyleCnt="7">
        <dgm:presLayoutVars>
          <dgm:bulletEnabled val="1"/>
        </dgm:presLayoutVars>
      </dgm:prSet>
      <dgm:spPr/>
    </dgm:pt>
  </dgm:ptLst>
  <dgm:cxnLst>
    <dgm:cxn modelId="{AB01FC00-6D24-4B25-8FE7-FBE2966A2193}" srcId="{5FC58931-07CE-4118-B31D-041E3A1553AB}" destId="{5B338A33-F3A8-484D-94A0-EE44C300A559}" srcOrd="3" destOrd="0" parTransId="{65347008-F78F-4704-B0C4-4A543EF5AE00}" sibTransId="{7A36382F-3C9F-440C-8665-4788D96125BC}"/>
    <dgm:cxn modelId="{B88A9D0C-BE75-4A71-9A73-7509257F52AC}" type="presOf" srcId="{5F302E09-F175-4FE4-87EC-45D97509B214}" destId="{33FA7877-A648-48B2-97C2-B4680E4BCE82}" srcOrd="0" destOrd="0" presId="urn:microsoft.com/office/officeart/2005/8/layout/cycle3"/>
    <dgm:cxn modelId="{77285D13-265F-4922-8267-EF581C38140C}" type="presOf" srcId="{F2C9EA83-A971-44BF-8BEE-A7C05B3EECE7}" destId="{3F528DC6-73E2-473A-AFA3-4BCE442B4C6B}" srcOrd="0" destOrd="0" presId="urn:microsoft.com/office/officeart/2005/8/layout/cycle3"/>
    <dgm:cxn modelId="{9E595315-8540-46D9-BDD6-80BEC5741FDD}" type="presOf" srcId="{777F605B-2582-42A7-BA9B-4C535D58FDF7}" destId="{8CEE0D2A-58ED-410C-9DE2-3B18C3C2E319}" srcOrd="0" destOrd="0" presId="urn:microsoft.com/office/officeart/2005/8/layout/cycle3"/>
    <dgm:cxn modelId="{52B95017-EBCA-4BBA-83C1-8F315AA337F2}" srcId="{5FC58931-07CE-4118-B31D-041E3A1553AB}" destId="{A40DC7B3-88B3-4B46-A5DA-20C7BE90D6BB}" srcOrd="1" destOrd="0" parTransId="{BFF5A2F1-A6A5-4EF0-B900-27183A5C91A9}" sibTransId="{7458BB51-C622-45C5-A490-BDC9CB289373}"/>
    <dgm:cxn modelId="{3533F026-72C3-4C67-9038-681D5202616B}" type="presOf" srcId="{5FC58931-07CE-4118-B31D-041E3A1553AB}" destId="{D770866D-DAC7-4885-93E0-42EF435FF82B}" srcOrd="0" destOrd="0" presId="urn:microsoft.com/office/officeart/2005/8/layout/cycle3"/>
    <dgm:cxn modelId="{11D59335-9699-4E34-8B02-451C6274F32E}" type="presOf" srcId="{E85B0B8E-88E2-4C5C-AD1C-998F02E4A9FF}" destId="{8C5DADDA-86CB-4055-9D00-185D9F188644}" srcOrd="0" destOrd="0" presId="urn:microsoft.com/office/officeart/2005/8/layout/cycle3"/>
    <dgm:cxn modelId="{55895155-5E01-4260-A286-96350B84F2FF}" type="presOf" srcId="{A40DC7B3-88B3-4B46-A5DA-20C7BE90D6BB}" destId="{671AA6B8-ECFA-42BC-8DE8-F24B06573803}" srcOrd="0" destOrd="0" presId="urn:microsoft.com/office/officeart/2005/8/layout/cycle3"/>
    <dgm:cxn modelId="{1ABF9C6D-C777-41F5-9666-5B318DA10AA2}" srcId="{5FC58931-07CE-4118-B31D-041E3A1553AB}" destId="{5F365D75-FB9A-4C90-B2E2-12A17CE5865D}" srcOrd="0" destOrd="0" parTransId="{C99D4D4D-5C5C-4CE1-AB29-088E15B2059E}" sibTransId="{777F605B-2582-42A7-BA9B-4C535D58FDF7}"/>
    <dgm:cxn modelId="{BE97818D-F11A-44C3-9ADD-E559DE9909AD}" type="presOf" srcId="{5F365D75-FB9A-4C90-B2E2-12A17CE5865D}" destId="{1D2B7E7F-BD64-4298-958C-F1B59D90D48C}" srcOrd="0" destOrd="0" presId="urn:microsoft.com/office/officeart/2005/8/layout/cycle3"/>
    <dgm:cxn modelId="{E10D6FA2-5E76-401E-B5AF-63BE1F344974}" type="presOf" srcId="{5B338A33-F3A8-484D-94A0-EE44C300A559}" destId="{C59D0919-4F1C-4CFC-98DB-615EE3EA86B2}" srcOrd="0" destOrd="0" presId="urn:microsoft.com/office/officeart/2005/8/layout/cycle3"/>
    <dgm:cxn modelId="{C148D9A8-F3C4-4B8B-B373-66FE8E2E18AA}" srcId="{5FC58931-07CE-4118-B31D-041E3A1553AB}" destId="{F2C9EA83-A971-44BF-8BEE-A7C05B3EECE7}" srcOrd="6" destOrd="0" parTransId="{9A6EE1D2-4BD4-4D7C-AB66-C380C3853938}" sibTransId="{55245474-1F98-413E-994B-4A5365A94B01}"/>
    <dgm:cxn modelId="{6BA7BAA9-5E19-486D-B9C0-8A36068253B6}" srcId="{5FC58931-07CE-4118-B31D-041E3A1553AB}" destId="{1943E56B-E478-4703-BEE7-7308C92A649D}" srcOrd="4" destOrd="0" parTransId="{40E72F8F-435D-4D59-9998-EA3A24D759B2}" sibTransId="{0BFF171D-0BAB-41D6-9C7C-2B3DC3575BE8}"/>
    <dgm:cxn modelId="{26206ABF-1F0B-41B3-95F2-835C3D1FECF7}" type="presOf" srcId="{1943E56B-E478-4703-BEE7-7308C92A649D}" destId="{02520F46-27AB-450A-81E9-8F9729384913}" srcOrd="0" destOrd="0" presId="urn:microsoft.com/office/officeart/2005/8/layout/cycle3"/>
    <dgm:cxn modelId="{C8268DD2-9F7F-48FB-853B-BE77D5012DBA}" srcId="{5FC58931-07CE-4118-B31D-041E3A1553AB}" destId="{5F302E09-F175-4FE4-87EC-45D97509B214}" srcOrd="5" destOrd="0" parTransId="{7B2AACE9-3B5F-403B-AEF5-F508783DC56B}" sibTransId="{5829BF31-CC0E-419D-A000-8A3F4083CB6F}"/>
    <dgm:cxn modelId="{0FDCD3D7-F595-4A69-959B-F3F3ED9A3AA0}" srcId="{5FC58931-07CE-4118-B31D-041E3A1553AB}" destId="{E85B0B8E-88E2-4C5C-AD1C-998F02E4A9FF}" srcOrd="2" destOrd="0" parTransId="{FB3DC417-AD1F-49A9-8D84-B36BF1A7DB45}" sibTransId="{A82883E5-3694-4016-B9B8-A8E34439B3A1}"/>
    <dgm:cxn modelId="{3AE5A456-DE38-4161-A212-574780355AB9}" type="presParOf" srcId="{D770866D-DAC7-4885-93E0-42EF435FF82B}" destId="{244BC606-632B-48F8-B502-E06D694EF649}" srcOrd="0" destOrd="0" presId="urn:microsoft.com/office/officeart/2005/8/layout/cycle3"/>
    <dgm:cxn modelId="{7FBA539A-FDBD-431C-8D67-DDC851926615}" type="presParOf" srcId="{244BC606-632B-48F8-B502-E06D694EF649}" destId="{1D2B7E7F-BD64-4298-958C-F1B59D90D48C}" srcOrd="0" destOrd="0" presId="urn:microsoft.com/office/officeart/2005/8/layout/cycle3"/>
    <dgm:cxn modelId="{02B43989-F5D0-47E3-8A12-A41F55C24E34}" type="presParOf" srcId="{244BC606-632B-48F8-B502-E06D694EF649}" destId="{8CEE0D2A-58ED-410C-9DE2-3B18C3C2E319}" srcOrd="1" destOrd="0" presId="urn:microsoft.com/office/officeart/2005/8/layout/cycle3"/>
    <dgm:cxn modelId="{644AE1CA-A482-4844-BB6B-835A25B1A78A}" type="presParOf" srcId="{244BC606-632B-48F8-B502-E06D694EF649}" destId="{671AA6B8-ECFA-42BC-8DE8-F24B06573803}" srcOrd="2" destOrd="0" presId="urn:microsoft.com/office/officeart/2005/8/layout/cycle3"/>
    <dgm:cxn modelId="{4AA27427-2831-4726-B76D-E4057E933D9D}" type="presParOf" srcId="{244BC606-632B-48F8-B502-E06D694EF649}" destId="{8C5DADDA-86CB-4055-9D00-185D9F188644}" srcOrd="3" destOrd="0" presId="urn:microsoft.com/office/officeart/2005/8/layout/cycle3"/>
    <dgm:cxn modelId="{9097F24F-0A12-4866-AEE4-900E07C7EC6E}" type="presParOf" srcId="{244BC606-632B-48F8-B502-E06D694EF649}" destId="{C59D0919-4F1C-4CFC-98DB-615EE3EA86B2}" srcOrd="4" destOrd="0" presId="urn:microsoft.com/office/officeart/2005/8/layout/cycle3"/>
    <dgm:cxn modelId="{4E39E143-72FA-4988-ACD1-D5773C66FBF1}" type="presParOf" srcId="{244BC606-632B-48F8-B502-E06D694EF649}" destId="{02520F46-27AB-450A-81E9-8F9729384913}" srcOrd="5" destOrd="0" presId="urn:microsoft.com/office/officeart/2005/8/layout/cycle3"/>
    <dgm:cxn modelId="{BD08604C-D906-4614-A0F4-414F5D8AA8E9}" type="presParOf" srcId="{244BC606-632B-48F8-B502-E06D694EF649}" destId="{33FA7877-A648-48B2-97C2-B4680E4BCE82}" srcOrd="6" destOrd="0" presId="urn:microsoft.com/office/officeart/2005/8/layout/cycle3"/>
    <dgm:cxn modelId="{5DF35853-DD41-4A68-8DC7-1EB3707BD8C6}" type="presParOf" srcId="{244BC606-632B-48F8-B502-E06D694EF649}" destId="{3F528DC6-73E2-473A-AFA3-4BCE442B4C6B}" srcOrd="7" destOrd="0" presId="urn:microsoft.com/office/officeart/2005/8/layout/cycle3"/>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B7E0201-C479-4BD7-BAD0-0C15A6DF2A62}" type="doc">
      <dgm:prSet loTypeId="urn:microsoft.com/office/officeart/2011/layout/RadialPictureList" loCatId="officeonline" qsTypeId="urn:microsoft.com/office/officeart/2005/8/quickstyle/simple1" qsCatId="simple" csTypeId="urn:microsoft.com/office/officeart/2005/8/colors/accent1_2" csCatId="accent1" phldr="1"/>
      <dgm:spPr/>
      <dgm:t>
        <a:bodyPr/>
        <a:lstStyle/>
        <a:p>
          <a:endParaRPr lang="en-gb"/>
        </a:p>
      </dgm:t>
    </dgm:pt>
    <dgm:pt modelId="{584EC088-967B-4F1E-B104-268EEB5ABFC8}">
      <dgm:prSet phldrT="[Text]"/>
      <dgm:spPr>
        <a:solidFill>
          <a:schemeClr val="tx1"/>
        </a:solidFill>
      </dgm:spPr>
      <dgm:t>
        <a:bodyPr/>
        <a:lstStyle/>
        <a:p>
          <a:pPr algn="l" rtl="0"/>
          <a:r>
            <a:rPr lang="hu-HU" dirty="0"/>
            <a:t>Risk</a:t>
          </a:r>
          <a:r>
            <a:rPr lang="hu-HU" baseline="0" dirty="0"/>
            <a:t> </a:t>
          </a:r>
          <a:r>
            <a:rPr lang="hu-HU" baseline="0" dirty="0" err="1"/>
            <a:t>category</a:t>
          </a:r>
          <a:endParaRPr lang="en-gb" dirty="0"/>
        </a:p>
      </dgm:t>
    </dgm:pt>
    <dgm:pt modelId="{89D02139-8F59-4E6B-9697-0C066286649D}" type="parTrans" cxnId="{E6B0A88C-C404-4D28-8CF2-AAE856957FFB}">
      <dgm:prSet/>
      <dgm:spPr/>
      <dgm:t>
        <a:bodyPr/>
        <a:lstStyle/>
        <a:p>
          <a:pPr algn="l" rtl="0"/>
          <a:endParaRPr lang="en-gb"/>
        </a:p>
      </dgm:t>
    </dgm:pt>
    <dgm:pt modelId="{9F55F8CB-7AC6-4200-920E-D18DE2C926BB}" type="sibTrans" cxnId="{E6B0A88C-C404-4D28-8CF2-AAE856957FFB}">
      <dgm:prSet/>
      <dgm:spPr/>
      <dgm:t>
        <a:bodyPr/>
        <a:lstStyle/>
        <a:p>
          <a:pPr algn="l" rtl="0"/>
          <a:endParaRPr lang="en-gb"/>
        </a:p>
      </dgm:t>
    </dgm:pt>
    <dgm:pt modelId="{102DF3E5-E3A9-4624-ADB7-10A6F5B535DC}">
      <dgm:prSet phldrT="[Text]"/>
      <dgm:spPr/>
      <dgm:t>
        <a:bodyPr/>
        <a:lstStyle/>
        <a:p>
          <a:pPr algn="l" rtl="0"/>
          <a:r>
            <a:rPr lang="hu-HU" b="0" i="0" u="none" baseline="0" dirty="0" err="1"/>
            <a:t>High</a:t>
          </a:r>
          <a:endParaRPr lang="en-gb" b="0" i="0" u="none" baseline="0" dirty="0"/>
        </a:p>
        <a:p>
          <a:pPr algn="l" rtl="0"/>
          <a:endParaRPr lang="en-gb" dirty="0"/>
        </a:p>
      </dgm:t>
    </dgm:pt>
    <dgm:pt modelId="{93552CD0-BBDF-4EEF-929C-AE35C28C3E87}" type="parTrans" cxnId="{E0F629B6-4265-4CF7-8A94-57F2A19A13ED}">
      <dgm:prSet/>
      <dgm:spPr/>
      <dgm:t>
        <a:bodyPr/>
        <a:lstStyle/>
        <a:p>
          <a:pPr algn="l" rtl="0"/>
          <a:endParaRPr lang="en-gb"/>
        </a:p>
      </dgm:t>
    </dgm:pt>
    <dgm:pt modelId="{B2CE8FB8-F946-4B34-9B08-753F2468320C}" type="sibTrans" cxnId="{E0F629B6-4265-4CF7-8A94-57F2A19A13ED}">
      <dgm:prSet/>
      <dgm:spPr/>
      <dgm:t>
        <a:bodyPr/>
        <a:lstStyle/>
        <a:p>
          <a:pPr algn="l" rtl="0"/>
          <a:endParaRPr lang="en-gb"/>
        </a:p>
      </dgm:t>
    </dgm:pt>
    <dgm:pt modelId="{08E9CD08-3FFB-4E47-9706-92F812531A9C}">
      <dgm:prSet phldrT="[Text]"/>
      <dgm:spPr/>
      <dgm:t>
        <a:bodyPr/>
        <a:lstStyle/>
        <a:p>
          <a:pPr algn="l" rtl="0"/>
          <a:endParaRPr lang="en-gb" dirty="0"/>
        </a:p>
        <a:p>
          <a:pPr algn="l" rtl="0"/>
          <a:endParaRPr lang="en-gb" dirty="0"/>
        </a:p>
      </dgm:t>
    </dgm:pt>
    <dgm:pt modelId="{E2DC067E-D185-428B-9AA5-CB29EE80F15A}" type="parTrans" cxnId="{6D1FD288-AA4A-44C1-B24B-CE8A49671383}">
      <dgm:prSet/>
      <dgm:spPr/>
      <dgm:t>
        <a:bodyPr/>
        <a:lstStyle/>
        <a:p>
          <a:pPr algn="l" rtl="0"/>
          <a:endParaRPr lang="en-gb"/>
        </a:p>
      </dgm:t>
    </dgm:pt>
    <dgm:pt modelId="{DA5AB9E7-0F24-41A5-A0AB-0CD01DE91D99}" type="sibTrans" cxnId="{6D1FD288-AA4A-44C1-B24B-CE8A49671383}">
      <dgm:prSet/>
      <dgm:spPr/>
      <dgm:t>
        <a:bodyPr/>
        <a:lstStyle/>
        <a:p>
          <a:pPr algn="l" rtl="0"/>
          <a:endParaRPr lang="en-gb"/>
        </a:p>
      </dgm:t>
    </dgm:pt>
    <dgm:pt modelId="{A23F0DA1-AE9C-46EE-8677-D78AC8F2673A}">
      <dgm:prSet phldrT="[Text]"/>
      <dgm:spPr/>
      <dgm:t>
        <a:bodyPr/>
        <a:lstStyle/>
        <a:p>
          <a:pPr algn="l" rtl="0"/>
          <a:endParaRPr lang="en-gb" dirty="0"/>
        </a:p>
        <a:p>
          <a:pPr algn="l" rtl="0"/>
          <a:endParaRPr lang="en-gb" dirty="0"/>
        </a:p>
      </dgm:t>
    </dgm:pt>
    <dgm:pt modelId="{63B67C86-6BAD-42A5-A7C9-C7E573F7ACCF}" type="sibTrans" cxnId="{09D442C0-4FE4-47D7-9EC1-9FB4D78D2607}">
      <dgm:prSet/>
      <dgm:spPr/>
      <dgm:t>
        <a:bodyPr/>
        <a:lstStyle/>
        <a:p>
          <a:pPr algn="l" rtl="0"/>
          <a:endParaRPr lang="en-gb"/>
        </a:p>
      </dgm:t>
    </dgm:pt>
    <dgm:pt modelId="{66095789-D46F-486F-9653-628E2D70384E}" type="parTrans" cxnId="{09D442C0-4FE4-47D7-9EC1-9FB4D78D2607}">
      <dgm:prSet/>
      <dgm:spPr/>
      <dgm:t>
        <a:bodyPr/>
        <a:lstStyle/>
        <a:p>
          <a:pPr algn="l" rtl="0"/>
          <a:endParaRPr lang="en-gb"/>
        </a:p>
      </dgm:t>
    </dgm:pt>
    <dgm:pt modelId="{D39AC432-9D08-4976-89CF-3F4BC70BC63A}">
      <dgm:prSet phldrT="[Text]" custScaleX="119096" custScaleY="87477" custLinFactNeighborY="-79287"/>
      <dgm:spPr/>
      <dgm:t>
        <a:bodyPr/>
        <a:lstStyle/>
        <a:p>
          <a:endParaRPr lang="en-US"/>
        </a:p>
      </dgm:t>
    </dgm:pt>
    <dgm:pt modelId="{581238AB-7115-4A5E-946A-5D9A2E4AFF0F}" type="parTrans" cxnId="{5F1ACECA-3241-4316-95FF-64C2EE86D40F}">
      <dgm:prSet/>
      <dgm:spPr/>
      <dgm:t>
        <a:bodyPr/>
        <a:lstStyle/>
        <a:p>
          <a:endParaRPr lang="en-US"/>
        </a:p>
      </dgm:t>
    </dgm:pt>
    <dgm:pt modelId="{A3D3E1E1-732A-4D6A-851F-5245E6A9E328}" type="sibTrans" cxnId="{5F1ACECA-3241-4316-95FF-64C2EE86D40F}">
      <dgm:prSet/>
      <dgm:spPr/>
      <dgm:t>
        <a:bodyPr/>
        <a:lstStyle/>
        <a:p>
          <a:endParaRPr lang="en-US"/>
        </a:p>
      </dgm:t>
    </dgm:pt>
    <dgm:pt modelId="{328190BA-49EB-4068-B025-4395D24D94AE}">
      <dgm:prSet phldrT="[Text]" custScaleX="119096" custScaleY="87477" custLinFactNeighborY="-79287"/>
      <dgm:spPr/>
      <dgm:t>
        <a:bodyPr/>
        <a:lstStyle/>
        <a:p>
          <a:endParaRPr lang="en-US"/>
        </a:p>
      </dgm:t>
    </dgm:pt>
    <dgm:pt modelId="{630C265D-991D-4AED-AF96-E8D8D404153B}" type="parTrans" cxnId="{3A253021-0670-4C4F-8F63-DFFD737E9993}">
      <dgm:prSet/>
      <dgm:spPr/>
      <dgm:t>
        <a:bodyPr/>
        <a:lstStyle/>
        <a:p>
          <a:endParaRPr lang="en-US"/>
        </a:p>
      </dgm:t>
    </dgm:pt>
    <dgm:pt modelId="{5D60DC45-3C2F-4DAC-A584-46399BDDD69C}" type="sibTrans" cxnId="{3A253021-0670-4C4F-8F63-DFFD737E9993}">
      <dgm:prSet/>
      <dgm:spPr/>
      <dgm:t>
        <a:bodyPr/>
        <a:lstStyle/>
        <a:p>
          <a:endParaRPr lang="en-US"/>
        </a:p>
      </dgm:t>
    </dgm:pt>
    <dgm:pt modelId="{C1E575E8-0DFB-4F67-B841-9A10645C710B}">
      <dgm:prSet phldrT="[Text]" custScaleX="119096" custScaleY="87477" custLinFactNeighborY="-79287"/>
      <dgm:spPr/>
      <dgm:t>
        <a:bodyPr/>
        <a:lstStyle/>
        <a:p>
          <a:endParaRPr lang="en-US"/>
        </a:p>
      </dgm:t>
    </dgm:pt>
    <dgm:pt modelId="{E250D5E6-1D6B-49E9-B5AE-BB399077B330}" type="parTrans" cxnId="{C9BC5AC3-0EF9-4922-8126-74C2EA09DF0F}">
      <dgm:prSet/>
      <dgm:spPr/>
      <dgm:t>
        <a:bodyPr/>
        <a:lstStyle/>
        <a:p>
          <a:endParaRPr lang="en-US"/>
        </a:p>
      </dgm:t>
    </dgm:pt>
    <dgm:pt modelId="{1EF475AF-D587-403C-96F3-BC35D98E7CD5}" type="sibTrans" cxnId="{C9BC5AC3-0EF9-4922-8126-74C2EA09DF0F}">
      <dgm:prSet/>
      <dgm:spPr/>
      <dgm:t>
        <a:bodyPr/>
        <a:lstStyle/>
        <a:p>
          <a:endParaRPr lang="en-US"/>
        </a:p>
      </dgm:t>
    </dgm:pt>
    <dgm:pt modelId="{8D80039A-B328-41C6-A54B-95A46E4002C9}">
      <dgm:prSet phldrT="[Text]" custScaleX="119096" custScaleY="87477" custLinFactNeighborY="-79287"/>
      <dgm:spPr/>
      <dgm:t>
        <a:bodyPr/>
        <a:lstStyle/>
        <a:p>
          <a:endParaRPr lang="en-US"/>
        </a:p>
      </dgm:t>
    </dgm:pt>
    <dgm:pt modelId="{C1A1A486-5C95-4B43-BAB4-D26C12854EE8}" type="parTrans" cxnId="{00D81D71-F0F4-4887-A271-27BC27AF3628}">
      <dgm:prSet/>
      <dgm:spPr/>
      <dgm:t>
        <a:bodyPr/>
        <a:lstStyle/>
        <a:p>
          <a:endParaRPr lang="en-US"/>
        </a:p>
      </dgm:t>
    </dgm:pt>
    <dgm:pt modelId="{FF90923F-971F-4638-9B51-7DB732A62EBB}" type="sibTrans" cxnId="{00D81D71-F0F4-4887-A271-27BC27AF3628}">
      <dgm:prSet/>
      <dgm:spPr/>
      <dgm:t>
        <a:bodyPr/>
        <a:lstStyle/>
        <a:p>
          <a:endParaRPr lang="en-US"/>
        </a:p>
      </dgm:t>
    </dgm:pt>
    <dgm:pt modelId="{F26F452F-E5B1-4B76-B0DD-9DEE3D219447}">
      <dgm:prSet phldrT="[Text]" custScaleX="119096" custScaleY="87477" custLinFactNeighborY="-79287"/>
      <dgm:spPr/>
      <dgm:t>
        <a:bodyPr/>
        <a:lstStyle/>
        <a:p>
          <a:endParaRPr lang="en-US"/>
        </a:p>
      </dgm:t>
    </dgm:pt>
    <dgm:pt modelId="{448301C9-06CE-47FA-BEBB-3B0CD4559660}" type="parTrans" cxnId="{620C6B53-F4D2-4CFD-BC3D-DA68C838493E}">
      <dgm:prSet/>
      <dgm:spPr/>
      <dgm:t>
        <a:bodyPr/>
        <a:lstStyle/>
        <a:p>
          <a:endParaRPr lang="en-US"/>
        </a:p>
      </dgm:t>
    </dgm:pt>
    <dgm:pt modelId="{AFDDE292-6015-4217-B611-8F9AAC909459}" type="sibTrans" cxnId="{620C6B53-F4D2-4CFD-BC3D-DA68C838493E}">
      <dgm:prSet/>
      <dgm:spPr/>
      <dgm:t>
        <a:bodyPr/>
        <a:lstStyle/>
        <a:p>
          <a:endParaRPr lang="en-US"/>
        </a:p>
      </dgm:t>
    </dgm:pt>
    <dgm:pt modelId="{F1FE47AF-47B8-4613-BE28-A41ADDBD01B3}" type="pres">
      <dgm:prSet presAssocID="{3B7E0201-C479-4BD7-BAD0-0C15A6DF2A62}" presName="Name0" presStyleCnt="0">
        <dgm:presLayoutVars>
          <dgm:chMax val="1"/>
          <dgm:chPref val="1"/>
          <dgm:dir/>
          <dgm:resizeHandles/>
        </dgm:presLayoutVars>
      </dgm:prSet>
      <dgm:spPr/>
    </dgm:pt>
    <dgm:pt modelId="{FA035F78-7144-4313-AA28-B2D24FF0040F}" type="pres">
      <dgm:prSet presAssocID="{584EC088-967B-4F1E-B104-268EEB5ABFC8}" presName="Parent" presStyleLbl="node1" presStyleIdx="0" presStyleCnt="2" custScaleX="124576" custScaleY="116420">
        <dgm:presLayoutVars>
          <dgm:chMax val="4"/>
          <dgm:chPref val="3"/>
        </dgm:presLayoutVars>
      </dgm:prSet>
      <dgm:spPr/>
    </dgm:pt>
    <dgm:pt modelId="{1E7FC1F3-90F4-4162-BDBC-625B91DDCE89}" type="pres">
      <dgm:prSet presAssocID="{A23F0DA1-AE9C-46EE-8677-D78AC8F2673A}" presName="Accent" presStyleLbl="node1" presStyleIdx="1" presStyleCnt="2" custScaleX="98071"/>
      <dgm:spPr>
        <a:solidFill>
          <a:schemeClr val="bg2">
            <a:lumMod val="75000"/>
          </a:schemeClr>
        </a:solidFill>
        <a:ln>
          <a:solidFill>
            <a:schemeClr val="bg1">
              <a:lumMod val="65000"/>
            </a:schemeClr>
          </a:solidFill>
        </a:ln>
      </dgm:spPr>
    </dgm:pt>
    <dgm:pt modelId="{DE19C196-0AC2-434A-AC72-DB4C5E00AD53}" type="pres">
      <dgm:prSet presAssocID="{A23F0DA1-AE9C-46EE-8677-D78AC8F2673A}" presName="Image1" presStyleLbl="fgImgPlace1" presStyleIdx="0" presStyleCnt="3" custLinFactNeighborX="19400" custLinFactNeighborY="27383"/>
      <dgm:spPr>
        <a:solidFill>
          <a:srgbClr val="C00000"/>
        </a:solidFill>
      </dgm:spPr>
    </dgm:pt>
    <dgm:pt modelId="{B04A4E1C-0D0C-48D0-84D1-C44F683E0473}" type="pres">
      <dgm:prSet presAssocID="{A23F0DA1-AE9C-46EE-8677-D78AC8F2673A}" presName="Child1" presStyleLbl="revTx" presStyleIdx="0" presStyleCnt="3">
        <dgm:presLayoutVars>
          <dgm:chMax val="0"/>
          <dgm:chPref val="0"/>
          <dgm:bulletEnabled val="1"/>
        </dgm:presLayoutVars>
      </dgm:prSet>
      <dgm:spPr/>
    </dgm:pt>
    <dgm:pt modelId="{FCD9A563-6E12-4400-97E1-58B976F05AF9}" type="pres">
      <dgm:prSet presAssocID="{102DF3E5-E3A9-4624-ADB7-10A6F5B535DC}" presName="Image2" presStyleCnt="0"/>
      <dgm:spPr/>
    </dgm:pt>
    <dgm:pt modelId="{ACA4BFB4-EA24-4F44-A984-BAF1B0E1F449}" type="pres">
      <dgm:prSet presAssocID="{102DF3E5-E3A9-4624-ADB7-10A6F5B535DC}" presName="Image" presStyleLbl="fgImgPlace1" presStyleIdx="1" presStyleCnt="3" custLinFactNeighborX="14189" custLinFactNeighborY="13823"/>
      <dgm:spPr>
        <a:solidFill>
          <a:srgbClr val="FFFF00"/>
        </a:solidFill>
      </dgm:spPr>
    </dgm:pt>
    <dgm:pt modelId="{BC306A83-BD06-4182-A8CF-0B83BC926667}" type="pres">
      <dgm:prSet presAssocID="{102DF3E5-E3A9-4624-ADB7-10A6F5B535DC}" presName="Child2" presStyleLbl="revTx" presStyleIdx="1" presStyleCnt="3" custScaleX="119096" custScaleY="87477" custLinFactNeighborY="-79287">
        <dgm:presLayoutVars>
          <dgm:chMax val="0"/>
          <dgm:chPref val="0"/>
          <dgm:bulletEnabled val="1"/>
        </dgm:presLayoutVars>
      </dgm:prSet>
      <dgm:spPr/>
    </dgm:pt>
    <dgm:pt modelId="{7001F4AD-D5DD-43EC-802C-F313A88E4E79}" type="pres">
      <dgm:prSet presAssocID="{08E9CD08-3FFB-4E47-9706-92F812531A9C}" presName="Image3" presStyleCnt="0"/>
      <dgm:spPr/>
    </dgm:pt>
    <dgm:pt modelId="{ABB240C5-E763-4C74-A1A7-3930C726D4D2}" type="pres">
      <dgm:prSet presAssocID="{08E9CD08-3FFB-4E47-9706-92F812531A9C}" presName="Image" presStyleLbl="fgImgPlace1" presStyleIdx="2" presStyleCnt="3"/>
      <dgm:spPr>
        <a:solidFill>
          <a:srgbClr val="009A44"/>
        </a:solidFill>
      </dgm:spPr>
    </dgm:pt>
    <dgm:pt modelId="{701A6209-87F2-43BC-A595-769D58813AD1}" type="pres">
      <dgm:prSet presAssocID="{08E9CD08-3FFB-4E47-9706-92F812531A9C}" presName="Child3" presStyleLbl="revTx" presStyleIdx="2" presStyleCnt="3">
        <dgm:presLayoutVars>
          <dgm:chMax val="0"/>
          <dgm:chPref val="0"/>
          <dgm:bulletEnabled val="1"/>
        </dgm:presLayoutVars>
      </dgm:prSet>
      <dgm:spPr/>
    </dgm:pt>
  </dgm:ptLst>
  <dgm:cxnLst>
    <dgm:cxn modelId="{3A253021-0670-4C4F-8F63-DFFD737E9993}" srcId="{3B7E0201-C479-4BD7-BAD0-0C15A6DF2A62}" destId="{328190BA-49EB-4068-B025-4395D24D94AE}" srcOrd="2" destOrd="0" parTransId="{630C265D-991D-4AED-AF96-E8D8D404153B}" sibTransId="{5D60DC45-3C2F-4DAC-A584-46399BDDD69C}"/>
    <dgm:cxn modelId="{620C6B53-F4D2-4CFD-BC3D-DA68C838493E}" srcId="{3B7E0201-C479-4BD7-BAD0-0C15A6DF2A62}" destId="{F26F452F-E5B1-4B76-B0DD-9DEE3D219447}" srcOrd="5" destOrd="0" parTransId="{448301C9-06CE-47FA-BEBB-3B0CD4559660}" sibTransId="{AFDDE292-6015-4217-B611-8F9AAC909459}"/>
    <dgm:cxn modelId="{00D81D71-F0F4-4887-A271-27BC27AF3628}" srcId="{3B7E0201-C479-4BD7-BAD0-0C15A6DF2A62}" destId="{8D80039A-B328-41C6-A54B-95A46E4002C9}" srcOrd="4" destOrd="0" parTransId="{C1A1A486-5C95-4B43-BAB4-D26C12854EE8}" sibTransId="{FF90923F-971F-4638-9B51-7DB732A62EBB}"/>
    <dgm:cxn modelId="{6D1FD288-AA4A-44C1-B24B-CE8A49671383}" srcId="{584EC088-967B-4F1E-B104-268EEB5ABFC8}" destId="{08E9CD08-3FFB-4E47-9706-92F812531A9C}" srcOrd="2" destOrd="0" parTransId="{E2DC067E-D185-428B-9AA5-CB29EE80F15A}" sibTransId="{DA5AB9E7-0F24-41A5-A0AB-0CD01DE91D99}"/>
    <dgm:cxn modelId="{E6B0A88C-C404-4D28-8CF2-AAE856957FFB}" srcId="{3B7E0201-C479-4BD7-BAD0-0C15A6DF2A62}" destId="{584EC088-967B-4F1E-B104-268EEB5ABFC8}" srcOrd="0" destOrd="0" parTransId="{89D02139-8F59-4E6B-9697-0C066286649D}" sibTransId="{9F55F8CB-7AC6-4200-920E-D18DE2C926BB}"/>
    <dgm:cxn modelId="{25B7A2A1-B998-F64E-AFE4-2D0D2445EDBE}" type="presOf" srcId="{102DF3E5-E3A9-4624-ADB7-10A6F5B535DC}" destId="{BC306A83-BD06-4182-A8CF-0B83BC926667}" srcOrd="0" destOrd="0" presId="urn:microsoft.com/office/officeart/2011/layout/RadialPictureList"/>
    <dgm:cxn modelId="{7EC2B4A3-2CBE-364D-BE3B-6B08F7768555}" type="presOf" srcId="{A23F0DA1-AE9C-46EE-8677-D78AC8F2673A}" destId="{B04A4E1C-0D0C-48D0-84D1-C44F683E0473}" srcOrd="0" destOrd="0" presId="urn:microsoft.com/office/officeart/2011/layout/RadialPictureList"/>
    <dgm:cxn modelId="{18FE7FA6-D224-3D43-A649-03D576923789}" type="presOf" srcId="{3B7E0201-C479-4BD7-BAD0-0C15A6DF2A62}" destId="{F1FE47AF-47B8-4613-BE28-A41ADDBD01B3}" srcOrd="0" destOrd="0" presId="urn:microsoft.com/office/officeart/2011/layout/RadialPictureList"/>
    <dgm:cxn modelId="{E0F629B6-4265-4CF7-8A94-57F2A19A13ED}" srcId="{584EC088-967B-4F1E-B104-268EEB5ABFC8}" destId="{102DF3E5-E3A9-4624-ADB7-10A6F5B535DC}" srcOrd="1" destOrd="0" parTransId="{93552CD0-BBDF-4EEF-929C-AE35C28C3E87}" sibTransId="{B2CE8FB8-F946-4B34-9B08-753F2468320C}"/>
    <dgm:cxn modelId="{1F2D64BE-2688-B94E-952D-D1A0E28AECDB}" type="presOf" srcId="{08E9CD08-3FFB-4E47-9706-92F812531A9C}" destId="{701A6209-87F2-43BC-A595-769D58813AD1}" srcOrd="0" destOrd="0" presId="urn:microsoft.com/office/officeart/2011/layout/RadialPictureList"/>
    <dgm:cxn modelId="{09D442C0-4FE4-47D7-9EC1-9FB4D78D2607}" srcId="{584EC088-967B-4F1E-B104-268EEB5ABFC8}" destId="{A23F0DA1-AE9C-46EE-8677-D78AC8F2673A}" srcOrd="0" destOrd="0" parTransId="{66095789-D46F-486F-9653-628E2D70384E}" sibTransId="{63B67C86-6BAD-42A5-A7C9-C7E573F7ACCF}"/>
    <dgm:cxn modelId="{C9BC5AC3-0EF9-4922-8126-74C2EA09DF0F}" srcId="{3B7E0201-C479-4BD7-BAD0-0C15A6DF2A62}" destId="{C1E575E8-0DFB-4F67-B841-9A10645C710B}" srcOrd="3" destOrd="0" parTransId="{E250D5E6-1D6B-49E9-B5AE-BB399077B330}" sibTransId="{1EF475AF-D587-403C-96F3-BC35D98E7CD5}"/>
    <dgm:cxn modelId="{9737F6C3-2196-1942-A130-4BEDFF579535}" type="presOf" srcId="{584EC088-967B-4F1E-B104-268EEB5ABFC8}" destId="{FA035F78-7144-4313-AA28-B2D24FF0040F}" srcOrd="0" destOrd="0" presId="urn:microsoft.com/office/officeart/2011/layout/RadialPictureList"/>
    <dgm:cxn modelId="{5F1ACECA-3241-4316-95FF-64C2EE86D40F}" srcId="{3B7E0201-C479-4BD7-BAD0-0C15A6DF2A62}" destId="{D39AC432-9D08-4976-89CF-3F4BC70BC63A}" srcOrd="1" destOrd="0" parTransId="{581238AB-7115-4A5E-946A-5D9A2E4AFF0F}" sibTransId="{A3D3E1E1-732A-4D6A-851F-5245E6A9E328}"/>
    <dgm:cxn modelId="{AFDEC27D-4540-CF4E-ADEE-9D92FF3B716F}" type="presParOf" srcId="{F1FE47AF-47B8-4613-BE28-A41ADDBD01B3}" destId="{FA035F78-7144-4313-AA28-B2D24FF0040F}" srcOrd="0" destOrd="0" presId="urn:microsoft.com/office/officeart/2011/layout/RadialPictureList"/>
    <dgm:cxn modelId="{D965D9AB-EB1C-7B4D-9DDC-3BA03249A43F}" type="presParOf" srcId="{F1FE47AF-47B8-4613-BE28-A41ADDBD01B3}" destId="{1E7FC1F3-90F4-4162-BDBC-625B91DDCE89}" srcOrd="1" destOrd="0" presId="urn:microsoft.com/office/officeart/2011/layout/RadialPictureList"/>
    <dgm:cxn modelId="{08157948-8A41-4B4E-80B7-3E2FA0155741}" type="presParOf" srcId="{F1FE47AF-47B8-4613-BE28-A41ADDBD01B3}" destId="{DE19C196-0AC2-434A-AC72-DB4C5E00AD53}" srcOrd="2" destOrd="0" presId="urn:microsoft.com/office/officeart/2011/layout/RadialPictureList"/>
    <dgm:cxn modelId="{0D70B7CE-FD70-AA48-9F6F-CDA341DEE8FA}" type="presParOf" srcId="{F1FE47AF-47B8-4613-BE28-A41ADDBD01B3}" destId="{B04A4E1C-0D0C-48D0-84D1-C44F683E0473}" srcOrd="3" destOrd="0" presId="urn:microsoft.com/office/officeart/2011/layout/RadialPictureList"/>
    <dgm:cxn modelId="{084239CE-5204-F344-9DF9-AD79AD3C30BD}" type="presParOf" srcId="{F1FE47AF-47B8-4613-BE28-A41ADDBD01B3}" destId="{FCD9A563-6E12-4400-97E1-58B976F05AF9}" srcOrd="4" destOrd="0" presId="urn:microsoft.com/office/officeart/2011/layout/RadialPictureList"/>
    <dgm:cxn modelId="{E1E02B6D-F5BE-3546-870D-3B85E72665FD}" type="presParOf" srcId="{FCD9A563-6E12-4400-97E1-58B976F05AF9}" destId="{ACA4BFB4-EA24-4F44-A984-BAF1B0E1F449}" srcOrd="0" destOrd="0" presId="urn:microsoft.com/office/officeart/2011/layout/RadialPictureList"/>
    <dgm:cxn modelId="{BD707616-D2F6-C949-BAEB-8C8301F181C4}" type="presParOf" srcId="{F1FE47AF-47B8-4613-BE28-A41ADDBD01B3}" destId="{BC306A83-BD06-4182-A8CF-0B83BC926667}" srcOrd="5" destOrd="0" presId="urn:microsoft.com/office/officeart/2011/layout/RadialPictureList"/>
    <dgm:cxn modelId="{FB40C428-ACA2-5146-8FE4-095CF138E418}" type="presParOf" srcId="{F1FE47AF-47B8-4613-BE28-A41ADDBD01B3}" destId="{7001F4AD-D5DD-43EC-802C-F313A88E4E79}" srcOrd="6" destOrd="0" presId="urn:microsoft.com/office/officeart/2011/layout/RadialPictureList"/>
    <dgm:cxn modelId="{795B0F1E-38F6-C240-8BAC-BCEF31898CF3}" type="presParOf" srcId="{7001F4AD-D5DD-43EC-802C-F313A88E4E79}" destId="{ABB240C5-E763-4C74-A1A7-3930C726D4D2}" srcOrd="0" destOrd="0" presId="urn:microsoft.com/office/officeart/2011/layout/RadialPictureList"/>
    <dgm:cxn modelId="{5C70F4A6-9ACB-8447-85FE-DA8E36CEE7EE}" type="presParOf" srcId="{F1FE47AF-47B8-4613-BE28-A41ADDBD01B3}" destId="{701A6209-87F2-43BC-A595-769D58813AD1}" srcOrd="7" destOrd="0" presId="urn:microsoft.com/office/officeart/2011/layout/RadialPicture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353917-7B78-DA4B-B58F-ADC925E63BD4}">
      <dsp:nvSpPr>
        <dsp:cNvPr id="0" name=""/>
        <dsp:cNvSpPr/>
      </dsp:nvSpPr>
      <dsp:spPr>
        <a:xfrm>
          <a:off x="843439" y="172600"/>
          <a:ext cx="2082514" cy="2082514"/>
        </a:xfrm>
        <a:prstGeom prst="pie">
          <a:avLst>
            <a:gd name="adj1" fmla="val 16200000"/>
            <a:gd name="adj2" fmla="val 1800000"/>
          </a:avLst>
        </a:prstGeom>
        <a:solidFill>
          <a:srgbClr val="86BC25">
            <a:alpha val="53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i="0" kern="1200" dirty="0">
              <a:solidFill>
                <a:schemeClr val="tx1"/>
              </a:solidFill>
              <a:latin typeface="+mj-lt"/>
              <a:ea typeface="Open Sans SemiBold" panose="020B0606030504020204" pitchFamily="34" charset="0"/>
              <a:cs typeface="Open Sans SemiBold" panose="020B0606030504020204" pitchFamily="34" charset="0"/>
            </a:rPr>
            <a:t>Operate</a:t>
          </a:r>
        </a:p>
      </dsp:txBody>
      <dsp:txXfrm>
        <a:off x="1940973" y="613895"/>
        <a:ext cx="743755" cy="619796"/>
      </dsp:txXfrm>
    </dsp:sp>
    <dsp:sp modelId="{EE60C10D-9D17-5643-86ED-9281549D0A3D}">
      <dsp:nvSpPr>
        <dsp:cNvPr id="0" name=""/>
        <dsp:cNvSpPr/>
      </dsp:nvSpPr>
      <dsp:spPr>
        <a:xfrm>
          <a:off x="794593" y="235522"/>
          <a:ext cx="2082514" cy="2082514"/>
        </a:xfrm>
        <a:prstGeom prst="pie">
          <a:avLst>
            <a:gd name="adj1" fmla="val 1800000"/>
            <a:gd name="adj2" fmla="val 900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solidFill>
                <a:schemeClr val="tx1"/>
              </a:solidFill>
              <a:latin typeface="+mj-lt"/>
              <a:ea typeface="Open Sans Light" panose="020B0306030504020204" pitchFamily="34" charset="0"/>
              <a:cs typeface="Open Sans Light" panose="020B0306030504020204" pitchFamily="34" charset="0"/>
            </a:rPr>
            <a:t>Advise</a:t>
          </a:r>
          <a:endParaRPr lang="en-US" sz="1400" b="0" i="0" kern="1200" dirty="0">
            <a:solidFill>
              <a:schemeClr val="tx1"/>
            </a:solidFill>
            <a:latin typeface="+mj-lt"/>
            <a:ea typeface="Open Sans Light" panose="020B0306030504020204" pitchFamily="34" charset="0"/>
            <a:cs typeface="Open Sans Light" panose="020B0306030504020204" pitchFamily="34" charset="0"/>
          </a:endParaRPr>
        </a:p>
      </dsp:txBody>
      <dsp:txXfrm>
        <a:off x="1290430" y="1586677"/>
        <a:ext cx="1115632" cy="545420"/>
      </dsp:txXfrm>
    </dsp:sp>
    <dsp:sp modelId="{446B950E-A9FB-654B-9DDE-B2E74AC4A3D6}">
      <dsp:nvSpPr>
        <dsp:cNvPr id="0" name=""/>
        <dsp:cNvSpPr/>
      </dsp:nvSpPr>
      <dsp:spPr>
        <a:xfrm>
          <a:off x="751703" y="161146"/>
          <a:ext cx="2082514" cy="2082514"/>
        </a:xfrm>
        <a:prstGeom prst="pie">
          <a:avLst>
            <a:gd name="adj1" fmla="val 9000000"/>
            <a:gd name="adj2" fmla="val 1620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solidFill>
                <a:schemeClr val="tx1"/>
              </a:solidFill>
              <a:latin typeface="+mj-lt"/>
              <a:ea typeface="Open Sans Light" panose="020B0306030504020204" pitchFamily="34" charset="0"/>
              <a:cs typeface="Open Sans Light" panose="020B0306030504020204" pitchFamily="34" charset="0"/>
            </a:rPr>
            <a:t>Implement</a:t>
          </a:r>
          <a:endParaRPr lang="en-US" sz="1100" b="0" i="0" kern="1200" dirty="0">
            <a:solidFill>
              <a:schemeClr val="tx1"/>
            </a:solidFill>
            <a:latin typeface="+mj-lt"/>
            <a:ea typeface="Open Sans Light" panose="020B0306030504020204" pitchFamily="34" charset="0"/>
            <a:cs typeface="Open Sans Light" panose="020B0306030504020204" pitchFamily="34" charset="0"/>
          </a:endParaRPr>
        </a:p>
      </dsp:txBody>
      <dsp:txXfrm>
        <a:off x="992927" y="602441"/>
        <a:ext cx="743755" cy="619796"/>
      </dsp:txXfrm>
    </dsp:sp>
    <dsp:sp modelId="{F740CD90-1B68-7D48-9DA1-FB1EDDA81D01}">
      <dsp:nvSpPr>
        <dsp:cNvPr id="0" name=""/>
        <dsp:cNvSpPr/>
      </dsp:nvSpPr>
      <dsp:spPr>
        <a:xfrm>
          <a:off x="714693" y="43683"/>
          <a:ext cx="2340349" cy="2340349"/>
        </a:xfrm>
        <a:prstGeom prst="circularArrow">
          <a:avLst>
            <a:gd name="adj1" fmla="val 5085"/>
            <a:gd name="adj2" fmla="val 327528"/>
            <a:gd name="adj3" fmla="val 1472472"/>
            <a:gd name="adj4" fmla="val 16199432"/>
            <a:gd name="adj5" fmla="val 5932"/>
          </a:avLst>
        </a:prstGeom>
        <a:solidFill>
          <a:srgbClr val="86BC25"/>
        </a:solidFill>
        <a:ln>
          <a:noFill/>
        </a:ln>
        <a:effectLst/>
      </dsp:spPr>
      <dsp:style>
        <a:lnRef idx="0">
          <a:scrgbClr r="0" g="0" b="0"/>
        </a:lnRef>
        <a:fillRef idx="1">
          <a:scrgbClr r="0" g="0" b="0"/>
        </a:fillRef>
        <a:effectRef idx="0">
          <a:scrgbClr r="0" g="0" b="0"/>
        </a:effectRef>
        <a:fontRef idx="minor">
          <a:schemeClr val="lt1"/>
        </a:fontRef>
      </dsp:style>
    </dsp:sp>
    <dsp:sp modelId="{30CEFD2B-2432-984D-B261-0736B4BE5D62}">
      <dsp:nvSpPr>
        <dsp:cNvPr id="0" name=""/>
        <dsp:cNvSpPr/>
      </dsp:nvSpPr>
      <dsp:spPr>
        <a:xfrm>
          <a:off x="665675" y="106473"/>
          <a:ext cx="2340349" cy="2340349"/>
        </a:xfrm>
        <a:prstGeom prst="circularArrow">
          <a:avLst>
            <a:gd name="adj1" fmla="val 5085"/>
            <a:gd name="adj2" fmla="val 327528"/>
            <a:gd name="adj3" fmla="val 8671970"/>
            <a:gd name="adj4" fmla="val 1800502"/>
            <a:gd name="adj5" fmla="val 5932"/>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2C1319B6-30FE-414F-A608-7C69DFCD06EE}">
      <dsp:nvSpPr>
        <dsp:cNvPr id="0" name=""/>
        <dsp:cNvSpPr/>
      </dsp:nvSpPr>
      <dsp:spPr>
        <a:xfrm>
          <a:off x="622613" y="32229"/>
          <a:ext cx="2340349" cy="2340349"/>
        </a:xfrm>
        <a:prstGeom prst="circularArrow">
          <a:avLst>
            <a:gd name="adj1" fmla="val 5085"/>
            <a:gd name="adj2" fmla="val 327528"/>
            <a:gd name="adj3" fmla="val 15873039"/>
            <a:gd name="adj4" fmla="val 9000000"/>
            <a:gd name="adj5" fmla="val 5932"/>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91787-0E3F-49A7-B8AD-82DAA1D64BC1}">
      <dsp:nvSpPr>
        <dsp:cNvPr id="0" name=""/>
        <dsp:cNvSpPr/>
      </dsp:nvSpPr>
      <dsp:spPr>
        <a:xfrm>
          <a:off x="2104201" y="42165"/>
          <a:ext cx="2182136" cy="2182468"/>
        </a:xfrm>
        <a:prstGeom prst="circularArrow">
          <a:avLst>
            <a:gd name="adj1" fmla="val 10980"/>
            <a:gd name="adj2" fmla="val 1142322"/>
            <a:gd name="adj3" fmla="val 4500000"/>
            <a:gd name="adj4" fmla="val 10800000"/>
            <a:gd name="adj5" fmla="val 1250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9F9649-4B2F-4592-91B3-20A11AE135C6}">
      <dsp:nvSpPr>
        <dsp:cNvPr id="0" name=""/>
        <dsp:cNvSpPr/>
      </dsp:nvSpPr>
      <dsp:spPr>
        <a:xfrm>
          <a:off x="2772111" y="1306875"/>
          <a:ext cx="855953" cy="763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a:t>Decide</a:t>
          </a:r>
        </a:p>
      </dsp:txBody>
      <dsp:txXfrm>
        <a:off x="2772111" y="1306875"/>
        <a:ext cx="855953" cy="76307"/>
      </dsp:txXfrm>
    </dsp:sp>
    <dsp:sp modelId="{CB3B5985-FCAB-4FBB-A043-009801C861BA}">
      <dsp:nvSpPr>
        <dsp:cNvPr id="0" name=""/>
        <dsp:cNvSpPr/>
      </dsp:nvSpPr>
      <dsp:spPr>
        <a:xfrm>
          <a:off x="1479704" y="1253989"/>
          <a:ext cx="2182136" cy="2182468"/>
        </a:xfrm>
        <a:prstGeom prst="leftCircularArrow">
          <a:avLst>
            <a:gd name="adj1" fmla="val 10980"/>
            <a:gd name="adj2" fmla="val 1142322"/>
            <a:gd name="adj3" fmla="val 6300000"/>
            <a:gd name="adj4" fmla="val 18900000"/>
            <a:gd name="adj5" fmla="val 125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98B148-4FA2-4B25-97C9-41F52BABA450}">
      <dsp:nvSpPr>
        <dsp:cNvPr id="0" name=""/>
        <dsp:cNvSpPr/>
      </dsp:nvSpPr>
      <dsp:spPr>
        <a:xfrm>
          <a:off x="1902463" y="2509877"/>
          <a:ext cx="1379105" cy="1719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a:t>Design</a:t>
          </a:r>
          <a:endParaRPr lang="en-US" sz="1100" b="1" kern="1200"/>
        </a:p>
      </dsp:txBody>
      <dsp:txXfrm>
        <a:off x="1902463" y="2509877"/>
        <a:ext cx="1379105" cy="171913"/>
      </dsp:txXfrm>
    </dsp:sp>
    <dsp:sp modelId="{DE78D6DD-B4B1-4CD1-A39D-B0C5F74AD50C}">
      <dsp:nvSpPr>
        <dsp:cNvPr id="0" name=""/>
        <dsp:cNvSpPr/>
      </dsp:nvSpPr>
      <dsp:spPr>
        <a:xfrm>
          <a:off x="2241095" y="2658041"/>
          <a:ext cx="1874793" cy="1875544"/>
        </a:xfrm>
        <a:prstGeom prst="blockArc">
          <a:avLst>
            <a:gd name="adj1" fmla="val 13500000"/>
            <a:gd name="adj2" fmla="val 10800000"/>
            <a:gd name="adj3" fmla="val 1274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958016-CE40-4D20-9AE1-CEBBAA0EC491}">
      <dsp:nvSpPr>
        <dsp:cNvPr id="0" name=""/>
        <dsp:cNvSpPr/>
      </dsp:nvSpPr>
      <dsp:spPr>
        <a:xfrm>
          <a:off x="2588098" y="3556039"/>
          <a:ext cx="1212571" cy="606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a:t>Deliver</a:t>
          </a:r>
        </a:p>
      </dsp:txBody>
      <dsp:txXfrm>
        <a:off x="2588098" y="3556039"/>
        <a:ext cx="1212571" cy="6061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EE0D2A-58ED-410C-9DE2-3B18C3C2E319}">
      <dsp:nvSpPr>
        <dsp:cNvPr id="0" name=""/>
        <dsp:cNvSpPr/>
      </dsp:nvSpPr>
      <dsp:spPr>
        <a:xfrm>
          <a:off x="198206" y="129632"/>
          <a:ext cx="3171017" cy="3171017"/>
        </a:xfrm>
        <a:prstGeom prst="circularArrow">
          <a:avLst>
            <a:gd name="adj1" fmla="val 5544"/>
            <a:gd name="adj2" fmla="val 330680"/>
            <a:gd name="adj3" fmla="val 14561396"/>
            <a:gd name="adj4" fmla="val 16924183"/>
            <a:gd name="adj5" fmla="val 5757"/>
          </a:avLst>
        </a:prstGeom>
        <a:solidFill>
          <a:srgbClr val="53565A"/>
        </a:solidFill>
        <a:ln>
          <a:solidFill>
            <a:srgbClr val="53565A"/>
          </a:solidFill>
        </a:ln>
        <a:effectLst/>
      </dsp:spPr>
      <dsp:style>
        <a:lnRef idx="0">
          <a:scrgbClr r="0" g="0" b="0"/>
        </a:lnRef>
        <a:fillRef idx="1">
          <a:scrgbClr r="0" g="0" b="0"/>
        </a:fillRef>
        <a:effectRef idx="0">
          <a:scrgbClr r="0" g="0" b="0"/>
        </a:effectRef>
        <a:fontRef idx="minor"/>
      </dsp:style>
    </dsp:sp>
    <dsp:sp modelId="{1D2B7E7F-BD64-4298-958C-F1B59D90D48C}">
      <dsp:nvSpPr>
        <dsp:cNvPr id="0" name=""/>
        <dsp:cNvSpPr/>
      </dsp:nvSpPr>
      <dsp:spPr>
        <a:xfrm>
          <a:off x="1318625" y="155391"/>
          <a:ext cx="930179" cy="465089"/>
        </a:xfrm>
        <a:prstGeom prst="roundRect">
          <a:avLst/>
        </a:prstGeom>
        <a:solidFill>
          <a:srgbClr val="86BC25"/>
        </a:solidFill>
        <a:ln w="25400" cap="flat" cmpd="sng" algn="ctr">
          <a:solidFill>
            <a:srgbClr val="86BC2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i="0" kern="1200" dirty="0">
              <a:solidFill>
                <a:sysClr val="window" lastClr="FFFFFF"/>
              </a:solidFill>
              <a:latin typeface="Open Sans" panose="020B0606030504020204" pitchFamily="34" charset="0"/>
              <a:ea typeface="+mn-ea"/>
              <a:cs typeface="Open Sans" panose="020B0606030504020204" pitchFamily="34" charset="0"/>
            </a:rPr>
            <a:t>Governance</a:t>
          </a:r>
        </a:p>
      </dsp:txBody>
      <dsp:txXfrm>
        <a:off x="1341329" y="178095"/>
        <a:ext cx="884771" cy="419681"/>
      </dsp:txXfrm>
    </dsp:sp>
    <dsp:sp modelId="{671AA6B8-ECFA-42BC-8DE8-F24B06573803}">
      <dsp:nvSpPr>
        <dsp:cNvPr id="0" name=""/>
        <dsp:cNvSpPr/>
      </dsp:nvSpPr>
      <dsp:spPr>
        <a:xfrm>
          <a:off x="2375853" y="664525"/>
          <a:ext cx="930179" cy="465089"/>
        </a:xfrm>
        <a:prstGeom prst="roundRect">
          <a:avLst/>
        </a:prstGeom>
        <a:solidFill>
          <a:srgbClr val="26890D"/>
        </a:solidFill>
        <a:ln w="25400" cap="flat" cmpd="sng" algn="ctr">
          <a:solidFill>
            <a:srgbClr val="26890D"/>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i="0" kern="1200" dirty="0">
              <a:solidFill>
                <a:sysClr val="window" lastClr="FFFFFF"/>
              </a:solidFill>
              <a:latin typeface="Open Sans" panose="020B0606030504020204" pitchFamily="34" charset="0"/>
              <a:ea typeface="+mn-ea"/>
              <a:cs typeface="Open Sans" panose="020B0606030504020204" pitchFamily="34" charset="0"/>
            </a:rPr>
            <a:t>Risk Assessment</a:t>
          </a:r>
        </a:p>
      </dsp:txBody>
      <dsp:txXfrm>
        <a:off x="2398557" y="687229"/>
        <a:ext cx="884771" cy="419681"/>
      </dsp:txXfrm>
    </dsp:sp>
    <dsp:sp modelId="{8C5DADDA-86CB-4055-9D00-185D9F188644}">
      <dsp:nvSpPr>
        <dsp:cNvPr id="0" name=""/>
        <dsp:cNvSpPr/>
      </dsp:nvSpPr>
      <dsp:spPr>
        <a:xfrm>
          <a:off x="2636967" y="1808540"/>
          <a:ext cx="930179" cy="465089"/>
        </a:xfrm>
        <a:prstGeom prst="roundRect">
          <a:avLst/>
        </a:prstGeom>
        <a:solidFill>
          <a:srgbClr val="26890D"/>
        </a:solidFill>
        <a:ln w="25400" cap="flat" cmpd="sng" algn="ctr">
          <a:solidFill>
            <a:srgbClr val="26890D"/>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i="0" kern="1200" dirty="0">
              <a:solidFill>
                <a:sysClr val="window" lastClr="FFFFFF"/>
              </a:solidFill>
              <a:latin typeface="Open Sans" panose="020B0606030504020204" pitchFamily="34" charset="0"/>
              <a:ea typeface="+mn-ea"/>
              <a:cs typeface="Open Sans" panose="020B0606030504020204" pitchFamily="34" charset="0"/>
            </a:rPr>
            <a:t>Business Impact Assessment</a:t>
          </a:r>
        </a:p>
      </dsp:txBody>
      <dsp:txXfrm>
        <a:off x="2659671" y="1831244"/>
        <a:ext cx="884771" cy="419681"/>
      </dsp:txXfrm>
    </dsp:sp>
    <dsp:sp modelId="{C59D0919-4F1C-4CFC-98DB-615EE3EA86B2}">
      <dsp:nvSpPr>
        <dsp:cNvPr id="0" name=""/>
        <dsp:cNvSpPr/>
      </dsp:nvSpPr>
      <dsp:spPr>
        <a:xfrm>
          <a:off x="1905342" y="2725969"/>
          <a:ext cx="930179" cy="465089"/>
        </a:xfrm>
        <a:prstGeom prst="roundRect">
          <a:avLst/>
        </a:prstGeom>
        <a:solidFill>
          <a:srgbClr val="26890D"/>
        </a:solidFill>
        <a:ln w="25400" cap="flat" cmpd="sng" algn="ctr">
          <a:solidFill>
            <a:srgbClr val="26890D"/>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i="0" kern="1200" dirty="0">
              <a:solidFill>
                <a:sysClr val="window" lastClr="FFFFFF"/>
              </a:solidFill>
              <a:latin typeface="Open Sans" panose="020B0606030504020204" pitchFamily="34" charset="0"/>
              <a:ea typeface="+mn-ea"/>
              <a:cs typeface="Open Sans" panose="020B0606030504020204" pitchFamily="34" charset="0"/>
            </a:rPr>
            <a:t>BCM Plan Development</a:t>
          </a:r>
        </a:p>
      </dsp:txBody>
      <dsp:txXfrm>
        <a:off x="1928046" y="2748673"/>
        <a:ext cx="884771" cy="419681"/>
      </dsp:txXfrm>
    </dsp:sp>
    <dsp:sp modelId="{02520F46-27AB-450A-81E9-8F9729384913}">
      <dsp:nvSpPr>
        <dsp:cNvPr id="0" name=""/>
        <dsp:cNvSpPr/>
      </dsp:nvSpPr>
      <dsp:spPr>
        <a:xfrm>
          <a:off x="731907" y="2725969"/>
          <a:ext cx="930179" cy="465089"/>
        </a:xfrm>
        <a:prstGeom prst="roundRect">
          <a:avLst/>
        </a:prstGeom>
        <a:solidFill>
          <a:srgbClr val="007CB0"/>
        </a:solidFill>
        <a:ln w="25400" cap="flat" cmpd="sng" algn="ctr">
          <a:solidFill>
            <a:srgbClr val="007C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i="0" kern="1200" dirty="0">
              <a:solidFill>
                <a:sysClr val="window" lastClr="FFFFFF"/>
              </a:solidFill>
              <a:latin typeface="Open Sans" panose="020B0606030504020204" pitchFamily="34" charset="0"/>
              <a:ea typeface="+mn-ea"/>
              <a:cs typeface="Open Sans" panose="020B0606030504020204" pitchFamily="34" charset="0"/>
            </a:rPr>
            <a:t>Training &amp; Awareness</a:t>
          </a:r>
        </a:p>
      </dsp:txBody>
      <dsp:txXfrm>
        <a:off x="754611" y="2748673"/>
        <a:ext cx="884771" cy="419681"/>
      </dsp:txXfrm>
    </dsp:sp>
    <dsp:sp modelId="{33FA7877-A648-48B2-97C2-B4680E4BCE82}">
      <dsp:nvSpPr>
        <dsp:cNvPr id="0" name=""/>
        <dsp:cNvSpPr/>
      </dsp:nvSpPr>
      <dsp:spPr>
        <a:xfrm>
          <a:off x="282" y="1808540"/>
          <a:ext cx="930179" cy="465089"/>
        </a:xfrm>
        <a:prstGeom prst="roundRect">
          <a:avLst/>
        </a:prstGeom>
        <a:solidFill>
          <a:srgbClr val="007CB0"/>
        </a:solidFill>
        <a:ln w="25400" cap="flat" cmpd="sng" algn="ctr">
          <a:solidFill>
            <a:srgbClr val="007C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i="0" kern="1200" dirty="0">
              <a:solidFill>
                <a:sysClr val="window" lastClr="FFFFFF"/>
              </a:solidFill>
              <a:latin typeface="Open Sans" panose="020B0606030504020204" pitchFamily="34" charset="0"/>
              <a:ea typeface="+mn-ea"/>
              <a:cs typeface="Open Sans" panose="020B0606030504020204" pitchFamily="34" charset="0"/>
            </a:rPr>
            <a:t>Exercising &amp; Testing</a:t>
          </a:r>
        </a:p>
      </dsp:txBody>
      <dsp:txXfrm>
        <a:off x="22986" y="1831244"/>
        <a:ext cx="884771" cy="419681"/>
      </dsp:txXfrm>
    </dsp:sp>
    <dsp:sp modelId="{3F528DC6-73E2-473A-AFA3-4BCE442B4C6B}">
      <dsp:nvSpPr>
        <dsp:cNvPr id="0" name=""/>
        <dsp:cNvSpPr/>
      </dsp:nvSpPr>
      <dsp:spPr>
        <a:xfrm>
          <a:off x="261396" y="664525"/>
          <a:ext cx="930179" cy="465089"/>
        </a:xfrm>
        <a:prstGeom prst="roundRect">
          <a:avLst/>
        </a:prstGeom>
        <a:solidFill>
          <a:sysClr val="windowText" lastClr="000000"/>
        </a:solidFill>
        <a:ln w="25400" cap="flat" cmpd="sng" algn="ctr">
          <a:solidFill>
            <a:sysClr val="windowText" lastClr="00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r>
            <a:rPr lang="en-US" sz="800" b="0" i="0" kern="1200" dirty="0">
              <a:solidFill>
                <a:sysClr val="window" lastClr="FFFFFF"/>
              </a:solidFill>
              <a:latin typeface="Open Sans" panose="020B0606030504020204" pitchFamily="34" charset="0"/>
              <a:ea typeface="+mn-ea"/>
              <a:cs typeface="Open Sans" panose="020B0606030504020204" pitchFamily="34" charset="0"/>
            </a:rPr>
            <a:t>Continuous Improvement</a:t>
          </a:r>
        </a:p>
      </dsp:txBody>
      <dsp:txXfrm>
        <a:off x="284100" y="687229"/>
        <a:ext cx="884771" cy="4196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035F78-7144-4313-AA28-B2D24FF0040F}">
      <dsp:nvSpPr>
        <dsp:cNvPr id="0" name=""/>
        <dsp:cNvSpPr/>
      </dsp:nvSpPr>
      <dsp:spPr>
        <a:xfrm>
          <a:off x="114556" y="209654"/>
          <a:ext cx="409084" cy="382321"/>
        </a:xfrm>
        <a:prstGeom prst="ellipse">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266700" rtl="0">
            <a:lnSpc>
              <a:spcPct val="90000"/>
            </a:lnSpc>
            <a:spcBef>
              <a:spcPct val="0"/>
            </a:spcBef>
            <a:spcAft>
              <a:spcPct val="35000"/>
            </a:spcAft>
            <a:buNone/>
          </a:pPr>
          <a:r>
            <a:rPr lang="hu-HU" sz="600" kern="1200" dirty="0"/>
            <a:t>Risk</a:t>
          </a:r>
          <a:r>
            <a:rPr lang="hu-HU" sz="600" kern="1200" baseline="0" dirty="0"/>
            <a:t> </a:t>
          </a:r>
          <a:r>
            <a:rPr lang="hu-HU" sz="600" kern="1200" baseline="0" dirty="0" err="1"/>
            <a:t>category</a:t>
          </a:r>
          <a:endParaRPr lang="en-gb" sz="600" kern="1200" dirty="0"/>
        </a:p>
      </dsp:txBody>
      <dsp:txXfrm>
        <a:off x="174465" y="265644"/>
        <a:ext cx="289266" cy="270341"/>
      </dsp:txXfrm>
    </dsp:sp>
    <dsp:sp modelId="{1E7FC1F3-90F4-4162-BDBC-625B91DDCE89}">
      <dsp:nvSpPr>
        <dsp:cNvPr id="0" name=""/>
        <dsp:cNvSpPr/>
      </dsp:nvSpPr>
      <dsp:spPr>
        <a:xfrm>
          <a:off x="-8048" y="54027"/>
          <a:ext cx="649194" cy="690056"/>
        </a:xfrm>
        <a:prstGeom prst="blockArc">
          <a:avLst>
            <a:gd name="adj1" fmla="val 17527788"/>
            <a:gd name="adj2" fmla="val 4119114"/>
            <a:gd name="adj3" fmla="val 5750"/>
          </a:avLst>
        </a:prstGeom>
        <a:solidFill>
          <a:schemeClr val="bg2">
            <a:lumMod val="75000"/>
          </a:schemeClr>
        </a:solidFill>
        <a:ln w="2540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sp>
    <dsp:sp modelId="{DE19C196-0AC2-434A-AC72-DB4C5E00AD53}">
      <dsp:nvSpPr>
        <dsp:cNvPr id="0" name=""/>
        <dsp:cNvSpPr/>
      </dsp:nvSpPr>
      <dsp:spPr>
        <a:xfrm>
          <a:off x="507115" y="160383"/>
          <a:ext cx="175915" cy="175964"/>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4A4E1C-0D0C-48D0-84D1-C44F683E0473}">
      <dsp:nvSpPr>
        <dsp:cNvPr id="0" name=""/>
        <dsp:cNvSpPr/>
      </dsp:nvSpPr>
      <dsp:spPr>
        <a:xfrm>
          <a:off x="662246" y="115028"/>
          <a:ext cx="235469" cy="1703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l" defTabSz="222250" rtl="0">
            <a:lnSpc>
              <a:spcPct val="90000"/>
            </a:lnSpc>
            <a:spcBef>
              <a:spcPct val="0"/>
            </a:spcBef>
            <a:spcAft>
              <a:spcPct val="10000"/>
            </a:spcAft>
            <a:buNone/>
          </a:pPr>
          <a:endParaRPr lang="en-gb" sz="500" kern="1200" dirty="0"/>
        </a:p>
        <a:p>
          <a:pPr marL="0" lvl="0" indent="0" algn="l" defTabSz="222250" rtl="0">
            <a:lnSpc>
              <a:spcPct val="90000"/>
            </a:lnSpc>
            <a:spcBef>
              <a:spcPct val="0"/>
            </a:spcBef>
            <a:spcAft>
              <a:spcPct val="10000"/>
            </a:spcAft>
            <a:buNone/>
          </a:pPr>
          <a:endParaRPr lang="en-gb" sz="500" kern="1200" dirty="0"/>
        </a:p>
      </dsp:txBody>
      <dsp:txXfrm>
        <a:off x="662246" y="115028"/>
        <a:ext cx="235469" cy="170306"/>
      </dsp:txXfrm>
    </dsp:sp>
    <dsp:sp modelId="{ACA4BFB4-EA24-4F44-A984-BAF1B0E1F449}">
      <dsp:nvSpPr>
        <dsp:cNvPr id="0" name=""/>
        <dsp:cNvSpPr/>
      </dsp:nvSpPr>
      <dsp:spPr>
        <a:xfrm>
          <a:off x="565940" y="336707"/>
          <a:ext cx="175915" cy="175964"/>
        </a:xfrm>
        <a:prstGeom prst="ellipse">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C306A83-BD06-4182-A8CF-0B83BC926667}">
      <dsp:nvSpPr>
        <dsp:cNvPr id="0" name=""/>
        <dsp:cNvSpPr/>
      </dsp:nvSpPr>
      <dsp:spPr>
        <a:xfrm>
          <a:off x="708737" y="190501"/>
          <a:ext cx="280434" cy="148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l" defTabSz="222250" rtl="0">
            <a:lnSpc>
              <a:spcPct val="90000"/>
            </a:lnSpc>
            <a:spcBef>
              <a:spcPct val="0"/>
            </a:spcBef>
            <a:spcAft>
              <a:spcPct val="10000"/>
            </a:spcAft>
            <a:buNone/>
          </a:pPr>
          <a:r>
            <a:rPr lang="hu-HU" sz="500" b="0" i="0" u="none" kern="1200" baseline="0" dirty="0" err="1"/>
            <a:t>High</a:t>
          </a:r>
          <a:endParaRPr lang="en-gb" sz="500" b="0" i="0" u="none" kern="1200" baseline="0" dirty="0"/>
        </a:p>
        <a:p>
          <a:pPr marL="0" lvl="0" indent="0" algn="l" defTabSz="222250" rtl="0">
            <a:lnSpc>
              <a:spcPct val="90000"/>
            </a:lnSpc>
            <a:spcBef>
              <a:spcPct val="0"/>
            </a:spcBef>
            <a:spcAft>
              <a:spcPct val="10000"/>
            </a:spcAft>
            <a:buNone/>
          </a:pPr>
          <a:endParaRPr lang="en-gb" sz="500" kern="1200" dirty="0"/>
        </a:p>
      </dsp:txBody>
      <dsp:txXfrm>
        <a:off x="708737" y="190501"/>
        <a:ext cx="280434" cy="148978"/>
      </dsp:txXfrm>
    </dsp:sp>
    <dsp:sp modelId="{ABB240C5-E763-4C74-A1A7-3930C726D4D2}">
      <dsp:nvSpPr>
        <dsp:cNvPr id="0" name=""/>
        <dsp:cNvSpPr/>
      </dsp:nvSpPr>
      <dsp:spPr>
        <a:xfrm>
          <a:off x="472988" y="515399"/>
          <a:ext cx="175915" cy="175964"/>
        </a:xfrm>
        <a:prstGeom prst="ellipse">
          <a:avLst/>
        </a:prstGeom>
        <a:solidFill>
          <a:srgbClr val="009A4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1A6209-87F2-43BC-A595-769D58813AD1}">
      <dsp:nvSpPr>
        <dsp:cNvPr id="0" name=""/>
        <dsp:cNvSpPr/>
      </dsp:nvSpPr>
      <dsp:spPr>
        <a:xfrm>
          <a:off x="662246" y="518987"/>
          <a:ext cx="235469" cy="1703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l" defTabSz="222250" rtl="0">
            <a:lnSpc>
              <a:spcPct val="90000"/>
            </a:lnSpc>
            <a:spcBef>
              <a:spcPct val="0"/>
            </a:spcBef>
            <a:spcAft>
              <a:spcPct val="10000"/>
            </a:spcAft>
            <a:buNone/>
          </a:pPr>
          <a:endParaRPr lang="en-gb" sz="500" kern="1200" dirty="0"/>
        </a:p>
        <a:p>
          <a:pPr marL="0" lvl="0" indent="0" algn="l" defTabSz="222250" rtl="0">
            <a:lnSpc>
              <a:spcPct val="90000"/>
            </a:lnSpc>
            <a:spcBef>
              <a:spcPct val="0"/>
            </a:spcBef>
            <a:spcAft>
              <a:spcPct val="10000"/>
            </a:spcAft>
            <a:buNone/>
          </a:pPr>
          <a:endParaRPr lang="en-gb" sz="500" kern="1200" dirty="0"/>
        </a:p>
      </dsp:txBody>
      <dsp:txXfrm>
        <a:off x="662246" y="518987"/>
        <a:ext cx="235469" cy="170306"/>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0461</cdr:x>
      <cdr:y>0.33681</cdr:y>
    </cdr:from>
    <cdr:to>
      <cdr:x>0.69539</cdr:x>
      <cdr:y>0.66319</cdr:y>
    </cdr:to>
    <cdr:sp macro="" textlink="">
      <cdr:nvSpPr>
        <cdr:cNvPr id="2" name="Rectangle 1"/>
        <cdr:cNvSpPr/>
      </cdr:nvSpPr>
      <cdr:spPr>
        <a:xfrm xmlns:a="http://schemas.openxmlformats.org/drawingml/2006/main">
          <a:off x="1463659" y="1067623"/>
          <a:ext cx="1877729" cy="1034562"/>
        </a:xfrm>
        <a:prstGeom xmlns:a="http://schemas.openxmlformats.org/drawingml/2006/main" prst="rect">
          <a:avLst/>
        </a:prstGeom>
        <a:ln xmlns:a="http://schemas.openxmlformats.org/drawingml/2006/main">
          <a:noFill/>
        </a:ln>
      </cdr:spPr>
      <cdr:style>
        <a:lnRef xmlns:a="http://schemas.openxmlformats.org/drawingml/2006/main" idx="2">
          <a:schemeClr val="dk1"/>
        </a:lnRef>
        <a:fillRef xmlns:a="http://schemas.openxmlformats.org/drawingml/2006/main" idx="1">
          <a:schemeClr val="lt1"/>
        </a:fillRef>
        <a:effectRef xmlns:a="http://schemas.openxmlformats.org/drawingml/2006/main" idx="0">
          <a:schemeClr val="dk1"/>
        </a:effectRef>
        <a:fontRef xmlns:a="http://schemas.openxmlformats.org/drawingml/2006/main" idx="minor">
          <a:schemeClr val="dk1"/>
        </a:fontRef>
      </cdr:style>
      <cdr:txBody>
        <a:bodyPr xmlns:a="http://schemas.openxmlformats.org/drawingml/2006/main" vertOverflow="clip" anchor="ctr"/>
        <a:lstStyle xmlns:a="http://schemas.openxmlformats.org/drawingml/2006/main"/>
        <a:p xmlns:a="http://schemas.openxmlformats.org/drawingml/2006/main">
          <a:pPr algn="ctr"/>
          <a:r>
            <a:rPr lang="hu-HU" sz="1600" b="1" dirty="0">
              <a:latin typeface="Open Sans" panose="020B0606030504020204" pitchFamily="34" charset="0"/>
              <a:ea typeface="Open Sans" panose="020B0606030504020204" pitchFamily="34" charset="0"/>
              <a:cs typeface="Open Sans" panose="020B0606030504020204" pitchFamily="34" charset="0"/>
            </a:rPr>
            <a:t>IT </a:t>
          </a:r>
          <a:r>
            <a:rPr lang="hu-HU" sz="1600" b="1" dirty="0" err="1">
              <a:latin typeface="Open Sans" panose="020B0606030504020204" pitchFamily="34" charset="0"/>
              <a:ea typeface="Open Sans" panose="020B0606030504020204" pitchFamily="34" charset="0"/>
              <a:cs typeface="Open Sans" panose="020B0606030504020204" pitchFamily="34" charset="0"/>
            </a:rPr>
            <a:t>Strategy</a:t>
          </a:r>
          <a:r>
            <a:rPr lang="hu-HU" sz="1600" b="1" dirty="0">
              <a:latin typeface="Open Sans" panose="020B0606030504020204" pitchFamily="34" charset="0"/>
              <a:ea typeface="Open Sans" panose="020B0606030504020204" pitchFamily="34" charset="0"/>
              <a:cs typeface="Open Sans" panose="020B0606030504020204" pitchFamily="34" charset="0"/>
            </a:rPr>
            <a:t> Framework</a:t>
          </a:r>
          <a:endParaRPr lang="en-US" sz="1600" b="1" dirty="0">
            <a:latin typeface="Open Sans" panose="020B0606030504020204" pitchFamily="34" charset="0"/>
            <a:ea typeface="Open Sans" panose="020B0606030504020204" pitchFamily="34" charset="0"/>
            <a:cs typeface="Open Sans" panose="020B0606030504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Open Sans" panose="020B0606030504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Open Sans" panose="020B0606030504020204" pitchFamily="34" charset="0"/>
              </a:rPr>
              <a:t>11/8/23</a:t>
            </a:fld>
            <a:endParaRPr lang="en-US" dirty="0">
              <a:latin typeface="Open Sans" panose="020B0606030504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Open Sans" panose="020B0606030504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Open Sans" panose="020B0606030504020204" pitchFamily="34" charset="0"/>
              </a:rPr>
              <a:t>‹#›</a:t>
            </a:fld>
            <a:endParaRPr lang="en-US" dirty="0">
              <a:latin typeface="Open Sans" panose="020B0606030504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30T13:57:57.837"/>
    </inkml:context>
    <inkml:brush xml:id="br0">
      <inkml:brushProperty name="width" value="0.025" units="cm"/>
      <inkml:brushProperty name="height" value="0.025" units="cm"/>
      <inkml:brushProperty name="color" value="#046A38"/>
    </inkml:brush>
  </inkml:definitions>
  <inkml:trace contextRef="#ctx0" brushRef="#br0">0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b="0" i="0">
                <a:latin typeface="Open Sans" panose="020B0606030504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b="0" i="0">
                <a:latin typeface="Open Sans" panose="020B0606030504020204" pitchFamily="34" charset="0"/>
              </a:defRPr>
            </a:lvl1pPr>
          </a:lstStyle>
          <a:p>
            <a:fld id="{0BA5BBE4-AEA3-489A-A28E-0C2FAF2506E3}" type="datetimeFigureOut">
              <a:rPr lang="en-US" smtClean="0"/>
              <a:pPr/>
              <a:t>11/8/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b="0" i="0">
                <a:latin typeface="Open Sans" panose="020B0606030504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b="0" i="0">
                <a:latin typeface="Open Sans" panose="020B0606030504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b="0" i="0" kern="1200">
        <a:solidFill>
          <a:schemeClr val="tx1"/>
        </a:solidFill>
        <a:latin typeface="Open Sans" panose="020B0606030504020204" pitchFamily="34" charset="0"/>
        <a:ea typeface="+mn-ea"/>
        <a:cs typeface="+mn-cs"/>
      </a:defRPr>
    </a:lvl1pPr>
    <a:lvl2pPr marL="609585" algn="l" defTabSz="1219170" rtl="0" eaLnBrk="1" latinLnBrk="0" hangingPunct="1">
      <a:defRPr sz="1600" b="0" i="0" kern="1200">
        <a:solidFill>
          <a:schemeClr val="tx1"/>
        </a:solidFill>
        <a:latin typeface="Open Sans" panose="020B0606030504020204" pitchFamily="34" charset="0"/>
        <a:ea typeface="+mn-ea"/>
        <a:cs typeface="+mn-cs"/>
      </a:defRPr>
    </a:lvl2pPr>
    <a:lvl3pPr marL="1219170" algn="l" defTabSz="1219170" rtl="0" eaLnBrk="1" latinLnBrk="0" hangingPunct="1">
      <a:defRPr sz="1600" b="0" i="0" kern="1200">
        <a:solidFill>
          <a:schemeClr val="tx1"/>
        </a:solidFill>
        <a:latin typeface="Open Sans" panose="020B0606030504020204" pitchFamily="34" charset="0"/>
        <a:ea typeface="+mn-ea"/>
        <a:cs typeface="+mn-cs"/>
      </a:defRPr>
    </a:lvl3pPr>
    <a:lvl4pPr marL="1828754" algn="l" defTabSz="1219170" rtl="0" eaLnBrk="1" latinLnBrk="0" hangingPunct="1">
      <a:defRPr sz="1600" b="0" i="0" kern="1200">
        <a:solidFill>
          <a:schemeClr val="tx1"/>
        </a:solidFill>
        <a:latin typeface="Open Sans" panose="020B0606030504020204" pitchFamily="34" charset="0"/>
        <a:ea typeface="+mn-ea"/>
        <a:cs typeface="+mn-cs"/>
      </a:defRPr>
    </a:lvl4pPr>
    <a:lvl5pPr marL="2438339" algn="l" defTabSz="1219170" rtl="0" eaLnBrk="1" latinLnBrk="0" hangingPunct="1">
      <a:defRPr sz="1600" b="0" i="0" kern="1200">
        <a:solidFill>
          <a:schemeClr val="tx1"/>
        </a:solidFill>
        <a:latin typeface="Open Sans" panose="020B0606030504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3" Type="http://schemas.openxmlformats.org/officeDocument/2006/relationships/hyperlink" Target="https://kx.deloitte/documents/view/19401" TargetMode="External"/><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3" Type="http://schemas.openxmlformats.org/officeDocument/2006/relationships/hyperlink" Target="https://kx.deloitte/documents/view/19401" TargetMode="External"/><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deloitte.com/global/en/about/press-room/2022-global-revenue-announcement.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338769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44918263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3</a:t>
            </a:fld>
            <a:endParaRPr lang="en-US" dirty="0"/>
          </a:p>
        </p:txBody>
      </p:sp>
    </p:spTree>
    <p:extLst>
      <p:ext uri="{BB962C8B-B14F-4D97-AF65-F5344CB8AC3E}">
        <p14:creationId xmlns:p14="http://schemas.microsoft.com/office/powerpoint/2010/main" val="151094531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5</a:t>
            </a:fld>
            <a:endParaRPr lang="en-US" dirty="0"/>
          </a:p>
        </p:txBody>
      </p:sp>
    </p:spTree>
    <p:extLst>
      <p:ext uri="{BB962C8B-B14F-4D97-AF65-F5344CB8AC3E}">
        <p14:creationId xmlns:p14="http://schemas.microsoft.com/office/powerpoint/2010/main" val="193289110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6</a:t>
            </a:fld>
            <a:endParaRPr lang="en-US" dirty="0"/>
          </a:p>
        </p:txBody>
      </p:sp>
    </p:spTree>
    <p:extLst>
      <p:ext uri="{BB962C8B-B14F-4D97-AF65-F5344CB8AC3E}">
        <p14:creationId xmlns:p14="http://schemas.microsoft.com/office/powerpoint/2010/main" val="34004311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8</a:t>
            </a:fld>
            <a:endParaRPr lang="en-US" dirty="0"/>
          </a:p>
        </p:txBody>
      </p:sp>
    </p:spTree>
    <p:extLst>
      <p:ext uri="{BB962C8B-B14F-4D97-AF65-F5344CB8AC3E}">
        <p14:creationId xmlns:p14="http://schemas.microsoft.com/office/powerpoint/2010/main" val="39598670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9</a:t>
            </a:fld>
            <a:endParaRPr lang="en-US" dirty="0"/>
          </a:p>
        </p:txBody>
      </p:sp>
    </p:spTree>
    <p:extLst>
      <p:ext uri="{BB962C8B-B14F-4D97-AF65-F5344CB8AC3E}">
        <p14:creationId xmlns:p14="http://schemas.microsoft.com/office/powerpoint/2010/main" val="6507600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0</a:t>
            </a:fld>
            <a:endParaRPr lang="en-US" dirty="0"/>
          </a:p>
        </p:txBody>
      </p:sp>
    </p:spTree>
    <p:extLst>
      <p:ext uri="{BB962C8B-B14F-4D97-AF65-F5344CB8AC3E}">
        <p14:creationId xmlns:p14="http://schemas.microsoft.com/office/powerpoint/2010/main" val="328096288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1</a:t>
            </a:fld>
            <a:endParaRPr lang="en-US" dirty="0"/>
          </a:p>
        </p:txBody>
      </p:sp>
    </p:spTree>
    <p:extLst>
      <p:ext uri="{BB962C8B-B14F-4D97-AF65-F5344CB8AC3E}">
        <p14:creationId xmlns:p14="http://schemas.microsoft.com/office/powerpoint/2010/main" val="238303300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2</a:t>
            </a:fld>
            <a:endParaRPr lang="en-US" dirty="0"/>
          </a:p>
        </p:txBody>
      </p:sp>
    </p:spTree>
    <p:extLst>
      <p:ext uri="{BB962C8B-B14F-4D97-AF65-F5344CB8AC3E}">
        <p14:creationId xmlns:p14="http://schemas.microsoft.com/office/powerpoint/2010/main" val="288307767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3</a:t>
            </a:fld>
            <a:endParaRPr lang="en-US" dirty="0"/>
          </a:p>
        </p:txBody>
      </p:sp>
    </p:spTree>
    <p:extLst>
      <p:ext uri="{BB962C8B-B14F-4D97-AF65-F5344CB8AC3E}">
        <p14:creationId xmlns:p14="http://schemas.microsoft.com/office/powerpoint/2010/main" val="351459113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4</a:t>
            </a:fld>
            <a:endParaRPr lang="en-US" dirty="0"/>
          </a:p>
        </p:txBody>
      </p:sp>
    </p:spTree>
    <p:extLst>
      <p:ext uri="{BB962C8B-B14F-4D97-AF65-F5344CB8AC3E}">
        <p14:creationId xmlns:p14="http://schemas.microsoft.com/office/powerpoint/2010/main" val="22906409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79505887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16</a:t>
            </a:fld>
            <a:endParaRPr lang="en-US" dirty="0"/>
          </a:p>
        </p:txBody>
      </p:sp>
    </p:spTree>
    <p:extLst>
      <p:ext uri="{BB962C8B-B14F-4D97-AF65-F5344CB8AC3E}">
        <p14:creationId xmlns:p14="http://schemas.microsoft.com/office/powerpoint/2010/main" val="191043414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17</a:t>
            </a:fld>
            <a:endParaRPr lang="en-US" dirty="0"/>
          </a:p>
        </p:txBody>
      </p:sp>
    </p:spTree>
    <p:extLst>
      <p:ext uri="{BB962C8B-B14F-4D97-AF65-F5344CB8AC3E}">
        <p14:creationId xmlns:p14="http://schemas.microsoft.com/office/powerpoint/2010/main" val="355208490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631695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solidFill>
                <a:srgbClr val="000000"/>
              </a:solidFill>
              <a:latin typeface="Calibri"/>
              <a:ea typeface="Calibri"/>
              <a:cs typeface="Calibri"/>
            </a:endParaRPr>
          </a:p>
        </p:txBody>
      </p:sp>
    </p:spTree>
    <p:extLst>
      <p:ext uri="{BB962C8B-B14F-4D97-AF65-F5344CB8AC3E}">
        <p14:creationId xmlns:p14="http://schemas.microsoft.com/office/powerpoint/2010/main" val="35481788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6B8B11-25C0-E64D-BA17-429ABAE4F762}" type="slidenum">
              <a:rPr lang="pl-PL" smtClean="0"/>
              <a:t>120</a:t>
            </a:fld>
            <a:endParaRPr lang="pl-PL"/>
          </a:p>
        </p:txBody>
      </p:sp>
    </p:spTree>
    <p:extLst>
      <p:ext uri="{BB962C8B-B14F-4D97-AF65-F5344CB8AC3E}">
        <p14:creationId xmlns:p14="http://schemas.microsoft.com/office/powerpoint/2010/main" val="155534198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36A94C3F-53E5-4BA4-8BFA-5A769EA19D58}" type="slidenum">
              <a:rPr lang="pl-PL" smtClean="0"/>
              <a:pPr/>
              <a:t>121</a:t>
            </a:fld>
            <a:endParaRPr lang="pl-PL" dirty="0"/>
          </a:p>
        </p:txBody>
      </p:sp>
    </p:spTree>
    <p:extLst>
      <p:ext uri="{BB962C8B-B14F-4D97-AF65-F5344CB8AC3E}">
        <p14:creationId xmlns:p14="http://schemas.microsoft.com/office/powerpoint/2010/main" val="127675871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36A94C3F-53E5-4BA4-8BFA-5A769EA19D58}" type="slidenum">
              <a:rPr lang="pl-PL" smtClean="0"/>
              <a:pPr/>
              <a:t>122</a:t>
            </a:fld>
            <a:endParaRPr lang="pl-PL" dirty="0"/>
          </a:p>
        </p:txBody>
      </p:sp>
    </p:spTree>
    <p:extLst>
      <p:ext uri="{BB962C8B-B14F-4D97-AF65-F5344CB8AC3E}">
        <p14:creationId xmlns:p14="http://schemas.microsoft.com/office/powerpoint/2010/main" val="124698497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36A94C3F-53E5-4BA4-8BFA-5A769EA19D58}" type="slidenum">
              <a:rPr lang="pl-PL" smtClean="0"/>
              <a:pPr/>
              <a:t>123</a:t>
            </a:fld>
            <a:endParaRPr lang="pl-PL" dirty="0"/>
          </a:p>
        </p:txBody>
      </p:sp>
    </p:spTree>
    <p:extLst>
      <p:ext uri="{BB962C8B-B14F-4D97-AF65-F5344CB8AC3E}">
        <p14:creationId xmlns:p14="http://schemas.microsoft.com/office/powerpoint/2010/main" val="216500689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36A94C3F-53E5-4BA4-8BFA-5A769EA19D58}" type="slidenum">
              <a:rPr lang="pl-PL" smtClean="0"/>
              <a:pPr/>
              <a:t>124</a:t>
            </a:fld>
            <a:endParaRPr lang="pl-PL" dirty="0"/>
          </a:p>
        </p:txBody>
      </p:sp>
    </p:spTree>
    <p:extLst>
      <p:ext uri="{BB962C8B-B14F-4D97-AF65-F5344CB8AC3E}">
        <p14:creationId xmlns:p14="http://schemas.microsoft.com/office/powerpoint/2010/main" val="251191240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36A94C3F-53E5-4BA4-8BFA-5A769EA19D58}" type="slidenum">
              <a:rPr lang="pl-PL" smtClean="0"/>
              <a:pPr/>
              <a:t>125</a:t>
            </a:fld>
            <a:endParaRPr lang="pl-PL" dirty="0"/>
          </a:p>
        </p:txBody>
      </p:sp>
    </p:spTree>
    <p:extLst>
      <p:ext uri="{BB962C8B-B14F-4D97-AF65-F5344CB8AC3E}">
        <p14:creationId xmlns:p14="http://schemas.microsoft.com/office/powerpoint/2010/main" val="210235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49228719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26</a:t>
            </a:fld>
            <a:endParaRPr lang="en-US" dirty="0"/>
          </a:p>
        </p:txBody>
      </p:sp>
    </p:spTree>
    <p:extLst>
      <p:ext uri="{BB962C8B-B14F-4D97-AF65-F5344CB8AC3E}">
        <p14:creationId xmlns:p14="http://schemas.microsoft.com/office/powerpoint/2010/main" val="272146080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7</a:t>
            </a:fld>
            <a:endParaRPr lang="en-US" dirty="0"/>
          </a:p>
        </p:txBody>
      </p:sp>
    </p:spTree>
    <p:extLst>
      <p:ext uri="{BB962C8B-B14F-4D97-AF65-F5344CB8AC3E}">
        <p14:creationId xmlns:p14="http://schemas.microsoft.com/office/powerpoint/2010/main" val="377192524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8</a:t>
            </a:fld>
            <a:endParaRPr lang="en-US" dirty="0"/>
          </a:p>
        </p:txBody>
      </p:sp>
    </p:spTree>
    <p:extLst>
      <p:ext uri="{BB962C8B-B14F-4D97-AF65-F5344CB8AC3E}">
        <p14:creationId xmlns:p14="http://schemas.microsoft.com/office/powerpoint/2010/main" val="186787081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9</a:t>
            </a:fld>
            <a:endParaRPr lang="en-US" dirty="0"/>
          </a:p>
        </p:txBody>
      </p:sp>
    </p:spTree>
    <p:extLst>
      <p:ext uri="{BB962C8B-B14F-4D97-AF65-F5344CB8AC3E}">
        <p14:creationId xmlns:p14="http://schemas.microsoft.com/office/powerpoint/2010/main" val="239516365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70265242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08A34052-12FB-4B01-8A2E-D87AD7371E95}" type="slidenum">
              <a:rPr kumimoji="0" lang="en-US" sz="1800" b="0" i="0" u="none" strike="noStrike" kern="0" cap="none" spc="0" normalizeH="0" baseline="0" noProof="0" smtClean="0">
                <a:ln>
                  <a:noFill/>
                </a:ln>
                <a:solidFill>
                  <a:srgbClr val="000000"/>
                </a:solidFill>
                <a:effectLst/>
                <a:uLnTx/>
                <a:uFillTx/>
                <a:latin typeface="Open Sans"/>
                <a:ea typeface="Open Sans"/>
                <a:cs typeface="Open Sans"/>
                <a:sym typeface="Open Sans"/>
              </a:rPr>
              <a:pPr marL="0" marR="0" lvl="0" indent="0" algn="l" defTabSz="914400" rtl="0" eaLnBrk="1" fontAlgn="auto" latinLnBrk="0" hangingPunct="0">
                <a:lnSpc>
                  <a:spcPct val="100000"/>
                </a:lnSpc>
                <a:spcBef>
                  <a:spcPts val="0"/>
                </a:spcBef>
                <a:spcAft>
                  <a:spcPts val="0"/>
                </a:spcAft>
                <a:buClrTx/>
                <a:buSzTx/>
                <a:buFontTx/>
                <a:buNone/>
                <a:tabLst/>
                <a:defRPr/>
              </a:pPr>
              <a:t>132</a:t>
            </a:fld>
            <a:endParaRPr kumimoji="0" lang="en-US" sz="1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Tree>
    <p:extLst>
      <p:ext uri="{BB962C8B-B14F-4D97-AF65-F5344CB8AC3E}">
        <p14:creationId xmlns:p14="http://schemas.microsoft.com/office/powerpoint/2010/main" val="205179228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6B8B11-25C0-E64D-BA17-429ABAE4F7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70871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6B8B11-25C0-E64D-BA17-429ABAE4F7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611714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35</a:t>
            </a:fld>
            <a:endParaRPr lang="en-US" dirty="0"/>
          </a:p>
        </p:txBody>
      </p:sp>
    </p:spTree>
    <p:extLst>
      <p:ext uri="{BB962C8B-B14F-4D97-AF65-F5344CB8AC3E}">
        <p14:creationId xmlns:p14="http://schemas.microsoft.com/office/powerpoint/2010/main" val="262968152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36</a:t>
            </a:fld>
            <a:endParaRPr lang="en-US" dirty="0"/>
          </a:p>
        </p:txBody>
      </p:sp>
    </p:spTree>
    <p:extLst>
      <p:ext uri="{BB962C8B-B14F-4D97-AF65-F5344CB8AC3E}">
        <p14:creationId xmlns:p14="http://schemas.microsoft.com/office/powerpoint/2010/main" val="31553980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64661826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37</a:t>
            </a:fld>
            <a:endParaRPr lang="en-US" dirty="0"/>
          </a:p>
        </p:txBody>
      </p:sp>
    </p:spTree>
    <p:extLst>
      <p:ext uri="{BB962C8B-B14F-4D97-AF65-F5344CB8AC3E}">
        <p14:creationId xmlns:p14="http://schemas.microsoft.com/office/powerpoint/2010/main" val="305932095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38</a:t>
            </a:fld>
            <a:endParaRPr lang="en-US" dirty="0"/>
          </a:p>
        </p:txBody>
      </p:sp>
    </p:spTree>
    <p:extLst>
      <p:ext uri="{BB962C8B-B14F-4D97-AF65-F5344CB8AC3E}">
        <p14:creationId xmlns:p14="http://schemas.microsoft.com/office/powerpoint/2010/main" val="193995302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39</a:t>
            </a:fld>
            <a:endParaRPr lang="en-US" dirty="0"/>
          </a:p>
        </p:txBody>
      </p:sp>
    </p:spTree>
    <p:extLst>
      <p:ext uri="{BB962C8B-B14F-4D97-AF65-F5344CB8AC3E}">
        <p14:creationId xmlns:p14="http://schemas.microsoft.com/office/powerpoint/2010/main" val="310621370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0</a:t>
            </a:fld>
            <a:endParaRPr lang="en-US" dirty="0"/>
          </a:p>
        </p:txBody>
      </p:sp>
    </p:spTree>
    <p:extLst>
      <p:ext uri="{BB962C8B-B14F-4D97-AF65-F5344CB8AC3E}">
        <p14:creationId xmlns:p14="http://schemas.microsoft.com/office/powerpoint/2010/main" val="223804505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1</a:t>
            </a:fld>
            <a:endParaRPr lang="en-US" dirty="0"/>
          </a:p>
        </p:txBody>
      </p:sp>
    </p:spTree>
    <p:extLst>
      <p:ext uri="{BB962C8B-B14F-4D97-AF65-F5344CB8AC3E}">
        <p14:creationId xmlns:p14="http://schemas.microsoft.com/office/powerpoint/2010/main" val="262033188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2</a:t>
            </a:fld>
            <a:endParaRPr lang="en-US" dirty="0"/>
          </a:p>
        </p:txBody>
      </p:sp>
    </p:spTree>
    <p:extLst>
      <p:ext uri="{BB962C8B-B14F-4D97-AF65-F5344CB8AC3E}">
        <p14:creationId xmlns:p14="http://schemas.microsoft.com/office/powerpoint/2010/main" val="214680252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3</a:t>
            </a:fld>
            <a:endParaRPr lang="en-US" dirty="0"/>
          </a:p>
        </p:txBody>
      </p:sp>
    </p:spTree>
    <p:extLst>
      <p:ext uri="{BB962C8B-B14F-4D97-AF65-F5344CB8AC3E}">
        <p14:creationId xmlns:p14="http://schemas.microsoft.com/office/powerpoint/2010/main" val="238528231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4</a:t>
            </a:fld>
            <a:endParaRPr lang="en-US" dirty="0"/>
          </a:p>
        </p:txBody>
      </p:sp>
    </p:spTree>
    <p:extLst>
      <p:ext uri="{BB962C8B-B14F-4D97-AF65-F5344CB8AC3E}">
        <p14:creationId xmlns:p14="http://schemas.microsoft.com/office/powerpoint/2010/main" val="35445520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5</a:t>
            </a:fld>
            <a:endParaRPr lang="en-US" dirty="0"/>
          </a:p>
        </p:txBody>
      </p:sp>
    </p:spTree>
    <p:extLst>
      <p:ext uri="{BB962C8B-B14F-4D97-AF65-F5344CB8AC3E}">
        <p14:creationId xmlns:p14="http://schemas.microsoft.com/office/powerpoint/2010/main" val="37507286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6</a:t>
            </a:fld>
            <a:endParaRPr lang="en-US" dirty="0"/>
          </a:p>
        </p:txBody>
      </p:sp>
    </p:spTree>
    <p:extLst>
      <p:ext uri="{BB962C8B-B14F-4D97-AF65-F5344CB8AC3E}">
        <p14:creationId xmlns:p14="http://schemas.microsoft.com/office/powerpoint/2010/main" val="1061839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50156727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7</a:t>
            </a:fld>
            <a:endParaRPr lang="en-US" dirty="0"/>
          </a:p>
        </p:txBody>
      </p:sp>
    </p:spTree>
    <p:extLst>
      <p:ext uri="{BB962C8B-B14F-4D97-AF65-F5344CB8AC3E}">
        <p14:creationId xmlns:p14="http://schemas.microsoft.com/office/powerpoint/2010/main" val="235685652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8</a:t>
            </a:fld>
            <a:endParaRPr lang="en-US" dirty="0"/>
          </a:p>
        </p:txBody>
      </p:sp>
    </p:spTree>
    <p:extLst>
      <p:ext uri="{BB962C8B-B14F-4D97-AF65-F5344CB8AC3E}">
        <p14:creationId xmlns:p14="http://schemas.microsoft.com/office/powerpoint/2010/main" val="338110573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9</a:t>
            </a:fld>
            <a:endParaRPr lang="en-US" dirty="0"/>
          </a:p>
        </p:txBody>
      </p:sp>
    </p:spTree>
    <p:extLst>
      <p:ext uri="{BB962C8B-B14F-4D97-AF65-F5344CB8AC3E}">
        <p14:creationId xmlns:p14="http://schemas.microsoft.com/office/powerpoint/2010/main" val="228385499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50</a:t>
            </a:fld>
            <a:endParaRPr lang="en-US" dirty="0"/>
          </a:p>
        </p:txBody>
      </p:sp>
    </p:spTree>
    <p:extLst>
      <p:ext uri="{BB962C8B-B14F-4D97-AF65-F5344CB8AC3E}">
        <p14:creationId xmlns:p14="http://schemas.microsoft.com/office/powerpoint/2010/main" val="36768243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51</a:t>
            </a:fld>
            <a:endParaRPr lang="en-US" dirty="0"/>
          </a:p>
        </p:txBody>
      </p:sp>
    </p:spTree>
    <p:extLst>
      <p:ext uri="{BB962C8B-B14F-4D97-AF65-F5344CB8AC3E}">
        <p14:creationId xmlns:p14="http://schemas.microsoft.com/office/powerpoint/2010/main" val="259260099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52</a:t>
            </a:fld>
            <a:endParaRPr lang="en-US" dirty="0"/>
          </a:p>
        </p:txBody>
      </p:sp>
    </p:spTree>
    <p:extLst>
      <p:ext uri="{BB962C8B-B14F-4D97-AF65-F5344CB8AC3E}">
        <p14:creationId xmlns:p14="http://schemas.microsoft.com/office/powerpoint/2010/main" val="286855576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53</a:t>
            </a:fld>
            <a:endParaRPr lang="en-US" dirty="0"/>
          </a:p>
        </p:txBody>
      </p:sp>
    </p:spTree>
    <p:extLst>
      <p:ext uri="{BB962C8B-B14F-4D97-AF65-F5344CB8AC3E}">
        <p14:creationId xmlns:p14="http://schemas.microsoft.com/office/powerpoint/2010/main" val="190715967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54</a:t>
            </a:fld>
            <a:endParaRPr lang="en-US" dirty="0"/>
          </a:p>
        </p:txBody>
      </p:sp>
    </p:spTree>
    <p:extLst>
      <p:ext uri="{BB962C8B-B14F-4D97-AF65-F5344CB8AC3E}">
        <p14:creationId xmlns:p14="http://schemas.microsoft.com/office/powerpoint/2010/main" val="197871111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55</a:t>
            </a:fld>
            <a:endParaRPr lang="en-US" dirty="0"/>
          </a:p>
        </p:txBody>
      </p:sp>
    </p:spTree>
    <p:extLst>
      <p:ext uri="{BB962C8B-B14F-4D97-AF65-F5344CB8AC3E}">
        <p14:creationId xmlns:p14="http://schemas.microsoft.com/office/powerpoint/2010/main" val="59512858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56</a:t>
            </a:fld>
            <a:endParaRPr lang="en-US" dirty="0"/>
          </a:p>
        </p:txBody>
      </p:sp>
    </p:spTree>
    <p:extLst>
      <p:ext uri="{BB962C8B-B14F-4D97-AF65-F5344CB8AC3E}">
        <p14:creationId xmlns:p14="http://schemas.microsoft.com/office/powerpoint/2010/main" val="1645854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5464108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57</a:t>
            </a:fld>
            <a:endParaRPr lang="en-US" dirty="0"/>
          </a:p>
        </p:txBody>
      </p:sp>
    </p:spTree>
    <p:extLst>
      <p:ext uri="{BB962C8B-B14F-4D97-AF65-F5344CB8AC3E}">
        <p14:creationId xmlns:p14="http://schemas.microsoft.com/office/powerpoint/2010/main" val="700253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hlinkClick r:id="rId3"/>
              </a:rPr>
              <a:t>Philippines Regional Delivery Centre – Overview​ (</a:t>
            </a:r>
            <a:r>
              <a:rPr lang="en-US" sz="1600" dirty="0" err="1">
                <a:hlinkClick r:id="rId3"/>
              </a:rPr>
              <a:t>kx.deloitte</a:t>
            </a:r>
            <a:r>
              <a:rPr lang="en-US" sz="1600" dirty="0">
                <a:hlinkClick r:id="rId3"/>
              </a:rPr>
              <a:t>)</a:t>
            </a:r>
            <a:endParaRPr lang="hu-HU" dirty="0"/>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58</a:t>
            </a:fld>
            <a:endParaRPr lang="en-US" dirty="0"/>
          </a:p>
        </p:txBody>
      </p:sp>
    </p:spTree>
    <p:extLst>
      <p:ext uri="{BB962C8B-B14F-4D97-AF65-F5344CB8AC3E}">
        <p14:creationId xmlns:p14="http://schemas.microsoft.com/office/powerpoint/2010/main" val="402241024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hlinkClick r:id="rId3"/>
              </a:rPr>
              <a:t>Philippines Regional Delivery Centre – Overview​ (</a:t>
            </a:r>
            <a:r>
              <a:rPr lang="en-US" sz="1600" dirty="0" err="1">
                <a:hlinkClick r:id="rId3"/>
              </a:rPr>
              <a:t>kx.deloitte</a:t>
            </a:r>
            <a:r>
              <a:rPr lang="en-US" sz="1600" dirty="0">
                <a:hlinkClick r:id="rId3"/>
              </a:rPr>
              <a:t>)</a:t>
            </a:r>
            <a:endParaRPr lang="hu-HU" dirty="0"/>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59</a:t>
            </a:fld>
            <a:endParaRPr lang="en-US" dirty="0"/>
          </a:p>
        </p:txBody>
      </p:sp>
    </p:spTree>
    <p:extLst>
      <p:ext uri="{BB962C8B-B14F-4D97-AF65-F5344CB8AC3E}">
        <p14:creationId xmlns:p14="http://schemas.microsoft.com/office/powerpoint/2010/main" val="406541936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60</a:t>
            </a:fld>
            <a:endParaRPr lang="en-US" dirty="0"/>
          </a:p>
        </p:txBody>
      </p:sp>
    </p:spTree>
    <p:extLst>
      <p:ext uri="{BB962C8B-B14F-4D97-AF65-F5344CB8AC3E}">
        <p14:creationId xmlns:p14="http://schemas.microsoft.com/office/powerpoint/2010/main" val="86355274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61</a:t>
            </a:fld>
            <a:endParaRPr lang="en-US" dirty="0"/>
          </a:p>
        </p:txBody>
      </p:sp>
    </p:spTree>
    <p:extLst>
      <p:ext uri="{BB962C8B-B14F-4D97-AF65-F5344CB8AC3E}">
        <p14:creationId xmlns:p14="http://schemas.microsoft.com/office/powerpoint/2010/main" val="249411091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62</a:t>
            </a:fld>
            <a:endParaRPr lang="en-US" dirty="0"/>
          </a:p>
        </p:txBody>
      </p:sp>
    </p:spTree>
    <p:extLst>
      <p:ext uri="{BB962C8B-B14F-4D97-AF65-F5344CB8AC3E}">
        <p14:creationId xmlns:p14="http://schemas.microsoft.com/office/powerpoint/2010/main" val="157899311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63</a:t>
            </a:fld>
            <a:endParaRPr lang="en-US" dirty="0"/>
          </a:p>
        </p:txBody>
      </p:sp>
    </p:spTree>
    <p:extLst>
      <p:ext uri="{BB962C8B-B14F-4D97-AF65-F5344CB8AC3E}">
        <p14:creationId xmlns:p14="http://schemas.microsoft.com/office/powerpoint/2010/main" val="356168720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64</a:t>
            </a:fld>
            <a:endParaRPr lang="en-US" dirty="0"/>
          </a:p>
        </p:txBody>
      </p:sp>
    </p:spTree>
    <p:extLst>
      <p:ext uri="{BB962C8B-B14F-4D97-AF65-F5344CB8AC3E}">
        <p14:creationId xmlns:p14="http://schemas.microsoft.com/office/powerpoint/2010/main" val="47723323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65</a:t>
            </a:fld>
            <a:endParaRPr lang="en-US" dirty="0"/>
          </a:p>
        </p:txBody>
      </p:sp>
    </p:spTree>
    <p:extLst>
      <p:ext uri="{BB962C8B-B14F-4D97-AF65-F5344CB8AC3E}">
        <p14:creationId xmlns:p14="http://schemas.microsoft.com/office/powerpoint/2010/main" val="410521412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71</a:t>
            </a:fld>
            <a:endParaRPr lang="en-US" dirty="0"/>
          </a:p>
        </p:txBody>
      </p:sp>
    </p:spTree>
    <p:extLst>
      <p:ext uri="{BB962C8B-B14F-4D97-AF65-F5344CB8AC3E}">
        <p14:creationId xmlns:p14="http://schemas.microsoft.com/office/powerpoint/2010/main" val="13649733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13790861"/>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72</a:t>
            </a:fld>
            <a:endParaRPr lang="en-US" dirty="0"/>
          </a:p>
        </p:txBody>
      </p:sp>
    </p:spTree>
    <p:extLst>
      <p:ext uri="{BB962C8B-B14F-4D97-AF65-F5344CB8AC3E}">
        <p14:creationId xmlns:p14="http://schemas.microsoft.com/office/powerpoint/2010/main" val="65724681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73</a:t>
            </a:fld>
            <a:endParaRPr lang="en-US"/>
          </a:p>
        </p:txBody>
      </p:sp>
    </p:spTree>
    <p:extLst>
      <p:ext uri="{BB962C8B-B14F-4D97-AF65-F5344CB8AC3E}">
        <p14:creationId xmlns:p14="http://schemas.microsoft.com/office/powerpoint/2010/main" val="4235031487"/>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75</a:t>
            </a:fld>
            <a:endParaRPr lang="en-US" dirty="0"/>
          </a:p>
        </p:txBody>
      </p:sp>
    </p:spTree>
    <p:extLst>
      <p:ext uri="{BB962C8B-B14F-4D97-AF65-F5344CB8AC3E}">
        <p14:creationId xmlns:p14="http://schemas.microsoft.com/office/powerpoint/2010/main" val="91778354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78</a:t>
            </a:fld>
            <a:endParaRPr lang="en-US"/>
          </a:p>
        </p:txBody>
      </p:sp>
    </p:spTree>
    <p:extLst>
      <p:ext uri="{BB962C8B-B14F-4D97-AF65-F5344CB8AC3E}">
        <p14:creationId xmlns:p14="http://schemas.microsoft.com/office/powerpoint/2010/main" val="373966234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79</a:t>
            </a:fld>
            <a:endParaRPr lang="en-US" dirty="0"/>
          </a:p>
        </p:txBody>
      </p:sp>
    </p:spTree>
    <p:extLst>
      <p:ext uri="{BB962C8B-B14F-4D97-AF65-F5344CB8AC3E}">
        <p14:creationId xmlns:p14="http://schemas.microsoft.com/office/powerpoint/2010/main" val="196023884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80</a:t>
            </a:fld>
            <a:endParaRPr lang="en-US" dirty="0"/>
          </a:p>
        </p:txBody>
      </p:sp>
    </p:spTree>
    <p:extLst>
      <p:ext uri="{BB962C8B-B14F-4D97-AF65-F5344CB8AC3E}">
        <p14:creationId xmlns:p14="http://schemas.microsoft.com/office/powerpoint/2010/main" val="2874481347"/>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81</a:t>
            </a:fld>
            <a:endParaRPr lang="en-US" dirty="0"/>
          </a:p>
        </p:txBody>
      </p:sp>
    </p:spTree>
    <p:extLst>
      <p:ext uri="{BB962C8B-B14F-4D97-AF65-F5344CB8AC3E}">
        <p14:creationId xmlns:p14="http://schemas.microsoft.com/office/powerpoint/2010/main" val="340011169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82</a:t>
            </a:fld>
            <a:endParaRPr lang="en-US" dirty="0"/>
          </a:p>
        </p:txBody>
      </p:sp>
    </p:spTree>
    <p:extLst>
      <p:ext uri="{BB962C8B-B14F-4D97-AF65-F5344CB8AC3E}">
        <p14:creationId xmlns:p14="http://schemas.microsoft.com/office/powerpoint/2010/main" val="207047070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83</a:t>
            </a:fld>
            <a:endParaRPr lang="en-US" dirty="0"/>
          </a:p>
        </p:txBody>
      </p:sp>
    </p:spTree>
    <p:extLst>
      <p:ext uri="{BB962C8B-B14F-4D97-AF65-F5344CB8AC3E}">
        <p14:creationId xmlns:p14="http://schemas.microsoft.com/office/powerpoint/2010/main" val="425851195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84</a:t>
            </a:fld>
            <a:endParaRPr lang="en-US" dirty="0"/>
          </a:p>
        </p:txBody>
      </p:sp>
    </p:spTree>
    <p:extLst>
      <p:ext uri="{BB962C8B-B14F-4D97-AF65-F5344CB8AC3E}">
        <p14:creationId xmlns:p14="http://schemas.microsoft.com/office/powerpoint/2010/main" val="2515843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4133556772"/>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6</a:t>
            </a:fld>
            <a:endParaRPr lang="en-US" dirty="0"/>
          </a:p>
        </p:txBody>
      </p:sp>
    </p:spTree>
    <p:extLst>
      <p:ext uri="{BB962C8B-B14F-4D97-AF65-F5344CB8AC3E}">
        <p14:creationId xmlns:p14="http://schemas.microsoft.com/office/powerpoint/2010/main" val="2639987405"/>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8</a:t>
            </a:fld>
            <a:endParaRPr lang="en-US" dirty="0"/>
          </a:p>
        </p:txBody>
      </p:sp>
    </p:spTree>
    <p:extLst>
      <p:ext uri="{BB962C8B-B14F-4D97-AF65-F5344CB8AC3E}">
        <p14:creationId xmlns:p14="http://schemas.microsoft.com/office/powerpoint/2010/main" val="2990642277"/>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9</a:t>
            </a:fld>
            <a:endParaRPr lang="en-US" dirty="0"/>
          </a:p>
        </p:txBody>
      </p:sp>
    </p:spTree>
    <p:extLst>
      <p:ext uri="{BB962C8B-B14F-4D97-AF65-F5344CB8AC3E}">
        <p14:creationId xmlns:p14="http://schemas.microsoft.com/office/powerpoint/2010/main" val="418709682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2</a:t>
            </a:fld>
            <a:endParaRPr lang="en-US" dirty="0"/>
          </a:p>
        </p:txBody>
      </p:sp>
    </p:spTree>
    <p:extLst>
      <p:ext uri="{BB962C8B-B14F-4D97-AF65-F5344CB8AC3E}">
        <p14:creationId xmlns:p14="http://schemas.microsoft.com/office/powerpoint/2010/main" val="1255832561"/>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3</a:t>
            </a:fld>
            <a:endParaRPr lang="en-US" dirty="0"/>
          </a:p>
        </p:txBody>
      </p:sp>
    </p:spTree>
    <p:extLst>
      <p:ext uri="{BB962C8B-B14F-4D97-AF65-F5344CB8AC3E}">
        <p14:creationId xmlns:p14="http://schemas.microsoft.com/office/powerpoint/2010/main" val="270882157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8</a:t>
            </a:fld>
            <a:endParaRPr lang="en-US" dirty="0"/>
          </a:p>
        </p:txBody>
      </p:sp>
    </p:spTree>
    <p:extLst>
      <p:ext uri="{BB962C8B-B14F-4D97-AF65-F5344CB8AC3E}">
        <p14:creationId xmlns:p14="http://schemas.microsoft.com/office/powerpoint/2010/main" val="55715301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25</a:t>
            </a:fld>
            <a:endParaRPr lang="en-US" dirty="0"/>
          </a:p>
        </p:txBody>
      </p:sp>
    </p:spTree>
    <p:extLst>
      <p:ext uri="{BB962C8B-B14F-4D97-AF65-F5344CB8AC3E}">
        <p14:creationId xmlns:p14="http://schemas.microsoft.com/office/powerpoint/2010/main" val="91831225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37</a:t>
            </a:fld>
            <a:endParaRPr lang="en-US" dirty="0"/>
          </a:p>
        </p:txBody>
      </p:sp>
    </p:spTree>
    <p:extLst>
      <p:ext uri="{BB962C8B-B14F-4D97-AF65-F5344CB8AC3E}">
        <p14:creationId xmlns:p14="http://schemas.microsoft.com/office/powerpoint/2010/main" val="302683323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38</a:t>
            </a:fld>
            <a:endParaRPr lang="en-US" dirty="0"/>
          </a:p>
        </p:txBody>
      </p:sp>
    </p:spTree>
    <p:extLst>
      <p:ext uri="{BB962C8B-B14F-4D97-AF65-F5344CB8AC3E}">
        <p14:creationId xmlns:p14="http://schemas.microsoft.com/office/powerpoint/2010/main" val="3703246915"/>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42</a:t>
            </a:fld>
            <a:endParaRPr lang="en-US" dirty="0"/>
          </a:p>
        </p:txBody>
      </p:sp>
    </p:spTree>
    <p:extLst>
      <p:ext uri="{BB962C8B-B14F-4D97-AF65-F5344CB8AC3E}">
        <p14:creationId xmlns:p14="http://schemas.microsoft.com/office/powerpoint/2010/main" val="10787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2923229673"/>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43</a:t>
            </a:fld>
            <a:endParaRPr lang="en-US" dirty="0"/>
          </a:p>
        </p:txBody>
      </p:sp>
    </p:spTree>
    <p:extLst>
      <p:ext uri="{BB962C8B-B14F-4D97-AF65-F5344CB8AC3E}">
        <p14:creationId xmlns:p14="http://schemas.microsoft.com/office/powerpoint/2010/main" val="1158829991"/>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Footer Placeholder 3"/>
          <p:cNvSpPr>
            <a:spLocks noGrp="1"/>
          </p:cNvSpPr>
          <p:nvPr>
            <p:ph type="ftr" sz="quarter" idx="4"/>
          </p:nvPr>
        </p:nvSpPr>
        <p:spPr/>
        <p:txBody>
          <a:bodyPr/>
          <a:lstStyle/>
          <a:p>
            <a:r>
              <a:rPr lang="hu-HU" dirty="0"/>
              <a:t>© 2020 Deloitte Hungary</a:t>
            </a:r>
          </a:p>
        </p:txBody>
      </p:sp>
      <p:sp>
        <p:nvSpPr>
          <p:cNvPr id="5" name="Slide Number Placeholder 4"/>
          <p:cNvSpPr>
            <a:spLocks noGrp="1"/>
          </p:cNvSpPr>
          <p:nvPr>
            <p:ph type="sldNum" sz="quarter" idx="5"/>
          </p:nvPr>
        </p:nvSpPr>
        <p:spPr/>
        <p:txBody>
          <a:bodyPr/>
          <a:lstStyle/>
          <a:p>
            <a:fld id="{C0F4A2C8-6C88-4E71-83EE-698B9D4FE22F}" type="slidenum">
              <a:rPr lang="hu-HU" smtClean="0"/>
              <a:pPr/>
              <a:t>245</a:t>
            </a:fld>
            <a:endParaRPr lang="hu-HU" dirty="0"/>
          </a:p>
        </p:txBody>
      </p:sp>
    </p:spTree>
    <p:extLst>
      <p:ext uri="{BB962C8B-B14F-4D97-AF65-F5344CB8AC3E}">
        <p14:creationId xmlns:p14="http://schemas.microsoft.com/office/powerpoint/2010/main" val="353452221"/>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6</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937212743"/>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47</a:t>
            </a:fld>
            <a:endParaRPr lang="en-US" dirty="0"/>
          </a:p>
        </p:txBody>
      </p:sp>
    </p:spTree>
    <p:extLst>
      <p:ext uri="{BB962C8B-B14F-4D97-AF65-F5344CB8AC3E}">
        <p14:creationId xmlns:p14="http://schemas.microsoft.com/office/powerpoint/2010/main" val="149914952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45223779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50</a:t>
            </a:fld>
            <a:endParaRPr lang="en-US" dirty="0"/>
          </a:p>
        </p:txBody>
      </p:sp>
    </p:spTree>
    <p:extLst>
      <p:ext uri="{BB962C8B-B14F-4D97-AF65-F5344CB8AC3E}">
        <p14:creationId xmlns:p14="http://schemas.microsoft.com/office/powerpoint/2010/main" val="294274474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51</a:t>
            </a:fld>
            <a:endParaRPr lang="en-US" dirty="0"/>
          </a:p>
        </p:txBody>
      </p:sp>
    </p:spTree>
    <p:extLst>
      <p:ext uri="{BB962C8B-B14F-4D97-AF65-F5344CB8AC3E}">
        <p14:creationId xmlns:p14="http://schemas.microsoft.com/office/powerpoint/2010/main" val="1696971362"/>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52</a:t>
            </a:fld>
            <a:endParaRPr lang="en-US" dirty="0"/>
          </a:p>
        </p:txBody>
      </p:sp>
    </p:spTree>
    <p:extLst>
      <p:ext uri="{BB962C8B-B14F-4D97-AF65-F5344CB8AC3E}">
        <p14:creationId xmlns:p14="http://schemas.microsoft.com/office/powerpoint/2010/main" val="806517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338297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679915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25385136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16113208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32530651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3016560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11935958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4051798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36485385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28643462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10745032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2120840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356009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1</a:t>
            </a:fld>
            <a:endParaRPr lang="en-US" dirty="0"/>
          </a:p>
        </p:txBody>
      </p:sp>
    </p:spTree>
    <p:extLst>
      <p:ext uri="{BB962C8B-B14F-4D97-AF65-F5344CB8AC3E}">
        <p14:creationId xmlns:p14="http://schemas.microsoft.com/office/powerpoint/2010/main" val="31251817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10252129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3</a:t>
            </a:fld>
            <a:endParaRPr lang="en-US" dirty="0"/>
          </a:p>
        </p:txBody>
      </p:sp>
    </p:spTree>
    <p:extLst>
      <p:ext uri="{BB962C8B-B14F-4D97-AF65-F5344CB8AC3E}">
        <p14:creationId xmlns:p14="http://schemas.microsoft.com/office/powerpoint/2010/main" val="1784990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11170303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21618661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6</a:t>
            </a:fld>
            <a:endParaRPr lang="en-US" dirty="0"/>
          </a:p>
        </p:txBody>
      </p:sp>
    </p:spTree>
    <p:extLst>
      <p:ext uri="{BB962C8B-B14F-4D97-AF65-F5344CB8AC3E}">
        <p14:creationId xmlns:p14="http://schemas.microsoft.com/office/powerpoint/2010/main" val="3493943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8700600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3895468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9841308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0</a:t>
            </a:fld>
            <a:endParaRPr lang="en-US" dirty="0"/>
          </a:p>
        </p:txBody>
      </p:sp>
    </p:spTree>
    <p:extLst>
      <p:ext uri="{BB962C8B-B14F-4D97-AF65-F5344CB8AC3E}">
        <p14:creationId xmlns:p14="http://schemas.microsoft.com/office/powerpoint/2010/main" val="2123398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014313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5355232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9143184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4364119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75415987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3895468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5056473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7</a:t>
            </a:fld>
            <a:endParaRPr lang="en-US" dirty="0"/>
          </a:p>
        </p:txBody>
      </p:sp>
    </p:spTree>
    <p:extLst>
      <p:ext uri="{BB962C8B-B14F-4D97-AF65-F5344CB8AC3E}">
        <p14:creationId xmlns:p14="http://schemas.microsoft.com/office/powerpoint/2010/main" val="21233986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5446375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210522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233986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Deloitte reports FY2022 revenue | Deloitte | Press releas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10398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3327302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52</a:t>
            </a:fld>
            <a:endParaRPr lang="en-US" dirty="0"/>
          </a:p>
        </p:txBody>
      </p:sp>
    </p:spTree>
    <p:extLst>
      <p:ext uri="{BB962C8B-B14F-4D97-AF65-F5344CB8AC3E}">
        <p14:creationId xmlns:p14="http://schemas.microsoft.com/office/powerpoint/2010/main" val="4288986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53</a:t>
            </a:fld>
            <a:endParaRPr lang="en-US" dirty="0"/>
          </a:p>
        </p:txBody>
      </p:sp>
    </p:spTree>
    <p:extLst>
      <p:ext uri="{BB962C8B-B14F-4D97-AF65-F5344CB8AC3E}">
        <p14:creationId xmlns:p14="http://schemas.microsoft.com/office/powerpoint/2010/main" val="345346780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54</a:t>
            </a:fld>
            <a:endParaRPr lang="en-US" dirty="0"/>
          </a:p>
        </p:txBody>
      </p:sp>
    </p:spTree>
    <p:extLst>
      <p:ext uri="{BB962C8B-B14F-4D97-AF65-F5344CB8AC3E}">
        <p14:creationId xmlns:p14="http://schemas.microsoft.com/office/powerpoint/2010/main" val="32813251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3895468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6</a:t>
            </a:fld>
            <a:endParaRPr lang="en-US" dirty="0"/>
          </a:p>
        </p:txBody>
      </p:sp>
    </p:spTree>
    <p:extLst>
      <p:ext uri="{BB962C8B-B14F-4D97-AF65-F5344CB8AC3E}">
        <p14:creationId xmlns:p14="http://schemas.microsoft.com/office/powerpoint/2010/main" val="212339864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57</a:t>
            </a:fld>
            <a:endParaRPr lang="en-US" dirty="0"/>
          </a:p>
        </p:txBody>
      </p:sp>
    </p:spTree>
    <p:extLst>
      <p:ext uri="{BB962C8B-B14F-4D97-AF65-F5344CB8AC3E}">
        <p14:creationId xmlns:p14="http://schemas.microsoft.com/office/powerpoint/2010/main" val="14194819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8</a:t>
            </a:fld>
            <a:endParaRPr lang="en-US" dirty="0"/>
          </a:p>
        </p:txBody>
      </p:sp>
    </p:spTree>
    <p:extLst>
      <p:ext uri="{BB962C8B-B14F-4D97-AF65-F5344CB8AC3E}">
        <p14:creationId xmlns:p14="http://schemas.microsoft.com/office/powerpoint/2010/main" val="13168705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4728865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60</a:t>
            </a:fld>
            <a:endParaRPr lang="en-US" dirty="0"/>
          </a:p>
        </p:txBody>
      </p:sp>
    </p:spTree>
    <p:extLst>
      <p:ext uri="{BB962C8B-B14F-4D97-AF65-F5344CB8AC3E}">
        <p14:creationId xmlns:p14="http://schemas.microsoft.com/office/powerpoint/2010/main" val="30320706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6928783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3941731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62</a:t>
            </a:fld>
            <a:endParaRPr lang="en-US" dirty="0"/>
          </a:p>
        </p:txBody>
      </p:sp>
    </p:spTree>
    <p:extLst>
      <p:ext uri="{BB962C8B-B14F-4D97-AF65-F5344CB8AC3E}">
        <p14:creationId xmlns:p14="http://schemas.microsoft.com/office/powerpoint/2010/main" val="34919432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3</a:t>
            </a:fld>
            <a:endParaRPr lang="en-US" dirty="0"/>
          </a:p>
        </p:txBody>
      </p:sp>
    </p:spTree>
    <p:extLst>
      <p:ext uri="{BB962C8B-B14F-4D97-AF65-F5344CB8AC3E}">
        <p14:creationId xmlns:p14="http://schemas.microsoft.com/office/powerpoint/2010/main" val="6717146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64</a:t>
            </a:fld>
            <a:endParaRPr lang="en-US" dirty="0"/>
          </a:p>
        </p:txBody>
      </p:sp>
    </p:spTree>
    <p:extLst>
      <p:ext uri="{BB962C8B-B14F-4D97-AF65-F5344CB8AC3E}">
        <p14:creationId xmlns:p14="http://schemas.microsoft.com/office/powerpoint/2010/main" val="25179964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65</a:t>
            </a:fld>
            <a:endParaRPr lang="en-US" dirty="0"/>
          </a:p>
        </p:txBody>
      </p:sp>
    </p:spTree>
    <p:extLst>
      <p:ext uri="{BB962C8B-B14F-4D97-AF65-F5344CB8AC3E}">
        <p14:creationId xmlns:p14="http://schemas.microsoft.com/office/powerpoint/2010/main" val="193939269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28912563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67</a:t>
            </a:fld>
            <a:endParaRPr lang="en-US" dirty="0"/>
          </a:p>
        </p:txBody>
      </p:sp>
    </p:spTree>
    <p:extLst>
      <p:ext uri="{BB962C8B-B14F-4D97-AF65-F5344CB8AC3E}">
        <p14:creationId xmlns:p14="http://schemas.microsoft.com/office/powerpoint/2010/main" val="413737064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08A34052-12FB-4B01-8A2E-D87AD7371E95}" type="slidenum">
              <a:rPr lang="en-US" smtClean="0"/>
              <a:t>68</a:t>
            </a:fld>
            <a:endParaRPr lang="en-US"/>
          </a:p>
        </p:txBody>
      </p:sp>
    </p:spTree>
    <p:extLst>
      <p:ext uri="{BB962C8B-B14F-4D97-AF65-F5344CB8AC3E}">
        <p14:creationId xmlns:p14="http://schemas.microsoft.com/office/powerpoint/2010/main" val="26054804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08A34052-12FB-4B01-8A2E-D87AD7371E95}" type="slidenum">
              <a:rPr lang="en-US" smtClean="0"/>
              <a:t>69</a:t>
            </a:fld>
            <a:endParaRPr lang="en-US"/>
          </a:p>
        </p:txBody>
      </p:sp>
    </p:spTree>
    <p:extLst>
      <p:ext uri="{BB962C8B-B14F-4D97-AF65-F5344CB8AC3E}">
        <p14:creationId xmlns:p14="http://schemas.microsoft.com/office/powerpoint/2010/main" val="36868671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70</a:t>
            </a:fld>
            <a:endParaRPr lang="en-US" dirty="0"/>
          </a:p>
        </p:txBody>
      </p:sp>
    </p:spTree>
    <p:extLst>
      <p:ext uri="{BB962C8B-B14F-4D97-AF65-F5344CB8AC3E}">
        <p14:creationId xmlns:p14="http://schemas.microsoft.com/office/powerpoint/2010/main" val="960794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3320068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47406787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28708935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dirty="0"/>
              <a:t>Solution, </a:t>
            </a:r>
            <a:r>
              <a:rPr lang="en-US" dirty="0" err="1"/>
              <a:t>ikonokkal</a:t>
            </a:r>
            <a:r>
              <a:rPr lang="en-US" dirty="0"/>
              <a:t> </a:t>
            </a:r>
            <a:r>
              <a:rPr lang="en-US" dirty="0" err="1"/>
              <a:t>identifikálható</a:t>
            </a:r>
            <a:r>
              <a:rPr lang="en-US" dirty="0"/>
              <a:t>, </a:t>
            </a:r>
            <a:r>
              <a:rPr lang="en-US" dirty="0" err="1"/>
              <a:t>jól</a:t>
            </a:r>
            <a:r>
              <a:rPr lang="en-US" dirty="0"/>
              <a:t> </a:t>
            </a:r>
            <a:r>
              <a:rPr lang="en-US" dirty="0" err="1"/>
              <a:t>elkülöníthető</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9376020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74</a:t>
            </a:fld>
            <a:endParaRPr lang="en-US" dirty="0"/>
          </a:p>
        </p:txBody>
      </p:sp>
    </p:spTree>
    <p:extLst>
      <p:ext uri="{BB962C8B-B14F-4D97-AF65-F5344CB8AC3E}">
        <p14:creationId xmlns:p14="http://schemas.microsoft.com/office/powerpoint/2010/main" val="409069598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950D41-F7E6-4D54-B291-05FEA1C71012}" type="slidenum">
              <a:rPr lang="en-US" smtClean="0"/>
              <a:t>75</a:t>
            </a:fld>
            <a:endParaRPr lang="en-US" dirty="0"/>
          </a:p>
        </p:txBody>
      </p:sp>
    </p:spTree>
    <p:extLst>
      <p:ext uri="{BB962C8B-B14F-4D97-AF65-F5344CB8AC3E}">
        <p14:creationId xmlns:p14="http://schemas.microsoft.com/office/powerpoint/2010/main" val="297561988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344549-C44E-4EBD-91D2-3AA45E312D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304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715724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0469423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3368739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80</a:t>
            </a:fld>
            <a:endParaRPr lang="en-US" dirty="0"/>
          </a:p>
        </p:txBody>
      </p:sp>
    </p:spTree>
    <p:extLst>
      <p:ext uri="{BB962C8B-B14F-4D97-AF65-F5344CB8AC3E}">
        <p14:creationId xmlns:p14="http://schemas.microsoft.com/office/powerpoint/2010/main" val="29009443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56726085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81</a:t>
            </a:fld>
            <a:endParaRPr lang="en-US" dirty="0"/>
          </a:p>
        </p:txBody>
      </p:sp>
    </p:spTree>
    <p:extLst>
      <p:ext uri="{BB962C8B-B14F-4D97-AF65-F5344CB8AC3E}">
        <p14:creationId xmlns:p14="http://schemas.microsoft.com/office/powerpoint/2010/main" val="188373215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2</a:t>
            </a:fld>
            <a:endParaRPr lang="en-US" dirty="0"/>
          </a:p>
        </p:txBody>
      </p:sp>
    </p:spTree>
    <p:extLst>
      <p:ext uri="{BB962C8B-B14F-4D97-AF65-F5344CB8AC3E}">
        <p14:creationId xmlns:p14="http://schemas.microsoft.com/office/powerpoint/2010/main" val="31076206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13275666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10016612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5</a:t>
            </a:fld>
            <a:endParaRPr lang="en-US" dirty="0"/>
          </a:p>
        </p:txBody>
      </p:sp>
    </p:spTree>
    <p:extLst>
      <p:ext uri="{BB962C8B-B14F-4D97-AF65-F5344CB8AC3E}">
        <p14:creationId xmlns:p14="http://schemas.microsoft.com/office/powerpoint/2010/main" val="35145510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53552322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https://</a:t>
            </a:r>
            <a:r>
              <a:rPr lang="en-US" dirty="0" err="1"/>
              <a:t>dfb-pokal.dfb.d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35482290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88</a:t>
            </a:fld>
            <a:endParaRPr lang="en-US" dirty="0"/>
          </a:p>
        </p:txBody>
      </p:sp>
    </p:spTree>
    <p:extLst>
      <p:ext uri="{BB962C8B-B14F-4D97-AF65-F5344CB8AC3E}">
        <p14:creationId xmlns:p14="http://schemas.microsoft.com/office/powerpoint/2010/main" val="5147967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9</a:t>
            </a:fld>
            <a:endParaRPr lang="en-US" dirty="0"/>
          </a:p>
        </p:txBody>
      </p:sp>
    </p:spTree>
    <p:extLst>
      <p:ext uri="{BB962C8B-B14F-4D97-AF65-F5344CB8AC3E}">
        <p14:creationId xmlns:p14="http://schemas.microsoft.com/office/powerpoint/2010/main" val="41650122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1</a:t>
            </a:fld>
            <a:endParaRPr lang="en-US" dirty="0"/>
          </a:p>
        </p:txBody>
      </p:sp>
    </p:spTree>
    <p:extLst>
      <p:ext uri="{BB962C8B-B14F-4D97-AF65-F5344CB8AC3E}">
        <p14:creationId xmlns:p14="http://schemas.microsoft.com/office/powerpoint/2010/main" val="4053838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74749609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2</a:t>
            </a:fld>
            <a:endParaRPr lang="en-US" dirty="0"/>
          </a:p>
        </p:txBody>
      </p:sp>
    </p:spTree>
    <p:extLst>
      <p:ext uri="{BB962C8B-B14F-4D97-AF65-F5344CB8AC3E}">
        <p14:creationId xmlns:p14="http://schemas.microsoft.com/office/powerpoint/2010/main" val="214196114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3</a:t>
            </a:fld>
            <a:endParaRPr lang="en-US" dirty="0"/>
          </a:p>
        </p:txBody>
      </p:sp>
    </p:spTree>
    <p:extLst>
      <p:ext uri="{BB962C8B-B14F-4D97-AF65-F5344CB8AC3E}">
        <p14:creationId xmlns:p14="http://schemas.microsoft.com/office/powerpoint/2010/main" val="352029824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4</a:t>
            </a:fld>
            <a:endParaRPr lang="en-US" dirty="0"/>
          </a:p>
        </p:txBody>
      </p:sp>
    </p:spTree>
    <p:extLst>
      <p:ext uri="{BB962C8B-B14F-4D97-AF65-F5344CB8AC3E}">
        <p14:creationId xmlns:p14="http://schemas.microsoft.com/office/powerpoint/2010/main" val="359395079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5</a:t>
            </a:fld>
            <a:endParaRPr lang="en-US" dirty="0"/>
          </a:p>
        </p:txBody>
      </p:sp>
    </p:spTree>
    <p:extLst>
      <p:ext uri="{BB962C8B-B14F-4D97-AF65-F5344CB8AC3E}">
        <p14:creationId xmlns:p14="http://schemas.microsoft.com/office/powerpoint/2010/main" val="86418226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6</a:t>
            </a:fld>
            <a:endParaRPr lang="en-US" dirty="0"/>
          </a:p>
        </p:txBody>
      </p:sp>
    </p:spTree>
    <p:extLst>
      <p:ext uri="{BB962C8B-B14F-4D97-AF65-F5344CB8AC3E}">
        <p14:creationId xmlns:p14="http://schemas.microsoft.com/office/powerpoint/2010/main" val="361188624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7</a:t>
            </a:fld>
            <a:endParaRPr lang="en-US" dirty="0"/>
          </a:p>
        </p:txBody>
      </p:sp>
    </p:spTree>
    <p:extLst>
      <p:ext uri="{BB962C8B-B14F-4D97-AF65-F5344CB8AC3E}">
        <p14:creationId xmlns:p14="http://schemas.microsoft.com/office/powerpoint/2010/main" val="389453971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8</a:t>
            </a:fld>
            <a:endParaRPr lang="en-US" dirty="0"/>
          </a:p>
        </p:txBody>
      </p:sp>
    </p:spTree>
    <p:extLst>
      <p:ext uri="{BB962C8B-B14F-4D97-AF65-F5344CB8AC3E}">
        <p14:creationId xmlns:p14="http://schemas.microsoft.com/office/powerpoint/2010/main" val="137635651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9</a:t>
            </a:fld>
            <a:endParaRPr lang="en-US" dirty="0"/>
          </a:p>
        </p:txBody>
      </p:sp>
    </p:spTree>
    <p:extLst>
      <p:ext uri="{BB962C8B-B14F-4D97-AF65-F5344CB8AC3E}">
        <p14:creationId xmlns:p14="http://schemas.microsoft.com/office/powerpoint/2010/main" val="94675527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0</a:t>
            </a:fld>
            <a:endParaRPr lang="en-US" dirty="0"/>
          </a:p>
        </p:txBody>
      </p:sp>
    </p:spTree>
    <p:extLst>
      <p:ext uri="{BB962C8B-B14F-4D97-AF65-F5344CB8AC3E}">
        <p14:creationId xmlns:p14="http://schemas.microsoft.com/office/powerpoint/2010/main" val="81200587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2</a:t>
            </a:fld>
            <a:endParaRPr lang="en-US" dirty="0"/>
          </a:p>
        </p:txBody>
      </p:sp>
    </p:spTree>
    <p:extLst>
      <p:ext uri="{BB962C8B-B14F-4D97-AF65-F5344CB8AC3E}">
        <p14:creationId xmlns:p14="http://schemas.microsoft.com/office/powerpoint/2010/main" val="1933007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1.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hyperlink" Target="https://global.deloitteresources.com/aboutglbl/bcom/comm/toolsres/Documents/dtt_style_guide.pdf" TargetMode="Externa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2.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6.xm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18.xml"/><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19.xml"/><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4.xml"/><Relationship Id="rId5" Type="http://schemas.openxmlformats.org/officeDocument/2006/relationships/image" Target="../media/image12.emf"/><Relationship Id="rId4" Type="http://schemas.openxmlformats.org/officeDocument/2006/relationships/oleObject" Target="../embeddings/oleObject23.bin"/></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6.xml"/><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8.xml"/><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12.emf"/><Relationship Id="rId4" Type="http://schemas.openxmlformats.org/officeDocument/2006/relationships/oleObject" Target="../embeddings/oleObject28.bin"/></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30.xml"/><Relationship Id="rId5" Type="http://schemas.openxmlformats.org/officeDocument/2006/relationships/image" Target="../media/image12.emf"/><Relationship Id="rId4" Type="http://schemas.openxmlformats.org/officeDocument/2006/relationships/oleObject" Target="../embeddings/oleObject29.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hyperlink" Target="http://www.deloitte.com/ch/about" TargetMode="External"/><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www.deloitte.com/ch/about" TargetMode="External"/><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www.deloitte.com/ch/about" TargetMode="External"/><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hyperlink" Target="https://global.deloitteresources.com/aboutglbl/bcom/comm/toolsres/Documents/dtt_style_guide.pdf" TargetMode="External"/><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0.emf"/></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2.emf"/></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2.emf"/></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1.emf"/><Relationship Id="rId4" Type="http://schemas.openxmlformats.org/officeDocument/2006/relationships/oleObject" Target="../embeddings/oleObject33.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1.emf"/><Relationship Id="rId4" Type="http://schemas.openxmlformats.org/officeDocument/2006/relationships/oleObject" Target="../embeddings/oleObject34.bin"/></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8.xml"/><Relationship Id="rId5" Type="http://schemas.openxmlformats.org/officeDocument/2006/relationships/image" Target="../media/image33.png"/><Relationship Id="rId4" Type="http://schemas.openxmlformats.org/officeDocument/2006/relationships/image" Target="../media/image32.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15.png"/><Relationship Id="rId2" Type="http://schemas.openxmlformats.org/officeDocument/2006/relationships/slideMaster" Target="../slideMasters/slideMaster5.xml"/><Relationship Id="rId1" Type="http://schemas.openxmlformats.org/officeDocument/2006/relationships/tags" Target="../tags/tag40.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31.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4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31.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17.png"/><Relationship Id="rId2" Type="http://schemas.openxmlformats.org/officeDocument/2006/relationships/slideMaster" Target="../slideMasters/slideMaster5.xml"/><Relationship Id="rId1" Type="http://schemas.openxmlformats.org/officeDocument/2006/relationships/tags" Target="../tags/tag4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31.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43.xml"/><Relationship Id="rId5" Type="http://schemas.openxmlformats.org/officeDocument/2006/relationships/image" Target="../media/image18.png"/><Relationship Id="rId4" Type="http://schemas.openxmlformats.org/officeDocument/2006/relationships/image" Target="../media/image31.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19.png"/><Relationship Id="rId2" Type="http://schemas.openxmlformats.org/officeDocument/2006/relationships/slideMaster" Target="../slideMasters/slideMaster5.xml"/><Relationship Id="rId1" Type="http://schemas.openxmlformats.org/officeDocument/2006/relationships/tags" Target="../tags/tag4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31.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5.xml"/><Relationship Id="rId6" Type="http://schemas.openxmlformats.org/officeDocument/2006/relationships/image" Target="../media/image20.png"/><Relationship Id="rId5" Type="http://schemas.openxmlformats.org/officeDocument/2006/relationships/image" Target="../media/image14.jpeg"/><Relationship Id="rId4" Type="http://schemas.openxmlformats.org/officeDocument/2006/relationships/image" Target="../media/image31.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13.jpeg"/><Relationship Id="rId4" Type="http://schemas.openxmlformats.org/officeDocument/2006/relationships/image" Target="../media/image31.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1.jpeg"/><Relationship Id="rId4" Type="http://schemas.openxmlformats.org/officeDocument/2006/relationships/image" Target="../media/image31.emf"/></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31.emf"/><Relationship Id="rId4" Type="http://schemas.openxmlformats.org/officeDocument/2006/relationships/oleObject" Target="../embeddings/oleObject45.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9.xml"/><Relationship Id="rId5" Type="http://schemas.openxmlformats.org/officeDocument/2006/relationships/image" Target="../media/image23.png"/><Relationship Id="rId4" Type="http://schemas.openxmlformats.org/officeDocument/2006/relationships/image" Target="../media/image31.emf"/></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23.png"/><Relationship Id="rId4" Type="http://schemas.openxmlformats.org/officeDocument/2006/relationships/image" Target="../media/image31.emf"/></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1.xml"/><Relationship Id="rId5" Type="http://schemas.openxmlformats.org/officeDocument/2006/relationships/image" Target="../media/image7.png"/><Relationship Id="rId4" Type="http://schemas.openxmlformats.org/officeDocument/2006/relationships/image" Target="../media/image31.emf"/></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31.emf"/></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5.xml"/><Relationship Id="rId1" Type="http://schemas.openxmlformats.org/officeDocument/2006/relationships/tags" Target="../tags/tag53.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54.xml"/><Relationship Id="rId5" Type="http://schemas.openxmlformats.org/officeDocument/2006/relationships/image" Target="../media/image12.emf"/><Relationship Id="rId4" Type="http://schemas.openxmlformats.org/officeDocument/2006/relationships/oleObject" Target="../embeddings/oleObject51.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55.xml"/><Relationship Id="rId5" Type="http://schemas.openxmlformats.org/officeDocument/2006/relationships/image" Target="../media/image12.emf"/><Relationship Id="rId4" Type="http://schemas.openxmlformats.org/officeDocument/2006/relationships/oleObject" Target="../embeddings/oleObject52.bin"/></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56.xml"/><Relationship Id="rId5" Type="http://schemas.openxmlformats.org/officeDocument/2006/relationships/image" Target="../media/image12.emf"/><Relationship Id="rId4" Type="http://schemas.openxmlformats.org/officeDocument/2006/relationships/oleObject" Target="../embeddings/oleObject53.bin"/></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57.xml"/><Relationship Id="rId5" Type="http://schemas.openxmlformats.org/officeDocument/2006/relationships/image" Target="../media/image12.emf"/><Relationship Id="rId4" Type="http://schemas.openxmlformats.org/officeDocument/2006/relationships/oleObject" Target="../embeddings/oleObject54.bin"/></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58.xml"/><Relationship Id="rId5" Type="http://schemas.openxmlformats.org/officeDocument/2006/relationships/image" Target="../media/image12.emf"/><Relationship Id="rId4" Type="http://schemas.openxmlformats.org/officeDocument/2006/relationships/oleObject" Target="../embeddings/oleObject55.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59.xml"/><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60.xml"/><Relationship Id="rId5" Type="http://schemas.openxmlformats.org/officeDocument/2006/relationships/image" Target="../media/image12.emf"/><Relationship Id="rId4" Type="http://schemas.openxmlformats.org/officeDocument/2006/relationships/oleObject" Target="../embeddings/oleObject57.bin"/></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4" Type="http://schemas.openxmlformats.org/officeDocument/2006/relationships/image" Target="../media/image31.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5" Type="http://schemas.openxmlformats.org/officeDocument/2006/relationships/image" Target="../media/image25.jpeg"/><Relationship Id="rId4" Type="http://schemas.openxmlformats.org/officeDocument/2006/relationships/image" Target="../media/image31.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5" Type="http://schemas.openxmlformats.org/officeDocument/2006/relationships/image" Target="../media/image26.jpeg"/><Relationship Id="rId4" Type="http://schemas.openxmlformats.org/officeDocument/2006/relationships/image" Target="../media/image31.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4" Type="http://schemas.openxmlformats.org/officeDocument/2006/relationships/image" Target="../media/image31.emf"/></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31.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31.emf"/></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Master" Target="../slideMasters/slideMaster5.xml"/><Relationship Id="rId1" Type="http://schemas.openxmlformats.org/officeDocument/2006/relationships/tags" Target="../tags/tag67.xml"/><Relationship Id="rId5" Type="http://schemas.openxmlformats.org/officeDocument/2006/relationships/image" Target="../media/image31.emf"/><Relationship Id="rId4" Type="http://schemas.openxmlformats.org/officeDocument/2006/relationships/oleObject" Target="../embeddings/oleObject64.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1.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31.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31.emf"/></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5.xml"/><Relationship Id="rId1" Type="http://schemas.openxmlformats.org/officeDocument/2006/relationships/tags" Target="../tags/tag71.xml"/><Relationship Id="rId5" Type="http://schemas.openxmlformats.org/officeDocument/2006/relationships/image" Target="../media/image31.emf"/><Relationship Id="rId4" Type="http://schemas.openxmlformats.org/officeDocument/2006/relationships/oleObject" Target="../embeddings/oleObject68.bin"/></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tags" Target="../tags/tag72.xml"/><Relationship Id="rId5" Type="http://schemas.openxmlformats.org/officeDocument/2006/relationships/image" Target="../media/image34.jpeg"/><Relationship Id="rId4" Type="http://schemas.openxmlformats.org/officeDocument/2006/relationships/image" Target="../media/image31.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5.xml"/><Relationship Id="rId1" Type="http://schemas.openxmlformats.org/officeDocument/2006/relationships/tags" Target="../tags/tag73.xml"/><Relationship Id="rId5" Type="http://schemas.openxmlformats.org/officeDocument/2006/relationships/image" Target="../media/image35.jpeg"/><Relationship Id="rId4" Type="http://schemas.openxmlformats.org/officeDocument/2006/relationships/image" Target="../media/image31.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tags" Target="../tags/tag74.xml"/><Relationship Id="rId6" Type="http://schemas.openxmlformats.org/officeDocument/2006/relationships/hyperlink" Target="http://www.deloitte.com/ch/about" TargetMode="External"/><Relationship Id="rId5" Type="http://schemas.openxmlformats.org/officeDocument/2006/relationships/image" Target="../media/image13.jpeg"/><Relationship Id="rId4" Type="http://schemas.openxmlformats.org/officeDocument/2006/relationships/image" Target="../media/image31.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75.xml"/><Relationship Id="rId6" Type="http://schemas.openxmlformats.org/officeDocument/2006/relationships/image" Target="../media/image23.png"/><Relationship Id="rId5" Type="http://schemas.openxmlformats.org/officeDocument/2006/relationships/hyperlink" Target="http://www.deloitte.com/ch/about" TargetMode="External"/><Relationship Id="rId4" Type="http://schemas.openxmlformats.org/officeDocument/2006/relationships/image" Target="../media/image31.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76.xml"/><Relationship Id="rId6" Type="http://schemas.openxmlformats.org/officeDocument/2006/relationships/image" Target="../media/image23.png"/><Relationship Id="rId5" Type="http://schemas.openxmlformats.org/officeDocument/2006/relationships/hyperlink" Target="http://www.deloitte.com/ch/about" TargetMode="External"/><Relationship Id="rId4" Type="http://schemas.openxmlformats.org/officeDocument/2006/relationships/image" Target="../media/image31.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5.xml"/><Relationship Id="rId1" Type="http://schemas.openxmlformats.org/officeDocument/2006/relationships/tags" Target="../tags/tag77.xml"/><Relationship Id="rId4" Type="http://schemas.openxmlformats.org/officeDocument/2006/relationships/image" Target="../media/image3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31.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10.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5.xml"/><Relationship Id="rId1" Type="http://schemas.openxmlformats.org/officeDocument/2006/relationships/tags" Target="../tags/tag80.xml"/><Relationship Id="rId4" Type="http://schemas.openxmlformats.org/officeDocument/2006/relationships/image" Target="../media/image31.emf"/></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5.xml"/><Relationship Id="rId1" Type="http://schemas.openxmlformats.org/officeDocument/2006/relationships/tags" Target="../tags/tag81.xml"/><Relationship Id="rId4" Type="http://schemas.openxmlformats.org/officeDocument/2006/relationships/image" Target="../media/image31.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5.xml"/><Relationship Id="rId1" Type="http://schemas.openxmlformats.org/officeDocument/2006/relationships/tags" Target="../tags/tag82.xml"/><Relationship Id="rId4" Type="http://schemas.openxmlformats.org/officeDocument/2006/relationships/image" Target="../media/image31.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5.xml"/><Relationship Id="rId1" Type="http://schemas.openxmlformats.org/officeDocument/2006/relationships/tags" Target="../tags/tag83.xml"/><Relationship Id="rId4" Type="http://schemas.openxmlformats.org/officeDocument/2006/relationships/image" Target="../media/image2.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5.xml"/><Relationship Id="rId1" Type="http://schemas.openxmlformats.org/officeDocument/2006/relationships/tags" Target="../tags/tag84.xml"/><Relationship Id="rId4" Type="http://schemas.openxmlformats.org/officeDocument/2006/relationships/image" Target="../media/image31.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5.xml"/><Relationship Id="rId1" Type="http://schemas.openxmlformats.org/officeDocument/2006/relationships/tags" Target="../tags/tag85.xml"/><Relationship Id="rId4" Type="http://schemas.openxmlformats.org/officeDocument/2006/relationships/image" Target="../media/image31.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5.xml"/><Relationship Id="rId1" Type="http://schemas.openxmlformats.org/officeDocument/2006/relationships/tags" Target="../tags/tag86.xml"/><Relationship Id="rId4" Type="http://schemas.openxmlformats.org/officeDocument/2006/relationships/image" Target="../media/image3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5.xml"/><Relationship Id="rId1" Type="http://schemas.openxmlformats.org/officeDocument/2006/relationships/tags" Target="../tags/tag87.xml"/><Relationship Id="rId4" Type="http://schemas.openxmlformats.org/officeDocument/2006/relationships/image" Target="../media/image31.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5.xml"/><Relationship Id="rId1" Type="http://schemas.openxmlformats.org/officeDocument/2006/relationships/tags" Target="../tags/tag88.xml"/><Relationship Id="rId4" Type="http://schemas.openxmlformats.org/officeDocument/2006/relationships/image" Target="../media/image31.emf"/></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5.xml"/><Relationship Id="rId1" Type="http://schemas.openxmlformats.org/officeDocument/2006/relationships/tags" Target="../tags/tag89.xml"/><Relationship Id="rId4" Type="http://schemas.openxmlformats.org/officeDocument/2006/relationships/image" Target="../media/image31.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5.xml"/><Relationship Id="rId1" Type="http://schemas.openxmlformats.org/officeDocument/2006/relationships/tags" Target="../tags/tag90.xml"/><Relationship Id="rId4" Type="http://schemas.openxmlformats.org/officeDocument/2006/relationships/image" Target="../media/image31.emf"/></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5.xml"/><Relationship Id="rId1" Type="http://schemas.openxmlformats.org/officeDocument/2006/relationships/tags" Target="../tags/tag91.xml"/><Relationship Id="rId4" Type="http://schemas.openxmlformats.org/officeDocument/2006/relationships/image" Target="../media/image31.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5.xml"/><Relationship Id="rId1" Type="http://schemas.openxmlformats.org/officeDocument/2006/relationships/tags" Target="../tags/tag92.xml"/><Relationship Id="rId4" Type="http://schemas.openxmlformats.org/officeDocument/2006/relationships/image" Target="../media/image31.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5.xml"/><Relationship Id="rId1" Type="http://schemas.openxmlformats.org/officeDocument/2006/relationships/tags" Target="../tags/tag93.xml"/><Relationship Id="rId4" Type="http://schemas.openxmlformats.org/officeDocument/2006/relationships/image" Target="../media/image31.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5.xml"/><Relationship Id="rId1" Type="http://schemas.openxmlformats.org/officeDocument/2006/relationships/tags" Target="../tags/tag94.xml"/><Relationship Id="rId5" Type="http://schemas.openxmlformats.org/officeDocument/2006/relationships/image" Target="../media/image3.png"/><Relationship Id="rId4" Type="http://schemas.openxmlformats.org/officeDocument/2006/relationships/image" Target="../media/image31.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5.xml"/><Relationship Id="rId1" Type="http://schemas.openxmlformats.org/officeDocument/2006/relationships/tags" Target="../tags/tag95.xml"/><Relationship Id="rId4" Type="http://schemas.openxmlformats.org/officeDocument/2006/relationships/image" Target="../media/image3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5.xml"/><Relationship Id="rId1" Type="http://schemas.openxmlformats.org/officeDocument/2006/relationships/tags" Target="../tags/tag96.xml"/><Relationship Id="rId4" Type="http://schemas.openxmlformats.org/officeDocument/2006/relationships/image" Target="../media/image31.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5.xml"/><Relationship Id="rId1" Type="http://schemas.openxmlformats.org/officeDocument/2006/relationships/tags" Target="../tags/tag97.xml"/><Relationship Id="rId4" Type="http://schemas.openxmlformats.org/officeDocument/2006/relationships/image" Target="../media/image31.emf"/></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5.xml"/><Relationship Id="rId1" Type="http://schemas.openxmlformats.org/officeDocument/2006/relationships/tags" Target="../tags/tag98.xml"/><Relationship Id="rId4" Type="http://schemas.openxmlformats.org/officeDocument/2006/relationships/image" Target="../media/image31.emf"/></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5.xml"/><Relationship Id="rId1" Type="http://schemas.openxmlformats.org/officeDocument/2006/relationships/tags" Target="../tags/tag99.xml"/><Relationship Id="rId5" Type="http://schemas.openxmlformats.org/officeDocument/2006/relationships/image" Target="../media/image4.jpeg"/><Relationship Id="rId4" Type="http://schemas.openxmlformats.org/officeDocument/2006/relationships/image" Target="../media/image31.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5.xml"/><Relationship Id="rId1" Type="http://schemas.openxmlformats.org/officeDocument/2006/relationships/tags" Target="../tags/tag100.xml"/><Relationship Id="rId5" Type="http://schemas.openxmlformats.org/officeDocument/2006/relationships/image" Target="../media/image5.jpeg"/><Relationship Id="rId4" Type="http://schemas.openxmlformats.org/officeDocument/2006/relationships/image" Target="../media/image31.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5.xml"/><Relationship Id="rId1" Type="http://schemas.openxmlformats.org/officeDocument/2006/relationships/tags" Target="../tags/tag101.xml"/><Relationship Id="rId4" Type="http://schemas.openxmlformats.org/officeDocument/2006/relationships/image" Target="../media/image31.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5.xml"/><Relationship Id="rId1" Type="http://schemas.openxmlformats.org/officeDocument/2006/relationships/tags" Target="../tags/tag102.xml"/><Relationship Id="rId4" Type="http://schemas.openxmlformats.org/officeDocument/2006/relationships/image" Target="../media/image31.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5.xml"/><Relationship Id="rId1" Type="http://schemas.openxmlformats.org/officeDocument/2006/relationships/tags" Target="../tags/tag103.xml"/><Relationship Id="rId4" Type="http://schemas.openxmlformats.org/officeDocument/2006/relationships/image" Target="../media/image31.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5.xml"/><Relationship Id="rId1" Type="http://schemas.openxmlformats.org/officeDocument/2006/relationships/tags" Target="../tags/tag104.xml"/><Relationship Id="rId4" Type="http://schemas.openxmlformats.org/officeDocument/2006/relationships/image" Target="../media/image31.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5.xml"/><Relationship Id="rId1" Type="http://schemas.openxmlformats.org/officeDocument/2006/relationships/tags" Target="../tags/tag105.xml"/><Relationship Id="rId5" Type="http://schemas.openxmlformats.org/officeDocument/2006/relationships/image" Target="../media/image3.png"/><Relationship Id="rId4" Type="http://schemas.openxmlformats.org/officeDocument/2006/relationships/image" Target="../media/image3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31.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5.xml"/><Relationship Id="rId1" Type="http://schemas.openxmlformats.org/officeDocument/2006/relationships/tags" Target="../tags/tag107.xml"/><Relationship Id="rId4" Type="http://schemas.openxmlformats.org/officeDocument/2006/relationships/image" Target="../media/image2.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31.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31.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31.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5.xml"/><Relationship Id="rId1" Type="http://schemas.openxmlformats.org/officeDocument/2006/relationships/tags" Target="../tags/tag111.xml"/><Relationship Id="rId5" Type="http://schemas.openxmlformats.org/officeDocument/2006/relationships/image" Target="../media/image23.png"/><Relationship Id="rId4" Type="http://schemas.openxmlformats.org/officeDocument/2006/relationships/image" Target="../media/image31.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5.xml"/><Relationship Id="rId1" Type="http://schemas.openxmlformats.org/officeDocument/2006/relationships/tags" Target="../tags/tag112.xml"/><Relationship Id="rId4" Type="http://schemas.openxmlformats.org/officeDocument/2006/relationships/image" Target="../media/image31.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5.xml"/><Relationship Id="rId1" Type="http://schemas.openxmlformats.org/officeDocument/2006/relationships/tags" Target="../tags/tag113.xml"/><Relationship Id="rId5" Type="http://schemas.openxmlformats.org/officeDocument/2006/relationships/image" Target="../media/image36.jpeg"/><Relationship Id="rId4" Type="http://schemas.openxmlformats.org/officeDocument/2006/relationships/image" Target="../media/image31.emf"/></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0.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0.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No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Tree>
    <p:extLst>
      <p:ext uri="{BB962C8B-B14F-4D97-AF65-F5344CB8AC3E}">
        <p14:creationId xmlns:p14="http://schemas.microsoft.com/office/powerpoint/2010/main" val="298633334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 No Content - Color Background">
    <p:bg>
      <p:bgPr>
        <a:solidFill>
          <a:schemeClr val="accent3"/>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1283274306"/>
      </p:ext>
    </p:extLst>
  </p:cSld>
  <p:clrMapOvr>
    <a:masterClrMapping/>
  </p:clrMapOvr>
  <p:transition/>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66701" indent="-266701">
              <a:buFont typeface="Arial" pitchFamily="34" charset="0"/>
              <a:buChar char="•"/>
              <a:tabLst/>
              <a:defRPr/>
            </a:lvl2pPr>
            <a:lvl3pPr marL="266701" indent="-266701">
              <a:buFont typeface="Arial" pitchFamily="34" charset="0"/>
              <a:buChar char="•"/>
              <a:defRPr i="1"/>
            </a:lvl3pPr>
            <a:lvl4pPr marL="539753" indent="-273052">
              <a:buFont typeface="Arial" pitchFamily="34" charset="0"/>
              <a:buChar char="−"/>
              <a:defRPr i="0"/>
            </a:lvl4pPr>
            <a:lvl5pPr marL="806455" indent="-26670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493483" y="295683"/>
            <a:ext cx="11184000"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17" name="Text Placeholder 8"/>
          <p:cNvSpPr>
            <a:spLocks noGrp="1"/>
          </p:cNvSpPr>
          <p:nvPr>
            <p:ph type="body" sz="quarter" idx="13"/>
          </p:nvPr>
        </p:nvSpPr>
        <p:spPr>
          <a:xfrm>
            <a:off x="493483" y="765175"/>
            <a:ext cx="11184000" cy="969282"/>
          </a:xfrm>
        </p:spPr>
        <p:txBody>
          <a:bodyPr>
            <a:normAutofit/>
          </a:bodyPr>
          <a:lstStyle>
            <a:lvl1pPr marL="0" indent="0">
              <a:buNone/>
              <a:defRPr sz="3000" b="0">
                <a:solidFill>
                  <a:schemeClr val="accent5"/>
                </a:solidFill>
              </a:defRPr>
            </a:lvl1pPr>
          </a:lstStyle>
          <a:p>
            <a:pPr lvl="0"/>
            <a:r>
              <a:rPr lang="en-US"/>
              <a:t>Click to edit Master text styles</a:t>
            </a:r>
          </a:p>
        </p:txBody>
      </p:sp>
      <p:sp>
        <p:nvSpPr>
          <p:cNvPr id="19" name="Slide Number Placeholder 7"/>
          <p:cNvSpPr>
            <a:spLocks noGrp="1"/>
          </p:cNvSpPr>
          <p:nvPr>
            <p:ph type="sldNum" sz="quarter" idx="4"/>
          </p:nvPr>
        </p:nvSpPr>
        <p:spPr>
          <a:xfrm>
            <a:off x="10629329" y="6407836"/>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a:t>© 2019 Deloitte Hungary</a:t>
            </a:r>
            <a:endParaRPr lang="en-GB" dirty="0"/>
          </a:p>
        </p:txBody>
      </p:sp>
    </p:spTree>
    <p:extLst>
      <p:ext uri="{BB962C8B-B14F-4D97-AF65-F5344CB8AC3E}">
        <p14:creationId xmlns:p14="http://schemas.microsoft.com/office/powerpoint/2010/main" val="186644467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Generic tab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122468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418630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able of Contents 1">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1079500"/>
            <a:ext cx="5105400" cy="668019"/>
          </a:xfrm>
          <a:prstGeom prst="rect">
            <a:avLst/>
          </a:prstGeom>
        </p:spPr>
        <p:txBody>
          <a:bodyPr vert="horz" lIns="0" tIns="0" rIns="0" bIns="0" rtlCol="0" anchor="t" anchorCtr="0">
            <a:noAutofit/>
          </a:bodyPr>
          <a:lstStyle/>
          <a:p>
            <a:r>
              <a:rPr lang="en-GB" noProof="0"/>
              <a:t>Contents</a:t>
            </a:r>
          </a:p>
        </p:txBody>
      </p:sp>
      <p:sp>
        <p:nvSpPr>
          <p:cNvPr id="4" name="Text Placeholder 7">
            <a:extLst>
              <a:ext uri="{FF2B5EF4-FFF2-40B4-BE49-F238E27FC236}">
                <a16:creationId xmlns:a16="http://schemas.microsoft.com/office/drawing/2014/main" id="{E002F6C0-0313-3545-BE44-80FAF25F38DC}"/>
              </a:ext>
            </a:extLst>
          </p:cNvPr>
          <p:cNvSpPr>
            <a:spLocks noGrp="1"/>
          </p:cNvSpPr>
          <p:nvPr>
            <p:ph type="body" sz="quarter" idx="12" hasCustomPrompt="1"/>
          </p:nvPr>
        </p:nvSpPr>
        <p:spPr>
          <a:xfrm>
            <a:off x="1981200" y="2048450"/>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5" name="Text Placeholder 14">
            <a:extLst>
              <a:ext uri="{FF2B5EF4-FFF2-40B4-BE49-F238E27FC236}">
                <a16:creationId xmlns:a16="http://schemas.microsoft.com/office/drawing/2014/main" id="{F1D3C238-B7D8-7945-AB3F-54DE1CD47275}"/>
              </a:ext>
            </a:extLst>
          </p:cNvPr>
          <p:cNvSpPr>
            <a:spLocks noGrp="1"/>
          </p:cNvSpPr>
          <p:nvPr>
            <p:ph type="body" sz="quarter" idx="18" hasCustomPrompt="1"/>
          </p:nvPr>
        </p:nvSpPr>
        <p:spPr>
          <a:xfrm>
            <a:off x="914400" y="1949133"/>
            <a:ext cx="638175" cy="4133850"/>
          </a:xfrm>
          <a:prstGeom prst="rect">
            <a:avLst/>
          </a:prstGeom>
        </p:spPr>
        <p:txBody>
          <a:bodyPr>
            <a:noAutofit/>
          </a:bodyPr>
          <a:lstStyle>
            <a:lvl1pPr marL="0" marR="0" indent="0" algn="l" defTabSz="914400" rtl="0" eaLnBrk="1" fontAlgn="auto" latinLnBrk="0" hangingPunct="1">
              <a:lnSpc>
                <a:spcPts val="2800"/>
              </a:lnSpc>
              <a:spcBef>
                <a:spcPts val="0"/>
              </a:spcBef>
              <a:spcAft>
                <a:spcPts val="0"/>
              </a:spcAft>
              <a:buClrTx/>
              <a:buSzTx/>
              <a:buFontTx/>
              <a:buNone/>
              <a:tabLst/>
              <a:defRPr sz="1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1</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2</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3</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4</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5</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6</a:t>
            </a:r>
          </a:p>
        </p:txBody>
      </p:sp>
      <p:sp>
        <p:nvSpPr>
          <p:cNvPr id="6" name="Text Placeholder 7">
            <a:extLst>
              <a:ext uri="{FF2B5EF4-FFF2-40B4-BE49-F238E27FC236}">
                <a16:creationId xmlns:a16="http://schemas.microsoft.com/office/drawing/2014/main" id="{E926F71C-7D89-EB45-ABD2-3AAC7C9DE771}"/>
              </a:ext>
            </a:extLst>
          </p:cNvPr>
          <p:cNvSpPr>
            <a:spLocks noGrp="1"/>
          </p:cNvSpPr>
          <p:nvPr>
            <p:ph type="body" sz="quarter" idx="19" hasCustomPrompt="1"/>
          </p:nvPr>
        </p:nvSpPr>
        <p:spPr>
          <a:xfrm>
            <a:off x="1981200" y="2756118"/>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7" name="Text Placeholder 7">
            <a:extLst>
              <a:ext uri="{FF2B5EF4-FFF2-40B4-BE49-F238E27FC236}">
                <a16:creationId xmlns:a16="http://schemas.microsoft.com/office/drawing/2014/main" id="{5B153DFF-995B-F640-90A0-4823A06F73C4}"/>
              </a:ext>
            </a:extLst>
          </p:cNvPr>
          <p:cNvSpPr>
            <a:spLocks noGrp="1"/>
          </p:cNvSpPr>
          <p:nvPr>
            <p:ph type="body" sz="quarter" idx="20" hasCustomPrompt="1"/>
          </p:nvPr>
        </p:nvSpPr>
        <p:spPr>
          <a:xfrm>
            <a:off x="1981200" y="3463786"/>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8" name="Text Placeholder 7">
            <a:extLst>
              <a:ext uri="{FF2B5EF4-FFF2-40B4-BE49-F238E27FC236}">
                <a16:creationId xmlns:a16="http://schemas.microsoft.com/office/drawing/2014/main" id="{5DE1E11D-E87A-CD48-AE55-66EF18D7680A}"/>
              </a:ext>
            </a:extLst>
          </p:cNvPr>
          <p:cNvSpPr>
            <a:spLocks noGrp="1"/>
          </p:cNvSpPr>
          <p:nvPr>
            <p:ph type="body" sz="quarter" idx="21" hasCustomPrompt="1"/>
          </p:nvPr>
        </p:nvSpPr>
        <p:spPr>
          <a:xfrm>
            <a:off x="1981200" y="4171454"/>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9" name="Text Placeholder 7">
            <a:extLst>
              <a:ext uri="{FF2B5EF4-FFF2-40B4-BE49-F238E27FC236}">
                <a16:creationId xmlns:a16="http://schemas.microsoft.com/office/drawing/2014/main" id="{B43D337D-B313-1E4B-9B5D-D8A397A302D2}"/>
              </a:ext>
            </a:extLst>
          </p:cNvPr>
          <p:cNvSpPr>
            <a:spLocks noGrp="1"/>
          </p:cNvSpPr>
          <p:nvPr>
            <p:ph type="body" sz="quarter" idx="22" hasCustomPrompt="1"/>
          </p:nvPr>
        </p:nvSpPr>
        <p:spPr>
          <a:xfrm>
            <a:off x="1981200" y="4879122"/>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10" name="Text Placeholder 7">
            <a:extLst>
              <a:ext uri="{FF2B5EF4-FFF2-40B4-BE49-F238E27FC236}">
                <a16:creationId xmlns:a16="http://schemas.microsoft.com/office/drawing/2014/main" id="{698161D2-1E08-1E46-961C-CF4CCC6EBD85}"/>
              </a:ext>
            </a:extLst>
          </p:cNvPr>
          <p:cNvSpPr>
            <a:spLocks noGrp="1"/>
          </p:cNvSpPr>
          <p:nvPr>
            <p:ph type="body" sz="quarter" idx="23" hasCustomPrompt="1"/>
          </p:nvPr>
        </p:nvSpPr>
        <p:spPr>
          <a:xfrm>
            <a:off x="1981200" y="5586790"/>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13" name="Text Placeholder 2">
            <a:extLst>
              <a:ext uri="{FF2B5EF4-FFF2-40B4-BE49-F238E27FC236}">
                <a16:creationId xmlns:a16="http://schemas.microsoft.com/office/drawing/2014/main" id="{1713838A-99EE-8447-9EEF-5CF06DC6256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7" name="Text Placeholder 2">
            <a:extLst>
              <a:ext uri="{FF2B5EF4-FFF2-40B4-BE49-F238E27FC236}">
                <a16:creationId xmlns:a16="http://schemas.microsoft.com/office/drawing/2014/main" id="{B3930189-D57E-0649-A0B6-AD60A2B77AAD}"/>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21980367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110632659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Subhead: 3 Column">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F932B7AC-E03D-4641-A658-EFC46DA5B953}"/>
              </a:ext>
            </a:extLst>
          </p:cNvPr>
          <p:cNvSpPr>
            <a:spLocks noGrp="1"/>
          </p:cNvSpPr>
          <p:nvPr>
            <p:ph type="body" sz="quarter" idx="14" hasCustomPrompt="1"/>
          </p:nvPr>
        </p:nvSpPr>
        <p:spPr>
          <a:xfrm>
            <a:off x="914400" y="2771775"/>
            <a:ext cx="2628900" cy="3186113"/>
          </a:xfrm>
          <a:prstGeom prst="rect">
            <a:avLst/>
          </a:prstGeom>
        </p:spPr>
        <p:txBody>
          <a:bodyPr>
            <a:noAutofit/>
          </a:bodyPr>
          <a:lstStyle>
            <a:lvl1pPr marL="0" marR="0" indent="0" algn="l" defTabSz="914400" rtl="0" eaLnBrk="1" fontAlgn="auto" latinLnBrk="0" hangingPunct="1">
              <a:lnSpc>
                <a:spcPct val="150000"/>
              </a:lnSpc>
              <a:spcBef>
                <a:spcPts val="0"/>
              </a:spcBef>
              <a:spcAft>
                <a:spcPts val="400"/>
              </a:spcAft>
              <a:buClrTx/>
              <a:buSzTx/>
              <a:buFontTx/>
              <a:buNone/>
              <a:tabLst/>
              <a:defRPr sz="1000"/>
            </a:lvl1pPr>
          </a:lstStyle>
          <a:p>
            <a:pPr marL="0" marR="0" lvl="0" indent="0" algn="l" defTabSz="914400" rtl="0" eaLnBrk="1" fontAlgn="auto" latinLnBrk="0" hangingPunct="1">
              <a:lnSpc>
                <a:spcPct val="130000"/>
              </a:lnSpc>
              <a:spcBef>
                <a:spcPts val="0"/>
              </a:spcBef>
              <a:spcAft>
                <a:spcPts val="400"/>
              </a:spcAft>
              <a:buClrTx/>
              <a:buSzTx/>
              <a:buFontTx/>
              <a:buNone/>
              <a:tabLst/>
              <a:defRPr/>
            </a:pP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GB" sz="105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b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5" name="Text Placeholder 10">
            <a:extLst>
              <a:ext uri="{FF2B5EF4-FFF2-40B4-BE49-F238E27FC236}">
                <a16:creationId xmlns:a16="http://schemas.microsoft.com/office/drawing/2014/main" id="{35766036-CC94-7A43-8277-EE32236244B9}"/>
              </a:ext>
            </a:extLst>
          </p:cNvPr>
          <p:cNvSpPr>
            <a:spLocks noGrp="1"/>
          </p:cNvSpPr>
          <p:nvPr>
            <p:ph type="body" sz="quarter" idx="15" hasCustomPrompt="1"/>
          </p:nvPr>
        </p:nvSpPr>
        <p:spPr>
          <a:xfrm>
            <a:off x="4086224" y="2771775"/>
            <a:ext cx="2628900" cy="3186113"/>
          </a:xfrm>
          <a:prstGeom prst="rect">
            <a:avLst/>
          </a:prstGeom>
        </p:spPr>
        <p:txBody>
          <a:bodyPr>
            <a:noAutofit/>
          </a:bodyPr>
          <a:lstStyle>
            <a:lvl1pPr marL="0" marR="0" indent="0" algn="l" defTabSz="914400" rtl="0" eaLnBrk="1" fontAlgn="auto" latinLnBrk="0" hangingPunct="1">
              <a:lnSpc>
                <a:spcPct val="150000"/>
              </a:lnSpc>
              <a:spcBef>
                <a:spcPts val="0"/>
              </a:spcBef>
              <a:spcAft>
                <a:spcPts val="400"/>
              </a:spcAft>
              <a:buClrTx/>
              <a:buSzTx/>
              <a:buFontTx/>
              <a:buNone/>
              <a:tabLst/>
              <a:defRPr sz="1000"/>
            </a:lvl1pPr>
          </a:lstStyle>
          <a:p>
            <a:pPr marL="0" marR="0" lvl="0" indent="0" algn="l" defTabSz="914400" rtl="0" eaLnBrk="1" fontAlgn="auto" latinLnBrk="0" hangingPunct="1">
              <a:lnSpc>
                <a:spcPct val="130000"/>
              </a:lnSpc>
              <a:spcBef>
                <a:spcPts val="0"/>
              </a:spcBef>
              <a:spcAft>
                <a:spcPts val="400"/>
              </a:spcAft>
              <a:buClrTx/>
              <a:buSzTx/>
              <a:buFontTx/>
              <a:buNone/>
              <a:tabLst/>
              <a:defRPr/>
            </a:pP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GB" sz="105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b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6" name="Text Placeholder 10">
            <a:extLst>
              <a:ext uri="{FF2B5EF4-FFF2-40B4-BE49-F238E27FC236}">
                <a16:creationId xmlns:a16="http://schemas.microsoft.com/office/drawing/2014/main" id="{187DBF68-EA89-5143-8F64-7AE55771EB4D}"/>
              </a:ext>
            </a:extLst>
          </p:cNvPr>
          <p:cNvSpPr>
            <a:spLocks noGrp="1"/>
          </p:cNvSpPr>
          <p:nvPr>
            <p:ph type="body" sz="quarter" idx="16" hasCustomPrompt="1"/>
          </p:nvPr>
        </p:nvSpPr>
        <p:spPr>
          <a:xfrm>
            <a:off x="7210424" y="2771775"/>
            <a:ext cx="2628900" cy="3186113"/>
          </a:xfrm>
          <a:prstGeom prst="rect">
            <a:avLst/>
          </a:prstGeom>
        </p:spPr>
        <p:txBody>
          <a:bodyPr>
            <a:noAutofit/>
          </a:bodyPr>
          <a:lstStyle>
            <a:lvl1pPr marL="0" marR="0" indent="0" algn="l" defTabSz="914400" rtl="0" eaLnBrk="1" fontAlgn="auto" latinLnBrk="0" hangingPunct="1">
              <a:lnSpc>
                <a:spcPct val="150000"/>
              </a:lnSpc>
              <a:spcBef>
                <a:spcPts val="0"/>
              </a:spcBef>
              <a:spcAft>
                <a:spcPts val="400"/>
              </a:spcAft>
              <a:buClrTx/>
              <a:buSzTx/>
              <a:buFontTx/>
              <a:buNone/>
              <a:tabLst/>
              <a:defRPr sz="1000"/>
            </a:lvl1pPr>
          </a:lstStyle>
          <a:p>
            <a:pPr marL="0" marR="0" lvl="0" indent="0" algn="l" defTabSz="914400" rtl="0" eaLnBrk="1" fontAlgn="auto" latinLnBrk="0" hangingPunct="1">
              <a:lnSpc>
                <a:spcPct val="130000"/>
              </a:lnSpc>
              <a:spcBef>
                <a:spcPts val="0"/>
              </a:spcBef>
              <a:spcAft>
                <a:spcPts val="400"/>
              </a:spcAft>
              <a:buClrTx/>
              <a:buSzTx/>
              <a:buFontTx/>
              <a:buNone/>
              <a:tabLst/>
              <a:defRPr/>
            </a:pP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GB" sz="105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b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7" name="Title Placeholder 1">
            <a:extLst>
              <a:ext uri="{FF2B5EF4-FFF2-40B4-BE49-F238E27FC236}">
                <a16:creationId xmlns:a16="http://schemas.microsoft.com/office/drawing/2014/main" id="{24377E0F-77E6-D347-8705-67011AA7BA4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8" name="Text Placeholder 7">
            <a:extLst>
              <a:ext uri="{FF2B5EF4-FFF2-40B4-BE49-F238E27FC236}">
                <a16:creationId xmlns:a16="http://schemas.microsoft.com/office/drawing/2014/main" id="{9A1AB959-3A65-5F49-9162-938F4A1B6367}"/>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2094621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nd Subhead: Tier Messagin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B615B79-83A2-0343-BB17-1E5F1DBD268B}"/>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12" name="Text Placeholder 10">
            <a:extLst>
              <a:ext uri="{FF2B5EF4-FFF2-40B4-BE49-F238E27FC236}">
                <a16:creationId xmlns:a16="http://schemas.microsoft.com/office/drawing/2014/main" id="{CD642028-55AE-A84C-8468-9727C57D77D4}"/>
              </a:ext>
            </a:extLst>
          </p:cNvPr>
          <p:cNvSpPr>
            <a:spLocks noGrp="1"/>
          </p:cNvSpPr>
          <p:nvPr>
            <p:ph type="body" sz="quarter" idx="16" hasCustomPrompt="1"/>
          </p:nvPr>
        </p:nvSpPr>
        <p:spPr>
          <a:xfrm>
            <a:off x="914400" y="2465668"/>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7" name="Text Placeholder 7">
            <a:extLst>
              <a:ext uri="{FF2B5EF4-FFF2-40B4-BE49-F238E27FC236}">
                <a16:creationId xmlns:a16="http://schemas.microsoft.com/office/drawing/2014/main" id="{E7D24869-7C17-4646-B9D3-8285654B0D42}"/>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15228965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nd Subhead: Sidebar">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8EC5EC5A-100A-7147-B3DC-6BBBC38A8B41}"/>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6" name="Text Placeholder 5">
            <a:extLst>
              <a:ext uri="{FF2B5EF4-FFF2-40B4-BE49-F238E27FC236}">
                <a16:creationId xmlns:a16="http://schemas.microsoft.com/office/drawing/2014/main" id="{1110A1F4-8F2A-B944-8910-489459DDC3B8}"/>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76827976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Subhead: Sidebar - 3 Column">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853F0EA-AC11-8C4E-9D81-4613FE65844D}"/>
              </a:ext>
            </a:extLst>
          </p:cNvPr>
          <p:cNvSpPr>
            <a:spLocks noGrp="1"/>
          </p:cNvSpPr>
          <p:nvPr>
            <p:ph type="body" sz="quarter" idx="18" hasCustomPrompt="1"/>
          </p:nvPr>
        </p:nvSpPr>
        <p:spPr>
          <a:xfrm>
            <a:off x="4953000" y="59839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3" name="Text Placeholder 9">
            <a:extLst>
              <a:ext uri="{FF2B5EF4-FFF2-40B4-BE49-F238E27FC236}">
                <a16:creationId xmlns:a16="http://schemas.microsoft.com/office/drawing/2014/main" id="{4A2113F8-68DA-F348-9BDA-CC52D25A1C2E}"/>
              </a:ext>
            </a:extLst>
          </p:cNvPr>
          <p:cNvSpPr>
            <a:spLocks noGrp="1"/>
          </p:cNvSpPr>
          <p:nvPr>
            <p:ph type="body" sz="quarter" idx="19" hasCustomPrompt="1"/>
          </p:nvPr>
        </p:nvSpPr>
        <p:spPr>
          <a:xfrm>
            <a:off x="8278906" y="59839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4" name="Text Placeholder 9">
            <a:extLst>
              <a:ext uri="{FF2B5EF4-FFF2-40B4-BE49-F238E27FC236}">
                <a16:creationId xmlns:a16="http://schemas.microsoft.com/office/drawing/2014/main" id="{A4A9E2B4-6FEE-DA4E-AD16-A814A4081949}"/>
              </a:ext>
            </a:extLst>
          </p:cNvPr>
          <p:cNvSpPr>
            <a:spLocks noGrp="1"/>
          </p:cNvSpPr>
          <p:nvPr>
            <p:ph type="body" sz="quarter" idx="20" hasCustomPrompt="1"/>
          </p:nvPr>
        </p:nvSpPr>
        <p:spPr>
          <a:xfrm>
            <a:off x="4953000" y="3429000"/>
            <a:ext cx="62865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8" name="Text Placeholder 7">
            <a:extLst>
              <a:ext uri="{FF2B5EF4-FFF2-40B4-BE49-F238E27FC236}">
                <a16:creationId xmlns:a16="http://schemas.microsoft.com/office/drawing/2014/main" id="{26F07B15-98E7-FC46-A720-8B2370D0EF7A}"/>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2" name="Text Placeholder 5">
            <a:extLst>
              <a:ext uri="{FF2B5EF4-FFF2-40B4-BE49-F238E27FC236}">
                <a16:creationId xmlns:a16="http://schemas.microsoft.com/office/drawing/2014/main" id="{1BC14B02-EC5A-D343-8FED-78FD9330CC6E}"/>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354686723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Subhead: Sidebar - 3 Column Highlight - 1">
    <p:spTree>
      <p:nvGrpSpPr>
        <p:cNvPr id="1" name=""/>
        <p:cNvGrpSpPr/>
        <p:nvPr/>
      </p:nvGrpSpPr>
      <p:grpSpPr>
        <a:xfrm>
          <a:off x="0" y="0"/>
          <a:ext cx="0" cy="0"/>
          <a:chOff x="0" y="0"/>
          <a:chExt cx="0" cy="0"/>
        </a:xfrm>
      </p:grpSpPr>
      <p:pic>
        <p:nvPicPr>
          <p:cNvPr id="8" name="Picture 7" descr="A picture containing brass&#10;&#10;Description automatically generated">
            <a:extLst>
              <a:ext uri="{FF2B5EF4-FFF2-40B4-BE49-F238E27FC236}">
                <a16:creationId xmlns:a16="http://schemas.microsoft.com/office/drawing/2014/main" id="{EC3E0799-F43B-0C46-B033-EC3D43D90E9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9" name="Rectangle 8">
            <a:extLst>
              <a:ext uri="{FF2B5EF4-FFF2-40B4-BE49-F238E27FC236}">
                <a16:creationId xmlns:a16="http://schemas.microsoft.com/office/drawing/2014/main" id="{830A52DF-CB2F-C941-B4C6-058C62D8D230}"/>
              </a:ext>
            </a:extLst>
          </p:cNvPr>
          <p:cNvSpPr/>
          <p:nvPr/>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a:endParaRPr lang="en-GB"/>
          </a:p>
        </p:txBody>
      </p:sp>
      <p:sp>
        <p:nvSpPr>
          <p:cNvPr id="14" name="Text Placeholder 7">
            <a:extLst>
              <a:ext uri="{FF2B5EF4-FFF2-40B4-BE49-F238E27FC236}">
                <a16:creationId xmlns:a16="http://schemas.microsoft.com/office/drawing/2014/main" id="{5053E47D-370F-3443-A6F8-A409AC4E99F8}"/>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7" name="Text Placeholder 5">
            <a:extLst>
              <a:ext uri="{FF2B5EF4-FFF2-40B4-BE49-F238E27FC236}">
                <a16:creationId xmlns:a16="http://schemas.microsoft.com/office/drawing/2014/main" id="{9478454D-29B9-EF4F-8563-86D62EBD6090}"/>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38499453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Subhead: No Content - Breadcrumb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7" name="Text Placeholder 7">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
        <p:nvSpPr>
          <p:cNvPr id="10" name="Text Placeholder 2">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421483708"/>
      </p:ext>
    </p:extLst>
  </p:cSld>
  <p:clrMapOvr>
    <a:masterClrMapping/>
  </p:clrMapOvr>
  <p:transition/>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and Subhead: Sidebar - 3 Column Highlight - 2">
    <p:spTree>
      <p:nvGrpSpPr>
        <p:cNvPr id="1" name=""/>
        <p:cNvGrpSpPr/>
        <p:nvPr/>
      </p:nvGrpSpPr>
      <p:grpSpPr>
        <a:xfrm>
          <a:off x="0" y="0"/>
          <a:ext cx="0" cy="0"/>
          <a:chOff x="0" y="0"/>
          <a:chExt cx="0" cy="0"/>
        </a:xfrm>
      </p:grpSpPr>
      <p:pic>
        <p:nvPicPr>
          <p:cNvPr id="13" name="Picture 12" descr="A picture containing brass&#10;&#10;Description automatically generated">
            <a:extLst>
              <a:ext uri="{FF2B5EF4-FFF2-40B4-BE49-F238E27FC236}">
                <a16:creationId xmlns:a16="http://schemas.microsoft.com/office/drawing/2014/main" id="{5B5F4D44-B6BB-7648-B10A-B760078A430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14" name="Rectangle 13">
            <a:extLst>
              <a:ext uri="{FF2B5EF4-FFF2-40B4-BE49-F238E27FC236}">
                <a16:creationId xmlns:a16="http://schemas.microsoft.com/office/drawing/2014/main" id="{EF43530D-AED0-904F-AF24-898BF226E9D5}"/>
              </a:ext>
            </a:extLst>
          </p:cNvPr>
          <p:cNvSpPr/>
          <p:nvPr/>
        </p:nvSpPr>
        <p:spPr bwMode="gray">
          <a:xfrm>
            <a:off x="4507832" y="571500"/>
            <a:ext cx="7684168" cy="62865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0" name="Text Placeholder 7">
            <a:extLst>
              <a:ext uri="{FF2B5EF4-FFF2-40B4-BE49-F238E27FC236}">
                <a16:creationId xmlns:a16="http://schemas.microsoft.com/office/drawing/2014/main" id="{AE60AA89-0F2A-824E-9BA6-AD5D95C0A75C}"/>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9">
            <a:extLst>
              <a:ext uri="{FF2B5EF4-FFF2-40B4-BE49-F238E27FC236}">
                <a16:creationId xmlns:a16="http://schemas.microsoft.com/office/drawing/2014/main" id="{3981EA64-AE5C-AB4F-BD6E-144036821628}"/>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7" name="Text Placeholder 9">
            <a:extLst>
              <a:ext uri="{FF2B5EF4-FFF2-40B4-BE49-F238E27FC236}">
                <a16:creationId xmlns:a16="http://schemas.microsoft.com/office/drawing/2014/main" id="{B7A1B024-03EC-4842-8A95-5E450A66C461}"/>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8" name="Text Placeholder 9">
            <a:extLst>
              <a:ext uri="{FF2B5EF4-FFF2-40B4-BE49-F238E27FC236}">
                <a16:creationId xmlns:a16="http://schemas.microsoft.com/office/drawing/2014/main" id="{97CCDE48-5870-9247-88BF-6577D81C5B9D}"/>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bg1"/>
                </a:solidFill>
              </a:defRPr>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9" name="Text Placeholder 5">
            <a:extLst>
              <a:ext uri="{FF2B5EF4-FFF2-40B4-BE49-F238E27FC236}">
                <a16:creationId xmlns:a16="http://schemas.microsoft.com/office/drawing/2014/main" id="{F3EFDA6D-62E3-F246-A342-6203B61F75C9}"/>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20640767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nd Subhead: Sidebar - N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C00475B-A5C6-C849-A5AB-E57F23F3E9B8}"/>
              </a:ext>
            </a:extLst>
          </p:cNvPr>
          <p:cNvSpPr/>
          <p:nvPr/>
        </p:nvSpPr>
        <p:spPr bwMode="gray">
          <a:xfrm flipH="1">
            <a:off x="-3" y="0"/>
            <a:ext cx="4953002" cy="6858000"/>
          </a:xfrm>
          <a:prstGeom prst="rect">
            <a:avLst/>
          </a:prstGeom>
          <a:solidFill>
            <a:schemeClr val="accent4"/>
          </a:solidFill>
          <a:ln w="19050" algn="ctr">
            <a:noFill/>
            <a:miter lim="800000"/>
            <a:headEnd/>
            <a:tailEnd/>
          </a:ln>
        </p:spPr>
        <p:txBody>
          <a:bodyPr wrap="square" lIns="0" tIns="0" rIns="0" bIns="0" rtlCol="0" anchor="ctr">
            <a:noAutofit/>
          </a:bodyPr>
          <a:lstStyle/>
          <a:p>
            <a:pPr algn="ctr"/>
            <a:endParaRPr lang="en-GB"/>
          </a:p>
        </p:txBody>
      </p:sp>
      <p:sp>
        <p:nvSpPr>
          <p:cNvPr id="8" name="Text Placeholder 7">
            <a:extLst>
              <a:ext uri="{FF2B5EF4-FFF2-40B4-BE49-F238E27FC236}">
                <a16:creationId xmlns:a16="http://schemas.microsoft.com/office/drawing/2014/main" id="{866FB94F-08D4-3E44-BFE4-F557107D2DE8}"/>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tx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2" name="Text Placeholder 5">
            <a:extLst>
              <a:ext uri="{FF2B5EF4-FFF2-40B4-BE49-F238E27FC236}">
                <a16:creationId xmlns:a16="http://schemas.microsoft.com/office/drawing/2014/main" id="{D17C4CB6-256B-004F-984C-4EAB9A3533F0}"/>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156985754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Subhead: Sidebar - Messag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C00475B-A5C6-C849-A5AB-E57F23F3E9B8}"/>
              </a:ext>
            </a:extLst>
          </p:cNvPr>
          <p:cNvSpPr/>
          <p:nvPr/>
        </p:nvSpPr>
        <p:spPr bwMode="gray">
          <a:xfrm flipH="1">
            <a:off x="-3" y="0"/>
            <a:ext cx="4953002" cy="6858000"/>
          </a:xfrm>
          <a:prstGeom prst="rect">
            <a:avLst/>
          </a:prstGeom>
          <a:solidFill>
            <a:schemeClr val="accent1"/>
          </a:solidFill>
          <a:ln w="19050" algn="ctr">
            <a:noFill/>
            <a:miter lim="800000"/>
            <a:headEnd/>
            <a:tailEnd/>
          </a:ln>
        </p:spPr>
        <p:txBody>
          <a:bodyPr wrap="square" lIns="0" tIns="0" rIns="0" bIns="0" rtlCol="0" anchor="ctr">
            <a:noAutofit/>
          </a:bodyPr>
          <a:lstStyle/>
          <a:p>
            <a:pPr algn="ctr"/>
            <a:endParaRPr lang="en-GB"/>
          </a:p>
        </p:txBody>
      </p:sp>
      <p:sp>
        <p:nvSpPr>
          <p:cNvPr id="11" name="Rectangle 2">
            <a:extLst>
              <a:ext uri="{FF2B5EF4-FFF2-40B4-BE49-F238E27FC236}">
                <a16:creationId xmlns:a16="http://schemas.microsoft.com/office/drawing/2014/main" id="{C7C7A6A0-FE3D-104E-8393-4A7A8E30C83F}"/>
              </a:ext>
            </a:extLst>
          </p:cNvPr>
          <p:cNvSpPr>
            <a:spLocks/>
          </p:cNvSpPr>
          <p:nvPr/>
        </p:nvSpPr>
        <p:spPr bwMode="auto">
          <a:xfrm>
            <a:off x="914719" y="6286500"/>
            <a:ext cx="308898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oAutofit/>
          </a:bodyPr>
          <a:lstStyle/>
          <a:p>
            <a:fld id="{C84F2FB2-4A16-1542-BD5E-F56870239E74}" type="slidenum">
              <a:rPr lang="en-GB" sz="800" smtClean="0">
                <a:solidFill>
                  <a:schemeClr val="bg1">
                    <a:lumMod val="50000"/>
                  </a:schemeClr>
                </a:solidFill>
                <a:latin typeface="Open Sans" charset="0"/>
                <a:ea typeface="Open Sans" charset="0"/>
                <a:cs typeface="Open Sans" charset="0"/>
                <a:sym typeface="Frutiger Next Pro Light" charset="0"/>
              </a:rPr>
              <a:pPr/>
              <a:t>‹#›</a:t>
            </a:fld>
            <a:r>
              <a:rPr lang="en-GB" sz="800">
                <a:solidFill>
                  <a:schemeClr val="bg1">
                    <a:lumMod val="50000"/>
                  </a:schemeClr>
                </a:solidFill>
                <a:latin typeface="Open Sans" charset="0"/>
                <a:ea typeface="Open Sans" charset="0"/>
                <a:cs typeface="Open Sans" charset="0"/>
                <a:sym typeface="Frutiger Next Pro Light" charset="0"/>
              </a:rPr>
              <a:t>  |  Copyright © 2022 For information contact Deloitte Global. </a:t>
            </a:r>
          </a:p>
        </p:txBody>
      </p:sp>
      <p:sp>
        <p:nvSpPr>
          <p:cNvPr id="14" name="Text Placeholder 7">
            <a:extLst>
              <a:ext uri="{FF2B5EF4-FFF2-40B4-BE49-F238E27FC236}">
                <a16:creationId xmlns:a16="http://schemas.microsoft.com/office/drawing/2014/main" id="{149D441B-5A96-9B41-9D87-454944D82470}"/>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10">
            <a:extLst>
              <a:ext uri="{FF2B5EF4-FFF2-40B4-BE49-F238E27FC236}">
                <a16:creationId xmlns:a16="http://schemas.microsoft.com/office/drawing/2014/main" id="{E116E8C8-C57E-3C4C-ACC0-344B7AA9A17D}"/>
              </a:ext>
            </a:extLst>
          </p:cNvPr>
          <p:cNvSpPr>
            <a:spLocks noGrp="1"/>
          </p:cNvSpPr>
          <p:nvPr>
            <p:ph type="body" sz="quarter" idx="16" hasCustomPrompt="1"/>
          </p:nvPr>
        </p:nvSpPr>
        <p:spPr>
          <a:xfrm>
            <a:off x="6019800" y="1212850"/>
            <a:ext cx="5219700" cy="8509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8" name="Text Placeholder 13">
            <a:extLst>
              <a:ext uri="{FF2B5EF4-FFF2-40B4-BE49-F238E27FC236}">
                <a16:creationId xmlns:a16="http://schemas.microsoft.com/office/drawing/2014/main" id="{A5647CB6-FC63-DF44-8496-CE9754E13DE2}"/>
              </a:ext>
            </a:extLst>
          </p:cNvPr>
          <p:cNvSpPr>
            <a:spLocks noGrp="1"/>
          </p:cNvSpPr>
          <p:nvPr>
            <p:ph type="body" sz="quarter" idx="17" hasCustomPrompt="1"/>
          </p:nvPr>
        </p:nvSpPr>
        <p:spPr>
          <a:xfrm>
            <a:off x="6019800" y="3289299"/>
            <a:ext cx="5219700" cy="1645771"/>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Felis </a:t>
            </a:r>
            <a:r>
              <a:rPr lang="en-GB" err="1"/>
              <a:t>blandit</a:t>
            </a:r>
            <a:r>
              <a:rPr lang="en-GB"/>
              <a:t> cursus</a:t>
            </a:r>
            <a:br>
              <a:rPr lang="en-GB"/>
            </a:b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p:txBody>
      </p:sp>
      <p:sp>
        <p:nvSpPr>
          <p:cNvPr id="13" name="Text Placeholder 5">
            <a:extLst>
              <a:ext uri="{FF2B5EF4-FFF2-40B4-BE49-F238E27FC236}">
                <a16:creationId xmlns:a16="http://schemas.microsoft.com/office/drawing/2014/main" id="{63E69F53-FE35-D641-B88F-0A68E2BCA049}"/>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283956928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Subhead: No Content - Color Background">
    <p:bg>
      <p:bgPr>
        <a:solidFill>
          <a:schemeClr val="accent3"/>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3965629973"/>
      </p:ext>
    </p:extLst>
  </p:cSld>
  <p:clrMapOvr>
    <a:masterClrMapping/>
  </p:clrMapOvr>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nd Subhead: No Content - Breadcrumb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7" name="Text Placeholder 7">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
        <p:nvSpPr>
          <p:cNvPr id="10" name="Text Placeholder 2">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273429695"/>
      </p:ext>
    </p:extLst>
  </p:cSld>
  <p:clrMapOvr>
    <a:masterClrMapping/>
  </p:clrMapOvr>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nd Subhead: 3 Column - Breadcrumbs">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D1FA0000-C94E-E149-9623-BD66BFB0643F}"/>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3" name="Text Placeholder 7">
            <a:extLst>
              <a:ext uri="{FF2B5EF4-FFF2-40B4-BE49-F238E27FC236}">
                <a16:creationId xmlns:a16="http://schemas.microsoft.com/office/drawing/2014/main" id="{A8B5101F-02F4-F644-B829-A903E6C5AF82}"/>
              </a:ext>
            </a:extLst>
          </p:cNvPr>
          <p:cNvSpPr>
            <a:spLocks noGrp="1"/>
          </p:cNvSpPr>
          <p:nvPr>
            <p:ph type="body" sz="quarter" idx="17"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
        <p:nvSpPr>
          <p:cNvPr id="3" name="Text Placeholder 2">
            <a:extLst>
              <a:ext uri="{FF2B5EF4-FFF2-40B4-BE49-F238E27FC236}">
                <a16:creationId xmlns:a16="http://schemas.microsoft.com/office/drawing/2014/main" id="{9A91C994-DD05-CB44-8508-2A07253626FD}"/>
              </a:ext>
            </a:extLst>
          </p:cNvPr>
          <p:cNvSpPr>
            <a:spLocks noGrp="1"/>
          </p:cNvSpPr>
          <p:nvPr>
            <p:ph type="body" sz="quarter" idx="18" hasCustomPrompt="1"/>
          </p:nvPr>
        </p:nvSpPr>
        <p:spPr>
          <a:xfrm>
            <a:off x="914399"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4" name="Text Placeholder 2">
            <a:extLst>
              <a:ext uri="{FF2B5EF4-FFF2-40B4-BE49-F238E27FC236}">
                <a16:creationId xmlns:a16="http://schemas.microsoft.com/office/drawing/2014/main" id="{62BE551D-14EE-544A-8F49-DE7C4E74B109}"/>
              </a:ext>
            </a:extLst>
          </p:cNvPr>
          <p:cNvSpPr>
            <a:spLocks noGrp="1"/>
          </p:cNvSpPr>
          <p:nvPr>
            <p:ph type="body" sz="quarter" idx="19" hasCustomPrompt="1"/>
          </p:nvPr>
        </p:nvSpPr>
        <p:spPr>
          <a:xfrm>
            <a:off x="4410635"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8" name="Text Placeholder 2">
            <a:extLst>
              <a:ext uri="{FF2B5EF4-FFF2-40B4-BE49-F238E27FC236}">
                <a16:creationId xmlns:a16="http://schemas.microsoft.com/office/drawing/2014/main" id="{8F694449-2177-6F4F-978A-F254F736AAED}"/>
              </a:ext>
            </a:extLst>
          </p:cNvPr>
          <p:cNvSpPr>
            <a:spLocks noGrp="1"/>
          </p:cNvSpPr>
          <p:nvPr>
            <p:ph type="body" sz="quarter" idx="21" hasCustomPrompt="1"/>
          </p:nvPr>
        </p:nvSpPr>
        <p:spPr>
          <a:xfrm>
            <a:off x="7893423"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9" name="Text Placeholder 2">
            <a:extLst>
              <a:ext uri="{FF2B5EF4-FFF2-40B4-BE49-F238E27FC236}">
                <a16:creationId xmlns:a16="http://schemas.microsoft.com/office/drawing/2014/main" id="{AA02C6BE-9131-7144-A89D-17B9B6BF1F0F}"/>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20" name="Text Placeholder 2">
            <a:extLst>
              <a:ext uri="{FF2B5EF4-FFF2-40B4-BE49-F238E27FC236}">
                <a16:creationId xmlns:a16="http://schemas.microsoft.com/office/drawing/2014/main" id="{E2674560-4F3C-1240-A50E-2F71A3F4C759}"/>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525448139"/>
      </p:ext>
    </p:extLst>
  </p:cSld>
  <p:clrMapOvr>
    <a:masterClrMapping/>
  </p:clrMapOvr>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Subhead: Tier Messaging - Breadcrumbs">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6FFB0421-D2FD-3D4E-B9B1-06F317B8D040}"/>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7" name="Text Placeholder 13">
            <a:extLst>
              <a:ext uri="{FF2B5EF4-FFF2-40B4-BE49-F238E27FC236}">
                <a16:creationId xmlns:a16="http://schemas.microsoft.com/office/drawing/2014/main" id="{8D30F071-F953-AE45-848C-4A88A58ABD6A}"/>
              </a:ext>
            </a:extLst>
          </p:cNvPr>
          <p:cNvSpPr>
            <a:spLocks noGrp="1"/>
          </p:cNvSpPr>
          <p:nvPr>
            <p:ph type="body" sz="quarter" idx="17"/>
          </p:nvPr>
        </p:nvSpPr>
        <p:spPr>
          <a:xfrm>
            <a:off x="914400" y="4149912"/>
            <a:ext cx="9296400" cy="1121336"/>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Click to edit Master text styles</a:t>
            </a:r>
          </a:p>
        </p:txBody>
      </p:sp>
      <p:sp>
        <p:nvSpPr>
          <p:cNvPr id="8" name="Text Placeholder 10">
            <a:extLst>
              <a:ext uri="{FF2B5EF4-FFF2-40B4-BE49-F238E27FC236}">
                <a16:creationId xmlns:a16="http://schemas.microsoft.com/office/drawing/2014/main" id="{463985F8-E7E2-514E-B644-AA0D3303D0F2}"/>
              </a:ext>
            </a:extLst>
          </p:cNvPr>
          <p:cNvSpPr>
            <a:spLocks noGrp="1"/>
          </p:cNvSpPr>
          <p:nvPr>
            <p:ph type="body" sz="quarter" idx="16" hasCustomPrompt="1"/>
          </p:nvPr>
        </p:nvSpPr>
        <p:spPr>
          <a:xfrm>
            <a:off x="914400" y="1943256"/>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1" name="Text Placeholder 2">
            <a:extLst>
              <a:ext uri="{FF2B5EF4-FFF2-40B4-BE49-F238E27FC236}">
                <a16:creationId xmlns:a16="http://schemas.microsoft.com/office/drawing/2014/main" id="{0DDFE1B1-9364-4E44-BE5A-008902C9708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5561B028-51AA-784D-A4C9-A82067CB3850}"/>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066360976"/>
      </p:ext>
    </p:extLst>
  </p:cSld>
  <p:clrMapOvr>
    <a:masterClrMapping/>
  </p:clrMapOvr>
  <p:transition/>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Subhead: 3 Column with Footer - Breadcrumb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B08EE29-A03A-C342-B34E-CB43983D5274}"/>
              </a:ext>
            </a:extLst>
          </p:cNvPr>
          <p:cNvCxnSpPr>
            <a:cxnSpLocks/>
          </p:cNvCxnSpPr>
          <p:nvPr/>
        </p:nvCxnSpPr>
        <p:spPr>
          <a:xfrm>
            <a:off x="912813" y="5734285"/>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902960"/>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90327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p>
        </p:txBody>
      </p:sp>
      <p:sp>
        <p:nvSpPr>
          <p:cNvPr id="21" name="Title Placeholder 1">
            <a:extLst>
              <a:ext uri="{FF2B5EF4-FFF2-40B4-BE49-F238E27FC236}">
                <a16:creationId xmlns:a16="http://schemas.microsoft.com/office/drawing/2014/main" id="{587A59F8-B5A7-7543-BCD3-6D3B96423664}"/>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25" name="Text Placeholder 9">
            <a:extLst>
              <a:ext uri="{FF2B5EF4-FFF2-40B4-BE49-F238E27FC236}">
                <a16:creationId xmlns:a16="http://schemas.microsoft.com/office/drawing/2014/main" id="{5B8C51D7-FE3E-D842-9B2F-5F0C99510C05}"/>
              </a:ext>
            </a:extLst>
          </p:cNvPr>
          <p:cNvSpPr>
            <a:spLocks noGrp="1"/>
          </p:cNvSpPr>
          <p:nvPr>
            <p:ph type="body" sz="quarter" idx="18" hasCustomPrompt="1"/>
          </p:nvPr>
        </p:nvSpPr>
        <p:spPr>
          <a:xfrm>
            <a:off x="914400" y="2329329"/>
            <a:ext cx="30099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26" name="Text Placeholder 9">
            <a:extLst>
              <a:ext uri="{FF2B5EF4-FFF2-40B4-BE49-F238E27FC236}">
                <a16:creationId xmlns:a16="http://schemas.microsoft.com/office/drawing/2014/main" id="{39EC3C5A-1CBC-4942-8736-3D6B4698E09A}"/>
              </a:ext>
            </a:extLst>
          </p:cNvPr>
          <p:cNvSpPr>
            <a:spLocks noGrp="1"/>
          </p:cNvSpPr>
          <p:nvPr>
            <p:ph type="body" sz="quarter" idx="19" hasCustomPrompt="1"/>
          </p:nvPr>
        </p:nvSpPr>
        <p:spPr>
          <a:xfrm>
            <a:off x="4613478"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a:t>
            </a:r>
          </a:p>
          <a:p>
            <a:pPr lvl="0"/>
            <a:endParaRPr lang="en-GB"/>
          </a:p>
          <a:p>
            <a:pPr lvl="0"/>
            <a:r>
              <a:rPr lang="en-GB"/>
              <a:t>Aenean </a:t>
            </a:r>
            <a:r>
              <a:rPr lang="en-GB" err="1"/>
              <a:t>suspendisse</a:t>
            </a:r>
            <a:r>
              <a:rPr lang="en-GB"/>
              <a:t> fames </a:t>
            </a:r>
          </a:p>
          <a:p>
            <a:pPr lvl="0"/>
            <a:r>
              <a:rPr lang="en-GB" err="1"/>
              <a:t>Facilisis</a:t>
            </a:r>
            <a:r>
              <a:rPr lang="en-GB"/>
              <a:t> </a:t>
            </a:r>
            <a:r>
              <a:rPr lang="en-GB" err="1"/>
              <a:t>est</a:t>
            </a:r>
            <a:r>
              <a:rPr lang="en-GB"/>
              <a:t> </a:t>
            </a:r>
            <a:r>
              <a:rPr lang="en-GB" err="1"/>
              <a:t>porttitor</a:t>
            </a:r>
            <a:r>
              <a:rPr lang="en-GB"/>
              <a:t> </a:t>
            </a:r>
            <a:r>
              <a:rPr lang="en-GB" err="1"/>
              <a:t>sed</a:t>
            </a:r>
            <a:r>
              <a:rPr lang="en-GB"/>
              <a:t> </a:t>
            </a:r>
            <a:r>
              <a:rPr lang="en-GB" err="1"/>
              <a:t>nec</a:t>
            </a:r>
            <a:r>
              <a:rPr lang="en-GB"/>
              <a:t> </a:t>
            </a:r>
            <a:r>
              <a:rPr lang="en-GB" err="1"/>
              <a:t>scelerisque</a:t>
            </a:r>
            <a:r>
              <a:rPr lang="en-GB"/>
              <a:t> </a:t>
            </a:r>
            <a:r>
              <a:rPr lang="en-GB" err="1"/>
              <a:t>urna</a:t>
            </a:r>
            <a:r>
              <a:rPr lang="en-GB"/>
              <a:t> </a:t>
            </a:r>
            <a:r>
              <a:rPr lang="en-GB" err="1"/>
              <a:t>aptent</a:t>
            </a:r>
            <a:r>
              <a:rPr lang="en-GB"/>
              <a:t> </a:t>
            </a:r>
            <a:r>
              <a:rPr lang="en-GB" err="1"/>
              <a:t>nisl</a:t>
            </a:r>
            <a:r>
              <a:rPr lang="en-GB"/>
              <a:t> </a:t>
            </a:r>
            <a:r>
              <a:rPr lang="en-GB" err="1"/>
              <a:t>curae</a:t>
            </a:r>
            <a:r>
              <a:rPr lang="en-GB"/>
              <a:t> </a:t>
            </a:r>
            <a:r>
              <a:rPr lang="en-GB" err="1"/>
              <a:t>adipiscing</a:t>
            </a:r>
            <a:r>
              <a:rPr lang="en-GB"/>
              <a:t>, fermentum </a:t>
            </a:r>
            <a:r>
              <a:rPr lang="en-GB" err="1"/>
              <a:t>curabr</a:t>
            </a:r>
            <a:r>
              <a:rPr lang="en-GB"/>
              <a:t> </a:t>
            </a:r>
            <a:r>
              <a:rPr lang="en-GB" err="1"/>
              <a:t>enim</a:t>
            </a:r>
            <a:r>
              <a:rPr lang="en-GB"/>
              <a:t> auctor </a:t>
            </a:r>
            <a:r>
              <a:rPr lang="en-GB" err="1"/>
              <a:t>massa</a:t>
            </a:r>
            <a:r>
              <a:rPr lang="en-GB"/>
              <a:t> integer fames </a:t>
            </a:r>
            <a:r>
              <a:rPr lang="en-GB" err="1"/>
              <a:t>purus</a:t>
            </a:r>
            <a:r>
              <a:rPr lang="en-GB"/>
              <a:t> in.</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a:t>
            </a:r>
          </a:p>
        </p:txBody>
      </p:sp>
      <p:sp>
        <p:nvSpPr>
          <p:cNvPr id="27" name="Text Placeholder 9">
            <a:extLst>
              <a:ext uri="{FF2B5EF4-FFF2-40B4-BE49-F238E27FC236}">
                <a16:creationId xmlns:a16="http://schemas.microsoft.com/office/drawing/2014/main" id="{5FB42339-0512-FF4A-A3AB-61E340CC01DE}"/>
              </a:ext>
            </a:extLst>
          </p:cNvPr>
          <p:cNvSpPr>
            <a:spLocks noGrp="1"/>
          </p:cNvSpPr>
          <p:nvPr>
            <p:ph type="body" sz="quarter" idx="20" hasCustomPrompt="1"/>
          </p:nvPr>
        </p:nvSpPr>
        <p:spPr>
          <a:xfrm>
            <a:off x="8269941"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4" name="Text Placeholder 2">
            <a:extLst>
              <a:ext uri="{FF2B5EF4-FFF2-40B4-BE49-F238E27FC236}">
                <a16:creationId xmlns:a16="http://schemas.microsoft.com/office/drawing/2014/main" id="{D06929EA-D49D-4F46-A84D-6D323E890B91}"/>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5" name="Text Placeholder 2">
            <a:extLst>
              <a:ext uri="{FF2B5EF4-FFF2-40B4-BE49-F238E27FC236}">
                <a16:creationId xmlns:a16="http://schemas.microsoft.com/office/drawing/2014/main" id="{59D9BD63-561E-7641-BD15-6DD81F5FA291}"/>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4148608833"/>
      </p:ext>
    </p:extLst>
  </p:cSld>
  <p:clrMapOvr>
    <a:masterClrMapping/>
  </p:clrMapOvr>
  <p:transition/>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Subhead: Sidebar - Breadcrumb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D47AA8BC-97B4-9546-8437-2BA0125816DC}"/>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9" name="Text Placeholder 2">
            <a:extLst>
              <a:ext uri="{FF2B5EF4-FFF2-40B4-BE49-F238E27FC236}">
                <a16:creationId xmlns:a16="http://schemas.microsoft.com/office/drawing/2014/main" id="{64C0E923-38EC-6B4C-9487-769D320A2EF9}"/>
              </a:ext>
            </a:extLst>
          </p:cNvPr>
          <p:cNvSpPr>
            <a:spLocks noGrp="1"/>
          </p:cNvSpPr>
          <p:nvPr>
            <p:ph type="body" sz="quarter" idx="18"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Text Placeholder 2">
            <a:extLst>
              <a:ext uri="{FF2B5EF4-FFF2-40B4-BE49-F238E27FC236}">
                <a16:creationId xmlns:a16="http://schemas.microsoft.com/office/drawing/2014/main" id="{644D961B-FF77-8842-836F-5190846F965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0" name="Text Placeholder 2">
            <a:extLst>
              <a:ext uri="{FF2B5EF4-FFF2-40B4-BE49-F238E27FC236}">
                <a16:creationId xmlns:a16="http://schemas.microsoft.com/office/drawing/2014/main" id="{3830D1E9-0741-C748-973A-FB8FEA0FD0B8}"/>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52971492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Subhead: Sidebar - 3 Column - Breadcrumb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D9F71E33-BA0E-A541-A2DC-FD42A43A6FC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9">
            <a:extLst>
              <a:ext uri="{FF2B5EF4-FFF2-40B4-BE49-F238E27FC236}">
                <a16:creationId xmlns:a16="http://schemas.microsoft.com/office/drawing/2014/main" id="{4BB17C82-293E-A545-98BE-F49322DB0411}"/>
              </a:ext>
            </a:extLst>
          </p:cNvPr>
          <p:cNvSpPr>
            <a:spLocks noGrp="1"/>
          </p:cNvSpPr>
          <p:nvPr>
            <p:ph type="body" sz="quarter" idx="20" hasCustomPrompt="1"/>
          </p:nvPr>
        </p:nvSpPr>
        <p:spPr>
          <a:xfrm>
            <a:off x="4958603" y="3656853"/>
            <a:ext cx="62865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6" name="Text Placeholder 9">
            <a:extLst>
              <a:ext uri="{FF2B5EF4-FFF2-40B4-BE49-F238E27FC236}">
                <a16:creationId xmlns:a16="http://schemas.microsoft.com/office/drawing/2014/main" id="{DE6D4580-4856-8642-9E92-D7DB0B4D7A61}"/>
              </a:ext>
            </a:extLst>
          </p:cNvPr>
          <p:cNvSpPr>
            <a:spLocks noGrp="1"/>
          </p:cNvSpPr>
          <p:nvPr>
            <p:ph type="body" sz="quarter" idx="18" hasCustomPrompt="1"/>
          </p:nvPr>
        </p:nvSpPr>
        <p:spPr>
          <a:xfrm>
            <a:off x="4953000" y="57822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7" name="Text Placeholder 9">
            <a:extLst>
              <a:ext uri="{FF2B5EF4-FFF2-40B4-BE49-F238E27FC236}">
                <a16:creationId xmlns:a16="http://schemas.microsoft.com/office/drawing/2014/main" id="{0A80BEB9-2610-0A4D-80B5-1FD622F09997}"/>
              </a:ext>
            </a:extLst>
          </p:cNvPr>
          <p:cNvSpPr>
            <a:spLocks noGrp="1"/>
          </p:cNvSpPr>
          <p:nvPr>
            <p:ph type="body" sz="quarter" idx="19" hasCustomPrompt="1"/>
          </p:nvPr>
        </p:nvSpPr>
        <p:spPr>
          <a:xfrm>
            <a:off x="8278906" y="57822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9" name="Text Placeholder 2">
            <a:extLst>
              <a:ext uri="{FF2B5EF4-FFF2-40B4-BE49-F238E27FC236}">
                <a16:creationId xmlns:a16="http://schemas.microsoft.com/office/drawing/2014/main" id="{F3A56DE9-FB1F-EC49-B6BF-68FE231E2842}"/>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ext Placeholder 2">
            <a:extLst>
              <a:ext uri="{FF2B5EF4-FFF2-40B4-BE49-F238E27FC236}">
                <a16:creationId xmlns:a16="http://schemas.microsoft.com/office/drawing/2014/main" id="{C686CC1E-80E1-924E-BDE1-FD005E579C2F}"/>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32F00CF8-2616-134C-AE9B-6739532E7B97}"/>
              </a:ext>
            </a:extLst>
          </p:cNvPr>
          <p:cNvSpPr>
            <a:spLocks noGrp="1"/>
          </p:cNvSpPr>
          <p:nvPr>
            <p:ph type="body" sz="quarter" idx="26" hasCustomPrompt="1"/>
          </p:nvPr>
        </p:nvSpPr>
        <p:spPr>
          <a:xfrm>
            <a:off x="1986247" y="495992"/>
            <a:ext cx="2638916"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89409774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Subhead: 3 Column - Breadcrumbs">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D1FA0000-C94E-E149-9623-BD66BFB0643F}"/>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3" name="Text Placeholder 7">
            <a:extLst>
              <a:ext uri="{FF2B5EF4-FFF2-40B4-BE49-F238E27FC236}">
                <a16:creationId xmlns:a16="http://schemas.microsoft.com/office/drawing/2014/main" id="{A8B5101F-02F4-F644-B829-A903E6C5AF82}"/>
              </a:ext>
            </a:extLst>
          </p:cNvPr>
          <p:cNvSpPr>
            <a:spLocks noGrp="1"/>
          </p:cNvSpPr>
          <p:nvPr>
            <p:ph type="body" sz="quarter" idx="17"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
        <p:nvSpPr>
          <p:cNvPr id="3" name="Text Placeholder 2">
            <a:extLst>
              <a:ext uri="{FF2B5EF4-FFF2-40B4-BE49-F238E27FC236}">
                <a16:creationId xmlns:a16="http://schemas.microsoft.com/office/drawing/2014/main" id="{9A91C994-DD05-CB44-8508-2A07253626FD}"/>
              </a:ext>
            </a:extLst>
          </p:cNvPr>
          <p:cNvSpPr>
            <a:spLocks noGrp="1"/>
          </p:cNvSpPr>
          <p:nvPr>
            <p:ph type="body" sz="quarter" idx="18" hasCustomPrompt="1"/>
          </p:nvPr>
        </p:nvSpPr>
        <p:spPr>
          <a:xfrm>
            <a:off x="914399"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4" name="Text Placeholder 2">
            <a:extLst>
              <a:ext uri="{FF2B5EF4-FFF2-40B4-BE49-F238E27FC236}">
                <a16:creationId xmlns:a16="http://schemas.microsoft.com/office/drawing/2014/main" id="{62BE551D-14EE-544A-8F49-DE7C4E74B109}"/>
              </a:ext>
            </a:extLst>
          </p:cNvPr>
          <p:cNvSpPr>
            <a:spLocks noGrp="1"/>
          </p:cNvSpPr>
          <p:nvPr>
            <p:ph type="body" sz="quarter" idx="19" hasCustomPrompt="1"/>
          </p:nvPr>
        </p:nvSpPr>
        <p:spPr>
          <a:xfrm>
            <a:off x="4410635"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8" name="Text Placeholder 2">
            <a:extLst>
              <a:ext uri="{FF2B5EF4-FFF2-40B4-BE49-F238E27FC236}">
                <a16:creationId xmlns:a16="http://schemas.microsoft.com/office/drawing/2014/main" id="{8F694449-2177-6F4F-978A-F254F736AAED}"/>
              </a:ext>
            </a:extLst>
          </p:cNvPr>
          <p:cNvSpPr>
            <a:spLocks noGrp="1"/>
          </p:cNvSpPr>
          <p:nvPr>
            <p:ph type="body" sz="quarter" idx="21" hasCustomPrompt="1"/>
          </p:nvPr>
        </p:nvSpPr>
        <p:spPr>
          <a:xfrm>
            <a:off x="7893423"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9" name="Text Placeholder 2">
            <a:extLst>
              <a:ext uri="{FF2B5EF4-FFF2-40B4-BE49-F238E27FC236}">
                <a16:creationId xmlns:a16="http://schemas.microsoft.com/office/drawing/2014/main" id="{AA02C6BE-9131-7144-A89D-17B9B6BF1F0F}"/>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20" name="Text Placeholder 2">
            <a:extLst>
              <a:ext uri="{FF2B5EF4-FFF2-40B4-BE49-F238E27FC236}">
                <a16:creationId xmlns:a16="http://schemas.microsoft.com/office/drawing/2014/main" id="{E2674560-4F3C-1240-A50E-2F71A3F4C759}"/>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888272725"/>
      </p:ext>
    </p:extLst>
  </p:cSld>
  <p:clrMapOvr>
    <a:masterClrMapping/>
  </p:clrMapOvr>
  <p:transition/>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Subhead: Sidebar - 3 Column Highlight - 1 - Breadcrumbs">
    <p:spTree>
      <p:nvGrpSpPr>
        <p:cNvPr id="1" name=""/>
        <p:cNvGrpSpPr/>
        <p:nvPr/>
      </p:nvGrpSpPr>
      <p:grpSpPr>
        <a:xfrm>
          <a:off x="0" y="0"/>
          <a:ext cx="0" cy="0"/>
          <a:chOff x="0" y="0"/>
          <a:chExt cx="0" cy="0"/>
        </a:xfrm>
      </p:grpSpPr>
      <p:pic>
        <p:nvPicPr>
          <p:cNvPr id="12" name="Picture 11" descr="A picture containing brass&#10;&#10;Description automatically generated">
            <a:extLst>
              <a:ext uri="{FF2B5EF4-FFF2-40B4-BE49-F238E27FC236}">
                <a16:creationId xmlns:a16="http://schemas.microsoft.com/office/drawing/2014/main" id="{F1D460F9-EB1A-804D-B6A6-90FD865587A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a:endParaRPr lang="en-GB"/>
          </a:p>
        </p:txBody>
      </p:sp>
      <p:sp>
        <p:nvSpPr>
          <p:cNvPr id="14" name="Text Placeholder 7">
            <a:extLst>
              <a:ext uri="{FF2B5EF4-FFF2-40B4-BE49-F238E27FC236}">
                <a16:creationId xmlns:a16="http://schemas.microsoft.com/office/drawing/2014/main" id="{50FD3A15-BD8B-E34B-BC34-50978AF2D590}"/>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9">
            <a:extLst>
              <a:ext uri="{FF2B5EF4-FFF2-40B4-BE49-F238E27FC236}">
                <a16:creationId xmlns:a16="http://schemas.microsoft.com/office/drawing/2014/main" id="{8C0AE4FA-D2A5-C24F-B394-2F06B8655D73}"/>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6" name="Text Placeholder 9">
            <a:extLst>
              <a:ext uri="{FF2B5EF4-FFF2-40B4-BE49-F238E27FC236}">
                <a16:creationId xmlns:a16="http://schemas.microsoft.com/office/drawing/2014/main" id="{145DA036-2645-6A4B-AAB9-D5649DF2BE66}"/>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7" name="Text Placeholder 9">
            <a:extLst>
              <a:ext uri="{FF2B5EF4-FFF2-40B4-BE49-F238E27FC236}">
                <a16:creationId xmlns:a16="http://schemas.microsoft.com/office/drawing/2014/main" id="{F2697B8C-43B6-9A45-932F-FFADB537D4C2}"/>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solidFill>
                  <a:schemeClr val="tx1"/>
                </a:solidFill>
              </a:defRPr>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8" name="Text Placeholder 2">
            <a:extLst>
              <a:ext uri="{FF2B5EF4-FFF2-40B4-BE49-F238E27FC236}">
                <a16:creationId xmlns:a16="http://schemas.microsoft.com/office/drawing/2014/main" id="{423A93C1-26C8-7246-A60C-C403CB759C6E}"/>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356F363A-A759-A646-97B7-B063F02DC54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9" name="Text Placeholder 2">
            <a:extLst>
              <a:ext uri="{FF2B5EF4-FFF2-40B4-BE49-F238E27FC236}">
                <a16:creationId xmlns:a16="http://schemas.microsoft.com/office/drawing/2014/main" id="{A67CC57D-A7D1-434A-84AB-06E26C1EDEB1}"/>
              </a:ext>
            </a:extLst>
          </p:cNvPr>
          <p:cNvSpPr>
            <a:spLocks noGrp="1"/>
          </p:cNvSpPr>
          <p:nvPr>
            <p:ph type="body" sz="quarter" idx="26" hasCustomPrompt="1"/>
          </p:nvPr>
        </p:nvSpPr>
        <p:spPr>
          <a:xfrm>
            <a:off x="1986247" y="495992"/>
            <a:ext cx="1938053"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
        <p:nvSpPr>
          <p:cNvPr id="3" name="TextBox 2">
            <a:extLst>
              <a:ext uri="{FF2B5EF4-FFF2-40B4-BE49-F238E27FC236}">
                <a16:creationId xmlns:a16="http://schemas.microsoft.com/office/drawing/2014/main" id="{BE53C6D2-4EF5-8E4D-A8AE-47CA2D4E5AE6}"/>
              </a:ext>
            </a:extLst>
          </p:cNvPr>
          <p:cNvSpPr txBox="1"/>
          <p:nvPr/>
        </p:nvSpPr>
        <p:spPr>
          <a:xfrm>
            <a:off x="2164466" y="6366076"/>
            <a:ext cx="0" cy="0"/>
          </a:xfrm>
          <a:prstGeom prst="rect">
            <a:avLst/>
          </a:prstGeom>
          <a:noFill/>
        </p:spPr>
        <p:txBody>
          <a:bodyPr wrap="none" lIns="0" tIns="0" rIns="0" bIns="0" rtlCol="0">
            <a:noAutofit/>
          </a:bodyPr>
          <a:lstStyle/>
          <a:p>
            <a:pPr algn="l">
              <a:spcBef>
                <a:spcPts val="600"/>
              </a:spcBef>
              <a:buSzPct val="100000"/>
            </a:pPr>
            <a:endParaRPr lang="en-GB" sz="1200"/>
          </a:p>
        </p:txBody>
      </p:sp>
    </p:spTree>
    <p:extLst>
      <p:ext uri="{BB962C8B-B14F-4D97-AF65-F5344CB8AC3E}">
        <p14:creationId xmlns:p14="http://schemas.microsoft.com/office/powerpoint/2010/main" val="205727769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nd Subhead: Sidebar - 3 Column Highlight - 2 - Breadcrumbs">
    <p:spTree>
      <p:nvGrpSpPr>
        <p:cNvPr id="1" name=""/>
        <p:cNvGrpSpPr/>
        <p:nvPr/>
      </p:nvGrpSpPr>
      <p:grpSpPr>
        <a:xfrm>
          <a:off x="0" y="0"/>
          <a:ext cx="0" cy="0"/>
          <a:chOff x="0" y="0"/>
          <a:chExt cx="0" cy="0"/>
        </a:xfrm>
      </p:grpSpPr>
      <p:pic>
        <p:nvPicPr>
          <p:cNvPr id="12" name="Picture 11" descr="A picture containing brass&#10;&#10;Description automatically generated">
            <a:extLst>
              <a:ext uri="{FF2B5EF4-FFF2-40B4-BE49-F238E27FC236}">
                <a16:creationId xmlns:a16="http://schemas.microsoft.com/office/drawing/2014/main" id="{F1D460F9-EB1A-804D-B6A6-90FD865587A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p:nvSpPr>
        <p:spPr bwMode="gray">
          <a:xfrm>
            <a:off x="4507832" y="571500"/>
            <a:ext cx="7684168" cy="5715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ext Placeholder 10">
            <a:extLst>
              <a:ext uri="{FF2B5EF4-FFF2-40B4-BE49-F238E27FC236}">
                <a16:creationId xmlns:a16="http://schemas.microsoft.com/office/drawing/2014/main" id="{C55C4337-5BFE-F74F-BFD1-A76C1C03F250}"/>
              </a:ext>
            </a:extLst>
          </p:cNvPr>
          <p:cNvSpPr>
            <a:spLocks noGrp="1"/>
          </p:cNvSpPr>
          <p:nvPr>
            <p:ph type="body" sz="quarter" idx="18" hasCustomPrompt="1"/>
          </p:nvPr>
        </p:nvSpPr>
        <p:spPr>
          <a:xfrm>
            <a:off x="4955394"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5" name="Text Placeholder 10">
            <a:extLst>
              <a:ext uri="{FF2B5EF4-FFF2-40B4-BE49-F238E27FC236}">
                <a16:creationId xmlns:a16="http://schemas.microsoft.com/office/drawing/2014/main" id="{05808D96-A577-AF40-9D56-1FF43AA9660E}"/>
              </a:ext>
            </a:extLst>
          </p:cNvPr>
          <p:cNvSpPr>
            <a:spLocks noGrp="1"/>
          </p:cNvSpPr>
          <p:nvPr>
            <p:ph type="body" sz="quarter" idx="19" hasCustomPrompt="1"/>
          </p:nvPr>
        </p:nvSpPr>
        <p:spPr>
          <a:xfrm>
            <a:off x="8135112"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7" name="Text Placeholder 16">
            <a:extLst>
              <a:ext uri="{FF2B5EF4-FFF2-40B4-BE49-F238E27FC236}">
                <a16:creationId xmlns:a16="http://schemas.microsoft.com/office/drawing/2014/main" id="{A80E9A9B-D905-6744-B429-EF79B075874D}"/>
              </a:ext>
            </a:extLst>
          </p:cNvPr>
          <p:cNvSpPr>
            <a:spLocks noGrp="1"/>
          </p:cNvSpPr>
          <p:nvPr>
            <p:ph type="body" sz="quarter" idx="20" hasCustomPrompt="1"/>
          </p:nvPr>
        </p:nvSpPr>
        <p:spPr>
          <a:xfrm>
            <a:off x="4953000" y="3429000"/>
            <a:ext cx="6286500" cy="19288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4" name="Text Placeholder 7">
            <a:extLst>
              <a:ext uri="{FF2B5EF4-FFF2-40B4-BE49-F238E27FC236}">
                <a16:creationId xmlns:a16="http://schemas.microsoft.com/office/drawing/2014/main" id="{5C6CFBB4-2358-3847-A891-56DD4504D08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6" name="Text Placeholder 2">
            <a:extLst>
              <a:ext uri="{FF2B5EF4-FFF2-40B4-BE49-F238E27FC236}">
                <a16:creationId xmlns:a16="http://schemas.microsoft.com/office/drawing/2014/main" id="{FCA932F0-619D-AC43-A797-7FE8DE7E0665}"/>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DD4982B0-1368-6A44-BF22-6DB52D72F7C6}"/>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8" name="Text Placeholder 2">
            <a:extLst>
              <a:ext uri="{FF2B5EF4-FFF2-40B4-BE49-F238E27FC236}">
                <a16:creationId xmlns:a16="http://schemas.microsoft.com/office/drawing/2014/main" id="{EBA3A501-B27D-E948-A2CA-6A950EDD8E9D}"/>
              </a:ext>
            </a:extLst>
          </p:cNvPr>
          <p:cNvSpPr>
            <a:spLocks noGrp="1"/>
          </p:cNvSpPr>
          <p:nvPr>
            <p:ph type="body" sz="quarter" idx="26" hasCustomPrompt="1"/>
          </p:nvPr>
        </p:nvSpPr>
        <p:spPr>
          <a:xfrm>
            <a:off x="1986247" y="495992"/>
            <a:ext cx="2266776"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48550361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nd Subhead: Sidebar - No Content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p:nvSpPr>
        <p:spPr bwMode="gray">
          <a:xfrm flipH="1">
            <a:off x="-3" y="0"/>
            <a:ext cx="4953002" cy="6858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itle Placeholder 1">
            <a:extLst>
              <a:ext uri="{FF2B5EF4-FFF2-40B4-BE49-F238E27FC236}">
                <a16:creationId xmlns:a16="http://schemas.microsoft.com/office/drawing/2014/main" id="{CCC8559E-F5E2-0347-840E-E629DC9F61B5}"/>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5" name="Text Placeholder 7">
            <a:extLst>
              <a:ext uri="{FF2B5EF4-FFF2-40B4-BE49-F238E27FC236}">
                <a16:creationId xmlns:a16="http://schemas.microsoft.com/office/drawing/2014/main" id="{6627A73F-C8F9-C143-A124-0C1DFBD38A80}"/>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0" name="Text Placeholder 2">
            <a:extLst>
              <a:ext uri="{FF2B5EF4-FFF2-40B4-BE49-F238E27FC236}">
                <a16:creationId xmlns:a16="http://schemas.microsoft.com/office/drawing/2014/main" id="{D928B8B3-E1F7-A641-89DC-53E0F210579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148AE39B-AB7A-B24E-96E2-9B3F4693BD1E}"/>
              </a:ext>
            </a:extLst>
          </p:cNvPr>
          <p:cNvSpPr>
            <a:spLocks noGrp="1"/>
          </p:cNvSpPr>
          <p:nvPr>
            <p:ph type="body" sz="quarter" idx="26" hasCustomPrompt="1"/>
          </p:nvPr>
        </p:nvSpPr>
        <p:spPr>
          <a:xfrm>
            <a:off x="1986247" y="495992"/>
            <a:ext cx="2713344"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71299381"/>
      </p:ext>
    </p:extLst>
  </p:cSld>
  <p:clrMapOvr>
    <a:masterClrMapping/>
  </p:clrMapOvr>
  <p:transition/>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Subhead: Sidebar - Messaging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p:nvSpPr>
        <p:spPr bwMode="gray">
          <a:xfrm flipH="1">
            <a:off x="-3" y="0"/>
            <a:ext cx="4953002" cy="6858000"/>
          </a:xfrm>
          <a:prstGeom prst="rect">
            <a:avLst/>
          </a:prstGeom>
          <a:solidFill>
            <a:schemeClr val="accent6">
              <a:lumMod val="75000"/>
            </a:schemeClr>
          </a:solidFill>
          <a:ln w="19050" algn="ctr">
            <a:noFill/>
            <a:miter lim="800000"/>
            <a:headEnd/>
            <a:tailEnd/>
          </a:ln>
        </p:spPr>
        <p:txBody>
          <a:bodyPr wrap="square" lIns="0" tIns="0" rIns="0" bIns="0" rtlCol="0" anchor="ctr">
            <a:noAutofit/>
          </a:bodyPr>
          <a:lstStyle/>
          <a:p>
            <a:pPr algn="ctr"/>
            <a:endParaRPr lang="en-GB"/>
          </a:p>
        </p:txBody>
      </p:sp>
      <p:sp>
        <p:nvSpPr>
          <p:cNvPr id="13" name="Title Placeholder 1">
            <a:extLst>
              <a:ext uri="{FF2B5EF4-FFF2-40B4-BE49-F238E27FC236}">
                <a16:creationId xmlns:a16="http://schemas.microsoft.com/office/drawing/2014/main" id="{41AED56B-4FBA-7B41-8642-EECEFE511009}"/>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7" name="Text Placeholder 7">
            <a:extLst>
              <a:ext uri="{FF2B5EF4-FFF2-40B4-BE49-F238E27FC236}">
                <a16:creationId xmlns:a16="http://schemas.microsoft.com/office/drawing/2014/main" id="{333FE8BD-D45A-D947-B56A-6B35CC9BAFA2}"/>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9" name="Text Placeholder 10">
            <a:extLst>
              <a:ext uri="{FF2B5EF4-FFF2-40B4-BE49-F238E27FC236}">
                <a16:creationId xmlns:a16="http://schemas.microsoft.com/office/drawing/2014/main" id="{EADA8F4D-49E2-2C4C-8EFD-35EE530F2D3D}"/>
              </a:ext>
            </a:extLst>
          </p:cNvPr>
          <p:cNvSpPr>
            <a:spLocks noGrp="1"/>
          </p:cNvSpPr>
          <p:nvPr>
            <p:ph type="body" sz="quarter" idx="16" hasCustomPrompt="1"/>
          </p:nvPr>
        </p:nvSpPr>
        <p:spPr>
          <a:xfrm>
            <a:off x="6019800" y="1092200"/>
            <a:ext cx="5219700" cy="18288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21" name="Text Placeholder 13">
            <a:extLst>
              <a:ext uri="{FF2B5EF4-FFF2-40B4-BE49-F238E27FC236}">
                <a16:creationId xmlns:a16="http://schemas.microsoft.com/office/drawing/2014/main" id="{9F0D342F-3673-B847-BC99-40D039EE6742}"/>
              </a:ext>
            </a:extLst>
          </p:cNvPr>
          <p:cNvSpPr>
            <a:spLocks noGrp="1"/>
          </p:cNvSpPr>
          <p:nvPr>
            <p:ph type="body" sz="quarter" idx="17" hasCustomPrompt="1"/>
          </p:nvPr>
        </p:nvSpPr>
        <p:spPr>
          <a:xfrm>
            <a:off x="6019800" y="3289300"/>
            <a:ext cx="5219700" cy="1766794"/>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Felis </a:t>
            </a:r>
            <a:r>
              <a:rPr lang="en-GB" err="1"/>
              <a:t>blandit</a:t>
            </a:r>
            <a:r>
              <a:rPr lang="en-GB"/>
              <a:t> cursus</a:t>
            </a:r>
            <a:br>
              <a:rPr lang="en-GB"/>
            </a:b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p:txBody>
      </p:sp>
      <p:sp>
        <p:nvSpPr>
          <p:cNvPr id="10" name="Text Placeholder 2">
            <a:extLst>
              <a:ext uri="{FF2B5EF4-FFF2-40B4-BE49-F238E27FC236}">
                <a16:creationId xmlns:a16="http://schemas.microsoft.com/office/drawing/2014/main" id="{D0D9845D-F9D1-BF4F-A74F-B37D037255A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BE37137C-0549-F241-8EFF-61C923DB1698}"/>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683500669"/>
      </p:ext>
    </p:extLst>
  </p:cSld>
  <p:clrMapOvr>
    <a:masterClrMapping/>
  </p:clrMapOvr>
  <p:transition/>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cSld name="Closin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2EE31BC-2C27-1242-B004-1CE54A73147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14401" y="572703"/>
            <a:ext cx="1073386" cy="494097"/>
          </a:xfrm>
          <a:prstGeom prst="rect">
            <a:avLst/>
          </a:prstGeom>
        </p:spPr>
      </p:pic>
      <p:sp>
        <p:nvSpPr>
          <p:cNvPr id="2" name="Title 1"/>
          <p:cNvSpPr>
            <a:spLocks noGrp="1"/>
          </p:cNvSpPr>
          <p:nvPr>
            <p:ph type="title" hasCustomPrompt="1"/>
          </p:nvPr>
        </p:nvSpPr>
        <p:spPr>
          <a:xfrm>
            <a:off x="4067735" y="-732866"/>
            <a:ext cx="7171765" cy="2859761"/>
          </a:xfrm>
        </p:spPr>
        <p:txBody>
          <a:bodyPr anchor="b" anchorCtr="0">
            <a:noAutofit/>
          </a:bodyPr>
          <a:lstStyle>
            <a:lvl1pPr>
              <a:lnSpc>
                <a:spcPct val="85000"/>
              </a:lnSpc>
              <a:defRPr sz="5400" b="0" i="0" baseline="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Thank You </a:t>
            </a:r>
            <a:br>
              <a:rPr lang="en-GB"/>
            </a:br>
            <a:r>
              <a:rPr lang="en-GB"/>
              <a:t>Goes Here.</a:t>
            </a:r>
          </a:p>
        </p:txBody>
      </p:sp>
      <p:sp>
        <p:nvSpPr>
          <p:cNvPr id="11" name="Text Placeholder 3">
            <a:extLst>
              <a:ext uri="{FF2B5EF4-FFF2-40B4-BE49-F238E27FC236}">
                <a16:creationId xmlns:a16="http://schemas.microsoft.com/office/drawing/2014/main" id="{6CF55105-A76C-9843-953F-C323888C4953}"/>
              </a:ext>
            </a:extLst>
          </p:cNvPr>
          <p:cNvSpPr>
            <a:spLocks noGrp="1"/>
          </p:cNvSpPr>
          <p:nvPr>
            <p:ph type="body" sz="quarter" idx="10" hasCustomPrompt="1"/>
          </p:nvPr>
        </p:nvSpPr>
        <p:spPr>
          <a:xfrm>
            <a:off x="4076700" y="2743575"/>
            <a:ext cx="3009900" cy="833344"/>
          </a:xfrm>
        </p:spPr>
        <p:txBody>
          <a:bodyPr>
            <a:noAutofit/>
          </a:bodyPr>
          <a:lstStyle>
            <a:lvl1pPr marL="0" marR="0" indent="0" algn="l" defTabSz="914400" rtl="0" eaLnBrk="1" fontAlgn="auto" latinLnBrk="0" hangingPunct="1">
              <a:lnSpc>
                <a:spcPts val="1800"/>
              </a:lnSpc>
              <a:spcBef>
                <a:spcPts val="0"/>
              </a:spcBef>
              <a:spcAft>
                <a:spcPts val="0"/>
              </a:spcAft>
              <a:buClrTx/>
              <a:buSzTx/>
              <a:buFontTx/>
              <a:buNone/>
              <a:tabLst/>
              <a:defRPr>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stname</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stname</a:t>
            </a: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18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itles goes her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emailaddress@deloitte.com</a:t>
            </a:r>
          </a:p>
        </p:txBody>
      </p:sp>
      <p:sp>
        <p:nvSpPr>
          <p:cNvPr id="12" name="Text Placeholder 3">
            <a:extLst>
              <a:ext uri="{FF2B5EF4-FFF2-40B4-BE49-F238E27FC236}">
                <a16:creationId xmlns:a16="http://schemas.microsoft.com/office/drawing/2014/main" id="{EDCDF306-F52A-5E46-88E7-19FFCAC91A08}"/>
              </a:ext>
            </a:extLst>
          </p:cNvPr>
          <p:cNvSpPr>
            <a:spLocks noGrp="1"/>
          </p:cNvSpPr>
          <p:nvPr>
            <p:ph type="body" sz="quarter" idx="11" hasCustomPrompt="1"/>
          </p:nvPr>
        </p:nvSpPr>
        <p:spPr>
          <a:xfrm>
            <a:off x="4076700" y="4038600"/>
            <a:ext cx="3009900" cy="833344"/>
          </a:xfrm>
        </p:spPr>
        <p:txBody>
          <a:bodyPr>
            <a:noAutofit/>
          </a:bodyPr>
          <a:lstStyle>
            <a:lvl1pPr marL="0" marR="0" indent="0" algn="l" defTabSz="914400" rtl="0" eaLnBrk="1" fontAlgn="auto" latinLnBrk="0" hangingPunct="1">
              <a:lnSpc>
                <a:spcPts val="1800"/>
              </a:lnSpc>
              <a:spcBef>
                <a:spcPts val="0"/>
              </a:spcBef>
              <a:spcAft>
                <a:spcPts val="0"/>
              </a:spcAft>
              <a:buClrTx/>
              <a:buSzTx/>
              <a:buFontTx/>
              <a:buNone/>
              <a:tabLst/>
              <a:defRPr>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stname</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stname</a:t>
            </a: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18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itles goes her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emailaddress@deloitte.com</a:t>
            </a:r>
          </a:p>
        </p:txBody>
      </p:sp>
      <p:sp>
        <p:nvSpPr>
          <p:cNvPr id="13" name="Text Placeholder 3">
            <a:extLst>
              <a:ext uri="{FF2B5EF4-FFF2-40B4-BE49-F238E27FC236}">
                <a16:creationId xmlns:a16="http://schemas.microsoft.com/office/drawing/2014/main" id="{AB23B5EB-C1CE-7845-A770-F98D58E98CC3}"/>
              </a:ext>
            </a:extLst>
          </p:cNvPr>
          <p:cNvSpPr>
            <a:spLocks noGrp="1"/>
          </p:cNvSpPr>
          <p:nvPr>
            <p:ph type="body" sz="quarter" idx="12" hasCustomPrompt="1"/>
          </p:nvPr>
        </p:nvSpPr>
        <p:spPr>
          <a:xfrm>
            <a:off x="7212106" y="2743575"/>
            <a:ext cx="3009900" cy="833344"/>
          </a:xfrm>
        </p:spPr>
        <p:txBody>
          <a:bodyPr>
            <a:noAutofit/>
          </a:bodyPr>
          <a:lstStyle>
            <a:lvl1pPr marL="0" marR="0" indent="0" algn="l" defTabSz="914400" rtl="0" eaLnBrk="1" fontAlgn="auto" latinLnBrk="0" hangingPunct="1">
              <a:lnSpc>
                <a:spcPts val="1800"/>
              </a:lnSpc>
              <a:spcBef>
                <a:spcPts val="0"/>
              </a:spcBef>
              <a:spcAft>
                <a:spcPts val="0"/>
              </a:spcAft>
              <a:buClrTx/>
              <a:buSzTx/>
              <a:buFontTx/>
              <a:buNone/>
              <a:tabLst/>
              <a:defRPr>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stname</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stname</a:t>
            </a: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18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itles goes her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emailaddress@deloitte.com</a:t>
            </a:r>
          </a:p>
        </p:txBody>
      </p:sp>
      <p:sp>
        <p:nvSpPr>
          <p:cNvPr id="14" name="Text Placeholder 3">
            <a:extLst>
              <a:ext uri="{FF2B5EF4-FFF2-40B4-BE49-F238E27FC236}">
                <a16:creationId xmlns:a16="http://schemas.microsoft.com/office/drawing/2014/main" id="{5539EA4A-0DAF-3043-A1E1-9839B0C1A908}"/>
              </a:ext>
            </a:extLst>
          </p:cNvPr>
          <p:cNvSpPr>
            <a:spLocks noGrp="1"/>
          </p:cNvSpPr>
          <p:nvPr>
            <p:ph type="body" sz="quarter" idx="13" hasCustomPrompt="1"/>
          </p:nvPr>
        </p:nvSpPr>
        <p:spPr>
          <a:xfrm>
            <a:off x="7212106" y="4038600"/>
            <a:ext cx="3009900" cy="833344"/>
          </a:xfrm>
        </p:spPr>
        <p:txBody>
          <a:bodyPr>
            <a:noAutofit/>
          </a:bodyPr>
          <a:lstStyle>
            <a:lvl1pPr marL="0" marR="0" indent="0" algn="l" defTabSz="914400" rtl="0" eaLnBrk="1" fontAlgn="auto" latinLnBrk="0" hangingPunct="1">
              <a:lnSpc>
                <a:spcPts val="1800"/>
              </a:lnSpc>
              <a:spcBef>
                <a:spcPts val="0"/>
              </a:spcBef>
              <a:spcAft>
                <a:spcPts val="0"/>
              </a:spcAft>
              <a:buClrTx/>
              <a:buSzTx/>
              <a:buFontTx/>
              <a:buNone/>
              <a:tabLst/>
              <a:defRPr>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stname</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stname</a:t>
            </a: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18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itles goes her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emailaddress@deloitte.com</a:t>
            </a:r>
          </a:p>
        </p:txBody>
      </p:sp>
      <p:sp>
        <p:nvSpPr>
          <p:cNvPr id="15" name="Text Placeholder 2">
            <a:extLst>
              <a:ext uri="{FF2B5EF4-FFF2-40B4-BE49-F238E27FC236}">
                <a16:creationId xmlns:a16="http://schemas.microsoft.com/office/drawing/2014/main" id="{7D88973B-6385-46B6-9878-68F18644F9ED}"/>
              </a:ext>
            </a:extLst>
          </p:cNvPr>
          <p:cNvSpPr txBox="1">
            <a:spLocks/>
          </p:cNvSpPr>
          <p:nvPr/>
        </p:nvSpPr>
        <p:spPr>
          <a:xfrm>
            <a:off x="4067735" y="5223142"/>
            <a:ext cx="6658177" cy="1333106"/>
          </a:xfrm>
          <a:prstGeom prst="rect">
            <a:avLst/>
          </a:prstGeom>
        </p:spPr>
        <p:txBody>
          <a:bodyPr vert="horz" lIns="0" tIns="0" rIns="0" bIns="0" rtlCol="0" anchor="b">
            <a:noAutofit/>
          </a:bodyPr>
          <a:lstStyle>
            <a:lvl1pPr marL="0" marR="0" indent="0" algn="l" defTabSz="914400" rtl="0" eaLnBrk="1" fontAlgn="auto" latinLnBrk="0" hangingPunct="1">
              <a:lnSpc>
                <a:spcPts val="1800"/>
              </a:lnSpc>
              <a:spcBef>
                <a:spcPts val="0"/>
              </a:spcBef>
              <a:spcAft>
                <a:spcPts val="0"/>
              </a:spcAft>
              <a:buClrTx/>
              <a:buSzTx/>
              <a:buFontTx/>
              <a:buNone/>
              <a:tabLst/>
              <a:defRPr sz="1300" b="0" kern="1200">
                <a:solidFill>
                  <a:schemeClr val="tx1"/>
                </a:solidFill>
                <a:latin typeface="+mj-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00000"/>
              </a:lnSpc>
            </a:pPr>
            <a:r>
              <a:rPr lang="en-GB" sz="700">
                <a:latin typeface="+mn-lt"/>
              </a:rPr>
              <a:t>[Insert the Standard legal description]</a:t>
            </a:r>
            <a:br>
              <a:rPr lang="en-GB" sz="700">
                <a:latin typeface="+mn-lt"/>
              </a:rPr>
            </a:br>
            <a:r>
              <a:rPr lang="en-GB" sz="700">
                <a:latin typeface="+mn-lt"/>
              </a:rPr>
              <a:t>Caption </a:t>
            </a:r>
            <a:r>
              <a:rPr lang="en-GB" sz="700" err="1">
                <a:latin typeface="+mn-lt"/>
              </a:rPr>
              <a:t>vel</a:t>
            </a:r>
            <a:r>
              <a:rPr lang="en-GB" sz="700">
                <a:latin typeface="+mn-lt"/>
              </a:rPr>
              <a:t> </a:t>
            </a:r>
            <a:r>
              <a:rPr lang="en-GB" sz="700" err="1">
                <a:latin typeface="+mn-lt"/>
              </a:rPr>
              <a:t>doloreet</a:t>
            </a:r>
            <a:r>
              <a:rPr lang="en-GB" sz="700">
                <a:latin typeface="+mn-lt"/>
              </a:rPr>
              <a:t> </a:t>
            </a:r>
            <a:r>
              <a:rPr lang="en-GB" sz="700" err="1">
                <a:latin typeface="+mn-lt"/>
              </a:rPr>
              <a:t>wisit</a:t>
            </a:r>
            <a:r>
              <a:rPr lang="en-GB" sz="700">
                <a:latin typeface="+mn-lt"/>
              </a:rPr>
              <a:t> </a:t>
            </a:r>
            <a:r>
              <a:rPr lang="en-GB" sz="700" err="1">
                <a:latin typeface="+mn-lt"/>
              </a:rPr>
              <a:t>acincil</a:t>
            </a:r>
            <a:r>
              <a:rPr lang="en-GB" sz="700">
                <a:latin typeface="+mn-lt"/>
              </a:rPr>
              <a:t> </a:t>
            </a:r>
            <a:r>
              <a:rPr lang="en-GB" sz="700" err="1">
                <a:latin typeface="+mn-lt"/>
              </a:rPr>
              <a:t>iquatem</a:t>
            </a:r>
            <a:r>
              <a:rPr lang="en-GB" sz="700">
                <a:latin typeface="+mn-lt"/>
              </a:rPr>
              <a:t> </a:t>
            </a:r>
            <a:r>
              <a:rPr lang="en-GB" sz="700" err="1">
                <a:latin typeface="+mn-lt"/>
              </a:rPr>
              <a:t>dio</a:t>
            </a:r>
            <a:r>
              <a:rPr lang="en-GB" sz="700">
                <a:latin typeface="+mn-lt"/>
              </a:rPr>
              <a:t> </a:t>
            </a:r>
            <a:r>
              <a:rPr lang="en-GB" sz="700" err="1">
                <a:latin typeface="+mn-lt"/>
              </a:rPr>
              <a:t>odigna</a:t>
            </a:r>
            <a:r>
              <a:rPr lang="en-GB" sz="700">
                <a:latin typeface="+mn-lt"/>
              </a:rPr>
              <a:t> </a:t>
            </a:r>
            <a:r>
              <a:rPr lang="en-GB" sz="700" err="1">
                <a:latin typeface="+mn-lt"/>
              </a:rPr>
              <a:t>feugiamcommy</a:t>
            </a:r>
            <a:r>
              <a:rPr lang="en-GB" sz="700">
                <a:latin typeface="+mn-lt"/>
              </a:rPr>
              <a:t> </a:t>
            </a:r>
            <a:r>
              <a:rPr lang="en-GB" sz="700" err="1">
                <a:latin typeface="+mn-lt"/>
              </a:rPr>
              <a:t>nim</a:t>
            </a:r>
            <a:r>
              <a:rPr lang="en-GB" sz="700">
                <a:latin typeface="+mn-lt"/>
              </a:rPr>
              <a:t> </a:t>
            </a:r>
            <a:r>
              <a:rPr lang="en-GB" sz="700" err="1">
                <a:latin typeface="+mn-lt"/>
              </a:rPr>
              <a:t>vulput</a:t>
            </a:r>
            <a:r>
              <a:rPr lang="en-GB" sz="700">
                <a:latin typeface="+mn-lt"/>
              </a:rPr>
              <a:t> </a:t>
            </a:r>
            <a:r>
              <a:rPr lang="en-GB" sz="700" err="1">
                <a:latin typeface="+mn-lt"/>
              </a:rPr>
              <a:t>adip</a:t>
            </a:r>
            <a:r>
              <a:rPr lang="en-GB" sz="700">
                <a:latin typeface="+mn-lt"/>
              </a:rPr>
              <a:t> </a:t>
            </a:r>
            <a:r>
              <a:rPr lang="en-GB" sz="700" err="1">
                <a:latin typeface="+mn-lt"/>
              </a:rPr>
              <a:t>exerosto</a:t>
            </a:r>
            <a:r>
              <a:rPr lang="en-GB" sz="700">
                <a:latin typeface="+mn-lt"/>
              </a:rPr>
              <a:t> </a:t>
            </a:r>
            <a:r>
              <a:rPr lang="en-GB" sz="700" err="1">
                <a:latin typeface="+mn-lt"/>
              </a:rPr>
              <a:t>essi</a:t>
            </a:r>
            <a:r>
              <a:rPr lang="en-GB" sz="700">
                <a:latin typeface="+mn-lt"/>
              </a:rPr>
              <a:t>. </a:t>
            </a:r>
            <a:r>
              <a:rPr lang="en-GB" sz="700" err="1">
                <a:latin typeface="+mn-lt"/>
              </a:rPr>
              <a:t>Rud</a:t>
            </a:r>
            <a:r>
              <a:rPr lang="en-GB" sz="700">
                <a:latin typeface="+mn-lt"/>
              </a:rPr>
              <a:t> min </a:t>
            </a:r>
            <a:r>
              <a:rPr lang="en-GB" sz="700" err="1">
                <a:latin typeface="+mn-lt"/>
              </a:rPr>
              <a:t>ver</a:t>
            </a:r>
            <a:r>
              <a:rPr lang="en-GB" sz="700">
                <a:latin typeface="+mn-lt"/>
              </a:rPr>
              <a:t> </a:t>
            </a:r>
            <a:r>
              <a:rPr lang="en-GB" sz="700" err="1">
                <a:latin typeface="+mn-lt"/>
              </a:rPr>
              <a:t>sed</a:t>
            </a:r>
            <a:r>
              <a:rPr lang="en-GB" sz="700">
                <a:latin typeface="+mn-lt"/>
              </a:rPr>
              <a:t> magna ate tat, </a:t>
            </a:r>
            <a:r>
              <a:rPr lang="en-GB" sz="700" err="1">
                <a:latin typeface="+mn-lt"/>
              </a:rPr>
              <a:t>vendigna</a:t>
            </a:r>
            <a:r>
              <a:rPr lang="en-GB" sz="700">
                <a:latin typeface="+mn-lt"/>
              </a:rPr>
              <a:t> </a:t>
            </a:r>
            <a:r>
              <a:rPr lang="en-GB" sz="700" err="1">
                <a:latin typeface="+mn-lt"/>
              </a:rPr>
              <a:t>conulputat</a:t>
            </a:r>
            <a:r>
              <a:rPr lang="en-GB" sz="700">
                <a:latin typeface="+mn-lt"/>
              </a:rPr>
              <a:t>. </a:t>
            </a:r>
            <a:r>
              <a:rPr lang="en-GB" sz="700" err="1">
                <a:latin typeface="+mn-lt"/>
              </a:rPr>
              <a:t>Ulput</a:t>
            </a:r>
            <a:r>
              <a:rPr lang="en-GB" sz="700">
                <a:latin typeface="+mn-lt"/>
              </a:rPr>
              <a:t> </a:t>
            </a:r>
            <a:r>
              <a:rPr lang="en-GB" sz="700" err="1">
                <a:latin typeface="+mn-lt"/>
              </a:rPr>
              <a:t>pratie</a:t>
            </a:r>
            <a:r>
              <a:rPr lang="en-GB" sz="700">
                <a:latin typeface="+mn-lt"/>
              </a:rPr>
              <a:t> </a:t>
            </a:r>
            <a:r>
              <a:rPr lang="en-GB" sz="700" err="1">
                <a:latin typeface="+mn-lt"/>
              </a:rPr>
              <a:t>ming</a:t>
            </a:r>
            <a:r>
              <a:rPr lang="en-GB" sz="700">
                <a:latin typeface="+mn-lt"/>
              </a:rPr>
              <a:t> et, </a:t>
            </a:r>
            <a:r>
              <a:rPr lang="en-GB" sz="700" err="1">
                <a:latin typeface="+mn-lt"/>
              </a:rPr>
              <a:t>commy</a:t>
            </a:r>
            <a:r>
              <a:rPr lang="en-GB" sz="700">
                <a:latin typeface="+mn-lt"/>
              </a:rPr>
              <a:t> </a:t>
            </a:r>
            <a:r>
              <a:rPr lang="en-GB" sz="700" err="1">
                <a:latin typeface="+mn-lt"/>
              </a:rPr>
              <a:t>nos</a:t>
            </a:r>
            <a:r>
              <a:rPr lang="en-GB" sz="700">
                <a:latin typeface="+mn-lt"/>
              </a:rPr>
              <a:t> et </a:t>
            </a:r>
            <a:r>
              <a:rPr lang="en-GB" sz="700" err="1">
                <a:latin typeface="+mn-lt"/>
              </a:rPr>
              <a:t>nim</a:t>
            </a:r>
            <a:r>
              <a:rPr lang="en-GB" sz="700">
                <a:latin typeface="+mn-lt"/>
              </a:rPr>
              <a:t> il et at. Ut </a:t>
            </a:r>
            <a:r>
              <a:rPr lang="en-GB" sz="700" err="1">
                <a:latin typeface="+mn-lt"/>
              </a:rPr>
              <a:t>aliquipit</a:t>
            </a:r>
            <a:r>
              <a:rPr lang="en-GB" sz="700">
                <a:latin typeface="+mn-lt"/>
              </a:rPr>
              <a:t> </a:t>
            </a:r>
            <a:r>
              <a:rPr lang="en-GB" sz="700" err="1">
                <a:latin typeface="+mn-lt"/>
              </a:rPr>
              <a:t>amcommy</a:t>
            </a:r>
            <a:r>
              <a:rPr lang="en-GB" sz="700">
                <a:latin typeface="+mn-lt"/>
              </a:rPr>
              <a:t> </a:t>
            </a:r>
            <a:r>
              <a:rPr lang="en-GB" sz="700" err="1">
                <a:latin typeface="+mn-lt"/>
              </a:rPr>
              <a:t>nullaore</a:t>
            </a:r>
            <a:r>
              <a:rPr lang="en-GB" sz="700">
                <a:latin typeface="+mn-lt"/>
              </a:rPr>
              <a:t> </a:t>
            </a:r>
            <a:r>
              <a:rPr lang="en-GB" sz="700" err="1">
                <a:latin typeface="+mn-lt"/>
              </a:rPr>
              <a:t>endrem</a:t>
            </a:r>
            <a:r>
              <a:rPr lang="en-GB" sz="700">
                <a:latin typeface="+mn-lt"/>
              </a:rPr>
              <a:t> er </a:t>
            </a:r>
            <a:r>
              <a:rPr lang="en-GB" sz="700" err="1">
                <a:latin typeface="+mn-lt"/>
              </a:rPr>
              <a:t>incilla</a:t>
            </a:r>
            <a:r>
              <a:rPr lang="en-GB" sz="700">
                <a:latin typeface="+mn-lt"/>
              </a:rPr>
              <a:t> </a:t>
            </a:r>
            <a:r>
              <a:rPr lang="en-GB" sz="700" err="1">
                <a:latin typeface="+mn-lt"/>
              </a:rPr>
              <a:t>conse</a:t>
            </a:r>
            <a:r>
              <a:rPr lang="en-GB" sz="700">
                <a:latin typeface="+mn-lt"/>
              </a:rPr>
              <a:t> feu </a:t>
            </a:r>
            <a:r>
              <a:rPr lang="en-GB" sz="700" err="1">
                <a:latin typeface="+mn-lt"/>
              </a:rPr>
              <a:t>facin</a:t>
            </a:r>
            <a:r>
              <a:rPr lang="en-GB" sz="700">
                <a:latin typeface="+mn-lt"/>
              </a:rPr>
              <a:t> </a:t>
            </a:r>
            <a:r>
              <a:rPr lang="en-GB" sz="700" err="1">
                <a:latin typeface="+mn-lt"/>
              </a:rPr>
              <a:t>venisi</a:t>
            </a:r>
            <a:r>
              <a:rPr lang="en-GB" sz="700">
                <a:latin typeface="+mn-lt"/>
              </a:rPr>
              <a:t>.</a:t>
            </a:r>
          </a:p>
          <a:p>
            <a:pPr>
              <a:lnSpc>
                <a:spcPct val="100000"/>
              </a:lnSpc>
            </a:pPr>
            <a:r>
              <a:rPr lang="en-GB" sz="700">
                <a:latin typeface="+mn-lt"/>
              </a:rPr>
              <a:t>[Click here for more information about the </a:t>
            </a:r>
            <a:r>
              <a:rPr lang="en-GB" sz="700" b="1">
                <a:latin typeface="+mn-lt"/>
                <a:hlinkClick r:id="rId3"/>
              </a:rPr>
              <a:t>DTTL Language &amp; Style Guide</a:t>
            </a:r>
            <a:r>
              <a:rPr lang="en-GB" sz="700">
                <a:latin typeface="+mn-lt"/>
              </a:rPr>
              <a:t>]</a:t>
            </a:r>
          </a:p>
          <a:p>
            <a:pPr>
              <a:lnSpc>
                <a:spcPct val="100000"/>
              </a:lnSpc>
            </a:pPr>
            <a:r>
              <a:rPr lang="en-GB" sz="700">
                <a:latin typeface="+mn-lt"/>
              </a:rPr>
              <a:t>[Insert the Deloitte local profile]</a:t>
            </a:r>
            <a:br>
              <a:rPr lang="en-GB" sz="700">
                <a:latin typeface="+mn-lt"/>
              </a:rPr>
            </a:br>
            <a:r>
              <a:rPr lang="en-GB" sz="700">
                <a:latin typeface="+mn-lt"/>
              </a:rPr>
              <a:t>Met prat, </a:t>
            </a:r>
            <a:r>
              <a:rPr lang="en-GB" sz="700" err="1">
                <a:latin typeface="+mn-lt"/>
              </a:rPr>
              <a:t>venim</a:t>
            </a:r>
            <a:r>
              <a:rPr lang="en-GB" sz="700">
                <a:latin typeface="+mn-lt"/>
              </a:rPr>
              <a:t> </a:t>
            </a:r>
            <a:r>
              <a:rPr lang="en-GB" sz="700" err="1">
                <a:latin typeface="+mn-lt"/>
              </a:rPr>
              <a:t>estrud</a:t>
            </a:r>
            <a:r>
              <a:rPr lang="en-GB" sz="700">
                <a:latin typeface="+mn-lt"/>
              </a:rPr>
              <a:t> </a:t>
            </a:r>
            <a:r>
              <a:rPr lang="en-GB" sz="700" err="1">
                <a:latin typeface="+mn-lt"/>
              </a:rPr>
              <a:t>modignibh</a:t>
            </a:r>
            <a:r>
              <a:rPr lang="en-GB" sz="700">
                <a:latin typeface="+mn-lt"/>
              </a:rPr>
              <a:t> </a:t>
            </a:r>
            <a:r>
              <a:rPr lang="en-GB" sz="700" err="1">
                <a:latin typeface="+mn-lt"/>
              </a:rPr>
              <a:t>eumsan</a:t>
            </a:r>
            <a:r>
              <a:rPr lang="en-GB" sz="700">
                <a:latin typeface="+mn-lt"/>
              </a:rPr>
              <a:t> </a:t>
            </a:r>
            <a:r>
              <a:rPr lang="en-GB" sz="700" err="1">
                <a:latin typeface="+mn-lt"/>
              </a:rPr>
              <a:t>vel</a:t>
            </a:r>
            <a:r>
              <a:rPr lang="en-GB" sz="700">
                <a:latin typeface="+mn-lt"/>
              </a:rPr>
              <a:t> dolore </a:t>
            </a:r>
            <a:r>
              <a:rPr lang="en-GB" sz="700" err="1">
                <a:latin typeface="+mn-lt"/>
              </a:rPr>
              <a:t>coreetuercin</a:t>
            </a:r>
            <a:r>
              <a:rPr lang="en-GB" sz="700">
                <a:latin typeface="+mn-lt"/>
              </a:rPr>
              <a:t> </a:t>
            </a:r>
            <a:r>
              <a:rPr lang="en-GB" sz="700" err="1">
                <a:latin typeface="+mn-lt"/>
              </a:rPr>
              <a:t>venibh</a:t>
            </a:r>
            <a:r>
              <a:rPr lang="en-GB" sz="700">
                <a:latin typeface="+mn-lt"/>
              </a:rPr>
              <a:t> </a:t>
            </a:r>
            <a:r>
              <a:rPr lang="en-GB" sz="700" err="1">
                <a:latin typeface="+mn-lt"/>
              </a:rPr>
              <a:t>eugait</a:t>
            </a:r>
            <a:r>
              <a:rPr lang="en-GB" sz="700">
                <a:latin typeface="+mn-lt"/>
              </a:rPr>
              <a:t> </a:t>
            </a:r>
            <a:r>
              <a:rPr lang="en-GB" sz="700" err="1">
                <a:latin typeface="+mn-lt"/>
              </a:rPr>
              <a:t>nonsed</a:t>
            </a:r>
            <a:r>
              <a:rPr lang="en-GB" sz="700">
                <a:latin typeface="+mn-lt"/>
              </a:rPr>
              <a:t> magna </a:t>
            </a:r>
            <a:r>
              <a:rPr lang="en-GB" sz="700" err="1">
                <a:latin typeface="+mn-lt"/>
              </a:rPr>
              <a:t>conum</a:t>
            </a:r>
            <a:r>
              <a:rPr lang="en-GB" sz="700">
                <a:latin typeface="+mn-lt"/>
              </a:rPr>
              <a:t> ad </a:t>
            </a:r>
            <a:r>
              <a:rPr lang="en-GB" sz="700" err="1">
                <a:latin typeface="+mn-lt"/>
              </a:rPr>
              <a:t>tio</a:t>
            </a:r>
            <a:r>
              <a:rPr lang="en-GB" sz="700">
                <a:latin typeface="+mn-lt"/>
              </a:rPr>
              <a:t> od et, </a:t>
            </a:r>
            <a:r>
              <a:rPr lang="en-GB" sz="700" err="1">
                <a:latin typeface="+mn-lt"/>
              </a:rPr>
              <a:t>consequis</a:t>
            </a:r>
            <a:r>
              <a:rPr lang="en-GB" sz="700">
                <a:latin typeface="+mn-lt"/>
              </a:rPr>
              <a:t> </a:t>
            </a:r>
            <a:r>
              <a:rPr lang="en-GB" sz="700" err="1">
                <a:latin typeface="+mn-lt"/>
              </a:rPr>
              <a:t>amconsequat</a:t>
            </a:r>
            <a:endParaRPr lang="en-GB" sz="700">
              <a:latin typeface="+mn-lt"/>
            </a:endParaRPr>
          </a:p>
          <a:p>
            <a:pPr>
              <a:lnSpc>
                <a:spcPct val="100000"/>
              </a:lnSpc>
            </a:pPr>
            <a:r>
              <a:rPr lang="en-GB" sz="700">
                <a:latin typeface="+mn-lt"/>
              </a:rPr>
              <a:t>[Insert the appropriate internal / external disclaimer]</a:t>
            </a:r>
          </a:p>
          <a:p>
            <a:pPr>
              <a:lnSpc>
                <a:spcPct val="100000"/>
              </a:lnSpc>
            </a:pPr>
            <a:r>
              <a:rPr lang="en-GB" sz="700">
                <a:latin typeface="+mn-lt"/>
              </a:rPr>
              <a:t>Ut </a:t>
            </a:r>
            <a:r>
              <a:rPr lang="en-GB" sz="700" err="1">
                <a:latin typeface="+mn-lt"/>
              </a:rPr>
              <a:t>iustionulput</a:t>
            </a:r>
            <a:r>
              <a:rPr lang="en-GB" sz="700">
                <a:latin typeface="+mn-lt"/>
              </a:rPr>
              <a:t> </a:t>
            </a:r>
            <a:r>
              <a:rPr lang="en-GB" sz="700" err="1">
                <a:latin typeface="+mn-lt"/>
              </a:rPr>
              <a:t>endre</a:t>
            </a:r>
            <a:r>
              <a:rPr lang="en-GB" sz="700">
                <a:latin typeface="+mn-lt"/>
              </a:rPr>
              <a:t> </a:t>
            </a:r>
            <a:r>
              <a:rPr lang="en-GB" sz="700" err="1">
                <a:latin typeface="+mn-lt"/>
              </a:rPr>
              <a:t>cor</a:t>
            </a:r>
            <a:r>
              <a:rPr lang="en-GB" sz="700">
                <a:latin typeface="+mn-lt"/>
              </a:rPr>
              <a:t> </a:t>
            </a:r>
            <a:r>
              <a:rPr lang="en-GB" sz="700" err="1">
                <a:latin typeface="+mn-lt"/>
              </a:rPr>
              <a:t>ilis</a:t>
            </a:r>
            <a:r>
              <a:rPr lang="en-GB" sz="700">
                <a:latin typeface="+mn-lt"/>
              </a:rPr>
              <a:t> </a:t>
            </a:r>
            <a:r>
              <a:rPr lang="en-GB" sz="700" err="1">
                <a:latin typeface="+mn-lt"/>
              </a:rPr>
              <a:t>ent</a:t>
            </a:r>
            <a:r>
              <a:rPr lang="en-GB" sz="700">
                <a:latin typeface="+mn-lt"/>
              </a:rPr>
              <a:t> </a:t>
            </a:r>
            <a:r>
              <a:rPr lang="en-GB" sz="700" err="1">
                <a:latin typeface="+mn-lt"/>
              </a:rPr>
              <a:t>accum</a:t>
            </a:r>
            <a:r>
              <a:rPr lang="en-GB" sz="700">
                <a:latin typeface="+mn-lt"/>
              </a:rPr>
              <a:t> </a:t>
            </a:r>
            <a:r>
              <a:rPr lang="en-GB" sz="700" err="1">
                <a:latin typeface="+mn-lt"/>
              </a:rPr>
              <a:t>vullan</a:t>
            </a:r>
            <a:r>
              <a:rPr lang="en-GB" sz="700">
                <a:latin typeface="+mn-lt"/>
              </a:rPr>
              <a:t> </a:t>
            </a:r>
            <a:r>
              <a:rPr lang="en-GB" sz="700" err="1">
                <a:latin typeface="+mn-lt"/>
              </a:rPr>
              <a:t>voluptate</a:t>
            </a:r>
            <a:r>
              <a:rPr lang="en-GB" sz="700">
                <a:latin typeface="+mn-lt"/>
              </a:rPr>
              <a:t> </a:t>
            </a:r>
            <a:r>
              <a:rPr lang="en-GB" sz="700" err="1">
                <a:latin typeface="+mn-lt"/>
              </a:rPr>
              <a:t>feui</a:t>
            </a:r>
            <a:r>
              <a:rPr lang="en-GB" sz="700">
                <a:latin typeface="+mn-lt"/>
              </a:rPr>
              <a:t> tat. </a:t>
            </a:r>
            <a:r>
              <a:rPr lang="en-GB" sz="700" err="1">
                <a:latin typeface="+mn-lt"/>
              </a:rPr>
              <a:t>Tionsed</a:t>
            </a:r>
            <a:r>
              <a:rPr lang="en-GB" sz="700">
                <a:latin typeface="+mn-lt"/>
              </a:rPr>
              <a:t> </a:t>
            </a:r>
            <a:r>
              <a:rPr lang="en-GB" sz="700" err="1">
                <a:latin typeface="+mn-lt"/>
              </a:rPr>
              <a:t>dolor</a:t>
            </a:r>
            <a:r>
              <a:rPr lang="en-GB" sz="700">
                <a:latin typeface="+mn-lt"/>
              </a:rPr>
              <a:t> </a:t>
            </a:r>
            <a:r>
              <a:rPr lang="en-GB" sz="700" err="1">
                <a:latin typeface="+mn-lt"/>
              </a:rPr>
              <a:t>irilis</a:t>
            </a:r>
            <a:r>
              <a:rPr lang="en-GB" sz="700">
                <a:latin typeface="+mn-lt"/>
              </a:rPr>
              <a:t> </a:t>
            </a:r>
            <a:r>
              <a:rPr lang="en-GB" sz="700" err="1">
                <a:latin typeface="+mn-lt"/>
              </a:rPr>
              <a:t>elit</a:t>
            </a:r>
            <a:r>
              <a:rPr lang="en-GB" sz="700">
                <a:latin typeface="+mn-lt"/>
              </a:rPr>
              <a:t> </a:t>
            </a:r>
            <a:r>
              <a:rPr lang="en-GB" sz="700" err="1">
                <a:latin typeface="+mn-lt"/>
              </a:rPr>
              <a:t>dolumsan</a:t>
            </a:r>
            <a:r>
              <a:rPr lang="en-GB" sz="700">
                <a:latin typeface="+mn-lt"/>
              </a:rPr>
              <a:t> </a:t>
            </a:r>
            <a:r>
              <a:rPr lang="en-GB" sz="700" err="1">
                <a:latin typeface="+mn-lt"/>
              </a:rPr>
              <a:t>velent</a:t>
            </a:r>
            <a:r>
              <a:rPr lang="en-GB" sz="700">
                <a:latin typeface="+mn-lt"/>
              </a:rPr>
              <a:t> </a:t>
            </a:r>
            <a:r>
              <a:rPr lang="en-GB" sz="700" err="1">
                <a:latin typeface="+mn-lt"/>
              </a:rPr>
              <a:t>praesse</a:t>
            </a:r>
            <a:r>
              <a:rPr lang="en-GB" sz="700">
                <a:latin typeface="+mn-lt"/>
              </a:rPr>
              <a:t> </a:t>
            </a:r>
            <a:r>
              <a:rPr lang="en-GB" sz="700" err="1">
                <a:latin typeface="+mn-lt"/>
              </a:rPr>
              <a:t>quisci</a:t>
            </a:r>
            <a:r>
              <a:rPr lang="en-GB" sz="700">
                <a:latin typeface="+mn-lt"/>
              </a:rPr>
              <a:t> </a:t>
            </a:r>
            <a:r>
              <a:rPr lang="en-GB" sz="700" err="1">
                <a:latin typeface="+mn-lt"/>
              </a:rPr>
              <a:t>tatet</a:t>
            </a:r>
            <a:r>
              <a:rPr lang="en-GB" sz="700">
                <a:latin typeface="+mn-lt"/>
              </a:rPr>
              <a:t>, </a:t>
            </a:r>
            <a:r>
              <a:rPr lang="en-GB" sz="700" err="1">
                <a:latin typeface="+mn-lt"/>
              </a:rPr>
              <a:t>volessi</a:t>
            </a:r>
            <a:r>
              <a:rPr lang="en-GB" sz="700">
                <a:latin typeface="+mn-lt"/>
              </a:rPr>
              <a:t> </a:t>
            </a:r>
            <a:r>
              <a:rPr lang="en-GB" sz="700" err="1">
                <a:latin typeface="+mn-lt"/>
              </a:rPr>
              <a:t>blan</a:t>
            </a:r>
            <a:r>
              <a:rPr lang="en-GB" sz="700">
                <a:latin typeface="+mn-lt"/>
              </a:rPr>
              <a:t> </a:t>
            </a:r>
            <a:r>
              <a:rPr lang="en-GB" sz="700" err="1">
                <a:latin typeface="+mn-lt"/>
              </a:rPr>
              <a:t>vel</a:t>
            </a:r>
            <a:r>
              <a:rPr lang="en-GB" sz="700">
                <a:latin typeface="+mn-lt"/>
              </a:rPr>
              <a:t> </a:t>
            </a:r>
            <a:r>
              <a:rPr lang="en-GB" sz="700" err="1">
                <a:latin typeface="+mn-lt"/>
              </a:rPr>
              <a:t>eui</a:t>
            </a:r>
            <a:r>
              <a:rPr lang="en-GB" sz="700">
                <a:latin typeface="+mn-lt"/>
              </a:rPr>
              <a:t> </a:t>
            </a:r>
            <a:r>
              <a:rPr lang="en-GB" sz="700" err="1">
                <a:latin typeface="+mn-lt"/>
              </a:rPr>
              <a:t>eniam</a:t>
            </a:r>
            <a:r>
              <a:rPr lang="en-GB" sz="700">
                <a:latin typeface="+mn-lt"/>
              </a:rPr>
              <a:t> </a:t>
            </a:r>
            <a:r>
              <a:rPr lang="en-GB" sz="700" err="1">
                <a:latin typeface="+mn-lt"/>
              </a:rPr>
              <a:t>vullaortisi</a:t>
            </a:r>
            <a:r>
              <a:rPr lang="en-GB" sz="700">
                <a:latin typeface="+mn-lt"/>
              </a:rPr>
              <a:t> </a:t>
            </a:r>
            <a:r>
              <a:rPr lang="en-GB" sz="700" err="1">
                <a:latin typeface="+mn-lt"/>
              </a:rPr>
              <a:t>bla</a:t>
            </a:r>
            <a:r>
              <a:rPr lang="en-GB" sz="700">
                <a:latin typeface="+mn-lt"/>
              </a:rPr>
              <a:t> </a:t>
            </a:r>
            <a:r>
              <a:rPr lang="en-GB" sz="700" err="1">
                <a:latin typeface="+mn-lt"/>
              </a:rPr>
              <a:t>faccum</a:t>
            </a:r>
            <a:r>
              <a:rPr lang="en-GB" sz="700">
                <a:latin typeface="+mn-lt"/>
              </a:rPr>
              <a:t> </a:t>
            </a:r>
            <a:r>
              <a:rPr lang="en-GB" sz="700" err="1">
                <a:latin typeface="+mn-lt"/>
              </a:rPr>
              <a:t>vel</a:t>
            </a:r>
            <a:r>
              <a:rPr lang="en-GB" sz="700">
                <a:latin typeface="+mn-lt"/>
              </a:rPr>
              <a:t> </a:t>
            </a:r>
            <a:r>
              <a:rPr lang="en-GB" sz="700" err="1">
                <a:latin typeface="+mn-lt"/>
              </a:rPr>
              <a:t>utet</a:t>
            </a:r>
            <a:r>
              <a:rPr lang="en-GB" sz="700">
                <a:latin typeface="+mn-lt"/>
              </a:rPr>
              <a:t> </a:t>
            </a:r>
            <a:r>
              <a:rPr lang="en-GB" sz="700" err="1">
                <a:latin typeface="+mn-lt"/>
              </a:rPr>
              <a:t>aut</a:t>
            </a:r>
            <a:r>
              <a:rPr lang="en-GB" sz="700">
                <a:latin typeface="+mn-lt"/>
              </a:rPr>
              <a:t> </a:t>
            </a:r>
            <a:r>
              <a:rPr lang="en-GB" sz="700" err="1">
                <a:latin typeface="+mn-lt"/>
              </a:rPr>
              <a:t>iriure</a:t>
            </a:r>
            <a:r>
              <a:rPr lang="en-GB" sz="700">
                <a:latin typeface="+mn-lt"/>
              </a:rPr>
              <a:t> </a:t>
            </a:r>
            <a:r>
              <a:rPr lang="en-GB" sz="700" err="1">
                <a:latin typeface="+mn-lt"/>
              </a:rPr>
              <a:t>eu</a:t>
            </a:r>
            <a:r>
              <a:rPr lang="en-GB" sz="700">
                <a:latin typeface="+mn-lt"/>
              </a:rPr>
              <a:t> </a:t>
            </a:r>
            <a:r>
              <a:rPr lang="en-GB" sz="700" err="1">
                <a:latin typeface="+mn-lt"/>
              </a:rPr>
              <a:t>faccum</a:t>
            </a:r>
            <a:r>
              <a:rPr lang="en-GB" sz="700">
                <a:latin typeface="+mn-lt"/>
              </a:rPr>
              <a:t> </a:t>
            </a:r>
            <a:r>
              <a:rPr lang="en-GB" sz="700" err="1">
                <a:latin typeface="+mn-lt"/>
              </a:rPr>
              <a:t>adigniat</a:t>
            </a:r>
            <a:r>
              <a:rPr lang="en-GB" sz="700">
                <a:latin typeface="+mn-lt"/>
              </a:rPr>
              <a:t>, core </a:t>
            </a:r>
            <a:r>
              <a:rPr lang="en-GB" sz="700" err="1">
                <a:latin typeface="+mn-lt"/>
              </a:rPr>
              <a:t>te</a:t>
            </a:r>
            <a:r>
              <a:rPr lang="en-GB" sz="700">
                <a:latin typeface="+mn-lt"/>
              </a:rPr>
              <a:t> do </a:t>
            </a:r>
            <a:r>
              <a:rPr lang="en-GB" sz="700" err="1">
                <a:latin typeface="+mn-lt"/>
              </a:rPr>
              <a:t>dionsenisim</a:t>
            </a:r>
            <a:r>
              <a:rPr lang="en-GB" sz="700">
                <a:latin typeface="+mn-lt"/>
              </a:rPr>
              <a:t> </a:t>
            </a:r>
            <a:r>
              <a:rPr lang="en-GB" sz="700" err="1">
                <a:latin typeface="+mn-lt"/>
              </a:rPr>
              <a:t>erciliquatue</a:t>
            </a:r>
            <a:r>
              <a:rPr lang="en-GB" sz="700">
                <a:latin typeface="+mn-lt"/>
              </a:rPr>
              <a:t> </a:t>
            </a:r>
            <a:r>
              <a:rPr lang="en-GB" sz="700" err="1">
                <a:latin typeface="+mn-lt"/>
              </a:rPr>
              <a:t>te</a:t>
            </a:r>
            <a:r>
              <a:rPr lang="en-GB" sz="700">
                <a:latin typeface="+mn-lt"/>
              </a:rPr>
              <a:t> </a:t>
            </a:r>
            <a:r>
              <a:rPr lang="en-GB" sz="700" err="1">
                <a:latin typeface="+mn-lt"/>
              </a:rPr>
              <a:t>ming</a:t>
            </a:r>
            <a:r>
              <a:rPr lang="en-GB" sz="700">
                <a:latin typeface="+mn-lt"/>
              </a:rPr>
              <a:t> </a:t>
            </a:r>
            <a:r>
              <a:rPr lang="en-GB" sz="700" err="1">
                <a:latin typeface="+mn-lt"/>
              </a:rPr>
              <a:t>ea</a:t>
            </a:r>
            <a:r>
              <a:rPr lang="en-GB" sz="700">
                <a:latin typeface="+mn-lt"/>
              </a:rPr>
              <a:t> </a:t>
            </a:r>
            <a:r>
              <a:rPr lang="en-GB" sz="700" err="1">
                <a:latin typeface="+mn-lt"/>
              </a:rPr>
              <a:t>facincillut</a:t>
            </a:r>
            <a:r>
              <a:rPr lang="en-GB" sz="700">
                <a:latin typeface="+mn-lt"/>
              </a:rPr>
              <a:t> </a:t>
            </a:r>
            <a:r>
              <a:rPr lang="en-GB" sz="700" err="1">
                <a:latin typeface="+mn-lt"/>
              </a:rPr>
              <a:t>lan</a:t>
            </a:r>
            <a:r>
              <a:rPr lang="en-GB" sz="700">
                <a:latin typeface="+mn-lt"/>
              </a:rPr>
              <a:t> </a:t>
            </a:r>
            <a:r>
              <a:rPr lang="en-GB" sz="700" err="1">
                <a:latin typeface="+mn-lt"/>
              </a:rPr>
              <a:t>henim</a:t>
            </a:r>
            <a:r>
              <a:rPr lang="en-GB" sz="700">
                <a:latin typeface="+mn-lt"/>
              </a:rPr>
              <a:t> </a:t>
            </a:r>
          </a:p>
          <a:p>
            <a:pPr>
              <a:lnSpc>
                <a:spcPct val="100000"/>
              </a:lnSpc>
            </a:pPr>
            <a:r>
              <a:rPr lang="en-GB" sz="700">
                <a:latin typeface="+mn-lt"/>
              </a:rPr>
              <a:t>[For MF communications, please consult with your internal risk or legal teams as to what additional language is appropriate.]</a:t>
            </a:r>
          </a:p>
          <a:p>
            <a:pPr>
              <a:lnSpc>
                <a:spcPct val="100000"/>
              </a:lnSpc>
            </a:pPr>
            <a:r>
              <a:rPr lang="en-GB" sz="700">
                <a:latin typeface="+mn-lt"/>
              </a:rPr>
              <a:t>© [Year] [Legal entity name].</a:t>
            </a:r>
          </a:p>
          <a:p>
            <a:pPr>
              <a:lnSpc>
                <a:spcPct val="100000"/>
              </a:lnSpc>
            </a:pPr>
            <a:r>
              <a:rPr lang="en-GB" sz="700">
                <a:solidFill>
                  <a:schemeClr val="bg1">
                    <a:lumMod val="65000"/>
                  </a:schemeClr>
                </a:solidFill>
                <a:latin typeface="Open Sans" charset="0"/>
                <a:ea typeface="Open Sans" charset="0"/>
                <a:cs typeface="Open Sans" charset="0"/>
                <a:sym typeface="Frutiger Next Pro Light" charset="0"/>
              </a:rPr>
              <a:t>[To edit, click View &gt; Slide Master &gt; Slide Master]</a:t>
            </a:r>
            <a:endParaRPr lang="en-GB" sz="700">
              <a:latin typeface="+mn-lt"/>
            </a:endParaRPr>
          </a:p>
        </p:txBody>
      </p:sp>
    </p:spTree>
    <p:extLst>
      <p:ext uri="{BB962C8B-B14F-4D97-AF65-F5344CB8AC3E}">
        <p14:creationId xmlns:p14="http://schemas.microsoft.com/office/powerpoint/2010/main" val="3757342192"/>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GB"/>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Tree>
    <p:extLst>
      <p:ext uri="{BB962C8B-B14F-4D97-AF65-F5344CB8AC3E}">
        <p14:creationId xmlns:p14="http://schemas.microsoft.com/office/powerpoint/2010/main" val="127102471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Subhead_MAF_Final">
    <p:spTree>
      <p:nvGrpSpPr>
        <p:cNvPr id="1" name=""/>
        <p:cNvGrpSpPr/>
        <p:nvPr/>
      </p:nvGrpSpPr>
      <p:grpSpPr>
        <a:xfrm>
          <a:off x="0" y="0"/>
          <a:ext cx="0" cy="0"/>
          <a:chOff x="0" y="0"/>
          <a:chExt cx="0" cy="0"/>
        </a:xfrm>
      </p:grpSpPr>
      <p:sp>
        <p:nvSpPr>
          <p:cNvPr id="2" name="Title 1"/>
          <p:cNvSpPr>
            <a:spLocks noGrp="1"/>
          </p:cNvSpPr>
          <p:nvPr>
            <p:ph type="title"/>
          </p:nvPr>
        </p:nvSpPr>
        <p:spPr>
          <a:xfrm>
            <a:off x="447674" y="469900"/>
            <a:ext cx="11277280"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457520" y="871240"/>
            <a:ext cx="11276960"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19896419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Quals_MAF_Fin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14700" y="469900"/>
            <a:ext cx="8410254" cy="732508"/>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a:t>
            </a:r>
            <a:br>
              <a:rPr lang="en-GB"/>
            </a:br>
            <a:r>
              <a:rPr lang="en-GB"/>
              <a:t>style</a:t>
            </a:r>
          </a:p>
        </p:txBody>
      </p:sp>
      <p:sp>
        <p:nvSpPr>
          <p:cNvPr id="4" name="Text Placeholder 8"/>
          <p:cNvSpPr>
            <a:spLocks noGrp="1"/>
          </p:cNvSpPr>
          <p:nvPr>
            <p:ph type="body" sz="quarter" idx="14" hasCustomPrompt="1"/>
          </p:nvPr>
        </p:nvSpPr>
        <p:spPr>
          <a:xfrm>
            <a:off x="3324464" y="1201440"/>
            <a:ext cx="8410015"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3314700" y="258008"/>
            <a:ext cx="4148419" cy="137282"/>
          </a:xfrm>
          <a:prstGeom prst="rect">
            <a:avLst/>
          </a:prstGeom>
        </p:spPr>
        <p:txBody>
          <a:bodyPr wrap="square"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
        <p:nvSpPr>
          <p:cNvPr id="8" name="Rectangle 7">
            <a:extLst>
              <a:ext uri="{FF2B5EF4-FFF2-40B4-BE49-F238E27FC236}">
                <a16:creationId xmlns:a16="http://schemas.microsoft.com/office/drawing/2014/main" id="{B7A697C8-B454-4FF3-876D-311272C237ED}"/>
              </a:ext>
            </a:extLst>
          </p:cNvPr>
          <p:cNvSpPr/>
          <p:nvPr userDrawn="1"/>
        </p:nvSpPr>
        <p:spPr>
          <a:xfrm>
            <a:off x="0" y="0"/>
            <a:ext cx="3162300"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416191887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Quals_MAF_Final">
    <p:spTree>
      <p:nvGrpSpPr>
        <p:cNvPr id="1" name=""/>
        <p:cNvGrpSpPr/>
        <p:nvPr/>
      </p:nvGrpSpPr>
      <p:grpSpPr>
        <a:xfrm>
          <a:off x="0" y="0"/>
          <a:ext cx="0" cy="0"/>
          <a:chOff x="0" y="0"/>
          <a:chExt cx="0" cy="0"/>
        </a:xfrm>
      </p:grpSpPr>
      <p:sp>
        <p:nvSpPr>
          <p:cNvPr id="2" name="Title 1"/>
          <p:cNvSpPr>
            <a:spLocks noGrp="1"/>
          </p:cNvSpPr>
          <p:nvPr>
            <p:ph type="title"/>
          </p:nvPr>
        </p:nvSpPr>
        <p:spPr>
          <a:xfrm>
            <a:off x="3314700" y="469900"/>
            <a:ext cx="8410254"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3324464" y="890290"/>
            <a:ext cx="8410015"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3314700" y="258008"/>
            <a:ext cx="4148419" cy="137282"/>
          </a:xfrm>
          <a:prstGeom prst="rect">
            <a:avLst/>
          </a:prstGeom>
        </p:spPr>
        <p:txBody>
          <a:bodyPr wrap="square"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
        <p:nvSpPr>
          <p:cNvPr id="8" name="Rectangle 7">
            <a:extLst>
              <a:ext uri="{FF2B5EF4-FFF2-40B4-BE49-F238E27FC236}">
                <a16:creationId xmlns:a16="http://schemas.microsoft.com/office/drawing/2014/main" id="{B7A697C8-B454-4FF3-876D-311272C237ED}"/>
              </a:ext>
            </a:extLst>
          </p:cNvPr>
          <p:cNvSpPr/>
          <p:nvPr userDrawn="1"/>
        </p:nvSpPr>
        <p:spPr>
          <a:xfrm>
            <a:off x="0" y="0"/>
            <a:ext cx="3162300"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291504358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Line_Title, Subhead_MAF_Fin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368" y="469900"/>
            <a:ext cx="11277280" cy="732508"/>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a:t>
            </a:r>
            <a:br>
              <a:rPr lang="en-GB"/>
            </a:br>
            <a:r>
              <a:rPr lang="en-GB"/>
              <a:t>title style</a:t>
            </a:r>
          </a:p>
        </p:txBody>
      </p:sp>
      <p:sp>
        <p:nvSpPr>
          <p:cNvPr id="4" name="Text Placeholder 8"/>
          <p:cNvSpPr>
            <a:spLocks noGrp="1"/>
          </p:cNvSpPr>
          <p:nvPr>
            <p:ph type="body" sz="quarter" idx="14" hasCustomPrompt="1"/>
          </p:nvPr>
        </p:nvSpPr>
        <p:spPr>
          <a:xfrm>
            <a:off x="457520" y="1219577"/>
            <a:ext cx="11276960"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E2B8159F-A4D5-40E3-937B-98705B9BD881}"/>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880047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Subhead: Tier Messaging - Breadcrumbs">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6FFB0421-D2FD-3D4E-B9B1-06F317B8D040}"/>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7" name="Text Placeholder 13">
            <a:extLst>
              <a:ext uri="{FF2B5EF4-FFF2-40B4-BE49-F238E27FC236}">
                <a16:creationId xmlns:a16="http://schemas.microsoft.com/office/drawing/2014/main" id="{8D30F071-F953-AE45-848C-4A88A58ABD6A}"/>
              </a:ext>
            </a:extLst>
          </p:cNvPr>
          <p:cNvSpPr>
            <a:spLocks noGrp="1"/>
          </p:cNvSpPr>
          <p:nvPr>
            <p:ph type="body" sz="quarter" idx="17"/>
          </p:nvPr>
        </p:nvSpPr>
        <p:spPr>
          <a:xfrm>
            <a:off x="914400" y="4149912"/>
            <a:ext cx="9296400" cy="1121336"/>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Click to edit Master text styles</a:t>
            </a:r>
          </a:p>
        </p:txBody>
      </p:sp>
      <p:sp>
        <p:nvSpPr>
          <p:cNvPr id="8" name="Text Placeholder 10">
            <a:extLst>
              <a:ext uri="{FF2B5EF4-FFF2-40B4-BE49-F238E27FC236}">
                <a16:creationId xmlns:a16="http://schemas.microsoft.com/office/drawing/2014/main" id="{463985F8-E7E2-514E-B644-AA0D3303D0F2}"/>
              </a:ext>
            </a:extLst>
          </p:cNvPr>
          <p:cNvSpPr>
            <a:spLocks noGrp="1"/>
          </p:cNvSpPr>
          <p:nvPr>
            <p:ph type="body" sz="quarter" idx="16" hasCustomPrompt="1"/>
          </p:nvPr>
        </p:nvSpPr>
        <p:spPr>
          <a:xfrm>
            <a:off x="914400" y="1943256"/>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1" name="Text Placeholder 2">
            <a:extLst>
              <a:ext uri="{FF2B5EF4-FFF2-40B4-BE49-F238E27FC236}">
                <a16:creationId xmlns:a16="http://schemas.microsoft.com/office/drawing/2014/main" id="{0DDFE1B1-9364-4E44-BE5A-008902C9708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5561B028-51AA-784D-A4C9-A82067CB3850}"/>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579064918"/>
      </p:ext>
    </p:extLst>
  </p:cSld>
  <p:clrMapOvr>
    <a:masterClrMapping/>
  </p:clrMapOvr>
  <p:transition/>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_MAF_Final">
    <p:spTree>
      <p:nvGrpSpPr>
        <p:cNvPr id="1" name=""/>
        <p:cNvGrpSpPr/>
        <p:nvPr/>
      </p:nvGrpSpPr>
      <p:grpSpPr>
        <a:xfrm>
          <a:off x="0" y="0"/>
          <a:ext cx="0" cy="0"/>
          <a:chOff x="0" y="0"/>
          <a:chExt cx="0" cy="0"/>
        </a:xfrm>
      </p:grpSpPr>
      <p:sp>
        <p:nvSpPr>
          <p:cNvPr id="2" name="Title 1"/>
          <p:cNvSpPr>
            <a:spLocks noGrp="1"/>
          </p:cNvSpPr>
          <p:nvPr>
            <p:ph type="title"/>
          </p:nvPr>
        </p:nvSpPr>
        <p:spPr>
          <a:xfrm>
            <a:off x="447368" y="469900"/>
            <a:ext cx="11277280"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3" name="Text Placeholder 4">
            <a:extLst>
              <a:ext uri="{FF2B5EF4-FFF2-40B4-BE49-F238E27FC236}">
                <a16:creationId xmlns:a16="http://schemas.microsoft.com/office/drawing/2014/main" id="{123CCF22-4D93-482A-B4CF-D00A3C47AC95}"/>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218504729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End slide ">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587373"/>
      </p:ext>
    </p:extLst>
  </p:cSld>
  <p:clrMapOvr>
    <a:masterClrMapping/>
  </p:clrMapOvr>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amp; subtitle_V">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BF6A0240-FC18-487D-98D5-76BC779639D6}"/>
              </a:ext>
            </a:extLst>
          </p:cNvPr>
          <p:cNvSpPr>
            <a:spLocks noGrp="1"/>
          </p:cNvSpPr>
          <p:nvPr>
            <p:ph type="body" sz="quarter" idx="13" hasCustomPrompt="1"/>
          </p:nvPr>
        </p:nvSpPr>
        <p:spPr>
          <a:xfrm>
            <a:off x="477044" y="1303277"/>
            <a:ext cx="11252200" cy="205954"/>
          </a:xfrm>
          <a:prstGeom prst="rect">
            <a:avLst/>
          </a:prstGeom>
        </p:spPr>
        <p:txBody>
          <a:bodyPr vert="horz" lIns="0" tIns="0" rIns="0" bIns="0" anchor="t" anchorCtr="0">
            <a:spAutoFit/>
          </a:bodyPr>
          <a:lstStyle>
            <a:lvl1pPr marL="0" indent="0">
              <a:spcAft>
                <a:spcPts val="600"/>
              </a:spcAft>
              <a:buNone/>
              <a:defRPr sz="1200" b="0">
                <a:solidFill>
                  <a:srgbClr val="53565A"/>
                </a:solidFill>
              </a:defRPr>
            </a:lvl1pPr>
          </a:lstStyle>
          <a:p>
            <a:pPr lvl="0"/>
            <a:r>
              <a:rPr lang="en-GB" noProof="0"/>
              <a:t>Click to add subtitle</a:t>
            </a:r>
          </a:p>
        </p:txBody>
      </p:sp>
      <p:sp>
        <p:nvSpPr>
          <p:cNvPr id="7" name="Title Placeholder 1">
            <a:extLst>
              <a:ext uri="{FF2B5EF4-FFF2-40B4-BE49-F238E27FC236}">
                <a16:creationId xmlns:a16="http://schemas.microsoft.com/office/drawing/2014/main" id="{A46DAB7F-57D4-4842-9496-B5D76065B7A1}"/>
              </a:ext>
            </a:extLst>
          </p:cNvPr>
          <p:cNvSpPr>
            <a:spLocks noGrp="1"/>
          </p:cNvSpPr>
          <p:nvPr>
            <p:ph type="title" hasCustomPrompt="1"/>
          </p:nvPr>
        </p:nvSpPr>
        <p:spPr>
          <a:xfrm>
            <a:off x="463549" y="391326"/>
            <a:ext cx="11252200" cy="861774"/>
          </a:xfrm>
          <a:prstGeom prst="rect">
            <a:avLst/>
          </a:prstGeom>
        </p:spPr>
        <p:txBody>
          <a:bodyPr vert="horz" lIns="0" tIns="0" rIns="0" bIns="0" rtlCol="0" anchor="t" anchorCtr="0">
            <a:spAutoFit/>
          </a:bodyPr>
          <a:lstStyle>
            <a:lvl1pPr>
              <a:defRPr sz="2800">
                <a:solidFill>
                  <a:schemeClr val="tx1"/>
                </a:solidFill>
              </a:defRPr>
            </a:lvl1pPr>
          </a:lstStyle>
          <a:p>
            <a:r>
              <a:rPr lang="en-GB" noProof="0"/>
              <a:t>Click to edit Master </a:t>
            </a:r>
            <a:br>
              <a:rPr lang="en-GB" noProof="0"/>
            </a:br>
            <a:r>
              <a:rPr lang="en-GB" noProof="0"/>
              <a:t>title style</a:t>
            </a:r>
          </a:p>
        </p:txBody>
      </p:sp>
      <p:sp>
        <p:nvSpPr>
          <p:cNvPr id="3" name="Text Placeholder 2">
            <a:extLst>
              <a:ext uri="{FF2B5EF4-FFF2-40B4-BE49-F238E27FC236}">
                <a16:creationId xmlns:a16="http://schemas.microsoft.com/office/drawing/2014/main" id="{ABF5C095-7887-4A15-840B-C5DF1627F2AC}"/>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246497545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amp; subtitle_V">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BF6A0240-FC18-487D-98D5-76BC779639D6}"/>
              </a:ext>
            </a:extLst>
          </p:cNvPr>
          <p:cNvSpPr>
            <a:spLocks noGrp="1"/>
          </p:cNvSpPr>
          <p:nvPr>
            <p:ph type="body" sz="quarter" idx="13" hasCustomPrompt="1"/>
          </p:nvPr>
        </p:nvSpPr>
        <p:spPr>
          <a:xfrm>
            <a:off x="477044" y="858777"/>
            <a:ext cx="11252200" cy="205954"/>
          </a:xfrm>
          <a:prstGeom prst="rect">
            <a:avLst/>
          </a:prstGeom>
        </p:spPr>
        <p:txBody>
          <a:bodyPr vert="horz" lIns="0" tIns="0" rIns="0" bIns="0" anchor="t" anchorCtr="0">
            <a:spAutoFit/>
          </a:bodyPr>
          <a:lstStyle>
            <a:lvl1pPr marL="0" indent="0">
              <a:spcAft>
                <a:spcPts val="600"/>
              </a:spcAft>
              <a:buNone/>
              <a:defRPr sz="1200" b="0">
                <a:solidFill>
                  <a:srgbClr val="53565A"/>
                </a:solidFill>
              </a:defRPr>
            </a:lvl1pPr>
          </a:lstStyle>
          <a:p>
            <a:pPr lvl="0"/>
            <a:r>
              <a:rPr lang="en-GB" noProof="0"/>
              <a:t>Click to add subtitle</a:t>
            </a:r>
          </a:p>
        </p:txBody>
      </p:sp>
      <p:sp>
        <p:nvSpPr>
          <p:cNvPr id="7" name="Title Placeholder 1">
            <a:extLst>
              <a:ext uri="{FF2B5EF4-FFF2-40B4-BE49-F238E27FC236}">
                <a16:creationId xmlns:a16="http://schemas.microsoft.com/office/drawing/2014/main" id="{A46DAB7F-57D4-4842-9496-B5D76065B7A1}"/>
              </a:ext>
            </a:extLst>
          </p:cNvPr>
          <p:cNvSpPr>
            <a:spLocks noGrp="1"/>
          </p:cNvSpPr>
          <p:nvPr>
            <p:ph type="title"/>
          </p:nvPr>
        </p:nvSpPr>
        <p:spPr>
          <a:xfrm>
            <a:off x="463549" y="391326"/>
            <a:ext cx="11252200" cy="430887"/>
          </a:xfrm>
          <a:prstGeom prst="rect">
            <a:avLst/>
          </a:prstGeom>
        </p:spPr>
        <p:txBody>
          <a:bodyPr vert="horz" lIns="0" tIns="0" rIns="0" bIns="0" rtlCol="0" anchor="t" anchorCtr="0">
            <a:spAutoFit/>
          </a:bodyPr>
          <a:lstStyle>
            <a:lvl1pPr>
              <a:defRPr sz="2800">
                <a:solidFill>
                  <a:schemeClr val="tx1"/>
                </a:solidFill>
              </a:defRPr>
            </a:lvl1pPr>
          </a:lstStyle>
          <a:p>
            <a:r>
              <a:rPr lang="en-GB" noProof="0"/>
              <a:t>Click to edit Master title style</a:t>
            </a:r>
          </a:p>
        </p:txBody>
      </p:sp>
      <p:sp>
        <p:nvSpPr>
          <p:cNvPr id="3" name="Text Placeholder 2">
            <a:extLst>
              <a:ext uri="{FF2B5EF4-FFF2-40B4-BE49-F238E27FC236}">
                <a16:creationId xmlns:a16="http://schemas.microsoft.com/office/drawing/2014/main" id="{ABF5C095-7887-4A15-840B-C5DF1627F2AC}"/>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253958125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Only_V">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A46DAB7F-57D4-4842-9496-B5D76065B7A1}"/>
              </a:ext>
            </a:extLst>
          </p:cNvPr>
          <p:cNvSpPr>
            <a:spLocks noGrp="1"/>
          </p:cNvSpPr>
          <p:nvPr>
            <p:ph type="title"/>
          </p:nvPr>
        </p:nvSpPr>
        <p:spPr>
          <a:xfrm>
            <a:off x="463548" y="391325"/>
            <a:ext cx="11252200" cy="430887"/>
          </a:xfrm>
          <a:prstGeom prst="rect">
            <a:avLst/>
          </a:prstGeom>
        </p:spPr>
        <p:txBody>
          <a:bodyPr vert="horz" lIns="0" tIns="0" rIns="0" bIns="0" rtlCol="0" anchor="t" anchorCtr="0">
            <a:spAutoFit/>
          </a:bodyPr>
          <a:lstStyle>
            <a:lvl1pPr>
              <a:defRPr sz="2800"/>
            </a:lvl1pPr>
          </a:lstStyle>
          <a:p>
            <a:r>
              <a:rPr lang="en-GB" noProof="0"/>
              <a:t>Click to edit Master title style</a:t>
            </a:r>
          </a:p>
        </p:txBody>
      </p:sp>
      <p:sp>
        <p:nvSpPr>
          <p:cNvPr id="3" name="Text Placeholder 2">
            <a:extLst>
              <a:ext uri="{FF2B5EF4-FFF2-40B4-BE49-F238E27FC236}">
                <a16:creationId xmlns:a16="http://schemas.microsoft.com/office/drawing/2014/main" id="{5EBD8BAD-4FD1-4683-BC55-196FA87A5D3D}"/>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180997414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Impact Slides">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9F12BF97-8549-4B26-A2D2-6D2AAE82D052}"/>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66268128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Greeting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Quis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olutpa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condimentum</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elit</a:t>
            </a:r>
            <a:r>
              <a:rPr kumimoji="0" lang="en-GB"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Class </a:t>
            </a:r>
            <a:r>
              <a:rPr kumimoji="0" lang="en-GB" sz="1000" b="1" i="0" u="none" strike="noStrike" kern="1200" cap="none" spc="0" normalizeH="0" baseline="0" noProof="0" err="1">
                <a:ln>
                  <a:noFill/>
                </a:ln>
                <a:solidFill>
                  <a:srgbClr val="000000"/>
                </a:solidFill>
                <a:effectLst/>
                <a:uLnTx/>
                <a:uFillTx/>
                <a:latin typeface="+mn-lt"/>
                <a:ea typeface="+mn-ea"/>
                <a:cs typeface="+mn-cs"/>
              </a:rPr>
              <a:t>apte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aciti</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ociosqu</a:t>
            </a:r>
            <a:r>
              <a:rPr kumimoji="0" lang="en-GB" sz="1000" b="1" i="0" u="none" strike="noStrike" kern="1200" cap="none" spc="0" normalizeH="0" baseline="0" noProof="0">
                <a:ln>
                  <a:noFill/>
                </a:ln>
                <a:solidFill>
                  <a:srgbClr val="000000"/>
                </a:solidFill>
                <a:effectLst/>
                <a:uLnTx/>
                <a:uFillTx/>
                <a:latin typeface="+mn-lt"/>
                <a:ea typeface="+mn-ea"/>
                <a:cs typeface="+mn-cs"/>
              </a:rPr>
              <a:t> ad </a:t>
            </a:r>
            <a:r>
              <a:rPr kumimoji="0" lang="en-GB" sz="1000" b="1" i="0" u="none" strike="noStrike" kern="1200" cap="none" spc="0" normalizeH="0" baseline="0" noProof="0" err="1">
                <a:ln>
                  <a:noFill/>
                </a:ln>
                <a:solidFill>
                  <a:srgbClr val="000000"/>
                </a:solidFill>
                <a:effectLst/>
                <a:uLnTx/>
                <a:uFillTx/>
                <a:latin typeface="+mn-lt"/>
                <a:ea typeface="+mn-ea"/>
                <a:cs typeface="+mn-cs"/>
              </a:rPr>
              <a:t>litor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quent</a:t>
            </a:r>
            <a:r>
              <a:rPr kumimoji="0" lang="en-GB" sz="1000" b="1" i="0" u="none" strike="noStrike" kern="1200" cap="none" spc="0" normalizeH="0" baseline="0" noProof="0">
                <a:ln>
                  <a:noFill/>
                </a:ln>
                <a:solidFill>
                  <a:srgbClr val="000000"/>
                </a:solidFill>
                <a:effectLst/>
                <a:uLnTx/>
                <a:uFillTx/>
                <a:latin typeface="+mn-lt"/>
                <a:ea typeface="+mn-ea"/>
                <a:cs typeface="+mn-cs"/>
              </a:rPr>
              <a:t> per </a:t>
            </a:r>
            <a:r>
              <a:rPr kumimoji="0" lang="en-GB" sz="1000" b="1" i="0" u="none" strike="noStrike" kern="1200" cap="none" spc="0" normalizeH="0" baseline="0" noProof="0" err="1">
                <a:ln>
                  <a:noFill/>
                </a:ln>
                <a:solidFill>
                  <a:srgbClr val="000000"/>
                </a:solidFill>
                <a:effectLst/>
                <a:uLnTx/>
                <a:uFillTx/>
                <a:latin typeface="+mn-lt"/>
                <a:ea typeface="+mn-ea"/>
                <a:cs typeface="+mn-cs"/>
              </a:rPr>
              <a:t>conubia</a:t>
            </a:r>
            <a:r>
              <a:rPr kumimoji="0" lang="en-GB" sz="1000" b="1" i="0" u="none" strike="noStrike" kern="1200" cap="none" spc="0" normalizeH="0" baseline="0" noProof="0">
                <a:ln>
                  <a:noFill/>
                </a:ln>
                <a:solidFill>
                  <a:srgbClr val="000000"/>
                </a:solidFill>
                <a:effectLst/>
                <a:uLnTx/>
                <a:uFillTx/>
                <a:latin typeface="+mn-lt"/>
                <a:ea typeface="+mn-ea"/>
                <a:cs typeface="+mn-cs"/>
              </a:rPr>
              <a:t> nostra, per </a:t>
            </a:r>
            <a:r>
              <a:rPr kumimoji="0" lang="en-GB" sz="1000" b="1" i="0" u="none" strike="noStrike" kern="1200" cap="none" spc="0" normalizeH="0" baseline="0" noProof="0" err="1">
                <a:ln>
                  <a:noFill/>
                </a:ln>
                <a:solidFill>
                  <a:srgbClr val="000000"/>
                </a:solidFill>
                <a:effectLst/>
                <a:uLnTx/>
                <a:uFillTx/>
                <a:latin typeface="+mn-lt"/>
                <a:ea typeface="+mn-ea"/>
                <a:cs typeface="+mn-cs"/>
              </a:rPr>
              <a:t>incepto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Nam </a:t>
            </a:r>
            <a:r>
              <a:rPr kumimoji="0" lang="en-GB" sz="1000" b="1" i="0" u="none" strike="noStrike" kern="1200" cap="none" spc="0" normalizeH="0" baseline="0" noProof="0" err="1">
                <a:ln>
                  <a:noFill/>
                </a:ln>
                <a:solidFill>
                  <a:srgbClr val="000000"/>
                </a:solidFill>
                <a:effectLst/>
                <a:uLnTx/>
                <a:uFillTx/>
                <a:latin typeface="+mn-lt"/>
                <a:ea typeface="+mn-ea"/>
                <a:cs typeface="+mn-cs"/>
              </a:rPr>
              <a:t>nec</a:t>
            </a:r>
            <a:r>
              <a:rPr kumimoji="0" lang="en-GB" sz="1000" b="1" i="0" u="none" strike="noStrike" kern="1200" cap="none" spc="0" normalizeH="0" baseline="0" noProof="0">
                <a:ln>
                  <a:noFill/>
                </a:ln>
                <a:solidFill>
                  <a:srgbClr val="000000"/>
                </a:solidFill>
                <a:effectLst/>
                <a:uLnTx/>
                <a:uFillTx/>
                <a:latin typeface="+mn-lt"/>
                <a:ea typeface="+mn-ea"/>
                <a:cs typeface="+mn-cs"/>
              </a:rPr>
              <a:t> ante. </a:t>
            </a:r>
            <a:r>
              <a:rPr kumimoji="0" lang="en-GB" sz="1000" b="1" i="0" u="none" strike="noStrike" kern="1200" cap="none" spc="0" normalizeH="0" baseline="0" noProof="0" err="1">
                <a:ln>
                  <a:noFill/>
                </a:ln>
                <a:solidFill>
                  <a:srgbClr val="000000"/>
                </a:solidFill>
                <a:effectLst/>
                <a:uLnTx/>
                <a:uFillTx/>
                <a:latin typeface="+mn-lt"/>
                <a:ea typeface="+mn-ea"/>
                <a:cs typeface="+mn-cs"/>
              </a:rPr>
              <a:t>Sed</a:t>
            </a:r>
            <a:r>
              <a:rPr kumimoji="0" lang="en-GB" sz="1000" b="1" i="0" u="none" strike="noStrike" kern="1200" cap="none" spc="0" normalizeH="0" baseline="0" noProof="0">
                <a:ln>
                  <a:noFill/>
                </a:ln>
                <a:solidFill>
                  <a:srgbClr val="000000"/>
                </a:solidFill>
                <a:effectLst/>
                <a:uLnTx/>
                <a:uFillTx/>
                <a:latin typeface="+mn-lt"/>
                <a:ea typeface="+mn-ea"/>
                <a:cs typeface="+mn-cs"/>
              </a:rPr>
              <a:t> lacinia, </a:t>
            </a:r>
            <a:r>
              <a:rPr kumimoji="0" lang="en-GB" sz="1000" b="1" i="0" u="none" strike="noStrike" kern="1200" cap="none" spc="0" normalizeH="0" baseline="0" noProof="0" err="1">
                <a:ln>
                  <a:noFill/>
                </a:ln>
                <a:solidFill>
                  <a:srgbClr val="000000"/>
                </a:solidFill>
                <a:effectLst/>
                <a:uLnTx/>
                <a:uFillTx/>
                <a:latin typeface="+mn-lt"/>
                <a:ea typeface="+mn-ea"/>
                <a:cs typeface="+mn-cs"/>
              </a:rPr>
              <a:t>urna</a:t>
            </a:r>
            <a:r>
              <a:rPr kumimoji="0" lang="en-GB" sz="1000" b="1" i="0" u="none" strike="noStrike" kern="1200" cap="none" spc="0" normalizeH="0" baseline="0" noProof="0">
                <a:ln>
                  <a:noFill/>
                </a:ln>
                <a:solidFill>
                  <a:srgbClr val="000000"/>
                </a:solidFill>
                <a:effectLst/>
                <a:uLnTx/>
                <a:uFillTx/>
                <a:latin typeface="+mn-lt"/>
                <a:ea typeface="+mn-ea"/>
                <a:cs typeface="+mn-cs"/>
              </a:rPr>
              <a:t> non </a:t>
            </a:r>
            <a:r>
              <a:rPr kumimoji="0" lang="en-GB" sz="1000" b="1" i="0" u="none" strike="noStrike" kern="1200" cap="none" spc="0" normalizeH="0" baseline="0" noProof="0" err="1">
                <a:ln>
                  <a:noFill/>
                </a:ln>
                <a:solidFill>
                  <a:srgbClr val="000000"/>
                </a:solidFill>
                <a:effectLst/>
                <a:uLnTx/>
                <a:uFillTx/>
                <a:latin typeface="+mn-lt"/>
                <a:ea typeface="+mn-ea"/>
                <a:cs typeface="+mn-cs"/>
              </a:rPr>
              <a:t>tincidu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matt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tor</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e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adipiscing</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diam</a:t>
            </a:r>
            <a:r>
              <a:rPr kumimoji="0" lang="en-GB" sz="1000" b="1" i="0" u="none" strike="noStrike" kern="1200" cap="none" spc="0" normalizeH="0" baseline="0" noProof="0">
                <a:ln>
                  <a:noFill/>
                </a:ln>
                <a:solidFill>
                  <a:srgbClr val="000000"/>
                </a:solidFill>
                <a:effectLst/>
                <a:uLnTx/>
                <a:uFillTx/>
                <a:latin typeface="+mn-lt"/>
                <a:ea typeface="+mn-ea"/>
                <a:cs typeface="+mn-cs"/>
              </a:rPr>
              <a:t>, a cursus ipsum ante </a:t>
            </a:r>
            <a:r>
              <a:rPr kumimoji="0" lang="en-GB" sz="1000" b="1" i="0" u="none" strike="noStrike" kern="1200" cap="none" spc="0" normalizeH="0" baseline="0" noProof="0" err="1">
                <a:ln>
                  <a:noFill/>
                </a:ln>
                <a:solidFill>
                  <a:srgbClr val="000000"/>
                </a:solidFill>
                <a:effectLst/>
                <a:uLnTx/>
                <a:uFillTx/>
                <a:latin typeface="+mn-lt"/>
                <a:ea typeface="+mn-ea"/>
                <a:cs typeface="+mn-cs"/>
              </a:rPr>
              <a:t>qu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urpi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Nu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facilisi</a:t>
            </a:r>
            <a:r>
              <a:rPr kumimoji="0" lang="en-GB" sz="1000" b="1" i="0" u="none" strike="noStrike" kern="1200" cap="none" spc="0" normalizeH="0" baseline="0" noProof="0">
                <a:ln>
                  <a:noFill/>
                </a:ln>
                <a:solidFill>
                  <a:srgbClr val="000000"/>
                </a:solidFill>
                <a:effectLst/>
                <a:uLnTx/>
                <a:uFillTx/>
                <a:latin typeface="+mn-lt"/>
                <a:ea typeface="+mn-ea"/>
                <a:cs typeface="+mn-cs"/>
              </a:rPr>
              <a:t>. Ut </a:t>
            </a:r>
            <a:r>
              <a:rPr kumimoji="0" lang="en-GB" sz="1000" b="1" i="0" u="none" strike="noStrike" kern="1200" cap="none" spc="0" normalizeH="0" baseline="0" noProof="0" err="1">
                <a:ln>
                  <a:noFill/>
                </a:ln>
                <a:solidFill>
                  <a:srgbClr val="000000"/>
                </a:solidFill>
                <a:effectLst/>
                <a:uLnTx/>
                <a:uFillTx/>
                <a:latin typeface="+mn-lt"/>
                <a:ea typeface="+mn-ea"/>
                <a:cs typeface="+mn-cs"/>
              </a:rPr>
              <a:t>fringi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uspendiss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potenti</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GB" sz="1000" b="1" i="0" u="none" strike="noStrike" kern="1200" cap="none" spc="0" normalizeH="0" baseline="0" noProof="0" err="1">
                <a:ln>
                  <a:noFill/>
                </a:ln>
                <a:solidFill>
                  <a:srgbClr val="000000"/>
                </a:solidFill>
                <a:effectLst/>
                <a:uLnTx/>
                <a:uFillTx/>
                <a:latin typeface="+mn-lt"/>
                <a:ea typeface="+mn-ea"/>
                <a:cs typeface="+mn-cs"/>
              </a:rPr>
              <a:t>arcu</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ege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ulla</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cxnSp>
        <p:nvCxnSpPr>
          <p:cNvPr id="15" name="Straight Connector 14">
            <a:extLst>
              <a:ext uri="{FF2B5EF4-FFF2-40B4-BE49-F238E27FC236}">
                <a16:creationId xmlns:a16="http://schemas.microsoft.com/office/drawing/2014/main" id="{45EAAC76-D81F-C040-9284-FE1D7DE2EED5}"/>
              </a:ext>
            </a:extLst>
          </p:cNvPr>
          <p:cNvCxnSpPr/>
          <p:nvPr userDrawn="1"/>
        </p:nvCxnSpPr>
        <p:spPr>
          <a:xfrm>
            <a:off x="9036424" y="1532965"/>
            <a:ext cx="0" cy="457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E0EF246-E81C-E742-862F-0B0A666D89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1508597"/>
            <a:ext cx="1125274" cy="434503"/>
          </a:xfrm>
          <a:prstGeom prst="rect">
            <a:avLst/>
          </a:prstGeom>
        </p:spPr>
      </p:pic>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pic>
        <p:nvPicPr>
          <p:cNvPr id="18" name="Picture 17">
            <a:extLst>
              <a:ext uri="{FF2B5EF4-FFF2-40B4-BE49-F238E27FC236}">
                <a16:creationId xmlns:a16="http://schemas.microsoft.com/office/drawing/2014/main" id="{ED6CF4E5-6D19-2545-9B0F-2A46658423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2895600"/>
            <a:ext cx="1125274" cy="434503"/>
          </a:xfrm>
          <a:prstGeom prst="rect">
            <a:avLst/>
          </a:prstGeom>
        </p:spPr>
      </p:pic>
      <p:sp>
        <p:nvSpPr>
          <p:cNvPr id="19" name="Text Placeholder 8">
            <a:extLst>
              <a:ext uri="{FF2B5EF4-FFF2-40B4-BE49-F238E27FC236}">
                <a16:creationId xmlns:a16="http://schemas.microsoft.com/office/drawing/2014/main" id="{5467000A-4742-A14C-8185-C89BEECC42FF}"/>
              </a:ext>
            </a:extLst>
          </p:cNvPr>
          <p:cNvSpPr>
            <a:spLocks noGrp="1"/>
          </p:cNvSpPr>
          <p:nvPr>
            <p:ph type="body" sz="quarter" idx="17" hasCustomPrompt="1"/>
          </p:nvPr>
        </p:nvSpPr>
        <p:spPr>
          <a:xfrm>
            <a:off x="9296400" y="47295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pic>
        <p:nvPicPr>
          <p:cNvPr id="20" name="Picture 19">
            <a:extLst>
              <a:ext uri="{FF2B5EF4-FFF2-40B4-BE49-F238E27FC236}">
                <a16:creationId xmlns:a16="http://schemas.microsoft.com/office/drawing/2014/main" id="{E9456665-D12E-DB4F-A2B4-8153DB942B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4267200"/>
            <a:ext cx="1125274" cy="434503"/>
          </a:xfrm>
          <a:prstGeom prst="rect">
            <a:avLst/>
          </a:prstGeom>
        </p:spPr>
      </p:pic>
    </p:spTree>
    <p:extLst>
      <p:ext uri="{BB962C8B-B14F-4D97-AF65-F5344CB8AC3E}">
        <p14:creationId xmlns:p14="http://schemas.microsoft.com/office/powerpoint/2010/main" val="26858860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28958341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Large Title -  Messaging - Color Background">
    <p:bg>
      <p:bgPr>
        <a:solidFill>
          <a:schemeClr val="accent2"/>
        </a:solidFill>
        <a:effectLst/>
      </p:bgPr>
    </p:bg>
    <p:spTree>
      <p:nvGrpSpPr>
        <p:cNvPr id="1" name=""/>
        <p:cNvGrpSpPr/>
        <p:nvPr/>
      </p:nvGrpSpPr>
      <p:grpSpPr>
        <a:xfrm>
          <a:off x="0" y="0"/>
          <a:ext cx="0" cy="0"/>
          <a:chOff x="0" y="0"/>
          <a:chExt cx="0" cy="0"/>
        </a:xfrm>
      </p:grpSpPr>
      <p:pic>
        <p:nvPicPr>
          <p:cNvPr id="6" name="Picture 5" descr="An organic human figure drawn in loose white brush strokes on a background of light blue">
            <a:extLst>
              <a:ext uri="{FF2B5EF4-FFF2-40B4-BE49-F238E27FC236}">
                <a16:creationId xmlns:a16="http://schemas.microsoft.com/office/drawing/2014/main" id="{BE72E9CE-09AF-F84C-AD04-9D83DD83BD2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071731"/>
            <a:ext cx="5383369" cy="4786269"/>
          </a:xfrm>
          <a:prstGeom prst="rect">
            <a:avLst/>
          </a:prstGeom>
        </p:spPr>
      </p:pic>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8" name="Title Placeholder 1">
            <a:extLst>
              <a:ext uri="{FF2B5EF4-FFF2-40B4-BE49-F238E27FC236}">
                <a16:creationId xmlns:a16="http://schemas.microsoft.com/office/drawing/2014/main" id="{90194FF2-8221-9649-9FD2-0C3EDEDE0177}"/>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p:txBody>
      </p:sp>
    </p:spTree>
    <p:extLst>
      <p:ext uri="{BB962C8B-B14F-4D97-AF65-F5344CB8AC3E}">
        <p14:creationId xmlns:p14="http://schemas.microsoft.com/office/powerpoint/2010/main" val="327896000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Subhead: No Content - Color Background">
    <p:bg>
      <p:bgPr>
        <a:solidFill>
          <a:schemeClr val="accent3"/>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4266349391"/>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head: 3 Column with Footer - Breadcrumb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B08EE29-A03A-C342-B34E-CB43983D5274}"/>
              </a:ext>
            </a:extLst>
          </p:cNvPr>
          <p:cNvCxnSpPr>
            <a:cxnSpLocks/>
          </p:cNvCxnSpPr>
          <p:nvPr/>
        </p:nvCxnSpPr>
        <p:spPr>
          <a:xfrm>
            <a:off x="912813" y="5734285"/>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902960"/>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90327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p>
        </p:txBody>
      </p:sp>
      <p:sp>
        <p:nvSpPr>
          <p:cNvPr id="21" name="Title Placeholder 1">
            <a:extLst>
              <a:ext uri="{FF2B5EF4-FFF2-40B4-BE49-F238E27FC236}">
                <a16:creationId xmlns:a16="http://schemas.microsoft.com/office/drawing/2014/main" id="{587A59F8-B5A7-7543-BCD3-6D3B96423664}"/>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25" name="Text Placeholder 9">
            <a:extLst>
              <a:ext uri="{FF2B5EF4-FFF2-40B4-BE49-F238E27FC236}">
                <a16:creationId xmlns:a16="http://schemas.microsoft.com/office/drawing/2014/main" id="{5B8C51D7-FE3E-D842-9B2F-5F0C99510C05}"/>
              </a:ext>
            </a:extLst>
          </p:cNvPr>
          <p:cNvSpPr>
            <a:spLocks noGrp="1"/>
          </p:cNvSpPr>
          <p:nvPr>
            <p:ph type="body" sz="quarter" idx="18" hasCustomPrompt="1"/>
          </p:nvPr>
        </p:nvSpPr>
        <p:spPr>
          <a:xfrm>
            <a:off x="914400" y="2329329"/>
            <a:ext cx="30099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26" name="Text Placeholder 9">
            <a:extLst>
              <a:ext uri="{FF2B5EF4-FFF2-40B4-BE49-F238E27FC236}">
                <a16:creationId xmlns:a16="http://schemas.microsoft.com/office/drawing/2014/main" id="{39EC3C5A-1CBC-4942-8736-3D6B4698E09A}"/>
              </a:ext>
            </a:extLst>
          </p:cNvPr>
          <p:cNvSpPr>
            <a:spLocks noGrp="1"/>
          </p:cNvSpPr>
          <p:nvPr>
            <p:ph type="body" sz="quarter" idx="19" hasCustomPrompt="1"/>
          </p:nvPr>
        </p:nvSpPr>
        <p:spPr>
          <a:xfrm>
            <a:off x="4613478"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a:t>
            </a:r>
          </a:p>
          <a:p>
            <a:pPr lvl="0"/>
            <a:endParaRPr lang="en-GB"/>
          </a:p>
          <a:p>
            <a:pPr lvl="0"/>
            <a:r>
              <a:rPr lang="en-GB"/>
              <a:t>Aenean </a:t>
            </a:r>
            <a:r>
              <a:rPr lang="en-GB" err="1"/>
              <a:t>suspendisse</a:t>
            </a:r>
            <a:r>
              <a:rPr lang="en-GB"/>
              <a:t> fames </a:t>
            </a:r>
          </a:p>
          <a:p>
            <a:pPr lvl="0"/>
            <a:r>
              <a:rPr lang="en-GB" err="1"/>
              <a:t>Facilisis</a:t>
            </a:r>
            <a:r>
              <a:rPr lang="en-GB"/>
              <a:t> </a:t>
            </a:r>
            <a:r>
              <a:rPr lang="en-GB" err="1"/>
              <a:t>est</a:t>
            </a:r>
            <a:r>
              <a:rPr lang="en-GB"/>
              <a:t> </a:t>
            </a:r>
            <a:r>
              <a:rPr lang="en-GB" err="1"/>
              <a:t>porttitor</a:t>
            </a:r>
            <a:r>
              <a:rPr lang="en-GB"/>
              <a:t> </a:t>
            </a:r>
            <a:r>
              <a:rPr lang="en-GB" err="1"/>
              <a:t>sed</a:t>
            </a:r>
            <a:r>
              <a:rPr lang="en-GB"/>
              <a:t> </a:t>
            </a:r>
            <a:r>
              <a:rPr lang="en-GB" err="1"/>
              <a:t>nec</a:t>
            </a:r>
            <a:r>
              <a:rPr lang="en-GB"/>
              <a:t> </a:t>
            </a:r>
            <a:r>
              <a:rPr lang="en-GB" err="1"/>
              <a:t>scelerisque</a:t>
            </a:r>
            <a:r>
              <a:rPr lang="en-GB"/>
              <a:t> </a:t>
            </a:r>
            <a:r>
              <a:rPr lang="en-GB" err="1"/>
              <a:t>urna</a:t>
            </a:r>
            <a:r>
              <a:rPr lang="en-GB"/>
              <a:t> </a:t>
            </a:r>
            <a:r>
              <a:rPr lang="en-GB" err="1"/>
              <a:t>aptent</a:t>
            </a:r>
            <a:r>
              <a:rPr lang="en-GB"/>
              <a:t> </a:t>
            </a:r>
            <a:r>
              <a:rPr lang="en-GB" err="1"/>
              <a:t>nisl</a:t>
            </a:r>
            <a:r>
              <a:rPr lang="en-GB"/>
              <a:t> </a:t>
            </a:r>
            <a:r>
              <a:rPr lang="en-GB" err="1"/>
              <a:t>curae</a:t>
            </a:r>
            <a:r>
              <a:rPr lang="en-GB"/>
              <a:t> </a:t>
            </a:r>
            <a:r>
              <a:rPr lang="en-GB" err="1"/>
              <a:t>adipiscing</a:t>
            </a:r>
            <a:r>
              <a:rPr lang="en-GB"/>
              <a:t>, fermentum </a:t>
            </a:r>
            <a:r>
              <a:rPr lang="en-GB" err="1"/>
              <a:t>curabr</a:t>
            </a:r>
            <a:r>
              <a:rPr lang="en-GB"/>
              <a:t> </a:t>
            </a:r>
            <a:r>
              <a:rPr lang="en-GB" err="1"/>
              <a:t>enim</a:t>
            </a:r>
            <a:r>
              <a:rPr lang="en-GB"/>
              <a:t> auctor </a:t>
            </a:r>
            <a:r>
              <a:rPr lang="en-GB" err="1"/>
              <a:t>massa</a:t>
            </a:r>
            <a:r>
              <a:rPr lang="en-GB"/>
              <a:t> integer fames </a:t>
            </a:r>
            <a:r>
              <a:rPr lang="en-GB" err="1"/>
              <a:t>purus</a:t>
            </a:r>
            <a:r>
              <a:rPr lang="en-GB"/>
              <a:t> in.</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a:t>
            </a:r>
          </a:p>
        </p:txBody>
      </p:sp>
      <p:sp>
        <p:nvSpPr>
          <p:cNvPr id="27" name="Text Placeholder 9">
            <a:extLst>
              <a:ext uri="{FF2B5EF4-FFF2-40B4-BE49-F238E27FC236}">
                <a16:creationId xmlns:a16="http://schemas.microsoft.com/office/drawing/2014/main" id="{5FB42339-0512-FF4A-A3AB-61E340CC01DE}"/>
              </a:ext>
            </a:extLst>
          </p:cNvPr>
          <p:cNvSpPr>
            <a:spLocks noGrp="1"/>
          </p:cNvSpPr>
          <p:nvPr>
            <p:ph type="body" sz="quarter" idx="20" hasCustomPrompt="1"/>
          </p:nvPr>
        </p:nvSpPr>
        <p:spPr>
          <a:xfrm>
            <a:off x="8269941"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4" name="Text Placeholder 2">
            <a:extLst>
              <a:ext uri="{FF2B5EF4-FFF2-40B4-BE49-F238E27FC236}">
                <a16:creationId xmlns:a16="http://schemas.microsoft.com/office/drawing/2014/main" id="{D06929EA-D49D-4F46-A84D-6D323E890B91}"/>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5" name="Text Placeholder 2">
            <a:extLst>
              <a:ext uri="{FF2B5EF4-FFF2-40B4-BE49-F238E27FC236}">
                <a16:creationId xmlns:a16="http://schemas.microsoft.com/office/drawing/2014/main" id="{59D9BD63-561E-7641-BD15-6DD81F5FA291}"/>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893758595"/>
      </p:ext>
    </p:extLst>
  </p:cSld>
  <p:clrMapOvr>
    <a:masterClrMapping/>
  </p:clrMapOvr>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and Subhead: 3 Column - Breadcrumbs">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D1FA0000-C94E-E149-9623-BD66BFB0643F}"/>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3" name="Text Placeholder 7">
            <a:extLst>
              <a:ext uri="{FF2B5EF4-FFF2-40B4-BE49-F238E27FC236}">
                <a16:creationId xmlns:a16="http://schemas.microsoft.com/office/drawing/2014/main" id="{A8B5101F-02F4-F644-B829-A903E6C5AF82}"/>
              </a:ext>
            </a:extLst>
          </p:cNvPr>
          <p:cNvSpPr>
            <a:spLocks noGrp="1"/>
          </p:cNvSpPr>
          <p:nvPr>
            <p:ph type="body" sz="quarter" idx="17"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
        <p:nvSpPr>
          <p:cNvPr id="3" name="Text Placeholder 2">
            <a:extLst>
              <a:ext uri="{FF2B5EF4-FFF2-40B4-BE49-F238E27FC236}">
                <a16:creationId xmlns:a16="http://schemas.microsoft.com/office/drawing/2014/main" id="{9A91C994-DD05-CB44-8508-2A07253626FD}"/>
              </a:ext>
            </a:extLst>
          </p:cNvPr>
          <p:cNvSpPr>
            <a:spLocks noGrp="1"/>
          </p:cNvSpPr>
          <p:nvPr>
            <p:ph type="body" sz="quarter" idx="18" hasCustomPrompt="1"/>
          </p:nvPr>
        </p:nvSpPr>
        <p:spPr>
          <a:xfrm>
            <a:off x="914399"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4" name="Text Placeholder 2">
            <a:extLst>
              <a:ext uri="{FF2B5EF4-FFF2-40B4-BE49-F238E27FC236}">
                <a16:creationId xmlns:a16="http://schemas.microsoft.com/office/drawing/2014/main" id="{62BE551D-14EE-544A-8F49-DE7C4E74B109}"/>
              </a:ext>
            </a:extLst>
          </p:cNvPr>
          <p:cNvSpPr>
            <a:spLocks noGrp="1"/>
          </p:cNvSpPr>
          <p:nvPr>
            <p:ph type="body" sz="quarter" idx="19" hasCustomPrompt="1"/>
          </p:nvPr>
        </p:nvSpPr>
        <p:spPr>
          <a:xfrm>
            <a:off x="4410635"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8" name="Text Placeholder 2">
            <a:extLst>
              <a:ext uri="{FF2B5EF4-FFF2-40B4-BE49-F238E27FC236}">
                <a16:creationId xmlns:a16="http://schemas.microsoft.com/office/drawing/2014/main" id="{8F694449-2177-6F4F-978A-F254F736AAED}"/>
              </a:ext>
            </a:extLst>
          </p:cNvPr>
          <p:cNvSpPr>
            <a:spLocks noGrp="1"/>
          </p:cNvSpPr>
          <p:nvPr>
            <p:ph type="body" sz="quarter" idx="21" hasCustomPrompt="1"/>
          </p:nvPr>
        </p:nvSpPr>
        <p:spPr>
          <a:xfrm>
            <a:off x="7893423"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9" name="Text Placeholder 2">
            <a:extLst>
              <a:ext uri="{FF2B5EF4-FFF2-40B4-BE49-F238E27FC236}">
                <a16:creationId xmlns:a16="http://schemas.microsoft.com/office/drawing/2014/main" id="{AA02C6BE-9131-7144-A89D-17B9B6BF1F0F}"/>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20" name="Text Placeholder 2">
            <a:extLst>
              <a:ext uri="{FF2B5EF4-FFF2-40B4-BE49-F238E27FC236}">
                <a16:creationId xmlns:a16="http://schemas.microsoft.com/office/drawing/2014/main" id="{E2674560-4F3C-1240-A50E-2F71A3F4C759}"/>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80077971"/>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and Subhead: Tier Messaging - Breadcrumbs">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6FFB0421-D2FD-3D4E-B9B1-06F317B8D040}"/>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7" name="Text Placeholder 13">
            <a:extLst>
              <a:ext uri="{FF2B5EF4-FFF2-40B4-BE49-F238E27FC236}">
                <a16:creationId xmlns:a16="http://schemas.microsoft.com/office/drawing/2014/main" id="{8D30F071-F953-AE45-848C-4A88A58ABD6A}"/>
              </a:ext>
            </a:extLst>
          </p:cNvPr>
          <p:cNvSpPr>
            <a:spLocks noGrp="1"/>
          </p:cNvSpPr>
          <p:nvPr>
            <p:ph type="body" sz="quarter" idx="17"/>
          </p:nvPr>
        </p:nvSpPr>
        <p:spPr>
          <a:xfrm>
            <a:off x="914400" y="4149912"/>
            <a:ext cx="9296400" cy="1121336"/>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endParaRPr lang="en-GB"/>
          </a:p>
        </p:txBody>
      </p:sp>
      <p:sp>
        <p:nvSpPr>
          <p:cNvPr id="8" name="Text Placeholder 10">
            <a:extLst>
              <a:ext uri="{FF2B5EF4-FFF2-40B4-BE49-F238E27FC236}">
                <a16:creationId xmlns:a16="http://schemas.microsoft.com/office/drawing/2014/main" id="{463985F8-E7E2-514E-B644-AA0D3303D0F2}"/>
              </a:ext>
            </a:extLst>
          </p:cNvPr>
          <p:cNvSpPr>
            <a:spLocks noGrp="1"/>
          </p:cNvSpPr>
          <p:nvPr>
            <p:ph type="body" sz="quarter" idx="16" hasCustomPrompt="1"/>
          </p:nvPr>
        </p:nvSpPr>
        <p:spPr>
          <a:xfrm>
            <a:off x="914400" y="1943256"/>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1" name="Text Placeholder 2">
            <a:extLst>
              <a:ext uri="{FF2B5EF4-FFF2-40B4-BE49-F238E27FC236}">
                <a16:creationId xmlns:a16="http://schemas.microsoft.com/office/drawing/2014/main" id="{0DDFE1B1-9364-4E44-BE5A-008902C9708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5561B028-51AA-784D-A4C9-A82067CB3850}"/>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962945419"/>
      </p:ext>
    </p:extLst>
  </p:cSld>
  <p:clrMapOvr>
    <a:masterClrMapping/>
  </p:clrMapOvr>
  <p:transition>
    <p:fade/>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Subhead: 3 Column with Footer - Breadcrumb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B08EE29-A03A-C342-B34E-CB43983D5274}"/>
              </a:ext>
            </a:extLst>
          </p:cNvPr>
          <p:cNvCxnSpPr>
            <a:cxnSpLocks/>
          </p:cNvCxnSpPr>
          <p:nvPr userDrawn="1"/>
        </p:nvCxnSpPr>
        <p:spPr>
          <a:xfrm>
            <a:off x="912813" y="5734285"/>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902960"/>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90327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p>
        </p:txBody>
      </p:sp>
      <p:sp>
        <p:nvSpPr>
          <p:cNvPr id="21" name="Title Placeholder 1">
            <a:extLst>
              <a:ext uri="{FF2B5EF4-FFF2-40B4-BE49-F238E27FC236}">
                <a16:creationId xmlns:a16="http://schemas.microsoft.com/office/drawing/2014/main" id="{587A59F8-B5A7-7543-BCD3-6D3B96423664}"/>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25" name="Text Placeholder 9">
            <a:extLst>
              <a:ext uri="{FF2B5EF4-FFF2-40B4-BE49-F238E27FC236}">
                <a16:creationId xmlns:a16="http://schemas.microsoft.com/office/drawing/2014/main" id="{5B8C51D7-FE3E-D842-9B2F-5F0C99510C05}"/>
              </a:ext>
            </a:extLst>
          </p:cNvPr>
          <p:cNvSpPr>
            <a:spLocks noGrp="1"/>
          </p:cNvSpPr>
          <p:nvPr>
            <p:ph type="body" sz="quarter" idx="18" hasCustomPrompt="1"/>
          </p:nvPr>
        </p:nvSpPr>
        <p:spPr>
          <a:xfrm>
            <a:off x="914400" y="2329329"/>
            <a:ext cx="30099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26" name="Text Placeholder 9">
            <a:extLst>
              <a:ext uri="{FF2B5EF4-FFF2-40B4-BE49-F238E27FC236}">
                <a16:creationId xmlns:a16="http://schemas.microsoft.com/office/drawing/2014/main" id="{39EC3C5A-1CBC-4942-8736-3D6B4698E09A}"/>
              </a:ext>
            </a:extLst>
          </p:cNvPr>
          <p:cNvSpPr>
            <a:spLocks noGrp="1"/>
          </p:cNvSpPr>
          <p:nvPr>
            <p:ph type="body" sz="quarter" idx="19" hasCustomPrompt="1"/>
          </p:nvPr>
        </p:nvSpPr>
        <p:spPr>
          <a:xfrm>
            <a:off x="4613478"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a:t>
            </a:r>
          </a:p>
          <a:p>
            <a:pPr lvl="0"/>
            <a:endParaRPr lang="en-GB"/>
          </a:p>
          <a:p>
            <a:pPr lvl="0"/>
            <a:r>
              <a:rPr lang="en-GB"/>
              <a:t>Aenean </a:t>
            </a:r>
            <a:r>
              <a:rPr lang="en-GB" err="1"/>
              <a:t>suspendisse</a:t>
            </a:r>
            <a:r>
              <a:rPr lang="en-GB"/>
              <a:t> fames </a:t>
            </a:r>
          </a:p>
          <a:p>
            <a:pPr lvl="0"/>
            <a:r>
              <a:rPr lang="en-GB" err="1"/>
              <a:t>Facilisis</a:t>
            </a:r>
            <a:r>
              <a:rPr lang="en-GB"/>
              <a:t> </a:t>
            </a:r>
            <a:r>
              <a:rPr lang="en-GB" err="1"/>
              <a:t>est</a:t>
            </a:r>
            <a:r>
              <a:rPr lang="en-GB"/>
              <a:t> </a:t>
            </a:r>
            <a:r>
              <a:rPr lang="en-GB" err="1"/>
              <a:t>porttitor</a:t>
            </a:r>
            <a:r>
              <a:rPr lang="en-GB"/>
              <a:t> </a:t>
            </a:r>
            <a:r>
              <a:rPr lang="en-GB" err="1"/>
              <a:t>sed</a:t>
            </a:r>
            <a:r>
              <a:rPr lang="en-GB"/>
              <a:t> </a:t>
            </a:r>
            <a:r>
              <a:rPr lang="en-GB" err="1"/>
              <a:t>nec</a:t>
            </a:r>
            <a:r>
              <a:rPr lang="en-GB"/>
              <a:t> </a:t>
            </a:r>
            <a:r>
              <a:rPr lang="en-GB" err="1"/>
              <a:t>scelerisque</a:t>
            </a:r>
            <a:r>
              <a:rPr lang="en-GB"/>
              <a:t> </a:t>
            </a:r>
            <a:r>
              <a:rPr lang="en-GB" err="1"/>
              <a:t>urna</a:t>
            </a:r>
            <a:r>
              <a:rPr lang="en-GB"/>
              <a:t> </a:t>
            </a:r>
            <a:r>
              <a:rPr lang="en-GB" err="1"/>
              <a:t>aptent</a:t>
            </a:r>
            <a:r>
              <a:rPr lang="en-GB"/>
              <a:t> </a:t>
            </a:r>
            <a:r>
              <a:rPr lang="en-GB" err="1"/>
              <a:t>nisl</a:t>
            </a:r>
            <a:r>
              <a:rPr lang="en-GB"/>
              <a:t> </a:t>
            </a:r>
            <a:r>
              <a:rPr lang="en-GB" err="1"/>
              <a:t>curae</a:t>
            </a:r>
            <a:r>
              <a:rPr lang="en-GB"/>
              <a:t> </a:t>
            </a:r>
            <a:r>
              <a:rPr lang="en-GB" err="1"/>
              <a:t>adipiscing</a:t>
            </a:r>
            <a:r>
              <a:rPr lang="en-GB"/>
              <a:t>, fermentum </a:t>
            </a:r>
            <a:r>
              <a:rPr lang="en-GB" err="1"/>
              <a:t>curabr</a:t>
            </a:r>
            <a:r>
              <a:rPr lang="en-GB"/>
              <a:t> </a:t>
            </a:r>
            <a:r>
              <a:rPr lang="en-GB" err="1"/>
              <a:t>enim</a:t>
            </a:r>
            <a:r>
              <a:rPr lang="en-GB"/>
              <a:t> auctor </a:t>
            </a:r>
            <a:r>
              <a:rPr lang="en-GB" err="1"/>
              <a:t>massa</a:t>
            </a:r>
            <a:r>
              <a:rPr lang="en-GB"/>
              <a:t> integer fames </a:t>
            </a:r>
            <a:r>
              <a:rPr lang="en-GB" err="1"/>
              <a:t>purus</a:t>
            </a:r>
            <a:r>
              <a:rPr lang="en-GB"/>
              <a:t> in.</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a:t>
            </a:r>
          </a:p>
        </p:txBody>
      </p:sp>
      <p:sp>
        <p:nvSpPr>
          <p:cNvPr id="27" name="Text Placeholder 9">
            <a:extLst>
              <a:ext uri="{FF2B5EF4-FFF2-40B4-BE49-F238E27FC236}">
                <a16:creationId xmlns:a16="http://schemas.microsoft.com/office/drawing/2014/main" id="{5FB42339-0512-FF4A-A3AB-61E340CC01DE}"/>
              </a:ext>
            </a:extLst>
          </p:cNvPr>
          <p:cNvSpPr>
            <a:spLocks noGrp="1"/>
          </p:cNvSpPr>
          <p:nvPr>
            <p:ph type="body" sz="quarter" idx="20" hasCustomPrompt="1"/>
          </p:nvPr>
        </p:nvSpPr>
        <p:spPr>
          <a:xfrm>
            <a:off x="8269941"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4" name="Text Placeholder 2">
            <a:extLst>
              <a:ext uri="{FF2B5EF4-FFF2-40B4-BE49-F238E27FC236}">
                <a16:creationId xmlns:a16="http://schemas.microsoft.com/office/drawing/2014/main" id="{D06929EA-D49D-4F46-A84D-6D323E890B91}"/>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5" name="Text Placeholder 2">
            <a:extLst>
              <a:ext uri="{FF2B5EF4-FFF2-40B4-BE49-F238E27FC236}">
                <a16:creationId xmlns:a16="http://schemas.microsoft.com/office/drawing/2014/main" id="{59D9BD63-561E-7641-BD15-6DD81F5FA291}"/>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505095625"/>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nd Subhead: Sidebar - 3 Column Highlight - 1 - Breadcrumb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D460F9-EB1A-804D-B6A6-90FD865587A1}"/>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a:endParaRPr lang="en-GB"/>
          </a:p>
        </p:txBody>
      </p:sp>
      <p:sp>
        <p:nvSpPr>
          <p:cNvPr id="14" name="Text Placeholder 7">
            <a:extLst>
              <a:ext uri="{FF2B5EF4-FFF2-40B4-BE49-F238E27FC236}">
                <a16:creationId xmlns:a16="http://schemas.microsoft.com/office/drawing/2014/main" id="{50FD3A15-BD8B-E34B-BC34-50978AF2D590}"/>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9">
            <a:extLst>
              <a:ext uri="{FF2B5EF4-FFF2-40B4-BE49-F238E27FC236}">
                <a16:creationId xmlns:a16="http://schemas.microsoft.com/office/drawing/2014/main" id="{8C0AE4FA-D2A5-C24F-B394-2F06B8655D73}"/>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6" name="Text Placeholder 9">
            <a:extLst>
              <a:ext uri="{FF2B5EF4-FFF2-40B4-BE49-F238E27FC236}">
                <a16:creationId xmlns:a16="http://schemas.microsoft.com/office/drawing/2014/main" id="{145DA036-2645-6A4B-AAB9-D5649DF2BE66}"/>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7" name="Text Placeholder 9">
            <a:extLst>
              <a:ext uri="{FF2B5EF4-FFF2-40B4-BE49-F238E27FC236}">
                <a16:creationId xmlns:a16="http://schemas.microsoft.com/office/drawing/2014/main" id="{F2697B8C-43B6-9A45-932F-FFADB537D4C2}"/>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solidFill>
                  <a:schemeClr val="tx1"/>
                </a:solidFill>
              </a:defRPr>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8" name="Text Placeholder 2">
            <a:extLst>
              <a:ext uri="{FF2B5EF4-FFF2-40B4-BE49-F238E27FC236}">
                <a16:creationId xmlns:a16="http://schemas.microsoft.com/office/drawing/2014/main" id="{423A93C1-26C8-7246-A60C-C403CB759C6E}"/>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356F363A-A759-A646-97B7-B063F02DC54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9" name="Text Placeholder 2">
            <a:extLst>
              <a:ext uri="{FF2B5EF4-FFF2-40B4-BE49-F238E27FC236}">
                <a16:creationId xmlns:a16="http://schemas.microsoft.com/office/drawing/2014/main" id="{A67CC57D-A7D1-434A-84AB-06E26C1EDEB1}"/>
              </a:ext>
            </a:extLst>
          </p:cNvPr>
          <p:cNvSpPr>
            <a:spLocks noGrp="1"/>
          </p:cNvSpPr>
          <p:nvPr>
            <p:ph type="body" sz="quarter" idx="26" hasCustomPrompt="1"/>
          </p:nvPr>
        </p:nvSpPr>
        <p:spPr>
          <a:xfrm>
            <a:off x="1986247" y="495992"/>
            <a:ext cx="1938053"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81294157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nd Subhead: Sidebar - 3 Column Highlight - 2 - Breadcrumb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D460F9-EB1A-804D-B6A6-90FD865587A1}"/>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ext Placeholder 10">
            <a:extLst>
              <a:ext uri="{FF2B5EF4-FFF2-40B4-BE49-F238E27FC236}">
                <a16:creationId xmlns:a16="http://schemas.microsoft.com/office/drawing/2014/main" id="{C55C4337-5BFE-F74F-BFD1-A76C1C03F250}"/>
              </a:ext>
            </a:extLst>
          </p:cNvPr>
          <p:cNvSpPr>
            <a:spLocks noGrp="1"/>
          </p:cNvSpPr>
          <p:nvPr>
            <p:ph type="body" sz="quarter" idx="18" hasCustomPrompt="1"/>
          </p:nvPr>
        </p:nvSpPr>
        <p:spPr>
          <a:xfrm>
            <a:off x="4955394"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5" name="Text Placeholder 10">
            <a:extLst>
              <a:ext uri="{FF2B5EF4-FFF2-40B4-BE49-F238E27FC236}">
                <a16:creationId xmlns:a16="http://schemas.microsoft.com/office/drawing/2014/main" id="{05808D96-A577-AF40-9D56-1FF43AA9660E}"/>
              </a:ext>
            </a:extLst>
          </p:cNvPr>
          <p:cNvSpPr>
            <a:spLocks noGrp="1"/>
          </p:cNvSpPr>
          <p:nvPr>
            <p:ph type="body" sz="quarter" idx="19" hasCustomPrompt="1"/>
          </p:nvPr>
        </p:nvSpPr>
        <p:spPr>
          <a:xfrm>
            <a:off x="8135112"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7" name="Text Placeholder 16">
            <a:extLst>
              <a:ext uri="{FF2B5EF4-FFF2-40B4-BE49-F238E27FC236}">
                <a16:creationId xmlns:a16="http://schemas.microsoft.com/office/drawing/2014/main" id="{A80E9A9B-D905-6744-B429-EF79B075874D}"/>
              </a:ext>
            </a:extLst>
          </p:cNvPr>
          <p:cNvSpPr>
            <a:spLocks noGrp="1"/>
          </p:cNvSpPr>
          <p:nvPr>
            <p:ph type="body" sz="quarter" idx="20" hasCustomPrompt="1"/>
          </p:nvPr>
        </p:nvSpPr>
        <p:spPr>
          <a:xfrm>
            <a:off x="4953000" y="3429000"/>
            <a:ext cx="6286500" cy="19288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4" name="Text Placeholder 7">
            <a:extLst>
              <a:ext uri="{FF2B5EF4-FFF2-40B4-BE49-F238E27FC236}">
                <a16:creationId xmlns:a16="http://schemas.microsoft.com/office/drawing/2014/main" id="{5C6CFBB4-2358-3847-A891-56DD4504D08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6" name="Text Placeholder 2">
            <a:extLst>
              <a:ext uri="{FF2B5EF4-FFF2-40B4-BE49-F238E27FC236}">
                <a16:creationId xmlns:a16="http://schemas.microsoft.com/office/drawing/2014/main" id="{FCA932F0-619D-AC43-A797-7FE8DE7E0665}"/>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DD4982B0-1368-6A44-BF22-6DB52D72F7C6}"/>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8" name="Text Placeholder 2">
            <a:extLst>
              <a:ext uri="{FF2B5EF4-FFF2-40B4-BE49-F238E27FC236}">
                <a16:creationId xmlns:a16="http://schemas.microsoft.com/office/drawing/2014/main" id="{EBA3A501-B27D-E948-A2CA-6A950EDD8E9D}"/>
              </a:ext>
            </a:extLst>
          </p:cNvPr>
          <p:cNvSpPr>
            <a:spLocks noGrp="1"/>
          </p:cNvSpPr>
          <p:nvPr>
            <p:ph type="body" sz="quarter" idx="26" hasCustomPrompt="1"/>
          </p:nvPr>
        </p:nvSpPr>
        <p:spPr>
          <a:xfrm>
            <a:off x="1986247" y="495992"/>
            <a:ext cx="2266776"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98748762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Subhead: Sidebar - No Content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itle Placeholder 1">
            <a:extLst>
              <a:ext uri="{FF2B5EF4-FFF2-40B4-BE49-F238E27FC236}">
                <a16:creationId xmlns:a16="http://schemas.microsoft.com/office/drawing/2014/main" id="{CCC8559E-F5E2-0347-840E-E629DC9F61B5}"/>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5" name="Text Placeholder 7">
            <a:extLst>
              <a:ext uri="{FF2B5EF4-FFF2-40B4-BE49-F238E27FC236}">
                <a16:creationId xmlns:a16="http://schemas.microsoft.com/office/drawing/2014/main" id="{6627A73F-C8F9-C143-A124-0C1DFBD38A80}"/>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0" name="Text Placeholder 2">
            <a:extLst>
              <a:ext uri="{FF2B5EF4-FFF2-40B4-BE49-F238E27FC236}">
                <a16:creationId xmlns:a16="http://schemas.microsoft.com/office/drawing/2014/main" id="{D928B8B3-E1F7-A641-89DC-53E0F210579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148AE39B-AB7A-B24E-96E2-9B3F4693BD1E}"/>
              </a:ext>
            </a:extLst>
          </p:cNvPr>
          <p:cNvSpPr>
            <a:spLocks noGrp="1"/>
          </p:cNvSpPr>
          <p:nvPr>
            <p:ph type="body" sz="quarter" idx="26" hasCustomPrompt="1"/>
          </p:nvPr>
        </p:nvSpPr>
        <p:spPr>
          <a:xfrm>
            <a:off x="1986247" y="495992"/>
            <a:ext cx="2713344"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979268946"/>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Subhead: Sidebar - Messaging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chemeClr val="accent6">
              <a:lumMod val="75000"/>
            </a:schemeClr>
          </a:solidFill>
          <a:ln w="19050" algn="ctr">
            <a:noFill/>
            <a:miter lim="800000"/>
            <a:headEnd/>
            <a:tailEnd/>
          </a:ln>
        </p:spPr>
        <p:txBody>
          <a:bodyPr wrap="square" lIns="0" tIns="0" rIns="0" bIns="0" rtlCol="0" anchor="ctr">
            <a:noAutofit/>
          </a:bodyPr>
          <a:lstStyle/>
          <a:p>
            <a:pPr algn="ctr"/>
            <a:endParaRPr lang="en-GB"/>
          </a:p>
        </p:txBody>
      </p:sp>
      <p:sp>
        <p:nvSpPr>
          <p:cNvPr id="13" name="Title Placeholder 1">
            <a:extLst>
              <a:ext uri="{FF2B5EF4-FFF2-40B4-BE49-F238E27FC236}">
                <a16:creationId xmlns:a16="http://schemas.microsoft.com/office/drawing/2014/main" id="{41AED56B-4FBA-7B41-8642-EECEFE511009}"/>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7" name="Text Placeholder 7">
            <a:extLst>
              <a:ext uri="{FF2B5EF4-FFF2-40B4-BE49-F238E27FC236}">
                <a16:creationId xmlns:a16="http://schemas.microsoft.com/office/drawing/2014/main" id="{333FE8BD-D45A-D947-B56A-6B35CC9BAFA2}"/>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9" name="Text Placeholder 10">
            <a:extLst>
              <a:ext uri="{FF2B5EF4-FFF2-40B4-BE49-F238E27FC236}">
                <a16:creationId xmlns:a16="http://schemas.microsoft.com/office/drawing/2014/main" id="{EADA8F4D-49E2-2C4C-8EFD-35EE530F2D3D}"/>
              </a:ext>
            </a:extLst>
          </p:cNvPr>
          <p:cNvSpPr>
            <a:spLocks noGrp="1"/>
          </p:cNvSpPr>
          <p:nvPr>
            <p:ph type="body" sz="quarter" idx="16" hasCustomPrompt="1"/>
          </p:nvPr>
        </p:nvSpPr>
        <p:spPr>
          <a:xfrm>
            <a:off x="6019800" y="1092200"/>
            <a:ext cx="5219700" cy="18288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21" name="Text Placeholder 13">
            <a:extLst>
              <a:ext uri="{FF2B5EF4-FFF2-40B4-BE49-F238E27FC236}">
                <a16:creationId xmlns:a16="http://schemas.microsoft.com/office/drawing/2014/main" id="{9F0D342F-3673-B847-BC99-40D039EE6742}"/>
              </a:ext>
            </a:extLst>
          </p:cNvPr>
          <p:cNvSpPr>
            <a:spLocks noGrp="1"/>
          </p:cNvSpPr>
          <p:nvPr>
            <p:ph type="body" sz="quarter" idx="17" hasCustomPrompt="1"/>
          </p:nvPr>
        </p:nvSpPr>
        <p:spPr>
          <a:xfrm>
            <a:off x="6019800" y="3289300"/>
            <a:ext cx="5219700" cy="1766794"/>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Felis </a:t>
            </a:r>
            <a:r>
              <a:rPr lang="en-GB" err="1"/>
              <a:t>blandit</a:t>
            </a:r>
            <a:r>
              <a:rPr lang="en-GB"/>
              <a:t> cursus</a:t>
            </a:r>
            <a:br>
              <a:rPr lang="en-GB"/>
            </a:b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p:txBody>
      </p:sp>
      <p:sp>
        <p:nvSpPr>
          <p:cNvPr id="10" name="Text Placeholder 2">
            <a:extLst>
              <a:ext uri="{FF2B5EF4-FFF2-40B4-BE49-F238E27FC236}">
                <a16:creationId xmlns:a16="http://schemas.microsoft.com/office/drawing/2014/main" id="{D0D9845D-F9D1-BF4F-A74F-B37D037255A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BE37137C-0549-F241-8EFF-61C923DB1698}"/>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666553266"/>
      </p:ext>
    </p:extLst>
  </p:cSld>
  <p:clrMapOvr>
    <a:masterClrMapping/>
  </p:clrMapOvr>
  <p:transition>
    <p:fade/>
  </p:transition>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lang="en-GB"/>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lang="en-GB"/>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4585064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itle only Small" type="titleOnly">
  <p:cSld name="Title only Small">
    <p:spTree>
      <p:nvGrpSpPr>
        <p:cNvPr id="1" name="Shape 548"/>
        <p:cNvGrpSpPr/>
        <p:nvPr/>
      </p:nvGrpSpPr>
      <p:grpSpPr>
        <a:xfrm>
          <a:off x="0" y="0"/>
          <a:ext cx="0" cy="0"/>
          <a:chOff x="0" y="0"/>
          <a:chExt cx="0" cy="0"/>
        </a:xfrm>
      </p:grpSpPr>
      <p:sp>
        <p:nvSpPr>
          <p:cNvPr id="549" name="Google Shape;549;p86"/>
          <p:cNvSpPr txBox="1">
            <a:spLocks noGrp="1"/>
          </p:cNvSpPr>
          <p:nvPr>
            <p:ph type="title"/>
          </p:nvPr>
        </p:nvSpPr>
        <p:spPr>
          <a:xfrm>
            <a:off x="193933" y="251400"/>
            <a:ext cx="113608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a:lvl1pPr>
            <a:lvl2pPr lvl="1" rtl="0">
              <a:spcBef>
                <a:spcPts val="0"/>
              </a:spcBef>
              <a:spcAft>
                <a:spcPts val="0"/>
              </a:spcAft>
              <a:buSzPts val="2800"/>
              <a:buFont typeface="Roboto"/>
              <a:buNone/>
              <a:defRPr>
                <a:latin typeface="Roboto"/>
                <a:ea typeface="Roboto"/>
                <a:cs typeface="Roboto"/>
                <a:sym typeface="Roboto"/>
              </a:defRPr>
            </a:lvl2pPr>
            <a:lvl3pPr lvl="2" rtl="0">
              <a:spcBef>
                <a:spcPts val="0"/>
              </a:spcBef>
              <a:spcAft>
                <a:spcPts val="0"/>
              </a:spcAft>
              <a:buSzPts val="2800"/>
              <a:buFont typeface="Roboto"/>
              <a:buNone/>
              <a:defRPr>
                <a:latin typeface="Roboto"/>
                <a:ea typeface="Roboto"/>
                <a:cs typeface="Roboto"/>
                <a:sym typeface="Roboto"/>
              </a:defRPr>
            </a:lvl3pPr>
            <a:lvl4pPr lvl="3" rtl="0">
              <a:spcBef>
                <a:spcPts val="0"/>
              </a:spcBef>
              <a:spcAft>
                <a:spcPts val="0"/>
              </a:spcAft>
              <a:buSzPts val="2800"/>
              <a:buFont typeface="Roboto"/>
              <a:buNone/>
              <a:defRPr>
                <a:latin typeface="Roboto"/>
                <a:ea typeface="Roboto"/>
                <a:cs typeface="Roboto"/>
                <a:sym typeface="Roboto"/>
              </a:defRPr>
            </a:lvl4pPr>
            <a:lvl5pPr lvl="4" rtl="0">
              <a:spcBef>
                <a:spcPts val="0"/>
              </a:spcBef>
              <a:spcAft>
                <a:spcPts val="0"/>
              </a:spcAft>
              <a:buSzPts val="2800"/>
              <a:buFont typeface="Roboto"/>
              <a:buNone/>
              <a:defRPr>
                <a:latin typeface="Roboto"/>
                <a:ea typeface="Roboto"/>
                <a:cs typeface="Roboto"/>
                <a:sym typeface="Roboto"/>
              </a:defRPr>
            </a:lvl5pPr>
            <a:lvl6pPr lvl="5" rtl="0">
              <a:spcBef>
                <a:spcPts val="0"/>
              </a:spcBef>
              <a:spcAft>
                <a:spcPts val="0"/>
              </a:spcAft>
              <a:buSzPts val="2800"/>
              <a:buFont typeface="Roboto"/>
              <a:buNone/>
              <a:defRPr>
                <a:latin typeface="Roboto"/>
                <a:ea typeface="Roboto"/>
                <a:cs typeface="Roboto"/>
                <a:sym typeface="Roboto"/>
              </a:defRPr>
            </a:lvl6pPr>
            <a:lvl7pPr lvl="6" rtl="0">
              <a:spcBef>
                <a:spcPts val="0"/>
              </a:spcBef>
              <a:spcAft>
                <a:spcPts val="0"/>
              </a:spcAft>
              <a:buSzPts val="2800"/>
              <a:buFont typeface="Roboto"/>
              <a:buNone/>
              <a:defRPr>
                <a:latin typeface="Roboto"/>
                <a:ea typeface="Roboto"/>
                <a:cs typeface="Roboto"/>
                <a:sym typeface="Roboto"/>
              </a:defRPr>
            </a:lvl7pPr>
            <a:lvl8pPr lvl="7" rtl="0">
              <a:spcBef>
                <a:spcPts val="0"/>
              </a:spcBef>
              <a:spcAft>
                <a:spcPts val="0"/>
              </a:spcAft>
              <a:buSzPts val="2800"/>
              <a:buFont typeface="Roboto"/>
              <a:buNone/>
              <a:defRPr>
                <a:latin typeface="Roboto"/>
                <a:ea typeface="Roboto"/>
                <a:cs typeface="Roboto"/>
                <a:sym typeface="Roboto"/>
              </a:defRPr>
            </a:lvl8pPr>
            <a:lvl9pPr lvl="8" rtl="0">
              <a:spcBef>
                <a:spcPts val="0"/>
              </a:spcBef>
              <a:spcAft>
                <a:spcPts val="0"/>
              </a:spcAft>
              <a:buSzPts val="2800"/>
              <a:buFont typeface="Roboto"/>
              <a:buNone/>
              <a:defRPr>
                <a:latin typeface="Roboto"/>
                <a:ea typeface="Roboto"/>
                <a:cs typeface="Roboto"/>
                <a:sym typeface="Roboto"/>
              </a:defRPr>
            </a:lvl9pPr>
          </a:lstStyle>
          <a:p>
            <a:endParaRPr lang="en-GB"/>
          </a:p>
        </p:txBody>
      </p:sp>
      <p:sp>
        <p:nvSpPr>
          <p:cNvPr id="550" name="Google Shape;550;p8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236366077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Option page">
  <p:cSld name="Option page">
    <p:spTree>
      <p:nvGrpSpPr>
        <p:cNvPr id="1" name="Shape 1498"/>
        <p:cNvGrpSpPr/>
        <p:nvPr/>
      </p:nvGrpSpPr>
      <p:grpSpPr>
        <a:xfrm>
          <a:off x="0" y="0"/>
          <a:ext cx="0" cy="0"/>
          <a:chOff x="0" y="0"/>
          <a:chExt cx="0" cy="0"/>
        </a:xfrm>
      </p:grpSpPr>
      <p:sp>
        <p:nvSpPr>
          <p:cNvPr id="1500" name="Google Shape;1500;p16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3500"/>
              <a:buFont typeface="Roboto Light"/>
              <a:buNone/>
              <a:defRPr sz="4667">
                <a:latin typeface="Roboto Light"/>
                <a:ea typeface="Roboto Light"/>
                <a:cs typeface="Roboto Light"/>
                <a:sym typeface="Roboto Light"/>
              </a:defRPr>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lang="en-GB"/>
          </a:p>
        </p:txBody>
      </p:sp>
      <p:sp>
        <p:nvSpPr>
          <p:cNvPr id="1501" name="Google Shape;1501;p169"/>
          <p:cNvSpPr txBox="1">
            <a:spLocks noGrp="1"/>
          </p:cNvSpPr>
          <p:nvPr>
            <p:ph type="subTitle" idx="1"/>
          </p:nvPr>
        </p:nvSpPr>
        <p:spPr>
          <a:xfrm>
            <a:off x="810400" y="3753267"/>
            <a:ext cx="4480800" cy="524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600"/>
              <a:buFont typeface="Roboto Light"/>
              <a:buNone/>
              <a:defRPr sz="2133">
                <a:latin typeface="Roboto Light"/>
                <a:ea typeface="Roboto Light"/>
                <a:cs typeface="Roboto Light"/>
                <a:sym typeface="Roboto Light"/>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lang="en-GB"/>
          </a:p>
        </p:txBody>
      </p:sp>
      <p:sp>
        <p:nvSpPr>
          <p:cNvPr id="1502" name="Google Shape;1502;p169"/>
          <p:cNvSpPr txBox="1">
            <a:spLocks noGrp="1"/>
          </p:cNvSpPr>
          <p:nvPr>
            <p:ph type="body" idx="2"/>
          </p:nvPr>
        </p:nvSpPr>
        <p:spPr>
          <a:xfrm>
            <a:off x="6586000" y="987817"/>
            <a:ext cx="5116000" cy="4926800"/>
          </a:xfrm>
          <a:prstGeom prst="rect">
            <a:avLst/>
          </a:prstGeom>
        </p:spPr>
        <p:txBody>
          <a:bodyPr spcFirstLastPara="1" wrap="square" lIns="91425" tIns="91425" rIns="91425" bIns="91425" anchor="ctr" anchorCtr="0">
            <a:normAutofit/>
          </a:bodyPr>
          <a:lstStyle>
            <a:lvl1pPr marL="609585" lvl="0" indent="-457189" rtl="0">
              <a:spcBef>
                <a:spcPts val="0"/>
              </a:spcBef>
              <a:spcAft>
                <a:spcPts val="0"/>
              </a:spcAft>
              <a:buSzPts val="1800"/>
              <a:buFont typeface="Roboto Light"/>
              <a:buChar char="●"/>
              <a:defRPr>
                <a:latin typeface="Roboto Light"/>
                <a:ea typeface="Roboto Light"/>
                <a:cs typeface="Roboto Light"/>
                <a:sym typeface="Roboto Light"/>
              </a:defRPr>
            </a:lvl1pPr>
            <a:lvl2pPr marL="1219170" lvl="1" indent="-423323" rtl="0">
              <a:spcBef>
                <a:spcPts val="0"/>
              </a:spcBef>
              <a:spcAft>
                <a:spcPts val="0"/>
              </a:spcAft>
              <a:buSzPts val="1400"/>
              <a:buFont typeface="Roboto Light"/>
              <a:buChar char="○"/>
              <a:defRPr>
                <a:latin typeface="Roboto Light"/>
                <a:ea typeface="Roboto Light"/>
                <a:cs typeface="Roboto Light"/>
                <a:sym typeface="Roboto Light"/>
              </a:defRPr>
            </a:lvl2pPr>
            <a:lvl3pPr marL="1828754" lvl="2" indent="-423323" rtl="0">
              <a:spcBef>
                <a:spcPts val="0"/>
              </a:spcBef>
              <a:spcAft>
                <a:spcPts val="0"/>
              </a:spcAft>
              <a:buSzPts val="1400"/>
              <a:buFont typeface="Roboto Light"/>
              <a:buChar char="■"/>
              <a:defRPr>
                <a:latin typeface="Roboto Light"/>
                <a:ea typeface="Roboto Light"/>
                <a:cs typeface="Roboto Light"/>
                <a:sym typeface="Roboto Light"/>
              </a:defRPr>
            </a:lvl3pPr>
            <a:lvl4pPr marL="2438339" lvl="3" indent="-423323" rtl="0">
              <a:spcBef>
                <a:spcPts val="0"/>
              </a:spcBef>
              <a:spcAft>
                <a:spcPts val="0"/>
              </a:spcAft>
              <a:buSzPts val="1400"/>
              <a:buFont typeface="Roboto Light"/>
              <a:buChar char="●"/>
              <a:defRPr>
                <a:latin typeface="Roboto Light"/>
                <a:ea typeface="Roboto Light"/>
                <a:cs typeface="Roboto Light"/>
                <a:sym typeface="Roboto Light"/>
              </a:defRPr>
            </a:lvl4pPr>
            <a:lvl5pPr marL="3047924" lvl="4" indent="-423323" rtl="0">
              <a:spcBef>
                <a:spcPts val="0"/>
              </a:spcBef>
              <a:spcAft>
                <a:spcPts val="0"/>
              </a:spcAft>
              <a:buSzPts val="1400"/>
              <a:buFont typeface="Roboto Light"/>
              <a:buChar char="○"/>
              <a:defRPr>
                <a:latin typeface="Roboto Light"/>
                <a:ea typeface="Roboto Light"/>
                <a:cs typeface="Roboto Light"/>
                <a:sym typeface="Roboto Light"/>
              </a:defRPr>
            </a:lvl5pPr>
            <a:lvl6pPr marL="3657509" lvl="5" indent="-423323" rtl="0">
              <a:spcBef>
                <a:spcPts val="0"/>
              </a:spcBef>
              <a:spcAft>
                <a:spcPts val="0"/>
              </a:spcAft>
              <a:buSzPts val="1400"/>
              <a:buFont typeface="Roboto Light"/>
              <a:buChar char="■"/>
              <a:defRPr>
                <a:latin typeface="Roboto Light"/>
                <a:ea typeface="Roboto Light"/>
                <a:cs typeface="Roboto Light"/>
                <a:sym typeface="Roboto Light"/>
              </a:defRPr>
            </a:lvl6pPr>
            <a:lvl7pPr marL="4267093" lvl="6" indent="-423323" rtl="0">
              <a:spcBef>
                <a:spcPts val="0"/>
              </a:spcBef>
              <a:spcAft>
                <a:spcPts val="0"/>
              </a:spcAft>
              <a:buSzPts val="1400"/>
              <a:buFont typeface="Roboto Light"/>
              <a:buChar char="●"/>
              <a:defRPr>
                <a:latin typeface="Roboto Light"/>
                <a:ea typeface="Roboto Light"/>
                <a:cs typeface="Roboto Light"/>
                <a:sym typeface="Roboto Light"/>
              </a:defRPr>
            </a:lvl7pPr>
            <a:lvl8pPr marL="4876678" lvl="7" indent="-423323" rtl="0">
              <a:spcBef>
                <a:spcPts val="0"/>
              </a:spcBef>
              <a:spcAft>
                <a:spcPts val="0"/>
              </a:spcAft>
              <a:buSzPts val="1400"/>
              <a:buFont typeface="Roboto Light"/>
              <a:buChar char="○"/>
              <a:defRPr>
                <a:latin typeface="Roboto Light"/>
                <a:ea typeface="Roboto Light"/>
                <a:cs typeface="Roboto Light"/>
                <a:sym typeface="Roboto Light"/>
              </a:defRPr>
            </a:lvl8pPr>
            <a:lvl9pPr marL="5486263" lvl="8" indent="-423323" rtl="0">
              <a:spcBef>
                <a:spcPts val="0"/>
              </a:spcBef>
              <a:spcAft>
                <a:spcPts val="0"/>
              </a:spcAft>
              <a:buSzPts val="1400"/>
              <a:buFont typeface="Roboto Light"/>
              <a:buChar char="■"/>
              <a:defRPr>
                <a:latin typeface="Roboto Light"/>
                <a:ea typeface="Roboto Light"/>
                <a:cs typeface="Roboto Light"/>
                <a:sym typeface="Roboto Light"/>
              </a:defRPr>
            </a:lvl9pPr>
          </a:lstStyle>
          <a:p>
            <a:endParaRPr lang="en-GB"/>
          </a:p>
        </p:txBody>
      </p:sp>
      <p:sp>
        <p:nvSpPr>
          <p:cNvPr id="1503" name="Google Shape;1503;p16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367726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Subhead: Sidebar - Breadcrumb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D47AA8BC-97B4-9546-8437-2BA0125816DC}"/>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9" name="Text Placeholder 2">
            <a:extLst>
              <a:ext uri="{FF2B5EF4-FFF2-40B4-BE49-F238E27FC236}">
                <a16:creationId xmlns:a16="http://schemas.microsoft.com/office/drawing/2014/main" id="{64C0E923-38EC-6B4C-9487-769D320A2EF9}"/>
              </a:ext>
            </a:extLst>
          </p:cNvPr>
          <p:cNvSpPr>
            <a:spLocks noGrp="1"/>
          </p:cNvSpPr>
          <p:nvPr>
            <p:ph type="body" sz="quarter" idx="18"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Text Placeholder 2">
            <a:extLst>
              <a:ext uri="{FF2B5EF4-FFF2-40B4-BE49-F238E27FC236}">
                <a16:creationId xmlns:a16="http://schemas.microsoft.com/office/drawing/2014/main" id="{644D961B-FF77-8842-836F-5190846F965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0" name="Text Placeholder 2">
            <a:extLst>
              <a:ext uri="{FF2B5EF4-FFF2-40B4-BE49-F238E27FC236}">
                <a16:creationId xmlns:a16="http://schemas.microsoft.com/office/drawing/2014/main" id="{3830D1E9-0741-C748-973A-FB8FEA0FD0B8}"/>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42614292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Subhead: Sidebar - Breadcrumbs Right">
  <p:cSld name="Title and Subhead: Sidebar - Breadcrumbs Right">
    <p:spTree>
      <p:nvGrpSpPr>
        <p:cNvPr id="1" name="Shape 19"/>
        <p:cNvGrpSpPr/>
        <p:nvPr/>
      </p:nvGrpSpPr>
      <p:grpSpPr>
        <a:xfrm>
          <a:off x="0" y="0"/>
          <a:ext cx="0" cy="0"/>
          <a:chOff x="0" y="0"/>
          <a:chExt cx="0" cy="0"/>
        </a:xfrm>
      </p:grpSpPr>
      <p:sp>
        <p:nvSpPr>
          <p:cNvPr id="20" name="Google Shape;20;p3"/>
          <p:cNvSpPr txBox="1">
            <a:spLocks noGrp="1"/>
          </p:cNvSpPr>
          <p:nvPr>
            <p:ph type="body" idx="1"/>
          </p:nvPr>
        </p:nvSpPr>
        <p:spPr>
          <a:xfrm>
            <a:off x="914400" y="3238501"/>
            <a:ext cx="3009900" cy="1714500"/>
          </a:xfrm>
          <a:prstGeom prst="rect">
            <a:avLst/>
          </a:prstGeom>
          <a:noFill/>
          <a:ln>
            <a:noFill/>
          </a:ln>
        </p:spPr>
        <p:txBody>
          <a:bodyPr spcFirstLastPara="1" wrap="square" lIns="0" tIns="0" rIns="0" bIns="0" anchor="t" anchorCtr="0">
            <a:noAutofit/>
          </a:bodyPr>
          <a:lstStyle>
            <a:lvl1pPr marL="457200" marR="0" lvl="0" indent="-228600" algn="l">
              <a:lnSpc>
                <a:spcPct val="120000"/>
              </a:lnSpc>
              <a:spcBef>
                <a:spcPts val="0"/>
              </a:spcBef>
              <a:spcAft>
                <a:spcPts val="0"/>
              </a:spcAft>
              <a:buClr>
                <a:schemeClr val="dk1"/>
              </a:buClr>
              <a:buSzPts val="1100"/>
              <a:buFont typeface="Open Sans"/>
              <a:buNone/>
              <a:defRPr sz="1100"/>
            </a:lvl1pPr>
            <a:lvl2pPr marL="914400" lvl="1" indent="-228600" algn="l">
              <a:lnSpc>
                <a:spcPct val="120000"/>
              </a:lnSpc>
              <a:spcBef>
                <a:spcPts val="0"/>
              </a:spcBef>
              <a:spcAft>
                <a:spcPts val="0"/>
              </a:spcAft>
              <a:buClr>
                <a:schemeClr val="dk1"/>
              </a:buClr>
              <a:buSzPts val="1800"/>
              <a:buNone/>
              <a:defRPr/>
            </a:lvl2pPr>
            <a:lvl3pPr marL="1371600" lvl="2" indent="-342900" algn="l">
              <a:lnSpc>
                <a:spcPct val="120000"/>
              </a:lnSpc>
              <a:spcBef>
                <a:spcPts val="1000"/>
              </a:spcBef>
              <a:spcAft>
                <a:spcPts val="0"/>
              </a:spcAft>
              <a:buClr>
                <a:schemeClr val="dk1"/>
              </a:buClr>
              <a:buSzPts val="1800"/>
              <a:buChar char="•"/>
              <a:defRPr/>
            </a:lvl3pPr>
            <a:lvl4pPr marL="1828800" lvl="3" indent="-342900" algn="l">
              <a:lnSpc>
                <a:spcPct val="120000"/>
              </a:lnSpc>
              <a:spcBef>
                <a:spcPts val="1000"/>
              </a:spcBef>
              <a:spcAft>
                <a:spcPts val="0"/>
              </a:spcAft>
              <a:buClr>
                <a:schemeClr val="dk1"/>
              </a:buClr>
              <a:buSzPts val="1800"/>
              <a:buChar char="−"/>
              <a:defRPr/>
            </a:lvl4pPr>
            <a:lvl5pPr marL="2286000" lvl="4" indent="-342900" algn="l">
              <a:lnSpc>
                <a:spcPct val="120000"/>
              </a:lnSpc>
              <a:spcBef>
                <a:spcPts val="1000"/>
              </a:spcBef>
              <a:spcAft>
                <a:spcPts val="0"/>
              </a:spcAft>
              <a:buClr>
                <a:schemeClr val="dk1"/>
              </a:buClr>
              <a:buSzPts val="1800"/>
              <a:buChar char="−"/>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lang="en-GB"/>
          </a:p>
        </p:txBody>
      </p:sp>
      <p:sp>
        <p:nvSpPr>
          <p:cNvPr id="21" name="Google Shape;21;p3"/>
          <p:cNvSpPr txBox="1">
            <a:spLocks noGrp="1"/>
          </p:cNvSpPr>
          <p:nvPr>
            <p:ph type="body" idx="2"/>
          </p:nvPr>
        </p:nvSpPr>
        <p:spPr>
          <a:xfrm>
            <a:off x="914400" y="1066800"/>
            <a:ext cx="3009900" cy="1701113"/>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0"/>
              </a:spcBef>
              <a:spcAft>
                <a:spcPts val="0"/>
              </a:spcAft>
              <a:buClr>
                <a:schemeClr val="dk1"/>
              </a:buClr>
              <a:buSzPts val="3200"/>
              <a:buNone/>
              <a:defRPr sz="3200">
                <a:latin typeface="Open Sans Light"/>
                <a:ea typeface="Open Sans Light"/>
                <a:cs typeface="Open Sans Light"/>
                <a:sym typeface="Open Sans Light"/>
              </a:defRPr>
            </a:lvl1pPr>
            <a:lvl2pPr marL="914400" lvl="1" indent="-228600" algn="l">
              <a:lnSpc>
                <a:spcPct val="120000"/>
              </a:lnSpc>
              <a:spcBef>
                <a:spcPts val="1000"/>
              </a:spcBef>
              <a:spcAft>
                <a:spcPts val="0"/>
              </a:spcAft>
              <a:buClr>
                <a:schemeClr val="dk1"/>
              </a:buClr>
              <a:buSzPts val="2400"/>
              <a:buNone/>
              <a:defRPr sz="2400">
                <a:latin typeface="Open Sans Light"/>
                <a:ea typeface="Open Sans Light"/>
                <a:cs typeface="Open Sans Light"/>
                <a:sym typeface="Open Sans Light"/>
              </a:defRPr>
            </a:lvl2pPr>
            <a:lvl3pPr marL="1371600" lvl="2" indent="-381000" algn="l">
              <a:lnSpc>
                <a:spcPct val="120000"/>
              </a:lnSpc>
              <a:spcBef>
                <a:spcPts val="1000"/>
              </a:spcBef>
              <a:spcAft>
                <a:spcPts val="0"/>
              </a:spcAft>
              <a:buClr>
                <a:schemeClr val="dk1"/>
              </a:buClr>
              <a:buSzPts val="2400"/>
              <a:buChar char="•"/>
              <a:defRPr sz="2400">
                <a:latin typeface="Open Sans Light"/>
                <a:ea typeface="Open Sans Light"/>
                <a:cs typeface="Open Sans Light"/>
                <a:sym typeface="Open Sans Light"/>
              </a:defRPr>
            </a:lvl3pPr>
            <a:lvl4pPr marL="1828800" lvl="3" indent="-381000" algn="l">
              <a:lnSpc>
                <a:spcPct val="120000"/>
              </a:lnSpc>
              <a:spcBef>
                <a:spcPts val="1000"/>
              </a:spcBef>
              <a:spcAft>
                <a:spcPts val="0"/>
              </a:spcAft>
              <a:buClr>
                <a:schemeClr val="dk1"/>
              </a:buClr>
              <a:buSzPts val="2400"/>
              <a:buChar char="−"/>
              <a:defRPr sz="2400">
                <a:latin typeface="Open Sans Light"/>
                <a:ea typeface="Open Sans Light"/>
                <a:cs typeface="Open Sans Light"/>
                <a:sym typeface="Open Sans Light"/>
              </a:defRPr>
            </a:lvl4pPr>
            <a:lvl5pPr marL="2286000" lvl="4" indent="-381000" algn="l">
              <a:lnSpc>
                <a:spcPct val="120000"/>
              </a:lnSpc>
              <a:spcBef>
                <a:spcPts val="1000"/>
              </a:spcBef>
              <a:spcAft>
                <a:spcPts val="0"/>
              </a:spcAft>
              <a:buClr>
                <a:schemeClr val="dk1"/>
              </a:buClr>
              <a:buSzPts val="2400"/>
              <a:buChar char="−"/>
              <a:defRPr sz="2400">
                <a:latin typeface="Open Sans Light"/>
                <a:ea typeface="Open Sans Light"/>
                <a:cs typeface="Open Sans Light"/>
                <a:sym typeface="Open Sans Light"/>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lang="en-GB"/>
          </a:p>
        </p:txBody>
      </p:sp>
      <p:sp>
        <p:nvSpPr>
          <p:cNvPr id="22" name="Google Shape;22;p3"/>
          <p:cNvSpPr txBox="1">
            <a:spLocks noGrp="1"/>
          </p:cNvSpPr>
          <p:nvPr>
            <p:ph type="body" idx="3"/>
          </p:nvPr>
        </p:nvSpPr>
        <p:spPr>
          <a:xfrm>
            <a:off x="926512" y="495992"/>
            <a:ext cx="569228" cy="139781"/>
          </a:xfrm>
          <a:prstGeom prst="rect">
            <a:avLst/>
          </a:prstGeom>
          <a:noFill/>
          <a:ln>
            <a:noFill/>
          </a:ln>
        </p:spPr>
        <p:txBody>
          <a:bodyPr spcFirstLastPara="1" wrap="square" lIns="0" tIns="0" rIns="0" bIns="0" anchor="t" anchorCtr="0">
            <a:noAutofit/>
          </a:bodyPr>
          <a:lstStyle>
            <a:lvl1pPr marL="228600" lvl="0" indent="0" algn="l">
              <a:lnSpc>
                <a:spcPct val="100000"/>
              </a:lnSpc>
              <a:spcBef>
                <a:spcPts val="0"/>
              </a:spcBef>
              <a:spcAft>
                <a:spcPts val="0"/>
              </a:spcAft>
              <a:buClr>
                <a:schemeClr val="dk1"/>
              </a:buClr>
              <a:buSzPts val="700"/>
              <a:buFont typeface="Arial" panose="020B0604020202020204" pitchFamily="34" charset="0"/>
              <a:buNone/>
              <a:defRPr sz="700" b="1" cap="none">
                <a:solidFill>
                  <a:schemeClr val="dk1"/>
                </a:solidFill>
                <a:latin typeface="Open Sans"/>
                <a:ea typeface="Open Sans"/>
                <a:cs typeface="Open Sans"/>
                <a:sym typeface="Open Sans"/>
              </a:defRPr>
            </a:lvl1pPr>
            <a:lvl2pPr marL="914400" lvl="1" indent="-228600" algn="l">
              <a:lnSpc>
                <a:spcPct val="120000"/>
              </a:lnSpc>
              <a:spcBef>
                <a:spcPts val="0"/>
              </a:spcBef>
              <a:spcAft>
                <a:spcPts val="0"/>
              </a:spcAft>
              <a:buClr>
                <a:schemeClr val="dk1"/>
              </a:buClr>
              <a:buSzPts val="1300"/>
              <a:buNone/>
              <a:defRPr>
                <a:latin typeface="Open Sans"/>
                <a:ea typeface="Open Sans"/>
                <a:cs typeface="Open Sans"/>
                <a:sym typeface="Open Sans"/>
              </a:defRPr>
            </a:lvl2pPr>
            <a:lvl3pPr marL="1371600" lvl="2"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3pPr>
            <a:lvl4pPr marL="1828800" lvl="3"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4pPr>
            <a:lvl5pPr marL="2286000" lvl="4"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lang="en-GB"/>
          </a:p>
        </p:txBody>
      </p:sp>
      <p:sp>
        <p:nvSpPr>
          <p:cNvPr id="23" name="Google Shape;23;p3"/>
          <p:cNvSpPr txBox="1">
            <a:spLocks noGrp="1"/>
          </p:cNvSpPr>
          <p:nvPr>
            <p:ph type="body" idx="4"/>
          </p:nvPr>
        </p:nvSpPr>
        <p:spPr>
          <a:xfrm>
            <a:off x="1986247" y="495992"/>
            <a:ext cx="3488042" cy="139781"/>
          </a:xfrm>
          <a:prstGeom prst="rect">
            <a:avLst/>
          </a:prstGeom>
          <a:noFill/>
          <a:ln>
            <a:noFill/>
          </a:ln>
        </p:spPr>
        <p:txBody>
          <a:bodyPr spcFirstLastPara="1" wrap="square" lIns="0" tIns="0" rIns="0" bIns="0" anchor="t" anchorCtr="0">
            <a:noAutofit/>
          </a:bodyPr>
          <a:lstStyle>
            <a:lvl1pPr marL="228600" lvl="0" indent="0" algn="l">
              <a:lnSpc>
                <a:spcPct val="100000"/>
              </a:lnSpc>
              <a:spcBef>
                <a:spcPts val="0"/>
              </a:spcBef>
              <a:spcAft>
                <a:spcPts val="0"/>
              </a:spcAft>
              <a:buClr>
                <a:schemeClr val="dk1"/>
              </a:buClr>
              <a:buSzPts val="700"/>
              <a:buFont typeface="Arial" panose="020B0604020202020204" pitchFamily="34" charset="0"/>
              <a:buNone/>
              <a:defRPr sz="700" b="1" cap="none">
                <a:solidFill>
                  <a:schemeClr val="dk1"/>
                </a:solidFill>
                <a:latin typeface="Open Sans"/>
                <a:ea typeface="Open Sans"/>
                <a:cs typeface="Open Sans"/>
                <a:sym typeface="Open Sans"/>
              </a:defRPr>
            </a:lvl1pPr>
            <a:lvl2pPr marL="914400" lvl="1" indent="-228600" algn="l">
              <a:lnSpc>
                <a:spcPct val="120000"/>
              </a:lnSpc>
              <a:spcBef>
                <a:spcPts val="0"/>
              </a:spcBef>
              <a:spcAft>
                <a:spcPts val="0"/>
              </a:spcAft>
              <a:buClr>
                <a:schemeClr val="dk1"/>
              </a:buClr>
              <a:buSzPts val="1300"/>
              <a:buNone/>
              <a:defRPr>
                <a:latin typeface="Open Sans"/>
                <a:ea typeface="Open Sans"/>
                <a:cs typeface="Open Sans"/>
                <a:sym typeface="Open Sans"/>
              </a:defRPr>
            </a:lvl2pPr>
            <a:lvl3pPr marL="1371600" lvl="2"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3pPr>
            <a:lvl4pPr marL="1828800" lvl="3"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4pPr>
            <a:lvl5pPr marL="2286000" lvl="4"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lang="en-GB"/>
          </a:p>
        </p:txBody>
      </p:sp>
    </p:spTree>
    <p:extLst>
      <p:ext uri="{BB962C8B-B14F-4D97-AF65-F5344CB8AC3E}">
        <p14:creationId xmlns:p14="http://schemas.microsoft.com/office/powerpoint/2010/main" val="168397080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D - Basic - Title &amp; Subtitle">
  <p:cSld name="D - Basic - Title &amp; Subtitle">
    <p:spTree>
      <p:nvGrpSpPr>
        <p:cNvPr id="1" name="Shape 478"/>
        <p:cNvGrpSpPr/>
        <p:nvPr/>
      </p:nvGrpSpPr>
      <p:grpSpPr>
        <a:xfrm>
          <a:off x="0" y="0"/>
          <a:ext cx="0" cy="0"/>
          <a:chOff x="0" y="0"/>
          <a:chExt cx="0" cy="0"/>
        </a:xfrm>
      </p:grpSpPr>
      <p:sp>
        <p:nvSpPr>
          <p:cNvPr id="479" name="Google Shape;479;p60"/>
          <p:cNvSpPr txBox="1">
            <a:spLocks noGrp="1"/>
          </p:cNvSpPr>
          <p:nvPr>
            <p:ph type="title"/>
          </p:nvPr>
        </p:nvSpPr>
        <p:spPr>
          <a:xfrm>
            <a:off x="479344" y="139701"/>
            <a:ext cx="11048800" cy="990000"/>
          </a:xfrm>
          <a:prstGeom prst="rect">
            <a:avLst/>
          </a:prstGeom>
          <a:noFill/>
          <a:ln>
            <a:noFill/>
          </a:ln>
        </p:spPr>
        <p:txBody>
          <a:bodyPr spcFirstLastPara="1" wrap="square" lIns="68575" tIns="68575" rIns="68575" bIns="68575" anchor="b" anchorCtr="0">
            <a:noAutofit/>
          </a:bodyPr>
          <a:lstStyle>
            <a:lvl1pPr lvl="0" rtl="0">
              <a:lnSpc>
                <a:spcPct val="95000"/>
              </a:lnSpc>
              <a:spcBef>
                <a:spcPts val="0"/>
              </a:spcBef>
              <a:spcAft>
                <a:spcPts val="0"/>
              </a:spcAft>
              <a:buSzPts val="1100"/>
              <a:buNone/>
              <a:defRPr/>
            </a:lvl1pPr>
            <a:lvl2pPr lvl="1" rtl="0">
              <a:spcBef>
                <a:spcPts val="0"/>
              </a:spcBef>
              <a:spcAft>
                <a:spcPts val="0"/>
              </a:spcAft>
              <a:buSzPts val="1100"/>
              <a:buNone/>
              <a:defRPr sz="3200">
                <a:solidFill>
                  <a:schemeClr val="accent1"/>
                </a:solidFill>
              </a:defRPr>
            </a:lvl2pPr>
            <a:lvl3pPr lvl="2" rtl="0">
              <a:spcBef>
                <a:spcPts val="0"/>
              </a:spcBef>
              <a:spcAft>
                <a:spcPts val="0"/>
              </a:spcAft>
              <a:buSzPts val="1100"/>
              <a:buNone/>
              <a:defRPr sz="3200">
                <a:solidFill>
                  <a:schemeClr val="accent1"/>
                </a:solidFill>
              </a:defRPr>
            </a:lvl3pPr>
            <a:lvl4pPr lvl="3" rtl="0">
              <a:spcBef>
                <a:spcPts val="0"/>
              </a:spcBef>
              <a:spcAft>
                <a:spcPts val="0"/>
              </a:spcAft>
              <a:buSzPts val="1100"/>
              <a:buNone/>
              <a:defRPr sz="3200">
                <a:solidFill>
                  <a:schemeClr val="accent1"/>
                </a:solidFill>
              </a:defRPr>
            </a:lvl4pPr>
            <a:lvl5pPr lvl="4" rtl="0">
              <a:spcBef>
                <a:spcPts val="0"/>
              </a:spcBef>
              <a:spcAft>
                <a:spcPts val="0"/>
              </a:spcAft>
              <a:buSzPts val="1100"/>
              <a:buNone/>
              <a:defRPr sz="3200">
                <a:solidFill>
                  <a:schemeClr val="accent1"/>
                </a:solidFill>
              </a:defRPr>
            </a:lvl5pPr>
            <a:lvl6pPr lvl="5" rtl="0">
              <a:spcBef>
                <a:spcPts val="0"/>
              </a:spcBef>
              <a:spcAft>
                <a:spcPts val="0"/>
              </a:spcAft>
              <a:buSzPts val="1100"/>
              <a:buNone/>
              <a:defRPr sz="3200">
                <a:solidFill>
                  <a:schemeClr val="accent1"/>
                </a:solidFill>
              </a:defRPr>
            </a:lvl6pPr>
            <a:lvl7pPr lvl="6" rtl="0">
              <a:spcBef>
                <a:spcPts val="0"/>
              </a:spcBef>
              <a:spcAft>
                <a:spcPts val="0"/>
              </a:spcAft>
              <a:buSzPts val="1100"/>
              <a:buNone/>
              <a:defRPr sz="3200">
                <a:solidFill>
                  <a:schemeClr val="accent1"/>
                </a:solidFill>
              </a:defRPr>
            </a:lvl7pPr>
            <a:lvl8pPr lvl="7" rtl="0">
              <a:spcBef>
                <a:spcPts val="0"/>
              </a:spcBef>
              <a:spcAft>
                <a:spcPts val="0"/>
              </a:spcAft>
              <a:buSzPts val="1100"/>
              <a:buNone/>
              <a:defRPr sz="3200">
                <a:solidFill>
                  <a:schemeClr val="accent1"/>
                </a:solidFill>
              </a:defRPr>
            </a:lvl8pPr>
            <a:lvl9pPr lvl="8" rtl="0">
              <a:spcBef>
                <a:spcPts val="0"/>
              </a:spcBef>
              <a:spcAft>
                <a:spcPts val="0"/>
              </a:spcAft>
              <a:buSzPts val="1100"/>
              <a:buNone/>
              <a:defRPr sz="3200">
                <a:solidFill>
                  <a:schemeClr val="accent1"/>
                </a:solidFill>
              </a:defRPr>
            </a:lvl9pPr>
          </a:lstStyle>
          <a:p>
            <a:endParaRPr lang="en-GB"/>
          </a:p>
        </p:txBody>
      </p:sp>
      <p:sp>
        <p:nvSpPr>
          <p:cNvPr id="480" name="Google Shape;480;p60"/>
          <p:cNvSpPr txBox="1">
            <a:spLocks noGrp="1"/>
          </p:cNvSpPr>
          <p:nvPr>
            <p:ph type="body" idx="1"/>
          </p:nvPr>
        </p:nvSpPr>
        <p:spPr>
          <a:xfrm>
            <a:off x="479344" y="1081136"/>
            <a:ext cx="11048800" cy="369200"/>
          </a:xfrm>
          <a:prstGeom prst="rect">
            <a:avLst/>
          </a:prstGeom>
          <a:noFill/>
          <a:ln>
            <a:noFill/>
          </a:ln>
        </p:spPr>
        <p:txBody>
          <a:bodyPr spcFirstLastPara="1" wrap="square" lIns="68575" tIns="68575" rIns="68575" bIns="68575" anchor="ctr" anchorCtr="0">
            <a:noAutofit/>
          </a:bodyPr>
          <a:lstStyle>
            <a:lvl1pPr marL="609585" lvl="0" indent="-304792" rtl="0">
              <a:lnSpc>
                <a:spcPct val="100000"/>
              </a:lnSpc>
              <a:spcBef>
                <a:spcPts val="0"/>
              </a:spcBef>
              <a:spcAft>
                <a:spcPts val="0"/>
              </a:spcAft>
              <a:buClr>
                <a:schemeClr val="accent2"/>
              </a:buClr>
              <a:buSzPts val="1700"/>
              <a:buFont typeface="Arial"/>
              <a:buNone/>
              <a:defRPr sz="2267">
                <a:solidFill>
                  <a:schemeClr val="accent2"/>
                </a:solidFill>
              </a:defRPr>
            </a:lvl1pPr>
            <a:lvl2pPr marL="1219170" lvl="1" indent="-304792" rtl="0">
              <a:spcBef>
                <a:spcPts val="0"/>
              </a:spcBef>
              <a:spcAft>
                <a:spcPts val="0"/>
              </a:spcAft>
              <a:buClr>
                <a:schemeClr val="accent2"/>
              </a:buClr>
              <a:buSzPts val="1400"/>
              <a:buNone/>
              <a:defRPr sz="1867">
                <a:solidFill>
                  <a:schemeClr val="accent2"/>
                </a:solidFill>
                <a:latin typeface="Arial"/>
                <a:ea typeface="Arial"/>
                <a:cs typeface="Arial"/>
                <a:sym typeface="Arial"/>
              </a:defRPr>
            </a:lvl2pPr>
            <a:lvl3pPr marL="1828754" lvl="2" indent="-304792" rtl="0">
              <a:spcBef>
                <a:spcPts val="0"/>
              </a:spcBef>
              <a:spcAft>
                <a:spcPts val="0"/>
              </a:spcAft>
              <a:buClr>
                <a:schemeClr val="accent2"/>
              </a:buClr>
              <a:buSzPts val="1200"/>
              <a:buNone/>
              <a:defRPr sz="1600">
                <a:solidFill>
                  <a:schemeClr val="accent2"/>
                </a:solidFill>
                <a:latin typeface="Arial"/>
                <a:ea typeface="Arial"/>
                <a:cs typeface="Arial"/>
                <a:sym typeface="Arial"/>
              </a:defRPr>
            </a:lvl3pPr>
            <a:lvl4pPr marL="2438339" lvl="3" indent="-304792" rtl="0">
              <a:spcBef>
                <a:spcPts val="0"/>
              </a:spcBef>
              <a:spcAft>
                <a:spcPts val="0"/>
              </a:spcAft>
              <a:buClr>
                <a:schemeClr val="accent2"/>
              </a:buClr>
              <a:buSzPts val="1400"/>
              <a:buNone/>
              <a:defRPr sz="1467">
                <a:solidFill>
                  <a:schemeClr val="accent2"/>
                </a:solidFill>
                <a:latin typeface="Arial"/>
                <a:ea typeface="Arial"/>
                <a:cs typeface="Arial"/>
                <a:sym typeface="Arial"/>
              </a:defRPr>
            </a:lvl4pPr>
            <a:lvl5pPr marL="3047924" lvl="4" indent="-304792" rtl="0">
              <a:spcBef>
                <a:spcPts val="0"/>
              </a:spcBef>
              <a:spcAft>
                <a:spcPts val="0"/>
              </a:spcAft>
              <a:buClr>
                <a:schemeClr val="accent2"/>
              </a:buClr>
              <a:buSzPts val="1400"/>
              <a:buNone/>
              <a:defRPr sz="2133">
                <a:solidFill>
                  <a:schemeClr val="accent2"/>
                </a:solidFill>
                <a:latin typeface="Arial"/>
                <a:ea typeface="Arial"/>
                <a:cs typeface="Arial"/>
                <a:sym typeface="Arial"/>
              </a:defRPr>
            </a:lvl5pPr>
            <a:lvl6pPr marL="3657509" lvl="5" indent="-304792" rtl="0">
              <a:spcBef>
                <a:spcPts val="0"/>
              </a:spcBef>
              <a:spcAft>
                <a:spcPts val="0"/>
              </a:spcAft>
              <a:buClr>
                <a:schemeClr val="accent2"/>
              </a:buClr>
              <a:buSzPts val="1400"/>
              <a:buNone/>
              <a:defRPr sz="2000">
                <a:solidFill>
                  <a:schemeClr val="accent2"/>
                </a:solidFill>
              </a:defRPr>
            </a:lvl6pPr>
            <a:lvl7pPr marL="4267093" lvl="6" indent="-304792" rtl="0">
              <a:spcBef>
                <a:spcPts val="0"/>
              </a:spcBef>
              <a:spcAft>
                <a:spcPts val="0"/>
              </a:spcAft>
              <a:buClr>
                <a:schemeClr val="accent2"/>
              </a:buClr>
              <a:buSzPts val="1400"/>
              <a:buNone/>
              <a:defRPr sz="2000">
                <a:solidFill>
                  <a:schemeClr val="accent2"/>
                </a:solidFill>
              </a:defRPr>
            </a:lvl7pPr>
            <a:lvl8pPr marL="4876678" lvl="7" indent="-304792" rtl="0">
              <a:spcBef>
                <a:spcPts val="0"/>
              </a:spcBef>
              <a:spcAft>
                <a:spcPts val="0"/>
              </a:spcAft>
              <a:buClr>
                <a:schemeClr val="accent2"/>
              </a:buClr>
              <a:buSzPts val="1400"/>
              <a:buNone/>
              <a:defRPr sz="2000">
                <a:solidFill>
                  <a:schemeClr val="accent2"/>
                </a:solidFill>
              </a:defRPr>
            </a:lvl8pPr>
            <a:lvl9pPr marL="5486263" lvl="8" indent="-304792" rtl="0">
              <a:spcBef>
                <a:spcPts val="0"/>
              </a:spcBef>
              <a:spcAft>
                <a:spcPts val="0"/>
              </a:spcAft>
              <a:buClr>
                <a:schemeClr val="accent2"/>
              </a:buClr>
              <a:buSzPts val="1400"/>
              <a:buNone/>
              <a:defRPr sz="2000">
                <a:solidFill>
                  <a:schemeClr val="accent2"/>
                </a:solidFill>
              </a:defRPr>
            </a:lvl9pPr>
          </a:lstStyle>
          <a:p>
            <a:endParaRPr lang="en-GB"/>
          </a:p>
        </p:txBody>
      </p:sp>
    </p:spTree>
    <p:extLst>
      <p:ext uri="{BB962C8B-B14F-4D97-AF65-F5344CB8AC3E}">
        <p14:creationId xmlns:p14="http://schemas.microsoft.com/office/powerpoint/2010/main" val="205511777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399" y="462430"/>
            <a:ext cx="10062355" cy="695809"/>
          </a:xfrm>
        </p:spPr>
        <p:txBody>
          <a:bodyPr vert="horz" lIns="0" tIns="45720" rIns="0" bIns="0" rtlCol="0" anchor="b" anchorCtr="0">
            <a:noAutofit/>
          </a:bodyPr>
          <a:lstStyle>
            <a:lvl1pPr>
              <a:defRPr lang="en-US" sz="2400" spc="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914399" y="1158240"/>
            <a:ext cx="10325101" cy="784860"/>
          </a:xfrm>
        </p:spPr>
        <p:txBody>
          <a:bodyPr vert="horz" lIns="0" tIns="0" rIns="0" bIns="0" rtlCol="0">
            <a:noAutofit/>
          </a:bodyPr>
          <a:lstStyle>
            <a:lvl1pPr marL="0" indent="0">
              <a:buNone/>
              <a:defRPr lang="en-US" sz="1400">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GB"/>
              <a:t>Edit Master text styles</a:t>
            </a:r>
          </a:p>
        </p:txBody>
      </p:sp>
      <p:sp>
        <p:nvSpPr>
          <p:cNvPr id="9" name="Text Placeholder 8">
            <a:extLst>
              <a:ext uri="{FF2B5EF4-FFF2-40B4-BE49-F238E27FC236}">
                <a16:creationId xmlns:a16="http://schemas.microsoft.com/office/drawing/2014/main" id="{CF58716D-DBF8-4716-A5E8-177B06C7AAB7}"/>
              </a:ext>
            </a:extLst>
          </p:cNvPr>
          <p:cNvSpPr>
            <a:spLocks noGrp="1"/>
          </p:cNvSpPr>
          <p:nvPr>
            <p:ph type="body" sz="quarter" idx="15" hasCustomPrompt="1"/>
          </p:nvPr>
        </p:nvSpPr>
        <p:spPr>
          <a:xfrm>
            <a:off x="914399" y="198438"/>
            <a:ext cx="3776663" cy="263525"/>
          </a:xfrm>
        </p:spPr>
        <p:txBody>
          <a:bodyPr anchor="t"/>
          <a:lstStyle>
            <a:lvl1pPr>
              <a:defRPr sz="1200" b="1" spc="100" baseline="0">
                <a:solidFill>
                  <a:schemeClr val="tx2"/>
                </a:solidFill>
              </a:defRPr>
            </a:lvl1pPr>
          </a:lstStyle>
          <a:p>
            <a:pPr lvl="0"/>
            <a:r>
              <a:rPr lang="en-GB"/>
              <a:t>BREADCRUMB</a:t>
            </a:r>
          </a:p>
        </p:txBody>
      </p:sp>
      <p:sp>
        <p:nvSpPr>
          <p:cNvPr id="5" name="Text Placeholder 8">
            <a:extLst>
              <a:ext uri="{FF2B5EF4-FFF2-40B4-BE49-F238E27FC236}">
                <a16:creationId xmlns:a16="http://schemas.microsoft.com/office/drawing/2014/main" id="{B4FB89FE-98E6-4E5F-A2B7-01E6256D5A50}"/>
              </a:ext>
            </a:extLst>
          </p:cNvPr>
          <p:cNvSpPr>
            <a:spLocks noGrp="1"/>
          </p:cNvSpPr>
          <p:nvPr>
            <p:ph type="body" sz="quarter" idx="16" hasCustomPrompt="1"/>
          </p:nvPr>
        </p:nvSpPr>
        <p:spPr>
          <a:xfrm>
            <a:off x="613555" y="198438"/>
            <a:ext cx="300845" cy="263525"/>
          </a:xfrm>
        </p:spPr>
        <p:txBody>
          <a:bodyPr anchor="t"/>
          <a:lstStyle>
            <a:lvl1pPr>
              <a:defRPr sz="1200" b="1" spc="100" baseline="0">
                <a:solidFill>
                  <a:schemeClr val="tx2"/>
                </a:solidFill>
              </a:defRPr>
            </a:lvl1pPr>
          </a:lstStyle>
          <a:p>
            <a:pPr lvl="0"/>
            <a:r>
              <a:rPr lang="en-GB"/>
              <a:t>01</a:t>
            </a:r>
          </a:p>
        </p:txBody>
      </p:sp>
    </p:spTree>
    <p:extLst>
      <p:ext uri="{BB962C8B-B14F-4D97-AF65-F5344CB8AC3E}">
        <p14:creationId xmlns:p14="http://schemas.microsoft.com/office/powerpoint/2010/main" val="20885359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New Section Slide    ">
  <p:cSld name="New Section Slide    ">
    <p:spTree>
      <p:nvGrpSpPr>
        <p:cNvPr id="1" name="Shape 2025"/>
        <p:cNvGrpSpPr/>
        <p:nvPr/>
      </p:nvGrpSpPr>
      <p:grpSpPr>
        <a:xfrm>
          <a:off x="0" y="0"/>
          <a:ext cx="0" cy="0"/>
          <a:chOff x="0" y="0"/>
          <a:chExt cx="0" cy="0"/>
        </a:xfrm>
      </p:grpSpPr>
      <p:sp>
        <p:nvSpPr>
          <p:cNvPr id="2027" name="Google Shape;2027;p26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GB" smtClean="0"/>
              <a:pPr algn="r"/>
              <a:t>‹#›</a:t>
            </a:fld>
            <a:endParaRPr lang="en-GB"/>
          </a:p>
        </p:txBody>
      </p:sp>
      <p:sp>
        <p:nvSpPr>
          <p:cNvPr id="2029" name="Google Shape;2029;p260"/>
          <p:cNvSpPr txBox="1">
            <a:spLocks noGrp="1"/>
          </p:cNvSpPr>
          <p:nvPr>
            <p:ph type="title"/>
          </p:nvPr>
        </p:nvSpPr>
        <p:spPr>
          <a:xfrm>
            <a:off x="1058400" y="2857200"/>
            <a:ext cx="6588000" cy="763600"/>
          </a:xfrm>
          <a:prstGeom prst="rect">
            <a:avLst/>
          </a:prstGeom>
          <a:effectLst>
            <a:outerShdw blurRad="57150" dist="19050" dir="5400000" algn="bl" rotWithShape="0">
              <a:srgbClr val="000000">
                <a:alpha val="50000"/>
              </a:srgbClr>
            </a:outerShdw>
          </a:effectLst>
        </p:spPr>
        <p:txBody>
          <a:bodyPr spcFirstLastPara="1" wrap="square" lIns="91425" tIns="91425" rIns="91425" bIns="91425" anchor="t" anchorCtr="0">
            <a:normAutofit/>
          </a:bodyPr>
          <a:lstStyle>
            <a:lvl1pPr lvl="0"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1pPr>
            <a:lvl2pPr lvl="1"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2pPr>
            <a:lvl3pPr lvl="2"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3pPr>
            <a:lvl4pPr lvl="3"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4pPr>
            <a:lvl5pPr lvl="4"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5pPr>
            <a:lvl6pPr lvl="5"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6pPr>
            <a:lvl7pPr lvl="6"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7pPr>
            <a:lvl8pPr lvl="7"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8pPr>
            <a:lvl9pPr lvl="8"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9pPr>
          </a:lstStyle>
          <a:p>
            <a:endParaRPr lang="en-GB"/>
          </a:p>
        </p:txBody>
      </p:sp>
    </p:spTree>
    <p:extLst>
      <p:ext uri="{BB962C8B-B14F-4D97-AF65-F5344CB8AC3E}">
        <p14:creationId xmlns:p14="http://schemas.microsoft.com/office/powerpoint/2010/main" val="32117124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_Greeting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Quis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olutpa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condimentum</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elit</a:t>
            </a:r>
            <a:r>
              <a:rPr kumimoji="0" lang="en-GB"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Class </a:t>
            </a:r>
            <a:r>
              <a:rPr kumimoji="0" lang="en-GB" sz="1000" b="1" i="0" u="none" strike="noStrike" kern="1200" cap="none" spc="0" normalizeH="0" baseline="0" noProof="0" err="1">
                <a:ln>
                  <a:noFill/>
                </a:ln>
                <a:solidFill>
                  <a:srgbClr val="000000"/>
                </a:solidFill>
                <a:effectLst/>
                <a:uLnTx/>
                <a:uFillTx/>
                <a:latin typeface="+mn-lt"/>
                <a:ea typeface="+mn-ea"/>
                <a:cs typeface="+mn-cs"/>
              </a:rPr>
              <a:t>apte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aciti</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ociosqu</a:t>
            </a:r>
            <a:r>
              <a:rPr kumimoji="0" lang="en-GB" sz="1000" b="1" i="0" u="none" strike="noStrike" kern="1200" cap="none" spc="0" normalizeH="0" baseline="0" noProof="0">
                <a:ln>
                  <a:noFill/>
                </a:ln>
                <a:solidFill>
                  <a:srgbClr val="000000"/>
                </a:solidFill>
                <a:effectLst/>
                <a:uLnTx/>
                <a:uFillTx/>
                <a:latin typeface="+mn-lt"/>
                <a:ea typeface="+mn-ea"/>
                <a:cs typeface="+mn-cs"/>
              </a:rPr>
              <a:t> ad </a:t>
            </a:r>
            <a:r>
              <a:rPr kumimoji="0" lang="en-GB" sz="1000" b="1" i="0" u="none" strike="noStrike" kern="1200" cap="none" spc="0" normalizeH="0" baseline="0" noProof="0" err="1">
                <a:ln>
                  <a:noFill/>
                </a:ln>
                <a:solidFill>
                  <a:srgbClr val="000000"/>
                </a:solidFill>
                <a:effectLst/>
                <a:uLnTx/>
                <a:uFillTx/>
                <a:latin typeface="+mn-lt"/>
                <a:ea typeface="+mn-ea"/>
                <a:cs typeface="+mn-cs"/>
              </a:rPr>
              <a:t>litor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quent</a:t>
            </a:r>
            <a:r>
              <a:rPr kumimoji="0" lang="en-GB" sz="1000" b="1" i="0" u="none" strike="noStrike" kern="1200" cap="none" spc="0" normalizeH="0" baseline="0" noProof="0">
                <a:ln>
                  <a:noFill/>
                </a:ln>
                <a:solidFill>
                  <a:srgbClr val="000000"/>
                </a:solidFill>
                <a:effectLst/>
                <a:uLnTx/>
                <a:uFillTx/>
                <a:latin typeface="+mn-lt"/>
                <a:ea typeface="+mn-ea"/>
                <a:cs typeface="+mn-cs"/>
              </a:rPr>
              <a:t> per </a:t>
            </a:r>
            <a:r>
              <a:rPr kumimoji="0" lang="en-GB" sz="1000" b="1" i="0" u="none" strike="noStrike" kern="1200" cap="none" spc="0" normalizeH="0" baseline="0" noProof="0" err="1">
                <a:ln>
                  <a:noFill/>
                </a:ln>
                <a:solidFill>
                  <a:srgbClr val="000000"/>
                </a:solidFill>
                <a:effectLst/>
                <a:uLnTx/>
                <a:uFillTx/>
                <a:latin typeface="+mn-lt"/>
                <a:ea typeface="+mn-ea"/>
                <a:cs typeface="+mn-cs"/>
              </a:rPr>
              <a:t>conubia</a:t>
            </a:r>
            <a:r>
              <a:rPr kumimoji="0" lang="en-GB" sz="1000" b="1" i="0" u="none" strike="noStrike" kern="1200" cap="none" spc="0" normalizeH="0" baseline="0" noProof="0">
                <a:ln>
                  <a:noFill/>
                </a:ln>
                <a:solidFill>
                  <a:srgbClr val="000000"/>
                </a:solidFill>
                <a:effectLst/>
                <a:uLnTx/>
                <a:uFillTx/>
                <a:latin typeface="+mn-lt"/>
                <a:ea typeface="+mn-ea"/>
                <a:cs typeface="+mn-cs"/>
              </a:rPr>
              <a:t> nostra, per </a:t>
            </a:r>
            <a:r>
              <a:rPr kumimoji="0" lang="en-GB" sz="1000" b="1" i="0" u="none" strike="noStrike" kern="1200" cap="none" spc="0" normalizeH="0" baseline="0" noProof="0" err="1">
                <a:ln>
                  <a:noFill/>
                </a:ln>
                <a:solidFill>
                  <a:srgbClr val="000000"/>
                </a:solidFill>
                <a:effectLst/>
                <a:uLnTx/>
                <a:uFillTx/>
                <a:latin typeface="+mn-lt"/>
                <a:ea typeface="+mn-ea"/>
                <a:cs typeface="+mn-cs"/>
              </a:rPr>
              <a:t>incepto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Nam </a:t>
            </a:r>
            <a:r>
              <a:rPr kumimoji="0" lang="en-GB" sz="1000" b="1" i="0" u="none" strike="noStrike" kern="1200" cap="none" spc="0" normalizeH="0" baseline="0" noProof="0" err="1">
                <a:ln>
                  <a:noFill/>
                </a:ln>
                <a:solidFill>
                  <a:srgbClr val="000000"/>
                </a:solidFill>
                <a:effectLst/>
                <a:uLnTx/>
                <a:uFillTx/>
                <a:latin typeface="+mn-lt"/>
                <a:ea typeface="+mn-ea"/>
                <a:cs typeface="+mn-cs"/>
              </a:rPr>
              <a:t>nec</a:t>
            </a:r>
            <a:r>
              <a:rPr kumimoji="0" lang="en-GB" sz="1000" b="1" i="0" u="none" strike="noStrike" kern="1200" cap="none" spc="0" normalizeH="0" baseline="0" noProof="0">
                <a:ln>
                  <a:noFill/>
                </a:ln>
                <a:solidFill>
                  <a:srgbClr val="000000"/>
                </a:solidFill>
                <a:effectLst/>
                <a:uLnTx/>
                <a:uFillTx/>
                <a:latin typeface="+mn-lt"/>
                <a:ea typeface="+mn-ea"/>
                <a:cs typeface="+mn-cs"/>
              </a:rPr>
              <a:t> ante. </a:t>
            </a:r>
            <a:r>
              <a:rPr kumimoji="0" lang="en-GB" sz="1000" b="1" i="0" u="none" strike="noStrike" kern="1200" cap="none" spc="0" normalizeH="0" baseline="0" noProof="0" err="1">
                <a:ln>
                  <a:noFill/>
                </a:ln>
                <a:solidFill>
                  <a:srgbClr val="000000"/>
                </a:solidFill>
                <a:effectLst/>
                <a:uLnTx/>
                <a:uFillTx/>
                <a:latin typeface="+mn-lt"/>
                <a:ea typeface="+mn-ea"/>
                <a:cs typeface="+mn-cs"/>
              </a:rPr>
              <a:t>Sed</a:t>
            </a:r>
            <a:r>
              <a:rPr kumimoji="0" lang="en-GB" sz="1000" b="1" i="0" u="none" strike="noStrike" kern="1200" cap="none" spc="0" normalizeH="0" baseline="0" noProof="0">
                <a:ln>
                  <a:noFill/>
                </a:ln>
                <a:solidFill>
                  <a:srgbClr val="000000"/>
                </a:solidFill>
                <a:effectLst/>
                <a:uLnTx/>
                <a:uFillTx/>
                <a:latin typeface="+mn-lt"/>
                <a:ea typeface="+mn-ea"/>
                <a:cs typeface="+mn-cs"/>
              </a:rPr>
              <a:t> lacinia, </a:t>
            </a:r>
            <a:r>
              <a:rPr kumimoji="0" lang="en-GB" sz="1000" b="1" i="0" u="none" strike="noStrike" kern="1200" cap="none" spc="0" normalizeH="0" baseline="0" noProof="0" err="1">
                <a:ln>
                  <a:noFill/>
                </a:ln>
                <a:solidFill>
                  <a:srgbClr val="000000"/>
                </a:solidFill>
                <a:effectLst/>
                <a:uLnTx/>
                <a:uFillTx/>
                <a:latin typeface="+mn-lt"/>
                <a:ea typeface="+mn-ea"/>
                <a:cs typeface="+mn-cs"/>
              </a:rPr>
              <a:t>urna</a:t>
            </a:r>
            <a:r>
              <a:rPr kumimoji="0" lang="en-GB" sz="1000" b="1" i="0" u="none" strike="noStrike" kern="1200" cap="none" spc="0" normalizeH="0" baseline="0" noProof="0">
                <a:ln>
                  <a:noFill/>
                </a:ln>
                <a:solidFill>
                  <a:srgbClr val="000000"/>
                </a:solidFill>
                <a:effectLst/>
                <a:uLnTx/>
                <a:uFillTx/>
                <a:latin typeface="+mn-lt"/>
                <a:ea typeface="+mn-ea"/>
                <a:cs typeface="+mn-cs"/>
              </a:rPr>
              <a:t> non </a:t>
            </a:r>
            <a:r>
              <a:rPr kumimoji="0" lang="en-GB" sz="1000" b="1" i="0" u="none" strike="noStrike" kern="1200" cap="none" spc="0" normalizeH="0" baseline="0" noProof="0" err="1">
                <a:ln>
                  <a:noFill/>
                </a:ln>
                <a:solidFill>
                  <a:srgbClr val="000000"/>
                </a:solidFill>
                <a:effectLst/>
                <a:uLnTx/>
                <a:uFillTx/>
                <a:latin typeface="+mn-lt"/>
                <a:ea typeface="+mn-ea"/>
                <a:cs typeface="+mn-cs"/>
              </a:rPr>
              <a:t>tincidu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matt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tor</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e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adipiscing</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diam</a:t>
            </a:r>
            <a:r>
              <a:rPr kumimoji="0" lang="en-GB" sz="1000" b="1" i="0" u="none" strike="noStrike" kern="1200" cap="none" spc="0" normalizeH="0" baseline="0" noProof="0">
                <a:ln>
                  <a:noFill/>
                </a:ln>
                <a:solidFill>
                  <a:srgbClr val="000000"/>
                </a:solidFill>
                <a:effectLst/>
                <a:uLnTx/>
                <a:uFillTx/>
                <a:latin typeface="+mn-lt"/>
                <a:ea typeface="+mn-ea"/>
                <a:cs typeface="+mn-cs"/>
              </a:rPr>
              <a:t>, a cursus ipsum ante </a:t>
            </a:r>
            <a:r>
              <a:rPr kumimoji="0" lang="en-GB" sz="1000" b="1" i="0" u="none" strike="noStrike" kern="1200" cap="none" spc="0" normalizeH="0" baseline="0" noProof="0" err="1">
                <a:ln>
                  <a:noFill/>
                </a:ln>
                <a:solidFill>
                  <a:srgbClr val="000000"/>
                </a:solidFill>
                <a:effectLst/>
                <a:uLnTx/>
                <a:uFillTx/>
                <a:latin typeface="+mn-lt"/>
                <a:ea typeface="+mn-ea"/>
                <a:cs typeface="+mn-cs"/>
              </a:rPr>
              <a:t>qu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urpi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Nu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facilisi</a:t>
            </a:r>
            <a:r>
              <a:rPr kumimoji="0" lang="en-GB" sz="1000" b="1" i="0" u="none" strike="noStrike" kern="1200" cap="none" spc="0" normalizeH="0" baseline="0" noProof="0">
                <a:ln>
                  <a:noFill/>
                </a:ln>
                <a:solidFill>
                  <a:srgbClr val="000000"/>
                </a:solidFill>
                <a:effectLst/>
                <a:uLnTx/>
                <a:uFillTx/>
                <a:latin typeface="+mn-lt"/>
                <a:ea typeface="+mn-ea"/>
                <a:cs typeface="+mn-cs"/>
              </a:rPr>
              <a:t>. Ut </a:t>
            </a:r>
            <a:r>
              <a:rPr kumimoji="0" lang="en-GB" sz="1000" b="1" i="0" u="none" strike="noStrike" kern="1200" cap="none" spc="0" normalizeH="0" baseline="0" noProof="0" err="1">
                <a:ln>
                  <a:noFill/>
                </a:ln>
                <a:solidFill>
                  <a:srgbClr val="000000"/>
                </a:solidFill>
                <a:effectLst/>
                <a:uLnTx/>
                <a:uFillTx/>
                <a:latin typeface="+mn-lt"/>
                <a:ea typeface="+mn-ea"/>
                <a:cs typeface="+mn-cs"/>
              </a:rPr>
              <a:t>fringi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uspendiss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potenti</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GB" sz="1000" b="1" i="0" u="none" strike="noStrike" kern="1200" cap="none" spc="0" normalizeH="0" baseline="0" noProof="0" err="1">
                <a:ln>
                  <a:noFill/>
                </a:ln>
                <a:solidFill>
                  <a:srgbClr val="000000"/>
                </a:solidFill>
                <a:effectLst/>
                <a:uLnTx/>
                <a:uFillTx/>
                <a:latin typeface="+mn-lt"/>
                <a:ea typeface="+mn-ea"/>
                <a:cs typeface="+mn-cs"/>
              </a:rPr>
              <a:t>arcu</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ege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ulla</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spTree>
    <p:extLst>
      <p:ext uri="{BB962C8B-B14F-4D97-AF65-F5344CB8AC3E}">
        <p14:creationId xmlns:p14="http://schemas.microsoft.com/office/powerpoint/2010/main" val="408707838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Large Title -  Messaging - Color Background">
    <p:spTree>
      <p:nvGrpSpPr>
        <p:cNvPr id="1" name=""/>
        <p:cNvGrpSpPr/>
        <p:nvPr/>
      </p:nvGrpSpPr>
      <p:grpSpPr>
        <a:xfrm>
          <a:off x="0" y="0"/>
          <a:ext cx="0" cy="0"/>
          <a:chOff x="0" y="0"/>
          <a:chExt cx="0" cy="0"/>
        </a:xfrm>
      </p:grpSpPr>
      <p:pic>
        <p:nvPicPr>
          <p:cNvPr id="6" name="Picture 5" descr="An organic human figure drawn in loose white brush strokes on a background of light blue">
            <a:extLst>
              <a:ext uri="{FF2B5EF4-FFF2-40B4-BE49-F238E27FC236}">
                <a16:creationId xmlns:a16="http://schemas.microsoft.com/office/drawing/2014/main" id="{BE72E9CE-09AF-F84C-AD04-9D83DD83BD2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071731"/>
            <a:ext cx="5383369" cy="4786269"/>
          </a:xfrm>
          <a:prstGeom prst="rect">
            <a:avLst/>
          </a:prstGeom>
        </p:spPr>
      </p:pic>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8" name="Title Placeholder 1">
            <a:extLst>
              <a:ext uri="{FF2B5EF4-FFF2-40B4-BE49-F238E27FC236}">
                <a16:creationId xmlns:a16="http://schemas.microsoft.com/office/drawing/2014/main" id="{90194FF2-8221-9649-9FD2-0C3EDEDE0177}"/>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p:txBody>
      </p:sp>
    </p:spTree>
    <p:extLst>
      <p:ext uri="{BB962C8B-B14F-4D97-AF65-F5344CB8AC3E}">
        <p14:creationId xmlns:p14="http://schemas.microsoft.com/office/powerpoint/2010/main" val="138857313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Title and Subhead: No Content - Color Background">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984832954"/>
      </p:ext>
    </p:extLst>
  </p:cSld>
  <p:clrMapOvr>
    <a:masterClrMapping/>
  </p:clrMapOvr>
  <p:transition>
    <p:fade/>
  </p:transition>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Title and Subhead: No Content - Breadcrumb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E6D83C-63C3-4B2C-AC58-5A074DBDD84E}"/>
              </a:ext>
            </a:extLst>
          </p:cNvPr>
          <p:cNvGraphicFramePr>
            <a:graphicFrameLocks noChangeAspect="1"/>
          </p:cNvGraphicFramePr>
          <p:nvPr userDrawn="1">
            <p:custDataLst>
              <p:tags r:id="rId1"/>
            </p:custDataLst>
            <p:extLst>
              <p:ext uri="{D42A27DB-BD31-4B8C-83A1-F6EECF244321}">
                <p14:modId xmlns:p14="http://schemas.microsoft.com/office/powerpoint/2010/main" val="350293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1E6D83C-63C3-4B2C-AC58-5A074DBDD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Placeholder 1">
            <a:extLst>
              <a:ext uri="{FF2B5EF4-FFF2-40B4-BE49-F238E27FC236}">
                <a16:creationId xmlns:a16="http://schemas.microsoft.com/office/drawing/2014/main" id="{C13FF76A-4C04-7C40-B276-46DB909165DB}"/>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a:defRPr sz="3200"/>
            </a:lvl1pPr>
          </a:lstStyle>
          <a:p>
            <a:r>
              <a:rPr lang="en-GB" noProof="0"/>
              <a:t>Your headline goes here when you’re ready</a:t>
            </a:r>
          </a:p>
        </p:txBody>
      </p:sp>
      <p:sp>
        <p:nvSpPr>
          <p:cNvPr id="13" name="Text Placeholder 7">
            <a:extLst>
              <a:ext uri="{FF2B5EF4-FFF2-40B4-BE49-F238E27FC236}">
                <a16:creationId xmlns:a16="http://schemas.microsoft.com/office/drawing/2014/main" id="{E7D646A0-5F3F-BC41-8E22-2823D1AC8CE3}"/>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1680551078"/>
      </p:ext>
    </p:extLst>
  </p:cSld>
  <p:clrMapOvr>
    <a:masterClrMapping/>
  </p:clrMapOvr>
  <p:transition/>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Appendix C_Global C T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EB8441-7010-4D27-985A-69F1BAE7A3F9}"/>
              </a:ext>
            </a:extLst>
          </p:cNvPr>
          <p:cNvSpPr/>
          <p:nvPr userDrawn="1"/>
        </p:nvSpPr>
        <p:spPr bwMode="gray">
          <a:xfrm>
            <a:off x="1524" y="0"/>
            <a:ext cx="10933176" cy="783771"/>
          </a:xfrm>
          <a:prstGeom prst="rect">
            <a:avLst/>
          </a:prstGeom>
          <a:solidFill>
            <a:schemeClr val="bg1"/>
          </a:solidFill>
          <a:ln w="19050" algn="ctr">
            <a:noFill/>
            <a:miter lim="800000"/>
            <a:headEnd/>
            <a:tailEnd/>
          </a:ln>
          <a:effectLst>
            <a:outerShdw blurRad="50800" dist="38100" dir="5400000" algn="t" rotWithShape="0">
              <a:srgbClr val="63666A">
                <a:alpha val="40000"/>
              </a:srgbClr>
            </a:outerShdw>
          </a:effec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grpSp>
        <p:nvGrpSpPr>
          <p:cNvPr id="13" name="Group 12">
            <a:extLst>
              <a:ext uri="{FF2B5EF4-FFF2-40B4-BE49-F238E27FC236}">
                <a16:creationId xmlns:a16="http://schemas.microsoft.com/office/drawing/2014/main" id="{B619FE68-38C6-4FB8-9741-43DABADAE908}"/>
              </a:ext>
            </a:extLst>
          </p:cNvPr>
          <p:cNvGrpSpPr/>
          <p:nvPr userDrawn="1"/>
        </p:nvGrpSpPr>
        <p:grpSpPr>
          <a:xfrm>
            <a:off x="469902" y="353723"/>
            <a:ext cx="10464798" cy="418688"/>
            <a:chOff x="469902" y="353723"/>
            <a:chExt cx="8404858" cy="418688"/>
          </a:xfrm>
        </p:grpSpPr>
        <p:sp>
          <p:nvSpPr>
            <p:cNvPr id="14" name="Rectangle: Top Corners Rounded 13">
              <a:hlinkClick r:id="" action="ppaction://noaction"/>
              <a:extLst>
                <a:ext uri="{FF2B5EF4-FFF2-40B4-BE49-F238E27FC236}">
                  <a16:creationId xmlns:a16="http://schemas.microsoft.com/office/drawing/2014/main" id="{6D18AF94-2CF1-479A-A275-4DEF9CCA1BEF}"/>
                </a:ext>
              </a:extLst>
            </p:cNvPr>
            <p:cNvSpPr/>
            <p:nvPr userDrawn="1"/>
          </p:nvSpPr>
          <p:spPr bwMode="gray">
            <a:xfrm>
              <a:off x="4699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Introduction</a:t>
              </a:r>
            </a:p>
          </p:txBody>
        </p:sp>
        <p:sp>
          <p:nvSpPr>
            <p:cNvPr id="15" name="Rectangle: Top Corners Rounded 14">
              <a:hlinkClick r:id="" action="ppaction://noaction"/>
              <a:extLst>
                <a:ext uri="{FF2B5EF4-FFF2-40B4-BE49-F238E27FC236}">
                  <a16:creationId xmlns:a16="http://schemas.microsoft.com/office/drawing/2014/main" id="{18A80764-8A9D-4378-8A11-C00AB78601A7}"/>
                </a:ext>
              </a:extLst>
            </p:cNvPr>
            <p:cNvSpPr/>
            <p:nvPr userDrawn="1"/>
          </p:nvSpPr>
          <p:spPr bwMode="gray">
            <a:xfrm>
              <a:off x="1403352" y="353723"/>
              <a:ext cx="937258" cy="418688"/>
            </a:xfrm>
            <a:prstGeom prst="round2SameRect">
              <a:avLst>
                <a:gd name="adj1" fmla="val 15676"/>
                <a:gd name="adj2" fmla="val 0"/>
              </a:avLst>
            </a:prstGeom>
            <a:solidFill>
              <a:schemeClr val="tx1"/>
            </a:solidFill>
            <a:ln w="19050" algn="ctr">
              <a:solidFill>
                <a:schemeClr val="bg1"/>
              </a:solidFill>
              <a:miter lim="800000"/>
              <a:headEnd/>
              <a:tailEnd/>
            </a:ln>
          </p:spPr>
          <p:txBody>
            <a:bodyPr wrap="none" lIns="27432" tIns="27432" rIns="27432" bIns="27432" rtlCol="0" anchor="ctr"/>
            <a:lstStyle/>
            <a:p>
              <a:pPr algn="ctr">
                <a:buFont typeface="Wingdings 2" pitchFamily="18" charset="2"/>
                <a:buNone/>
              </a:pPr>
              <a:r>
                <a:rPr lang="en-GB" sz="800" b="1">
                  <a:solidFill>
                    <a:schemeClr val="bg1"/>
                  </a:solidFill>
                </a:rPr>
                <a:t>Global</a:t>
              </a:r>
              <a:br>
                <a:rPr lang="en-GB" sz="800" b="1">
                  <a:solidFill>
                    <a:schemeClr val="bg1"/>
                  </a:solidFill>
                </a:rPr>
              </a:br>
              <a:r>
                <a:rPr lang="en-GB" sz="800" b="1">
                  <a:solidFill>
                    <a:schemeClr val="bg1"/>
                  </a:solidFill>
                </a:rPr>
                <a:t>Coordination Team</a:t>
              </a:r>
            </a:p>
          </p:txBody>
        </p:sp>
        <p:sp>
          <p:nvSpPr>
            <p:cNvPr id="16" name="Rectangle: Top Corners Rounded 15">
              <a:hlinkClick r:id="" action="ppaction://noaction"/>
              <a:extLst>
                <a:ext uri="{FF2B5EF4-FFF2-40B4-BE49-F238E27FC236}">
                  <a16:creationId xmlns:a16="http://schemas.microsoft.com/office/drawing/2014/main" id="{21489F88-63F4-4D5E-A31A-B05C34DDC82E}"/>
                </a:ext>
              </a:extLst>
            </p:cNvPr>
            <p:cNvSpPr/>
            <p:nvPr userDrawn="1"/>
          </p:nvSpPr>
          <p:spPr bwMode="gray">
            <a:xfrm>
              <a:off x="23368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ast Asia and the Pacific</a:t>
              </a:r>
            </a:p>
          </p:txBody>
        </p:sp>
        <p:sp>
          <p:nvSpPr>
            <p:cNvPr id="17" name="Rectangle: Top Corners Rounded 16">
              <a:hlinkClick r:id="" action="ppaction://noaction"/>
              <a:extLst>
                <a:ext uri="{FF2B5EF4-FFF2-40B4-BE49-F238E27FC236}">
                  <a16:creationId xmlns:a16="http://schemas.microsoft.com/office/drawing/2014/main" id="{E9D58494-7912-4D6F-91D7-DF9548A1DE07}"/>
                </a:ext>
              </a:extLst>
            </p:cNvPr>
            <p:cNvSpPr/>
            <p:nvPr userDrawn="1"/>
          </p:nvSpPr>
          <p:spPr bwMode="gray">
            <a:xfrm>
              <a:off x="32702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astern and Southern Africa</a:t>
              </a:r>
            </a:p>
          </p:txBody>
        </p:sp>
        <p:sp>
          <p:nvSpPr>
            <p:cNvPr id="18" name="Rectangle: Top Corners Rounded 17">
              <a:hlinkClick r:id="" action="ppaction://noaction"/>
              <a:extLst>
                <a:ext uri="{FF2B5EF4-FFF2-40B4-BE49-F238E27FC236}">
                  <a16:creationId xmlns:a16="http://schemas.microsoft.com/office/drawing/2014/main" id="{7786A7A4-9360-4337-BB3C-306FA6C33332}"/>
                </a:ext>
              </a:extLst>
            </p:cNvPr>
            <p:cNvSpPr/>
            <p:nvPr userDrawn="1"/>
          </p:nvSpPr>
          <p:spPr bwMode="gray">
            <a:xfrm>
              <a:off x="42037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urope and Central Asia</a:t>
              </a:r>
            </a:p>
          </p:txBody>
        </p:sp>
        <p:sp>
          <p:nvSpPr>
            <p:cNvPr id="19" name="Rectangle: Top Corners Rounded 18">
              <a:hlinkClick r:id="" action="ppaction://noaction"/>
              <a:extLst>
                <a:ext uri="{FF2B5EF4-FFF2-40B4-BE49-F238E27FC236}">
                  <a16:creationId xmlns:a16="http://schemas.microsoft.com/office/drawing/2014/main" id="{F0E2753C-02CB-4E2B-9171-BFBE2340BF98}"/>
                </a:ext>
              </a:extLst>
            </p:cNvPr>
            <p:cNvSpPr/>
            <p:nvPr userDrawn="1"/>
          </p:nvSpPr>
          <p:spPr bwMode="gray">
            <a:xfrm>
              <a:off x="51371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Latin America and Caribbean</a:t>
              </a:r>
            </a:p>
          </p:txBody>
        </p:sp>
        <p:sp>
          <p:nvSpPr>
            <p:cNvPr id="20" name="Rectangle: Top Corners Rounded 19">
              <a:hlinkClick r:id="" action="ppaction://noaction"/>
              <a:extLst>
                <a:ext uri="{FF2B5EF4-FFF2-40B4-BE49-F238E27FC236}">
                  <a16:creationId xmlns:a16="http://schemas.microsoft.com/office/drawing/2014/main" id="{10103538-61C5-41A4-A31B-020DF836C5CF}"/>
                </a:ext>
              </a:extLst>
            </p:cNvPr>
            <p:cNvSpPr/>
            <p:nvPr userDrawn="1"/>
          </p:nvSpPr>
          <p:spPr bwMode="gray">
            <a:xfrm>
              <a:off x="60706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Middle East and North Africa</a:t>
              </a:r>
            </a:p>
          </p:txBody>
        </p:sp>
        <p:sp>
          <p:nvSpPr>
            <p:cNvPr id="21" name="Rectangle: Top Corners Rounded 20">
              <a:hlinkClick r:id="" action="ppaction://noaction"/>
              <a:extLst>
                <a:ext uri="{FF2B5EF4-FFF2-40B4-BE49-F238E27FC236}">
                  <a16:creationId xmlns:a16="http://schemas.microsoft.com/office/drawing/2014/main" id="{C7E86401-F9D5-4827-9E9F-169A437B2928}"/>
                </a:ext>
              </a:extLst>
            </p:cNvPr>
            <p:cNvSpPr/>
            <p:nvPr userDrawn="1"/>
          </p:nvSpPr>
          <p:spPr bwMode="gray">
            <a:xfrm>
              <a:off x="70040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South Asia</a:t>
              </a:r>
            </a:p>
          </p:txBody>
        </p:sp>
        <p:sp>
          <p:nvSpPr>
            <p:cNvPr id="22" name="Rectangle: Top Corners Rounded 21">
              <a:hlinkClick r:id="" action="ppaction://noaction"/>
              <a:extLst>
                <a:ext uri="{FF2B5EF4-FFF2-40B4-BE49-F238E27FC236}">
                  <a16:creationId xmlns:a16="http://schemas.microsoft.com/office/drawing/2014/main" id="{A78A7EEA-A3AD-42FA-B617-760559667FC6}"/>
                </a:ext>
              </a:extLst>
            </p:cNvPr>
            <p:cNvSpPr/>
            <p:nvPr userDrawn="1"/>
          </p:nvSpPr>
          <p:spPr bwMode="gray">
            <a:xfrm>
              <a:off x="79375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West and</a:t>
              </a:r>
            </a:p>
            <a:p>
              <a:pPr lvl="0" algn="ctr">
                <a:buFont typeface="Wingdings 2" pitchFamily="18" charset="2"/>
                <a:buNone/>
              </a:pPr>
              <a:r>
                <a:rPr lang="en-GB" sz="800" b="0"/>
                <a:t>Central Africa</a:t>
              </a:r>
            </a:p>
          </p:txBody>
        </p:sp>
      </p:grpSp>
    </p:spTree>
    <p:extLst>
      <p:ext uri="{BB962C8B-B14F-4D97-AF65-F5344CB8AC3E}">
        <p14:creationId xmlns:p14="http://schemas.microsoft.com/office/powerpoint/2010/main" val="14553532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52942194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head: Sidebar - 3 Column - Breadcrumb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D9F71E33-BA0E-A541-A2DC-FD42A43A6FC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9">
            <a:extLst>
              <a:ext uri="{FF2B5EF4-FFF2-40B4-BE49-F238E27FC236}">
                <a16:creationId xmlns:a16="http://schemas.microsoft.com/office/drawing/2014/main" id="{4BB17C82-293E-A545-98BE-F49322DB0411}"/>
              </a:ext>
            </a:extLst>
          </p:cNvPr>
          <p:cNvSpPr>
            <a:spLocks noGrp="1"/>
          </p:cNvSpPr>
          <p:nvPr>
            <p:ph type="body" sz="quarter" idx="20" hasCustomPrompt="1"/>
          </p:nvPr>
        </p:nvSpPr>
        <p:spPr>
          <a:xfrm>
            <a:off x="4958603" y="3656853"/>
            <a:ext cx="62865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6" name="Text Placeholder 9">
            <a:extLst>
              <a:ext uri="{FF2B5EF4-FFF2-40B4-BE49-F238E27FC236}">
                <a16:creationId xmlns:a16="http://schemas.microsoft.com/office/drawing/2014/main" id="{DE6D4580-4856-8642-9E92-D7DB0B4D7A61}"/>
              </a:ext>
            </a:extLst>
          </p:cNvPr>
          <p:cNvSpPr>
            <a:spLocks noGrp="1"/>
          </p:cNvSpPr>
          <p:nvPr>
            <p:ph type="body" sz="quarter" idx="18" hasCustomPrompt="1"/>
          </p:nvPr>
        </p:nvSpPr>
        <p:spPr>
          <a:xfrm>
            <a:off x="4953000" y="57822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7" name="Text Placeholder 9">
            <a:extLst>
              <a:ext uri="{FF2B5EF4-FFF2-40B4-BE49-F238E27FC236}">
                <a16:creationId xmlns:a16="http://schemas.microsoft.com/office/drawing/2014/main" id="{0A80BEB9-2610-0A4D-80B5-1FD622F09997}"/>
              </a:ext>
            </a:extLst>
          </p:cNvPr>
          <p:cNvSpPr>
            <a:spLocks noGrp="1"/>
          </p:cNvSpPr>
          <p:nvPr>
            <p:ph type="body" sz="quarter" idx="19" hasCustomPrompt="1"/>
          </p:nvPr>
        </p:nvSpPr>
        <p:spPr>
          <a:xfrm>
            <a:off x="8278906" y="57822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9" name="Text Placeholder 2">
            <a:extLst>
              <a:ext uri="{FF2B5EF4-FFF2-40B4-BE49-F238E27FC236}">
                <a16:creationId xmlns:a16="http://schemas.microsoft.com/office/drawing/2014/main" id="{F3A56DE9-FB1F-EC49-B6BF-68FE231E2842}"/>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ext Placeholder 2">
            <a:extLst>
              <a:ext uri="{FF2B5EF4-FFF2-40B4-BE49-F238E27FC236}">
                <a16:creationId xmlns:a16="http://schemas.microsoft.com/office/drawing/2014/main" id="{C686CC1E-80E1-924E-BDE1-FD005E579C2F}"/>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32F00CF8-2616-134C-AE9B-6739532E7B97}"/>
              </a:ext>
            </a:extLst>
          </p:cNvPr>
          <p:cNvSpPr>
            <a:spLocks noGrp="1"/>
          </p:cNvSpPr>
          <p:nvPr>
            <p:ph type="body" sz="quarter" idx="26" hasCustomPrompt="1"/>
          </p:nvPr>
        </p:nvSpPr>
        <p:spPr>
          <a:xfrm>
            <a:off x="1986247" y="495992"/>
            <a:ext cx="2638916"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277601742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4F32D9-1999-5481-077E-F236A0B6F527}"/>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84087293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01 Title Slide ">
    <p:bg bwMode="gray">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BEE8DFD-D8BC-E750-8C41-778E6668B3C7}"/>
              </a:ext>
            </a:extLst>
          </p:cNvPr>
          <p:cNvPicPr>
            <a:picLocks noChangeAspect="1"/>
          </p:cNvPicPr>
          <p:nvPr userDrawn="1"/>
        </p:nvPicPr>
        <p:blipFill rotWithShape="1">
          <a:blip r:embed="rId2" cstate="email">
            <a:alphaModFix amt="60000"/>
            <a:extLst>
              <a:ext uri="{28A0092B-C50C-407E-A947-70E740481C1C}">
                <a14:useLocalDpi xmlns:a14="http://schemas.microsoft.com/office/drawing/2010/main"/>
              </a:ext>
            </a:extLst>
          </a:blip>
          <a:srcRect/>
          <a:stretch/>
        </p:blipFill>
        <p:spPr>
          <a:xfrm rot="5400000">
            <a:off x="-955042" y="955040"/>
            <a:ext cx="6858003" cy="4947924"/>
          </a:xfrm>
          <a:prstGeom prst="rect">
            <a:avLst/>
          </a:prstGeom>
        </p:spPr>
      </p:pic>
      <p:pic>
        <p:nvPicPr>
          <p:cNvPr id="4" name="Picture 3">
            <a:extLst>
              <a:ext uri="{FF2B5EF4-FFF2-40B4-BE49-F238E27FC236}">
                <a16:creationId xmlns:a16="http://schemas.microsoft.com/office/drawing/2014/main" id="{249E0828-2243-DF09-EA4F-081E481AF8D7}"/>
              </a:ext>
            </a:extLst>
          </p:cNvPr>
          <p:cNvPicPr>
            <a:picLocks noChangeAspect="1"/>
          </p:cNvPicPr>
          <p:nvPr userDrawn="1"/>
        </p:nvPicPr>
        <p:blipFill rotWithShape="1">
          <a:blip r:embed="rId3"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9"/>
            <a:ext cx="3192779" cy="772631"/>
          </a:xfrm>
          <a:prstGeom prst="rect">
            <a:avLst/>
          </a:prstGeom>
        </p:spPr>
        <p:txBody>
          <a:bodyPr anchor="b" anchorCtr="0">
            <a:noAutofit/>
          </a:bodyPr>
          <a:lstStyle>
            <a:lvl1pPr algn="l">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90"/>
            <a:ext cx="1927035"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7" name="Picture 6">
            <a:extLst>
              <a:ext uri="{FF2B5EF4-FFF2-40B4-BE49-F238E27FC236}">
                <a16:creationId xmlns:a16="http://schemas.microsoft.com/office/drawing/2014/main" id="{A063D0BB-4AB1-5046-FFC6-B0E0F5C6B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749935" y="550535"/>
            <a:ext cx="4797371" cy="6031066"/>
          </a:xfrm>
          <a:prstGeom prst="rect">
            <a:avLst/>
          </a:prstGeom>
        </p:spPr>
      </p:pic>
    </p:spTree>
    <p:extLst>
      <p:ext uri="{BB962C8B-B14F-4D97-AF65-F5344CB8AC3E}">
        <p14:creationId xmlns:p14="http://schemas.microsoft.com/office/powerpoint/2010/main" val="145524360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02 Title Slide">
    <p:bg bwMode="gray">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383946-5DBE-89F0-96A1-25D83E007946}"/>
              </a:ext>
            </a:extLst>
          </p:cNvPr>
          <p:cNvPicPr>
            <a:picLocks noChangeAspect="1"/>
          </p:cNvPicPr>
          <p:nvPr userDrawn="1"/>
        </p:nvPicPr>
        <p:blipFill rotWithShape="1">
          <a:blip r:embed="rId2" cstate="email">
            <a:alphaModFix amt="60000"/>
            <a:extLst>
              <a:ext uri="{28A0092B-C50C-407E-A947-70E740481C1C}">
                <a14:useLocalDpi xmlns:a14="http://schemas.microsoft.com/office/drawing/2010/main"/>
              </a:ext>
            </a:extLst>
          </a:blip>
          <a:srcRect/>
          <a:stretch/>
        </p:blipFill>
        <p:spPr>
          <a:xfrm rot="5400000">
            <a:off x="-955042" y="955040"/>
            <a:ext cx="6858003" cy="4947924"/>
          </a:xfrm>
          <a:prstGeom prst="rect">
            <a:avLst/>
          </a:prstGeom>
        </p:spPr>
      </p:pic>
      <p:pic>
        <p:nvPicPr>
          <p:cNvPr id="5" name="Picture 4">
            <a:extLst>
              <a:ext uri="{FF2B5EF4-FFF2-40B4-BE49-F238E27FC236}">
                <a16:creationId xmlns:a16="http://schemas.microsoft.com/office/drawing/2014/main" id="{F0143D07-A28D-C503-A615-89D6AB0B89DF}"/>
              </a:ext>
            </a:extLst>
          </p:cNvPr>
          <p:cNvPicPr>
            <a:picLocks noChangeAspect="1"/>
          </p:cNvPicPr>
          <p:nvPr userDrawn="1"/>
        </p:nvPicPr>
        <p:blipFill rotWithShape="1">
          <a:blip r:embed="rId3"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anchor="b" anchorCtr="0">
            <a:noAutofit/>
          </a:bodyPr>
          <a:lstStyle>
            <a:lvl1pPr algn="l">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2" name="Picture 1">
            <a:extLst>
              <a:ext uri="{FF2B5EF4-FFF2-40B4-BE49-F238E27FC236}">
                <a16:creationId xmlns:a16="http://schemas.microsoft.com/office/drawing/2014/main" id="{B228C7D8-FFE2-7419-A5BE-A249E096FDE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527217" y="591921"/>
            <a:ext cx="4636325" cy="5598921"/>
          </a:xfrm>
          <a:prstGeom prst="rect">
            <a:avLst/>
          </a:prstGeom>
        </p:spPr>
      </p:pic>
    </p:spTree>
    <p:extLst>
      <p:ext uri="{BB962C8B-B14F-4D97-AF65-F5344CB8AC3E}">
        <p14:creationId xmlns:p14="http://schemas.microsoft.com/office/powerpoint/2010/main" val="411947846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03 Title Slide">
    <p:bg bwMode="gray">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383946-5DBE-89F0-96A1-25D83E007946}"/>
              </a:ext>
            </a:extLst>
          </p:cNvPr>
          <p:cNvPicPr>
            <a:picLocks noChangeAspect="1"/>
          </p:cNvPicPr>
          <p:nvPr userDrawn="1"/>
        </p:nvPicPr>
        <p:blipFill rotWithShape="1">
          <a:blip r:embed="rId2" cstate="email">
            <a:alphaModFix amt="60000"/>
            <a:extLst>
              <a:ext uri="{28A0092B-C50C-407E-A947-70E740481C1C}">
                <a14:useLocalDpi xmlns:a14="http://schemas.microsoft.com/office/drawing/2010/main"/>
              </a:ext>
            </a:extLst>
          </a:blip>
          <a:srcRect/>
          <a:stretch/>
        </p:blipFill>
        <p:spPr>
          <a:xfrm rot="5400000">
            <a:off x="-955042" y="955040"/>
            <a:ext cx="6858003" cy="4947924"/>
          </a:xfrm>
          <a:prstGeom prst="rect">
            <a:avLst/>
          </a:prstGeom>
        </p:spPr>
      </p:pic>
      <p:pic>
        <p:nvPicPr>
          <p:cNvPr id="5" name="Picture 4">
            <a:extLst>
              <a:ext uri="{FF2B5EF4-FFF2-40B4-BE49-F238E27FC236}">
                <a16:creationId xmlns:a16="http://schemas.microsoft.com/office/drawing/2014/main" id="{F0143D07-A28D-C503-A615-89D6AB0B89DF}"/>
              </a:ext>
            </a:extLst>
          </p:cNvPr>
          <p:cNvPicPr>
            <a:picLocks noChangeAspect="1"/>
          </p:cNvPicPr>
          <p:nvPr userDrawn="1"/>
        </p:nvPicPr>
        <p:blipFill rotWithShape="1">
          <a:blip r:embed="rId3"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anchor="b" anchorCtr="0">
            <a:noAutofit/>
          </a:bodyPr>
          <a:lstStyle>
            <a:lvl1pPr algn="l">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4" name="Picture 3">
            <a:extLst>
              <a:ext uri="{FF2B5EF4-FFF2-40B4-BE49-F238E27FC236}">
                <a16:creationId xmlns:a16="http://schemas.microsoft.com/office/drawing/2014/main" id="{39610CC3-5953-713C-84FB-A05C9F227DD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b="-9582"/>
          <a:stretch/>
        </p:blipFill>
        <p:spPr>
          <a:xfrm>
            <a:off x="6749935" y="361264"/>
            <a:ext cx="4947925" cy="6220337"/>
          </a:xfrm>
          <a:prstGeom prst="rect">
            <a:avLst/>
          </a:prstGeom>
        </p:spPr>
      </p:pic>
    </p:spTree>
    <p:extLst>
      <p:ext uri="{BB962C8B-B14F-4D97-AF65-F5344CB8AC3E}">
        <p14:creationId xmlns:p14="http://schemas.microsoft.com/office/powerpoint/2010/main" val="107043454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04 Title Slid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anchor="b" anchorCtr="0">
            <a:noAutofit/>
          </a:bodyPr>
          <a:lstStyle>
            <a:lvl1pPr algn="l">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6" name="Picture 5">
            <a:extLst>
              <a:ext uri="{FF2B5EF4-FFF2-40B4-BE49-F238E27FC236}">
                <a16:creationId xmlns:a16="http://schemas.microsoft.com/office/drawing/2014/main" id="{EAA4BF46-4158-00EE-252F-1050CEE33D65}"/>
              </a:ext>
            </a:extLst>
          </p:cNvPr>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625875" y="595116"/>
            <a:ext cx="5960495" cy="5667768"/>
          </a:xfrm>
          <a:prstGeom prst="rect">
            <a:avLst/>
          </a:prstGeom>
        </p:spPr>
      </p:pic>
    </p:spTree>
    <p:extLst>
      <p:ext uri="{BB962C8B-B14F-4D97-AF65-F5344CB8AC3E}">
        <p14:creationId xmlns:p14="http://schemas.microsoft.com/office/powerpoint/2010/main" val="244628697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05 Title Slide">
    <p:bg bwMode="gray">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383946-5DBE-89F0-96A1-25D83E007946}"/>
              </a:ext>
            </a:extLst>
          </p:cNvPr>
          <p:cNvPicPr>
            <a:picLocks noChangeAspect="1"/>
          </p:cNvPicPr>
          <p:nvPr userDrawn="1"/>
        </p:nvPicPr>
        <p:blipFill rotWithShape="1">
          <a:blip r:embed="rId2" cstate="email">
            <a:alphaModFix amt="60000"/>
            <a:extLst>
              <a:ext uri="{28A0092B-C50C-407E-A947-70E740481C1C}">
                <a14:useLocalDpi xmlns:a14="http://schemas.microsoft.com/office/drawing/2010/main"/>
              </a:ext>
            </a:extLst>
          </a:blip>
          <a:srcRect/>
          <a:stretch/>
        </p:blipFill>
        <p:spPr>
          <a:xfrm rot="5400000">
            <a:off x="-955042" y="955040"/>
            <a:ext cx="6858003" cy="4947924"/>
          </a:xfrm>
          <a:prstGeom prst="rect">
            <a:avLst/>
          </a:prstGeom>
        </p:spPr>
      </p:pic>
      <p:pic>
        <p:nvPicPr>
          <p:cNvPr id="5" name="Picture 4">
            <a:extLst>
              <a:ext uri="{FF2B5EF4-FFF2-40B4-BE49-F238E27FC236}">
                <a16:creationId xmlns:a16="http://schemas.microsoft.com/office/drawing/2014/main" id="{F0143D07-A28D-C503-A615-89D6AB0B89DF}"/>
              </a:ext>
            </a:extLst>
          </p:cNvPr>
          <p:cNvPicPr>
            <a:picLocks noChangeAspect="1"/>
          </p:cNvPicPr>
          <p:nvPr userDrawn="1"/>
        </p:nvPicPr>
        <p:blipFill rotWithShape="1">
          <a:blip r:embed="rId3"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anchor="b" anchorCtr="0">
            <a:noAutofit/>
          </a:bodyPr>
          <a:lstStyle>
            <a:lvl1pPr algn="l">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6" name="Picture 5">
            <a:extLst>
              <a:ext uri="{FF2B5EF4-FFF2-40B4-BE49-F238E27FC236}">
                <a16:creationId xmlns:a16="http://schemas.microsoft.com/office/drawing/2014/main" id="{DA5C2B61-B2DD-3DBA-80F7-B0938F8654B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746570" y="344137"/>
            <a:ext cx="4984865" cy="6266776"/>
          </a:xfrm>
          <a:prstGeom prst="rect">
            <a:avLst/>
          </a:prstGeom>
        </p:spPr>
      </p:pic>
    </p:spTree>
    <p:extLst>
      <p:ext uri="{BB962C8B-B14F-4D97-AF65-F5344CB8AC3E}">
        <p14:creationId xmlns:p14="http://schemas.microsoft.com/office/powerpoint/2010/main" val="37670298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06 Title Slide">
    <p:bg bwMode="gray">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194BE2-EDEB-505E-9C9A-ED2F4B08D99A}"/>
              </a:ext>
            </a:extLst>
          </p:cNvPr>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anchor="b" anchorCtr="0">
            <a:noAutofit/>
          </a:bodyPr>
          <a:lstStyle>
            <a:lvl1pPr algn="l">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a:spcAft>
                <a:spcPts val="0"/>
              </a:spcAft>
              <a:defRPr sz="2400" b="0" i="0">
                <a:solidFill>
                  <a:srgbClr val="00ABAB"/>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7" name="Picture 6">
            <a:extLst>
              <a:ext uri="{FF2B5EF4-FFF2-40B4-BE49-F238E27FC236}">
                <a16:creationId xmlns:a16="http://schemas.microsoft.com/office/drawing/2014/main" id="{6B4D5932-43B9-417A-9A11-AEB011F8B11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7526"/>
          <a:stretch/>
        </p:blipFill>
        <p:spPr>
          <a:xfrm>
            <a:off x="6541554" y="914399"/>
            <a:ext cx="4490722" cy="4927967"/>
          </a:xfrm>
          <a:prstGeom prst="rect">
            <a:avLst/>
          </a:prstGeom>
        </p:spPr>
      </p:pic>
    </p:spTree>
    <p:extLst>
      <p:ext uri="{BB962C8B-B14F-4D97-AF65-F5344CB8AC3E}">
        <p14:creationId xmlns:p14="http://schemas.microsoft.com/office/powerpoint/2010/main" val="297071149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Executive Lett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0DA1C71-1F8C-5089-8F53-D2E6003EBA5E}"/>
              </a:ext>
            </a:extLst>
          </p:cNvPr>
          <p:cNvSpPr/>
          <p:nvPr userDrawn="1"/>
        </p:nvSpPr>
        <p:spPr bwMode="gray">
          <a:xfrm>
            <a:off x="8421651" y="6431279"/>
            <a:ext cx="3417423" cy="30640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pic>
        <p:nvPicPr>
          <p:cNvPr id="2" name="Picture 1">
            <a:extLst>
              <a:ext uri="{FF2B5EF4-FFF2-40B4-BE49-F238E27FC236}">
                <a16:creationId xmlns:a16="http://schemas.microsoft.com/office/drawing/2014/main" id="{59252699-CFF7-221B-05C2-7AE9EF640891}"/>
              </a:ext>
            </a:extLst>
          </p:cNvPr>
          <p:cNvPicPr>
            <a:picLocks noChangeAspect="1"/>
          </p:cNvPicPr>
          <p:nvPr userDrawn="1"/>
        </p:nvPicPr>
        <p:blipFill rotWithShape="1">
          <a:blip r:embed="rId2" cstate="email">
            <a:alphaModFix amt="60000"/>
            <a:extLst>
              <a:ext uri="{28A0092B-C50C-407E-A947-70E740481C1C}">
                <a14:useLocalDpi xmlns:a14="http://schemas.microsoft.com/office/drawing/2010/main"/>
              </a:ext>
            </a:extLst>
          </a:blip>
          <a:srcRect/>
          <a:stretch/>
        </p:blipFill>
        <p:spPr>
          <a:xfrm rot="16200000">
            <a:off x="6289037" y="955036"/>
            <a:ext cx="6858003" cy="4947924"/>
          </a:xfrm>
          <a:prstGeom prst="rect">
            <a:avLst/>
          </a:prstGeom>
        </p:spPr>
      </p:pic>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457200" y="408126"/>
            <a:ext cx="11233150" cy="334099"/>
          </a:xfrm>
          <a:prstGeom prst="rect">
            <a:avLst/>
          </a:prstGeom>
        </p:spPr>
        <p:txBody>
          <a:bodyPr vert="horz" lIns="0" tIns="0" rIns="0" bIns="0" rtlCol="0" anchor="t" anchorCtr="0">
            <a:noAutofit/>
          </a:bodyPr>
          <a:lstStyle>
            <a:lvl1pPr>
              <a:defRPr sz="2800" b="0" i="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6" name="Text Placeholder 18"/>
          <p:cNvSpPr>
            <a:spLocks noGrp="1"/>
          </p:cNvSpPr>
          <p:nvPr>
            <p:ph idx="1"/>
          </p:nvPr>
        </p:nvSpPr>
        <p:spPr>
          <a:xfrm>
            <a:off x="457200" y="1720024"/>
            <a:ext cx="7514823" cy="3440104"/>
          </a:xfrm>
          <a:prstGeom prst="rect">
            <a:avLst/>
          </a:prstGeom>
        </p:spPr>
        <p:txBody>
          <a:bodyPr vert="horz" lIns="0" tIns="0" rIns="0" bIns="0" rtlCol="0">
            <a:noAutofit/>
          </a:bodyPr>
          <a:lstStyle>
            <a:lvl1pPr marL="0" indent="0" algn="l">
              <a:buFontTx/>
              <a:buNone/>
              <a:defRPr sz="105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a:buClrTx/>
              <a:buSzPct val="100000"/>
              <a:buFont typeface="Arial" panose="020B0604020202020204" pitchFamily="34" charset="0"/>
              <a:buNone/>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177800" indent="-177800" algn="l">
              <a:buClrTx/>
              <a:buSzPct val="100000"/>
              <a:buFont typeface="Arial" panose="020B0604020202020204" pitchFamily="34" charset="0"/>
              <a:buChar char="•"/>
              <a:defRPr sz="1050" b="0" i="0">
                <a:latin typeface="Open Sans Light" panose="020B0306030504020204" pitchFamily="34" charset="0"/>
                <a:ea typeface="Open Sans Light" panose="020B0306030504020204" pitchFamily="34" charset="0"/>
                <a:cs typeface="Open Sans Light" panose="020B0306030504020204" pitchFamily="34" charset="0"/>
              </a:defRPr>
            </a:lvl3pPr>
            <a:lvl4pPr marL="361950" indent="-184150" algn="l">
              <a:buClrTx/>
              <a:buSzPct val="100000"/>
              <a:buFont typeface="Calibri" panose="020F0502020204030204" pitchFamily="34" charset="0"/>
              <a:buChar char="−"/>
              <a:defRPr sz="105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a:buClrTx/>
              <a:buSzPct val="100000"/>
              <a:buFont typeface="Arial" panose="020B0604020202020204" pitchFamily="34" charset="0"/>
              <a:buNone/>
              <a:defRPr sz="105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7" name="Text Placeholder 2">
            <a:extLst>
              <a:ext uri="{FF2B5EF4-FFF2-40B4-BE49-F238E27FC236}">
                <a16:creationId xmlns:a16="http://schemas.microsoft.com/office/drawing/2014/main" id="{5E8BC7F1-F694-4CA7-A70A-A65C43530D7A}"/>
              </a:ext>
            </a:extLst>
          </p:cNvPr>
          <p:cNvSpPr>
            <a:spLocks noGrp="1"/>
          </p:cNvSpPr>
          <p:nvPr>
            <p:ph type="body" sz="quarter" idx="19"/>
          </p:nvPr>
        </p:nvSpPr>
        <p:spPr>
          <a:xfrm>
            <a:off x="457200" y="5806440"/>
            <a:ext cx="2655839" cy="553257"/>
          </a:xfrm>
        </p:spPr>
        <p:txBody>
          <a:bodyPr anchor="b" anchorCtr="0">
            <a:noAutofit/>
          </a:bodyPr>
          <a:lstStyle>
            <a:lvl1pPr>
              <a:spcAft>
                <a:spcPts val="100"/>
              </a:spcAft>
              <a:defRPr sz="105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0" indent="0">
              <a:spcAft>
                <a:spcPts val="100"/>
              </a:spcAft>
              <a:buNone/>
              <a:defRPr sz="1050" b="0" i="0">
                <a:latin typeface="Open Sans Light" panose="020B0306030504020204" pitchFamily="34" charset="0"/>
                <a:ea typeface="Open Sans Light" panose="020B0306030504020204" pitchFamily="34" charset="0"/>
                <a:cs typeface="Open Sans Light" panose="020B0306030504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20" name="Text Placeholder 2">
            <a:extLst>
              <a:ext uri="{FF2B5EF4-FFF2-40B4-BE49-F238E27FC236}">
                <a16:creationId xmlns:a16="http://schemas.microsoft.com/office/drawing/2014/main" id="{4DA77FBC-C45F-4D11-9955-71603773C8FB}"/>
              </a:ext>
            </a:extLst>
          </p:cNvPr>
          <p:cNvSpPr>
            <a:spLocks noGrp="1"/>
          </p:cNvSpPr>
          <p:nvPr>
            <p:ph type="body" sz="quarter" idx="21"/>
          </p:nvPr>
        </p:nvSpPr>
        <p:spPr>
          <a:xfrm>
            <a:off x="5261958" y="5806440"/>
            <a:ext cx="2710065" cy="553257"/>
          </a:xfrm>
        </p:spPr>
        <p:txBody>
          <a:bodyPr anchor="b" anchorCtr="0">
            <a:noAutofit/>
          </a:bodyPr>
          <a:lstStyle>
            <a:lvl1pPr>
              <a:spcAft>
                <a:spcPts val="100"/>
              </a:spcAft>
              <a:defRPr sz="105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0" indent="0">
              <a:spcAft>
                <a:spcPts val="100"/>
              </a:spcAft>
              <a:buNone/>
              <a:defRPr sz="1050" b="0" i="0">
                <a:latin typeface="Open Sans Light" panose="020B0306030504020204" pitchFamily="34" charset="0"/>
                <a:ea typeface="Open Sans Light" panose="020B0306030504020204" pitchFamily="34" charset="0"/>
                <a:cs typeface="Open Sans Light" panose="020B0306030504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9864884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70E096-5C43-6A41-899E-E5FFB3EDB6C4}"/>
              </a:ext>
            </a:extLst>
          </p:cNvPr>
          <p:cNvSpPr/>
          <p:nvPr userDrawn="1"/>
        </p:nvSpPr>
        <p:spPr bwMode="gray">
          <a:xfrm>
            <a:off x="8089900" y="6235700"/>
            <a:ext cx="4102100" cy="6223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pic>
        <p:nvPicPr>
          <p:cNvPr id="2" name="Picture 1">
            <a:extLst>
              <a:ext uri="{FF2B5EF4-FFF2-40B4-BE49-F238E27FC236}">
                <a16:creationId xmlns:a16="http://schemas.microsoft.com/office/drawing/2014/main" id="{069089D0-45DC-FDEF-0D7A-132D39F324D0}"/>
              </a:ext>
            </a:extLst>
          </p:cNvPr>
          <p:cNvPicPr>
            <a:picLocks noChangeAspect="1"/>
          </p:cNvPicPr>
          <p:nvPr userDrawn="1"/>
        </p:nvPicPr>
        <p:blipFill rotWithShape="1">
          <a:blip r:embed="rId2" cstate="email">
            <a:alphaModFix amt="60000"/>
            <a:extLst>
              <a:ext uri="{28A0092B-C50C-407E-A947-70E740481C1C}">
                <a14:useLocalDpi xmlns:a14="http://schemas.microsoft.com/office/drawing/2010/main"/>
              </a:ext>
            </a:extLst>
          </a:blip>
          <a:srcRect/>
          <a:stretch/>
        </p:blipFill>
        <p:spPr>
          <a:xfrm rot="16200000">
            <a:off x="6289037" y="955036"/>
            <a:ext cx="6858003" cy="4947924"/>
          </a:xfrm>
          <a:prstGeom prst="rect">
            <a:avLst/>
          </a:prstGeom>
        </p:spPr>
      </p:pic>
      <p:sp>
        <p:nvSpPr>
          <p:cNvPr id="3" name="Picture Placeholder 2">
            <a:extLst>
              <a:ext uri="{FF2B5EF4-FFF2-40B4-BE49-F238E27FC236}">
                <a16:creationId xmlns:a16="http://schemas.microsoft.com/office/drawing/2014/main" id="{7D3B13C3-393C-4200-8C43-FF0A0F4F1B04}"/>
              </a:ext>
            </a:extLst>
          </p:cNvPr>
          <p:cNvSpPr>
            <a:spLocks noGrp="1"/>
          </p:cNvSpPr>
          <p:nvPr>
            <p:ph type="pic" sz="quarter" idx="16"/>
          </p:nvPr>
        </p:nvSpPr>
        <p:spPr>
          <a:xfrm>
            <a:off x="-1" y="0"/>
            <a:ext cx="5943599" cy="6858000"/>
          </a:xfrm>
          <a:noFill/>
        </p:spPr>
        <p:txBody>
          <a:bodyPr/>
          <a:lstStyle/>
          <a:p>
            <a:endParaRPr lang="en-GB"/>
          </a:p>
        </p:txBody>
      </p:sp>
      <p:sp>
        <p:nvSpPr>
          <p:cNvPr id="6" name="Text Placeholder 6">
            <a:extLst>
              <a:ext uri="{FF2B5EF4-FFF2-40B4-BE49-F238E27FC236}">
                <a16:creationId xmlns:a16="http://schemas.microsoft.com/office/drawing/2014/main" id="{6C6339B5-7699-4A19-8895-B3E4B2F0C327}"/>
              </a:ext>
            </a:extLst>
          </p:cNvPr>
          <p:cNvSpPr>
            <a:spLocks noGrp="1"/>
          </p:cNvSpPr>
          <p:nvPr>
            <p:ph type="body" sz="quarter" idx="12" hasCustomPrompt="1"/>
          </p:nvPr>
        </p:nvSpPr>
        <p:spPr>
          <a:xfrm>
            <a:off x="7222017" y="2759090"/>
            <a:ext cx="4524376" cy="1431193"/>
          </a:xfrm>
        </p:spPr>
        <p:txBody>
          <a:bodyPr>
            <a:noAutofit/>
          </a:bodyPr>
          <a:lstStyle>
            <a:lvl1pPr>
              <a:defRPr sz="4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dirty="0"/>
              <a:t>Chapter title</a:t>
            </a:r>
          </a:p>
        </p:txBody>
      </p:sp>
      <p:sp>
        <p:nvSpPr>
          <p:cNvPr id="8" name="Text Placeholder 6">
            <a:extLst>
              <a:ext uri="{FF2B5EF4-FFF2-40B4-BE49-F238E27FC236}">
                <a16:creationId xmlns:a16="http://schemas.microsoft.com/office/drawing/2014/main" id="{1933404C-073B-473E-ADD6-6A83E5E66698}"/>
              </a:ext>
            </a:extLst>
          </p:cNvPr>
          <p:cNvSpPr>
            <a:spLocks noGrp="1"/>
          </p:cNvSpPr>
          <p:nvPr>
            <p:ph type="body" sz="quarter" idx="15" hasCustomPrompt="1"/>
          </p:nvPr>
        </p:nvSpPr>
        <p:spPr>
          <a:xfrm>
            <a:off x="7222017" y="4488518"/>
            <a:ext cx="4156075" cy="801554"/>
          </a:xfrm>
        </p:spPr>
        <p:txBody>
          <a:bodyPr>
            <a:noAutofit/>
          </a:bodyPr>
          <a:lstStyle>
            <a:lvl1pPr>
              <a:spcBef>
                <a:spcPts val="200"/>
              </a:spcBef>
              <a:spcAft>
                <a:spcPts val="200"/>
              </a:spcAft>
              <a:defRPr sz="2800" b="0" i="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Description</a:t>
            </a:r>
          </a:p>
        </p:txBody>
      </p:sp>
      <p:sp>
        <p:nvSpPr>
          <p:cNvPr id="7" name="Text Placeholder 4">
            <a:extLst>
              <a:ext uri="{FF2B5EF4-FFF2-40B4-BE49-F238E27FC236}">
                <a16:creationId xmlns:a16="http://schemas.microsoft.com/office/drawing/2014/main" id="{65976B20-788D-4778-BC22-8A934D752EB3}"/>
              </a:ext>
            </a:extLst>
          </p:cNvPr>
          <p:cNvSpPr>
            <a:spLocks noGrp="1"/>
          </p:cNvSpPr>
          <p:nvPr>
            <p:ph type="body" sz="quarter" idx="14" hasCustomPrompt="1"/>
          </p:nvPr>
        </p:nvSpPr>
        <p:spPr>
          <a:xfrm>
            <a:off x="7222017" y="1447838"/>
            <a:ext cx="1638299" cy="900720"/>
          </a:xfrm>
        </p:spPr>
        <p:txBody>
          <a:bodyPr anchor="t">
            <a:noAutofit/>
          </a:bodyPr>
          <a:lstStyle>
            <a:lvl1pPr algn="l">
              <a:defRPr sz="7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dirty="0"/>
              <a:t>00</a:t>
            </a:r>
            <a:endParaRPr lang="en-GB" dirty="0"/>
          </a:p>
        </p:txBody>
      </p:sp>
    </p:spTree>
    <p:extLst>
      <p:ext uri="{BB962C8B-B14F-4D97-AF65-F5344CB8AC3E}">
        <p14:creationId xmlns:p14="http://schemas.microsoft.com/office/powerpoint/2010/main" val="39973550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mp; subtitle_Watercolour right">
    <p:bg>
      <p:bgPr>
        <a:blipFill dpi="0" rotWithShape="1">
          <a:blip r:embed="rId2" cstate="email">
            <a:alphaModFix amt="85000"/>
            <a:lum/>
            <a:extLst>
              <a:ext uri="{28A0092B-C50C-407E-A947-70E740481C1C}">
                <a14:useLocalDpi xmlns:a14="http://schemas.microsoft.com/office/drawing/2010/main"/>
              </a:ext>
            </a:extLst>
          </a:blip>
          <a:srcRect/>
          <a:stretch>
            <a:fillRect l="59000"/>
          </a:stretch>
        </a:blip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1092387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Subhead: Sidebar - 3 Column Highlight - 1 - Breadcrumbs">
    <p:spTree>
      <p:nvGrpSpPr>
        <p:cNvPr id="1" name=""/>
        <p:cNvGrpSpPr/>
        <p:nvPr/>
      </p:nvGrpSpPr>
      <p:grpSpPr>
        <a:xfrm>
          <a:off x="0" y="0"/>
          <a:ext cx="0" cy="0"/>
          <a:chOff x="0" y="0"/>
          <a:chExt cx="0" cy="0"/>
        </a:xfrm>
      </p:grpSpPr>
      <p:pic>
        <p:nvPicPr>
          <p:cNvPr id="12" name="Picture 11" descr="A picture containing brass&#10;&#10;Description automatically generated">
            <a:extLst>
              <a:ext uri="{FF2B5EF4-FFF2-40B4-BE49-F238E27FC236}">
                <a16:creationId xmlns:a16="http://schemas.microsoft.com/office/drawing/2014/main" id="{F1D460F9-EB1A-804D-B6A6-90FD865587A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a:endParaRPr lang="en-GB"/>
          </a:p>
        </p:txBody>
      </p:sp>
      <p:sp>
        <p:nvSpPr>
          <p:cNvPr id="14" name="Text Placeholder 7">
            <a:extLst>
              <a:ext uri="{FF2B5EF4-FFF2-40B4-BE49-F238E27FC236}">
                <a16:creationId xmlns:a16="http://schemas.microsoft.com/office/drawing/2014/main" id="{50FD3A15-BD8B-E34B-BC34-50978AF2D590}"/>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9">
            <a:extLst>
              <a:ext uri="{FF2B5EF4-FFF2-40B4-BE49-F238E27FC236}">
                <a16:creationId xmlns:a16="http://schemas.microsoft.com/office/drawing/2014/main" id="{8C0AE4FA-D2A5-C24F-B394-2F06B8655D73}"/>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6" name="Text Placeholder 9">
            <a:extLst>
              <a:ext uri="{FF2B5EF4-FFF2-40B4-BE49-F238E27FC236}">
                <a16:creationId xmlns:a16="http://schemas.microsoft.com/office/drawing/2014/main" id="{145DA036-2645-6A4B-AAB9-D5649DF2BE66}"/>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7" name="Text Placeholder 9">
            <a:extLst>
              <a:ext uri="{FF2B5EF4-FFF2-40B4-BE49-F238E27FC236}">
                <a16:creationId xmlns:a16="http://schemas.microsoft.com/office/drawing/2014/main" id="{F2697B8C-43B6-9A45-932F-FFADB537D4C2}"/>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solidFill>
                  <a:schemeClr val="tx1"/>
                </a:solidFill>
              </a:defRPr>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8" name="Text Placeholder 2">
            <a:extLst>
              <a:ext uri="{FF2B5EF4-FFF2-40B4-BE49-F238E27FC236}">
                <a16:creationId xmlns:a16="http://schemas.microsoft.com/office/drawing/2014/main" id="{423A93C1-26C8-7246-A60C-C403CB759C6E}"/>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356F363A-A759-A646-97B7-B063F02DC54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9" name="Text Placeholder 2">
            <a:extLst>
              <a:ext uri="{FF2B5EF4-FFF2-40B4-BE49-F238E27FC236}">
                <a16:creationId xmlns:a16="http://schemas.microsoft.com/office/drawing/2014/main" id="{A67CC57D-A7D1-434A-84AB-06E26C1EDEB1}"/>
              </a:ext>
            </a:extLst>
          </p:cNvPr>
          <p:cNvSpPr>
            <a:spLocks noGrp="1"/>
          </p:cNvSpPr>
          <p:nvPr>
            <p:ph type="body" sz="quarter" idx="26" hasCustomPrompt="1"/>
          </p:nvPr>
        </p:nvSpPr>
        <p:spPr>
          <a:xfrm>
            <a:off x="1986247" y="495992"/>
            <a:ext cx="1938053"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
        <p:nvSpPr>
          <p:cNvPr id="3" name="TextBox 2">
            <a:extLst>
              <a:ext uri="{FF2B5EF4-FFF2-40B4-BE49-F238E27FC236}">
                <a16:creationId xmlns:a16="http://schemas.microsoft.com/office/drawing/2014/main" id="{BE53C6D2-4EF5-8E4D-A8AE-47CA2D4E5AE6}"/>
              </a:ext>
            </a:extLst>
          </p:cNvPr>
          <p:cNvSpPr txBox="1"/>
          <p:nvPr/>
        </p:nvSpPr>
        <p:spPr>
          <a:xfrm>
            <a:off x="2164466" y="6366076"/>
            <a:ext cx="0" cy="0"/>
          </a:xfrm>
          <a:prstGeom prst="rect">
            <a:avLst/>
          </a:prstGeom>
          <a:noFill/>
        </p:spPr>
        <p:txBody>
          <a:bodyPr wrap="none" lIns="0" tIns="0" rIns="0" bIns="0" rtlCol="0">
            <a:noAutofit/>
          </a:bodyPr>
          <a:lstStyle/>
          <a:p>
            <a:pPr algn="l">
              <a:spcBef>
                <a:spcPts val="600"/>
              </a:spcBef>
              <a:buSzPct val="100000"/>
            </a:pPr>
            <a:endParaRPr lang="en-GB" sz="1200"/>
          </a:p>
        </p:txBody>
      </p:sp>
    </p:spTree>
    <p:extLst>
      <p:ext uri="{BB962C8B-B14F-4D97-AF65-F5344CB8AC3E}">
        <p14:creationId xmlns:p14="http://schemas.microsoft.com/office/powerpoint/2010/main" val="56957719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Executive Lett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D7F5C9-23C7-53CB-3C9D-B8775385217E}"/>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457200" y="408126"/>
            <a:ext cx="11233150" cy="334099"/>
          </a:xfrm>
          <a:prstGeom prst="rect">
            <a:avLst/>
          </a:prstGeom>
        </p:spPr>
        <p:txBody>
          <a:bodyPr vert="horz" lIns="0" tIns="0" rIns="0" bIns="0" rtlCol="0" anchor="t" anchorCtr="0">
            <a:noAutofit/>
          </a:bodyPr>
          <a:lstStyle>
            <a:lvl1pPr>
              <a:defRPr sz="2800" b="0" i="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6" name="Text Placeholder 18"/>
          <p:cNvSpPr>
            <a:spLocks noGrp="1"/>
          </p:cNvSpPr>
          <p:nvPr>
            <p:ph idx="1"/>
          </p:nvPr>
        </p:nvSpPr>
        <p:spPr>
          <a:xfrm>
            <a:off x="457200" y="1720024"/>
            <a:ext cx="7514823" cy="3440104"/>
          </a:xfrm>
          <a:prstGeom prst="rect">
            <a:avLst/>
          </a:prstGeom>
        </p:spPr>
        <p:txBody>
          <a:bodyPr vert="horz" lIns="0" tIns="0" rIns="0" bIns="0" rtlCol="0">
            <a:noAutofit/>
          </a:bodyPr>
          <a:lstStyle>
            <a:lvl1pPr marL="0" indent="0" algn="l">
              <a:buFontTx/>
              <a:buNone/>
              <a:defRPr sz="105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a:buClrTx/>
              <a:buSzPct val="100000"/>
              <a:buFont typeface="Arial" panose="020B0604020202020204" pitchFamily="34" charset="0"/>
              <a:buNone/>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177800" indent="-177800" algn="l">
              <a:buClrTx/>
              <a:buSzPct val="100000"/>
              <a:buFont typeface="Arial" panose="020B0604020202020204" pitchFamily="34" charset="0"/>
              <a:buChar char="•"/>
              <a:defRPr sz="1050" b="0" i="0">
                <a:latin typeface="Open Sans Light" panose="020B0306030504020204" pitchFamily="34" charset="0"/>
                <a:ea typeface="Open Sans Light" panose="020B0306030504020204" pitchFamily="34" charset="0"/>
                <a:cs typeface="Open Sans Light" panose="020B0306030504020204" pitchFamily="34" charset="0"/>
              </a:defRPr>
            </a:lvl3pPr>
            <a:lvl4pPr marL="361950" indent="-184150" algn="l">
              <a:buClrTx/>
              <a:buSzPct val="100000"/>
              <a:buFont typeface="Calibri" panose="020F0502020204030204" pitchFamily="34" charset="0"/>
              <a:buChar char="−"/>
              <a:defRPr sz="105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a:buClrTx/>
              <a:buSzPct val="100000"/>
              <a:buFont typeface="Arial" panose="020B0604020202020204" pitchFamily="34" charset="0"/>
              <a:buNone/>
              <a:defRPr sz="105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7" name="Text Placeholder 2">
            <a:extLst>
              <a:ext uri="{FF2B5EF4-FFF2-40B4-BE49-F238E27FC236}">
                <a16:creationId xmlns:a16="http://schemas.microsoft.com/office/drawing/2014/main" id="{5E8BC7F1-F694-4CA7-A70A-A65C43530D7A}"/>
              </a:ext>
            </a:extLst>
          </p:cNvPr>
          <p:cNvSpPr>
            <a:spLocks noGrp="1"/>
          </p:cNvSpPr>
          <p:nvPr>
            <p:ph type="body" sz="quarter" idx="19"/>
          </p:nvPr>
        </p:nvSpPr>
        <p:spPr>
          <a:xfrm>
            <a:off x="457200" y="5806440"/>
            <a:ext cx="2655839" cy="553257"/>
          </a:xfrm>
        </p:spPr>
        <p:txBody>
          <a:bodyPr anchor="b" anchorCtr="0">
            <a:noAutofit/>
          </a:bodyPr>
          <a:lstStyle>
            <a:lvl1pPr>
              <a:spcAft>
                <a:spcPts val="100"/>
              </a:spcAft>
              <a:defRPr sz="105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0" indent="0">
              <a:spcAft>
                <a:spcPts val="100"/>
              </a:spcAft>
              <a:buNone/>
              <a:defRPr sz="1050" b="0" i="0">
                <a:latin typeface="Open Sans Light" panose="020B0306030504020204" pitchFamily="34" charset="0"/>
                <a:ea typeface="Open Sans Light" panose="020B0306030504020204" pitchFamily="34" charset="0"/>
                <a:cs typeface="Open Sans Light" panose="020B0306030504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20" name="Text Placeholder 2">
            <a:extLst>
              <a:ext uri="{FF2B5EF4-FFF2-40B4-BE49-F238E27FC236}">
                <a16:creationId xmlns:a16="http://schemas.microsoft.com/office/drawing/2014/main" id="{4DA77FBC-C45F-4D11-9955-71603773C8FB}"/>
              </a:ext>
            </a:extLst>
          </p:cNvPr>
          <p:cNvSpPr>
            <a:spLocks noGrp="1"/>
          </p:cNvSpPr>
          <p:nvPr>
            <p:ph type="body" sz="quarter" idx="21"/>
          </p:nvPr>
        </p:nvSpPr>
        <p:spPr>
          <a:xfrm>
            <a:off x="5261958" y="5806440"/>
            <a:ext cx="2710065" cy="553257"/>
          </a:xfrm>
        </p:spPr>
        <p:txBody>
          <a:bodyPr anchor="b" anchorCtr="0">
            <a:noAutofit/>
          </a:bodyPr>
          <a:lstStyle>
            <a:lvl1pPr>
              <a:spcAft>
                <a:spcPts val="100"/>
              </a:spcAft>
              <a:defRPr sz="105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0" indent="0">
              <a:spcAft>
                <a:spcPts val="100"/>
              </a:spcAft>
              <a:buNone/>
              <a:defRPr sz="1050" b="0" i="0">
                <a:latin typeface="Open Sans Light" panose="020B0306030504020204" pitchFamily="34" charset="0"/>
                <a:ea typeface="Open Sans Light" panose="020B0306030504020204" pitchFamily="34" charset="0"/>
                <a:cs typeface="Open Sans Light" panose="020B0306030504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7804545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BFD98A-F2F7-9568-01FC-C0B0DAC81F83}"/>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
        <p:nvSpPr>
          <p:cNvPr id="3" name="Picture Placeholder 2">
            <a:extLst>
              <a:ext uri="{FF2B5EF4-FFF2-40B4-BE49-F238E27FC236}">
                <a16:creationId xmlns:a16="http://schemas.microsoft.com/office/drawing/2014/main" id="{7D3B13C3-393C-4200-8C43-FF0A0F4F1B04}"/>
              </a:ext>
            </a:extLst>
          </p:cNvPr>
          <p:cNvSpPr>
            <a:spLocks noGrp="1"/>
          </p:cNvSpPr>
          <p:nvPr>
            <p:ph type="pic" sz="quarter" idx="16"/>
          </p:nvPr>
        </p:nvSpPr>
        <p:spPr>
          <a:xfrm>
            <a:off x="-1" y="0"/>
            <a:ext cx="5943599" cy="6858000"/>
          </a:xfrm>
          <a:noFill/>
        </p:spPr>
        <p:txBody>
          <a:bodyPr/>
          <a:lstStyle/>
          <a:p>
            <a:endParaRPr lang="en-GB"/>
          </a:p>
        </p:txBody>
      </p:sp>
      <p:sp>
        <p:nvSpPr>
          <p:cNvPr id="6" name="Text Placeholder 6">
            <a:extLst>
              <a:ext uri="{FF2B5EF4-FFF2-40B4-BE49-F238E27FC236}">
                <a16:creationId xmlns:a16="http://schemas.microsoft.com/office/drawing/2014/main" id="{6C6339B5-7699-4A19-8895-B3E4B2F0C327}"/>
              </a:ext>
            </a:extLst>
          </p:cNvPr>
          <p:cNvSpPr>
            <a:spLocks noGrp="1"/>
          </p:cNvSpPr>
          <p:nvPr>
            <p:ph type="body" sz="quarter" idx="12" hasCustomPrompt="1"/>
          </p:nvPr>
        </p:nvSpPr>
        <p:spPr>
          <a:xfrm>
            <a:off x="7222017" y="2759090"/>
            <a:ext cx="4524376" cy="1431193"/>
          </a:xfrm>
        </p:spPr>
        <p:txBody>
          <a:bodyPr>
            <a:noAutofit/>
          </a:bodyPr>
          <a:lstStyle>
            <a:lvl1pPr>
              <a:defRPr sz="4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dirty="0"/>
              <a:t>Chapter title</a:t>
            </a:r>
          </a:p>
        </p:txBody>
      </p:sp>
      <p:sp>
        <p:nvSpPr>
          <p:cNvPr id="8" name="Text Placeholder 6">
            <a:extLst>
              <a:ext uri="{FF2B5EF4-FFF2-40B4-BE49-F238E27FC236}">
                <a16:creationId xmlns:a16="http://schemas.microsoft.com/office/drawing/2014/main" id="{1933404C-073B-473E-ADD6-6A83E5E66698}"/>
              </a:ext>
            </a:extLst>
          </p:cNvPr>
          <p:cNvSpPr>
            <a:spLocks noGrp="1"/>
          </p:cNvSpPr>
          <p:nvPr>
            <p:ph type="body" sz="quarter" idx="15" hasCustomPrompt="1"/>
          </p:nvPr>
        </p:nvSpPr>
        <p:spPr>
          <a:xfrm>
            <a:off x="7222017" y="4488518"/>
            <a:ext cx="4156075" cy="801554"/>
          </a:xfrm>
        </p:spPr>
        <p:txBody>
          <a:bodyPr>
            <a:noAutofit/>
          </a:bodyPr>
          <a:lstStyle>
            <a:lvl1pPr>
              <a:spcBef>
                <a:spcPts val="200"/>
              </a:spcBef>
              <a:spcAft>
                <a:spcPts val="200"/>
              </a:spcAft>
              <a:defRPr sz="2800" b="0" i="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Description</a:t>
            </a:r>
          </a:p>
        </p:txBody>
      </p:sp>
      <p:sp>
        <p:nvSpPr>
          <p:cNvPr id="7" name="Text Placeholder 4">
            <a:extLst>
              <a:ext uri="{FF2B5EF4-FFF2-40B4-BE49-F238E27FC236}">
                <a16:creationId xmlns:a16="http://schemas.microsoft.com/office/drawing/2014/main" id="{65976B20-788D-4778-BC22-8A934D752EB3}"/>
              </a:ext>
            </a:extLst>
          </p:cNvPr>
          <p:cNvSpPr>
            <a:spLocks noGrp="1"/>
          </p:cNvSpPr>
          <p:nvPr>
            <p:ph type="body" sz="quarter" idx="14" hasCustomPrompt="1"/>
          </p:nvPr>
        </p:nvSpPr>
        <p:spPr>
          <a:xfrm>
            <a:off x="7222017" y="1447838"/>
            <a:ext cx="1638299" cy="900720"/>
          </a:xfrm>
        </p:spPr>
        <p:txBody>
          <a:bodyPr anchor="t">
            <a:noAutofit/>
          </a:bodyPr>
          <a:lstStyle>
            <a:lvl1pPr algn="l">
              <a:defRPr sz="7200" b="1" i="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dirty="0"/>
              <a:t>00</a:t>
            </a:r>
            <a:endParaRPr lang="en-GB" dirty="0"/>
          </a:p>
        </p:txBody>
      </p:sp>
    </p:spTree>
    <p:extLst>
      <p:ext uri="{BB962C8B-B14F-4D97-AF65-F5344CB8AC3E}">
        <p14:creationId xmlns:p14="http://schemas.microsoft.com/office/powerpoint/2010/main" val="39973550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subtitle_Watercolour right">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6C0D78-1EAB-401D-70FA-4422237B3435}"/>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1092387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2" name="Text Placeholder 2">
            <a:extLst>
              <a:ext uri="{FF2B5EF4-FFF2-40B4-BE49-F238E27FC236}">
                <a16:creationId xmlns:a16="http://schemas.microsoft.com/office/drawing/2014/main" id="{C1D69AE1-FA1B-AC5B-E33F-8E52B24924E1}"/>
              </a:ext>
            </a:extLst>
          </p:cNvPr>
          <p:cNvSpPr>
            <a:spLocks noGrp="1"/>
          </p:cNvSpPr>
          <p:nvPr>
            <p:ph type="body" sz="quarter" idx="10"/>
          </p:nvPr>
        </p:nvSpPr>
        <p:spPr>
          <a:xfrm>
            <a:off x="463550" y="1726857"/>
            <a:ext cx="11277346" cy="464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7911560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5A87EA-B82A-D2AD-4B03-10037B9EC71E}"/>
              </a:ext>
            </a:extLst>
          </p:cNvPr>
          <p:cNvSpPr/>
          <p:nvPr userDrawn="1"/>
        </p:nvSpPr>
        <p:spPr bwMode="gray">
          <a:xfrm>
            <a:off x="8186845" y="0"/>
            <a:ext cx="4005155" cy="6858000"/>
          </a:xfrm>
          <a:prstGeom prst="rect">
            <a:avLst/>
          </a:prstGeom>
          <a:solidFill>
            <a:srgbClr val="9DD4CF">
              <a:alpha val="40000"/>
            </a:srgbClr>
          </a:solidFill>
          <a:ln w="19050" algn="ctr">
            <a:noFill/>
            <a:miter lim="800000"/>
            <a:headEnd/>
            <a:tailEnd/>
          </a:ln>
        </p:spPr>
        <p:txBody>
          <a:bodyPr wrap="square" lIns="144000" tIns="180000" rIns="432000" bIns="108000" rtlCol="0" anchor="t"/>
          <a:lstStyle/>
          <a:p>
            <a:pPr>
              <a:lnSpc>
                <a:spcPct val="106000"/>
              </a:lnSpc>
              <a:spcAft>
                <a:spcPts val="1200"/>
              </a:spcAft>
              <a:buFont typeface="Wingdings 2" pitchFamily="18" charset="2"/>
              <a:buNone/>
            </a:pPr>
            <a:endParaRPr lang="en-CH" sz="1200" b="1" dirty="0">
              <a:solidFill>
                <a:schemeClr val="accent5"/>
              </a:solidFill>
            </a:endParaRPr>
          </a:p>
        </p:txBody>
      </p:sp>
      <p:sp>
        <p:nvSpPr>
          <p:cNvPr id="9" name="Picture Placeholder 8">
            <a:extLst>
              <a:ext uri="{FF2B5EF4-FFF2-40B4-BE49-F238E27FC236}">
                <a16:creationId xmlns:a16="http://schemas.microsoft.com/office/drawing/2014/main" id="{8E853135-9D05-843A-74FE-B6BEFD9A9161}"/>
              </a:ext>
            </a:extLst>
          </p:cNvPr>
          <p:cNvSpPr>
            <a:spLocks noGrp="1"/>
          </p:cNvSpPr>
          <p:nvPr>
            <p:ph type="pic" sz="quarter" idx="23"/>
          </p:nvPr>
        </p:nvSpPr>
        <p:spPr>
          <a:xfrm>
            <a:off x="8186738" y="4397375"/>
            <a:ext cx="4005262" cy="2433638"/>
          </a:xfrm>
        </p:spPr>
        <p:txBody>
          <a:bodyPr/>
          <a:lstStyle/>
          <a:p>
            <a:endParaRPr lang="en-CH"/>
          </a:p>
        </p:txBody>
      </p:sp>
      <p:sp>
        <p:nvSpPr>
          <p:cNvPr id="3" name="Freeform 2">
            <a:extLst>
              <a:ext uri="{FF2B5EF4-FFF2-40B4-BE49-F238E27FC236}">
                <a16:creationId xmlns:a16="http://schemas.microsoft.com/office/drawing/2014/main" id="{C05E1E96-218D-F7E6-423E-47028CDFD0E8}"/>
              </a:ext>
            </a:extLst>
          </p:cNvPr>
          <p:cNvSpPr>
            <a:spLocks noEditPoints="1"/>
          </p:cNvSpPr>
          <p:nvPr userDrawn="1"/>
        </p:nvSpPr>
        <p:spPr bwMode="auto">
          <a:xfrm>
            <a:off x="8415445" y="1638432"/>
            <a:ext cx="569929" cy="393585"/>
          </a:xfrm>
          <a:custGeom>
            <a:avLst/>
            <a:gdLst>
              <a:gd name="T0" fmla="*/ 97 w 113"/>
              <a:gd name="T1" fmla="*/ 32 h 78"/>
              <a:gd name="T2" fmla="*/ 113 w 113"/>
              <a:gd name="T3" fmla="*/ 55 h 78"/>
              <a:gd name="T4" fmla="*/ 89 w 113"/>
              <a:gd name="T5" fmla="*/ 78 h 78"/>
              <a:gd name="T6" fmla="*/ 66 w 113"/>
              <a:gd name="T7" fmla="*/ 55 h 78"/>
              <a:gd name="T8" fmla="*/ 71 w 113"/>
              <a:gd name="T9" fmla="*/ 39 h 78"/>
              <a:gd name="T10" fmla="*/ 91 w 113"/>
              <a:gd name="T11" fmla="*/ 0 h 78"/>
              <a:gd name="T12" fmla="*/ 105 w 113"/>
              <a:gd name="T13" fmla="*/ 0 h 78"/>
              <a:gd name="T14" fmla="*/ 97 w 113"/>
              <a:gd name="T15" fmla="*/ 32 h 78"/>
              <a:gd name="T16" fmla="*/ 31 w 113"/>
              <a:gd name="T17" fmla="*/ 32 h 78"/>
              <a:gd name="T18" fmla="*/ 47 w 113"/>
              <a:gd name="T19" fmla="*/ 55 h 78"/>
              <a:gd name="T20" fmla="*/ 24 w 113"/>
              <a:gd name="T21" fmla="*/ 78 h 78"/>
              <a:gd name="T22" fmla="*/ 0 w 113"/>
              <a:gd name="T23" fmla="*/ 55 h 78"/>
              <a:gd name="T24" fmla="*/ 5 w 113"/>
              <a:gd name="T25" fmla="*/ 39 h 78"/>
              <a:gd name="T26" fmla="*/ 25 w 113"/>
              <a:gd name="T27" fmla="*/ 0 h 78"/>
              <a:gd name="T28" fmla="*/ 39 w 113"/>
              <a:gd name="T29" fmla="*/ 0 h 78"/>
              <a:gd name="T30" fmla="*/ 31 w 113"/>
              <a:gd name="T31"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78">
                <a:moveTo>
                  <a:pt x="97" y="32"/>
                </a:moveTo>
                <a:cubicBezTo>
                  <a:pt x="107" y="35"/>
                  <a:pt x="113" y="44"/>
                  <a:pt x="113" y="55"/>
                </a:cubicBezTo>
                <a:cubicBezTo>
                  <a:pt x="113" y="68"/>
                  <a:pt x="103" y="78"/>
                  <a:pt x="89" y="78"/>
                </a:cubicBezTo>
                <a:cubicBezTo>
                  <a:pt x="77" y="78"/>
                  <a:pt x="66" y="68"/>
                  <a:pt x="66" y="55"/>
                </a:cubicBezTo>
                <a:cubicBezTo>
                  <a:pt x="66" y="48"/>
                  <a:pt x="68" y="43"/>
                  <a:pt x="71" y="39"/>
                </a:cubicBezTo>
                <a:cubicBezTo>
                  <a:pt x="91" y="0"/>
                  <a:pt x="91" y="0"/>
                  <a:pt x="91" y="0"/>
                </a:cubicBezTo>
                <a:cubicBezTo>
                  <a:pt x="105" y="0"/>
                  <a:pt x="105" y="0"/>
                  <a:pt x="105" y="0"/>
                </a:cubicBezTo>
                <a:lnTo>
                  <a:pt x="97" y="32"/>
                </a:lnTo>
                <a:close/>
                <a:moveTo>
                  <a:pt x="31" y="32"/>
                </a:moveTo>
                <a:cubicBezTo>
                  <a:pt x="41" y="35"/>
                  <a:pt x="47" y="44"/>
                  <a:pt x="47" y="55"/>
                </a:cubicBezTo>
                <a:cubicBezTo>
                  <a:pt x="47" y="68"/>
                  <a:pt x="37" y="78"/>
                  <a:pt x="24" y="78"/>
                </a:cubicBezTo>
                <a:cubicBezTo>
                  <a:pt x="11" y="78"/>
                  <a:pt x="0" y="68"/>
                  <a:pt x="0" y="55"/>
                </a:cubicBezTo>
                <a:cubicBezTo>
                  <a:pt x="0" y="48"/>
                  <a:pt x="3" y="43"/>
                  <a:pt x="5" y="39"/>
                </a:cubicBezTo>
                <a:cubicBezTo>
                  <a:pt x="25" y="0"/>
                  <a:pt x="25" y="0"/>
                  <a:pt x="25" y="0"/>
                </a:cubicBezTo>
                <a:cubicBezTo>
                  <a:pt x="39" y="0"/>
                  <a:pt x="39" y="0"/>
                  <a:pt x="39" y="0"/>
                </a:cubicBezTo>
                <a:lnTo>
                  <a:pt x="31" y="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a:endParaRPr>
          </a:p>
        </p:txBody>
      </p:sp>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7410705"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7410705" cy="336152"/>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1" name="Text Placeholder 10">
            <a:extLst>
              <a:ext uri="{FF2B5EF4-FFF2-40B4-BE49-F238E27FC236}">
                <a16:creationId xmlns:a16="http://schemas.microsoft.com/office/drawing/2014/main" id="{3CD6328B-0515-583E-E9AD-4D15AC3ACA3A}"/>
              </a:ext>
            </a:extLst>
          </p:cNvPr>
          <p:cNvSpPr>
            <a:spLocks noGrp="1"/>
          </p:cNvSpPr>
          <p:nvPr>
            <p:ph type="body" sz="quarter" idx="24"/>
          </p:nvPr>
        </p:nvSpPr>
        <p:spPr>
          <a:xfrm>
            <a:off x="8415338" y="2245279"/>
            <a:ext cx="3319462" cy="1781175"/>
          </a:xfrm>
        </p:spPr>
        <p:txBody>
          <a:bodyPr>
            <a:normAutofit/>
          </a:bodyPr>
          <a:lstStyle>
            <a:lvl1pPr>
              <a:defRPr sz="1400"/>
            </a:lvl1pPr>
            <a:lvl2pPr>
              <a:defRPr sz="1100"/>
            </a:lvl2pPr>
            <a:lvl3pPr>
              <a:defRPr sz="1100"/>
            </a:lvl3pPr>
            <a:lvl4pPr>
              <a:defRPr sz="1100"/>
            </a:lvl4pPr>
            <a:lvl5pPr>
              <a:defRPr sz="1100"/>
            </a:lvl5pPr>
          </a:lstStyle>
          <a:p>
            <a:pPr lvl="0"/>
            <a:r>
              <a:rPr lang="en-GB" dirty="0"/>
              <a:t>Click to edit Master text styles</a:t>
            </a:r>
          </a:p>
        </p:txBody>
      </p:sp>
      <p:sp>
        <p:nvSpPr>
          <p:cNvPr id="13" name="Text Placeholder 12">
            <a:extLst>
              <a:ext uri="{FF2B5EF4-FFF2-40B4-BE49-F238E27FC236}">
                <a16:creationId xmlns:a16="http://schemas.microsoft.com/office/drawing/2014/main" id="{CAFB3FA4-C810-0951-94B3-0144DCE2CDC5}"/>
              </a:ext>
            </a:extLst>
          </p:cNvPr>
          <p:cNvSpPr>
            <a:spLocks noGrp="1"/>
          </p:cNvSpPr>
          <p:nvPr>
            <p:ph type="body" sz="quarter" idx="25"/>
          </p:nvPr>
        </p:nvSpPr>
        <p:spPr>
          <a:xfrm>
            <a:off x="457200" y="1714500"/>
            <a:ext cx="7416800" cy="4648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58447105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1_Title &amp; Subtitle_Watercolour bottom">
    <p:bg>
      <p:bgPr>
        <a:blipFill dpi="0" rotWithShape="1">
          <a:blip r:embed="rId3" cstate="email">
            <a:alphaModFix amt="85000"/>
            <a:lum/>
            <a:extLst>
              <a:ext uri="{28A0092B-C50C-407E-A947-70E740481C1C}">
                <a14:useLocalDpi xmlns:a14="http://schemas.microsoft.com/office/drawing/2010/main"/>
              </a:ext>
            </a:extLst>
          </a:blip>
          <a:srcRect/>
          <a:stretch>
            <a:fillRect t="20000"/>
          </a:stretch>
        </a:blipFill>
        <a:effectLst/>
      </p:bgPr>
    </p:bg>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130" name="Group 129">
            <a:extLst>
              <a:ext uri="{FF2B5EF4-FFF2-40B4-BE49-F238E27FC236}">
                <a16:creationId xmlns:a16="http://schemas.microsoft.com/office/drawing/2014/main" id="{EC507F82-A771-283B-46BE-5407127A9783}"/>
              </a:ext>
            </a:extLst>
          </p:cNvPr>
          <p:cNvGrpSpPr/>
          <p:nvPr userDrawn="1"/>
        </p:nvGrpSpPr>
        <p:grpSpPr>
          <a:xfrm>
            <a:off x="9720000" y="252000"/>
            <a:ext cx="1860855" cy="496572"/>
            <a:chOff x="122348" y="692182"/>
            <a:chExt cx="1860855" cy="496572"/>
          </a:xfrm>
        </p:grpSpPr>
        <p:sp>
          <p:nvSpPr>
            <p:cNvPr id="132" name="Freeform 6">
              <a:extLst>
                <a:ext uri="{FF2B5EF4-FFF2-40B4-BE49-F238E27FC236}">
                  <a16:creationId xmlns:a16="http://schemas.microsoft.com/office/drawing/2014/main" id="{023E18BA-55CE-3334-82A1-269E49338A92}"/>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133" name="Freeform 7">
              <a:extLst>
                <a:ext uri="{FF2B5EF4-FFF2-40B4-BE49-F238E27FC236}">
                  <a16:creationId xmlns:a16="http://schemas.microsoft.com/office/drawing/2014/main" id="{76423DD1-E37A-89EC-1CDC-BBD9DBA97B2C}"/>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rgbClr val="00ABAB">
                <a:lumMod val="75000"/>
              </a:srgb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134" name="Freeform 8">
              <a:extLst>
                <a:ext uri="{FF2B5EF4-FFF2-40B4-BE49-F238E27FC236}">
                  <a16:creationId xmlns:a16="http://schemas.microsoft.com/office/drawing/2014/main" id="{71B061C0-2041-D1A4-B054-9AE42618C64F}"/>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135" name="Freeform 7">
              <a:extLst>
                <a:ext uri="{FF2B5EF4-FFF2-40B4-BE49-F238E27FC236}">
                  <a16:creationId xmlns:a16="http://schemas.microsoft.com/office/drawing/2014/main" id="{D35D276C-67EA-BA31-D6BA-A2218959ABE3}"/>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137" name="Group 136">
              <a:extLst>
                <a:ext uri="{FF2B5EF4-FFF2-40B4-BE49-F238E27FC236}">
                  <a16:creationId xmlns:a16="http://schemas.microsoft.com/office/drawing/2014/main" id="{1A3278A8-C72F-2EF0-CBDF-72593BEB4214}"/>
                </a:ext>
              </a:extLst>
            </p:cNvPr>
            <p:cNvGrpSpPr>
              <a:grpSpLocks noChangeAspect="1"/>
            </p:cNvGrpSpPr>
            <p:nvPr/>
          </p:nvGrpSpPr>
          <p:grpSpPr>
            <a:xfrm>
              <a:off x="212089" y="801385"/>
              <a:ext cx="308497" cy="312039"/>
              <a:chOff x="6170778" y="1014257"/>
              <a:chExt cx="365760" cy="365760"/>
            </a:xfrm>
          </p:grpSpPr>
          <p:sp>
            <p:nvSpPr>
              <p:cNvPr id="153" name="Oval 152">
                <a:extLst>
                  <a:ext uri="{FF2B5EF4-FFF2-40B4-BE49-F238E27FC236}">
                    <a16:creationId xmlns:a16="http://schemas.microsoft.com/office/drawing/2014/main" id="{BBF58ACF-23AB-FE92-62F4-B3CC4620288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154" name="Oval 153">
                <a:extLst>
                  <a:ext uri="{FF2B5EF4-FFF2-40B4-BE49-F238E27FC236}">
                    <a16:creationId xmlns:a16="http://schemas.microsoft.com/office/drawing/2014/main" id="{9AD13DED-C8ED-0FA5-A516-34A649E00A61}"/>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138" name="Group 137">
              <a:extLst>
                <a:ext uri="{FF2B5EF4-FFF2-40B4-BE49-F238E27FC236}">
                  <a16:creationId xmlns:a16="http://schemas.microsoft.com/office/drawing/2014/main" id="{E2ED1948-6FBC-0E3A-25E6-A289A31638B0}"/>
                </a:ext>
              </a:extLst>
            </p:cNvPr>
            <p:cNvGrpSpPr>
              <a:grpSpLocks noChangeAspect="1"/>
            </p:cNvGrpSpPr>
            <p:nvPr/>
          </p:nvGrpSpPr>
          <p:grpSpPr>
            <a:xfrm>
              <a:off x="670205" y="801385"/>
              <a:ext cx="308497" cy="312039"/>
              <a:chOff x="6170778" y="1014257"/>
              <a:chExt cx="365760" cy="365760"/>
            </a:xfrm>
          </p:grpSpPr>
          <p:sp>
            <p:nvSpPr>
              <p:cNvPr id="151" name="Oval 150">
                <a:extLst>
                  <a:ext uri="{FF2B5EF4-FFF2-40B4-BE49-F238E27FC236}">
                    <a16:creationId xmlns:a16="http://schemas.microsoft.com/office/drawing/2014/main" id="{C085D63C-A8CC-4C1A-D0C1-017FD9C4F802}"/>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152" name="Oval 151">
                <a:extLst>
                  <a:ext uri="{FF2B5EF4-FFF2-40B4-BE49-F238E27FC236}">
                    <a16:creationId xmlns:a16="http://schemas.microsoft.com/office/drawing/2014/main" id="{DEC3CB47-94C2-FB72-3E9E-1DA1D9B42157}"/>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lumMod val="7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139" name="Group 138">
              <a:extLst>
                <a:ext uri="{FF2B5EF4-FFF2-40B4-BE49-F238E27FC236}">
                  <a16:creationId xmlns:a16="http://schemas.microsoft.com/office/drawing/2014/main" id="{A30032C3-BC36-505D-62AA-7492F55A6B61}"/>
                </a:ext>
              </a:extLst>
            </p:cNvPr>
            <p:cNvGrpSpPr>
              <a:grpSpLocks noChangeAspect="1"/>
            </p:cNvGrpSpPr>
            <p:nvPr/>
          </p:nvGrpSpPr>
          <p:grpSpPr>
            <a:xfrm>
              <a:off x="1128695" y="800637"/>
              <a:ext cx="308497" cy="312039"/>
              <a:chOff x="6170778" y="1014257"/>
              <a:chExt cx="365760" cy="365760"/>
            </a:xfrm>
          </p:grpSpPr>
          <p:sp>
            <p:nvSpPr>
              <p:cNvPr id="149" name="Oval 148">
                <a:extLst>
                  <a:ext uri="{FF2B5EF4-FFF2-40B4-BE49-F238E27FC236}">
                    <a16:creationId xmlns:a16="http://schemas.microsoft.com/office/drawing/2014/main" id="{36A6515C-7F38-D8ED-BE02-D304C9793A3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150" name="Oval 149">
                <a:extLst>
                  <a:ext uri="{FF2B5EF4-FFF2-40B4-BE49-F238E27FC236}">
                    <a16:creationId xmlns:a16="http://schemas.microsoft.com/office/drawing/2014/main" id="{85FF9092-9F5B-9B44-4CEA-26CB0F948C6C}"/>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140" name="Group 139">
              <a:extLst>
                <a:ext uri="{FF2B5EF4-FFF2-40B4-BE49-F238E27FC236}">
                  <a16:creationId xmlns:a16="http://schemas.microsoft.com/office/drawing/2014/main" id="{5AD4672B-510F-AA4D-94BF-CA1B9B2C8EB1}"/>
                </a:ext>
              </a:extLst>
            </p:cNvPr>
            <p:cNvGrpSpPr>
              <a:grpSpLocks noChangeAspect="1"/>
            </p:cNvGrpSpPr>
            <p:nvPr/>
          </p:nvGrpSpPr>
          <p:grpSpPr>
            <a:xfrm>
              <a:off x="1586477" y="801385"/>
              <a:ext cx="308497" cy="312039"/>
              <a:chOff x="6170778" y="1014257"/>
              <a:chExt cx="365760" cy="365760"/>
            </a:xfrm>
          </p:grpSpPr>
          <p:sp>
            <p:nvSpPr>
              <p:cNvPr id="147" name="Oval 146">
                <a:extLst>
                  <a:ext uri="{FF2B5EF4-FFF2-40B4-BE49-F238E27FC236}">
                    <a16:creationId xmlns:a16="http://schemas.microsoft.com/office/drawing/2014/main" id="{A82D6E80-5611-83EB-B955-01075C69966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148" name="Oval 147">
                <a:extLst>
                  <a:ext uri="{FF2B5EF4-FFF2-40B4-BE49-F238E27FC236}">
                    <a16:creationId xmlns:a16="http://schemas.microsoft.com/office/drawing/2014/main" id="{85FABC8D-7302-A949-8AFC-1E705D899F15}"/>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280356424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0_Title &amp; Subtitle_Watercolour bottom">
    <p:bg>
      <p:bgPr>
        <a:blipFill dpi="0" rotWithShape="1">
          <a:blip r:embed="rId3" cstate="email">
            <a:alphaModFix amt="85000"/>
            <a:lum/>
            <a:extLst>
              <a:ext uri="{28A0092B-C50C-407E-A947-70E740481C1C}">
                <a14:useLocalDpi xmlns:a14="http://schemas.microsoft.com/office/drawing/2010/main"/>
              </a:ext>
            </a:extLst>
          </a:blip>
          <a:srcRect/>
          <a:stretch>
            <a:fillRect t="20000"/>
          </a:stretch>
        </a:blipFill>
        <a:effectLst/>
      </p:bgPr>
    </p:bg>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9" name="Group 28">
            <a:extLst>
              <a:ext uri="{FF2B5EF4-FFF2-40B4-BE49-F238E27FC236}">
                <a16:creationId xmlns:a16="http://schemas.microsoft.com/office/drawing/2014/main" id="{A4322675-7BC5-DD7C-FDA5-450B9D830C6E}"/>
              </a:ext>
            </a:extLst>
          </p:cNvPr>
          <p:cNvGrpSpPr/>
          <p:nvPr userDrawn="1"/>
        </p:nvGrpSpPr>
        <p:grpSpPr>
          <a:xfrm>
            <a:off x="9720000" y="252000"/>
            <a:ext cx="1860855" cy="496572"/>
            <a:chOff x="122348" y="692182"/>
            <a:chExt cx="1860855" cy="496572"/>
          </a:xfrm>
        </p:grpSpPr>
        <p:sp>
          <p:nvSpPr>
            <p:cNvPr id="32" name="Freeform 6">
              <a:extLst>
                <a:ext uri="{FF2B5EF4-FFF2-40B4-BE49-F238E27FC236}">
                  <a16:creationId xmlns:a16="http://schemas.microsoft.com/office/drawing/2014/main" id="{7739E174-F077-03DD-53EE-860538B33631}"/>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3" name="Freeform 7">
              <a:extLst>
                <a:ext uri="{FF2B5EF4-FFF2-40B4-BE49-F238E27FC236}">
                  <a16:creationId xmlns:a16="http://schemas.microsoft.com/office/drawing/2014/main" id="{3156F447-5947-C3E9-B5BC-D547AA8B6098}"/>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4" name="Freeform 8">
              <a:extLst>
                <a:ext uri="{FF2B5EF4-FFF2-40B4-BE49-F238E27FC236}">
                  <a16:creationId xmlns:a16="http://schemas.microsoft.com/office/drawing/2014/main" id="{F54B37BC-08EF-97D5-2501-676BFBBA5C27}"/>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rgbClr val="00ABAB"/>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5" name="Freeform 7">
              <a:extLst>
                <a:ext uri="{FF2B5EF4-FFF2-40B4-BE49-F238E27FC236}">
                  <a16:creationId xmlns:a16="http://schemas.microsoft.com/office/drawing/2014/main" id="{5423E8CE-0765-D95A-3310-9931FE1E29C7}"/>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37" name="Group 36">
              <a:extLst>
                <a:ext uri="{FF2B5EF4-FFF2-40B4-BE49-F238E27FC236}">
                  <a16:creationId xmlns:a16="http://schemas.microsoft.com/office/drawing/2014/main" id="{B1004338-521D-5E06-397D-79E5A941588F}"/>
                </a:ext>
              </a:extLst>
            </p:cNvPr>
            <p:cNvGrpSpPr>
              <a:grpSpLocks noChangeAspect="1"/>
            </p:cNvGrpSpPr>
            <p:nvPr/>
          </p:nvGrpSpPr>
          <p:grpSpPr>
            <a:xfrm>
              <a:off x="212089" y="801385"/>
              <a:ext cx="308497" cy="312039"/>
              <a:chOff x="6170778" y="1014257"/>
              <a:chExt cx="365760" cy="365760"/>
            </a:xfrm>
          </p:grpSpPr>
          <p:sp>
            <p:nvSpPr>
              <p:cNvPr id="53" name="Oval 52">
                <a:extLst>
                  <a:ext uri="{FF2B5EF4-FFF2-40B4-BE49-F238E27FC236}">
                    <a16:creationId xmlns:a16="http://schemas.microsoft.com/office/drawing/2014/main" id="{9F8D15E5-93A3-F555-E85D-268EE64E4BE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4" name="Oval 53">
                <a:extLst>
                  <a:ext uri="{FF2B5EF4-FFF2-40B4-BE49-F238E27FC236}">
                    <a16:creationId xmlns:a16="http://schemas.microsoft.com/office/drawing/2014/main" id="{5CE183FA-4DD2-D8C6-4C9F-0D52BB900893}"/>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38" name="Group 37">
              <a:extLst>
                <a:ext uri="{FF2B5EF4-FFF2-40B4-BE49-F238E27FC236}">
                  <a16:creationId xmlns:a16="http://schemas.microsoft.com/office/drawing/2014/main" id="{92D4A132-8FA3-8E0F-4442-6D04E1829DC5}"/>
                </a:ext>
              </a:extLst>
            </p:cNvPr>
            <p:cNvGrpSpPr>
              <a:grpSpLocks noChangeAspect="1"/>
            </p:cNvGrpSpPr>
            <p:nvPr/>
          </p:nvGrpSpPr>
          <p:grpSpPr>
            <a:xfrm>
              <a:off x="670205" y="801385"/>
              <a:ext cx="308497" cy="312039"/>
              <a:chOff x="6170778" y="1014257"/>
              <a:chExt cx="365760" cy="365760"/>
            </a:xfrm>
          </p:grpSpPr>
          <p:sp>
            <p:nvSpPr>
              <p:cNvPr id="51" name="Oval 50">
                <a:extLst>
                  <a:ext uri="{FF2B5EF4-FFF2-40B4-BE49-F238E27FC236}">
                    <a16:creationId xmlns:a16="http://schemas.microsoft.com/office/drawing/2014/main" id="{58359E82-EA49-D51F-056C-F88951FFE3BC}"/>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2" name="Oval 51">
                <a:extLst>
                  <a:ext uri="{FF2B5EF4-FFF2-40B4-BE49-F238E27FC236}">
                    <a16:creationId xmlns:a16="http://schemas.microsoft.com/office/drawing/2014/main" id="{626256AF-508F-0620-3E80-6D657263C4C6}"/>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39" name="Group 38">
              <a:extLst>
                <a:ext uri="{FF2B5EF4-FFF2-40B4-BE49-F238E27FC236}">
                  <a16:creationId xmlns:a16="http://schemas.microsoft.com/office/drawing/2014/main" id="{E4F864C5-F3CC-880A-0B36-A5418A8F530E}"/>
                </a:ext>
              </a:extLst>
            </p:cNvPr>
            <p:cNvGrpSpPr>
              <a:grpSpLocks noChangeAspect="1"/>
            </p:cNvGrpSpPr>
            <p:nvPr/>
          </p:nvGrpSpPr>
          <p:grpSpPr>
            <a:xfrm>
              <a:off x="1128695" y="800637"/>
              <a:ext cx="308497" cy="312039"/>
              <a:chOff x="6170778" y="1014257"/>
              <a:chExt cx="365760" cy="365760"/>
            </a:xfrm>
          </p:grpSpPr>
          <p:sp>
            <p:nvSpPr>
              <p:cNvPr id="49" name="Oval 48">
                <a:extLst>
                  <a:ext uri="{FF2B5EF4-FFF2-40B4-BE49-F238E27FC236}">
                    <a16:creationId xmlns:a16="http://schemas.microsoft.com/office/drawing/2014/main" id="{605AA0C4-ABAC-C361-F42B-FCDEF9C93D6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0" name="Oval 49">
                <a:extLst>
                  <a:ext uri="{FF2B5EF4-FFF2-40B4-BE49-F238E27FC236}">
                    <a16:creationId xmlns:a16="http://schemas.microsoft.com/office/drawing/2014/main" id="{372FE6E7-D0A2-00F2-46B8-626D2BFBA10E}"/>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40" name="Group 39">
              <a:extLst>
                <a:ext uri="{FF2B5EF4-FFF2-40B4-BE49-F238E27FC236}">
                  <a16:creationId xmlns:a16="http://schemas.microsoft.com/office/drawing/2014/main" id="{D074C3E3-A16C-95F8-C4C1-03497B6595A5}"/>
                </a:ext>
              </a:extLst>
            </p:cNvPr>
            <p:cNvGrpSpPr>
              <a:grpSpLocks noChangeAspect="1"/>
            </p:cNvGrpSpPr>
            <p:nvPr/>
          </p:nvGrpSpPr>
          <p:grpSpPr>
            <a:xfrm>
              <a:off x="1586477" y="801385"/>
              <a:ext cx="308497" cy="312039"/>
              <a:chOff x="6170778" y="1014257"/>
              <a:chExt cx="365760" cy="365760"/>
            </a:xfrm>
          </p:grpSpPr>
          <p:sp>
            <p:nvSpPr>
              <p:cNvPr id="47" name="Oval 46">
                <a:extLst>
                  <a:ext uri="{FF2B5EF4-FFF2-40B4-BE49-F238E27FC236}">
                    <a16:creationId xmlns:a16="http://schemas.microsoft.com/office/drawing/2014/main" id="{B6EB4992-602E-6F67-E64D-16AF433D113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48" name="Oval 47">
                <a:extLst>
                  <a:ext uri="{FF2B5EF4-FFF2-40B4-BE49-F238E27FC236}">
                    <a16:creationId xmlns:a16="http://schemas.microsoft.com/office/drawing/2014/main" id="{12FD91B1-80B8-667A-4D21-47F076552F2D}"/>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126861225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9_Title &amp; Subtitle_Watercolour bottom">
    <p:bg>
      <p:bgPr>
        <a:blipFill dpi="0" rotWithShape="1">
          <a:blip r:embed="rId3" cstate="email">
            <a:alphaModFix amt="85000"/>
            <a:lum/>
            <a:extLst>
              <a:ext uri="{28A0092B-C50C-407E-A947-70E740481C1C}">
                <a14:useLocalDpi xmlns:a14="http://schemas.microsoft.com/office/drawing/2010/main"/>
              </a:ext>
            </a:extLst>
          </a:blip>
          <a:srcRect/>
          <a:stretch>
            <a:fillRect t="20000"/>
          </a:stretch>
        </a:blipFill>
        <a:effectLst/>
      </p:bgPr>
    </p:bg>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55" name="Group 54">
            <a:extLst>
              <a:ext uri="{FF2B5EF4-FFF2-40B4-BE49-F238E27FC236}">
                <a16:creationId xmlns:a16="http://schemas.microsoft.com/office/drawing/2014/main" id="{9AE82B0B-C28C-E431-CBFB-554C56468E5F}"/>
              </a:ext>
            </a:extLst>
          </p:cNvPr>
          <p:cNvGrpSpPr/>
          <p:nvPr userDrawn="1"/>
        </p:nvGrpSpPr>
        <p:grpSpPr>
          <a:xfrm>
            <a:off x="9720000" y="252000"/>
            <a:ext cx="1860855" cy="496572"/>
            <a:chOff x="122348" y="692182"/>
            <a:chExt cx="1860855" cy="496572"/>
          </a:xfrm>
        </p:grpSpPr>
        <p:sp>
          <p:nvSpPr>
            <p:cNvPr id="57" name="Freeform 6">
              <a:extLst>
                <a:ext uri="{FF2B5EF4-FFF2-40B4-BE49-F238E27FC236}">
                  <a16:creationId xmlns:a16="http://schemas.microsoft.com/office/drawing/2014/main" id="{18216A40-1A22-F2D5-2FFB-15B62F07EE30}"/>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58" name="Freeform 7">
              <a:extLst>
                <a:ext uri="{FF2B5EF4-FFF2-40B4-BE49-F238E27FC236}">
                  <a16:creationId xmlns:a16="http://schemas.microsoft.com/office/drawing/2014/main" id="{CB31F9C2-99E6-1462-275B-C25F7120251D}"/>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59" name="Freeform 8">
              <a:extLst>
                <a:ext uri="{FF2B5EF4-FFF2-40B4-BE49-F238E27FC236}">
                  <a16:creationId xmlns:a16="http://schemas.microsoft.com/office/drawing/2014/main" id="{5B1B43A9-2411-5601-41B3-50377FADA37B}"/>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60" name="Freeform 7">
              <a:extLst>
                <a:ext uri="{FF2B5EF4-FFF2-40B4-BE49-F238E27FC236}">
                  <a16:creationId xmlns:a16="http://schemas.microsoft.com/office/drawing/2014/main" id="{1FDD26F4-3FC7-76A7-CB92-6D0328BB6035}"/>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rgbClr val="6FC2B4"/>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62" name="Group 61">
              <a:extLst>
                <a:ext uri="{FF2B5EF4-FFF2-40B4-BE49-F238E27FC236}">
                  <a16:creationId xmlns:a16="http://schemas.microsoft.com/office/drawing/2014/main" id="{130B52AB-1EC7-8F2E-05FD-19BF518004CD}"/>
                </a:ext>
              </a:extLst>
            </p:cNvPr>
            <p:cNvGrpSpPr>
              <a:grpSpLocks noChangeAspect="1"/>
            </p:cNvGrpSpPr>
            <p:nvPr/>
          </p:nvGrpSpPr>
          <p:grpSpPr>
            <a:xfrm>
              <a:off x="212089" y="801385"/>
              <a:ext cx="308497" cy="312039"/>
              <a:chOff x="6170778" y="1014257"/>
              <a:chExt cx="365760" cy="365760"/>
            </a:xfrm>
          </p:grpSpPr>
          <p:sp>
            <p:nvSpPr>
              <p:cNvPr id="78" name="Oval 77">
                <a:extLst>
                  <a:ext uri="{FF2B5EF4-FFF2-40B4-BE49-F238E27FC236}">
                    <a16:creationId xmlns:a16="http://schemas.microsoft.com/office/drawing/2014/main" id="{32B852F7-E405-B200-CBBA-0CC707D18B1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79" name="Oval 78">
                <a:extLst>
                  <a:ext uri="{FF2B5EF4-FFF2-40B4-BE49-F238E27FC236}">
                    <a16:creationId xmlns:a16="http://schemas.microsoft.com/office/drawing/2014/main" id="{F4C0910A-4250-DAD5-EC64-8B7FD0C3D1B0}"/>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63" name="Group 62">
              <a:extLst>
                <a:ext uri="{FF2B5EF4-FFF2-40B4-BE49-F238E27FC236}">
                  <a16:creationId xmlns:a16="http://schemas.microsoft.com/office/drawing/2014/main" id="{5C8D0F59-A45E-0CE5-C2A8-0866F45F9425}"/>
                </a:ext>
              </a:extLst>
            </p:cNvPr>
            <p:cNvGrpSpPr>
              <a:grpSpLocks noChangeAspect="1"/>
            </p:cNvGrpSpPr>
            <p:nvPr/>
          </p:nvGrpSpPr>
          <p:grpSpPr>
            <a:xfrm>
              <a:off x="670205" y="801385"/>
              <a:ext cx="308497" cy="312039"/>
              <a:chOff x="6170778" y="1014257"/>
              <a:chExt cx="365760" cy="365760"/>
            </a:xfrm>
          </p:grpSpPr>
          <p:sp>
            <p:nvSpPr>
              <p:cNvPr id="76" name="Oval 75">
                <a:extLst>
                  <a:ext uri="{FF2B5EF4-FFF2-40B4-BE49-F238E27FC236}">
                    <a16:creationId xmlns:a16="http://schemas.microsoft.com/office/drawing/2014/main" id="{50578C73-F0C5-8DF5-FD95-76A33BD9C06C}"/>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77" name="Oval 76">
                <a:extLst>
                  <a:ext uri="{FF2B5EF4-FFF2-40B4-BE49-F238E27FC236}">
                    <a16:creationId xmlns:a16="http://schemas.microsoft.com/office/drawing/2014/main" id="{4F363BB7-AA7A-A5EB-C4A9-1E6FCCC7E1E6}"/>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64" name="Group 63">
              <a:extLst>
                <a:ext uri="{FF2B5EF4-FFF2-40B4-BE49-F238E27FC236}">
                  <a16:creationId xmlns:a16="http://schemas.microsoft.com/office/drawing/2014/main" id="{9731125F-7A55-908D-5491-6DC1CB1DC658}"/>
                </a:ext>
              </a:extLst>
            </p:cNvPr>
            <p:cNvGrpSpPr>
              <a:grpSpLocks noChangeAspect="1"/>
            </p:cNvGrpSpPr>
            <p:nvPr/>
          </p:nvGrpSpPr>
          <p:grpSpPr>
            <a:xfrm>
              <a:off x="1128695" y="800637"/>
              <a:ext cx="308497" cy="312039"/>
              <a:chOff x="6170778" y="1014257"/>
              <a:chExt cx="365760" cy="365760"/>
            </a:xfrm>
          </p:grpSpPr>
          <p:sp>
            <p:nvSpPr>
              <p:cNvPr id="74" name="Oval 73">
                <a:extLst>
                  <a:ext uri="{FF2B5EF4-FFF2-40B4-BE49-F238E27FC236}">
                    <a16:creationId xmlns:a16="http://schemas.microsoft.com/office/drawing/2014/main" id="{5650D1D0-0438-F3C2-6D52-152E4C7F1087}"/>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75" name="Oval 74">
                <a:extLst>
                  <a:ext uri="{FF2B5EF4-FFF2-40B4-BE49-F238E27FC236}">
                    <a16:creationId xmlns:a16="http://schemas.microsoft.com/office/drawing/2014/main" id="{7B2AC4E2-4485-2BB8-2859-E3A4A7DBC9B4}"/>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65" name="Group 64">
              <a:extLst>
                <a:ext uri="{FF2B5EF4-FFF2-40B4-BE49-F238E27FC236}">
                  <a16:creationId xmlns:a16="http://schemas.microsoft.com/office/drawing/2014/main" id="{B058208C-3550-4740-5B68-33AED88AD4CC}"/>
                </a:ext>
              </a:extLst>
            </p:cNvPr>
            <p:cNvGrpSpPr>
              <a:grpSpLocks noChangeAspect="1"/>
            </p:cNvGrpSpPr>
            <p:nvPr/>
          </p:nvGrpSpPr>
          <p:grpSpPr>
            <a:xfrm>
              <a:off x="1586477" y="801385"/>
              <a:ext cx="308497" cy="312039"/>
              <a:chOff x="6170778" y="1014257"/>
              <a:chExt cx="365760" cy="365760"/>
            </a:xfrm>
          </p:grpSpPr>
          <p:sp>
            <p:nvSpPr>
              <p:cNvPr id="72" name="Oval 71">
                <a:extLst>
                  <a:ext uri="{FF2B5EF4-FFF2-40B4-BE49-F238E27FC236}">
                    <a16:creationId xmlns:a16="http://schemas.microsoft.com/office/drawing/2014/main" id="{E36E9BDD-D574-E2DA-6C18-24947A9CDD69}"/>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73" name="Oval 72">
                <a:extLst>
                  <a:ext uri="{FF2B5EF4-FFF2-40B4-BE49-F238E27FC236}">
                    <a16:creationId xmlns:a16="http://schemas.microsoft.com/office/drawing/2014/main" id="{247B1F9E-83F3-0157-0B96-C9D0F9E10AF2}"/>
                  </a:ext>
                </a:extLst>
              </p:cNvPr>
              <p:cNvSpPr>
                <a:spLocks/>
              </p:cNvSpPr>
              <p:nvPr/>
            </p:nvSpPr>
            <p:spPr bwMode="gray">
              <a:xfrm>
                <a:off x="6219844" y="1064549"/>
                <a:ext cx="267629" cy="265176"/>
              </a:xfrm>
              <a:prstGeom prst="ellipse">
                <a:avLst/>
              </a:prstGeom>
              <a:solidFill>
                <a:sysClr val="window" lastClr="FFFFFF"/>
              </a:solidFill>
              <a:ln w="28575" algn="ctr">
                <a:solidFill>
                  <a:srgbClr val="6FC2B4"/>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329273299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8_Title &amp; Subtitle_Watercolour bottom">
    <p:bg>
      <p:bgPr>
        <a:blipFill dpi="0" rotWithShape="1">
          <a:blip r:embed="rId3" cstate="email">
            <a:alphaModFix amt="85000"/>
            <a:lum/>
            <a:extLst>
              <a:ext uri="{28A0092B-C50C-407E-A947-70E740481C1C}">
                <a14:useLocalDpi xmlns:a14="http://schemas.microsoft.com/office/drawing/2010/main"/>
              </a:ext>
            </a:extLst>
          </a:blip>
          <a:srcRect/>
          <a:stretch>
            <a:fillRect t="20000"/>
          </a:stretch>
        </a:blipFill>
        <a:effectLst/>
      </p:bgPr>
    </p:bg>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9" name="Group 28">
            <a:extLst>
              <a:ext uri="{FF2B5EF4-FFF2-40B4-BE49-F238E27FC236}">
                <a16:creationId xmlns:a16="http://schemas.microsoft.com/office/drawing/2014/main" id="{9333D8CB-2169-8B53-5218-D8D83662A8B4}"/>
              </a:ext>
            </a:extLst>
          </p:cNvPr>
          <p:cNvGrpSpPr/>
          <p:nvPr userDrawn="1"/>
        </p:nvGrpSpPr>
        <p:grpSpPr>
          <a:xfrm>
            <a:off x="8964483" y="230649"/>
            <a:ext cx="2776412" cy="496573"/>
            <a:chOff x="122348" y="692181"/>
            <a:chExt cx="2776412" cy="496573"/>
          </a:xfrm>
        </p:grpSpPr>
        <p:sp>
          <p:nvSpPr>
            <p:cNvPr id="31" name="Freeform 6">
              <a:extLst>
                <a:ext uri="{FF2B5EF4-FFF2-40B4-BE49-F238E27FC236}">
                  <a16:creationId xmlns:a16="http://schemas.microsoft.com/office/drawing/2014/main" id="{9A2FC60C-0C1C-029E-30D9-4692FB298D45}"/>
                </a:ext>
              </a:extLst>
            </p:cNvPr>
            <p:cNvSpPr>
              <a:spLocks/>
            </p:cNvSpPr>
            <p:nvPr/>
          </p:nvSpPr>
          <p:spPr bwMode="auto">
            <a:xfrm rot="5400000" flipV="1">
              <a:off x="2521994" y="580027"/>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2" name="Freeform 6">
              <a:extLst>
                <a:ext uri="{FF2B5EF4-FFF2-40B4-BE49-F238E27FC236}">
                  <a16:creationId xmlns:a16="http://schemas.microsoft.com/office/drawing/2014/main" id="{3E5E2CBE-45A0-4D83-2A3E-A3D45A35466F}"/>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3" name="Freeform 7">
              <a:extLst>
                <a:ext uri="{FF2B5EF4-FFF2-40B4-BE49-F238E27FC236}">
                  <a16:creationId xmlns:a16="http://schemas.microsoft.com/office/drawing/2014/main" id="{744F0118-4F4C-C82D-DCC8-70D1E5E3CC01}"/>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4" name="Freeform 8">
              <a:extLst>
                <a:ext uri="{FF2B5EF4-FFF2-40B4-BE49-F238E27FC236}">
                  <a16:creationId xmlns:a16="http://schemas.microsoft.com/office/drawing/2014/main" id="{6F79CFEE-EDF8-8E6F-595F-BA09A5AA1BD4}"/>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5" name="Freeform 7">
              <a:extLst>
                <a:ext uri="{FF2B5EF4-FFF2-40B4-BE49-F238E27FC236}">
                  <a16:creationId xmlns:a16="http://schemas.microsoft.com/office/drawing/2014/main" id="{4B8BB3D8-C543-E7D2-4F56-C5E8BA30FB4F}"/>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6" name="Freeform 8">
              <a:extLst>
                <a:ext uri="{FF2B5EF4-FFF2-40B4-BE49-F238E27FC236}">
                  <a16:creationId xmlns:a16="http://schemas.microsoft.com/office/drawing/2014/main" id="{4398D855-4091-97BA-F69C-521BFEBFB595}"/>
                </a:ext>
              </a:extLst>
            </p:cNvPr>
            <p:cNvSpPr>
              <a:spLocks/>
            </p:cNvSpPr>
            <p:nvPr/>
          </p:nvSpPr>
          <p:spPr bwMode="auto">
            <a:xfrm rot="16200000">
              <a:off x="2071912"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rgbClr val="9DD4CF"/>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37" name="Group 36">
              <a:extLst>
                <a:ext uri="{FF2B5EF4-FFF2-40B4-BE49-F238E27FC236}">
                  <a16:creationId xmlns:a16="http://schemas.microsoft.com/office/drawing/2014/main" id="{77DC773F-56D0-EB14-843D-D8231B726775}"/>
                </a:ext>
              </a:extLst>
            </p:cNvPr>
            <p:cNvGrpSpPr>
              <a:grpSpLocks noChangeAspect="1"/>
            </p:cNvGrpSpPr>
            <p:nvPr/>
          </p:nvGrpSpPr>
          <p:grpSpPr>
            <a:xfrm>
              <a:off x="212089" y="801385"/>
              <a:ext cx="308497" cy="312039"/>
              <a:chOff x="6170778" y="1014257"/>
              <a:chExt cx="365760" cy="365760"/>
            </a:xfrm>
          </p:grpSpPr>
          <p:sp>
            <p:nvSpPr>
              <p:cNvPr id="53" name="Oval 52">
                <a:extLst>
                  <a:ext uri="{FF2B5EF4-FFF2-40B4-BE49-F238E27FC236}">
                    <a16:creationId xmlns:a16="http://schemas.microsoft.com/office/drawing/2014/main" id="{114A35AE-FDDE-FB69-06E7-2F6887E7B7AD}"/>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4" name="Oval 53">
                <a:extLst>
                  <a:ext uri="{FF2B5EF4-FFF2-40B4-BE49-F238E27FC236}">
                    <a16:creationId xmlns:a16="http://schemas.microsoft.com/office/drawing/2014/main" id="{5DEDC111-3F33-0177-B0F9-35AE2541C3CA}"/>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38" name="Group 37">
              <a:extLst>
                <a:ext uri="{FF2B5EF4-FFF2-40B4-BE49-F238E27FC236}">
                  <a16:creationId xmlns:a16="http://schemas.microsoft.com/office/drawing/2014/main" id="{00288E6C-2F82-9171-F347-CADD3D8DF122}"/>
                </a:ext>
              </a:extLst>
            </p:cNvPr>
            <p:cNvGrpSpPr>
              <a:grpSpLocks noChangeAspect="1"/>
            </p:cNvGrpSpPr>
            <p:nvPr/>
          </p:nvGrpSpPr>
          <p:grpSpPr>
            <a:xfrm>
              <a:off x="670205" y="801385"/>
              <a:ext cx="308497" cy="312039"/>
              <a:chOff x="6170778" y="1014257"/>
              <a:chExt cx="365760" cy="365760"/>
            </a:xfrm>
          </p:grpSpPr>
          <p:sp>
            <p:nvSpPr>
              <p:cNvPr id="51" name="Oval 50">
                <a:extLst>
                  <a:ext uri="{FF2B5EF4-FFF2-40B4-BE49-F238E27FC236}">
                    <a16:creationId xmlns:a16="http://schemas.microsoft.com/office/drawing/2014/main" id="{CACCD574-7E14-E5B6-4B75-9D26B2A6DC7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2" name="Oval 51">
                <a:extLst>
                  <a:ext uri="{FF2B5EF4-FFF2-40B4-BE49-F238E27FC236}">
                    <a16:creationId xmlns:a16="http://schemas.microsoft.com/office/drawing/2014/main" id="{82D60177-2843-996F-13EF-4A89F5B5905B}"/>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39" name="Group 38">
              <a:extLst>
                <a:ext uri="{FF2B5EF4-FFF2-40B4-BE49-F238E27FC236}">
                  <a16:creationId xmlns:a16="http://schemas.microsoft.com/office/drawing/2014/main" id="{4A0916E3-90AD-92A1-7C8D-9A9154294333}"/>
                </a:ext>
              </a:extLst>
            </p:cNvPr>
            <p:cNvGrpSpPr>
              <a:grpSpLocks noChangeAspect="1"/>
            </p:cNvGrpSpPr>
            <p:nvPr/>
          </p:nvGrpSpPr>
          <p:grpSpPr>
            <a:xfrm>
              <a:off x="1128695" y="800637"/>
              <a:ext cx="308497" cy="312039"/>
              <a:chOff x="6170778" y="1014257"/>
              <a:chExt cx="365760" cy="365760"/>
            </a:xfrm>
          </p:grpSpPr>
          <p:sp>
            <p:nvSpPr>
              <p:cNvPr id="49" name="Oval 48">
                <a:extLst>
                  <a:ext uri="{FF2B5EF4-FFF2-40B4-BE49-F238E27FC236}">
                    <a16:creationId xmlns:a16="http://schemas.microsoft.com/office/drawing/2014/main" id="{BF13A37B-BC19-44DF-5C71-F522C4B2CCA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0" name="Oval 49">
                <a:extLst>
                  <a:ext uri="{FF2B5EF4-FFF2-40B4-BE49-F238E27FC236}">
                    <a16:creationId xmlns:a16="http://schemas.microsoft.com/office/drawing/2014/main" id="{C117A2F6-369C-5E52-D469-9C1B2A61CF5D}"/>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40" name="Group 39">
              <a:extLst>
                <a:ext uri="{FF2B5EF4-FFF2-40B4-BE49-F238E27FC236}">
                  <a16:creationId xmlns:a16="http://schemas.microsoft.com/office/drawing/2014/main" id="{FB65EF02-4AE9-5BD5-2530-4F73259B55F8}"/>
                </a:ext>
              </a:extLst>
            </p:cNvPr>
            <p:cNvGrpSpPr>
              <a:grpSpLocks noChangeAspect="1"/>
            </p:cNvGrpSpPr>
            <p:nvPr/>
          </p:nvGrpSpPr>
          <p:grpSpPr>
            <a:xfrm>
              <a:off x="1586477" y="801385"/>
              <a:ext cx="308497" cy="312039"/>
              <a:chOff x="6170778" y="1014257"/>
              <a:chExt cx="365760" cy="365760"/>
            </a:xfrm>
          </p:grpSpPr>
          <p:sp>
            <p:nvSpPr>
              <p:cNvPr id="47" name="Oval 46">
                <a:extLst>
                  <a:ext uri="{FF2B5EF4-FFF2-40B4-BE49-F238E27FC236}">
                    <a16:creationId xmlns:a16="http://schemas.microsoft.com/office/drawing/2014/main" id="{CEFA1EBF-9ABA-D0D5-F326-7DB5CBB4B4A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48" name="Oval 47">
                <a:extLst>
                  <a:ext uri="{FF2B5EF4-FFF2-40B4-BE49-F238E27FC236}">
                    <a16:creationId xmlns:a16="http://schemas.microsoft.com/office/drawing/2014/main" id="{A92C0EEA-E5F5-34F3-712D-B7D480E19391}"/>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nvGrpSpPr>
            <p:cNvPr id="41" name="Group 40">
              <a:extLst>
                <a:ext uri="{FF2B5EF4-FFF2-40B4-BE49-F238E27FC236}">
                  <a16:creationId xmlns:a16="http://schemas.microsoft.com/office/drawing/2014/main" id="{5E5EF646-F2B2-6473-968D-DCF436D7EE03}"/>
                </a:ext>
              </a:extLst>
            </p:cNvPr>
            <p:cNvGrpSpPr>
              <a:grpSpLocks noChangeAspect="1"/>
            </p:cNvGrpSpPr>
            <p:nvPr/>
          </p:nvGrpSpPr>
          <p:grpSpPr>
            <a:xfrm>
              <a:off x="2042928" y="801639"/>
              <a:ext cx="308497" cy="312039"/>
              <a:chOff x="6170778" y="1014257"/>
              <a:chExt cx="365760" cy="365760"/>
            </a:xfrm>
          </p:grpSpPr>
          <p:sp>
            <p:nvSpPr>
              <p:cNvPr id="45" name="Oval 44">
                <a:extLst>
                  <a:ext uri="{FF2B5EF4-FFF2-40B4-BE49-F238E27FC236}">
                    <a16:creationId xmlns:a16="http://schemas.microsoft.com/office/drawing/2014/main" id="{5824F6A5-4129-796E-EBA5-2A4A9E403FD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46" name="Oval 45">
                <a:extLst>
                  <a:ext uri="{FF2B5EF4-FFF2-40B4-BE49-F238E27FC236}">
                    <a16:creationId xmlns:a16="http://schemas.microsoft.com/office/drawing/2014/main" id="{9694E4AC-2AC2-59B5-92C9-CE904DF540B9}"/>
                  </a:ext>
                </a:extLst>
              </p:cNvPr>
              <p:cNvSpPr>
                <a:spLocks/>
              </p:cNvSpPr>
              <p:nvPr/>
            </p:nvSpPr>
            <p:spPr bwMode="gray">
              <a:xfrm>
                <a:off x="6219844" y="1064549"/>
                <a:ext cx="267629" cy="265176"/>
              </a:xfrm>
              <a:prstGeom prst="ellipse">
                <a:avLst/>
              </a:prstGeom>
              <a:solidFill>
                <a:sysClr val="window" lastClr="FFFFFF"/>
              </a:solidFill>
              <a:ln w="28575" algn="ctr">
                <a:solidFill>
                  <a:srgbClr val="9DD4CF"/>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5</a:t>
                </a:r>
              </a:p>
            </p:txBody>
          </p:sp>
        </p:grpSp>
        <p:grpSp>
          <p:nvGrpSpPr>
            <p:cNvPr id="42" name="Group 41">
              <a:extLst>
                <a:ext uri="{FF2B5EF4-FFF2-40B4-BE49-F238E27FC236}">
                  <a16:creationId xmlns:a16="http://schemas.microsoft.com/office/drawing/2014/main" id="{4D6343C3-3424-FE20-C28B-5CCDABC801EB}"/>
                </a:ext>
              </a:extLst>
            </p:cNvPr>
            <p:cNvGrpSpPr>
              <a:grpSpLocks noChangeAspect="1"/>
            </p:cNvGrpSpPr>
            <p:nvPr/>
          </p:nvGrpSpPr>
          <p:grpSpPr>
            <a:xfrm>
              <a:off x="2500051" y="800637"/>
              <a:ext cx="308497" cy="312039"/>
              <a:chOff x="6170778" y="1014257"/>
              <a:chExt cx="365760" cy="365760"/>
            </a:xfrm>
          </p:grpSpPr>
          <p:sp>
            <p:nvSpPr>
              <p:cNvPr id="43" name="Oval 42">
                <a:extLst>
                  <a:ext uri="{FF2B5EF4-FFF2-40B4-BE49-F238E27FC236}">
                    <a16:creationId xmlns:a16="http://schemas.microsoft.com/office/drawing/2014/main" id="{189A9854-7137-F4C2-0B70-B156AC94371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44" name="Oval 43">
                <a:extLst>
                  <a:ext uri="{FF2B5EF4-FFF2-40B4-BE49-F238E27FC236}">
                    <a16:creationId xmlns:a16="http://schemas.microsoft.com/office/drawing/2014/main" id="{4A39DDDB-5745-2654-DDBA-0DA518B1BFA4}"/>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6</a:t>
                </a:r>
              </a:p>
            </p:txBody>
          </p:sp>
        </p:grpSp>
      </p:grpSp>
    </p:spTree>
    <p:extLst>
      <p:ext uri="{BB962C8B-B14F-4D97-AF65-F5344CB8AC3E}">
        <p14:creationId xmlns:p14="http://schemas.microsoft.com/office/powerpoint/2010/main" val="112636199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2_Title &amp; Subtitle_Watercolour bottom">
    <p:bg>
      <p:bgPr>
        <a:solidFill>
          <a:schemeClr val="bg1"/>
        </a:solidFill>
        <a:effectLst/>
      </p:bgPr>
    </p:bg>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 name="Group 1">
            <a:extLst>
              <a:ext uri="{FF2B5EF4-FFF2-40B4-BE49-F238E27FC236}">
                <a16:creationId xmlns:a16="http://schemas.microsoft.com/office/drawing/2014/main" id="{79CAF6C3-345B-032D-AA6B-167AA4883961}"/>
              </a:ext>
            </a:extLst>
          </p:cNvPr>
          <p:cNvGrpSpPr/>
          <p:nvPr userDrawn="1"/>
        </p:nvGrpSpPr>
        <p:grpSpPr>
          <a:xfrm>
            <a:off x="9720000" y="251706"/>
            <a:ext cx="1860855" cy="496572"/>
            <a:chOff x="122348" y="692182"/>
            <a:chExt cx="1860855" cy="496572"/>
          </a:xfrm>
        </p:grpSpPr>
        <p:sp>
          <p:nvSpPr>
            <p:cNvPr id="4" name="Freeform 6">
              <a:extLst>
                <a:ext uri="{FF2B5EF4-FFF2-40B4-BE49-F238E27FC236}">
                  <a16:creationId xmlns:a16="http://schemas.microsoft.com/office/drawing/2014/main" id="{FC6AD533-33AF-7FA2-0C57-26CE39DCAB68}"/>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rgbClr val="004F59"/>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5" name="Freeform 7">
              <a:extLst>
                <a:ext uri="{FF2B5EF4-FFF2-40B4-BE49-F238E27FC236}">
                  <a16:creationId xmlns:a16="http://schemas.microsoft.com/office/drawing/2014/main" id="{C6BA7E07-B181-0EDA-DA45-8CDDA6891172}"/>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8" name="Freeform 8">
              <a:extLst>
                <a:ext uri="{FF2B5EF4-FFF2-40B4-BE49-F238E27FC236}">
                  <a16:creationId xmlns:a16="http://schemas.microsoft.com/office/drawing/2014/main" id="{1105C2D4-7DF0-1C5C-E0CD-CDDDC9EB7226}"/>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9" name="Freeform 7">
              <a:extLst>
                <a:ext uri="{FF2B5EF4-FFF2-40B4-BE49-F238E27FC236}">
                  <a16:creationId xmlns:a16="http://schemas.microsoft.com/office/drawing/2014/main" id="{C8FFC229-2168-A78C-735E-987FCD43EFC5}"/>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11" name="Group 10">
              <a:extLst>
                <a:ext uri="{FF2B5EF4-FFF2-40B4-BE49-F238E27FC236}">
                  <a16:creationId xmlns:a16="http://schemas.microsoft.com/office/drawing/2014/main" id="{848B1F98-2E49-6076-C959-133C74097E9E}"/>
                </a:ext>
              </a:extLst>
            </p:cNvPr>
            <p:cNvGrpSpPr>
              <a:grpSpLocks noChangeAspect="1"/>
            </p:cNvGrpSpPr>
            <p:nvPr/>
          </p:nvGrpSpPr>
          <p:grpSpPr>
            <a:xfrm>
              <a:off x="212089" y="801385"/>
              <a:ext cx="308497" cy="312039"/>
              <a:chOff x="6170778" y="1014257"/>
              <a:chExt cx="365760" cy="365760"/>
            </a:xfrm>
          </p:grpSpPr>
          <p:sp>
            <p:nvSpPr>
              <p:cNvPr id="27" name="Oval 26">
                <a:extLst>
                  <a:ext uri="{FF2B5EF4-FFF2-40B4-BE49-F238E27FC236}">
                    <a16:creationId xmlns:a16="http://schemas.microsoft.com/office/drawing/2014/main" id="{9D095998-E97E-1ED8-F697-0DDAC21567B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28" name="Oval 27">
                <a:extLst>
                  <a:ext uri="{FF2B5EF4-FFF2-40B4-BE49-F238E27FC236}">
                    <a16:creationId xmlns:a16="http://schemas.microsoft.com/office/drawing/2014/main" id="{D17F3A9A-C759-C743-366A-45627493D6A4}"/>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lumMod val="50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12" name="Group 11">
              <a:extLst>
                <a:ext uri="{FF2B5EF4-FFF2-40B4-BE49-F238E27FC236}">
                  <a16:creationId xmlns:a16="http://schemas.microsoft.com/office/drawing/2014/main" id="{B685D36F-1A0A-2F81-ACF3-0EDE07989DCC}"/>
                </a:ext>
              </a:extLst>
            </p:cNvPr>
            <p:cNvGrpSpPr>
              <a:grpSpLocks noChangeAspect="1"/>
            </p:cNvGrpSpPr>
            <p:nvPr/>
          </p:nvGrpSpPr>
          <p:grpSpPr>
            <a:xfrm>
              <a:off x="670205" y="801385"/>
              <a:ext cx="308497" cy="312039"/>
              <a:chOff x="6170778" y="1014257"/>
              <a:chExt cx="365760" cy="365760"/>
            </a:xfrm>
          </p:grpSpPr>
          <p:sp>
            <p:nvSpPr>
              <p:cNvPr id="25" name="Oval 24">
                <a:extLst>
                  <a:ext uri="{FF2B5EF4-FFF2-40B4-BE49-F238E27FC236}">
                    <a16:creationId xmlns:a16="http://schemas.microsoft.com/office/drawing/2014/main" id="{C5073453-458F-674F-7E78-13B8DE4E1227}"/>
                  </a:ext>
                </a:extLst>
              </p:cNvPr>
              <p:cNvSpPr>
                <a:spLocks/>
              </p:cNvSpPr>
              <p:nvPr/>
            </p:nvSpPr>
            <p:spPr bwMode="gray">
              <a:xfrm>
                <a:off x="6170778" y="1014257"/>
                <a:ext cx="365760" cy="365760"/>
              </a:xfrm>
              <a:prstGeom prst="ellipse">
                <a:avLst/>
              </a:prstGeom>
              <a:solidFill>
                <a:schemeClr val="bg1"/>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26" name="Oval 25">
                <a:extLst>
                  <a:ext uri="{FF2B5EF4-FFF2-40B4-BE49-F238E27FC236}">
                    <a16:creationId xmlns:a16="http://schemas.microsoft.com/office/drawing/2014/main" id="{912B74A4-F93D-8ADF-37A8-D99E82A8A0F7}"/>
                  </a:ext>
                </a:extLst>
              </p:cNvPr>
              <p:cNvSpPr>
                <a:spLocks/>
              </p:cNvSpPr>
              <p:nvPr/>
            </p:nvSpPr>
            <p:spPr bwMode="gray">
              <a:xfrm>
                <a:off x="6219835" y="1064547"/>
                <a:ext cx="267630" cy="265177"/>
              </a:xfrm>
              <a:prstGeom prst="ellipse">
                <a:avLst/>
              </a:prstGeom>
              <a:noFill/>
              <a:ln w="28575" algn="ctr">
                <a:solidFill>
                  <a:schemeClr val="bg1">
                    <a:lumMod val="7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13" name="Group 12">
              <a:extLst>
                <a:ext uri="{FF2B5EF4-FFF2-40B4-BE49-F238E27FC236}">
                  <a16:creationId xmlns:a16="http://schemas.microsoft.com/office/drawing/2014/main" id="{33A4F10B-B51B-306E-C94E-7EBA00987FD5}"/>
                </a:ext>
              </a:extLst>
            </p:cNvPr>
            <p:cNvGrpSpPr>
              <a:grpSpLocks noChangeAspect="1"/>
            </p:cNvGrpSpPr>
            <p:nvPr/>
          </p:nvGrpSpPr>
          <p:grpSpPr>
            <a:xfrm>
              <a:off x="1128695" y="800637"/>
              <a:ext cx="308497" cy="312039"/>
              <a:chOff x="6170778" y="1014257"/>
              <a:chExt cx="365760" cy="365760"/>
            </a:xfrm>
          </p:grpSpPr>
          <p:sp>
            <p:nvSpPr>
              <p:cNvPr id="23" name="Oval 22">
                <a:extLst>
                  <a:ext uri="{FF2B5EF4-FFF2-40B4-BE49-F238E27FC236}">
                    <a16:creationId xmlns:a16="http://schemas.microsoft.com/office/drawing/2014/main" id="{DC16FA6B-3198-059F-6B49-659D2B91372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24" name="Oval 23">
                <a:extLst>
                  <a:ext uri="{FF2B5EF4-FFF2-40B4-BE49-F238E27FC236}">
                    <a16:creationId xmlns:a16="http://schemas.microsoft.com/office/drawing/2014/main" id="{84702062-9F06-3B3D-A6E3-EBE3E2D64445}"/>
                  </a:ext>
                </a:extLst>
              </p:cNvPr>
              <p:cNvSpPr>
                <a:spLocks/>
              </p:cNvSpPr>
              <p:nvPr/>
            </p:nvSpPr>
            <p:spPr bwMode="gray">
              <a:xfrm>
                <a:off x="6219841" y="1064547"/>
                <a:ext cx="267630" cy="265177"/>
              </a:xfrm>
              <a:prstGeom prst="ellipse">
                <a:avLst/>
              </a:prstGeom>
              <a:solidFill>
                <a:sysClr val="window" lastClr="FFFFFF"/>
              </a:solidFill>
              <a:ln w="28575" algn="ctr">
                <a:solidFill>
                  <a:schemeClr val="bg1">
                    <a:lumMod val="7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14" name="Group 13">
              <a:extLst>
                <a:ext uri="{FF2B5EF4-FFF2-40B4-BE49-F238E27FC236}">
                  <a16:creationId xmlns:a16="http://schemas.microsoft.com/office/drawing/2014/main" id="{975AC3E8-5500-A82E-C49E-23FDE90CB182}"/>
                </a:ext>
              </a:extLst>
            </p:cNvPr>
            <p:cNvGrpSpPr>
              <a:grpSpLocks noChangeAspect="1"/>
            </p:cNvGrpSpPr>
            <p:nvPr/>
          </p:nvGrpSpPr>
          <p:grpSpPr>
            <a:xfrm>
              <a:off x="1586477" y="801385"/>
              <a:ext cx="308497" cy="312039"/>
              <a:chOff x="6170778" y="1014257"/>
              <a:chExt cx="365760" cy="365760"/>
            </a:xfrm>
          </p:grpSpPr>
          <p:sp>
            <p:nvSpPr>
              <p:cNvPr id="21" name="Oval 20">
                <a:extLst>
                  <a:ext uri="{FF2B5EF4-FFF2-40B4-BE49-F238E27FC236}">
                    <a16:creationId xmlns:a16="http://schemas.microsoft.com/office/drawing/2014/main" id="{6A4102D3-980F-D270-D6AE-E7416003552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22" name="Oval 21">
                <a:extLst>
                  <a:ext uri="{FF2B5EF4-FFF2-40B4-BE49-F238E27FC236}">
                    <a16:creationId xmlns:a16="http://schemas.microsoft.com/office/drawing/2014/main" id="{549CA8F1-6196-6FAC-05D6-58FC755E0504}"/>
                  </a:ext>
                </a:extLst>
              </p:cNvPr>
              <p:cNvSpPr>
                <a:spLocks/>
              </p:cNvSpPr>
              <p:nvPr/>
            </p:nvSpPr>
            <p:spPr bwMode="gray">
              <a:xfrm>
                <a:off x="6219835" y="1064547"/>
                <a:ext cx="267630" cy="265177"/>
              </a:xfrm>
              <a:prstGeom prst="ellipse">
                <a:avLst/>
              </a:prstGeom>
              <a:solidFill>
                <a:sysClr val="window" lastClr="FFFFFF"/>
              </a:solidFill>
              <a:ln w="28575" algn="ctr">
                <a:solidFill>
                  <a:schemeClr val="bg1">
                    <a:lumMod val="7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
        <p:nvSpPr>
          <p:cNvPr id="29" name="Text Placeholder 8">
            <a:extLst>
              <a:ext uri="{FF2B5EF4-FFF2-40B4-BE49-F238E27FC236}">
                <a16:creationId xmlns:a16="http://schemas.microsoft.com/office/drawing/2014/main" id="{97FBF3B4-516E-6503-1E53-F46ECEA82439}"/>
              </a:ext>
            </a:extLst>
          </p:cNvPr>
          <p:cNvSpPr>
            <a:spLocks noGrp="1"/>
          </p:cNvSpPr>
          <p:nvPr>
            <p:ph type="body" sz="quarter" idx="23" hasCustomPrompt="1"/>
          </p:nvPr>
        </p:nvSpPr>
        <p:spPr>
          <a:xfrm>
            <a:off x="463295" y="748278"/>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pic>
        <p:nvPicPr>
          <p:cNvPr id="3" name="Picture 2">
            <a:extLst>
              <a:ext uri="{FF2B5EF4-FFF2-40B4-BE49-F238E27FC236}">
                <a16:creationId xmlns:a16="http://schemas.microsoft.com/office/drawing/2014/main" id="{F83E619D-5668-2568-207B-DD93A5C9B9EF}"/>
              </a:ext>
            </a:extLst>
          </p:cNvPr>
          <p:cNvPicPr>
            <a:picLocks noChangeAspect="1"/>
          </p:cNvPicPr>
          <p:nvPr userDrawn="1"/>
        </p:nvPicPr>
        <p:blipFill>
          <a:blip r:embed="rId5"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21426791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Subhead: Sidebar - 3 Column Highlight - 2 - Breadcrumbs">
    <p:spTree>
      <p:nvGrpSpPr>
        <p:cNvPr id="1" name=""/>
        <p:cNvGrpSpPr/>
        <p:nvPr/>
      </p:nvGrpSpPr>
      <p:grpSpPr>
        <a:xfrm>
          <a:off x="0" y="0"/>
          <a:ext cx="0" cy="0"/>
          <a:chOff x="0" y="0"/>
          <a:chExt cx="0" cy="0"/>
        </a:xfrm>
      </p:grpSpPr>
      <p:pic>
        <p:nvPicPr>
          <p:cNvPr id="12" name="Picture 11" descr="A picture containing brass&#10;&#10;Description automatically generated">
            <a:extLst>
              <a:ext uri="{FF2B5EF4-FFF2-40B4-BE49-F238E27FC236}">
                <a16:creationId xmlns:a16="http://schemas.microsoft.com/office/drawing/2014/main" id="{F1D460F9-EB1A-804D-B6A6-90FD865587A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p:nvSpPr>
        <p:spPr bwMode="gray">
          <a:xfrm>
            <a:off x="4507832" y="571500"/>
            <a:ext cx="7684168" cy="5715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ext Placeholder 10">
            <a:extLst>
              <a:ext uri="{FF2B5EF4-FFF2-40B4-BE49-F238E27FC236}">
                <a16:creationId xmlns:a16="http://schemas.microsoft.com/office/drawing/2014/main" id="{C55C4337-5BFE-F74F-BFD1-A76C1C03F250}"/>
              </a:ext>
            </a:extLst>
          </p:cNvPr>
          <p:cNvSpPr>
            <a:spLocks noGrp="1"/>
          </p:cNvSpPr>
          <p:nvPr>
            <p:ph type="body" sz="quarter" idx="18" hasCustomPrompt="1"/>
          </p:nvPr>
        </p:nvSpPr>
        <p:spPr>
          <a:xfrm>
            <a:off x="4955394"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5" name="Text Placeholder 10">
            <a:extLst>
              <a:ext uri="{FF2B5EF4-FFF2-40B4-BE49-F238E27FC236}">
                <a16:creationId xmlns:a16="http://schemas.microsoft.com/office/drawing/2014/main" id="{05808D96-A577-AF40-9D56-1FF43AA9660E}"/>
              </a:ext>
            </a:extLst>
          </p:cNvPr>
          <p:cNvSpPr>
            <a:spLocks noGrp="1"/>
          </p:cNvSpPr>
          <p:nvPr>
            <p:ph type="body" sz="quarter" idx="19" hasCustomPrompt="1"/>
          </p:nvPr>
        </p:nvSpPr>
        <p:spPr>
          <a:xfrm>
            <a:off x="8135112"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7" name="Text Placeholder 16">
            <a:extLst>
              <a:ext uri="{FF2B5EF4-FFF2-40B4-BE49-F238E27FC236}">
                <a16:creationId xmlns:a16="http://schemas.microsoft.com/office/drawing/2014/main" id="{A80E9A9B-D905-6744-B429-EF79B075874D}"/>
              </a:ext>
            </a:extLst>
          </p:cNvPr>
          <p:cNvSpPr>
            <a:spLocks noGrp="1"/>
          </p:cNvSpPr>
          <p:nvPr>
            <p:ph type="body" sz="quarter" idx="20" hasCustomPrompt="1"/>
          </p:nvPr>
        </p:nvSpPr>
        <p:spPr>
          <a:xfrm>
            <a:off x="4953000" y="3429000"/>
            <a:ext cx="6286500" cy="19288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4" name="Text Placeholder 7">
            <a:extLst>
              <a:ext uri="{FF2B5EF4-FFF2-40B4-BE49-F238E27FC236}">
                <a16:creationId xmlns:a16="http://schemas.microsoft.com/office/drawing/2014/main" id="{5C6CFBB4-2358-3847-A891-56DD4504D08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6" name="Text Placeholder 2">
            <a:extLst>
              <a:ext uri="{FF2B5EF4-FFF2-40B4-BE49-F238E27FC236}">
                <a16:creationId xmlns:a16="http://schemas.microsoft.com/office/drawing/2014/main" id="{FCA932F0-619D-AC43-A797-7FE8DE7E0665}"/>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DD4982B0-1368-6A44-BF22-6DB52D72F7C6}"/>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8" name="Text Placeholder 2">
            <a:extLst>
              <a:ext uri="{FF2B5EF4-FFF2-40B4-BE49-F238E27FC236}">
                <a16:creationId xmlns:a16="http://schemas.microsoft.com/office/drawing/2014/main" id="{EBA3A501-B27D-E948-A2CA-6A950EDD8E9D}"/>
              </a:ext>
            </a:extLst>
          </p:cNvPr>
          <p:cNvSpPr>
            <a:spLocks noGrp="1"/>
          </p:cNvSpPr>
          <p:nvPr>
            <p:ph type="body" sz="quarter" idx="26" hasCustomPrompt="1"/>
          </p:nvPr>
        </p:nvSpPr>
        <p:spPr>
          <a:xfrm>
            <a:off x="1986247" y="495992"/>
            <a:ext cx="2266776"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223889205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6_Title &amp; Subtitle_Watercolour bottom">
    <p:bg>
      <p:bgPr>
        <a:solidFill>
          <a:schemeClr val="bg1"/>
        </a:solidFill>
        <a:effectLst/>
      </p:bgPr>
    </p:bg>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pic>
        <p:nvPicPr>
          <p:cNvPr id="2" name="Picture 1">
            <a:extLst>
              <a:ext uri="{FF2B5EF4-FFF2-40B4-BE49-F238E27FC236}">
                <a16:creationId xmlns:a16="http://schemas.microsoft.com/office/drawing/2014/main" id="{812A6A6A-44EA-24E6-A85F-82626156FC0F}"/>
              </a:ext>
            </a:extLst>
          </p:cNvPr>
          <p:cNvPicPr>
            <a:picLocks noChangeAspect="1"/>
          </p:cNvPicPr>
          <p:nvPr userDrawn="1"/>
        </p:nvPicPr>
        <p:blipFill>
          <a:blip r:embed="rId5"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369878957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D7B858-14B2-CBC1-84BE-A7B184AB6A2E}"/>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69878957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Title &amp; Subtitle_Watercolour bottom">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49619D-7359-4AFF-7590-5F221C02F3D7}"/>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698789578"/>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Subtitle_Watercolour bottom">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AA2D3C-F1E6-A244-FDAC-D6F878C5001D}"/>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 name="Group 1">
            <a:extLst>
              <a:ext uri="{FF2B5EF4-FFF2-40B4-BE49-F238E27FC236}">
                <a16:creationId xmlns:a16="http://schemas.microsoft.com/office/drawing/2014/main" id="{79CAF6C3-345B-032D-AA6B-167AA4883961}"/>
              </a:ext>
            </a:extLst>
          </p:cNvPr>
          <p:cNvGrpSpPr/>
          <p:nvPr userDrawn="1"/>
        </p:nvGrpSpPr>
        <p:grpSpPr>
          <a:xfrm>
            <a:off x="9720000" y="251706"/>
            <a:ext cx="1860855" cy="496572"/>
            <a:chOff x="122348" y="692182"/>
            <a:chExt cx="1860855" cy="496572"/>
          </a:xfrm>
        </p:grpSpPr>
        <p:sp>
          <p:nvSpPr>
            <p:cNvPr id="4" name="Freeform 6">
              <a:extLst>
                <a:ext uri="{FF2B5EF4-FFF2-40B4-BE49-F238E27FC236}">
                  <a16:creationId xmlns:a16="http://schemas.microsoft.com/office/drawing/2014/main" id="{FC6AD533-33AF-7FA2-0C57-26CE39DCAB68}"/>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rgbClr val="004F59"/>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5" name="Freeform 7">
              <a:extLst>
                <a:ext uri="{FF2B5EF4-FFF2-40B4-BE49-F238E27FC236}">
                  <a16:creationId xmlns:a16="http://schemas.microsoft.com/office/drawing/2014/main" id="{C6BA7E07-B181-0EDA-DA45-8CDDA6891172}"/>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8" name="Freeform 8">
              <a:extLst>
                <a:ext uri="{FF2B5EF4-FFF2-40B4-BE49-F238E27FC236}">
                  <a16:creationId xmlns:a16="http://schemas.microsoft.com/office/drawing/2014/main" id="{1105C2D4-7DF0-1C5C-E0CD-CDDDC9EB7226}"/>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9" name="Freeform 7">
              <a:extLst>
                <a:ext uri="{FF2B5EF4-FFF2-40B4-BE49-F238E27FC236}">
                  <a16:creationId xmlns:a16="http://schemas.microsoft.com/office/drawing/2014/main" id="{C8FFC229-2168-A78C-735E-987FCD43EFC5}"/>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11" name="Group 10">
              <a:extLst>
                <a:ext uri="{FF2B5EF4-FFF2-40B4-BE49-F238E27FC236}">
                  <a16:creationId xmlns:a16="http://schemas.microsoft.com/office/drawing/2014/main" id="{848B1F98-2E49-6076-C959-133C74097E9E}"/>
                </a:ext>
              </a:extLst>
            </p:cNvPr>
            <p:cNvGrpSpPr>
              <a:grpSpLocks noChangeAspect="1"/>
            </p:cNvGrpSpPr>
            <p:nvPr/>
          </p:nvGrpSpPr>
          <p:grpSpPr>
            <a:xfrm>
              <a:off x="212089" y="801385"/>
              <a:ext cx="308497" cy="312039"/>
              <a:chOff x="6170778" y="1014257"/>
              <a:chExt cx="365760" cy="365760"/>
            </a:xfrm>
          </p:grpSpPr>
          <p:sp>
            <p:nvSpPr>
              <p:cNvPr id="27" name="Oval 26">
                <a:extLst>
                  <a:ext uri="{FF2B5EF4-FFF2-40B4-BE49-F238E27FC236}">
                    <a16:creationId xmlns:a16="http://schemas.microsoft.com/office/drawing/2014/main" id="{9D095998-E97E-1ED8-F697-0DDAC21567B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28" name="Oval 27">
                <a:extLst>
                  <a:ext uri="{FF2B5EF4-FFF2-40B4-BE49-F238E27FC236}">
                    <a16:creationId xmlns:a16="http://schemas.microsoft.com/office/drawing/2014/main" id="{D17F3A9A-C759-C743-366A-45627493D6A4}"/>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lumMod val="50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12" name="Group 11">
              <a:extLst>
                <a:ext uri="{FF2B5EF4-FFF2-40B4-BE49-F238E27FC236}">
                  <a16:creationId xmlns:a16="http://schemas.microsoft.com/office/drawing/2014/main" id="{B685D36F-1A0A-2F81-ACF3-0EDE07989DCC}"/>
                </a:ext>
              </a:extLst>
            </p:cNvPr>
            <p:cNvGrpSpPr>
              <a:grpSpLocks noChangeAspect="1"/>
            </p:cNvGrpSpPr>
            <p:nvPr/>
          </p:nvGrpSpPr>
          <p:grpSpPr>
            <a:xfrm>
              <a:off x="670205" y="801385"/>
              <a:ext cx="308497" cy="312039"/>
              <a:chOff x="6170778" y="1014257"/>
              <a:chExt cx="365760" cy="365760"/>
            </a:xfrm>
          </p:grpSpPr>
          <p:sp>
            <p:nvSpPr>
              <p:cNvPr id="25" name="Oval 24">
                <a:extLst>
                  <a:ext uri="{FF2B5EF4-FFF2-40B4-BE49-F238E27FC236}">
                    <a16:creationId xmlns:a16="http://schemas.microsoft.com/office/drawing/2014/main" id="{C5073453-458F-674F-7E78-13B8DE4E1227}"/>
                  </a:ext>
                </a:extLst>
              </p:cNvPr>
              <p:cNvSpPr>
                <a:spLocks/>
              </p:cNvSpPr>
              <p:nvPr/>
            </p:nvSpPr>
            <p:spPr bwMode="gray">
              <a:xfrm>
                <a:off x="6170778" y="1014257"/>
                <a:ext cx="365760" cy="365760"/>
              </a:xfrm>
              <a:prstGeom prst="ellipse">
                <a:avLst/>
              </a:prstGeom>
              <a:solidFill>
                <a:schemeClr val="bg1"/>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26" name="Oval 25">
                <a:extLst>
                  <a:ext uri="{FF2B5EF4-FFF2-40B4-BE49-F238E27FC236}">
                    <a16:creationId xmlns:a16="http://schemas.microsoft.com/office/drawing/2014/main" id="{912B74A4-F93D-8ADF-37A8-D99E82A8A0F7}"/>
                  </a:ext>
                </a:extLst>
              </p:cNvPr>
              <p:cNvSpPr>
                <a:spLocks/>
              </p:cNvSpPr>
              <p:nvPr/>
            </p:nvSpPr>
            <p:spPr bwMode="gray">
              <a:xfrm>
                <a:off x="6219835" y="1064547"/>
                <a:ext cx="267630" cy="265177"/>
              </a:xfrm>
              <a:prstGeom prst="ellipse">
                <a:avLst/>
              </a:prstGeom>
              <a:noFill/>
              <a:ln w="28575" algn="ctr">
                <a:solidFill>
                  <a:schemeClr val="bg1">
                    <a:lumMod val="7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13" name="Group 12">
              <a:extLst>
                <a:ext uri="{FF2B5EF4-FFF2-40B4-BE49-F238E27FC236}">
                  <a16:creationId xmlns:a16="http://schemas.microsoft.com/office/drawing/2014/main" id="{33A4F10B-B51B-306E-C94E-7EBA00987FD5}"/>
                </a:ext>
              </a:extLst>
            </p:cNvPr>
            <p:cNvGrpSpPr>
              <a:grpSpLocks noChangeAspect="1"/>
            </p:cNvGrpSpPr>
            <p:nvPr/>
          </p:nvGrpSpPr>
          <p:grpSpPr>
            <a:xfrm>
              <a:off x="1128695" y="800637"/>
              <a:ext cx="308497" cy="312039"/>
              <a:chOff x="6170778" y="1014257"/>
              <a:chExt cx="365760" cy="365760"/>
            </a:xfrm>
          </p:grpSpPr>
          <p:sp>
            <p:nvSpPr>
              <p:cNvPr id="23" name="Oval 22">
                <a:extLst>
                  <a:ext uri="{FF2B5EF4-FFF2-40B4-BE49-F238E27FC236}">
                    <a16:creationId xmlns:a16="http://schemas.microsoft.com/office/drawing/2014/main" id="{DC16FA6B-3198-059F-6B49-659D2B91372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24" name="Oval 23">
                <a:extLst>
                  <a:ext uri="{FF2B5EF4-FFF2-40B4-BE49-F238E27FC236}">
                    <a16:creationId xmlns:a16="http://schemas.microsoft.com/office/drawing/2014/main" id="{84702062-9F06-3B3D-A6E3-EBE3E2D64445}"/>
                  </a:ext>
                </a:extLst>
              </p:cNvPr>
              <p:cNvSpPr>
                <a:spLocks/>
              </p:cNvSpPr>
              <p:nvPr/>
            </p:nvSpPr>
            <p:spPr bwMode="gray">
              <a:xfrm>
                <a:off x="6219841" y="1064547"/>
                <a:ext cx="267630" cy="265177"/>
              </a:xfrm>
              <a:prstGeom prst="ellipse">
                <a:avLst/>
              </a:prstGeom>
              <a:solidFill>
                <a:sysClr val="window" lastClr="FFFFFF"/>
              </a:solidFill>
              <a:ln w="28575" algn="ctr">
                <a:solidFill>
                  <a:schemeClr val="bg1">
                    <a:lumMod val="7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14" name="Group 13">
              <a:extLst>
                <a:ext uri="{FF2B5EF4-FFF2-40B4-BE49-F238E27FC236}">
                  <a16:creationId xmlns:a16="http://schemas.microsoft.com/office/drawing/2014/main" id="{975AC3E8-5500-A82E-C49E-23FDE90CB182}"/>
                </a:ext>
              </a:extLst>
            </p:cNvPr>
            <p:cNvGrpSpPr>
              <a:grpSpLocks noChangeAspect="1"/>
            </p:cNvGrpSpPr>
            <p:nvPr/>
          </p:nvGrpSpPr>
          <p:grpSpPr>
            <a:xfrm>
              <a:off x="1586477" y="801385"/>
              <a:ext cx="308497" cy="312039"/>
              <a:chOff x="6170778" y="1014257"/>
              <a:chExt cx="365760" cy="365760"/>
            </a:xfrm>
          </p:grpSpPr>
          <p:sp>
            <p:nvSpPr>
              <p:cNvPr id="21" name="Oval 20">
                <a:extLst>
                  <a:ext uri="{FF2B5EF4-FFF2-40B4-BE49-F238E27FC236}">
                    <a16:creationId xmlns:a16="http://schemas.microsoft.com/office/drawing/2014/main" id="{6A4102D3-980F-D270-D6AE-E7416003552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22" name="Oval 21">
                <a:extLst>
                  <a:ext uri="{FF2B5EF4-FFF2-40B4-BE49-F238E27FC236}">
                    <a16:creationId xmlns:a16="http://schemas.microsoft.com/office/drawing/2014/main" id="{549CA8F1-6196-6FAC-05D6-58FC755E0504}"/>
                  </a:ext>
                </a:extLst>
              </p:cNvPr>
              <p:cNvSpPr>
                <a:spLocks/>
              </p:cNvSpPr>
              <p:nvPr/>
            </p:nvSpPr>
            <p:spPr bwMode="gray">
              <a:xfrm>
                <a:off x="6219835" y="1064547"/>
                <a:ext cx="267630" cy="265177"/>
              </a:xfrm>
              <a:prstGeom prst="ellipse">
                <a:avLst/>
              </a:prstGeom>
              <a:solidFill>
                <a:sysClr val="window" lastClr="FFFFFF"/>
              </a:solidFill>
              <a:ln w="28575" algn="ctr">
                <a:solidFill>
                  <a:schemeClr val="bg1">
                    <a:lumMod val="7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
        <p:nvSpPr>
          <p:cNvPr id="29" name="Text Placeholder 8">
            <a:extLst>
              <a:ext uri="{FF2B5EF4-FFF2-40B4-BE49-F238E27FC236}">
                <a16:creationId xmlns:a16="http://schemas.microsoft.com/office/drawing/2014/main" id="{97FBF3B4-516E-6503-1E53-F46ECEA82439}"/>
              </a:ext>
            </a:extLst>
          </p:cNvPr>
          <p:cNvSpPr>
            <a:spLocks noGrp="1"/>
          </p:cNvSpPr>
          <p:nvPr>
            <p:ph type="body" sz="quarter" idx="23" hasCustomPrompt="1"/>
          </p:nvPr>
        </p:nvSpPr>
        <p:spPr>
          <a:xfrm>
            <a:off x="463295" y="748278"/>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Tree>
    <p:extLst>
      <p:ext uri="{BB962C8B-B14F-4D97-AF65-F5344CB8AC3E}">
        <p14:creationId xmlns:p14="http://schemas.microsoft.com/office/powerpoint/2010/main" val="214267914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373F05-1B16-EE3B-3467-E70C1B341B26}"/>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130" name="Group 129">
            <a:extLst>
              <a:ext uri="{FF2B5EF4-FFF2-40B4-BE49-F238E27FC236}">
                <a16:creationId xmlns:a16="http://schemas.microsoft.com/office/drawing/2014/main" id="{EC507F82-A771-283B-46BE-5407127A9783}"/>
              </a:ext>
            </a:extLst>
          </p:cNvPr>
          <p:cNvGrpSpPr/>
          <p:nvPr userDrawn="1"/>
        </p:nvGrpSpPr>
        <p:grpSpPr>
          <a:xfrm>
            <a:off x="9720000" y="252000"/>
            <a:ext cx="1860855" cy="496572"/>
            <a:chOff x="122348" y="692182"/>
            <a:chExt cx="1860855" cy="496572"/>
          </a:xfrm>
        </p:grpSpPr>
        <p:sp>
          <p:nvSpPr>
            <p:cNvPr id="132" name="Freeform 6">
              <a:extLst>
                <a:ext uri="{FF2B5EF4-FFF2-40B4-BE49-F238E27FC236}">
                  <a16:creationId xmlns:a16="http://schemas.microsoft.com/office/drawing/2014/main" id="{023E18BA-55CE-3334-82A1-269E49338A92}"/>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133" name="Freeform 7">
              <a:extLst>
                <a:ext uri="{FF2B5EF4-FFF2-40B4-BE49-F238E27FC236}">
                  <a16:creationId xmlns:a16="http://schemas.microsoft.com/office/drawing/2014/main" id="{76423DD1-E37A-89EC-1CDC-BBD9DBA97B2C}"/>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rgbClr val="00ABAB">
                <a:lumMod val="75000"/>
              </a:srgb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134" name="Freeform 8">
              <a:extLst>
                <a:ext uri="{FF2B5EF4-FFF2-40B4-BE49-F238E27FC236}">
                  <a16:creationId xmlns:a16="http://schemas.microsoft.com/office/drawing/2014/main" id="{71B061C0-2041-D1A4-B054-9AE42618C64F}"/>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135" name="Freeform 7">
              <a:extLst>
                <a:ext uri="{FF2B5EF4-FFF2-40B4-BE49-F238E27FC236}">
                  <a16:creationId xmlns:a16="http://schemas.microsoft.com/office/drawing/2014/main" id="{D35D276C-67EA-BA31-D6BA-A2218959ABE3}"/>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137" name="Group 136">
              <a:extLst>
                <a:ext uri="{FF2B5EF4-FFF2-40B4-BE49-F238E27FC236}">
                  <a16:creationId xmlns:a16="http://schemas.microsoft.com/office/drawing/2014/main" id="{1A3278A8-C72F-2EF0-CBDF-72593BEB4214}"/>
                </a:ext>
              </a:extLst>
            </p:cNvPr>
            <p:cNvGrpSpPr>
              <a:grpSpLocks noChangeAspect="1"/>
            </p:cNvGrpSpPr>
            <p:nvPr/>
          </p:nvGrpSpPr>
          <p:grpSpPr>
            <a:xfrm>
              <a:off x="212089" y="801385"/>
              <a:ext cx="308497" cy="312039"/>
              <a:chOff x="6170778" y="1014257"/>
              <a:chExt cx="365760" cy="365760"/>
            </a:xfrm>
          </p:grpSpPr>
          <p:sp>
            <p:nvSpPr>
              <p:cNvPr id="153" name="Oval 152">
                <a:extLst>
                  <a:ext uri="{FF2B5EF4-FFF2-40B4-BE49-F238E27FC236}">
                    <a16:creationId xmlns:a16="http://schemas.microsoft.com/office/drawing/2014/main" id="{BBF58ACF-23AB-FE92-62F4-B3CC4620288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154" name="Oval 153">
                <a:extLst>
                  <a:ext uri="{FF2B5EF4-FFF2-40B4-BE49-F238E27FC236}">
                    <a16:creationId xmlns:a16="http://schemas.microsoft.com/office/drawing/2014/main" id="{9AD13DED-C8ED-0FA5-A516-34A649E00A61}"/>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138" name="Group 137">
              <a:extLst>
                <a:ext uri="{FF2B5EF4-FFF2-40B4-BE49-F238E27FC236}">
                  <a16:creationId xmlns:a16="http://schemas.microsoft.com/office/drawing/2014/main" id="{E2ED1948-6FBC-0E3A-25E6-A289A31638B0}"/>
                </a:ext>
              </a:extLst>
            </p:cNvPr>
            <p:cNvGrpSpPr>
              <a:grpSpLocks noChangeAspect="1"/>
            </p:cNvGrpSpPr>
            <p:nvPr/>
          </p:nvGrpSpPr>
          <p:grpSpPr>
            <a:xfrm>
              <a:off x="670205" y="801385"/>
              <a:ext cx="308497" cy="312039"/>
              <a:chOff x="6170778" y="1014257"/>
              <a:chExt cx="365760" cy="365760"/>
            </a:xfrm>
          </p:grpSpPr>
          <p:sp>
            <p:nvSpPr>
              <p:cNvPr id="151" name="Oval 150">
                <a:extLst>
                  <a:ext uri="{FF2B5EF4-FFF2-40B4-BE49-F238E27FC236}">
                    <a16:creationId xmlns:a16="http://schemas.microsoft.com/office/drawing/2014/main" id="{C085D63C-A8CC-4C1A-D0C1-017FD9C4F802}"/>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152" name="Oval 151">
                <a:extLst>
                  <a:ext uri="{FF2B5EF4-FFF2-40B4-BE49-F238E27FC236}">
                    <a16:creationId xmlns:a16="http://schemas.microsoft.com/office/drawing/2014/main" id="{DEC3CB47-94C2-FB72-3E9E-1DA1D9B42157}"/>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lumMod val="7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139" name="Group 138">
              <a:extLst>
                <a:ext uri="{FF2B5EF4-FFF2-40B4-BE49-F238E27FC236}">
                  <a16:creationId xmlns:a16="http://schemas.microsoft.com/office/drawing/2014/main" id="{A30032C3-BC36-505D-62AA-7492F55A6B61}"/>
                </a:ext>
              </a:extLst>
            </p:cNvPr>
            <p:cNvGrpSpPr>
              <a:grpSpLocks noChangeAspect="1"/>
            </p:cNvGrpSpPr>
            <p:nvPr/>
          </p:nvGrpSpPr>
          <p:grpSpPr>
            <a:xfrm>
              <a:off x="1128695" y="800637"/>
              <a:ext cx="308497" cy="312039"/>
              <a:chOff x="6170778" y="1014257"/>
              <a:chExt cx="365760" cy="365760"/>
            </a:xfrm>
          </p:grpSpPr>
          <p:sp>
            <p:nvSpPr>
              <p:cNvPr id="149" name="Oval 148">
                <a:extLst>
                  <a:ext uri="{FF2B5EF4-FFF2-40B4-BE49-F238E27FC236}">
                    <a16:creationId xmlns:a16="http://schemas.microsoft.com/office/drawing/2014/main" id="{36A6515C-7F38-D8ED-BE02-D304C9793A3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150" name="Oval 149">
                <a:extLst>
                  <a:ext uri="{FF2B5EF4-FFF2-40B4-BE49-F238E27FC236}">
                    <a16:creationId xmlns:a16="http://schemas.microsoft.com/office/drawing/2014/main" id="{85FF9092-9F5B-9B44-4CEA-26CB0F948C6C}"/>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140" name="Group 139">
              <a:extLst>
                <a:ext uri="{FF2B5EF4-FFF2-40B4-BE49-F238E27FC236}">
                  <a16:creationId xmlns:a16="http://schemas.microsoft.com/office/drawing/2014/main" id="{5AD4672B-510F-AA4D-94BF-CA1B9B2C8EB1}"/>
                </a:ext>
              </a:extLst>
            </p:cNvPr>
            <p:cNvGrpSpPr>
              <a:grpSpLocks noChangeAspect="1"/>
            </p:cNvGrpSpPr>
            <p:nvPr/>
          </p:nvGrpSpPr>
          <p:grpSpPr>
            <a:xfrm>
              <a:off x="1586477" y="801385"/>
              <a:ext cx="308497" cy="312039"/>
              <a:chOff x="6170778" y="1014257"/>
              <a:chExt cx="365760" cy="365760"/>
            </a:xfrm>
          </p:grpSpPr>
          <p:sp>
            <p:nvSpPr>
              <p:cNvPr id="147" name="Oval 146">
                <a:extLst>
                  <a:ext uri="{FF2B5EF4-FFF2-40B4-BE49-F238E27FC236}">
                    <a16:creationId xmlns:a16="http://schemas.microsoft.com/office/drawing/2014/main" id="{A82D6E80-5611-83EB-B955-01075C69966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148" name="Oval 147">
                <a:extLst>
                  <a:ext uri="{FF2B5EF4-FFF2-40B4-BE49-F238E27FC236}">
                    <a16:creationId xmlns:a16="http://schemas.microsoft.com/office/drawing/2014/main" id="{85FABC8D-7302-A949-8AFC-1E705D899F15}"/>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280356424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A6BC8B-218A-7793-2F84-16B68450991C}"/>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9" name="Group 28">
            <a:extLst>
              <a:ext uri="{FF2B5EF4-FFF2-40B4-BE49-F238E27FC236}">
                <a16:creationId xmlns:a16="http://schemas.microsoft.com/office/drawing/2014/main" id="{A4322675-7BC5-DD7C-FDA5-450B9D830C6E}"/>
              </a:ext>
            </a:extLst>
          </p:cNvPr>
          <p:cNvGrpSpPr/>
          <p:nvPr userDrawn="1"/>
        </p:nvGrpSpPr>
        <p:grpSpPr>
          <a:xfrm>
            <a:off x="9720000" y="252000"/>
            <a:ext cx="1860855" cy="496572"/>
            <a:chOff x="122348" y="692182"/>
            <a:chExt cx="1860855" cy="496572"/>
          </a:xfrm>
        </p:grpSpPr>
        <p:sp>
          <p:nvSpPr>
            <p:cNvPr id="32" name="Freeform 6">
              <a:extLst>
                <a:ext uri="{FF2B5EF4-FFF2-40B4-BE49-F238E27FC236}">
                  <a16:creationId xmlns:a16="http://schemas.microsoft.com/office/drawing/2014/main" id="{7739E174-F077-03DD-53EE-860538B33631}"/>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3" name="Freeform 7">
              <a:extLst>
                <a:ext uri="{FF2B5EF4-FFF2-40B4-BE49-F238E27FC236}">
                  <a16:creationId xmlns:a16="http://schemas.microsoft.com/office/drawing/2014/main" id="{3156F447-5947-C3E9-B5BC-D547AA8B6098}"/>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4" name="Freeform 8">
              <a:extLst>
                <a:ext uri="{FF2B5EF4-FFF2-40B4-BE49-F238E27FC236}">
                  <a16:creationId xmlns:a16="http://schemas.microsoft.com/office/drawing/2014/main" id="{F54B37BC-08EF-97D5-2501-676BFBBA5C27}"/>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rgbClr val="00ABAB"/>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5" name="Freeform 7">
              <a:extLst>
                <a:ext uri="{FF2B5EF4-FFF2-40B4-BE49-F238E27FC236}">
                  <a16:creationId xmlns:a16="http://schemas.microsoft.com/office/drawing/2014/main" id="{5423E8CE-0765-D95A-3310-9931FE1E29C7}"/>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37" name="Group 36">
              <a:extLst>
                <a:ext uri="{FF2B5EF4-FFF2-40B4-BE49-F238E27FC236}">
                  <a16:creationId xmlns:a16="http://schemas.microsoft.com/office/drawing/2014/main" id="{B1004338-521D-5E06-397D-79E5A941588F}"/>
                </a:ext>
              </a:extLst>
            </p:cNvPr>
            <p:cNvGrpSpPr>
              <a:grpSpLocks noChangeAspect="1"/>
            </p:cNvGrpSpPr>
            <p:nvPr/>
          </p:nvGrpSpPr>
          <p:grpSpPr>
            <a:xfrm>
              <a:off x="212089" y="801385"/>
              <a:ext cx="308497" cy="312039"/>
              <a:chOff x="6170778" y="1014257"/>
              <a:chExt cx="365760" cy="365760"/>
            </a:xfrm>
          </p:grpSpPr>
          <p:sp>
            <p:nvSpPr>
              <p:cNvPr id="53" name="Oval 52">
                <a:extLst>
                  <a:ext uri="{FF2B5EF4-FFF2-40B4-BE49-F238E27FC236}">
                    <a16:creationId xmlns:a16="http://schemas.microsoft.com/office/drawing/2014/main" id="{9F8D15E5-93A3-F555-E85D-268EE64E4BE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4" name="Oval 53">
                <a:extLst>
                  <a:ext uri="{FF2B5EF4-FFF2-40B4-BE49-F238E27FC236}">
                    <a16:creationId xmlns:a16="http://schemas.microsoft.com/office/drawing/2014/main" id="{5CE183FA-4DD2-D8C6-4C9F-0D52BB900893}"/>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38" name="Group 37">
              <a:extLst>
                <a:ext uri="{FF2B5EF4-FFF2-40B4-BE49-F238E27FC236}">
                  <a16:creationId xmlns:a16="http://schemas.microsoft.com/office/drawing/2014/main" id="{92D4A132-8FA3-8E0F-4442-6D04E1829DC5}"/>
                </a:ext>
              </a:extLst>
            </p:cNvPr>
            <p:cNvGrpSpPr>
              <a:grpSpLocks noChangeAspect="1"/>
            </p:cNvGrpSpPr>
            <p:nvPr/>
          </p:nvGrpSpPr>
          <p:grpSpPr>
            <a:xfrm>
              <a:off x="670205" y="801385"/>
              <a:ext cx="308497" cy="312039"/>
              <a:chOff x="6170778" y="1014257"/>
              <a:chExt cx="365760" cy="365760"/>
            </a:xfrm>
          </p:grpSpPr>
          <p:sp>
            <p:nvSpPr>
              <p:cNvPr id="51" name="Oval 50">
                <a:extLst>
                  <a:ext uri="{FF2B5EF4-FFF2-40B4-BE49-F238E27FC236}">
                    <a16:creationId xmlns:a16="http://schemas.microsoft.com/office/drawing/2014/main" id="{58359E82-EA49-D51F-056C-F88951FFE3BC}"/>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2" name="Oval 51">
                <a:extLst>
                  <a:ext uri="{FF2B5EF4-FFF2-40B4-BE49-F238E27FC236}">
                    <a16:creationId xmlns:a16="http://schemas.microsoft.com/office/drawing/2014/main" id="{626256AF-508F-0620-3E80-6D657263C4C6}"/>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39" name="Group 38">
              <a:extLst>
                <a:ext uri="{FF2B5EF4-FFF2-40B4-BE49-F238E27FC236}">
                  <a16:creationId xmlns:a16="http://schemas.microsoft.com/office/drawing/2014/main" id="{E4F864C5-F3CC-880A-0B36-A5418A8F530E}"/>
                </a:ext>
              </a:extLst>
            </p:cNvPr>
            <p:cNvGrpSpPr>
              <a:grpSpLocks noChangeAspect="1"/>
            </p:cNvGrpSpPr>
            <p:nvPr/>
          </p:nvGrpSpPr>
          <p:grpSpPr>
            <a:xfrm>
              <a:off x="1128695" y="800637"/>
              <a:ext cx="308497" cy="312039"/>
              <a:chOff x="6170778" y="1014257"/>
              <a:chExt cx="365760" cy="365760"/>
            </a:xfrm>
          </p:grpSpPr>
          <p:sp>
            <p:nvSpPr>
              <p:cNvPr id="49" name="Oval 48">
                <a:extLst>
                  <a:ext uri="{FF2B5EF4-FFF2-40B4-BE49-F238E27FC236}">
                    <a16:creationId xmlns:a16="http://schemas.microsoft.com/office/drawing/2014/main" id="{605AA0C4-ABAC-C361-F42B-FCDEF9C93D6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0" name="Oval 49">
                <a:extLst>
                  <a:ext uri="{FF2B5EF4-FFF2-40B4-BE49-F238E27FC236}">
                    <a16:creationId xmlns:a16="http://schemas.microsoft.com/office/drawing/2014/main" id="{372FE6E7-D0A2-00F2-46B8-626D2BFBA10E}"/>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40" name="Group 39">
              <a:extLst>
                <a:ext uri="{FF2B5EF4-FFF2-40B4-BE49-F238E27FC236}">
                  <a16:creationId xmlns:a16="http://schemas.microsoft.com/office/drawing/2014/main" id="{D074C3E3-A16C-95F8-C4C1-03497B6595A5}"/>
                </a:ext>
              </a:extLst>
            </p:cNvPr>
            <p:cNvGrpSpPr>
              <a:grpSpLocks noChangeAspect="1"/>
            </p:cNvGrpSpPr>
            <p:nvPr/>
          </p:nvGrpSpPr>
          <p:grpSpPr>
            <a:xfrm>
              <a:off x="1586477" y="801385"/>
              <a:ext cx="308497" cy="312039"/>
              <a:chOff x="6170778" y="1014257"/>
              <a:chExt cx="365760" cy="365760"/>
            </a:xfrm>
          </p:grpSpPr>
          <p:sp>
            <p:nvSpPr>
              <p:cNvPr id="47" name="Oval 46">
                <a:extLst>
                  <a:ext uri="{FF2B5EF4-FFF2-40B4-BE49-F238E27FC236}">
                    <a16:creationId xmlns:a16="http://schemas.microsoft.com/office/drawing/2014/main" id="{B6EB4992-602E-6F67-E64D-16AF433D113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48" name="Oval 47">
                <a:extLst>
                  <a:ext uri="{FF2B5EF4-FFF2-40B4-BE49-F238E27FC236}">
                    <a16:creationId xmlns:a16="http://schemas.microsoft.com/office/drawing/2014/main" id="{12FD91B1-80B8-667A-4D21-47F076552F2D}"/>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126861225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8D4714-0568-DB0E-A2D5-B78E0F61F621}"/>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55" name="Group 54">
            <a:extLst>
              <a:ext uri="{FF2B5EF4-FFF2-40B4-BE49-F238E27FC236}">
                <a16:creationId xmlns:a16="http://schemas.microsoft.com/office/drawing/2014/main" id="{9AE82B0B-C28C-E431-CBFB-554C56468E5F}"/>
              </a:ext>
            </a:extLst>
          </p:cNvPr>
          <p:cNvGrpSpPr/>
          <p:nvPr userDrawn="1"/>
        </p:nvGrpSpPr>
        <p:grpSpPr>
          <a:xfrm>
            <a:off x="9720000" y="252000"/>
            <a:ext cx="1860855" cy="496572"/>
            <a:chOff x="122348" y="692182"/>
            <a:chExt cx="1860855" cy="496572"/>
          </a:xfrm>
        </p:grpSpPr>
        <p:sp>
          <p:nvSpPr>
            <p:cNvPr id="57" name="Freeform 6">
              <a:extLst>
                <a:ext uri="{FF2B5EF4-FFF2-40B4-BE49-F238E27FC236}">
                  <a16:creationId xmlns:a16="http://schemas.microsoft.com/office/drawing/2014/main" id="{18216A40-1A22-F2D5-2FFB-15B62F07EE30}"/>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58" name="Freeform 7">
              <a:extLst>
                <a:ext uri="{FF2B5EF4-FFF2-40B4-BE49-F238E27FC236}">
                  <a16:creationId xmlns:a16="http://schemas.microsoft.com/office/drawing/2014/main" id="{CB31F9C2-99E6-1462-275B-C25F7120251D}"/>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59" name="Freeform 8">
              <a:extLst>
                <a:ext uri="{FF2B5EF4-FFF2-40B4-BE49-F238E27FC236}">
                  <a16:creationId xmlns:a16="http://schemas.microsoft.com/office/drawing/2014/main" id="{5B1B43A9-2411-5601-41B3-50377FADA37B}"/>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60" name="Freeform 7">
              <a:extLst>
                <a:ext uri="{FF2B5EF4-FFF2-40B4-BE49-F238E27FC236}">
                  <a16:creationId xmlns:a16="http://schemas.microsoft.com/office/drawing/2014/main" id="{1FDD26F4-3FC7-76A7-CB92-6D0328BB6035}"/>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rgbClr val="6FC2B4"/>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62" name="Group 61">
              <a:extLst>
                <a:ext uri="{FF2B5EF4-FFF2-40B4-BE49-F238E27FC236}">
                  <a16:creationId xmlns:a16="http://schemas.microsoft.com/office/drawing/2014/main" id="{130B52AB-1EC7-8F2E-05FD-19BF518004CD}"/>
                </a:ext>
              </a:extLst>
            </p:cNvPr>
            <p:cNvGrpSpPr>
              <a:grpSpLocks noChangeAspect="1"/>
            </p:cNvGrpSpPr>
            <p:nvPr/>
          </p:nvGrpSpPr>
          <p:grpSpPr>
            <a:xfrm>
              <a:off x="212089" y="801385"/>
              <a:ext cx="308497" cy="312039"/>
              <a:chOff x="6170778" y="1014257"/>
              <a:chExt cx="365760" cy="365760"/>
            </a:xfrm>
          </p:grpSpPr>
          <p:sp>
            <p:nvSpPr>
              <p:cNvPr id="78" name="Oval 77">
                <a:extLst>
                  <a:ext uri="{FF2B5EF4-FFF2-40B4-BE49-F238E27FC236}">
                    <a16:creationId xmlns:a16="http://schemas.microsoft.com/office/drawing/2014/main" id="{32B852F7-E405-B200-CBBA-0CC707D18B1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79" name="Oval 78">
                <a:extLst>
                  <a:ext uri="{FF2B5EF4-FFF2-40B4-BE49-F238E27FC236}">
                    <a16:creationId xmlns:a16="http://schemas.microsoft.com/office/drawing/2014/main" id="{F4C0910A-4250-DAD5-EC64-8B7FD0C3D1B0}"/>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63" name="Group 62">
              <a:extLst>
                <a:ext uri="{FF2B5EF4-FFF2-40B4-BE49-F238E27FC236}">
                  <a16:creationId xmlns:a16="http://schemas.microsoft.com/office/drawing/2014/main" id="{5C8D0F59-A45E-0CE5-C2A8-0866F45F9425}"/>
                </a:ext>
              </a:extLst>
            </p:cNvPr>
            <p:cNvGrpSpPr>
              <a:grpSpLocks noChangeAspect="1"/>
            </p:cNvGrpSpPr>
            <p:nvPr/>
          </p:nvGrpSpPr>
          <p:grpSpPr>
            <a:xfrm>
              <a:off x="670205" y="801385"/>
              <a:ext cx="308497" cy="312039"/>
              <a:chOff x="6170778" y="1014257"/>
              <a:chExt cx="365760" cy="365760"/>
            </a:xfrm>
          </p:grpSpPr>
          <p:sp>
            <p:nvSpPr>
              <p:cNvPr id="76" name="Oval 75">
                <a:extLst>
                  <a:ext uri="{FF2B5EF4-FFF2-40B4-BE49-F238E27FC236}">
                    <a16:creationId xmlns:a16="http://schemas.microsoft.com/office/drawing/2014/main" id="{50578C73-F0C5-8DF5-FD95-76A33BD9C06C}"/>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77" name="Oval 76">
                <a:extLst>
                  <a:ext uri="{FF2B5EF4-FFF2-40B4-BE49-F238E27FC236}">
                    <a16:creationId xmlns:a16="http://schemas.microsoft.com/office/drawing/2014/main" id="{4F363BB7-AA7A-A5EB-C4A9-1E6FCCC7E1E6}"/>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64" name="Group 63">
              <a:extLst>
                <a:ext uri="{FF2B5EF4-FFF2-40B4-BE49-F238E27FC236}">
                  <a16:creationId xmlns:a16="http://schemas.microsoft.com/office/drawing/2014/main" id="{9731125F-7A55-908D-5491-6DC1CB1DC658}"/>
                </a:ext>
              </a:extLst>
            </p:cNvPr>
            <p:cNvGrpSpPr>
              <a:grpSpLocks noChangeAspect="1"/>
            </p:cNvGrpSpPr>
            <p:nvPr/>
          </p:nvGrpSpPr>
          <p:grpSpPr>
            <a:xfrm>
              <a:off x="1128695" y="800637"/>
              <a:ext cx="308497" cy="312039"/>
              <a:chOff x="6170778" y="1014257"/>
              <a:chExt cx="365760" cy="365760"/>
            </a:xfrm>
          </p:grpSpPr>
          <p:sp>
            <p:nvSpPr>
              <p:cNvPr id="74" name="Oval 73">
                <a:extLst>
                  <a:ext uri="{FF2B5EF4-FFF2-40B4-BE49-F238E27FC236}">
                    <a16:creationId xmlns:a16="http://schemas.microsoft.com/office/drawing/2014/main" id="{5650D1D0-0438-F3C2-6D52-152E4C7F1087}"/>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75" name="Oval 74">
                <a:extLst>
                  <a:ext uri="{FF2B5EF4-FFF2-40B4-BE49-F238E27FC236}">
                    <a16:creationId xmlns:a16="http://schemas.microsoft.com/office/drawing/2014/main" id="{7B2AC4E2-4485-2BB8-2859-E3A4A7DBC9B4}"/>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65" name="Group 64">
              <a:extLst>
                <a:ext uri="{FF2B5EF4-FFF2-40B4-BE49-F238E27FC236}">
                  <a16:creationId xmlns:a16="http://schemas.microsoft.com/office/drawing/2014/main" id="{B058208C-3550-4740-5B68-33AED88AD4CC}"/>
                </a:ext>
              </a:extLst>
            </p:cNvPr>
            <p:cNvGrpSpPr>
              <a:grpSpLocks noChangeAspect="1"/>
            </p:cNvGrpSpPr>
            <p:nvPr/>
          </p:nvGrpSpPr>
          <p:grpSpPr>
            <a:xfrm>
              <a:off x="1586477" y="801385"/>
              <a:ext cx="308497" cy="312039"/>
              <a:chOff x="6170778" y="1014257"/>
              <a:chExt cx="365760" cy="365760"/>
            </a:xfrm>
          </p:grpSpPr>
          <p:sp>
            <p:nvSpPr>
              <p:cNvPr id="72" name="Oval 71">
                <a:extLst>
                  <a:ext uri="{FF2B5EF4-FFF2-40B4-BE49-F238E27FC236}">
                    <a16:creationId xmlns:a16="http://schemas.microsoft.com/office/drawing/2014/main" id="{E36E9BDD-D574-E2DA-6C18-24947A9CDD69}"/>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73" name="Oval 72">
                <a:extLst>
                  <a:ext uri="{FF2B5EF4-FFF2-40B4-BE49-F238E27FC236}">
                    <a16:creationId xmlns:a16="http://schemas.microsoft.com/office/drawing/2014/main" id="{247B1F9E-83F3-0157-0B96-C9D0F9E10AF2}"/>
                  </a:ext>
                </a:extLst>
              </p:cNvPr>
              <p:cNvSpPr>
                <a:spLocks/>
              </p:cNvSpPr>
              <p:nvPr/>
            </p:nvSpPr>
            <p:spPr bwMode="gray">
              <a:xfrm>
                <a:off x="6219844" y="1064549"/>
                <a:ext cx="267629" cy="265176"/>
              </a:xfrm>
              <a:prstGeom prst="ellipse">
                <a:avLst/>
              </a:prstGeom>
              <a:solidFill>
                <a:sysClr val="window" lastClr="FFFFFF"/>
              </a:solidFill>
              <a:ln w="28575" algn="ctr">
                <a:solidFill>
                  <a:srgbClr val="6FC2B4"/>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329273299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CDC5F8D-2CF9-9E65-A98E-0F4E55790797}"/>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741628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9" name="Group 28">
            <a:extLst>
              <a:ext uri="{FF2B5EF4-FFF2-40B4-BE49-F238E27FC236}">
                <a16:creationId xmlns:a16="http://schemas.microsoft.com/office/drawing/2014/main" id="{9333D8CB-2169-8B53-5218-D8D83662A8B4}"/>
              </a:ext>
            </a:extLst>
          </p:cNvPr>
          <p:cNvGrpSpPr/>
          <p:nvPr userDrawn="1"/>
        </p:nvGrpSpPr>
        <p:grpSpPr>
          <a:xfrm>
            <a:off x="8964483" y="230649"/>
            <a:ext cx="2776412" cy="496573"/>
            <a:chOff x="122348" y="692181"/>
            <a:chExt cx="2776412" cy="496573"/>
          </a:xfrm>
        </p:grpSpPr>
        <p:sp>
          <p:nvSpPr>
            <p:cNvPr id="31" name="Freeform 6">
              <a:extLst>
                <a:ext uri="{FF2B5EF4-FFF2-40B4-BE49-F238E27FC236}">
                  <a16:creationId xmlns:a16="http://schemas.microsoft.com/office/drawing/2014/main" id="{9A2FC60C-0C1C-029E-30D9-4692FB298D45}"/>
                </a:ext>
              </a:extLst>
            </p:cNvPr>
            <p:cNvSpPr>
              <a:spLocks/>
            </p:cNvSpPr>
            <p:nvPr/>
          </p:nvSpPr>
          <p:spPr bwMode="auto">
            <a:xfrm rot="5400000" flipV="1">
              <a:off x="2521994" y="580027"/>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2" name="Freeform 6">
              <a:extLst>
                <a:ext uri="{FF2B5EF4-FFF2-40B4-BE49-F238E27FC236}">
                  <a16:creationId xmlns:a16="http://schemas.microsoft.com/office/drawing/2014/main" id="{3E5E2CBE-45A0-4D83-2A3E-A3D45A35466F}"/>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3" name="Freeform 7">
              <a:extLst>
                <a:ext uri="{FF2B5EF4-FFF2-40B4-BE49-F238E27FC236}">
                  <a16:creationId xmlns:a16="http://schemas.microsoft.com/office/drawing/2014/main" id="{744F0118-4F4C-C82D-DCC8-70D1E5E3CC01}"/>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4" name="Freeform 8">
              <a:extLst>
                <a:ext uri="{FF2B5EF4-FFF2-40B4-BE49-F238E27FC236}">
                  <a16:creationId xmlns:a16="http://schemas.microsoft.com/office/drawing/2014/main" id="{6F79CFEE-EDF8-8E6F-595F-BA09A5AA1BD4}"/>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5" name="Freeform 7">
              <a:extLst>
                <a:ext uri="{FF2B5EF4-FFF2-40B4-BE49-F238E27FC236}">
                  <a16:creationId xmlns:a16="http://schemas.microsoft.com/office/drawing/2014/main" id="{4B8BB3D8-C543-E7D2-4F56-C5E8BA30FB4F}"/>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sp>
          <p:nvSpPr>
            <p:cNvPr id="36" name="Freeform 8">
              <a:extLst>
                <a:ext uri="{FF2B5EF4-FFF2-40B4-BE49-F238E27FC236}">
                  <a16:creationId xmlns:a16="http://schemas.microsoft.com/office/drawing/2014/main" id="{4398D855-4091-97BA-F69C-521BFEBFB595}"/>
                </a:ext>
              </a:extLst>
            </p:cNvPr>
            <p:cNvSpPr>
              <a:spLocks/>
            </p:cNvSpPr>
            <p:nvPr/>
          </p:nvSpPr>
          <p:spPr bwMode="auto">
            <a:xfrm rot="16200000">
              <a:off x="2071912"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rgbClr val="9DD4CF"/>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a:defRPr/>
              </a:pPr>
              <a:endParaRPr lang="en-US" sz="1800" kern="0" dirty="0">
                <a:solidFill>
                  <a:prstClr val="black"/>
                </a:solidFill>
                <a:latin typeface="Open Sans"/>
              </a:endParaRPr>
            </a:p>
          </p:txBody>
        </p:sp>
        <p:grpSp>
          <p:nvGrpSpPr>
            <p:cNvPr id="37" name="Group 36">
              <a:extLst>
                <a:ext uri="{FF2B5EF4-FFF2-40B4-BE49-F238E27FC236}">
                  <a16:creationId xmlns:a16="http://schemas.microsoft.com/office/drawing/2014/main" id="{77DC773F-56D0-EB14-843D-D8231B726775}"/>
                </a:ext>
              </a:extLst>
            </p:cNvPr>
            <p:cNvGrpSpPr>
              <a:grpSpLocks noChangeAspect="1"/>
            </p:cNvGrpSpPr>
            <p:nvPr/>
          </p:nvGrpSpPr>
          <p:grpSpPr>
            <a:xfrm>
              <a:off x="212089" y="801385"/>
              <a:ext cx="308497" cy="312039"/>
              <a:chOff x="6170778" y="1014257"/>
              <a:chExt cx="365760" cy="365760"/>
            </a:xfrm>
          </p:grpSpPr>
          <p:sp>
            <p:nvSpPr>
              <p:cNvPr id="53" name="Oval 52">
                <a:extLst>
                  <a:ext uri="{FF2B5EF4-FFF2-40B4-BE49-F238E27FC236}">
                    <a16:creationId xmlns:a16="http://schemas.microsoft.com/office/drawing/2014/main" id="{114A35AE-FDDE-FB69-06E7-2F6887E7B7AD}"/>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4" name="Oval 53">
                <a:extLst>
                  <a:ext uri="{FF2B5EF4-FFF2-40B4-BE49-F238E27FC236}">
                    <a16:creationId xmlns:a16="http://schemas.microsoft.com/office/drawing/2014/main" id="{5DEDC111-3F33-0177-B0F9-35AE2541C3CA}"/>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38" name="Group 37">
              <a:extLst>
                <a:ext uri="{FF2B5EF4-FFF2-40B4-BE49-F238E27FC236}">
                  <a16:creationId xmlns:a16="http://schemas.microsoft.com/office/drawing/2014/main" id="{00288E6C-2F82-9171-F347-CADD3D8DF122}"/>
                </a:ext>
              </a:extLst>
            </p:cNvPr>
            <p:cNvGrpSpPr>
              <a:grpSpLocks noChangeAspect="1"/>
            </p:cNvGrpSpPr>
            <p:nvPr/>
          </p:nvGrpSpPr>
          <p:grpSpPr>
            <a:xfrm>
              <a:off x="670205" y="801385"/>
              <a:ext cx="308497" cy="312039"/>
              <a:chOff x="6170778" y="1014257"/>
              <a:chExt cx="365760" cy="365760"/>
            </a:xfrm>
          </p:grpSpPr>
          <p:sp>
            <p:nvSpPr>
              <p:cNvPr id="51" name="Oval 50">
                <a:extLst>
                  <a:ext uri="{FF2B5EF4-FFF2-40B4-BE49-F238E27FC236}">
                    <a16:creationId xmlns:a16="http://schemas.microsoft.com/office/drawing/2014/main" id="{CACCD574-7E14-E5B6-4B75-9D26B2A6DC7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2" name="Oval 51">
                <a:extLst>
                  <a:ext uri="{FF2B5EF4-FFF2-40B4-BE49-F238E27FC236}">
                    <a16:creationId xmlns:a16="http://schemas.microsoft.com/office/drawing/2014/main" id="{82D60177-2843-996F-13EF-4A89F5B5905B}"/>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39" name="Group 38">
              <a:extLst>
                <a:ext uri="{FF2B5EF4-FFF2-40B4-BE49-F238E27FC236}">
                  <a16:creationId xmlns:a16="http://schemas.microsoft.com/office/drawing/2014/main" id="{4A0916E3-90AD-92A1-7C8D-9A9154294333}"/>
                </a:ext>
              </a:extLst>
            </p:cNvPr>
            <p:cNvGrpSpPr>
              <a:grpSpLocks noChangeAspect="1"/>
            </p:cNvGrpSpPr>
            <p:nvPr/>
          </p:nvGrpSpPr>
          <p:grpSpPr>
            <a:xfrm>
              <a:off x="1128695" y="800637"/>
              <a:ext cx="308497" cy="312039"/>
              <a:chOff x="6170778" y="1014257"/>
              <a:chExt cx="365760" cy="365760"/>
            </a:xfrm>
          </p:grpSpPr>
          <p:sp>
            <p:nvSpPr>
              <p:cNvPr id="49" name="Oval 48">
                <a:extLst>
                  <a:ext uri="{FF2B5EF4-FFF2-40B4-BE49-F238E27FC236}">
                    <a16:creationId xmlns:a16="http://schemas.microsoft.com/office/drawing/2014/main" id="{BF13A37B-BC19-44DF-5C71-F522C4B2CCA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50" name="Oval 49">
                <a:extLst>
                  <a:ext uri="{FF2B5EF4-FFF2-40B4-BE49-F238E27FC236}">
                    <a16:creationId xmlns:a16="http://schemas.microsoft.com/office/drawing/2014/main" id="{C117A2F6-369C-5E52-D469-9C1B2A61CF5D}"/>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40" name="Group 39">
              <a:extLst>
                <a:ext uri="{FF2B5EF4-FFF2-40B4-BE49-F238E27FC236}">
                  <a16:creationId xmlns:a16="http://schemas.microsoft.com/office/drawing/2014/main" id="{FB65EF02-4AE9-5BD5-2530-4F73259B55F8}"/>
                </a:ext>
              </a:extLst>
            </p:cNvPr>
            <p:cNvGrpSpPr>
              <a:grpSpLocks noChangeAspect="1"/>
            </p:cNvGrpSpPr>
            <p:nvPr/>
          </p:nvGrpSpPr>
          <p:grpSpPr>
            <a:xfrm>
              <a:off x="1586477" y="801385"/>
              <a:ext cx="308497" cy="312039"/>
              <a:chOff x="6170778" y="1014257"/>
              <a:chExt cx="365760" cy="365760"/>
            </a:xfrm>
          </p:grpSpPr>
          <p:sp>
            <p:nvSpPr>
              <p:cNvPr id="47" name="Oval 46">
                <a:extLst>
                  <a:ext uri="{FF2B5EF4-FFF2-40B4-BE49-F238E27FC236}">
                    <a16:creationId xmlns:a16="http://schemas.microsoft.com/office/drawing/2014/main" id="{CEFA1EBF-9ABA-D0D5-F326-7DB5CBB4B4A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48" name="Oval 47">
                <a:extLst>
                  <a:ext uri="{FF2B5EF4-FFF2-40B4-BE49-F238E27FC236}">
                    <a16:creationId xmlns:a16="http://schemas.microsoft.com/office/drawing/2014/main" id="{A92C0EEA-E5F5-34F3-712D-B7D480E19391}"/>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nvGrpSpPr>
            <p:cNvPr id="41" name="Group 40">
              <a:extLst>
                <a:ext uri="{FF2B5EF4-FFF2-40B4-BE49-F238E27FC236}">
                  <a16:creationId xmlns:a16="http://schemas.microsoft.com/office/drawing/2014/main" id="{5E5EF646-F2B2-6473-968D-DCF436D7EE03}"/>
                </a:ext>
              </a:extLst>
            </p:cNvPr>
            <p:cNvGrpSpPr>
              <a:grpSpLocks noChangeAspect="1"/>
            </p:cNvGrpSpPr>
            <p:nvPr/>
          </p:nvGrpSpPr>
          <p:grpSpPr>
            <a:xfrm>
              <a:off x="2042928" y="801639"/>
              <a:ext cx="308497" cy="312039"/>
              <a:chOff x="6170778" y="1014257"/>
              <a:chExt cx="365760" cy="365760"/>
            </a:xfrm>
          </p:grpSpPr>
          <p:sp>
            <p:nvSpPr>
              <p:cNvPr id="45" name="Oval 44">
                <a:extLst>
                  <a:ext uri="{FF2B5EF4-FFF2-40B4-BE49-F238E27FC236}">
                    <a16:creationId xmlns:a16="http://schemas.microsoft.com/office/drawing/2014/main" id="{5824F6A5-4129-796E-EBA5-2A4A9E403FD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46" name="Oval 45">
                <a:extLst>
                  <a:ext uri="{FF2B5EF4-FFF2-40B4-BE49-F238E27FC236}">
                    <a16:creationId xmlns:a16="http://schemas.microsoft.com/office/drawing/2014/main" id="{9694E4AC-2AC2-59B5-92C9-CE904DF540B9}"/>
                  </a:ext>
                </a:extLst>
              </p:cNvPr>
              <p:cNvSpPr>
                <a:spLocks/>
              </p:cNvSpPr>
              <p:nvPr/>
            </p:nvSpPr>
            <p:spPr bwMode="gray">
              <a:xfrm>
                <a:off x="6219844" y="1064549"/>
                <a:ext cx="267629" cy="265176"/>
              </a:xfrm>
              <a:prstGeom prst="ellipse">
                <a:avLst/>
              </a:prstGeom>
              <a:solidFill>
                <a:sysClr val="window" lastClr="FFFFFF"/>
              </a:solidFill>
              <a:ln w="28575" algn="ctr">
                <a:solidFill>
                  <a:srgbClr val="9DD4CF"/>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5</a:t>
                </a:r>
              </a:p>
            </p:txBody>
          </p:sp>
        </p:grpSp>
        <p:grpSp>
          <p:nvGrpSpPr>
            <p:cNvPr id="42" name="Group 41">
              <a:extLst>
                <a:ext uri="{FF2B5EF4-FFF2-40B4-BE49-F238E27FC236}">
                  <a16:creationId xmlns:a16="http://schemas.microsoft.com/office/drawing/2014/main" id="{4D6343C3-3424-FE20-C28B-5CCDABC801EB}"/>
                </a:ext>
              </a:extLst>
            </p:cNvPr>
            <p:cNvGrpSpPr>
              <a:grpSpLocks noChangeAspect="1"/>
            </p:cNvGrpSpPr>
            <p:nvPr/>
          </p:nvGrpSpPr>
          <p:grpSpPr>
            <a:xfrm>
              <a:off x="2500051" y="800637"/>
              <a:ext cx="308497" cy="312039"/>
              <a:chOff x="6170778" y="1014257"/>
              <a:chExt cx="365760" cy="365760"/>
            </a:xfrm>
          </p:grpSpPr>
          <p:sp>
            <p:nvSpPr>
              <p:cNvPr id="43" name="Oval 42">
                <a:extLst>
                  <a:ext uri="{FF2B5EF4-FFF2-40B4-BE49-F238E27FC236}">
                    <a16:creationId xmlns:a16="http://schemas.microsoft.com/office/drawing/2014/main" id="{189A9854-7137-F4C2-0B70-B156AC94371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a:defRPr/>
                </a:pPr>
                <a:endParaRPr lang="en-US" sz="400" b="1" i="0" kern="0" dirty="0">
                  <a:solidFill>
                    <a:prstClr val="black"/>
                  </a:solidFill>
                  <a:latin typeface="Open Sans" panose="020B0606030504020204" pitchFamily="34" charset="0"/>
                </a:endParaRPr>
              </a:p>
            </p:txBody>
          </p:sp>
          <p:sp>
            <p:nvSpPr>
              <p:cNvPr id="44" name="Oval 43">
                <a:extLst>
                  <a:ext uri="{FF2B5EF4-FFF2-40B4-BE49-F238E27FC236}">
                    <a16:creationId xmlns:a16="http://schemas.microsoft.com/office/drawing/2014/main" id="{4A39DDDB-5745-2654-DDBA-0DA518B1BFA4}"/>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6</a:t>
                </a:r>
              </a:p>
            </p:txBody>
          </p:sp>
        </p:grpSp>
      </p:grpSp>
    </p:spTree>
    <p:extLst>
      <p:ext uri="{BB962C8B-B14F-4D97-AF65-F5344CB8AC3E}">
        <p14:creationId xmlns:p14="http://schemas.microsoft.com/office/powerpoint/2010/main" val="112636199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Subtitle_Pictur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5632705"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5632705"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4" name="Picture Placeholder 3">
            <a:extLst>
              <a:ext uri="{FF2B5EF4-FFF2-40B4-BE49-F238E27FC236}">
                <a16:creationId xmlns:a16="http://schemas.microsoft.com/office/drawing/2014/main" id="{1AA55C8A-97EA-9421-F9BB-F828DDA2936E}"/>
              </a:ext>
            </a:extLst>
          </p:cNvPr>
          <p:cNvSpPr>
            <a:spLocks noGrp="1"/>
          </p:cNvSpPr>
          <p:nvPr>
            <p:ph type="pic" sz="quarter" idx="23"/>
          </p:nvPr>
        </p:nvSpPr>
        <p:spPr>
          <a:xfrm>
            <a:off x="6743700" y="0"/>
            <a:ext cx="5448300" cy="6858000"/>
          </a:xfrm>
        </p:spPr>
        <p:txBody>
          <a:bodyPr/>
          <a:lstStyle/>
          <a:p>
            <a:endParaRPr lang="en-CH"/>
          </a:p>
        </p:txBody>
      </p:sp>
    </p:spTree>
    <p:extLst>
      <p:ext uri="{BB962C8B-B14F-4D97-AF65-F5344CB8AC3E}">
        <p14:creationId xmlns:p14="http://schemas.microsoft.com/office/powerpoint/2010/main" val="45858512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bout Deloitte Map">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 name="Group 1">
            <a:extLst>
              <a:ext uri="{FF2B5EF4-FFF2-40B4-BE49-F238E27FC236}">
                <a16:creationId xmlns:a16="http://schemas.microsoft.com/office/drawing/2014/main" id="{40D541B6-8216-3695-6C2D-F990A120BF58}"/>
              </a:ext>
            </a:extLst>
          </p:cNvPr>
          <p:cNvGrpSpPr/>
          <p:nvPr userDrawn="1"/>
        </p:nvGrpSpPr>
        <p:grpSpPr>
          <a:xfrm>
            <a:off x="4812486" y="2381095"/>
            <a:ext cx="6440688" cy="3681553"/>
            <a:chOff x="393700" y="1781243"/>
            <a:chExt cx="8280400" cy="4425949"/>
          </a:xfrm>
          <a:solidFill>
            <a:schemeClr val="tx2">
              <a:lumMod val="20000"/>
              <a:lumOff val="80000"/>
            </a:schemeClr>
          </a:solidFill>
        </p:grpSpPr>
        <p:sp>
          <p:nvSpPr>
            <p:cNvPr id="3" name="Freeform 221">
              <a:extLst>
                <a:ext uri="{FF2B5EF4-FFF2-40B4-BE49-F238E27FC236}">
                  <a16:creationId xmlns:a16="http://schemas.microsoft.com/office/drawing/2014/main" id="{65F33036-5D3D-AB36-49C4-A3F4D1E53257}"/>
                </a:ext>
              </a:extLst>
            </p:cNvPr>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 name="Freeform 13">
              <a:extLst>
                <a:ext uri="{FF2B5EF4-FFF2-40B4-BE49-F238E27FC236}">
                  <a16:creationId xmlns:a16="http://schemas.microsoft.com/office/drawing/2014/main" id="{C6024379-C508-D69D-DB5D-3DC27F6FF88A}"/>
                </a:ext>
              </a:extLst>
            </p:cNvPr>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 name="Freeform 14">
              <a:extLst>
                <a:ext uri="{FF2B5EF4-FFF2-40B4-BE49-F238E27FC236}">
                  <a16:creationId xmlns:a16="http://schemas.microsoft.com/office/drawing/2014/main" id="{536F3C78-3436-132A-6B0C-9D64744DC4CF}"/>
                </a:ext>
              </a:extLst>
            </p:cNvPr>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 name="Freeform 15">
              <a:extLst>
                <a:ext uri="{FF2B5EF4-FFF2-40B4-BE49-F238E27FC236}">
                  <a16:creationId xmlns:a16="http://schemas.microsoft.com/office/drawing/2014/main" id="{5B6509B6-50E8-A4C4-C90B-7298BE639598}"/>
                </a:ext>
              </a:extLst>
            </p:cNvPr>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 name="Freeform 16">
              <a:extLst>
                <a:ext uri="{FF2B5EF4-FFF2-40B4-BE49-F238E27FC236}">
                  <a16:creationId xmlns:a16="http://schemas.microsoft.com/office/drawing/2014/main" id="{EC559E89-C8E6-6525-6A93-018364F0CB26}"/>
                </a:ext>
              </a:extLst>
            </p:cNvPr>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 name="Freeform 17">
              <a:extLst>
                <a:ext uri="{FF2B5EF4-FFF2-40B4-BE49-F238E27FC236}">
                  <a16:creationId xmlns:a16="http://schemas.microsoft.com/office/drawing/2014/main" id="{D1020179-5F30-3D95-6CC7-ED29D1236830}"/>
                </a:ext>
              </a:extLst>
            </p:cNvPr>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 name="Freeform 18">
              <a:extLst>
                <a:ext uri="{FF2B5EF4-FFF2-40B4-BE49-F238E27FC236}">
                  <a16:creationId xmlns:a16="http://schemas.microsoft.com/office/drawing/2014/main" id="{160CD83E-DD38-1BF6-C4F7-D2083BA3F993}"/>
                </a:ext>
              </a:extLst>
            </p:cNvPr>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 name="Freeform 19">
              <a:extLst>
                <a:ext uri="{FF2B5EF4-FFF2-40B4-BE49-F238E27FC236}">
                  <a16:creationId xmlns:a16="http://schemas.microsoft.com/office/drawing/2014/main" id="{CD201285-BD68-BBC7-6871-995ACB8FF884}"/>
                </a:ext>
              </a:extLst>
            </p:cNvPr>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 name="Freeform 20">
              <a:extLst>
                <a:ext uri="{FF2B5EF4-FFF2-40B4-BE49-F238E27FC236}">
                  <a16:creationId xmlns:a16="http://schemas.microsoft.com/office/drawing/2014/main" id="{7F27D209-4BD6-B3D6-2572-2ABFD1AF5B6A}"/>
                </a:ext>
              </a:extLst>
            </p:cNvPr>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 name="Freeform 21">
              <a:extLst>
                <a:ext uri="{FF2B5EF4-FFF2-40B4-BE49-F238E27FC236}">
                  <a16:creationId xmlns:a16="http://schemas.microsoft.com/office/drawing/2014/main" id="{0E37BD02-1A70-B5AB-872D-5F388BA623B2}"/>
                </a:ext>
              </a:extLst>
            </p:cNvPr>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 name="Freeform 22">
              <a:extLst>
                <a:ext uri="{FF2B5EF4-FFF2-40B4-BE49-F238E27FC236}">
                  <a16:creationId xmlns:a16="http://schemas.microsoft.com/office/drawing/2014/main" id="{DC0DC2C1-99C2-E046-3E0F-C534D801730F}"/>
                </a:ext>
              </a:extLst>
            </p:cNvPr>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 name="Freeform 23">
              <a:extLst>
                <a:ext uri="{FF2B5EF4-FFF2-40B4-BE49-F238E27FC236}">
                  <a16:creationId xmlns:a16="http://schemas.microsoft.com/office/drawing/2014/main" id="{128C4DF3-49ED-8AE9-E82D-9C3AE21EB9A8}"/>
                </a:ext>
              </a:extLst>
            </p:cNvPr>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 name="Freeform 24">
              <a:extLst>
                <a:ext uri="{FF2B5EF4-FFF2-40B4-BE49-F238E27FC236}">
                  <a16:creationId xmlns:a16="http://schemas.microsoft.com/office/drawing/2014/main" id="{C8F62068-120F-2A6B-60A4-DB3C59F5D618}"/>
                </a:ext>
              </a:extLst>
            </p:cNvPr>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 name="Freeform 25">
              <a:extLst>
                <a:ext uri="{FF2B5EF4-FFF2-40B4-BE49-F238E27FC236}">
                  <a16:creationId xmlns:a16="http://schemas.microsoft.com/office/drawing/2014/main" id="{8558563C-10FB-89E3-7453-2718348BD3B1}"/>
                </a:ext>
              </a:extLst>
            </p:cNvPr>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 name="Freeform 26">
              <a:extLst>
                <a:ext uri="{FF2B5EF4-FFF2-40B4-BE49-F238E27FC236}">
                  <a16:creationId xmlns:a16="http://schemas.microsoft.com/office/drawing/2014/main" id="{9909980E-159A-7D2B-ECCD-7204F316EFF3}"/>
                </a:ext>
              </a:extLst>
            </p:cNvPr>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 name="Freeform 27">
              <a:extLst>
                <a:ext uri="{FF2B5EF4-FFF2-40B4-BE49-F238E27FC236}">
                  <a16:creationId xmlns:a16="http://schemas.microsoft.com/office/drawing/2014/main" id="{0D72BE23-25E1-F9F4-EAB2-6EBBA2E1553E}"/>
                </a:ext>
              </a:extLst>
            </p:cNvPr>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 name="Freeform 28">
              <a:extLst>
                <a:ext uri="{FF2B5EF4-FFF2-40B4-BE49-F238E27FC236}">
                  <a16:creationId xmlns:a16="http://schemas.microsoft.com/office/drawing/2014/main" id="{45327FA6-259B-B3D9-CA5C-5FB5CC40133B}"/>
                </a:ext>
              </a:extLst>
            </p:cNvPr>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1" name="Freeform 29">
              <a:extLst>
                <a:ext uri="{FF2B5EF4-FFF2-40B4-BE49-F238E27FC236}">
                  <a16:creationId xmlns:a16="http://schemas.microsoft.com/office/drawing/2014/main" id="{5744C64D-16A4-8F62-1032-E43FA3BE0DE1}"/>
                </a:ext>
              </a:extLst>
            </p:cNvPr>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2" name="Freeform 30">
              <a:extLst>
                <a:ext uri="{FF2B5EF4-FFF2-40B4-BE49-F238E27FC236}">
                  <a16:creationId xmlns:a16="http://schemas.microsoft.com/office/drawing/2014/main" id="{CBEE6DEB-FF06-9264-A3C3-CFBC39C31896}"/>
                </a:ext>
              </a:extLst>
            </p:cNvPr>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3" name="Freeform 31">
              <a:extLst>
                <a:ext uri="{FF2B5EF4-FFF2-40B4-BE49-F238E27FC236}">
                  <a16:creationId xmlns:a16="http://schemas.microsoft.com/office/drawing/2014/main" id="{D1FFD88A-A725-9D87-C549-23024FD56D2D}"/>
                </a:ext>
              </a:extLst>
            </p:cNvPr>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4" name="Freeform 32">
              <a:extLst>
                <a:ext uri="{FF2B5EF4-FFF2-40B4-BE49-F238E27FC236}">
                  <a16:creationId xmlns:a16="http://schemas.microsoft.com/office/drawing/2014/main" id="{4B084972-E7D3-5E8D-5938-4A44F457A53D}"/>
                </a:ext>
              </a:extLst>
            </p:cNvPr>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5" name="Freeform 33">
              <a:extLst>
                <a:ext uri="{FF2B5EF4-FFF2-40B4-BE49-F238E27FC236}">
                  <a16:creationId xmlns:a16="http://schemas.microsoft.com/office/drawing/2014/main" id="{C3B9DB3D-20C6-D62E-13ED-448D55B52E7E}"/>
                </a:ext>
              </a:extLst>
            </p:cNvPr>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6" name="Freeform 34">
              <a:extLst>
                <a:ext uri="{FF2B5EF4-FFF2-40B4-BE49-F238E27FC236}">
                  <a16:creationId xmlns:a16="http://schemas.microsoft.com/office/drawing/2014/main" id="{939A6BFF-BF73-6D47-3736-9EFAD3A2F5CE}"/>
                </a:ext>
              </a:extLst>
            </p:cNvPr>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7" name="Freeform 35">
              <a:extLst>
                <a:ext uri="{FF2B5EF4-FFF2-40B4-BE49-F238E27FC236}">
                  <a16:creationId xmlns:a16="http://schemas.microsoft.com/office/drawing/2014/main" id="{46CDAC79-1857-D56E-FA62-74E0F29993F6}"/>
                </a:ext>
              </a:extLst>
            </p:cNvPr>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8" name="Freeform 36">
              <a:extLst>
                <a:ext uri="{FF2B5EF4-FFF2-40B4-BE49-F238E27FC236}">
                  <a16:creationId xmlns:a16="http://schemas.microsoft.com/office/drawing/2014/main" id="{7C079D33-85F6-ACD7-991D-7143AF796C7F}"/>
                </a:ext>
              </a:extLst>
            </p:cNvPr>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9" name="Freeform 37">
              <a:extLst>
                <a:ext uri="{FF2B5EF4-FFF2-40B4-BE49-F238E27FC236}">
                  <a16:creationId xmlns:a16="http://schemas.microsoft.com/office/drawing/2014/main" id="{D6901E44-9DB2-52DC-5D86-D313CCF5A452}"/>
                </a:ext>
              </a:extLst>
            </p:cNvPr>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0" name="Freeform 38">
              <a:extLst>
                <a:ext uri="{FF2B5EF4-FFF2-40B4-BE49-F238E27FC236}">
                  <a16:creationId xmlns:a16="http://schemas.microsoft.com/office/drawing/2014/main" id="{2D82FAD8-7940-F85A-CE66-048E6356ACE5}"/>
                </a:ext>
              </a:extLst>
            </p:cNvPr>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1" name="Freeform 39">
              <a:extLst>
                <a:ext uri="{FF2B5EF4-FFF2-40B4-BE49-F238E27FC236}">
                  <a16:creationId xmlns:a16="http://schemas.microsoft.com/office/drawing/2014/main" id="{201A83CE-EC14-924F-8552-32FC95F41CE5}"/>
                </a:ext>
              </a:extLst>
            </p:cNvPr>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2" name="Freeform 40">
              <a:extLst>
                <a:ext uri="{FF2B5EF4-FFF2-40B4-BE49-F238E27FC236}">
                  <a16:creationId xmlns:a16="http://schemas.microsoft.com/office/drawing/2014/main" id="{27ED8F54-2B59-E945-F188-4A9EDD0BC210}"/>
                </a:ext>
              </a:extLst>
            </p:cNvPr>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3" name="Freeform 41">
              <a:extLst>
                <a:ext uri="{FF2B5EF4-FFF2-40B4-BE49-F238E27FC236}">
                  <a16:creationId xmlns:a16="http://schemas.microsoft.com/office/drawing/2014/main" id="{27D7133D-2D19-641C-7D47-47BEE9560D2C}"/>
                </a:ext>
              </a:extLst>
            </p:cNvPr>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4" name="Freeform 42">
              <a:extLst>
                <a:ext uri="{FF2B5EF4-FFF2-40B4-BE49-F238E27FC236}">
                  <a16:creationId xmlns:a16="http://schemas.microsoft.com/office/drawing/2014/main" id="{8F451F02-E900-EF51-6D44-C4AFCC179673}"/>
                </a:ext>
              </a:extLst>
            </p:cNvPr>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5" name="Freeform 43">
              <a:extLst>
                <a:ext uri="{FF2B5EF4-FFF2-40B4-BE49-F238E27FC236}">
                  <a16:creationId xmlns:a16="http://schemas.microsoft.com/office/drawing/2014/main" id="{9E0F2A91-871C-56FE-AE77-9B81B777880C}"/>
                </a:ext>
              </a:extLst>
            </p:cNvPr>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6" name="Freeform 44">
              <a:extLst>
                <a:ext uri="{FF2B5EF4-FFF2-40B4-BE49-F238E27FC236}">
                  <a16:creationId xmlns:a16="http://schemas.microsoft.com/office/drawing/2014/main" id="{19319AD5-42DA-817B-E05A-D5017BCF00F8}"/>
                </a:ext>
              </a:extLst>
            </p:cNvPr>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7" name="Freeform 45">
              <a:extLst>
                <a:ext uri="{FF2B5EF4-FFF2-40B4-BE49-F238E27FC236}">
                  <a16:creationId xmlns:a16="http://schemas.microsoft.com/office/drawing/2014/main" id="{5E136600-C302-1AE8-E85C-B06B2BFBCF14}"/>
                </a:ext>
              </a:extLst>
            </p:cNvPr>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8" name="Freeform 46">
              <a:extLst>
                <a:ext uri="{FF2B5EF4-FFF2-40B4-BE49-F238E27FC236}">
                  <a16:creationId xmlns:a16="http://schemas.microsoft.com/office/drawing/2014/main" id="{B8201EC1-0F6F-6F8B-E6D5-26B89AEA57C0}"/>
                </a:ext>
              </a:extLst>
            </p:cNvPr>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9" name="Freeform 47">
              <a:extLst>
                <a:ext uri="{FF2B5EF4-FFF2-40B4-BE49-F238E27FC236}">
                  <a16:creationId xmlns:a16="http://schemas.microsoft.com/office/drawing/2014/main" id="{3B373752-C1AA-6CDE-4A51-39371C1FA0EB}"/>
                </a:ext>
              </a:extLst>
            </p:cNvPr>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0" name="Freeform 48">
              <a:extLst>
                <a:ext uri="{FF2B5EF4-FFF2-40B4-BE49-F238E27FC236}">
                  <a16:creationId xmlns:a16="http://schemas.microsoft.com/office/drawing/2014/main" id="{EAB77048-CC45-13F7-4EAD-605B4B755230}"/>
                </a:ext>
              </a:extLst>
            </p:cNvPr>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1" name="Freeform 49">
              <a:extLst>
                <a:ext uri="{FF2B5EF4-FFF2-40B4-BE49-F238E27FC236}">
                  <a16:creationId xmlns:a16="http://schemas.microsoft.com/office/drawing/2014/main" id="{2C6A394C-FCEF-E3D5-7967-0C83F256166C}"/>
                </a:ext>
              </a:extLst>
            </p:cNvPr>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2" name="Freeform 50">
              <a:extLst>
                <a:ext uri="{FF2B5EF4-FFF2-40B4-BE49-F238E27FC236}">
                  <a16:creationId xmlns:a16="http://schemas.microsoft.com/office/drawing/2014/main" id="{95E442EC-CAF0-F1D8-12F7-EA4B720B4963}"/>
                </a:ext>
              </a:extLst>
            </p:cNvPr>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3" name="Freeform 51">
              <a:extLst>
                <a:ext uri="{FF2B5EF4-FFF2-40B4-BE49-F238E27FC236}">
                  <a16:creationId xmlns:a16="http://schemas.microsoft.com/office/drawing/2014/main" id="{27A577FC-6D7F-3DF6-EE45-2AA6A99A5380}"/>
                </a:ext>
              </a:extLst>
            </p:cNvPr>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4" name="Freeform 52">
              <a:extLst>
                <a:ext uri="{FF2B5EF4-FFF2-40B4-BE49-F238E27FC236}">
                  <a16:creationId xmlns:a16="http://schemas.microsoft.com/office/drawing/2014/main" id="{7D0A0107-D680-0FCA-1663-778899F61925}"/>
                </a:ext>
              </a:extLst>
            </p:cNvPr>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5" name="Freeform 53">
              <a:extLst>
                <a:ext uri="{FF2B5EF4-FFF2-40B4-BE49-F238E27FC236}">
                  <a16:creationId xmlns:a16="http://schemas.microsoft.com/office/drawing/2014/main" id="{9A7D5265-DBEA-2370-EC4D-74C732C799E9}"/>
                </a:ext>
              </a:extLst>
            </p:cNvPr>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6" name="Freeform 54">
              <a:extLst>
                <a:ext uri="{FF2B5EF4-FFF2-40B4-BE49-F238E27FC236}">
                  <a16:creationId xmlns:a16="http://schemas.microsoft.com/office/drawing/2014/main" id="{89A8861F-50E9-854E-D7E6-6ECD02E6565C}"/>
                </a:ext>
              </a:extLst>
            </p:cNvPr>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7" name="Freeform 55">
              <a:extLst>
                <a:ext uri="{FF2B5EF4-FFF2-40B4-BE49-F238E27FC236}">
                  <a16:creationId xmlns:a16="http://schemas.microsoft.com/office/drawing/2014/main" id="{D336153C-2B29-B5DF-22F2-547B205EB7D9}"/>
                </a:ext>
              </a:extLst>
            </p:cNvPr>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8" name="Freeform 56">
              <a:extLst>
                <a:ext uri="{FF2B5EF4-FFF2-40B4-BE49-F238E27FC236}">
                  <a16:creationId xmlns:a16="http://schemas.microsoft.com/office/drawing/2014/main" id="{E85AFFDF-0037-B0D4-30BE-C45579E458EB}"/>
                </a:ext>
              </a:extLst>
            </p:cNvPr>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49" name="Freeform 57">
              <a:extLst>
                <a:ext uri="{FF2B5EF4-FFF2-40B4-BE49-F238E27FC236}">
                  <a16:creationId xmlns:a16="http://schemas.microsoft.com/office/drawing/2014/main" id="{B18F1CE5-8E42-BF15-EAEC-A3BAB32FA7BC}"/>
                </a:ext>
              </a:extLst>
            </p:cNvPr>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0" name="Freeform 58">
              <a:extLst>
                <a:ext uri="{FF2B5EF4-FFF2-40B4-BE49-F238E27FC236}">
                  <a16:creationId xmlns:a16="http://schemas.microsoft.com/office/drawing/2014/main" id="{CCBD25A2-55C0-A58F-F1C1-A8DE45B6AC16}"/>
                </a:ext>
              </a:extLst>
            </p:cNvPr>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1" name="Freeform 59">
              <a:extLst>
                <a:ext uri="{FF2B5EF4-FFF2-40B4-BE49-F238E27FC236}">
                  <a16:creationId xmlns:a16="http://schemas.microsoft.com/office/drawing/2014/main" id="{E52E4DA6-6713-0A3F-A060-5909C91CD895}"/>
                </a:ext>
              </a:extLst>
            </p:cNvPr>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2" name="Freeform 60">
              <a:extLst>
                <a:ext uri="{FF2B5EF4-FFF2-40B4-BE49-F238E27FC236}">
                  <a16:creationId xmlns:a16="http://schemas.microsoft.com/office/drawing/2014/main" id="{5A1F3513-1E95-75BE-A913-654306E0A9F0}"/>
                </a:ext>
              </a:extLst>
            </p:cNvPr>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3" name="Freeform 61">
              <a:extLst>
                <a:ext uri="{FF2B5EF4-FFF2-40B4-BE49-F238E27FC236}">
                  <a16:creationId xmlns:a16="http://schemas.microsoft.com/office/drawing/2014/main" id="{35F09482-9360-FB97-9067-0D83D31A396E}"/>
                </a:ext>
              </a:extLst>
            </p:cNvPr>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4" name="Freeform 62">
              <a:extLst>
                <a:ext uri="{FF2B5EF4-FFF2-40B4-BE49-F238E27FC236}">
                  <a16:creationId xmlns:a16="http://schemas.microsoft.com/office/drawing/2014/main" id="{59515980-28C4-5501-7830-DD7BF48DC8F1}"/>
                </a:ext>
              </a:extLst>
            </p:cNvPr>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5" name="Freeform 63">
              <a:extLst>
                <a:ext uri="{FF2B5EF4-FFF2-40B4-BE49-F238E27FC236}">
                  <a16:creationId xmlns:a16="http://schemas.microsoft.com/office/drawing/2014/main" id="{17862758-69F6-76BC-184A-651F8C40ABEC}"/>
                </a:ext>
              </a:extLst>
            </p:cNvPr>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6" name="Freeform 64">
              <a:extLst>
                <a:ext uri="{FF2B5EF4-FFF2-40B4-BE49-F238E27FC236}">
                  <a16:creationId xmlns:a16="http://schemas.microsoft.com/office/drawing/2014/main" id="{DAA792FE-806B-88FF-CD57-C546A34473CF}"/>
                </a:ext>
              </a:extLst>
            </p:cNvPr>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7" name="Freeform 65">
              <a:extLst>
                <a:ext uri="{FF2B5EF4-FFF2-40B4-BE49-F238E27FC236}">
                  <a16:creationId xmlns:a16="http://schemas.microsoft.com/office/drawing/2014/main" id="{4D52B25D-EBEE-10B2-E07C-1021F234CD2A}"/>
                </a:ext>
              </a:extLst>
            </p:cNvPr>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8" name="Freeform 66">
              <a:extLst>
                <a:ext uri="{FF2B5EF4-FFF2-40B4-BE49-F238E27FC236}">
                  <a16:creationId xmlns:a16="http://schemas.microsoft.com/office/drawing/2014/main" id="{1F480DB2-5BD4-4329-4148-E6AAFB2305CE}"/>
                </a:ext>
              </a:extLst>
            </p:cNvPr>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59" name="Freeform 67">
              <a:extLst>
                <a:ext uri="{FF2B5EF4-FFF2-40B4-BE49-F238E27FC236}">
                  <a16:creationId xmlns:a16="http://schemas.microsoft.com/office/drawing/2014/main" id="{4272D618-3B52-F994-0518-A0EDFEDDA913}"/>
                </a:ext>
              </a:extLst>
            </p:cNvPr>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0" name="Freeform 68">
              <a:extLst>
                <a:ext uri="{FF2B5EF4-FFF2-40B4-BE49-F238E27FC236}">
                  <a16:creationId xmlns:a16="http://schemas.microsoft.com/office/drawing/2014/main" id="{F2184CC8-60F6-F6B7-866F-92CDE5CC7F29}"/>
                </a:ext>
              </a:extLst>
            </p:cNvPr>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1" name="Freeform 69">
              <a:extLst>
                <a:ext uri="{FF2B5EF4-FFF2-40B4-BE49-F238E27FC236}">
                  <a16:creationId xmlns:a16="http://schemas.microsoft.com/office/drawing/2014/main" id="{D77CD76C-BDFB-E238-70D8-F287808E0A04}"/>
                </a:ext>
              </a:extLst>
            </p:cNvPr>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2" name="Freeform 70">
              <a:extLst>
                <a:ext uri="{FF2B5EF4-FFF2-40B4-BE49-F238E27FC236}">
                  <a16:creationId xmlns:a16="http://schemas.microsoft.com/office/drawing/2014/main" id="{F825175C-CC42-4FCE-E8D2-B720ECD5FB8E}"/>
                </a:ext>
              </a:extLst>
            </p:cNvPr>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3" name="Freeform 71">
              <a:extLst>
                <a:ext uri="{FF2B5EF4-FFF2-40B4-BE49-F238E27FC236}">
                  <a16:creationId xmlns:a16="http://schemas.microsoft.com/office/drawing/2014/main" id="{9FDE94FE-1627-FDA5-6FB4-72FB2E835066}"/>
                </a:ext>
              </a:extLst>
            </p:cNvPr>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4" name="Freeform 72">
              <a:extLst>
                <a:ext uri="{FF2B5EF4-FFF2-40B4-BE49-F238E27FC236}">
                  <a16:creationId xmlns:a16="http://schemas.microsoft.com/office/drawing/2014/main" id="{10D48C19-DDBF-E792-0925-F6D66FB00C07}"/>
                </a:ext>
              </a:extLst>
            </p:cNvPr>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5" name="Freeform 73">
              <a:extLst>
                <a:ext uri="{FF2B5EF4-FFF2-40B4-BE49-F238E27FC236}">
                  <a16:creationId xmlns:a16="http://schemas.microsoft.com/office/drawing/2014/main" id="{01347112-5BAD-4959-29DF-0F5C09338374}"/>
                </a:ext>
              </a:extLst>
            </p:cNvPr>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6" name="Freeform 74">
              <a:extLst>
                <a:ext uri="{FF2B5EF4-FFF2-40B4-BE49-F238E27FC236}">
                  <a16:creationId xmlns:a16="http://schemas.microsoft.com/office/drawing/2014/main" id="{B3114DC7-0080-ACE1-B16C-7CE3D1085B0F}"/>
                </a:ext>
              </a:extLst>
            </p:cNvPr>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7" name="Freeform 75">
              <a:extLst>
                <a:ext uri="{FF2B5EF4-FFF2-40B4-BE49-F238E27FC236}">
                  <a16:creationId xmlns:a16="http://schemas.microsoft.com/office/drawing/2014/main" id="{DD04AA89-25B0-80AF-8F18-E841D45B4799}"/>
                </a:ext>
              </a:extLst>
            </p:cNvPr>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8" name="Freeform 76">
              <a:extLst>
                <a:ext uri="{FF2B5EF4-FFF2-40B4-BE49-F238E27FC236}">
                  <a16:creationId xmlns:a16="http://schemas.microsoft.com/office/drawing/2014/main" id="{1971DAB1-6697-F36A-F211-D6DF1E251023}"/>
                </a:ext>
              </a:extLst>
            </p:cNvPr>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69" name="Freeform 77">
              <a:extLst>
                <a:ext uri="{FF2B5EF4-FFF2-40B4-BE49-F238E27FC236}">
                  <a16:creationId xmlns:a16="http://schemas.microsoft.com/office/drawing/2014/main" id="{21DEEBDE-8F1F-CC12-EFCE-1EEFDCB126DA}"/>
                </a:ext>
              </a:extLst>
            </p:cNvPr>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0" name="Freeform 78">
              <a:extLst>
                <a:ext uri="{FF2B5EF4-FFF2-40B4-BE49-F238E27FC236}">
                  <a16:creationId xmlns:a16="http://schemas.microsoft.com/office/drawing/2014/main" id="{61A4FF19-B74B-024C-AEC2-672137D87892}"/>
                </a:ext>
              </a:extLst>
            </p:cNvPr>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1" name="Freeform 79">
              <a:extLst>
                <a:ext uri="{FF2B5EF4-FFF2-40B4-BE49-F238E27FC236}">
                  <a16:creationId xmlns:a16="http://schemas.microsoft.com/office/drawing/2014/main" id="{C4243AF0-7BA3-E172-03CA-0AF21330AAAB}"/>
                </a:ext>
              </a:extLst>
            </p:cNvPr>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2" name="Freeform 80">
              <a:extLst>
                <a:ext uri="{FF2B5EF4-FFF2-40B4-BE49-F238E27FC236}">
                  <a16:creationId xmlns:a16="http://schemas.microsoft.com/office/drawing/2014/main" id="{92D9057C-E702-AB94-3F0F-3A03B726CCBE}"/>
                </a:ext>
              </a:extLst>
            </p:cNvPr>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3" name="Freeform 81">
              <a:extLst>
                <a:ext uri="{FF2B5EF4-FFF2-40B4-BE49-F238E27FC236}">
                  <a16:creationId xmlns:a16="http://schemas.microsoft.com/office/drawing/2014/main" id="{B05FB8E0-B256-312A-1ED6-B10A3F859D1A}"/>
                </a:ext>
              </a:extLst>
            </p:cNvPr>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4" name="Freeform 82">
              <a:extLst>
                <a:ext uri="{FF2B5EF4-FFF2-40B4-BE49-F238E27FC236}">
                  <a16:creationId xmlns:a16="http://schemas.microsoft.com/office/drawing/2014/main" id="{145677F8-4B09-6966-B847-AF96C359905D}"/>
                </a:ext>
              </a:extLst>
            </p:cNvPr>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5" name="Freeform 83">
              <a:extLst>
                <a:ext uri="{FF2B5EF4-FFF2-40B4-BE49-F238E27FC236}">
                  <a16:creationId xmlns:a16="http://schemas.microsoft.com/office/drawing/2014/main" id="{5D5FB95F-90C5-9393-B653-0063E70E753C}"/>
                </a:ext>
              </a:extLst>
            </p:cNvPr>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6" name="Freeform 84">
              <a:extLst>
                <a:ext uri="{FF2B5EF4-FFF2-40B4-BE49-F238E27FC236}">
                  <a16:creationId xmlns:a16="http://schemas.microsoft.com/office/drawing/2014/main" id="{3837D0F1-443C-6A25-6587-75F7583976FB}"/>
                </a:ext>
              </a:extLst>
            </p:cNvPr>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7" name="Freeform 85">
              <a:extLst>
                <a:ext uri="{FF2B5EF4-FFF2-40B4-BE49-F238E27FC236}">
                  <a16:creationId xmlns:a16="http://schemas.microsoft.com/office/drawing/2014/main" id="{E1623994-8F9C-9984-0582-804A201C19A6}"/>
                </a:ext>
              </a:extLst>
            </p:cNvPr>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8" name="Freeform 86">
              <a:extLst>
                <a:ext uri="{FF2B5EF4-FFF2-40B4-BE49-F238E27FC236}">
                  <a16:creationId xmlns:a16="http://schemas.microsoft.com/office/drawing/2014/main" id="{02A2BF82-DA56-B3A0-2615-567E77929021}"/>
                </a:ext>
              </a:extLst>
            </p:cNvPr>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79" name="Freeform 87">
              <a:extLst>
                <a:ext uri="{FF2B5EF4-FFF2-40B4-BE49-F238E27FC236}">
                  <a16:creationId xmlns:a16="http://schemas.microsoft.com/office/drawing/2014/main" id="{49CF20E4-9CC3-7F25-0C72-04D826E76200}"/>
                </a:ext>
              </a:extLst>
            </p:cNvPr>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0" name="Freeform 88">
              <a:extLst>
                <a:ext uri="{FF2B5EF4-FFF2-40B4-BE49-F238E27FC236}">
                  <a16:creationId xmlns:a16="http://schemas.microsoft.com/office/drawing/2014/main" id="{778758EB-79A2-B620-39F1-9C3E26B02F20}"/>
                </a:ext>
              </a:extLst>
            </p:cNvPr>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1" name="Freeform 89">
              <a:extLst>
                <a:ext uri="{FF2B5EF4-FFF2-40B4-BE49-F238E27FC236}">
                  <a16:creationId xmlns:a16="http://schemas.microsoft.com/office/drawing/2014/main" id="{13DBB6C4-623F-BAAA-6B08-14EE16F1F0DD}"/>
                </a:ext>
              </a:extLst>
            </p:cNvPr>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2" name="Freeform 90">
              <a:extLst>
                <a:ext uri="{FF2B5EF4-FFF2-40B4-BE49-F238E27FC236}">
                  <a16:creationId xmlns:a16="http://schemas.microsoft.com/office/drawing/2014/main" id="{191B0F5D-A279-87C6-838B-B2A174EF4A68}"/>
                </a:ext>
              </a:extLst>
            </p:cNvPr>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3" name="Freeform 91">
              <a:extLst>
                <a:ext uri="{FF2B5EF4-FFF2-40B4-BE49-F238E27FC236}">
                  <a16:creationId xmlns:a16="http://schemas.microsoft.com/office/drawing/2014/main" id="{EB65E405-0651-774A-75AD-C254F642987C}"/>
                </a:ext>
              </a:extLst>
            </p:cNvPr>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4" name="Freeform 92">
              <a:extLst>
                <a:ext uri="{FF2B5EF4-FFF2-40B4-BE49-F238E27FC236}">
                  <a16:creationId xmlns:a16="http://schemas.microsoft.com/office/drawing/2014/main" id="{0F0A16AC-D235-FC6B-5C00-E47B6E19DB9E}"/>
                </a:ext>
              </a:extLst>
            </p:cNvPr>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5" name="Freeform 93">
              <a:extLst>
                <a:ext uri="{FF2B5EF4-FFF2-40B4-BE49-F238E27FC236}">
                  <a16:creationId xmlns:a16="http://schemas.microsoft.com/office/drawing/2014/main" id="{AEBE1FE7-6E53-0B44-8BA3-32C5D5021147}"/>
                </a:ext>
              </a:extLst>
            </p:cNvPr>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6" name="Freeform 94">
              <a:extLst>
                <a:ext uri="{FF2B5EF4-FFF2-40B4-BE49-F238E27FC236}">
                  <a16:creationId xmlns:a16="http://schemas.microsoft.com/office/drawing/2014/main" id="{55790E4D-1518-6E10-F04C-4F338F7DAF1F}"/>
                </a:ext>
              </a:extLst>
            </p:cNvPr>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7" name="Freeform 95">
              <a:extLst>
                <a:ext uri="{FF2B5EF4-FFF2-40B4-BE49-F238E27FC236}">
                  <a16:creationId xmlns:a16="http://schemas.microsoft.com/office/drawing/2014/main" id="{A433AB2E-CD3D-0ACC-2AE4-29522173118E}"/>
                </a:ext>
              </a:extLst>
            </p:cNvPr>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8" name="Freeform 96">
              <a:extLst>
                <a:ext uri="{FF2B5EF4-FFF2-40B4-BE49-F238E27FC236}">
                  <a16:creationId xmlns:a16="http://schemas.microsoft.com/office/drawing/2014/main" id="{15E816AB-8A79-49FD-0AE7-1C8B9173BECB}"/>
                </a:ext>
              </a:extLst>
            </p:cNvPr>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89" name="Freeform 97">
              <a:extLst>
                <a:ext uri="{FF2B5EF4-FFF2-40B4-BE49-F238E27FC236}">
                  <a16:creationId xmlns:a16="http://schemas.microsoft.com/office/drawing/2014/main" id="{A59980C7-A1CF-6D94-7381-E4078BD87D49}"/>
                </a:ext>
              </a:extLst>
            </p:cNvPr>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0" name="Freeform 98">
              <a:extLst>
                <a:ext uri="{FF2B5EF4-FFF2-40B4-BE49-F238E27FC236}">
                  <a16:creationId xmlns:a16="http://schemas.microsoft.com/office/drawing/2014/main" id="{9819E769-4626-2A43-B1B5-2700803A6B0C}"/>
                </a:ext>
              </a:extLst>
            </p:cNvPr>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1" name="Freeform 99">
              <a:extLst>
                <a:ext uri="{FF2B5EF4-FFF2-40B4-BE49-F238E27FC236}">
                  <a16:creationId xmlns:a16="http://schemas.microsoft.com/office/drawing/2014/main" id="{8B27B1F3-25B9-40FF-69DD-6E4F1DF9E4C0}"/>
                </a:ext>
              </a:extLst>
            </p:cNvPr>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2" name="Freeform 100">
              <a:extLst>
                <a:ext uri="{FF2B5EF4-FFF2-40B4-BE49-F238E27FC236}">
                  <a16:creationId xmlns:a16="http://schemas.microsoft.com/office/drawing/2014/main" id="{7551FA2C-5FBC-A389-104E-4DD0A7787E25}"/>
                </a:ext>
              </a:extLst>
            </p:cNvPr>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3" name="Freeform 101">
              <a:extLst>
                <a:ext uri="{FF2B5EF4-FFF2-40B4-BE49-F238E27FC236}">
                  <a16:creationId xmlns:a16="http://schemas.microsoft.com/office/drawing/2014/main" id="{083FFA28-7485-3B2C-B08E-52D36C0E834B}"/>
                </a:ext>
              </a:extLst>
            </p:cNvPr>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4" name="Freeform 102">
              <a:extLst>
                <a:ext uri="{FF2B5EF4-FFF2-40B4-BE49-F238E27FC236}">
                  <a16:creationId xmlns:a16="http://schemas.microsoft.com/office/drawing/2014/main" id="{8A070B5F-6049-73AF-2A98-6604BAF31CFC}"/>
                </a:ext>
              </a:extLst>
            </p:cNvPr>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5" name="Freeform 103">
              <a:extLst>
                <a:ext uri="{FF2B5EF4-FFF2-40B4-BE49-F238E27FC236}">
                  <a16:creationId xmlns:a16="http://schemas.microsoft.com/office/drawing/2014/main" id="{3778D8B5-41D5-2C1C-B1FE-658D69F7A097}"/>
                </a:ext>
              </a:extLst>
            </p:cNvPr>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6" name="Freeform 104">
              <a:extLst>
                <a:ext uri="{FF2B5EF4-FFF2-40B4-BE49-F238E27FC236}">
                  <a16:creationId xmlns:a16="http://schemas.microsoft.com/office/drawing/2014/main" id="{28897F6D-E9AF-4BD7-B7D8-BE71F488C1FE}"/>
                </a:ext>
              </a:extLst>
            </p:cNvPr>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7" name="Freeform 105">
              <a:extLst>
                <a:ext uri="{FF2B5EF4-FFF2-40B4-BE49-F238E27FC236}">
                  <a16:creationId xmlns:a16="http://schemas.microsoft.com/office/drawing/2014/main" id="{602602DC-5FC4-9CFC-0AD6-DF1A7D8273C9}"/>
                </a:ext>
              </a:extLst>
            </p:cNvPr>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8" name="Freeform 106">
              <a:extLst>
                <a:ext uri="{FF2B5EF4-FFF2-40B4-BE49-F238E27FC236}">
                  <a16:creationId xmlns:a16="http://schemas.microsoft.com/office/drawing/2014/main" id="{B6784C3F-AFEF-AE7A-7C2B-DC0301F6169E}"/>
                </a:ext>
              </a:extLst>
            </p:cNvPr>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99" name="Freeform 107">
              <a:extLst>
                <a:ext uri="{FF2B5EF4-FFF2-40B4-BE49-F238E27FC236}">
                  <a16:creationId xmlns:a16="http://schemas.microsoft.com/office/drawing/2014/main" id="{B225F522-82A0-5302-B95C-2B36E1DEA571}"/>
                </a:ext>
              </a:extLst>
            </p:cNvPr>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0" name="Freeform 108">
              <a:extLst>
                <a:ext uri="{FF2B5EF4-FFF2-40B4-BE49-F238E27FC236}">
                  <a16:creationId xmlns:a16="http://schemas.microsoft.com/office/drawing/2014/main" id="{62795853-57DD-9221-7312-C7663126431B}"/>
                </a:ext>
              </a:extLst>
            </p:cNvPr>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1" name="Freeform 109">
              <a:extLst>
                <a:ext uri="{FF2B5EF4-FFF2-40B4-BE49-F238E27FC236}">
                  <a16:creationId xmlns:a16="http://schemas.microsoft.com/office/drawing/2014/main" id="{B6C0496E-DAE7-AEAC-15C1-5040190C5FF7}"/>
                </a:ext>
              </a:extLst>
            </p:cNvPr>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2" name="Freeform 110">
              <a:extLst>
                <a:ext uri="{FF2B5EF4-FFF2-40B4-BE49-F238E27FC236}">
                  <a16:creationId xmlns:a16="http://schemas.microsoft.com/office/drawing/2014/main" id="{5A4C5515-C1EE-AEA1-AE9B-D9CDF1401CA7}"/>
                </a:ext>
              </a:extLst>
            </p:cNvPr>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3" name="Freeform 111">
              <a:extLst>
                <a:ext uri="{FF2B5EF4-FFF2-40B4-BE49-F238E27FC236}">
                  <a16:creationId xmlns:a16="http://schemas.microsoft.com/office/drawing/2014/main" id="{5B36297D-D0EF-572B-CB37-AB4F1DDC085D}"/>
                </a:ext>
              </a:extLst>
            </p:cNvPr>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4" name="Freeform 112">
              <a:extLst>
                <a:ext uri="{FF2B5EF4-FFF2-40B4-BE49-F238E27FC236}">
                  <a16:creationId xmlns:a16="http://schemas.microsoft.com/office/drawing/2014/main" id="{A994FC03-EF3D-B823-779F-887DC57B187B}"/>
                </a:ext>
              </a:extLst>
            </p:cNvPr>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5" name="Freeform 113">
              <a:extLst>
                <a:ext uri="{FF2B5EF4-FFF2-40B4-BE49-F238E27FC236}">
                  <a16:creationId xmlns:a16="http://schemas.microsoft.com/office/drawing/2014/main" id="{6B85EA78-9D14-18B6-6452-F8128708D836}"/>
                </a:ext>
              </a:extLst>
            </p:cNvPr>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6" name="Freeform 114">
              <a:extLst>
                <a:ext uri="{FF2B5EF4-FFF2-40B4-BE49-F238E27FC236}">
                  <a16:creationId xmlns:a16="http://schemas.microsoft.com/office/drawing/2014/main" id="{EFD1C158-50AE-96A0-E443-20F2F3E9A622}"/>
                </a:ext>
              </a:extLst>
            </p:cNvPr>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7" name="Freeform 115">
              <a:extLst>
                <a:ext uri="{FF2B5EF4-FFF2-40B4-BE49-F238E27FC236}">
                  <a16:creationId xmlns:a16="http://schemas.microsoft.com/office/drawing/2014/main" id="{8644057E-A5FC-A9B6-530A-216ED93B5BCD}"/>
                </a:ext>
              </a:extLst>
            </p:cNvPr>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8" name="Freeform 116">
              <a:extLst>
                <a:ext uri="{FF2B5EF4-FFF2-40B4-BE49-F238E27FC236}">
                  <a16:creationId xmlns:a16="http://schemas.microsoft.com/office/drawing/2014/main" id="{F877A419-DEC5-BA83-73EA-5F417F0675EE}"/>
                </a:ext>
              </a:extLst>
            </p:cNvPr>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09" name="Freeform 117">
              <a:extLst>
                <a:ext uri="{FF2B5EF4-FFF2-40B4-BE49-F238E27FC236}">
                  <a16:creationId xmlns:a16="http://schemas.microsoft.com/office/drawing/2014/main" id="{DCB9845A-B35B-3EE1-87F0-3F39CD469B7C}"/>
                </a:ext>
              </a:extLst>
            </p:cNvPr>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0" name="Freeform 118">
              <a:extLst>
                <a:ext uri="{FF2B5EF4-FFF2-40B4-BE49-F238E27FC236}">
                  <a16:creationId xmlns:a16="http://schemas.microsoft.com/office/drawing/2014/main" id="{3438DFBF-EA21-90AB-4CCE-C766304BE8E1}"/>
                </a:ext>
              </a:extLst>
            </p:cNvPr>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1" name="Freeform 119">
              <a:extLst>
                <a:ext uri="{FF2B5EF4-FFF2-40B4-BE49-F238E27FC236}">
                  <a16:creationId xmlns:a16="http://schemas.microsoft.com/office/drawing/2014/main" id="{98BCD805-A797-E85C-1093-909147A48408}"/>
                </a:ext>
              </a:extLst>
            </p:cNvPr>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2" name="Freeform 120">
              <a:extLst>
                <a:ext uri="{FF2B5EF4-FFF2-40B4-BE49-F238E27FC236}">
                  <a16:creationId xmlns:a16="http://schemas.microsoft.com/office/drawing/2014/main" id="{D6CD32B4-7ACA-298C-593E-D18E81AF0692}"/>
                </a:ext>
              </a:extLst>
            </p:cNvPr>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3" name="Freeform 121">
              <a:extLst>
                <a:ext uri="{FF2B5EF4-FFF2-40B4-BE49-F238E27FC236}">
                  <a16:creationId xmlns:a16="http://schemas.microsoft.com/office/drawing/2014/main" id="{A34313D3-5046-45E3-A387-23070A34FA08}"/>
                </a:ext>
              </a:extLst>
            </p:cNvPr>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4" name="Freeform 122">
              <a:extLst>
                <a:ext uri="{FF2B5EF4-FFF2-40B4-BE49-F238E27FC236}">
                  <a16:creationId xmlns:a16="http://schemas.microsoft.com/office/drawing/2014/main" id="{DBF67AFC-CE5F-3CD0-6EFE-A6EE80A8B8DB}"/>
                </a:ext>
              </a:extLst>
            </p:cNvPr>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5" name="Freeform 123">
              <a:extLst>
                <a:ext uri="{FF2B5EF4-FFF2-40B4-BE49-F238E27FC236}">
                  <a16:creationId xmlns:a16="http://schemas.microsoft.com/office/drawing/2014/main" id="{3B08FFF6-B93E-B976-3F59-59E95735E657}"/>
                </a:ext>
              </a:extLst>
            </p:cNvPr>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6" name="Freeform 124">
              <a:extLst>
                <a:ext uri="{FF2B5EF4-FFF2-40B4-BE49-F238E27FC236}">
                  <a16:creationId xmlns:a16="http://schemas.microsoft.com/office/drawing/2014/main" id="{A7A7F9AB-5D13-A248-BB6D-E9E589B7F2B3}"/>
                </a:ext>
              </a:extLst>
            </p:cNvPr>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7" name="Freeform 125">
              <a:extLst>
                <a:ext uri="{FF2B5EF4-FFF2-40B4-BE49-F238E27FC236}">
                  <a16:creationId xmlns:a16="http://schemas.microsoft.com/office/drawing/2014/main" id="{5F08EEC5-71ED-4A33-B1B2-FF509CAD8EA8}"/>
                </a:ext>
              </a:extLst>
            </p:cNvPr>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8" name="Freeform 126">
              <a:extLst>
                <a:ext uri="{FF2B5EF4-FFF2-40B4-BE49-F238E27FC236}">
                  <a16:creationId xmlns:a16="http://schemas.microsoft.com/office/drawing/2014/main" id="{8DCC20A2-1369-2B32-4C1F-61C8290725D6}"/>
                </a:ext>
              </a:extLst>
            </p:cNvPr>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19" name="Freeform 127">
              <a:extLst>
                <a:ext uri="{FF2B5EF4-FFF2-40B4-BE49-F238E27FC236}">
                  <a16:creationId xmlns:a16="http://schemas.microsoft.com/office/drawing/2014/main" id="{9609F26E-0AD6-FCDE-5DCE-179C7E158AC0}"/>
                </a:ext>
              </a:extLst>
            </p:cNvPr>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0" name="Freeform 128">
              <a:extLst>
                <a:ext uri="{FF2B5EF4-FFF2-40B4-BE49-F238E27FC236}">
                  <a16:creationId xmlns:a16="http://schemas.microsoft.com/office/drawing/2014/main" id="{7819B87E-AE4D-8B7E-E076-E8507C285D85}"/>
                </a:ext>
              </a:extLst>
            </p:cNvPr>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1" name="Freeform 129">
              <a:extLst>
                <a:ext uri="{FF2B5EF4-FFF2-40B4-BE49-F238E27FC236}">
                  <a16:creationId xmlns:a16="http://schemas.microsoft.com/office/drawing/2014/main" id="{6E4D60D8-4568-A427-A24C-C74C9A18F69A}"/>
                </a:ext>
              </a:extLst>
            </p:cNvPr>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2" name="Freeform 130">
              <a:extLst>
                <a:ext uri="{FF2B5EF4-FFF2-40B4-BE49-F238E27FC236}">
                  <a16:creationId xmlns:a16="http://schemas.microsoft.com/office/drawing/2014/main" id="{6E94C5A1-0E33-4F5A-CEEE-A99B1AECD4A8}"/>
                </a:ext>
              </a:extLst>
            </p:cNvPr>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3" name="Freeform 131">
              <a:extLst>
                <a:ext uri="{FF2B5EF4-FFF2-40B4-BE49-F238E27FC236}">
                  <a16:creationId xmlns:a16="http://schemas.microsoft.com/office/drawing/2014/main" id="{9DA1EA79-DD03-94CC-B934-D13D912F4613}"/>
                </a:ext>
              </a:extLst>
            </p:cNvPr>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4" name="Freeform 132">
              <a:extLst>
                <a:ext uri="{FF2B5EF4-FFF2-40B4-BE49-F238E27FC236}">
                  <a16:creationId xmlns:a16="http://schemas.microsoft.com/office/drawing/2014/main" id="{58F16BB1-0B85-508A-4F1D-13EF05552D62}"/>
                </a:ext>
              </a:extLst>
            </p:cNvPr>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5" name="Freeform 133">
              <a:extLst>
                <a:ext uri="{FF2B5EF4-FFF2-40B4-BE49-F238E27FC236}">
                  <a16:creationId xmlns:a16="http://schemas.microsoft.com/office/drawing/2014/main" id="{45A024DA-1544-4FAB-39C9-54E1012B1B00}"/>
                </a:ext>
              </a:extLst>
            </p:cNvPr>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6" name="Freeform 134">
              <a:extLst>
                <a:ext uri="{FF2B5EF4-FFF2-40B4-BE49-F238E27FC236}">
                  <a16:creationId xmlns:a16="http://schemas.microsoft.com/office/drawing/2014/main" id="{3F5CCD76-F6A4-4EB3-C1E1-1C6506030E39}"/>
                </a:ext>
              </a:extLst>
            </p:cNvPr>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7" name="Freeform 135">
              <a:extLst>
                <a:ext uri="{FF2B5EF4-FFF2-40B4-BE49-F238E27FC236}">
                  <a16:creationId xmlns:a16="http://schemas.microsoft.com/office/drawing/2014/main" id="{4ED3A82D-96FE-DB82-B626-4A55516DB910}"/>
                </a:ext>
              </a:extLst>
            </p:cNvPr>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8" name="Freeform 136">
              <a:extLst>
                <a:ext uri="{FF2B5EF4-FFF2-40B4-BE49-F238E27FC236}">
                  <a16:creationId xmlns:a16="http://schemas.microsoft.com/office/drawing/2014/main" id="{36D0A357-7A8F-3059-0674-9F5626FA1944}"/>
                </a:ext>
              </a:extLst>
            </p:cNvPr>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29" name="Freeform 137">
              <a:extLst>
                <a:ext uri="{FF2B5EF4-FFF2-40B4-BE49-F238E27FC236}">
                  <a16:creationId xmlns:a16="http://schemas.microsoft.com/office/drawing/2014/main" id="{EE236273-4C75-E588-6946-7E3269A4CA7C}"/>
                </a:ext>
              </a:extLst>
            </p:cNvPr>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0" name="Freeform 138">
              <a:extLst>
                <a:ext uri="{FF2B5EF4-FFF2-40B4-BE49-F238E27FC236}">
                  <a16:creationId xmlns:a16="http://schemas.microsoft.com/office/drawing/2014/main" id="{550AF436-7B24-C026-5A16-84FA35DACEC3}"/>
                </a:ext>
              </a:extLst>
            </p:cNvPr>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1" name="Freeform 139">
              <a:extLst>
                <a:ext uri="{FF2B5EF4-FFF2-40B4-BE49-F238E27FC236}">
                  <a16:creationId xmlns:a16="http://schemas.microsoft.com/office/drawing/2014/main" id="{8BC918B0-F377-73E0-8B19-B8C6D0C7A2B2}"/>
                </a:ext>
              </a:extLst>
            </p:cNvPr>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2" name="Freeform 140">
              <a:extLst>
                <a:ext uri="{FF2B5EF4-FFF2-40B4-BE49-F238E27FC236}">
                  <a16:creationId xmlns:a16="http://schemas.microsoft.com/office/drawing/2014/main" id="{9305EE66-7496-DA5C-DD83-959A43AC2D37}"/>
                </a:ext>
              </a:extLst>
            </p:cNvPr>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3" name="Freeform 141">
              <a:extLst>
                <a:ext uri="{FF2B5EF4-FFF2-40B4-BE49-F238E27FC236}">
                  <a16:creationId xmlns:a16="http://schemas.microsoft.com/office/drawing/2014/main" id="{265E956F-EC1A-F4C2-0EFE-F1A9FB70C91E}"/>
                </a:ext>
              </a:extLst>
            </p:cNvPr>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4" name="Freeform 142">
              <a:extLst>
                <a:ext uri="{FF2B5EF4-FFF2-40B4-BE49-F238E27FC236}">
                  <a16:creationId xmlns:a16="http://schemas.microsoft.com/office/drawing/2014/main" id="{6665678C-7710-AF71-1916-BB663C41F3B3}"/>
                </a:ext>
              </a:extLst>
            </p:cNvPr>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5" name="Freeform 143">
              <a:extLst>
                <a:ext uri="{FF2B5EF4-FFF2-40B4-BE49-F238E27FC236}">
                  <a16:creationId xmlns:a16="http://schemas.microsoft.com/office/drawing/2014/main" id="{5C881D57-C5AC-DF87-EA58-479B2FF809BE}"/>
                </a:ext>
              </a:extLst>
            </p:cNvPr>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6" name="Freeform 144">
              <a:extLst>
                <a:ext uri="{FF2B5EF4-FFF2-40B4-BE49-F238E27FC236}">
                  <a16:creationId xmlns:a16="http://schemas.microsoft.com/office/drawing/2014/main" id="{2FEC2B98-398A-5046-28D5-FF2D54933BE4}"/>
                </a:ext>
              </a:extLst>
            </p:cNvPr>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7" name="Freeform 145">
              <a:extLst>
                <a:ext uri="{FF2B5EF4-FFF2-40B4-BE49-F238E27FC236}">
                  <a16:creationId xmlns:a16="http://schemas.microsoft.com/office/drawing/2014/main" id="{8D9E79B9-A72E-04EA-1141-A3FAD03DE44E}"/>
                </a:ext>
              </a:extLst>
            </p:cNvPr>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8" name="Freeform 146">
              <a:extLst>
                <a:ext uri="{FF2B5EF4-FFF2-40B4-BE49-F238E27FC236}">
                  <a16:creationId xmlns:a16="http://schemas.microsoft.com/office/drawing/2014/main" id="{4BE4B63E-967C-64DE-7B72-E192511F9206}"/>
                </a:ext>
              </a:extLst>
            </p:cNvPr>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39" name="Freeform 147">
              <a:extLst>
                <a:ext uri="{FF2B5EF4-FFF2-40B4-BE49-F238E27FC236}">
                  <a16:creationId xmlns:a16="http://schemas.microsoft.com/office/drawing/2014/main" id="{768BC6E2-92C9-B204-DC12-B9C730C11378}"/>
                </a:ext>
              </a:extLst>
            </p:cNvPr>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0" name="Freeform 148">
              <a:extLst>
                <a:ext uri="{FF2B5EF4-FFF2-40B4-BE49-F238E27FC236}">
                  <a16:creationId xmlns:a16="http://schemas.microsoft.com/office/drawing/2014/main" id="{388295D6-DD62-73E2-C189-65BD9A6BA243}"/>
                </a:ext>
              </a:extLst>
            </p:cNvPr>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1" name="Freeform 149">
              <a:extLst>
                <a:ext uri="{FF2B5EF4-FFF2-40B4-BE49-F238E27FC236}">
                  <a16:creationId xmlns:a16="http://schemas.microsoft.com/office/drawing/2014/main" id="{FE64D9BF-3662-5905-5604-5BBE9994B96A}"/>
                </a:ext>
              </a:extLst>
            </p:cNvPr>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2" name="Freeform 150">
              <a:extLst>
                <a:ext uri="{FF2B5EF4-FFF2-40B4-BE49-F238E27FC236}">
                  <a16:creationId xmlns:a16="http://schemas.microsoft.com/office/drawing/2014/main" id="{593DC072-447C-49AC-3DAE-B0F4189842B8}"/>
                </a:ext>
              </a:extLst>
            </p:cNvPr>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3" name="Freeform 151">
              <a:extLst>
                <a:ext uri="{FF2B5EF4-FFF2-40B4-BE49-F238E27FC236}">
                  <a16:creationId xmlns:a16="http://schemas.microsoft.com/office/drawing/2014/main" id="{9BE7C09A-5530-C8A1-1954-DB1A4417DB55}"/>
                </a:ext>
              </a:extLst>
            </p:cNvPr>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4" name="Freeform 152">
              <a:extLst>
                <a:ext uri="{FF2B5EF4-FFF2-40B4-BE49-F238E27FC236}">
                  <a16:creationId xmlns:a16="http://schemas.microsoft.com/office/drawing/2014/main" id="{30F6E7CB-5AAA-2816-DB37-61D56B02DE33}"/>
                </a:ext>
              </a:extLst>
            </p:cNvPr>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5" name="Freeform 153">
              <a:extLst>
                <a:ext uri="{FF2B5EF4-FFF2-40B4-BE49-F238E27FC236}">
                  <a16:creationId xmlns:a16="http://schemas.microsoft.com/office/drawing/2014/main" id="{7782FFC5-C115-FA84-76E5-FEE0B3F3C0DA}"/>
                </a:ext>
              </a:extLst>
            </p:cNvPr>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6" name="Freeform 154">
              <a:extLst>
                <a:ext uri="{FF2B5EF4-FFF2-40B4-BE49-F238E27FC236}">
                  <a16:creationId xmlns:a16="http://schemas.microsoft.com/office/drawing/2014/main" id="{1288705F-50E6-C2DE-E690-48E30B20EE1F}"/>
                </a:ext>
              </a:extLst>
            </p:cNvPr>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7" name="Freeform 155">
              <a:extLst>
                <a:ext uri="{FF2B5EF4-FFF2-40B4-BE49-F238E27FC236}">
                  <a16:creationId xmlns:a16="http://schemas.microsoft.com/office/drawing/2014/main" id="{2FA2F3C9-AA77-6BEF-360A-2486B1CA6028}"/>
                </a:ext>
              </a:extLst>
            </p:cNvPr>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8" name="Freeform 156">
              <a:extLst>
                <a:ext uri="{FF2B5EF4-FFF2-40B4-BE49-F238E27FC236}">
                  <a16:creationId xmlns:a16="http://schemas.microsoft.com/office/drawing/2014/main" id="{2F31B71E-1665-2753-7E64-59B56F91E070}"/>
                </a:ext>
              </a:extLst>
            </p:cNvPr>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49" name="Freeform 157">
              <a:extLst>
                <a:ext uri="{FF2B5EF4-FFF2-40B4-BE49-F238E27FC236}">
                  <a16:creationId xmlns:a16="http://schemas.microsoft.com/office/drawing/2014/main" id="{41A47272-74B4-5C3B-006E-4E9CD97A6D41}"/>
                </a:ext>
              </a:extLst>
            </p:cNvPr>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0" name="Freeform 158">
              <a:extLst>
                <a:ext uri="{FF2B5EF4-FFF2-40B4-BE49-F238E27FC236}">
                  <a16:creationId xmlns:a16="http://schemas.microsoft.com/office/drawing/2014/main" id="{D68423C5-54EE-68F1-0C32-36EFFDE46F40}"/>
                </a:ext>
              </a:extLst>
            </p:cNvPr>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1" name="Freeform 159">
              <a:extLst>
                <a:ext uri="{FF2B5EF4-FFF2-40B4-BE49-F238E27FC236}">
                  <a16:creationId xmlns:a16="http://schemas.microsoft.com/office/drawing/2014/main" id="{DEB2B464-EFC1-E19B-52D9-DFEB3EC05B70}"/>
                </a:ext>
              </a:extLst>
            </p:cNvPr>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2" name="Freeform 160">
              <a:extLst>
                <a:ext uri="{FF2B5EF4-FFF2-40B4-BE49-F238E27FC236}">
                  <a16:creationId xmlns:a16="http://schemas.microsoft.com/office/drawing/2014/main" id="{AFEB7BFE-BD60-9E3F-C895-486202979EAC}"/>
                </a:ext>
              </a:extLst>
            </p:cNvPr>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3" name="Freeform 161">
              <a:extLst>
                <a:ext uri="{FF2B5EF4-FFF2-40B4-BE49-F238E27FC236}">
                  <a16:creationId xmlns:a16="http://schemas.microsoft.com/office/drawing/2014/main" id="{622C92B9-3D27-B13E-08AD-26406C060580}"/>
                </a:ext>
              </a:extLst>
            </p:cNvPr>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4" name="Freeform 162">
              <a:extLst>
                <a:ext uri="{FF2B5EF4-FFF2-40B4-BE49-F238E27FC236}">
                  <a16:creationId xmlns:a16="http://schemas.microsoft.com/office/drawing/2014/main" id="{CE614205-9797-6501-73D2-EF99FB0A88F4}"/>
                </a:ext>
              </a:extLst>
            </p:cNvPr>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5" name="Freeform 163">
              <a:extLst>
                <a:ext uri="{FF2B5EF4-FFF2-40B4-BE49-F238E27FC236}">
                  <a16:creationId xmlns:a16="http://schemas.microsoft.com/office/drawing/2014/main" id="{2D915F01-BB03-8093-A31E-C541434CB5C1}"/>
                </a:ext>
              </a:extLst>
            </p:cNvPr>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6" name="Freeform 164">
              <a:extLst>
                <a:ext uri="{FF2B5EF4-FFF2-40B4-BE49-F238E27FC236}">
                  <a16:creationId xmlns:a16="http://schemas.microsoft.com/office/drawing/2014/main" id="{05E9AC93-B895-DA0C-9AC6-8EAA848A82D0}"/>
                </a:ext>
              </a:extLst>
            </p:cNvPr>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7" name="Freeform 165">
              <a:extLst>
                <a:ext uri="{FF2B5EF4-FFF2-40B4-BE49-F238E27FC236}">
                  <a16:creationId xmlns:a16="http://schemas.microsoft.com/office/drawing/2014/main" id="{2F099F83-E60E-5888-B67A-DB95387F02DF}"/>
                </a:ext>
              </a:extLst>
            </p:cNvPr>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8" name="Freeform 166">
              <a:extLst>
                <a:ext uri="{FF2B5EF4-FFF2-40B4-BE49-F238E27FC236}">
                  <a16:creationId xmlns:a16="http://schemas.microsoft.com/office/drawing/2014/main" id="{CA242F08-7608-0A89-819D-FA785153DCAB}"/>
                </a:ext>
              </a:extLst>
            </p:cNvPr>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59" name="Freeform 167">
              <a:extLst>
                <a:ext uri="{FF2B5EF4-FFF2-40B4-BE49-F238E27FC236}">
                  <a16:creationId xmlns:a16="http://schemas.microsoft.com/office/drawing/2014/main" id="{CFD6898B-1F02-2EC8-265A-C429823FF73D}"/>
                </a:ext>
              </a:extLst>
            </p:cNvPr>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0" name="Freeform 168">
              <a:extLst>
                <a:ext uri="{FF2B5EF4-FFF2-40B4-BE49-F238E27FC236}">
                  <a16:creationId xmlns:a16="http://schemas.microsoft.com/office/drawing/2014/main" id="{8C2F1F03-CB1E-D6DC-AF0D-8808854E55A6}"/>
                </a:ext>
              </a:extLst>
            </p:cNvPr>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1" name="Freeform 169">
              <a:extLst>
                <a:ext uri="{FF2B5EF4-FFF2-40B4-BE49-F238E27FC236}">
                  <a16:creationId xmlns:a16="http://schemas.microsoft.com/office/drawing/2014/main" id="{44F80780-547F-EF44-2072-B885E09D1A6D}"/>
                </a:ext>
              </a:extLst>
            </p:cNvPr>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2" name="Freeform 170">
              <a:extLst>
                <a:ext uri="{FF2B5EF4-FFF2-40B4-BE49-F238E27FC236}">
                  <a16:creationId xmlns:a16="http://schemas.microsoft.com/office/drawing/2014/main" id="{F5AB4D3A-647B-E712-A27C-C6C965A17F52}"/>
                </a:ext>
              </a:extLst>
            </p:cNvPr>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3" name="Freeform 171">
              <a:extLst>
                <a:ext uri="{FF2B5EF4-FFF2-40B4-BE49-F238E27FC236}">
                  <a16:creationId xmlns:a16="http://schemas.microsoft.com/office/drawing/2014/main" id="{F5DD62CE-EAC6-DEEF-EBFC-F6C8AC4CD9DF}"/>
                </a:ext>
              </a:extLst>
            </p:cNvPr>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4" name="Freeform 172">
              <a:extLst>
                <a:ext uri="{FF2B5EF4-FFF2-40B4-BE49-F238E27FC236}">
                  <a16:creationId xmlns:a16="http://schemas.microsoft.com/office/drawing/2014/main" id="{194034C4-3E92-295E-D747-A96E5AA8FEB8}"/>
                </a:ext>
              </a:extLst>
            </p:cNvPr>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5" name="Freeform 173">
              <a:extLst>
                <a:ext uri="{FF2B5EF4-FFF2-40B4-BE49-F238E27FC236}">
                  <a16:creationId xmlns:a16="http://schemas.microsoft.com/office/drawing/2014/main" id="{D497A70B-DB44-A15C-675E-2A4289682CAD}"/>
                </a:ext>
              </a:extLst>
            </p:cNvPr>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6" name="Freeform 174">
              <a:extLst>
                <a:ext uri="{FF2B5EF4-FFF2-40B4-BE49-F238E27FC236}">
                  <a16:creationId xmlns:a16="http://schemas.microsoft.com/office/drawing/2014/main" id="{72182E41-E2F8-E4A4-6B47-8FD33AE11C7F}"/>
                </a:ext>
              </a:extLst>
            </p:cNvPr>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7" name="Freeform 175">
              <a:extLst>
                <a:ext uri="{FF2B5EF4-FFF2-40B4-BE49-F238E27FC236}">
                  <a16:creationId xmlns:a16="http://schemas.microsoft.com/office/drawing/2014/main" id="{51E3BD51-E51D-41C7-B09A-FD1B09BB0C56}"/>
                </a:ext>
              </a:extLst>
            </p:cNvPr>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8" name="Freeform 176">
              <a:extLst>
                <a:ext uri="{FF2B5EF4-FFF2-40B4-BE49-F238E27FC236}">
                  <a16:creationId xmlns:a16="http://schemas.microsoft.com/office/drawing/2014/main" id="{8EB265EF-B499-2AFE-1E13-306B21F4EB27}"/>
                </a:ext>
              </a:extLst>
            </p:cNvPr>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69" name="Freeform 177">
              <a:extLst>
                <a:ext uri="{FF2B5EF4-FFF2-40B4-BE49-F238E27FC236}">
                  <a16:creationId xmlns:a16="http://schemas.microsoft.com/office/drawing/2014/main" id="{AE7CA6EF-5447-6190-3892-32CE6366207A}"/>
                </a:ext>
              </a:extLst>
            </p:cNvPr>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0" name="Freeform 178">
              <a:extLst>
                <a:ext uri="{FF2B5EF4-FFF2-40B4-BE49-F238E27FC236}">
                  <a16:creationId xmlns:a16="http://schemas.microsoft.com/office/drawing/2014/main" id="{346EE591-032D-07B2-8767-7E40561054CB}"/>
                </a:ext>
              </a:extLst>
            </p:cNvPr>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1" name="Freeform 179">
              <a:extLst>
                <a:ext uri="{FF2B5EF4-FFF2-40B4-BE49-F238E27FC236}">
                  <a16:creationId xmlns:a16="http://schemas.microsoft.com/office/drawing/2014/main" id="{8403DD6D-607A-BC10-1354-CE423E091D19}"/>
                </a:ext>
              </a:extLst>
            </p:cNvPr>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2" name="Freeform 180">
              <a:extLst>
                <a:ext uri="{FF2B5EF4-FFF2-40B4-BE49-F238E27FC236}">
                  <a16:creationId xmlns:a16="http://schemas.microsoft.com/office/drawing/2014/main" id="{D2823042-64A2-1A4A-FC0C-B0906C1A6A05}"/>
                </a:ext>
              </a:extLst>
            </p:cNvPr>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3" name="Freeform 181">
              <a:extLst>
                <a:ext uri="{FF2B5EF4-FFF2-40B4-BE49-F238E27FC236}">
                  <a16:creationId xmlns:a16="http://schemas.microsoft.com/office/drawing/2014/main" id="{B2B1812C-EFA2-8A51-698E-81B458414300}"/>
                </a:ext>
              </a:extLst>
            </p:cNvPr>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4" name="Freeform 182">
              <a:extLst>
                <a:ext uri="{FF2B5EF4-FFF2-40B4-BE49-F238E27FC236}">
                  <a16:creationId xmlns:a16="http://schemas.microsoft.com/office/drawing/2014/main" id="{751FFE51-F739-F63E-4B9C-75C0236758F5}"/>
                </a:ext>
              </a:extLst>
            </p:cNvPr>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5" name="Freeform 183">
              <a:extLst>
                <a:ext uri="{FF2B5EF4-FFF2-40B4-BE49-F238E27FC236}">
                  <a16:creationId xmlns:a16="http://schemas.microsoft.com/office/drawing/2014/main" id="{F55B0EFD-75E0-C613-2F4A-F4F7075AC270}"/>
                </a:ext>
              </a:extLst>
            </p:cNvPr>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6" name="Freeform 184">
              <a:extLst>
                <a:ext uri="{FF2B5EF4-FFF2-40B4-BE49-F238E27FC236}">
                  <a16:creationId xmlns:a16="http://schemas.microsoft.com/office/drawing/2014/main" id="{2A4B69E6-B59A-14D2-E297-7E66B9383170}"/>
                </a:ext>
              </a:extLst>
            </p:cNvPr>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7" name="Freeform 185">
              <a:extLst>
                <a:ext uri="{FF2B5EF4-FFF2-40B4-BE49-F238E27FC236}">
                  <a16:creationId xmlns:a16="http://schemas.microsoft.com/office/drawing/2014/main" id="{F5FC720A-328D-2B5C-550A-36AAE130798A}"/>
                </a:ext>
              </a:extLst>
            </p:cNvPr>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8" name="Freeform 186">
              <a:extLst>
                <a:ext uri="{FF2B5EF4-FFF2-40B4-BE49-F238E27FC236}">
                  <a16:creationId xmlns:a16="http://schemas.microsoft.com/office/drawing/2014/main" id="{60C83065-E23A-2888-FC7F-FE4A8B4F492E}"/>
                </a:ext>
              </a:extLst>
            </p:cNvPr>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79" name="Freeform 187">
              <a:extLst>
                <a:ext uri="{FF2B5EF4-FFF2-40B4-BE49-F238E27FC236}">
                  <a16:creationId xmlns:a16="http://schemas.microsoft.com/office/drawing/2014/main" id="{74003157-8B1C-CBBE-F3A0-27FE631CF7C8}"/>
                </a:ext>
              </a:extLst>
            </p:cNvPr>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0" name="Freeform 188">
              <a:extLst>
                <a:ext uri="{FF2B5EF4-FFF2-40B4-BE49-F238E27FC236}">
                  <a16:creationId xmlns:a16="http://schemas.microsoft.com/office/drawing/2014/main" id="{CCD80E69-CA85-E21D-47A8-508321194B6C}"/>
                </a:ext>
              </a:extLst>
            </p:cNvPr>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1" name="Freeform 189">
              <a:extLst>
                <a:ext uri="{FF2B5EF4-FFF2-40B4-BE49-F238E27FC236}">
                  <a16:creationId xmlns:a16="http://schemas.microsoft.com/office/drawing/2014/main" id="{63BA318D-B965-DBD9-8236-1D7328E2FFC3}"/>
                </a:ext>
              </a:extLst>
            </p:cNvPr>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2" name="Freeform 190">
              <a:extLst>
                <a:ext uri="{FF2B5EF4-FFF2-40B4-BE49-F238E27FC236}">
                  <a16:creationId xmlns:a16="http://schemas.microsoft.com/office/drawing/2014/main" id="{AFBD403E-D060-A250-8831-ACFF55DA664D}"/>
                </a:ext>
              </a:extLst>
            </p:cNvPr>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3" name="Freeform 191">
              <a:extLst>
                <a:ext uri="{FF2B5EF4-FFF2-40B4-BE49-F238E27FC236}">
                  <a16:creationId xmlns:a16="http://schemas.microsoft.com/office/drawing/2014/main" id="{B3683844-17A1-4468-452B-DAA61103A783}"/>
                </a:ext>
              </a:extLst>
            </p:cNvPr>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4" name="Freeform 192">
              <a:extLst>
                <a:ext uri="{FF2B5EF4-FFF2-40B4-BE49-F238E27FC236}">
                  <a16:creationId xmlns:a16="http://schemas.microsoft.com/office/drawing/2014/main" id="{DD9210AD-68D9-4A0F-1480-FE525FCAB26D}"/>
                </a:ext>
              </a:extLst>
            </p:cNvPr>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5" name="Freeform 193">
              <a:extLst>
                <a:ext uri="{FF2B5EF4-FFF2-40B4-BE49-F238E27FC236}">
                  <a16:creationId xmlns:a16="http://schemas.microsoft.com/office/drawing/2014/main" id="{BBF49BA8-7C95-F589-720D-A5FAF69F6708}"/>
                </a:ext>
              </a:extLst>
            </p:cNvPr>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6" name="Freeform 194">
              <a:extLst>
                <a:ext uri="{FF2B5EF4-FFF2-40B4-BE49-F238E27FC236}">
                  <a16:creationId xmlns:a16="http://schemas.microsoft.com/office/drawing/2014/main" id="{FF72FAB5-5052-897A-4540-090B37343C79}"/>
                </a:ext>
              </a:extLst>
            </p:cNvPr>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7" name="Freeform 195">
              <a:extLst>
                <a:ext uri="{FF2B5EF4-FFF2-40B4-BE49-F238E27FC236}">
                  <a16:creationId xmlns:a16="http://schemas.microsoft.com/office/drawing/2014/main" id="{8A87DFA2-7D11-E1CB-9F6A-5E5ABFD55209}"/>
                </a:ext>
              </a:extLst>
            </p:cNvPr>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8" name="Freeform 196">
              <a:extLst>
                <a:ext uri="{FF2B5EF4-FFF2-40B4-BE49-F238E27FC236}">
                  <a16:creationId xmlns:a16="http://schemas.microsoft.com/office/drawing/2014/main" id="{42A3D68B-3364-5887-63DC-0B600741A69C}"/>
                </a:ext>
              </a:extLst>
            </p:cNvPr>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89" name="Freeform 197">
              <a:extLst>
                <a:ext uri="{FF2B5EF4-FFF2-40B4-BE49-F238E27FC236}">
                  <a16:creationId xmlns:a16="http://schemas.microsoft.com/office/drawing/2014/main" id="{D6376F2E-5C9A-FE50-4B3B-E47452BB1311}"/>
                </a:ext>
              </a:extLst>
            </p:cNvPr>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0" name="Freeform 198">
              <a:extLst>
                <a:ext uri="{FF2B5EF4-FFF2-40B4-BE49-F238E27FC236}">
                  <a16:creationId xmlns:a16="http://schemas.microsoft.com/office/drawing/2014/main" id="{066F9D2D-F49A-7B99-5CBE-2E7DC281ACA1}"/>
                </a:ext>
              </a:extLst>
            </p:cNvPr>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1" name="Freeform 199">
              <a:extLst>
                <a:ext uri="{FF2B5EF4-FFF2-40B4-BE49-F238E27FC236}">
                  <a16:creationId xmlns:a16="http://schemas.microsoft.com/office/drawing/2014/main" id="{1C087D9A-D4B7-6598-B2ED-661B7142F3B4}"/>
                </a:ext>
              </a:extLst>
            </p:cNvPr>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2" name="Freeform 200">
              <a:extLst>
                <a:ext uri="{FF2B5EF4-FFF2-40B4-BE49-F238E27FC236}">
                  <a16:creationId xmlns:a16="http://schemas.microsoft.com/office/drawing/2014/main" id="{5A8E9516-141D-AAF9-6567-9935F1861092}"/>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3" name="Freeform 201">
              <a:extLst>
                <a:ext uri="{FF2B5EF4-FFF2-40B4-BE49-F238E27FC236}">
                  <a16:creationId xmlns:a16="http://schemas.microsoft.com/office/drawing/2014/main" id="{2AEA4E40-A1E5-FB42-28A4-54A1D09D9727}"/>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4" name="Freeform 202">
              <a:extLst>
                <a:ext uri="{FF2B5EF4-FFF2-40B4-BE49-F238E27FC236}">
                  <a16:creationId xmlns:a16="http://schemas.microsoft.com/office/drawing/2014/main" id="{92C0504D-8B60-707D-A92E-8D4E82312072}"/>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5" name="Freeform 203">
              <a:extLst>
                <a:ext uri="{FF2B5EF4-FFF2-40B4-BE49-F238E27FC236}">
                  <a16:creationId xmlns:a16="http://schemas.microsoft.com/office/drawing/2014/main" id="{7D81FBEF-0B18-E5F0-528F-2E90DF0CFF4B}"/>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6" name="Freeform 204">
              <a:extLst>
                <a:ext uri="{FF2B5EF4-FFF2-40B4-BE49-F238E27FC236}">
                  <a16:creationId xmlns:a16="http://schemas.microsoft.com/office/drawing/2014/main" id="{59A6B4E8-B0F4-E38E-3459-D58946E2CCC2}"/>
                </a:ext>
              </a:extLst>
            </p:cNvPr>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7" name="Freeform 205">
              <a:extLst>
                <a:ext uri="{FF2B5EF4-FFF2-40B4-BE49-F238E27FC236}">
                  <a16:creationId xmlns:a16="http://schemas.microsoft.com/office/drawing/2014/main" id="{9F04948C-6285-190A-45AB-E6632B8C570F}"/>
                </a:ext>
              </a:extLst>
            </p:cNvPr>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8" name="Freeform 206">
              <a:extLst>
                <a:ext uri="{FF2B5EF4-FFF2-40B4-BE49-F238E27FC236}">
                  <a16:creationId xmlns:a16="http://schemas.microsoft.com/office/drawing/2014/main" id="{6D021A63-9D9F-4236-BC1D-3C423B40275B}"/>
                </a:ext>
              </a:extLst>
            </p:cNvPr>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199" name="Freeform 207">
              <a:extLst>
                <a:ext uri="{FF2B5EF4-FFF2-40B4-BE49-F238E27FC236}">
                  <a16:creationId xmlns:a16="http://schemas.microsoft.com/office/drawing/2014/main" id="{4F7BEC49-1DC4-408A-6532-A35E5293EFCD}"/>
                </a:ext>
              </a:extLst>
            </p:cNvPr>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0" name="Freeform 208">
              <a:extLst>
                <a:ext uri="{FF2B5EF4-FFF2-40B4-BE49-F238E27FC236}">
                  <a16:creationId xmlns:a16="http://schemas.microsoft.com/office/drawing/2014/main" id="{1B25270E-BF98-EEF4-EDAE-1C9903270133}"/>
                </a:ext>
              </a:extLst>
            </p:cNvPr>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1" name="Freeform 209">
              <a:extLst>
                <a:ext uri="{FF2B5EF4-FFF2-40B4-BE49-F238E27FC236}">
                  <a16:creationId xmlns:a16="http://schemas.microsoft.com/office/drawing/2014/main" id="{ED08FC21-29DF-F1A0-29E8-51A6DA97B9A5}"/>
                </a:ext>
              </a:extLst>
            </p:cNvPr>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2" name="Freeform 210">
              <a:extLst>
                <a:ext uri="{FF2B5EF4-FFF2-40B4-BE49-F238E27FC236}">
                  <a16:creationId xmlns:a16="http://schemas.microsoft.com/office/drawing/2014/main" id="{1F02292C-883D-561B-5749-D4944ED2C3F7}"/>
                </a:ext>
              </a:extLst>
            </p:cNvPr>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3" name="Freeform 211">
              <a:extLst>
                <a:ext uri="{FF2B5EF4-FFF2-40B4-BE49-F238E27FC236}">
                  <a16:creationId xmlns:a16="http://schemas.microsoft.com/office/drawing/2014/main" id="{BAED4FBF-B7C0-32FD-AF34-986027C41A98}"/>
                </a:ext>
              </a:extLst>
            </p:cNvPr>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4" name="Freeform 212">
              <a:extLst>
                <a:ext uri="{FF2B5EF4-FFF2-40B4-BE49-F238E27FC236}">
                  <a16:creationId xmlns:a16="http://schemas.microsoft.com/office/drawing/2014/main" id="{050EFA2A-5AF7-45DE-C49C-7B17DA97F8D1}"/>
                </a:ext>
              </a:extLst>
            </p:cNvPr>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5" name="Freeform 214">
              <a:extLst>
                <a:ext uri="{FF2B5EF4-FFF2-40B4-BE49-F238E27FC236}">
                  <a16:creationId xmlns:a16="http://schemas.microsoft.com/office/drawing/2014/main" id="{7791E8CE-43B1-4661-28F3-BD0AF6AB30A7}"/>
                </a:ext>
              </a:extLst>
            </p:cNvPr>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6" name="Freeform 215">
              <a:extLst>
                <a:ext uri="{FF2B5EF4-FFF2-40B4-BE49-F238E27FC236}">
                  <a16:creationId xmlns:a16="http://schemas.microsoft.com/office/drawing/2014/main" id="{78C09FBF-788A-39FD-5A76-9987FC126CEA}"/>
                </a:ext>
              </a:extLst>
            </p:cNvPr>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7" name="Freeform 216">
              <a:extLst>
                <a:ext uri="{FF2B5EF4-FFF2-40B4-BE49-F238E27FC236}">
                  <a16:creationId xmlns:a16="http://schemas.microsoft.com/office/drawing/2014/main" id="{F6D24B1C-9599-6384-682D-A95CF8FBD97A}"/>
                </a:ext>
              </a:extLst>
            </p:cNvPr>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8" name="Freeform 217">
              <a:extLst>
                <a:ext uri="{FF2B5EF4-FFF2-40B4-BE49-F238E27FC236}">
                  <a16:creationId xmlns:a16="http://schemas.microsoft.com/office/drawing/2014/main" id="{366824F2-56B9-278F-488E-81424854F106}"/>
                </a:ext>
              </a:extLst>
            </p:cNvPr>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09" name="Freeform 218">
              <a:extLst>
                <a:ext uri="{FF2B5EF4-FFF2-40B4-BE49-F238E27FC236}">
                  <a16:creationId xmlns:a16="http://schemas.microsoft.com/office/drawing/2014/main" id="{11D6341C-9279-1B72-6FC3-C074ADA52B4C}"/>
                </a:ext>
              </a:extLst>
            </p:cNvPr>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10" name="Freeform 219">
              <a:extLst>
                <a:ext uri="{FF2B5EF4-FFF2-40B4-BE49-F238E27FC236}">
                  <a16:creationId xmlns:a16="http://schemas.microsoft.com/office/drawing/2014/main" id="{77C3EEB7-77A8-6694-03C2-B5852BBA29E1}"/>
                </a:ext>
              </a:extLst>
            </p:cNvPr>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11" name="Freeform 220">
              <a:extLst>
                <a:ext uri="{FF2B5EF4-FFF2-40B4-BE49-F238E27FC236}">
                  <a16:creationId xmlns:a16="http://schemas.microsoft.com/office/drawing/2014/main" id="{B704C187-6E17-351B-B7E1-24713014D37A}"/>
                </a:ext>
              </a:extLst>
            </p:cNvPr>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12" name="Freeform 222">
              <a:extLst>
                <a:ext uri="{FF2B5EF4-FFF2-40B4-BE49-F238E27FC236}">
                  <a16:creationId xmlns:a16="http://schemas.microsoft.com/office/drawing/2014/main" id="{9E49F5DE-5B21-69A0-A12C-208CA84FEE4F}"/>
                </a:ext>
              </a:extLst>
            </p:cNvPr>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13" name="Freeform 223">
              <a:extLst>
                <a:ext uri="{FF2B5EF4-FFF2-40B4-BE49-F238E27FC236}">
                  <a16:creationId xmlns:a16="http://schemas.microsoft.com/office/drawing/2014/main" id="{8B17FEEC-593F-F14E-608A-E981208BA90C}"/>
                </a:ext>
              </a:extLst>
            </p:cNvPr>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14" name="Freeform 224">
              <a:extLst>
                <a:ext uri="{FF2B5EF4-FFF2-40B4-BE49-F238E27FC236}">
                  <a16:creationId xmlns:a16="http://schemas.microsoft.com/office/drawing/2014/main" id="{AD9C6E9D-D6E4-DFC0-8590-AFD4D290B875}"/>
                </a:ext>
              </a:extLst>
            </p:cNvPr>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15" name="Freeform 225">
              <a:extLst>
                <a:ext uri="{FF2B5EF4-FFF2-40B4-BE49-F238E27FC236}">
                  <a16:creationId xmlns:a16="http://schemas.microsoft.com/office/drawing/2014/main" id="{11BEC4DD-3E66-0248-6003-CE3C944D1F8C}"/>
                </a:ext>
              </a:extLst>
            </p:cNvPr>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16" name="Freeform 226">
              <a:extLst>
                <a:ext uri="{FF2B5EF4-FFF2-40B4-BE49-F238E27FC236}">
                  <a16:creationId xmlns:a16="http://schemas.microsoft.com/office/drawing/2014/main" id="{0CD265FF-EDFC-EA2B-C2DE-09BC2D736FA1}"/>
                </a:ext>
              </a:extLst>
            </p:cNvPr>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grpSp>
      <p:pic>
        <p:nvPicPr>
          <p:cNvPr id="217" name="Picture 216">
            <a:extLst>
              <a:ext uri="{FF2B5EF4-FFF2-40B4-BE49-F238E27FC236}">
                <a16:creationId xmlns:a16="http://schemas.microsoft.com/office/drawing/2014/main" id="{6913C81C-A47B-88CA-127F-3D04CC319F04}"/>
              </a:ext>
            </a:extLst>
          </p:cNvPr>
          <p:cNvPicPr>
            <a:picLocks noChangeAspect="1"/>
          </p:cNvPicPr>
          <p:nvPr userDrawn="1"/>
        </p:nvPicPr>
        <p:blipFill rotWithShape="1">
          <a:blip r:embed="rId2" cstate="email">
            <a:clrChange>
              <a:clrFrom>
                <a:srgbClr val="FFFFFF"/>
              </a:clrFrom>
              <a:clrTo>
                <a:srgbClr val="FFFFFF">
                  <a:alpha val="0"/>
                </a:srgbClr>
              </a:clrTo>
            </a:clrChange>
            <a:alphaModFix amt="30000"/>
            <a:extLst>
              <a:ext uri="{28A0092B-C50C-407E-A947-70E740481C1C}">
                <a14:useLocalDpi xmlns:a14="http://schemas.microsoft.com/office/drawing/2010/main"/>
              </a:ext>
            </a:extLst>
          </a:blip>
          <a:srcRect/>
          <a:stretch/>
        </p:blipFill>
        <p:spPr>
          <a:xfrm>
            <a:off x="4190995" y="4787812"/>
            <a:ext cx="7977582" cy="2070188"/>
          </a:xfrm>
          <a:prstGeom prst="rect">
            <a:avLst/>
          </a:prstGeom>
        </p:spPr>
      </p:pic>
      <p:cxnSp>
        <p:nvCxnSpPr>
          <p:cNvPr id="218" name="Straight Connector 217">
            <a:extLst>
              <a:ext uri="{FF2B5EF4-FFF2-40B4-BE49-F238E27FC236}">
                <a16:creationId xmlns:a16="http://schemas.microsoft.com/office/drawing/2014/main" id="{D313DF43-7C70-72A9-550C-697C92B0AADD}"/>
              </a:ext>
            </a:extLst>
          </p:cNvPr>
          <p:cNvCxnSpPr/>
          <p:nvPr userDrawn="1"/>
        </p:nvCxnSpPr>
        <p:spPr>
          <a:xfrm>
            <a:off x="4221750" y="1701800"/>
            <a:ext cx="0" cy="46609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337735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Subhead: Sidebar - No Content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p:nvSpPr>
        <p:spPr bwMode="gray">
          <a:xfrm flipH="1">
            <a:off x="-3" y="0"/>
            <a:ext cx="4953002" cy="6858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itle Placeholder 1">
            <a:extLst>
              <a:ext uri="{FF2B5EF4-FFF2-40B4-BE49-F238E27FC236}">
                <a16:creationId xmlns:a16="http://schemas.microsoft.com/office/drawing/2014/main" id="{CCC8559E-F5E2-0347-840E-E629DC9F61B5}"/>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5" name="Text Placeholder 7">
            <a:extLst>
              <a:ext uri="{FF2B5EF4-FFF2-40B4-BE49-F238E27FC236}">
                <a16:creationId xmlns:a16="http://schemas.microsoft.com/office/drawing/2014/main" id="{6627A73F-C8F9-C143-A124-0C1DFBD38A80}"/>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0" name="Text Placeholder 2">
            <a:extLst>
              <a:ext uri="{FF2B5EF4-FFF2-40B4-BE49-F238E27FC236}">
                <a16:creationId xmlns:a16="http://schemas.microsoft.com/office/drawing/2014/main" id="{D928B8B3-E1F7-A641-89DC-53E0F210579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148AE39B-AB7A-B24E-96E2-9B3F4693BD1E}"/>
              </a:ext>
            </a:extLst>
          </p:cNvPr>
          <p:cNvSpPr>
            <a:spLocks noGrp="1"/>
          </p:cNvSpPr>
          <p:nvPr>
            <p:ph type="body" sz="quarter" idx="26" hasCustomPrompt="1"/>
          </p:nvPr>
        </p:nvSpPr>
        <p:spPr>
          <a:xfrm>
            <a:off x="1986247" y="495992"/>
            <a:ext cx="2713344"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2010732473"/>
      </p:ext>
    </p:extLst>
  </p:cSld>
  <p:clrMapOvr>
    <a:masterClrMapping/>
  </p:clrMapOvr>
  <p:transition/>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bout Deloitte">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pic>
        <p:nvPicPr>
          <p:cNvPr id="2" name="Picture 1">
            <a:extLst>
              <a:ext uri="{FF2B5EF4-FFF2-40B4-BE49-F238E27FC236}">
                <a16:creationId xmlns:a16="http://schemas.microsoft.com/office/drawing/2014/main" id="{15B178CC-E6CC-DB1F-E073-14E8490979C8}"/>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4221749" y="4963559"/>
            <a:ext cx="7970245" cy="1894441"/>
          </a:xfrm>
          <a:prstGeom prst="rect">
            <a:avLst/>
          </a:prstGeom>
        </p:spPr>
      </p:pic>
      <p:cxnSp>
        <p:nvCxnSpPr>
          <p:cNvPr id="3" name="Straight Connector 2">
            <a:extLst>
              <a:ext uri="{FF2B5EF4-FFF2-40B4-BE49-F238E27FC236}">
                <a16:creationId xmlns:a16="http://schemas.microsoft.com/office/drawing/2014/main" id="{0C5FF2E8-2581-F63D-4752-158EB4B7450B}"/>
              </a:ext>
            </a:extLst>
          </p:cNvPr>
          <p:cNvCxnSpPr/>
          <p:nvPr userDrawn="1"/>
        </p:nvCxnSpPr>
        <p:spPr>
          <a:xfrm>
            <a:off x="4221750" y="1701800"/>
            <a:ext cx="0" cy="46609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15387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130371969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2658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945340"/>
            <a:ext cx="3554471" cy="4417359"/>
          </a:xfrm>
        </p:spPr>
        <p:txBody>
          <a:bodyPr>
            <a:noAutofit/>
          </a:bodyPr>
          <a:lstStyle>
            <a:lvl1pPr marL="0" indent="0" algn="l">
              <a:buFontTx/>
              <a:buNone/>
              <a:defRPr sz="1200" b="1">
                <a:solidFill>
                  <a:srgbClr val="00ABAB"/>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945340"/>
            <a:ext cx="3554471" cy="4417359"/>
          </a:xfrm>
        </p:spPr>
        <p:txBody>
          <a:bodyPr>
            <a:noAutofit/>
          </a:bodyPr>
          <a:lstStyle>
            <a:lvl1pPr marL="0" indent="0" algn="l">
              <a:buFontTx/>
              <a:buNone/>
              <a:defRPr sz="1200" b="1">
                <a:solidFill>
                  <a:srgbClr val="00ABAB"/>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945340"/>
            <a:ext cx="3556000" cy="4417359"/>
          </a:xfrm>
        </p:spPr>
        <p:txBody>
          <a:bodyPr>
            <a:noAutofit/>
          </a:bodyPr>
          <a:lstStyle>
            <a:lvl1pPr marL="0" indent="0" algn="l">
              <a:buFontTx/>
              <a:buNone/>
              <a:defRPr sz="1200" b="1">
                <a:solidFill>
                  <a:srgbClr val="00ABAB"/>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936000"/>
            <a:ext cx="11277600" cy="757255"/>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417432"/>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cxnSp>
        <p:nvCxnSpPr>
          <p:cNvPr id="5" name="Straight Connector 4">
            <a:extLst>
              <a:ext uri="{FF2B5EF4-FFF2-40B4-BE49-F238E27FC236}">
                <a16:creationId xmlns:a16="http://schemas.microsoft.com/office/drawing/2014/main" id="{9C423B01-DBBF-4C62-80C7-68DDC066C750}"/>
              </a:ext>
            </a:extLst>
          </p:cNvPr>
          <p:cNvCxnSpPr/>
          <p:nvPr userDrawn="1"/>
        </p:nvCxnSpPr>
        <p:spPr>
          <a:xfrm>
            <a:off x="457200" y="1730562"/>
            <a:ext cx="35532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37E9EAD-2855-4C0E-B800-BC75CFD8BF72}"/>
              </a:ext>
            </a:extLst>
          </p:cNvPr>
          <p:cNvCxnSpPr/>
          <p:nvPr userDrawn="1"/>
        </p:nvCxnSpPr>
        <p:spPr>
          <a:xfrm>
            <a:off x="4320800" y="1730562"/>
            <a:ext cx="35532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DFBA29B-0391-4429-A88C-957860F52ACB}"/>
              </a:ext>
            </a:extLst>
          </p:cNvPr>
          <p:cNvCxnSpPr/>
          <p:nvPr userDrawn="1"/>
        </p:nvCxnSpPr>
        <p:spPr>
          <a:xfrm>
            <a:off x="8181600" y="1730562"/>
            <a:ext cx="35532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35668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s_Page 1">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8BB88E-CF20-4D4A-A2E3-92E3CFF762BF}"/>
              </a:ext>
            </a:extLst>
          </p:cNvPr>
          <p:cNvSpPr>
            <a:spLocks noGrp="1"/>
          </p:cNvSpPr>
          <p:nvPr>
            <p:ph type="pic" sz="quarter" idx="10"/>
          </p:nvPr>
        </p:nvSpPr>
        <p:spPr>
          <a:xfrm>
            <a:off x="-1" y="0"/>
            <a:ext cx="5510463" cy="6858000"/>
          </a:xfrm>
          <a:solidFill>
            <a:schemeClr val="bg1">
              <a:lumMod val="95000"/>
            </a:schemeClr>
          </a:solidFill>
        </p:spPr>
        <p:txBody>
          <a:bodyPr/>
          <a:lstStyle/>
          <a:p>
            <a:endParaRPr lang="en-GB"/>
          </a:p>
        </p:txBody>
      </p:sp>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6248400" y="340062"/>
            <a:ext cx="4332514" cy="542650"/>
          </a:xfrm>
          <a:prstGeom prst="rect">
            <a:avLst/>
          </a:prstGeom>
        </p:spPr>
        <p:txBody>
          <a:bodyPr vert="horz" lIns="0" tIns="0" rIns="0" bIns="0" rtlCol="0" anchor="t" anchorCtr="0">
            <a:noAutofit/>
          </a:bodyPr>
          <a:lstStyle>
            <a:lvl1pPr>
              <a:defRPr sz="32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140006809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am profile_4 layout_Watercolour">
    <p:bg>
      <p:bgPr>
        <a:blipFill dpi="0" rotWithShape="1">
          <a:blip r:embed="rId2" cstate="email">
            <a:lum/>
            <a:extLst>
              <a:ext uri="{28A0092B-C50C-407E-A947-70E740481C1C}">
                <a14:useLocalDpi xmlns:a14="http://schemas.microsoft.com/office/drawing/2010/main"/>
              </a:ext>
            </a:extLst>
          </a:blip>
          <a:srcRect/>
          <a:stretch>
            <a:fillRect t="26000"/>
          </a:stretch>
        </a:blipFill>
        <a:effectLst/>
      </p:bgPr>
    </p:bg>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936000"/>
            <a:ext cx="11277600" cy="607110"/>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417600"/>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3" name="Text Placeholder 2">
            <a:extLst>
              <a:ext uri="{FF2B5EF4-FFF2-40B4-BE49-F238E27FC236}">
                <a16:creationId xmlns:a16="http://schemas.microsoft.com/office/drawing/2014/main" id="{06CDE9E6-C98A-44D5-BDD7-71D968BC9646}"/>
              </a:ext>
            </a:extLst>
          </p:cNvPr>
          <p:cNvSpPr>
            <a:spLocks noGrp="1"/>
          </p:cNvSpPr>
          <p:nvPr>
            <p:ph type="body" sz="quarter" idx="22"/>
          </p:nvPr>
        </p:nvSpPr>
        <p:spPr>
          <a:xfrm>
            <a:off x="458788" y="3930893"/>
            <a:ext cx="2520000" cy="2431806"/>
          </a:xfrm>
        </p:spPr>
        <p:txBody>
          <a:bodyPr>
            <a:noAutofit/>
          </a:bodyPr>
          <a:lstStyle>
            <a:lvl1pPr>
              <a:lnSpc>
                <a:spcPct val="106000"/>
              </a:lnSpc>
              <a:spcAft>
                <a:spcPts val="400"/>
              </a:spcAft>
              <a:defRPr sz="1000" b="0">
                <a:solidFill>
                  <a:schemeClr val="tx1"/>
                </a:solidFill>
              </a:defRPr>
            </a:lvl1pPr>
            <a:lvl2pPr>
              <a:lnSpc>
                <a:spcPct val="106000"/>
              </a:lnSpc>
              <a:spcAft>
                <a:spcPts val="400"/>
              </a:spcAft>
              <a:defRPr sz="1000" b="0"/>
            </a:lvl2pPr>
            <a:lvl3pPr>
              <a:lnSpc>
                <a:spcPct val="106000"/>
              </a:lnSpc>
              <a:spcAft>
                <a:spcPts val="400"/>
              </a:spcAft>
              <a:defRPr sz="1000"/>
            </a:lvl3pPr>
            <a:lvl4pPr>
              <a:lnSpc>
                <a:spcPct val="106000"/>
              </a:lnSpc>
              <a:spcAft>
                <a:spcPts val="400"/>
              </a:spcAft>
              <a:defRPr sz="1000"/>
            </a:lvl4pPr>
            <a:lvl5pPr>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icture Placeholder 7">
            <a:extLst>
              <a:ext uri="{FF2B5EF4-FFF2-40B4-BE49-F238E27FC236}">
                <a16:creationId xmlns:a16="http://schemas.microsoft.com/office/drawing/2014/main" id="{E21DF793-A312-4CDC-9DC3-2398141FE923}"/>
              </a:ext>
            </a:extLst>
          </p:cNvPr>
          <p:cNvSpPr>
            <a:spLocks noGrp="1"/>
          </p:cNvSpPr>
          <p:nvPr userDrawn="1">
            <p:ph type="pic" sz="quarter" idx="26"/>
          </p:nvPr>
        </p:nvSpPr>
        <p:spPr>
          <a:xfrm>
            <a:off x="979442" y="1714507"/>
            <a:ext cx="1530000" cy="1457325"/>
          </a:xfrm>
          <a:prstGeom prst="ellipse">
            <a:avLst/>
          </a:prstGeom>
          <a:solidFill>
            <a:schemeClr val="bg1">
              <a:lumMod val="95000"/>
            </a:schemeClr>
          </a:solidFill>
        </p:spPr>
        <p:txBody>
          <a:bodyPr/>
          <a:lstStyle/>
          <a:p>
            <a:endParaRPr lang="en-GB"/>
          </a:p>
        </p:txBody>
      </p:sp>
      <p:sp>
        <p:nvSpPr>
          <p:cNvPr id="34" name="Text Placeholder 2">
            <a:extLst>
              <a:ext uri="{FF2B5EF4-FFF2-40B4-BE49-F238E27FC236}">
                <a16:creationId xmlns:a16="http://schemas.microsoft.com/office/drawing/2014/main" id="{9FDFA7E7-2563-48E6-A778-0C3B5EF5B800}"/>
              </a:ext>
            </a:extLst>
          </p:cNvPr>
          <p:cNvSpPr>
            <a:spLocks noGrp="1"/>
          </p:cNvSpPr>
          <p:nvPr userDrawn="1">
            <p:ph type="body" sz="quarter" idx="19"/>
          </p:nvPr>
        </p:nvSpPr>
        <p:spPr>
          <a:xfrm>
            <a:off x="466098" y="3340767"/>
            <a:ext cx="2512690" cy="440676"/>
          </a:xfrm>
        </p:spPr>
        <p:txBody>
          <a:bodyPr anchor="t" anchorCtr="0">
            <a:noAutofit/>
          </a:bodyPr>
          <a:lstStyle>
            <a:lvl1pPr>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35" name="Text Placeholder 2">
            <a:extLst>
              <a:ext uri="{FF2B5EF4-FFF2-40B4-BE49-F238E27FC236}">
                <a16:creationId xmlns:a16="http://schemas.microsoft.com/office/drawing/2014/main" id="{9DA9763A-A401-41FF-920C-22EC1C7FF5FD}"/>
              </a:ext>
            </a:extLst>
          </p:cNvPr>
          <p:cNvSpPr>
            <a:spLocks noGrp="1"/>
          </p:cNvSpPr>
          <p:nvPr userDrawn="1">
            <p:ph type="body" sz="quarter" idx="27"/>
          </p:nvPr>
        </p:nvSpPr>
        <p:spPr>
          <a:xfrm>
            <a:off x="3374492" y="3930893"/>
            <a:ext cx="2520000" cy="2431806"/>
          </a:xfrm>
        </p:spPr>
        <p:txBody>
          <a:bodyPr>
            <a:noAutofit/>
          </a:bodyPr>
          <a:lstStyle>
            <a:lvl1pPr>
              <a:lnSpc>
                <a:spcPct val="106000"/>
              </a:lnSpc>
              <a:spcAft>
                <a:spcPts val="400"/>
              </a:spcAft>
              <a:defRPr sz="1000" b="0">
                <a:solidFill>
                  <a:schemeClr val="tx1"/>
                </a:solidFill>
              </a:defRPr>
            </a:lvl1pPr>
            <a:lvl2pPr>
              <a:lnSpc>
                <a:spcPct val="106000"/>
              </a:lnSpc>
              <a:spcAft>
                <a:spcPts val="400"/>
              </a:spcAft>
              <a:defRPr sz="1000" b="0"/>
            </a:lvl2pPr>
            <a:lvl3pPr>
              <a:lnSpc>
                <a:spcPct val="106000"/>
              </a:lnSpc>
              <a:spcAft>
                <a:spcPts val="400"/>
              </a:spcAft>
              <a:defRPr sz="1000"/>
            </a:lvl3pPr>
            <a:lvl4pPr>
              <a:lnSpc>
                <a:spcPct val="106000"/>
              </a:lnSpc>
              <a:spcAft>
                <a:spcPts val="400"/>
              </a:spcAft>
              <a:defRPr sz="1000"/>
            </a:lvl4pPr>
            <a:lvl5pPr>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Picture Placeholder 7">
            <a:extLst>
              <a:ext uri="{FF2B5EF4-FFF2-40B4-BE49-F238E27FC236}">
                <a16:creationId xmlns:a16="http://schemas.microsoft.com/office/drawing/2014/main" id="{49990253-B949-4448-9A5C-6984704B85CD}"/>
              </a:ext>
            </a:extLst>
          </p:cNvPr>
          <p:cNvSpPr>
            <a:spLocks noGrp="1"/>
          </p:cNvSpPr>
          <p:nvPr userDrawn="1">
            <p:ph type="pic" sz="quarter" idx="28"/>
          </p:nvPr>
        </p:nvSpPr>
        <p:spPr>
          <a:xfrm>
            <a:off x="3855751" y="1714507"/>
            <a:ext cx="1530000" cy="1457325"/>
          </a:xfrm>
          <a:prstGeom prst="ellipse">
            <a:avLst/>
          </a:prstGeom>
          <a:solidFill>
            <a:schemeClr val="bg1">
              <a:lumMod val="95000"/>
            </a:schemeClr>
          </a:solidFill>
        </p:spPr>
        <p:txBody>
          <a:bodyPr/>
          <a:lstStyle/>
          <a:p>
            <a:endParaRPr lang="en-GB" dirty="0"/>
          </a:p>
        </p:txBody>
      </p:sp>
      <p:sp>
        <p:nvSpPr>
          <p:cNvPr id="38" name="Text Placeholder 2">
            <a:extLst>
              <a:ext uri="{FF2B5EF4-FFF2-40B4-BE49-F238E27FC236}">
                <a16:creationId xmlns:a16="http://schemas.microsoft.com/office/drawing/2014/main" id="{51DD802A-DF20-42C9-BFD6-A9D9CA080957}"/>
              </a:ext>
            </a:extLst>
          </p:cNvPr>
          <p:cNvSpPr>
            <a:spLocks noGrp="1"/>
          </p:cNvSpPr>
          <p:nvPr userDrawn="1">
            <p:ph type="body" sz="quarter" idx="29"/>
          </p:nvPr>
        </p:nvSpPr>
        <p:spPr>
          <a:xfrm>
            <a:off x="3374492" y="3340767"/>
            <a:ext cx="2512690" cy="440676"/>
          </a:xfrm>
        </p:spPr>
        <p:txBody>
          <a:bodyPr anchor="t" anchorCtr="0">
            <a:noAutofit/>
          </a:bodyPr>
          <a:lstStyle>
            <a:lvl1pPr>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39" name="Text Placeholder 2">
            <a:extLst>
              <a:ext uri="{FF2B5EF4-FFF2-40B4-BE49-F238E27FC236}">
                <a16:creationId xmlns:a16="http://schemas.microsoft.com/office/drawing/2014/main" id="{B16EA8FB-3ECA-499C-A5CE-BF07CF20039D}"/>
              </a:ext>
            </a:extLst>
          </p:cNvPr>
          <p:cNvSpPr>
            <a:spLocks noGrp="1"/>
          </p:cNvSpPr>
          <p:nvPr userDrawn="1">
            <p:ph type="body" sz="quarter" idx="30"/>
          </p:nvPr>
        </p:nvSpPr>
        <p:spPr>
          <a:xfrm>
            <a:off x="6290196" y="3930893"/>
            <a:ext cx="2520000" cy="2431806"/>
          </a:xfrm>
        </p:spPr>
        <p:txBody>
          <a:bodyPr>
            <a:noAutofit/>
          </a:bodyPr>
          <a:lstStyle>
            <a:lvl1pPr>
              <a:lnSpc>
                <a:spcPct val="106000"/>
              </a:lnSpc>
              <a:spcAft>
                <a:spcPts val="400"/>
              </a:spcAft>
              <a:defRPr sz="1000" b="0">
                <a:solidFill>
                  <a:schemeClr val="tx1"/>
                </a:solidFill>
              </a:defRPr>
            </a:lvl1pPr>
            <a:lvl2pPr>
              <a:lnSpc>
                <a:spcPct val="106000"/>
              </a:lnSpc>
              <a:spcAft>
                <a:spcPts val="400"/>
              </a:spcAft>
              <a:defRPr sz="1000" b="0"/>
            </a:lvl2pPr>
            <a:lvl3pPr>
              <a:lnSpc>
                <a:spcPct val="106000"/>
              </a:lnSpc>
              <a:spcAft>
                <a:spcPts val="400"/>
              </a:spcAft>
              <a:defRPr sz="1000"/>
            </a:lvl3pPr>
            <a:lvl4pPr>
              <a:lnSpc>
                <a:spcPct val="106000"/>
              </a:lnSpc>
              <a:spcAft>
                <a:spcPts val="400"/>
              </a:spcAft>
              <a:defRPr sz="1000"/>
            </a:lvl4pPr>
            <a:lvl5pPr>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1" name="Picture Placeholder 7">
            <a:extLst>
              <a:ext uri="{FF2B5EF4-FFF2-40B4-BE49-F238E27FC236}">
                <a16:creationId xmlns:a16="http://schemas.microsoft.com/office/drawing/2014/main" id="{98024A0D-6E95-48D7-8BBD-5830390402BD}"/>
              </a:ext>
            </a:extLst>
          </p:cNvPr>
          <p:cNvSpPr>
            <a:spLocks noGrp="1"/>
          </p:cNvSpPr>
          <p:nvPr userDrawn="1">
            <p:ph type="pic" sz="quarter" idx="31"/>
          </p:nvPr>
        </p:nvSpPr>
        <p:spPr>
          <a:xfrm>
            <a:off x="6762722" y="1714507"/>
            <a:ext cx="1530000" cy="1457325"/>
          </a:xfrm>
          <a:prstGeom prst="ellipse">
            <a:avLst/>
          </a:prstGeom>
          <a:solidFill>
            <a:schemeClr val="bg1">
              <a:lumMod val="95000"/>
            </a:schemeClr>
          </a:solidFill>
        </p:spPr>
        <p:txBody>
          <a:bodyPr/>
          <a:lstStyle/>
          <a:p>
            <a:endParaRPr lang="en-GB" dirty="0"/>
          </a:p>
        </p:txBody>
      </p:sp>
      <p:sp>
        <p:nvSpPr>
          <p:cNvPr id="42" name="Text Placeholder 2">
            <a:extLst>
              <a:ext uri="{FF2B5EF4-FFF2-40B4-BE49-F238E27FC236}">
                <a16:creationId xmlns:a16="http://schemas.microsoft.com/office/drawing/2014/main" id="{E7407EFF-2D00-41FA-9AD3-6C756D609484}"/>
              </a:ext>
            </a:extLst>
          </p:cNvPr>
          <p:cNvSpPr>
            <a:spLocks noGrp="1"/>
          </p:cNvSpPr>
          <p:nvPr userDrawn="1">
            <p:ph type="body" sz="quarter" idx="32"/>
          </p:nvPr>
        </p:nvSpPr>
        <p:spPr>
          <a:xfrm>
            <a:off x="6297505" y="3340767"/>
            <a:ext cx="2512690" cy="440676"/>
          </a:xfrm>
        </p:spPr>
        <p:txBody>
          <a:bodyPr anchor="t" anchorCtr="0">
            <a:noAutofit/>
          </a:bodyPr>
          <a:lstStyle>
            <a:lvl1pPr>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43" name="Text Placeholder 2">
            <a:extLst>
              <a:ext uri="{FF2B5EF4-FFF2-40B4-BE49-F238E27FC236}">
                <a16:creationId xmlns:a16="http://schemas.microsoft.com/office/drawing/2014/main" id="{BF4A31B0-8607-45BF-986D-6D9912CA2DE0}"/>
              </a:ext>
            </a:extLst>
          </p:cNvPr>
          <p:cNvSpPr>
            <a:spLocks noGrp="1"/>
          </p:cNvSpPr>
          <p:nvPr userDrawn="1">
            <p:ph type="body" sz="quarter" idx="33"/>
          </p:nvPr>
        </p:nvSpPr>
        <p:spPr>
          <a:xfrm>
            <a:off x="9205902" y="3930893"/>
            <a:ext cx="2520000" cy="2431806"/>
          </a:xfrm>
        </p:spPr>
        <p:txBody>
          <a:bodyPr>
            <a:noAutofit/>
          </a:bodyPr>
          <a:lstStyle>
            <a:lvl1pPr>
              <a:lnSpc>
                <a:spcPct val="106000"/>
              </a:lnSpc>
              <a:spcAft>
                <a:spcPts val="400"/>
              </a:spcAft>
              <a:defRPr sz="1000" b="0">
                <a:solidFill>
                  <a:schemeClr val="tx1"/>
                </a:solidFill>
              </a:defRPr>
            </a:lvl1pPr>
            <a:lvl2pPr>
              <a:lnSpc>
                <a:spcPct val="106000"/>
              </a:lnSpc>
              <a:spcAft>
                <a:spcPts val="400"/>
              </a:spcAft>
              <a:defRPr sz="1000" b="0"/>
            </a:lvl2pPr>
            <a:lvl3pPr>
              <a:lnSpc>
                <a:spcPct val="106000"/>
              </a:lnSpc>
              <a:spcAft>
                <a:spcPts val="400"/>
              </a:spcAft>
              <a:defRPr sz="1000"/>
            </a:lvl3pPr>
            <a:lvl4pPr>
              <a:lnSpc>
                <a:spcPct val="106000"/>
              </a:lnSpc>
              <a:spcAft>
                <a:spcPts val="400"/>
              </a:spcAft>
              <a:defRPr sz="1000"/>
            </a:lvl4pPr>
            <a:lvl5pPr>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5" name="Picture Placeholder 7">
            <a:extLst>
              <a:ext uri="{FF2B5EF4-FFF2-40B4-BE49-F238E27FC236}">
                <a16:creationId xmlns:a16="http://schemas.microsoft.com/office/drawing/2014/main" id="{50494B50-7D1F-40FB-A3F5-8241F5E16700}"/>
              </a:ext>
            </a:extLst>
          </p:cNvPr>
          <p:cNvSpPr>
            <a:spLocks noGrp="1"/>
          </p:cNvSpPr>
          <p:nvPr userDrawn="1">
            <p:ph type="pic" sz="quarter" idx="34"/>
          </p:nvPr>
        </p:nvSpPr>
        <p:spPr>
          <a:xfrm>
            <a:off x="9678429" y="1714507"/>
            <a:ext cx="1530000" cy="1457325"/>
          </a:xfrm>
          <a:prstGeom prst="ellipse">
            <a:avLst/>
          </a:prstGeom>
          <a:solidFill>
            <a:schemeClr val="bg1">
              <a:lumMod val="95000"/>
            </a:schemeClr>
          </a:solidFill>
        </p:spPr>
        <p:txBody>
          <a:bodyPr/>
          <a:lstStyle/>
          <a:p>
            <a:endParaRPr lang="en-GB" dirty="0"/>
          </a:p>
        </p:txBody>
      </p:sp>
      <p:sp>
        <p:nvSpPr>
          <p:cNvPr id="46" name="Text Placeholder 2">
            <a:extLst>
              <a:ext uri="{FF2B5EF4-FFF2-40B4-BE49-F238E27FC236}">
                <a16:creationId xmlns:a16="http://schemas.microsoft.com/office/drawing/2014/main" id="{173BFC37-BEC9-4C20-833F-9AD066BDD18F}"/>
              </a:ext>
            </a:extLst>
          </p:cNvPr>
          <p:cNvSpPr>
            <a:spLocks noGrp="1"/>
          </p:cNvSpPr>
          <p:nvPr userDrawn="1">
            <p:ph type="body" sz="quarter" idx="35"/>
          </p:nvPr>
        </p:nvSpPr>
        <p:spPr>
          <a:xfrm>
            <a:off x="9213212" y="3340767"/>
            <a:ext cx="2512690" cy="440676"/>
          </a:xfrm>
        </p:spPr>
        <p:txBody>
          <a:bodyPr anchor="t" anchorCtr="0">
            <a:noAutofit/>
          </a:bodyPr>
          <a:lstStyle>
            <a:lvl1pPr>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43040975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am profile_4 layout">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936000"/>
            <a:ext cx="11277600" cy="607110"/>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417600"/>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3" name="Text Placeholder 2">
            <a:extLst>
              <a:ext uri="{FF2B5EF4-FFF2-40B4-BE49-F238E27FC236}">
                <a16:creationId xmlns:a16="http://schemas.microsoft.com/office/drawing/2014/main" id="{06CDE9E6-C98A-44D5-BDD7-71D968BC9646}"/>
              </a:ext>
            </a:extLst>
          </p:cNvPr>
          <p:cNvSpPr>
            <a:spLocks noGrp="1"/>
          </p:cNvSpPr>
          <p:nvPr>
            <p:ph type="body" sz="quarter" idx="22"/>
          </p:nvPr>
        </p:nvSpPr>
        <p:spPr>
          <a:xfrm>
            <a:off x="458788" y="3930893"/>
            <a:ext cx="2520000" cy="2431806"/>
          </a:xfrm>
        </p:spPr>
        <p:txBody>
          <a:bodyPr>
            <a:noAutofit/>
          </a:bodyPr>
          <a:lstStyle>
            <a:lvl1pPr>
              <a:lnSpc>
                <a:spcPct val="106000"/>
              </a:lnSpc>
              <a:spcAft>
                <a:spcPts val="400"/>
              </a:spcAft>
              <a:defRPr sz="1000" b="0">
                <a:solidFill>
                  <a:schemeClr val="tx1"/>
                </a:solidFill>
              </a:defRPr>
            </a:lvl1pPr>
            <a:lvl2pPr>
              <a:lnSpc>
                <a:spcPct val="106000"/>
              </a:lnSpc>
              <a:spcAft>
                <a:spcPts val="400"/>
              </a:spcAft>
              <a:defRPr sz="1000" b="0"/>
            </a:lvl2pPr>
            <a:lvl3pPr>
              <a:lnSpc>
                <a:spcPct val="106000"/>
              </a:lnSpc>
              <a:spcAft>
                <a:spcPts val="400"/>
              </a:spcAft>
              <a:defRPr sz="1000"/>
            </a:lvl3pPr>
            <a:lvl4pPr>
              <a:lnSpc>
                <a:spcPct val="106000"/>
              </a:lnSpc>
              <a:spcAft>
                <a:spcPts val="400"/>
              </a:spcAft>
              <a:defRPr sz="1000"/>
            </a:lvl4pPr>
            <a:lvl5pPr>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8">
            <a:extLst>
              <a:ext uri="{FF2B5EF4-FFF2-40B4-BE49-F238E27FC236}">
                <a16:creationId xmlns:a16="http://schemas.microsoft.com/office/drawing/2014/main" id="{501931AB-3985-4719-BB94-307D80CC2B82}"/>
              </a:ext>
            </a:extLst>
          </p:cNvPr>
          <p:cNvGrpSpPr/>
          <p:nvPr userDrawn="1"/>
        </p:nvGrpSpPr>
        <p:grpSpPr>
          <a:xfrm>
            <a:off x="3176640" y="1714507"/>
            <a:ext cx="5831408" cy="4428000"/>
            <a:chOff x="3176640" y="1439501"/>
            <a:chExt cx="5831408" cy="4859700"/>
          </a:xfrm>
        </p:grpSpPr>
        <p:cxnSp>
          <p:nvCxnSpPr>
            <p:cNvPr id="31" name="Straight Connector 30">
              <a:extLst>
                <a:ext uri="{FF2B5EF4-FFF2-40B4-BE49-F238E27FC236}">
                  <a16:creationId xmlns:a16="http://schemas.microsoft.com/office/drawing/2014/main" id="{A419D229-1F84-47E5-A357-63423E33AB2F}"/>
                </a:ext>
              </a:extLst>
            </p:cNvPr>
            <p:cNvCxnSpPr/>
            <p:nvPr/>
          </p:nvCxnSpPr>
          <p:spPr>
            <a:xfrm>
              <a:off x="3176640" y="1439501"/>
              <a:ext cx="0" cy="48597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9B4E343-F178-499D-BF98-E9907205E60C}"/>
                </a:ext>
              </a:extLst>
            </p:cNvPr>
            <p:cNvCxnSpPr/>
            <p:nvPr/>
          </p:nvCxnSpPr>
          <p:spPr>
            <a:xfrm>
              <a:off x="6092344" y="1439501"/>
              <a:ext cx="0" cy="48597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34BDF2C-9398-49AA-918E-18C46CFD2EF6}"/>
                </a:ext>
              </a:extLst>
            </p:cNvPr>
            <p:cNvCxnSpPr/>
            <p:nvPr/>
          </p:nvCxnSpPr>
          <p:spPr>
            <a:xfrm>
              <a:off x="9008048" y="1439501"/>
              <a:ext cx="0" cy="48597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8" name="Picture Placeholder 7">
            <a:extLst>
              <a:ext uri="{FF2B5EF4-FFF2-40B4-BE49-F238E27FC236}">
                <a16:creationId xmlns:a16="http://schemas.microsoft.com/office/drawing/2014/main" id="{E21DF793-A312-4CDC-9DC3-2398141FE923}"/>
              </a:ext>
            </a:extLst>
          </p:cNvPr>
          <p:cNvSpPr>
            <a:spLocks noGrp="1"/>
          </p:cNvSpPr>
          <p:nvPr userDrawn="1">
            <p:ph type="pic" sz="quarter" idx="26"/>
          </p:nvPr>
        </p:nvSpPr>
        <p:spPr>
          <a:xfrm>
            <a:off x="979442" y="1714507"/>
            <a:ext cx="1530000" cy="1457325"/>
          </a:xfrm>
          <a:prstGeom prst="ellipse">
            <a:avLst/>
          </a:prstGeom>
          <a:solidFill>
            <a:schemeClr val="bg1">
              <a:lumMod val="95000"/>
            </a:schemeClr>
          </a:solidFill>
        </p:spPr>
        <p:txBody>
          <a:bodyPr/>
          <a:lstStyle/>
          <a:p>
            <a:endParaRPr lang="en-GB"/>
          </a:p>
        </p:txBody>
      </p:sp>
      <p:sp>
        <p:nvSpPr>
          <p:cNvPr id="34" name="Text Placeholder 2">
            <a:extLst>
              <a:ext uri="{FF2B5EF4-FFF2-40B4-BE49-F238E27FC236}">
                <a16:creationId xmlns:a16="http://schemas.microsoft.com/office/drawing/2014/main" id="{9FDFA7E7-2563-48E6-A778-0C3B5EF5B800}"/>
              </a:ext>
            </a:extLst>
          </p:cNvPr>
          <p:cNvSpPr>
            <a:spLocks noGrp="1"/>
          </p:cNvSpPr>
          <p:nvPr userDrawn="1">
            <p:ph type="body" sz="quarter" idx="19"/>
          </p:nvPr>
        </p:nvSpPr>
        <p:spPr>
          <a:xfrm>
            <a:off x="466098" y="3340767"/>
            <a:ext cx="2512690" cy="440676"/>
          </a:xfrm>
        </p:spPr>
        <p:txBody>
          <a:bodyPr anchor="t" anchorCtr="0">
            <a:noAutofit/>
          </a:bodyPr>
          <a:lstStyle>
            <a:lvl1pPr>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35" name="Text Placeholder 2">
            <a:extLst>
              <a:ext uri="{FF2B5EF4-FFF2-40B4-BE49-F238E27FC236}">
                <a16:creationId xmlns:a16="http://schemas.microsoft.com/office/drawing/2014/main" id="{9DA9763A-A401-41FF-920C-22EC1C7FF5FD}"/>
              </a:ext>
            </a:extLst>
          </p:cNvPr>
          <p:cNvSpPr>
            <a:spLocks noGrp="1"/>
          </p:cNvSpPr>
          <p:nvPr userDrawn="1">
            <p:ph type="body" sz="quarter" idx="27"/>
          </p:nvPr>
        </p:nvSpPr>
        <p:spPr>
          <a:xfrm>
            <a:off x="3374492" y="3930893"/>
            <a:ext cx="2520000" cy="2431806"/>
          </a:xfrm>
        </p:spPr>
        <p:txBody>
          <a:bodyPr>
            <a:noAutofit/>
          </a:bodyPr>
          <a:lstStyle>
            <a:lvl1pPr>
              <a:lnSpc>
                <a:spcPct val="106000"/>
              </a:lnSpc>
              <a:spcAft>
                <a:spcPts val="400"/>
              </a:spcAft>
              <a:defRPr sz="1000" b="0">
                <a:solidFill>
                  <a:schemeClr val="tx1"/>
                </a:solidFill>
              </a:defRPr>
            </a:lvl1pPr>
            <a:lvl2pPr>
              <a:lnSpc>
                <a:spcPct val="106000"/>
              </a:lnSpc>
              <a:spcAft>
                <a:spcPts val="400"/>
              </a:spcAft>
              <a:defRPr sz="1000" b="0"/>
            </a:lvl2pPr>
            <a:lvl3pPr>
              <a:lnSpc>
                <a:spcPct val="106000"/>
              </a:lnSpc>
              <a:spcAft>
                <a:spcPts val="400"/>
              </a:spcAft>
              <a:defRPr sz="1000"/>
            </a:lvl3pPr>
            <a:lvl4pPr>
              <a:lnSpc>
                <a:spcPct val="106000"/>
              </a:lnSpc>
              <a:spcAft>
                <a:spcPts val="400"/>
              </a:spcAft>
              <a:defRPr sz="1000"/>
            </a:lvl4pPr>
            <a:lvl5pPr>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Picture Placeholder 7">
            <a:extLst>
              <a:ext uri="{FF2B5EF4-FFF2-40B4-BE49-F238E27FC236}">
                <a16:creationId xmlns:a16="http://schemas.microsoft.com/office/drawing/2014/main" id="{49990253-B949-4448-9A5C-6984704B85CD}"/>
              </a:ext>
            </a:extLst>
          </p:cNvPr>
          <p:cNvSpPr>
            <a:spLocks noGrp="1"/>
          </p:cNvSpPr>
          <p:nvPr userDrawn="1">
            <p:ph type="pic" sz="quarter" idx="28"/>
          </p:nvPr>
        </p:nvSpPr>
        <p:spPr>
          <a:xfrm>
            <a:off x="3855751" y="1714507"/>
            <a:ext cx="1530000" cy="1457325"/>
          </a:xfrm>
          <a:prstGeom prst="ellipse">
            <a:avLst/>
          </a:prstGeom>
          <a:solidFill>
            <a:schemeClr val="bg1">
              <a:lumMod val="95000"/>
            </a:schemeClr>
          </a:solidFill>
        </p:spPr>
        <p:txBody>
          <a:bodyPr/>
          <a:lstStyle/>
          <a:p>
            <a:endParaRPr lang="en-GB" dirty="0"/>
          </a:p>
        </p:txBody>
      </p:sp>
      <p:sp>
        <p:nvSpPr>
          <p:cNvPr id="38" name="Text Placeholder 2">
            <a:extLst>
              <a:ext uri="{FF2B5EF4-FFF2-40B4-BE49-F238E27FC236}">
                <a16:creationId xmlns:a16="http://schemas.microsoft.com/office/drawing/2014/main" id="{51DD802A-DF20-42C9-BFD6-A9D9CA080957}"/>
              </a:ext>
            </a:extLst>
          </p:cNvPr>
          <p:cNvSpPr>
            <a:spLocks noGrp="1"/>
          </p:cNvSpPr>
          <p:nvPr userDrawn="1">
            <p:ph type="body" sz="quarter" idx="29"/>
          </p:nvPr>
        </p:nvSpPr>
        <p:spPr>
          <a:xfrm>
            <a:off x="3374492" y="3340767"/>
            <a:ext cx="2512690" cy="440676"/>
          </a:xfrm>
        </p:spPr>
        <p:txBody>
          <a:bodyPr anchor="t" anchorCtr="0">
            <a:noAutofit/>
          </a:bodyPr>
          <a:lstStyle>
            <a:lvl1pPr>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39" name="Text Placeholder 2">
            <a:extLst>
              <a:ext uri="{FF2B5EF4-FFF2-40B4-BE49-F238E27FC236}">
                <a16:creationId xmlns:a16="http://schemas.microsoft.com/office/drawing/2014/main" id="{B16EA8FB-3ECA-499C-A5CE-BF07CF20039D}"/>
              </a:ext>
            </a:extLst>
          </p:cNvPr>
          <p:cNvSpPr>
            <a:spLocks noGrp="1"/>
          </p:cNvSpPr>
          <p:nvPr userDrawn="1">
            <p:ph type="body" sz="quarter" idx="30"/>
          </p:nvPr>
        </p:nvSpPr>
        <p:spPr>
          <a:xfrm>
            <a:off x="6290196" y="3930893"/>
            <a:ext cx="2520000" cy="2431806"/>
          </a:xfrm>
        </p:spPr>
        <p:txBody>
          <a:bodyPr>
            <a:noAutofit/>
          </a:bodyPr>
          <a:lstStyle>
            <a:lvl1pPr>
              <a:lnSpc>
                <a:spcPct val="106000"/>
              </a:lnSpc>
              <a:spcAft>
                <a:spcPts val="400"/>
              </a:spcAft>
              <a:defRPr sz="1000" b="0">
                <a:solidFill>
                  <a:schemeClr val="tx1"/>
                </a:solidFill>
              </a:defRPr>
            </a:lvl1pPr>
            <a:lvl2pPr>
              <a:lnSpc>
                <a:spcPct val="106000"/>
              </a:lnSpc>
              <a:spcAft>
                <a:spcPts val="400"/>
              </a:spcAft>
              <a:defRPr sz="1000" b="0"/>
            </a:lvl2pPr>
            <a:lvl3pPr>
              <a:lnSpc>
                <a:spcPct val="106000"/>
              </a:lnSpc>
              <a:spcAft>
                <a:spcPts val="400"/>
              </a:spcAft>
              <a:defRPr sz="1000"/>
            </a:lvl3pPr>
            <a:lvl4pPr>
              <a:lnSpc>
                <a:spcPct val="106000"/>
              </a:lnSpc>
              <a:spcAft>
                <a:spcPts val="400"/>
              </a:spcAft>
              <a:defRPr sz="1000"/>
            </a:lvl4pPr>
            <a:lvl5pPr>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1" name="Picture Placeholder 7">
            <a:extLst>
              <a:ext uri="{FF2B5EF4-FFF2-40B4-BE49-F238E27FC236}">
                <a16:creationId xmlns:a16="http://schemas.microsoft.com/office/drawing/2014/main" id="{98024A0D-6E95-48D7-8BBD-5830390402BD}"/>
              </a:ext>
            </a:extLst>
          </p:cNvPr>
          <p:cNvSpPr>
            <a:spLocks noGrp="1"/>
          </p:cNvSpPr>
          <p:nvPr userDrawn="1">
            <p:ph type="pic" sz="quarter" idx="31"/>
          </p:nvPr>
        </p:nvSpPr>
        <p:spPr>
          <a:xfrm>
            <a:off x="6762722" y="1714507"/>
            <a:ext cx="1530000" cy="1457325"/>
          </a:xfrm>
          <a:prstGeom prst="ellipse">
            <a:avLst/>
          </a:prstGeom>
          <a:solidFill>
            <a:schemeClr val="bg1">
              <a:lumMod val="95000"/>
            </a:schemeClr>
          </a:solidFill>
        </p:spPr>
        <p:txBody>
          <a:bodyPr/>
          <a:lstStyle/>
          <a:p>
            <a:endParaRPr lang="en-GB" dirty="0"/>
          </a:p>
        </p:txBody>
      </p:sp>
      <p:sp>
        <p:nvSpPr>
          <p:cNvPr id="42" name="Text Placeholder 2">
            <a:extLst>
              <a:ext uri="{FF2B5EF4-FFF2-40B4-BE49-F238E27FC236}">
                <a16:creationId xmlns:a16="http://schemas.microsoft.com/office/drawing/2014/main" id="{E7407EFF-2D00-41FA-9AD3-6C756D609484}"/>
              </a:ext>
            </a:extLst>
          </p:cNvPr>
          <p:cNvSpPr>
            <a:spLocks noGrp="1"/>
          </p:cNvSpPr>
          <p:nvPr userDrawn="1">
            <p:ph type="body" sz="quarter" idx="32"/>
          </p:nvPr>
        </p:nvSpPr>
        <p:spPr>
          <a:xfrm>
            <a:off x="6297505" y="3340767"/>
            <a:ext cx="2512690" cy="440676"/>
          </a:xfrm>
        </p:spPr>
        <p:txBody>
          <a:bodyPr anchor="t" anchorCtr="0">
            <a:noAutofit/>
          </a:bodyPr>
          <a:lstStyle>
            <a:lvl1pPr>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43" name="Text Placeholder 2">
            <a:extLst>
              <a:ext uri="{FF2B5EF4-FFF2-40B4-BE49-F238E27FC236}">
                <a16:creationId xmlns:a16="http://schemas.microsoft.com/office/drawing/2014/main" id="{BF4A31B0-8607-45BF-986D-6D9912CA2DE0}"/>
              </a:ext>
            </a:extLst>
          </p:cNvPr>
          <p:cNvSpPr>
            <a:spLocks noGrp="1"/>
          </p:cNvSpPr>
          <p:nvPr userDrawn="1">
            <p:ph type="body" sz="quarter" idx="33"/>
          </p:nvPr>
        </p:nvSpPr>
        <p:spPr>
          <a:xfrm>
            <a:off x="9205902" y="3930893"/>
            <a:ext cx="2520000" cy="2431806"/>
          </a:xfrm>
        </p:spPr>
        <p:txBody>
          <a:bodyPr>
            <a:noAutofit/>
          </a:bodyPr>
          <a:lstStyle>
            <a:lvl1pPr>
              <a:lnSpc>
                <a:spcPct val="106000"/>
              </a:lnSpc>
              <a:spcAft>
                <a:spcPts val="400"/>
              </a:spcAft>
              <a:defRPr sz="1000" b="0">
                <a:solidFill>
                  <a:schemeClr val="tx1"/>
                </a:solidFill>
              </a:defRPr>
            </a:lvl1pPr>
            <a:lvl2pPr>
              <a:lnSpc>
                <a:spcPct val="106000"/>
              </a:lnSpc>
              <a:spcAft>
                <a:spcPts val="400"/>
              </a:spcAft>
              <a:defRPr sz="1000" b="0"/>
            </a:lvl2pPr>
            <a:lvl3pPr>
              <a:lnSpc>
                <a:spcPct val="106000"/>
              </a:lnSpc>
              <a:spcAft>
                <a:spcPts val="400"/>
              </a:spcAft>
              <a:defRPr sz="1000"/>
            </a:lvl3pPr>
            <a:lvl4pPr>
              <a:lnSpc>
                <a:spcPct val="106000"/>
              </a:lnSpc>
              <a:spcAft>
                <a:spcPts val="400"/>
              </a:spcAft>
              <a:defRPr sz="1000"/>
            </a:lvl4pPr>
            <a:lvl5pPr>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5" name="Picture Placeholder 7">
            <a:extLst>
              <a:ext uri="{FF2B5EF4-FFF2-40B4-BE49-F238E27FC236}">
                <a16:creationId xmlns:a16="http://schemas.microsoft.com/office/drawing/2014/main" id="{50494B50-7D1F-40FB-A3F5-8241F5E16700}"/>
              </a:ext>
            </a:extLst>
          </p:cNvPr>
          <p:cNvSpPr>
            <a:spLocks noGrp="1"/>
          </p:cNvSpPr>
          <p:nvPr userDrawn="1">
            <p:ph type="pic" sz="quarter" idx="34"/>
          </p:nvPr>
        </p:nvSpPr>
        <p:spPr>
          <a:xfrm>
            <a:off x="9678429" y="1714507"/>
            <a:ext cx="1530000" cy="1457325"/>
          </a:xfrm>
          <a:prstGeom prst="ellipse">
            <a:avLst/>
          </a:prstGeom>
          <a:solidFill>
            <a:schemeClr val="bg1">
              <a:lumMod val="95000"/>
            </a:schemeClr>
          </a:solidFill>
        </p:spPr>
        <p:txBody>
          <a:bodyPr/>
          <a:lstStyle/>
          <a:p>
            <a:endParaRPr lang="en-GB" dirty="0"/>
          </a:p>
        </p:txBody>
      </p:sp>
      <p:sp>
        <p:nvSpPr>
          <p:cNvPr id="46" name="Text Placeholder 2">
            <a:extLst>
              <a:ext uri="{FF2B5EF4-FFF2-40B4-BE49-F238E27FC236}">
                <a16:creationId xmlns:a16="http://schemas.microsoft.com/office/drawing/2014/main" id="{173BFC37-BEC9-4C20-833F-9AD066BDD18F}"/>
              </a:ext>
            </a:extLst>
          </p:cNvPr>
          <p:cNvSpPr>
            <a:spLocks noGrp="1"/>
          </p:cNvSpPr>
          <p:nvPr userDrawn="1">
            <p:ph type="body" sz="quarter" idx="35"/>
          </p:nvPr>
        </p:nvSpPr>
        <p:spPr>
          <a:xfrm>
            <a:off x="9213212" y="3340767"/>
            <a:ext cx="2512690" cy="440676"/>
          </a:xfrm>
        </p:spPr>
        <p:txBody>
          <a:bodyPr anchor="t" anchorCtr="0">
            <a:noAutofit/>
          </a:bodyPr>
          <a:lstStyle>
            <a:lvl1pPr>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214418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am profile_10 layout">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936000"/>
            <a:ext cx="11277600" cy="607110"/>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417600"/>
            <a:ext cx="11277600"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4" name="Picture Placeholder 3">
            <a:extLst>
              <a:ext uri="{FF2B5EF4-FFF2-40B4-BE49-F238E27FC236}">
                <a16:creationId xmlns:a16="http://schemas.microsoft.com/office/drawing/2014/main" id="{EBB87FA1-A9A7-4D67-B87A-B90B51DCAE81}"/>
              </a:ext>
            </a:extLst>
          </p:cNvPr>
          <p:cNvSpPr>
            <a:spLocks noGrp="1"/>
          </p:cNvSpPr>
          <p:nvPr>
            <p:ph type="pic" sz="quarter" idx="22"/>
          </p:nvPr>
        </p:nvSpPr>
        <p:spPr>
          <a:xfrm>
            <a:off x="918509" y="1649999"/>
            <a:ext cx="1044000" cy="1044000"/>
          </a:xfrm>
          <a:prstGeom prst="ellipse">
            <a:avLst/>
          </a:prstGeom>
          <a:solidFill>
            <a:schemeClr val="bg1">
              <a:lumMod val="95000"/>
            </a:schemeClr>
          </a:solidFill>
        </p:spPr>
        <p:txBody>
          <a:bodyPr/>
          <a:lstStyle/>
          <a:p>
            <a:endParaRPr lang="en-GB"/>
          </a:p>
        </p:txBody>
      </p:sp>
      <p:cxnSp>
        <p:nvCxnSpPr>
          <p:cNvPr id="24" name="Straight Connector 23">
            <a:extLst>
              <a:ext uri="{FF2B5EF4-FFF2-40B4-BE49-F238E27FC236}">
                <a16:creationId xmlns:a16="http://schemas.microsoft.com/office/drawing/2014/main" id="{BE4815D8-2443-4215-86BC-1EADBD4EC08A}"/>
              </a:ext>
            </a:extLst>
          </p:cNvPr>
          <p:cNvCxnSpPr>
            <a:cxnSpLocks/>
          </p:cNvCxnSpPr>
          <p:nvPr userDrawn="1"/>
        </p:nvCxnSpPr>
        <p:spPr>
          <a:xfrm>
            <a:off x="1242910"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B2CAC3F-D88D-4E4D-B41D-2E734CDC51A6}"/>
              </a:ext>
            </a:extLst>
          </p:cNvPr>
          <p:cNvSpPr>
            <a:spLocks noGrp="1"/>
          </p:cNvSpPr>
          <p:nvPr>
            <p:ph type="body" sz="quarter" idx="23"/>
          </p:nvPr>
        </p:nvSpPr>
        <p:spPr>
          <a:xfrm>
            <a:off x="504509" y="2802788"/>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6" name="Text Placeholder 5">
            <a:extLst>
              <a:ext uri="{FF2B5EF4-FFF2-40B4-BE49-F238E27FC236}">
                <a16:creationId xmlns:a16="http://schemas.microsoft.com/office/drawing/2014/main" id="{993081A5-9D72-401F-86D3-EBDEC265C630}"/>
              </a:ext>
            </a:extLst>
          </p:cNvPr>
          <p:cNvSpPr>
            <a:spLocks noGrp="1"/>
          </p:cNvSpPr>
          <p:nvPr>
            <p:ph type="body" sz="quarter" idx="24"/>
          </p:nvPr>
        </p:nvSpPr>
        <p:spPr>
          <a:xfrm>
            <a:off x="504509" y="3308413"/>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50" name="Picture Placeholder 3">
            <a:extLst>
              <a:ext uri="{FF2B5EF4-FFF2-40B4-BE49-F238E27FC236}">
                <a16:creationId xmlns:a16="http://schemas.microsoft.com/office/drawing/2014/main" id="{F10FC35E-F476-45A0-97FF-19D6E49F4DEC}"/>
              </a:ext>
            </a:extLst>
          </p:cNvPr>
          <p:cNvSpPr>
            <a:spLocks noGrp="1"/>
          </p:cNvSpPr>
          <p:nvPr>
            <p:ph type="pic" sz="quarter" idx="25"/>
          </p:nvPr>
        </p:nvSpPr>
        <p:spPr>
          <a:xfrm>
            <a:off x="918509" y="3977517"/>
            <a:ext cx="1044000" cy="1044000"/>
          </a:xfrm>
          <a:prstGeom prst="ellipse">
            <a:avLst/>
          </a:prstGeom>
          <a:solidFill>
            <a:schemeClr val="bg1">
              <a:lumMod val="95000"/>
            </a:schemeClr>
          </a:solidFill>
        </p:spPr>
        <p:txBody>
          <a:bodyPr/>
          <a:lstStyle/>
          <a:p>
            <a:endParaRPr lang="en-GB"/>
          </a:p>
        </p:txBody>
      </p:sp>
      <p:cxnSp>
        <p:nvCxnSpPr>
          <p:cNvPr id="51" name="Straight Connector 50">
            <a:extLst>
              <a:ext uri="{FF2B5EF4-FFF2-40B4-BE49-F238E27FC236}">
                <a16:creationId xmlns:a16="http://schemas.microsoft.com/office/drawing/2014/main" id="{714C7665-A7A6-4486-8453-F0F52E17913B}"/>
              </a:ext>
            </a:extLst>
          </p:cNvPr>
          <p:cNvCxnSpPr>
            <a:cxnSpLocks/>
          </p:cNvCxnSpPr>
          <p:nvPr userDrawn="1"/>
        </p:nvCxnSpPr>
        <p:spPr>
          <a:xfrm>
            <a:off x="1242910"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
            <a:extLst>
              <a:ext uri="{FF2B5EF4-FFF2-40B4-BE49-F238E27FC236}">
                <a16:creationId xmlns:a16="http://schemas.microsoft.com/office/drawing/2014/main" id="{5F51A724-28CC-4114-BE83-7BC69A80CB38}"/>
              </a:ext>
            </a:extLst>
          </p:cNvPr>
          <p:cNvSpPr>
            <a:spLocks noGrp="1"/>
          </p:cNvSpPr>
          <p:nvPr>
            <p:ph type="body" sz="quarter" idx="26"/>
          </p:nvPr>
        </p:nvSpPr>
        <p:spPr>
          <a:xfrm>
            <a:off x="504509" y="5130306"/>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53" name="Text Placeholder 5">
            <a:extLst>
              <a:ext uri="{FF2B5EF4-FFF2-40B4-BE49-F238E27FC236}">
                <a16:creationId xmlns:a16="http://schemas.microsoft.com/office/drawing/2014/main" id="{6AC830A3-E614-4D7D-8182-82699360AD5B}"/>
              </a:ext>
            </a:extLst>
          </p:cNvPr>
          <p:cNvSpPr>
            <a:spLocks noGrp="1"/>
          </p:cNvSpPr>
          <p:nvPr>
            <p:ph type="body" sz="quarter" idx="27"/>
          </p:nvPr>
        </p:nvSpPr>
        <p:spPr>
          <a:xfrm>
            <a:off x="504509" y="5702439"/>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54" name="Picture Placeholder 3">
            <a:extLst>
              <a:ext uri="{FF2B5EF4-FFF2-40B4-BE49-F238E27FC236}">
                <a16:creationId xmlns:a16="http://schemas.microsoft.com/office/drawing/2014/main" id="{F78AE723-1CB0-40FE-9706-082AD51D122E}"/>
              </a:ext>
            </a:extLst>
          </p:cNvPr>
          <p:cNvSpPr>
            <a:spLocks noGrp="1"/>
          </p:cNvSpPr>
          <p:nvPr>
            <p:ph type="pic" sz="quarter" idx="28"/>
          </p:nvPr>
        </p:nvSpPr>
        <p:spPr>
          <a:xfrm>
            <a:off x="3241648" y="1649999"/>
            <a:ext cx="1044000" cy="1044000"/>
          </a:xfrm>
          <a:prstGeom prst="ellipse">
            <a:avLst/>
          </a:prstGeom>
          <a:solidFill>
            <a:schemeClr val="bg1">
              <a:lumMod val="95000"/>
            </a:schemeClr>
          </a:solidFill>
        </p:spPr>
        <p:txBody>
          <a:bodyPr/>
          <a:lstStyle/>
          <a:p>
            <a:endParaRPr lang="en-GB"/>
          </a:p>
        </p:txBody>
      </p:sp>
      <p:cxnSp>
        <p:nvCxnSpPr>
          <p:cNvPr id="55" name="Straight Connector 54">
            <a:extLst>
              <a:ext uri="{FF2B5EF4-FFF2-40B4-BE49-F238E27FC236}">
                <a16:creationId xmlns:a16="http://schemas.microsoft.com/office/drawing/2014/main" id="{F71B027A-1D84-44E4-BCFF-21821A4B89EE}"/>
              </a:ext>
            </a:extLst>
          </p:cNvPr>
          <p:cNvCxnSpPr>
            <a:cxnSpLocks/>
          </p:cNvCxnSpPr>
          <p:nvPr userDrawn="1"/>
        </p:nvCxnSpPr>
        <p:spPr>
          <a:xfrm>
            <a:off x="3566348"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a16="http://schemas.microsoft.com/office/drawing/2014/main" id="{26F6DDCC-5EC9-410C-8B2C-9CE693E7A045}"/>
              </a:ext>
            </a:extLst>
          </p:cNvPr>
          <p:cNvSpPr>
            <a:spLocks noGrp="1"/>
          </p:cNvSpPr>
          <p:nvPr>
            <p:ph type="body" sz="quarter" idx="29"/>
          </p:nvPr>
        </p:nvSpPr>
        <p:spPr>
          <a:xfrm>
            <a:off x="2827947" y="2802788"/>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74" name="Text Placeholder 5">
            <a:extLst>
              <a:ext uri="{FF2B5EF4-FFF2-40B4-BE49-F238E27FC236}">
                <a16:creationId xmlns:a16="http://schemas.microsoft.com/office/drawing/2014/main" id="{DC986D57-1E40-4119-B7F8-DFD27A16BA7C}"/>
              </a:ext>
            </a:extLst>
          </p:cNvPr>
          <p:cNvSpPr>
            <a:spLocks noGrp="1"/>
          </p:cNvSpPr>
          <p:nvPr>
            <p:ph type="body" sz="quarter" idx="30"/>
          </p:nvPr>
        </p:nvSpPr>
        <p:spPr>
          <a:xfrm>
            <a:off x="2827947" y="3308413"/>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75" name="Picture Placeholder 3">
            <a:extLst>
              <a:ext uri="{FF2B5EF4-FFF2-40B4-BE49-F238E27FC236}">
                <a16:creationId xmlns:a16="http://schemas.microsoft.com/office/drawing/2014/main" id="{EAD6E6BB-597D-422D-B563-E88D1BFFAB23}"/>
              </a:ext>
            </a:extLst>
          </p:cNvPr>
          <p:cNvSpPr>
            <a:spLocks noGrp="1"/>
          </p:cNvSpPr>
          <p:nvPr>
            <p:ph type="pic" sz="quarter" idx="31"/>
          </p:nvPr>
        </p:nvSpPr>
        <p:spPr>
          <a:xfrm>
            <a:off x="5564787" y="1649999"/>
            <a:ext cx="1044000" cy="1044000"/>
          </a:xfrm>
          <a:prstGeom prst="ellipse">
            <a:avLst/>
          </a:prstGeom>
          <a:solidFill>
            <a:schemeClr val="bg1">
              <a:lumMod val="95000"/>
            </a:schemeClr>
          </a:solidFill>
        </p:spPr>
        <p:txBody>
          <a:bodyPr/>
          <a:lstStyle/>
          <a:p>
            <a:endParaRPr lang="en-GB"/>
          </a:p>
        </p:txBody>
      </p:sp>
      <p:cxnSp>
        <p:nvCxnSpPr>
          <p:cNvPr id="76" name="Straight Connector 75">
            <a:extLst>
              <a:ext uri="{FF2B5EF4-FFF2-40B4-BE49-F238E27FC236}">
                <a16:creationId xmlns:a16="http://schemas.microsoft.com/office/drawing/2014/main" id="{7B160D8E-58C4-4745-ABDB-6C36238BC6B0}"/>
              </a:ext>
            </a:extLst>
          </p:cNvPr>
          <p:cNvCxnSpPr>
            <a:cxnSpLocks/>
          </p:cNvCxnSpPr>
          <p:nvPr userDrawn="1"/>
        </p:nvCxnSpPr>
        <p:spPr>
          <a:xfrm>
            <a:off x="5889786"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Text Placeholder 2">
            <a:extLst>
              <a:ext uri="{FF2B5EF4-FFF2-40B4-BE49-F238E27FC236}">
                <a16:creationId xmlns:a16="http://schemas.microsoft.com/office/drawing/2014/main" id="{23583BA1-BC96-4293-B00D-9AE7BBB95262}"/>
              </a:ext>
            </a:extLst>
          </p:cNvPr>
          <p:cNvSpPr>
            <a:spLocks noGrp="1"/>
          </p:cNvSpPr>
          <p:nvPr>
            <p:ph type="body" sz="quarter" idx="32"/>
          </p:nvPr>
        </p:nvSpPr>
        <p:spPr>
          <a:xfrm>
            <a:off x="5151385" y="2802788"/>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78" name="Text Placeholder 5">
            <a:extLst>
              <a:ext uri="{FF2B5EF4-FFF2-40B4-BE49-F238E27FC236}">
                <a16:creationId xmlns:a16="http://schemas.microsoft.com/office/drawing/2014/main" id="{E3F580CF-C390-4B11-8141-C807A14E3B9A}"/>
              </a:ext>
            </a:extLst>
          </p:cNvPr>
          <p:cNvSpPr>
            <a:spLocks noGrp="1"/>
          </p:cNvSpPr>
          <p:nvPr>
            <p:ph type="body" sz="quarter" idx="33"/>
          </p:nvPr>
        </p:nvSpPr>
        <p:spPr>
          <a:xfrm>
            <a:off x="5151385" y="3308413"/>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79" name="Picture Placeholder 3">
            <a:extLst>
              <a:ext uri="{FF2B5EF4-FFF2-40B4-BE49-F238E27FC236}">
                <a16:creationId xmlns:a16="http://schemas.microsoft.com/office/drawing/2014/main" id="{35DA8194-759C-499A-92AD-2334ECA6A722}"/>
              </a:ext>
            </a:extLst>
          </p:cNvPr>
          <p:cNvSpPr>
            <a:spLocks noGrp="1"/>
          </p:cNvSpPr>
          <p:nvPr>
            <p:ph type="pic" sz="quarter" idx="34"/>
          </p:nvPr>
        </p:nvSpPr>
        <p:spPr>
          <a:xfrm>
            <a:off x="7887926" y="1649999"/>
            <a:ext cx="1044000" cy="1044000"/>
          </a:xfrm>
          <a:prstGeom prst="ellipse">
            <a:avLst/>
          </a:prstGeom>
          <a:solidFill>
            <a:schemeClr val="bg1">
              <a:lumMod val="95000"/>
            </a:schemeClr>
          </a:solidFill>
        </p:spPr>
        <p:txBody>
          <a:bodyPr/>
          <a:lstStyle/>
          <a:p>
            <a:endParaRPr lang="en-GB"/>
          </a:p>
        </p:txBody>
      </p:sp>
      <p:cxnSp>
        <p:nvCxnSpPr>
          <p:cNvPr id="80" name="Straight Connector 79">
            <a:extLst>
              <a:ext uri="{FF2B5EF4-FFF2-40B4-BE49-F238E27FC236}">
                <a16:creationId xmlns:a16="http://schemas.microsoft.com/office/drawing/2014/main" id="{84E427F4-E79E-474B-BF34-D81F4B61085D}"/>
              </a:ext>
            </a:extLst>
          </p:cNvPr>
          <p:cNvCxnSpPr>
            <a:cxnSpLocks/>
          </p:cNvCxnSpPr>
          <p:nvPr userDrawn="1"/>
        </p:nvCxnSpPr>
        <p:spPr>
          <a:xfrm>
            <a:off x="8212028"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Text Placeholder 2">
            <a:extLst>
              <a:ext uri="{FF2B5EF4-FFF2-40B4-BE49-F238E27FC236}">
                <a16:creationId xmlns:a16="http://schemas.microsoft.com/office/drawing/2014/main" id="{F552059D-B598-4791-8B17-A02E881C5B36}"/>
              </a:ext>
            </a:extLst>
          </p:cNvPr>
          <p:cNvSpPr>
            <a:spLocks noGrp="1"/>
          </p:cNvSpPr>
          <p:nvPr>
            <p:ph type="body" sz="quarter" idx="35"/>
          </p:nvPr>
        </p:nvSpPr>
        <p:spPr>
          <a:xfrm>
            <a:off x="7473627" y="2802788"/>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82" name="Text Placeholder 5">
            <a:extLst>
              <a:ext uri="{FF2B5EF4-FFF2-40B4-BE49-F238E27FC236}">
                <a16:creationId xmlns:a16="http://schemas.microsoft.com/office/drawing/2014/main" id="{DC022B67-4084-4B9A-8226-D9344115C32C}"/>
              </a:ext>
            </a:extLst>
          </p:cNvPr>
          <p:cNvSpPr>
            <a:spLocks noGrp="1"/>
          </p:cNvSpPr>
          <p:nvPr>
            <p:ph type="body" sz="quarter" idx="36"/>
          </p:nvPr>
        </p:nvSpPr>
        <p:spPr>
          <a:xfrm>
            <a:off x="7473627" y="3308413"/>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83" name="Picture Placeholder 3">
            <a:extLst>
              <a:ext uri="{FF2B5EF4-FFF2-40B4-BE49-F238E27FC236}">
                <a16:creationId xmlns:a16="http://schemas.microsoft.com/office/drawing/2014/main" id="{C73DC3C3-5394-4EF2-A2BC-FC6E6774D940}"/>
              </a:ext>
            </a:extLst>
          </p:cNvPr>
          <p:cNvSpPr>
            <a:spLocks noGrp="1"/>
          </p:cNvSpPr>
          <p:nvPr>
            <p:ph type="pic" sz="quarter" idx="37"/>
          </p:nvPr>
        </p:nvSpPr>
        <p:spPr>
          <a:xfrm>
            <a:off x="10211065" y="1649999"/>
            <a:ext cx="1044000" cy="1044000"/>
          </a:xfrm>
          <a:prstGeom prst="ellipse">
            <a:avLst/>
          </a:prstGeom>
          <a:solidFill>
            <a:schemeClr val="bg1">
              <a:lumMod val="95000"/>
            </a:schemeClr>
          </a:solidFill>
        </p:spPr>
        <p:txBody>
          <a:bodyPr/>
          <a:lstStyle/>
          <a:p>
            <a:endParaRPr lang="en-GB"/>
          </a:p>
        </p:txBody>
      </p:sp>
      <p:cxnSp>
        <p:nvCxnSpPr>
          <p:cNvPr id="84" name="Straight Connector 83">
            <a:extLst>
              <a:ext uri="{FF2B5EF4-FFF2-40B4-BE49-F238E27FC236}">
                <a16:creationId xmlns:a16="http://schemas.microsoft.com/office/drawing/2014/main" id="{A6E81B85-DB7E-4D0E-9A4B-1E726CBA4AD6}"/>
              </a:ext>
            </a:extLst>
          </p:cNvPr>
          <p:cNvCxnSpPr>
            <a:cxnSpLocks/>
          </p:cNvCxnSpPr>
          <p:nvPr userDrawn="1"/>
        </p:nvCxnSpPr>
        <p:spPr>
          <a:xfrm>
            <a:off x="10535466"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Text Placeholder 2">
            <a:extLst>
              <a:ext uri="{FF2B5EF4-FFF2-40B4-BE49-F238E27FC236}">
                <a16:creationId xmlns:a16="http://schemas.microsoft.com/office/drawing/2014/main" id="{FE39DA8B-4260-47E9-A641-36FCBBC467F7}"/>
              </a:ext>
            </a:extLst>
          </p:cNvPr>
          <p:cNvSpPr>
            <a:spLocks noGrp="1"/>
          </p:cNvSpPr>
          <p:nvPr>
            <p:ph type="body" sz="quarter" idx="38"/>
          </p:nvPr>
        </p:nvSpPr>
        <p:spPr>
          <a:xfrm>
            <a:off x="9797065" y="2802788"/>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86" name="Text Placeholder 5">
            <a:extLst>
              <a:ext uri="{FF2B5EF4-FFF2-40B4-BE49-F238E27FC236}">
                <a16:creationId xmlns:a16="http://schemas.microsoft.com/office/drawing/2014/main" id="{B531FAF4-1687-452D-A416-201C2A076B18}"/>
              </a:ext>
            </a:extLst>
          </p:cNvPr>
          <p:cNvSpPr>
            <a:spLocks noGrp="1"/>
          </p:cNvSpPr>
          <p:nvPr>
            <p:ph type="body" sz="quarter" idx="39"/>
          </p:nvPr>
        </p:nvSpPr>
        <p:spPr>
          <a:xfrm>
            <a:off x="9797065" y="3308413"/>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87" name="Picture Placeholder 3">
            <a:extLst>
              <a:ext uri="{FF2B5EF4-FFF2-40B4-BE49-F238E27FC236}">
                <a16:creationId xmlns:a16="http://schemas.microsoft.com/office/drawing/2014/main" id="{F43FAE7D-08BF-4420-BF10-2F1862F8B5F1}"/>
              </a:ext>
            </a:extLst>
          </p:cNvPr>
          <p:cNvSpPr>
            <a:spLocks noGrp="1"/>
          </p:cNvSpPr>
          <p:nvPr>
            <p:ph type="pic" sz="quarter" idx="40"/>
          </p:nvPr>
        </p:nvSpPr>
        <p:spPr>
          <a:xfrm>
            <a:off x="3241648" y="3977517"/>
            <a:ext cx="1044000" cy="1044000"/>
          </a:xfrm>
          <a:prstGeom prst="ellipse">
            <a:avLst/>
          </a:prstGeom>
          <a:solidFill>
            <a:schemeClr val="bg1">
              <a:lumMod val="95000"/>
            </a:schemeClr>
          </a:solidFill>
        </p:spPr>
        <p:txBody>
          <a:bodyPr/>
          <a:lstStyle/>
          <a:p>
            <a:endParaRPr lang="en-GB"/>
          </a:p>
        </p:txBody>
      </p:sp>
      <p:cxnSp>
        <p:nvCxnSpPr>
          <p:cNvPr id="88" name="Straight Connector 87">
            <a:extLst>
              <a:ext uri="{FF2B5EF4-FFF2-40B4-BE49-F238E27FC236}">
                <a16:creationId xmlns:a16="http://schemas.microsoft.com/office/drawing/2014/main" id="{CF2C30AF-8741-44EA-8C7E-01F4E8602EEA}"/>
              </a:ext>
            </a:extLst>
          </p:cNvPr>
          <p:cNvCxnSpPr>
            <a:cxnSpLocks/>
          </p:cNvCxnSpPr>
          <p:nvPr userDrawn="1"/>
        </p:nvCxnSpPr>
        <p:spPr>
          <a:xfrm>
            <a:off x="3566348"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89" name="Text Placeholder 2">
            <a:extLst>
              <a:ext uri="{FF2B5EF4-FFF2-40B4-BE49-F238E27FC236}">
                <a16:creationId xmlns:a16="http://schemas.microsoft.com/office/drawing/2014/main" id="{67AEC111-D4D6-4BA8-85DF-711E4D514626}"/>
              </a:ext>
            </a:extLst>
          </p:cNvPr>
          <p:cNvSpPr>
            <a:spLocks noGrp="1"/>
          </p:cNvSpPr>
          <p:nvPr>
            <p:ph type="body" sz="quarter" idx="41"/>
          </p:nvPr>
        </p:nvSpPr>
        <p:spPr>
          <a:xfrm>
            <a:off x="2827947" y="5130306"/>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0" name="Text Placeholder 5">
            <a:extLst>
              <a:ext uri="{FF2B5EF4-FFF2-40B4-BE49-F238E27FC236}">
                <a16:creationId xmlns:a16="http://schemas.microsoft.com/office/drawing/2014/main" id="{88928627-1AA7-4218-8C34-C820099BF4F7}"/>
              </a:ext>
            </a:extLst>
          </p:cNvPr>
          <p:cNvSpPr>
            <a:spLocks noGrp="1"/>
          </p:cNvSpPr>
          <p:nvPr>
            <p:ph type="body" sz="quarter" idx="42"/>
          </p:nvPr>
        </p:nvSpPr>
        <p:spPr>
          <a:xfrm>
            <a:off x="2827947" y="5702439"/>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1" name="Picture Placeholder 3">
            <a:extLst>
              <a:ext uri="{FF2B5EF4-FFF2-40B4-BE49-F238E27FC236}">
                <a16:creationId xmlns:a16="http://schemas.microsoft.com/office/drawing/2014/main" id="{FEDF244A-203E-496B-86FC-018606150C17}"/>
              </a:ext>
            </a:extLst>
          </p:cNvPr>
          <p:cNvSpPr>
            <a:spLocks noGrp="1"/>
          </p:cNvSpPr>
          <p:nvPr>
            <p:ph type="pic" sz="quarter" idx="43"/>
          </p:nvPr>
        </p:nvSpPr>
        <p:spPr>
          <a:xfrm>
            <a:off x="5564787" y="3977517"/>
            <a:ext cx="1044000" cy="1044000"/>
          </a:xfrm>
          <a:prstGeom prst="ellipse">
            <a:avLst/>
          </a:prstGeom>
          <a:solidFill>
            <a:schemeClr val="bg1">
              <a:lumMod val="95000"/>
            </a:schemeClr>
          </a:solidFill>
        </p:spPr>
        <p:txBody>
          <a:bodyPr/>
          <a:lstStyle/>
          <a:p>
            <a:endParaRPr lang="en-GB"/>
          </a:p>
        </p:txBody>
      </p:sp>
      <p:cxnSp>
        <p:nvCxnSpPr>
          <p:cNvPr id="92" name="Straight Connector 91">
            <a:extLst>
              <a:ext uri="{FF2B5EF4-FFF2-40B4-BE49-F238E27FC236}">
                <a16:creationId xmlns:a16="http://schemas.microsoft.com/office/drawing/2014/main" id="{BB601599-0B23-4862-A375-2FCD95974C8D}"/>
              </a:ext>
            </a:extLst>
          </p:cNvPr>
          <p:cNvCxnSpPr>
            <a:cxnSpLocks/>
          </p:cNvCxnSpPr>
          <p:nvPr userDrawn="1"/>
        </p:nvCxnSpPr>
        <p:spPr>
          <a:xfrm>
            <a:off x="5889786"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3" name="Text Placeholder 2">
            <a:extLst>
              <a:ext uri="{FF2B5EF4-FFF2-40B4-BE49-F238E27FC236}">
                <a16:creationId xmlns:a16="http://schemas.microsoft.com/office/drawing/2014/main" id="{98FC2A9D-01C5-415E-96CD-F5F24964367D}"/>
              </a:ext>
            </a:extLst>
          </p:cNvPr>
          <p:cNvSpPr>
            <a:spLocks noGrp="1"/>
          </p:cNvSpPr>
          <p:nvPr>
            <p:ph type="body" sz="quarter" idx="44"/>
          </p:nvPr>
        </p:nvSpPr>
        <p:spPr>
          <a:xfrm>
            <a:off x="5151385" y="5130306"/>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4" name="Text Placeholder 5">
            <a:extLst>
              <a:ext uri="{FF2B5EF4-FFF2-40B4-BE49-F238E27FC236}">
                <a16:creationId xmlns:a16="http://schemas.microsoft.com/office/drawing/2014/main" id="{659E7EDB-C5B1-4C4A-BA2E-C9543E5CDDA3}"/>
              </a:ext>
            </a:extLst>
          </p:cNvPr>
          <p:cNvSpPr>
            <a:spLocks noGrp="1"/>
          </p:cNvSpPr>
          <p:nvPr>
            <p:ph type="body" sz="quarter" idx="45"/>
          </p:nvPr>
        </p:nvSpPr>
        <p:spPr>
          <a:xfrm>
            <a:off x="5151385" y="5702439"/>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5" name="Picture Placeholder 3">
            <a:extLst>
              <a:ext uri="{FF2B5EF4-FFF2-40B4-BE49-F238E27FC236}">
                <a16:creationId xmlns:a16="http://schemas.microsoft.com/office/drawing/2014/main" id="{605566B2-98A4-4E89-98F9-0462733A367B}"/>
              </a:ext>
            </a:extLst>
          </p:cNvPr>
          <p:cNvSpPr>
            <a:spLocks noGrp="1"/>
          </p:cNvSpPr>
          <p:nvPr>
            <p:ph type="pic" sz="quarter" idx="46"/>
          </p:nvPr>
        </p:nvSpPr>
        <p:spPr>
          <a:xfrm>
            <a:off x="7887926" y="3977517"/>
            <a:ext cx="1044000" cy="1044000"/>
          </a:xfrm>
          <a:prstGeom prst="ellipse">
            <a:avLst/>
          </a:prstGeom>
          <a:solidFill>
            <a:schemeClr val="bg1">
              <a:lumMod val="95000"/>
            </a:schemeClr>
          </a:solidFill>
        </p:spPr>
        <p:txBody>
          <a:bodyPr/>
          <a:lstStyle/>
          <a:p>
            <a:endParaRPr lang="en-GB"/>
          </a:p>
        </p:txBody>
      </p:sp>
      <p:cxnSp>
        <p:nvCxnSpPr>
          <p:cNvPr id="96" name="Straight Connector 95">
            <a:extLst>
              <a:ext uri="{FF2B5EF4-FFF2-40B4-BE49-F238E27FC236}">
                <a16:creationId xmlns:a16="http://schemas.microsoft.com/office/drawing/2014/main" id="{2D143964-55A9-44DE-975E-BBA5CE804A19}"/>
              </a:ext>
            </a:extLst>
          </p:cNvPr>
          <p:cNvCxnSpPr>
            <a:cxnSpLocks/>
          </p:cNvCxnSpPr>
          <p:nvPr userDrawn="1"/>
        </p:nvCxnSpPr>
        <p:spPr>
          <a:xfrm>
            <a:off x="8212028"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Text Placeholder 2">
            <a:extLst>
              <a:ext uri="{FF2B5EF4-FFF2-40B4-BE49-F238E27FC236}">
                <a16:creationId xmlns:a16="http://schemas.microsoft.com/office/drawing/2014/main" id="{5DE8BEBD-714D-4121-8ED5-25B393A6879A}"/>
              </a:ext>
            </a:extLst>
          </p:cNvPr>
          <p:cNvSpPr>
            <a:spLocks noGrp="1"/>
          </p:cNvSpPr>
          <p:nvPr>
            <p:ph type="body" sz="quarter" idx="47"/>
          </p:nvPr>
        </p:nvSpPr>
        <p:spPr>
          <a:xfrm>
            <a:off x="7473627" y="5130306"/>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8" name="Text Placeholder 5">
            <a:extLst>
              <a:ext uri="{FF2B5EF4-FFF2-40B4-BE49-F238E27FC236}">
                <a16:creationId xmlns:a16="http://schemas.microsoft.com/office/drawing/2014/main" id="{5BB0644B-1380-411C-9F95-5597AB426F89}"/>
              </a:ext>
            </a:extLst>
          </p:cNvPr>
          <p:cNvSpPr>
            <a:spLocks noGrp="1"/>
          </p:cNvSpPr>
          <p:nvPr>
            <p:ph type="body" sz="quarter" idx="48"/>
          </p:nvPr>
        </p:nvSpPr>
        <p:spPr>
          <a:xfrm>
            <a:off x="7473627" y="5702439"/>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9" name="Picture Placeholder 3">
            <a:extLst>
              <a:ext uri="{FF2B5EF4-FFF2-40B4-BE49-F238E27FC236}">
                <a16:creationId xmlns:a16="http://schemas.microsoft.com/office/drawing/2014/main" id="{D351A70F-9575-47CA-AF5E-5FBD2BEDF47F}"/>
              </a:ext>
            </a:extLst>
          </p:cNvPr>
          <p:cNvSpPr>
            <a:spLocks noGrp="1"/>
          </p:cNvSpPr>
          <p:nvPr>
            <p:ph type="pic" sz="quarter" idx="49"/>
          </p:nvPr>
        </p:nvSpPr>
        <p:spPr>
          <a:xfrm>
            <a:off x="10211065" y="3977517"/>
            <a:ext cx="1044000" cy="1044000"/>
          </a:xfrm>
          <a:prstGeom prst="ellipse">
            <a:avLst/>
          </a:prstGeom>
          <a:solidFill>
            <a:schemeClr val="bg1">
              <a:lumMod val="95000"/>
            </a:schemeClr>
          </a:solidFill>
        </p:spPr>
        <p:txBody>
          <a:bodyPr/>
          <a:lstStyle/>
          <a:p>
            <a:endParaRPr lang="en-GB"/>
          </a:p>
        </p:txBody>
      </p:sp>
      <p:cxnSp>
        <p:nvCxnSpPr>
          <p:cNvPr id="100" name="Straight Connector 99">
            <a:extLst>
              <a:ext uri="{FF2B5EF4-FFF2-40B4-BE49-F238E27FC236}">
                <a16:creationId xmlns:a16="http://schemas.microsoft.com/office/drawing/2014/main" id="{57D58268-E30C-4119-B1E6-C2E429719A3B}"/>
              </a:ext>
            </a:extLst>
          </p:cNvPr>
          <p:cNvCxnSpPr>
            <a:cxnSpLocks/>
          </p:cNvCxnSpPr>
          <p:nvPr userDrawn="1"/>
        </p:nvCxnSpPr>
        <p:spPr>
          <a:xfrm>
            <a:off x="10535466"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01" name="Text Placeholder 2">
            <a:extLst>
              <a:ext uri="{FF2B5EF4-FFF2-40B4-BE49-F238E27FC236}">
                <a16:creationId xmlns:a16="http://schemas.microsoft.com/office/drawing/2014/main" id="{DDB3AD93-AF25-46BC-B8E6-E77216C665FD}"/>
              </a:ext>
            </a:extLst>
          </p:cNvPr>
          <p:cNvSpPr>
            <a:spLocks noGrp="1"/>
          </p:cNvSpPr>
          <p:nvPr>
            <p:ph type="body" sz="quarter" idx="50"/>
          </p:nvPr>
        </p:nvSpPr>
        <p:spPr>
          <a:xfrm>
            <a:off x="9797065" y="5130306"/>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102" name="Text Placeholder 5">
            <a:extLst>
              <a:ext uri="{FF2B5EF4-FFF2-40B4-BE49-F238E27FC236}">
                <a16:creationId xmlns:a16="http://schemas.microsoft.com/office/drawing/2014/main" id="{0C1B23BA-33C4-4236-8AF6-6F01312E7130}"/>
              </a:ext>
            </a:extLst>
          </p:cNvPr>
          <p:cNvSpPr>
            <a:spLocks noGrp="1"/>
          </p:cNvSpPr>
          <p:nvPr>
            <p:ph type="body" sz="quarter" idx="51"/>
          </p:nvPr>
        </p:nvSpPr>
        <p:spPr>
          <a:xfrm>
            <a:off x="9797065" y="5702439"/>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65093866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am profile_picture">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936000"/>
            <a:ext cx="7410705" cy="607110"/>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417600"/>
            <a:ext cx="7410705" cy="334099"/>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4" name="Picture Placeholder 3">
            <a:extLst>
              <a:ext uri="{FF2B5EF4-FFF2-40B4-BE49-F238E27FC236}">
                <a16:creationId xmlns:a16="http://schemas.microsoft.com/office/drawing/2014/main" id="{EBB87FA1-A9A7-4D67-B87A-B90B51DCAE81}"/>
              </a:ext>
            </a:extLst>
          </p:cNvPr>
          <p:cNvSpPr>
            <a:spLocks noGrp="1"/>
          </p:cNvSpPr>
          <p:nvPr>
            <p:ph type="pic" sz="quarter" idx="22"/>
          </p:nvPr>
        </p:nvSpPr>
        <p:spPr>
          <a:xfrm>
            <a:off x="918509" y="1649999"/>
            <a:ext cx="1044000" cy="1044000"/>
          </a:xfrm>
          <a:prstGeom prst="ellipse">
            <a:avLst/>
          </a:prstGeom>
          <a:solidFill>
            <a:schemeClr val="bg1">
              <a:lumMod val="95000"/>
            </a:schemeClr>
          </a:solidFill>
        </p:spPr>
        <p:txBody>
          <a:bodyPr/>
          <a:lstStyle/>
          <a:p>
            <a:endParaRPr lang="en-GB"/>
          </a:p>
        </p:txBody>
      </p:sp>
      <p:cxnSp>
        <p:nvCxnSpPr>
          <p:cNvPr id="24" name="Straight Connector 23">
            <a:extLst>
              <a:ext uri="{FF2B5EF4-FFF2-40B4-BE49-F238E27FC236}">
                <a16:creationId xmlns:a16="http://schemas.microsoft.com/office/drawing/2014/main" id="{BE4815D8-2443-4215-86BC-1EADBD4EC08A}"/>
              </a:ext>
            </a:extLst>
          </p:cNvPr>
          <p:cNvCxnSpPr>
            <a:cxnSpLocks/>
          </p:cNvCxnSpPr>
          <p:nvPr userDrawn="1"/>
        </p:nvCxnSpPr>
        <p:spPr>
          <a:xfrm>
            <a:off x="1242910"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B2CAC3F-D88D-4E4D-B41D-2E734CDC51A6}"/>
              </a:ext>
            </a:extLst>
          </p:cNvPr>
          <p:cNvSpPr>
            <a:spLocks noGrp="1"/>
          </p:cNvSpPr>
          <p:nvPr>
            <p:ph type="body" sz="quarter" idx="23"/>
          </p:nvPr>
        </p:nvSpPr>
        <p:spPr>
          <a:xfrm>
            <a:off x="504509" y="2802788"/>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6" name="Text Placeholder 5">
            <a:extLst>
              <a:ext uri="{FF2B5EF4-FFF2-40B4-BE49-F238E27FC236}">
                <a16:creationId xmlns:a16="http://schemas.microsoft.com/office/drawing/2014/main" id="{993081A5-9D72-401F-86D3-EBDEC265C630}"/>
              </a:ext>
            </a:extLst>
          </p:cNvPr>
          <p:cNvSpPr>
            <a:spLocks noGrp="1"/>
          </p:cNvSpPr>
          <p:nvPr>
            <p:ph type="body" sz="quarter" idx="24"/>
          </p:nvPr>
        </p:nvSpPr>
        <p:spPr>
          <a:xfrm>
            <a:off x="504509" y="3308413"/>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50" name="Picture Placeholder 3">
            <a:extLst>
              <a:ext uri="{FF2B5EF4-FFF2-40B4-BE49-F238E27FC236}">
                <a16:creationId xmlns:a16="http://schemas.microsoft.com/office/drawing/2014/main" id="{F10FC35E-F476-45A0-97FF-19D6E49F4DEC}"/>
              </a:ext>
            </a:extLst>
          </p:cNvPr>
          <p:cNvSpPr>
            <a:spLocks noGrp="1"/>
          </p:cNvSpPr>
          <p:nvPr>
            <p:ph type="pic" sz="quarter" idx="25"/>
          </p:nvPr>
        </p:nvSpPr>
        <p:spPr>
          <a:xfrm>
            <a:off x="918509" y="3977517"/>
            <a:ext cx="1044000" cy="1044000"/>
          </a:xfrm>
          <a:prstGeom prst="ellipse">
            <a:avLst/>
          </a:prstGeom>
          <a:solidFill>
            <a:schemeClr val="bg1">
              <a:lumMod val="95000"/>
            </a:schemeClr>
          </a:solidFill>
        </p:spPr>
        <p:txBody>
          <a:bodyPr/>
          <a:lstStyle/>
          <a:p>
            <a:endParaRPr lang="en-GB"/>
          </a:p>
        </p:txBody>
      </p:sp>
      <p:cxnSp>
        <p:nvCxnSpPr>
          <p:cNvPr id="51" name="Straight Connector 50">
            <a:extLst>
              <a:ext uri="{FF2B5EF4-FFF2-40B4-BE49-F238E27FC236}">
                <a16:creationId xmlns:a16="http://schemas.microsoft.com/office/drawing/2014/main" id="{714C7665-A7A6-4486-8453-F0F52E17913B}"/>
              </a:ext>
            </a:extLst>
          </p:cNvPr>
          <p:cNvCxnSpPr>
            <a:cxnSpLocks/>
          </p:cNvCxnSpPr>
          <p:nvPr userDrawn="1"/>
        </p:nvCxnSpPr>
        <p:spPr>
          <a:xfrm>
            <a:off x="1242910"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
            <a:extLst>
              <a:ext uri="{FF2B5EF4-FFF2-40B4-BE49-F238E27FC236}">
                <a16:creationId xmlns:a16="http://schemas.microsoft.com/office/drawing/2014/main" id="{5F51A724-28CC-4114-BE83-7BC69A80CB38}"/>
              </a:ext>
            </a:extLst>
          </p:cNvPr>
          <p:cNvSpPr>
            <a:spLocks noGrp="1"/>
          </p:cNvSpPr>
          <p:nvPr>
            <p:ph type="body" sz="quarter" idx="26"/>
          </p:nvPr>
        </p:nvSpPr>
        <p:spPr>
          <a:xfrm>
            <a:off x="504509" y="5130306"/>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53" name="Text Placeholder 5">
            <a:extLst>
              <a:ext uri="{FF2B5EF4-FFF2-40B4-BE49-F238E27FC236}">
                <a16:creationId xmlns:a16="http://schemas.microsoft.com/office/drawing/2014/main" id="{6AC830A3-E614-4D7D-8182-82699360AD5B}"/>
              </a:ext>
            </a:extLst>
          </p:cNvPr>
          <p:cNvSpPr>
            <a:spLocks noGrp="1"/>
          </p:cNvSpPr>
          <p:nvPr>
            <p:ph type="body" sz="quarter" idx="27"/>
          </p:nvPr>
        </p:nvSpPr>
        <p:spPr>
          <a:xfrm>
            <a:off x="504509" y="5702439"/>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54" name="Picture Placeholder 3">
            <a:extLst>
              <a:ext uri="{FF2B5EF4-FFF2-40B4-BE49-F238E27FC236}">
                <a16:creationId xmlns:a16="http://schemas.microsoft.com/office/drawing/2014/main" id="{F78AE723-1CB0-40FE-9706-082AD51D122E}"/>
              </a:ext>
            </a:extLst>
          </p:cNvPr>
          <p:cNvSpPr>
            <a:spLocks noGrp="1"/>
          </p:cNvSpPr>
          <p:nvPr>
            <p:ph type="pic" sz="quarter" idx="28"/>
          </p:nvPr>
        </p:nvSpPr>
        <p:spPr>
          <a:xfrm>
            <a:off x="3241648" y="1649999"/>
            <a:ext cx="1044000" cy="1044000"/>
          </a:xfrm>
          <a:prstGeom prst="ellipse">
            <a:avLst/>
          </a:prstGeom>
          <a:solidFill>
            <a:schemeClr val="bg1">
              <a:lumMod val="95000"/>
            </a:schemeClr>
          </a:solidFill>
        </p:spPr>
        <p:txBody>
          <a:bodyPr/>
          <a:lstStyle/>
          <a:p>
            <a:endParaRPr lang="en-GB"/>
          </a:p>
        </p:txBody>
      </p:sp>
      <p:cxnSp>
        <p:nvCxnSpPr>
          <p:cNvPr id="55" name="Straight Connector 54">
            <a:extLst>
              <a:ext uri="{FF2B5EF4-FFF2-40B4-BE49-F238E27FC236}">
                <a16:creationId xmlns:a16="http://schemas.microsoft.com/office/drawing/2014/main" id="{F71B027A-1D84-44E4-BCFF-21821A4B89EE}"/>
              </a:ext>
            </a:extLst>
          </p:cNvPr>
          <p:cNvCxnSpPr>
            <a:cxnSpLocks/>
          </p:cNvCxnSpPr>
          <p:nvPr userDrawn="1"/>
        </p:nvCxnSpPr>
        <p:spPr>
          <a:xfrm>
            <a:off x="3566348"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a16="http://schemas.microsoft.com/office/drawing/2014/main" id="{26F6DDCC-5EC9-410C-8B2C-9CE693E7A045}"/>
              </a:ext>
            </a:extLst>
          </p:cNvPr>
          <p:cNvSpPr>
            <a:spLocks noGrp="1"/>
          </p:cNvSpPr>
          <p:nvPr>
            <p:ph type="body" sz="quarter" idx="29"/>
          </p:nvPr>
        </p:nvSpPr>
        <p:spPr>
          <a:xfrm>
            <a:off x="2827947" y="2802788"/>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74" name="Text Placeholder 5">
            <a:extLst>
              <a:ext uri="{FF2B5EF4-FFF2-40B4-BE49-F238E27FC236}">
                <a16:creationId xmlns:a16="http://schemas.microsoft.com/office/drawing/2014/main" id="{DC986D57-1E40-4119-B7F8-DFD27A16BA7C}"/>
              </a:ext>
            </a:extLst>
          </p:cNvPr>
          <p:cNvSpPr>
            <a:spLocks noGrp="1"/>
          </p:cNvSpPr>
          <p:nvPr>
            <p:ph type="body" sz="quarter" idx="30"/>
          </p:nvPr>
        </p:nvSpPr>
        <p:spPr>
          <a:xfrm>
            <a:off x="2827947" y="3308413"/>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75" name="Picture Placeholder 3">
            <a:extLst>
              <a:ext uri="{FF2B5EF4-FFF2-40B4-BE49-F238E27FC236}">
                <a16:creationId xmlns:a16="http://schemas.microsoft.com/office/drawing/2014/main" id="{EAD6E6BB-597D-422D-B563-E88D1BFFAB23}"/>
              </a:ext>
            </a:extLst>
          </p:cNvPr>
          <p:cNvSpPr>
            <a:spLocks noGrp="1"/>
          </p:cNvSpPr>
          <p:nvPr>
            <p:ph type="pic" sz="quarter" idx="31"/>
          </p:nvPr>
        </p:nvSpPr>
        <p:spPr>
          <a:xfrm>
            <a:off x="5564787" y="1649999"/>
            <a:ext cx="1044000" cy="1044000"/>
          </a:xfrm>
          <a:prstGeom prst="ellipse">
            <a:avLst/>
          </a:prstGeom>
          <a:solidFill>
            <a:schemeClr val="bg1">
              <a:lumMod val="95000"/>
            </a:schemeClr>
          </a:solidFill>
        </p:spPr>
        <p:txBody>
          <a:bodyPr/>
          <a:lstStyle/>
          <a:p>
            <a:endParaRPr lang="en-GB"/>
          </a:p>
        </p:txBody>
      </p:sp>
      <p:cxnSp>
        <p:nvCxnSpPr>
          <p:cNvPr id="76" name="Straight Connector 75">
            <a:extLst>
              <a:ext uri="{FF2B5EF4-FFF2-40B4-BE49-F238E27FC236}">
                <a16:creationId xmlns:a16="http://schemas.microsoft.com/office/drawing/2014/main" id="{7B160D8E-58C4-4745-ABDB-6C36238BC6B0}"/>
              </a:ext>
            </a:extLst>
          </p:cNvPr>
          <p:cNvCxnSpPr>
            <a:cxnSpLocks/>
          </p:cNvCxnSpPr>
          <p:nvPr userDrawn="1"/>
        </p:nvCxnSpPr>
        <p:spPr>
          <a:xfrm>
            <a:off x="5889786"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Text Placeholder 2">
            <a:extLst>
              <a:ext uri="{FF2B5EF4-FFF2-40B4-BE49-F238E27FC236}">
                <a16:creationId xmlns:a16="http://schemas.microsoft.com/office/drawing/2014/main" id="{23583BA1-BC96-4293-B00D-9AE7BBB95262}"/>
              </a:ext>
            </a:extLst>
          </p:cNvPr>
          <p:cNvSpPr>
            <a:spLocks noGrp="1"/>
          </p:cNvSpPr>
          <p:nvPr>
            <p:ph type="body" sz="quarter" idx="32"/>
          </p:nvPr>
        </p:nvSpPr>
        <p:spPr>
          <a:xfrm>
            <a:off x="5151385" y="2802788"/>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78" name="Text Placeholder 5">
            <a:extLst>
              <a:ext uri="{FF2B5EF4-FFF2-40B4-BE49-F238E27FC236}">
                <a16:creationId xmlns:a16="http://schemas.microsoft.com/office/drawing/2014/main" id="{E3F580CF-C390-4B11-8141-C807A14E3B9A}"/>
              </a:ext>
            </a:extLst>
          </p:cNvPr>
          <p:cNvSpPr>
            <a:spLocks noGrp="1"/>
          </p:cNvSpPr>
          <p:nvPr>
            <p:ph type="body" sz="quarter" idx="33"/>
          </p:nvPr>
        </p:nvSpPr>
        <p:spPr>
          <a:xfrm>
            <a:off x="5151385" y="3308413"/>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87" name="Picture Placeholder 3">
            <a:extLst>
              <a:ext uri="{FF2B5EF4-FFF2-40B4-BE49-F238E27FC236}">
                <a16:creationId xmlns:a16="http://schemas.microsoft.com/office/drawing/2014/main" id="{F43FAE7D-08BF-4420-BF10-2F1862F8B5F1}"/>
              </a:ext>
            </a:extLst>
          </p:cNvPr>
          <p:cNvSpPr>
            <a:spLocks noGrp="1"/>
          </p:cNvSpPr>
          <p:nvPr>
            <p:ph type="pic" sz="quarter" idx="40"/>
          </p:nvPr>
        </p:nvSpPr>
        <p:spPr>
          <a:xfrm>
            <a:off x="3241648" y="3977517"/>
            <a:ext cx="1044000" cy="1044000"/>
          </a:xfrm>
          <a:prstGeom prst="ellipse">
            <a:avLst/>
          </a:prstGeom>
          <a:solidFill>
            <a:schemeClr val="bg1">
              <a:lumMod val="95000"/>
            </a:schemeClr>
          </a:solidFill>
        </p:spPr>
        <p:txBody>
          <a:bodyPr/>
          <a:lstStyle/>
          <a:p>
            <a:endParaRPr lang="en-GB"/>
          </a:p>
        </p:txBody>
      </p:sp>
      <p:cxnSp>
        <p:nvCxnSpPr>
          <p:cNvPr id="88" name="Straight Connector 87">
            <a:extLst>
              <a:ext uri="{FF2B5EF4-FFF2-40B4-BE49-F238E27FC236}">
                <a16:creationId xmlns:a16="http://schemas.microsoft.com/office/drawing/2014/main" id="{CF2C30AF-8741-44EA-8C7E-01F4E8602EEA}"/>
              </a:ext>
            </a:extLst>
          </p:cNvPr>
          <p:cNvCxnSpPr>
            <a:cxnSpLocks/>
          </p:cNvCxnSpPr>
          <p:nvPr userDrawn="1"/>
        </p:nvCxnSpPr>
        <p:spPr>
          <a:xfrm>
            <a:off x="3566348"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89" name="Text Placeholder 2">
            <a:extLst>
              <a:ext uri="{FF2B5EF4-FFF2-40B4-BE49-F238E27FC236}">
                <a16:creationId xmlns:a16="http://schemas.microsoft.com/office/drawing/2014/main" id="{67AEC111-D4D6-4BA8-85DF-711E4D514626}"/>
              </a:ext>
            </a:extLst>
          </p:cNvPr>
          <p:cNvSpPr>
            <a:spLocks noGrp="1"/>
          </p:cNvSpPr>
          <p:nvPr>
            <p:ph type="body" sz="quarter" idx="41"/>
          </p:nvPr>
        </p:nvSpPr>
        <p:spPr>
          <a:xfrm>
            <a:off x="2827947" y="5130306"/>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0" name="Text Placeholder 5">
            <a:extLst>
              <a:ext uri="{FF2B5EF4-FFF2-40B4-BE49-F238E27FC236}">
                <a16:creationId xmlns:a16="http://schemas.microsoft.com/office/drawing/2014/main" id="{88928627-1AA7-4218-8C34-C820099BF4F7}"/>
              </a:ext>
            </a:extLst>
          </p:cNvPr>
          <p:cNvSpPr>
            <a:spLocks noGrp="1"/>
          </p:cNvSpPr>
          <p:nvPr>
            <p:ph type="body" sz="quarter" idx="42"/>
          </p:nvPr>
        </p:nvSpPr>
        <p:spPr>
          <a:xfrm>
            <a:off x="2827947" y="5702439"/>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1" name="Picture Placeholder 3">
            <a:extLst>
              <a:ext uri="{FF2B5EF4-FFF2-40B4-BE49-F238E27FC236}">
                <a16:creationId xmlns:a16="http://schemas.microsoft.com/office/drawing/2014/main" id="{FEDF244A-203E-496B-86FC-018606150C17}"/>
              </a:ext>
            </a:extLst>
          </p:cNvPr>
          <p:cNvSpPr>
            <a:spLocks noGrp="1"/>
          </p:cNvSpPr>
          <p:nvPr>
            <p:ph type="pic" sz="quarter" idx="43"/>
          </p:nvPr>
        </p:nvSpPr>
        <p:spPr>
          <a:xfrm>
            <a:off x="5564787" y="3977517"/>
            <a:ext cx="1044000" cy="1044000"/>
          </a:xfrm>
          <a:prstGeom prst="ellipse">
            <a:avLst/>
          </a:prstGeom>
          <a:solidFill>
            <a:schemeClr val="bg1">
              <a:lumMod val="95000"/>
            </a:schemeClr>
          </a:solidFill>
        </p:spPr>
        <p:txBody>
          <a:bodyPr/>
          <a:lstStyle/>
          <a:p>
            <a:endParaRPr lang="en-GB"/>
          </a:p>
        </p:txBody>
      </p:sp>
      <p:cxnSp>
        <p:nvCxnSpPr>
          <p:cNvPr id="92" name="Straight Connector 91">
            <a:extLst>
              <a:ext uri="{FF2B5EF4-FFF2-40B4-BE49-F238E27FC236}">
                <a16:creationId xmlns:a16="http://schemas.microsoft.com/office/drawing/2014/main" id="{BB601599-0B23-4862-A375-2FCD95974C8D}"/>
              </a:ext>
            </a:extLst>
          </p:cNvPr>
          <p:cNvCxnSpPr>
            <a:cxnSpLocks/>
          </p:cNvCxnSpPr>
          <p:nvPr userDrawn="1"/>
        </p:nvCxnSpPr>
        <p:spPr>
          <a:xfrm>
            <a:off x="5889786"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3" name="Text Placeholder 2">
            <a:extLst>
              <a:ext uri="{FF2B5EF4-FFF2-40B4-BE49-F238E27FC236}">
                <a16:creationId xmlns:a16="http://schemas.microsoft.com/office/drawing/2014/main" id="{98FC2A9D-01C5-415E-96CD-F5F24964367D}"/>
              </a:ext>
            </a:extLst>
          </p:cNvPr>
          <p:cNvSpPr>
            <a:spLocks noGrp="1"/>
          </p:cNvSpPr>
          <p:nvPr>
            <p:ph type="body" sz="quarter" idx="44"/>
          </p:nvPr>
        </p:nvSpPr>
        <p:spPr>
          <a:xfrm>
            <a:off x="5151385" y="5130306"/>
            <a:ext cx="1872000" cy="379458"/>
          </a:xfrm>
        </p:spPr>
        <p:txBody>
          <a:bodyPr>
            <a:noAutofit/>
          </a:bodyPr>
          <a:lstStyle>
            <a:lvl1pPr algn="ctr">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4" name="Text Placeholder 5">
            <a:extLst>
              <a:ext uri="{FF2B5EF4-FFF2-40B4-BE49-F238E27FC236}">
                <a16:creationId xmlns:a16="http://schemas.microsoft.com/office/drawing/2014/main" id="{659E7EDB-C5B1-4C4A-BA2E-C9543E5CDDA3}"/>
              </a:ext>
            </a:extLst>
          </p:cNvPr>
          <p:cNvSpPr>
            <a:spLocks noGrp="1"/>
          </p:cNvSpPr>
          <p:nvPr>
            <p:ph type="body" sz="quarter" idx="45"/>
          </p:nvPr>
        </p:nvSpPr>
        <p:spPr>
          <a:xfrm>
            <a:off x="5151385" y="5702439"/>
            <a:ext cx="1872000" cy="607110"/>
          </a:xfrm>
        </p:spPr>
        <p:txBody>
          <a:bodyPr>
            <a:noAutofit/>
          </a:bodyPr>
          <a:lstStyle>
            <a:lvl1pPr algn="ctr">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 name="Picture Placeholder 8">
            <a:extLst>
              <a:ext uri="{FF2B5EF4-FFF2-40B4-BE49-F238E27FC236}">
                <a16:creationId xmlns:a16="http://schemas.microsoft.com/office/drawing/2014/main" id="{1D1DDC91-E7E5-FA80-6778-B2C2325D26A2}"/>
              </a:ext>
            </a:extLst>
          </p:cNvPr>
          <p:cNvSpPr>
            <a:spLocks noGrp="1"/>
          </p:cNvSpPr>
          <p:nvPr>
            <p:ph type="pic" sz="quarter" idx="46"/>
          </p:nvPr>
        </p:nvSpPr>
        <p:spPr>
          <a:xfrm>
            <a:off x="8178800" y="0"/>
            <a:ext cx="4013200" cy="6858000"/>
          </a:xfrm>
        </p:spPr>
        <p:txBody>
          <a:bodyPr/>
          <a:lstStyle/>
          <a:p>
            <a:endParaRPr lang="en-CH"/>
          </a:p>
        </p:txBody>
      </p:sp>
    </p:spTree>
    <p:extLst>
      <p:ext uri="{BB962C8B-B14F-4D97-AF65-F5344CB8AC3E}">
        <p14:creationId xmlns:p14="http://schemas.microsoft.com/office/powerpoint/2010/main" val="131386644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References">
    <p:bg>
      <p:bgPr>
        <a:blipFill dpi="0" rotWithShape="1">
          <a:blip r:embed="rId2" cstate="email">
            <a:lum/>
            <a:extLst>
              <a:ext uri="{28A0092B-C50C-407E-A947-70E740481C1C}">
                <a14:useLocalDpi xmlns:a14="http://schemas.microsoft.com/office/drawing/2010/main"/>
              </a:ext>
            </a:extLst>
          </a:blip>
          <a:srcRect/>
          <a:stretch>
            <a:fillRect l="76000"/>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4640" y="417600"/>
            <a:ext cx="8469810" cy="332651"/>
          </a:xfrm>
          <a:prstGeom prst="rect">
            <a:avLst/>
          </a:prstGeom>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25" name="Text Placeholder 24">
            <a:extLst>
              <a:ext uri="{FF2B5EF4-FFF2-40B4-BE49-F238E27FC236}">
                <a16:creationId xmlns:a16="http://schemas.microsoft.com/office/drawing/2014/main" id="{6964F6E8-F173-4712-8145-18497B72F779}"/>
              </a:ext>
            </a:extLst>
          </p:cNvPr>
          <p:cNvSpPr>
            <a:spLocks noGrp="1"/>
          </p:cNvSpPr>
          <p:nvPr>
            <p:ph type="body" sz="quarter" idx="25"/>
          </p:nvPr>
        </p:nvSpPr>
        <p:spPr>
          <a:xfrm>
            <a:off x="468320" y="1730542"/>
            <a:ext cx="2618912" cy="4516049"/>
          </a:xfrm>
        </p:spPr>
        <p:txBody>
          <a:bodyPr>
            <a:noAutofit/>
          </a:bodyPr>
          <a:lstStyle>
            <a:lvl1pPr>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a:defRPr sz="1000" b="0" i="0">
                <a:latin typeface="Open Sans Light" panose="020B0306030504020204" pitchFamily="34" charset="0"/>
                <a:ea typeface="Open Sans Light" panose="020B0306030504020204" pitchFamily="34" charset="0"/>
                <a:cs typeface="Open Sans Light" panose="020B0306030504020204" pitchFamily="34" charset="0"/>
              </a:defRPr>
            </a:lvl2pPr>
            <a:lvl3pPr>
              <a:defRPr sz="1000" b="0" i="0">
                <a:latin typeface="Open Sans Light" panose="020B0306030504020204" pitchFamily="34" charset="0"/>
                <a:ea typeface="Open Sans Light" panose="020B0306030504020204" pitchFamily="34" charset="0"/>
                <a:cs typeface="Open Sans Light" panose="020B0306030504020204" pitchFamily="34" charset="0"/>
              </a:defRPr>
            </a:lvl3pPr>
            <a:lvl4pPr>
              <a:defRPr sz="10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7" name="Text Placeholder 24">
            <a:extLst>
              <a:ext uri="{FF2B5EF4-FFF2-40B4-BE49-F238E27FC236}">
                <a16:creationId xmlns:a16="http://schemas.microsoft.com/office/drawing/2014/main" id="{29EBC357-354B-4668-9D29-1B72B4C18D0C}"/>
              </a:ext>
            </a:extLst>
          </p:cNvPr>
          <p:cNvSpPr>
            <a:spLocks noGrp="1"/>
          </p:cNvSpPr>
          <p:nvPr>
            <p:ph type="body" sz="quarter" idx="26"/>
          </p:nvPr>
        </p:nvSpPr>
        <p:spPr>
          <a:xfrm>
            <a:off x="3352801" y="1730542"/>
            <a:ext cx="2618910" cy="4516049"/>
          </a:xfrm>
        </p:spPr>
        <p:txBody>
          <a:bodyPr>
            <a:noAutofit/>
          </a:bodyPr>
          <a:lstStyle>
            <a:lvl1pPr>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a:defRPr sz="1000" b="0" i="0">
                <a:latin typeface="Open Sans Light" panose="020B0306030504020204" pitchFamily="34" charset="0"/>
                <a:ea typeface="Open Sans Light" panose="020B0306030504020204" pitchFamily="34" charset="0"/>
                <a:cs typeface="Open Sans Light" panose="020B0306030504020204" pitchFamily="34" charset="0"/>
              </a:defRPr>
            </a:lvl2pPr>
            <a:lvl3pPr>
              <a:defRPr sz="1000" b="0" i="0">
                <a:latin typeface="Open Sans Light" panose="020B0306030504020204" pitchFamily="34" charset="0"/>
                <a:ea typeface="Open Sans Light" panose="020B0306030504020204" pitchFamily="34" charset="0"/>
                <a:cs typeface="Open Sans Light" panose="020B0306030504020204" pitchFamily="34" charset="0"/>
              </a:defRPr>
            </a:lvl3pPr>
            <a:lvl4pPr>
              <a:defRPr sz="10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8" name="Text Placeholder 24">
            <a:extLst>
              <a:ext uri="{FF2B5EF4-FFF2-40B4-BE49-F238E27FC236}">
                <a16:creationId xmlns:a16="http://schemas.microsoft.com/office/drawing/2014/main" id="{3E23FB3A-93BB-4974-A260-5F21D11C4F8D}"/>
              </a:ext>
            </a:extLst>
          </p:cNvPr>
          <p:cNvSpPr>
            <a:spLocks noGrp="1"/>
          </p:cNvSpPr>
          <p:nvPr>
            <p:ph type="body" sz="quarter" idx="27"/>
          </p:nvPr>
        </p:nvSpPr>
        <p:spPr>
          <a:xfrm>
            <a:off x="6248400" y="1730542"/>
            <a:ext cx="2686050" cy="4516049"/>
          </a:xfrm>
        </p:spPr>
        <p:txBody>
          <a:bodyPr>
            <a:noAutofit/>
          </a:bodyPr>
          <a:lstStyle>
            <a:lvl1pPr>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a:defRPr sz="1000" b="0" i="0">
                <a:latin typeface="Open Sans Light" panose="020B0306030504020204" pitchFamily="34" charset="0"/>
                <a:ea typeface="Open Sans Light" panose="020B0306030504020204" pitchFamily="34" charset="0"/>
                <a:cs typeface="Open Sans Light" panose="020B0306030504020204" pitchFamily="34" charset="0"/>
              </a:defRPr>
            </a:lvl2pPr>
            <a:lvl3pPr>
              <a:defRPr sz="1000" b="0" i="0">
                <a:latin typeface="Open Sans Light" panose="020B0306030504020204" pitchFamily="34" charset="0"/>
                <a:ea typeface="Open Sans Light" panose="020B0306030504020204" pitchFamily="34" charset="0"/>
                <a:cs typeface="Open Sans Light" panose="020B0306030504020204" pitchFamily="34" charset="0"/>
              </a:defRPr>
            </a:lvl3pPr>
            <a:lvl4pPr>
              <a:defRPr sz="10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Picture Placeholder 9">
            <a:extLst>
              <a:ext uri="{FF2B5EF4-FFF2-40B4-BE49-F238E27FC236}">
                <a16:creationId xmlns:a16="http://schemas.microsoft.com/office/drawing/2014/main" id="{74BF8740-A64F-1AA8-D801-A29B18FA761E}"/>
              </a:ext>
            </a:extLst>
          </p:cNvPr>
          <p:cNvSpPr>
            <a:spLocks noGrp="1"/>
          </p:cNvSpPr>
          <p:nvPr>
            <p:ph type="pic" sz="quarter" idx="28"/>
          </p:nvPr>
        </p:nvSpPr>
        <p:spPr>
          <a:xfrm>
            <a:off x="9512968" y="1925222"/>
            <a:ext cx="2221831" cy="1267158"/>
          </a:xfrm>
          <a:solidFill>
            <a:schemeClr val="bg1"/>
          </a:solidFill>
        </p:spPr>
        <p:txBody>
          <a:bodyPr/>
          <a:lstStyle/>
          <a:p>
            <a:endParaRPr lang="en-CH"/>
          </a:p>
        </p:txBody>
      </p:sp>
      <p:sp>
        <p:nvSpPr>
          <p:cNvPr id="11" name="Picture Placeholder 9">
            <a:extLst>
              <a:ext uri="{FF2B5EF4-FFF2-40B4-BE49-F238E27FC236}">
                <a16:creationId xmlns:a16="http://schemas.microsoft.com/office/drawing/2014/main" id="{6CFED7DC-4EFC-5414-51BF-A163ECB9114E}"/>
              </a:ext>
            </a:extLst>
          </p:cNvPr>
          <p:cNvSpPr>
            <a:spLocks noGrp="1"/>
          </p:cNvSpPr>
          <p:nvPr>
            <p:ph type="pic" sz="quarter" idx="29"/>
          </p:nvPr>
        </p:nvSpPr>
        <p:spPr>
          <a:xfrm>
            <a:off x="9512969" y="3401096"/>
            <a:ext cx="2221831" cy="1267158"/>
          </a:xfrm>
          <a:solidFill>
            <a:schemeClr val="bg1"/>
          </a:solidFill>
        </p:spPr>
        <p:txBody>
          <a:bodyPr/>
          <a:lstStyle/>
          <a:p>
            <a:endParaRPr lang="en-CH"/>
          </a:p>
        </p:txBody>
      </p:sp>
      <p:sp>
        <p:nvSpPr>
          <p:cNvPr id="13" name="Picture Placeholder 9">
            <a:extLst>
              <a:ext uri="{FF2B5EF4-FFF2-40B4-BE49-F238E27FC236}">
                <a16:creationId xmlns:a16="http://schemas.microsoft.com/office/drawing/2014/main" id="{FF10CA72-A6A9-A09F-D446-C7D61F387902}"/>
              </a:ext>
            </a:extLst>
          </p:cNvPr>
          <p:cNvSpPr>
            <a:spLocks noGrp="1"/>
          </p:cNvSpPr>
          <p:nvPr>
            <p:ph type="pic" sz="quarter" idx="30"/>
          </p:nvPr>
        </p:nvSpPr>
        <p:spPr>
          <a:xfrm>
            <a:off x="9512969" y="4876970"/>
            <a:ext cx="2221831" cy="1267158"/>
          </a:xfrm>
          <a:solidFill>
            <a:schemeClr val="bg1"/>
          </a:solidFill>
        </p:spPr>
        <p:txBody>
          <a:bodyPr/>
          <a:lstStyle/>
          <a:p>
            <a:endParaRPr lang="en-CH"/>
          </a:p>
        </p:txBody>
      </p:sp>
      <p:cxnSp>
        <p:nvCxnSpPr>
          <p:cNvPr id="3" name="Straight Connector 2">
            <a:extLst>
              <a:ext uri="{FF2B5EF4-FFF2-40B4-BE49-F238E27FC236}">
                <a16:creationId xmlns:a16="http://schemas.microsoft.com/office/drawing/2014/main" id="{7DDE2D9D-B8A0-B835-ABB8-63B3F581DC01}"/>
              </a:ext>
            </a:extLst>
          </p:cNvPr>
          <p:cNvCxnSpPr>
            <a:cxnSpLocks/>
          </p:cNvCxnSpPr>
          <p:nvPr userDrawn="1"/>
        </p:nvCxnSpPr>
        <p:spPr>
          <a:xfrm>
            <a:off x="3212852" y="1714500"/>
            <a:ext cx="0" cy="4536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9F934FD-670F-0A12-A31C-0A07201BF206}"/>
              </a:ext>
            </a:extLst>
          </p:cNvPr>
          <p:cNvCxnSpPr>
            <a:cxnSpLocks/>
          </p:cNvCxnSpPr>
          <p:nvPr userDrawn="1"/>
        </p:nvCxnSpPr>
        <p:spPr>
          <a:xfrm>
            <a:off x="6103034" y="1714500"/>
            <a:ext cx="0" cy="4536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7270303D-AA9C-AE1E-3D36-6FCFFDEB2A06}"/>
              </a:ext>
            </a:extLst>
          </p:cNvPr>
          <p:cNvSpPr>
            <a:spLocks noGrp="1"/>
          </p:cNvSpPr>
          <p:nvPr>
            <p:ph type="body" sz="quarter" idx="21" hasCustomPrompt="1"/>
          </p:nvPr>
        </p:nvSpPr>
        <p:spPr>
          <a:xfrm>
            <a:off x="463295" y="936000"/>
            <a:ext cx="7410705" cy="607110"/>
          </a:xfrm>
          <a:prstGeom prst="rect">
            <a:avLst/>
          </a:prstGeom>
        </p:spPr>
        <p:txBody>
          <a:bodyPr lIns="0" tIns="0" rIns="0" bIns="0">
            <a:noAutofit/>
          </a:bodyPr>
          <a:lstStyle>
            <a:lvl1pPr marL="0" indent="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Tree>
    <p:extLst>
      <p:ext uri="{BB962C8B-B14F-4D97-AF65-F5344CB8AC3E}">
        <p14:creationId xmlns:p14="http://schemas.microsoft.com/office/powerpoint/2010/main" val="34374790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118837244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Subhead: Sidebar - Messaging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p:nvSpPr>
        <p:spPr bwMode="gray">
          <a:xfrm flipH="1">
            <a:off x="-3" y="0"/>
            <a:ext cx="4953002" cy="6858000"/>
          </a:xfrm>
          <a:prstGeom prst="rect">
            <a:avLst/>
          </a:prstGeom>
          <a:solidFill>
            <a:schemeClr val="accent6">
              <a:lumMod val="75000"/>
            </a:schemeClr>
          </a:solidFill>
          <a:ln w="19050" algn="ctr">
            <a:noFill/>
            <a:miter lim="800000"/>
            <a:headEnd/>
            <a:tailEnd/>
          </a:ln>
        </p:spPr>
        <p:txBody>
          <a:bodyPr wrap="square" lIns="0" tIns="0" rIns="0" bIns="0" rtlCol="0" anchor="ctr">
            <a:noAutofit/>
          </a:bodyPr>
          <a:lstStyle/>
          <a:p>
            <a:pPr algn="ctr"/>
            <a:endParaRPr lang="en-GB"/>
          </a:p>
        </p:txBody>
      </p:sp>
      <p:sp>
        <p:nvSpPr>
          <p:cNvPr id="13" name="Title Placeholder 1">
            <a:extLst>
              <a:ext uri="{FF2B5EF4-FFF2-40B4-BE49-F238E27FC236}">
                <a16:creationId xmlns:a16="http://schemas.microsoft.com/office/drawing/2014/main" id="{41AED56B-4FBA-7B41-8642-EECEFE511009}"/>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7" name="Text Placeholder 7">
            <a:extLst>
              <a:ext uri="{FF2B5EF4-FFF2-40B4-BE49-F238E27FC236}">
                <a16:creationId xmlns:a16="http://schemas.microsoft.com/office/drawing/2014/main" id="{333FE8BD-D45A-D947-B56A-6B35CC9BAFA2}"/>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9" name="Text Placeholder 10">
            <a:extLst>
              <a:ext uri="{FF2B5EF4-FFF2-40B4-BE49-F238E27FC236}">
                <a16:creationId xmlns:a16="http://schemas.microsoft.com/office/drawing/2014/main" id="{EADA8F4D-49E2-2C4C-8EFD-35EE530F2D3D}"/>
              </a:ext>
            </a:extLst>
          </p:cNvPr>
          <p:cNvSpPr>
            <a:spLocks noGrp="1"/>
          </p:cNvSpPr>
          <p:nvPr>
            <p:ph type="body" sz="quarter" idx="16" hasCustomPrompt="1"/>
          </p:nvPr>
        </p:nvSpPr>
        <p:spPr>
          <a:xfrm>
            <a:off x="6019800" y="1092200"/>
            <a:ext cx="5219700" cy="18288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21" name="Text Placeholder 13">
            <a:extLst>
              <a:ext uri="{FF2B5EF4-FFF2-40B4-BE49-F238E27FC236}">
                <a16:creationId xmlns:a16="http://schemas.microsoft.com/office/drawing/2014/main" id="{9F0D342F-3673-B847-BC99-40D039EE6742}"/>
              </a:ext>
            </a:extLst>
          </p:cNvPr>
          <p:cNvSpPr>
            <a:spLocks noGrp="1"/>
          </p:cNvSpPr>
          <p:nvPr>
            <p:ph type="body" sz="quarter" idx="17" hasCustomPrompt="1"/>
          </p:nvPr>
        </p:nvSpPr>
        <p:spPr>
          <a:xfrm>
            <a:off x="6019800" y="3289300"/>
            <a:ext cx="5219700" cy="1766794"/>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Felis </a:t>
            </a:r>
            <a:r>
              <a:rPr lang="en-GB" err="1"/>
              <a:t>blandit</a:t>
            </a:r>
            <a:r>
              <a:rPr lang="en-GB"/>
              <a:t> cursus</a:t>
            </a:r>
            <a:br>
              <a:rPr lang="en-GB"/>
            </a:b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p:txBody>
      </p:sp>
      <p:sp>
        <p:nvSpPr>
          <p:cNvPr id="10" name="Text Placeholder 2">
            <a:extLst>
              <a:ext uri="{FF2B5EF4-FFF2-40B4-BE49-F238E27FC236}">
                <a16:creationId xmlns:a16="http://schemas.microsoft.com/office/drawing/2014/main" id="{D0D9845D-F9D1-BF4F-A74F-B37D037255A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BE37137C-0549-F241-8EFF-61C923DB1698}"/>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188885983"/>
      </p:ext>
    </p:extLst>
  </p:cSld>
  <p:clrMapOvr>
    <a:masterClrMapping/>
  </p:clrMapOvr>
  <p:transition/>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V_x2">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C7045B-2B0E-1CF7-A13F-D0D057A30BF4}"/>
              </a:ext>
            </a:extLst>
          </p:cNvPr>
          <p:cNvSpPr/>
          <p:nvPr userDrawn="1"/>
        </p:nvSpPr>
        <p:spPr bwMode="gray">
          <a:xfrm>
            <a:off x="467125" y="1026695"/>
            <a:ext cx="11267675" cy="533600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pic>
        <p:nvPicPr>
          <p:cNvPr id="4" name="Picture 3">
            <a:extLst>
              <a:ext uri="{FF2B5EF4-FFF2-40B4-BE49-F238E27FC236}">
                <a16:creationId xmlns:a16="http://schemas.microsoft.com/office/drawing/2014/main" id="{603B92E2-2BFA-91BB-C667-F81A1B5BC197}"/>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970430" y="1162578"/>
            <a:ext cx="5125569" cy="1394154"/>
          </a:xfrm>
          <a:prstGeom prst="rect">
            <a:avLst/>
          </a:prstGeom>
        </p:spPr>
      </p:pic>
      <p:sp>
        <p:nvSpPr>
          <p:cNvPr id="11" name="Picture Placeholder 8">
            <a:extLst>
              <a:ext uri="{FF2B5EF4-FFF2-40B4-BE49-F238E27FC236}">
                <a16:creationId xmlns:a16="http://schemas.microsoft.com/office/drawing/2014/main" id="{5F834A8A-067E-A149-B7F6-25D8C65ADEF0}"/>
              </a:ext>
            </a:extLst>
          </p:cNvPr>
          <p:cNvSpPr>
            <a:spLocks noGrp="1" noChangeAspect="1"/>
          </p:cNvSpPr>
          <p:nvPr>
            <p:ph type="pic" sz="quarter" idx="22"/>
          </p:nvPr>
        </p:nvSpPr>
        <p:spPr>
          <a:xfrm>
            <a:off x="638148" y="1164853"/>
            <a:ext cx="1260000" cy="1260000"/>
          </a:xfrm>
          <a:prstGeom prst="ellipse">
            <a:avLst/>
          </a:prstGeom>
          <a:solidFill>
            <a:schemeClr val="bg1">
              <a:lumMod val="95000"/>
            </a:schemeClr>
          </a:solidFill>
        </p:spPr>
        <p:txBody>
          <a:bodyPr/>
          <a:lstStyle/>
          <a:p>
            <a:endParaRPr lang="en-GB"/>
          </a:p>
        </p:txBody>
      </p:sp>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4400" y="417600"/>
            <a:ext cx="11277599" cy="334099"/>
          </a:xfrm>
          <a:prstGeom prst="rect">
            <a:avLst/>
          </a:prstGeom>
          <a:noFill/>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5" name="Text Placeholder 40">
            <a:extLst>
              <a:ext uri="{FF2B5EF4-FFF2-40B4-BE49-F238E27FC236}">
                <a16:creationId xmlns:a16="http://schemas.microsoft.com/office/drawing/2014/main" id="{C192016D-2850-4EC6-5C63-881FD3C111CA}"/>
              </a:ext>
            </a:extLst>
          </p:cNvPr>
          <p:cNvSpPr>
            <a:spLocks noGrp="1"/>
          </p:cNvSpPr>
          <p:nvPr>
            <p:ph type="body" sz="quarter" idx="21" hasCustomPrompt="1"/>
          </p:nvPr>
        </p:nvSpPr>
        <p:spPr>
          <a:xfrm>
            <a:off x="2093823" y="1326392"/>
            <a:ext cx="1758510" cy="836503"/>
          </a:xfrm>
        </p:spPr>
        <p:txBody>
          <a:bodyPr lIns="0">
            <a:noAutofit/>
          </a:bodyPr>
          <a:lstStyle>
            <a:lvl1pPr>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Aft>
                <a:spcPts val="200"/>
              </a:spcAft>
              <a:buNone/>
              <a:defRPr sz="1400" b="1" i="0">
                <a:solidFill>
                  <a:srgbClr val="1CABE3"/>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dirty="0"/>
              <a:t>Fifth level</a:t>
            </a:r>
            <a:endParaRPr lang="en-GB" dirty="0"/>
          </a:p>
        </p:txBody>
      </p:sp>
      <p:sp>
        <p:nvSpPr>
          <p:cNvPr id="16" name="Oval 15">
            <a:extLst>
              <a:ext uri="{FF2B5EF4-FFF2-40B4-BE49-F238E27FC236}">
                <a16:creationId xmlns:a16="http://schemas.microsoft.com/office/drawing/2014/main" id="{16183CB6-2C37-0D35-9AC9-CBC1F07A0C6D}"/>
              </a:ext>
            </a:extLst>
          </p:cNvPr>
          <p:cNvSpPr/>
          <p:nvPr userDrawn="1"/>
        </p:nvSpPr>
        <p:spPr bwMode="gray">
          <a:xfrm>
            <a:off x="4049503" y="1366128"/>
            <a:ext cx="165465" cy="165465"/>
          </a:xfrm>
          <a:prstGeom prst="ellipse">
            <a:avLst/>
          </a:prstGeom>
          <a:solidFill>
            <a:srgbClr val="1CABE3"/>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7" name="Oval 16">
            <a:extLst>
              <a:ext uri="{FF2B5EF4-FFF2-40B4-BE49-F238E27FC236}">
                <a16:creationId xmlns:a16="http://schemas.microsoft.com/office/drawing/2014/main" id="{E53CDDD6-3D77-259D-FD6C-D6999819CCC3}"/>
              </a:ext>
            </a:extLst>
          </p:cNvPr>
          <p:cNvSpPr/>
          <p:nvPr userDrawn="1"/>
        </p:nvSpPr>
        <p:spPr bwMode="gray">
          <a:xfrm>
            <a:off x="4049503" y="1567862"/>
            <a:ext cx="165465" cy="165465"/>
          </a:xfrm>
          <a:prstGeom prst="ellipse">
            <a:avLst/>
          </a:prstGeom>
          <a:solidFill>
            <a:srgbClr val="1CABE3"/>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20" name="Oval 19">
            <a:extLst>
              <a:ext uri="{FF2B5EF4-FFF2-40B4-BE49-F238E27FC236}">
                <a16:creationId xmlns:a16="http://schemas.microsoft.com/office/drawing/2014/main" id="{7968E04B-3FC3-6EF3-5D27-9F13C0A8DC9C}"/>
              </a:ext>
            </a:extLst>
          </p:cNvPr>
          <p:cNvSpPr/>
          <p:nvPr userDrawn="1"/>
        </p:nvSpPr>
        <p:spPr bwMode="gray">
          <a:xfrm>
            <a:off x="4049503" y="1769596"/>
            <a:ext cx="165465" cy="165465"/>
          </a:xfrm>
          <a:prstGeom prst="ellipse">
            <a:avLst/>
          </a:prstGeom>
          <a:solidFill>
            <a:srgbClr val="1CABE3"/>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21" name="Oval 20">
            <a:extLst>
              <a:ext uri="{FF2B5EF4-FFF2-40B4-BE49-F238E27FC236}">
                <a16:creationId xmlns:a16="http://schemas.microsoft.com/office/drawing/2014/main" id="{06E287A0-9EF7-1E6C-1997-EACF0E26E6A6}"/>
              </a:ext>
            </a:extLst>
          </p:cNvPr>
          <p:cNvSpPr/>
          <p:nvPr userDrawn="1"/>
        </p:nvSpPr>
        <p:spPr bwMode="gray">
          <a:xfrm>
            <a:off x="4049503" y="1971330"/>
            <a:ext cx="165465" cy="165465"/>
          </a:xfrm>
          <a:prstGeom prst="ellipse">
            <a:avLst/>
          </a:prstGeom>
          <a:solidFill>
            <a:srgbClr val="1CABE3"/>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22" name="Graphic 4">
            <a:extLst>
              <a:ext uri="{FF2B5EF4-FFF2-40B4-BE49-F238E27FC236}">
                <a16:creationId xmlns:a16="http://schemas.microsoft.com/office/drawing/2014/main" id="{560B4A67-2682-47AC-49D0-BF1A903D76EB}"/>
              </a:ext>
            </a:extLst>
          </p:cNvPr>
          <p:cNvSpPr>
            <a:spLocks noChangeAspect="1"/>
          </p:cNvSpPr>
          <p:nvPr userDrawn="1"/>
        </p:nvSpPr>
        <p:spPr>
          <a:xfrm>
            <a:off x="4082888" y="1412860"/>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noAutofit/>
          </a:bodyPr>
          <a:lstStyle/>
          <a:p>
            <a:endParaRPr lang="en-US"/>
          </a:p>
        </p:txBody>
      </p:sp>
      <p:sp>
        <p:nvSpPr>
          <p:cNvPr id="23" name="Graphic 1100">
            <a:extLst>
              <a:ext uri="{FF2B5EF4-FFF2-40B4-BE49-F238E27FC236}">
                <a16:creationId xmlns:a16="http://schemas.microsoft.com/office/drawing/2014/main" id="{C1557683-7396-E359-3DDF-BBFC13C2294D}"/>
              </a:ext>
            </a:extLst>
          </p:cNvPr>
          <p:cNvSpPr/>
          <p:nvPr userDrawn="1"/>
        </p:nvSpPr>
        <p:spPr>
          <a:xfrm>
            <a:off x="4086368" y="1606132"/>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noAutofit/>
          </a:bodyPr>
          <a:lstStyle/>
          <a:p>
            <a:endParaRPr lang="en-US">
              <a:solidFill>
                <a:schemeClr val="accent5"/>
              </a:solidFill>
            </a:endParaRPr>
          </a:p>
        </p:txBody>
      </p:sp>
      <p:grpSp>
        <p:nvGrpSpPr>
          <p:cNvPr id="24" name="Graphic 4">
            <a:extLst>
              <a:ext uri="{FF2B5EF4-FFF2-40B4-BE49-F238E27FC236}">
                <a16:creationId xmlns:a16="http://schemas.microsoft.com/office/drawing/2014/main" id="{30F51514-562A-E413-9DD5-272FABCC31DC}"/>
              </a:ext>
            </a:extLst>
          </p:cNvPr>
          <p:cNvGrpSpPr/>
          <p:nvPr userDrawn="1"/>
        </p:nvGrpSpPr>
        <p:grpSpPr>
          <a:xfrm>
            <a:off x="4095842" y="1804961"/>
            <a:ext cx="73565" cy="101091"/>
            <a:chOff x="2656935" y="4857096"/>
            <a:chExt cx="170032" cy="233653"/>
          </a:xfrm>
          <a:solidFill>
            <a:schemeClr val="bg1"/>
          </a:solidFill>
        </p:grpSpPr>
        <p:sp>
          <p:nvSpPr>
            <p:cNvPr id="25" name="Graphic 4">
              <a:extLst>
                <a:ext uri="{FF2B5EF4-FFF2-40B4-BE49-F238E27FC236}">
                  <a16:creationId xmlns:a16="http://schemas.microsoft.com/office/drawing/2014/main" id="{038E7B2A-D65E-29DD-72BD-1C9E8E652C6A}"/>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noAutofit/>
            </a:bodyPr>
            <a:lstStyle/>
            <a:p>
              <a:endParaRPr lang="en-US"/>
            </a:p>
          </p:txBody>
        </p:sp>
        <p:sp>
          <p:nvSpPr>
            <p:cNvPr id="26" name="Graphic 4">
              <a:extLst>
                <a:ext uri="{FF2B5EF4-FFF2-40B4-BE49-F238E27FC236}">
                  <a16:creationId xmlns:a16="http://schemas.microsoft.com/office/drawing/2014/main" id="{73E6F964-9AB0-DDBD-2208-5BDDBA655EF3}"/>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noAutofit/>
            </a:bodyPr>
            <a:lstStyle/>
            <a:p>
              <a:endParaRPr lang="en-US"/>
            </a:p>
          </p:txBody>
        </p:sp>
      </p:grpSp>
      <p:sp>
        <p:nvSpPr>
          <p:cNvPr id="27" name="Graphic 4">
            <a:extLst>
              <a:ext uri="{FF2B5EF4-FFF2-40B4-BE49-F238E27FC236}">
                <a16:creationId xmlns:a16="http://schemas.microsoft.com/office/drawing/2014/main" id="{66D0D708-E723-17E9-BCD1-7D43DBC08C24}"/>
              </a:ext>
            </a:extLst>
          </p:cNvPr>
          <p:cNvSpPr/>
          <p:nvPr userDrawn="1"/>
        </p:nvSpPr>
        <p:spPr>
          <a:xfrm>
            <a:off x="4088721" y="2016349"/>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noAutofit/>
          </a:bodyPr>
          <a:lstStyle/>
          <a:p>
            <a:endParaRPr lang="en-US"/>
          </a:p>
        </p:txBody>
      </p:sp>
      <p:sp>
        <p:nvSpPr>
          <p:cNvPr id="28" name="Text Placeholder 27">
            <a:extLst>
              <a:ext uri="{FF2B5EF4-FFF2-40B4-BE49-F238E27FC236}">
                <a16:creationId xmlns:a16="http://schemas.microsoft.com/office/drawing/2014/main" id="{19640466-C60C-8500-2B3F-3380C21679AD}"/>
              </a:ext>
            </a:extLst>
          </p:cNvPr>
          <p:cNvSpPr>
            <a:spLocks noGrp="1"/>
          </p:cNvSpPr>
          <p:nvPr>
            <p:ph type="body" sz="quarter" idx="16"/>
          </p:nvPr>
        </p:nvSpPr>
        <p:spPr>
          <a:xfrm>
            <a:off x="4298660" y="1364405"/>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9" name="Text Placeholder 27">
            <a:extLst>
              <a:ext uri="{FF2B5EF4-FFF2-40B4-BE49-F238E27FC236}">
                <a16:creationId xmlns:a16="http://schemas.microsoft.com/office/drawing/2014/main" id="{5835141B-C563-EB7C-2FCC-3217E06CB2D6}"/>
              </a:ext>
            </a:extLst>
          </p:cNvPr>
          <p:cNvSpPr>
            <a:spLocks noGrp="1"/>
          </p:cNvSpPr>
          <p:nvPr>
            <p:ph type="body" sz="quarter" idx="17"/>
          </p:nvPr>
        </p:nvSpPr>
        <p:spPr>
          <a:xfrm>
            <a:off x="4298660" y="1566012"/>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0" name="Text Placeholder 27">
            <a:extLst>
              <a:ext uri="{FF2B5EF4-FFF2-40B4-BE49-F238E27FC236}">
                <a16:creationId xmlns:a16="http://schemas.microsoft.com/office/drawing/2014/main" id="{3B330040-00E9-C85C-043C-1532E2D0C695}"/>
              </a:ext>
            </a:extLst>
          </p:cNvPr>
          <p:cNvSpPr>
            <a:spLocks noGrp="1"/>
          </p:cNvSpPr>
          <p:nvPr>
            <p:ph type="body" sz="quarter" idx="18"/>
          </p:nvPr>
        </p:nvSpPr>
        <p:spPr>
          <a:xfrm>
            <a:off x="4298660" y="1767527"/>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1" name="Text Placeholder 27">
            <a:extLst>
              <a:ext uri="{FF2B5EF4-FFF2-40B4-BE49-F238E27FC236}">
                <a16:creationId xmlns:a16="http://schemas.microsoft.com/office/drawing/2014/main" id="{CA8D9D34-2CDD-EE9F-FDEE-E2D0F0B3CF2F}"/>
              </a:ext>
            </a:extLst>
          </p:cNvPr>
          <p:cNvSpPr>
            <a:spLocks noGrp="1"/>
          </p:cNvSpPr>
          <p:nvPr>
            <p:ph type="body" sz="quarter" idx="19"/>
          </p:nvPr>
        </p:nvSpPr>
        <p:spPr>
          <a:xfrm>
            <a:off x="4298660" y="1969210"/>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4" name="Text Placeholder 4">
            <a:extLst>
              <a:ext uri="{FF2B5EF4-FFF2-40B4-BE49-F238E27FC236}">
                <a16:creationId xmlns:a16="http://schemas.microsoft.com/office/drawing/2014/main" id="{96FF3014-BCB5-AD37-D9B1-BC0927F32221}"/>
              </a:ext>
            </a:extLst>
          </p:cNvPr>
          <p:cNvSpPr>
            <a:spLocks noGrp="1"/>
          </p:cNvSpPr>
          <p:nvPr>
            <p:ph type="body" sz="quarter" idx="33"/>
          </p:nvPr>
        </p:nvSpPr>
        <p:spPr>
          <a:xfrm>
            <a:off x="630603" y="2750077"/>
            <a:ext cx="5312998" cy="3339438"/>
          </a:xfrm>
        </p:spPr>
        <p:txBody>
          <a:bodyPr numCol="2" spcCol="216000">
            <a:normAutofit/>
          </a:bodyPr>
          <a:lstStyle>
            <a:lvl1pPr>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a:defRPr sz="900" b="0" i="0">
                <a:latin typeface="Open Sans Light" panose="020B0306030504020204" pitchFamily="34" charset="0"/>
                <a:ea typeface="Open Sans Light" panose="020B0306030504020204" pitchFamily="34" charset="0"/>
                <a:cs typeface="Open Sans Light" panose="020B0306030504020204" pitchFamily="34" charset="0"/>
              </a:defRPr>
            </a:lvl2pPr>
            <a:lvl3pPr>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CH" dirty="0"/>
          </a:p>
        </p:txBody>
      </p:sp>
      <p:sp>
        <p:nvSpPr>
          <p:cNvPr id="35" name="Text Placeholder 4">
            <a:extLst>
              <a:ext uri="{FF2B5EF4-FFF2-40B4-BE49-F238E27FC236}">
                <a16:creationId xmlns:a16="http://schemas.microsoft.com/office/drawing/2014/main" id="{4F3A36BD-9EF7-2720-54BE-39F004C4AB57}"/>
              </a:ext>
            </a:extLst>
          </p:cNvPr>
          <p:cNvSpPr>
            <a:spLocks noGrp="1"/>
          </p:cNvSpPr>
          <p:nvPr>
            <p:ph type="body" sz="quarter" idx="34"/>
          </p:nvPr>
        </p:nvSpPr>
        <p:spPr>
          <a:xfrm>
            <a:off x="6248400" y="2750077"/>
            <a:ext cx="5312998" cy="3339438"/>
          </a:xfrm>
        </p:spPr>
        <p:txBody>
          <a:bodyPr numCol="2" spcCol="216000">
            <a:normAutofit/>
          </a:bodyPr>
          <a:lstStyle>
            <a:lvl1pPr>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a:defRPr sz="900" b="0" i="0">
                <a:latin typeface="Open Sans Light" panose="020B0306030504020204" pitchFamily="34" charset="0"/>
                <a:ea typeface="Open Sans Light" panose="020B0306030504020204" pitchFamily="34" charset="0"/>
                <a:cs typeface="Open Sans Light" panose="020B0306030504020204" pitchFamily="34" charset="0"/>
              </a:defRPr>
            </a:lvl2pPr>
            <a:lvl3pPr>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CH" dirty="0"/>
          </a:p>
        </p:txBody>
      </p:sp>
      <p:pic>
        <p:nvPicPr>
          <p:cNvPr id="36" name="Picture 35">
            <a:extLst>
              <a:ext uri="{FF2B5EF4-FFF2-40B4-BE49-F238E27FC236}">
                <a16:creationId xmlns:a16="http://schemas.microsoft.com/office/drawing/2014/main" id="{DE8057B3-7388-0A6F-0F23-7544D551B7D8}"/>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6571348" y="1175097"/>
            <a:ext cx="5125569" cy="1394154"/>
          </a:xfrm>
          <a:prstGeom prst="rect">
            <a:avLst/>
          </a:prstGeom>
        </p:spPr>
      </p:pic>
      <p:sp>
        <p:nvSpPr>
          <p:cNvPr id="37" name="Text Placeholder 40">
            <a:extLst>
              <a:ext uri="{FF2B5EF4-FFF2-40B4-BE49-F238E27FC236}">
                <a16:creationId xmlns:a16="http://schemas.microsoft.com/office/drawing/2014/main" id="{FFF32CB5-3606-E7B0-FDBB-CB32C961D0D5}"/>
              </a:ext>
            </a:extLst>
          </p:cNvPr>
          <p:cNvSpPr>
            <a:spLocks noGrp="1"/>
          </p:cNvSpPr>
          <p:nvPr>
            <p:ph type="body" sz="quarter" idx="35" hasCustomPrompt="1"/>
          </p:nvPr>
        </p:nvSpPr>
        <p:spPr>
          <a:xfrm>
            <a:off x="7694741" y="1338911"/>
            <a:ext cx="1758510" cy="836503"/>
          </a:xfrm>
        </p:spPr>
        <p:txBody>
          <a:bodyPr lIns="0">
            <a:noAutofit/>
          </a:bodyPr>
          <a:lstStyle>
            <a:lvl1pPr>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Aft>
                <a:spcPts val="200"/>
              </a:spcAft>
              <a:buNone/>
              <a:defRPr sz="1400" b="1" i="0">
                <a:solidFill>
                  <a:srgbClr val="1CABE3"/>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dirty="0"/>
              <a:t>Fifth level</a:t>
            </a:r>
            <a:endParaRPr lang="en-GB" dirty="0"/>
          </a:p>
        </p:txBody>
      </p:sp>
      <p:sp>
        <p:nvSpPr>
          <p:cNvPr id="38" name="Oval 37">
            <a:extLst>
              <a:ext uri="{FF2B5EF4-FFF2-40B4-BE49-F238E27FC236}">
                <a16:creationId xmlns:a16="http://schemas.microsoft.com/office/drawing/2014/main" id="{917FCE54-278B-6AE2-F477-C8184A9A1787}"/>
              </a:ext>
            </a:extLst>
          </p:cNvPr>
          <p:cNvSpPr/>
          <p:nvPr userDrawn="1"/>
        </p:nvSpPr>
        <p:spPr bwMode="gray">
          <a:xfrm>
            <a:off x="9650421" y="1378647"/>
            <a:ext cx="165465" cy="165465"/>
          </a:xfrm>
          <a:prstGeom prst="ellipse">
            <a:avLst/>
          </a:prstGeom>
          <a:solidFill>
            <a:srgbClr val="1CABE3"/>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39" name="Oval 38">
            <a:extLst>
              <a:ext uri="{FF2B5EF4-FFF2-40B4-BE49-F238E27FC236}">
                <a16:creationId xmlns:a16="http://schemas.microsoft.com/office/drawing/2014/main" id="{4E2A740D-0222-5290-1D63-27ACE77A7F85}"/>
              </a:ext>
            </a:extLst>
          </p:cNvPr>
          <p:cNvSpPr/>
          <p:nvPr userDrawn="1"/>
        </p:nvSpPr>
        <p:spPr bwMode="gray">
          <a:xfrm>
            <a:off x="9650421" y="1580381"/>
            <a:ext cx="165465" cy="165465"/>
          </a:xfrm>
          <a:prstGeom prst="ellipse">
            <a:avLst/>
          </a:prstGeom>
          <a:solidFill>
            <a:srgbClr val="1CABE3"/>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40" name="Oval 39">
            <a:extLst>
              <a:ext uri="{FF2B5EF4-FFF2-40B4-BE49-F238E27FC236}">
                <a16:creationId xmlns:a16="http://schemas.microsoft.com/office/drawing/2014/main" id="{2A7706A1-5AE3-9BDC-636A-1C6486B518B3}"/>
              </a:ext>
            </a:extLst>
          </p:cNvPr>
          <p:cNvSpPr/>
          <p:nvPr userDrawn="1"/>
        </p:nvSpPr>
        <p:spPr bwMode="gray">
          <a:xfrm>
            <a:off x="9650421" y="1782115"/>
            <a:ext cx="165465" cy="165465"/>
          </a:xfrm>
          <a:prstGeom prst="ellipse">
            <a:avLst/>
          </a:prstGeom>
          <a:solidFill>
            <a:srgbClr val="1CABE3"/>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41" name="Oval 40">
            <a:extLst>
              <a:ext uri="{FF2B5EF4-FFF2-40B4-BE49-F238E27FC236}">
                <a16:creationId xmlns:a16="http://schemas.microsoft.com/office/drawing/2014/main" id="{F4BFDBCD-A855-4434-185C-37BC16EB2BF7}"/>
              </a:ext>
            </a:extLst>
          </p:cNvPr>
          <p:cNvSpPr/>
          <p:nvPr userDrawn="1"/>
        </p:nvSpPr>
        <p:spPr bwMode="gray">
          <a:xfrm>
            <a:off x="9650421" y="1983849"/>
            <a:ext cx="165465" cy="165465"/>
          </a:xfrm>
          <a:prstGeom prst="ellipse">
            <a:avLst/>
          </a:prstGeom>
          <a:solidFill>
            <a:srgbClr val="1CABE3"/>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42" name="Graphic 4">
            <a:extLst>
              <a:ext uri="{FF2B5EF4-FFF2-40B4-BE49-F238E27FC236}">
                <a16:creationId xmlns:a16="http://schemas.microsoft.com/office/drawing/2014/main" id="{BB62A7F7-EA1B-8047-928F-1FA45DFE8A64}"/>
              </a:ext>
            </a:extLst>
          </p:cNvPr>
          <p:cNvSpPr>
            <a:spLocks noChangeAspect="1"/>
          </p:cNvSpPr>
          <p:nvPr userDrawn="1"/>
        </p:nvSpPr>
        <p:spPr>
          <a:xfrm>
            <a:off x="9683806" y="1425379"/>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lstStyle/>
          <a:p>
            <a:endParaRPr lang="en-US"/>
          </a:p>
        </p:txBody>
      </p:sp>
      <p:sp>
        <p:nvSpPr>
          <p:cNvPr id="43" name="Graphic 1100">
            <a:extLst>
              <a:ext uri="{FF2B5EF4-FFF2-40B4-BE49-F238E27FC236}">
                <a16:creationId xmlns:a16="http://schemas.microsoft.com/office/drawing/2014/main" id="{95E52BF0-4397-A988-D07C-019F398F859A}"/>
              </a:ext>
            </a:extLst>
          </p:cNvPr>
          <p:cNvSpPr/>
          <p:nvPr userDrawn="1"/>
        </p:nvSpPr>
        <p:spPr>
          <a:xfrm>
            <a:off x="9687286" y="1618651"/>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lstStyle/>
          <a:p>
            <a:endParaRPr lang="en-US">
              <a:solidFill>
                <a:schemeClr val="accent5"/>
              </a:solidFill>
            </a:endParaRPr>
          </a:p>
        </p:txBody>
      </p:sp>
      <p:grpSp>
        <p:nvGrpSpPr>
          <p:cNvPr id="44" name="Graphic 4">
            <a:extLst>
              <a:ext uri="{FF2B5EF4-FFF2-40B4-BE49-F238E27FC236}">
                <a16:creationId xmlns:a16="http://schemas.microsoft.com/office/drawing/2014/main" id="{40FA3299-2331-EFD1-2D1F-087321644E15}"/>
              </a:ext>
            </a:extLst>
          </p:cNvPr>
          <p:cNvGrpSpPr/>
          <p:nvPr userDrawn="1"/>
        </p:nvGrpSpPr>
        <p:grpSpPr>
          <a:xfrm>
            <a:off x="9696760" y="1817480"/>
            <a:ext cx="73565" cy="101091"/>
            <a:chOff x="2656935" y="4857096"/>
            <a:chExt cx="170032" cy="233653"/>
          </a:xfrm>
          <a:solidFill>
            <a:schemeClr val="bg1"/>
          </a:solidFill>
        </p:grpSpPr>
        <p:sp>
          <p:nvSpPr>
            <p:cNvPr id="45" name="Graphic 4">
              <a:extLst>
                <a:ext uri="{FF2B5EF4-FFF2-40B4-BE49-F238E27FC236}">
                  <a16:creationId xmlns:a16="http://schemas.microsoft.com/office/drawing/2014/main" id="{553FD3DE-1AD9-9AA3-C401-1960D7FCE65E}"/>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88B8026E-D027-1C15-D92C-52FC80D21A9D}"/>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endParaRPr lang="en-US"/>
            </a:p>
          </p:txBody>
        </p:sp>
      </p:grpSp>
      <p:sp>
        <p:nvSpPr>
          <p:cNvPr id="47" name="Graphic 4">
            <a:extLst>
              <a:ext uri="{FF2B5EF4-FFF2-40B4-BE49-F238E27FC236}">
                <a16:creationId xmlns:a16="http://schemas.microsoft.com/office/drawing/2014/main" id="{5C0B6975-3442-D29D-6B9D-8E4A7E84BC0F}"/>
              </a:ext>
            </a:extLst>
          </p:cNvPr>
          <p:cNvSpPr/>
          <p:nvPr userDrawn="1"/>
        </p:nvSpPr>
        <p:spPr>
          <a:xfrm>
            <a:off x="9689639" y="2028868"/>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lstStyle/>
          <a:p>
            <a:endParaRPr lang="en-US"/>
          </a:p>
        </p:txBody>
      </p:sp>
      <p:sp>
        <p:nvSpPr>
          <p:cNvPr id="48" name="Text Placeholder 27">
            <a:extLst>
              <a:ext uri="{FF2B5EF4-FFF2-40B4-BE49-F238E27FC236}">
                <a16:creationId xmlns:a16="http://schemas.microsoft.com/office/drawing/2014/main" id="{AAFD8DF9-E795-E52B-74BD-064D0DDF7938}"/>
              </a:ext>
            </a:extLst>
          </p:cNvPr>
          <p:cNvSpPr>
            <a:spLocks noGrp="1"/>
          </p:cNvSpPr>
          <p:nvPr>
            <p:ph type="body" sz="quarter" idx="36"/>
          </p:nvPr>
        </p:nvSpPr>
        <p:spPr>
          <a:xfrm>
            <a:off x="9899578" y="1376924"/>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49" name="Text Placeholder 27">
            <a:extLst>
              <a:ext uri="{FF2B5EF4-FFF2-40B4-BE49-F238E27FC236}">
                <a16:creationId xmlns:a16="http://schemas.microsoft.com/office/drawing/2014/main" id="{C94AA6E0-3435-51C6-29B6-19C3D696025E}"/>
              </a:ext>
            </a:extLst>
          </p:cNvPr>
          <p:cNvSpPr>
            <a:spLocks noGrp="1"/>
          </p:cNvSpPr>
          <p:nvPr>
            <p:ph type="body" sz="quarter" idx="37"/>
          </p:nvPr>
        </p:nvSpPr>
        <p:spPr>
          <a:xfrm>
            <a:off x="9899578" y="1578531"/>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50" name="Text Placeholder 27">
            <a:extLst>
              <a:ext uri="{FF2B5EF4-FFF2-40B4-BE49-F238E27FC236}">
                <a16:creationId xmlns:a16="http://schemas.microsoft.com/office/drawing/2014/main" id="{D82E2F06-4FE2-2869-E896-557F8232EE5D}"/>
              </a:ext>
            </a:extLst>
          </p:cNvPr>
          <p:cNvSpPr>
            <a:spLocks noGrp="1"/>
          </p:cNvSpPr>
          <p:nvPr>
            <p:ph type="body" sz="quarter" idx="38"/>
          </p:nvPr>
        </p:nvSpPr>
        <p:spPr>
          <a:xfrm>
            <a:off x="9899578" y="1780046"/>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51" name="Text Placeholder 27">
            <a:extLst>
              <a:ext uri="{FF2B5EF4-FFF2-40B4-BE49-F238E27FC236}">
                <a16:creationId xmlns:a16="http://schemas.microsoft.com/office/drawing/2014/main" id="{23F6B958-6DFF-7162-563B-1D50C64D695F}"/>
              </a:ext>
            </a:extLst>
          </p:cNvPr>
          <p:cNvSpPr>
            <a:spLocks noGrp="1"/>
          </p:cNvSpPr>
          <p:nvPr>
            <p:ph type="body" sz="quarter" idx="39"/>
          </p:nvPr>
        </p:nvSpPr>
        <p:spPr>
          <a:xfrm>
            <a:off x="9899578" y="1981729"/>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8" name="Picture Placeholder 8">
            <a:extLst>
              <a:ext uri="{FF2B5EF4-FFF2-40B4-BE49-F238E27FC236}">
                <a16:creationId xmlns:a16="http://schemas.microsoft.com/office/drawing/2014/main" id="{0FB74A1A-8F13-4DAA-B784-C6CC37D1DD03}"/>
              </a:ext>
            </a:extLst>
          </p:cNvPr>
          <p:cNvSpPr>
            <a:spLocks noGrp="1" noChangeAspect="1"/>
          </p:cNvSpPr>
          <p:nvPr>
            <p:ph type="pic" sz="quarter" idx="14"/>
          </p:nvPr>
        </p:nvSpPr>
        <p:spPr>
          <a:xfrm>
            <a:off x="6220441" y="1164853"/>
            <a:ext cx="1260000" cy="1260000"/>
          </a:xfrm>
          <a:prstGeom prst="ellipse">
            <a:avLst/>
          </a:prstGeom>
          <a:solidFill>
            <a:schemeClr val="bg1">
              <a:lumMod val="95000"/>
            </a:schemeClr>
          </a:solidFill>
        </p:spPr>
        <p:txBody>
          <a:bodyPr/>
          <a:lstStyle/>
          <a:p>
            <a:endParaRPr lang="en-GB"/>
          </a:p>
        </p:txBody>
      </p:sp>
    </p:spTree>
    <p:extLst>
      <p:ext uri="{BB962C8B-B14F-4D97-AF65-F5344CB8AC3E}">
        <p14:creationId xmlns:p14="http://schemas.microsoft.com/office/powerpoint/2010/main" val="296553380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V_x1">
    <p:bg>
      <p:bgPr>
        <a:solidFill>
          <a:srgbClr val="ECECEC"/>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5258D1C-A143-148E-F52B-591EE07CAA65}"/>
              </a:ext>
            </a:extLst>
          </p:cNvPr>
          <p:cNvSpPr/>
          <p:nvPr userDrawn="1"/>
        </p:nvSpPr>
        <p:spPr bwMode="gray">
          <a:xfrm>
            <a:off x="467125" y="1026695"/>
            <a:ext cx="11267675" cy="533600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pic>
        <p:nvPicPr>
          <p:cNvPr id="4" name="Picture 3">
            <a:extLst>
              <a:ext uri="{FF2B5EF4-FFF2-40B4-BE49-F238E27FC236}">
                <a16:creationId xmlns:a16="http://schemas.microsoft.com/office/drawing/2014/main" id="{05BCDCB8-CF55-25F5-EEC3-7821441D4556}"/>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970430" y="1160942"/>
            <a:ext cx="10667387" cy="1397427"/>
          </a:xfrm>
          <a:prstGeom prst="rect">
            <a:avLst/>
          </a:prstGeom>
        </p:spPr>
      </p:pic>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4400" y="417600"/>
            <a:ext cx="11277599" cy="334099"/>
          </a:xfrm>
          <a:prstGeom prst="rect">
            <a:avLst/>
          </a:prstGeom>
          <a:noFill/>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6" name="Text Placeholder 7">
            <a:extLst>
              <a:ext uri="{FF2B5EF4-FFF2-40B4-BE49-F238E27FC236}">
                <a16:creationId xmlns:a16="http://schemas.microsoft.com/office/drawing/2014/main" id="{059F9F0C-D7EA-4D6D-B819-3DAA187FDA77}"/>
              </a:ext>
            </a:extLst>
          </p:cNvPr>
          <p:cNvSpPr>
            <a:spLocks noGrp="1"/>
          </p:cNvSpPr>
          <p:nvPr>
            <p:ph type="body" sz="quarter" idx="15" hasCustomPrompt="1"/>
          </p:nvPr>
        </p:nvSpPr>
        <p:spPr>
          <a:xfrm>
            <a:off x="638148" y="2750008"/>
            <a:ext cx="5305452" cy="3408049"/>
          </a:xfrm>
        </p:spPr>
        <p:txBody>
          <a:bodyPr lIns="0">
            <a:noAutofit/>
          </a:bodyPr>
          <a:lstStyle>
            <a:lvl1pPr>
              <a:spcBef>
                <a:spcPts val="200"/>
              </a:spcBef>
              <a:spcAft>
                <a:spcPts val="300"/>
              </a:spcAft>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Bef>
                <a:spcPts val="200"/>
              </a:spcBef>
              <a:spcAft>
                <a:spcPts val="300"/>
              </a:spcAft>
              <a:buNone/>
              <a:defRPr sz="9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80975" indent="-180975">
              <a:spcBef>
                <a:spcPts val="200"/>
              </a:spcBef>
              <a:spcAft>
                <a:spcPts val="300"/>
              </a:spcAft>
              <a:buFont typeface="Arial" panose="020B0604020202020204" pitchFamily="34" charset="0"/>
              <a:buChar char="•"/>
              <a:tabLst>
                <a:tab pos="180975" algn="l"/>
              </a:tabLst>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marL="357188" indent="-176213">
              <a:spcBef>
                <a:spcPts val="200"/>
              </a:spcBef>
              <a:spcAft>
                <a:spcPts val="300"/>
              </a:spcAft>
              <a:buFont typeface="Calibri" panose="020F0502020204030204" pitchFamily="34" charset="0"/>
              <a:buChar cha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spcBef>
                <a:spcPts val="200"/>
              </a:spcBef>
              <a:spcAft>
                <a:spcPts val="300"/>
              </a:spcAft>
              <a:buNone/>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Text Placeholder 7">
            <a:extLst>
              <a:ext uri="{FF2B5EF4-FFF2-40B4-BE49-F238E27FC236}">
                <a16:creationId xmlns:a16="http://schemas.microsoft.com/office/drawing/2014/main" id="{7682BE68-DFC7-491B-AF65-1A4E7619A5F2}"/>
              </a:ext>
            </a:extLst>
          </p:cNvPr>
          <p:cNvSpPr>
            <a:spLocks noGrp="1"/>
          </p:cNvSpPr>
          <p:nvPr>
            <p:ph type="body" sz="quarter" idx="25" hasCustomPrompt="1"/>
          </p:nvPr>
        </p:nvSpPr>
        <p:spPr>
          <a:xfrm>
            <a:off x="6248401" y="2750007"/>
            <a:ext cx="5305452" cy="3408049"/>
          </a:xfrm>
        </p:spPr>
        <p:txBody>
          <a:bodyPr lIns="0">
            <a:noAutofit/>
          </a:bodyPr>
          <a:lstStyle>
            <a:lvl1pPr>
              <a:spcBef>
                <a:spcPts val="200"/>
              </a:spcBef>
              <a:spcAft>
                <a:spcPts val="300"/>
              </a:spcAft>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Bef>
                <a:spcPts val="200"/>
              </a:spcBef>
              <a:spcAft>
                <a:spcPts val="300"/>
              </a:spcAft>
              <a:buNone/>
              <a:defRPr sz="9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80975" indent="-180975">
              <a:spcBef>
                <a:spcPts val="200"/>
              </a:spcBef>
              <a:spcAft>
                <a:spcPts val="300"/>
              </a:spcAft>
              <a:buFont typeface="Arial" panose="020B0604020202020204" pitchFamily="34" charset="0"/>
              <a:buChar char="•"/>
              <a:tabLst>
                <a:tab pos="180975" algn="l"/>
              </a:tabLst>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marL="357188" indent="-176213">
              <a:spcBef>
                <a:spcPts val="200"/>
              </a:spcBef>
              <a:spcAft>
                <a:spcPts val="300"/>
              </a:spcAft>
              <a:buFont typeface="Calibri" panose="020F0502020204030204" pitchFamily="34" charset="0"/>
              <a:buChar cha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spcBef>
                <a:spcPts val="200"/>
              </a:spcBef>
              <a:spcAft>
                <a:spcPts val="300"/>
              </a:spcAft>
              <a:buNone/>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Picture Placeholder 8">
            <a:extLst>
              <a:ext uri="{FF2B5EF4-FFF2-40B4-BE49-F238E27FC236}">
                <a16:creationId xmlns:a16="http://schemas.microsoft.com/office/drawing/2014/main" id="{942DD90D-D621-FA6C-D989-EE0070A6D8A0}"/>
              </a:ext>
            </a:extLst>
          </p:cNvPr>
          <p:cNvSpPr>
            <a:spLocks noGrp="1" noChangeAspect="1"/>
          </p:cNvSpPr>
          <p:nvPr>
            <p:ph type="pic" sz="quarter" idx="22"/>
          </p:nvPr>
        </p:nvSpPr>
        <p:spPr>
          <a:xfrm>
            <a:off x="638148" y="1164853"/>
            <a:ext cx="1260000" cy="1260000"/>
          </a:xfrm>
          <a:prstGeom prst="ellipse">
            <a:avLst/>
          </a:prstGeom>
          <a:solidFill>
            <a:schemeClr val="bg1">
              <a:lumMod val="95000"/>
            </a:schemeClr>
          </a:solidFill>
        </p:spPr>
        <p:txBody>
          <a:bodyPr/>
          <a:lstStyle/>
          <a:p>
            <a:endParaRPr lang="en-GB"/>
          </a:p>
        </p:txBody>
      </p:sp>
      <p:sp>
        <p:nvSpPr>
          <p:cNvPr id="7" name="Text Placeholder 40">
            <a:extLst>
              <a:ext uri="{FF2B5EF4-FFF2-40B4-BE49-F238E27FC236}">
                <a16:creationId xmlns:a16="http://schemas.microsoft.com/office/drawing/2014/main" id="{4C2DDF78-2626-387F-4FA4-C3DB369E634C}"/>
              </a:ext>
            </a:extLst>
          </p:cNvPr>
          <p:cNvSpPr>
            <a:spLocks noGrp="1"/>
          </p:cNvSpPr>
          <p:nvPr>
            <p:ph type="body" sz="quarter" idx="21" hasCustomPrompt="1"/>
          </p:nvPr>
        </p:nvSpPr>
        <p:spPr>
          <a:xfrm>
            <a:off x="2094523" y="1326392"/>
            <a:ext cx="3464293" cy="836503"/>
          </a:xfrm>
        </p:spPr>
        <p:txBody>
          <a:bodyPr lIns="0">
            <a:noAutofit/>
          </a:bodyPr>
          <a:lstStyle>
            <a:lvl1pPr>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Aft>
                <a:spcPts val="200"/>
              </a:spcAft>
              <a:buNone/>
              <a:defRPr sz="1400" b="1" i="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dirty="0"/>
              <a:t>Fifth level</a:t>
            </a:r>
            <a:endParaRPr lang="en-GB" dirty="0"/>
          </a:p>
        </p:txBody>
      </p:sp>
      <p:sp>
        <p:nvSpPr>
          <p:cNvPr id="10" name="Oval 9">
            <a:extLst>
              <a:ext uri="{FF2B5EF4-FFF2-40B4-BE49-F238E27FC236}">
                <a16:creationId xmlns:a16="http://schemas.microsoft.com/office/drawing/2014/main" id="{AD943B81-ED1B-389B-57F5-0148B9C4A4A4}"/>
              </a:ext>
            </a:extLst>
          </p:cNvPr>
          <p:cNvSpPr/>
          <p:nvPr userDrawn="1"/>
        </p:nvSpPr>
        <p:spPr bwMode="gray">
          <a:xfrm>
            <a:off x="6262954" y="1366128"/>
            <a:ext cx="165465" cy="165465"/>
          </a:xfrm>
          <a:prstGeom prst="ellipse">
            <a:avLst/>
          </a:prstGeom>
          <a:solidFill>
            <a:srgbClr val="00B0F2"/>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1" name="Oval 10">
            <a:extLst>
              <a:ext uri="{FF2B5EF4-FFF2-40B4-BE49-F238E27FC236}">
                <a16:creationId xmlns:a16="http://schemas.microsoft.com/office/drawing/2014/main" id="{CB62CD10-D3B0-525A-157B-F501004E7FA9}"/>
              </a:ext>
            </a:extLst>
          </p:cNvPr>
          <p:cNvSpPr/>
          <p:nvPr userDrawn="1"/>
        </p:nvSpPr>
        <p:spPr bwMode="gray">
          <a:xfrm>
            <a:off x="6262954" y="1567862"/>
            <a:ext cx="165465" cy="165465"/>
          </a:xfrm>
          <a:prstGeom prst="ellipse">
            <a:avLst/>
          </a:prstGeom>
          <a:solidFill>
            <a:srgbClr val="00B0F2"/>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2" name="Oval 11">
            <a:extLst>
              <a:ext uri="{FF2B5EF4-FFF2-40B4-BE49-F238E27FC236}">
                <a16:creationId xmlns:a16="http://schemas.microsoft.com/office/drawing/2014/main" id="{EF7F918C-8F65-62E6-5F15-3CCB39835AE3}"/>
              </a:ext>
            </a:extLst>
          </p:cNvPr>
          <p:cNvSpPr/>
          <p:nvPr userDrawn="1"/>
        </p:nvSpPr>
        <p:spPr bwMode="gray">
          <a:xfrm>
            <a:off x="6262954" y="1769596"/>
            <a:ext cx="165465" cy="165465"/>
          </a:xfrm>
          <a:prstGeom prst="ellipse">
            <a:avLst/>
          </a:prstGeom>
          <a:solidFill>
            <a:srgbClr val="00B0F2"/>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3" name="Oval 12">
            <a:extLst>
              <a:ext uri="{FF2B5EF4-FFF2-40B4-BE49-F238E27FC236}">
                <a16:creationId xmlns:a16="http://schemas.microsoft.com/office/drawing/2014/main" id="{65ED4AD2-B242-48D1-DC1A-7C325E8465A2}"/>
              </a:ext>
            </a:extLst>
          </p:cNvPr>
          <p:cNvSpPr/>
          <p:nvPr userDrawn="1"/>
        </p:nvSpPr>
        <p:spPr bwMode="gray">
          <a:xfrm>
            <a:off x="6262954" y="1971330"/>
            <a:ext cx="165465" cy="165465"/>
          </a:xfrm>
          <a:prstGeom prst="ellipse">
            <a:avLst/>
          </a:prstGeom>
          <a:solidFill>
            <a:srgbClr val="00B0F2"/>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5" name="Graphic 4">
            <a:extLst>
              <a:ext uri="{FF2B5EF4-FFF2-40B4-BE49-F238E27FC236}">
                <a16:creationId xmlns:a16="http://schemas.microsoft.com/office/drawing/2014/main" id="{1D1B2BC3-69CF-69DF-AA37-A1B13357C5B2}"/>
              </a:ext>
            </a:extLst>
          </p:cNvPr>
          <p:cNvSpPr>
            <a:spLocks noChangeAspect="1"/>
          </p:cNvSpPr>
          <p:nvPr userDrawn="1"/>
        </p:nvSpPr>
        <p:spPr>
          <a:xfrm>
            <a:off x="6296339" y="1412860"/>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lstStyle/>
          <a:p>
            <a:endParaRPr lang="en-US"/>
          </a:p>
        </p:txBody>
      </p:sp>
      <p:sp>
        <p:nvSpPr>
          <p:cNvPr id="16" name="Graphic 1100">
            <a:extLst>
              <a:ext uri="{FF2B5EF4-FFF2-40B4-BE49-F238E27FC236}">
                <a16:creationId xmlns:a16="http://schemas.microsoft.com/office/drawing/2014/main" id="{DBC2821D-5EE2-6ABD-314A-D5A8CFCF735A}"/>
              </a:ext>
            </a:extLst>
          </p:cNvPr>
          <p:cNvSpPr/>
          <p:nvPr userDrawn="1"/>
        </p:nvSpPr>
        <p:spPr>
          <a:xfrm>
            <a:off x="6299819" y="1606132"/>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lstStyle/>
          <a:p>
            <a:endParaRPr lang="en-US">
              <a:solidFill>
                <a:schemeClr val="accent5"/>
              </a:solidFill>
            </a:endParaRPr>
          </a:p>
        </p:txBody>
      </p:sp>
      <p:grpSp>
        <p:nvGrpSpPr>
          <p:cNvPr id="17" name="Graphic 4">
            <a:extLst>
              <a:ext uri="{FF2B5EF4-FFF2-40B4-BE49-F238E27FC236}">
                <a16:creationId xmlns:a16="http://schemas.microsoft.com/office/drawing/2014/main" id="{2103216C-DDCA-C05C-39C5-E3CC38500AB3}"/>
              </a:ext>
            </a:extLst>
          </p:cNvPr>
          <p:cNvGrpSpPr/>
          <p:nvPr userDrawn="1"/>
        </p:nvGrpSpPr>
        <p:grpSpPr>
          <a:xfrm>
            <a:off x="6309293" y="1804961"/>
            <a:ext cx="73565" cy="101091"/>
            <a:chOff x="2656935" y="4857096"/>
            <a:chExt cx="170032" cy="233653"/>
          </a:xfrm>
          <a:solidFill>
            <a:schemeClr val="bg1"/>
          </a:solidFill>
        </p:grpSpPr>
        <p:sp>
          <p:nvSpPr>
            <p:cNvPr id="18" name="Graphic 4">
              <a:extLst>
                <a:ext uri="{FF2B5EF4-FFF2-40B4-BE49-F238E27FC236}">
                  <a16:creationId xmlns:a16="http://schemas.microsoft.com/office/drawing/2014/main" id="{BDE46DA2-69BF-7C41-3815-6E45BB170C55}"/>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2D935034-02E4-7506-7866-5F47036E4832}"/>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endParaRPr lang="en-US"/>
            </a:p>
          </p:txBody>
        </p:sp>
      </p:grpSp>
      <p:sp>
        <p:nvSpPr>
          <p:cNvPr id="20" name="Graphic 4">
            <a:extLst>
              <a:ext uri="{FF2B5EF4-FFF2-40B4-BE49-F238E27FC236}">
                <a16:creationId xmlns:a16="http://schemas.microsoft.com/office/drawing/2014/main" id="{56DFD7A2-C900-98E9-4F52-6C67C1B9AAC8}"/>
              </a:ext>
            </a:extLst>
          </p:cNvPr>
          <p:cNvSpPr/>
          <p:nvPr userDrawn="1"/>
        </p:nvSpPr>
        <p:spPr>
          <a:xfrm>
            <a:off x="6302172" y="2016349"/>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lstStyle/>
          <a:p>
            <a:endParaRPr lang="en-US"/>
          </a:p>
        </p:txBody>
      </p:sp>
      <p:sp>
        <p:nvSpPr>
          <p:cNvPr id="21" name="Text Placeholder 27">
            <a:extLst>
              <a:ext uri="{FF2B5EF4-FFF2-40B4-BE49-F238E27FC236}">
                <a16:creationId xmlns:a16="http://schemas.microsoft.com/office/drawing/2014/main" id="{B9A0BB0F-418C-8766-B9C4-9D836B5CC640}"/>
              </a:ext>
            </a:extLst>
          </p:cNvPr>
          <p:cNvSpPr>
            <a:spLocks noGrp="1"/>
          </p:cNvSpPr>
          <p:nvPr>
            <p:ph type="body" sz="quarter" idx="16"/>
          </p:nvPr>
        </p:nvSpPr>
        <p:spPr>
          <a:xfrm>
            <a:off x="6535557" y="1364405"/>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2" name="Text Placeholder 27">
            <a:extLst>
              <a:ext uri="{FF2B5EF4-FFF2-40B4-BE49-F238E27FC236}">
                <a16:creationId xmlns:a16="http://schemas.microsoft.com/office/drawing/2014/main" id="{C65A014A-64D2-F368-A76E-23D9B1CE828D}"/>
              </a:ext>
            </a:extLst>
          </p:cNvPr>
          <p:cNvSpPr>
            <a:spLocks noGrp="1"/>
          </p:cNvSpPr>
          <p:nvPr>
            <p:ph type="body" sz="quarter" idx="17"/>
          </p:nvPr>
        </p:nvSpPr>
        <p:spPr>
          <a:xfrm>
            <a:off x="6535557" y="1566012"/>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3" name="Text Placeholder 27">
            <a:extLst>
              <a:ext uri="{FF2B5EF4-FFF2-40B4-BE49-F238E27FC236}">
                <a16:creationId xmlns:a16="http://schemas.microsoft.com/office/drawing/2014/main" id="{F6F2954C-96B0-A31B-44CF-13F7A57D6B59}"/>
              </a:ext>
            </a:extLst>
          </p:cNvPr>
          <p:cNvSpPr>
            <a:spLocks noGrp="1"/>
          </p:cNvSpPr>
          <p:nvPr>
            <p:ph type="body" sz="quarter" idx="18"/>
          </p:nvPr>
        </p:nvSpPr>
        <p:spPr>
          <a:xfrm>
            <a:off x="6535557" y="1767527"/>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4" name="Text Placeholder 27">
            <a:extLst>
              <a:ext uri="{FF2B5EF4-FFF2-40B4-BE49-F238E27FC236}">
                <a16:creationId xmlns:a16="http://schemas.microsoft.com/office/drawing/2014/main" id="{5A98AA22-04CC-0166-E24E-EAD46F12369B}"/>
              </a:ext>
            </a:extLst>
          </p:cNvPr>
          <p:cNvSpPr>
            <a:spLocks noGrp="1"/>
          </p:cNvSpPr>
          <p:nvPr>
            <p:ph type="body" sz="quarter" idx="19"/>
          </p:nvPr>
        </p:nvSpPr>
        <p:spPr>
          <a:xfrm>
            <a:off x="6535557" y="1969210"/>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cxnSp>
        <p:nvCxnSpPr>
          <p:cNvPr id="2" name="Straight Connector 1">
            <a:extLst>
              <a:ext uri="{FF2B5EF4-FFF2-40B4-BE49-F238E27FC236}">
                <a16:creationId xmlns:a16="http://schemas.microsoft.com/office/drawing/2014/main" id="{B55811C5-3040-DA36-1502-8A93998B1E37}"/>
              </a:ext>
            </a:extLst>
          </p:cNvPr>
          <p:cNvCxnSpPr>
            <a:cxnSpLocks/>
          </p:cNvCxnSpPr>
          <p:nvPr userDrawn="1"/>
        </p:nvCxnSpPr>
        <p:spPr>
          <a:xfrm>
            <a:off x="6098746" y="2766174"/>
            <a:ext cx="0" cy="3408049"/>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0921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2_Disclaimer">
    <p:bg>
      <p:bgPr>
        <a:solidFill>
          <a:srgbClr val="9DD4CF">
            <a:alpha val="10000"/>
          </a:srgbClr>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41557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2" name="Picture 1">
            <a:extLst>
              <a:ext uri="{FF2B5EF4-FFF2-40B4-BE49-F238E27FC236}">
                <a16:creationId xmlns:a16="http://schemas.microsoft.com/office/drawing/2014/main" id="{A87136DC-FC34-2112-B674-780979BDC67A}"/>
              </a:ext>
            </a:extLst>
          </p:cNvPr>
          <p:cNvPicPr>
            <a:picLocks noChangeAspect="1"/>
          </p:cNvPicPr>
          <p:nvPr userDrawn="1"/>
        </p:nvPicPr>
        <p:blipFill rotWithShape="1">
          <a:blip r:embed="rId2" cstate="email">
            <a:clrChange>
              <a:clrFrom>
                <a:srgbClr val="FFFFFF"/>
              </a:clrFrom>
              <a:clrTo>
                <a:srgbClr val="FFFFFF">
                  <a:alpha val="0"/>
                </a:srgbClr>
              </a:clrTo>
            </a:clrChange>
            <a:alphaModFix amt="77000"/>
            <a:extLst>
              <a:ext uri="{28A0092B-C50C-407E-A947-70E740481C1C}">
                <a14:useLocalDpi xmlns:a14="http://schemas.microsoft.com/office/drawing/2010/main"/>
              </a:ext>
            </a:extLst>
          </a:blip>
          <a:srcRect/>
          <a:stretch/>
        </p:blipFill>
        <p:spPr>
          <a:xfrm rot="16200000">
            <a:off x="6289037" y="955036"/>
            <a:ext cx="6858003" cy="4947924"/>
          </a:xfrm>
          <a:prstGeom prst="rect">
            <a:avLst/>
          </a:prstGeom>
        </p:spPr>
      </p:pic>
      <p:sp>
        <p:nvSpPr>
          <p:cNvPr id="3" name="TextBox 2">
            <a:extLst>
              <a:ext uri="{FF2B5EF4-FFF2-40B4-BE49-F238E27FC236}">
                <a16:creationId xmlns:a16="http://schemas.microsoft.com/office/drawing/2014/main" id="{4B653EE6-54D9-D2B1-0F37-AC6364EB65AC}"/>
              </a:ext>
            </a:extLst>
          </p:cNvPr>
          <p:cNvSpPr txBox="1"/>
          <p:nvPr userDrawn="1"/>
        </p:nvSpPr>
        <p:spPr>
          <a:xfrm>
            <a:off x="464991" y="3574387"/>
            <a:ext cx="7178822" cy="2831544"/>
          </a:xfrm>
          <a:prstGeom prst="rect">
            <a:avLst/>
          </a:prstGeom>
          <a:noFill/>
        </p:spPr>
        <p:txBody>
          <a:bodyPr wrap="square" lIns="0" tIns="0" rIns="0" bIns="0" rtlCol="0">
            <a:spAutoFit/>
          </a:bodyPr>
          <a:lstStyle/>
          <a:p>
            <a:r>
              <a:rPr lang="en-GB" sz="800" b="1" i="0" kern="1200" dirty="0">
                <a:solidFill>
                  <a:schemeClr val="accent1"/>
                </a:solidFill>
                <a:effectLst/>
                <a:latin typeface="Open Sans SemiBold" panose="020B0606030504020204" pitchFamily="34" charset="0"/>
                <a:ea typeface="Open Sans SemiBold" panose="020B0606030504020204" pitchFamily="34" charset="0"/>
                <a:cs typeface="Open Sans SemiBold" panose="020B0606030504020204" pitchFamily="34" charset="0"/>
              </a:rPr>
              <a:t>Important notice</a:t>
            </a:r>
          </a:p>
          <a:p>
            <a:b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b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has been prepared by Deloitte Consulting AG for the sole purpose of enabling the parties to whom it is addressed to evaluate the capabilities of Deloitte Consulting AG to supply the proposed services.</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e information contained in this document has been compiled by Deloitte Consulting AG and may include material obtained from various sources which have not been verified or audited. This document also contains material proprietary to Deloitte Consulting AG. Except in the general context of evaluating the capabilities of Deloitte Consulting AG, no reliance may be placed for any purposes whatsoever on the contents of this document. No representation or warranty, express or implied, is given and no responsibility or liability is or will be accepted by or on behalf of Deloitte Consulting AG or by any of its partners, members, employees, agents or any other person as to the accuracy, completeness or correctness of the information contained in this docu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Other than as stated below, this document and its contents are confidential and prepared solely for your information, and may not be reproduced, redistributed or passed on to any other person in whole or in part. No other party is entitled to rely on this document for any purpose whatsoever and we accept no liability to any other party who is shown or obtains access to this docu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Deloitte Consulting AG is an affiliate of Deloitte NSE LLP, a member firm of Deloitte </a:t>
            </a:r>
            <a:r>
              <a:rPr lang="en-GB" sz="800" b="0" i="0" kern="1200" dirty="0" err="1">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ouche</a:t>
            </a: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hmatsu Limited, a UK private company limited by guarantee (“DTTL”). DTTL and each of its member firms are legally separate and independent entities. DTTL and Deloitte NSE LLP do not provide services to clients. Please see </a:t>
            </a:r>
            <a:r>
              <a:rPr lang="en-GB" sz="800" b="0" i="0" u="none" strike="noStrike"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ch/about</a:t>
            </a: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2023 Deloitte Consulting AG. All rights reserved.</a:t>
            </a:r>
          </a:p>
        </p:txBody>
      </p:sp>
    </p:spTree>
    <p:extLst>
      <p:ext uri="{BB962C8B-B14F-4D97-AF65-F5344CB8AC3E}">
        <p14:creationId xmlns:p14="http://schemas.microsoft.com/office/powerpoint/2010/main" val="1750927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Disclaimer">
    <p:bg>
      <p:bgPr>
        <a:solidFill>
          <a:srgbClr val="9DD4CF">
            <a:alpha val="10000"/>
          </a:srgbClr>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41557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 name="TextBox 2">
            <a:extLst>
              <a:ext uri="{FF2B5EF4-FFF2-40B4-BE49-F238E27FC236}">
                <a16:creationId xmlns:a16="http://schemas.microsoft.com/office/drawing/2014/main" id="{4B653EE6-54D9-D2B1-0F37-AC6364EB65AC}"/>
              </a:ext>
            </a:extLst>
          </p:cNvPr>
          <p:cNvSpPr txBox="1"/>
          <p:nvPr userDrawn="1"/>
        </p:nvSpPr>
        <p:spPr>
          <a:xfrm>
            <a:off x="464991" y="3574387"/>
            <a:ext cx="7178822" cy="2831544"/>
          </a:xfrm>
          <a:prstGeom prst="rect">
            <a:avLst/>
          </a:prstGeom>
          <a:noFill/>
        </p:spPr>
        <p:txBody>
          <a:bodyPr wrap="square" lIns="0" tIns="0" rIns="0" bIns="0" rtlCol="0">
            <a:spAutoFit/>
          </a:bodyPr>
          <a:lstStyle/>
          <a:p>
            <a:r>
              <a:rPr lang="en-GB" sz="800" b="1" i="0" kern="1200" dirty="0">
                <a:solidFill>
                  <a:schemeClr val="accent1"/>
                </a:solidFill>
                <a:effectLst/>
                <a:latin typeface="Open Sans SemiBold" panose="020B0606030504020204" pitchFamily="34" charset="0"/>
                <a:ea typeface="Open Sans SemiBold" panose="020B0606030504020204" pitchFamily="34" charset="0"/>
                <a:cs typeface="Open Sans SemiBold" panose="020B0606030504020204" pitchFamily="34" charset="0"/>
              </a:rPr>
              <a:t>Important notice</a:t>
            </a:r>
          </a:p>
          <a:p>
            <a:b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b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has been prepared by Deloitte Consulting AG for the sole purpose of enabling the parties to whom it is addressed to evaluate the capabilities of Deloitte Consulting AG to supply the proposed services.</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e information contained in this document has been compiled by Deloitte Consulting AG and may include material obtained from various sources which have not been verified or audited. This document also contains material proprietary to Deloitte Consulting AG. Except in the general context of evaluating the capabilities of Deloitte Consulting AG, no reliance may be placed for any purposes whatsoever on the contents of this document. No representation or warranty, express or implied, is given and no responsibility or liability is or will be accepted by or on behalf of Deloitte Consulting AG or by any of its partners, members, employees, agents or any other person as to the accuracy, completeness or correctness of the information contained in this docu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Other than as stated below, this document and its contents are confidential and prepared solely for your information, and may not be reproduced, redistributed or passed on to any other person in whole or in part. No other party is entitled to rely on this document for any purpose whatsoever and we accept no liability to any other party who is shown or obtains access to this docu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Deloitte Consulting AG is an affiliate of Deloitte NSE LLP, a member firm of Deloitte </a:t>
            </a:r>
            <a:r>
              <a:rPr lang="en-GB" sz="800" b="0" i="0" kern="1200" dirty="0" err="1">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ouche</a:t>
            </a: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hmatsu Limited, a UK private company limited by guarantee (“DTTL”). DTTL and each of its member firms are legally separate and independent entities. DTTL and Deloitte NSE LLP do not provide services to clients. Please see </a:t>
            </a:r>
            <a:r>
              <a:rPr lang="en-GB" sz="800" b="0" i="0" u="none" strike="noStrike"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hlinkClick r:id="rId2">
                  <a:extLst>
                    <a:ext uri="{A12FA001-AC4F-418D-AE19-62706E023703}">
                      <ahyp:hlinkClr xmlns:ahyp="http://schemas.microsoft.com/office/drawing/2018/hyperlinkcolor" val="tx"/>
                    </a:ext>
                  </a:extLst>
                </a:hlinkClick>
              </a:rPr>
              <a:t>www.deloitte.com/ch/about</a:t>
            </a: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2023 Deloitte Consulting AG. All rights reserved.</a:t>
            </a:r>
          </a:p>
        </p:txBody>
      </p:sp>
      <p:pic>
        <p:nvPicPr>
          <p:cNvPr id="4" name="Picture 3">
            <a:extLst>
              <a:ext uri="{FF2B5EF4-FFF2-40B4-BE49-F238E27FC236}">
                <a16:creationId xmlns:a16="http://schemas.microsoft.com/office/drawing/2014/main" id="{557C76A5-894D-4DFD-917B-CBE88EC78A03}"/>
              </a:ext>
            </a:extLst>
          </p:cNvPr>
          <p:cNvPicPr>
            <a:picLocks noChangeAspect="1"/>
          </p:cNvPicPr>
          <p:nvPr userDrawn="1"/>
        </p:nvPicPr>
        <p:blipFill>
          <a:blip r:embed="rId3"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Tree>
    <p:extLst>
      <p:ext uri="{BB962C8B-B14F-4D97-AF65-F5344CB8AC3E}">
        <p14:creationId xmlns:p14="http://schemas.microsoft.com/office/powerpoint/2010/main" val="1750927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isclaimer">
    <p:bg>
      <p:bgPr>
        <a:solidFill>
          <a:srgbClr val="9DD4CF">
            <a:alpha val="10000"/>
          </a:srgbClr>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41557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 name="TextBox 2">
            <a:extLst>
              <a:ext uri="{FF2B5EF4-FFF2-40B4-BE49-F238E27FC236}">
                <a16:creationId xmlns:a16="http://schemas.microsoft.com/office/drawing/2014/main" id="{4B653EE6-54D9-D2B1-0F37-AC6364EB65AC}"/>
              </a:ext>
            </a:extLst>
          </p:cNvPr>
          <p:cNvSpPr txBox="1"/>
          <p:nvPr userDrawn="1"/>
        </p:nvSpPr>
        <p:spPr>
          <a:xfrm>
            <a:off x="464991" y="3574387"/>
            <a:ext cx="7178822" cy="2831544"/>
          </a:xfrm>
          <a:prstGeom prst="rect">
            <a:avLst/>
          </a:prstGeom>
          <a:noFill/>
        </p:spPr>
        <p:txBody>
          <a:bodyPr wrap="square" lIns="0" tIns="0" rIns="0" bIns="0" rtlCol="0">
            <a:spAutoFit/>
          </a:bodyPr>
          <a:lstStyle/>
          <a:p>
            <a:r>
              <a:rPr lang="en-GB" sz="800" b="1" i="0" kern="1200" dirty="0">
                <a:solidFill>
                  <a:schemeClr val="accent1"/>
                </a:solidFill>
                <a:effectLst/>
                <a:latin typeface="Open Sans SemiBold" panose="020B0606030504020204" pitchFamily="34" charset="0"/>
                <a:ea typeface="Open Sans SemiBold" panose="020B0606030504020204" pitchFamily="34" charset="0"/>
                <a:cs typeface="Open Sans SemiBold" panose="020B0606030504020204" pitchFamily="34" charset="0"/>
              </a:rPr>
              <a:t>Important notice</a:t>
            </a:r>
          </a:p>
          <a:p>
            <a:b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b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has been prepared by Deloitte Consulting AG for the sole purpose of enabling the parties to whom it is addressed to evaluate the capabilities of Deloitte Consulting AG to supply the proposed services.</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e information contained in this document has been compiled by Deloitte Consulting AG and may include material obtained from various sources which have not been verified or audited. This document also contains material proprietary to Deloitte Consulting AG. Except in the general context of evaluating the capabilities of Deloitte Consulting AG, no reliance may be placed for any purposes whatsoever on the contents of this document. No representation or warranty, express or implied, is given and no responsibility or liability is or will be accepted by or on behalf of Deloitte Consulting AG or by any of its partners, members, employees, agents or any other person as to the accuracy, completeness or correctness of the information contained in this docu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Other than as stated below, this document and its contents are confidential and prepared solely for your information, and may not be reproduced, redistributed or passed on to any other person in whole or in part. No other party is entitled to rely on this document for any purpose whatsoever and we accept no liability to any other party who is shown or obtains access to this docu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Deloitte Consulting AG is an affiliate of Deloitte NSE LLP, a member firm of Deloitte </a:t>
            </a:r>
            <a:r>
              <a:rPr lang="en-GB" sz="800" b="0" i="0" kern="1200" dirty="0" err="1">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ouche</a:t>
            </a: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hmatsu Limited, a UK private company limited by guarantee (“DTTL”). DTTL and each of its member firms are legally separate and independent entities. DTTL and Deloitte NSE LLP do not provide services to clients. Please see </a:t>
            </a:r>
            <a:r>
              <a:rPr lang="en-GB" sz="800" b="0" i="0" u="none" strike="noStrike"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hlinkClick r:id="rId2">
                  <a:extLst>
                    <a:ext uri="{A12FA001-AC4F-418D-AE19-62706E023703}">
                      <ahyp:hlinkClr xmlns:ahyp="http://schemas.microsoft.com/office/drawing/2018/hyperlinkcolor" val="tx"/>
                    </a:ext>
                  </a:extLst>
                </a:hlinkClick>
              </a:rPr>
              <a:t>www.deloitte.com/ch/about</a:t>
            </a:r>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p>
          <a:p>
            <a:endPar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2023 Deloitte Consulting AG. All rights reserved.</a:t>
            </a:r>
          </a:p>
        </p:txBody>
      </p:sp>
      <p:pic>
        <p:nvPicPr>
          <p:cNvPr id="4" name="Picture 3">
            <a:extLst>
              <a:ext uri="{FF2B5EF4-FFF2-40B4-BE49-F238E27FC236}">
                <a16:creationId xmlns:a16="http://schemas.microsoft.com/office/drawing/2014/main" id="{2B9E3BBE-3AD1-B762-E716-190D70316553}"/>
              </a:ext>
            </a:extLst>
          </p:cNvPr>
          <p:cNvPicPr>
            <a:picLocks noChangeAspect="1"/>
          </p:cNvPicPr>
          <p:nvPr userDrawn="1"/>
        </p:nvPicPr>
        <p:blipFill>
          <a:blip r:embed="rId3"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Tree>
    <p:extLst>
      <p:ext uri="{BB962C8B-B14F-4D97-AF65-F5344CB8AC3E}">
        <p14:creationId xmlns:p14="http://schemas.microsoft.com/office/powerpoint/2010/main" val="1750927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Subhead: No Content - Breadcrumb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7" name="Text Placeholder 7">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10" name="Text Placeholder 2">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spTree>
    <p:extLst>
      <p:ext uri="{BB962C8B-B14F-4D97-AF65-F5344CB8AC3E}">
        <p14:creationId xmlns:p14="http://schemas.microsoft.com/office/powerpoint/2010/main" val="3207573834"/>
      </p:ext>
    </p:extLst>
  </p:cSld>
  <p:clrMapOvr>
    <a:masterClrMapping/>
  </p:clrMapOvr>
  <p:transition/>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_1NEW_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83776"/>
            <a:ext cx="10325100" cy="594360"/>
          </a:xfrm>
        </p:spPr>
        <p:txBody>
          <a:bodyPr vert="horz" lIns="0" tIns="45720" rIns="0" bIns="0" rtlCol="0" anchor="t" anchorCtr="0">
            <a:noAutofit/>
          </a:bodyPr>
          <a:lstStyle>
            <a:lvl1pPr>
              <a:defRPr lang="en-US" sz="3200" b="0" spc="-75" dirty="0">
                <a:latin typeface="+mj-lt"/>
              </a:defRPr>
            </a:lvl1pPr>
          </a:lstStyle>
          <a:p>
            <a:pPr lvl="0" defTabSz="685800">
              <a:lnSpc>
                <a:spcPct val="85000"/>
              </a:lnSpc>
            </a:pPr>
            <a:r>
              <a:rPr lang="en-US"/>
              <a:t>Click to edit Master title style</a:t>
            </a:r>
          </a:p>
        </p:txBody>
      </p:sp>
      <p:sp>
        <p:nvSpPr>
          <p:cNvPr id="4" name="Text Placeholder 2">
            <a:extLst>
              <a:ext uri="{FF2B5EF4-FFF2-40B4-BE49-F238E27FC236}">
                <a16:creationId xmlns:a16="http://schemas.microsoft.com/office/drawing/2014/main" id="{56DF51C6-03E7-2348-85AB-DBC2883BA4C4}"/>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5" name="Text Placeholder 2">
            <a:extLst>
              <a:ext uri="{FF2B5EF4-FFF2-40B4-BE49-F238E27FC236}">
                <a16:creationId xmlns:a16="http://schemas.microsoft.com/office/drawing/2014/main" id="{790C1BD8-7159-E644-89D3-6E24FE48829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pic>
        <p:nvPicPr>
          <p:cNvPr id="3" name="Picture 2">
            <a:extLst>
              <a:ext uri="{FF2B5EF4-FFF2-40B4-BE49-F238E27FC236}">
                <a16:creationId xmlns:a16="http://schemas.microsoft.com/office/drawing/2014/main" id="{5A451754-2F9F-2FDA-B831-CB9953403470}"/>
              </a:ext>
            </a:extLst>
          </p:cNvPr>
          <p:cNvPicPr>
            <a:picLocks noChangeAspect="1"/>
          </p:cNvPicPr>
          <p:nvPr userDrawn="1"/>
        </p:nvPicPr>
        <p:blipFill rotWithShape="1">
          <a:blip r:embed="rId2" cstate="email">
            <a:alphaModFix amt="60000"/>
            <a:extLst>
              <a:ext uri="{28A0092B-C50C-407E-A947-70E740481C1C}">
                <a14:useLocalDpi xmlns:a14="http://schemas.microsoft.com/office/drawing/2010/main"/>
              </a:ext>
            </a:extLst>
          </a:blip>
          <a:srcRect/>
          <a:stretch/>
        </p:blipFill>
        <p:spPr>
          <a:xfrm rot="16200000">
            <a:off x="6289037" y="955036"/>
            <a:ext cx="6858003" cy="4947924"/>
          </a:xfrm>
          <a:prstGeom prst="rect">
            <a:avLst/>
          </a:prstGeom>
        </p:spPr>
      </p:pic>
    </p:spTree>
    <p:extLst>
      <p:ext uri="{BB962C8B-B14F-4D97-AF65-F5344CB8AC3E}">
        <p14:creationId xmlns:p14="http://schemas.microsoft.com/office/powerpoint/2010/main" val="398162802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1NEW_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FCB340-C3F8-90DD-D60A-2194C70984AB}"/>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
        <p:nvSpPr>
          <p:cNvPr id="2" name="Title 1"/>
          <p:cNvSpPr>
            <a:spLocks noGrp="1"/>
          </p:cNvSpPr>
          <p:nvPr>
            <p:ph type="title"/>
          </p:nvPr>
        </p:nvSpPr>
        <p:spPr>
          <a:xfrm>
            <a:off x="914400" y="683776"/>
            <a:ext cx="10325100" cy="594360"/>
          </a:xfrm>
        </p:spPr>
        <p:txBody>
          <a:bodyPr vert="horz" lIns="0" tIns="45720" rIns="0" bIns="0" rtlCol="0" anchor="t" anchorCtr="0">
            <a:noAutofit/>
          </a:bodyPr>
          <a:lstStyle>
            <a:lvl1pPr>
              <a:defRPr lang="en-US" sz="3200" b="0" spc="-75" dirty="0">
                <a:latin typeface="+mj-lt"/>
              </a:defRPr>
            </a:lvl1pPr>
          </a:lstStyle>
          <a:p>
            <a:pPr lvl="0" defTabSz="685800">
              <a:lnSpc>
                <a:spcPct val="85000"/>
              </a:lnSpc>
            </a:pPr>
            <a:r>
              <a:rPr lang="en-US"/>
              <a:t>Click to edit Master title style</a:t>
            </a:r>
          </a:p>
        </p:txBody>
      </p:sp>
      <p:sp>
        <p:nvSpPr>
          <p:cNvPr id="4" name="Text Placeholder 2">
            <a:extLst>
              <a:ext uri="{FF2B5EF4-FFF2-40B4-BE49-F238E27FC236}">
                <a16:creationId xmlns:a16="http://schemas.microsoft.com/office/drawing/2014/main" id="{56DF51C6-03E7-2348-85AB-DBC2883BA4C4}"/>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5" name="Text Placeholder 2">
            <a:extLst>
              <a:ext uri="{FF2B5EF4-FFF2-40B4-BE49-F238E27FC236}">
                <a16:creationId xmlns:a16="http://schemas.microsoft.com/office/drawing/2014/main" id="{790C1BD8-7159-E644-89D3-6E24FE48829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spTree>
    <p:extLst>
      <p:ext uri="{BB962C8B-B14F-4D97-AF65-F5344CB8AC3E}">
        <p14:creationId xmlns:p14="http://schemas.microsoft.com/office/powerpoint/2010/main" val="332066753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
        <p:cNvGrpSpPr/>
        <p:nvPr/>
      </p:nvGrpSpPr>
      <p:grpSpPr>
        <a:xfrm>
          <a:off x="0" y="0"/>
          <a:ext cx="0" cy="0"/>
          <a:chOff x="0" y="0"/>
          <a:chExt cx="0" cy="0"/>
        </a:xfrm>
      </p:grpSpPr>
      <p:sp>
        <p:nvSpPr>
          <p:cNvPr id="15" name="Google Shape;15;p69"/>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defRPr>
            </a:lvl1pPr>
            <a:lvl2pPr marL="0" marR="0" lvl="1"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dirty="0"/>
          </a:p>
        </p:txBody>
      </p:sp>
    </p:spTree>
    <p:extLst>
      <p:ext uri="{BB962C8B-B14F-4D97-AF65-F5344CB8AC3E}">
        <p14:creationId xmlns:p14="http://schemas.microsoft.com/office/powerpoint/2010/main" val="320865471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NEW_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83776"/>
            <a:ext cx="10325100" cy="594360"/>
          </a:xfrm>
        </p:spPr>
        <p:txBody>
          <a:bodyPr vert="horz" lIns="0" tIns="45720" rIns="0" bIns="0" rtlCol="0" anchor="t" anchorCtr="0">
            <a:noAutofit/>
          </a:bodyPr>
          <a:lstStyle>
            <a:lvl1pPr>
              <a:defRPr lang="en-US" sz="3200" b="0" spc="-75" dirty="0">
                <a:latin typeface="+mj-lt"/>
              </a:defRPr>
            </a:lvl1pPr>
          </a:lstStyle>
          <a:p>
            <a:pPr lvl="0" defTabSz="685800">
              <a:lnSpc>
                <a:spcPct val="85000"/>
              </a:lnSpc>
            </a:pPr>
            <a:r>
              <a:rPr lang="en-US"/>
              <a:t>Click to edit Master title style</a:t>
            </a:r>
          </a:p>
        </p:txBody>
      </p:sp>
      <p:sp>
        <p:nvSpPr>
          <p:cNvPr id="4" name="Text Placeholder 2">
            <a:extLst>
              <a:ext uri="{FF2B5EF4-FFF2-40B4-BE49-F238E27FC236}">
                <a16:creationId xmlns:a16="http://schemas.microsoft.com/office/drawing/2014/main" id="{56DF51C6-03E7-2348-85AB-DBC2883BA4C4}"/>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5" name="Text Placeholder 2">
            <a:extLst>
              <a:ext uri="{FF2B5EF4-FFF2-40B4-BE49-F238E27FC236}">
                <a16:creationId xmlns:a16="http://schemas.microsoft.com/office/drawing/2014/main" id="{790C1BD8-7159-E644-89D3-6E24FE48829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pic>
        <p:nvPicPr>
          <p:cNvPr id="6" name="Picture 5">
            <a:extLst>
              <a:ext uri="{FF2B5EF4-FFF2-40B4-BE49-F238E27FC236}">
                <a16:creationId xmlns:a16="http://schemas.microsoft.com/office/drawing/2014/main" id="{444C36BF-1A57-02BF-0EB1-B25A192669AB}"/>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Tree>
    <p:extLst>
      <p:ext uri="{BB962C8B-B14F-4D97-AF65-F5344CB8AC3E}">
        <p14:creationId xmlns:p14="http://schemas.microsoft.com/office/powerpoint/2010/main" val="39816280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Closin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2EE31BC-2C27-1242-B004-1CE54A73147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14401" y="572703"/>
            <a:ext cx="1073386" cy="494097"/>
          </a:xfrm>
          <a:prstGeom prst="rect">
            <a:avLst/>
          </a:prstGeom>
        </p:spPr>
      </p:pic>
      <p:sp>
        <p:nvSpPr>
          <p:cNvPr id="2" name="Title 1"/>
          <p:cNvSpPr>
            <a:spLocks noGrp="1"/>
          </p:cNvSpPr>
          <p:nvPr>
            <p:ph type="title" hasCustomPrompt="1"/>
          </p:nvPr>
        </p:nvSpPr>
        <p:spPr>
          <a:xfrm>
            <a:off x="4067735" y="-732866"/>
            <a:ext cx="7171765" cy="2859761"/>
          </a:xfrm>
        </p:spPr>
        <p:txBody>
          <a:bodyPr anchor="b" anchorCtr="0">
            <a:noAutofit/>
          </a:bodyPr>
          <a:lstStyle>
            <a:lvl1pPr>
              <a:lnSpc>
                <a:spcPct val="85000"/>
              </a:lnSpc>
              <a:defRPr sz="5400" b="0" i="0" baseline="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Thank You </a:t>
            </a:r>
            <a:br>
              <a:rPr lang="en-GB"/>
            </a:br>
            <a:r>
              <a:rPr lang="en-GB"/>
              <a:t>Goes Here.</a:t>
            </a:r>
          </a:p>
        </p:txBody>
      </p:sp>
      <p:sp>
        <p:nvSpPr>
          <p:cNvPr id="11" name="Text Placeholder 3">
            <a:extLst>
              <a:ext uri="{FF2B5EF4-FFF2-40B4-BE49-F238E27FC236}">
                <a16:creationId xmlns:a16="http://schemas.microsoft.com/office/drawing/2014/main" id="{6CF55105-A76C-9843-953F-C323888C4953}"/>
              </a:ext>
            </a:extLst>
          </p:cNvPr>
          <p:cNvSpPr>
            <a:spLocks noGrp="1"/>
          </p:cNvSpPr>
          <p:nvPr>
            <p:ph type="body" sz="quarter" idx="10" hasCustomPrompt="1"/>
          </p:nvPr>
        </p:nvSpPr>
        <p:spPr>
          <a:xfrm>
            <a:off x="4076700" y="2743575"/>
            <a:ext cx="3009900" cy="833344"/>
          </a:xfrm>
        </p:spPr>
        <p:txBody>
          <a:bodyPr>
            <a:noAutofit/>
          </a:bodyPr>
          <a:lstStyle>
            <a:lvl1pPr marL="0" marR="0" indent="0" algn="l" defTabSz="914400" rtl="0" eaLnBrk="1" fontAlgn="auto" latinLnBrk="0" hangingPunct="1">
              <a:lnSpc>
                <a:spcPts val="1800"/>
              </a:lnSpc>
              <a:spcBef>
                <a:spcPts val="0"/>
              </a:spcBef>
              <a:spcAft>
                <a:spcPts val="0"/>
              </a:spcAft>
              <a:buClrTx/>
              <a:buSzTx/>
              <a:buFontTx/>
              <a:buNone/>
              <a:tabLst/>
              <a:defRPr>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stname</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stname</a:t>
            </a: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18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itles goes her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emailaddress@deloitte.com</a:t>
            </a:r>
          </a:p>
        </p:txBody>
      </p:sp>
      <p:sp>
        <p:nvSpPr>
          <p:cNvPr id="12" name="Text Placeholder 3">
            <a:extLst>
              <a:ext uri="{FF2B5EF4-FFF2-40B4-BE49-F238E27FC236}">
                <a16:creationId xmlns:a16="http://schemas.microsoft.com/office/drawing/2014/main" id="{EDCDF306-F52A-5E46-88E7-19FFCAC91A08}"/>
              </a:ext>
            </a:extLst>
          </p:cNvPr>
          <p:cNvSpPr>
            <a:spLocks noGrp="1"/>
          </p:cNvSpPr>
          <p:nvPr>
            <p:ph type="body" sz="quarter" idx="11" hasCustomPrompt="1"/>
          </p:nvPr>
        </p:nvSpPr>
        <p:spPr>
          <a:xfrm>
            <a:off x="4076700" y="4038600"/>
            <a:ext cx="3009900" cy="833344"/>
          </a:xfrm>
        </p:spPr>
        <p:txBody>
          <a:bodyPr>
            <a:noAutofit/>
          </a:bodyPr>
          <a:lstStyle>
            <a:lvl1pPr marL="0" marR="0" indent="0" algn="l" defTabSz="914400" rtl="0" eaLnBrk="1" fontAlgn="auto" latinLnBrk="0" hangingPunct="1">
              <a:lnSpc>
                <a:spcPts val="1800"/>
              </a:lnSpc>
              <a:spcBef>
                <a:spcPts val="0"/>
              </a:spcBef>
              <a:spcAft>
                <a:spcPts val="0"/>
              </a:spcAft>
              <a:buClrTx/>
              <a:buSzTx/>
              <a:buFontTx/>
              <a:buNone/>
              <a:tabLst/>
              <a:defRPr>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stname</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stname</a:t>
            </a: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18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itles goes her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emailaddress@deloitte.com</a:t>
            </a:r>
          </a:p>
        </p:txBody>
      </p:sp>
      <p:sp>
        <p:nvSpPr>
          <p:cNvPr id="13" name="Text Placeholder 3">
            <a:extLst>
              <a:ext uri="{FF2B5EF4-FFF2-40B4-BE49-F238E27FC236}">
                <a16:creationId xmlns:a16="http://schemas.microsoft.com/office/drawing/2014/main" id="{AB23B5EB-C1CE-7845-A770-F98D58E98CC3}"/>
              </a:ext>
            </a:extLst>
          </p:cNvPr>
          <p:cNvSpPr>
            <a:spLocks noGrp="1"/>
          </p:cNvSpPr>
          <p:nvPr>
            <p:ph type="body" sz="quarter" idx="12" hasCustomPrompt="1"/>
          </p:nvPr>
        </p:nvSpPr>
        <p:spPr>
          <a:xfrm>
            <a:off x="7212106" y="2743575"/>
            <a:ext cx="3009900" cy="833344"/>
          </a:xfrm>
        </p:spPr>
        <p:txBody>
          <a:bodyPr>
            <a:noAutofit/>
          </a:bodyPr>
          <a:lstStyle>
            <a:lvl1pPr marL="0" marR="0" indent="0" algn="l" defTabSz="914400" rtl="0" eaLnBrk="1" fontAlgn="auto" latinLnBrk="0" hangingPunct="1">
              <a:lnSpc>
                <a:spcPts val="1800"/>
              </a:lnSpc>
              <a:spcBef>
                <a:spcPts val="0"/>
              </a:spcBef>
              <a:spcAft>
                <a:spcPts val="0"/>
              </a:spcAft>
              <a:buClrTx/>
              <a:buSzTx/>
              <a:buFontTx/>
              <a:buNone/>
              <a:tabLst/>
              <a:defRPr>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stname</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stname</a:t>
            </a: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18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itles goes her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emailaddress@deloitte.com</a:t>
            </a:r>
          </a:p>
        </p:txBody>
      </p:sp>
      <p:sp>
        <p:nvSpPr>
          <p:cNvPr id="14" name="Text Placeholder 3">
            <a:extLst>
              <a:ext uri="{FF2B5EF4-FFF2-40B4-BE49-F238E27FC236}">
                <a16:creationId xmlns:a16="http://schemas.microsoft.com/office/drawing/2014/main" id="{5539EA4A-0DAF-3043-A1E1-9839B0C1A908}"/>
              </a:ext>
            </a:extLst>
          </p:cNvPr>
          <p:cNvSpPr>
            <a:spLocks noGrp="1"/>
          </p:cNvSpPr>
          <p:nvPr>
            <p:ph type="body" sz="quarter" idx="13" hasCustomPrompt="1"/>
          </p:nvPr>
        </p:nvSpPr>
        <p:spPr>
          <a:xfrm>
            <a:off x="7212106" y="4038600"/>
            <a:ext cx="3009900" cy="833344"/>
          </a:xfrm>
        </p:spPr>
        <p:txBody>
          <a:bodyPr>
            <a:noAutofit/>
          </a:bodyPr>
          <a:lstStyle>
            <a:lvl1pPr marL="0" marR="0" indent="0" algn="l" defTabSz="914400" rtl="0" eaLnBrk="1" fontAlgn="auto" latinLnBrk="0" hangingPunct="1">
              <a:lnSpc>
                <a:spcPts val="1800"/>
              </a:lnSpc>
              <a:spcBef>
                <a:spcPts val="0"/>
              </a:spcBef>
              <a:spcAft>
                <a:spcPts val="0"/>
              </a:spcAft>
              <a:buClrTx/>
              <a:buSzTx/>
              <a:buFontTx/>
              <a:buNone/>
              <a:tabLst/>
              <a:defRPr>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stname</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stname</a:t>
            </a: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18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itles goes her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emailaddress@deloitte.com</a:t>
            </a:r>
          </a:p>
        </p:txBody>
      </p:sp>
      <p:sp>
        <p:nvSpPr>
          <p:cNvPr id="15" name="Text Placeholder 2">
            <a:extLst>
              <a:ext uri="{FF2B5EF4-FFF2-40B4-BE49-F238E27FC236}">
                <a16:creationId xmlns:a16="http://schemas.microsoft.com/office/drawing/2014/main" id="{7D88973B-6385-46B6-9878-68F18644F9ED}"/>
              </a:ext>
            </a:extLst>
          </p:cNvPr>
          <p:cNvSpPr txBox="1">
            <a:spLocks/>
          </p:cNvSpPr>
          <p:nvPr/>
        </p:nvSpPr>
        <p:spPr>
          <a:xfrm>
            <a:off x="4067735" y="5223142"/>
            <a:ext cx="6658177" cy="1333106"/>
          </a:xfrm>
          <a:prstGeom prst="rect">
            <a:avLst/>
          </a:prstGeom>
        </p:spPr>
        <p:txBody>
          <a:bodyPr vert="horz" lIns="0" tIns="0" rIns="0" bIns="0" rtlCol="0" anchor="b">
            <a:noAutofit/>
          </a:bodyPr>
          <a:lstStyle>
            <a:lvl1pPr marL="0" marR="0" indent="0" algn="l" defTabSz="914400" rtl="0" eaLnBrk="1" fontAlgn="auto" latinLnBrk="0" hangingPunct="1">
              <a:lnSpc>
                <a:spcPts val="1800"/>
              </a:lnSpc>
              <a:spcBef>
                <a:spcPts val="0"/>
              </a:spcBef>
              <a:spcAft>
                <a:spcPts val="0"/>
              </a:spcAft>
              <a:buClrTx/>
              <a:buSzTx/>
              <a:buFontTx/>
              <a:buNone/>
              <a:tabLst/>
              <a:defRPr sz="1300" b="0" kern="1200">
                <a:solidFill>
                  <a:schemeClr val="tx1"/>
                </a:solidFill>
                <a:latin typeface="+mj-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00000"/>
              </a:lnSpc>
            </a:pPr>
            <a:r>
              <a:rPr lang="en-GB" sz="700">
                <a:latin typeface="+mn-lt"/>
              </a:rPr>
              <a:t>[Insert the Standard legal description]</a:t>
            </a:r>
            <a:br>
              <a:rPr lang="en-GB" sz="700">
                <a:latin typeface="+mn-lt"/>
              </a:rPr>
            </a:br>
            <a:r>
              <a:rPr lang="en-GB" sz="700">
                <a:latin typeface="+mn-lt"/>
              </a:rPr>
              <a:t>Caption </a:t>
            </a:r>
            <a:r>
              <a:rPr lang="en-GB" sz="700" err="1">
                <a:latin typeface="+mn-lt"/>
              </a:rPr>
              <a:t>vel</a:t>
            </a:r>
            <a:r>
              <a:rPr lang="en-GB" sz="700">
                <a:latin typeface="+mn-lt"/>
              </a:rPr>
              <a:t> </a:t>
            </a:r>
            <a:r>
              <a:rPr lang="en-GB" sz="700" err="1">
                <a:latin typeface="+mn-lt"/>
              </a:rPr>
              <a:t>doloreet</a:t>
            </a:r>
            <a:r>
              <a:rPr lang="en-GB" sz="700">
                <a:latin typeface="+mn-lt"/>
              </a:rPr>
              <a:t> </a:t>
            </a:r>
            <a:r>
              <a:rPr lang="en-GB" sz="700" err="1">
                <a:latin typeface="+mn-lt"/>
              </a:rPr>
              <a:t>wisit</a:t>
            </a:r>
            <a:r>
              <a:rPr lang="en-GB" sz="700">
                <a:latin typeface="+mn-lt"/>
              </a:rPr>
              <a:t> </a:t>
            </a:r>
            <a:r>
              <a:rPr lang="en-GB" sz="700" err="1">
                <a:latin typeface="+mn-lt"/>
              </a:rPr>
              <a:t>acincil</a:t>
            </a:r>
            <a:r>
              <a:rPr lang="en-GB" sz="700">
                <a:latin typeface="+mn-lt"/>
              </a:rPr>
              <a:t> </a:t>
            </a:r>
            <a:r>
              <a:rPr lang="en-GB" sz="700" err="1">
                <a:latin typeface="+mn-lt"/>
              </a:rPr>
              <a:t>iquatem</a:t>
            </a:r>
            <a:r>
              <a:rPr lang="en-GB" sz="700">
                <a:latin typeface="+mn-lt"/>
              </a:rPr>
              <a:t> </a:t>
            </a:r>
            <a:r>
              <a:rPr lang="en-GB" sz="700" err="1">
                <a:latin typeface="+mn-lt"/>
              </a:rPr>
              <a:t>dio</a:t>
            </a:r>
            <a:r>
              <a:rPr lang="en-GB" sz="700">
                <a:latin typeface="+mn-lt"/>
              </a:rPr>
              <a:t> </a:t>
            </a:r>
            <a:r>
              <a:rPr lang="en-GB" sz="700" err="1">
                <a:latin typeface="+mn-lt"/>
              </a:rPr>
              <a:t>odigna</a:t>
            </a:r>
            <a:r>
              <a:rPr lang="en-GB" sz="700">
                <a:latin typeface="+mn-lt"/>
              </a:rPr>
              <a:t> </a:t>
            </a:r>
            <a:r>
              <a:rPr lang="en-GB" sz="700" err="1">
                <a:latin typeface="+mn-lt"/>
              </a:rPr>
              <a:t>feugiamcommy</a:t>
            </a:r>
            <a:r>
              <a:rPr lang="en-GB" sz="700">
                <a:latin typeface="+mn-lt"/>
              </a:rPr>
              <a:t> </a:t>
            </a:r>
            <a:r>
              <a:rPr lang="en-GB" sz="700" err="1">
                <a:latin typeface="+mn-lt"/>
              </a:rPr>
              <a:t>nim</a:t>
            </a:r>
            <a:r>
              <a:rPr lang="en-GB" sz="700">
                <a:latin typeface="+mn-lt"/>
              </a:rPr>
              <a:t> </a:t>
            </a:r>
            <a:r>
              <a:rPr lang="en-GB" sz="700" err="1">
                <a:latin typeface="+mn-lt"/>
              </a:rPr>
              <a:t>vulput</a:t>
            </a:r>
            <a:r>
              <a:rPr lang="en-GB" sz="700">
                <a:latin typeface="+mn-lt"/>
              </a:rPr>
              <a:t> </a:t>
            </a:r>
            <a:r>
              <a:rPr lang="en-GB" sz="700" err="1">
                <a:latin typeface="+mn-lt"/>
              </a:rPr>
              <a:t>adip</a:t>
            </a:r>
            <a:r>
              <a:rPr lang="en-GB" sz="700">
                <a:latin typeface="+mn-lt"/>
              </a:rPr>
              <a:t> </a:t>
            </a:r>
            <a:r>
              <a:rPr lang="en-GB" sz="700" err="1">
                <a:latin typeface="+mn-lt"/>
              </a:rPr>
              <a:t>exerosto</a:t>
            </a:r>
            <a:r>
              <a:rPr lang="en-GB" sz="700">
                <a:latin typeface="+mn-lt"/>
              </a:rPr>
              <a:t> </a:t>
            </a:r>
            <a:r>
              <a:rPr lang="en-GB" sz="700" err="1">
                <a:latin typeface="+mn-lt"/>
              </a:rPr>
              <a:t>essi</a:t>
            </a:r>
            <a:r>
              <a:rPr lang="en-GB" sz="700">
                <a:latin typeface="+mn-lt"/>
              </a:rPr>
              <a:t>. </a:t>
            </a:r>
            <a:r>
              <a:rPr lang="en-GB" sz="700" err="1">
                <a:latin typeface="+mn-lt"/>
              </a:rPr>
              <a:t>Rud</a:t>
            </a:r>
            <a:r>
              <a:rPr lang="en-GB" sz="700">
                <a:latin typeface="+mn-lt"/>
              </a:rPr>
              <a:t> min </a:t>
            </a:r>
            <a:r>
              <a:rPr lang="en-GB" sz="700" err="1">
                <a:latin typeface="+mn-lt"/>
              </a:rPr>
              <a:t>ver</a:t>
            </a:r>
            <a:r>
              <a:rPr lang="en-GB" sz="700">
                <a:latin typeface="+mn-lt"/>
              </a:rPr>
              <a:t> </a:t>
            </a:r>
            <a:r>
              <a:rPr lang="en-GB" sz="700" err="1">
                <a:latin typeface="+mn-lt"/>
              </a:rPr>
              <a:t>sed</a:t>
            </a:r>
            <a:r>
              <a:rPr lang="en-GB" sz="700">
                <a:latin typeface="+mn-lt"/>
              </a:rPr>
              <a:t> magna ate tat, </a:t>
            </a:r>
            <a:r>
              <a:rPr lang="en-GB" sz="700" err="1">
                <a:latin typeface="+mn-lt"/>
              </a:rPr>
              <a:t>vendigna</a:t>
            </a:r>
            <a:r>
              <a:rPr lang="en-GB" sz="700">
                <a:latin typeface="+mn-lt"/>
              </a:rPr>
              <a:t> </a:t>
            </a:r>
            <a:r>
              <a:rPr lang="en-GB" sz="700" err="1">
                <a:latin typeface="+mn-lt"/>
              </a:rPr>
              <a:t>conulputat</a:t>
            </a:r>
            <a:r>
              <a:rPr lang="en-GB" sz="700">
                <a:latin typeface="+mn-lt"/>
              </a:rPr>
              <a:t>. </a:t>
            </a:r>
            <a:r>
              <a:rPr lang="en-GB" sz="700" err="1">
                <a:latin typeface="+mn-lt"/>
              </a:rPr>
              <a:t>Ulput</a:t>
            </a:r>
            <a:r>
              <a:rPr lang="en-GB" sz="700">
                <a:latin typeface="+mn-lt"/>
              </a:rPr>
              <a:t> </a:t>
            </a:r>
            <a:r>
              <a:rPr lang="en-GB" sz="700" err="1">
                <a:latin typeface="+mn-lt"/>
              </a:rPr>
              <a:t>pratie</a:t>
            </a:r>
            <a:r>
              <a:rPr lang="en-GB" sz="700">
                <a:latin typeface="+mn-lt"/>
              </a:rPr>
              <a:t> </a:t>
            </a:r>
            <a:r>
              <a:rPr lang="en-GB" sz="700" err="1">
                <a:latin typeface="+mn-lt"/>
              </a:rPr>
              <a:t>ming</a:t>
            </a:r>
            <a:r>
              <a:rPr lang="en-GB" sz="700">
                <a:latin typeface="+mn-lt"/>
              </a:rPr>
              <a:t> et, </a:t>
            </a:r>
            <a:r>
              <a:rPr lang="en-GB" sz="700" err="1">
                <a:latin typeface="+mn-lt"/>
              </a:rPr>
              <a:t>commy</a:t>
            </a:r>
            <a:r>
              <a:rPr lang="en-GB" sz="700">
                <a:latin typeface="+mn-lt"/>
              </a:rPr>
              <a:t> </a:t>
            </a:r>
            <a:r>
              <a:rPr lang="en-GB" sz="700" err="1">
                <a:latin typeface="+mn-lt"/>
              </a:rPr>
              <a:t>nos</a:t>
            </a:r>
            <a:r>
              <a:rPr lang="en-GB" sz="700">
                <a:latin typeface="+mn-lt"/>
              </a:rPr>
              <a:t> et </a:t>
            </a:r>
            <a:r>
              <a:rPr lang="en-GB" sz="700" err="1">
                <a:latin typeface="+mn-lt"/>
              </a:rPr>
              <a:t>nim</a:t>
            </a:r>
            <a:r>
              <a:rPr lang="en-GB" sz="700">
                <a:latin typeface="+mn-lt"/>
              </a:rPr>
              <a:t> il et at. Ut </a:t>
            </a:r>
            <a:r>
              <a:rPr lang="en-GB" sz="700" err="1">
                <a:latin typeface="+mn-lt"/>
              </a:rPr>
              <a:t>aliquipit</a:t>
            </a:r>
            <a:r>
              <a:rPr lang="en-GB" sz="700">
                <a:latin typeface="+mn-lt"/>
              </a:rPr>
              <a:t> </a:t>
            </a:r>
            <a:r>
              <a:rPr lang="en-GB" sz="700" err="1">
                <a:latin typeface="+mn-lt"/>
              </a:rPr>
              <a:t>amcommy</a:t>
            </a:r>
            <a:r>
              <a:rPr lang="en-GB" sz="700">
                <a:latin typeface="+mn-lt"/>
              </a:rPr>
              <a:t> </a:t>
            </a:r>
            <a:r>
              <a:rPr lang="en-GB" sz="700" err="1">
                <a:latin typeface="+mn-lt"/>
              </a:rPr>
              <a:t>nullaore</a:t>
            </a:r>
            <a:r>
              <a:rPr lang="en-GB" sz="700">
                <a:latin typeface="+mn-lt"/>
              </a:rPr>
              <a:t> </a:t>
            </a:r>
            <a:r>
              <a:rPr lang="en-GB" sz="700" err="1">
                <a:latin typeface="+mn-lt"/>
              </a:rPr>
              <a:t>endrem</a:t>
            </a:r>
            <a:r>
              <a:rPr lang="en-GB" sz="700">
                <a:latin typeface="+mn-lt"/>
              </a:rPr>
              <a:t> er </a:t>
            </a:r>
            <a:r>
              <a:rPr lang="en-GB" sz="700" err="1">
                <a:latin typeface="+mn-lt"/>
              </a:rPr>
              <a:t>incilla</a:t>
            </a:r>
            <a:r>
              <a:rPr lang="en-GB" sz="700">
                <a:latin typeface="+mn-lt"/>
              </a:rPr>
              <a:t> </a:t>
            </a:r>
            <a:r>
              <a:rPr lang="en-GB" sz="700" err="1">
                <a:latin typeface="+mn-lt"/>
              </a:rPr>
              <a:t>conse</a:t>
            </a:r>
            <a:r>
              <a:rPr lang="en-GB" sz="700">
                <a:latin typeface="+mn-lt"/>
              </a:rPr>
              <a:t> feu </a:t>
            </a:r>
            <a:r>
              <a:rPr lang="en-GB" sz="700" err="1">
                <a:latin typeface="+mn-lt"/>
              </a:rPr>
              <a:t>facin</a:t>
            </a:r>
            <a:r>
              <a:rPr lang="en-GB" sz="700">
                <a:latin typeface="+mn-lt"/>
              </a:rPr>
              <a:t> </a:t>
            </a:r>
            <a:r>
              <a:rPr lang="en-GB" sz="700" err="1">
                <a:latin typeface="+mn-lt"/>
              </a:rPr>
              <a:t>venisi</a:t>
            </a:r>
            <a:r>
              <a:rPr lang="en-GB" sz="700">
                <a:latin typeface="+mn-lt"/>
              </a:rPr>
              <a:t>.</a:t>
            </a:r>
          </a:p>
          <a:p>
            <a:pPr>
              <a:lnSpc>
                <a:spcPct val="100000"/>
              </a:lnSpc>
            </a:pPr>
            <a:r>
              <a:rPr lang="en-GB" sz="700">
                <a:latin typeface="+mn-lt"/>
              </a:rPr>
              <a:t>[Click here for more information about the </a:t>
            </a:r>
            <a:r>
              <a:rPr lang="en-GB" sz="700" b="1">
                <a:latin typeface="+mn-lt"/>
                <a:hlinkClick r:id="rId3"/>
              </a:rPr>
              <a:t>DTTL Language &amp; Style Guide</a:t>
            </a:r>
            <a:r>
              <a:rPr lang="en-GB" sz="700">
                <a:latin typeface="+mn-lt"/>
              </a:rPr>
              <a:t>]</a:t>
            </a:r>
          </a:p>
          <a:p>
            <a:pPr>
              <a:lnSpc>
                <a:spcPct val="100000"/>
              </a:lnSpc>
            </a:pPr>
            <a:r>
              <a:rPr lang="en-GB" sz="700">
                <a:latin typeface="+mn-lt"/>
              </a:rPr>
              <a:t>[Insert the Deloitte local profile]</a:t>
            </a:r>
            <a:br>
              <a:rPr lang="en-GB" sz="700">
                <a:latin typeface="+mn-lt"/>
              </a:rPr>
            </a:br>
            <a:r>
              <a:rPr lang="en-GB" sz="700">
                <a:latin typeface="+mn-lt"/>
              </a:rPr>
              <a:t>Met prat, </a:t>
            </a:r>
            <a:r>
              <a:rPr lang="en-GB" sz="700" err="1">
                <a:latin typeface="+mn-lt"/>
              </a:rPr>
              <a:t>venim</a:t>
            </a:r>
            <a:r>
              <a:rPr lang="en-GB" sz="700">
                <a:latin typeface="+mn-lt"/>
              </a:rPr>
              <a:t> </a:t>
            </a:r>
            <a:r>
              <a:rPr lang="en-GB" sz="700" err="1">
                <a:latin typeface="+mn-lt"/>
              </a:rPr>
              <a:t>estrud</a:t>
            </a:r>
            <a:r>
              <a:rPr lang="en-GB" sz="700">
                <a:latin typeface="+mn-lt"/>
              </a:rPr>
              <a:t> </a:t>
            </a:r>
            <a:r>
              <a:rPr lang="en-GB" sz="700" err="1">
                <a:latin typeface="+mn-lt"/>
              </a:rPr>
              <a:t>modignibh</a:t>
            </a:r>
            <a:r>
              <a:rPr lang="en-GB" sz="700">
                <a:latin typeface="+mn-lt"/>
              </a:rPr>
              <a:t> </a:t>
            </a:r>
            <a:r>
              <a:rPr lang="en-GB" sz="700" err="1">
                <a:latin typeface="+mn-lt"/>
              </a:rPr>
              <a:t>eumsan</a:t>
            </a:r>
            <a:r>
              <a:rPr lang="en-GB" sz="700">
                <a:latin typeface="+mn-lt"/>
              </a:rPr>
              <a:t> </a:t>
            </a:r>
            <a:r>
              <a:rPr lang="en-GB" sz="700" err="1">
                <a:latin typeface="+mn-lt"/>
              </a:rPr>
              <a:t>vel</a:t>
            </a:r>
            <a:r>
              <a:rPr lang="en-GB" sz="700">
                <a:latin typeface="+mn-lt"/>
              </a:rPr>
              <a:t> dolore </a:t>
            </a:r>
            <a:r>
              <a:rPr lang="en-GB" sz="700" err="1">
                <a:latin typeface="+mn-lt"/>
              </a:rPr>
              <a:t>coreetuercin</a:t>
            </a:r>
            <a:r>
              <a:rPr lang="en-GB" sz="700">
                <a:latin typeface="+mn-lt"/>
              </a:rPr>
              <a:t> </a:t>
            </a:r>
            <a:r>
              <a:rPr lang="en-GB" sz="700" err="1">
                <a:latin typeface="+mn-lt"/>
              </a:rPr>
              <a:t>venibh</a:t>
            </a:r>
            <a:r>
              <a:rPr lang="en-GB" sz="700">
                <a:latin typeface="+mn-lt"/>
              </a:rPr>
              <a:t> </a:t>
            </a:r>
            <a:r>
              <a:rPr lang="en-GB" sz="700" err="1">
                <a:latin typeface="+mn-lt"/>
              </a:rPr>
              <a:t>eugait</a:t>
            </a:r>
            <a:r>
              <a:rPr lang="en-GB" sz="700">
                <a:latin typeface="+mn-lt"/>
              </a:rPr>
              <a:t> </a:t>
            </a:r>
            <a:r>
              <a:rPr lang="en-GB" sz="700" err="1">
                <a:latin typeface="+mn-lt"/>
              </a:rPr>
              <a:t>nonsed</a:t>
            </a:r>
            <a:r>
              <a:rPr lang="en-GB" sz="700">
                <a:latin typeface="+mn-lt"/>
              </a:rPr>
              <a:t> magna </a:t>
            </a:r>
            <a:r>
              <a:rPr lang="en-GB" sz="700" err="1">
                <a:latin typeface="+mn-lt"/>
              </a:rPr>
              <a:t>conum</a:t>
            </a:r>
            <a:r>
              <a:rPr lang="en-GB" sz="700">
                <a:latin typeface="+mn-lt"/>
              </a:rPr>
              <a:t> ad </a:t>
            </a:r>
            <a:r>
              <a:rPr lang="en-GB" sz="700" err="1">
                <a:latin typeface="+mn-lt"/>
              </a:rPr>
              <a:t>tio</a:t>
            </a:r>
            <a:r>
              <a:rPr lang="en-GB" sz="700">
                <a:latin typeface="+mn-lt"/>
              </a:rPr>
              <a:t> od et, </a:t>
            </a:r>
            <a:r>
              <a:rPr lang="en-GB" sz="700" err="1">
                <a:latin typeface="+mn-lt"/>
              </a:rPr>
              <a:t>consequis</a:t>
            </a:r>
            <a:r>
              <a:rPr lang="en-GB" sz="700">
                <a:latin typeface="+mn-lt"/>
              </a:rPr>
              <a:t> </a:t>
            </a:r>
            <a:r>
              <a:rPr lang="en-GB" sz="700" err="1">
                <a:latin typeface="+mn-lt"/>
              </a:rPr>
              <a:t>amconsequat</a:t>
            </a:r>
            <a:endParaRPr lang="en-GB" sz="700">
              <a:latin typeface="+mn-lt"/>
            </a:endParaRPr>
          </a:p>
          <a:p>
            <a:pPr>
              <a:lnSpc>
                <a:spcPct val="100000"/>
              </a:lnSpc>
            </a:pPr>
            <a:r>
              <a:rPr lang="en-GB" sz="700">
                <a:latin typeface="+mn-lt"/>
              </a:rPr>
              <a:t>[Insert the appropriate internal / external disclaimer]</a:t>
            </a:r>
          </a:p>
          <a:p>
            <a:pPr>
              <a:lnSpc>
                <a:spcPct val="100000"/>
              </a:lnSpc>
            </a:pPr>
            <a:r>
              <a:rPr lang="en-GB" sz="700">
                <a:latin typeface="+mn-lt"/>
              </a:rPr>
              <a:t>Ut </a:t>
            </a:r>
            <a:r>
              <a:rPr lang="en-GB" sz="700" err="1">
                <a:latin typeface="+mn-lt"/>
              </a:rPr>
              <a:t>iustionulput</a:t>
            </a:r>
            <a:r>
              <a:rPr lang="en-GB" sz="700">
                <a:latin typeface="+mn-lt"/>
              </a:rPr>
              <a:t> </a:t>
            </a:r>
            <a:r>
              <a:rPr lang="en-GB" sz="700" err="1">
                <a:latin typeface="+mn-lt"/>
              </a:rPr>
              <a:t>endre</a:t>
            </a:r>
            <a:r>
              <a:rPr lang="en-GB" sz="700">
                <a:latin typeface="+mn-lt"/>
              </a:rPr>
              <a:t> </a:t>
            </a:r>
            <a:r>
              <a:rPr lang="en-GB" sz="700" err="1">
                <a:latin typeface="+mn-lt"/>
              </a:rPr>
              <a:t>cor</a:t>
            </a:r>
            <a:r>
              <a:rPr lang="en-GB" sz="700">
                <a:latin typeface="+mn-lt"/>
              </a:rPr>
              <a:t> </a:t>
            </a:r>
            <a:r>
              <a:rPr lang="en-GB" sz="700" err="1">
                <a:latin typeface="+mn-lt"/>
              </a:rPr>
              <a:t>ilis</a:t>
            </a:r>
            <a:r>
              <a:rPr lang="en-GB" sz="700">
                <a:latin typeface="+mn-lt"/>
              </a:rPr>
              <a:t> </a:t>
            </a:r>
            <a:r>
              <a:rPr lang="en-GB" sz="700" err="1">
                <a:latin typeface="+mn-lt"/>
              </a:rPr>
              <a:t>ent</a:t>
            </a:r>
            <a:r>
              <a:rPr lang="en-GB" sz="700">
                <a:latin typeface="+mn-lt"/>
              </a:rPr>
              <a:t> </a:t>
            </a:r>
            <a:r>
              <a:rPr lang="en-GB" sz="700" err="1">
                <a:latin typeface="+mn-lt"/>
              </a:rPr>
              <a:t>accum</a:t>
            </a:r>
            <a:r>
              <a:rPr lang="en-GB" sz="700">
                <a:latin typeface="+mn-lt"/>
              </a:rPr>
              <a:t> </a:t>
            </a:r>
            <a:r>
              <a:rPr lang="en-GB" sz="700" err="1">
                <a:latin typeface="+mn-lt"/>
              </a:rPr>
              <a:t>vullan</a:t>
            </a:r>
            <a:r>
              <a:rPr lang="en-GB" sz="700">
                <a:latin typeface="+mn-lt"/>
              </a:rPr>
              <a:t> </a:t>
            </a:r>
            <a:r>
              <a:rPr lang="en-GB" sz="700" err="1">
                <a:latin typeface="+mn-lt"/>
              </a:rPr>
              <a:t>voluptate</a:t>
            </a:r>
            <a:r>
              <a:rPr lang="en-GB" sz="700">
                <a:latin typeface="+mn-lt"/>
              </a:rPr>
              <a:t> </a:t>
            </a:r>
            <a:r>
              <a:rPr lang="en-GB" sz="700" err="1">
                <a:latin typeface="+mn-lt"/>
              </a:rPr>
              <a:t>feui</a:t>
            </a:r>
            <a:r>
              <a:rPr lang="en-GB" sz="700">
                <a:latin typeface="+mn-lt"/>
              </a:rPr>
              <a:t> tat. </a:t>
            </a:r>
            <a:r>
              <a:rPr lang="en-GB" sz="700" err="1">
                <a:latin typeface="+mn-lt"/>
              </a:rPr>
              <a:t>Tionsed</a:t>
            </a:r>
            <a:r>
              <a:rPr lang="en-GB" sz="700">
                <a:latin typeface="+mn-lt"/>
              </a:rPr>
              <a:t> </a:t>
            </a:r>
            <a:r>
              <a:rPr lang="en-GB" sz="700" err="1">
                <a:latin typeface="+mn-lt"/>
              </a:rPr>
              <a:t>dolor</a:t>
            </a:r>
            <a:r>
              <a:rPr lang="en-GB" sz="700">
                <a:latin typeface="+mn-lt"/>
              </a:rPr>
              <a:t> </a:t>
            </a:r>
            <a:r>
              <a:rPr lang="en-GB" sz="700" err="1">
                <a:latin typeface="+mn-lt"/>
              </a:rPr>
              <a:t>irilis</a:t>
            </a:r>
            <a:r>
              <a:rPr lang="en-GB" sz="700">
                <a:latin typeface="+mn-lt"/>
              </a:rPr>
              <a:t> </a:t>
            </a:r>
            <a:r>
              <a:rPr lang="en-GB" sz="700" err="1">
                <a:latin typeface="+mn-lt"/>
              </a:rPr>
              <a:t>elit</a:t>
            </a:r>
            <a:r>
              <a:rPr lang="en-GB" sz="700">
                <a:latin typeface="+mn-lt"/>
              </a:rPr>
              <a:t> </a:t>
            </a:r>
            <a:r>
              <a:rPr lang="en-GB" sz="700" err="1">
                <a:latin typeface="+mn-lt"/>
              </a:rPr>
              <a:t>dolumsan</a:t>
            </a:r>
            <a:r>
              <a:rPr lang="en-GB" sz="700">
                <a:latin typeface="+mn-lt"/>
              </a:rPr>
              <a:t> </a:t>
            </a:r>
            <a:r>
              <a:rPr lang="en-GB" sz="700" err="1">
                <a:latin typeface="+mn-lt"/>
              </a:rPr>
              <a:t>velent</a:t>
            </a:r>
            <a:r>
              <a:rPr lang="en-GB" sz="700">
                <a:latin typeface="+mn-lt"/>
              </a:rPr>
              <a:t> </a:t>
            </a:r>
            <a:r>
              <a:rPr lang="en-GB" sz="700" err="1">
                <a:latin typeface="+mn-lt"/>
              </a:rPr>
              <a:t>praesse</a:t>
            </a:r>
            <a:r>
              <a:rPr lang="en-GB" sz="700">
                <a:latin typeface="+mn-lt"/>
              </a:rPr>
              <a:t> </a:t>
            </a:r>
            <a:r>
              <a:rPr lang="en-GB" sz="700" err="1">
                <a:latin typeface="+mn-lt"/>
              </a:rPr>
              <a:t>quisci</a:t>
            </a:r>
            <a:r>
              <a:rPr lang="en-GB" sz="700">
                <a:latin typeface="+mn-lt"/>
              </a:rPr>
              <a:t> </a:t>
            </a:r>
            <a:r>
              <a:rPr lang="en-GB" sz="700" err="1">
                <a:latin typeface="+mn-lt"/>
              </a:rPr>
              <a:t>tatet</a:t>
            </a:r>
            <a:r>
              <a:rPr lang="en-GB" sz="700">
                <a:latin typeface="+mn-lt"/>
              </a:rPr>
              <a:t>, </a:t>
            </a:r>
            <a:r>
              <a:rPr lang="en-GB" sz="700" err="1">
                <a:latin typeface="+mn-lt"/>
              </a:rPr>
              <a:t>volessi</a:t>
            </a:r>
            <a:r>
              <a:rPr lang="en-GB" sz="700">
                <a:latin typeface="+mn-lt"/>
              </a:rPr>
              <a:t> </a:t>
            </a:r>
            <a:r>
              <a:rPr lang="en-GB" sz="700" err="1">
                <a:latin typeface="+mn-lt"/>
              </a:rPr>
              <a:t>blan</a:t>
            </a:r>
            <a:r>
              <a:rPr lang="en-GB" sz="700">
                <a:latin typeface="+mn-lt"/>
              </a:rPr>
              <a:t> </a:t>
            </a:r>
            <a:r>
              <a:rPr lang="en-GB" sz="700" err="1">
                <a:latin typeface="+mn-lt"/>
              </a:rPr>
              <a:t>vel</a:t>
            </a:r>
            <a:r>
              <a:rPr lang="en-GB" sz="700">
                <a:latin typeface="+mn-lt"/>
              </a:rPr>
              <a:t> </a:t>
            </a:r>
            <a:r>
              <a:rPr lang="en-GB" sz="700" err="1">
                <a:latin typeface="+mn-lt"/>
              </a:rPr>
              <a:t>eui</a:t>
            </a:r>
            <a:r>
              <a:rPr lang="en-GB" sz="700">
                <a:latin typeface="+mn-lt"/>
              </a:rPr>
              <a:t> </a:t>
            </a:r>
            <a:r>
              <a:rPr lang="en-GB" sz="700" err="1">
                <a:latin typeface="+mn-lt"/>
              </a:rPr>
              <a:t>eniam</a:t>
            </a:r>
            <a:r>
              <a:rPr lang="en-GB" sz="700">
                <a:latin typeface="+mn-lt"/>
              </a:rPr>
              <a:t> </a:t>
            </a:r>
            <a:r>
              <a:rPr lang="en-GB" sz="700" err="1">
                <a:latin typeface="+mn-lt"/>
              </a:rPr>
              <a:t>vullaortisi</a:t>
            </a:r>
            <a:r>
              <a:rPr lang="en-GB" sz="700">
                <a:latin typeface="+mn-lt"/>
              </a:rPr>
              <a:t> </a:t>
            </a:r>
            <a:r>
              <a:rPr lang="en-GB" sz="700" err="1">
                <a:latin typeface="+mn-lt"/>
              </a:rPr>
              <a:t>bla</a:t>
            </a:r>
            <a:r>
              <a:rPr lang="en-GB" sz="700">
                <a:latin typeface="+mn-lt"/>
              </a:rPr>
              <a:t> </a:t>
            </a:r>
            <a:r>
              <a:rPr lang="en-GB" sz="700" err="1">
                <a:latin typeface="+mn-lt"/>
              </a:rPr>
              <a:t>faccum</a:t>
            </a:r>
            <a:r>
              <a:rPr lang="en-GB" sz="700">
                <a:latin typeface="+mn-lt"/>
              </a:rPr>
              <a:t> </a:t>
            </a:r>
            <a:r>
              <a:rPr lang="en-GB" sz="700" err="1">
                <a:latin typeface="+mn-lt"/>
              </a:rPr>
              <a:t>vel</a:t>
            </a:r>
            <a:r>
              <a:rPr lang="en-GB" sz="700">
                <a:latin typeface="+mn-lt"/>
              </a:rPr>
              <a:t> </a:t>
            </a:r>
            <a:r>
              <a:rPr lang="en-GB" sz="700" err="1">
                <a:latin typeface="+mn-lt"/>
              </a:rPr>
              <a:t>utet</a:t>
            </a:r>
            <a:r>
              <a:rPr lang="en-GB" sz="700">
                <a:latin typeface="+mn-lt"/>
              </a:rPr>
              <a:t> </a:t>
            </a:r>
            <a:r>
              <a:rPr lang="en-GB" sz="700" err="1">
                <a:latin typeface="+mn-lt"/>
              </a:rPr>
              <a:t>aut</a:t>
            </a:r>
            <a:r>
              <a:rPr lang="en-GB" sz="700">
                <a:latin typeface="+mn-lt"/>
              </a:rPr>
              <a:t> </a:t>
            </a:r>
            <a:r>
              <a:rPr lang="en-GB" sz="700" err="1">
                <a:latin typeface="+mn-lt"/>
              </a:rPr>
              <a:t>iriure</a:t>
            </a:r>
            <a:r>
              <a:rPr lang="en-GB" sz="700">
                <a:latin typeface="+mn-lt"/>
              </a:rPr>
              <a:t> </a:t>
            </a:r>
            <a:r>
              <a:rPr lang="en-GB" sz="700" err="1">
                <a:latin typeface="+mn-lt"/>
              </a:rPr>
              <a:t>eu</a:t>
            </a:r>
            <a:r>
              <a:rPr lang="en-GB" sz="700">
                <a:latin typeface="+mn-lt"/>
              </a:rPr>
              <a:t> </a:t>
            </a:r>
            <a:r>
              <a:rPr lang="en-GB" sz="700" err="1">
                <a:latin typeface="+mn-lt"/>
              </a:rPr>
              <a:t>faccum</a:t>
            </a:r>
            <a:r>
              <a:rPr lang="en-GB" sz="700">
                <a:latin typeface="+mn-lt"/>
              </a:rPr>
              <a:t> </a:t>
            </a:r>
            <a:r>
              <a:rPr lang="en-GB" sz="700" err="1">
                <a:latin typeface="+mn-lt"/>
              </a:rPr>
              <a:t>adigniat</a:t>
            </a:r>
            <a:r>
              <a:rPr lang="en-GB" sz="700">
                <a:latin typeface="+mn-lt"/>
              </a:rPr>
              <a:t>, core </a:t>
            </a:r>
            <a:r>
              <a:rPr lang="en-GB" sz="700" err="1">
                <a:latin typeface="+mn-lt"/>
              </a:rPr>
              <a:t>te</a:t>
            </a:r>
            <a:r>
              <a:rPr lang="en-GB" sz="700">
                <a:latin typeface="+mn-lt"/>
              </a:rPr>
              <a:t> do </a:t>
            </a:r>
            <a:r>
              <a:rPr lang="en-GB" sz="700" err="1">
                <a:latin typeface="+mn-lt"/>
              </a:rPr>
              <a:t>dionsenisim</a:t>
            </a:r>
            <a:r>
              <a:rPr lang="en-GB" sz="700">
                <a:latin typeface="+mn-lt"/>
              </a:rPr>
              <a:t> </a:t>
            </a:r>
            <a:r>
              <a:rPr lang="en-GB" sz="700" err="1">
                <a:latin typeface="+mn-lt"/>
              </a:rPr>
              <a:t>erciliquatue</a:t>
            </a:r>
            <a:r>
              <a:rPr lang="en-GB" sz="700">
                <a:latin typeface="+mn-lt"/>
              </a:rPr>
              <a:t> </a:t>
            </a:r>
            <a:r>
              <a:rPr lang="en-GB" sz="700" err="1">
                <a:latin typeface="+mn-lt"/>
              </a:rPr>
              <a:t>te</a:t>
            </a:r>
            <a:r>
              <a:rPr lang="en-GB" sz="700">
                <a:latin typeface="+mn-lt"/>
              </a:rPr>
              <a:t> </a:t>
            </a:r>
            <a:r>
              <a:rPr lang="en-GB" sz="700" err="1">
                <a:latin typeface="+mn-lt"/>
              </a:rPr>
              <a:t>ming</a:t>
            </a:r>
            <a:r>
              <a:rPr lang="en-GB" sz="700">
                <a:latin typeface="+mn-lt"/>
              </a:rPr>
              <a:t> </a:t>
            </a:r>
            <a:r>
              <a:rPr lang="en-GB" sz="700" err="1">
                <a:latin typeface="+mn-lt"/>
              </a:rPr>
              <a:t>ea</a:t>
            </a:r>
            <a:r>
              <a:rPr lang="en-GB" sz="700">
                <a:latin typeface="+mn-lt"/>
              </a:rPr>
              <a:t> </a:t>
            </a:r>
            <a:r>
              <a:rPr lang="en-GB" sz="700" err="1">
                <a:latin typeface="+mn-lt"/>
              </a:rPr>
              <a:t>facincillut</a:t>
            </a:r>
            <a:r>
              <a:rPr lang="en-GB" sz="700">
                <a:latin typeface="+mn-lt"/>
              </a:rPr>
              <a:t> </a:t>
            </a:r>
            <a:r>
              <a:rPr lang="en-GB" sz="700" err="1">
                <a:latin typeface="+mn-lt"/>
              </a:rPr>
              <a:t>lan</a:t>
            </a:r>
            <a:r>
              <a:rPr lang="en-GB" sz="700">
                <a:latin typeface="+mn-lt"/>
              </a:rPr>
              <a:t> </a:t>
            </a:r>
            <a:r>
              <a:rPr lang="en-GB" sz="700" err="1">
                <a:latin typeface="+mn-lt"/>
              </a:rPr>
              <a:t>henim</a:t>
            </a:r>
            <a:r>
              <a:rPr lang="en-GB" sz="700">
                <a:latin typeface="+mn-lt"/>
              </a:rPr>
              <a:t> </a:t>
            </a:r>
          </a:p>
          <a:p>
            <a:pPr>
              <a:lnSpc>
                <a:spcPct val="100000"/>
              </a:lnSpc>
            </a:pPr>
            <a:r>
              <a:rPr lang="en-GB" sz="700">
                <a:latin typeface="+mn-lt"/>
              </a:rPr>
              <a:t>[For MF communications, please consult with your internal risk or legal teams as to what additional language is appropriate.]</a:t>
            </a:r>
          </a:p>
          <a:p>
            <a:pPr>
              <a:lnSpc>
                <a:spcPct val="100000"/>
              </a:lnSpc>
            </a:pPr>
            <a:r>
              <a:rPr lang="en-GB" sz="700">
                <a:latin typeface="+mn-lt"/>
              </a:rPr>
              <a:t>© [Year] [Legal entity name].</a:t>
            </a:r>
          </a:p>
          <a:p>
            <a:pPr>
              <a:lnSpc>
                <a:spcPct val="100000"/>
              </a:lnSpc>
            </a:pPr>
            <a:r>
              <a:rPr lang="en-GB" sz="700">
                <a:solidFill>
                  <a:schemeClr val="bg1">
                    <a:lumMod val="65000"/>
                  </a:schemeClr>
                </a:solidFill>
                <a:latin typeface="Open Sans" charset="0"/>
                <a:ea typeface="Open Sans" charset="0"/>
                <a:cs typeface="Open Sans" charset="0"/>
                <a:sym typeface="Frutiger Next Pro Light" charset="0"/>
              </a:rPr>
              <a:t>[To edit, click View &gt; Slide Master &gt; Slide Master]</a:t>
            </a:r>
            <a:endParaRPr lang="en-GB" sz="700">
              <a:latin typeface="+mn-lt"/>
            </a:endParaRPr>
          </a:p>
        </p:txBody>
      </p:sp>
    </p:spTree>
    <p:extLst>
      <p:ext uri="{BB962C8B-B14F-4D97-AF65-F5344CB8AC3E}">
        <p14:creationId xmlns:p14="http://schemas.microsoft.com/office/powerpoint/2010/main" val="820449426"/>
      </p:ext>
    </p:extLst>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Services lis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0" name="Text Placeholder 2"/>
          <p:cNvSpPr>
            <a:spLocks noGrp="1"/>
          </p:cNvSpPr>
          <p:nvPr>
            <p:ph type="body" sz="quarter" idx="26" hasCustomPrompt="1"/>
          </p:nvPr>
        </p:nvSpPr>
        <p:spPr>
          <a:xfrm>
            <a:off x="1216657" y="2053002"/>
            <a:ext cx="3634317" cy="338654"/>
          </a:xfrm>
          <a:prstGeom prst="rect">
            <a:avLst/>
          </a:prstGeom>
        </p:spPr>
        <p:txBody>
          <a:bodyPr>
            <a:noAutofit/>
          </a:bodyPr>
          <a:lstStyle>
            <a:lvl1pPr marL="0" indent="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a:t>Social Media</a:t>
            </a:r>
          </a:p>
        </p:txBody>
      </p:sp>
      <p:sp>
        <p:nvSpPr>
          <p:cNvPr id="43" name="Text Placeholder 2"/>
          <p:cNvSpPr>
            <a:spLocks noGrp="1"/>
          </p:cNvSpPr>
          <p:nvPr>
            <p:ph type="body" sz="quarter" idx="28" hasCustomPrompt="1"/>
          </p:nvPr>
        </p:nvSpPr>
        <p:spPr>
          <a:xfrm>
            <a:off x="1216657" y="5053299"/>
            <a:ext cx="3634317" cy="338654"/>
          </a:xfrm>
          <a:prstGeom prst="rect">
            <a:avLst/>
          </a:prstGeom>
        </p:spPr>
        <p:txBody>
          <a:bodyPr>
            <a:noAutofit/>
          </a:bodyPr>
          <a:lstStyle>
            <a:lvl1pPr marL="0" indent="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a:t>Photography</a:t>
            </a:r>
          </a:p>
        </p:txBody>
      </p:sp>
      <p:sp>
        <p:nvSpPr>
          <p:cNvPr id="46" name="Text Placeholder 2"/>
          <p:cNvSpPr>
            <a:spLocks noGrp="1"/>
          </p:cNvSpPr>
          <p:nvPr>
            <p:ph type="body" sz="quarter" idx="29" hasCustomPrompt="1"/>
          </p:nvPr>
        </p:nvSpPr>
        <p:spPr>
          <a:xfrm>
            <a:off x="6556685" y="2053002"/>
            <a:ext cx="3634317" cy="338654"/>
          </a:xfrm>
          <a:prstGeom prst="rect">
            <a:avLst/>
          </a:prstGeom>
        </p:spPr>
        <p:txBody>
          <a:bodyPr>
            <a:noAutofit/>
          </a:bodyPr>
          <a:lstStyle>
            <a:lvl1pPr marL="0" indent="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a:t>Audio Productions</a:t>
            </a:r>
          </a:p>
        </p:txBody>
      </p:sp>
      <p:sp>
        <p:nvSpPr>
          <p:cNvPr id="58" name="Text Placeholder 2"/>
          <p:cNvSpPr>
            <a:spLocks noGrp="1"/>
          </p:cNvSpPr>
          <p:nvPr>
            <p:ph type="body" sz="quarter" idx="31" hasCustomPrompt="1"/>
          </p:nvPr>
        </p:nvSpPr>
        <p:spPr>
          <a:xfrm>
            <a:off x="6556685" y="5053299"/>
            <a:ext cx="3634317" cy="338654"/>
          </a:xfrm>
          <a:prstGeom prst="rect">
            <a:avLst/>
          </a:prstGeom>
        </p:spPr>
        <p:txBody>
          <a:bodyPr>
            <a:noAutofit/>
          </a:bodyPr>
          <a:lstStyle>
            <a:lvl1pPr marL="0" marR="0" indent="0" algn="l" defTabSz="914400" rtl="0" eaLnBrk="1" fontAlgn="auto" latinLnBrk="0" hangingPunct="1">
              <a:lnSpc>
                <a:spcPct val="110000"/>
              </a:lnSpc>
              <a:spcBef>
                <a:spcPct val="20000"/>
              </a:spcBef>
              <a:spcAft>
                <a:spcPts val="0"/>
              </a:spcAft>
              <a:buClrTx/>
              <a:buSzTx/>
              <a:buFont typeface="Arial" pitchFamily="34" charset="0"/>
              <a:buNone/>
              <a:tabLst/>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lang="en-US"/>
              <a:t>Films</a:t>
            </a:r>
          </a:p>
        </p:txBody>
      </p:sp>
      <p:sp>
        <p:nvSpPr>
          <p:cNvPr id="3" name="Title 2"/>
          <p:cNvSpPr>
            <a:spLocks noGrp="1"/>
          </p:cNvSpPr>
          <p:nvPr>
            <p:ph type="title" hasCustomPrompt="1"/>
          </p:nvPr>
        </p:nvSpPr>
        <p:spPr/>
        <p:txBody>
          <a:bodyPr/>
          <a:lstStyle/>
          <a:p>
            <a:r>
              <a:rPr lang="en-US"/>
              <a:t>Services list sample</a:t>
            </a:r>
          </a:p>
        </p:txBody>
      </p:sp>
      <p:sp>
        <p:nvSpPr>
          <p:cNvPr id="11" name="Text Placeholder 2"/>
          <p:cNvSpPr>
            <a:spLocks noGrp="1"/>
          </p:cNvSpPr>
          <p:nvPr>
            <p:ph type="body" sz="quarter" idx="32" hasCustomPrompt="1"/>
          </p:nvPr>
        </p:nvSpPr>
        <p:spPr>
          <a:xfrm>
            <a:off x="1216657" y="3553151"/>
            <a:ext cx="3634317" cy="338654"/>
          </a:xfrm>
          <a:prstGeom prst="rect">
            <a:avLst/>
          </a:prstGeom>
        </p:spPr>
        <p:txBody>
          <a:bodyPr>
            <a:noAutofit/>
          </a:bodyPr>
          <a:lstStyle>
            <a:lvl1pPr marL="0" indent="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a:t>Code</a:t>
            </a:r>
          </a:p>
        </p:txBody>
      </p:sp>
      <p:sp>
        <p:nvSpPr>
          <p:cNvPr id="12" name="Text Placeholder 2"/>
          <p:cNvSpPr>
            <a:spLocks noGrp="1"/>
          </p:cNvSpPr>
          <p:nvPr>
            <p:ph type="body" sz="quarter" idx="33" hasCustomPrompt="1"/>
          </p:nvPr>
        </p:nvSpPr>
        <p:spPr>
          <a:xfrm>
            <a:off x="6556685" y="3553151"/>
            <a:ext cx="3634317" cy="338654"/>
          </a:xfrm>
          <a:prstGeom prst="rect">
            <a:avLst/>
          </a:prstGeom>
        </p:spPr>
        <p:txBody>
          <a:bodyPr>
            <a:noAutofit/>
          </a:bodyPr>
          <a:lstStyle>
            <a:lvl1pPr marL="0" indent="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a:t>Copywriting</a:t>
            </a:r>
          </a:p>
        </p:txBody>
      </p:sp>
      <p:sp>
        <p:nvSpPr>
          <p:cNvPr id="13" name="Text Placeholder 2"/>
          <p:cNvSpPr>
            <a:spLocks noGrp="1"/>
          </p:cNvSpPr>
          <p:nvPr>
            <p:ph type="body" sz="quarter" idx="22" hasCustomPrompt="1"/>
          </p:nvPr>
        </p:nvSpPr>
        <p:spPr>
          <a:xfrm>
            <a:off x="1216657" y="2623067"/>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a:t>Lorem Ipsum has been the industry's standard dummy text ever since the 1500s, when an unknown printer took a galley of type.</a:t>
            </a:r>
          </a:p>
        </p:txBody>
      </p:sp>
      <p:sp>
        <p:nvSpPr>
          <p:cNvPr id="14" name="Text Placeholder 2"/>
          <p:cNvSpPr>
            <a:spLocks noGrp="1"/>
          </p:cNvSpPr>
          <p:nvPr>
            <p:ph type="body" sz="quarter" idx="34" hasCustomPrompt="1"/>
          </p:nvPr>
        </p:nvSpPr>
        <p:spPr>
          <a:xfrm>
            <a:off x="1216656" y="4087515"/>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a:t>Lorem Ipsum has been the industry's standard dummy text ever since the 1500s, when an unknown printer took a galley of type.</a:t>
            </a:r>
          </a:p>
        </p:txBody>
      </p:sp>
      <p:sp>
        <p:nvSpPr>
          <p:cNvPr id="15" name="Text Placeholder 2"/>
          <p:cNvSpPr>
            <a:spLocks noGrp="1"/>
          </p:cNvSpPr>
          <p:nvPr>
            <p:ph type="body" sz="quarter" idx="35" hasCustomPrompt="1"/>
          </p:nvPr>
        </p:nvSpPr>
        <p:spPr>
          <a:xfrm>
            <a:off x="1216655" y="5551963"/>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a:t>Lorem Ipsum has been the industry's standard dummy text ever since the 1500s, when an unknown printer took a galley of type.</a:t>
            </a:r>
          </a:p>
        </p:txBody>
      </p:sp>
      <p:sp>
        <p:nvSpPr>
          <p:cNvPr id="16" name="Text Placeholder 2"/>
          <p:cNvSpPr>
            <a:spLocks noGrp="1"/>
          </p:cNvSpPr>
          <p:nvPr>
            <p:ph type="body" sz="quarter" idx="36" hasCustomPrompt="1"/>
          </p:nvPr>
        </p:nvSpPr>
        <p:spPr>
          <a:xfrm>
            <a:off x="6556683" y="2617234"/>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a:t>Lorem Ipsum has been the industry's standard dummy text ever since the 1500s, when an unknown printer took a galley of type.</a:t>
            </a:r>
          </a:p>
        </p:txBody>
      </p:sp>
      <p:sp>
        <p:nvSpPr>
          <p:cNvPr id="17" name="Text Placeholder 2"/>
          <p:cNvSpPr>
            <a:spLocks noGrp="1"/>
          </p:cNvSpPr>
          <p:nvPr>
            <p:ph type="body" sz="quarter" idx="37" hasCustomPrompt="1"/>
          </p:nvPr>
        </p:nvSpPr>
        <p:spPr>
          <a:xfrm>
            <a:off x="6556682" y="4081682"/>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a:t>Lorem Ipsum has been the industry's standard dummy text ever since the 1500s, when an unknown printer took a galley of type.</a:t>
            </a:r>
          </a:p>
        </p:txBody>
      </p:sp>
      <p:sp>
        <p:nvSpPr>
          <p:cNvPr id="18" name="Text Placeholder 2"/>
          <p:cNvSpPr>
            <a:spLocks noGrp="1"/>
          </p:cNvSpPr>
          <p:nvPr>
            <p:ph type="body" sz="quarter" idx="38" hasCustomPrompt="1"/>
          </p:nvPr>
        </p:nvSpPr>
        <p:spPr>
          <a:xfrm>
            <a:off x="6556681" y="5546130"/>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a:t>Lorem Ipsum has been the industry's standard dummy text ever since the 1500s, when an unknown printer took a galley of type.</a:t>
            </a:r>
          </a:p>
        </p:txBody>
      </p:sp>
      <p:sp>
        <p:nvSpPr>
          <p:cNvPr id="19" name="Slide Number Placeholder 5"/>
          <p:cNvSpPr>
            <a:spLocks noGrp="1"/>
          </p:cNvSpPr>
          <p:nvPr>
            <p:ph type="sldNum" sz="quarter" idx="4"/>
          </p:nvPr>
        </p:nvSpPr>
        <p:spPr>
          <a:xfrm>
            <a:off x="8936604" y="6356350"/>
            <a:ext cx="2743200" cy="365125"/>
          </a:xfrm>
          <a:prstGeom prst="rect">
            <a:avLst/>
          </a:prstGeom>
        </p:spPr>
        <p:txBody>
          <a:bodyPr vert="horz" lIns="91440" tIns="45720" rIns="91440" bIns="45720" rtlCol="0" anchor="ctr"/>
          <a:lstStyle>
            <a:lvl1pPr algn="r">
              <a:defRPr sz="800">
                <a:solidFill>
                  <a:schemeClr val="bg1">
                    <a:lumMod val="50000"/>
                  </a:schemeClr>
                </a:solidFill>
              </a:defRPr>
            </a:lvl1pPr>
          </a:lstStyle>
          <a:p>
            <a:fld id="{56C0D935-D802-48C2-BA0B-1A8DBFF4C45B}"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175078104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hree-page 1.1">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445EAA1-4B5F-2E4B-9108-AE95B9DAFD44}"/>
              </a:ext>
            </a:extLst>
          </p:cNvPr>
          <p:cNvCxnSpPr/>
          <p:nvPr userDrawn="1"/>
        </p:nvCxnSpPr>
        <p:spPr>
          <a:xfrm>
            <a:off x="0" y="1688709"/>
            <a:ext cx="8065341"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0392EE45-E55C-214C-BDF9-E846DE19DD9C}"/>
              </a:ext>
            </a:extLst>
          </p:cNvPr>
          <p:cNvSpPr>
            <a:spLocks noGrp="1"/>
          </p:cNvSpPr>
          <p:nvPr>
            <p:ph type="pic" sz="quarter" idx="10"/>
          </p:nvPr>
        </p:nvSpPr>
        <p:spPr>
          <a:xfrm>
            <a:off x="8066088" y="0"/>
            <a:ext cx="4125912" cy="6858000"/>
          </a:xfrm>
          <a:prstGeom prst="rect">
            <a:avLst/>
          </a:prstGeom>
        </p:spPr>
        <p:txBody>
          <a:bodyPr/>
          <a:lstStyle/>
          <a:p>
            <a:endParaRPr lang="en-US"/>
          </a:p>
        </p:txBody>
      </p:sp>
      <p:sp>
        <p:nvSpPr>
          <p:cNvPr id="13" name="Text Placeholder 36">
            <a:extLst>
              <a:ext uri="{FF2B5EF4-FFF2-40B4-BE49-F238E27FC236}">
                <a16:creationId xmlns:a16="http://schemas.microsoft.com/office/drawing/2014/main" id="{3D953596-8C9A-574B-9082-B0BFAC89A425}"/>
              </a:ext>
            </a:extLst>
          </p:cNvPr>
          <p:cNvSpPr>
            <a:spLocks noGrp="1"/>
          </p:cNvSpPr>
          <p:nvPr>
            <p:ph type="body" sz="quarter" idx="21" hasCustomPrompt="1"/>
          </p:nvPr>
        </p:nvSpPr>
        <p:spPr>
          <a:xfrm>
            <a:off x="714124" y="2380971"/>
            <a:ext cx="2216174" cy="257333"/>
          </a:xfrm>
          <a:prstGeom prst="rect">
            <a:avLst/>
          </a:prstGeom>
        </p:spPr>
        <p:txBody>
          <a:bodyPr lIns="0" tIns="0" rIns="0" bIns="0">
            <a:noAutofit/>
          </a:bodyPr>
          <a:lstStyle>
            <a:lvl1pPr marL="0" indent="0">
              <a:buNone/>
              <a:defRPr sz="1600" b="1" i="0">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buNone/>
              <a:defRPr/>
            </a:lvl2pPr>
          </a:lstStyle>
          <a:p>
            <a:pPr lvl="0"/>
            <a:r>
              <a:rPr lang="en-US" dirty="0"/>
              <a:t>Issue</a:t>
            </a:r>
          </a:p>
        </p:txBody>
      </p:sp>
      <p:sp>
        <p:nvSpPr>
          <p:cNvPr id="15" name="Text Placeholder 36">
            <a:extLst>
              <a:ext uri="{FF2B5EF4-FFF2-40B4-BE49-F238E27FC236}">
                <a16:creationId xmlns:a16="http://schemas.microsoft.com/office/drawing/2014/main" id="{224B2B0E-DE2C-7C48-AD35-912F1B01F60D}"/>
              </a:ext>
            </a:extLst>
          </p:cNvPr>
          <p:cNvSpPr>
            <a:spLocks noGrp="1"/>
          </p:cNvSpPr>
          <p:nvPr>
            <p:ph type="body" sz="quarter" idx="23" hasCustomPrompt="1"/>
          </p:nvPr>
        </p:nvSpPr>
        <p:spPr>
          <a:xfrm>
            <a:off x="6211874" y="2380971"/>
            <a:ext cx="2216174" cy="257333"/>
          </a:xfrm>
          <a:prstGeom prst="rect">
            <a:avLst/>
          </a:prstGeom>
        </p:spPr>
        <p:txBody>
          <a:bodyPr lIns="0" tIns="0" rIns="0" bIns="0">
            <a:noAutofit/>
          </a:bodyPr>
          <a:lstStyle>
            <a:lvl1pPr marL="0" indent="0">
              <a:buNone/>
              <a:defRPr sz="1600" b="1" i="0">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buNone/>
              <a:defRPr/>
            </a:lvl2pPr>
          </a:lstStyle>
          <a:p>
            <a:pPr lvl="0"/>
            <a:r>
              <a:rPr lang="en-US" dirty="0"/>
              <a:t>Solution</a:t>
            </a:r>
          </a:p>
        </p:txBody>
      </p:sp>
      <p:sp>
        <p:nvSpPr>
          <p:cNvPr id="16" name="Text Placeholder 36">
            <a:extLst>
              <a:ext uri="{FF2B5EF4-FFF2-40B4-BE49-F238E27FC236}">
                <a16:creationId xmlns:a16="http://schemas.microsoft.com/office/drawing/2014/main" id="{BD76BC3E-AC01-A24C-84E9-3E772D131D2B}"/>
              </a:ext>
            </a:extLst>
          </p:cNvPr>
          <p:cNvSpPr>
            <a:spLocks noGrp="1"/>
          </p:cNvSpPr>
          <p:nvPr>
            <p:ph type="body" sz="quarter" idx="24" hasCustomPrompt="1"/>
          </p:nvPr>
        </p:nvSpPr>
        <p:spPr>
          <a:xfrm>
            <a:off x="6214711" y="2771947"/>
            <a:ext cx="3886552" cy="3357391"/>
          </a:xfrm>
          <a:prstGeom prst="rect">
            <a:avLst/>
          </a:prstGeom>
        </p:spPr>
        <p:txBody>
          <a:bodyPr lIns="0" tIns="0" rIns="0" bIns="0">
            <a:noAutofit/>
          </a:bodyPr>
          <a:lstStyle>
            <a:lvl1pPr marL="0" indent="0">
              <a:lnSpc>
                <a:spcPct val="130000"/>
              </a:lnSpc>
              <a:buNone/>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dirty="0"/>
              <a:t>Insert text here</a:t>
            </a:r>
          </a:p>
        </p:txBody>
      </p:sp>
      <p:sp>
        <p:nvSpPr>
          <p:cNvPr id="17" name="Text Placeholder 36">
            <a:extLst>
              <a:ext uri="{FF2B5EF4-FFF2-40B4-BE49-F238E27FC236}">
                <a16:creationId xmlns:a16="http://schemas.microsoft.com/office/drawing/2014/main" id="{C466136E-2FD8-AE4E-8DAD-0E1D0B24F7BF}"/>
              </a:ext>
            </a:extLst>
          </p:cNvPr>
          <p:cNvSpPr>
            <a:spLocks noGrp="1"/>
          </p:cNvSpPr>
          <p:nvPr>
            <p:ph type="body" sz="quarter" idx="25" hasCustomPrompt="1"/>
          </p:nvPr>
        </p:nvSpPr>
        <p:spPr>
          <a:xfrm>
            <a:off x="714023" y="2771947"/>
            <a:ext cx="4286602" cy="3357391"/>
          </a:xfrm>
          <a:prstGeom prst="rect">
            <a:avLst/>
          </a:prstGeom>
        </p:spPr>
        <p:txBody>
          <a:bodyPr lIns="0" tIns="0" rIns="0" bIns="0">
            <a:noAutofit/>
          </a:bodyPr>
          <a:lstStyle>
            <a:lvl1pPr marL="0" indent="0">
              <a:lnSpc>
                <a:spcPct val="130000"/>
              </a:lnSpc>
              <a:buNone/>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dirty="0"/>
              <a:t>Insert text here</a:t>
            </a:r>
          </a:p>
        </p:txBody>
      </p:sp>
      <p:sp>
        <p:nvSpPr>
          <p:cNvPr id="9" name="Text Placeholder 2">
            <a:extLst>
              <a:ext uri="{FF2B5EF4-FFF2-40B4-BE49-F238E27FC236}">
                <a16:creationId xmlns:a16="http://schemas.microsoft.com/office/drawing/2014/main" id="{CFCDF029-F27A-487A-9FBF-BB3303E4F664}"/>
              </a:ext>
            </a:extLst>
          </p:cNvPr>
          <p:cNvSpPr>
            <a:spLocks noGrp="1"/>
          </p:cNvSpPr>
          <p:nvPr>
            <p:ph type="body" sz="quarter" idx="15"/>
          </p:nvPr>
        </p:nvSpPr>
        <p:spPr>
          <a:xfrm>
            <a:off x="1025305" y="537883"/>
            <a:ext cx="6389908" cy="685792"/>
          </a:xfrm>
        </p:spPr>
        <p:txBody>
          <a:bodyPr>
            <a:noAutofit/>
          </a:bodyPr>
          <a:lstStyle>
            <a:lvl1pPr marL="0" indent="0">
              <a:buNone/>
              <a:defRPr sz="2000"/>
            </a:lvl1p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This is a box for you to place callout text, quote, etc. that you want to highlight. Lorem ipsum dolor sit </a:t>
            </a:r>
            <a:r>
              <a:rPr lang="en-US" dirty="0" err="1">
                <a:latin typeface="Open Sans Light" panose="020B0306030504020204" pitchFamily="34" charset="0"/>
                <a:ea typeface="Open Sans Light" panose="020B0306030504020204" pitchFamily="34" charset="0"/>
                <a:cs typeface="Open Sans Light" panose="020B0306030504020204" pitchFamily="34" charset="0"/>
              </a:rPr>
              <a:t>amet</a:t>
            </a:r>
            <a:r>
              <a:rPr lang="en-US" dirty="0">
                <a:latin typeface="Open Sans Light" panose="020B0306030504020204" pitchFamily="34" charset="0"/>
                <a:ea typeface="Open Sans Light" panose="020B0306030504020204" pitchFamily="34" charset="0"/>
                <a:cs typeface="Open Sans Light" panose="020B0306030504020204" pitchFamily="34" charset="0"/>
              </a:rPr>
              <a:t>.</a:t>
            </a:r>
          </a:p>
        </p:txBody>
      </p:sp>
    </p:spTree>
    <p:extLst>
      <p:ext uri="{BB962C8B-B14F-4D97-AF65-F5344CB8AC3E}">
        <p14:creationId xmlns:p14="http://schemas.microsoft.com/office/powerpoint/2010/main" val="22603567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Main Page Layout">
  <p:cSld name="Main Page Layout">
    <p:spTree>
      <p:nvGrpSpPr>
        <p:cNvPr id="1" name="Shape 16"/>
        <p:cNvGrpSpPr/>
        <p:nvPr/>
      </p:nvGrpSpPr>
      <p:grpSpPr>
        <a:xfrm>
          <a:off x="0" y="0"/>
          <a:ext cx="0" cy="0"/>
          <a:chOff x="0" y="0"/>
          <a:chExt cx="0" cy="0"/>
        </a:xfrm>
      </p:grpSpPr>
    </p:spTree>
    <p:extLst>
      <p:ext uri="{BB962C8B-B14F-4D97-AF65-F5344CB8AC3E}">
        <p14:creationId xmlns:p14="http://schemas.microsoft.com/office/powerpoint/2010/main" val="2749879560"/>
      </p:ext>
    </p:extLst>
  </p:cSld>
  <p:clrMapOvr>
    <a:masterClrMapping/>
  </p:clrMapOvr>
  <p:extLst>
    <p:ext uri="{DCECCB84-F9BA-43D5-87BE-67443E8EF086}">
      <p15:sldGuideLst xmlns:p15="http://schemas.microsoft.com/office/powerpoint/2012/main">
        <p15:guide id="1" orient="horz" pos="172">
          <p15:clr>
            <a:srgbClr val="FA7B17"/>
          </p15:clr>
        </p15:guide>
        <p15:guide id="2" orient="horz" pos="361">
          <p15:clr>
            <a:srgbClr val="FA7B17"/>
          </p15:clr>
        </p15:guide>
        <p15:guide id="3" pos="148">
          <p15:clr>
            <a:srgbClr val="FA7B17"/>
          </p15:clr>
        </p15:guide>
        <p15:guide id="4" pos="5612">
          <p15:clr>
            <a:srgbClr val="FA7B17"/>
          </p15:clr>
        </p15:guide>
        <p15:guide id="5" orient="horz" pos="3092">
          <p15:clr>
            <a:srgbClr val="FA7B17"/>
          </p15:clr>
        </p15:guide>
        <p15:guide id="6" pos="2880">
          <p15:clr>
            <a:srgbClr val="FA7B17"/>
          </p15:clr>
        </p15:guide>
        <p15:guide id="7" orient="horz" pos="1801">
          <p15:clr>
            <a:srgbClr val="FA7B17"/>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Header, big image, text">
  <p:cSld name="Header, big image, text">
    <p:spTree>
      <p:nvGrpSpPr>
        <p:cNvPr id="1" name="Shape 10"/>
        <p:cNvGrpSpPr/>
        <p:nvPr/>
      </p:nvGrpSpPr>
      <p:grpSpPr>
        <a:xfrm>
          <a:off x="0" y="0"/>
          <a:ext cx="0" cy="0"/>
          <a:chOff x="0" y="0"/>
          <a:chExt cx="0" cy="0"/>
        </a:xfrm>
      </p:grpSpPr>
      <p:sp>
        <p:nvSpPr>
          <p:cNvPr id="11" name="Google Shape;11;p68"/>
          <p:cNvSpPr>
            <a:spLocks noGrp="1"/>
          </p:cNvSpPr>
          <p:nvPr>
            <p:ph type="pic" idx="2"/>
          </p:nvPr>
        </p:nvSpPr>
        <p:spPr>
          <a:xfrm>
            <a:off x="3228900" y="238933"/>
            <a:ext cx="5736000" cy="6001200"/>
          </a:xfrm>
          <a:prstGeom prst="rect">
            <a:avLst/>
          </a:prstGeom>
          <a:noFill/>
          <a:ln>
            <a:noFill/>
          </a:ln>
        </p:spPr>
      </p:sp>
      <p:sp>
        <p:nvSpPr>
          <p:cNvPr id="12" name="Google Shape;12;p68"/>
          <p:cNvSpPr txBox="1">
            <a:spLocks noGrp="1"/>
          </p:cNvSpPr>
          <p:nvPr>
            <p:ph type="body" idx="1"/>
          </p:nvPr>
        </p:nvSpPr>
        <p:spPr>
          <a:xfrm>
            <a:off x="9205767" y="238933"/>
            <a:ext cx="2746400" cy="6001200"/>
          </a:xfrm>
          <a:prstGeom prst="rect">
            <a:avLst/>
          </a:prstGeom>
          <a:noFill/>
          <a:ln>
            <a:noFill/>
          </a:ln>
        </p:spPr>
        <p:txBody>
          <a:bodyPr spcFirstLastPara="1" wrap="square" lIns="0" tIns="0" rIns="0" bIns="0" anchor="t" anchorCtr="0">
            <a:noAutofit/>
          </a:bodyPr>
          <a:lstStyle>
            <a:lvl1pPr marL="304815" marR="0" lvl="0" indent="-228611" algn="l" rtl="0">
              <a:lnSpc>
                <a:spcPct val="115000"/>
              </a:lnSpc>
              <a:spcBef>
                <a:spcPts val="0"/>
              </a:spcBef>
              <a:spcAft>
                <a:spcPts val="0"/>
              </a:spcAft>
              <a:buClr>
                <a:srgbClr val="000000"/>
              </a:buClr>
              <a:buSzPts val="1800"/>
              <a:buFont typeface="Helvetica Neue"/>
              <a:buChar char="●"/>
              <a:defRPr sz="1200" b="0" i="0" u="none" strike="noStrike" cap="none">
                <a:solidFill>
                  <a:srgbClr val="000000"/>
                </a:solidFill>
                <a:latin typeface="Open Sans" panose="020B0606030504020204" pitchFamily="34" charset="0"/>
                <a:ea typeface="Open Sans" panose="020B0606030504020204" pitchFamily="34" charset="0"/>
                <a:cs typeface="Open Sans" panose="020B0606030504020204" pitchFamily="34" charset="0"/>
                <a:sym typeface="Helvetica Neue"/>
              </a:defRPr>
            </a:lvl1pPr>
            <a:lvl2pPr marL="609630" marR="0" lvl="1"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2pPr>
            <a:lvl3pPr marL="914446" marR="0" lvl="2"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3pPr>
            <a:lvl4pPr marL="1219261" marR="0" lvl="3"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4pPr>
            <a:lvl5pPr marL="1524076" marR="0" lvl="4"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5pPr>
            <a:lvl6pPr marL="1828891" marR="0" lvl="5"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6pPr>
            <a:lvl7pPr marL="2133707" marR="0" lvl="6"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7pPr>
            <a:lvl8pPr marL="2438522" marR="0" lvl="7"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8pPr>
            <a:lvl9pPr marL="2743337" marR="0" lvl="8"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9pPr>
          </a:lstStyle>
          <a:p>
            <a:endParaRPr dirty="0"/>
          </a:p>
        </p:txBody>
      </p:sp>
      <p:sp>
        <p:nvSpPr>
          <p:cNvPr id="13" name="Google Shape;13;p68"/>
          <p:cNvSpPr txBox="1">
            <a:spLocks noGrp="1"/>
          </p:cNvSpPr>
          <p:nvPr>
            <p:ph type="title"/>
          </p:nvPr>
        </p:nvSpPr>
        <p:spPr>
          <a:xfrm>
            <a:off x="241767" y="238933"/>
            <a:ext cx="2746400" cy="3000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3000"/>
              <a:buFont typeface="Helvetica Neue"/>
              <a:buNone/>
              <a:defRPr sz="2000" b="0" i="0" u="none" strike="noStrike" cap="none">
                <a:solidFill>
                  <a:srgbClr val="000000"/>
                </a:solidFill>
                <a:latin typeface="Open Sans" panose="020B0606030504020204" pitchFamily="34" charset="0"/>
                <a:ea typeface="Open Sans" panose="020B0606030504020204" pitchFamily="34" charset="0"/>
                <a:cs typeface="Open Sans" panose="020B0606030504020204" pitchFamily="34" charset="0"/>
                <a:sym typeface="Helvetica Neue"/>
              </a:defRPr>
            </a:lvl1pPr>
            <a:lvl2pPr marR="0" lvl="1"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9pPr>
          </a:lstStyle>
          <a:p>
            <a:endParaRPr dirty="0"/>
          </a:p>
        </p:txBody>
      </p:sp>
    </p:spTree>
    <p:extLst>
      <p:ext uri="{BB962C8B-B14F-4D97-AF65-F5344CB8AC3E}">
        <p14:creationId xmlns:p14="http://schemas.microsoft.com/office/powerpoint/2010/main" val="147125326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4"/>
            </a:lvl1pPr>
            <a:lvl2pPr lvl="1" algn="ctr">
              <a:spcBef>
                <a:spcPts val="0"/>
              </a:spcBef>
              <a:spcAft>
                <a:spcPts val="0"/>
              </a:spcAft>
              <a:buSzPts val="5200"/>
              <a:buNone/>
              <a:defRPr sz="6934"/>
            </a:lvl2pPr>
            <a:lvl3pPr lvl="2" algn="ctr">
              <a:spcBef>
                <a:spcPts val="0"/>
              </a:spcBef>
              <a:spcAft>
                <a:spcPts val="0"/>
              </a:spcAft>
              <a:buSzPts val="5200"/>
              <a:buNone/>
              <a:defRPr sz="6934"/>
            </a:lvl3pPr>
            <a:lvl4pPr lvl="3" algn="ctr">
              <a:spcBef>
                <a:spcPts val="0"/>
              </a:spcBef>
              <a:spcAft>
                <a:spcPts val="0"/>
              </a:spcAft>
              <a:buSzPts val="5200"/>
              <a:buNone/>
              <a:defRPr sz="6934"/>
            </a:lvl4pPr>
            <a:lvl5pPr lvl="4" algn="ctr">
              <a:spcBef>
                <a:spcPts val="0"/>
              </a:spcBef>
              <a:spcAft>
                <a:spcPts val="0"/>
              </a:spcAft>
              <a:buSzPts val="5200"/>
              <a:buNone/>
              <a:defRPr sz="6934"/>
            </a:lvl5pPr>
            <a:lvl6pPr lvl="5" algn="ctr">
              <a:spcBef>
                <a:spcPts val="0"/>
              </a:spcBef>
              <a:spcAft>
                <a:spcPts val="0"/>
              </a:spcAft>
              <a:buSzPts val="5200"/>
              <a:buNone/>
              <a:defRPr sz="6934"/>
            </a:lvl6pPr>
            <a:lvl7pPr lvl="6" algn="ctr">
              <a:spcBef>
                <a:spcPts val="0"/>
              </a:spcBef>
              <a:spcAft>
                <a:spcPts val="0"/>
              </a:spcAft>
              <a:buSzPts val="5200"/>
              <a:buNone/>
              <a:defRPr sz="6934"/>
            </a:lvl7pPr>
            <a:lvl8pPr lvl="7" algn="ctr">
              <a:spcBef>
                <a:spcPts val="0"/>
              </a:spcBef>
              <a:spcAft>
                <a:spcPts val="0"/>
              </a:spcAft>
              <a:buSzPts val="5200"/>
              <a:buNone/>
              <a:defRPr sz="6934"/>
            </a:lvl8pPr>
            <a:lvl9pPr lvl="8" algn="ctr">
              <a:spcBef>
                <a:spcPts val="0"/>
              </a:spcBef>
              <a:spcAft>
                <a:spcPts val="0"/>
              </a:spcAft>
              <a:buSzPts val="5200"/>
              <a:buNone/>
              <a:defRPr sz="6934"/>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4"/>
            </a:lvl1pPr>
            <a:lvl2pPr lvl="1" algn="ctr">
              <a:lnSpc>
                <a:spcPct val="100000"/>
              </a:lnSpc>
              <a:spcBef>
                <a:spcPts val="0"/>
              </a:spcBef>
              <a:spcAft>
                <a:spcPts val="0"/>
              </a:spcAft>
              <a:buSzPts val="2800"/>
              <a:buNone/>
              <a:defRPr sz="3734"/>
            </a:lvl2pPr>
            <a:lvl3pPr lvl="2" algn="ctr">
              <a:lnSpc>
                <a:spcPct val="100000"/>
              </a:lnSpc>
              <a:spcBef>
                <a:spcPts val="0"/>
              </a:spcBef>
              <a:spcAft>
                <a:spcPts val="0"/>
              </a:spcAft>
              <a:buSzPts val="2800"/>
              <a:buNone/>
              <a:defRPr sz="3734"/>
            </a:lvl3pPr>
            <a:lvl4pPr lvl="3" algn="ctr">
              <a:lnSpc>
                <a:spcPct val="100000"/>
              </a:lnSpc>
              <a:spcBef>
                <a:spcPts val="0"/>
              </a:spcBef>
              <a:spcAft>
                <a:spcPts val="0"/>
              </a:spcAft>
              <a:buSzPts val="2800"/>
              <a:buNone/>
              <a:defRPr sz="3734"/>
            </a:lvl4pPr>
            <a:lvl5pPr lvl="4" algn="ctr">
              <a:lnSpc>
                <a:spcPct val="100000"/>
              </a:lnSpc>
              <a:spcBef>
                <a:spcPts val="0"/>
              </a:spcBef>
              <a:spcAft>
                <a:spcPts val="0"/>
              </a:spcAft>
              <a:buSzPts val="2800"/>
              <a:buNone/>
              <a:defRPr sz="3734"/>
            </a:lvl5pPr>
            <a:lvl6pPr lvl="5" algn="ctr">
              <a:lnSpc>
                <a:spcPct val="100000"/>
              </a:lnSpc>
              <a:spcBef>
                <a:spcPts val="0"/>
              </a:spcBef>
              <a:spcAft>
                <a:spcPts val="0"/>
              </a:spcAft>
              <a:buSzPts val="2800"/>
              <a:buNone/>
              <a:defRPr sz="3734"/>
            </a:lvl6pPr>
            <a:lvl7pPr lvl="6" algn="ctr">
              <a:lnSpc>
                <a:spcPct val="100000"/>
              </a:lnSpc>
              <a:spcBef>
                <a:spcPts val="0"/>
              </a:spcBef>
              <a:spcAft>
                <a:spcPts val="0"/>
              </a:spcAft>
              <a:buSzPts val="2800"/>
              <a:buNone/>
              <a:defRPr sz="3734"/>
            </a:lvl7pPr>
            <a:lvl8pPr lvl="7" algn="ctr">
              <a:lnSpc>
                <a:spcPct val="100000"/>
              </a:lnSpc>
              <a:spcBef>
                <a:spcPts val="0"/>
              </a:spcBef>
              <a:spcAft>
                <a:spcPts val="0"/>
              </a:spcAft>
              <a:buSzPts val="2800"/>
              <a:buNone/>
              <a:defRPr sz="3734"/>
            </a:lvl8pPr>
            <a:lvl9pPr lvl="8" algn="ctr">
              <a:lnSpc>
                <a:spcPct val="100000"/>
              </a:lnSpc>
              <a:spcBef>
                <a:spcPts val="0"/>
              </a:spcBef>
              <a:spcAft>
                <a:spcPts val="0"/>
              </a:spcAft>
              <a:buSzPts val="2800"/>
              <a:buNone/>
              <a:defRPr sz="3734"/>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21189617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2" name="Footer Placeholder 1"/>
          <p:cNvSpPr>
            <a:spLocks noGrp="1"/>
          </p:cNvSpPr>
          <p:nvPr>
            <p:ph type="ftr" sz="quarter" idx="14"/>
          </p:nvPr>
        </p:nvSpPr>
        <p:spPr/>
        <p:txBody>
          <a:bodyPr/>
          <a:lstStyle/>
          <a:p>
            <a:r>
              <a:rPr lang="hu-HU"/>
              <a:t>© 2021 </a:t>
            </a:r>
            <a:r>
              <a:rPr lang="hu-HU" err="1"/>
              <a:t>Deloitte</a:t>
            </a:r>
            <a:r>
              <a:rPr lang="hu-HU"/>
              <a:t> Hungary</a:t>
            </a:r>
          </a:p>
        </p:txBody>
      </p:sp>
    </p:spTree>
    <p:extLst>
      <p:ext uri="{BB962C8B-B14F-4D97-AF65-F5344CB8AC3E}">
        <p14:creationId xmlns:p14="http://schemas.microsoft.com/office/powerpoint/2010/main" val="136246413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3119604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able of Contents 1">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1079500"/>
            <a:ext cx="5105400" cy="668019"/>
          </a:xfrm>
          <a:prstGeom prst="rect">
            <a:avLst/>
          </a:prstGeom>
        </p:spPr>
        <p:txBody>
          <a:bodyPr vert="horz" lIns="0" tIns="0" rIns="0" bIns="0" rtlCol="0" anchor="t" anchorCtr="0">
            <a:noAutofit/>
          </a:bodyPr>
          <a:lstStyle/>
          <a:p>
            <a:r>
              <a:rPr lang="en-GB" noProof="0"/>
              <a:t>Contents</a:t>
            </a:r>
          </a:p>
        </p:txBody>
      </p:sp>
      <p:sp>
        <p:nvSpPr>
          <p:cNvPr id="4" name="Text Placeholder 7">
            <a:extLst>
              <a:ext uri="{FF2B5EF4-FFF2-40B4-BE49-F238E27FC236}">
                <a16:creationId xmlns:a16="http://schemas.microsoft.com/office/drawing/2014/main" id="{E002F6C0-0313-3545-BE44-80FAF25F38DC}"/>
              </a:ext>
            </a:extLst>
          </p:cNvPr>
          <p:cNvSpPr>
            <a:spLocks noGrp="1"/>
          </p:cNvSpPr>
          <p:nvPr>
            <p:ph type="body" sz="quarter" idx="12" hasCustomPrompt="1"/>
          </p:nvPr>
        </p:nvSpPr>
        <p:spPr>
          <a:xfrm>
            <a:off x="1981200" y="2048450"/>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5" name="Text Placeholder 14">
            <a:extLst>
              <a:ext uri="{FF2B5EF4-FFF2-40B4-BE49-F238E27FC236}">
                <a16:creationId xmlns:a16="http://schemas.microsoft.com/office/drawing/2014/main" id="{F1D3C238-B7D8-7945-AB3F-54DE1CD47275}"/>
              </a:ext>
            </a:extLst>
          </p:cNvPr>
          <p:cNvSpPr>
            <a:spLocks noGrp="1"/>
          </p:cNvSpPr>
          <p:nvPr>
            <p:ph type="body" sz="quarter" idx="18" hasCustomPrompt="1"/>
          </p:nvPr>
        </p:nvSpPr>
        <p:spPr>
          <a:xfrm>
            <a:off x="914400" y="1949133"/>
            <a:ext cx="638175" cy="4133850"/>
          </a:xfrm>
          <a:prstGeom prst="rect">
            <a:avLst/>
          </a:prstGeom>
        </p:spPr>
        <p:txBody>
          <a:bodyPr>
            <a:noAutofit/>
          </a:bodyPr>
          <a:lstStyle>
            <a:lvl1pPr marL="0" marR="0" indent="0" algn="l" defTabSz="914400" rtl="0" eaLnBrk="1" fontAlgn="auto" latinLnBrk="0" hangingPunct="1">
              <a:lnSpc>
                <a:spcPts val="2800"/>
              </a:lnSpc>
              <a:spcBef>
                <a:spcPts val="0"/>
              </a:spcBef>
              <a:spcAft>
                <a:spcPts val="0"/>
              </a:spcAft>
              <a:buClrTx/>
              <a:buSzTx/>
              <a:buFontTx/>
              <a:buNone/>
              <a:tabLst/>
              <a:defRPr sz="1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1</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2</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3</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4</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5</a:t>
            </a:r>
          </a:p>
          <a:p>
            <a:pPr marL="0" marR="0" lvl="0" indent="0" algn="l" defTabSz="914400" rtl="0" eaLnBrk="1" fontAlgn="auto" latinLnBrk="0" hangingPunct="1">
              <a:lnSpc>
                <a:spcPts val="28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6</a:t>
            </a:r>
          </a:p>
        </p:txBody>
      </p:sp>
      <p:sp>
        <p:nvSpPr>
          <p:cNvPr id="6" name="Text Placeholder 7">
            <a:extLst>
              <a:ext uri="{FF2B5EF4-FFF2-40B4-BE49-F238E27FC236}">
                <a16:creationId xmlns:a16="http://schemas.microsoft.com/office/drawing/2014/main" id="{E926F71C-7D89-EB45-ABD2-3AAC7C9DE771}"/>
              </a:ext>
            </a:extLst>
          </p:cNvPr>
          <p:cNvSpPr>
            <a:spLocks noGrp="1"/>
          </p:cNvSpPr>
          <p:nvPr>
            <p:ph type="body" sz="quarter" idx="19" hasCustomPrompt="1"/>
          </p:nvPr>
        </p:nvSpPr>
        <p:spPr>
          <a:xfrm>
            <a:off x="1981200" y="2756118"/>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7" name="Text Placeholder 7">
            <a:extLst>
              <a:ext uri="{FF2B5EF4-FFF2-40B4-BE49-F238E27FC236}">
                <a16:creationId xmlns:a16="http://schemas.microsoft.com/office/drawing/2014/main" id="{5B153DFF-995B-F640-90A0-4823A06F73C4}"/>
              </a:ext>
            </a:extLst>
          </p:cNvPr>
          <p:cNvSpPr>
            <a:spLocks noGrp="1"/>
          </p:cNvSpPr>
          <p:nvPr>
            <p:ph type="body" sz="quarter" idx="20" hasCustomPrompt="1"/>
          </p:nvPr>
        </p:nvSpPr>
        <p:spPr>
          <a:xfrm>
            <a:off x="1981200" y="3463786"/>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8" name="Text Placeholder 7">
            <a:extLst>
              <a:ext uri="{FF2B5EF4-FFF2-40B4-BE49-F238E27FC236}">
                <a16:creationId xmlns:a16="http://schemas.microsoft.com/office/drawing/2014/main" id="{5DE1E11D-E87A-CD48-AE55-66EF18D7680A}"/>
              </a:ext>
            </a:extLst>
          </p:cNvPr>
          <p:cNvSpPr>
            <a:spLocks noGrp="1"/>
          </p:cNvSpPr>
          <p:nvPr>
            <p:ph type="body" sz="quarter" idx="21" hasCustomPrompt="1"/>
          </p:nvPr>
        </p:nvSpPr>
        <p:spPr>
          <a:xfrm>
            <a:off x="1981200" y="4171454"/>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9" name="Text Placeholder 7">
            <a:extLst>
              <a:ext uri="{FF2B5EF4-FFF2-40B4-BE49-F238E27FC236}">
                <a16:creationId xmlns:a16="http://schemas.microsoft.com/office/drawing/2014/main" id="{B43D337D-B313-1E4B-9B5D-D8A397A302D2}"/>
              </a:ext>
            </a:extLst>
          </p:cNvPr>
          <p:cNvSpPr>
            <a:spLocks noGrp="1"/>
          </p:cNvSpPr>
          <p:nvPr>
            <p:ph type="body" sz="quarter" idx="22" hasCustomPrompt="1"/>
          </p:nvPr>
        </p:nvSpPr>
        <p:spPr>
          <a:xfrm>
            <a:off x="1981200" y="4879122"/>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10" name="Text Placeholder 7">
            <a:extLst>
              <a:ext uri="{FF2B5EF4-FFF2-40B4-BE49-F238E27FC236}">
                <a16:creationId xmlns:a16="http://schemas.microsoft.com/office/drawing/2014/main" id="{698161D2-1E08-1E46-961C-CF4CCC6EBD85}"/>
              </a:ext>
            </a:extLst>
          </p:cNvPr>
          <p:cNvSpPr>
            <a:spLocks noGrp="1"/>
          </p:cNvSpPr>
          <p:nvPr>
            <p:ph type="body" sz="quarter" idx="23" hasCustomPrompt="1"/>
          </p:nvPr>
        </p:nvSpPr>
        <p:spPr>
          <a:xfrm>
            <a:off x="1981200" y="5586790"/>
            <a:ext cx="2743200" cy="288490"/>
          </a:xfrm>
          <a:prstGeom prst="rect">
            <a:avLst/>
          </a:prstGeom>
        </p:spPr>
        <p:txBody>
          <a:bodyPr>
            <a:noAutofit/>
          </a:bodyPr>
          <a:lstStyle>
            <a:lvl1pPr marL="0" indent="0">
              <a:buFontTx/>
              <a:buNone/>
              <a:defRPr sz="1200" b="0" i="0">
                <a:latin typeface="Open Sans" panose="020B0606030504020204" pitchFamily="34" charset="0"/>
                <a:ea typeface="Open Sans" panose="020B0606030504020204" pitchFamily="34" charset="0"/>
                <a:cs typeface="Open Sans" panose="020B060603050402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a:t>Title</a:t>
            </a:r>
          </a:p>
        </p:txBody>
      </p:sp>
      <p:sp>
        <p:nvSpPr>
          <p:cNvPr id="13" name="Text Placeholder 2">
            <a:extLst>
              <a:ext uri="{FF2B5EF4-FFF2-40B4-BE49-F238E27FC236}">
                <a16:creationId xmlns:a16="http://schemas.microsoft.com/office/drawing/2014/main" id="{1713838A-99EE-8447-9EEF-5CF06DC6256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7" name="Text Placeholder 2">
            <a:extLst>
              <a:ext uri="{FF2B5EF4-FFF2-40B4-BE49-F238E27FC236}">
                <a16:creationId xmlns:a16="http://schemas.microsoft.com/office/drawing/2014/main" id="{B3930189-D57E-0649-A0B6-AD60A2B77AAD}"/>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50348958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No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Tree>
    <p:extLst>
      <p:ext uri="{BB962C8B-B14F-4D97-AF65-F5344CB8AC3E}">
        <p14:creationId xmlns:p14="http://schemas.microsoft.com/office/powerpoint/2010/main" val="275083642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2" name="Picture 1">
            <a:extLst>
              <a:ext uri="{FF2B5EF4-FFF2-40B4-BE49-F238E27FC236}">
                <a16:creationId xmlns:a16="http://schemas.microsoft.com/office/drawing/2014/main" id="{1203E795-9F4A-7695-F517-558D3F66E531}"/>
              </a:ext>
            </a:extLst>
          </p:cNvPr>
          <p:cNvPicPr>
            <a:picLocks noChangeAspect="1"/>
          </p:cNvPicPr>
          <p:nvPr userDrawn="1"/>
        </p:nvPicPr>
        <p:blipFill>
          <a:blip r:embed="rId2" cstate="email">
            <a:alphaModFix amt="45000"/>
            <a:extLst>
              <a:ext uri="{28A0092B-C50C-407E-A947-70E740481C1C}">
                <a14:useLocalDpi xmlns:a14="http://schemas.microsoft.com/office/drawing/2010/main"/>
              </a:ext>
            </a:extLst>
          </a:blip>
          <a:srcRect/>
          <a:stretch/>
        </p:blipFill>
        <p:spPr>
          <a:xfrm>
            <a:off x="-1" y="1916176"/>
            <a:ext cx="12192001" cy="4941824"/>
          </a:xfrm>
          <a:prstGeom prst="rect">
            <a:avLst/>
          </a:prstGeom>
        </p:spPr>
      </p:pic>
    </p:spTree>
    <p:extLst>
      <p:ext uri="{BB962C8B-B14F-4D97-AF65-F5344CB8AC3E}">
        <p14:creationId xmlns:p14="http://schemas.microsoft.com/office/powerpoint/2010/main" val="11348323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GB"/>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Tree>
    <p:extLst>
      <p:ext uri="{BB962C8B-B14F-4D97-AF65-F5344CB8AC3E}">
        <p14:creationId xmlns:p14="http://schemas.microsoft.com/office/powerpoint/2010/main" val="387978395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Subhead_MAF_Final">
    <p:spTree>
      <p:nvGrpSpPr>
        <p:cNvPr id="1" name=""/>
        <p:cNvGrpSpPr/>
        <p:nvPr/>
      </p:nvGrpSpPr>
      <p:grpSpPr>
        <a:xfrm>
          <a:off x="0" y="0"/>
          <a:ext cx="0" cy="0"/>
          <a:chOff x="0" y="0"/>
          <a:chExt cx="0" cy="0"/>
        </a:xfrm>
      </p:grpSpPr>
      <p:sp>
        <p:nvSpPr>
          <p:cNvPr id="2" name="Title 1"/>
          <p:cNvSpPr>
            <a:spLocks noGrp="1"/>
          </p:cNvSpPr>
          <p:nvPr>
            <p:ph type="title"/>
          </p:nvPr>
        </p:nvSpPr>
        <p:spPr>
          <a:xfrm>
            <a:off x="447674" y="469900"/>
            <a:ext cx="11277280"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457520" y="871240"/>
            <a:ext cx="11276960"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58852903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Quals_MAF_Fin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14700" y="469900"/>
            <a:ext cx="8410254" cy="732508"/>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a:t>
            </a:r>
            <a:br>
              <a:rPr lang="en-GB"/>
            </a:br>
            <a:r>
              <a:rPr lang="en-GB"/>
              <a:t>style</a:t>
            </a:r>
          </a:p>
        </p:txBody>
      </p:sp>
      <p:sp>
        <p:nvSpPr>
          <p:cNvPr id="4" name="Text Placeholder 8"/>
          <p:cNvSpPr>
            <a:spLocks noGrp="1"/>
          </p:cNvSpPr>
          <p:nvPr>
            <p:ph type="body" sz="quarter" idx="14" hasCustomPrompt="1"/>
          </p:nvPr>
        </p:nvSpPr>
        <p:spPr>
          <a:xfrm>
            <a:off x="3324464" y="1201440"/>
            <a:ext cx="8410015"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3314700" y="258008"/>
            <a:ext cx="4148419" cy="137282"/>
          </a:xfrm>
          <a:prstGeom prst="rect">
            <a:avLst/>
          </a:prstGeom>
        </p:spPr>
        <p:txBody>
          <a:bodyPr wrap="square"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
        <p:nvSpPr>
          <p:cNvPr id="8" name="Rectangle 7">
            <a:extLst>
              <a:ext uri="{FF2B5EF4-FFF2-40B4-BE49-F238E27FC236}">
                <a16:creationId xmlns:a16="http://schemas.microsoft.com/office/drawing/2014/main" id="{B7A697C8-B454-4FF3-876D-311272C237ED}"/>
              </a:ext>
            </a:extLst>
          </p:cNvPr>
          <p:cNvSpPr/>
          <p:nvPr userDrawn="1"/>
        </p:nvSpPr>
        <p:spPr>
          <a:xfrm>
            <a:off x="0" y="0"/>
            <a:ext cx="3162300"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303314630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Quals_MAF_Final">
    <p:spTree>
      <p:nvGrpSpPr>
        <p:cNvPr id="1" name=""/>
        <p:cNvGrpSpPr/>
        <p:nvPr/>
      </p:nvGrpSpPr>
      <p:grpSpPr>
        <a:xfrm>
          <a:off x="0" y="0"/>
          <a:ext cx="0" cy="0"/>
          <a:chOff x="0" y="0"/>
          <a:chExt cx="0" cy="0"/>
        </a:xfrm>
      </p:grpSpPr>
      <p:sp>
        <p:nvSpPr>
          <p:cNvPr id="2" name="Title 1"/>
          <p:cNvSpPr>
            <a:spLocks noGrp="1"/>
          </p:cNvSpPr>
          <p:nvPr>
            <p:ph type="title"/>
          </p:nvPr>
        </p:nvSpPr>
        <p:spPr>
          <a:xfrm>
            <a:off x="3314700" y="469900"/>
            <a:ext cx="8410254"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3324464" y="890290"/>
            <a:ext cx="8410015"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3314700" y="258008"/>
            <a:ext cx="4148419" cy="137282"/>
          </a:xfrm>
          <a:prstGeom prst="rect">
            <a:avLst/>
          </a:prstGeom>
        </p:spPr>
        <p:txBody>
          <a:bodyPr wrap="square"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
        <p:nvSpPr>
          <p:cNvPr id="8" name="Rectangle 7">
            <a:extLst>
              <a:ext uri="{FF2B5EF4-FFF2-40B4-BE49-F238E27FC236}">
                <a16:creationId xmlns:a16="http://schemas.microsoft.com/office/drawing/2014/main" id="{B7A697C8-B454-4FF3-876D-311272C237ED}"/>
              </a:ext>
            </a:extLst>
          </p:cNvPr>
          <p:cNvSpPr/>
          <p:nvPr userDrawn="1"/>
        </p:nvSpPr>
        <p:spPr>
          <a:xfrm>
            <a:off x="0" y="0"/>
            <a:ext cx="3162300"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387208185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 Line_Title, Subhead_MAF_Fin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368" y="469900"/>
            <a:ext cx="11277280" cy="732508"/>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a:t>
            </a:r>
            <a:br>
              <a:rPr lang="en-GB"/>
            </a:br>
            <a:r>
              <a:rPr lang="en-GB"/>
              <a:t>title style</a:t>
            </a:r>
          </a:p>
        </p:txBody>
      </p:sp>
      <p:sp>
        <p:nvSpPr>
          <p:cNvPr id="4" name="Text Placeholder 8"/>
          <p:cNvSpPr>
            <a:spLocks noGrp="1"/>
          </p:cNvSpPr>
          <p:nvPr>
            <p:ph type="body" sz="quarter" idx="14" hasCustomPrompt="1"/>
          </p:nvPr>
        </p:nvSpPr>
        <p:spPr>
          <a:xfrm>
            <a:off x="457520" y="1219577"/>
            <a:ext cx="11276960"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E2B8159F-A4D5-40E3-937B-98705B9BD881}"/>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322745033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_MAF_Final">
    <p:spTree>
      <p:nvGrpSpPr>
        <p:cNvPr id="1" name=""/>
        <p:cNvGrpSpPr/>
        <p:nvPr/>
      </p:nvGrpSpPr>
      <p:grpSpPr>
        <a:xfrm>
          <a:off x="0" y="0"/>
          <a:ext cx="0" cy="0"/>
          <a:chOff x="0" y="0"/>
          <a:chExt cx="0" cy="0"/>
        </a:xfrm>
      </p:grpSpPr>
      <p:sp>
        <p:nvSpPr>
          <p:cNvPr id="2" name="Title 1"/>
          <p:cNvSpPr>
            <a:spLocks noGrp="1"/>
          </p:cNvSpPr>
          <p:nvPr>
            <p:ph type="title"/>
          </p:nvPr>
        </p:nvSpPr>
        <p:spPr>
          <a:xfrm>
            <a:off x="447368" y="469900"/>
            <a:ext cx="11277280"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3" name="Text Placeholder 4">
            <a:extLst>
              <a:ext uri="{FF2B5EF4-FFF2-40B4-BE49-F238E27FC236}">
                <a16:creationId xmlns:a16="http://schemas.microsoft.com/office/drawing/2014/main" id="{123CCF22-4D93-482A-B4CF-D00A3C47AC95}"/>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239382133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End slide ">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922312"/>
      </p:ext>
    </p:extLst>
  </p:cSld>
  <p:clrMapOvr>
    <a:masterClrMapping/>
  </p:clrMapOvr>
  <p:hf hd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amp; subtitle_V">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BF6A0240-FC18-487D-98D5-76BC779639D6}"/>
              </a:ext>
            </a:extLst>
          </p:cNvPr>
          <p:cNvSpPr>
            <a:spLocks noGrp="1"/>
          </p:cNvSpPr>
          <p:nvPr>
            <p:ph type="body" sz="quarter" idx="13" hasCustomPrompt="1"/>
          </p:nvPr>
        </p:nvSpPr>
        <p:spPr>
          <a:xfrm>
            <a:off x="477044" y="1303277"/>
            <a:ext cx="11252200" cy="205954"/>
          </a:xfrm>
          <a:prstGeom prst="rect">
            <a:avLst/>
          </a:prstGeom>
        </p:spPr>
        <p:txBody>
          <a:bodyPr vert="horz" lIns="0" tIns="0" rIns="0" bIns="0" anchor="t" anchorCtr="0">
            <a:spAutoFit/>
          </a:bodyPr>
          <a:lstStyle>
            <a:lvl1pPr marL="0" indent="0">
              <a:spcAft>
                <a:spcPts val="600"/>
              </a:spcAft>
              <a:buNone/>
              <a:defRPr sz="1200" b="0">
                <a:solidFill>
                  <a:srgbClr val="53565A"/>
                </a:solidFill>
              </a:defRPr>
            </a:lvl1pPr>
          </a:lstStyle>
          <a:p>
            <a:pPr lvl="0"/>
            <a:r>
              <a:rPr lang="en-GB" noProof="0"/>
              <a:t>Click to add subtitle</a:t>
            </a:r>
          </a:p>
        </p:txBody>
      </p:sp>
      <p:sp>
        <p:nvSpPr>
          <p:cNvPr id="7" name="Title Placeholder 1">
            <a:extLst>
              <a:ext uri="{FF2B5EF4-FFF2-40B4-BE49-F238E27FC236}">
                <a16:creationId xmlns:a16="http://schemas.microsoft.com/office/drawing/2014/main" id="{A46DAB7F-57D4-4842-9496-B5D76065B7A1}"/>
              </a:ext>
            </a:extLst>
          </p:cNvPr>
          <p:cNvSpPr>
            <a:spLocks noGrp="1"/>
          </p:cNvSpPr>
          <p:nvPr>
            <p:ph type="title" hasCustomPrompt="1"/>
          </p:nvPr>
        </p:nvSpPr>
        <p:spPr>
          <a:xfrm>
            <a:off x="463549" y="391326"/>
            <a:ext cx="11252200" cy="861774"/>
          </a:xfrm>
          <a:prstGeom prst="rect">
            <a:avLst/>
          </a:prstGeom>
        </p:spPr>
        <p:txBody>
          <a:bodyPr vert="horz" lIns="0" tIns="0" rIns="0" bIns="0" rtlCol="0" anchor="t" anchorCtr="0">
            <a:spAutoFit/>
          </a:bodyPr>
          <a:lstStyle>
            <a:lvl1pPr>
              <a:defRPr sz="2800">
                <a:solidFill>
                  <a:schemeClr val="tx1"/>
                </a:solidFill>
              </a:defRPr>
            </a:lvl1pPr>
          </a:lstStyle>
          <a:p>
            <a:r>
              <a:rPr lang="en-GB" noProof="0"/>
              <a:t>Click to edit Master </a:t>
            </a:r>
            <a:br>
              <a:rPr lang="en-GB" noProof="0"/>
            </a:br>
            <a:r>
              <a:rPr lang="en-GB" noProof="0"/>
              <a:t>title style</a:t>
            </a:r>
          </a:p>
        </p:txBody>
      </p:sp>
      <p:sp>
        <p:nvSpPr>
          <p:cNvPr id="3" name="Text Placeholder 2">
            <a:extLst>
              <a:ext uri="{FF2B5EF4-FFF2-40B4-BE49-F238E27FC236}">
                <a16:creationId xmlns:a16="http://schemas.microsoft.com/office/drawing/2014/main" id="{ABF5C095-7887-4A15-840B-C5DF1627F2AC}"/>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429399385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Title &amp; subtitle_V">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BF6A0240-FC18-487D-98D5-76BC779639D6}"/>
              </a:ext>
            </a:extLst>
          </p:cNvPr>
          <p:cNvSpPr>
            <a:spLocks noGrp="1"/>
          </p:cNvSpPr>
          <p:nvPr>
            <p:ph type="body" sz="quarter" idx="13" hasCustomPrompt="1"/>
          </p:nvPr>
        </p:nvSpPr>
        <p:spPr>
          <a:xfrm>
            <a:off x="477044" y="858777"/>
            <a:ext cx="11252200" cy="205954"/>
          </a:xfrm>
          <a:prstGeom prst="rect">
            <a:avLst/>
          </a:prstGeom>
        </p:spPr>
        <p:txBody>
          <a:bodyPr vert="horz" lIns="0" tIns="0" rIns="0" bIns="0" anchor="t" anchorCtr="0">
            <a:spAutoFit/>
          </a:bodyPr>
          <a:lstStyle>
            <a:lvl1pPr marL="0" indent="0">
              <a:spcAft>
                <a:spcPts val="600"/>
              </a:spcAft>
              <a:buNone/>
              <a:defRPr sz="1200" b="0">
                <a:solidFill>
                  <a:srgbClr val="53565A"/>
                </a:solidFill>
              </a:defRPr>
            </a:lvl1pPr>
          </a:lstStyle>
          <a:p>
            <a:pPr lvl="0"/>
            <a:r>
              <a:rPr lang="en-GB" noProof="0"/>
              <a:t>Click to add subtitle</a:t>
            </a:r>
          </a:p>
        </p:txBody>
      </p:sp>
      <p:sp>
        <p:nvSpPr>
          <p:cNvPr id="7" name="Title Placeholder 1">
            <a:extLst>
              <a:ext uri="{FF2B5EF4-FFF2-40B4-BE49-F238E27FC236}">
                <a16:creationId xmlns:a16="http://schemas.microsoft.com/office/drawing/2014/main" id="{A46DAB7F-57D4-4842-9496-B5D76065B7A1}"/>
              </a:ext>
            </a:extLst>
          </p:cNvPr>
          <p:cNvSpPr>
            <a:spLocks noGrp="1"/>
          </p:cNvSpPr>
          <p:nvPr>
            <p:ph type="title"/>
          </p:nvPr>
        </p:nvSpPr>
        <p:spPr>
          <a:xfrm>
            <a:off x="463549" y="391326"/>
            <a:ext cx="11252200" cy="430887"/>
          </a:xfrm>
          <a:prstGeom prst="rect">
            <a:avLst/>
          </a:prstGeom>
        </p:spPr>
        <p:txBody>
          <a:bodyPr vert="horz" lIns="0" tIns="0" rIns="0" bIns="0" rtlCol="0" anchor="t" anchorCtr="0">
            <a:spAutoFit/>
          </a:bodyPr>
          <a:lstStyle>
            <a:lvl1pPr>
              <a:defRPr sz="2800">
                <a:solidFill>
                  <a:schemeClr val="tx1"/>
                </a:solidFill>
              </a:defRPr>
            </a:lvl1pPr>
          </a:lstStyle>
          <a:p>
            <a:r>
              <a:rPr lang="en-GB" noProof="0"/>
              <a:t>Click to edit Master title style</a:t>
            </a:r>
          </a:p>
        </p:txBody>
      </p:sp>
      <p:sp>
        <p:nvSpPr>
          <p:cNvPr id="3" name="Text Placeholder 2">
            <a:extLst>
              <a:ext uri="{FF2B5EF4-FFF2-40B4-BE49-F238E27FC236}">
                <a16:creationId xmlns:a16="http://schemas.microsoft.com/office/drawing/2014/main" id="{ABF5C095-7887-4A15-840B-C5DF1627F2AC}"/>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308588826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Title Only_V">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A46DAB7F-57D4-4842-9496-B5D76065B7A1}"/>
              </a:ext>
            </a:extLst>
          </p:cNvPr>
          <p:cNvSpPr>
            <a:spLocks noGrp="1"/>
          </p:cNvSpPr>
          <p:nvPr>
            <p:ph type="title"/>
          </p:nvPr>
        </p:nvSpPr>
        <p:spPr>
          <a:xfrm>
            <a:off x="463548" y="391325"/>
            <a:ext cx="11252200" cy="430887"/>
          </a:xfrm>
          <a:prstGeom prst="rect">
            <a:avLst/>
          </a:prstGeom>
        </p:spPr>
        <p:txBody>
          <a:bodyPr vert="horz" lIns="0" tIns="0" rIns="0" bIns="0" rtlCol="0" anchor="t" anchorCtr="0">
            <a:spAutoFit/>
          </a:bodyPr>
          <a:lstStyle>
            <a:lvl1pPr>
              <a:defRPr sz="2800"/>
            </a:lvl1pPr>
          </a:lstStyle>
          <a:p>
            <a:r>
              <a:rPr lang="en-GB" noProof="0"/>
              <a:t>Click to edit Master title style</a:t>
            </a:r>
          </a:p>
        </p:txBody>
      </p:sp>
      <p:sp>
        <p:nvSpPr>
          <p:cNvPr id="3" name="Text Placeholder 2">
            <a:extLst>
              <a:ext uri="{FF2B5EF4-FFF2-40B4-BE49-F238E27FC236}">
                <a16:creationId xmlns:a16="http://schemas.microsoft.com/office/drawing/2014/main" id="{5EBD8BAD-4FD1-4683-BC55-196FA87A5D3D}"/>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154408485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Impact Slides">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9F12BF97-8549-4B26-A2D2-6D2AAE82D052}"/>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122322507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ubhead_MAF_Final">
    <p:spTree>
      <p:nvGrpSpPr>
        <p:cNvPr id="1" name=""/>
        <p:cNvGrpSpPr/>
        <p:nvPr/>
      </p:nvGrpSpPr>
      <p:grpSpPr>
        <a:xfrm>
          <a:off x="0" y="0"/>
          <a:ext cx="0" cy="0"/>
          <a:chOff x="0" y="0"/>
          <a:chExt cx="0" cy="0"/>
        </a:xfrm>
      </p:grpSpPr>
      <p:sp>
        <p:nvSpPr>
          <p:cNvPr id="2" name="Title 1"/>
          <p:cNvSpPr>
            <a:spLocks noGrp="1"/>
          </p:cNvSpPr>
          <p:nvPr>
            <p:ph type="title"/>
          </p:nvPr>
        </p:nvSpPr>
        <p:spPr>
          <a:xfrm>
            <a:off x="447674" y="469900"/>
            <a:ext cx="11277280"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457520" y="871240"/>
            <a:ext cx="11276960"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14641735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Greeting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Quis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olutpa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condimentum</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elit</a:t>
            </a:r>
            <a:r>
              <a:rPr kumimoji="0" lang="en-GB"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Class </a:t>
            </a:r>
            <a:r>
              <a:rPr kumimoji="0" lang="en-GB" sz="1000" b="1" i="0" u="none" strike="noStrike" kern="1200" cap="none" spc="0" normalizeH="0" baseline="0" noProof="0" err="1">
                <a:ln>
                  <a:noFill/>
                </a:ln>
                <a:solidFill>
                  <a:srgbClr val="000000"/>
                </a:solidFill>
                <a:effectLst/>
                <a:uLnTx/>
                <a:uFillTx/>
                <a:latin typeface="+mn-lt"/>
                <a:ea typeface="+mn-ea"/>
                <a:cs typeface="+mn-cs"/>
              </a:rPr>
              <a:t>apte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aciti</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ociosqu</a:t>
            </a:r>
            <a:r>
              <a:rPr kumimoji="0" lang="en-GB" sz="1000" b="1" i="0" u="none" strike="noStrike" kern="1200" cap="none" spc="0" normalizeH="0" baseline="0" noProof="0">
                <a:ln>
                  <a:noFill/>
                </a:ln>
                <a:solidFill>
                  <a:srgbClr val="000000"/>
                </a:solidFill>
                <a:effectLst/>
                <a:uLnTx/>
                <a:uFillTx/>
                <a:latin typeface="+mn-lt"/>
                <a:ea typeface="+mn-ea"/>
                <a:cs typeface="+mn-cs"/>
              </a:rPr>
              <a:t> ad </a:t>
            </a:r>
            <a:r>
              <a:rPr kumimoji="0" lang="en-GB" sz="1000" b="1" i="0" u="none" strike="noStrike" kern="1200" cap="none" spc="0" normalizeH="0" baseline="0" noProof="0" err="1">
                <a:ln>
                  <a:noFill/>
                </a:ln>
                <a:solidFill>
                  <a:srgbClr val="000000"/>
                </a:solidFill>
                <a:effectLst/>
                <a:uLnTx/>
                <a:uFillTx/>
                <a:latin typeface="+mn-lt"/>
                <a:ea typeface="+mn-ea"/>
                <a:cs typeface="+mn-cs"/>
              </a:rPr>
              <a:t>litor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quent</a:t>
            </a:r>
            <a:r>
              <a:rPr kumimoji="0" lang="en-GB" sz="1000" b="1" i="0" u="none" strike="noStrike" kern="1200" cap="none" spc="0" normalizeH="0" baseline="0" noProof="0">
                <a:ln>
                  <a:noFill/>
                </a:ln>
                <a:solidFill>
                  <a:srgbClr val="000000"/>
                </a:solidFill>
                <a:effectLst/>
                <a:uLnTx/>
                <a:uFillTx/>
                <a:latin typeface="+mn-lt"/>
                <a:ea typeface="+mn-ea"/>
                <a:cs typeface="+mn-cs"/>
              </a:rPr>
              <a:t> per </a:t>
            </a:r>
            <a:r>
              <a:rPr kumimoji="0" lang="en-GB" sz="1000" b="1" i="0" u="none" strike="noStrike" kern="1200" cap="none" spc="0" normalizeH="0" baseline="0" noProof="0" err="1">
                <a:ln>
                  <a:noFill/>
                </a:ln>
                <a:solidFill>
                  <a:srgbClr val="000000"/>
                </a:solidFill>
                <a:effectLst/>
                <a:uLnTx/>
                <a:uFillTx/>
                <a:latin typeface="+mn-lt"/>
                <a:ea typeface="+mn-ea"/>
                <a:cs typeface="+mn-cs"/>
              </a:rPr>
              <a:t>conubia</a:t>
            </a:r>
            <a:r>
              <a:rPr kumimoji="0" lang="en-GB" sz="1000" b="1" i="0" u="none" strike="noStrike" kern="1200" cap="none" spc="0" normalizeH="0" baseline="0" noProof="0">
                <a:ln>
                  <a:noFill/>
                </a:ln>
                <a:solidFill>
                  <a:srgbClr val="000000"/>
                </a:solidFill>
                <a:effectLst/>
                <a:uLnTx/>
                <a:uFillTx/>
                <a:latin typeface="+mn-lt"/>
                <a:ea typeface="+mn-ea"/>
                <a:cs typeface="+mn-cs"/>
              </a:rPr>
              <a:t> nostra, per </a:t>
            </a:r>
            <a:r>
              <a:rPr kumimoji="0" lang="en-GB" sz="1000" b="1" i="0" u="none" strike="noStrike" kern="1200" cap="none" spc="0" normalizeH="0" baseline="0" noProof="0" err="1">
                <a:ln>
                  <a:noFill/>
                </a:ln>
                <a:solidFill>
                  <a:srgbClr val="000000"/>
                </a:solidFill>
                <a:effectLst/>
                <a:uLnTx/>
                <a:uFillTx/>
                <a:latin typeface="+mn-lt"/>
                <a:ea typeface="+mn-ea"/>
                <a:cs typeface="+mn-cs"/>
              </a:rPr>
              <a:t>incepto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Nam </a:t>
            </a:r>
            <a:r>
              <a:rPr kumimoji="0" lang="en-GB" sz="1000" b="1" i="0" u="none" strike="noStrike" kern="1200" cap="none" spc="0" normalizeH="0" baseline="0" noProof="0" err="1">
                <a:ln>
                  <a:noFill/>
                </a:ln>
                <a:solidFill>
                  <a:srgbClr val="000000"/>
                </a:solidFill>
                <a:effectLst/>
                <a:uLnTx/>
                <a:uFillTx/>
                <a:latin typeface="+mn-lt"/>
                <a:ea typeface="+mn-ea"/>
                <a:cs typeface="+mn-cs"/>
              </a:rPr>
              <a:t>nec</a:t>
            </a:r>
            <a:r>
              <a:rPr kumimoji="0" lang="en-GB" sz="1000" b="1" i="0" u="none" strike="noStrike" kern="1200" cap="none" spc="0" normalizeH="0" baseline="0" noProof="0">
                <a:ln>
                  <a:noFill/>
                </a:ln>
                <a:solidFill>
                  <a:srgbClr val="000000"/>
                </a:solidFill>
                <a:effectLst/>
                <a:uLnTx/>
                <a:uFillTx/>
                <a:latin typeface="+mn-lt"/>
                <a:ea typeface="+mn-ea"/>
                <a:cs typeface="+mn-cs"/>
              </a:rPr>
              <a:t> ante. </a:t>
            </a:r>
            <a:r>
              <a:rPr kumimoji="0" lang="en-GB" sz="1000" b="1" i="0" u="none" strike="noStrike" kern="1200" cap="none" spc="0" normalizeH="0" baseline="0" noProof="0" err="1">
                <a:ln>
                  <a:noFill/>
                </a:ln>
                <a:solidFill>
                  <a:srgbClr val="000000"/>
                </a:solidFill>
                <a:effectLst/>
                <a:uLnTx/>
                <a:uFillTx/>
                <a:latin typeface="+mn-lt"/>
                <a:ea typeface="+mn-ea"/>
                <a:cs typeface="+mn-cs"/>
              </a:rPr>
              <a:t>Sed</a:t>
            </a:r>
            <a:r>
              <a:rPr kumimoji="0" lang="en-GB" sz="1000" b="1" i="0" u="none" strike="noStrike" kern="1200" cap="none" spc="0" normalizeH="0" baseline="0" noProof="0">
                <a:ln>
                  <a:noFill/>
                </a:ln>
                <a:solidFill>
                  <a:srgbClr val="000000"/>
                </a:solidFill>
                <a:effectLst/>
                <a:uLnTx/>
                <a:uFillTx/>
                <a:latin typeface="+mn-lt"/>
                <a:ea typeface="+mn-ea"/>
                <a:cs typeface="+mn-cs"/>
              </a:rPr>
              <a:t> lacinia, </a:t>
            </a:r>
            <a:r>
              <a:rPr kumimoji="0" lang="en-GB" sz="1000" b="1" i="0" u="none" strike="noStrike" kern="1200" cap="none" spc="0" normalizeH="0" baseline="0" noProof="0" err="1">
                <a:ln>
                  <a:noFill/>
                </a:ln>
                <a:solidFill>
                  <a:srgbClr val="000000"/>
                </a:solidFill>
                <a:effectLst/>
                <a:uLnTx/>
                <a:uFillTx/>
                <a:latin typeface="+mn-lt"/>
                <a:ea typeface="+mn-ea"/>
                <a:cs typeface="+mn-cs"/>
              </a:rPr>
              <a:t>urna</a:t>
            </a:r>
            <a:r>
              <a:rPr kumimoji="0" lang="en-GB" sz="1000" b="1" i="0" u="none" strike="noStrike" kern="1200" cap="none" spc="0" normalizeH="0" baseline="0" noProof="0">
                <a:ln>
                  <a:noFill/>
                </a:ln>
                <a:solidFill>
                  <a:srgbClr val="000000"/>
                </a:solidFill>
                <a:effectLst/>
                <a:uLnTx/>
                <a:uFillTx/>
                <a:latin typeface="+mn-lt"/>
                <a:ea typeface="+mn-ea"/>
                <a:cs typeface="+mn-cs"/>
              </a:rPr>
              <a:t> non </a:t>
            </a:r>
            <a:r>
              <a:rPr kumimoji="0" lang="en-GB" sz="1000" b="1" i="0" u="none" strike="noStrike" kern="1200" cap="none" spc="0" normalizeH="0" baseline="0" noProof="0" err="1">
                <a:ln>
                  <a:noFill/>
                </a:ln>
                <a:solidFill>
                  <a:srgbClr val="000000"/>
                </a:solidFill>
                <a:effectLst/>
                <a:uLnTx/>
                <a:uFillTx/>
                <a:latin typeface="+mn-lt"/>
                <a:ea typeface="+mn-ea"/>
                <a:cs typeface="+mn-cs"/>
              </a:rPr>
              <a:t>tincidu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matt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tor</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e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adipiscing</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diam</a:t>
            </a:r>
            <a:r>
              <a:rPr kumimoji="0" lang="en-GB" sz="1000" b="1" i="0" u="none" strike="noStrike" kern="1200" cap="none" spc="0" normalizeH="0" baseline="0" noProof="0">
                <a:ln>
                  <a:noFill/>
                </a:ln>
                <a:solidFill>
                  <a:srgbClr val="000000"/>
                </a:solidFill>
                <a:effectLst/>
                <a:uLnTx/>
                <a:uFillTx/>
                <a:latin typeface="+mn-lt"/>
                <a:ea typeface="+mn-ea"/>
                <a:cs typeface="+mn-cs"/>
              </a:rPr>
              <a:t>, a cursus ipsum ante </a:t>
            </a:r>
            <a:r>
              <a:rPr kumimoji="0" lang="en-GB" sz="1000" b="1" i="0" u="none" strike="noStrike" kern="1200" cap="none" spc="0" normalizeH="0" baseline="0" noProof="0" err="1">
                <a:ln>
                  <a:noFill/>
                </a:ln>
                <a:solidFill>
                  <a:srgbClr val="000000"/>
                </a:solidFill>
                <a:effectLst/>
                <a:uLnTx/>
                <a:uFillTx/>
                <a:latin typeface="+mn-lt"/>
                <a:ea typeface="+mn-ea"/>
                <a:cs typeface="+mn-cs"/>
              </a:rPr>
              <a:t>qu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urpi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Nu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facilisi</a:t>
            </a:r>
            <a:r>
              <a:rPr kumimoji="0" lang="en-GB" sz="1000" b="1" i="0" u="none" strike="noStrike" kern="1200" cap="none" spc="0" normalizeH="0" baseline="0" noProof="0">
                <a:ln>
                  <a:noFill/>
                </a:ln>
                <a:solidFill>
                  <a:srgbClr val="000000"/>
                </a:solidFill>
                <a:effectLst/>
                <a:uLnTx/>
                <a:uFillTx/>
                <a:latin typeface="+mn-lt"/>
                <a:ea typeface="+mn-ea"/>
                <a:cs typeface="+mn-cs"/>
              </a:rPr>
              <a:t>. Ut </a:t>
            </a:r>
            <a:r>
              <a:rPr kumimoji="0" lang="en-GB" sz="1000" b="1" i="0" u="none" strike="noStrike" kern="1200" cap="none" spc="0" normalizeH="0" baseline="0" noProof="0" err="1">
                <a:ln>
                  <a:noFill/>
                </a:ln>
                <a:solidFill>
                  <a:srgbClr val="000000"/>
                </a:solidFill>
                <a:effectLst/>
                <a:uLnTx/>
                <a:uFillTx/>
                <a:latin typeface="+mn-lt"/>
                <a:ea typeface="+mn-ea"/>
                <a:cs typeface="+mn-cs"/>
              </a:rPr>
              <a:t>fringi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uspendiss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potenti</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GB" sz="1000" b="1" i="0" u="none" strike="noStrike" kern="1200" cap="none" spc="0" normalizeH="0" baseline="0" noProof="0" err="1">
                <a:ln>
                  <a:noFill/>
                </a:ln>
                <a:solidFill>
                  <a:srgbClr val="000000"/>
                </a:solidFill>
                <a:effectLst/>
                <a:uLnTx/>
                <a:uFillTx/>
                <a:latin typeface="+mn-lt"/>
                <a:ea typeface="+mn-ea"/>
                <a:cs typeface="+mn-cs"/>
              </a:rPr>
              <a:t>arcu</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ege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ulla</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cxnSp>
        <p:nvCxnSpPr>
          <p:cNvPr id="15" name="Straight Connector 14">
            <a:extLst>
              <a:ext uri="{FF2B5EF4-FFF2-40B4-BE49-F238E27FC236}">
                <a16:creationId xmlns:a16="http://schemas.microsoft.com/office/drawing/2014/main" id="{45EAAC76-D81F-C040-9284-FE1D7DE2EED5}"/>
              </a:ext>
            </a:extLst>
          </p:cNvPr>
          <p:cNvCxnSpPr/>
          <p:nvPr userDrawn="1"/>
        </p:nvCxnSpPr>
        <p:spPr>
          <a:xfrm>
            <a:off x="9036424" y="1532965"/>
            <a:ext cx="0" cy="457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E0EF246-E81C-E742-862F-0B0A666D89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1508597"/>
            <a:ext cx="1125274" cy="434503"/>
          </a:xfrm>
          <a:prstGeom prst="rect">
            <a:avLst/>
          </a:prstGeom>
        </p:spPr>
      </p:pic>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pic>
        <p:nvPicPr>
          <p:cNvPr id="18" name="Picture 17">
            <a:extLst>
              <a:ext uri="{FF2B5EF4-FFF2-40B4-BE49-F238E27FC236}">
                <a16:creationId xmlns:a16="http://schemas.microsoft.com/office/drawing/2014/main" id="{ED6CF4E5-6D19-2545-9B0F-2A46658423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2895600"/>
            <a:ext cx="1125274" cy="434503"/>
          </a:xfrm>
          <a:prstGeom prst="rect">
            <a:avLst/>
          </a:prstGeom>
        </p:spPr>
      </p:pic>
      <p:sp>
        <p:nvSpPr>
          <p:cNvPr id="19" name="Text Placeholder 8">
            <a:extLst>
              <a:ext uri="{FF2B5EF4-FFF2-40B4-BE49-F238E27FC236}">
                <a16:creationId xmlns:a16="http://schemas.microsoft.com/office/drawing/2014/main" id="{5467000A-4742-A14C-8185-C89BEECC42FF}"/>
              </a:ext>
            </a:extLst>
          </p:cNvPr>
          <p:cNvSpPr>
            <a:spLocks noGrp="1"/>
          </p:cNvSpPr>
          <p:nvPr>
            <p:ph type="body" sz="quarter" idx="17" hasCustomPrompt="1"/>
          </p:nvPr>
        </p:nvSpPr>
        <p:spPr>
          <a:xfrm>
            <a:off x="9296400" y="47295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pic>
        <p:nvPicPr>
          <p:cNvPr id="20" name="Picture 19">
            <a:extLst>
              <a:ext uri="{FF2B5EF4-FFF2-40B4-BE49-F238E27FC236}">
                <a16:creationId xmlns:a16="http://schemas.microsoft.com/office/drawing/2014/main" id="{E9456665-D12E-DB4F-A2B4-8153DB942B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4267200"/>
            <a:ext cx="1125274" cy="434503"/>
          </a:xfrm>
          <a:prstGeom prst="rect">
            <a:avLst/>
          </a:prstGeom>
        </p:spPr>
      </p:pic>
    </p:spTree>
    <p:extLst>
      <p:ext uri="{BB962C8B-B14F-4D97-AF65-F5344CB8AC3E}">
        <p14:creationId xmlns:p14="http://schemas.microsoft.com/office/powerpoint/2010/main" val="3840068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2_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2913689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Large Title -  Messaging - Color Background">
    <p:bg>
      <p:bgPr>
        <a:solidFill>
          <a:schemeClr val="accent2"/>
        </a:solidFill>
        <a:effectLst/>
      </p:bgPr>
    </p:bg>
    <p:spTree>
      <p:nvGrpSpPr>
        <p:cNvPr id="1" name=""/>
        <p:cNvGrpSpPr/>
        <p:nvPr/>
      </p:nvGrpSpPr>
      <p:grpSpPr>
        <a:xfrm>
          <a:off x="0" y="0"/>
          <a:ext cx="0" cy="0"/>
          <a:chOff x="0" y="0"/>
          <a:chExt cx="0" cy="0"/>
        </a:xfrm>
      </p:grpSpPr>
      <p:pic>
        <p:nvPicPr>
          <p:cNvPr id="6" name="Picture 5" descr="An organic human figure drawn in loose white brush strokes on a background of light blue">
            <a:extLst>
              <a:ext uri="{FF2B5EF4-FFF2-40B4-BE49-F238E27FC236}">
                <a16:creationId xmlns:a16="http://schemas.microsoft.com/office/drawing/2014/main" id="{BE72E9CE-09AF-F84C-AD04-9D83DD83BD2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071731"/>
            <a:ext cx="5383369" cy="4786269"/>
          </a:xfrm>
          <a:prstGeom prst="rect">
            <a:avLst/>
          </a:prstGeom>
        </p:spPr>
      </p:pic>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8" name="Title Placeholder 1">
            <a:extLst>
              <a:ext uri="{FF2B5EF4-FFF2-40B4-BE49-F238E27FC236}">
                <a16:creationId xmlns:a16="http://schemas.microsoft.com/office/drawing/2014/main" id="{90194FF2-8221-9649-9FD2-0C3EDEDE0177}"/>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p:txBody>
      </p:sp>
    </p:spTree>
    <p:extLst>
      <p:ext uri="{BB962C8B-B14F-4D97-AF65-F5344CB8AC3E}">
        <p14:creationId xmlns:p14="http://schemas.microsoft.com/office/powerpoint/2010/main" val="337807845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and Subhead: No Content - Color Background">
    <p:bg>
      <p:bgPr>
        <a:solidFill>
          <a:schemeClr val="accent3"/>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1497540856"/>
      </p:ext>
    </p:extLst>
  </p:cSld>
  <p:clrMapOvr>
    <a:masterClrMapping/>
  </p:clrMapOvr>
  <p:transition>
    <p:fade/>
  </p:transition>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itle and Subhead: 3 Column - Breadcrumbs">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D1FA0000-C94E-E149-9623-BD66BFB0643F}"/>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3" name="Text Placeholder 7">
            <a:extLst>
              <a:ext uri="{FF2B5EF4-FFF2-40B4-BE49-F238E27FC236}">
                <a16:creationId xmlns:a16="http://schemas.microsoft.com/office/drawing/2014/main" id="{A8B5101F-02F4-F644-B829-A903E6C5AF82}"/>
              </a:ext>
            </a:extLst>
          </p:cNvPr>
          <p:cNvSpPr>
            <a:spLocks noGrp="1"/>
          </p:cNvSpPr>
          <p:nvPr>
            <p:ph type="body" sz="quarter" idx="17"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
        <p:nvSpPr>
          <p:cNvPr id="3" name="Text Placeholder 2">
            <a:extLst>
              <a:ext uri="{FF2B5EF4-FFF2-40B4-BE49-F238E27FC236}">
                <a16:creationId xmlns:a16="http://schemas.microsoft.com/office/drawing/2014/main" id="{9A91C994-DD05-CB44-8508-2A07253626FD}"/>
              </a:ext>
            </a:extLst>
          </p:cNvPr>
          <p:cNvSpPr>
            <a:spLocks noGrp="1"/>
          </p:cNvSpPr>
          <p:nvPr>
            <p:ph type="body" sz="quarter" idx="18" hasCustomPrompt="1"/>
          </p:nvPr>
        </p:nvSpPr>
        <p:spPr>
          <a:xfrm>
            <a:off x="914399"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4" name="Text Placeholder 2">
            <a:extLst>
              <a:ext uri="{FF2B5EF4-FFF2-40B4-BE49-F238E27FC236}">
                <a16:creationId xmlns:a16="http://schemas.microsoft.com/office/drawing/2014/main" id="{62BE551D-14EE-544A-8F49-DE7C4E74B109}"/>
              </a:ext>
            </a:extLst>
          </p:cNvPr>
          <p:cNvSpPr>
            <a:spLocks noGrp="1"/>
          </p:cNvSpPr>
          <p:nvPr>
            <p:ph type="body" sz="quarter" idx="19" hasCustomPrompt="1"/>
          </p:nvPr>
        </p:nvSpPr>
        <p:spPr>
          <a:xfrm>
            <a:off x="4410635"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8" name="Text Placeholder 2">
            <a:extLst>
              <a:ext uri="{FF2B5EF4-FFF2-40B4-BE49-F238E27FC236}">
                <a16:creationId xmlns:a16="http://schemas.microsoft.com/office/drawing/2014/main" id="{8F694449-2177-6F4F-978A-F254F736AAED}"/>
              </a:ext>
            </a:extLst>
          </p:cNvPr>
          <p:cNvSpPr>
            <a:spLocks noGrp="1"/>
          </p:cNvSpPr>
          <p:nvPr>
            <p:ph type="body" sz="quarter" idx="21" hasCustomPrompt="1"/>
          </p:nvPr>
        </p:nvSpPr>
        <p:spPr>
          <a:xfrm>
            <a:off x="7893423"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9" name="Text Placeholder 2">
            <a:extLst>
              <a:ext uri="{FF2B5EF4-FFF2-40B4-BE49-F238E27FC236}">
                <a16:creationId xmlns:a16="http://schemas.microsoft.com/office/drawing/2014/main" id="{AA02C6BE-9131-7144-A89D-17B9B6BF1F0F}"/>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20" name="Text Placeholder 2">
            <a:extLst>
              <a:ext uri="{FF2B5EF4-FFF2-40B4-BE49-F238E27FC236}">
                <a16:creationId xmlns:a16="http://schemas.microsoft.com/office/drawing/2014/main" id="{E2674560-4F3C-1240-A50E-2F71A3F4C759}"/>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191997750"/>
      </p:ext>
    </p:extLst>
  </p:cSld>
  <p:clrMapOvr>
    <a:masterClrMapping/>
  </p:clrMapOvr>
  <p:transition>
    <p:fade/>
  </p:transition>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itle and Subhead: Tier Messaging - Breadcrumbs">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6FFB0421-D2FD-3D4E-B9B1-06F317B8D040}"/>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7" name="Text Placeholder 13">
            <a:extLst>
              <a:ext uri="{FF2B5EF4-FFF2-40B4-BE49-F238E27FC236}">
                <a16:creationId xmlns:a16="http://schemas.microsoft.com/office/drawing/2014/main" id="{8D30F071-F953-AE45-848C-4A88A58ABD6A}"/>
              </a:ext>
            </a:extLst>
          </p:cNvPr>
          <p:cNvSpPr>
            <a:spLocks noGrp="1"/>
          </p:cNvSpPr>
          <p:nvPr>
            <p:ph type="body" sz="quarter" idx="17"/>
          </p:nvPr>
        </p:nvSpPr>
        <p:spPr>
          <a:xfrm>
            <a:off x="914400" y="4149912"/>
            <a:ext cx="9296400" cy="1121336"/>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endParaRPr lang="en-GB"/>
          </a:p>
        </p:txBody>
      </p:sp>
      <p:sp>
        <p:nvSpPr>
          <p:cNvPr id="8" name="Text Placeholder 10">
            <a:extLst>
              <a:ext uri="{FF2B5EF4-FFF2-40B4-BE49-F238E27FC236}">
                <a16:creationId xmlns:a16="http://schemas.microsoft.com/office/drawing/2014/main" id="{463985F8-E7E2-514E-B644-AA0D3303D0F2}"/>
              </a:ext>
            </a:extLst>
          </p:cNvPr>
          <p:cNvSpPr>
            <a:spLocks noGrp="1"/>
          </p:cNvSpPr>
          <p:nvPr>
            <p:ph type="body" sz="quarter" idx="16" hasCustomPrompt="1"/>
          </p:nvPr>
        </p:nvSpPr>
        <p:spPr>
          <a:xfrm>
            <a:off x="914400" y="1943256"/>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1" name="Text Placeholder 2">
            <a:extLst>
              <a:ext uri="{FF2B5EF4-FFF2-40B4-BE49-F238E27FC236}">
                <a16:creationId xmlns:a16="http://schemas.microsoft.com/office/drawing/2014/main" id="{0DDFE1B1-9364-4E44-BE5A-008902C9708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5561B028-51AA-784D-A4C9-A82067CB3850}"/>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112695949"/>
      </p:ext>
    </p:extLst>
  </p:cSld>
  <p:clrMapOvr>
    <a:masterClrMapping/>
  </p:clrMapOvr>
  <p:transition>
    <p:fade/>
  </p:transition>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and Subhead: 3 Column with Footer - Breadcrumb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B08EE29-A03A-C342-B34E-CB43983D5274}"/>
              </a:ext>
            </a:extLst>
          </p:cNvPr>
          <p:cNvCxnSpPr>
            <a:cxnSpLocks/>
          </p:cNvCxnSpPr>
          <p:nvPr userDrawn="1"/>
        </p:nvCxnSpPr>
        <p:spPr>
          <a:xfrm>
            <a:off x="912813" y="5734285"/>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902960"/>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90327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p>
        </p:txBody>
      </p:sp>
      <p:sp>
        <p:nvSpPr>
          <p:cNvPr id="21" name="Title Placeholder 1">
            <a:extLst>
              <a:ext uri="{FF2B5EF4-FFF2-40B4-BE49-F238E27FC236}">
                <a16:creationId xmlns:a16="http://schemas.microsoft.com/office/drawing/2014/main" id="{587A59F8-B5A7-7543-BCD3-6D3B96423664}"/>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25" name="Text Placeholder 9">
            <a:extLst>
              <a:ext uri="{FF2B5EF4-FFF2-40B4-BE49-F238E27FC236}">
                <a16:creationId xmlns:a16="http://schemas.microsoft.com/office/drawing/2014/main" id="{5B8C51D7-FE3E-D842-9B2F-5F0C99510C05}"/>
              </a:ext>
            </a:extLst>
          </p:cNvPr>
          <p:cNvSpPr>
            <a:spLocks noGrp="1"/>
          </p:cNvSpPr>
          <p:nvPr>
            <p:ph type="body" sz="quarter" idx="18" hasCustomPrompt="1"/>
          </p:nvPr>
        </p:nvSpPr>
        <p:spPr>
          <a:xfrm>
            <a:off x="914400" y="2329329"/>
            <a:ext cx="30099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26" name="Text Placeholder 9">
            <a:extLst>
              <a:ext uri="{FF2B5EF4-FFF2-40B4-BE49-F238E27FC236}">
                <a16:creationId xmlns:a16="http://schemas.microsoft.com/office/drawing/2014/main" id="{39EC3C5A-1CBC-4942-8736-3D6B4698E09A}"/>
              </a:ext>
            </a:extLst>
          </p:cNvPr>
          <p:cNvSpPr>
            <a:spLocks noGrp="1"/>
          </p:cNvSpPr>
          <p:nvPr>
            <p:ph type="body" sz="quarter" idx="19" hasCustomPrompt="1"/>
          </p:nvPr>
        </p:nvSpPr>
        <p:spPr>
          <a:xfrm>
            <a:off x="4613478"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a:t>
            </a:r>
          </a:p>
          <a:p>
            <a:pPr lvl="0"/>
            <a:endParaRPr lang="en-GB"/>
          </a:p>
          <a:p>
            <a:pPr lvl="0"/>
            <a:r>
              <a:rPr lang="en-GB"/>
              <a:t>Aenean </a:t>
            </a:r>
            <a:r>
              <a:rPr lang="en-GB" err="1"/>
              <a:t>suspendisse</a:t>
            </a:r>
            <a:r>
              <a:rPr lang="en-GB"/>
              <a:t> fames </a:t>
            </a:r>
          </a:p>
          <a:p>
            <a:pPr lvl="0"/>
            <a:r>
              <a:rPr lang="en-GB" err="1"/>
              <a:t>Facilisis</a:t>
            </a:r>
            <a:r>
              <a:rPr lang="en-GB"/>
              <a:t> </a:t>
            </a:r>
            <a:r>
              <a:rPr lang="en-GB" err="1"/>
              <a:t>est</a:t>
            </a:r>
            <a:r>
              <a:rPr lang="en-GB"/>
              <a:t> </a:t>
            </a:r>
            <a:r>
              <a:rPr lang="en-GB" err="1"/>
              <a:t>porttitor</a:t>
            </a:r>
            <a:r>
              <a:rPr lang="en-GB"/>
              <a:t> </a:t>
            </a:r>
            <a:r>
              <a:rPr lang="en-GB" err="1"/>
              <a:t>sed</a:t>
            </a:r>
            <a:r>
              <a:rPr lang="en-GB"/>
              <a:t> </a:t>
            </a:r>
            <a:r>
              <a:rPr lang="en-GB" err="1"/>
              <a:t>nec</a:t>
            </a:r>
            <a:r>
              <a:rPr lang="en-GB"/>
              <a:t> </a:t>
            </a:r>
            <a:r>
              <a:rPr lang="en-GB" err="1"/>
              <a:t>scelerisque</a:t>
            </a:r>
            <a:r>
              <a:rPr lang="en-GB"/>
              <a:t> </a:t>
            </a:r>
            <a:r>
              <a:rPr lang="en-GB" err="1"/>
              <a:t>urna</a:t>
            </a:r>
            <a:r>
              <a:rPr lang="en-GB"/>
              <a:t> </a:t>
            </a:r>
            <a:r>
              <a:rPr lang="en-GB" err="1"/>
              <a:t>aptent</a:t>
            </a:r>
            <a:r>
              <a:rPr lang="en-GB"/>
              <a:t> </a:t>
            </a:r>
            <a:r>
              <a:rPr lang="en-GB" err="1"/>
              <a:t>nisl</a:t>
            </a:r>
            <a:r>
              <a:rPr lang="en-GB"/>
              <a:t> </a:t>
            </a:r>
            <a:r>
              <a:rPr lang="en-GB" err="1"/>
              <a:t>curae</a:t>
            </a:r>
            <a:r>
              <a:rPr lang="en-GB"/>
              <a:t> </a:t>
            </a:r>
            <a:r>
              <a:rPr lang="en-GB" err="1"/>
              <a:t>adipiscing</a:t>
            </a:r>
            <a:r>
              <a:rPr lang="en-GB"/>
              <a:t>, fermentum </a:t>
            </a:r>
            <a:r>
              <a:rPr lang="en-GB" err="1"/>
              <a:t>curabr</a:t>
            </a:r>
            <a:r>
              <a:rPr lang="en-GB"/>
              <a:t> </a:t>
            </a:r>
            <a:r>
              <a:rPr lang="en-GB" err="1"/>
              <a:t>enim</a:t>
            </a:r>
            <a:r>
              <a:rPr lang="en-GB"/>
              <a:t> auctor </a:t>
            </a:r>
            <a:r>
              <a:rPr lang="en-GB" err="1"/>
              <a:t>massa</a:t>
            </a:r>
            <a:r>
              <a:rPr lang="en-GB"/>
              <a:t> integer fames </a:t>
            </a:r>
            <a:r>
              <a:rPr lang="en-GB" err="1"/>
              <a:t>purus</a:t>
            </a:r>
            <a:r>
              <a:rPr lang="en-GB"/>
              <a:t> in.</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a:t>
            </a:r>
          </a:p>
        </p:txBody>
      </p:sp>
      <p:sp>
        <p:nvSpPr>
          <p:cNvPr id="27" name="Text Placeholder 9">
            <a:extLst>
              <a:ext uri="{FF2B5EF4-FFF2-40B4-BE49-F238E27FC236}">
                <a16:creationId xmlns:a16="http://schemas.microsoft.com/office/drawing/2014/main" id="{5FB42339-0512-FF4A-A3AB-61E340CC01DE}"/>
              </a:ext>
            </a:extLst>
          </p:cNvPr>
          <p:cNvSpPr>
            <a:spLocks noGrp="1"/>
          </p:cNvSpPr>
          <p:nvPr>
            <p:ph type="body" sz="quarter" idx="20" hasCustomPrompt="1"/>
          </p:nvPr>
        </p:nvSpPr>
        <p:spPr>
          <a:xfrm>
            <a:off x="8269941"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4" name="Text Placeholder 2">
            <a:extLst>
              <a:ext uri="{FF2B5EF4-FFF2-40B4-BE49-F238E27FC236}">
                <a16:creationId xmlns:a16="http://schemas.microsoft.com/office/drawing/2014/main" id="{D06929EA-D49D-4F46-A84D-6D323E890B91}"/>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5" name="Text Placeholder 2">
            <a:extLst>
              <a:ext uri="{FF2B5EF4-FFF2-40B4-BE49-F238E27FC236}">
                <a16:creationId xmlns:a16="http://schemas.microsoft.com/office/drawing/2014/main" id="{59D9BD63-561E-7641-BD15-6DD81F5FA291}"/>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2118685955"/>
      </p:ext>
    </p:extLst>
  </p:cSld>
  <p:clrMapOvr>
    <a:masterClrMapping/>
  </p:clrMapOvr>
  <p:transition>
    <p:fade/>
  </p:transition>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 and Subhead: Sidebar - 3 Column Highlight - 1 - Breadcrumb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D460F9-EB1A-804D-B6A6-90FD865587A1}"/>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a:endParaRPr lang="en-GB"/>
          </a:p>
        </p:txBody>
      </p:sp>
      <p:sp>
        <p:nvSpPr>
          <p:cNvPr id="14" name="Text Placeholder 7">
            <a:extLst>
              <a:ext uri="{FF2B5EF4-FFF2-40B4-BE49-F238E27FC236}">
                <a16:creationId xmlns:a16="http://schemas.microsoft.com/office/drawing/2014/main" id="{50FD3A15-BD8B-E34B-BC34-50978AF2D590}"/>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9">
            <a:extLst>
              <a:ext uri="{FF2B5EF4-FFF2-40B4-BE49-F238E27FC236}">
                <a16:creationId xmlns:a16="http://schemas.microsoft.com/office/drawing/2014/main" id="{8C0AE4FA-D2A5-C24F-B394-2F06B8655D73}"/>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6" name="Text Placeholder 9">
            <a:extLst>
              <a:ext uri="{FF2B5EF4-FFF2-40B4-BE49-F238E27FC236}">
                <a16:creationId xmlns:a16="http://schemas.microsoft.com/office/drawing/2014/main" id="{145DA036-2645-6A4B-AAB9-D5649DF2BE66}"/>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7" name="Text Placeholder 9">
            <a:extLst>
              <a:ext uri="{FF2B5EF4-FFF2-40B4-BE49-F238E27FC236}">
                <a16:creationId xmlns:a16="http://schemas.microsoft.com/office/drawing/2014/main" id="{F2697B8C-43B6-9A45-932F-FFADB537D4C2}"/>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solidFill>
                  <a:schemeClr val="tx1"/>
                </a:solidFill>
              </a:defRPr>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8" name="Text Placeholder 2">
            <a:extLst>
              <a:ext uri="{FF2B5EF4-FFF2-40B4-BE49-F238E27FC236}">
                <a16:creationId xmlns:a16="http://schemas.microsoft.com/office/drawing/2014/main" id="{423A93C1-26C8-7246-A60C-C403CB759C6E}"/>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356F363A-A759-A646-97B7-B063F02DC54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9" name="Text Placeholder 2">
            <a:extLst>
              <a:ext uri="{FF2B5EF4-FFF2-40B4-BE49-F238E27FC236}">
                <a16:creationId xmlns:a16="http://schemas.microsoft.com/office/drawing/2014/main" id="{A67CC57D-A7D1-434A-84AB-06E26C1EDEB1}"/>
              </a:ext>
            </a:extLst>
          </p:cNvPr>
          <p:cNvSpPr>
            <a:spLocks noGrp="1"/>
          </p:cNvSpPr>
          <p:nvPr>
            <p:ph type="body" sz="quarter" idx="26" hasCustomPrompt="1"/>
          </p:nvPr>
        </p:nvSpPr>
        <p:spPr>
          <a:xfrm>
            <a:off x="1986247" y="495992"/>
            <a:ext cx="1938053"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492921125"/>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itle and Subhead: Sidebar - 3 Column Highlight - 2 - Breadcrumb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D460F9-EB1A-804D-B6A6-90FD865587A1}"/>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ext Placeholder 10">
            <a:extLst>
              <a:ext uri="{FF2B5EF4-FFF2-40B4-BE49-F238E27FC236}">
                <a16:creationId xmlns:a16="http://schemas.microsoft.com/office/drawing/2014/main" id="{C55C4337-5BFE-F74F-BFD1-A76C1C03F250}"/>
              </a:ext>
            </a:extLst>
          </p:cNvPr>
          <p:cNvSpPr>
            <a:spLocks noGrp="1"/>
          </p:cNvSpPr>
          <p:nvPr>
            <p:ph type="body" sz="quarter" idx="18" hasCustomPrompt="1"/>
          </p:nvPr>
        </p:nvSpPr>
        <p:spPr>
          <a:xfrm>
            <a:off x="4955394"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5" name="Text Placeholder 10">
            <a:extLst>
              <a:ext uri="{FF2B5EF4-FFF2-40B4-BE49-F238E27FC236}">
                <a16:creationId xmlns:a16="http://schemas.microsoft.com/office/drawing/2014/main" id="{05808D96-A577-AF40-9D56-1FF43AA9660E}"/>
              </a:ext>
            </a:extLst>
          </p:cNvPr>
          <p:cNvSpPr>
            <a:spLocks noGrp="1"/>
          </p:cNvSpPr>
          <p:nvPr>
            <p:ph type="body" sz="quarter" idx="19" hasCustomPrompt="1"/>
          </p:nvPr>
        </p:nvSpPr>
        <p:spPr>
          <a:xfrm>
            <a:off x="8135112"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7" name="Text Placeholder 16">
            <a:extLst>
              <a:ext uri="{FF2B5EF4-FFF2-40B4-BE49-F238E27FC236}">
                <a16:creationId xmlns:a16="http://schemas.microsoft.com/office/drawing/2014/main" id="{A80E9A9B-D905-6744-B429-EF79B075874D}"/>
              </a:ext>
            </a:extLst>
          </p:cNvPr>
          <p:cNvSpPr>
            <a:spLocks noGrp="1"/>
          </p:cNvSpPr>
          <p:nvPr>
            <p:ph type="body" sz="quarter" idx="20" hasCustomPrompt="1"/>
          </p:nvPr>
        </p:nvSpPr>
        <p:spPr>
          <a:xfrm>
            <a:off x="4953000" y="3429000"/>
            <a:ext cx="6286500" cy="19288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4" name="Text Placeholder 7">
            <a:extLst>
              <a:ext uri="{FF2B5EF4-FFF2-40B4-BE49-F238E27FC236}">
                <a16:creationId xmlns:a16="http://schemas.microsoft.com/office/drawing/2014/main" id="{5C6CFBB4-2358-3847-A891-56DD4504D08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6" name="Text Placeholder 2">
            <a:extLst>
              <a:ext uri="{FF2B5EF4-FFF2-40B4-BE49-F238E27FC236}">
                <a16:creationId xmlns:a16="http://schemas.microsoft.com/office/drawing/2014/main" id="{FCA932F0-619D-AC43-A797-7FE8DE7E0665}"/>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DD4982B0-1368-6A44-BF22-6DB52D72F7C6}"/>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8" name="Text Placeholder 2">
            <a:extLst>
              <a:ext uri="{FF2B5EF4-FFF2-40B4-BE49-F238E27FC236}">
                <a16:creationId xmlns:a16="http://schemas.microsoft.com/office/drawing/2014/main" id="{EBA3A501-B27D-E948-A2CA-6A950EDD8E9D}"/>
              </a:ext>
            </a:extLst>
          </p:cNvPr>
          <p:cNvSpPr>
            <a:spLocks noGrp="1"/>
          </p:cNvSpPr>
          <p:nvPr>
            <p:ph type="body" sz="quarter" idx="26" hasCustomPrompt="1"/>
          </p:nvPr>
        </p:nvSpPr>
        <p:spPr>
          <a:xfrm>
            <a:off x="1986247" y="495992"/>
            <a:ext cx="2266776"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902319255"/>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and Subhead: Sidebar - No Content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itle Placeholder 1">
            <a:extLst>
              <a:ext uri="{FF2B5EF4-FFF2-40B4-BE49-F238E27FC236}">
                <a16:creationId xmlns:a16="http://schemas.microsoft.com/office/drawing/2014/main" id="{CCC8559E-F5E2-0347-840E-E629DC9F61B5}"/>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5" name="Text Placeholder 7">
            <a:extLst>
              <a:ext uri="{FF2B5EF4-FFF2-40B4-BE49-F238E27FC236}">
                <a16:creationId xmlns:a16="http://schemas.microsoft.com/office/drawing/2014/main" id="{6627A73F-C8F9-C143-A124-0C1DFBD38A80}"/>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0" name="Text Placeholder 2">
            <a:extLst>
              <a:ext uri="{FF2B5EF4-FFF2-40B4-BE49-F238E27FC236}">
                <a16:creationId xmlns:a16="http://schemas.microsoft.com/office/drawing/2014/main" id="{D928B8B3-E1F7-A641-89DC-53E0F210579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148AE39B-AB7A-B24E-96E2-9B3F4693BD1E}"/>
              </a:ext>
            </a:extLst>
          </p:cNvPr>
          <p:cNvSpPr>
            <a:spLocks noGrp="1"/>
          </p:cNvSpPr>
          <p:nvPr>
            <p:ph type="body" sz="quarter" idx="26" hasCustomPrompt="1"/>
          </p:nvPr>
        </p:nvSpPr>
        <p:spPr>
          <a:xfrm>
            <a:off x="1986247" y="495992"/>
            <a:ext cx="2713344"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810640741"/>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ASTER LAYOUT SLIDE">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pic>
        <p:nvPicPr>
          <p:cNvPr id="3" name="Picture 2">
            <a:extLst>
              <a:ext uri="{FF2B5EF4-FFF2-40B4-BE49-F238E27FC236}">
                <a16:creationId xmlns:a16="http://schemas.microsoft.com/office/drawing/2014/main" id="{2F851A98-358C-BA47-569A-0AE0A42024B3}"/>
              </a:ext>
            </a:extLst>
          </p:cNvPr>
          <p:cNvPicPr>
            <a:picLocks noChangeAspect="1"/>
          </p:cNvPicPr>
          <p:nvPr userDrawn="1"/>
        </p:nvPicPr>
        <p:blipFill>
          <a:blip r:embed="rId2"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413990847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Subhead: Sidebar - Messaging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chemeClr val="accent6">
              <a:lumMod val="75000"/>
            </a:schemeClr>
          </a:solidFill>
          <a:ln w="19050" algn="ctr">
            <a:noFill/>
            <a:miter lim="800000"/>
            <a:headEnd/>
            <a:tailEnd/>
          </a:ln>
        </p:spPr>
        <p:txBody>
          <a:bodyPr wrap="square" lIns="0" tIns="0" rIns="0" bIns="0" rtlCol="0" anchor="ctr">
            <a:noAutofit/>
          </a:bodyPr>
          <a:lstStyle/>
          <a:p>
            <a:pPr algn="ctr"/>
            <a:endParaRPr lang="en-GB"/>
          </a:p>
        </p:txBody>
      </p:sp>
      <p:sp>
        <p:nvSpPr>
          <p:cNvPr id="13" name="Title Placeholder 1">
            <a:extLst>
              <a:ext uri="{FF2B5EF4-FFF2-40B4-BE49-F238E27FC236}">
                <a16:creationId xmlns:a16="http://schemas.microsoft.com/office/drawing/2014/main" id="{41AED56B-4FBA-7B41-8642-EECEFE511009}"/>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7" name="Text Placeholder 7">
            <a:extLst>
              <a:ext uri="{FF2B5EF4-FFF2-40B4-BE49-F238E27FC236}">
                <a16:creationId xmlns:a16="http://schemas.microsoft.com/office/drawing/2014/main" id="{333FE8BD-D45A-D947-B56A-6B35CC9BAFA2}"/>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9" name="Text Placeholder 10">
            <a:extLst>
              <a:ext uri="{FF2B5EF4-FFF2-40B4-BE49-F238E27FC236}">
                <a16:creationId xmlns:a16="http://schemas.microsoft.com/office/drawing/2014/main" id="{EADA8F4D-49E2-2C4C-8EFD-35EE530F2D3D}"/>
              </a:ext>
            </a:extLst>
          </p:cNvPr>
          <p:cNvSpPr>
            <a:spLocks noGrp="1"/>
          </p:cNvSpPr>
          <p:nvPr>
            <p:ph type="body" sz="quarter" idx="16" hasCustomPrompt="1"/>
          </p:nvPr>
        </p:nvSpPr>
        <p:spPr>
          <a:xfrm>
            <a:off x="6019800" y="1092200"/>
            <a:ext cx="5219700" cy="18288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21" name="Text Placeholder 13">
            <a:extLst>
              <a:ext uri="{FF2B5EF4-FFF2-40B4-BE49-F238E27FC236}">
                <a16:creationId xmlns:a16="http://schemas.microsoft.com/office/drawing/2014/main" id="{9F0D342F-3673-B847-BC99-40D039EE6742}"/>
              </a:ext>
            </a:extLst>
          </p:cNvPr>
          <p:cNvSpPr>
            <a:spLocks noGrp="1"/>
          </p:cNvSpPr>
          <p:nvPr>
            <p:ph type="body" sz="quarter" idx="17" hasCustomPrompt="1"/>
          </p:nvPr>
        </p:nvSpPr>
        <p:spPr>
          <a:xfrm>
            <a:off x="6019800" y="3289300"/>
            <a:ext cx="5219700" cy="1766794"/>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Felis </a:t>
            </a:r>
            <a:r>
              <a:rPr lang="en-GB" err="1"/>
              <a:t>blandit</a:t>
            </a:r>
            <a:r>
              <a:rPr lang="en-GB"/>
              <a:t> cursus</a:t>
            </a:r>
            <a:br>
              <a:rPr lang="en-GB"/>
            </a:b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p:txBody>
      </p:sp>
      <p:sp>
        <p:nvSpPr>
          <p:cNvPr id="10" name="Text Placeholder 2">
            <a:extLst>
              <a:ext uri="{FF2B5EF4-FFF2-40B4-BE49-F238E27FC236}">
                <a16:creationId xmlns:a16="http://schemas.microsoft.com/office/drawing/2014/main" id="{D0D9845D-F9D1-BF4F-A74F-B37D037255A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BE37137C-0549-F241-8EFF-61C923DB1698}"/>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905067418"/>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399" y="462430"/>
            <a:ext cx="10062355" cy="695809"/>
          </a:xfrm>
        </p:spPr>
        <p:txBody>
          <a:bodyPr vert="horz" lIns="0" tIns="45720" rIns="0" bIns="0" rtlCol="0" anchor="b" anchorCtr="0">
            <a:noAutofit/>
          </a:bodyPr>
          <a:lstStyle>
            <a:lvl1pPr>
              <a:defRPr lang="en-US" sz="2400" spc="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914399" y="1158240"/>
            <a:ext cx="10325101" cy="784860"/>
          </a:xfrm>
        </p:spPr>
        <p:txBody>
          <a:bodyPr vert="horz" lIns="0" tIns="0" rIns="0" bIns="0" rtlCol="0">
            <a:noAutofit/>
          </a:bodyPr>
          <a:lstStyle>
            <a:lvl1pPr marL="0" indent="0">
              <a:buNone/>
              <a:defRPr lang="en-US" sz="1400">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GB"/>
              <a:t>Edit Master text styles</a:t>
            </a:r>
          </a:p>
        </p:txBody>
      </p:sp>
      <p:sp>
        <p:nvSpPr>
          <p:cNvPr id="9" name="Text Placeholder 8">
            <a:extLst>
              <a:ext uri="{FF2B5EF4-FFF2-40B4-BE49-F238E27FC236}">
                <a16:creationId xmlns:a16="http://schemas.microsoft.com/office/drawing/2014/main" id="{CF58716D-DBF8-4716-A5E8-177B06C7AAB7}"/>
              </a:ext>
            </a:extLst>
          </p:cNvPr>
          <p:cNvSpPr>
            <a:spLocks noGrp="1"/>
          </p:cNvSpPr>
          <p:nvPr>
            <p:ph type="body" sz="quarter" idx="15" hasCustomPrompt="1"/>
          </p:nvPr>
        </p:nvSpPr>
        <p:spPr>
          <a:xfrm>
            <a:off x="914399" y="198438"/>
            <a:ext cx="3776663" cy="263525"/>
          </a:xfrm>
        </p:spPr>
        <p:txBody>
          <a:bodyPr anchor="t"/>
          <a:lstStyle>
            <a:lvl1pPr>
              <a:defRPr sz="1200" b="1" spc="100" baseline="0">
                <a:solidFill>
                  <a:schemeClr val="tx2"/>
                </a:solidFill>
              </a:defRPr>
            </a:lvl1pPr>
          </a:lstStyle>
          <a:p>
            <a:pPr lvl="0"/>
            <a:r>
              <a:rPr lang="en-GB"/>
              <a:t>BREADCRUMB</a:t>
            </a:r>
          </a:p>
        </p:txBody>
      </p:sp>
      <p:sp>
        <p:nvSpPr>
          <p:cNvPr id="5" name="Text Placeholder 8">
            <a:extLst>
              <a:ext uri="{FF2B5EF4-FFF2-40B4-BE49-F238E27FC236}">
                <a16:creationId xmlns:a16="http://schemas.microsoft.com/office/drawing/2014/main" id="{B4FB89FE-98E6-4E5F-A2B7-01E6256D5A50}"/>
              </a:ext>
            </a:extLst>
          </p:cNvPr>
          <p:cNvSpPr>
            <a:spLocks noGrp="1"/>
          </p:cNvSpPr>
          <p:nvPr>
            <p:ph type="body" sz="quarter" idx="16" hasCustomPrompt="1"/>
          </p:nvPr>
        </p:nvSpPr>
        <p:spPr>
          <a:xfrm>
            <a:off x="613555" y="198438"/>
            <a:ext cx="300845" cy="263525"/>
          </a:xfrm>
        </p:spPr>
        <p:txBody>
          <a:bodyPr anchor="t"/>
          <a:lstStyle>
            <a:lvl1pPr>
              <a:defRPr sz="1200" b="1" spc="100" baseline="0">
                <a:solidFill>
                  <a:schemeClr val="tx2"/>
                </a:solidFill>
              </a:defRPr>
            </a:lvl1pPr>
          </a:lstStyle>
          <a:p>
            <a:pPr lvl="0"/>
            <a:r>
              <a:rPr lang="en-GB"/>
              <a:t>01</a:t>
            </a:r>
          </a:p>
        </p:txBody>
      </p:sp>
    </p:spTree>
    <p:extLst>
      <p:ext uri="{BB962C8B-B14F-4D97-AF65-F5344CB8AC3E}">
        <p14:creationId xmlns:p14="http://schemas.microsoft.com/office/powerpoint/2010/main" val="48213524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3_Greeting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Quis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olutpa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condimentum</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elit</a:t>
            </a:r>
            <a:r>
              <a:rPr kumimoji="0" lang="en-GB"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Class </a:t>
            </a:r>
            <a:r>
              <a:rPr kumimoji="0" lang="en-GB" sz="1000" b="1" i="0" u="none" strike="noStrike" kern="1200" cap="none" spc="0" normalizeH="0" baseline="0" noProof="0" err="1">
                <a:ln>
                  <a:noFill/>
                </a:ln>
                <a:solidFill>
                  <a:srgbClr val="000000"/>
                </a:solidFill>
                <a:effectLst/>
                <a:uLnTx/>
                <a:uFillTx/>
                <a:latin typeface="+mn-lt"/>
                <a:ea typeface="+mn-ea"/>
                <a:cs typeface="+mn-cs"/>
              </a:rPr>
              <a:t>apte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aciti</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ociosqu</a:t>
            </a:r>
            <a:r>
              <a:rPr kumimoji="0" lang="en-GB" sz="1000" b="1" i="0" u="none" strike="noStrike" kern="1200" cap="none" spc="0" normalizeH="0" baseline="0" noProof="0">
                <a:ln>
                  <a:noFill/>
                </a:ln>
                <a:solidFill>
                  <a:srgbClr val="000000"/>
                </a:solidFill>
                <a:effectLst/>
                <a:uLnTx/>
                <a:uFillTx/>
                <a:latin typeface="+mn-lt"/>
                <a:ea typeface="+mn-ea"/>
                <a:cs typeface="+mn-cs"/>
              </a:rPr>
              <a:t> ad </a:t>
            </a:r>
            <a:r>
              <a:rPr kumimoji="0" lang="en-GB" sz="1000" b="1" i="0" u="none" strike="noStrike" kern="1200" cap="none" spc="0" normalizeH="0" baseline="0" noProof="0" err="1">
                <a:ln>
                  <a:noFill/>
                </a:ln>
                <a:solidFill>
                  <a:srgbClr val="000000"/>
                </a:solidFill>
                <a:effectLst/>
                <a:uLnTx/>
                <a:uFillTx/>
                <a:latin typeface="+mn-lt"/>
                <a:ea typeface="+mn-ea"/>
                <a:cs typeface="+mn-cs"/>
              </a:rPr>
              <a:t>litor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quent</a:t>
            </a:r>
            <a:r>
              <a:rPr kumimoji="0" lang="en-GB" sz="1000" b="1" i="0" u="none" strike="noStrike" kern="1200" cap="none" spc="0" normalizeH="0" baseline="0" noProof="0">
                <a:ln>
                  <a:noFill/>
                </a:ln>
                <a:solidFill>
                  <a:srgbClr val="000000"/>
                </a:solidFill>
                <a:effectLst/>
                <a:uLnTx/>
                <a:uFillTx/>
                <a:latin typeface="+mn-lt"/>
                <a:ea typeface="+mn-ea"/>
                <a:cs typeface="+mn-cs"/>
              </a:rPr>
              <a:t> per </a:t>
            </a:r>
            <a:r>
              <a:rPr kumimoji="0" lang="en-GB" sz="1000" b="1" i="0" u="none" strike="noStrike" kern="1200" cap="none" spc="0" normalizeH="0" baseline="0" noProof="0" err="1">
                <a:ln>
                  <a:noFill/>
                </a:ln>
                <a:solidFill>
                  <a:srgbClr val="000000"/>
                </a:solidFill>
                <a:effectLst/>
                <a:uLnTx/>
                <a:uFillTx/>
                <a:latin typeface="+mn-lt"/>
                <a:ea typeface="+mn-ea"/>
                <a:cs typeface="+mn-cs"/>
              </a:rPr>
              <a:t>conubia</a:t>
            </a:r>
            <a:r>
              <a:rPr kumimoji="0" lang="en-GB" sz="1000" b="1" i="0" u="none" strike="noStrike" kern="1200" cap="none" spc="0" normalizeH="0" baseline="0" noProof="0">
                <a:ln>
                  <a:noFill/>
                </a:ln>
                <a:solidFill>
                  <a:srgbClr val="000000"/>
                </a:solidFill>
                <a:effectLst/>
                <a:uLnTx/>
                <a:uFillTx/>
                <a:latin typeface="+mn-lt"/>
                <a:ea typeface="+mn-ea"/>
                <a:cs typeface="+mn-cs"/>
              </a:rPr>
              <a:t> nostra, per </a:t>
            </a:r>
            <a:r>
              <a:rPr kumimoji="0" lang="en-GB" sz="1000" b="1" i="0" u="none" strike="noStrike" kern="1200" cap="none" spc="0" normalizeH="0" baseline="0" noProof="0" err="1">
                <a:ln>
                  <a:noFill/>
                </a:ln>
                <a:solidFill>
                  <a:srgbClr val="000000"/>
                </a:solidFill>
                <a:effectLst/>
                <a:uLnTx/>
                <a:uFillTx/>
                <a:latin typeface="+mn-lt"/>
                <a:ea typeface="+mn-ea"/>
                <a:cs typeface="+mn-cs"/>
              </a:rPr>
              <a:t>incepto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Nam </a:t>
            </a:r>
            <a:r>
              <a:rPr kumimoji="0" lang="en-GB" sz="1000" b="1" i="0" u="none" strike="noStrike" kern="1200" cap="none" spc="0" normalizeH="0" baseline="0" noProof="0" err="1">
                <a:ln>
                  <a:noFill/>
                </a:ln>
                <a:solidFill>
                  <a:srgbClr val="000000"/>
                </a:solidFill>
                <a:effectLst/>
                <a:uLnTx/>
                <a:uFillTx/>
                <a:latin typeface="+mn-lt"/>
                <a:ea typeface="+mn-ea"/>
                <a:cs typeface="+mn-cs"/>
              </a:rPr>
              <a:t>nec</a:t>
            </a:r>
            <a:r>
              <a:rPr kumimoji="0" lang="en-GB" sz="1000" b="1" i="0" u="none" strike="noStrike" kern="1200" cap="none" spc="0" normalizeH="0" baseline="0" noProof="0">
                <a:ln>
                  <a:noFill/>
                </a:ln>
                <a:solidFill>
                  <a:srgbClr val="000000"/>
                </a:solidFill>
                <a:effectLst/>
                <a:uLnTx/>
                <a:uFillTx/>
                <a:latin typeface="+mn-lt"/>
                <a:ea typeface="+mn-ea"/>
                <a:cs typeface="+mn-cs"/>
              </a:rPr>
              <a:t> ante. </a:t>
            </a:r>
            <a:r>
              <a:rPr kumimoji="0" lang="en-GB" sz="1000" b="1" i="0" u="none" strike="noStrike" kern="1200" cap="none" spc="0" normalizeH="0" baseline="0" noProof="0" err="1">
                <a:ln>
                  <a:noFill/>
                </a:ln>
                <a:solidFill>
                  <a:srgbClr val="000000"/>
                </a:solidFill>
                <a:effectLst/>
                <a:uLnTx/>
                <a:uFillTx/>
                <a:latin typeface="+mn-lt"/>
                <a:ea typeface="+mn-ea"/>
                <a:cs typeface="+mn-cs"/>
              </a:rPr>
              <a:t>Sed</a:t>
            </a:r>
            <a:r>
              <a:rPr kumimoji="0" lang="en-GB" sz="1000" b="1" i="0" u="none" strike="noStrike" kern="1200" cap="none" spc="0" normalizeH="0" baseline="0" noProof="0">
                <a:ln>
                  <a:noFill/>
                </a:ln>
                <a:solidFill>
                  <a:srgbClr val="000000"/>
                </a:solidFill>
                <a:effectLst/>
                <a:uLnTx/>
                <a:uFillTx/>
                <a:latin typeface="+mn-lt"/>
                <a:ea typeface="+mn-ea"/>
                <a:cs typeface="+mn-cs"/>
              </a:rPr>
              <a:t> lacinia, </a:t>
            </a:r>
            <a:r>
              <a:rPr kumimoji="0" lang="en-GB" sz="1000" b="1" i="0" u="none" strike="noStrike" kern="1200" cap="none" spc="0" normalizeH="0" baseline="0" noProof="0" err="1">
                <a:ln>
                  <a:noFill/>
                </a:ln>
                <a:solidFill>
                  <a:srgbClr val="000000"/>
                </a:solidFill>
                <a:effectLst/>
                <a:uLnTx/>
                <a:uFillTx/>
                <a:latin typeface="+mn-lt"/>
                <a:ea typeface="+mn-ea"/>
                <a:cs typeface="+mn-cs"/>
              </a:rPr>
              <a:t>urna</a:t>
            </a:r>
            <a:r>
              <a:rPr kumimoji="0" lang="en-GB" sz="1000" b="1" i="0" u="none" strike="noStrike" kern="1200" cap="none" spc="0" normalizeH="0" baseline="0" noProof="0">
                <a:ln>
                  <a:noFill/>
                </a:ln>
                <a:solidFill>
                  <a:srgbClr val="000000"/>
                </a:solidFill>
                <a:effectLst/>
                <a:uLnTx/>
                <a:uFillTx/>
                <a:latin typeface="+mn-lt"/>
                <a:ea typeface="+mn-ea"/>
                <a:cs typeface="+mn-cs"/>
              </a:rPr>
              <a:t> non </a:t>
            </a:r>
            <a:r>
              <a:rPr kumimoji="0" lang="en-GB" sz="1000" b="1" i="0" u="none" strike="noStrike" kern="1200" cap="none" spc="0" normalizeH="0" baseline="0" noProof="0" err="1">
                <a:ln>
                  <a:noFill/>
                </a:ln>
                <a:solidFill>
                  <a:srgbClr val="000000"/>
                </a:solidFill>
                <a:effectLst/>
                <a:uLnTx/>
                <a:uFillTx/>
                <a:latin typeface="+mn-lt"/>
                <a:ea typeface="+mn-ea"/>
                <a:cs typeface="+mn-cs"/>
              </a:rPr>
              <a:t>tincidu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matt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tor</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e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adipiscing</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diam</a:t>
            </a:r>
            <a:r>
              <a:rPr kumimoji="0" lang="en-GB" sz="1000" b="1" i="0" u="none" strike="noStrike" kern="1200" cap="none" spc="0" normalizeH="0" baseline="0" noProof="0">
                <a:ln>
                  <a:noFill/>
                </a:ln>
                <a:solidFill>
                  <a:srgbClr val="000000"/>
                </a:solidFill>
                <a:effectLst/>
                <a:uLnTx/>
                <a:uFillTx/>
                <a:latin typeface="+mn-lt"/>
                <a:ea typeface="+mn-ea"/>
                <a:cs typeface="+mn-cs"/>
              </a:rPr>
              <a:t>, a cursus ipsum ante </a:t>
            </a:r>
            <a:r>
              <a:rPr kumimoji="0" lang="en-GB" sz="1000" b="1" i="0" u="none" strike="noStrike" kern="1200" cap="none" spc="0" normalizeH="0" baseline="0" noProof="0" err="1">
                <a:ln>
                  <a:noFill/>
                </a:ln>
                <a:solidFill>
                  <a:srgbClr val="000000"/>
                </a:solidFill>
                <a:effectLst/>
                <a:uLnTx/>
                <a:uFillTx/>
                <a:latin typeface="+mn-lt"/>
                <a:ea typeface="+mn-ea"/>
                <a:cs typeface="+mn-cs"/>
              </a:rPr>
              <a:t>qu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urpi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Nu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facilisi</a:t>
            </a:r>
            <a:r>
              <a:rPr kumimoji="0" lang="en-GB" sz="1000" b="1" i="0" u="none" strike="noStrike" kern="1200" cap="none" spc="0" normalizeH="0" baseline="0" noProof="0">
                <a:ln>
                  <a:noFill/>
                </a:ln>
                <a:solidFill>
                  <a:srgbClr val="000000"/>
                </a:solidFill>
                <a:effectLst/>
                <a:uLnTx/>
                <a:uFillTx/>
                <a:latin typeface="+mn-lt"/>
                <a:ea typeface="+mn-ea"/>
                <a:cs typeface="+mn-cs"/>
              </a:rPr>
              <a:t>. Ut </a:t>
            </a:r>
            <a:r>
              <a:rPr kumimoji="0" lang="en-GB" sz="1000" b="1" i="0" u="none" strike="noStrike" kern="1200" cap="none" spc="0" normalizeH="0" baseline="0" noProof="0" err="1">
                <a:ln>
                  <a:noFill/>
                </a:ln>
                <a:solidFill>
                  <a:srgbClr val="000000"/>
                </a:solidFill>
                <a:effectLst/>
                <a:uLnTx/>
                <a:uFillTx/>
                <a:latin typeface="+mn-lt"/>
                <a:ea typeface="+mn-ea"/>
                <a:cs typeface="+mn-cs"/>
              </a:rPr>
              <a:t>fringi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uspendiss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potenti</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GB" sz="1000" b="1" i="0" u="none" strike="noStrike" kern="1200" cap="none" spc="0" normalizeH="0" baseline="0" noProof="0" err="1">
                <a:ln>
                  <a:noFill/>
                </a:ln>
                <a:solidFill>
                  <a:srgbClr val="000000"/>
                </a:solidFill>
                <a:effectLst/>
                <a:uLnTx/>
                <a:uFillTx/>
                <a:latin typeface="+mn-lt"/>
                <a:ea typeface="+mn-ea"/>
                <a:cs typeface="+mn-cs"/>
              </a:rPr>
              <a:t>arcu</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ege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ulla</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spTree>
    <p:extLst>
      <p:ext uri="{BB962C8B-B14F-4D97-AF65-F5344CB8AC3E}">
        <p14:creationId xmlns:p14="http://schemas.microsoft.com/office/powerpoint/2010/main" val="70373258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Large Title -  Messaging - Color Background">
    <p:spTree>
      <p:nvGrpSpPr>
        <p:cNvPr id="1" name=""/>
        <p:cNvGrpSpPr/>
        <p:nvPr/>
      </p:nvGrpSpPr>
      <p:grpSpPr>
        <a:xfrm>
          <a:off x="0" y="0"/>
          <a:ext cx="0" cy="0"/>
          <a:chOff x="0" y="0"/>
          <a:chExt cx="0" cy="0"/>
        </a:xfrm>
      </p:grpSpPr>
      <p:pic>
        <p:nvPicPr>
          <p:cNvPr id="6" name="Picture 5" descr="An organic human figure drawn in loose white brush strokes on a background of light blue">
            <a:extLst>
              <a:ext uri="{FF2B5EF4-FFF2-40B4-BE49-F238E27FC236}">
                <a16:creationId xmlns:a16="http://schemas.microsoft.com/office/drawing/2014/main" id="{BE72E9CE-09AF-F84C-AD04-9D83DD83BD2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071731"/>
            <a:ext cx="5383369" cy="4786269"/>
          </a:xfrm>
          <a:prstGeom prst="rect">
            <a:avLst/>
          </a:prstGeom>
        </p:spPr>
      </p:pic>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8" name="Title Placeholder 1">
            <a:extLst>
              <a:ext uri="{FF2B5EF4-FFF2-40B4-BE49-F238E27FC236}">
                <a16:creationId xmlns:a16="http://schemas.microsoft.com/office/drawing/2014/main" id="{90194FF2-8221-9649-9FD2-0C3EDEDE0177}"/>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p:txBody>
      </p:sp>
    </p:spTree>
    <p:extLst>
      <p:ext uri="{BB962C8B-B14F-4D97-AF65-F5344CB8AC3E}">
        <p14:creationId xmlns:p14="http://schemas.microsoft.com/office/powerpoint/2010/main" val="235330233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_Title and Subhead: No Content - Color Background">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3573121388"/>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_Title and Subhead: No Content - Breadcrumb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E6D83C-63C3-4B2C-AC58-5A074DBDD84E}"/>
              </a:ext>
            </a:extLst>
          </p:cNvPr>
          <p:cNvGraphicFramePr>
            <a:graphicFrameLocks noChangeAspect="1"/>
          </p:cNvGraphicFramePr>
          <p:nvPr userDrawn="1">
            <p:custDataLst>
              <p:tags r:id="rId1"/>
            </p:custDataLst>
            <p:extLst>
              <p:ext uri="{D42A27DB-BD31-4B8C-83A1-F6EECF244321}">
                <p14:modId xmlns:p14="http://schemas.microsoft.com/office/powerpoint/2010/main" val="350293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1E6D83C-63C3-4B2C-AC58-5A074DBDD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Placeholder 1">
            <a:extLst>
              <a:ext uri="{FF2B5EF4-FFF2-40B4-BE49-F238E27FC236}">
                <a16:creationId xmlns:a16="http://schemas.microsoft.com/office/drawing/2014/main" id="{C13FF76A-4C04-7C40-B276-46DB909165DB}"/>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a:defRPr sz="3200"/>
            </a:lvl1pPr>
          </a:lstStyle>
          <a:p>
            <a:r>
              <a:rPr lang="en-GB" noProof="0"/>
              <a:t>Your headline goes here when you’re ready</a:t>
            </a:r>
          </a:p>
        </p:txBody>
      </p:sp>
      <p:sp>
        <p:nvSpPr>
          <p:cNvPr id="13" name="Text Placeholder 7">
            <a:extLst>
              <a:ext uri="{FF2B5EF4-FFF2-40B4-BE49-F238E27FC236}">
                <a16:creationId xmlns:a16="http://schemas.microsoft.com/office/drawing/2014/main" id="{E7D646A0-5F3F-BC41-8E22-2823D1AC8CE3}"/>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2017064361"/>
      </p:ext>
    </p:extLst>
  </p:cSld>
  <p:clrMapOvr>
    <a:masterClrMapping/>
  </p:clrMapOvr>
  <p:transition/>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userDrawn="1">
  <p:cSld name="Appendix C_Global C T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EB8441-7010-4D27-985A-69F1BAE7A3F9}"/>
              </a:ext>
            </a:extLst>
          </p:cNvPr>
          <p:cNvSpPr/>
          <p:nvPr userDrawn="1"/>
        </p:nvSpPr>
        <p:spPr bwMode="gray">
          <a:xfrm>
            <a:off x="1524" y="0"/>
            <a:ext cx="10933176" cy="783771"/>
          </a:xfrm>
          <a:prstGeom prst="rect">
            <a:avLst/>
          </a:prstGeom>
          <a:solidFill>
            <a:schemeClr val="bg1"/>
          </a:solidFill>
          <a:ln w="19050" algn="ctr">
            <a:noFill/>
            <a:miter lim="800000"/>
            <a:headEnd/>
            <a:tailEnd/>
          </a:ln>
          <a:effectLst>
            <a:outerShdw blurRad="50800" dist="38100" dir="5400000" algn="t" rotWithShape="0">
              <a:srgbClr val="63666A">
                <a:alpha val="40000"/>
              </a:srgbClr>
            </a:outerShdw>
          </a:effec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grpSp>
        <p:nvGrpSpPr>
          <p:cNvPr id="13" name="Group 12">
            <a:extLst>
              <a:ext uri="{FF2B5EF4-FFF2-40B4-BE49-F238E27FC236}">
                <a16:creationId xmlns:a16="http://schemas.microsoft.com/office/drawing/2014/main" id="{B619FE68-38C6-4FB8-9741-43DABADAE908}"/>
              </a:ext>
            </a:extLst>
          </p:cNvPr>
          <p:cNvGrpSpPr/>
          <p:nvPr userDrawn="1"/>
        </p:nvGrpSpPr>
        <p:grpSpPr>
          <a:xfrm>
            <a:off x="469902" y="353723"/>
            <a:ext cx="10464798" cy="418688"/>
            <a:chOff x="469902" y="353723"/>
            <a:chExt cx="8404858" cy="418688"/>
          </a:xfrm>
        </p:grpSpPr>
        <p:sp>
          <p:nvSpPr>
            <p:cNvPr id="14" name="Rectangle: Top Corners Rounded 13">
              <a:hlinkClick r:id="" action="ppaction://noaction"/>
              <a:extLst>
                <a:ext uri="{FF2B5EF4-FFF2-40B4-BE49-F238E27FC236}">
                  <a16:creationId xmlns:a16="http://schemas.microsoft.com/office/drawing/2014/main" id="{6D18AF94-2CF1-479A-A275-4DEF9CCA1BEF}"/>
                </a:ext>
              </a:extLst>
            </p:cNvPr>
            <p:cNvSpPr/>
            <p:nvPr userDrawn="1"/>
          </p:nvSpPr>
          <p:spPr bwMode="gray">
            <a:xfrm>
              <a:off x="4699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Introduction</a:t>
              </a:r>
            </a:p>
          </p:txBody>
        </p:sp>
        <p:sp>
          <p:nvSpPr>
            <p:cNvPr id="15" name="Rectangle: Top Corners Rounded 14">
              <a:hlinkClick r:id="" action="ppaction://noaction"/>
              <a:extLst>
                <a:ext uri="{FF2B5EF4-FFF2-40B4-BE49-F238E27FC236}">
                  <a16:creationId xmlns:a16="http://schemas.microsoft.com/office/drawing/2014/main" id="{18A80764-8A9D-4378-8A11-C00AB78601A7}"/>
                </a:ext>
              </a:extLst>
            </p:cNvPr>
            <p:cNvSpPr/>
            <p:nvPr userDrawn="1"/>
          </p:nvSpPr>
          <p:spPr bwMode="gray">
            <a:xfrm>
              <a:off x="1403352" y="353723"/>
              <a:ext cx="937258" cy="418688"/>
            </a:xfrm>
            <a:prstGeom prst="round2SameRect">
              <a:avLst>
                <a:gd name="adj1" fmla="val 15676"/>
                <a:gd name="adj2" fmla="val 0"/>
              </a:avLst>
            </a:prstGeom>
            <a:solidFill>
              <a:schemeClr val="tx1"/>
            </a:solidFill>
            <a:ln w="19050" algn="ctr">
              <a:solidFill>
                <a:schemeClr val="bg1"/>
              </a:solidFill>
              <a:miter lim="800000"/>
              <a:headEnd/>
              <a:tailEnd/>
            </a:ln>
          </p:spPr>
          <p:txBody>
            <a:bodyPr wrap="none" lIns="27432" tIns="27432" rIns="27432" bIns="27432" rtlCol="0" anchor="ctr"/>
            <a:lstStyle/>
            <a:p>
              <a:pPr algn="ctr">
                <a:buFont typeface="Wingdings 2" pitchFamily="18" charset="2"/>
                <a:buNone/>
              </a:pPr>
              <a:r>
                <a:rPr lang="en-GB" sz="800" b="1">
                  <a:solidFill>
                    <a:schemeClr val="bg1"/>
                  </a:solidFill>
                </a:rPr>
                <a:t>Global</a:t>
              </a:r>
              <a:br>
                <a:rPr lang="en-GB" sz="800" b="1">
                  <a:solidFill>
                    <a:schemeClr val="bg1"/>
                  </a:solidFill>
                </a:rPr>
              </a:br>
              <a:r>
                <a:rPr lang="en-GB" sz="800" b="1">
                  <a:solidFill>
                    <a:schemeClr val="bg1"/>
                  </a:solidFill>
                </a:rPr>
                <a:t>Coordination Team</a:t>
              </a:r>
            </a:p>
          </p:txBody>
        </p:sp>
        <p:sp>
          <p:nvSpPr>
            <p:cNvPr id="16" name="Rectangle: Top Corners Rounded 15">
              <a:hlinkClick r:id="" action="ppaction://noaction"/>
              <a:extLst>
                <a:ext uri="{FF2B5EF4-FFF2-40B4-BE49-F238E27FC236}">
                  <a16:creationId xmlns:a16="http://schemas.microsoft.com/office/drawing/2014/main" id="{21489F88-63F4-4D5E-A31A-B05C34DDC82E}"/>
                </a:ext>
              </a:extLst>
            </p:cNvPr>
            <p:cNvSpPr/>
            <p:nvPr userDrawn="1"/>
          </p:nvSpPr>
          <p:spPr bwMode="gray">
            <a:xfrm>
              <a:off x="23368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ast Asia and the Pacific</a:t>
              </a:r>
            </a:p>
          </p:txBody>
        </p:sp>
        <p:sp>
          <p:nvSpPr>
            <p:cNvPr id="17" name="Rectangle: Top Corners Rounded 16">
              <a:hlinkClick r:id="" action="ppaction://noaction"/>
              <a:extLst>
                <a:ext uri="{FF2B5EF4-FFF2-40B4-BE49-F238E27FC236}">
                  <a16:creationId xmlns:a16="http://schemas.microsoft.com/office/drawing/2014/main" id="{E9D58494-7912-4D6F-91D7-DF9548A1DE07}"/>
                </a:ext>
              </a:extLst>
            </p:cNvPr>
            <p:cNvSpPr/>
            <p:nvPr userDrawn="1"/>
          </p:nvSpPr>
          <p:spPr bwMode="gray">
            <a:xfrm>
              <a:off x="32702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astern and Southern Africa</a:t>
              </a:r>
            </a:p>
          </p:txBody>
        </p:sp>
        <p:sp>
          <p:nvSpPr>
            <p:cNvPr id="18" name="Rectangle: Top Corners Rounded 17">
              <a:hlinkClick r:id="" action="ppaction://noaction"/>
              <a:extLst>
                <a:ext uri="{FF2B5EF4-FFF2-40B4-BE49-F238E27FC236}">
                  <a16:creationId xmlns:a16="http://schemas.microsoft.com/office/drawing/2014/main" id="{7786A7A4-9360-4337-BB3C-306FA6C33332}"/>
                </a:ext>
              </a:extLst>
            </p:cNvPr>
            <p:cNvSpPr/>
            <p:nvPr userDrawn="1"/>
          </p:nvSpPr>
          <p:spPr bwMode="gray">
            <a:xfrm>
              <a:off x="42037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urope and Central Asia</a:t>
              </a:r>
            </a:p>
          </p:txBody>
        </p:sp>
        <p:sp>
          <p:nvSpPr>
            <p:cNvPr id="19" name="Rectangle: Top Corners Rounded 18">
              <a:hlinkClick r:id="" action="ppaction://noaction"/>
              <a:extLst>
                <a:ext uri="{FF2B5EF4-FFF2-40B4-BE49-F238E27FC236}">
                  <a16:creationId xmlns:a16="http://schemas.microsoft.com/office/drawing/2014/main" id="{F0E2753C-02CB-4E2B-9171-BFBE2340BF98}"/>
                </a:ext>
              </a:extLst>
            </p:cNvPr>
            <p:cNvSpPr/>
            <p:nvPr userDrawn="1"/>
          </p:nvSpPr>
          <p:spPr bwMode="gray">
            <a:xfrm>
              <a:off x="51371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Latin America and Caribbean</a:t>
              </a:r>
            </a:p>
          </p:txBody>
        </p:sp>
        <p:sp>
          <p:nvSpPr>
            <p:cNvPr id="20" name="Rectangle: Top Corners Rounded 19">
              <a:hlinkClick r:id="" action="ppaction://noaction"/>
              <a:extLst>
                <a:ext uri="{FF2B5EF4-FFF2-40B4-BE49-F238E27FC236}">
                  <a16:creationId xmlns:a16="http://schemas.microsoft.com/office/drawing/2014/main" id="{10103538-61C5-41A4-A31B-020DF836C5CF}"/>
                </a:ext>
              </a:extLst>
            </p:cNvPr>
            <p:cNvSpPr/>
            <p:nvPr userDrawn="1"/>
          </p:nvSpPr>
          <p:spPr bwMode="gray">
            <a:xfrm>
              <a:off x="60706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Middle East and North Africa</a:t>
              </a:r>
            </a:p>
          </p:txBody>
        </p:sp>
        <p:sp>
          <p:nvSpPr>
            <p:cNvPr id="21" name="Rectangle: Top Corners Rounded 20">
              <a:hlinkClick r:id="" action="ppaction://noaction"/>
              <a:extLst>
                <a:ext uri="{FF2B5EF4-FFF2-40B4-BE49-F238E27FC236}">
                  <a16:creationId xmlns:a16="http://schemas.microsoft.com/office/drawing/2014/main" id="{C7E86401-F9D5-4827-9E9F-169A437B2928}"/>
                </a:ext>
              </a:extLst>
            </p:cNvPr>
            <p:cNvSpPr/>
            <p:nvPr userDrawn="1"/>
          </p:nvSpPr>
          <p:spPr bwMode="gray">
            <a:xfrm>
              <a:off x="70040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South Asia</a:t>
              </a:r>
            </a:p>
          </p:txBody>
        </p:sp>
        <p:sp>
          <p:nvSpPr>
            <p:cNvPr id="22" name="Rectangle: Top Corners Rounded 21">
              <a:hlinkClick r:id="" action="ppaction://noaction"/>
              <a:extLst>
                <a:ext uri="{FF2B5EF4-FFF2-40B4-BE49-F238E27FC236}">
                  <a16:creationId xmlns:a16="http://schemas.microsoft.com/office/drawing/2014/main" id="{A78A7EEA-A3AD-42FA-B617-760559667FC6}"/>
                </a:ext>
              </a:extLst>
            </p:cNvPr>
            <p:cNvSpPr/>
            <p:nvPr userDrawn="1"/>
          </p:nvSpPr>
          <p:spPr bwMode="gray">
            <a:xfrm>
              <a:off x="79375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West and</a:t>
              </a:r>
            </a:p>
            <a:p>
              <a:pPr lvl="0" algn="ctr">
                <a:buFont typeface="Wingdings 2" pitchFamily="18" charset="2"/>
                <a:buNone/>
              </a:pPr>
              <a:r>
                <a:rPr lang="en-GB" sz="800" b="0"/>
                <a:t>Central Africa</a:t>
              </a:r>
            </a:p>
          </p:txBody>
        </p:sp>
      </p:grpSp>
    </p:spTree>
    <p:extLst>
      <p:ext uri="{BB962C8B-B14F-4D97-AF65-F5344CB8AC3E}">
        <p14:creationId xmlns:p14="http://schemas.microsoft.com/office/powerpoint/2010/main" val="344232999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310017065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0493" y="363890"/>
            <a:ext cx="11071907" cy="967057"/>
          </a:xfrm>
          <a:prstGeom prst="rect">
            <a:avLst/>
          </a:prstGeom>
        </p:spPr>
        <p:txBody>
          <a:bodyPr/>
          <a:lstStyle>
            <a:lvl1pPr>
              <a:lnSpc>
                <a:spcPct val="70000"/>
              </a:lnSpc>
              <a:defRPr lang="en-US" sz="3000" kern="1200" cap="none" spc="50" baseline="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4" name="Text Placeholder 8"/>
          <p:cNvSpPr>
            <a:spLocks noGrp="1"/>
          </p:cNvSpPr>
          <p:nvPr>
            <p:ph type="body" sz="quarter" idx="14"/>
          </p:nvPr>
        </p:nvSpPr>
        <p:spPr>
          <a:xfrm>
            <a:off x="511180" y="764704"/>
            <a:ext cx="11071225" cy="647700"/>
          </a:xfrm>
          <a:prstGeom prst="rect">
            <a:avLst/>
          </a:prstGeom>
        </p:spPr>
        <p:txBody>
          <a:bodyPr>
            <a:noAutofit/>
          </a:bodyPr>
          <a:lstStyle>
            <a:lvl1pPr marL="0" indent="0">
              <a:buNone/>
              <a:defRPr sz="18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457167" indent="0">
              <a:buNone/>
              <a:defRPr/>
            </a:lvl2pPr>
            <a:lvl3pPr marL="914332" indent="0">
              <a:buNone/>
              <a:defRPr/>
            </a:lvl3pPr>
            <a:lvl4pPr marL="1371498" indent="0">
              <a:buNone/>
              <a:defRPr/>
            </a:lvl4pPr>
            <a:lvl5pPr marL="1828664" indent="0">
              <a:buNone/>
              <a:defRPr/>
            </a:lvl5pPr>
          </a:lstStyle>
          <a:p>
            <a:pPr lvl="0"/>
            <a:r>
              <a:rPr lang="en-US"/>
              <a:t>Click to edit Master text styles</a:t>
            </a:r>
          </a:p>
        </p:txBody>
      </p:sp>
      <p:sp>
        <p:nvSpPr>
          <p:cNvPr id="6" name="Slide Number Placeholder 7"/>
          <p:cNvSpPr>
            <a:spLocks noGrp="1"/>
          </p:cNvSpPr>
          <p:nvPr>
            <p:ph type="sldNum" sz="quarter" idx="4"/>
          </p:nvPr>
        </p:nvSpPr>
        <p:spPr>
          <a:xfrm>
            <a:off x="10629328" y="6494925"/>
            <a:ext cx="1056117" cy="252000"/>
          </a:xfrm>
          <a:prstGeom prst="rect">
            <a:avLst/>
          </a:prstGeom>
        </p:spPr>
        <p:txBody>
          <a:bodyPr vert="horz" lIns="0" tIns="0" rIns="0" bIns="0" rtlCol="0" anchor="ctr" anchorCtr="0"/>
          <a:lstStyle>
            <a:lvl1pPr algn="r">
              <a:defRPr sz="800" b="0">
                <a:solidFill>
                  <a:srgbClr val="8C8C8C"/>
                </a:solidFill>
                <a:latin typeface="Open Sans Light" panose="020B0306030504020204"/>
              </a:defRPr>
            </a:lvl1pPr>
          </a:lstStyle>
          <a:p>
            <a:fld id="{95CC1D26-A9BD-4BDE-BDD9-08EDBAE96860}" type="slidenum">
              <a:rPr lang="en-GB" smtClean="0"/>
              <a:pPr/>
              <a:t>‹#›</a:t>
            </a:fld>
            <a:endParaRPr lang="en-GB"/>
          </a:p>
        </p:txBody>
      </p:sp>
    </p:spTree>
    <p:extLst>
      <p:ext uri="{BB962C8B-B14F-4D97-AF65-F5344CB8AC3E}">
        <p14:creationId xmlns:p14="http://schemas.microsoft.com/office/powerpoint/2010/main" val="1350568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pic>
        <p:nvPicPr>
          <p:cNvPr id="3" name="Picture 2">
            <a:extLst>
              <a:ext uri="{FF2B5EF4-FFF2-40B4-BE49-F238E27FC236}">
                <a16:creationId xmlns:a16="http://schemas.microsoft.com/office/drawing/2014/main" id="{32F39DEE-DDC8-E07D-25FD-86F78B9470B7}"/>
              </a:ext>
            </a:extLst>
          </p:cNvPr>
          <p:cNvPicPr>
            <a:picLocks noChangeAspect="1"/>
          </p:cNvPicPr>
          <p:nvPr userDrawn="1"/>
        </p:nvPicPr>
        <p:blipFill>
          <a:blip r:embed="rId2"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781025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Quals_MAF_Fin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14700" y="469900"/>
            <a:ext cx="8410254" cy="732508"/>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a:t>
            </a:r>
            <a:br>
              <a:rPr lang="en-GB"/>
            </a:br>
            <a:r>
              <a:rPr lang="en-GB"/>
              <a:t>style</a:t>
            </a:r>
          </a:p>
        </p:txBody>
      </p:sp>
      <p:sp>
        <p:nvSpPr>
          <p:cNvPr id="4" name="Text Placeholder 8"/>
          <p:cNvSpPr>
            <a:spLocks noGrp="1"/>
          </p:cNvSpPr>
          <p:nvPr>
            <p:ph type="body" sz="quarter" idx="14" hasCustomPrompt="1"/>
          </p:nvPr>
        </p:nvSpPr>
        <p:spPr>
          <a:xfrm>
            <a:off x="3324464" y="1201440"/>
            <a:ext cx="8410015"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3314700" y="258008"/>
            <a:ext cx="4148419" cy="137282"/>
          </a:xfrm>
          <a:prstGeom prst="rect">
            <a:avLst/>
          </a:prstGeom>
        </p:spPr>
        <p:txBody>
          <a:bodyPr wrap="square"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
        <p:nvSpPr>
          <p:cNvPr id="8" name="Rectangle 7">
            <a:extLst>
              <a:ext uri="{FF2B5EF4-FFF2-40B4-BE49-F238E27FC236}">
                <a16:creationId xmlns:a16="http://schemas.microsoft.com/office/drawing/2014/main" id="{B7A697C8-B454-4FF3-876D-311272C237ED}"/>
              </a:ext>
            </a:extLst>
          </p:cNvPr>
          <p:cNvSpPr/>
          <p:nvPr userDrawn="1"/>
        </p:nvSpPr>
        <p:spPr>
          <a:xfrm>
            <a:off x="0" y="0"/>
            <a:ext cx="3162300"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419009308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694944"/>
            <a:ext cx="10363200" cy="594360"/>
          </a:xfrm>
        </p:spPr>
        <p:txBody>
          <a:bodyPr vert="horz" lIns="0" tIns="45720" rIns="0" bIns="0" rtlCol="0" anchor="t" anchorCtr="0">
            <a:noAutofit/>
          </a:bodyPr>
          <a:lstStyle>
            <a:lvl1pPr>
              <a:defRPr lang="en-US" sz="3600" b="0" spc="-75" dirty="0">
                <a:latin typeface="+mj-lt"/>
              </a:defRPr>
            </a:lvl1pPr>
          </a:lstStyle>
          <a:p>
            <a:pPr lvl="0" defTabSz="685800">
              <a:lnSpc>
                <a:spcPct val="85000"/>
              </a:lnSpc>
            </a:pPr>
            <a:r>
              <a:rPr lang="en-US"/>
              <a:t>Click to edit Master title style</a:t>
            </a:r>
            <a:r>
              <a:rPr lang="cs-CZ"/>
              <a:t>.</a:t>
            </a:r>
            <a:endParaRPr lang="en-US"/>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pic>
        <p:nvPicPr>
          <p:cNvPr id="3" name="Picture 2">
            <a:extLst>
              <a:ext uri="{FF2B5EF4-FFF2-40B4-BE49-F238E27FC236}">
                <a16:creationId xmlns:a16="http://schemas.microsoft.com/office/drawing/2014/main" id="{563CA894-7A95-855E-B316-9E608A766C46}"/>
              </a:ext>
            </a:extLst>
          </p:cNvPr>
          <p:cNvPicPr>
            <a:picLocks noChangeAspect="1"/>
          </p:cNvPicPr>
          <p:nvPr userDrawn="1"/>
        </p:nvPicPr>
        <p:blipFill>
          <a:blip r:embed="rId2"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388128374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2_Title &amp; subtitle">
    <p:spTree>
      <p:nvGrpSpPr>
        <p:cNvPr id="1" name=""/>
        <p:cNvGrpSpPr/>
        <p:nvPr/>
      </p:nvGrpSpPr>
      <p:grpSpPr>
        <a:xfrm>
          <a:off x="0" y="0"/>
          <a:ext cx="0" cy="0"/>
          <a:chOff x="0" y="0"/>
          <a:chExt cx="0" cy="0"/>
        </a:xfrm>
      </p:grpSpPr>
      <p:sp>
        <p:nvSpPr>
          <p:cNvPr id="6" name="Subtitle">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57776173"/>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Offering overview">
    <p:spTree>
      <p:nvGrpSpPr>
        <p:cNvPr id="1" name=""/>
        <p:cNvGrpSpPr/>
        <p:nvPr/>
      </p:nvGrpSpPr>
      <p:grpSpPr>
        <a:xfrm>
          <a:off x="0" y="0"/>
          <a:ext cx="0" cy="0"/>
          <a:chOff x="0" y="0"/>
          <a:chExt cx="0" cy="0"/>
        </a:xfrm>
      </p:grpSpPr>
      <p:sp>
        <p:nvSpPr>
          <p:cNvPr id="19" name="Table Placeholder 18">
            <a:extLst>
              <a:ext uri="{FF2B5EF4-FFF2-40B4-BE49-F238E27FC236}">
                <a16:creationId xmlns:a16="http://schemas.microsoft.com/office/drawing/2014/main" id="{DAD55C8F-0AC1-4E73-A27A-2459C095C484}"/>
              </a:ext>
            </a:extLst>
          </p:cNvPr>
          <p:cNvSpPr>
            <a:spLocks noGrp="1"/>
          </p:cNvSpPr>
          <p:nvPr>
            <p:ph type="tbl" sz="quarter" idx="24"/>
          </p:nvPr>
        </p:nvSpPr>
        <p:spPr>
          <a:xfrm>
            <a:off x="6562725" y="1612900"/>
            <a:ext cx="5127625" cy="4572000"/>
          </a:xfrm>
          <a:prstGeom prst="rect">
            <a:avLst/>
          </a:prstGeom>
        </p:spPr>
        <p:txBody>
          <a:bodyPr/>
          <a:lstStyle/>
          <a:p>
            <a:endParaRPr lang="en-US"/>
          </a:p>
        </p:txBody>
      </p:sp>
      <p:sp>
        <p:nvSpPr>
          <p:cNvPr id="5" name="Content Placeholder 4">
            <a:extLst>
              <a:ext uri="{FF2B5EF4-FFF2-40B4-BE49-F238E27FC236}">
                <a16:creationId xmlns:a16="http://schemas.microsoft.com/office/drawing/2014/main" id="{8C8D6C45-3F14-4416-B81D-38C98BA16F76}"/>
              </a:ext>
            </a:extLst>
          </p:cNvPr>
          <p:cNvSpPr>
            <a:spLocks noGrp="1"/>
          </p:cNvSpPr>
          <p:nvPr>
            <p:ph sz="quarter" idx="25"/>
          </p:nvPr>
        </p:nvSpPr>
        <p:spPr>
          <a:xfrm>
            <a:off x="500063" y="1612900"/>
            <a:ext cx="5595937" cy="4572000"/>
          </a:xfrm>
          <a:prstGeom prst="rect">
            <a:avLst/>
          </a:prstGeom>
        </p:spPr>
        <p:txBody>
          <a:bodyPr/>
          <a:lstStyle/>
          <a:p>
            <a:pPr lvl="0"/>
            <a:endParaRPr lang="en-US"/>
          </a:p>
        </p:txBody>
      </p:sp>
      <p:sp>
        <p:nvSpPr>
          <p:cNvPr id="15" name="Title 1">
            <a:extLst>
              <a:ext uri="{FF2B5EF4-FFF2-40B4-BE49-F238E27FC236}">
                <a16:creationId xmlns:a16="http://schemas.microsoft.com/office/drawing/2014/main" id="{A3C227C5-509C-4AA5-9566-13101EA7F0F6}"/>
              </a:ext>
            </a:extLst>
          </p:cNvPr>
          <p:cNvSpPr>
            <a:spLocks noGrp="1"/>
          </p:cNvSpPr>
          <p:nvPr>
            <p:ph type="title" hasCustomPrompt="1"/>
          </p:nvPr>
        </p:nvSpPr>
        <p:spPr>
          <a:xfrm>
            <a:off x="408560" y="365126"/>
            <a:ext cx="10945238" cy="403090"/>
          </a:xfrm>
          <a:prstGeom prst="rect">
            <a:avLst/>
          </a:prstGeom>
        </p:spPr>
        <p:txBody>
          <a:bodyPr/>
          <a:lstStyle>
            <a:lvl1pPr>
              <a:defRPr/>
            </a:lvl1pPr>
          </a:lstStyle>
          <a:p>
            <a:r>
              <a:rPr lang="en-US"/>
              <a:t>Slide title</a:t>
            </a:r>
          </a:p>
        </p:txBody>
      </p:sp>
      <p:sp>
        <p:nvSpPr>
          <p:cNvPr id="16" name="Text Placeholder 9">
            <a:extLst>
              <a:ext uri="{FF2B5EF4-FFF2-40B4-BE49-F238E27FC236}">
                <a16:creationId xmlns:a16="http://schemas.microsoft.com/office/drawing/2014/main" id="{18EA686D-C7A1-4DE2-9AAF-AD57F315C4C9}"/>
              </a:ext>
            </a:extLst>
          </p:cNvPr>
          <p:cNvSpPr>
            <a:spLocks noGrp="1"/>
          </p:cNvSpPr>
          <p:nvPr>
            <p:ph type="body" sz="quarter" idx="10" hasCustomPrompt="1"/>
          </p:nvPr>
        </p:nvSpPr>
        <p:spPr>
          <a:xfrm>
            <a:off x="408560" y="768216"/>
            <a:ext cx="10945239" cy="403359"/>
          </a:xfrm>
          <a:prstGeom prst="rect">
            <a:avLst/>
          </a:prstGeom>
        </p:spPr>
        <p:txBody>
          <a:bodyPr/>
          <a:lstStyle>
            <a:lvl1pPr>
              <a:defRPr sz="1800">
                <a:solidFill>
                  <a:srgbClr val="575757"/>
                </a:solidFill>
              </a:defRPr>
            </a:lvl1pPr>
          </a:lstStyle>
          <a:p>
            <a:pPr lvl="0"/>
            <a:r>
              <a:rPr lang="en-US"/>
              <a:t>Subtitle</a:t>
            </a:r>
          </a:p>
        </p:txBody>
      </p:sp>
      <p:pic>
        <p:nvPicPr>
          <p:cNvPr id="2" name="Picture 1">
            <a:extLst>
              <a:ext uri="{FF2B5EF4-FFF2-40B4-BE49-F238E27FC236}">
                <a16:creationId xmlns:a16="http://schemas.microsoft.com/office/drawing/2014/main" id="{A5752609-FD24-D237-B691-0B088BCA76A0}"/>
              </a:ext>
            </a:extLst>
          </p:cNvPr>
          <p:cNvPicPr>
            <a:picLocks noChangeAspect="1"/>
          </p:cNvPicPr>
          <p:nvPr userDrawn="1"/>
        </p:nvPicPr>
        <p:blipFill>
          <a:blip r:embed="rId2" cstate="email">
            <a:alphaModFix amt="45000"/>
            <a:extLst>
              <a:ext uri="{28A0092B-C50C-407E-A947-70E740481C1C}">
                <a14:useLocalDpi xmlns:a14="http://schemas.microsoft.com/office/drawing/2010/main"/>
              </a:ext>
            </a:extLst>
          </a:blip>
          <a:srcRect/>
          <a:stretch/>
        </p:blipFill>
        <p:spPr>
          <a:xfrm>
            <a:off x="-1" y="1916176"/>
            <a:ext cx="12192001" cy="4941824"/>
          </a:xfrm>
          <a:prstGeom prst="rect">
            <a:avLst/>
          </a:prstGeom>
        </p:spPr>
      </p:pic>
    </p:spTree>
    <p:extLst>
      <p:ext uri="{BB962C8B-B14F-4D97-AF65-F5344CB8AC3E}">
        <p14:creationId xmlns:p14="http://schemas.microsoft.com/office/powerpoint/2010/main" val="76740650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87576-AF07-FC63-6894-F52CAEC2F6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B592B9-C6F4-34A8-E689-5CBE1A0690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E521A7-9597-C4B0-E2D4-B0DF084747A4}"/>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E5CB48CF-6F03-7995-3B4B-7FBDDBC10D9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D57A79-1860-18A2-A5AC-E788A932354A}"/>
              </a:ext>
            </a:extLst>
          </p:cNvPr>
          <p:cNvSpPr>
            <a:spLocks noGrp="1"/>
          </p:cNvSpPr>
          <p:nvPr>
            <p:ph type="sldNum" sz="quarter" idx="12"/>
          </p:nvPr>
        </p:nvSpPr>
        <p:spPr/>
        <p:txBody>
          <a:bodyPr/>
          <a:lstStyle/>
          <a:p>
            <a:endParaRPr lang="en-US" dirty="0"/>
          </a:p>
        </p:txBody>
      </p:sp>
      <p:pic>
        <p:nvPicPr>
          <p:cNvPr id="8" name="Picture 7">
            <a:extLst>
              <a:ext uri="{FF2B5EF4-FFF2-40B4-BE49-F238E27FC236}">
                <a16:creationId xmlns:a16="http://schemas.microsoft.com/office/drawing/2014/main" id="{558CB7BD-9934-D2EE-1C87-C220761FD741}"/>
              </a:ext>
            </a:extLst>
          </p:cNvPr>
          <p:cNvPicPr>
            <a:picLocks noChangeAspect="1"/>
          </p:cNvPicPr>
          <p:nvPr userDrawn="1"/>
        </p:nvPicPr>
        <p:blipFill>
          <a:blip r:embed="rId2"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281474774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9BF98-A18D-268C-1348-9A9BD0A9FF5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346500"/>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522095"/>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4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9623075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211667"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US" smtClean="0"/>
              <a:pPr/>
              <a:t>‹#›</a:t>
            </a:fld>
            <a:endParaRPr lang="en-US"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US" dirty="0"/>
              <a:t>© 2020 Deloitte</a:t>
            </a:r>
          </a:p>
        </p:txBody>
      </p:sp>
    </p:spTree>
    <p:extLst>
      <p:ext uri="{BB962C8B-B14F-4D97-AF65-F5344CB8AC3E}">
        <p14:creationId xmlns:p14="http://schemas.microsoft.com/office/powerpoint/2010/main" val="153533038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5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9623075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211667"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US" smtClean="0"/>
              <a:pPr/>
              <a:t>‹#›</a:t>
            </a:fld>
            <a:endParaRPr lang="en-US"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US" dirty="0"/>
              <a:t>© 2020 Deloitte</a:t>
            </a:r>
          </a:p>
        </p:txBody>
      </p:sp>
    </p:spTree>
    <p:extLst>
      <p:ext uri="{BB962C8B-B14F-4D97-AF65-F5344CB8AC3E}">
        <p14:creationId xmlns:p14="http://schemas.microsoft.com/office/powerpoint/2010/main" val="192719625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2" name="Footer Placeholder 1"/>
          <p:cNvSpPr>
            <a:spLocks noGrp="1"/>
          </p:cNvSpPr>
          <p:nvPr>
            <p:ph type="ftr" sz="quarter" idx="14"/>
          </p:nvPr>
        </p:nvSpPr>
        <p:spPr/>
        <p:txBody>
          <a:bodyPr/>
          <a:lstStyle/>
          <a:p>
            <a:endParaRPr lang="hu-HU" dirty="0"/>
          </a:p>
        </p:txBody>
      </p:sp>
      <p:pic>
        <p:nvPicPr>
          <p:cNvPr id="3" name="Picture 2">
            <a:extLst>
              <a:ext uri="{FF2B5EF4-FFF2-40B4-BE49-F238E27FC236}">
                <a16:creationId xmlns:a16="http://schemas.microsoft.com/office/drawing/2014/main" id="{91F52EDD-8844-09DC-77B2-87F161C864C3}"/>
              </a:ext>
            </a:extLst>
          </p:cNvPr>
          <p:cNvPicPr>
            <a:picLocks noChangeAspect="1"/>
          </p:cNvPicPr>
          <p:nvPr userDrawn="1"/>
        </p:nvPicPr>
        <p:blipFill>
          <a:blip r:embed="rId2"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87933396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Case Study ">
    <p:spTree>
      <p:nvGrpSpPr>
        <p:cNvPr id="1" name=""/>
        <p:cNvGrpSpPr/>
        <p:nvPr/>
      </p:nvGrpSpPr>
      <p:grpSpPr>
        <a:xfrm>
          <a:off x="0" y="0"/>
          <a:ext cx="0" cy="0"/>
          <a:chOff x="0" y="0"/>
          <a:chExt cx="0" cy="0"/>
        </a:xfrm>
      </p:grpSpPr>
      <p:sp>
        <p:nvSpPr>
          <p:cNvPr id="40" name="Picture Placeholder 2"/>
          <p:cNvSpPr>
            <a:spLocks noGrp="1"/>
          </p:cNvSpPr>
          <p:nvPr>
            <p:ph type="pic" sz="quarter" idx="17" hasCustomPrompt="1"/>
          </p:nvPr>
        </p:nvSpPr>
        <p:spPr>
          <a:xfrm>
            <a:off x="0" y="0"/>
            <a:ext cx="4589463" cy="6858000"/>
          </a:xfrm>
          <a:prstGeom prst="rect">
            <a:avLst/>
          </a:prstGeom>
          <a:ln>
            <a:noFill/>
          </a:ln>
        </p:spPr>
        <p:txBody>
          <a:bodyPr lIns="1554480" tIns="2743200"/>
          <a:lstStyle>
            <a:lvl1pPr marL="0" indent="0">
              <a:spcBef>
                <a:spcPts val="3200"/>
              </a:spcBef>
              <a:buNone/>
              <a:defRPr sz="1800" b="1" spc="300"/>
            </a:lvl1pPr>
          </a:lstStyle>
          <a:p>
            <a:r>
              <a:rPr lang="en-US"/>
              <a:t>PICTURE</a:t>
            </a:r>
          </a:p>
        </p:txBody>
      </p:sp>
      <p:sp>
        <p:nvSpPr>
          <p:cNvPr id="41" name="Text Placeholder 4"/>
          <p:cNvSpPr>
            <a:spLocks noGrp="1"/>
          </p:cNvSpPr>
          <p:nvPr>
            <p:ph type="body" sz="quarter" idx="18" hasCustomPrompt="1"/>
          </p:nvPr>
        </p:nvSpPr>
        <p:spPr>
          <a:xfrm>
            <a:off x="5402264" y="1389063"/>
            <a:ext cx="5400416" cy="439737"/>
          </a:xfrm>
          <a:prstGeom prst="rect">
            <a:avLst/>
          </a:prstGeom>
        </p:spPr>
        <p:txBody>
          <a:bodyPr anchor="b" anchorCtr="0"/>
          <a:lstStyle>
            <a:lvl1pPr marL="0" indent="0">
              <a:lnSpc>
                <a:spcPct val="90000"/>
              </a:lnSpc>
              <a:spcBef>
                <a:spcPts val="0"/>
              </a:spcBef>
              <a:buNone/>
              <a:defRPr sz="2800">
                <a:latin typeface="+mj-lt"/>
              </a:defRPr>
            </a:lvl1pPr>
          </a:lstStyle>
          <a:p>
            <a:pPr lvl="0"/>
            <a:r>
              <a:rPr lang="en-US"/>
              <a:t>2-5 Word Tagline</a:t>
            </a:r>
          </a:p>
        </p:txBody>
      </p:sp>
      <p:sp>
        <p:nvSpPr>
          <p:cNvPr id="83" name="Text Placeholder 76"/>
          <p:cNvSpPr>
            <a:spLocks noGrp="1"/>
          </p:cNvSpPr>
          <p:nvPr>
            <p:ph type="body" sz="quarter" idx="32" hasCustomPrompt="1"/>
          </p:nvPr>
        </p:nvSpPr>
        <p:spPr>
          <a:xfrm rot="16200000">
            <a:off x="10096089" y="4587371"/>
            <a:ext cx="3463925" cy="228600"/>
          </a:xfrm>
          <a:prstGeom prst="rect">
            <a:avLst/>
          </a:prstGeom>
        </p:spPr>
        <p:txBody>
          <a:bodyPr/>
          <a:lstStyle>
            <a:lvl1pPr marL="0" indent="0">
              <a:buNone/>
              <a:defRPr sz="900" b="1" spc="300"/>
            </a:lvl1pPr>
          </a:lstStyle>
          <a:p>
            <a:pPr lvl="0"/>
            <a:r>
              <a:rPr lang="en-US"/>
              <a:t>INDUSTRY NAME</a:t>
            </a:r>
          </a:p>
        </p:txBody>
      </p:sp>
      <p:sp>
        <p:nvSpPr>
          <p:cNvPr id="88" name="Text Placeholder 116"/>
          <p:cNvSpPr>
            <a:spLocks noGrp="1"/>
          </p:cNvSpPr>
          <p:nvPr>
            <p:ph type="body" sz="quarter" idx="25" hasCustomPrompt="1"/>
          </p:nvPr>
        </p:nvSpPr>
        <p:spPr>
          <a:xfrm>
            <a:off x="5402263" y="3303383"/>
            <a:ext cx="3462337" cy="219678"/>
          </a:xfrm>
          <a:prstGeom prst="rect">
            <a:avLst/>
          </a:prstGeom>
        </p:spPr>
        <p:txBody>
          <a:bodyPr/>
          <a:lstStyle>
            <a:lvl1pPr marL="0" indent="0">
              <a:buNone/>
              <a:defRPr sz="900" b="1" spc="300"/>
            </a:lvl1pPr>
          </a:lstStyle>
          <a:p>
            <a:r>
              <a:rPr lang="en-US"/>
              <a:t>SOLUTION</a:t>
            </a:r>
          </a:p>
        </p:txBody>
      </p:sp>
      <p:sp>
        <p:nvSpPr>
          <p:cNvPr id="89" name="Text Placeholder 117"/>
          <p:cNvSpPr>
            <a:spLocks noGrp="1"/>
          </p:cNvSpPr>
          <p:nvPr>
            <p:ph type="body" sz="quarter" idx="26" hasCustomPrompt="1"/>
          </p:nvPr>
        </p:nvSpPr>
        <p:spPr>
          <a:xfrm>
            <a:off x="5400674" y="4578384"/>
            <a:ext cx="3463925" cy="208097"/>
          </a:xfrm>
          <a:prstGeom prst="rect">
            <a:avLst/>
          </a:prstGeom>
        </p:spPr>
        <p:txBody>
          <a:bodyPr/>
          <a:lstStyle>
            <a:lvl1pPr marL="0" indent="0">
              <a:buNone/>
              <a:defRPr sz="900" b="1" spc="300"/>
            </a:lvl1pPr>
          </a:lstStyle>
          <a:p>
            <a:r>
              <a:rPr lang="en-US"/>
              <a:t>IMPACT</a:t>
            </a:r>
          </a:p>
        </p:txBody>
      </p:sp>
      <p:sp>
        <p:nvSpPr>
          <p:cNvPr id="90" name="Text Placeholder 121"/>
          <p:cNvSpPr>
            <a:spLocks noGrp="1"/>
          </p:cNvSpPr>
          <p:nvPr>
            <p:ph type="body" sz="quarter" idx="31" hasCustomPrompt="1"/>
          </p:nvPr>
        </p:nvSpPr>
        <p:spPr>
          <a:xfrm>
            <a:off x="5400675" y="2038350"/>
            <a:ext cx="3463925" cy="228600"/>
          </a:xfrm>
          <a:prstGeom prst="rect">
            <a:avLst/>
          </a:prstGeom>
        </p:spPr>
        <p:txBody>
          <a:bodyPr/>
          <a:lstStyle>
            <a:lvl1pPr marL="0" indent="0">
              <a:buNone/>
              <a:defRPr sz="900" b="1" spc="300"/>
            </a:lvl1pPr>
          </a:lstStyle>
          <a:p>
            <a:r>
              <a:rPr lang="en-US"/>
              <a:t>ISSUE</a:t>
            </a:r>
          </a:p>
        </p:txBody>
      </p:sp>
      <p:sp>
        <p:nvSpPr>
          <p:cNvPr id="3" name="Text Placeholder 2"/>
          <p:cNvSpPr>
            <a:spLocks noGrp="1"/>
          </p:cNvSpPr>
          <p:nvPr>
            <p:ph type="body" sz="quarter" idx="39" hasCustomPrompt="1"/>
          </p:nvPr>
        </p:nvSpPr>
        <p:spPr>
          <a:xfrm>
            <a:off x="5400675" y="2266950"/>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a:t>This is placeholder text. </a:t>
            </a:r>
            <a:r>
              <a:rPr lang="en-US" err="1"/>
              <a:t>Tumperpedic</a:t>
            </a:r>
            <a:r>
              <a:rPr lang="en-US"/>
              <a:t> tempura bacon. Blue bottle coloring book Bay Area art party. Kick starter for hot chicken </a:t>
            </a:r>
            <a:r>
              <a:rPr lang="en-US" err="1"/>
              <a:t>udon</a:t>
            </a:r>
            <a:r>
              <a:rPr lang="en-US"/>
              <a:t> </a:t>
            </a:r>
            <a:r>
              <a:rPr lang="en-US" err="1"/>
              <a:t>odio</a:t>
            </a:r>
            <a:r>
              <a:rPr lang="en-US"/>
              <a:t> ugh, </a:t>
            </a:r>
            <a:r>
              <a:rPr lang="en-US" err="1"/>
              <a:t>occacat</a:t>
            </a:r>
            <a:r>
              <a:rPr lang="en-US"/>
              <a:t> </a:t>
            </a:r>
            <a:r>
              <a:rPr lang="en-US" err="1"/>
              <a:t>microdosing</a:t>
            </a:r>
            <a:r>
              <a:rPr lang="en-US"/>
              <a:t> </a:t>
            </a:r>
            <a:r>
              <a:rPr lang="en-US" err="1"/>
              <a:t>Fugazi</a:t>
            </a:r>
            <a:r>
              <a:rPr lang="en-US"/>
              <a:t> ramps gentrify. </a:t>
            </a:r>
            <a:r>
              <a:rPr lang="en-US" err="1"/>
              <a:t>Accusamus</a:t>
            </a:r>
            <a:r>
              <a:rPr lang="en-US"/>
              <a:t> </a:t>
            </a:r>
            <a:r>
              <a:rPr lang="en-US" err="1"/>
              <a:t>tumblr</a:t>
            </a:r>
            <a:r>
              <a:rPr lang="en-US"/>
              <a:t> bespoke poetry. Represent skateboard </a:t>
            </a:r>
            <a:r>
              <a:rPr lang="en-US" err="1"/>
              <a:t>migas</a:t>
            </a:r>
            <a:r>
              <a:rPr lang="en-US"/>
              <a:t>. La </a:t>
            </a:r>
            <a:r>
              <a:rPr lang="en-US" err="1"/>
              <a:t>croix</a:t>
            </a:r>
            <a:r>
              <a:rPr lang="en-US"/>
              <a:t> trust fund lo-fi lumbersexual leggings hexagon. Lulu et VHS single-origin coffee man braid bun ma jig.</a:t>
            </a:r>
          </a:p>
        </p:txBody>
      </p:sp>
      <p:sp>
        <p:nvSpPr>
          <p:cNvPr id="15" name="Text Placeholder 2"/>
          <p:cNvSpPr>
            <a:spLocks noGrp="1"/>
          </p:cNvSpPr>
          <p:nvPr>
            <p:ph type="body" sz="quarter" idx="40" hasCustomPrompt="1"/>
          </p:nvPr>
        </p:nvSpPr>
        <p:spPr>
          <a:xfrm>
            <a:off x="5400675" y="3537380"/>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a:t>This is placeholder text. </a:t>
            </a:r>
            <a:r>
              <a:rPr lang="en-US" err="1"/>
              <a:t>Tumperpedic</a:t>
            </a:r>
            <a:r>
              <a:rPr lang="en-US"/>
              <a:t> tempura bacon. Blue bottle coloring book Bay Area art party. Kick starter for hot chicken </a:t>
            </a:r>
            <a:r>
              <a:rPr lang="en-US" err="1"/>
              <a:t>udon</a:t>
            </a:r>
            <a:r>
              <a:rPr lang="en-US"/>
              <a:t> </a:t>
            </a:r>
            <a:r>
              <a:rPr lang="en-US" err="1"/>
              <a:t>odio</a:t>
            </a:r>
            <a:r>
              <a:rPr lang="en-US"/>
              <a:t> ugh, </a:t>
            </a:r>
            <a:r>
              <a:rPr lang="en-US" err="1"/>
              <a:t>occacat</a:t>
            </a:r>
            <a:r>
              <a:rPr lang="en-US"/>
              <a:t> </a:t>
            </a:r>
            <a:r>
              <a:rPr lang="en-US" err="1"/>
              <a:t>microdosing</a:t>
            </a:r>
            <a:r>
              <a:rPr lang="en-US"/>
              <a:t> </a:t>
            </a:r>
            <a:r>
              <a:rPr lang="en-US" err="1"/>
              <a:t>Fugazi</a:t>
            </a:r>
            <a:r>
              <a:rPr lang="en-US"/>
              <a:t> ramps gentrify. </a:t>
            </a:r>
            <a:r>
              <a:rPr lang="en-US" err="1"/>
              <a:t>Accusamus</a:t>
            </a:r>
            <a:r>
              <a:rPr lang="en-US"/>
              <a:t> </a:t>
            </a:r>
            <a:r>
              <a:rPr lang="en-US" err="1"/>
              <a:t>tumblr</a:t>
            </a:r>
            <a:r>
              <a:rPr lang="en-US"/>
              <a:t> bespoke poetry. Represent skateboard </a:t>
            </a:r>
            <a:r>
              <a:rPr lang="en-US" err="1"/>
              <a:t>migas</a:t>
            </a:r>
            <a:r>
              <a:rPr lang="en-US"/>
              <a:t>. La </a:t>
            </a:r>
            <a:r>
              <a:rPr lang="en-US" err="1"/>
              <a:t>croix</a:t>
            </a:r>
            <a:r>
              <a:rPr lang="en-US"/>
              <a:t> trust fund lo-fi lumbersexual leggings hexagon. Lulu et VHS single-origin coffee man braid bun ma jig.</a:t>
            </a:r>
          </a:p>
        </p:txBody>
      </p:sp>
      <p:sp>
        <p:nvSpPr>
          <p:cNvPr id="19" name="Text Placeholder 2"/>
          <p:cNvSpPr>
            <a:spLocks noGrp="1"/>
          </p:cNvSpPr>
          <p:nvPr>
            <p:ph type="body" sz="quarter" idx="41" hasCustomPrompt="1"/>
          </p:nvPr>
        </p:nvSpPr>
        <p:spPr>
          <a:xfrm>
            <a:off x="5400675" y="4786481"/>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a:t>This is placeholder text. </a:t>
            </a:r>
            <a:r>
              <a:rPr lang="en-US" err="1"/>
              <a:t>Tumperpedic</a:t>
            </a:r>
            <a:r>
              <a:rPr lang="en-US"/>
              <a:t> tempura bacon. Blue bottle coloring book Bay Area art party. Kick starter for hot chicken </a:t>
            </a:r>
            <a:r>
              <a:rPr lang="en-US" err="1"/>
              <a:t>udon</a:t>
            </a:r>
            <a:r>
              <a:rPr lang="en-US"/>
              <a:t> </a:t>
            </a:r>
            <a:r>
              <a:rPr lang="en-US" err="1"/>
              <a:t>odio</a:t>
            </a:r>
            <a:r>
              <a:rPr lang="en-US"/>
              <a:t> ugh, </a:t>
            </a:r>
            <a:r>
              <a:rPr lang="en-US" err="1"/>
              <a:t>occacat</a:t>
            </a:r>
            <a:r>
              <a:rPr lang="en-US"/>
              <a:t> </a:t>
            </a:r>
            <a:r>
              <a:rPr lang="en-US" err="1"/>
              <a:t>microdosing</a:t>
            </a:r>
            <a:r>
              <a:rPr lang="en-US"/>
              <a:t> </a:t>
            </a:r>
            <a:r>
              <a:rPr lang="en-US" err="1"/>
              <a:t>Fugazi</a:t>
            </a:r>
            <a:r>
              <a:rPr lang="en-US"/>
              <a:t> ramps gentrify. </a:t>
            </a:r>
            <a:r>
              <a:rPr lang="en-US" err="1"/>
              <a:t>Accusamus</a:t>
            </a:r>
            <a:r>
              <a:rPr lang="en-US"/>
              <a:t> </a:t>
            </a:r>
            <a:r>
              <a:rPr lang="en-US" err="1"/>
              <a:t>tumblr</a:t>
            </a:r>
            <a:r>
              <a:rPr lang="en-US"/>
              <a:t> bespoke poetry. Represent skateboard </a:t>
            </a:r>
            <a:r>
              <a:rPr lang="en-US" err="1"/>
              <a:t>migas</a:t>
            </a:r>
            <a:r>
              <a:rPr lang="en-US"/>
              <a:t>. La </a:t>
            </a:r>
            <a:r>
              <a:rPr lang="en-US" err="1"/>
              <a:t>croix</a:t>
            </a:r>
            <a:r>
              <a:rPr lang="en-US"/>
              <a:t> trust fund lo-fi lumbersexual leggings hexagon. Lulu et VHS single-origin coffee man braid bun ma jig.</a:t>
            </a:r>
          </a:p>
        </p:txBody>
      </p:sp>
    </p:spTree>
    <p:extLst>
      <p:ext uri="{BB962C8B-B14F-4D97-AF65-F5344CB8AC3E}">
        <p14:creationId xmlns:p14="http://schemas.microsoft.com/office/powerpoint/2010/main" val="36292240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Quals_MAF_Final">
    <p:spTree>
      <p:nvGrpSpPr>
        <p:cNvPr id="1" name=""/>
        <p:cNvGrpSpPr/>
        <p:nvPr/>
      </p:nvGrpSpPr>
      <p:grpSpPr>
        <a:xfrm>
          <a:off x="0" y="0"/>
          <a:ext cx="0" cy="0"/>
          <a:chOff x="0" y="0"/>
          <a:chExt cx="0" cy="0"/>
        </a:xfrm>
      </p:grpSpPr>
      <p:sp>
        <p:nvSpPr>
          <p:cNvPr id="2" name="Title 1"/>
          <p:cNvSpPr>
            <a:spLocks noGrp="1"/>
          </p:cNvSpPr>
          <p:nvPr>
            <p:ph type="title"/>
          </p:nvPr>
        </p:nvSpPr>
        <p:spPr>
          <a:xfrm>
            <a:off x="3314700" y="469900"/>
            <a:ext cx="8410254"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3324464" y="890290"/>
            <a:ext cx="8410015"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3314700" y="258008"/>
            <a:ext cx="4148419" cy="137282"/>
          </a:xfrm>
          <a:prstGeom prst="rect">
            <a:avLst/>
          </a:prstGeom>
        </p:spPr>
        <p:txBody>
          <a:bodyPr wrap="square"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
        <p:nvSpPr>
          <p:cNvPr id="8" name="Rectangle 7">
            <a:extLst>
              <a:ext uri="{FF2B5EF4-FFF2-40B4-BE49-F238E27FC236}">
                <a16:creationId xmlns:a16="http://schemas.microsoft.com/office/drawing/2014/main" id="{B7A697C8-B454-4FF3-876D-311272C237ED}"/>
              </a:ext>
            </a:extLst>
          </p:cNvPr>
          <p:cNvSpPr/>
          <p:nvPr userDrawn="1"/>
        </p:nvSpPr>
        <p:spPr>
          <a:xfrm>
            <a:off x="0" y="0"/>
            <a:ext cx="3162300"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10673543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CV Templa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149528-9B28-4D8D-8C1D-681E30266262}"/>
              </a:ext>
            </a:extLst>
          </p:cNvPr>
          <p:cNvGraphicFramePr>
            <a:graphicFrameLocks noChangeAspect="1"/>
          </p:cNvGraphicFramePr>
          <p:nvPr userDrawn="1">
            <p:custDataLst>
              <p:tags r:id="rId1"/>
            </p:custDataLst>
            <p:extLst>
              <p:ext uri="{D42A27DB-BD31-4B8C-83A1-F6EECF244321}">
                <p14:modId xmlns:p14="http://schemas.microsoft.com/office/powerpoint/2010/main" val="497497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D4149528-9B28-4D8D-8C1D-681E30266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Placeholder 1">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1866900" y="1112841"/>
            <a:ext cx="4142847" cy="334963"/>
          </a:xfrm>
          <a:prstGeom prst="rect">
            <a:avLst/>
          </a:prstGeom>
        </p:spPr>
        <p:txBody>
          <a:bodyPr vert="horz" lIns="0" tIns="0" rIns="0" bIns="0" rtlCol="0" anchor="t" anchorCtr="0">
            <a:noAutofit/>
          </a:bodyPr>
          <a:lstStyle>
            <a:lvl1pPr rtl="0">
              <a:defRPr kumimoji="0" lang="en-US" sz="2000" b="0" i="0" u="none" strike="noStrike" kern="1200" cap="none" spc="0" normalizeH="0" baseline="0" noProof="0" dirty="0">
                <a:ln>
                  <a:noFill/>
                </a:ln>
                <a:solidFill>
                  <a:srgbClr val="000000"/>
                </a:solidFill>
                <a:effectLst/>
                <a:uLnTx/>
                <a:uFillTx/>
                <a:latin typeface="+mj-lt"/>
                <a:ea typeface="+mn-ea"/>
                <a:cs typeface="+mn-cs"/>
              </a:defRPr>
            </a:lvl1pPr>
          </a:lstStyle>
          <a:p>
            <a:r>
              <a:rPr lang="en-US" noProof="0"/>
              <a:t>Name Surname</a:t>
            </a:r>
          </a:p>
        </p:txBody>
      </p:sp>
      <p:sp>
        <p:nvSpPr>
          <p:cNvPr id="7" name="Text Placeholder 7">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1866900" y="1491720"/>
            <a:ext cx="4142847" cy="17717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b="1"/>
            </a:lvl1pPr>
          </a:lstStyle>
          <a:p>
            <a:pPr lvl="0"/>
            <a:r>
              <a:rPr lang="en-US"/>
              <a:t>Position, eg. Frontend Developer | Deloitte Digital</a:t>
            </a:r>
          </a:p>
        </p:txBody>
      </p:sp>
      <p:pic>
        <p:nvPicPr>
          <p:cNvPr id="6" name="Picture 5">
            <a:extLst>
              <a:ext uri="{FF2B5EF4-FFF2-40B4-BE49-F238E27FC236}">
                <a16:creationId xmlns:a16="http://schemas.microsoft.com/office/drawing/2014/main" id="{2F68372D-CBF8-4031-BE27-62C8697A19B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79512" y="292213"/>
            <a:ext cx="1076562" cy="645937"/>
          </a:xfrm>
          <a:prstGeom prst="rect">
            <a:avLst/>
          </a:prstGeom>
        </p:spPr>
      </p:pic>
      <p:sp>
        <p:nvSpPr>
          <p:cNvPr id="12" name="TextBox 11">
            <a:extLst>
              <a:ext uri="{FF2B5EF4-FFF2-40B4-BE49-F238E27FC236}">
                <a16:creationId xmlns:a16="http://schemas.microsoft.com/office/drawing/2014/main" id="{E0FFC7B5-4C1A-4A0B-A50D-9F00F6883484}"/>
              </a:ext>
            </a:extLst>
          </p:cNvPr>
          <p:cNvSpPr txBox="1"/>
          <p:nvPr userDrawn="1"/>
        </p:nvSpPr>
        <p:spPr>
          <a:xfrm>
            <a:off x="1986247" y="495992"/>
            <a:ext cx="2209800" cy="236190"/>
          </a:xfrm>
          <a:prstGeom prst="rect">
            <a:avLst/>
          </a:prstGeom>
          <a:noFill/>
        </p:spPr>
        <p:txBody>
          <a:bodyPr wrap="square" lIns="0" tIns="0" rIns="0" bIns="0" rtlCol="0">
            <a:noAutofit/>
          </a:bodyPr>
          <a:lstStyle/>
          <a:p>
            <a:pPr marL="0" lvl="0" indent="0" algn="l" defTabSz="914400" rtl="0" eaLnBrk="1" latinLnBrk="0" hangingPunct="1">
              <a:lnSpc>
                <a:spcPct val="100000"/>
              </a:lnSpc>
              <a:spcBef>
                <a:spcPts val="0"/>
              </a:spcBef>
              <a:spcAft>
                <a:spcPts val="0"/>
              </a:spcAft>
              <a:buSzPct val="100000"/>
              <a:buFont typeface="Arial" panose="020B0604020202020204" pitchFamily="34" charset="0"/>
              <a:buNone/>
            </a:pPr>
            <a:r>
              <a:rPr lang="en-US" sz="700" b="1" kern="1200" cap="all" spc="150" baseline="0">
                <a:solidFill>
                  <a:schemeClr val="bg1">
                    <a:lumMod val="65000"/>
                  </a:schemeClr>
                </a:solidFill>
                <a:latin typeface="+mn-lt"/>
                <a:ea typeface="+mn-ea"/>
                <a:cs typeface="Calibri Light" panose="020F0302020204030204" pitchFamily="34" charset="0"/>
              </a:rPr>
              <a:t>DETAILED BIO</a:t>
            </a:r>
          </a:p>
        </p:txBody>
      </p:sp>
      <p:sp>
        <p:nvSpPr>
          <p:cNvPr id="14" name="Picture Placeholder 3">
            <a:extLst>
              <a:ext uri="{FF2B5EF4-FFF2-40B4-BE49-F238E27FC236}">
                <a16:creationId xmlns:a16="http://schemas.microsoft.com/office/drawing/2014/main" id="{10A02E1E-2ABF-4B19-8A99-9DE0785B6F45}"/>
              </a:ext>
            </a:extLst>
          </p:cNvPr>
          <p:cNvSpPr>
            <a:spLocks noGrp="1"/>
          </p:cNvSpPr>
          <p:nvPr>
            <p:ph type="pic" sz="quarter" idx="15"/>
          </p:nvPr>
        </p:nvSpPr>
        <p:spPr>
          <a:xfrm>
            <a:off x="914401" y="1062037"/>
            <a:ext cx="828000" cy="828000"/>
          </a:xfrm>
        </p:spPr>
        <p:txBody>
          <a:bodyPr/>
          <a:lstStyle/>
          <a:p>
            <a:endParaRPr lang="pl-PL"/>
          </a:p>
        </p:txBody>
      </p:sp>
      <p:sp>
        <p:nvSpPr>
          <p:cNvPr id="15" name="Rectangle 14">
            <a:extLst>
              <a:ext uri="{FF2B5EF4-FFF2-40B4-BE49-F238E27FC236}">
                <a16:creationId xmlns:a16="http://schemas.microsoft.com/office/drawing/2014/main" id="{553A8517-18A4-4648-945F-B1B6639238BB}"/>
              </a:ext>
            </a:extLst>
          </p:cNvPr>
          <p:cNvSpPr>
            <a:spLocks/>
          </p:cNvSpPr>
          <p:nvPr userDrawn="1"/>
        </p:nvSpPr>
        <p:spPr>
          <a:xfrm>
            <a:off x="7955675" y="0"/>
            <a:ext cx="42363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7" name="Text Placeholder 7">
            <a:extLst>
              <a:ext uri="{FF2B5EF4-FFF2-40B4-BE49-F238E27FC236}">
                <a16:creationId xmlns:a16="http://schemas.microsoft.com/office/drawing/2014/main" id="{F2050AD8-EFC5-424B-ADA1-A6E11472969D}"/>
              </a:ext>
            </a:extLst>
          </p:cNvPr>
          <p:cNvSpPr>
            <a:spLocks noGrp="1"/>
          </p:cNvSpPr>
          <p:nvPr>
            <p:ph type="body" sz="quarter" idx="16" hasCustomPrompt="1"/>
          </p:nvPr>
        </p:nvSpPr>
        <p:spPr>
          <a:xfrm>
            <a:off x="1866900" y="1660760"/>
            <a:ext cx="4142847" cy="210085"/>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b="0">
                <a:solidFill>
                  <a:schemeClr val="bg1">
                    <a:lumMod val="50000"/>
                  </a:schemeClr>
                </a:solidFill>
              </a:defRPr>
            </a:lvl1pPr>
          </a:lstStyle>
          <a:p>
            <a:pPr lvl="0"/>
            <a:r>
              <a:rPr lang="en-US"/>
              <a:t>DELOITTE POSITION, EG. CONSULTANT</a:t>
            </a:r>
          </a:p>
        </p:txBody>
      </p:sp>
      <p:sp>
        <p:nvSpPr>
          <p:cNvPr id="19" name="Text Placeholder 7">
            <a:extLst>
              <a:ext uri="{FF2B5EF4-FFF2-40B4-BE49-F238E27FC236}">
                <a16:creationId xmlns:a16="http://schemas.microsoft.com/office/drawing/2014/main" id="{9D729E46-E97A-4A7A-B9C3-03086CA11BF5}"/>
              </a:ext>
            </a:extLst>
          </p:cNvPr>
          <p:cNvSpPr>
            <a:spLocks noGrp="1"/>
          </p:cNvSpPr>
          <p:nvPr>
            <p:ph type="body" sz="quarter" idx="17" hasCustomPrompt="1"/>
          </p:nvPr>
        </p:nvSpPr>
        <p:spPr>
          <a:xfrm>
            <a:off x="914401" y="2098282"/>
            <a:ext cx="3492000" cy="3228630"/>
          </a:xfrm>
        </p:spPr>
        <p:txBody>
          <a:bodyPr lIns="0" tIns="0" rIns="0" bIns="0" anchor="t"/>
          <a:lstStyle>
            <a:lvl1pPr rtl="0">
              <a:defRPr kumimoji="0" lang="en-US" sz="1050" i="0" u="none" strike="noStrike"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defRPr>
            </a:lvl1pPr>
          </a:lstStyle>
          <a:p>
            <a:pPr marR="0" lvl="0" algn="just" defTabSz="685800" fontAlgn="auto">
              <a:lnSpc>
                <a:spcPts val="1500"/>
              </a:lnSpc>
              <a:spcBef>
                <a:spcPts val="600"/>
              </a:spcBef>
              <a:spcAft>
                <a:spcPts val="0"/>
              </a:spcAft>
              <a:buClrTx/>
              <a:buSzTx/>
              <a:buFontTx/>
              <a:tabLst/>
            </a:pPr>
            <a:r>
              <a:rPr lang="en-US"/>
              <a:t>Place for bio</a:t>
            </a:r>
          </a:p>
        </p:txBody>
      </p:sp>
      <p:sp>
        <p:nvSpPr>
          <p:cNvPr id="3" name="Text Placeholder 2">
            <a:extLst>
              <a:ext uri="{FF2B5EF4-FFF2-40B4-BE49-F238E27FC236}">
                <a16:creationId xmlns:a16="http://schemas.microsoft.com/office/drawing/2014/main" id="{B8D0C968-683A-4B57-99EE-1A91F78C6428}"/>
              </a:ext>
            </a:extLst>
          </p:cNvPr>
          <p:cNvSpPr>
            <a:spLocks noGrp="1"/>
          </p:cNvSpPr>
          <p:nvPr>
            <p:ph type="body" sz="quarter" idx="20" hasCustomPrompt="1"/>
          </p:nvPr>
        </p:nvSpPr>
        <p:spPr>
          <a:xfrm>
            <a:off x="5162883" y="2098675"/>
            <a:ext cx="2520000" cy="4023829"/>
          </a:xfrm>
        </p:spPr>
        <p:txBody>
          <a:bodyPr/>
          <a:lstStyle>
            <a:lvl1pPr rtl="0">
              <a:lnSpc>
                <a:spcPts val="1200"/>
              </a:lnSpc>
              <a:spcAft>
                <a:spcPts val="0"/>
              </a:spcAft>
              <a:defRPr sz="1000" b="1">
                <a:latin typeface="+mn-lt"/>
              </a:defRPr>
            </a:lvl1pPr>
            <a:lvl2pPr rtl="0">
              <a:lnSpc>
                <a:spcPts val="1200"/>
              </a:lnSpc>
              <a:spcAft>
                <a:spcPts val="0"/>
              </a:spcAft>
              <a:defRPr sz="1000">
                <a:latin typeface="+mj-lt"/>
              </a:defRPr>
            </a:lvl2pPr>
            <a:lvl3pPr marL="0" indent="0">
              <a:buNone/>
              <a:defRPr sz="1000">
                <a:latin typeface="+mj-lt"/>
              </a:defRPr>
            </a:lvl3pPr>
            <a:lvl4pPr>
              <a:defRPr sz="1000">
                <a:latin typeface="+mj-lt"/>
              </a:defRPr>
            </a:lvl4pPr>
            <a:lvl5pPr>
              <a:defRPr sz="1000">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28118805"/>
      </p:ext>
    </p:extLst>
  </p:cSld>
  <p:clrMapOvr>
    <a:masterClrMapping/>
  </p:clrMapOvr>
  <p:transition/>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01 Title Slide ">
    <p:bg bwMode="gray">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255635-2314-71DD-F416-3CECFACA5DCF}"/>
              </a:ext>
            </a:extLst>
          </p:cNvPr>
          <p:cNvGraphicFramePr>
            <a:graphicFrameLocks noChangeAspect="1"/>
          </p:cNvGraphicFramePr>
          <p:nvPr userDrawn="1">
            <p:custDataLst>
              <p:tags r:id="rId1"/>
            </p:custDataLst>
            <p:extLst>
              <p:ext uri="{D42A27DB-BD31-4B8C-83A1-F6EECF244321}">
                <p14:modId xmlns:p14="http://schemas.microsoft.com/office/powerpoint/2010/main" val="833756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F2255635-2314-71DD-F416-3CECFACA5D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BEE8DFD-D8BC-E750-8C41-778E6668B3C7}"/>
              </a:ext>
            </a:extLst>
          </p:cNvPr>
          <p:cNvPicPr>
            <a:picLocks noChangeAspect="1"/>
          </p:cNvPicPr>
          <p:nvPr userDrawn="1"/>
        </p:nvPicPr>
        <p:blipFill rotWithShape="1">
          <a:blip r:embed="rId5" cstate="email">
            <a:alphaModFix amt="60000"/>
            <a:extLst>
              <a:ext uri="{28A0092B-C50C-407E-A947-70E740481C1C}">
                <a14:useLocalDpi xmlns:a14="http://schemas.microsoft.com/office/drawing/2010/main"/>
              </a:ext>
            </a:extLst>
          </a:blip>
          <a:srcRect/>
          <a:stretch/>
        </p:blipFill>
        <p:spPr>
          <a:xfrm rot="5400000">
            <a:off x="-955042" y="955040"/>
            <a:ext cx="6858003" cy="4947924"/>
          </a:xfrm>
          <a:prstGeom prst="rect">
            <a:avLst/>
          </a:prstGeom>
        </p:spPr>
      </p:pic>
      <p:pic>
        <p:nvPicPr>
          <p:cNvPr id="4" name="Picture 3">
            <a:extLst>
              <a:ext uri="{FF2B5EF4-FFF2-40B4-BE49-F238E27FC236}">
                <a16:creationId xmlns:a16="http://schemas.microsoft.com/office/drawing/2014/main" id="{249E0828-2243-DF09-EA4F-081E481AF8D7}"/>
              </a:ext>
            </a:extLst>
          </p:cNvPr>
          <p:cNvPicPr>
            <a:picLocks noChangeAspect="1"/>
          </p:cNvPicPr>
          <p:nvPr userDrawn="1"/>
        </p:nvPicPr>
        <p:blipFill rotWithShape="1">
          <a:blip r:embed="rId6"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9"/>
            <a:ext cx="3192779" cy="772631"/>
          </a:xfrm>
          <a:prstGeom prst="rect">
            <a:avLst/>
          </a:prstGeom>
        </p:spPr>
        <p:txBody>
          <a:bodyPr vert="horz" anchor="b" anchorCtr="0">
            <a:noAutofit/>
          </a:bodyPr>
          <a:lstStyle>
            <a:lvl1pPr algn="l" rtl="0">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rtl="0">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90"/>
            <a:ext cx="1927035" cy="273050"/>
          </a:xfrm>
          <a:prstGeom prst="rect">
            <a:avLst/>
          </a:prstGeom>
        </p:spPr>
        <p:txBody>
          <a:bodyPr anchor="t">
            <a:noAutofit/>
          </a:bodyPr>
          <a:lstStyle>
            <a:lvl1pPr rtl="0">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7" name="Picture 6">
            <a:extLst>
              <a:ext uri="{FF2B5EF4-FFF2-40B4-BE49-F238E27FC236}">
                <a16:creationId xmlns:a16="http://schemas.microsoft.com/office/drawing/2014/main" id="{A063D0BB-4AB1-5046-FFC6-B0E0F5C6BC02}"/>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749935" y="550535"/>
            <a:ext cx="4797371" cy="6031066"/>
          </a:xfrm>
          <a:prstGeom prst="rect">
            <a:avLst/>
          </a:prstGeom>
        </p:spPr>
      </p:pic>
    </p:spTree>
    <p:extLst>
      <p:ext uri="{BB962C8B-B14F-4D97-AF65-F5344CB8AC3E}">
        <p14:creationId xmlns:p14="http://schemas.microsoft.com/office/powerpoint/2010/main" val="145524360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02 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B8B2D5E-349E-B9C7-DEB5-CDFDD35A49CE}"/>
              </a:ext>
            </a:extLst>
          </p:cNvPr>
          <p:cNvGraphicFramePr>
            <a:graphicFrameLocks noChangeAspect="1"/>
          </p:cNvGraphicFramePr>
          <p:nvPr userDrawn="1">
            <p:custDataLst>
              <p:tags r:id="rId1"/>
            </p:custDataLst>
            <p:extLst>
              <p:ext uri="{D42A27DB-BD31-4B8C-83A1-F6EECF244321}">
                <p14:modId xmlns:p14="http://schemas.microsoft.com/office/powerpoint/2010/main" val="3243324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CB8B2D5E-349E-B9C7-DEB5-CDFDD35A49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1383946-5DBE-89F0-96A1-25D83E007946}"/>
              </a:ext>
            </a:extLst>
          </p:cNvPr>
          <p:cNvPicPr>
            <a:picLocks noChangeAspect="1"/>
          </p:cNvPicPr>
          <p:nvPr userDrawn="1"/>
        </p:nvPicPr>
        <p:blipFill rotWithShape="1">
          <a:blip r:embed="rId5" cstate="email">
            <a:alphaModFix amt="60000"/>
            <a:extLst>
              <a:ext uri="{28A0092B-C50C-407E-A947-70E740481C1C}">
                <a14:useLocalDpi xmlns:a14="http://schemas.microsoft.com/office/drawing/2010/main"/>
              </a:ext>
            </a:extLst>
          </a:blip>
          <a:srcRect/>
          <a:stretch/>
        </p:blipFill>
        <p:spPr>
          <a:xfrm rot="5400000">
            <a:off x="-955042" y="955040"/>
            <a:ext cx="6858003" cy="4947924"/>
          </a:xfrm>
          <a:prstGeom prst="rect">
            <a:avLst/>
          </a:prstGeom>
        </p:spPr>
      </p:pic>
      <p:pic>
        <p:nvPicPr>
          <p:cNvPr id="5" name="Picture 4">
            <a:extLst>
              <a:ext uri="{FF2B5EF4-FFF2-40B4-BE49-F238E27FC236}">
                <a16:creationId xmlns:a16="http://schemas.microsoft.com/office/drawing/2014/main" id="{F0143D07-A28D-C503-A615-89D6AB0B89DF}"/>
              </a:ext>
            </a:extLst>
          </p:cNvPr>
          <p:cNvPicPr>
            <a:picLocks noChangeAspect="1"/>
          </p:cNvPicPr>
          <p:nvPr userDrawn="1"/>
        </p:nvPicPr>
        <p:blipFill rotWithShape="1">
          <a:blip r:embed="rId6"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vert="horz" anchor="b" anchorCtr="0">
            <a:noAutofit/>
          </a:bodyPr>
          <a:lstStyle>
            <a:lvl1pPr algn="l" rtl="0">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rtl="0">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rtl="0">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2" name="Picture 1">
            <a:extLst>
              <a:ext uri="{FF2B5EF4-FFF2-40B4-BE49-F238E27FC236}">
                <a16:creationId xmlns:a16="http://schemas.microsoft.com/office/drawing/2014/main" id="{B228C7D8-FFE2-7419-A5BE-A249E096FDEE}"/>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527217" y="591921"/>
            <a:ext cx="4636325" cy="5598921"/>
          </a:xfrm>
          <a:prstGeom prst="rect">
            <a:avLst/>
          </a:prstGeom>
        </p:spPr>
      </p:pic>
    </p:spTree>
    <p:extLst>
      <p:ext uri="{BB962C8B-B14F-4D97-AF65-F5344CB8AC3E}">
        <p14:creationId xmlns:p14="http://schemas.microsoft.com/office/powerpoint/2010/main" val="411947846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03 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A0DCA8B-5467-F6CC-3306-00729FD24535}"/>
              </a:ext>
            </a:extLst>
          </p:cNvPr>
          <p:cNvGraphicFramePr>
            <a:graphicFrameLocks noChangeAspect="1"/>
          </p:cNvGraphicFramePr>
          <p:nvPr userDrawn="1">
            <p:custDataLst>
              <p:tags r:id="rId1"/>
            </p:custDataLst>
            <p:extLst>
              <p:ext uri="{D42A27DB-BD31-4B8C-83A1-F6EECF244321}">
                <p14:modId xmlns:p14="http://schemas.microsoft.com/office/powerpoint/2010/main" val="9632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1A0DCA8B-5467-F6CC-3306-00729FD245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1383946-5DBE-89F0-96A1-25D83E007946}"/>
              </a:ext>
            </a:extLst>
          </p:cNvPr>
          <p:cNvPicPr>
            <a:picLocks noChangeAspect="1"/>
          </p:cNvPicPr>
          <p:nvPr userDrawn="1"/>
        </p:nvPicPr>
        <p:blipFill rotWithShape="1">
          <a:blip r:embed="rId5" cstate="email">
            <a:alphaModFix amt="60000"/>
            <a:extLst>
              <a:ext uri="{28A0092B-C50C-407E-A947-70E740481C1C}">
                <a14:useLocalDpi xmlns:a14="http://schemas.microsoft.com/office/drawing/2010/main"/>
              </a:ext>
            </a:extLst>
          </a:blip>
          <a:srcRect/>
          <a:stretch/>
        </p:blipFill>
        <p:spPr>
          <a:xfrm rot="5400000">
            <a:off x="-955042" y="955040"/>
            <a:ext cx="6858003" cy="4947924"/>
          </a:xfrm>
          <a:prstGeom prst="rect">
            <a:avLst/>
          </a:prstGeom>
        </p:spPr>
      </p:pic>
      <p:pic>
        <p:nvPicPr>
          <p:cNvPr id="5" name="Picture 4">
            <a:extLst>
              <a:ext uri="{FF2B5EF4-FFF2-40B4-BE49-F238E27FC236}">
                <a16:creationId xmlns:a16="http://schemas.microsoft.com/office/drawing/2014/main" id="{F0143D07-A28D-C503-A615-89D6AB0B89DF}"/>
              </a:ext>
            </a:extLst>
          </p:cNvPr>
          <p:cNvPicPr>
            <a:picLocks noChangeAspect="1"/>
          </p:cNvPicPr>
          <p:nvPr userDrawn="1"/>
        </p:nvPicPr>
        <p:blipFill rotWithShape="1">
          <a:blip r:embed="rId6"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vert="horz" anchor="b" anchorCtr="0">
            <a:noAutofit/>
          </a:bodyPr>
          <a:lstStyle>
            <a:lvl1pPr algn="l" rtl="0">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rtl="0">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rtl="0">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4" name="Picture 3">
            <a:extLst>
              <a:ext uri="{FF2B5EF4-FFF2-40B4-BE49-F238E27FC236}">
                <a16:creationId xmlns:a16="http://schemas.microsoft.com/office/drawing/2014/main" id="{39610CC3-5953-713C-84FB-A05C9F227DD7}"/>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b="-9582"/>
          <a:stretch/>
        </p:blipFill>
        <p:spPr>
          <a:xfrm>
            <a:off x="6749935" y="361264"/>
            <a:ext cx="4947925" cy="6220337"/>
          </a:xfrm>
          <a:prstGeom prst="rect">
            <a:avLst/>
          </a:prstGeom>
        </p:spPr>
      </p:pic>
    </p:spTree>
    <p:extLst>
      <p:ext uri="{BB962C8B-B14F-4D97-AF65-F5344CB8AC3E}">
        <p14:creationId xmlns:p14="http://schemas.microsoft.com/office/powerpoint/2010/main" val="107043454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04 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D7713B9-9DAD-8EB2-A075-07C66B8A34B5}"/>
              </a:ext>
            </a:extLst>
          </p:cNvPr>
          <p:cNvGraphicFramePr>
            <a:graphicFrameLocks noChangeAspect="1"/>
          </p:cNvGraphicFramePr>
          <p:nvPr userDrawn="1">
            <p:custDataLst>
              <p:tags r:id="rId1"/>
            </p:custDataLst>
            <p:extLst>
              <p:ext uri="{D42A27DB-BD31-4B8C-83A1-F6EECF244321}">
                <p14:modId xmlns:p14="http://schemas.microsoft.com/office/powerpoint/2010/main" val="162918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9D7713B9-9DAD-8EB2-A075-07C66B8A34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vert="horz" anchor="b" anchorCtr="0">
            <a:noAutofit/>
          </a:bodyPr>
          <a:lstStyle>
            <a:lvl1pPr algn="l" rtl="0">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rtl="0">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rtl="0">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6" name="Picture 5">
            <a:extLst>
              <a:ext uri="{FF2B5EF4-FFF2-40B4-BE49-F238E27FC236}">
                <a16:creationId xmlns:a16="http://schemas.microsoft.com/office/drawing/2014/main" id="{EAA4BF46-4158-00EE-252F-1050CEE33D65}"/>
              </a:ext>
            </a:extLst>
          </p:cNvPr>
          <p:cNvPicPr>
            <a:picLocks noChangeAspect="1"/>
          </p:cNvPicPr>
          <p:nvPr userDrawn="1"/>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625875" y="595116"/>
            <a:ext cx="5960495" cy="5667768"/>
          </a:xfrm>
          <a:prstGeom prst="rect">
            <a:avLst/>
          </a:prstGeom>
        </p:spPr>
      </p:pic>
    </p:spTree>
    <p:extLst>
      <p:ext uri="{BB962C8B-B14F-4D97-AF65-F5344CB8AC3E}">
        <p14:creationId xmlns:p14="http://schemas.microsoft.com/office/powerpoint/2010/main" val="244628697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05 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ECE35A-594A-BAF4-1097-3229982C9CE5}"/>
              </a:ext>
            </a:extLst>
          </p:cNvPr>
          <p:cNvGraphicFramePr>
            <a:graphicFrameLocks noChangeAspect="1"/>
          </p:cNvGraphicFramePr>
          <p:nvPr userDrawn="1">
            <p:custDataLst>
              <p:tags r:id="rId1"/>
            </p:custDataLst>
            <p:extLst>
              <p:ext uri="{D42A27DB-BD31-4B8C-83A1-F6EECF244321}">
                <p14:modId xmlns:p14="http://schemas.microsoft.com/office/powerpoint/2010/main" val="303237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5AECE35A-594A-BAF4-1097-3229982C9C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1383946-5DBE-89F0-96A1-25D83E007946}"/>
              </a:ext>
            </a:extLst>
          </p:cNvPr>
          <p:cNvPicPr>
            <a:picLocks noChangeAspect="1"/>
          </p:cNvPicPr>
          <p:nvPr userDrawn="1"/>
        </p:nvPicPr>
        <p:blipFill rotWithShape="1">
          <a:blip r:embed="rId5" cstate="email">
            <a:alphaModFix amt="60000"/>
            <a:extLst>
              <a:ext uri="{28A0092B-C50C-407E-A947-70E740481C1C}">
                <a14:useLocalDpi xmlns:a14="http://schemas.microsoft.com/office/drawing/2010/main"/>
              </a:ext>
            </a:extLst>
          </a:blip>
          <a:srcRect/>
          <a:stretch/>
        </p:blipFill>
        <p:spPr>
          <a:xfrm rot="5400000">
            <a:off x="-955042" y="955040"/>
            <a:ext cx="6858003" cy="4947924"/>
          </a:xfrm>
          <a:prstGeom prst="rect">
            <a:avLst/>
          </a:prstGeom>
        </p:spPr>
      </p:pic>
      <p:pic>
        <p:nvPicPr>
          <p:cNvPr id="5" name="Picture 4">
            <a:extLst>
              <a:ext uri="{FF2B5EF4-FFF2-40B4-BE49-F238E27FC236}">
                <a16:creationId xmlns:a16="http://schemas.microsoft.com/office/drawing/2014/main" id="{F0143D07-A28D-C503-A615-89D6AB0B89DF}"/>
              </a:ext>
            </a:extLst>
          </p:cNvPr>
          <p:cNvPicPr>
            <a:picLocks noChangeAspect="1"/>
          </p:cNvPicPr>
          <p:nvPr userDrawn="1"/>
        </p:nvPicPr>
        <p:blipFill rotWithShape="1">
          <a:blip r:embed="rId6"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vert="horz" anchor="b" anchorCtr="0">
            <a:noAutofit/>
          </a:bodyPr>
          <a:lstStyle>
            <a:lvl1pPr algn="l" rtl="0">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rtl="0">
              <a:spcAft>
                <a:spcPts val="0"/>
              </a:spcAft>
              <a:defRPr sz="2400" b="0" i="0">
                <a:solidFill>
                  <a:schemeClr val="accent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rtl="0">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6" name="Picture 5">
            <a:extLst>
              <a:ext uri="{FF2B5EF4-FFF2-40B4-BE49-F238E27FC236}">
                <a16:creationId xmlns:a16="http://schemas.microsoft.com/office/drawing/2014/main" id="{DA5C2B61-B2DD-3DBA-80F7-B0938F8654BE}"/>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746570" y="344137"/>
            <a:ext cx="4984865" cy="6266776"/>
          </a:xfrm>
          <a:prstGeom prst="rect">
            <a:avLst/>
          </a:prstGeom>
        </p:spPr>
      </p:pic>
    </p:spTree>
    <p:extLst>
      <p:ext uri="{BB962C8B-B14F-4D97-AF65-F5344CB8AC3E}">
        <p14:creationId xmlns:p14="http://schemas.microsoft.com/office/powerpoint/2010/main" val="37670298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06 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072B336-B642-DE94-CA34-E92D6F97676A}"/>
              </a:ext>
            </a:extLst>
          </p:cNvPr>
          <p:cNvGraphicFramePr>
            <a:graphicFrameLocks noChangeAspect="1"/>
          </p:cNvGraphicFramePr>
          <p:nvPr userDrawn="1">
            <p:custDataLst>
              <p:tags r:id="rId1"/>
            </p:custDataLst>
            <p:extLst>
              <p:ext uri="{D42A27DB-BD31-4B8C-83A1-F6EECF244321}">
                <p14:modId xmlns:p14="http://schemas.microsoft.com/office/powerpoint/2010/main" val="1429521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9072B336-B642-DE94-CA34-E92D6F9767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C194BE2-EDEB-505E-9C9A-ED2F4B08D99A}"/>
              </a:ext>
            </a:extLst>
          </p:cNvPr>
          <p:cNvPicPr>
            <a:picLocks noChangeAspect="1"/>
          </p:cNvPicPr>
          <p:nvPr userDrawn="1"/>
        </p:nvPicPr>
        <p:blipFill rotWithShape="1">
          <a:blip r:embed="rId5" cstate="email">
            <a:alphaModFix amt="90000"/>
            <a:extLst>
              <a:ext uri="{28A0092B-C50C-407E-A947-70E740481C1C}">
                <a14:useLocalDpi xmlns:a14="http://schemas.microsoft.com/office/drawing/2010/main"/>
              </a:ext>
            </a:extLst>
          </a:blip>
          <a:srcRect t="-6446"/>
          <a:stretch/>
        </p:blipFill>
        <p:spPr>
          <a:xfrm>
            <a:off x="6117772" y="143960"/>
            <a:ext cx="5221152" cy="5959923"/>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069735"/>
            <a:ext cx="3192779" cy="772631"/>
          </a:xfrm>
          <a:prstGeom prst="rect">
            <a:avLst/>
          </a:prstGeom>
        </p:spPr>
        <p:txBody>
          <a:bodyPr vert="horz" anchor="b" anchorCtr="0">
            <a:noAutofit/>
          </a:bodyPr>
          <a:lstStyle>
            <a:lvl1pPr algn="l" rtl="0">
              <a:lnSpc>
                <a:spcPts val="3200"/>
              </a:lnSpc>
              <a:defRPr sz="28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5917792"/>
            <a:ext cx="4490721" cy="273050"/>
          </a:xfrm>
          <a:prstGeom prst="rect">
            <a:avLst/>
          </a:prstGeom>
        </p:spPr>
        <p:txBody>
          <a:bodyPr anchor="t">
            <a:noAutofit/>
          </a:bodyPr>
          <a:lstStyle>
            <a:lvl1pPr rtl="0">
              <a:spcAft>
                <a:spcPts val="0"/>
              </a:spcAft>
              <a:defRPr sz="2400" b="0" i="0">
                <a:solidFill>
                  <a:srgbClr val="00ABAB"/>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Subtitle</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sp>
        <p:nvSpPr>
          <p:cNvPr id="3" name="Text Placeholder 4">
            <a:extLst>
              <a:ext uri="{FF2B5EF4-FFF2-40B4-BE49-F238E27FC236}">
                <a16:creationId xmlns:a16="http://schemas.microsoft.com/office/drawing/2014/main" id="{A4250E15-BC3F-544F-8ECC-1FFE3EAFFFA8}"/>
              </a:ext>
            </a:extLst>
          </p:cNvPr>
          <p:cNvSpPr>
            <a:spLocks noGrp="1"/>
          </p:cNvSpPr>
          <p:nvPr>
            <p:ph type="body" sz="quarter" idx="11" hasCustomPrompt="1"/>
          </p:nvPr>
        </p:nvSpPr>
        <p:spPr>
          <a:xfrm>
            <a:off x="460565" y="4781586"/>
            <a:ext cx="1927035" cy="273050"/>
          </a:xfrm>
          <a:prstGeom prst="rect">
            <a:avLst/>
          </a:prstGeom>
        </p:spPr>
        <p:txBody>
          <a:bodyPr anchor="t">
            <a:noAutofit/>
          </a:bodyPr>
          <a:lstStyle>
            <a:lvl1pPr rtl="0">
              <a:spcAft>
                <a:spcPts val="0"/>
              </a:spcAft>
              <a:defRPr sz="1400" b="0" i="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Date</a:t>
            </a:r>
          </a:p>
        </p:txBody>
      </p:sp>
      <p:pic>
        <p:nvPicPr>
          <p:cNvPr id="7" name="Picture 6">
            <a:extLst>
              <a:ext uri="{FF2B5EF4-FFF2-40B4-BE49-F238E27FC236}">
                <a16:creationId xmlns:a16="http://schemas.microsoft.com/office/drawing/2014/main" id="{6B4D5932-43B9-417A-9A11-AEB011F8B11C}"/>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b="-7526"/>
          <a:stretch/>
        </p:blipFill>
        <p:spPr>
          <a:xfrm>
            <a:off x="6541554" y="914399"/>
            <a:ext cx="4490722" cy="4927967"/>
          </a:xfrm>
          <a:prstGeom prst="rect">
            <a:avLst/>
          </a:prstGeom>
        </p:spPr>
      </p:pic>
    </p:spTree>
    <p:extLst>
      <p:ext uri="{BB962C8B-B14F-4D97-AF65-F5344CB8AC3E}">
        <p14:creationId xmlns:p14="http://schemas.microsoft.com/office/powerpoint/2010/main" val="297071149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Executive Letter">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B89549-8434-4697-FD63-8A77788B5334}"/>
              </a:ext>
            </a:extLst>
          </p:cNvPr>
          <p:cNvGraphicFramePr>
            <a:graphicFrameLocks noChangeAspect="1"/>
          </p:cNvGraphicFramePr>
          <p:nvPr userDrawn="1">
            <p:custDataLst>
              <p:tags r:id="rId1"/>
            </p:custDataLst>
            <p:extLst>
              <p:ext uri="{D42A27DB-BD31-4B8C-83A1-F6EECF244321}">
                <p14:modId xmlns:p14="http://schemas.microsoft.com/office/powerpoint/2010/main" val="165302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3CB89549-8434-4697-FD63-8A77788B53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0DA1C71-1F8C-5089-8F53-D2E6003EBA5E}"/>
              </a:ext>
            </a:extLst>
          </p:cNvPr>
          <p:cNvSpPr/>
          <p:nvPr userDrawn="1"/>
        </p:nvSpPr>
        <p:spPr bwMode="gray">
          <a:xfrm>
            <a:off x="8421651" y="6431279"/>
            <a:ext cx="3417423" cy="306405"/>
          </a:xfrm>
          <a:prstGeom prst="rect">
            <a:avLst/>
          </a:prstGeom>
          <a:solidFill>
            <a:schemeClr val="bg1"/>
          </a:solid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pic>
        <p:nvPicPr>
          <p:cNvPr id="2" name="Picture 1">
            <a:extLst>
              <a:ext uri="{FF2B5EF4-FFF2-40B4-BE49-F238E27FC236}">
                <a16:creationId xmlns:a16="http://schemas.microsoft.com/office/drawing/2014/main" id="{59252699-CFF7-221B-05C2-7AE9EF640891}"/>
              </a:ext>
            </a:extLst>
          </p:cNvPr>
          <p:cNvPicPr>
            <a:picLocks noChangeAspect="1"/>
          </p:cNvPicPr>
          <p:nvPr userDrawn="1"/>
        </p:nvPicPr>
        <p:blipFill rotWithShape="1">
          <a:blip r:embed="rId5" cstate="email">
            <a:alphaModFix amt="60000"/>
            <a:extLst>
              <a:ext uri="{28A0092B-C50C-407E-A947-70E740481C1C}">
                <a14:useLocalDpi xmlns:a14="http://schemas.microsoft.com/office/drawing/2010/main"/>
              </a:ext>
            </a:extLst>
          </a:blip>
          <a:srcRect/>
          <a:stretch/>
        </p:blipFill>
        <p:spPr>
          <a:xfrm rot="16200000">
            <a:off x="6289037" y="955036"/>
            <a:ext cx="6858003" cy="4947924"/>
          </a:xfrm>
          <a:prstGeom prst="rect">
            <a:avLst/>
          </a:prstGeom>
        </p:spPr>
      </p:pic>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457200" y="408126"/>
            <a:ext cx="11233150" cy="334099"/>
          </a:xfrm>
          <a:prstGeom prst="rect">
            <a:avLst/>
          </a:prstGeom>
        </p:spPr>
        <p:txBody>
          <a:bodyPr vert="horz" lIns="0" tIns="0" rIns="0" bIns="0" rtlCol="0" anchor="t" anchorCtr="0">
            <a:noAutofit/>
          </a:bodyPr>
          <a:lstStyle>
            <a:lvl1pPr rtl="0">
              <a:defRPr sz="2800" b="0" i="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6" name="Text Placeholder 18"/>
          <p:cNvSpPr>
            <a:spLocks noGrp="1"/>
          </p:cNvSpPr>
          <p:nvPr>
            <p:ph idx="1"/>
          </p:nvPr>
        </p:nvSpPr>
        <p:spPr>
          <a:xfrm>
            <a:off x="457200" y="1720024"/>
            <a:ext cx="7514823" cy="3440104"/>
          </a:xfrm>
          <a:prstGeom prst="rect">
            <a:avLst/>
          </a:prstGeom>
        </p:spPr>
        <p:txBody>
          <a:bodyPr vert="horz" lIns="0" tIns="0" rIns="0" bIns="0" rtlCol="0">
            <a:noAutofit/>
          </a:bodyPr>
          <a:lstStyle>
            <a:lvl1pPr marL="0" indent="0" algn="l" rtl="0">
              <a:buFontTx/>
              <a:buNone/>
              <a:defRPr sz="105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rtl="0">
              <a:buClrTx/>
              <a:buSzPct val="100000"/>
              <a:buFont typeface="Arial" panose="020B0604020202020204" pitchFamily="34" charset="0"/>
              <a:buNone/>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177800" indent="-177800" algn="l" rtl="0">
              <a:buClrTx/>
              <a:buSzPct val="100000"/>
              <a:buFont typeface="Arial" panose="020B0604020202020204" pitchFamily="34" charset="0"/>
              <a:buChar char="•"/>
              <a:defRPr sz="1050" b="0" i="0">
                <a:latin typeface="Open Sans Light" panose="020B0306030504020204" pitchFamily="34" charset="0"/>
                <a:ea typeface="Open Sans Light" panose="020B0306030504020204" pitchFamily="34" charset="0"/>
                <a:cs typeface="Open Sans Light" panose="020B0306030504020204" pitchFamily="34" charset="0"/>
              </a:defRPr>
            </a:lvl3pPr>
            <a:lvl4pPr marL="361950" indent="-184150" algn="l" rtl="0">
              <a:buClrTx/>
              <a:buSzPct val="100000"/>
              <a:buFont typeface="Calibri" panose="020F0502020204030204" pitchFamily="34" charset="0"/>
              <a:buChar char="−"/>
              <a:defRPr sz="105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rtl="0">
              <a:buClrTx/>
              <a:buSzPct val="100000"/>
              <a:buFont typeface="Arial" panose="020B0604020202020204" pitchFamily="34" charset="0"/>
              <a:buNone/>
              <a:defRPr sz="105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17" name="Text Placeholder 2">
            <a:extLst>
              <a:ext uri="{FF2B5EF4-FFF2-40B4-BE49-F238E27FC236}">
                <a16:creationId xmlns:a16="http://schemas.microsoft.com/office/drawing/2014/main" id="{5E8BC7F1-F694-4CA7-A70A-A65C43530D7A}"/>
              </a:ext>
            </a:extLst>
          </p:cNvPr>
          <p:cNvSpPr>
            <a:spLocks noGrp="1"/>
          </p:cNvSpPr>
          <p:nvPr>
            <p:ph type="body" sz="quarter" idx="19"/>
          </p:nvPr>
        </p:nvSpPr>
        <p:spPr>
          <a:xfrm>
            <a:off x="457200" y="5806440"/>
            <a:ext cx="2655839" cy="553257"/>
          </a:xfrm>
        </p:spPr>
        <p:txBody>
          <a:bodyPr anchor="b" anchorCtr="0">
            <a:noAutofit/>
          </a:bodyPr>
          <a:lstStyle>
            <a:lvl1pPr rtl="0">
              <a:spcAft>
                <a:spcPts val="100"/>
              </a:spcAft>
              <a:defRPr sz="105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0" indent="0" rtl="0">
              <a:spcAft>
                <a:spcPts val="100"/>
              </a:spcAft>
              <a:buNone/>
              <a:defRPr sz="1050" b="0" i="0">
                <a:latin typeface="Open Sans Light" panose="020B0306030504020204" pitchFamily="34" charset="0"/>
                <a:ea typeface="Open Sans Light" panose="020B0306030504020204" pitchFamily="34" charset="0"/>
                <a:cs typeface="Open Sans Light" panose="020B0306030504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20" name="Text Placeholder 2">
            <a:extLst>
              <a:ext uri="{FF2B5EF4-FFF2-40B4-BE49-F238E27FC236}">
                <a16:creationId xmlns:a16="http://schemas.microsoft.com/office/drawing/2014/main" id="{4DA77FBC-C45F-4D11-9955-71603773C8FB}"/>
              </a:ext>
            </a:extLst>
          </p:cNvPr>
          <p:cNvSpPr>
            <a:spLocks noGrp="1"/>
          </p:cNvSpPr>
          <p:nvPr>
            <p:ph type="body" sz="quarter" idx="21"/>
          </p:nvPr>
        </p:nvSpPr>
        <p:spPr>
          <a:xfrm>
            <a:off x="5261958" y="5806440"/>
            <a:ext cx="2710065" cy="553257"/>
          </a:xfrm>
        </p:spPr>
        <p:txBody>
          <a:bodyPr anchor="b" anchorCtr="0">
            <a:noAutofit/>
          </a:bodyPr>
          <a:lstStyle>
            <a:lvl1pPr rtl="0">
              <a:spcAft>
                <a:spcPts val="100"/>
              </a:spcAft>
              <a:defRPr sz="105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050" b="0" i="0">
                <a:latin typeface="Open Sans Light" panose="020B0306030504020204" pitchFamily="34" charset="0"/>
                <a:ea typeface="Open Sans Light" panose="020B0306030504020204" pitchFamily="34" charset="0"/>
                <a:cs typeface="Open Sans Light" panose="020B0306030504020204" pitchFamily="34" charset="0"/>
              </a:defRPr>
            </a:lvl2pPr>
            <a:lvl3pPr marL="0" indent="0" rtl="0">
              <a:spcAft>
                <a:spcPts val="100"/>
              </a:spcAft>
              <a:buNone/>
              <a:defRPr sz="1050" b="0" i="0">
                <a:latin typeface="Open Sans Light" panose="020B0306030504020204" pitchFamily="34" charset="0"/>
                <a:ea typeface="Open Sans Light" panose="020B0306030504020204" pitchFamily="34" charset="0"/>
                <a:cs typeface="Open Sans Light" panose="020B0306030504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98648848"/>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C8D2AA-E6D4-57D3-1B9A-F3E489ECA16E}"/>
              </a:ext>
            </a:extLst>
          </p:cNvPr>
          <p:cNvGraphicFramePr>
            <a:graphicFrameLocks noChangeAspect="1"/>
          </p:cNvGraphicFramePr>
          <p:nvPr userDrawn="1">
            <p:custDataLst>
              <p:tags r:id="rId1"/>
            </p:custDataLst>
            <p:extLst>
              <p:ext uri="{D42A27DB-BD31-4B8C-83A1-F6EECF244321}">
                <p14:modId xmlns:p14="http://schemas.microsoft.com/office/powerpoint/2010/main" val="371280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57C8D2AA-E6D4-57D3-1B9A-F3E489ECA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970E096-5C43-6A41-899E-E5FFB3EDB6C4}"/>
              </a:ext>
            </a:extLst>
          </p:cNvPr>
          <p:cNvSpPr/>
          <p:nvPr userDrawn="1"/>
        </p:nvSpPr>
        <p:spPr bwMode="gray">
          <a:xfrm>
            <a:off x="8089900" y="6235700"/>
            <a:ext cx="4102100" cy="622300"/>
          </a:xfrm>
          <a:prstGeom prst="rect">
            <a:avLst/>
          </a:prstGeom>
          <a:solidFill>
            <a:schemeClr val="bg1"/>
          </a:solid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pic>
        <p:nvPicPr>
          <p:cNvPr id="2" name="Picture 1">
            <a:extLst>
              <a:ext uri="{FF2B5EF4-FFF2-40B4-BE49-F238E27FC236}">
                <a16:creationId xmlns:a16="http://schemas.microsoft.com/office/drawing/2014/main" id="{069089D0-45DC-FDEF-0D7A-132D39F324D0}"/>
              </a:ext>
            </a:extLst>
          </p:cNvPr>
          <p:cNvPicPr>
            <a:picLocks noChangeAspect="1"/>
          </p:cNvPicPr>
          <p:nvPr userDrawn="1"/>
        </p:nvPicPr>
        <p:blipFill rotWithShape="1">
          <a:blip r:embed="rId5" cstate="email">
            <a:alphaModFix amt="60000"/>
            <a:extLst>
              <a:ext uri="{28A0092B-C50C-407E-A947-70E740481C1C}">
                <a14:useLocalDpi xmlns:a14="http://schemas.microsoft.com/office/drawing/2010/main"/>
              </a:ext>
            </a:extLst>
          </a:blip>
          <a:srcRect/>
          <a:stretch/>
        </p:blipFill>
        <p:spPr>
          <a:xfrm rot="16200000">
            <a:off x="6289037" y="955036"/>
            <a:ext cx="6858003" cy="4947924"/>
          </a:xfrm>
          <a:prstGeom prst="rect">
            <a:avLst/>
          </a:prstGeom>
        </p:spPr>
      </p:pic>
      <p:sp>
        <p:nvSpPr>
          <p:cNvPr id="3" name="Picture Placeholder 2">
            <a:extLst>
              <a:ext uri="{FF2B5EF4-FFF2-40B4-BE49-F238E27FC236}">
                <a16:creationId xmlns:a16="http://schemas.microsoft.com/office/drawing/2014/main" id="{7D3B13C3-393C-4200-8C43-FF0A0F4F1B04}"/>
              </a:ext>
            </a:extLst>
          </p:cNvPr>
          <p:cNvSpPr>
            <a:spLocks noGrp="1"/>
          </p:cNvSpPr>
          <p:nvPr>
            <p:ph type="pic" sz="quarter" idx="16"/>
          </p:nvPr>
        </p:nvSpPr>
        <p:spPr>
          <a:xfrm>
            <a:off x="-1" y="0"/>
            <a:ext cx="5943599" cy="6858000"/>
          </a:xfrm>
          <a:noFill/>
        </p:spPr>
        <p:txBody>
          <a:bodyPr/>
          <a:lstStyle/>
          <a:p>
            <a:endParaRPr lang="en-GB"/>
          </a:p>
        </p:txBody>
      </p:sp>
      <p:sp>
        <p:nvSpPr>
          <p:cNvPr id="6" name="Text Placeholder 6">
            <a:extLst>
              <a:ext uri="{FF2B5EF4-FFF2-40B4-BE49-F238E27FC236}">
                <a16:creationId xmlns:a16="http://schemas.microsoft.com/office/drawing/2014/main" id="{6C6339B5-7699-4A19-8895-B3E4B2F0C327}"/>
              </a:ext>
            </a:extLst>
          </p:cNvPr>
          <p:cNvSpPr>
            <a:spLocks noGrp="1"/>
          </p:cNvSpPr>
          <p:nvPr>
            <p:ph type="body" sz="quarter" idx="12" hasCustomPrompt="1"/>
          </p:nvPr>
        </p:nvSpPr>
        <p:spPr>
          <a:xfrm>
            <a:off x="7222017" y="2759090"/>
            <a:ext cx="4524376" cy="1431193"/>
          </a:xfrm>
        </p:spPr>
        <p:txBody>
          <a:bodyPr>
            <a:noAutofit/>
          </a:bodyPr>
          <a:lstStyle>
            <a:lvl1pPr rtl="0">
              <a:defRPr sz="4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dirty="0"/>
              <a:t>Chapter title</a:t>
            </a:r>
          </a:p>
        </p:txBody>
      </p:sp>
      <p:sp>
        <p:nvSpPr>
          <p:cNvPr id="8" name="Text Placeholder 6">
            <a:extLst>
              <a:ext uri="{FF2B5EF4-FFF2-40B4-BE49-F238E27FC236}">
                <a16:creationId xmlns:a16="http://schemas.microsoft.com/office/drawing/2014/main" id="{1933404C-073B-473E-ADD6-6A83E5E66698}"/>
              </a:ext>
            </a:extLst>
          </p:cNvPr>
          <p:cNvSpPr>
            <a:spLocks noGrp="1"/>
          </p:cNvSpPr>
          <p:nvPr>
            <p:ph type="body" sz="quarter" idx="15" hasCustomPrompt="1"/>
          </p:nvPr>
        </p:nvSpPr>
        <p:spPr>
          <a:xfrm>
            <a:off x="7222017" y="4488518"/>
            <a:ext cx="4156075" cy="801554"/>
          </a:xfrm>
        </p:spPr>
        <p:txBody>
          <a:bodyPr>
            <a:noAutofit/>
          </a:bodyPr>
          <a:lstStyle>
            <a:lvl1pPr rtl="0">
              <a:spcBef>
                <a:spcPts val="200"/>
              </a:spcBef>
              <a:spcAft>
                <a:spcPts val="200"/>
              </a:spcAft>
              <a:defRPr sz="2800" b="0" i="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Description</a:t>
            </a:r>
          </a:p>
        </p:txBody>
      </p:sp>
      <p:sp>
        <p:nvSpPr>
          <p:cNvPr id="7" name="Text Placeholder 4">
            <a:extLst>
              <a:ext uri="{FF2B5EF4-FFF2-40B4-BE49-F238E27FC236}">
                <a16:creationId xmlns:a16="http://schemas.microsoft.com/office/drawing/2014/main" id="{65976B20-788D-4778-BC22-8A934D752EB3}"/>
              </a:ext>
            </a:extLst>
          </p:cNvPr>
          <p:cNvSpPr>
            <a:spLocks noGrp="1"/>
          </p:cNvSpPr>
          <p:nvPr>
            <p:ph type="body" sz="quarter" idx="14" hasCustomPrompt="1"/>
          </p:nvPr>
        </p:nvSpPr>
        <p:spPr>
          <a:xfrm>
            <a:off x="7222017" y="1447838"/>
            <a:ext cx="1638299" cy="900720"/>
          </a:xfrm>
        </p:spPr>
        <p:txBody>
          <a:bodyPr anchor="t">
            <a:noAutofit/>
          </a:bodyPr>
          <a:lstStyle>
            <a:lvl1pPr algn="l" rtl="0">
              <a:defRPr sz="7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00</a:t>
            </a:r>
            <a:endParaRPr lang="en-US" dirty="0"/>
          </a:p>
        </p:txBody>
      </p:sp>
    </p:spTree>
    <p:extLst>
      <p:ext uri="{BB962C8B-B14F-4D97-AF65-F5344CB8AC3E}">
        <p14:creationId xmlns:p14="http://schemas.microsoft.com/office/powerpoint/2010/main" val="39973550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itle &amp; subtitle_Watercolour right">
    <p:bg>
      <p:bgPr>
        <a:blipFill dpi="0" rotWithShape="1">
          <a:blip r:embed="rId3" cstate="email">
            <a:alphaModFix amt="85000"/>
            <a:lum/>
            <a:extLst>
              <a:ext uri="{28A0092B-C50C-407E-A947-70E740481C1C}">
                <a14:useLocalDpi xmlns:a14="http://schemas.microsoft.com/office/drawing/2010/main"/>
              </a:ext>
            </a:extLst>
          </a:blip>
          <a:srcRect/>
          <a:stretch>
            <a:fillRect l="59000"/>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5C2C1D-1A57-D56A-834F-489D03778E82}"/>
              </a:ext>
            </a:extLst>
          </p:cNvPr>
          <p:cNvGraphicFramePr>
            <a:graphicFrameLocks noChangeAspect="1"/>
          </p:cNvGraphicFramePr>
          <p:nvPr userDrawn="1">
            <p:custDataLst>
              <p:tags r:id="rId1"/>
            </p:custDataLst>
            <p:extLst>
              <p:ext uri="{D42A27DB-BD31-4B8C-83A1-F6EECF244321}">
                <p14:modId xmlns:p14="http://schemas.microsoft.com/office/powerpoint/2010/main" val="234214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215C2C1D-1A57-D56A-834F-489D03778E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109238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Line_Title, Subhead_MAF_Fin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368" y="469900"/>
            <a:ext cx="11277280" cy="732508"/>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a:t>
            </a:r>
            <a:br>
              <a:rPr lang="en-GB"/>
            </a:br>
            <a:r>
              <a:rPr lang="en-GB"/>
              <a:t>title style</a:t>
            </a:r>
          </a:p>
        </p:txBody>
      </p:sp>
      <p:sp>
        <p:nvSpPr>
          <p:cNvPr id="4" name="Text Placeholder 8"/>
          <p:cNvSpPr>
            <a:spLocks noGrp="1"/>
          </p:cNvSpPr>
          <p:nvPr>
            <p:ph type="body" sz="quarter" idx="14" hasCustomPrompt="1"/>
          </p:nvPr>
        </p:nvSpPr>
        <p:spPr>
          <a:xfrm>
            <a:off x="457520" y="1219577"/>
            <a:ext cx="11276960" cy="283173"/>
          </a:xfrm>
          <a:prstGeom prst="rect">
            <a:avLst/>
          </a:prstGeom>
        </p:spPr>
        <p:txBody>
          <a:bodyPr vert="horz" lIns="0" tIns="0" rIns="0" bIns="0" rtlCol="0">
            <a:noAutofit/>
          </a:bodyPr>
          <a:lstStyle>
            <a:lvl1pPr marL="0" indent="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GB"/>
              <a:t>Edit Master text styles</a:t>
            </a:r>
          </a:p>
        </p:txBody>
      </p:sp>
      <p:sp>
        <p:nvSpPr>
          <p:cNvPr id="5" name="Text Placeholder 4">
            <a:extLst>
              <a:ext uri="{FF2B5EF4-FFF2-40B4-BE49-F238E27FC236}">
                <a16:creationId xmlns:a16="http://schemas.microsoft.com/office/drawing/2014/main" id="{E2B8159F-A4D5-40E3-937B-98705B9BD881}"/>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3172771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D3F6FF8-54D1-1AEB-F758-AF4369EF13ED}"/>
              </a:ext>
            </a:extLst>
          </p:cNvPr>
          <p:cNvGraphicFramePr>
            <a:graphicFrameLocks noChangeAspect="1"/>
          </p:cNvGraphicFramePr>
          <p:nvPr userDrawn="1">
            <p:custDataLst>
              <p:tags r:id="rId1"/>
            </p:custDataLst>
            <p:extLst>
              <p:ext uri="{D42A27DB-BD31-4B8C-83A1-F6EECF244321}">
                <p14:modId xmlns:p14="http://schemas.microsoft.com/office/powerpoint/2010/main" val="283899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8D3F6FF8-54D1-1AEB-F758-AF4369EF1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8BFD98A-F2F7-9568-01FC-C0B0DAC81F83}"/>
              </a:ext>
            </a:extLst>
          </p:cNvPr>
          <p:cNvPicPr>
            <a:picLocks noChangeAspect="1"/>
          </p:cNvPicPr>
          <p:nvPr userDrawn="1"/>
        </p:nvPicPr>
        <p:blipFill>
          <a:blip r:embed="rId5"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
        <p:nvSpPr>
          <p:cNvPr id="3" name="Picture Placeholder 2">
            <a:extLst>
              <a:ext uri="{FF2B5EF4-FFF2-40B4-BE49-F238E27FC236}">
                <a16:creationId xmlns:a16="http://schemas.microsoft.com/office/drawing/2014/main" id="{7D3B13C3-393C-4200-8C43-FF0A0F4F1B04}"/>
              </a:ext>
            </a:extLst>
          </p:cNvPr>
          <p:cNvSpPr>
            <a:spLocks noGrp="1"/>
          </p:cNvSpPr>
          <p:nvPr>
            <p:ph type="pic" sz="quarter" idx="16"/>
          </p:nvPr>
        </p:nvSpPr>
        <p:spPr>
          <a:xfrm>
            <a:off x="-1" y="0"/>
            <a:ext cx="5943599" cy="6858000"/>
          </a:xfrm>
          <a:noFill/>
        </p:spPr>
        <p:txBody>
          <a:bodyPr/>
          <a:lstStyle/>
          <a:p>
            <a:endParaRPr lang="en-GB"/>
          </a:p>
        </p:txBody>
      </p:sp>
      <p:sp>
        <p:nvSpPr>
          <p:cNvPr id="6" name="Text Placeholder 6">
            <a:extLst>
              <a:ext uri="{FF2B5EF4-FFF2-40B4-BE49-F238E27FC236}">
                <a16:creationId xmlns:a16="http://schemas.microsoft.com/office/drawing/2014/main" id="{6C6339B5-7699-4A19-8895-B3E4B2F0C327}"/>
              </a:ext>
            </a:extLst>
          </p:cNvPr>
          <p:cNvSpPr>
            <a:spLocks noGrp="1"/>
          </p:cNvSpPr>
          <p:nvPr>
            <p:ph type="body" sz="quarter" idx="12" hasCustomPrompt="1"/>
          </p:nvPr>
        </p:nvSpPr>
        <p:spPr>
          <a:xfrm>
            <a:off x="7222017" y="2759090"/>
            <a:ext cx="4524376" cy="1431193"/>
          </a:xfrm>
        </p:spPr>
        <p:txBody>
          <a:bodyPr>
            <a:noAutofit/>
          </a:bodyPr>
          <a:lstStyle>
            <a:lvl1pPr rtl="0">
              <a:defRPr sz="4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dirty="0"/>
              <a:t>Chapter title</a:t>
            </a:r>
          </a:p>
        </p:txBody>
      </p:sp>
      <p:sp>
        <p:nvSpPr>
          <p:cNvPr id="8" name="Text Placeholder 6">
            <a:extLst>
              <a:ext uri="{FF2B5EF4-FFF2-40B4-BE49-F238E27FC236}">
                <a16:creationId xmlns:a16="http://schemas.microsoft.com/office/drawing/2014/main" id="{1933404C-073B-473E-ADD6-6A83E5E66698}"/>
              </a:ext>
            </a:extLst>
          </p:cNvPr>
          <p:cNvSpPr>
            <a:spLocks noGrp="1"/>
          </p:cNvSpPr>
          <p:nvPr>
            <p:ph type="body" sz="quarter" idx="15" hasCustomPrompt="1"/>
          </p:nvPr>
        </p:nvSpPr>
        <p:spPr>
          <a:xfrm>
            <a:off x="7222017" y="4488518"/>
            <a:ext cx="4156075" cy="801554"/>
          </a:xfrm>
        </p:spPr>
        <p:txBody>
          <a:bodyPr>
            <a:noAutofit/>
          </a:bodyPr>
          <a:lstStyle>
            <a:lvl1pPr rtl="0">
              <a:spcBef>
                <a:spcPts val="200"/>
              </a:spcBef>
              <a:spcAft>
                <a:spcPts val="200"/>
              </a:spcAft>
              <a:defRPr sz="2800" b="0" i="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Description</a:t>
            </a:r>
          </a:p>
        </p:txBody>
      </p:sp>
      <p:sp>
        <p:nvSpPr>
          <p:cNvPr id="7" name="Text Placeholder 4">
            <a:extLst>
              <a:ext uri="{FF2B5EF4-FFF2-40B4-BE49-F238E27FC236}">
                <a16:creationId xmlns:a16="http://schemas.microsoft.com/office/drawing/2014/main" id="{65976B20-788D-4778-BC22-8A934D752EB3}"/>
              </a:ext>
            </a:extLst>
          </p:cNvPr>
          <p:cNvSpPr>
            <a:spLocks noGrp="1"/>
          </p:cNvSpPr>
          <p:nvPr>
            <p:ph type="body" sz="quarter" idx="14" hasCustomPrompt="1"/>
          </p:nvPr>
        </p:nvSpPr>
        <p:spPr>
          <a:xfrm>
            <a:off x="7222017" y="1447838"/>
            <a:ext cx="1638299" cy="900720"/>
          </a:xfrm>
        </p:spPr>
        <p:txBody>
          <a:bodyPr anchor="t">
            <a:noAutofit/>
          </a:bodyPr>
          <a:lstStyle>
            <a:lvl1pPr algn="l" rtl="0">
              <a:defRPr sz="7200" b="1" i="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00</a:t>
            </a:r>
            <a:endParaRPr lang="en-US" dirty="0"/>
          </a:p>
        </p:txBody>
      </p:sp>
    </p:spTree>
    <p:extLst>
      <p:ext uri="{BB962C8B-B14F-4D97-AF65-F5344CB8AC3E}">
        <p14:creationId xmlns:p14="http://schemas.microsoft.com/office/powerpoint/2010/main" val="39973550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subtitle_Watercolour righ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743CAC-4488-9F40-01F6-32A57A9AF291}"/>
              </a:ext>
            </a:extLst>
          </p:cNvPr>
          <p:cNvGraphicFramePr>
            <a:graphicFrameLocks noChangeAspect="1"/>
          </p:cNvGraphicFramePr>
          <p:nvPr userDrawn="1">
            <p:custDataLst>
              <p:tags r:id="rId1"/>
            </p:custDataLst>
            <p:extLst>
              <p:ext uri="{D42A27DB-BD31-4B8C-83A1-F6EECF244321}">
                <p14:modId xmlns:p14="http://schemas.microsoft.com/office/powerpoint/2010/main" val="2561245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B5743CAC-4488-9F40-01F6-32A57A9AF2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E6C0D78-1EAB-401D-70FA-4422237B3435}"/>
              </a:ext>
            </a:extLst>
          </p:cNvPr>
          <p:cNvPicPr>
            <a:picLocks noChangeAspect="1"/>
          </p:cNvPicPr>
          <p:nvPr userDrawn="1"/>
        </p:nvPicPr>
        <p:blipFill>
          <a:blip r:embed="rId5"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10923873"/>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4164F7-F445-DA08-4288-3FF96377917A}"/>
              </a:ext>
            </a:extLst>
          </p:cNvPr>
          <p:cNvGraphicFramePr>
            <a:graphicFrameLocks noChangeAspect="1"/>
          </p:cNvGraphicFramePr>
          <p:nvPr userDrawn="1">
            <p:custDataLst>
              <p:tags r:id="rId1"/>
            </p:custDataLst>
            <p:extLst>
              <p:ext uri="{D42A27DB-BD31-4B8C-83A1-F6EECF244321}">
                <p14:modId xmlns:p14="http://schemas.microsoft.com/office/powerpoint/2010/main" val="4250366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FD4164F7-F445-DA08-4288-3FF9637791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2" name="Text Placeholder 2">
            <a:extLst>
              <a:ext uri="{FF2B5EF4-FFF2-40B4-BE49-F238E27FC236}">
                <a16:creationId xmlns:a16="http://schemas.microsoft.com/office/drawing/2014/main" id="{C1D69AE1-FA1B-AC5B-E33F-8E52B24924E1}"/>
              </a:ext>
            </a:extLst>
          </p:cNvPr>
          <p:cNvSpPr>
            <a:spLocks noGrp="1"/>
          </p:cNvSpPr>
          <p:nvPr>
            <p:ph type="body" sz="quarter" idx="10"/>
          </p:nvPr>
        </p:nvSpPr>
        <p:spPr>
          <a:xfrm>
            <a:off x="463550" y="1726857"/>
            <a:ext cx="11277346" cy="4648200"/>
          </a:xfrm>
        </p:spPr>
        <p:txBody>
          <a:bodyPr/>
          <a:lstStyle>
            <a:lvl1pPr rtl="0">
              <a:defRPr/>
            </a:lvl1pPr>
            <a:lvl2pPr rtl="0">
              <a:defRPr/>
            </a:lvl2pPr>
            <a:lvl3pPr rtl="0">
              <a:defRPr/>
            </a:lvl3pPr>
            <a:lvl4pPr rtl="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3" name="Picture 2">
            <a:extLst>
              <a:ext uri="{FF2B5EF4-FFF2-40B4-BE49-F238E27FC236}">
                <a16:creationId xmlns:a16="http://schemas.microsoft.com/office/drawing/2014/main" id="{FD8B3B94-92DF-6455-DBE9-DFE2EDE33D13}"/>
              </a:ext>
            </a:extLst>
          </p:cNvPr>
          <p:cNvPicPr>
            <a:picLocks noChangeAspect="1"/>
          </p:cNvPicPr>
          <p:nvPr userDrawn="1"/>
        </p:nvPicPr>
        <p:blipFill>
          <a:blip r:embed="rId5"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307911560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1EBCDF6-1615-97AF-47E4-6C95E0F3AE65}"/>
              </a:ext>
            </a:extLst>
          </p:cNvPr>
          <p:cNvGraphicFramePr>
            <a:graphicFrameLocks noChangeAspect="1"/>
          </p:cNvGraphicFramePr>
          <p:nvPr userDrawn="1">
            <p:custDataLst>
              <p:tags r:id="rId1"/>
            </p:custDataLst>
            <p:extLst>
              <p:ext uri="{D42A27DB-BD31-4B8C-83A1-F6EECF244321}">
                <p14:modId xmlns:p14="http://schemas.microsoft.com/office/powerpoint/2010/main" val="1296828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01EBCDF6-1615-97AF-47E4-6C95E0F3AE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A5A87EA-B82A-D2AD-4B03-10037B9EC71E}"/>
              </a:ext>
            </a:extLst>
          </p:cNvPr>
          <p:cNvSpPr/>
          <p:nvPr userDrawn="1"/>
        </p:nvSpPr>
        <p:spPr bwMode="gray">
          <a:xfrm>
            <a:off x="8186845" y="0"/>
            <a:ext cx="4005155" cy="6858000"/>
          </a:xfrm>
          <a:prstGeom prst="rect">
            <a:avLst/>
          </a:prstGeom>
          <a:solidFill>
            <a:srgbClr val="9DD4CF">
              <a:alpha val="40000"/>
            </a:srgbClr>
          </a:solidFill>
          <a:ln w="19050" algn="ctr">
            <a:noFill/>
            <a:miter lim="800000"/>
            <a:headEnd/>
            <a:tailEnd/>
          </a:ln>
        </p:spPr>
        <p:txBody>
          <a:bodyPr wrap="square" lIns="144000" tIns="180000" rIns="432000" bIns="108000" rtlCol="0" anchor="t"/>
          <a:lstStyle/>
          <a:p>
            <a:pPr rtl="0">
              <a:lnSpc>
                <a:spcPct val="106000"/>
              </a:lnSpc>
              <a:spcAft>
                <a:spcPts val="1200"/>
              </a:spcAft>
              <a:buFont typeface="Wingdings 2" pitchFamily="18" charset="2"/>
              <a:buNone/>
            </a:pPr>
            <a:endParaRPr lang="en-US" sz="1200" b="1" dirty="0">
              <a:solidFill>
                <a:schemeClr val="accent5"/>
              </a:solidFill>
            </a:endParaRPr>
          </a:p>
        </p:txBody>
      </p:sp>
      <p:sp>
        <p:nvSpPr>
          <p:cNvPr id="9" name="Picture Placeholder 8">
            <a:extLst>
              <a:ext uri="{FF2B5EF4-FFF2-40B4-BE49-F238E27FC236}">
                <a16:creationId xmlns:a16="http://schemas.microsoft.com/office/drawing/2014/main" id="{8E853135-9D05-843A-74FE-B6BEFD9A9161}"/>
              </a:ext>
            </a:extLst>
          </p:cNvPr>
          <p:cNvSpPr>
            <a:spLocks noGrp="1"/>
          </p:cNvSpPr>
          <p:nvPr>
            <p:ph type="pic" sz="quarter" idx="23"/>
          </p:nvPr>
        </p:nvSpPr>
        <p:spPr>
          <a:xfrm>
            <a:off x="8186738" y="4397375"/>
            <a:ext cx="4005262" cy="2433638"/>
          </a:xfrm>
        </p:spPr>
        <p:txBody>
          <a:bodyPr/>
          <a:lstStyle/>
          <a:p>
            <a:endParaRPr lang="en-CH"/>
          </a:p>
        </p:txBody>
      </p:sp>
      <p:sp>
        <p:nvSpPr>
          <p:cNvPr id="3" name="Freeform 2">
            <a:extLst>
              <a:ext uri="{FF2B5EF4-FFF2-40B4-BE49-F238E27FC236}">
                <a16:creationId xmlns:a16="http://schemas.microsoft.com/office/drawing/2014/main" id="{C05E1E96-218D-F7E6-423E-47028CDFD0E8}"/>
              </a:ext>
            </a:extLst>
          </p:cNvPr>
          <p:cNvSpPr>
            <a:spLocks noEditPoints="1"/>
          </p:cNvSpPr>
          <p:nvPr userDrawn="1"/>
        </p:nvSpPr>
        <p:spPr bwMode="auto">
          <a:xfrm>
            <a:off x="8415445" y="1638432"/>
            <a:ext cx="569929" cy="393585"/>
          </a:xfrm>
          <a:custGeom>
            <a:avLst/>
            <a:gdLst>
              <a:gd name="T0" fmla="*/ 97 w 113"/>
              <a:gd name="T1" fmla="*/ 32 h 78"/>
              <a:gd name="T2" fmla="*/ 113 w 113"/>
              <a:gd name="T3" fmla="*/ 55 h 78"/>
              <a:gd name="T4" fmla="*/ 89 w 113"/>
              <a:gd name="T5" fmla="*/ 78 h 78"/>
              <a:gd name="T6" fmla="*/ 66 w 113"/>
              <a:gd name="T7" fmla="*/ 55 h 78"/>
              <a:gd name="T8" fmla="*/ 71 w 113"/>
              <a:gd name="T9" fmla="*/ 39 h 78"/>
              <a:gd name="T10" fmla="*/ 91 w 113"/>
              <a:gd name="T11" fmla="*/ 0 h 78"/>
              <a:gd name="T12" fmla="*/ 105 w 113"/>
              <a:gd name="T13" fmla="*/ 0 h 78"/>
              <a:gd name="T14" fmla="*/ 97 w 113"/>
              <a:gd name="T15" fmla="*/ 32 h 78"/>
              <a:gd name="T16" fmla="*/ 31 w 113"/>
              <a:gd name="T17" fmla="*/ 32 h 78"/>
              <a:gd name="T18" fmla="*/ 47 w 113"/>
              <a:gd name="T19" fmla="*/ 55 h 78"/>
              <a:gd name="T20" fmla="*/ 24 w 113"/>
              <a:gd name="T21" fmla="*/ 78 h 78"/>
              <a:gd name="T22" fmla="*/ 0 w 113"/>
              <a:gd name="T23" fmla="*/ 55 h 78"/>
              <a:gd name="T24" fmla="*/ 5 w 113"/>
              <a:gd name="T25" fmla="*/ 39 h 78"/>
              <a:gd name="T26" fmla="*/ 25 w 113"/>
              <a:gd name="T27" fmla="*/ 0 h 78"/>
              <a:gd name="T28" fmla="*/ 39 w 113"/>
              <a:gd name="T29" fmla="*/ 0 h 78"/>
              <a:gd name="T30" fmla="*/ 31 w 113"/>
              <a:gd name="T31"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78">
                <a:moveTo>
                  <a:pt x="97" y="32"/>
                </a:moveTo>
                <a:cubicBezTo>
                  <a:pt x="107" y="35"/>
                  <a:pt x="113" y="44"/>
                  <a:pt x="113" y="55"/>
                </a:cubicBezTo>
                <a:cubicBezTo>
                  <a:pt x="113" y="68"/>
                  <a:pt x="103" y="78"/>
                  <a:pt x="89" y="78"/>
                </a:cubicBezTo>
                <a:cubicBezTo>
                  <a:pt x="77" y="78"/>
                  <a:pt x="66" y="68"/>
                  <a:pt x="66" y="55"/>
                </a:cubicBezTo>
                <a:cubicBezTo>
                  <a:pt x="66" y="48"/>
                  <a:pt x="68" y="43"/>
                  <a:pt x="71" y="39"/>
                </a:cubicBezTo>
                <a:cubicBezTo>
                  <a:pt x="91" y="0"/>
                  <a:pt x="91" y="0"/>
                  <a:pt x="91" y="0"/>
                </a:cubicBezTo>
                <a:cubicBezTo>
                  <a:pt x="105" y="0"/>
                  <a:pt x="105" y="0"/>
                  <a:pt x="105" y="0"/>
                </a:cubicBezTo>
                <a:lnTo>
                  <a:pt x="97" y="32"/>
                </a:lnTo>
                <a:close/>
                <a:moveTo>
                  <a:pt x="31" y="32"/>
                </a:moveTo>
                <a:cubicBezTo>
                  <a:pt x="41" y="35"/>
                  <a:pt x="47" y="44"/>
                  <a:pt x="47" y="55"/>
                </a:cubicBezTo>
                <a:cubicBezTo>
                  <a:pt x="47" y="68"/>
                  <a:pt x="37" y="78"/>
                  <a:pt x="24" y="78"/>
                </a:cubicBezTo>
                <a:cubicBezTo>
                  <a:pt x="11" y="78"/>
                  <a:pt x="0" y="68"/>
                  <a:pt x="0" y="55"/>
                </a:cubicBezTo>
                <a:cubicBezTo>
                  <a:pt x="0" y="48"/>
                  <a:pt x="3" y="43"/>
                  <a:pt x="5" y="39"/>
                </a:cubicBezTo>
                <a:cubicBezTo>
                  <a:pt x="25" y="0"/>
                  <a:pt x="25" y="0"/>
                  <a:pt x="25" y="0"/>
                </a:cubicBezTo>
                <a:cubicBezTo>
                  <a:pt x="39" y="0"/>
                  <a:pt x="39" y="0"/>
                  <a:pt x="39" y="0"/>
                </a:cubicBezTo>
                <a:lnTo>
                  <a:pt x="31" y="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7410705"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7410705" cy="336152"/>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1" name="Text Placeholder 10">
            <a:extLst>
              <a:ext uri="{FF2B5EF4-FFF2-40B4-BE49-F238E27FC236}">
                <a16:creationId xmlns:a16="http://schemas.microsoft.com/office/drawing/2014/main" id="{3CD6328B-0515-583E-E9AD-4D15AC3ACA3A}"/>
              </a:ext>
            </a:extLst>
          </p:cNvPr>
          <p:cNvSpPr>
            <a:spLocks noGrp="1"/>
          </p:cNvSpPr>
          <p:nvPr>
            <p:ph type="body" sz="quarter" idx="24"/>
          </p:nvPr>
        </p:nvSpPr>
        <p:spPr>
          <a:xfrm>
            <a:off x="8415338" y="2245279"/>
            <a:ext cx="3319462" cy="1781175"/>
          </a:xfrm>
        </p:spPr>
        <p:txBody>
          <a:bodyPr>
            <a:normAutofit/>
          </a:bodyPr>
          <a:lstStyle>
            <a:lvl1pPr rtl="0">
              <a:defRPr sz="1400"/>
            </a:lvl1pPr>
            <a:lvl2pPr>
              <a:defRPr sz="1100"/>
            </a:lvl2pPr>
            <a:lvl3pPr>
              <a:defRPr sz="1100"/>
            </a:lvl3pPr>
            <a:lvl4pPr>
              <a:defRPr sz="1100"/>
            </a:lvl4pPr>
            <a:lvl5pPr>
              <a:defRPr sz="1100"/>
            </a:lvl5pPr>
          </a:lstStyle>
          <a:p>
            <a:pPr lvl="0"/>
            <a:r>
              <a:rPr lang="en-US"/>
              <a:t>Click to edit Master text styles</a:t>
            </a:r>
            <a:endParaRPr lang="en-US" dirty="0"/>
          </a:p>
        </p:txBody>
      </p:sp>
      <p:sp>
        <p:nvSpPr>
          <p:cNvPr id="13" name="Text Placeholder 12">
            <a:extLst>
              <a:ext uri="{FF2B5EF4-FFF2-40B4-BE49-F238E27FC236}">
                <a16:creationId xmlns:a16="http://schemas.microsoft.com/office/drawing/2014/main" id="{CAFB3FA4-C810-0951-94B3-0144DCE2CDC5}"/>
              </a:ext>
            </a:extLst>
          </p:cNvPr>
          <p:cNvSpPr>
            <a:spLocks noGrp="1"/>
          </p:cNvSpPr>
          <p:nvPr>
            <p:ph type="body" sz="quarter" idx="25"/>
          </p:nvPr>
        </p:nvSpPr>
        <p:spPr>
          <a:xfrm>
            <a:off x="457200" y="1714500"/>
            <a:ext cx="7416800" cy="4648200"/>
          </a:xfrm>
        </p:spPr>
        <p:txBody>
          <a:bodyPr/>
          <a:lstStyle>
            <a:lvl1pPr rtl="0">
              <a:defRPr/>
            </a:lvl1pPr>
            <a:lvl2pPr rtl="0">
              <a:defRPr/>
            </a:lvl2pPr>
            <a:lvl3pPr rtl="0">
              <a:defRPr/>
            </a:lvl3pPr>
            <a:lvl4pPr rtl="0">
              <a:defRPr/>
            </a:lvl4pPr>
          </a:lstStyle>
          <a:p>
            <a:pPr lvl="0"/>
            <a:r>
              <a:rPr lang="en-US"/>
              <a:t>Click to edit Master text styles</a:t>
            </a:r>
          </a:p>
          <a:p>
            <a:pPr lvl="1"/>
            <a:r>
              <a:rPr lang="en-US"/>
              <a:t>Second level</a:t>
            </a:r>
          </a:p>
          <a:p>
            <a:pPr lvl="2"/>
            <a:r>
              <a:rPr lang="en-US"/>
              <a:t>Third level</a:t>
            </a:r>
          </a:p>
          <a:p>
            <a:pPr lvl="3"/>
            <a:r>
              <a:rPr lang="en-US"/>
              <a:t>Fourth level</a:t>
            </a:r>
            <a:endParaRPr lang="en-US" dirty="0"/>
          </a:p>
        </p:txBody>
      </p:sp>
    </p:spTree>
    <p:extLst>
      <p:ext uri="{BB962C8B-B14F-4D97-AF65-F5344CB8AC3E}">
        <p14:creationId xmlns:p14="http://schemas.microsoft.com/office/powerpoint/2010/main" val="58447105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2_Title &amp; Subtitle_Watercolour bottom">
    <p:bg>
      <p:bgPr>
        <a:blipFill dpi="0" rotWithShape="1">
          <a:blip r:embed="rId3" cstate="email">
            <a:alphaModFix amt="85000"/>
            <a:lum/>
            <a:extLst>
              <a:ext uri="{28A0092B-C50C-407E-A947-70E740481C1C}">
                <a14:useLocalDpi xmlns:a14="http://schemas.microsoft.com/office/drawing/2010/main"/>
              </a:ext>
            </a:extLst>
          </a:blip>
          <a:srcRect/>
          <a:stretch>
            <a:fillRect t="20000"/>
          </a:stretch>
        </a:blipFill>
        <a:effectLst/>
      </p:bgPr>
    </p:bg>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41952518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pic>
        <p:nvPicPr>
          <p:cNvPr id="2" name="Picture 1">
            <a:extLst>
              <a:ext uri="{FF2B5EF4-FFF2-40B4-BE49-F238E27FC236}">
                <a16:creationId xmlns:a16="http://schemas.microsoft.com/office/drawing/2014/main" id="{835C4AA0-53A9-0544-289D-72166494217F}"/>
              </a:ext>
            </a:extLst>
          </p:cNvPr>
          <p:cNvPicPr>
            <a:picLocks noChangeAspect="1"/>
          </p:cNvPicPr>
          <p:nvPr userDrawn="1"/>
        </p:nvPicPr>
        <p:blipFill>
          <a:blip r:embed="rId6"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spTree>
    <p:extLst>
      <p:ext uri="{BB962C8B-B14F-4D97-AF65-F5344CB8AC3E}">
        <p14:creationId xmlns:p14="http://schemas.microsoft.com/office/powerpoint/2010/main" val="369878957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6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D7B858-14B2-CBC1-84BE-A7B184AB6A2E}"/>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7254898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698789578"/>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_Title &amp; Subtitle_Watercolour bottom">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49619D-7359-4AFF-7590-5F221C02F3D7}"/>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32144265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698789578"/>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mp; Subtitle_Watercolour bottom">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AA2D3C-F1E6-A244-FDAC-D6F878C5001D}"/>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23126317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 name="Group 1">
            <a:extLst>
              <a:ext uri="{FF2B5EF4-FFF2-40B4-BE49-F238E27FC236}">
                <a16:creationId xmlns:a16="http://schemas.microsoft.com/office/drawing/2014/main" id="{79CAF6C3-345B-032D-AA6B-167AA4883961}"/>
              </a:ext>
            </a:extLst>
          </p:cNvPr>
          <p:cNvGrpSpPr/>
          <p:nvPr userDrawn="1"/>
        </p:nvGrpSpPr>
        <p:grpSpPr>
          <a:xfrm>
            <a:off x="9720000" y="251706"/>
            <a:ext cx="1860855" cy="496572"/>
            <a:chOff x="122348" y="692182"/>
            <a:chExt cx="1860855" cy="496572"/>
          </a:xfrm>
        </p:grpSpPr>
        <p:sp>
          <p:nvSpPr>
            <p:cNvPr id="4" name="Freeform 6">
              <a:extLst>
                <a:ext uri="{FF2B5EF4-FFF2-40B4-BE49-F238E27FC236}">
                  <a16:creationId xmlns:a16="http://schemas.microsoft.com/office/drawing/2014/main" id="{FC6AD533-33AF-7FA2-0C57-26CE39DCAB68}"/>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rgbClr val="004F59"/>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5" name="Freeform 7">
              <a:extLst>
                <a:ext uri="{FF2B5EF4-FFF2-40B4-BE49-F238E27FC236}">
                  <a16:creationId xmlns:a16="http://schemas.microsoft.com/office/drawing/2014/main" id="{C6BA7E07-B181-0EDA-DA45-8CDDA6891172}"/>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8" name="Freeform 8">
              <a:extLst>
                <a:ext uri="{FF2B5EF4-FFF2-40B4-BE49-F238E27FC236}">
                  <a16:creationId xmlns:a16="http://schemas.microsoft.com/office/drawing/2014/main" id="{1105C2D4-7DF0-1C5C-E0CD-CDDDC9EB7226}"/>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9" name="Freeform 7">
              <a:extLst>
                <a:ext uri="{FF2B5EF4-FFF2-40B4-BE49-F238E27FC236}">
                  <a16:creationId xmlns:a16="http://schemas.microsoft.com/office/drawing/2014/main" id="{C8FFC229-2168-A78C-735E-987FCD43EFC5}"/>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grpSp>
          <p:nvGrpSpPr>
            <p:cNvPr id="11" name="Group 10">
              <a:extLst>
                <a:ext uri="{FF2B5EF4-FFF2-40B4-BE49-F238E27FC236}">
                  <a16:creationId xmlns:a16="http://schemas.microsoft.com/office/drawing/2014/main" id="{848B1F98-2E49-6076-C959-133C74097E9E}"/>
                </a:ext>
              </a:extLst>
            </p:cNvPr>
            <p:cNvGrpSpPr>
              <a:grpSpLocks noChangeAspect="1"/>
            </p:cNvGrpSpPr>
            <p:nvPr/>
          </p:nvGrpSpPr>
          <p:grpSpPr>
            <a:xfrm>
              <a:off x="212089" y="801385"/>
              <a:ext cx="308497" cy="312039"/>
              <a:chOff x="6170778" y="1014257"/>
              <a:chExt cx="365760" cy="365760"/>
            </a:xfrm>
          </p:grpSpPr>
          <p:sp>
            <p:nvSpPr>
              <p:cNvPr id="27" name="Oval 26">
                <a:extLst>
                  <a:ext uri="{FF2B5EF4-FFF2-40B4-BE49-F238E27FC236}">
                    <a16:creationId xmlns:a16="http://schemas.microsoft.com/office/drawing/2014/main" id="{9D095998-E97E-1ED8-F697-0DDAC21567B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28" name="Oval 27">
                <a:extLst>
                  <a:ext uri="{FF2B5EF4-FFF2-40B4-BE49-F238E27FC236}">
                    <a16:creationId xmlns:a16="http://schemas.microsoft.com/office/drawing/2014/main" id="{D17F3A9A-C759-C743-366A-45627493D6A4}"/>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lumMod val="50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12" name="Group 11">
              <a:extLst>
                <a:ext uri="{FF2B5EF4-FFF2-40B4-BE49-F238E27FC236}">
                  <a16:creationId xmlns:a16="http://schemas.microsoft.com/office/drawing/2014/main" id="{B685D36F-1A0A-2F81-ACF3-0EDE07989DCC}"/>
                </a:ext>
              </a:extLst>
            </p:cNvPr>
            <p:cNvGrpSpPr>
              <a:grpSpLocks noChangeAspect="1"/>
            </p:cNvGrpSpPr>
            <p:nvPr/>
          </p:nvGrpSpPr>
          <p:grpSpPr>
            <a:xfrm>
              <a:off x="670205" y="801385"/>
              <a:ext cx="308497" cy="312039"/>
              <a:chOff x="6170778" y="1014257"/>
              <a:chExt cx="365760" cy="365760"/>
            </a:xfrm>
          </p:grpSpPr>
          <p:sp>
            <p:nvSpPr>
              <p:cNvPr id="25" name="Oval 24">
                <a:extLst>
                  <a:ext uri="{FF2B5EF4-FFF2-40B4-BE49-F238E27FC236}">
                    <a16:creationId xmlns:a16="http://schemas.microsoft.com/office/drawing/2014/main" id="{C5073453-458F-674F-7E78-13B8DE4E1227}"/>
                  </a:ext>
                </a:extLst>
              </p:cNvPr>
              <p:cNvSpPr>
                <a:spLocks/>
              </p:cNvSpPr>
              <p:nvPr/>
            </p:nvSpPr>
            <p:spPr bwMode="gray">
              <a:xfrm>
                <a:off x="6170778" y="1014257"/>
                <a:ext cx="365760" cy="365760"/>
              </a:xfrm>
              <a:prstGeom prst="ellipse">
                <a:avLst/>
              </a:prstGeom>
              <a:solidFill>
                <a:schemeClr val="bg1"/>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26" name="Oval 25">
                <a:extLst>
                  <a:ext uri="{FF2B5EF4-FFF2-40B4-BE49-F238E27FC236}">
                    <a16:creationId xmlns:a16="http://schemas.microsoft.com/office/drawing/2014/main" id="{912B74A4-F93D-8ADF-37A8-D99E82A8A0F7}"/>
                  </a:ext>
                </a:extLst>
              </p:cNvPr>
              <p:cNvSpPr>
                <a:spLocks/>
              </p:cNvSpPr>
              <p:nvPr/>
            </p:nvSpPr>
            <p:spPr bwMode="gray">
              <a:xfrm>
                <a:off x="6219835" y="1064547"/>
                <a:ext cx="267630" cy="265177"/>
              </a:xfrm>
              <a:prstGeom prst="ellipse">
                <a:avLst/>
              </a:prstGeom>
              <a:noFill/>
              <a:ln w="28575" algn="ctr">
                <a:solidFill>
                  <a:schemeClr val="bg1">
                    <a:lumMod val="7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13" name="Group 12">
              <a:extLst>
                <a:ext uri="{FF2B5EF4-FFF2-40B4-BE49-F238E27FC236}">
                  <a16:creationId xmlns:a16="http://schemas.microsoft.com/office/drawing/2014/main" id="{33A4F10B-B51B-306E-C94E-7EBA00987FD5}"/>
                </a:ext>
              </a:extLst>
            </p:cNvPr>
            <p:cNvGrpSpPr>
              <a:grpSpLocks noChangeAspect="1"/>
            </p:cNvGrpSpPr>
            <p:nvPr/>
          </p:nvGrpSpPr>
          <p:grpSpPr>
            <a:xfrm>
              <a:off x="1128695" y="800637"/>
              <a:ext cx="308497" cy="312039"/>
              <a:chOff x="6170778" y="1014257"/>
              <a:chExt cx="365760" cy="365760"/>
            </a:xfrm>
          </p:grpSpPr>
          <p:sp>
            <p:nvSpPr>
              <p:cNvPr id="23" name="Oval 22">
                <a:extLst>
                  <a:ext uri="{FF2B5EF4-FFF2-40B4-BE49-F238E27FC236}">
                    <a16:creationId xmlns:a16="http://schemas.microsoft.com/office/drawing/2014/main" id="{DC16FA6B-3198-059F-6B49-659D2B91372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24" name="Oval 23">
                <a:extLst>
                  <a:ext uri="{FF2B5EF4-FFF2-40B4-BE49-F238E27FC236}">
                    <a16:creationId xmlns:a16="http://schemas.microsoft.com/office/drawing/2014/main" id="{84702062-9F06-3B3D-A6E3-EBE3E2D64445}"/>
                  </a:ext>
                </a:extLst>
              </p:cNvPr>
              <p:cNvSpPr>
                <a:spLocks/>
              </p:cNvSpPr>
              <p:nvPr/>
            </p:nvSpPr>
            <p:spPr bwMode="gray">
              <a:xfrm>
                <a:off x="6219841" y="1064547"/>
                <a:ext cx="267630" cy="265177"/>
              </a:xfrm>
              <a:prstGeom prst="ellipse">
                <a:avLst/>
              </a:prstGeom>
              <a:solidFill>
                <a:sysClr val="window" lastClr="FFFFFF"/>
              </a:solidFill>
              <a:ln w="28575" algn="ctr">
                <a:solidFill>
                  <a:schemeClr val="bg1">
                    <a:lumMod val="7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14" name="Group 13">
              <a:extLst>
                <a:ext uri="{FF2B5EF4-FFF2-40B4-BE49-F238E27FC236}">
                  <a16:creationId xmlns:a16="http://schemas.microsoft.com/office/drawing/2014/main" id="{975AC3E8-5500-A82E-C49E-23FDE90CB182}"/>
                </a:ext>
              </a:extLst>
            </p:cNvPr>
            <p:cNvGrpSpPr>
              <a:grpSpLocks noChangeAspect="1"/>
            </p:cNvGrpSpPr>
            <p:nvPr/>
          </p:nvGrpSpPr>
          <p:grpSpPr>
            <a:xfrm>
              <a:off x="1586477" y="801385"/>
              <a:ext cx="308497" cy="312039"/>
              <a:chOff x="6170778" y="1014257"/>
              <a:chExt cx="365760" cy="365760"/>
            </a:xfrm>
          </p:grpSpPr>
          <p:sp>
            <p:nvSpPr>
              <p:cNvPr id="21" name="Oval 20">
                <a:extLst>
                  <a:ext uri="{FF2B5EF4-FFF2-40B4-BE49-F238E27FC236}">
                    <a16:creationId xmlns:a16="http://schemas.microsoft.com/office/drawing/2014/main" id="{6A4102D3-980F-D270-D6AE-E74160035521}"/>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22" name="Oval 21">
                <a:extLst>
                  <a:ext uri="{FF2B5EF4-FFF2-40B4-BE49-F238E27FC236}">
                    <a16:creationId xmlns:a16="http://schemas.microsoft.com/office/drawing/2014/main" id="{549CA8F1-6196-6FAC-05D6-58FC755E0504}"/>
                  </a:ext>
                </a:extLst>
              </p:cNvPr>
              <p:cNvSpPr>
                <a:spLocks/>
              </p:cNvSpPr>
              <p:nvPr/>
            </p:nvSpPr>
            <p:spPr bwMode="gray">
              <a:xfrm>
                <a:off x="6219835" y="1064547"/>
                <a:ext cx="267630" cy="265177"/>
              </a:xfrm>
              <a:prstGeom prst="ellipse">
                <a:avLst/>
              </a:prstGeom>
              <a:solidFill>
                <a:sysClr val="window" lastClr="FFFFFF"/>
              </a:solidFill>
              <a:ln w="28575" algn="ctr">
                <a:solidFill>
                  <a:schemeClr val="bg1">
                    <a:lumMod val="7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
        <p:nvSpPr>
          <p:cNvPr id="29" name="Text Placeholder 8">
            <a:extLst>
              <a:ext uri="{FF2B5EF4-FFF2-40B4-BE49-F238E27FC236}">
                <a16:creationId xmlns:a16="http://schemas.microsoft.com/office/drawing/2014/main" id="{97FBF3B4-516E-6503-1E53-F46ECEA82439}"/>
              </a:ext>
            </a:extLst>
          </p:cNvPr>
          <p:cNvSpPr>
            <a:spLocks noGrp="1"/>
          </p:cNvSpPr>
          <p:nvPr>
            <p:ph type="body" sz="quarter" idx="23" hasCustomPrompt="1"/>
          </p:nvPr>
        </p:nvSpPr>
        <p:spPr>
          <a:xfrm>
            <a:off x="463295" y="748278"/>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Tree>
    <p:extLst>
      <p:ext uri="{BB962C8B-B14F-4D97-AF65-F5344CB8AC3E}">
        <p14:creationId xmlns:p14="http://schemas.microsoft.com/office/powerpoint/2010/main" val="214267914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373F05-1B16-EE3B-3467-E70C1B341B26}"/>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14694932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130" name="Group 129">
            <a:extLst>
              <a:ext uri="{FF2B5EF4-FFF2-40B4-BE49-F238E27FC236}">
                <a16:creationId xmlns:a16="http://schemas.microsoft.com/office/drawing/2014/main" id="{EC507F82-A771-283B-46BE-5407127A9783}"/>
              </a:ext>
            </a:extLst>
          </p:cNvPr>
          <p:cNvGrpSpPr/>
          <p:nvPr userDrawn="1"/>
        </p:nvGrpSpPr>
        <p:grpSpPr>
          <a:xfrm>
            <a:off x="9720000" y="252000"/>
            <a:ext cx="1860855" cy="496572"/>
            <a:chOff x="122348" y="692182"/>
            <a:chExt cx="1860855" cy="496572"/>
          </a:xfrm>
        </p:grpSpPr>
        <p:sp>
          <p:nvSpPr>
            <p:cNvPr id="132" name="Freeform 6">
              <a:extLst>
                <a:ext uri="{FF2B5EF4-FFF2-40B4-BE49-F238E27FC236}">
                  <a16:creationId xmlns:a16="http://schemas.microsoft.com/office/drawing/2014/main" id="{023E18BA-55CE-3334-82A1-269E49338A92}"/>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133" name="Freeform 7">
              <a:extLst>
                <a:ext uri="{FF2B5EF4-FFF2-40B4-BE49-F238E27FC236}">
                  <a16:creationId xmlns:a16="http://schemas.microsoft.com/office/drawing/2014/main" id="{76423DD1-E37A-89EC-1CDC-BBD9DBA97B2C}"/>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rgbClr val="00ABAB">
                <a:lumMod val="75000"/>
              </a:srgb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134" name="Freeform 8">
              <a:extLst>
                <a:ext uri="{FF2B5EF4-FFF2-40B4-BE49-F238E27FC236}">
                  <a16:creationId xmlns:a16="http://schemas.microsoft.com/office/drawing/2014/main" id="{71B061C0-2041-D1A4-B054-9AE42618C64F}"/>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135" name="Freeform 7">
              <a:extLst>
                <a:ext uri="{FF2B5EF4-FFF2-40B4-BE49-F238E27FC236}">
                  <a16:creationId xmlns:a16="http://schemas.microsoft.com/office/drawing/2014/main" id="{D35D276C-67EA-BA31-D6BA-A2218959ABE3}"/>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grpSp>
          <p:nvGrpSpPr>
            <p:cNvPr id="137" name="Group 136">
              <a:extLst>
                <a:ext uri="{FF2B5EF4-FFF2-40B4-BE49-F238E27FC236}">
                  <a16:creationId xmlns:a16="http://schemas.microsoft.com/office/drawing/2014/main" id="{1A3278A8-C72F-2EF0-CBDF-72593BEB4214}"/>
                </a:ext>
              </a:extLst>
            </p:cNvPr>
            <p:cNvGrpSpPr>
              <a:grpSpLocks noChangeAspect="1"/>
            </p:cNvGrpSpPr>
            <p:nvPr/>
          </p:nvGrpSpPr>
          <p:grpSpPr>
            <a:xfrm>
              <a:off x="212089" y="801385"/>
              <a:ext cx="308497" cy="312039"/>
              <a:chOff x="6170778" y="1014257"/>
              <a:chExt cx="365760" cy="365760"/>
            </a:xfrm>
          </p:grpSpPr>
          <p:sp>
            <p:nvSpPr>
              <p:cNvPr id="153" name="Oval 152">
                <a:extLst>
                  <a:ext uri="{FF2B5EF4-FFF2-40B4-BE49-F238E27FC236}">
                    <a16:creationId xmlns:a16="http://schemas.microsoft.com/office/drawing/2014/main" id="{BBF58ACF-23AB-FE92-62F4-B3CC4620288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154" name="Oval 153">
                <a:extLst>
                  <a:ext uri="{FF2B5EF4-FFF2-40B4-BE49-F238E27FC236}">
                    <a16:creationId xmlns:a16="http://schemas.microsoft.com/office/drawing/2014/main" id="{9AD13DED-C8ED-0FA5-A516-34A649E00A61}"/>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138" name="Group 137">
              <a:extLst>
                <a:ext uri="{FF2B5EF4-FFF2-40B4-BE49-F238E27FC236}">
                  <a16:creationId xmlns:a16="http://schemas.microsoft.com/office/drawing/2014/main" id="{E2ED1948-6FBC-0E3A-25E6-A289A31638B0}"/>
                </a:ext>
              </a:extLst>
            </p:cNvPr>
            <p:cNvGrpSpPr>
              <a:grpSpLocks noChangeAspect="1"/>
            </p:cNvGrpSpPr>
            <p:nvPr/>
          </p:nvGrpSpPr>
          <p:grpSpPr>
            <a:xfrm>
              <a:off x="670205" y="801385"/>
              <a:ext cx="308497" cy="312039"/>
              <a:chOff x="6170778" y="1014257"/>
              <a:chExt cx="365760" cy="365760"/>
            </a:xfrm>
          </p:grpSpPr>
          <p:sp>
            <p:nvSpPr>
              <p:cNvPr id="151" name="Oval 150">
                <a:extLst>
                  <a:ext uri="{FF2B5EF4-FFF2-40B4-BE49-F238E27FC236}">
                    <a16:creationId xmlns:a16="http://schemas.microsoft.com/office/drawing/2014/main" id="{C085D63C-A8CC-4C1A-D0C1-017FD9C4F802}"/>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152" name="Oval 151">
                <a:extLst>
                  <a:ext uri="{FF2B5EF4-FFF2-40B4-BE49-F238E27FC236}">
                    <a16:creationId xmlns:a16="http://schemas.microsoft.com/office/drawing/2014/main" id="{DEC3CB47-94C2-FB72-3E9E-1DA1D9B42157}"/>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lumMod val="7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139" name="Group 138">
              <a:extLst>
                <a:ext uri="{FF2B5EF4-FFF2-40B4-BE49-F238E27FC236}">
                  <a16:creationId xmlns:a16="http://schemas.microsoft.com/office/drawing/2014/main" id="{A30032C3-BC36-505D-62AA-7492F55A6B61}"/>
                </a:ext>
              </a:extLst>
            </p:cNvPr>
            <p:cNvGrpSpPr>
              <a:grpSpLocks noChangeAspect="1"/>
            </p:cNvGrpSpPr>
            <p:nvPr/>
          </p:nvGrpSpPr>
          <p:grpSpPr>
            <a:xfrm>
              <a:off x="1128695" y="800637"/>
              <a:ext cx="308497" cy="312039"/>
              <a:chOff x="6170778" y="1014257"/>
              <a:chExt cx="365760" cy="365760"/>
            </a:xfrm>
          </p:grpSpPr>
          <p:sp>
            <p:nvSpPr>
              <p:cNvPr id="149" name="Oval 148">
                <a:extLst>
                  <a:ext uri="{FF2B5EF4-FFF2-40B4-BE49-F238E27FC236}">
                    <a16:creationId xmlns:a16="http://schemas.microsoft.com/office/drawing/2014/main" id="{36A6515C-7F38-D8ED-BE02-D304C9793A3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150" name="Oval 149">
                <a:extLst>
                  <a:ext uri="{FF2B5EF4-FFF2-40B4-BE49-F238E27FC236}">
                    <a16:creationId xmlns:a16="http://schemas.microsoft.com/office/drawing/2014/main" id="{85FF9092-9F5B-9B44-4CEA-26CB0F948C6C}"/>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140" name="Group 139">
              <a:extLst>
                <a:ext uri="{FF2B5EF4-FFF2-40B4-BE49-F238E27FC236}">
                  <a16:creationId xmlns:a16="http://schemas.microsoft.com/office/drawing/2014/main" id="{5AD4672B-510F-AA4D-94BF-CA1B9B2C8EB1}"/>
                </a:ext>
              </a:extLst>
            </p:cNvPr>
            <p:cNvGrpSpPr>
              <a:grpSpLocks noChangeAspect="1"/>
            </p:cNvGrpSpPr>
            <p:nvPr/>
          </p:nvGrpSpPr>
          <p:grpSpPr>
            <a:xfrm>
              <a:off x="1586477" y="801385"/>
              <a:ext cx="308497" cy="312039"/>
              <a:chOff x="6170778" y="1014257"/>
              <a:chExt cx="365760" cy="365760"/>
            </a:xfrm>
          </p:grpSpPr>
          <p:sp>
            <p:nvSpPr>
              <p:cNvPr id="147" name="Oval 146">
                <a:extLst>
                  <a:ext uri="{FF2B5EF4-FFF2-40B4-BE49-F238E27FC236}">
                    <a16:creationId xmlns:a16="http://schemas.microsoft.com/office/drawing/2014/main" id="{A82D6E80-5611-83EB-B955-01075C69966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148" name="Oval 147">
                <a:extLst>
                  <a:ext uri="{FF2B5EF4-FFF2-40B4-BE49-F238E27FC236}">
                    <a16:creationId xmlns:a16="http://schemas.microsoft.com/office/drawing/2014/main" id="{85FABC8D-7302-A949-8AFC-1E705D899F15}"/>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2803564241"/>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A6BC8B-218A-7793-2F84-16B68450991C}"/>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7782918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9" name="Group 28">
            <a:extLst>
              <a:ext uri="{FF2B5EF4-FFF2-40B4-BE49-F238E27FC236}">
                <a16:creationId xmlns:a16="http://schemas.microsoft.com/office/drawing/2014/main" id="{A4322675-7BC5-DD7C-FDA5-450B9D830C6E}"/>
              </a:ext>
            </a:extLst>
          </p:cNvPr>
          <p:cNvGrpSpPr/>
          <p:nvPr userDrawn="1"/>
        </p:nvGrpSpPr>
        <p:grpSpPr>
          <a:xfrm>
            <a:off x="9720000" y="252000"/>
            <a:ext cx="1860855" cy="496572"/>
            <a:chOff x="122348" y="692182"/>
            <a:chExt cx="1860855" cy="496572"/>
          </a:xfrm>
        </p:grpSpPr>
        <p:sp>
          <p:nvSpPr>
            <p:cNvPr id="32" name="Freeform 6">
              <a:extLst>
                <a:ext uri="{FF2B5EF4-FFF2-40B4-BE49-F238E27FC236}">
                  <a16:creationId xmlns:a16="http://schemas.microsoft.com/office/drawing/2014/main" id="{7739E174-F077-03DD-53EE-860538B33631}"/>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33" name="Freeform 7">
              <a:extLst>
                <a:ext uri="{FF2B5EF4-FFF2-40B4-BE49-F238E27FC236}">
                  <a16:creationId xmlns:a16="http://schemas.microsoft.com/office/drawing/2014/main" id="{3156F447-5947-C3E9-B5BC-D547AA8B6098}"/>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34" name="Freeform 8">
              <a:extLst>
                <a:ext uri="{FF2B5EF4-FFF2-40B4-BE49-F238E27FC236}">
                  <a16:creationId xmlns:a16="http://schemas.microsoft.com/office/drawing/2014/main" id="{F54B37BC-08EF-97D5-2501-676BFBBA5C27}"/>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rgbClr val="00ABAB"/>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35" name="Freeform 7">
              <a:extLst>
                <a:ext uri="{FF2B5EF4-FFF2-40B4-BE49-F238E27FC236}">
                  <a16:creationId xmlns:a16="http://schemas.microsoft.com/office/drawing/2014/main" id="{5423E8CE-0765-D95A-3310-9931FE1E29C7}"/>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grpSp>
          <p:nvGrpSpPr>
            <p:cNvPr id="37" name="Group 36">
              <a:extLst>
                <a:ext uri="{FF2B5EF4-FFF2-40B4-BE49-F238E27FC236}">
                  <a16:creationId xmlns:a16="http://schemas.microsoft.com/office/drawing/2014/main" id="{B1004338-521D-5E06-397D-79E5A941588F}"/>
                </a:ext>
              </a:extLst>
            </p:cNvPr>
            <p:cNvGrpSpPr>
              <a:grpSpLocks noChangeAspect="1"/>
            </p:cNvGrpSpPr>
            <p:nvPr/>
          </p:nvGrpSpPr>
          <p:grpSpPr>
            <a:xfrm>
              <a:off x="212089" y="801385"/>
              <a:ext cx="308497" cy="312039"/>
              <a:chOff x="6170778" y="1014257"/>
              <a:chExt cx="365760" cy="365760"/>
            </a:xfrm>
          </p:grpSpPr>
          <p:sp>
            <p:nvSpPr>
              <p:cNvPr id="53" name="Oval 52">
                <a:extLst>
                  <a:ext uri="{FF2B5EF4-FFF2-40B4-BE49-F238E27FC236}">
                    <a16:creationId xmlns:a16="http://schemas.microsoft.com/office/drawing/2014/main" id="{9F8D15E5-93A3-F555-E85D-268EE64E4BE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54" name="Oval 53">
                <a:extLst>
                  <a:ext uri="{FF2B5EF4-FFF2-40B4-BE49-F238E27FC236}">
                    <a16:creationId xmlns:a16="http://schemas.microsoft.com/office/drawing/2014/main" id="{5CE183FA-4DD2-D8C6-4C9F-0D52BB900893}"/>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38" name="Group 37">
              <a:extLst>
                <a:ext uri="{FF2B5EF4-FFF2-40B4-BE49-F238E27FC236}">
                  <a16:creationId xmlns:a16="http://schemas.microsoft.com/office/drawing/2014/main" id="{92D4A132-8FA3-8E0F-4442-6D04E1829DC5}"/>
                </a:ext>
              </a:extLst>
            </p:cNvPr>
            <p:cNvGrpSpPr>
              <a:grpSpLocks noChangeAspect="1"/>
            </p:cNvGrpSpPr>
            <p:nvPr/>
          </p:nvGrpSpPr>
          <p:grpSpPr>
            <a:xfrm>
              <a:off x="670205" y="801385"/>
              <a:ext cx="308497" cy="312039"/>
              <a:chOff x="6170778" y="1014257"/>
              <a:chExt cx="365760" cy="365760"/>
            </a:xfrm>
          </p:grpSpPr>
          <p:sp>
            <p:nvSpPr>
              <p:cNvPr id="51" name="Oval 50">
                <a:extLst>
                  <a:ext uri="{FF2B5EF4-FFF2-40B4-BE49-F238E27FC236}">
                    <a16:creationId xmlns:a16="http://schemas.microsoft.com/office/drawing/2014/main" id="{58359E82-EA49-D51F-056C-F88951FFE3BC}"/>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52" name="Oval 51">
                <a:extLst>
                  <a:ext uri="{FF2B5EF4-FFF2-40B4-BE49-F238E27FC236}">
                    <a16:creationId xmlns:a16="http://schemas.microsoft.com/office/drawing/2014/main" id="{626256AF-508F-0620-3E80-6D657263C4C6}"/>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39" name="Group 38">
              <a:extLst>
                <a:ext uri="{FF2B5EF4-FFF2-40B4-BE49-F238E27FC236}">
                  <a16:creationId xmlns:a16="http://schemas.microsoft.com/office/drawing/2014/main" id="{E4F864C5-F3CC-880A-0B36-A5418A8F530E}"/>
                </a:ext>
              </a:extLst>
            </p:cNvPr>
            <p:cNvGrpSpPr>
              <a:grpSpLocks noChangeAspect="1"/>
            </p:cNvGrpSpPr>
            <p:nvPr/>
          </p:nvGrpSpPr>
          <p:grpSpPr>
            <a:xfrm>
              <a:off x="1128695" y="800637"/>
              <a:ext cx="308497" cy="312039"/>
              <a:chOff x="6170778" y="1014257"/>
              <a:chExt cx="365760" cy="365760"/>
            </a:xfrm>
          </p:grpSpPr>
          <p:sp>
            <p:nvSpPr>
              <p:cNvPr id="49" name="Oval 48">
                <a:extLst>
                  <a:ext uri="{FF2B5EF4-FFF2-40B4-BE49-F238E27FC236}">
                    <a16:creationId xmlns:a16="http://schemas.microsoft.com/office/drawing/2014/main" id="{605AA0C4-ABAC-C361-F42B-FCDEF9C93D6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50" name="Oval 49">
                <a:extLst>
                  <a:ext uri="{FF2B5EF4-FFF2-40B4-BE49-F238E27FC236}">
                    <a16:creationId xmlns:a16="http://schemas.microsoft.com/office/drawing/2014/main" id="{372FE6E7-D0A2-00F2-46B8-626D2BFBA10E}"/>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1"/>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40" name="Group 39">
              <a:extLst>
                <a:ext uri="{FF2B5EF4-FFF2-40B4-BE49-F238E27FC236}">
                  <a16:creationId xmlns:a16="http://schemas.microsoft.com/office/drawing/2014/main" id="{D074C3E3-A16C-95F8-C4C1-03497B6595A5}"/>
                </a:ext>
              </a:extLst>
            </p:cNvPr>
            <p:cNvGrpSpPr>
              <a:grpSpLocks noChangeAspect="1"/>
            </p:cNvGrpSpPr>
            <p:nvPr/>
          </p:nvGrpSpPr>
          <p:grpSpPr>
            <a:xfrm>
              <a:off x="1586477" y="801385"/>
              <a:ext cx="308497" cy="312039"/>
              <a:chOff x="6170778" y="1014257"/>
              <a:chExt cx="365760" cy="365760"/>
            </a:xfrm>
          </p:grpSpPr>
          <p:sp>
            <p:nvSpPr>
              <p:cNvPr id="47" name="Oval 46">
                <a:extLst>
                  <a:ext uri="{FF2B5EF4-FFF2-40B4-BE49-F238E27FC236}">
                    <a16:creationId xmlns:a16="http://schemas.microsoft.com/office/drawing/2014/main" id="{B6EB4992-602E-6F67-E64D-16AF433D113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48" name="Oval 47">
                <a:extLst>
                  <a:ext uri="{FF2B5EF4-FFF2-40B4-BE49-F238E27FC236}">
                    <a16:creationId xmlns:a16="http://schemas.microsoft.com/office/drawing/2014/main" id="{12FD91B1-80B8-667A-4D21-47F076552F2D}"/>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126861225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_MAF_Final">
    <p:spTree>
      <p:nvGrpSpPr>
        <p:cNvPr id="1" name=""/>
        <p:cNvGrpSpPr/>
        <p:nvPr/>
      </p:nvGrpSpPr>
      <p:grpSpPr>
        <a:xfrm>
          <a:off x="0" y="0"/>
          <a:ext cx="0" cy="0"/>
          <a:chOff x="0" y="0"/>
          <a:chExt cx="0" cy="0"/>
        </a:xfrm>
      </p:grpSpPr>
      <p:sp>
        <p:nvSpPr>
          <p:cNvPr id="2" name="Title 1"/>
          <p:cNvSpPr>
            <a:spLocks noGrp="1"/>
          </p:cNvSpPr>
          <p:nvPr>
            <p:ph type="title"/>
          </p:nvPr>
        </p:nvSpPr>
        <p:spPr>
          <a:xfrm>
            <a:off x="447368" y="469900"/>
            <a:ext cx="11277280" cy="366254"/>
          </a:xfrm>
          <a:prstGeom prst="rect">
            <a:avLst/>
          </a:prstGeom>
        </p:spPr>
        <p:txBody>
          <a:bodyPr vert="horz" wrap="square" lIns="0" tIns="0" rIns="0" bIns="0" rtlCol="0" anchor="t" anchorCtr="0">
            <a:spAutoFit/>
          </a:bodyPr>
          <a:lstStyle>
            <a:lvl1pPr>
              <a:defRPr lang="en-US" sz="2800" b="0" spc="-75" dirty="0">
                <a:latin typeface="+mj-lt"/>
              </a:defRPr>
            </a:lvl1pPr>
          </a:lstStyle>
          <a:p>
            <a:pPr lvl="0" defTabSz="685800">
              <a:lnSpc>
                <a:spcPct val="85000"/>
              </a:lnSpc>
            </a:pPr>
            <a:r>
              <a:rPr lang="en-GB"/>
              <a:t>Click to edit Master title style</a:t>
            </a:r>
          </a:p>
        </p:txBody>
      </p:sp>
      <p:sp>
        <p:nvSpPr>
          <p:cNvPr id="3" name="Text Placeholder 4">
            <a:extLst>
              <a:ext uri="{FF2B5EF4-FFF2-40B4-BE49-F238E27FC236}">
                <a16:creationId xmlns:a16="http://schemas.microsoft.com/office/drawing/2014/main" id="{123CCF22-4D93-482A-B4CF-D00A3C47AC95}"/>
              </a:ext>
            </a:extLst>
          </p:cNvPr>
          <p:cNvSpPr>
            <a:spLocks noGrp="1"/>
          </p:cNvSpPr>
          <p:nvPr>
            <p:ph type="body" sz="quarter" idx="15"/>
          </p:nvPr>
        </p:nvSpPr>
        <p:spPr>
          <a:xfrm>
            <a:off x="457200" y="258008"/>
            <a:ext cx="5562600" cy="137282"/>
          </a:xfrm>
          <a:prstGeom prst="rect">
            <a:avLst/>
          </a:prstGeom>
        </p:spPr>
        <p:txBody>
          <a:bodyPr lIns="0" tIns="0" rIns="0" bIns="0" anchor="b" anchorCtr="0">
            <a:spAutoFit/>
          </a:bodyPr>
          <a:lstStyle>
            <a:lvl1pPr marL="0" indent="0" algn="l">
              <a:spcBef>
                <a:spcPts val="0"/>
              </a:spcBef>
              <a:buNone/>
              <a:defRPr sz="800" b="1" spc="300">
                <a:solidFill>
                  <a:schemeClr val="accent5">
                    <a:lumMod val="60000"/>
                    <a:lumOff val="40000"/>
                  </a:schemeClr>
                </a:solidFill>
              </a:defRPr>
            </a:lvl1pPr>
          </a:lstStyle>
          <a:p>
            <a:pPr lvl="0"/>
            <a:r>
              <a:rPr lang="en-GB"/>
              <a:t>Click to edit Master text styles</a:t>
            </a:r>
          </a:p>
        </p:txBody>
      </p:sp>
    </p:spTree>
    <p:extLst>
      <p:ext uri="{BB962C8B-B14F-4D97-AF65-F5344CB8AC3E}">
        <p14:creationId xmlns:p14="http://schemas.microsoft.com/office/powerpoint/2010/main" val="1361527680"/>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8D4714-0568-DB0E-A2D5-B78E0F61F621}"/>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1199367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55" name="Group 54">
            <a:extLst>
              <a:ext uri="{FF2B5EF4-FFF2-40B4-BE49-F238E27FC236}">
                <a16:creationId xmlns:a16="http://schemas.microsoft.com/office/drawing/2014/main" id="{9AE82B0B-C28C-E431-CBFB-554C56468E5F}"/>
              </a:ext>
            </a:extLst>
          </p:cNvPr>
          <p:cNvGrpSpPr/>
          <p:nvPr userDrawn="1"/>
        </p:nvGrpSpPr>
        <p:grpSpPr>
          <a:xfrm>
            <a:off x="9720000" y="252000"/>
            <a:ext cx="1860855" cy="496572"/>
            <a:chOff x="122348" y="692182"/>
            <a:chExt cx="1860855" cy="496572"/>
          </a:xfrm>
        </p:grpSpPr>
        <p:sp>
          <p:nvSpPr>
            <p:cNvPr id="57" name="Freeform 6">
              <a:extLst>
                <a:ext uri="{FF2B5EF4-FFF2-40B4-BE49-F238E27FC236}">
                  <a16:creationId xmlns:a16="http://schemas.microsoft.com/office/drawing/2014/main" id="{18216A40-1A22-F2D5-2FFB-15B62F07EE30}"/>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58" name="Freeform 7">
              <a:extLst>
                <a:ext uri="{FF2B5EF4-FFF2-40B4-BE49-F238E27FC236}">
                  <a16:creationId xmlns:a16="http://schemas.microsoft.com/office/drawing/2014/main" id="{CB31F9C2-99E6-1462-275B-C25F7120251D}"/>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59" name="Freeform 8">
              <a:extLst>
                <a:ext uri="{FF2B5EF4-FFF2-40B4-BE49-F238E27FC236}">
                  <a16:creationId xmlns:a16="http://schemas.microsoft.com/office/drawing/2014/main" id="{5B1B43A9-2411-5601-41B3-50377FADA37B}"/>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60" name="Freeform 7">
              <a:extLst>
                <a:ext uri="{FF2B5EF4-FFF2-40B4-BE49-F238E27FC236}">
                  <a16:creationId xmlns:a16="http://schemas.microsoft.com/office/drawing/2014/main" id="{1FDD26F4-3FC7-76A7-CB92-6D0328BB6035}"/>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rgbClr val="6FC2B4"/>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grpSp>
          <p:nvGrpSpPr>
            <p:cNvPr id="62" name="Group 61">
              <a:extLst>
                <a:ext uri="{FF2B5EF4-FFF2-40B4-BE49-F238E27FC236}">
                  <a16:creationId xmlns:a16="http://schemas.microsoft.com/office/drawing/2014/main" id="{130B52AB-1EC7-8F2E-05FD-19BF518004CD}"/>
                </a:ext>
              </a:extLst>
            </p:cNvPr>
            <p:cNvGrpSpPr>
              <a:grpSpLocks noChangeAspect="1"/>
            </p:cNvGrpSpPr>
            <p:nvPr/>
          </p:nvGrpSpPr>
          <p:grpSpPr>
            <a:xfrm>
              <a:off x="212089" y="801385"/>
              <a:ext cx="308497" cy="312039"/>
              <a:chOff x="6170778" y="1014257"/>
              <a:chExt cx="365760" cy="365760"/>
            </a:xfrm>
          </p:grpSpPr>
          <p:sp>
            <p:nvSpPr>
              <p:cNvPr id="78" name="Oval 77">
                <a:extLst>
                  <a:ext uri="{FF2B5EF4-FFF2-40B4-BE49-F238E27FC236}">
                    <a16:creationId xmlns:a16="http://schemas.microsoft.com/office/drawing/2014/main" id="{32B852F7-E405-B200-CBBA-0CC707D18B1E}"/>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79" name="Oval 78">
                <a:extLst>
                  <a:ext uri="{FF2B5EF4-FFF2-40B4-BE49-F238E27FC236}">
                    <a16:creationId xmlns:a16="http://schemas.microsoft.com/office/drawing/2014/main" id="{F4C0910A-4250-DAD5-EC64-8B7FD0C3D1B0}"/>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63" name="Group 62">
              <a:extLst>
                <a:ext uri="{FF2B5EF4-FFF2-40B4-BE49-F238E27FC236}">
                  <a16:creationId xmlns:a16="http://schemas.microsoft.com/office/drawing/2014/main" id="{5C8D0F59-A45E-0CE5-C2A8-0866F45F9425}"/>
                </a:ext>
              </a:extLst>
            </p:cNvPr>
            <p:cNvGrpSpPr>
              <a:grpSpLocks noChangeAspect="1"/>
            </p:cNvGrpSpPr>
            <p:nvPr/>
          </p:nvGrpSpPr>
          <p:grpSpPr>
            <a:xfrm>
              <a:off x="670205" y="801385"/>
              <a:ext cx="308497" cy="312039"/>
              <a:chOff x="6170778" y="1014257"/>
              <a:chExt cx="365760" cy="365760"/>
            </a:xfrm>
          </p:grpSpPr>
          <p:sp>
            <p:nvSpPr>
              <p:cNvPr id="76" name="Oval 75">
                <a:extLst>
                  <a:ext uri="{FF2B5EF4-FFF2-40B4-BE49-F238E27FC236}">
                    <a16:creationId xmlns:a16="http://schemas.microsoft.com/office/drawing/2014/main" id="{50578C73-F0C5-8DF5-FD95-76A33BD9C06C}"/>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77" name="Oval 76">
                <a:extLst>
                  <a:ext uri="{FF2B5EF4-FFF2-40B4-BE49-F238E27FC236}">
                    <a16:creationId xmlns:a16="http://schemas.microsoft.com/office/drawing/2014/main" id="{4F363BB7-AA7A-A5EB-C4A9-1E6FCCC7E1E6}"/>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64" name="Group 63">
              <a:extLst>
                <a:ext uri="{FF2B5EF4-FFF2-40B4-BE49-F238E27FC236}">
                  <a16:creationId xmlns:a16="http://schemas.microsoft.com/office/drawing/2014/main" id="{9731125F-7A55-908D-5491-6DC1CB1DC658}"/>
                </a:ext>
              </a:extLst>
            </p:cNvPr>
            <p:cNvGrpSpPr>
              <a:grpSpLocks noChangeAspect="1"/>
            </p:cNvGrpSpPr>
            <p:nvPr/>
          </p:nvGrpSpPr>
          <p:grpSpPr>
            <a:xfrm>
              <a:off x="1128695" y="800637"/>
              <a:ext cx="308497" cy="312039"/>
              <a:chOff x="6170778" y="1014257"/>
              <a:chExt cx="365760" cy="365760"/>
            </a:xfrm>
          </p:grpSpPr>
          <p:sp>
            <p:nvSpPr>
              <p:cNvPr id="74" name="Oval 73">
                <a:extLst>
                  <a:ext uri="{FF2B5EF4-FFF2-40B4-BE49-F238E27FC236}">
                    <a16:creationId xmlns:a16="http://schemas.microsoft.com/office/drawing/2014/main" id="{5650D1D0-0438-F3C2-6D52-152E4C7F1087}"/>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75" name="Oval 74">
                <a:extLst>
                  <a:ext uri="{FF2B5EF4-FFF2-40B4-BE49-F238E27FC236}">
                    <a16:creationId xmlns:a16="http://schemas.microsoft.com/office/drawing/2014/main" id="{7B2AC4E2-4485-2BB8-2859-E3A4A7DBC9B4}"/>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65" name="Group 64">
              <a:extLst>
                <a:ext uri="{FF2B5EF4-FFF2-40B4-BE49-F238E27FC236}">
                  <a16:creationId xmlns:a16="http://schemas.microsoft.com/office/drawing/2014/main" id="{B058208C-3550-4740-5B68-33AED88AD4CC}"/>
                </a:ext>
              </a:extLst>
            </p:cNvPr>
            <p:cNvGrpSpPr>
              <a:grpSpLocks noChangeAspect="1"/>
            </p:cNvGrpSpPr>
            <p:nvPr/>
          </p:nvGrpSpPr>
          <p:grpSpPr>
            <a:xfrm>
              <a:off x="1586477" y="801385"/>
              <a:ext cx="308497" cy="312039"/>
              <a:chOff x="6170778" y="1014257"/>
              <a:chExt cx="365760" cy="365760"/>
            </a:xfrm>
          </p:grpSpPr>
          <p:sp>
            <p:nvSpPr>
              <p:cNvPr id="72" name="Oval 71">
                <a:extLst>
                  <a:ext uri="{FF2B5EF4-FFF2-40B4-BE49-F238E27FC236}">
                    <a16:creationId xmlns:a16="http://schemas.microsoft.com/office/drawing/2014/main" id="{E36E9BDD-D574-E2DA-6C18-24947A9CDD69}"/>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73" name="Oval 72">
                <a:extLst>
                  <a:ext uri="{FF2B5EF4-FFF2-40B4-BE49-F238E27FC236}">
                    <a16:creationId xmlns:a16="http://schemas.microsoft.com/office/drawing/2014/main" id="{247B1F9E-83F3-0157-0B96-C9D0F9E10AF2}"/>
                  </a:ext>
                </a:extLst>
              </p:cNvPr>
              <p:cNvSpPr>
                <a:spLocks/>
              </p:cNvSpPr>
              <p:nvPr/>
            </p:nvSpPr>
            <p:spPr bwMode="gray">
              <a:xfrm>
                <a:off x="6219844" y="1064549"/>
                <a:ext cx="267629" cy="265176"/>
              </a:xfrm>
              <a:prstGeom prst="ellipse">
                <a:avLst/>
              </a:prstGeom>
              <a:solidFill>
                <a:sysClr val="window" lastClr="FFFFFF"/>
              </a:solidFill>
              <a:ln w="28575" algn="ctr">
                <a:solidFill>
                  <a:srgbClr val="6FC2B4"/>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spTree>
    <p:extLst>
      <p:ext uri="{BB962C8B-B14F-4D97-AF65-F5344CB8AC3E}">
        <p14:creationId xmlns:p14="http://schemas.microsoft.com/office/powerpoint/2010/main" val="3292732992"/>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_Title &amp; Subtitle_Watercolour bottom">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CDC5F8D-2CF9-9E65-A98E-0F4E55790797}"/>
              </a:ext>
            </a:extLst>
          </p:cNvPr>
          <p:cNvPicPr>
            <a:picLocks noChangeAspect="1"/>
          </p:cNvPicPr>
          <p:nvPr userDrawn="1"/>
        </p:nvPicPr>
        <p:blipFill>
          <a:blip r:embed="rId3" cstate="email">
            <a:alphaModFix amt="45000"/>
            <a:extLst>
              <a:ext uri="{28A0092B-C50C-407E-A947-70E740481C1C}">
                <a14:useLocalDpi xmlns:a14="http://schemas.microsoft.com/office/drawing/2010/main"/>
              </a:ext>
            </a:extLst>
          </a:blip>
          <a:srcRect/>
          <a:stretch/>
        </p:blipFill>
        <p:spPr>
          <a:xfrm>
            <a:off x="0" y="1916176"/>
            <a:ext cx="12192001" cy="4941824"/>
          </a:xfrm>
          <a:prstGeom prst="rect">
            <a:avLst/>
          </a:prstGeom>
        </p:spPr>
      </p:pic>
      <p:graphicFrame>
        <p:nvGraphicFramePr>
          <p:cNvPr id="30" name="Object 29" hidden="1">
            <a:extLst>
              <a:ext uri="{FF2B5EF4-FFF2-40B4-BE49-F238E27FC236}">
                <a16:creationId xmlns:a16="http://schemas.microsoft.com/office/drawing/2014/main" id="{00E6EAB6-F3C9-2A90-F56E-928F92CDE557}"/>
              </a:ext>
            </a:extLst>
          </p:cNvPr>
          <p:cNvGraphicFramePr>
            <a:graphicFrameLocks noChangeAspect="1"/>
          </p:cNvGraphicFramePr>
          <p:nvPr userDrawn="1">
            <p:custDataLst>
              <p:tags r:id="rId1"/>
            </p:custDataLst>
            <p:extLst>
              <p:ext uri="{D42A27DB-BD31-4B8C-83A1-F6EECF244321}">
                <p14:modId xmlns:p14="http://schemas.microsoft.com/office/powerpoint/2010/main" val="819814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00E6EAB6-F3C9-2A90-F56E-928F92CDE5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8307218"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9" name="Group 28">
            <a:extLst>
              <a:ext uri="{FF2B5EF4-FFF2-40B4-BE49-F238E27FC236}">
                <a16:creationId xmlns:a16="http://schemas.microsoft.com/office/drawing/2014/main" id="{9333D8CB-2169-8B53-5218-D8D83662A8B4}"/>
              </a:ext>
            </a:extLst>
          </p:cNvPr>
          <p:cNvGrpSpPr/>
          <p:nvPr userDrawn="1"/>
        </p:nvGrpSpPr>
        <p:grpSpPr>
          <a:xfrm>
            <a:off x="8964483" y="230649"/>
            <a:ext cx="2776412" cy="496573"/>
            <a:chOff x="122348" y="692181"/>
            <a:chExt cx="2776412" cy="496573"/>
          </a:xfrm>
        </p:grpSpPr>
        <p:sp>
          <p:nvSpPr>
            <p:cNvPr id="31" name="Freeform 6">
              <a:extLst>
                <a:ext uri="{FF2B5EF4-FFF2-40B4-BE49-F238E27FC236}">
                  <a16:creationId xmlns:a16="http://schemas.microsoft.com/office/drawing/2014/main" id="{9A2FC60C-0C1C-029E-30D9-4692FB298D45}"/>
                </a:ext>
              </a:extLst>
            </p:cNvPr>
            <p:cNvSpPr>
              <a:spLocks/>
            </p:cNvSpPr>
            <p:nvPr/>
          </p:nvSpPr>
          <p:spPr bwMode="auto">
            <a:xfrm rot="5400000" flipV="1">
              <a:off x="2521994" y="580027"/>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32" name="Freeform 6">
              <a:extLst>
                <a:ext uri="{FF2B5EF4-FFF2-40B4-BE49-F238E27FC236}">
                  <a16:creationId xmlns:a16="http://schemas.microsoft.com/office/drawing/2014/main" id="{3E5E2CBE-45A0-4D83-2A3E-A3D45A35466F}"/>
                </a:ext>
              </a:extLst>
            </p:cNvPr>
            <p:cNvSpPr>
              <a:spLocks/>
            </p:cNvSpPr>
            <p:nvPr/>
          </p:nvSpPr>
          <p:spPr bwMode="auto">
            <a:xfrm rot="16200000">
              <a:off x="234502" y="811988"/>
              <a:ext cx="264612" cy="488920"/>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33" name="Freeform 7">
              <a:extLst>
                <a:ext uri="{FF2B5EF4-FFF2-40B4-BE49-F238E27FC236}">
                  <a16:creationId xmlns:a16="http://schemas.microsoft.com/office/drawing/2014/main" id="{744F0118-4F4C-C82D-DCC8-70D1E5E3CC01}"/>
                </a:ext>
              </a:extLst>
            </p:cNvPr>
            <p:cNvSpPr>
              <a:spLocks/>
            </p:cNvSpPr>
            <p:nvPr/>
          </p:nvSpPr>
          <p:spPr bwMode="auto">
            <a:xfrm rot="16200000">
              <a:off x="700313"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34" name="Freeform 8">
              <a:extLst>
                <a:ext uri="{FF2B5EF4-FFF2-40B4-BE49-F238E27FC236}">
                  <a16:creationId xmlns:a16="http://schemas.microsoft.com/office/drawing/2014/main" id="{6F79CFEE-EDF8-8E6F-595F-BA09A5AA1BD4}"/>
                </a:ext>
              </a:extLst>
            </p:cNvPr>
            <p:cNvSpPr>
              <a:spLocks/>
            </p:cNvSpPr>
            <p:nvPr/>
          </p:nvSpPr>
          <p:spPr bwMode="auto">
            <a:xfrm rot="16200000">
              <a:off x="1157961"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35" name="Freeform 7">
              <a:extLst>
                <a:ext uri="{FF2B5EF4-FFF2-40B4-BE49-F238E27FC236}">
                  <a16:creationId xmlns:a16="http://schemas.microsoft.com/office/drawing/2014/main" id="{4B8BB3D8-C543-E7D2-4F56-C5E8BA30FB4F}"/>
                </a:ext>
              </a:extLst>
            </p:cNvPr>
            <p:cNvSpPr>
              <a:spLocks/>
            </p:cNvSpPr>
            <p:nvPr/>
          </p:nvSpPr>
          <p:spPr bwMode="auto">
            <a:xfrm rot="16200000">
              <a:off x="1614264" y="571529"/>
              <a:ext cx="248286" cy="48959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bg1">
                <a:lumMod val="85000"/>
              </a:schemeClr>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sp>
          <p:nvSpPr>
            <p:cNvPr id="36" name="Freeform 8">
              <a:extLst>
                <a:ext uri="{FF2B5EF4-FFF2-40B4-BE49-F238E27FC236}">
                  <a16:creationId xmlns:a16="http://schemas.microsoft.com/office/drawing/2014/main" id="{4398D855-4091-97BA-F69C-521BFEBFB595}"/>
                </a:ext>
              </a:extLst>
            </p:cNvPr>
            <p:cNvSpPr>
              <a:spLocks/>
            </p:cNvSpPr>
            <p:nvPr/>
          </p:nvSpPr>
          <p:spPr bwMode="auto">
            <a:xfrm rot="16200000">
              <a:off x="2071912" y="820151"/>
              <a:ext cx="248286" cy="488920"/>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rgbClr val="9DD4CF"/>
            </a:solidFill>
            <a:ln w="12700">
              <a:solidFill>
                <a:sysClr val="window" lastClr="FFFFFF"/>
              </a:solidFill>
              <a:round/>
              <a:headEnd/>
              <a:tailEnd/>
            </a:ln>
          </p:spPr>
          <p:txBody>
            <a:bodyPr vert="horz" wrap="square" lIns="22839" tIns="11419" rIns="22839" bIns="11419" numCol="1" anchor="t" anchorCtr="0" compatLnSpc="1">
              <a:prstTxWarp prst="textNoShape">
                <a:avLst/>
              </a:prstTxWarp>
            </a:bodyPr>
            <a:lstStyle/>
            <a:p>
              <a:pPr defTabSz="228445" rtl="0">
                <a:defRPr/>
              </a:pPr>
              <a:endParaRPr lang="en-US" sz="1800" kern="0" dirty="0">
                <a:solidFill>
                  <a:prstClr val="black"/>
                </a:solidFill>
                <a:latin typeface="Open Sans"/>
              </a:endParaRPr>
            </a:p>
          </p:txBody>
        </p:sp>
        <p:grpSp>
          <p:nvGrpSpPr>
            <p:cNvPr id="37" name="Group 36">
              <a:extLst>
                <a:ext uri="{FF2B5EF4-FFF2-40B4-BE49-F238E27FC236}">
                  <a16:creationId xmlns:a16="http://schemas.microsoft.com/office/drawing/2014/main" id="{77DC773F-56D0-EB14-843D-D8231B726775}"/>
                </a:ext>
              </a:extLst>
            </p:cNvPr>
            <p:cNvGrpSpPr>
              <a:grpSpLocks noChangeAspect="1"/>
            </p:cNvGrpSpPr>
            <p:nvPr/>
          </p:nvGrpSpPr>
          <p:grpSpPr>
            <a:xfrm>
              <a:off x="212089" y="801385"/>
              <a:ext cx="308497" cy="312039"/>
              <a:chOff x="6170778" y="1014257"/>
              <a:chExt cx="365760" cy="365760"/>
            </a:xfrm>
          </p:grpSpPr>
          <p:sp>
            <p:nvSpPr>
              <p:cNvPr id="53" name="Oval 52">
                <a:extLst>
                  <a:ext uri="{FF2B5EF4-FFF2-40B4-BE49-F238E27FC236}">
                    <a16:creationId xmlns:a16="http://schemas.microsoft.com/office/drawing/2014/main" id="{114A35AE-FDDE-FB69-06E7-2F6887E7B7AD}"/>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54" name="Oval 53">
                <a:extLst>
                  <a:ext uri="{FF2B5EF4-FFF2-40B4-BE49-F238E27FC236}">
                    <a16:creationId xmlns:a16="http://schemas.microsoft.com/office/drawing/2014/main" id="{5DEDC111-3F33-0177-B0F9-35AE2541C3CA}"/>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38" name="Group 37">
              <a:extLst>
                <a:ext uri="{FF2B5EF4-FFF2-40B4-BE49-F238E27FC236}">
                  <a16:creationId xmlns:a16="http://schemas.microsoft.com/office/drawing/2014/main" id="{00288E6C-2F82-9171-F347-CADD3D8DF122}"/>
                </a:ext>
              </a:extLst>
            </p:cNvPr>
            <p:cNvGrpSpPr>
              <a:grpSpLocks noChangeAspect="1"/>
            </p:cNvGrpSpPr>
            <p:nvPr/>
          </p:nvGrpSpPr>
          <p:grpSpPr>
            <a:xfrm>
              <a:off x="670205" y="801385"/>
              <a:ext cx="308497" cy="312039"/>
              <a:chOff x="6170778" y="1014257"/>
              <a:chExt cx="365760" cy="365760"/>
            </a:xfrm>
          </p:grpSpPr>
          <p:sp>
            <p:nvSpPr>
              <p:cNvPr id="51" name="Oval 50">
                <a:extLst>
                  <a:ext uri="{FF2B5EF4-FFF2-40B4-BE49-F238E27FC236}">
                    <a16:creationId xmlns:a16="http://schemas.microsoft.com/office/drawing/2014/main" id="{CACCD574-7E14-E5B6-4B75-9D26B2A6DC7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52" name="Oval 51">
                <a:extLst>
                  <a:ext uri="{FF2B5EF4-FFF2-40B4-BE49-F238E27FC236}">
                    <a16:creationId xmlns:a16="http://schemas.microsoft.com/office/drawing/2014/main" id="{82D60177-2843-996F-13EF-4A89F5B5905B}"/>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39" name="Group 38">
              <a:extLst>
                <a:ext uri="{FF2B5EF4-FFF2-40B4-BE49-F238E27FC236}">
                  <a16:creationId xmlns:a16="http://schemas.microsoft.com/office/drawing/2014/main" id="{4A0916E3-90AD-92A1-7C8D-9A9154294333}"/>
                </a:ext>
              </a:extLst>
            </p:cNvPr>
            <p:cNvGrpSpPr>
              <a:grpSpLocks noChangeAspect="1"/>
            </p:cNvGrpSpPr>
            <p:nvPr/>
          </p:nvGrpSpPr>
          <p:grpSpPr>
            <a:xfrm>
              <a:off x="1128695" y="800637"/>
              <a:ext cx="308497" cy="312039"/>
              <a:chOff x="6170778" y="1014257"/>
              <a:chExt cx="365760" cy="365760"/>
            </a:xfrm>
          </p:grpSpPr>
          <p:sp>
            <p:nvSpPr>
              <p:cNvPr id="49" name="Oval 48">
                <a:extLst>
                  <a:ext uri="{FF2B5EF4-FFF2-40B4-BE49-F238E27FC236}">
                    <a16:creationId xmlns:a16="http://schemas.microsoft.com/office/drawing/2014/main" id="{BF13A37B-BC19-44DF-5C71-F522C4B2CCA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50" name="Oval 49">
                <a:extLst>
                  <a:ext uri="{FF2B5EF4-FFF2-40B4-BE49-F238E27FC236}">
                    <a16:creationId xmlns:a16="http://schemas.microsoft.com/office/drawing/2014/main" id="{C117A2F6-369C-5E52-D469-9C1B2A61CF5D}"/>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40" name="Group 39">
              <a:extLst>
                <a:ext uri="{FF2B5EF4-FFF2-40B4-BE49-F238E27FC236}">
                  <a16:creationId xmlns:a16="http://schemas.microsoft.com/office/drawing/2014/main" id="{FB65EF02-4AE9-5BD5-2530-4F73259B55F8}"/>
                </a:ext>
              </a:extLst>
            </p:cNvPr>
            <p:cNvGrpSpPr>
              <a:grpSpLocks noChangeAspect="1"/>
            </p:cNvGrpSpPr>
            <p:nvPr/>
          </p:nvGrpSpPr>
          <p:grpSpPr>
            <a:xfrm>
              <a:off x="1586477" y="801385"/>
              <a:ext cx="308497" cy="312039"/>
              <a:chOff x="6170778" y="1014257"/>
              <a:chExt cx="365760" cy="365760"/>
            </a:xfrm>
          </p:grpSpPr>
          <p:sp>
            <p:nvSpPr>
              <p:cNvPr id="47" name="Oval 46">
                <a:extLst>
                  <a:ext uri="{FF2B5EF4-FFF2-40B4-BE49-F238E27FC236}">
                    <a16:creationId xmlns:a16="http://schemas.microsoft.com/office/drawing/2014/main" id="{CEFA1EBF-9ABA-D0D5-F326-7DB5CBB4B4AA}"/>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48" name="Oval 47">
                <a:extLst>
                  <a:ext uri="{FF2B5EF4-FFF2-40B4-BE49-F238E27FC236}">
                    <a16:creationId xmlns:a16="http://schemas.microsoft.com/office/drawing/2014/main" id="{A92C0EEA-E5F5-34F3-712D-B7D480E19391}"/>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nvGrpSpPr>
            <p:cNvPr id="41" name="Group 40">
              <a:extLst>
                <a:ext uri="{FF2B5EF4-FFF2-40B4-BE49-F238E27FC236}">
                  <a16:creationId xmlns:a16="http://schemas.microsoft.com/office/drawing/2014/main" id="{5E5EF646-F2B2-6473-968D-DCF436D7EE03}"/>
                </a:ext>
              </a:extLst>
            </p:cNvPr>
            <p:cNvGrpSpPr>
              <a:grpSpLocks noChangeAspect="1"/>
            </p:cNvGrpSpPr>
            <p:nvPr/>
          </p:nvGrpSpPr>
          <p:grpSpPr>
            <a:xfrm>
              <a:off x="2042928" y="801639"/>
              <a:ext cx="308497" cy="312039"/>
              <a:chOff x="6170778" y="1014257"/>
              <a:chExt cx="365760" cy="365760"/>
            </a:xfrm>
          </p:grpSpPr>
          <p:sp>
            <p:nvSpPr>
              <p:cNvPr id="45" name="Oval 44">
                <a:extLst>
                  <a:ext uri="{FF2B5EF4-FFF2-40B4-BE49-F238E27FC236}">
                    <a16:creationId xmlns:a16="http://schemas.microsoft.com/office/drawing/2014/main" id="{5824F6A5-4129-796E-EBA5-2A4A9E403FD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46" name="Oval 45">
                <a:extLst>
                  <a:ext uri="{FF2B5EF4-FFF2-40B4-BE49-F238E27FC236}">
                    <a16:creationId xmlns:a16="http://schemas.microsoft.com/office/drawing/2014/main" id="{9694E4AC-2AC2-59B5-92C9-CE904DF540B9}"/>
                  </a:ext>
                </a:extLst>
              </p:cNvPr>
              <p:cNvSpPr>
                <a:spLocks/>
              </p:cNvSpPr>
              <p:nvPr/>
            </p:nvSpPr>
            <p:spPr bwMode="gray">
              <a:xfrm>
                <a:off x="6219844" y="1064549"/>
                <a:ext cx="267629" cy="265176"/>
              </a:xfrm>
              <a:prstGeom prst="ellipse">
                <a:avLst/>
              </a:prstGeom>
              <a:solidFill>
                <a:sysClr val="window" lastClr="FFFFFF"/>
              </a:solidFill>
              <a:ln w="28575" algn="ctr">
                <a:solidFill>
                  <a:srgbClr val="9DD4CF"/>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5</a:t>
                </a:r>
              </a:p>
            </p:txBody>
          </p:sp>
        </p:grpSp>
        <p:grpSp>
          <p:nvGrpSpPr>
            <p:cNvPr id="42" name="Group 41">
              <a:extLst>
                <a:ext uri="{FF2B5EF4-FFF2-40B4-BE49-F238E27FC236}">
                  <a16:creationId xmlns:a16="http://schemas.microsoft.com/office/drawing/2014/main" id="{4D6343C3-3424-FE20-C28B-5CCDABC801EB}"/>
                </a:ext>
              </a:extLst>
            </p:cNvPr>
            <p:cNvGrpSpPr>
              <a:grpSpLocks noChangeAspect="1"/>
            </p:cNvGrpSpPr>
            <p:nvPr/>
          </p:nvGrpSpPr>
          <p:grpSpPr>
            <a:xfrm>
              <a:off x="2500051" y="800637"/>
              <a:ext cx="308497" cy="312039"/>
              <a:chOff x="6170778" y="1014257"/>
              <a:chExt cx="365760" cy="365760"/>
            </a:xfrm>
          </p:grpSpPr>
          <p:sp>
            <p:nvSpPr>
              <p:cNvPr id="43" name="Oval 42">
                <a:extLst>
                  <a:ext uri="{FF2B5EF4-FFF2-40B4-BE49-F238E27FC236}">
                    <a16:creationId xmlns:a16="http://schemas.microsoft.com/office/drawing/2014/main" id="{189A9854-7137-F4C2-0B70-B156AC94371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algn="ctr" rtl="0">
                  <a:defRPr/>
                </a:pPr>
                <a:endParaRPr lang="en-US" sz="400" b="1" i="0" kern="0" dirty="0">
                  <a:solidFill>
                    <a:prstClr val="black"/>
                  </a:solidFill>
                  <a:latin typeface="Open Sans" panose="020B0606030504020204" pitchFamily="34" charset="0"/>
                </a:endParaRPr>
              </a:p>
            </p:txBody>
          </p:sp>
          <p:sp>
            <p:nvSpPr>
              <p:cNvPr id="44" name="Oval 43">
                <a:extLst>
                  <a:ext uri="{FF2B5EF4-FFF2-40B4-BE49-F238E27FC236}">
                    <a16:creationId xmlns:a16="http://schemas.microsoft.com/office/drawing/2014/main" id="{4A39DDDB-5745-2654-DDBA-0DA518B1BFA4}"/>
                  </a:ext>
                </a:extLst>
              </p:cNvPr>
              <p:cNvSpPr>
                <a:spLocks/>
              </p:cNvSpPr>
              <p:nvPr/>
            </p:nvSpPr>
            <p:spPr bwMode="gray">
              <a:xfrm>
                <a:off x="6219844" y="1064549"/>
                <a:ext cx="267629" cy="265176"/>
              </a:xfrm>
              <a:prstGeom prst="ellipse">
                <a:avLst/>
              </a:prstGeom>
              <a:solidFill>
                <a:sysClr val="window" lastClr="FFFFFF"/>
              </a:solidFill>
              <a:ln w="28575" algn="ctr">
                <a:solidFill>
                  <a:schemeClr val="bg1">
                    <a:lumMod val="85000"/>
                  </a:schemeClr>
                </a:solidFill>
                <a:miter lim="800000"/>
                <a:headEnd/>
                <a:tailEnd/>
              </a:ln>
            </p:spPr>
            <p:txBody>
              <a:bodyPr wrap="square" lIns="0" tIns="0" rIns="0" bIns="0" rtlCol="0" anchor="ctr"/>
              <a:lstStyle/>
              <a:p>
                <a:pPr algn="ctr" rtl="0">
                  <a:lnSpc>
                    <a:spcPct val="106000"/>
                  </a:lnSpc>
                  <a:defRPr/>
                </a:pPr>
                <a:r>
                  <a:rPr lang="en-US" sz="500" b="1" dirty="0">
                    <a:solidFill>
                      <a:prstClr val="black">
                        <a:lumMod val="50000"/>
                        <a:lumOff val="50000"/>
                      </a:prstClr>
                    </a:solidFill>
                    <a:latin typeface="Open Sans SemiBold" panose="020B0606030504020204" pitchFamily="34" charset="0"/>
                    <a:ea typeface="Open Sans SemiBold" panose="020B0606030504020204" pitchFamily="34" charset="0"/>
                    <a:cs typeface="Open Sans SemiBold" panose="020B0606030504020204" pitchFamily="34" charset="0"/>
                  </a:rPr>
                  <a:t>06</a:t>
                </a:r>
              </a:p>
            </p:txBody>
          </p:sp>
        </p:grpSp>
      </p:grpSp>
    </p:spTree>
    <p:extLst>
      <p:ext uri="{BB962C8B-B14F-4D97-AF65-F5344CB8AC3E}">
        <p14:creationId xmlns:p14="http://schemas.microsoft.com/office/powerpoint/2010/main" val="112636199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Subtitle_Pictur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73931B-160C-5CE3-3C79-054F5722E21C}"/>
              </a:ext>
            </a:extLst>
          </p:cNvPr>
          <p:cNvGraphicFramePr>
            <a:graphicFrameLocks noChangeAspect="1"/>
          </p:cNvGraphicFramePr>
          <p:nvPr userDrawn="1">
            <p:custDataLst>
              <p:tags r:id="rId1"/>
            </p:custDataLst>
            <p:extLst>
              <p:ext uri="{D42A27DB-BD31-4B8C-83A1-F6EECF244321}">
                <p14:modId xmlns:p14="http://schemas.microsoft.com/office/powerpoint/2010/main" val="89868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9973931B-160C-5CE3-3C79-054F5722E2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936000"/>
            <a:ext cx="5632705"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5632705"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4" name="Picture Placeholder 3">
            <a:extLst>
              <a:ext uri="{FF2B5EF4-FFF2-40B4-BE49-F238E27FC236}">
                <a16:creationId xmlns:a16="http://schemas.microsoft.com/office/drawing/2014/main" id="{1AA55C8A-97EA-9421-F9BB-F828DDA2936E}"/>
              </a:ext>
            </a:extLst>
          </p:cNvPr>
          <p:cNvSpPr>
            <a:spLocks noGrp="1"/>
          </p:cNvSpPr>
          <p:nvPr>
            <p:ph type="pic" sz="quarter" idx="23"/>
          </p:nvPr>
        </p:nvSpPr>
        <p:spPr>
          <a:xfrm>
            <a:off x="6743700" y="0"/>
            <a:ext cx="5448300" cy="6858000"/>
          </a:xfrm>
        </p:spPr>
        <p:txBody>
          <a:bodyPr/>
          <a:lstStyle/>
          <a:p>
            <a:endParaRPr lang="en-CH"/>
          </a:p>
        </p:txBody>
      </p:sp>
    </p:spTree>
    <p:extLst>
      <p:ext uri="{BB962C8B-B14F-4D97-AF65-F5344CB8AC3E}">
        <p14:creationId xmlns:p14="http://schemas.microsoft.com/office/powerpoint/2010/main" val="45858512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About Deloitte Map">
    <p:spTree>
      <p:nvGrpSpPr>
        <p:cNvPr id="1" name=""/>
        <p:cNvGrpSpPr/>
        <p:nvPr/>
      </p:nvGrpSpPr>
      <p:grpSpPr>
        <a:xfrm>
          <a:off x="0" y="0"/>
          <a:ext cx="0" cy="0"/>
          <a:chOff x="0" y="0"/>
          <a:chExt cx="0" cy="0"/>
        </a:xfrm>
      </p:grpSpPr>
      <p:graphicFrame>
        <p:nvGraphicFramePr>
          <p:cNvPr id="220" name="think-cell data - do not delete" hidden="1">
            <a:extLst>
              <a:ext uri="{FF2B5EF4-FFF2-40B4-BE49-F238E27FC236}">
                <a16:creationId xmlns:a16="http://schemas.microsoft.com/office/drawing/2014/main" id="{BB86929B-540F-F12A-4928-DF8960FA2D24}"/>
              </a:ext>
            </a:extLst>
          </p:cNvPr>
          <p:cNvGraphicFramePr>
            <a:graphicFrameLocks noChangeAspect="1"/>
          </p:cNvGraphicFramePr>
          <p:nvPr userDrawn="1">
            <p:custDataLst>
              <p:tags r:id="rId1"/>
            </p:custDataLst>
            <p:extLst>
              <p:ext uri="{D42A27DB-BD31-4B8C-83A1-F6EECF244321}">
                <p14:modId xmlns:p14="http://schemas.microsoft.com/office/powerpoint/2010/main" val="1861874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20" name="think-cell data - do not delete" hidden="1">
                        <a:extLst>
                          <a:ext uri="{FF2B5EF4-FFF2-40B4-BE49-F238E27FC236}">
                            <a16:creationId xmlns:a16="http://schemas.microsoft.com/office/drawing/2014/main" id="{BB86929B-540F-F12A-4928-DF8960FA2D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grpSp>
        <p:nvGrpSpPr>
          <p:cNvPr id="2" name="Group 1">
            <a:extLst>
              <a:ext uri="{FF2B5EF4-FFF2-40B4-BE49-F238E27FC236}">
                <a16:creationId xmlns:a16="http://schemas.microsoft.com/office/drawing/2014/main" id="{40D541B6-8216-3695-6C2D-F990A120BF58}"/>
              </a:ext>
            </a:extLst>
          </p:cNvPr>
          <p:cNvGrpSpPr/>
          <p:nvPr userDrawn="1"/>
        </p:nvGrpSpPr>
        <p:grpSpPr>
          <a:xfrm>
            <a:off x="4812486" y="2381095"/>
            <a:ext cx="6440688" cy="3681553"/>
            <a:chOff x="393700" y="1781243"/>
            <a:chExt cx="8280400" cy="4425949"/>
          </a:xfrm>
          <a:solidFill>
            <a:schemeClr val="tx2">
              <a:lumMod val="20000"/>
              <a:lumOff val="80000"/>
            </a:schemeClr>
          </a:solidFill>
        </p:grpSpPr>
        <p:sp>
          <p:nvSpPr>
            <p:cNvPr id="3" name="Freeform 221">
              <a:extLst>
                <a:ext uri="{FF2B5EF4-FFF2-40B4-BE49-F238E27FC236}">
                  <a16:creationId xmlns:a16="http://schemas.microsoft.com/office/drawing/2014/main" id="{65F33036-5D3D-AB36-49C4-A3F4D1E53257}"/>
                </a:ext>
              </a:extLst>
            </p:cNvPr>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 name="Freeform 13">
              <a:extLst>
                <a:ext uri="{FF2B5EF4-FFF2-40B4-BE49-F238E27FC236}">
                  <a16:creationId xmlns:a16="http://schemas.microsoft.com/office/drawing/2014/main" id="{C6024379-C508-D69D-DB5D-3DC27F6FF88A}"/>
                </a:ext>
              </a:extLst>
            </p:cNvPr>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 name="Freeform 14">
              <a:extLst>
                <a:ext uri="{FF2B5EF4-FFF2-40B4-BE49-F238E27FC236}">
                  <a16:creationId xmlns:a16="http://schemas.microsoft.com/office/drawing/2014/main" id="{536F3C78-3436-132A-6B0C-9D64744DC4CF}"/>
                </a:ext>
              </a:extLst>
            </p:cNvPr>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 name="Freeform 15">
              <a:extLst>
                <a:ext uri="{FF2B5EF4-FFF2-40B4-BE49-F238E27FC236}">
                  <a16:creationId xmlns:a16="http://schemas.microsoft.com/office/drawing/2014/main" id="{5B6509B6-50E8-A4C4-C90B-7298BE639598}"/>
                </a:ext>
              </a:extLst>
            </p:cNvPr>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 name="Freeform 16">
              <a:extLst>
                <a:ext uri="{FF2B5EF4-FFF2-40B4-BE49-F238E27FC236}">
                  <a16:creationId xmlns:a16="http://schemas.microsoft.com/office/drawing/2014/main" id="{EC559E89-C8E6-6525-6A93-018364F0CB26}"/>
                </a:ext>
              </a:extLst>
            </p:cNvPr>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 name="Freeform 17">
              <a:extLst>
                <a:ext uri="{FF2B5EF4-FFF2-40B4-BE49-F238E27FC236}">
                  <a16:creationId xmlns:a16="http://schemas.microsoft.com/office/drawing/2014/main" id="{D1020179-5F30-3D95-6CC7-ED29D1236830}"/>
                </a:ext>
              </a:extLst>
            </p:cNvPr>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 name="Freeform 18">
              <a:extLst>
                <a:ext uri="{FF2B5EF4-FFF2-40B4-BE49-F238E27FC236}">
                  <a16:creationId xmlns:a16="http://schemas.microsoft.com/office/drawing/2014/main" id="{160CD83E-DD38-1BF6-C4F7-D2083BA3F993}"/>
                </a:ext>
              </a:extLst>
            </p:cNvPr>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 name="Freeform 19">
              <a:extLst>
                <a:ext uri="{FF2B5EF4-FFF2-40B4-BE49-F238E27FC236}">
                  <a16:creationId xmlns:a16="http://schemas.microsoft.com/office/drawing/2014/main" id="{CD201285-BD68-BBC7-6871-995ACB8FF884}"/>
                </a:ext>
              </a:extLst>
            </p:cNvPr>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 name="Freeform 20">
              <a:extLst>
                <a:ext uri="{FF2B5EF4-FFF2-40B4-BE49-F238E27FC236}">
                  <a16:creationId xmlns:a16="http://schemas.microsoft.com/office/drawing/2014/main" id="{7F27D209-4BD6-B3D6-2572-2ABFD1AF5B6A}"/>
                </a:ext>
              </a:extLst>
            </p:cNvPr>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 name="Freeform 21">
              <a:extLst>
                <a:ext uri="{FF2B5EF4-FFF2-40B4-BE49-F238E27FC236}">
                  <a16:creationId xmlns:a16="http://schemas.microsoft.com/office/drawing/2014/main" id="{0E37BD02-1A70-B5AB-872D-5F388BA623B2}"/>
                </a:ext>
              </a:extLst>
            </p:cNvPr>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 name="Freeform 22">
              <a:extLst>
                <a:ext uri="{FF2B5EF4-FFF2-40B4-BE49-F238E27FC236}">
                  <a16:creationId xmlns:a16="http://schemas.microsoft.com/office/drawing/2014/main" id="{DC0DC2C1-99C2-E046-3E0F-C534D801730F}"/>
                </a:ext>
              </a:extLst>
            </p:cNvPr>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 name="Freeform 23">
              <a:extLst>
                <a:ext uri="{FF2B5EF4-FFF2-40B4-BE49-F238E27FC236}">
                  <a16:creationId xmlns:a16="http://schemas.microsoft.com/office/drawing/2014/main" id="{128C4DF3-49ED-8AE9-E82D-9C3AE21EB9A8}"/>
                </a:ext>
              </a:extLst>
            </p:cNvPr>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 name="Freeform 24">
              <a:extLst>
                <a:ext uri="{FF2B5EF4-FFF2-40B4-BE49-F238E27FC236}">
                  <a16:creationId xmlns:a16="http://schemas.microsoft.com/office/drawing/2014/main" id="{C8F62068-120F-2A6B-60A4-DB3C59F5D618}"/>
                </a:ext>
              </a:extLst>
            </p:cNvPr>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 name="Freeform 25">
              <a:extLst>
                <a:ext uri="{FF2B5EF4-FFF2-40B4-BE49-F238E27FC236}">
                  <a16:creationId xmlns:a16="http://schemas.microsoft.com/office/drawing/2014/main" id="{8558563C-10FB-89E3-7453-2718348BD3B1}"/>
                </a:ext>
              </a:extLst>
            </p:cNvPr>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 name="Freeform 26">
              <a:extLst>
                <a:ext uri="{FF2B5EF4-FFF2-40B4-BE49-F238E27FC236}">
                  <a16:creationId xmlns:a16="http://schemas.microsoft.com/office/drawing/2014/main" id="{9909980E-159A-7D2B-ECCD-7204F316EFF3}"/>
                </a:ext>
              </a:extLst>
            </p:cNvPr>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 name="Freeform 27">
              <a:extLst>
                <a:ext uri="{FF2B5EF4-FFF2-40B4-BE49-F238E27FC236}">
                  <a16:creationId xmlns:a16="http://schemas.microsoft.com/office/drawing/2014/main" id="{0D72BE23-25E1-F9F4-EAB2-6EBBA2E1553E}"/>
                </a:ext>
              </a:extLst>
            </p:cNvPr>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 name="Freeform 28">
              <a:extLst>
                <a:ext uri="{FF2B5EF4-FFF2-40B4-BE49-F238E27FC236}">
                  <a16:creationId xmlns:a16="http://schemas.microsoft.com/office/drawing/2014/main" id="{45327FA6-259B-B3D9-CA5C-5FB5CC40133B}"/>
                </a:ext>
              </a:extLst>
            </p:cNvPr>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 name="Freeform 29">
              <a:extLst>
                <a:ext uri="{FF2B5EF4-FFF2-40B4-BE49-F238E27FC236}">
                  <a16:creationId xmlns:a16="http://schemas.microsoft.com/office/drawing/2014/main" id="{5744C64D-16A4-8F62-1032-E43FA3BE0DE1}"/>
                </a:ext>
              </a:extLst>
            </p:cNvPr>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2" name="Freeform 30">
              <a:extLst>
                <a:ext uri="{FF2B5EF4-FFF2-40B4-BE49-F238E27FC236}">
                  <a16:creationId xmlns:a16="http://schemas.microsoft.com/office/drawing/2014/main" id="{CBEE6DEB-FF06-9264-A3C3-CFBC39C31896}"/>
                </a:ext>
              </a:extLst>
            </p:cNvPr>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3" name="Freeform 31">
              <a:extLst>
                <a:ext uri="{FF2B5EF4-FFF2-40B4-BE49-F238E27FC236}">
                  <a16:creationId xmlns:a16="http://schemas.microsoft.com/office/drawing/2014/main" id="{D1FFD88A-A725-9D87-C549-23024FD56D2D}"/>
                </a:ext>
              </a:extLst>
            </p:cNvPr>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4" name="Freeform 32">
              <a:extLst>
                <a:ext uri="{FF2B5EF4-FFF2-40B4-BE49-F238E27FC236}">
                  <a16:creationId xmlns:a16="http://schemas.microsoft.com/office/drawing/2014/main" id="{4B084972-E7D3-5E8D-5938-4A44F457A53D}"/>
                </a:ext>
              </a:extLst>
            </p:cNvPr>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5" name="Freeform 33">
              <a:extLst>
                <a:ext uri="{FF2B5EF4-FFF2-40B4-BE49-F238E27FC236}">
                  <a16:creationId xmlns:a16="http://schemas.microsoft.com/office/drawing/2014/main" id="{C3B9DB3D-20C6-D62E-13ED-448D55B52E7E}"/>
                </a:ext>
              </a:extLst>
            </p:cNvPr>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6" name="Freeform 34">
              <a:extLst>
                <a:ext uri="{FF2B5EF4-FFF2-40B4-BE49-F238E27FC236}">
                  <a16:creationId xmlns:a16="http://schemas.microsoft.com/office/drawing/2014/main" id="{939A6BFF-BF73-6D47-3736-9EFAD3A2F5CE}"/>
                </a:ext>
              </a:extLst>
            </p:cNvPr>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7" name="Freeform 35">
              <a:extLst>
                <a:ext uri="{FF2B5EF4-FFF2-40B4-BE49-F238E27FC236}">
                  <a16:creationId xmlns:a16="http://schemas.microsoft.com/office/drawing/2014/main" id="{46CDAC79-1857-D56E-FA62-74E0F29993F6}"/>
                </a:ext>
              </a:extLst>
            </p:cNvPr>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8" name="Freeform 36">
              <a:extLst>
                <a:ext uri="{FF2B5EF4-FFF2-40B4-BE49-F238E27FC236}">
                  <a16:creationId xmlns:a16="http://schemas.microsoft.com/office/drawing/2014/main" id="{7C079D33-85F6-ACD7-991D-7143AF796C7F}"/>
                </a:ext>
              </a:extLst>
            </p:cNvPr>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9" name="Freeform 37">
              <a:extLst>
                <a:ext uri="{FF2B5EF4-FFF2-40B4-BE49-F238E27FC236}">
                  <a16:creationId xmlns:a16="http://schemas.microsoft.com/office/drawing/2014/main" id="{D6901E44-9DB2-52DC-5D86-D313CCF5A452}"/>
                </a:ext>
              </a:extLst>
            </p:cNvPr>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0" name="Freeform 38">
              <a:extLst>
                <a:ext uri="{FF2B5EF4-FFF2-40B4-BE49-F238E27FC236}">
                  <a16:creationId xmlns:a16="http://schemas.microsoft.com/office/drawing/2014/main" id="{2D82FAD8-7940-F85A-CE66-048E6356ACE5}"/>
                </a:ext>
              </a:extLst>
            </p:cNvPr>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1" name="Freeform 39">
              <a:extLst>
                <a:ext uri="{FF2B5EF4-FFF2-40B4-BE49-F238E27FC236}">
                  <a16:creationId xmlns:a16="http://schemas.microsoft.com/office/drawing/2014/main" id="{201A83CE-EC14-924F-8552-32FC95F41CE5}"/>
                </a:ext>
              </a:extLst>
            </p:cNvPr>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2" name="Freeform 40">
              <a:extLst>
                <a:ext uri="{FF2B5EF4-FFF2-40B4-BE49-F238E27FC236}">
                  <a16:creationId xmlns:a16="http://schemas.microsoft.com/office/drawing/2014/main" id="{27ED8F54-2B59-E945-F188-4A9EDD0BC210}"/>
                </a:ext>
              </a:extLst>
            </p:cNvPr>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3" name="Freeform 41">
              <a:extLst>
                <a:ext uri="{FF2B5EF4-FFF2-40B4-BE49-F238E27FC236}">
                  <a16:creationId xmlns:a16="http://schemas.microsoft.com/office/drawing/2014/main" id="{27D7133D-2D19-641C-7D47-47BEE9560D2C}"/>
                </a:ext>
              </a:extLst>
            </p:cNvPr>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4" name="Freeform 42">
              <a:extLst>
                <a:ext uri="{FF2B5EF4-FFF2-40B4-BE49-F238E27FC236}">
                  <a16:creationId xmlns:a16="http://schemas.microsoft.com/office/drawing/2014/main" id="{8F451F02-E900-EF51-6D44-C4AFCC179673}"/>
                </a:ext>
              </a:extLst>
            </p:cNvPr>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5" name="Freeform 43">
              <a:extLst>
                <a:ext uri="{FF2B5EF4-FFF2-40B4-BE49-F238E27FC236}">
                  <a16:creationId xmlns:a16="http://schemas.microsoft.com/office/drawing/2014/main" id="{9E0F2A91-871C-56FE-AE77-9B81B777880C}"/>
                </a:ext>
              </a:extLst>
            </p:cNvPr>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6" name="Freeform 44">
              <a:extLst>
                <a:ext uri="{FF2B5EF4-FFF2-40B4-BE49-F238E27FC236}">
                  <a16:creationId xmlns:a16="http://schemas.microsoft.com/office/drawing/2014/main" id="{19319AD5-42DA-817B-E05A-D5017BCF00F8}"/>
                </a:ext>
              </a:extLst>
            </p:cNvPr>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7" name="Freeform 45">
              <a:extLst>
                <a:ext uri="{FF2B5EF4-FFF2-40B4-BE49-F238E27FC236}">
                  <a16:creationId xmlns:a16="http://schemas.microsoft.com/office/drawing/2014/main" id="{5E136600-C302-1AE8-E85C-B06B2BFBCF14}"/>
                </a:ext>
              </a:extLst>
            </p:cNvPr>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8" name="Freeform 46">
              <a:extLst>
                <a:ext uri="{FF2B5EF4-FFF2-40B4-BE49-F238E27FC236}">
                  <a16:creationId xmlns:a16="http://schemas.microsoft.com/office/drawing/2014/main" id="{B8201EC1-0F6F-6F8B-E6D5-26B89AEA57C0}"/>
                </a:ext>
              </a:extLst>
            </p:cNvPr>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9" name="Freeform 47">
              <a:extLst>
                <a:ext uri="{FF2B5EF4-FFF2-40B4-BE49-F238E27FC236}">
                  <a16:creationId xmlns:a16="http://schemas.microsoft.com/office/drawing/2014/main" id="{3B373752-C1AA-6CDE-4A51-39371C1FA0EB}"/>
                </a:ext>
              </a:extLst>
            </p:cNvPr>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0" name="Freeform 48">
              <a:extLst>
                <a:ext uri="{FF2B5EF4-FFF2-40B4-BE49-F238E27FC236}">
                  <a16:creationId xmlns:a16="http://schemas.microsoft.com/office/drawing/2014/main" id="{EAB77048-CC45-13F7-4EAD-605B4B755230}"/>
                </a:ext>
              </a:extLst>
            </p:cNvPr>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1" name="Freeform 49">
              <a:extLst>
                <a:ext uri="{FF2B5EF4-FFF2-40B4-BE49-F238E27FC236}">
                  <a16:creationId xmlns:a16="http://schemas.microsoft.com/office/drawing/2014/main" id="{2C6A394C-FCEF-E3D5-7967-0C83F256166C}"/>
                </a:ext>
              </a:extLst>
            </p:cNvPr>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2" name="Freeform 50">
              <a:extLst>
                <a:ext uri="{FF2B5EF4-FFF2-40B4-BE49-F238E27FC236}">
                  <a16:creationId xmlns:a16="http://schemas.microsoft.com/office/drawing/2014/main" id="{95E442EC-CAF0-F1D8-12F7-EA4B720B4963}"/>
                </a:ext>
              </a:extLst>
            </p:cNvPr>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3" name="Freeform 51">
              <a:extLst>
                <a:ext uri="{FF2B5EF4-FFF2-40B4-BE49-F238E27FC236}">
                  <a16:creationId xmlns:a16="http://schemas.microsoft.com/office/drawing/2014/main" id="{27A577FC-6D7F-3DF6-EE45-2AA6A99A5380}"/>
                </a:ext>
              </a:extLst>
            </p:cNvPr>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4" name="Freeform 52">
              <a:extLst>
                <a:ext uri="{FF2B5EF4-FFF2-40B4-BE49-F238E27FC236}">
                  <a16:creationId xmlns:a16="http://schemas.microsoft.com/office/drawing/2014/main" id="{7D0A0107-D680-0FCA-1663-778899F61925}"/>
                </a:ext>
              </a:extLst>
            </p:cNvPr>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5" name="Freeform 53">
              <a:extLst>
                <a:ext uri="{FF2B5EF4-FFF2-40B4-BE49-F238E27FC236}">
                  <a16:creationId xmlns:a16="http://schemas.microsoft.com/office/drawing/2014/main" id="{9A7D5265-DBEA-2370-EC4D-74C732C799E9}"/>
                </a:ext>
              </a:extLst>
            </p:cNvPr>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6" name="Freeform 54">
              <a:extLst>
                <a:ext uri="{FF2B5EF4-FFF2-40B4-BE49-F238E27FC236}">
                  <a16:creationId xmlns:a16="http://schemas.microsoft.com/office/drawing/2014/main" id="{89A8861F-50E9-854E-D7E6-6ECD02E6565C}"/>
                </a:ext>
              </a:extLst>
            </p:cNvPr>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7" name="Freeform 55">
              <a:extLst>
                <a:ext uri="{FF2B5EF4-FFF2-40B4-BE49-F238E27FC236}">
                  <a16:creationId xmlns:a16="http://schemas.microsoft.com/office/drawing/2014/main" id="{D336153C-2B29-B5DF-22F2-547B205EB7D9}"/>
                </a:ext>
              </a:extLst>
            </p:cNvPr>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8" name="Freeform 56">
              <a:extLst>
                <a:ext uri="{FF2B5EF4-FFF2-40B4-BE49-F238E27FC236}">
                  <a16:creationId xmlns:a16="http://schemas.microsoft.com/office/drawing/2014/main" id="{E85AFFDF-0037-B0D4-30BE-C45579E458EB}"/>
                </a:ext>
              </a:extLst>
            </p:cNvPr>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49" name="Freeform 57">
              <a:extLst>
                <a:ext uri="{FF2B5EF4-FFF2-40B4-BE49-F238E27FC236}">
                  <a16:creationId xmlns:a16="http://schemas.microsoft.com/office/drawing/2014/main" id="{B18F1CE5-8E42-BF15-EAEC-A3BAB32FA7BC}"/>
                </a:ext>
              </a:extLst>
            </p:cNvPr>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0" name="Freeform 58">
              <a:extLst>
                <a:ext uri="{FF2B5EF4-FFF2-40B4-BE49-F238E27FC236}">
                  <a16:creationId xmlns:a16="http://schemas.microsoft.com/office/drawing/2014/main" id="{CCBD25A2-55C0-A58F-F1C1-A8DE45B6AC16}"/>
                </a:ext>
              </a:extLst>
            </p:cNvPr>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1" name="Freeform 59">
              <a:extLst>
                <a:ext uri="{FF2B5EF4-FFF2-40B4-BE49-F238E27FC236}">
                  <a16:creationId xmlns:a16="http://schemas.microsoft.com/office/drawing/2014/main" id="{E52E4DA6-6713-0A3F-A060-5909C91CD895}"/>
                </a:ext>
              </a:extLst>
            </p:cNvPr>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2" name="Freeform 60">
              <a:extLst>
                <a:ext uri="{FF2B5EF4-FFF2-40B4-BE49-F238E27FC236}">
                  <a16:creationId xmlns:a16="http://schemas.microsoft.com/office/drawing/2014/main" id="{5A1F3513-1E95-75BE-A913-654306E0A9F0}"/>
                </a:ext>
              </a:extLst>
            </p:cNvPr>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3" name="Freeform 61">
              <a:extLst>
                <a:ext uri="{FF2B5EF4-FFF2-40B4-BE49-F238E27FC236}">
                  <a16:creationId xmlns:a16="http://schemas.microsoft.com/office/drawing/2014/main" id="{35F09482-9360-FB97-9067-0D83D31A396E}"/>
                </a:ext>
              </a:extLst>
            </p:cNvPr>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4" name="Freeform 62">
              <a:extLst>
                <a:ext uri="{FF2B5EF4-FFF2-40B4-BE49-F238E27FC236}">
                  <a16:creationId xmlns:a16="http://schemas.microsoft.com/office/drawing/2014/main" id="{59515980-28C4-5501-7830-DD7BF48DC8F1}"/>
                </a:ext>
              </a:extLst>
            </p:cNvPr>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5" name="Freeform 63">
              <a:extLst>
                <a:ext uri="{FF2B5EF4-FFF2-40B4-BE49-F238E27FC236}">
                  <a16:creationId xmlns:a16="http://schemas.microsoft.com/office/drawing/2014/main" id="{17862758-69F6-76BC-184A-651F8C40ABEC}"/>
                </a:ext>
              </a:extLst>
            </p:cNvPr>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6" name="Freeform 64">
              <a:extLst>
                <a:ext uri="{FF2B5EF4-FFF2-40B4-BE49-F238E27FC236}">
                  <a16:creationId xmlns:a16="http://schemas.microsoft.com/office/drawing/2014/main" id="{DAA792FE-806B-88FF-CD57-C546A34473CF}"/>
                </a:ext>
              </a:extLst>
            </p:cNvPr>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7" name="Freeform 65">
              <a:extLst>
                <a:ext uri="{FF2B5EF4-FFF2-40B4-BE49-F238E27FC236}">
                  <a16:creationId xmlns:a16="http://schemas.microsoft.com/office/drawing/2014/main" id="{4D52B25D-EBEE-10B2-E07C-1021F234CD2A}"/>
                </a:ext>
              </a:extLst>
            </p:cNvPr>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8" name="Freeform 66">
              <a:extLst>
                <a:ext uri="{FF2B5EF4-FFF2-40B4-BE49-F238E27FC236}">
                  <a16:creationId xmlns:a16="http://schemas.microsoft.com/office/drawing/2014/main" id="{1F480DB2-5BD4-4329-4148-E6AAFB2305CE}"/>
                </a:ext>
              </a:extLst>
            </p:cNvPr>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9" name="Freeform 67">
              <a:extLst>
                <a:ext uri="{FF2B5EF4-FFF2-40B4-BE49-F238E27FC236}">
                  <a16:creationId xmlns:a16="http://schemas.microsoft.com/office/drawing/2014/main" id="{4272D618-3B52-F994-0518-A0EDFEDDA913}"/>
                </a:ext>
              </a:extLst>
            </p:cNvPr>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0" name="Freeform 68">
              <a:extLst>
                <a:ext uri="{FF2B5EF4-FFF2-40B4-BE49-F238E27FC236}">
                  <a16:creationId xmlns:a16="http://schemas.microsoft.com/office/drawing/2014/main" id="{F2184CC8-60F6-F6B7-866F-92CDE5CC7F29}"/>
                </a:ext>
              </a:extLst>
            </p:cNvPr>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1" name="Freeform 69">
              <a:extLst>
                <a:ext uri="{FF2B5EF4-FFF2-40B4-BE49-F238E27FC236}">
                  <a16:creationId xmlns:a16="http://schemas.microsoft.com/office/drawing/2014/main" id="{D77CD76C-BDFB-E238-70D8-F287808E0A04}"/>
                </a:ext>
              </a:extLst>
            </p:cNvPr>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2" name="Freeform 70">
              <a:extLst>
                <a:ext uri="{FF2B5EF4-FFF2-40B4-BE49-F238E27FC236}">
                  <a16:creationId xmlns:a16="http://schemas.microsoft.com/office/drawing/2014/main" id="{F825175C-CC42-4FCE-E8D2-B720ECD5FB8E}"/>
                </a:ext>
              </a:extLst>
            </p:cNvPr>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3" name="Freeform 71">
              <a:extLst>
                <a:ext uri="{FF2B5EF4-FFF2-40B4-BE49-F238E27FC236}">
                  <a16:creationId xmlns:a16="http://schemas.microsoft.com/office/drawing/2014/main" id="{9FDE94FE-1627-FDA5-6FB4-72FB2E835066}"/>
                </a:ext>
              </a:extLst>
            </p:cNvPr>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4" name="Freeform 72">
              <a:extLst>
                <a:ext uri="{FF2B5EF4-FFF2-40B4-BE49-F238E27FC236}">
                  <a16:creationId xmlns:a16="http://schemas.microsoft.com/office/drawing/2014/main" id="{10D48C19-DDBF-E792-0925-F6D66FB00C07}"/>
                </a:ext>
              </a:extLst>
            </p:cNvPr>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5" name="Freeform 73">
              <a:extLst>
                <a:ext uri="{FF2B5EF4-FFF2-40B4-BE49-F238E27FC236}">
                  <a16:creationId xmlns:a16="http://schemas.microsoft.com/office/drawing/2014/main" id="{01347112-5BAD-4959-29DF-0F5C09338374}"/>
                </a:ext>
              </a:extLst>
            </p:cNvPr>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6" name="Freeform 74">
              <a:extLst>
                <a:ext uri="{FF2B5EF4-FFF2-40B4-BE49-F238E27FC236}">
                  <a16:creationId xmlns:a16="http://schemas.microsoft.com/office/drawing/2014/main" id="{B3114DC7-0080-ACE1-B16C-7CE3D1085B0F}"/>
                </a:ext>
              </a:extLst>
            </p:cNvPr>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7" name="Freeform 75">
              <a:extLst>
                <a:ext uri="{FF2B5EF4-FFF2-40B4-BE49-F238E27FC236}">
                  <a16:creationId xmlns:a16="http://schemas.microsoft.com/office/drawing/2014/main" id="{DD04AA89-25B0-80AF-8F18-E841D45B4799}"/>
                </a:ext>
              </a:extLst>
            </p:cNvPr>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8" name="Freeform 76">
              <a:extLst>
                <a:ext uri="{FF2B5EF4-FFF2-40B4-BE49-F238E27FC236}">
                  <a16:creationId xmlns:a16="http://schemas.microsoft.com/office/drawing/2014/main" id="{1971DAB1-6697-F36A-F211-D6DF1E251023}"/>
                </a:ext>
              </a:extLst>
            </p:cNvPr>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9" name="Freeform 77">
              <a:extLst>
                <a:ext uri="{FF2B5EF4-FFF2-40B4-BE49-F238E27FC236}">
                  <a16:creationId xmlns:a16="http://schemas.microsoft.com/office/drawing/2014/main" id="{21DEEBDE-8F1F-CC12-EFCE-1EEFDCB126DA}"/>
                </a:ext>
              </a:extLst>
            </p:cNvPr>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0" name="Freeform 78">
              <a:extLst>
                <a:ext uri="{FF2B5EF4-FFF2-40B4-BE49-F238E27FC236}">
                  <a16:creationId xmlns:a16="http://schemas.microsoft.com/office/drawing/2014/main" id="{61A4FF19-B74B-024C-AEC2-672137D87892}"/>
                </a:ext>
              </a:extLst>
            </p:cNvPr>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1" name="Freeform 79">
              <a:extLst>
                <a:ext uri="{FF2B5EF4-FFF2-40B4-BE49-F238E27FC236}">
                  <a16:creationId xmlns:a16="http://schemas.microsoft.com/office/drawing/2014/main" id="{C4243AF0-7BA3-E172-03CA-0AF21330AAAB}"/>
                </a:ext>
              </a:extLst>
            </p:cNvPr>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2" name="Freeform 80">
              <a:extLst>
                <a:ext uri="{FF2B5EF4-FFF2-40B4-BE49-F238E27FC236}">
                  <a16:creationId xmlns:a16="http://schemas.microsoft.com/office/drawing/2014/main" id="{92D9057C-E702-AB94-3F0F-3A03B726CCBE}"/>
                </a:ext>
              </a:extLst>
            </p:cNvPr>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3" name="Freeform 81">
              <a:extLst>
                <a:ext uri="{FF2B5EF4-FFF2-40B4-BE49-F238E27FC236}">
                  <a16:creationId xmlns:a16="http://schemas.microsoft.com/office/drawing/2014/main" id="{B05FB8E0-B256-312A-1ED6-B10A3F859D1A}"/>
                </a:ext>
              </a:extLst>
            </p:cNvPr>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4" name="Freeform 82">
              <a:extLst>
                <a:ext uri="{FF2B5EF4-FFF2-40B4-BE49-F238E27FC236}">
                  <a16:creationId xmlns:a16="http://schemas.microsoft.com/office/drawing/2014/main" id="{145677F8-4B09-6966-B847-AF96C359905D}"/>
                </a:ext>
              </a:extLst>
            </p:cNvPr>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5" name="Freeform 83">
              <a:extLst>
                <a:ext uri="{FF2B5EF4-FFF2-40B4-BE49-F238E27FC236}">
                  <a16:creationId xmlns:a16="http://schemas.microsoft.com/office/drawing/2014/main" id="{5D5FB95F-90C5-9393-B653-0063E70E753C}"/>
                </a:ext>
              </a:extLst>
            </p:cNvPr>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6" name="Freeform 84">
              <a:extLst>
                <a:ext uri="{FF2B5EF4-FFF2-40B4-BE49-F238E27FC236}">
                  <a16:creationId xmlns:a16="http://schemas.microsoft.com/office/drawing/2014/main" id="{3837D0F1-443C-6A25-6587-75F7583976FB}"/>
                </a:ext>
              </a:extLst>
            </p:cNvPr>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7" name="Freeform 85">
              <a:extLst>
                <a:ext uri="{FF2B5EF4-FFF2-40B4-BE49-F238E27FC236}">
                  <a16:creationId xmlns:a16="http://schemas.microsoft.com/office/drawing/2014/main" id="{E1623994-8F9C-9984-0582-804A201C19A6}"/>
                </a:ext>
              </a:extLst>
            </p:cNvPr>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8" name="Freeform 86">
              <a:extLst>
                <a:ext uri="{FF2B5EF4-FFF2-40B4-BE49-F238E27FC236}">
                  <a16:creationId xmlns:a16="http://schemas.microsoft.com/office/drawing/2014/main" id="{02A2BF82-DA56-B3A0-2615-567E77929021}"/>
                </a:ext>
              </a:extLst>
            </p:cNvPr>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9" name="Freeform 87">
              <a:extLst>
                <a:ext uri="{FF2B5EF4-FFF2-40B4-BE49-F238E27FC236}">
                  <a16:creationId xmlns:a16="http://schemas.microsoft.com/office/drawing/2014/main" id="{49CF20E4-9CC3-7F25-0C72-04D826E76200}"/>
                </a:ext>
              </a:extLst>
            </p:cNvPr>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0" name="Freeform 88">
              <a:extLst>
                <a:ext uri="{FF2B5EF4-FFF2-40B4-BE49-F238E27FC236}">
                  <a16:creationId xmlns:a16="http://schemas.microsoft.com/office/drawing/2014/main" id="{778758EB-79A2-B620-39F1-9C3E26B02F20}"/>
                </a:ext>
              </a:extLst>
            </p:cNvPr>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1" name="Freeform 89">
              <a:extLst>
                <a:ext uri="{FF2B5EF4-FFF2-40B4-BE49-F238E27FC236}">
                  <a16:creationId xmlns:a16="http://schemas.microsoft.com/office/drawing/2014/main" id="{13DBB6C4-623F-BAAA-6B08-14EE16F1F0DD}"/>
                </a:ext>
              </a:extLst>
            </p:cNvPr>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2" name="Freeform 90">
              <a:extLst>
                <a:ext uri="{FF2B5EF4-FFF2-40B4-BE49-F238E27FC236}">
                  <a16:creationId xmlns:a16="http://schemas.microsoft.com/office/drawing/2014/main" id="{191B0F5D-A279-87C6-838B-B2A174EF4A68}"/>
                </a:ext>
              </a:extLst>
            </p:cNvPr>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3" name="Freeform 91">
              <a:extLst>
                <a:ext uri="{FF2B5EF4-FFF2-40B4-BE49-F238E27FC236}">
                  <a16:creationId xmlns:a16="http://schemas.microsoft.com/office/drawing/2014/main" id="{EB65E405-0651-774A-75AD-C254F642987C}"/>
                </a:ext>
              </a:extLst>
            </p:cNvPr>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4" name="Freeform 92">
              <a:extLst>
                <a:ext uri="{FF2B5EF4-FFF2-40B4-BE49-F238E27FC236}">
                  <a16:creationId xmlns:a16="http://schemas.microsoft.com/office/drawing/2014/main" id="{0F0A16AC-D235-FC6B-5C00-E47B6E19DB9E}"/>
                </a:ext>
              </a:extLst>
            </p:cNvPr>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5" name="Freeform 93">
              <a:extLst>
                <a:ext uri="{FF2B5EF4-FFF2-40B4-BE49-F238E27FC236}">
                  <a16:creationId xmlns:a16="http://schemas.microsoft.com/office/drawing/2014/main" id="{AEBE1FE7-6E53-0B44-8BA3-32C5D5021147}"/>
                </a:ext>
              </a:extLst>
            </p:cNvPr>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6" name="Freeform 94">
              <a:extLst>
                <a:ext uri="{FF2B5EF4-FFF2-40B4-BE49-F238E27FC236}">
                  <a16:creationId xmlns:a16="http://schemas.microsoft.com/office/drawing/2014/main" id="{55790E4D-1518-6E10-F04C-4F338F7DAF1F}"/>
                </a:ext>
              </a:extLst>
            </p:cNvPr>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7" name="Freeform 95">
              <a:extLst>
                <a:ext uri="{FF2B5EF4-FFF2-40B4-BE49-F238E27FC236}">
                  <a16:creationId xmlns:a16="http://schemas.microsoft.com/office/drawing/2014/main" id="{A433AB2E-CD3D-0ACC-2AE4-29522173118E}"/>
                </a:ext>
              </a:extLst>
            </p:cNvPr>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8" name="Freeform 96">
              <a:extLst>
                <a:ext uri="{FF2B5EF4-FFF2-40B4-BE49-F238E27FC236}">
                  <a16:creationId xmlns:a16="http://schemas.microsoft.com/office/drawing/2014/main" id="{15E816AB-8A79-49FD-0AE7-1C8B9173BECB}"/>
                </a:ext>
              </a:extLst>
            </p:cNvPr>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9" name="Freeform 97">
              <a:extLst>
                <a:ext uri="{FF2B5EF4-FFF2-40B4-BE49-F238E27FC236}">
                  <a16:creationId xmlns:a16="http://schemas.microsoft.com/office/drawing/2014/main" id="{A59980C7-A1CF-6D94-7381-E4078BD87D49}"/>
                </a:ext>
              </a:extLst>
            </p:cNvPr>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0" name="Freeform 98">
              <a:extLst>
                <a:ext uri="{FF2B5EF4-FFF2-40B4-BE49-F238E27FC236}">
                  <a16:creationId xmlns:a16="http://schemas.microsoft.com/office/drawing/2014/main" id="{9819E769-4626-2A43-B1B5-2700803A6B0C}"/>
                </a:ext>
              </a:extLst>
            </p:cNvPr>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1" name="Freeform 99">
              <a:extLst>
                <a:ext uri="{FF2B5EF4-FFF2-40B4-BE49-F238E27FC236}">
                  <a16:creationId xmlns:a16="http://schemas.microsoft.com/office/drawing/2014/main" id="{8B27B1F3-25B9-40FF-69DD-6E4F1DF9E4C0}"/>
                </a:ext>
              </a:extLst>
            </p:cNvPr>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2" name="Freeform 100">
              <a:extLst>
                <a:ext uri="{FF2B5EF4-FFF2-40B4-BE49-F238E27FC236}">
                  <a16:creationId xmlns:a16="http://schemas.microsoft.com/office/drawing/2014/main" id="{7551FA2C-5FBC-A389-104E-4DD0A7787E25}"/>
                </a:ext>
              </a:extLst>
            </p:cNvPr>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3" name="Freeform 101">
              <a:extLst>
                <a:ext uri="{FF2B5EF4-FFF2-40B4-BE49-F238E27FC236}">
                  <a16:creationId xmlns:a16="http://schemas.microsoft.com/office/drawing/2014/main" id="{083FFA28-7485-3B2C-B08E-52D36C0E834B}"/>
                </a:ext>
              </a:extLst>
            </p:cNvPr>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4" name="Freeform 102">
              <a:extLst>
                <a:ext uri="{FF2B5EF4-FFF2-40B4-BE49-F238E27FC236}">
                  <a16:creationId xmlns:a16="http://schemas.microsoft.com/office/drawing/2014/main" id="{8A070B5F-6049-73AF-2A98-6604BAF31CFC}"/>
                </a:ext>
              </a:extLst>
            </p:cNvPr>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5" name="Freeform 103">
              <a:extLst>
                <a:ext uri="{FF2B5EF4-FFF2-40B4-BE49-F238E27FC236}">
                  <a16:creationId xmlns:a16="http://schemas.microsoft.com/office/drawing/2014/main" id="{3778D8B5-41D5-2C1C-B1FE-658D69F7A097}"/>
                </a:ext>
              </a:extLst>
            </p:cNvPr>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6" name="Freeform 104">
              <a:extLst>
                <a:ext uri="{FF2B5EF4-FFF2-40B4-BE49-F238E27FC236}">
                  <a16:creationId xmlns:a16="http://schemas.microsoft.com/office/drawing/2014/main" id="{28897F6D-E9AF-4BD7-B7D8-BE71F488C1FE}"/>
                </a:ext>
              </a:extLst>
            </p:cNvPr>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7" name="Freeform 105">
              <a:extLst>
                <a:ext uri="{FF2B5EF4-FFF2-40B4-BE49-F238E27FC236}">
                  <a16:creationId xmlns:a16="http://schemas.microsoft.com/office/drawing/2014/main" id="{602602DC-5FC4-9CFC-0AD6-DF1A7D8273C9}"/>
                </a:ext>
              </a:extLst>
            </p:cNvPr>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8" name="Freeform 106">
              <a:extLst>
                <a:ext uri="{FF2B5EF4-FFF2-40B4-BE49-F238E27FC236}">
                  <a16:creationId xmlns:a16="http://schemas.microsoft.com/office/drawing/2014/main" id="{B6784C3F-AFEF-AE7A-7C2B-DC0301F6169E}"/>
                </a:ext>
              </a:extLst>
            </p:cNvPr>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9" name="Freeform 107">
              <a:extLst>
                <a:ext uri="{FF2B5EF4-FFF2-40B4-BE49-F238E27FC236}">
                  <a16:creationId xmlns:a16="http://schemas.microsoft.com/office/drawing/2014/main" id="{B225F522-82A0-5302-B95C-2B36E1DEA571}"/>
                </a:ext>
              </a:extLst>
            </p:cNvPr>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0" name="Freeform 108">
              <a:extLst>
                <a:ext uri="{FF2B5EF4-FFF2-40B4-BE49-F238E27FC236}">
                  <a16:creationId xmlns:a16="http://schemas.microsoft.com/office/drawing/2014/main" id="{62795853-57DD-9221-7312-C7663126431B}"/>
                </a:ext>
              </a:extLst>
            </p:cNvPr>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1" name="Freeform 109">
              <a:extLst>
                <a:ext uri="{FF2B5EF4-FFF2-40B4-BE49-F238E27FC236}">
                  <a16:creationId xmlns:a16="http://schemas.microsoft.com/office/drawing/2014/main" id="{B6C0496E-DAE7-AEAC-15C1-5040190C5FF7}"/>
                </a:ext>
              </a:extLst>
            </p:cNvPr>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2" name="Freeform 110">
              <a:extLst>
                <a:ext uri="{FF2B5EF4-FFF2-40B4-BE49-F238E27FC236}">
                  <a16:creationId xmlns:a16="http://schemas.microsoft.com/office/drawing/2014/main" id="{5A4C5515-C1EE-AEA1-AE9B-D9CDF1401CA7}"/>
                </a:ext>
              </a:extLst>
            </p:cNvPr>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3" name="Freeform 111">
              <a:extLst>
                <a:ext uri="{FF2B5EF4-FFF2-40B4-BE49-F238E27FC236}">
                  <a16:creationId xmlns:a16="http://schemas.microsoft.com/office/drawing/2014/main" id="{5B36297D-D0EF-572B-CB37-AB4F1DDC085D}"/>
                </a:ext>
              </a:extLst>
            </p:cNvPr>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4" name="Freeform 112">
              <a:extLst>
                <a:ext uri="{FF2B5EF4-FFF2-40B4-BE49-F238E27FC236}">
                  <a16:creationId xmlns:a16="http://schemas.microsoft.com/office/drawing/2014/main" id="{A994FC03-EF3D-B823-779F-887DC57B187B}"/>
                </a:ext>
              </a:extLst>
            </p:cNvPr>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5" name="Freeform 113">
              <a:extLst>
                <a:ext uri="{FF2B5EF4-FFF2-40B4-BE49-F238E27FC236}">
                  <a16:creationId xmlns:a16="http://schemas.microsoft.com/office/drawing/2014/main" id="{6B85EA78-9D14-18B6-6452-F8128708D836}"/>
                </a:ext>
              </a:extLst>
            </p:cNvPr>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6" name="Freeform 114">
              <a:extLst>
                <a:ext uri="{FF2B5EF4-FFF2-40B4-BE49-F238E27FC236}">
                  <a16:creationId xmlns:a16="http://schemas.microsoft.com/office/drawing/2014/main" id="{EFD1C158-50AE-96A0-E443-20F2F3E9A622}"/>
                </a:ext>
              </a:extLst>
            </p:cNvPr>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7" name="Freeform 115">
              <a:extLst>
                <a:ext uri="{FF2B5EF4-FFF2-40B4-BE49-F238E27FC236}">
                  <a16:creationId xmlns:a16="http://schemas.microsoft.com/office/drawing/2014/main" id="{8644057E-A5FC-A9B6-530A-216ED93B5BCD}"/>
                </a:ext>
              </a:extLst>
            </p:cNvPr>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8" name="Freeform 116">
              <a:extLst>
                <a:ext uri="{FF2B5EF4-FFF2-40B4-BE49-F238E27FC236}">
                  <a16:creationId xmlns:a16="http://schemas.microsoft.com/office/drawing/2014/main" id="{F877A419-DEC5-BA83-73EA-5F417F0675EE}"/>
                </a:ext>
              </a:extLst>
            </p:cNvPr>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09" name="Freeform 117">
              <a:extLst>
                <a:ext uri="{FF2B5EF4-FFF2-40B4-BE49-F238E27FC236}">
                  <a16:creationId xmlns:a16="http://schemas.microsoft.com/office/drawing/2014/main" id="{DCB9845A-B35B-3EE1-87F0-3F39CD469B7C}"/>
                </a:ext>
              </a:extLst>
            </p:cNvPr>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0" name="Freeform 118">
              <a:extLst>
                <a:ext uri="{FF2B5EF4-FFF2-40B4-BE49-F238E27FC236}">
                  <a16:creationId xmlns:a16="http://schemas.microsoft.com/office/drawing/2014/main" id="{3438DFBF-EA21-90AB-4CCE-C766304BE8E1}"/>
                </a:ext>
              </a:extLst>
            </p:cNvPr>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1" name="Freeform 119">
              <a:extLst>
                <a:ext uri="{FF2B5EF4-FFF2-40B4-BE49-F238E27FC236}">
                  <a16:creationId xmlns:a16="http://schemas.microsoft.com/office/drawing/2014/main" id="{98BCD805-A797-E85C-1093-909147A48408}"/>
                </a:ext>
              </a:extLst>
            </p:cNvPr>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2" name="Freeform 120">
              <a:extLst>
                <a:ext uri="{FF2B5EF4-FFF2-40B4-BE49-F238E27FC236}">
                  <a16:creationId xmlns:a16="http://schemas.microsoft.com/office/drawing/2014/main" id="{D6CD32B4-7ACA-298C-593E-D18E81AF0692}"/>
                </a:ext>
              </a:extLst>
            </p:cNvPr>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3" name="Freeform 121">
              <a:extLst>
                <a:ext uri="{FF2B5EF4-FFF2-40B4-BE49-F238E27FC236}">
                  <a16:creationId xmlns:a16="http://schemas.microsoft.com/office/drawing/2014/main" id="{A34313D3-5046-45E3-A387-23070A34FA08}"/>
                </a:ext>
              </a:extLst>
            </p:cNvPr>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4" name="Freeform 122">
              <a:extLst>
                <a:ext uri="{FF2B5EF4-FFF2-40B4-BE49-F238E27FC236}">
                  <a16:creationId xmlns:a16="http://schemas.microsoft.com/office/drawing/2014/main" id="{DBF67AFC-CE5F-3CD0-6EFE-A6EE80A8B8DB}"/>
                </a:ext>
              </a:extLst>
            </p:cNvPr>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5" name="Freeform 123">
              <a:extLst>
                <a:ext uri="{FF2B5EF4-FFF2-40B4-BE49-F238E27FC236}">
                  <a16:creationId xmlns:a16="http://schemas.microsoft.com/office/drawing/2014/main" id="{3B08FFF6-B93E-B976-3F59-59E95735E657}"/>
                </a:ext>
              </a:extLst>
            </p:cNvPr>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6" name="Freeform 124">
              <a:extLst>
                <a:ext uri="{FF2B5EF4-FFF2-40B4-BE49-F238E27FC236}">
                  <a16:creationId xmlns:a16="http://schemas.microsoft.com/office/drawing/2014/main" id="{A7A7F9AB-5D13-A248-BB6D-E9E589B7F2B3}"/>
                </a:ext>
              </a:extLst>
            </p:cNvPr>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7" name="Freeform 125">
              <a:extLst>
                <a:ext uri="{FF2B5EF4-FFF2-40B4-BE49-F238E27FC236}">
                  <a16:creationId xmlns:a16="http://schemas.microsoft.com/office/drawing/2014/main" id="{5F08EEC5-71ED-4A33-B1B2-FF509CAD8EA8}"/>
                </a:ext>
              </a:extLst>
            </p:cNvPr>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8" name="Freeform 126">
              <a:extLst>
                <a:ext uri="{FF2B5EF4-FFF2-40B4-BE49-F238E27FC236}">
                  <a16:creationId xmlns:a16="http://schemas.microsoft.com/office/drawing/2014/main" id="{8DCC20A2-1369-2B32-4C1F-61C8290725D6}"/>
                </a:ext>
              </a:extLst>
            </p:cNvPr>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19" name="Freeform 127">
              <a:extLst>
                <a:ext uri="{FF2B5EF4-FFF2-40B4-BE49-F238E27FC236}">
                  <a16:creationId xmlns:a16="http://schemas.microsoft.com/office/drawing/2014/main" id="{9609F26E-0AD6-FCDE-5DCE-179C7E158AC0}"/>
                </a:ext>
              </a:extLst>
            </p:cNvPr>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0" name="Freeform 128">
              <a:extLst>
                <a:ext uri="{FF2B5EF4-FFF2-40B4-BE49-F238E27FC236}">
                  <a16:creationId xmlns:a16="http://schemas.microsoft.com/office/drawing/2014/main" id="{7819B87E-AE4D-8B7E-E076-E8507C285D85}"/>
                </a:ext>
              </a:extLst>
            </p:cNvPr>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1" name="Freeform 129">
              <a:extLst>
                <a:ext uri="{FF2B5EF4-FFF2-40B4-BE49-F238E27FC236}">
                  <a16:creationId xmlns:a16="http://schemas.microsoft.com/office/drawing/2014/main" id="{6E4D60D8-4568-A427-A24C-C74C9A18F69A}"/>
                </a:ext>
              </a:extLst>
            </p:cNvPr>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2" name="Freeform 130">
              <a:extLst>
                <a:ext uri="{FF2B5EF4-FFF2-40B4-BE49-F238E27FC236}">
                  <a16:creationId xmlns:a16="http://schemas.microsoft.com/office/drawing/2014/main" id="{6E94C5A1-0E33-4F5A-CEEE-A99B1AECD4A8}"/>
                </a:ext>
              </a:extLst>
            </p:cNvPr>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3" name="Freeform 131">
              <a:extLst>
                <a:ext uri="{FF2B5EF4-FFF2-40B4-BE49-F238E27FC236}">
                  <a16:creationId xmlns:a16="http://schemas.microsoft.com/office/drawing/2014/main" id="{9DA1EA79-DD03-94CC-B934-D13D912F4613}"/>
                </a:ext>
              </a:extLst>
            </p:cNvPr>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4" name="Freeform 132">
              <a:extLst>
                <a:ext uri="{FF2B5EF4-FFF2-40B4-BE49-F238E27FC236}">
                  <a16:creationId xmlns:a16="http://schemas.microsoft.com/office/drawing/2014/main" id="{58F16BB1-0B85-508A-4F1D-13EF05552D62}"/>
                </a:ext>
              </a:extLst>
            </p:cNvPr>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5" name="Freeform 133">
              <a:extLst>
                <a:ext uri="{FF2B5EF4-FFF2-40B4-BE49-F238E27FC236}">
                  <a16:creationId xmlns:a16="http://schemas.microsoft.com/office/drawing/2014/main" id="{45A024DA-1544-4FAB-39C9-54E1012B1B00}"/>
                </a:ext>
              </a:extLst>
            </p:cNvPr>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6" name="Freeform 134">
              <a:extLst>
                <a:ext uri="{FF2B5EF4-FFF2-40B4-BE49-F238E27FC236}">
                  <a16:creationId xmlns:a16="http://schemas.microsoft.com/office/drawing/2014/main" id="{3F5CCD76-F6A4-4EB3-C1E1-1C6506030E39}"/>
                </a:ext>
              </a:extLst>
            </p:cNvPr>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7" name="Freeform 135">
              <a:extLst>
                <a:ext uri="{FF2B5EF4-FFF2-40B4-BE49-F238E27FC236}">
                  <a16:creationId xmlns:a16="http://schemas.microsoft.com/office/drawing/2014/main" id="{4ED3A82D-96FE-DB82-B626-4A55516DB910}"/>
                </a:ext>
              </a:extLst>
            </p:cNvPr>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8" name="Freeform 136">
              <a:extLst>
                <a:ext uri="{FF2B5EF4-FFF2-40B4-BE49-F238E27FC236}">
                  <a16:creationId xmlns:a16="http://schemas.microsoft.com/office/drawing/2014/main" id="{36D0A357-7A8F-3059-0674-9F5626FA1944}"/>
                </a:ext>
              </a:extLst>
            </p:cNvPr>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9" name="Freeform 137">
              <a:extLst>
                <a:ext uri="{FF2B5EF4-FFF2-40B4-BE49-F238E27FC236}">
                  <a16:creationId xmlns:a16="http://schemas.microsoft.com/office/drawing/2014/main" id="{EE236273-4C75-E588-6946-7E3269A4CA7C}"/>
                </a:ext>
              </a:extLst>
            </p:cNvPr>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0" name="Freeform 138">
              <a:extLst>
                <a:ext uri="{FF2B5EF4-FFF2-40B4-BE49-F238E27FC236}">
                  <a16:creationId xmlns:a16="http://schemas.microsoft.com/office/drawing/2014/main" id="{550AF436-7B24-C026-5A16-84FA35DACEC3}"/>
                </a:ext>
              </a:extLst>
            </p:cNvPr>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1" name="Freeform 139">
              <a:extLst>
                <a:ext uri="{FF2B5EF4-FFF2-40B4-BE49-F238E27FC236}">
                  <a16:creationId xmlns:a16="http://schemas.microsoft.com/office/drawing/2014/main" id="{8BC918B0-F377-73E0-8B19-B8C6D0C7A2B2}"/>
                </a:ext>
              </a:extLst>
            </p:cNvPr>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2" name="Freeform 140">
              <a:extLst>
                <a:ext uri="{FF2B5EF4-FFF2-40B4-BE49-F238E27FC236}">
                  <a16:creationId xmlns:a16="http://schemas.microsoft.com/office/drawing/2014/main" id="{9305EE66-7496-DA5C-DD83-959A43AC2D37}"/>
                </a:ext>
              </a:extLst>
            </p:cNvPr>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3" name="Freeform 141">
              <a:extLst>
                <a:ext uri="{FF2B5EF4-FFF2-40B4-BE49-F238E27FC236}">
                  <a16:creationId xmlns:a16="http://schemas.microsoft.com/office/drawing/2014/main" id="{265E956F-EC1A-F4C2-0EFE-F1A9FB70C91E}"/>
                </a:ext>
              </a:extLst>
            </p:cNvPr>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4" name="Freeform 142">
              <a:extLst>
                <a:ext uri="{FF2B5EF4-FFF2-40B4-BE49-F238E27FC236}">
                  <a16:creationId xmlns:a16="http://schemas.microsoft.com/office/drawing/2014/main" id="{6665678C-7710-AF71-1916-BB663C41F3B3}"/>
                </a:ext>
              </a:extLst>
            </p:cNvPr>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5" name="Freeform 143">
              <a:extLst>
                <a:ext uri="{FF2B5EF4-FFF2-40B4-BE49-F238E27FC236}">
                  <a16:creationId xmlns:a16="http://schemas.microsoft.com/office/drawing/2014/main" id="{5C881D57-C5AC-DF87-EA58-479B2FF809BE}"/>
                </a:ext>
              </a:extLst>
            </p:cNvPr>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6" name="Freeform 144">
              <a:extLst>
                <a:ext uri="{FF2B5EF4-FFF2-40B4-BE49-F238E27FC236}">
                  <a16:creationId xmlns:a16="http://schemas.microsoft.com/office/drawing/2014/main" id="{2FEC2B98-398A-5046-28D5-FF2D54933BE4}"/>
                </a:ext>
              </a:extLst>
            </p:cNvPr>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7" name="Freeform 145">
              <a:extLst>
                <a:ext uri="{FF2B5EF4-FFF2-40B4-BE49-F238E27FC236}">
                  <a16:creationId xmlns:a16="http://schemas.microsoft.com/office/drawing/2014/main" id="{8D9E79B9-A72E-04EA-1141-A3FAD03DE44E}"/>
                </a:ext>
              </a:extLst>
            </p:cNvPr>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8" name="Freeform 146">
              <a:extLst>
                <a:ext uri="{FF2B5EF4-FFF2-40B4-BE49-F238E27FC236}">
                  <a16:creationId xmlns:a16="http://schemas.microsoft.com/office/drawing/2014/main" id="{4BE4B63E-967C-64DE-7B72-E192511F9206}"/>
                </a:ext>
              </a:extLst>
            </p:cNvPr>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9" name="Freeform 147">
              <a:extLst>
                <a:ext uri="{FF2B5EF4-FFF2-40B4-BE49-F238E27FC236}">
                  <a16:creationId xmlns:a16="http://schemas.microsoft.com/office/drawing/2014/main" id="{768BC6E2-92C9-B204-DC12-B9C730C11378}"/>
                </a:ext>
              </a:extLst>
            </p:cNvPr>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0" name="Freeform 148">
              <a:extLst>
                <a:ext uri="{FF2B5EF4-FFF2-40B4-BE49-F238E27FC236}">
                  <a16:creationId xmlns:a16="http://schemas.microsoft.com/office/drawing/2014/main" id="{388295D6-DD62-73E2-C189-65BD9A6BA243}"/>
                </a:ext>
              </a:extLst>
            </p:cNvPr>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1" name="Freeform 149">
              <a:extLst>
                <a:ext uri="{FF2B5EF4-FFF2-40B4-BE49-F238E27FC236}">
                  <a16:creationId xmlns:a16="http://schemas.microsoft.com/office/drawing/2014/main" id="{FE64D9BF-3662-5905-5604-5BBE9994B96A}"/>
                </a:ext>
              </a:extLst>
            </p:cNvPr>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2" name="Freeform 150">
              <a:extLst>
                <a:ext uri="{FF2B5EF4-FFF2-40B4-BE49-F238E27FC236}">
                  <a16:creationId xmlns:a16="http://schemas.microsoft.com/office/drawing/2014/main" id="{593DC072-447C-49AC-3DAE-B0F4189842B8}"/>
                </a:ext>
              </a:extLst>
            </p:cNvPr>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3" name="Freeform 151">
              <a:extLst>
                <a:ext uri="{FF2B5EF4-FFF2-40B4-BE49-F238E27FC236}">
                  <a16:creationId xmlns:a16="http://schemas.microsoft.com/office/drawing/2014/main" id="{9BE7C09A-5530-C8A1-1954-DB1A4417DB55}"/>
                </a:ext>
              </a:extLst>
            </p:cNvPr>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4" name="Freeform 152">
              <a:extLst>
                <a:ext uri="{FF2B5EF4-FFF2-40B4-BE49-F238E27FC236}">
                  <a16:creationId xmlns:a16="http://schemas.microsoft.com/office/drawing/2014/main" id="{30F6E7CB-5AAA-2816-DB37-61D56B02DE33}"/>
                </a:ext>
              </a:extLst>
            </p:cNvPr>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5" name="Freeform 153">
              <a:extLst>
                <a:ext uri="{FF2B5EF4-FFF2-40B4-BE49-F238E27FC236}">
                  <a16:creationId xmlns:a16="http://schemas.microsoft.com/office/drawing/2014/main" id="{7782FFC5-C115-FA84-76E5-FEE0B3F3C0DA}"/>
                </a:ext>
              </a:extLst>
            </p:cNvPr>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6" name="Freeform 154">
              <a:extLst>
                <a:ext uri="{FF2B5EF4-FFF2-40B4-BE49-F238E27FC236}">
                  <a16:creationId xmlns:a16="http://schemas.microsoft.com/office/drawing/2014/main" id="{1288705F-50E6-C2DE-E690-48E30B20EE1F}"/>
                </a:ext>
              </a:extLst>
            </p:cNvPr>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7" name="Freeform 155">
              <a:extLst>
                <a:ext uri="{FF2B5EF4-FFF2-40B4-BE49-F238E27FC236}">
                  <a16:creationId xmlns:a16="http://schemas.microsoft.com/office/drawing/2014/main" id="{2FA2F3C9-AA77-6BEF-360A-2486B1CA6028}"/>
                </a:ext>
              </a:extLst>
            </p:cNvPr>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8" name="Freeform 156">
              <a:extLst>
                <a:ext uri="{FF2B5EF4-FFF2-40B4-BE49-F238E27FC236}">
                  <a16:creationId xmlns:a16="http://schemas.microsoft.com/office/drawing/2014/main" id="{2F31B71E-1665-2753-7E64-59B56F91E070}"/>
                </a:ext>
              </a:extLst>
            </p:cNvPr>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49" name="Freeform 157">
              <a:extLst>
                <a:ext uri="{FF2B5EF4-FFF2-40B4-BE49-F238E27FC236}">
                  <a16:creationId xmlns:a16="http://schemas.microsoft.com/office/drawing/2014/main" id="{41A47272-74B4-5C3B-006E-4E9CD97A6D41}"/>
                </a:ext>
              </a:extLst>
            </p:cNvPr>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0" name="Freeform 158">
              <a:extLst>
                <a:ext uri="{FF2B5EF4-FFF2-40B4-BE49-F238E27FC236}">
                  <a16:creationId xmlns:a16="http://schemas.microsoft.com/office/drawing/2014/main" id="{D68423C5-54EE-68F1-0C32-36EFFDE46F40}"/>
                </a:ext>
              </a:extLst>
            </p:cNvPr>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1" name="Freeform 159">
              <a:extLst>
                <a:ext uri="{FF2B5EF4-FFF2-40B4-BE49-F238E27FC236}">
                  <a16:creationId xmlns:a16="http://schemas.microsoft.com/office/drawing/2014/main" id="{DEB2B464-EFC1-E19B-52D9-DFEB3EC05B70}"/>
                </a:ext>
              </a:extLst>
            </p:cNvPr>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2" name="Freeform 160">
              <a:extLst>
                <a:ext uri="{FF2B5EF4-FFF2-40B4-BE49-F238E27FC236}">
                  <a16:creationId xmlns:a16="http://schemas.microsoft.com/office/drawing/2014/main" id="{AFEB7BFE-BD60-9E3F-C895-486202979EAC}"/>
                </a:ext>
              </a:extLst>
            </p:cNvPr>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3" name="Freeform 161">
              <a:extLst>
                <a:ext uri="{FF2B5EF4-FFF2-40B4-BE49-F238E27FC236}">
                  <a16:creationId xmlns:a16="http://schemas.microsoft.com/office/drawing/2014/main" id="{622C92B9-3D27-B13E-08AD-26406C060580}"/>
                </a:ext>
              </a:extLst>
            </p:cNvPr>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4" name="Freeform 162">
              <a:extLst>
                <a:ext uri="{FF2B5EF4-FFF2-40B4-BE49-F238E27FC236}">
                  <a16:creationId xmlns:a16="http://schemas.microsoft.com/office/drawing/2014/main" id="{CE614205-9797-6501-73D2-EF99FB0A88F4}"/>
                </a:ext>
              </a:extLst>
            </p:cNvPr>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5" name="Freeform 163">
              <a:extLst>
                <a:ext uri="{FF2B5EF4-FFF2-40B4-BE49-F238E27FC236}">
                  <a16:creationId xmlns:a16="http://schemas.microsoft.com/office/drawing/2014/main" id="{2D915F01-BB03-8093-A31E-C541434CB5C1}"/>
                </a:ext>
              </a:extLst>
            </p:cNvPr>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6" name="Freeform 164">
              <a:extLst>
                <a:ext uri="{FF2B5EF4-FFF2-40B4-BE49-F238E27FC236}">
                  <a16:creationId xmlns:a16="http://schemas.microsoft.com/office/drawing/2014/main" id="{05E9AC93-B895-DA0C-9AC6-8EAA848A82D0}"/>
                </a:ext>
              </a:extLst>
            </p:cNvPr>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7" name="Freeform 165">
              <a:extLst>
                <a:ext uri="{FF2B5EF4-FFF2-40B4-BE49-F238E27FC236}">
                  <a16:creationId xmlns:a16="http://schemas.microsoft.com/office/drawing/2014/main" id="{2F099F83-E60E-5888-B67A-DB95387F02DF}"/>
                </a:ext>
              </a:extLst>
            </p:cNvPr>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8" name="Freeform 166">
              <a:extLst>
                <a:ext uri="{FF2B5EF4-FFF2-40B4-BE49-F238E27FC236}">
                  <a16:creationId xmlns:a16="http://schemas.microsoft.com/office/drawing/2014/main" id="{CA242F08-7608-0A89-819D-FA785153DCAB}"/>
                </a:ext>
              </a:extLst>
            </p:cNvPr>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59" name="Freeform 167">
              <a:extLst>
                <a:ext uri="{FF2B5EF4-FFF2-40B4-BE49-F238E27FC236}">
                  <a16:creationId xmlns:a16="http://schemas.microsoft.com/office/drawing/2014/main" id="{CFD6898B-1F02-2EC8-265A-C429823FF73D}"/>
                </a:ext>
              </a:extLst>
            </p:cNvPr>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0" name="Freeform 168">
              <a:extLst>
                <a:ext uri="{FF2B5EF4-FFF2-40B4-BE49-F238E27FC236}">
                  <a16:creationId xmlns:a16="http://schemas.microsoft.com/office/drawing/2014/main" id="{8C2F1F03-CB1E-D6DC-AF0D-8808854E55A6}"/>
                </a:ext>
              </a:extLst>
            </p:cNvPr>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1" name="Freeform 169">
              <a:extLst>
                <a:ext uri="{FF2B5EF4-FFF2-40B4-BE49-F238E27FC236}">
                  <a16:creationId xmlns:a16="http://schemas.microsoft.com/office/drawing/2014/main" id="{44F80780-547F-EF44-2072-B885E09D1A6D}"/>
                </a:ext>
              </a:extLst>
            </p:cNvPr>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2" name="Freeform 170">
              <a:extLst>
                <a:ext uri="{FF2B5EF4-FFF2-40B4-BE49-F238E27FC236}">
                  <a16:creationId xmlns:a16="http://schemas.microsoft.com/office/drawing/2014/main" id="{F5AB4D3A-647B-E712-A27C-C6C965A17F52}"/>
                </a:ext>
              </a:extLst>
            </p:cNvPr>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3" name="Freeform 171">
              <a:extLst>
                <a:ext uri="{FF2B5EF4-FFF2-40B4-BE49-F238E27FC236}">
                  <a16:creationId xmlns:a16="http://schemas.microsoft.com/office/drawing/2014/main" id="{F5DD62CE-EAC6-DEEF-EBFC-F6C8AC4CD9DF}"/>
                </a:ext>
              </a:extLst>
            </p:cNvPr>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4" name="Freeform 172">
              <a:extLst>
                <a:ext uri="{FF2B5EF4-FFF2-40B4-BE49-F238E27FC236}">
                  <a16:creationId xmlns:a16="http://schemas.microsoft.com/office/drawing/2014/main" id="{194034C4-3E92-295E-D747-A96E5AA8FEB8}"/>
                </a:ext>
              </a:extLst>
            </p:cNvPr>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5" name="Freeform 173">
              <a:extLst>
                <a:ext uri="{FF2B5EF4-FFF2-40B4-BE49-F238E27FC236}">
                  <a16:creationId xmlns:a16="http://schemas.microsoft.com/office/drawing/2014/main" id="{D497A70B-DB44-A15C-675E-2A4289682CAD}"/>
                </a:ext>
              </a:extLst>
            </p:cNvPr>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6" name="Freeform 174">
              <a:extLst>
                <a:ext uri="{FF2B5EF4-FFF2-40B4-BE49-F238E27FC236}">
                  <a16:creationId xmlns:a16="http://schemas.microsoft.com/office/drawing/2014/main" id="{72182E41-E2F8-E4A4-6B47-8FD33AE11C7F}"/>
                </a:ext>
              </a:extLst>
            </p:cNvPr>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7" name="Freeform 175">
              <a:extLst>
                <a:ext uri="{FF2B5EF4-FFF2-40B4-BE49-F238E27FC236}">
                  <a16:creationId xmlns:a16="http://schemas.microsoft.com/office/drawing/2014/main" id="{51E3BD51-E51D-41C7-B09A-FD1B09BB0C56}"/>
                </a:ext>
              </a:extLst>
            </p:cNvPr>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8" name="Freeform 176">
              <a:extLst>
                <a:ext uri="{FF2B5EF4-FFF2-40B4-BE49-F238E27FC236}">
                  <a16:creationId xmlns:a16="http://schemas.microsoft.com/office/drawing/2014/main" id="{8EB265EF-B499-2AFE-1E13-306B21F4EB27}"/>
                </a:ext>
              </a:extLst>
            </p:cNvPr>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69" name="Freeform 177">
              <a:extLst>
                <a:ext uri="{FF2B5EF4-FFF2-40B4-BE49-F238E27FC236}">
                  <a16:creationId xmlns:a16="http://schemas.microsoft.com/office/drawing/2014/main" id="{AE7CA6EF-5447-6190-3892-32CE6366207A}"/>
                </a:ext>
              </a:extLst>
            </p:cNvPr>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0" name="Freeform 178">
              <a:extLst>
                <a:ext uri="{FF2B5EF4-FFF2-40B4-BE49-F238E27FC236}">
                  <a16:creationId xmlns:a16="http://schemas.microsoft.com/office/drawing/2014/main" id="{346EE591-032D-07B2-8767-7E40561054CB}"/>
                </a:ext>
              </a:extLst>
            </p:cNvPr>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1" name="Freeform 179">
              <a:extLst>
                <a:ext uri="{FF2B5EF4-FFF2-40B4-BE49-F238E27FC236}">
                  <a16:creationId xmlns:a16="http://schemas.microsoft.com/office/drawing/2014/main" id="{8403DD6D-607A-BC10-1354-CE423E091D19}"/>
                </a:ext>
              </a:extLst>
            </p:cNvPr>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2" name="Freeform 180">
              <a:extLst>
                <a:ext uri="{FF2B5EF4-FFF2-40B4-BE49-F238E27FC236}">
                  <a16:creationId xmlns:a16="http://schemas.microsoft.com/office/drawing/2014/main" id="{D2823042-64A2-1A4A-FC0C-B0906C1A6A05}"/>
                </a:ext>
              </a:extLst>
            </p:cNvPr>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3" name="Freeform 181">
              <a:extLst>
                <a:ext uri="{FF2B5EF4-FFF2-40B4-BE49-F238E27FC236}">
                  <a16:creationId xmlns:a16="http://schemas.microsoft.com/office/drawing/2014/main" id="{B2B1812C-EFA2-8A51-698E-81B458414300}"/>
                </a:ext>
              </a:extLst>
            </p:cNvPr>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4" name="Freeform 182">
              <a:extLst>
                <a:ext uri="{FF2B5EF4-FFF2-40B4-BE49-F238E27FC236}">
                  <a16:creationId xmlns:a16="http://schemas.microsoft.com/office/drawing/2014/main" id="{751FFE51-F739-F63E-4B9C-75C0236758F5}"/>
                </a:ext>
              </a:extLst>
            </p:cNvPr>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5" name="Freeform 183">
              <a:extLst>
                <a:ext uri="{FF2B5EF4-FFF2-40B4-BE49-F238E27FC236}">
                  <a16:creationId xmlns:a16="http://schemas.microsoft.com/office/drawing/2014/main" id="{F55B0EFD-75E0-C613-2F4A-F4F7075AC270}"/>
                </a:ext>
              </a:extLst>
            </p:cNvPr>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6" name="Freeform 184">
              <a:extLst>
                <a:ext uri="{FF2B5EF4-FFF2-40B4-BE49-F238E27FC236}">
                  <a16:creationId xmlns:a16="http://schemas.microsoft.com/office/drawing/2014/main" id="{2A4B69E6-B59A-14D2-E297-7E66B9383170}"/>
                </a:ext>
              </a:extLst>
            </p:cNvPr>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7" name="Freeform 185">
              <a:extLst>
                <a:ext uri="{FF2B5EF4-FFF2-40B4-BE49-F238E27FC236}">
                  <a16:creationId xmlns:a16="http://schemas.microsoft.com/office/drawing/2014/main" id="{F5FC720A-328D-2B5C-550A-36AAE130798A}"/>
                </a:ext>
              </a:extLst>
            </p:cNvPr>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8" name="Freeform 186">
              <a:extLst>
                <a:ext uri="{FF2B5EF4-FFF2-40B4-BE49-F238E27FC236}">
                  <a16:creationId xmlns:a16="http://schemas.microsoft.com/office/drawing/2014/main" id="{60C83065-E23A-2888-FC7F-FE4A8B4F492E}"/>
                </a:ext>
              </a:extLst>
            </p:cNvPr>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79" name="Freeform 187">
              <a:extLst>
                <a:ext uri="{FF2B5EF4-FFF2-40B4-BE49-F238E27FC236}">
                  <a16:creationId xmlns:a16="http://schemas.microsoft.com/office/drawing/2014/main" id="{74003157-8B1C-CBBE-F3A0-27FE631CF7C8}"/>
                </a:ext>
              </a:extLst>
            </p:cNvPr>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0" name="Freeform 188">
              <a:extLst>
                <a:ext uri="{FF2B5EF4-FFF2-40B4-BE49-F238E27FC236}">
                  <a16:creationId xmlns:a16="http://schemas.microsoft.com/office/drawing/2014/main" id="{CCD80E69-CA85-E21D-47A8-508321194B6C}"/>
                </a:ext>
              </a:extLst>
            </p:cNvPr>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1" name="Freeform 189">
              <a:extLst>
                <a:ext uri="{FF2B5EF4-FFF2-40B4-BE49-F238E27FC236}">
                  <a16:creationId xmlns:a16="http://schemas.microsoft.com/office/drawing/2014/main" id="{63BA318D-B965-DBD9-8236-1D7328E2FFC3}"/>
                </a:ext>
              </a:extLst>
            </p:cNvPr>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2" name="Freeform 190">
              <a:extLst>
                <a:ext uri="{FF2B5EF4-FFF2-40B4-BE49-F238E27FC236}">
                  <a16:creationId xmlns:a16="http://schemas.microsoft.com/office/drawing/2014/main" id="{AFBD403E-D060-A250-8831-ACFF55DA664D}"/>
                </a:ext>
              </a:extLst>
            </p:cNvPr>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3" name="Freeform 191">
              <a:extLst>
                <a:ext uri="{FF2B5EF4-FFF2-40B4-BE49-F238E27FC236}">
                  <a16:creationId xmlns:a16="http://schemas.microsoft.com/office/drawing/2014/main" id="{B3683844-17A1-4468-452B-DAA61103A783}"/>
                </a:ext>
              </a:extLst>
            </p:cNvPr>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4" name="Freeform 192">
              <a:extLst>
                <a:ext uri="{FF2B5EF4-FFF2-40B4-BE49-F238E27FC236}">
                  <a16:creationId xmlns:a16="http://schemas.microsoft.com/office/drawing/2014/main" id="{DD9210AD-68D9-4A0F-1480-FE525FCAB26D}"/>
                </a:ext>
              </a:extLst>
            </p:cNvPr>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5" name="Freeform 193">
              <a:extLst>
                <a:ext uri="{FF2B5EF4-FFF2-40B4-BE49-F238E27FC236}">
                  <a16:creationId xmlns:a16="http://schemas.microsoft.com/office/drawing/2014/main" id="{BBF49BA8-7C95-F589-720D-A5FAF69F6708}"/>
                </a:ext>
              </a:extLst>
            </p:cNvPr>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6" name="Freeform 194">
              <a:extLst>
                <a:ext uri="{FF2B5EF4-FFF2-40B4-BE49-F238E27FC236}">
                  <a16:creationId xmlns:a16="http://schemas.microsoft.com/office/drawing/2014/main" id="{FF72FAB5-5052-897A-4540-090B37343C79}"/>
                </a:ext>
              </a:extLst>
            </p:cNvPr>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7" name="Freeform 195">
              <a:extLst>
                <a:ext uri="{FF2B5EF4-FFF2-40B4-BE49-F238E27FC236}">
                  <a16:creationId xmlns:a16="http://schemas.microsoft.com/office/drawing/2014/main" id="{8A87DFA2-7D11-E1CB-9F6A-5E5ABFD55209}"/>
                </a:ext>
              </a:extLst>
            </p:cNvPr>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8" name="Freeform 196">
              <a:extLst>
                <a:ext uri="{FF2B5EF4-FFF2-40B4-BE49-F238E27FC236}">
                  <a16:creationId xmlns:a16="http://schemas.microsoft.com/office/drawing/2014/main" id="{42A3D68B-3364-5887-63DC-0B600741A69C}"/>
                </a:ext>
              </a:extLst>
            </p:cNvPr>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89" name="Freeform 197">
              <a:extLst>
                <a:ext uri="{FF2B5EF4-FFF2-40B4-BE49-F238E27FC236}">
                  <a16:creationId xmlns:a16="http://schemas.microsoft.com/office/drawing/2014/main" id="{D6376F2E-5C9A-FE50-4B3B-E47452BB1311}"/>
                </a:ext>
              </a:extLst>
            </p:cNvPr>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0" name="Freeform 198">
              <a:extLst>
                <a:ext uri="{FF2B5EF4-FFF2-40B4-BE49-F238E27FC236}">
                  <a16:creationId xmlns:a16="http://schemas.microsoft.com/office/drawing/2014/main" id="{066F9D2D-F49A-7B99-5CBE-2E7DC281ACA1}"/>
                </a:ext>
              </a:extLst>
            </p:cNvPr>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1" name="Freeform 199">
              <a:extLst>
                <a:ext uri="{FF2B5EF4-FFF2-40B4-BE49-F238E27FC236}">
                  <a16:creationId xmlns:a16="http://schemas.microsoft.com/office/drawing/2014/main" id="{1C087D9A-D4B7-6598-B2ED-661B7142F3B4}"/>
                </a:ext>
              </a:extLst>
            </p:cNvPr>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2" name="Freeform 200">
              <a:extLst>
                <a:ext uri="{FF2B5EF4-FFF2-40B4-BE49-F238E27FC236}">
                  <a16:creationId xmlns:a16="http://schemas.microsoft.com/office/drawing/2014/main" id="{5A8E9516-141D-AAF9-6567-9935F1861092}"/>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3" name="Freeform 201">
              <a:extLst>
                <a:ext uri="{FF2B5EF4-FFF2-40B4-BE49-F238E27FC236}">
                  <a16:creationId xmlns:a16="http://schemas.microsoft.com/office/drawing/2014/main" id="{2AEA4E40-A1E5-FB42-28A4-54A1D09D9727}"/>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4" name="Freeform 202">
              <a:extLst>
                <a:ext uri="{FF2B5EF4-FFF2-40B4-BE49-F238E27FC236}">
                  <a16:creationId xmlns:a16="http://schemas.microsoft.com/office/drawing/2014/main" id="{92C0504D-8B60-707D-A92E-8D4E82312072}"/>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5" name="Freeform 203">
              <a:extLst>
                <a:ext uri="{FF2B5EF4-FFF2-40B4-BE49-F238E27FC236}">
                  <a16:creationId xmlns:a16="http://schemas.microsoft.com/office/drawing/2014/main" id="{7D81FBEF-0B18-E5F0-528F-2E90DF0CFF4B}"/>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6" name="Freeform 204">
              <a:extLst>
                <a:ext uri="{FF2B5EF4-FFF2-40B4-BE49-F238E27FC236}">
                  <a16:creationId xmlns:a16="http://schemas.microsoft.com/office/drawing/2014/main" id="{59A6B4E8-B0F4-E38E-3459-D58946E2CCC2}"/>
                </a:ext>
              </a:extLst>
            </p:cNvPr>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7" name="Freeform 205">
              <a:extLst>
                <a:ext uri="{FF2B5EF4-FFF2-40B4-BE49-F238E27FC236}">
                  <a16:creationId xmlns:a16="http://schemas.microsoft.com/office/drawing/2014/main" id="{9F04948C-6285-190A-45AB-E6632B8C570F}"/>
                </a:ext>
              </a:extLst>
            </p:cNvPr>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8" name="Freeform 206">
              <a:extLst>
                <a:ext uri="{FF2B5EF4-FFF2-40B4-BE49-F238E27FC236}">
                  <a16:creationId xmlns:a16="http://schemas.microsoft.com/office/drawing/2014/main" id="{6D021A63-9D9F-4236-BC1D-3C423B40275B}"/>
                </a:ext>
              </a:extLst>
            </p:cNvPr>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99" name="Freeform 207">
              <a:extLst>
                <a:ext uri="{FF2B5EF4-FFF2-40B4-BE49-F238E27FC236}">
                  <a16:creationId xmlns:a16="http://schemas.microsoft.com/office/drawing/2014/main" id="{4F7BEC49-1DC4-408A-6532-A35E5293EFCD}"/>
                </a:ext>
              </a:extLst>
            </p:cNvPr>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0" name="Freeform 208">
              <a:extLst>
                <a:ext uri="{FF2B5EF4-FFF2-40B4-BE49-F238E27FC236}">
                  <a16:creationId xmlns:a16="http://schemas.microsoft.com/office/drawing/2014/main" id="{1B25270E-BF98-EEF4-EDAE-1C9903270133}"/>
                </a:ext>
              </a:extLst>
            </p:cNvPr>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1" name="Freeform 209">
              <a:extLst>
                <a:ext uri="{FF2B5EF4-FFF2-40B4-BE49-F238E27FC236}">
                  <a16:creationId xmlns:a16="http://schemas.microsoft.com/office/drawing/2014/main" id="{ED08FC21-29DF-F1A0-29E8-51A6DA97B9A5}"/>
                </a:ext>
              </a:extLst>
            </p:cNvPr>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2" name="Freeform 210">
              <a:extLst>
                <a:ext uri="{FF2B5EF4-FFF2-40B4-BE49-F238E27FC236}">
                  <a16:creationId xmlns:a16="http://schemas.microsoft.com/office/drawing/2014/main" id="{1F02292C-883D-561B-5749-D4944ED2C3F7}"/>
                </a:ext>
              </a:extLst>
            </p:cNvPr>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3" name="Freeform 211">
              <a:extLst>
                <a:ext uri="{FF2B5EF4-FFF2-40B4-BE49-F238E27FC236}">
                  <a16:creationId xmlns:a16="http://schemas.microsoft.com/office/drawing/2014/main" id="{BAED4FBF-B7C0-32FD-AF34-986027C41A98}"/>
                </a:ext>
              </a:extLst>
            </p:cNvPr>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4" name="Freeform 212">
              <a:extLst>
                <a:ext uri="{FF2B5EF4-FFF2-40B4-BE49-F238E27FC236}">
                  <a16:creationId xmlns:a16="http://schemas.microsoft.com/office/drawing/2014/main" id="{050EFA2A-5AF7-45DE-C49C-7B17DA97F8D1}"/>
                </a:ext>
              </a:extLst>
            </p:cNvPr>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5" name="Freeform 214">
              <a:extLst>
                <a:ext uri="{FF2B5EF4-FFF2-40B4-BE49-F238E27FC236}">
                  <a16:creationId xmlns:a16="http://schemas.microsoft.com/office/drawing/2014/main" id="{7791E8CE-43B1-4661-28F3-BD0AF6AB30A7}"/>
                </a:ext>
              </a:extLst>
            </p:cNvPr>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6" name="Freeform 215">
              <a:extLst>
                <a:ext uri="{FF2B5EF4-FFF2-40B4-BE49-F238E27FC236}">
                  <a16:creationId xmlns:a16="http://schemas.microsoft.com/office/drawing/2014/main" id="{78C09FBF-788A-39FD-5A76-9987FC126CEA}"/>
                </a:ext>
              </a:extLst>
            </p:cNvPr>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7" name="Freeform 216">
              <a:extLst>
                <a:ext uri="{FF2B5EF4-FFF2-40B4-BE49-F238E27FC236}">
                  <a16:creationId xmlns:a16="http://schemas.microsoft.com/office/drawing/2014/main" id="{F6D24B1C-9599-6384-682D-A95CF8FBD97A}"/>
                </a:ext>
              </a:extLst>
            </p:cNvPr>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8" name="Freeform 217">
              <a:extLst>
                <a:ext uri="{FF2B5EF4-FFF2-40B4-BE49-F238E27FC236}">
                  <a16:creationId xmlns:a16="http://schemas.microsoft.com/office/drawing/2014/main" id="{366824F2-56B9-278F-488E-81424854F106}"/>
                </a:ext>
              </a:extLst>
            </p:cNvPr>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09" name="Freeform 218">
              <a:extLst>
                <a:ext uri="{FF2B5EF4-FFF2-40B4-BE49-F238E27FC236}">
                  <a16:creationId xmlns:a16="http://schemas.microsoft.com/office/drawing/2014/main" id="{11D6341C-9279-1B72-6FC3-C074ADA52B4C}"/>
                </a:ext>
              </a:extLst>
            </p:cNvPr>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0" name="Freeform 219">
              <a:extLst>
                <a:ext uri="{FF2B5EF4-FFF2-40B4-BE49-F238E27FC236}">
                  <a16:creationId xmlns:a16="http://schemas.microsoft.com/office/drawing/2014/main" id="{77C3EEB7-77A8-6694-03C2-B5852BBA29E1}"/>
                </a:ext>
              </a:extLst>
            </p:cNvPr>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1" name="Freeform 220">
              <a:extLst>
                <a:ext uri="{FF2B5EF4-FFF2-40B4-BE49-F238E27FC236}">
                  <a16:creationId xmlns:a16="http://schemas.microsoft.com/office/drawing/2014/main" id="{B704C187-6E17-351B-B7E1-24713014D37A}"/>
                </a:ext>
              </a:extLst>
            </p:cNvPr>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2" name="Freeform 222">
              <a:extLst>
                <a:ext uri="{FF2B5EF4-FFF2-40B4-BE49-F238E27FC236}">
                  <a16:creationId xmlns:a16="http://schemas.microsoft.com/office/drawing/2014/main" id="{9E49F5DE-5B21-69A0-A12C-208CA84FEE4F}"/>
                </a:ext>
              </a:extLst>
            </p:cNvPr>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3" name="Freeform 223">
              <a:extLst>
                <a:ext uri="{FF2B5EF4-FFF2-40B4-BE49-F238E27FC236}">
                  <a16:creationId xmlns:a16="http://schemas.microsoft.com/office/drawing/2014/main" id="{8B17FEEC-593F-F14E-608A-E981208BA90C}"/>
                </a:ext>
              </a:extLst>
            </p:cNvPr>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4" name="Freeform 224">
              <a:extLst>
                <a:ext uri="{FF2B5EF4-FFF2-40B4-BE49-F238E27FC236}">
                  <a16:creationId xmlns:a16="http://schemas.microsoft.com/office/drawing/2014/main" id="{AD9C6E9D-D6E4-DFC0-8590-AFD4D290B875}"/>
                </a:ext>
              </a:extLst>
            </p:cNvPr>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5" name="Freeform 225">
              <a:extLst>
                <a:ext uri="{FF2B5EF4-FFF2-40B4-BE49-F238E27FC236}">
                  <a16:creationId xmlns:a16="http://schemas.microsoft.com/office/drawing/2014/main" id="{11BEC4DD-3E66-0248-6003-CE3C944D1F8C}"/>
                </a:ext>
              </a:extLst>
            </p:cNvPr>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216" name="Freeform 226">
              <a:extLst>
                <a:ext uri="{FF2B5EF4-FFF2-40B4-BE49-F238E27FC236}">
                  <a16:creationId xmlns:a16="http://schemas.microsoft.com/office/drawing/2014/main" id="{0CD265FF-EDFC-EA2B-C2DE-09BC2D736FA1}"/>
                </a:ext>
              </a:extLst>
            </p:cNvPr>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grpSp>
      <p:pic>
        <p:nvPicPr>
          <p:cNvPr id="217" name="Picture 216">
            <a:extLst>
              <a:ext uri="{FF2B5EF4-FFF2-40B4-BE49-F238E27FC236}">
                <a16:creationId xmlns:a16="http://schemas.microsoft.com/office/drawing/2014/main" id="{6913C81C-A47B-88CA-127F-3D04CC319F04}"/>
              </a:ext>
            </a:extLst>
          </p:cNvPr>
          <p:cNvPicPr>
            <a:picLocks noChangeAspect="1"/>
          </p:cNvPicPr>
          <p:nvPr userDrawn="1"/>
        </p:nvPicPr>
        <p:blipFill rotWithShape="1">
          <a:blip r:embed="rId5" cstate="email">
            <a:clrChange>
              <a:clrFrom>
                <a:srgbClr val="FFFFFF"/>
              </a:clrFrom>
              <a:clrTo>
                <a:srgbClr val="FFFFFF">
                  <a:alpha val="0"/>
                </a:srgbClr>
              </a:clrTo>
            </a:clrChange>
            <a:alphaModFix amt="30000"/>
            <a:extLst>
              <a:ext uri="{28A0092B-C50C-407E-A947-70E740481C1C}">
                <a14:useLocalDpi xmlns:a14="http://schemas.microsoft.com/office/drawing/2010/main"/>
              </a:ext>
            </a:extLst>
          </a:blip>
          <a:srcRect/>
          <a:stretch/>
        </p:blipFill>
        <p:spPr>
          <a:xfrm>
            <a:off x="4190995" y="4787812"/>
            <a:ext cx="7977582" cy="2070188"/>
          </a:xfrm>
          <a:prstGeom prst="rect">
            <a:avLst/>
          </a:prstGeom>
        </p:spPr>
      </p:pic>
      <p:cxnSp>
        <p:nvCxnSpPr>
          <p:cNvPr id="218" name="Straight Connector 217">
            <a:extLst>
              <a:ext uri="{FF2B5EF4-FFF2-40B4-BE49-F238E27FC236}">
                <a16:creationId xmlns:a16="http://schemas.microsoft.com/office/drawing/2014/main" id="{D313DF43-7C70-72A9-550C-697C92B0AADD}"/>
              </a:ext>
            </a:extLst>
          </p:cNvPr>
          <p:cNvCxnSpPr/>
          <p:nvPr userDrawn="1"/>
        </p:nvCxnSpPr>
        <p:spPr>
          <a:xfrm>
            <a:off x="4221750" y="1701800"/>
            <a:ext cx="0" cy="46609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337735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About Deloitt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4F26D9-2BF6-3689-9CB8-88ED57B5FEEF}"/>
              </a:ext>
            </a:extLst>
          </p:cNvPr>
          <p:cNvGraphicFramePr>
            <a:graphicFrameLocks noChangeAspect="1"/>
          </p:cNvGraphicFramePr>
          <p:nvPr userDrawn="1">
            <p:custDataLst>
              <p:tags r:id="rId1"/>
            </p:custDataLst>
            <p:extLst>
              <p:ext uri="{D42A27DB-BD31-4B8C-83A1-F6EECF244321}">
                <p14:modId xmlns:p14="http://schemas.microsoft.com/office/powerpoint/2010/main" val="114141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8F4F26D9-2BF6-3689-9CB8-88ED57B5FE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pic>
        <p:nvPicPr>
          <p:cNvPr id="2" name="Picture 1">
            <a:extLst>
              <a:ext uri="{FF2B5EF4-FFF2-40B4-BE49-F238E27FC236}">
                <a16:creationId xmlns:a16="http://schemas.microsoft.com/office/drawing/2014/main" id="{15B178CC-E6CC-DB1F-E073-14E8490979C8}"/>
              </a:ext>
            </a:extLst>
          </p:cNvPr>
          <p:cNvPicPr>
            <a:picLocks noChangeAspect="1"/>
          </p:cNvPicPr>
          <p:nvPr userDrawn="1"/>
        </p:nvPicPr>
        <p:blipFill rotWithShape="1">
          <a:blip r:embed="rId5" cstate="email">
            <a:alphaModFix amt="30000"/>
            <a:extLst>
              <a:ext uri="{28A0092B-C50C-407E-A947-70E740481C1C}">
                <a14:useLocalDpi xmlns:a14="http://schemas.microsoft.com/office/drawing/2010/main"/>
              </a:ext>
            </a:extLst>
          </a:blip>
          <a:srcRect/>
          <a:stretch/>
        </p:blipFill>
        <p:spPr>
          <a:xfrm>
            <a:off x="4221749" y="4963559"/>
            <a:ext cx="7970245" cy="1894441"/>
          </a:xfrm>
          <a:prstGeom prst="rect">
            <a:avLst/>
          </a:prstGeom>
        </p:spPr>
      </p:pic>
      <p:cxnSp>
        <p:nvCxnSpPr>
          <p:cNvPr id="3" name="Straight Connector 2">
            <a:extLst>
              <a:ext uri="{FF2B5EF4-FFF2-40B4-BE49-F238E27FC236}">
                <a16:creationId xmlns:a16="http://schemas.microsoft.com/office/drawing/2014/main" id="{0C5FF2E8-2581-F63D-4752-158EB4B7450B}"/>
              </a:ext>
            </a:extLst>
          </p:cNvPr>
          <p:cNvCxnSpPr/>
          <p:nvPr userDrawn="1"/>
        </p:nvCxnSpPr>
        <p:spPr>
          <a:xfrm>
            <a:off x="4221750" y="1701800"/>
            <a:ext cx="0" cy="46609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15387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CC1DE6-C367-BE8B-D720-4EE6C2BE7CB9}"/>
              </a:ext>
            </a:extLst>
          </p:cNvPr>
          <p:cNvGraphicFramePr>
            <a:graphicFrameLocks noChangeAspect="1"/>
          </p:cNvGraphicFramePr>
          <p:nvPr userDrawn="1">
            <p:custDataLst>
              <p:tags r:id="rId1"/>
            </p:custDataLst>
            <p:extLst>
              <p:ext uri="{D42A27DB-BD31-4B8C-83A1-F6EECF244321}">
                <p14:modId xmlns:p14="http://schemas.microsoft.com/office/powerpoint/2010/main" val="56485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BBCC1DE6-C367-BE8B-D720-4EE6C2BE7C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417911"/>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130371969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2658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96D96D8-5737-A20C-BDB3-2D1E49EDE7A3}"/>
              </a:ext>
            </a:extLst>
          </p:cNvPr>
          <p:cNvGraphicFramePr>
            <a:graphicFrameLocks noChangeAspect="1"/>
          </p:cNvGraphicFramePr>
          <p:nvPr userDrawn="1">
            <p:custDataLst>
              <p:tags r:id="rId1"/>
            </p:custDataLst>
            <p:extLst>
              <p:ext uri="{D42A27DB-BD31-4B8C-83A1-F6EECF244321}">
                <p14:modId xmlns:p14="http://schemas.microsoft.com/office/powerpoint/2010/main" val="375294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196D96D8-5737-A20C-BDB3-2D1E49EDE7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945340"/>
            <a:ext cx="3554471" cy="4417359"/>
          </a:xfrm>
        </p:spPr>
        <p:txBody>
          <a:bodyPr>
            <a:noAutofit/>
          </a:bodyPr>
          <a:lstStyle>
            <a:lvl1pPr marL="0" indent="0" algn="l" rtl="0">
              <a:buFontTx/>
              <a:buNone/>
              <a:defRPr sz="1200" b="1">
                <a:solidFill>
                  <a:srgbClr val="00ABAB"/>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945340"/>
            <a:ext cx="3554471" cy="4417359"/>
          </a:xfrm>
        </p:spPr>
        <p:txBody>
          <a:bodyPr>
            <a:noAutofit/>
          </a:bodyPr>
          <a:lstStyle>
            <a:lvl1pPr marL="0" indent="0" algn="l" rtl="0">
              <a:buFontTx/>
              <a:buNone/>
              <a:defRPr sz="1200" b="1">
                <a:solidFill>
                  <a:srgbClr val="00ABAB"/>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945340"/>
            <a:ext cx="3556000" cy="4417359"/>
          </a:xfrm>
        </p:spPr>
        <p:txBody>
          <a:bodyPr>
            <a:noAutofit/>
          </a:bodyPr>
          <a:lstStyle>
            <a:lvl1pPr marL="0" indent="0" algn="l" rtl="0">
              <a:buFontTx/>
              <a:buNone/>
              <a:defRPr sz="1200" b="1">
                <a:solidFill>
                  <a:srgbClr val="00ABAB"/>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936000"/>
            <a:ext cx="11277600" cy="757255"/>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417432"/>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cxnSp>
        <p:nvCxnSpPr>
          <p:cNvPr id="5" name="Straight Connector 4">
            <a:extLst>
              <a:ext uri="{FF2B5EF4-FFF2-40B4-BE49-F238E27FC236}">
                <a16:creationId xmlns:a16="http://schemas.microsoft.com/office/drawing/2014/main" id="{9C423B01-DBBF-4C62-80C7-68DDC066C750}"/>
              </a:ext>
            </a:extLst>
          </p:cNvPr>
          <p:cNvCxnSpPr/>
          <p:nvPr userDrawn="1"/>
        </p:nvCxnSpPr>
        <p:spPr>
          <a:xfrm>
            <a:off x="457200" y="1730562"/>
            <a:ext cx="35532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37E9EAD-2855-4C0E-B800-BC75CFD8BF72}"/>
              </a:ext>
            </a:extLst>
          </p:cNvPr>
          <p:cNvCxnSpPr/>
          <p:nvPr userDrawn="1"/>
        </p:nvCxnSpPr>
        <p:spPr>
          <a:xfrm>
            <a:off x="4320800" y="1730562"/>
            <a:ext cx="35532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DFBA29B-0391-4429-A88C-957860F52ACB}"/>
              </a:ext>
            </a:extLst>
          </p:cNvPr>
          <p:cNvCxnSpPr/>
          <p:nvPr userDrawn="1"/>
        </p:nvCxnSpPr>
        <p:spPr>
          <a:xfrm>
            <a:off x="8181600" y="1730562"/>
            <a:ext cx="35532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356682"/>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s_Page 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60E79B-FEF8-54A9-E9E4-50062A526655}"/>
              </a:ext>
            </a:extLst>
          </p:cNvPr>
          <p:cNvGraphicFramePr>
            <a:graphicFrameLocks noChangeAspect="1"/>
          </p:cNvGraphicFramePr>
          <p:nvPr userDrawn="1">
            <p:custDataLst>
              <p:tags r:id="rId1"/>
            </p:custDataLst>
            <p:extLst>
              <p:ext uri="{D42A27DB-BD31-4B8C-83A1-F6EECF244321}">
                <p14:modId xmlns:p14="http://schemas.microsoft.com/office/powerpoint/2010/main" val="144032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2B60E79B-FEF8-54A9-E9E4-50062A5266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128BB88E-CF20-4D4A-A2E3-92E3CFF762BF}"/>
              </a:ext>
            </a:extLst>
          </p:cNvPr>
          <p:cNvSpPr>
            <a:spLocks noGrp="1"/>
          </p:cNvSpPr>
          <p:nvPr>
            <p:ph type="pic" sz="quarter" idx="10"/>
          </p:nvPr>
        </p:nvSpPr>
        <p:spPr>
          <a:xfrm>
            <a:off x="-1" y="0"/>
            <a:ext cx="5510463" cy="6858000"/>
          </a:xfrm>
          <a:solidFill>
            <a:schemeClr val="bg1">
              <a:lumMod val="95000"/>
            </a:schemeClr>
          </a:solidFill>
        </p:spPr>
        <p:txBody>
          <a:bodyPr/>
          <a:lstStyle/>
          <a:p>
            <a:endParaRPr lang="en-GB"/>
          </a:p>
        </p:txBody>
      </p:sp>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6248400" y="340062"/>
            <a:ext cx="4332514" cy="542650"/>
          </a:xfrm>
          <a:prstGeom prst="rect">
            <a:avLst/>
          </a:prstGeom>
        </p:spPr>
        <p:txBody>
          <a:bodyPr vert="horz" lIns="0" tIns="0" rIns="0" bIns="0" rtlCol="0" anchor="t" anchorCtr="0">
            <a:noAutofit/>
          </a:bodyPr>
          <a:lstStyle>
            <a:lvl1pPr rtl="0">
              <a:defRPr sz="32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140006809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am profile_4 layout_Watercolour">
    <p:bg>
      <p:bgPr>
        <a:blipFill dpi="0" rotWithShape="1">
          <a:blip r:embed="rId3" cstate="email">
            <a:lum/>
            <a:extLst>
              <a:ext uri="{28A0092B-C50C-407E-A947-70E740481C1C}">
                <a14:useLocalDpi xmlns:a14="http://schemas.microsoft.com/office/drawing/2010/main"/>
              </a:ext>
            </a:extLst>
          </a:blip>
          <a:srcRect/>
          <a:stretch>
            <a:fillRect t="26000"/>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4D5EED7-7EA6-C6CE-1C5A-2F15EF756F52}"/>
              </a:ext>
            </a:extLst>
          </p:cNvPr>
          <p:cNvGraphicFramePr>
            <a:graphicFrameLocks noChangeAspect="1"/>
          </p:cNvGraphicFramePr>
          <p:nvPr userDrawn="1">
            <p:custDataLst>
              <p:tags r:id="rId1"/>
            </p:custDataLst>
            <p:extLst>
              <p:ext uri="{D42A27DB-BD31-4B8C-83A1-F6EECF244321}">
                <p14:modId xmlns:p14="http://schemas.microsoft.com/office/powerpoint/2010/main" val="3278261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24D5EED7-7EA6-C6CE-1C5A-2F15EF756F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936000"/>
            <a:ext cx="11277600" cy="607110"/>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417600"/>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3" name="Text Placeholder 2">
            <a:extLst>
              <a:ext uri="{FF2B5EF4-FFF2-40B4-BE49-F238E27FC236}">
                <a16:creationId xmlns:a16="http://schemas.microsoft.com/office/drawing/2014/main" id="{06CDE9E6-C98A-44D5-BDD7-71D968BC9646}"/>
              </a:ext>
            </a:extLst>
          </p:cNvPr>
          <p:cNvSpPr>
            <a:spLocks noGrp="1"/>
          </p:cNvSpPr>
          <p:nvPr>
            <p:ph type="body" sz="quarter" idx="22"/>
          </p:nvPr>
        </p:nvSpPr>
        <p:spPr>
          <a:xfrm>
            <a:off x="458788" y="3930893"/>
            <a:ext cx="2520000" cy="2431806"/>
          </a:xfrm>
        </p:spPr>
        <p:txBody>
          <a:bodyPr>
            <a:noAutofit/>
          </a:bodyPr>
          <a:lstStyle>
            <a:lvl1pPr rtl="0">
              <a:lnSpc>
                <a:spcPct val="106000"/>
              </a:lnSpc>
              <a:spcAft>
                <a:spcPts val="400"/>
              </a:spcAft>
              <a:defRPr sz="1000" b="0">
                <a:solidFill>
                  <a:schemeClr val="tx1"/>
                </a:solidFill>
              </a:defRPr>
            </a:lvl1pPr>
            <a:lvl2pPr rtl="0">
              <a:lnSpc>
                <a:spcPct val="106000"/>
              </a:lnSpc>
              <a:spcAft>
                <a:spcPts val="400"/>
              </a:spcAft>
              <a:defRPr sz="1000" b="0"/>
            </a:lvl2pPr>
            <a:lvl3pPr rtl="0">
              <a:lnSpc>
                <a:spcPct val="106000"/>
              </a:lnSpc>
              <a:spcAft>
                <a:spcPts val="400"/>
              </a:spcAft>
              <a:defRPr sz="1000"/>
            </a:lvl3pPr>
            <a:lvl4pPr rtl="0">
              <a:lnSpc>
                <a:spcPct val="106000"/>
              </a:lnSpc>
              <a:spcAft>
                <a:spcPts val="400"/>
              </a:spcAft>
              <a:defRPr sz="1000"/>
            </a:lvl4pPr>
            <a:lvl5pPr rtl="0">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E21DF793-A312-4CDC-9DC3-2398141FE923}"/>
              </a:ext>
            </a:extLst>
          </p:cNvPr>
          <p:cNvSpPr>
            <a:spLocks noGrp="1"/>
          </p:cNvSpPr>
          <p:nvPr userDrawn="1">
            <p:ph type="pic" sz="quarter" idx="26"/>
          </p:nvPr>
        </p:nvSpPr>
        <p:spPr>
          <a:xfrm>
            <a:off x="979442" y="1714507"/>
            <a:ext cx="1530000" cy="1457325"/>
          </a:xfrm>
          <a:prstGeom prst="ellipse">
            <a:avLst/>
          </a:prstGeom>
          <a:solidFill>
            <a:schemeClr val="bg1">
              <a:lumMod val="95000"/>
            </a:schemeClr>
          </a:solidFill>
        </p:spPr>
        <p:txBody>
          <a:bodyPr/>
          <a:lstStyle/>
          <a:p>
            <a:endParaRPr lang="en-GB"/>
          </a:p>
        </p:txBody>
      </p:sp>
      <p:sp>
        <p:nvSpPr>
          <p:cNvPr id="34" name="Text Placeholder 2">
            <a:extLst>
              <a:ext uri="{FF2B5EF4-FFF2-40B4-BE49-F238E27FC236}">
                <a16:creationId xmlns:a16="http://schemas.microsoft.com/office/drawing/2014/main" id="{9FDFA7E7-2563-48E6-A778-0C3B5EF5B800}"/>
              </a:ext>
            </a:extLst>
          </p:cNvPr>
          <p:cNvSpPr>
            <a:spLocks noGrp="1"/>
          </p:cNvSpPr>
          <p:nvPr userDrawn="1">
            <p:ph type="body" sz="quarter" idx="19"/>
          </p:nvPr>
        </p:nvSpPr>
        <p:spPr>
          <a:xfrm>
            <a:off x="466098" y="3340767"/>
            <a:ext cx="2512690" cy="440676"/>
          </a:xfrm>
        </p:spPr>
        <p:txBody>
          <a:bodyPr anchor="t" anchorCtr="0">
            <a:noAutofit/>
          </a:bodyPr>
          <a:lstStyle>
            <a:lvl1pPr rtl="0">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35" name="Text Placeholder 2">
            <a:extLst>
              <a:ext uri="{FF2B5EF4-FFF2-40B4-BE49-F238E27FC236}">
                <a16:creationId xmlns:a16="http://schemas.microsoft.com/office/drawing/2014/main" id="{9DA9763A-A401-41FF-920C-22EC1C7FF5FD}"/>
              </a:ext>
            </a:extLst>
          </p:cNvPr>
          <p:cNvSpPr>
            <a:spLocks noGrp="1"/>
          </p:cNvSpPr>
          <p:nvPr userDrawn="1">
            <p:ph type="body" sz="quarter" idx="27"/>
          </p:nvPr>
        </p:nvSpPr>
        <p:spPr>
          <a:xfrm>
            <a:off x="3374492" y="3930893"/>
            <a:ext cx="2520000" cy="2431806"/>
          </a:xfrm>
        </p:spPr>
        <p:txBody>
          <a:bodyPr>
            <a:noAutofit/>
          </a:bodyPr>
          <a:lstStyle>
            <a:lvl1pPr rtl="0">
              <a:lnSpc>
                <a:spcPct val="106000"/>
              </a:lnSpc>
              <a:spcAft>
                <a:spcPts val="400"/>
              </a:spcAft>
              <a:defRPr sz="1000" b="0">
                <a:solidFill>
                  <a:schemeClr val="tx1"/>
                </a:solidFill>
              </a:defRPr>
            </a:lvl1pPr>
            <a:lvl2pPr rtl="0">
              <a:lnSpc>
                <a:spcPct val="106000"/>
              </a:lnSpc>
              <a:spcAft>
                <a:spcPts val="400"/>
              </a:spcAft>
              <a:defRPr sz="1000" b="0"/>
            </a:lvl2pPr>
            <a:lvl3pPr rtl="0">
              <a:lnSpc>
                <a:spcPct val="106000"/>
              </a:lnSpc>
              <a:spcAft>
                <a:spcPts val="400"/>
              </a:spcAft>
              <a:defRPr sz="1000"/>
            </a:lvl3pPr>
            <a:lvl4pPr rtl="0">
              <a:lnSpc>
                <a:spcPct val="106000"/>
              </a:lnSpc>
              <a:spcAft>
                <a:spcPts val="400"/>
              </a:spcAft>
              <a:defRPr sz="1000"/>
            </a:lvl4pPr>
            <a:lvl5pPr rtl="0">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37" name="Picture Placeholder 7">
            <a:extLst>
              <a:ext uri="{FF2B5EF4-FFF2-40B4-BE49-F238E27FC236}">
                <a16:creationId xmlns:a16="http://schemas.microsoft.com/office/drawing/2014/main" id="{49990253-B949-4448-9A5C-6984704B85CD}"/>
              </a:ext>
            </a:extLst>
          </p:cNvPr>
          <p:cNvSpPr>
            <a:spLocks noGrp="1"/>
          </p:cNvSpPr>
          <p:nvPr userDrawn="1">
            <p:ph type="pic" sz="quarter" idx="28"/>
          </p:nvPr>
        </p:nvSpPr>
        <p:spPr>
          <a:xfrm>
            <a:off x="3855751" y="1714507"/>
            <a:ext cx="1530000" cy="1457325"/>
          </a:xfrm>
          <a:prstGeom prst="ellipse">
            <a:avLst/>
          </a:prstGeom>
          <a:solidFill>
            <a:schemeClr val="bg1">
              <a:lumMod val="95000"/>
            </a:schemeClr>
          </a:solidFill>
        </p:spPr>
        <p:txBody>
          <a:bodyPr/>
          <a:lstStyle/>
          <a:p>
            <a:endParaRPr lang="en-GB" dirty="0"/>
          </a:p>
        </p:txBody>
      </p:sp>
      <p:sp>
        <p:nvSpPr>
          <p:cNvPr id="38" name="Text Placeholder 2">
            <a:extLst>
              <a:ext uri="{FF2B5EF4-FFF2-40B4-BE49-F238E27FC236}">
                <a16:creationId xmlns:a16="http://schemas.microsoft.com/office/drawing/2014/main" id="{51DD802A-DF20-42C9-BFD6-A9D9CA080957}"/>
              </a:ext>
            </a:extLst>
          </p:cNvPr>
          <p:cNvSpPr>
            <a:spLocks noGrp="1"/>
          </p:cNvSpPr>
          <p:nvPr userDrawn="1">
            <p:ph type="body" sz="quarter" idx="29"/>
          </p:nvPr>
        </p:nvSpPr>
        <p:spPr>
          <a:xfrm>
            <a:off x="3374492" y="3340767"/>
            <a:ext cx="2512690" cy="440676"/>
          </a:xfrm>
        </p:spPr>
        <p:txBody>
          <a:bodyPr anchor="t" anchorCtr="0">
            <a:noAutofit/>
          </a:bodyPr>
          <a:lstStyle>
            <a:lvl1pPr rtl="0">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39" name="Text Placeholder 2">
            <a:extLst>
              <a:ext uri="{FF2B5EF4-FFF2-40B4-BE49-F238E27FC236}">
                <a16:creationId xmlns:a16="http://schemas.microsoft.com/office/drawing/2014/main" id="{B16EA8FB-3ECA-499C-A5CE-BF07CF20039D}"/>
              </a:ext>
            </a:extLst>
          </p:cNvPr>
          <p:cNvSpPr>
            <a:spLocks noGrp="1"/>
          </p:cNvSpPr>
          <p:nvPr userDrawn="1">
            <p:ph type="body" sz="quarter" idx="30"/>
          </p:nvPr>
        </p:nvSpPr>
        <p:spPr>
          <a:xfrm>
            <a:off x="6290196" y="3930893"/>
            <a:ext cx="2520000" cy="2431806"/>
          </a:xfrm>
        </p:spPr>
        <p:txBody>
          <a:bodyPr>
            <a:noAutofit/>
          </a:bodyPr>
          <a:lstStyle>
            <a:lvl1pPr rtl="0">
              <a:lnSpc>
                <a:spcPct val="106000"/>
              </a:lnSpc>
              <a:spcAft>
                <a:spcPts val="400"/>
              </a:spcAft>
              <a:defRPr sz="1000" b="0">
                <a:solidFill>
                  <a:schemeClr val="tx1"/>
                </a:solidFill>
              </a:defRPr>
            </a:lvl1pPr>
            <a:lvl2pPr rtl="0">
              <a:lnSpc>
                <a:spcPct val="106000"/>
              </a:lnSpc>
              <a:spcAft>
                <a:spcPts val="400"/>
              </a:spcAft>
              <a:defRPr sz="1000" b="0"/>
            </a:lvl2pPr>
            <a:lvl3pPr rtl="0">
              <a:lnSpc>
                <a:spcPct val="106000"/>
              </a:lnSpc>
              <a:spcAft>
                <a:spcPts val="400"/>
              </a:spcAft>
              <a:defRPr sz="1000"/>
            </a:lvl3pPr>
            <a:lvl4pPr rtl="0">
              <a:lnSpc>
                <a:spcPct val="106000"/>
              </a:lnSpc>
              <a:spcAft>
                <a:spcPts val="400"/>
              </a:spcAft>
              <a:defRPr sz="1000"/>
            </a:lvl4pPr>
            <a:lvl5pPr rtl="0">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1" name="Picture Placeholder 7">
            <a:extLst>
              <a:ext uri="{FF2B5EF4-FFF2-40B4-BE49-F238E27FC236}">
                <a16:creationId xmlns:a16="http://schemas.microsoft.com/office/drawing/2014/main" id="{98024A0D-6E95-48D7-8BBD-5830390402BD}"/>
              </a:ext>
            </a:extLst>
          </p:cNvPr>
          <p:cNvSpPr>
            <a:spLocks noGrp="1"/>
          </p:cNvSpPr>
          <p:nvPr userDrawn="1">
            <p:ph type="pic" sz="quarter" idx="31"/>
          </p:nvPr>
        </p:nvSpPr>
        <p:spPr>
          <a:xfrm>
            <a:off x="6762722" y="1714507"/>
            <a:ext cx="1530000" cy="1457325"/>
          </a:xfrm>
          <a:prstGeom prst="ellipse">
            <a:avLst/>
          </a:prstGeom>
          <a:solidFill>
            <a:schemeClr val="bg1">
              <a:lumMod val="95000"/>
            </a:schemeClr>
          </a:solidFill>
        </p:spPr>
        <p:txBody>
          <a:bodyPr/>
          <a:lstStyle/>
          <a:p>
            <a:endParaRPr lang="en-GB" dirty="0"/>
          </a:p>
        </p:txBody>
      </p:sp>
      <p:sp>
        <p:nvSpPr>
          <p:cNvPr id="42" name="Text Placeholder 2">
            <a:extLst>
              <a:ext uri="{FF2B5EF4-FFF2-40B4-BE49-F238E27FC236}">
                <a16:creationId xmlns:a16="http://schemas.microsoft.com/office/drawing/2014/main" id="{E7407EFF-2D00-41FA-9AD3-6C756D609484}"/>
              </a:ext>
            </a:extLst>
          </p:cNvPr>
          <p:cNvSpPr>
            <a:spLocks noGrp="1"/>
          </p:cNvSpPr>
          <p:nvPr userDrawn="1">
            <p:ph type="body" sz="quarter" idx="32"/>
          </p:nvPr>
        </p:nvSpPr>
        <p:spPr>
          <a:xfrm>
            <a:off x="6297505" y="3340767"/>
            <a:ext cx="2512690" cy="440676"/>
          </a:xfrm>
        </p:spPr>
        <p:txBody>
          <a:bodyPr anchor="t" anchorCtr="0">
            <a:noAutofit/>
          </a:bodyPr>
          <a:lstStyle>
            <a:lvl1pPr rtl="0">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43" name="Text Placeholder 2">
            <a:extLst>
              <a:ext uri="{FF2B5EF4-FFF2-40B4-BE49-F238E27FC236}">
                <a16:creationId xmlns:a16="http://schemas.microsoft.com/office/drawing/2014/main" id="{BF4A31B0-8607-45BF-986D-6D9912CA2DE0}"/>
              </a:ext>
            </a:extLst>
          </p:cNvPr>
          <p:cNvSpPr>
            <a:spLocks noGrp="1"/>
          </p:cNvSpPr>
          <p:nvPr userDrawn="1">
            <p:ph type="body" sz="quarter" idx="33"/>
          </p:nvPr>
        </p:nvSpPr>
        <p:spPr>
          <a:xfrm>
            <a:off x="9205902" y="3930893"/>
            <a:ext cx="2520000" cy="2431806"/>
          </a:xfrm>
        </p:spPr>
        <p:txBody>
          <a:bodyPr>
            <a:noAutofit/>
          </a:bodyPr>
          <a:lstStyle>
            <a:lvl1pPr rtl="0">
              <a:lnSpc>
                <a:spcPct val="106000"/>
              </a:lnSpc>
              <a:spcAft>
                <a:spcPts val="400"/>
              </a:spcAft>
              <a:defRPr sz="1000" b="0">
                <a:solidFill>
                  <a:schemeClr val="tx1"/>
                </a:solidFill>
              </a:defRPr>
            </a:lvl1pPr>
            <a:lvl2pPr rtl="0">
              <a:lnSpc>
                <a:spcPct val="106000"/>
              </a:lnSpc>
              <a:spcAft>
                <a:spcPts val="400"/>
              </a:spcAft>
              <a:defRPr sz="1000" b="0"/>
            </a:lvl2pPr>
            <a:lvl3pPr rtl="0">
              <a:lnSpc>
                <a:spcPct val="106000"/>
              </a:lnSpc>
              <a:spcAft>
                <a:spcPts val="400"/>
              </a:spcAft>
              <a:defRPr sz="1000"/>
            </a:lvl3pPr>
            <a:lvl4pPr rtl="0">
              <a:lnSpc>
                <a:spcPct val="106000"/>
              </a:lnSpc>
              <a:spcAft>
                <a:spcPts val="400"/>
              </a:spcAft>
              <a:defRPr sz="1000"/>
            </a:lvl4pPr>
            <a:lvl5pPr rtl="0">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5" name="Picture Placeholder 7">
            <a:extLst>
              <a:ext uri="{FF2B5EF4-FFF2-40B4-BE49-F238E27FC236}">
                <a16:creationId xmlns:a16="http://schemas.microsoft.com/office/drawing/2014/main" id="{50494B50-7D1F-40FB-A3F5-8241F5E16700}"/>
              </a:ext>
            </a:extLst>
          </p:cNvPr>
          <p:cNvSpPr>
            <a:spLocks noGrp="1"/>
          </p:cNvSpPr>
          <p:nvPr userDrawn="1">
            <p:ph type="pic" sz="quarter" idx="34"/>
          </p:nvPr>
        </p:nvSpPr>
        <p:spPr>
          <a:xfrm>
            <a:off x="9678429" y="1714507"/>
            <a:ext cx="1530000" cy="1457325"/>
          </a:xfrm>
          <a:prstGeom prst="ellipse">
            <a:avLst/>
          </a:prstGeom>
          <a:solidFill>
            <a:schemeClr val="bg1">
              <a:lumMod val="95000"/>
            </a:schemeClr>
          </a:solidFill>
        </p:spPr>
        <p:txBody>
          <a:bodyPr/>
          <a:lstStyle/>
          <a:p>
            <a:endParaRPr lang="en-GB" dirty="0"/>
          </a:p>
        </p:txBody>
      </p:sp>
      <p:sp>
        <p:nvSpPr>
          <p:cNvPr id="46" name="Text Placeholder 2">
            <a:extLst>
              <a:ext uri="{FF2B5EF4-FFF2-40B4-BE49-F238E27FC236}">
                <a16:creationId xmlns:a16="http://schemas.microsoft.com/office/drawing/2014/main" id="{173BFC37-BEC9-4C20-833F-9AD066BDD18F}"/>
              </a:ext>
            </a:extLst>
          </p:cNvPr>
          <p:cNvSpPr>
            <a:spLocks noGrp="1"/>
          </p:cNvSpPr>
          <p:nvPr userDrawn="1">
            <p:ph type="body" sz="quarter" idx="35"/>
          </p:nvPr>
        </p:nvSpPr>
        <p:spPr>
          <a:xfrm>
            <a:off x="9213212" y="3340767"/>
            <a:ext cx="2512690" cy="440676"/>
          </a:xfrm>
        </p:spPr>
        <p:txBody>
          <a:bodyPr anchor="t" anchorCtr="0">
            <a:noAutofit/>
          </a:bodyPr>
          <a:lstStyle>
            <a:lvl1pPr rtl="0">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43040975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Sub_Divider_MAF_Final">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E782D9A-64EB-453E-8A21-F4E420D7E6F4}"/>
              </a:ext>
            </a:extLst>
          </p:cNvPr>
          <p:cNvPicPr>
            <a:picLocks noChangeAspect="1"/>
          </p:cNvPicPr>
          <p:nvPr userDrawn="1"/>
        </p:nvPicPr>
        <p:blipFill rotWithShape="1">
          <a:blip r:embed="rId2" cstate="email">
            <a:duotone>
              <a:schemeClr val="bg2">
                <a:shade val="45000"/>
                <a:satMod val="135000"/>
              </a:schemeClr>
              <a:prstClr val="white"/>
            </a:duotone>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p:nvPr>
        </p:nvSpPr>
        <p:spPr>
          <a:xfrm>
            <a:off x="457200" y="457200"/>
            <a:ext cx="4546600" cy="5943600"/>
          </a:xfrm>
          <a:prstGeom prst="rect">
            <a:avLst/>
          </a:prstGeom>
          <a:solidFill>
            <a:schemeClr val="bg1">
              <a:alpha val="80000"/>
            </a:schemeClr>
          </a:solidFill>
        </p:spPr>
        <p:txBody>
          <a:bodyPr vert="horz" wrap="square" lIns="365760" tIns="274320" rIns="274320" bIns="274320" rtlCol="0" anchor="ctr" anchorCtr="0">
            <a:noAutofit/>
          </a:bodyPr>
          <a:lstStyle>
            <a:lvl1pPr>
              <a:lnSpc>
                <a:spcPct val="100000"/>
              </a:lnSpc>
              <a:defRPr lang="en-US" sz="4400" b="0" spc="-75" dirty="0">
                <a:solidFill>
                  <a:schemeClr val="tx1"/>
                </a:solidFill>
                <a:latin typeface="+mj-lt"/>
              </a:defRPr>
            </a:lvl1pPr>
          </a:lstStyle>
          <a:p>
            <a:pPr lvl="0" defTabSz="685800">
              <a:lnSpc>
                <a:spcPct val="85000"/>
              </a:lnSpc>
            </a:pPr>
            <a:r>
              <a:rPr lang="en-GB"/>
              <a:t>Click to edit</a:t>
            </a:r>
          </a:p>
        </p:txBody>
      </p:sp>
      <p:sp>
        <p:nvSpPr>
          <p:cNvPr id="8" name="Rectangle 2">
            <a:extLst>
              <a:ext uri="{FF2B5EF4-FFF2-40B4-BE49-F238E27FC236}">
                <a16:creationId xmlns:a16="http://schemas.microsoft.com/office/drawing/2014/main" id="{D509AC37-5FEC-4A1A-AF91-5D8B955D7A1E}"/>
              </a:ext>
            </a:extLst>
          </p:cNvPr>
          <p:cNvSpPr>
            <a:spLocks/>
          </p:cNvSpPr>
          <p:nvPr userDrawn="1"/>
        </p:nvSpPr>
        <p:spPr bwMode="auto">
          <a:xfrm>
            <a:off x="437640" y="6431170"/>
            <a:ext cx="323550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25400">
              <a:lnSpc>
                <a:spcPct val="100000"/>
              </a:lnSpc>
              <a:spcBef>
                <a:spcPts val="160"/>
              </a:spcBef>
            </a:pPr>
            <a:fld id="{C84F2FB2-4A16-1542-BD5E-F56870239E74}" type="slidenum">
              <a:rPr lang="en-GB" sz="800" smtClean="0">
                <a:solidFill>
                  <a:schemeClr val="accent5">
                    <a:lumMod val="60000"/>
                    <a:lumOff val="40000"/>
                  </a:schemeClr>
                </a:solidFill>
                <a:latin typeface="Open Sans" charset="0"/>
                <a:ea typeface="Open Sans" charset="0"/>
                <a:cs typeface="Open Sans" charset="0"/>
                <a:sym typeface="Frutiger Next Pro Light" charset="0"/>
              </a:rPr>
              <a:pPr marL="25400">
                <a:lnSpc>
                  <a:spcPct val="100000"/>
                </a:lnSpc>
                <a:spcBef>
                  <a:spcPts val="160"/>
                </a:spcBef>
              </a:pPr>
              <a:t>‹#›</a:t>
            </a:fld>
            <a:r>
              <a:rPr lang="en-GB" sz="800">
                <a:solidFill>
                  <a:schemeClr val="accent5">
                    <a:lumMod val="60000"/>
                    <a:lumOff val="40000"/>
                  </a:schemeClr>
                </a:solidFill>
                <a:latin typeface="Open Sans" charset="0"/>
                <a:ea typeface="Open Sans" charset="0"/>
                <a:cs typeface="Open Sans" charset="0"/>
                <a:sym typeface="Frutiger Next Pro Light" charset="0"/>
              </a:rPr>
              <a:t>  | </a:t>
            </a:r>
            <a:r>
              <a:rPr lang="en-GB" sz="800" spc="-10">
                <a:solidFill>
                  <a:srgbClr val="ADADAD"/>
                </a:solidFill>
                <a:latin typeface="Noto Sans"/>
                <a:cs typeface="Noto Sans"/>
              </a:rPr>
              <a:t>Copyright </a:t>
            </a:r>
            <a:r>
              <a:rPr lang="en-GB" sz="800">
                <a:solidFill>
                  <a:srgbClr val="ADADAD"/>
                </a:solidFill>
                <a:latin typeface="Noto Sans"/>
                <a:cs typeface="Noto Sans"/>
              </a:rPr>
              <a:t>© </a:t>
            </a:r>
            <a:r>
              <a:rPr lang="en-GB" sz="800" spc="15">
                <a:solidFill>
                  <a:srgbClr val="ADADAD"/>
                </a:solidFill>
                <a:latin typeface="Noto Sans"/>
                <a:cs typeface="Noto Sans"/>
              </a:rPr>
              <a:t>2020 </a:t>
            </a:r>
            <a:r>
              <a:rPr lang="en-GB" sz="800" spc="-5">
                <a:solidFill>
                  <a:srgbClr val="ADADAD"/>
                </a:solidFill>
                <a:latin typeface="Noto Sans"/>
                <a:cs typeface="Noto Sans"/>
              </a:rPr>
              <a:t>Deloitte </a:t>
            </a:r>
            <a:r>
              <a:rPr lang="en-GB" sz="800">
                <a:solidFill>
                  <a:srgbClr val="ADADAD"/>
                </a:solidFill>
                <a:latin typeface="Noto Sans"/>
                <a:cs typeface="Noto Sans"/>
              </a:rPr>
              <a:t>&amp; </a:t>
            </a:r>
            <a:r>
              <a:rPr lang="en-GB" sz="800" spc="-5" err="1">
                <a:solidFill>
                  <a:srgbClr val="ADADAD"/>
                </a:solidFill>
                <a:latin typeface="Noto Sans"/>
                <a:cs typeface="Noto Sans"/>
              </a:rPr>
              <a:t>Touche</a:t>
            </a:r>
            <a:r>
              <a:rPr lang="en-GB" sz="800" spc="-5">
                <a:solidFill>
                  <a:srgbClr val="ADADAD"/>
                </a:solidFill>
                <a:latin typeface="Noto Sans"/>
                <a:cs typeface="Noto Sans"/>
              </a:rPr>
              <a:t> </a:t>
            </a:r>
            <a:r>
              <a:rPr lang="en-GB" sz="800" spc="-20">
                <a:solidFill>
                  <a:srgbClr val="ADADAD"/>
                </a:solidFill>
                <a:latin typeface="Noto Sans"/>
                <a:cs typeface="Noto Sans"/>
              </a:rPr>
              <a:t>(M.E.). </a:t>
            </a:r>
            <a:r>
              <a:rPr lang="en-GB" sz="800" spc="-5">
                <a:solidFill>
                  <a:srgbClr val="ADADAD"/>
                </a:solidFill>
                <a:latin typeface="Noto Sans"/>
                <a:cs typeface="Noto Sans"/>
              </a:rPr>
              <a:t>All </a:t>
            </a:r>
            <a:r>
              <a:rPr lang="en-GB" sz="800" spc="-15">
                <a:solidFill>
                  <a:srgbClr val="ADADAD"/>
                </a:solidFill>
                <a:latin typeface="Noto Sans"/>
                <a:cs typeface="Noto Sans"/>
              </a:rPr>
              <a:t>rights</a:t>
            </a:r>
            <a:r>
              <a:rPr lang="en-GB" sz="800">
                <a:solidFill>
                  <a:srgbClr val="ADADAD"/>
                </a:solidFill>
                <a:latin typeface="Noto Sans"/>
                <a:cs typeface="Noto Sans"/>
              </a:rPr>
              <a:t> </a:t>
            </a:r>
            <a:r>
              <a:rPr lang="en-GB" sz="800" spc="-5">
                <a:solidFill>
                  <a:srgbClr val="ADADAD"/>
                </a:solidFill>
                <a:latin typeface="Noto Sans"/>
                <a:cs typeface="Noto Sans"/>
              </a:rPr>
              <a:t>reserved.</a:t>
            </a:r>
            <a:endParaRPr lang="en-GB" sz="800">
              <a:latin typeface="Noto Sans"/>
              <a:cs typeface="Noto Sans"/>
            </a:endParaRPr>
          </a:p>
        </p:txBody>
      </p:sp>
      <p:cxnSp>
        <p:nvCxnSpPr>
          <p:cNvPr id="10" name="Straight Connector 9">
            <a:extLst>
              <a:ext uri="{FF2B5EF4-FFF2-40B4-BE49-F238E27FC236}">
                <a16:creationId xmlns:a16="http://schemas.microsoft.com/office/drawing/2014/main" id="{E3A963F0-D365-43C0-8921-EC6DDB96FFA2}"/>
              </a:ext>
            </a:extLst>
          </p:cNvPr>
          <p:cNvCxnSpPr>
            <a:cxnSpLocks/>
          </p:cNvCxnSpPr>
          <p:nvPr/>
        </p:nvCxnSpPr>
        <p:spPr>
          <a:xfrm>
            <a:off x="457199" y="425527"/>
            <a:ext cx="1144191"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0082F17-A2C5-4052-8A27-CBC69847C3D4}"/>
              </a:ext>
            </a:extLst>
          </p:cNvPr>
          <p:cNvCxnSpPr>
            <a:cxnSpLocks/>
          </p:cNvCxnSpPr>
          <p:nvPr/>
        </p:nvCxnSpPr>
        <p:spPr>
          <a:xfrm>
            <a:off x="1597398" y="425527"/>
            <a:ext cx="1135467"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4A800E-08ED-4EB0-BE30-64B5CDEBC8B1}"/>
              </a:ext>
            </a:extLst>
          </p:cNvPr>
          <p:cNvCxnSpPr>
            <a:cxnSpLocks/>
          </p:cNvCxnSpPr>
          <p:nvPr/>
        </p:nvCxnSpPr>
        <p:spPr>
          <a:xfrm>
            <a:off x="2732865" y="425527"/>
            <a:ext cx="1135467"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6336F45-7A40-4F84-8B4F-7E6F563B7FC8}"/>
              </a:ext>
            </a:extLst>
          </p:cNvPr>
          <p:cNvCxnSpPr>
            <a:cxnSpLocks/>
          </p:cNvCxnSpPr>
          <p:nvPr/>
        </p:nvCxnSpPr>
        <p:spPr>
          <a:xfrm>
            <a:off x="3868332" y="425527"/>
            <a:ext cx="1135467" cy="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180113"/>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eam profile_4 layou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C5AA00-DE15-C369-4C03-F1B327193C9E}"/>
              </a:ext>
            </a:extLst>
          </p:cNvPr>
          <p:cNvGraphicFramePr>
            <a:graphicFrameLocks noChangeAspect="1"/>
          </p:cNvGraphicFramePr>
          <p:nvPr userDrawn="1">
            <p:custDataLst>
              <p:tags r:id="rId1"/>
            </p:custDataLst>
            <p:extLst>
              <p:ext uri="{D42A27DB-BD31-4B8C-83A1-F6EECF244321}">
                <p14:modId xmlns:p14="http://schemas.microsoft.com/office/powerpoint/2010/main" val="1951229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73C5AA00-DE15-C369-4C03-F1B327193C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936000"/>
            <a:ext cx="11277600" cy="607110"/>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417600"/>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3" name="Text Placeholder 2">
            <a:extLst>
              <a:ext uri="{FF2B5EF4-FFF2-40B4-BE49-F238E27FC236}">
                <a16:creationId xmlns:a16="http://schemas.microsoft.com/office/drawing/2014/main" id="{06CDE9E6-C98A-44D5-BDD7-71D968BC9646}"/>
              </a:ext>
            </a:extLst>
          </p:cNvPr>
          <p:cNvSpPr>
            <a:spLocks noGrp="1"/>
          </p:cNvSpPr>
          <p:nvPr>
            <p:ph type="body" sz="quarter" idx="22"/>
          </p:nvPr>
        </p:nvSpPr>
        <p:spPr>
          <a:xfrm>
            <a:off x="458788" y="3930893"/>
            <a:ext cx="2520000" cy="2431806"/>
          </a:xfrm>
        </p:spPr>
        <p:txBody>
          <a:bodyPr>
            <a:noAutofit/>
          </a:bodyPr>
          <a:lstStyle>
            <a:lvl1pPr rtl="0">
              <a:lnSpc>
                <a:spcPct val="106000"/>
              </a:lnSpc>
              <a:spcAft>
                <a:spcPts val="400"/>
              </a:spcAft>
              <a:defRPr sz="1000" b="0">
                <a:solidFill>
                  <a:schemeClr val="tx1"/>
                </a:solidFill>
              </a:defRPr>
            </a:lvl1pPr>
            <a:lvl2pPr rtl="0">
              <a:lnSpc>
                <a:spcPct val="106000"/>
              </a:lnSpc>
              <a:spcAft>
                <a:spcPts val="400"/>
              </a:spcAft>
              <a:defRPr sz="1000" b="0"/>
            </a:lvl2pPr>
            <a:lvl3pPr rtl="0">
              <a:lnSpc>
                <a:spcPct val="106000"/>
              </a:lnSpc>
              <a:spcAft>
                <a:spcPts val="400"/>
              </a:spcAft>
              <a:defRPr sz="1000"/>
            </a:lvl3pPr>
            <a:lvl4pPr rtl="0">
              <a:lnSpc>
                <a:spcPct val="106000"/>
              </a:lnSpc>
              <a:spcAft>
                <a:spcPts val="400"/>
              </a:spcAft>
              <a:defRPr sz="1000"/>
            </a:lvl4pPr>
            <a:lvl5pPr rtl="0">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grpSp>
        <p:nvGrpSpPr>
          <p:cNvPr id="9" name="Group 8">
            <a:extLst>
              <a:ext uri="{FF2B5EF4-FFF2-40B4-BE49-F238E27FC236}">
                <a16:creationId xmlns:a16="http://schemas.microsoft.com/office/drawing/2014/main" id="{501931AB-3985-4719-BB94-307D80CC2B82}"/>
              </a:ext>
            </a:extLst>
          </p:cNvPr>
          <p:cNvGrpSpPr/>
          <p:nvPr userDrawn="1"/>
        </p:nvGrpSpPr>
        <p:grpSpPr>
          <a:xfrm>
            <a:off x="3176640" y="1714507"/>
            <a:ext cx="5831408" cy="4428000"/>
            <a:chOff x="3176640" y="1439501"/>
            <a:chExt cx="5831408" cy="4859700"/>
          </a:xfrm>
        </p:grpSpPr>
        <p:cxnSp>
          <p:nvCxnSpPr>
            <p:cNvPr id="31" name="Straight Connector 30">
              <a:extLst>
                <a:ext uri="{FF2B5EF4-FFF2-40B4-BE49-F238E27FC236}">
                  <a16:creationId xmlns:a16="http://schemas.microsoft.com/office/drawing/2014/main" id="{A419D229-1F84-47E5-A357-63423E33AB2F}"/>
                </a:ext>
              </a:extLst>
            </p:cNvPr>
            <p:cNvCxnSpPr/>
            <p:nvPr/>
          </p:nvCxnSpPr>
          <p:spPr>
            <a:xfrm>
              <a:off x="3176640" y="1439501"/>
              <a:ext cx="0" cy="48597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9B4E343-F178-499D-BF98-E9907205E60C}"/>
                </a:ext>
              </a:extLst>
            </p:cNvPr>
            <p:cNvCxnSpPr/>
            <p:nvPr/>
          </p:nvCxnSpPr>
          <p:spPr>
            <a:xfrm>
              <a:off x="6092344" y="1439501"/>
              <a:ext cx="0" cy="48597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34BDF2C-9398-49AA-918E-18C46CFD2EF6}"/>
                </a:ext>
              </a:extLst>
            </p:cNvPr>
            <p:cNvCxnSpPr/>
            <p:nvPr/>
          </p:nvCxnSpPr>
          <p:spPr>
            <a:xfrm>
              <a:off x="9008048" y="1439501"/>
              <a:ext cx="0" cy="48597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8" name="Picture Placeholder 7">
            <a:extLst>
              <a:ext uri="{FF2B5EF4-FFF2-40B4-BE49-F238E27FC236}">
                <a16:creationId xmlns:a16="http://schemas.microsoft.com/office/drawing/2014/main" id="{E21DF793-A312-4CDC-9DC3-2398141FE923}"/>
              </a:ext>
            </a:extLst>
          </p:cNvPr>
          <p:cNvSpPr>
            <a:spLocks noGrp="1"/>
          </p:cNvSpPr>
          <p:nvPr userDrawn="1">
            <p:ph type="pic" sz="quarter" idx="26"/>
          </p:nvPr>
        </p:nvSpPr>
        <p:spPr>
          <a:xfrm>
            <a:off x="979442" y="1714507"/>
            <a:ext cx="1530000" cy="1457325"/>
          </a:xfrm>
          <a:prstGeom prst="ellipse">
            <a:avLst/>
          </a:prstGeom>
          <a:solidFill>
            <a:schemeClr val="bg1">
              <a:lumMod val="95000"/>
            </a:schemeClr>
          </a:solidFill>
        </p:spPr>
        <p:txBody>
          <a:bodyPr/>
          <a:lstStyle/>
          <a:p>
            <a:endParaRPr lang="en-GB"/>
          </a:p>
        </p:txBody>
      </p:sp>
      <p:sp>
        <p:nvSpPr>
          <p:cNvPr id="34" name="Text Placeholder 2">
            <a:extLst>
              <a:ext uri="{FF2B5EF4-FFF2-40B4-BE49-F238E27FC236}">
                <a16:creationId xmlns:a16="http://schemas.microsoft.com/office/drawing/2014/main" id="{9FDFA7E7-2563-48E6-A778-0C3B5EF5B800}"/>
              </a:ext>
            </a:extLst>
          </p:cNvPr>
          <p:cNvSpPr>
            <a:spLocks noGrp="1"/>
          </p:cNvSpPr>
          <p:nvPr userDrawn="1">
            <p:ph type="body" sz="quarter" idx="19"/>
          </p:nvPr>
        </p:nvSpPr>
        <p:spPr>
          <a:xfrm>
            <a:off x="466098" y="3340767"/>
            <a:ext cx="2512690" cy="440676"/>
          </a:xfrm>
        </p:spPr>
        <p:txBody>
          <a:bodyPr anchor="t" anchorCtr="0">
            <a:noAutofit/>
          </a:bodyPr>
          <a:lstStyle>
            <a:lvl1pPr rtl="0">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35" name="Text Placeholder 2">
            <a:extLst>
              <a:ext uri="{FF2B5EF4-FFF2-40B4-BE49-F238E27FC236}">
                <a16:creationId xmlns:a16="http://schemas.microsoft.com/office/drawing/2014/main" id="{9DA9763A-A401-41FF-920C-22EC1C7FF5FD}"/>
              </a:ext>
            </a:extLst>
          </p:cNvPr>
          <p:cNvSpPr>
            <a:spLocks noGrp="1"/>
          </p:cNvSpPr>
          <p:nvPr userDrawn="1">
            <p:ph type="body" sz="quarter" idx="27"/>
          </p:nvPr>
        </p:nvSpPr>
        <p:spPr>
          <a:xfrm>
            <a:off x="3374492" y="3930893"/>
            <a:ext cx="2520000" cy="2431806"/>
          </a:xfrm>
        </p:spPr>
        <p:txBody>
          <a:bodyPr>
            <a:noAutofit/>
          </a:bodyPr>
          <a:lstStyle>
            <a:lvl1pPr rtl="0">
              <a:lnSpc>
                <a:spcPct val="106000"/>
              </a:lnSpc>
              <a:spcAft>
                <a:spcPts val="400"/>
              </a:spcAft>
              <a:defRPr sz="1000" b="0">
                <a:solidFill>
                  <a:schemeClr val="tx1"/>
                </a:solidFill>
              </a:defRPr>
            </a:lvl1pPr>
            <a:lvl2pPr rtl="0">
              <a:lnSpc>
                <a:spcPct val="106000"/>
              </a:lnSpc>
              <a:spcAft>
                <a:spcPts val="400"/>
              </a:spcAft>
              <a:defRPr sz="1000" b="0"/>
            </a:lvl2pPr>
            <a:lvl3pPr rtl="0">
              <a:lnSpc>
                <a:spcPct val="106000"/>
              </a:lnSpc>
              <a:spcAft>
                <a:spcPts val="400"/>
              </a:spcAft>
              <a:defRPr sz="1000"/>
            </a:lvl3pPr>
            <a:lvl4pPr rtl="0">
              <a:lnSpc>
                <a:spcPct val="106000"/>
              </a:lnSpc>
              <a:spcAft>
                <a:spcPts val="400"/>
              </a:spcAft>
              <a:defRPr sz="1000"/>
            </a:lvl4pPr>
            <a:lvl5pPr rtl="0">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37" name="Picture Placeholder 7">
            <a:extLst>
              <a:ext uri="{FF2B5EF4-FFF2-40B4-BE49-F238E27FC236}">
                <a16:creationId xmlns:a16="http://schemas.microsoft.com/office/drawing/2014/main" id="{49990253-B949-4448-9A5C-6984704B85CD}"/>
              </a:ext>
            </a:extLst>
          </p:cNvPr>
          <p:cNvSpPr>
            <a:spLocks noGrp="1"/>
          </p:cNvSpPr>
          <p:nvPr userDrawn="1">
            <p:ph type="pic" sz="quarter" idx="28"/>
          </p:nvPr>
        </p:nvSpPr>
        <p:spPr>
          <a:xfrm>
            <a:off x="3855751" y="1714507"/>
            <a:ext cx="1530000" cy="1457325"/>
          </a:xfrm>
          <a:prstGeom prst="ellipse">
            <a:avLst/>
          </a:prstGeom>
          <a:solidFill>
            <a:schemeClr val="bg1">
              <a:lumMod val="95000"/>
            </a:schemeClr>
          </a:solidFill>
        </p:spPr>
        <p:txBody>
          <a:bodyPr/>
          <a:lstStyle/>
          <a:p>
            <a:endParaRPr lang="en-GB" dirty="0"/>
          </a:p>
        </p:txBody>
      </p:sp>
      <p:sp>
        <p:nvSpPr>
          <p:cNvPr id="38" name="Text Placeholder 2">
            <a:extLst>
              <a:ext uri="{FF2B5EF4-FFF2-40B4-BE49-F238E27FC236}">
                <a16:creationId xmlns:a16="http://schemas.microsoft.com/office/drawing/2014/main" id="{51DD802A-DF20-42C9-BFD6-A9D9CA080957}"/>
              </a:ext>
            </a:extLst>
          </p:cNvPr>
          <p:cNvSpPr>
            <a:spLocks noGrp="1"/>
          </p:cNvSpPr>
          <p:nvPr userDrawn="1">
            <p:ph type="body" sz="quarter" idx="29"/>
          </p:nvPr>
        </p:nvSpPr>
        <p:spPr>
          <a:xfrm>
            <a:off x="3374492" y="3340767"/>
            <a:ext cx="2512690" cy="440676"/>
          </a:xfrm>
        </p:spPr>
        <p:txBody>
          <a:bodyPr anchor="t" anchorCtr="0">
            <a:noAutofit/>
          </a:bodyPr>
          <a:lstStyle>
            <a:lvl1pPr rtl="0">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39" name="Text Placeholder 2">
            <a:extLst>
              <a:ext uri="{FF2B5EF4-FFF2-40B4-BE49-F238E27FC236}">
                <a16:creationId xmlns:a16="http://schemas.microsoft.com/office/drawing/2014/main" id="{B16EA8FB-3ECA-499C-A5CE-BF07CF20039D}"/>
              </a:ext>
            </a:extLst>
          </p:cNvPr>
          <p:cNvSpPr>
            <a:spLocks noGrp="1"/>
          </p:cNvSpPr>
          <p:nvPr userDrawn="1">
            <p:ph type="body" sz="quarter" idx="30"/>
          </p:nvPr>
        </p:nvSpPr>
        <p:spPr>
          <a:xfrm>
            <a:off x="6290196" y="3930893"/>
            <a:ext cx="2520000" cy="2431806"/>
          </a:xfrm>
        </p:spPr>
        <p:txBody>
          <a:bodyPr>
            <a:noAutofit/>
          </a:bodyPr>
          <a:lstStyle>
            <a:lvl1pPr rtl="0">
              <a:lnSpc>
                <a:spcPct val="106000"/>
              </a:lnSpc>
              <a:spcAft>
                <a:spcPts val="400"/>
              </a:spcAft>
              <a:defRPr sz="1000" b="0">
                <a:solidFill>
                  <a:schemeClr val="tx1"/>
                </a:solidFill>
              </a:defRPr>
            </a:lvl1pPr>
            <a:lvl2pPr rtl="0">
              <a:lnSpc>
                <a:spcPct val="106000"/>
              </a:lnSpc>
              <a:spcAft>
                <a:spcPts val="400"/>
              </a:spcAft>
              <a:defRPr sz="1000" b="0"/>
            </a:lvl2pPr>
            <a:lvl3pPr rtl="0">
              <a:lnSpc>
                <a:spcPct val="106000"/>
              </a:lnSpc>
              <a:spcAft>
                <a:spcPts val="400"/>
              </a:spcAft>
              <a:defRPr sz="1000"/>
            </a:lvl3pPr>
            <a:lvl4pPr rtl="0">
              <a:lnSpc>
                <a:spcPct val="106000"/>
              </a:lnSpc>
              <a:spcAft>
                <a:spcPts val="400"/>
              </a:spcAft>
              <a:defRPr sz="1000"/>
            </a:lvl4pPr>
            <a:lvl5pPr rtl="0">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1" name="Picture Placeholder 7">
            <a:extLst>
              <a:ext uri="{FF2B5EF4-FFF2-40B4-BE49-F238E27FC236}">
                <a16:creationId xmlns:a16="http://schemas.microsoft.com/office/drawing/2014/main" id="{98024A0D-6E95-48D7-8BBD-5830390402BD}"/>
              </a:ext>
            </a:extLst>
          </p:cNvPr>
          <p:cNvSpPr>
            <a:spLocks noGrp="1"/>
          </p:cNvSpPr>
          <p:nvPr userDrawn="1">
            <p:ph type="pic" sz="quarter" idx="31"/>
          </p:nvPr>
        </p:nvSpPr>
        <p:spPr>
          <a:xfrm>
            <a:off x="6762722" y="1714507"/>
            <a:ext cx="1530000" cy="1457325"/>
          </a:xfrm>
          <a:prstGeom prst="ellipse">
            <a:avLst/>
          </a:prstGeom>
          <a:solidFill>
            <a:schemeClr val="bg1">
              <a:lumMod val="95000"/>
            </a:schemeClr>
          </a:solidFill>
        </p:spPr>
        <p:txBody>
          <a:bodyPr/>
          <a:lstStyle/>
          <a:p>
            <a:endParaRPr lang="en-GB" dirty="0"/>
          </a:p>
        </p:txBody>
      </p:sp>
      <p:sp>
        <p:nvSpPr>
          <p:cNvPr id="42" name="Text Placeholder 2">
            <a:extLst>
              <a:ext uri="{FF2B5EF4-FFF2-40B4-BE49-F238E27FC236}">
                <a16:creationId xmlns:a16="http://schemas.microsoft.com/office/drawing/2014/main" id="{E7407EFF-2D00-41FA-9AD3-6C756D609484}"/>
              </a:ext>
            </a:extLst>
          </p:cNvPr>
          <p:cNvSpPr>
            <a:spLocks noGrp="1"/>
          </p:cNvSpPr>
          <p:nvPr userDrawn="1">
            <p:ph type="body" sz="quarter" idx="32"/>
          </p:nvPr>
        </p:nvSpPr>
        <p:spPr>
          <a:xfrm>
            <a:off x="6297505" y="3340767"/>
            <a:ext cx="2512690" cy="440676"/>
          </a:xfrm>
        </p:spPr>
        <p:txBody>
          <a:bodyPr anchor="t" anchorCtr="0">
            <a:noAutofit/>
          </a:bodyPr>
          <a:lstStyle>
            <a:lvl1pPr rtl="0">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
        <p:nvSpPr>
          <p:cNvPr id="43" name="Text Placeholder 2">
            <a:extLst>
              <a:ext uri="{FF2B5EF4-FFF2-40B4-BE49-F238E27FC236}">
                <a16:creationId xmlns:a16="http://schemas.microsoft.com/office/drawing/2014/main" id="{BF4A31B0-8607-45BF-986D-6D9912CA2DE0}"/>
              </a:ext>
            </a:extLst>
          </p:cNvPr>
          <p:cNvSpPr>
            <a:spLocks noGrp="1"/>
          </p:cNvSpPr>
          <p:nvPr userDrawn="1">
            <p:ph type="body" sz="quarter" idx="33"/>
          </p:nvPr>
        </p:nvSpPr>
        <p:spPr>
          <a:xfrm>
            <a:off x="9205902" y="3930893"/>
            <a:ext cx="2520000" cy="2431806"/>
          </a:xfrm>
        </p:spPr>
        <p:txBody>
          <a:bodyPr>
            <a:noAutofit/>
          </a:bodyPr>
          <a:lstStyle>
            <a:lvl1pPr rtl="0">
              <a:lnSpc>
                <a:spcPct val="106000"/>
              </a:lnSpc>
              <a:spcAft>
                <a:spcPts val="400"/>
              </a:spcAft>
              <a:defRPr sz="1000" b="0">
                <a:solidFill>
                  <a:schemeClr val="tx1"/>
                </a:solidFill>
              </a:defRPr>
            </a:lvl1pPr>
            <a:lvl2pPr rtl="0">
              <a:lnSpc>
                <a:spcPct val="106000"/>
              </a:lnSpc>
              <a:spcAft>
                <a:spcPts val="400"/>
              </a:spcAft>
              <a:defRPr sz="1000" b="0"/>
            </a:lvl2pPr>
            <a:lvl3pPr rtl="0">
              <a:lnSpc>
                <a:spcPct val="106000"/>
              </a:lnSpc>
              <a:spcAft>
                <a:spcPts val="400"/>
              </a:spcAft>
              <a:defRPr sz="1000"/>
            </a:lvl3pPr>
            <a:lvl4pPr rtl="0">
              <a:lnSpc>
                <a:spcPct val="106000"/>
              </a:lnSpc>
              <a:spcAft>
                <a:spcPts val="400"/>
              </a:spcAft>
              <a:defRPr sz="1000"/>
            </a:lvl4pPr>
            <a:lvl5pPr rtl="0">
              <a:lnSpc>
                <a:spcPct val="106000"/>
              </a:lnSpc>
              <a:spcAft>
                <a:spcPts val="4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5" name="Picture Placeholder 7">
            <a:extLst>
              <a:ext uri="{FF2B5EF4-FFF2-40B4-BE49-F238E27FC236}">
                <a16:creationId xmlns:a16="http://schemas.microsoft.com/office/drawing/2014/main" id="{50494B50-7D1F-40FB-A3F5-8241F5E16700}"/>
              </a:ext>
            </a:extLst>
          </p:cNvPr>
          <p:cNvSpPr>
            <a:spLocks noGrp="1"/>
          </p:cNvSpPr>
          <p:nvPr userDrawn="1">
            <p:ph type="pic" sz="quarter" idx="34"/>
          </p:nvPr>
        </p:nvSpPr>
        <p:spPr>
          <a:xfrm>
            <a:off x="9678429" y="1714507"/>
            <a:ext cx="1530000" cy="1457325"/>
          </a:xfrm>
          <a:prstGeom prst="ellipse">
            <a:avLst/>
          </a:prstGeom>
          <a:solidFill>
            <a:schemeClr val="bg1">
              <a:lumMod val="95000"/>
            </a:schemeClr>
          </a:solidFill>
        </p:spPr>
        <p:txBody>
          <a:bodyPr/>
          <a:lstStyle/>
          <a:p>
            <a:endParaRPr lang="en-GB" dirty="0"/>
          </a:p>
        </p:txBody>
      </p:sp>
      <p:sp>
        <p:nvSpPr>
          <p:cNvPr id="46" name="Text Placeholder 2">
            <a:extLst>
              <a:ext uri="{FF2B5EF4-FFF2-40B4-BE49-F238E27FC236}">
                <a16:creationId xmlns:a16="http://schemas.microsoft.com/office/drawing/2014/main" id="{173BFC37-BEC9-4C20-833F-9AD066BDD18F}"/>
              </a:ext>
            </a:extLst>
          </p:cNvPr>
          <p:cNvSpPr>
            <a:spLocks noGrp="1"/>
          </p:cNvSpPr>
          <p:nvPr userDrawn="1">
            <p:ph type="body" sz="quarter" idx="35"/>
          </p:nvPr>
        </p:nvSpPr>
        <p:spPr>
          <a:xfrm>
            <a:off x="9213212" y="3340767"/>
            <a:ext cx="2512690" cy="440676"/>
          </a:xfrm>
        </p:spPr>
        <p:txBody>
          <a:bodyPr anchor="t" anchorCtr="0">
            <a:noAutofit/>
          </a:bodyPr>
          <a:lstStyle>
            <a:lvl1pPr rtl="0">
              <a:spcAft>
                <a:spcPts val="100"/>
              </a:spcAft>
              <a:defRPr sz="12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rtl="0">
              <a:spcAft>
                <a:spcPts val="100"/>
              </a:spcAft>
              <a:defRPr sz="12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marL="0" indent="0">
              <a:spcAft>
                <a:spcPts val="100"/>
              </a:spcAft>
              <a:buNone/>
              <a:defRPr sz="1100"/>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214418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eam profile_10 layou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90849E-04B4-6F9B-7471-559D19040354}"/>
              </a:ext>
            </a:extLst>
          </p:cNvPr>
          <p:cNvGraphicFramePr>
            <a:graphicFrameLocks noChangeAspect="1"/>
          </p:cNvGraphicFramePr>
          <p:nvPr userDrawn="1">
            <p:custDataLst>
              <p:tags r:id="rId1"/>
            </p:custDataLst>
            <p:extLst>
              <p:ext uri="{D42A27DB-BD31-4B8C-83A1-F6EECF244321}">
                <p14:modId xmlns:p14="http://schemas.microsoft.com/office/powerpoint/2010/main" val="98700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1790849E-04B4-6F9B-7471-559D190403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936000"/>
            <a:ext cx="11277600" cy="607110"/>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417600"/>
            <a:ext cx="11277600"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4" name="Picture Placeholder 3">
            <a:extLst>
              <a:ext uri="{FF2B5EF4-FFF2-40B4-BE49-F238E27FC236}">
                <a16:creationId xmlns:a16="http://schemas.microsoft.com/office/drawing/2014/main" id="{EBB87FA1-A9A7-4D67-B87A-B90B51DCAE81}"/>
              </a:ext>
            </a:extLst>
          </p:cNvPr>
          <p:cNvSpPr>
            <a:spLocks noGrp="1"/>
          </p:cNvSpPr>
          <p:nvPr>
            <p:ph type="pic" sz="quarter" idx="22"/>
          </p:nvPr>
        </p:nvSpPr>
        <p:spPr>
          <a:xfrm>
            <a:off x="918509" y="1649999"/>
            <a:ext cx="1044000" cy="1044000"/>
          </a:xfrm>
          <a:prstGeom prst="ellipse">
            <a:avLst/>
          </a:prstGeom>
          <a:solidFill>
            <a:schemeClr val="bg1">
              <a:lumMod val="95000"/>
            </a:schemeClr>
          </a:solidFill>
        </p:spPr>
        <p:txBody>
          <a:bodyPr/>
          <a:lstStyle/>
          <a:p>
            <a:endParaRPr lang="en-GB"/>
          </a:p>
        </p:txBody>
      </p:sp>
      <p:cxnSp>
        <p:nvCxnSpPr>
          <p:cNvPr id="24" name="Straight Connector 23">
            <a:extLst>
              <a:ext uri="{FF2B5EF4-FFF2-40B4-BE49-F238E27FC236}">
                <a16:creationId xmlns:a16="http://schemas.microsoft.com/office/drawing/2014/main" id="{BE4815D8-2443-4215-86BC-1EADBD4EC08A}"/>
              </a:ext>
            </a:extLst>
          </p:cNvPr>
          <p:cNvCxnSpPr>
            <a:cxnSpLocks/>
          </p:cNvCxnSpPr>
          <p:nvPr userDrawn="1"/>
        </p:nvCxnSpPr>
        <p:spPr>
          <a:xfrm>
            <a:off x="1242910"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B2CAC3F-D88D-4E4D-B41D-2E734CDC51A6}"/>
              </a:ext>
            </a:extLst>
          </p:cNvPr>
          <p:cNvSpPr>
            <a:spLocks noGrp="1"/>
          </p:cNvSpPr>
          <p:nvPr>
            <p:ph type="body" sz="quarter" idx="23"/>
          </p:nvPr>
        </p:nvSpPr>
        <p:spPr>
          <a:xfrm>
            <a:off x="504509" y="2802788"/>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6" name="Text Placeholder 5">
            <a:extLst>
              <a:ext uri="{FF2B5EF4-FFF2-40B4-BE49-F238E27FC236}">
                <a16:creationId xmlns:a16="http://schemas.microsoft.com/office/drawing/2014/main" id="{993081A5-9D72-401F-86D3-EBDEC265C630}"/>
              </a:ext>
            </a:extLst>
          </p:cNvPr>
          <p:cNvSpPr>
            <a:spLocks noGrp="1"/>
          </p:cNvSpPr>
          <p:nvPr>
            <p:ph type="body" sz="quarter" idx="24"/>
          </p:nvPr>
        </p:nvSpPr>
        <p:spPr>
          <a:xfrm>
            <a:off x="504509" y="3308413"/>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50" name="Picture Placeholder 3">
            <a:extLst>
              <a:ext uri="{FF2B5EF4-FFF2-40B4-BE49-F238E27FC236}">
                <a16:creationId xmlns:a16="http://schemas.microsoft.com/office/drawing/2014/main" id="{F10FC35E-F476-45A0-97FF-19D6E49F4DEC}"/>
              </a:ext>
            </a:extLst>
          </p:cNvPr>
          <p:cNvSpPr>
            <a:spLocks noGrp="1"/>
          </p:cNvSpPr>
          <p:nvPr>
            <p:ph type="pic" sz="quarter" idx="25"/>
          </p:nvPr>
        </p:nvSpPr>
        <p:spPr>
          <a:xfrm>
            <a:off x="918509" y="3977517"/>
            <a:ext cx="1044000" cy="1044000"/>
          </a:xfrm>
          <a:prstGeom prst="ellipse">
            <a:avLst/>
          </a:prstGeom>
          <a:solidFill>
            <a:schemeClr val="bg1">
              <a:lumMod val="95000"/>
            </a:schemeClr>
          </a:solidFill>
        </p:spPr>
        <p:txBody>
          <a:bodyPr/>
          <a:lstStyle/>
          <a:p>
            <a:endParaRPr lang="en-GB"/>
          </a:p>
        </p:txBody>
      </p:sp>
      <p:cxnSp>
        <p:nvCxnSpPr>
          <p:cNvPr id="51" name="Straight Connector 50">
            <a:extLst>
              <a:ext uri="{FF2B5EF4-FFF2-40B4-BE49-F238E27FC236}">
                <a16:creationId xmlns:a16="http://schemas.microsoft.com/office/drawing/2014/main" id="{714C7665-A7A6-4486-8453-F0F52E17913B}"/>
              </a:ext>
            </a:extLst>
          </p:cNvPr>
          <p:cNvCxnSpPr>
            <a:cxnSpLocks/>
          </p:cNvCxnSpPr>
          <p:nvPr userDrawn="1"/>
        </p:nvCxnSpPr>
        <p:spPr>
          <a:xfrm>
            <a:off x="1242910"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
            <a:extLst>
              <a:ext uri="{FF2B5EF4-FFF2-40B4-BE49-F238E27FC236}">
                <a16:creationId xmlns:a16="http://schemas.microsoft.com/office/drawing/2014/main" id="{5F51A724-28CC-4114-BE83-7BC69A80CB38}"/>
              </a:ext>
            </a:extLst>
          </p:cNvPr>
          <p:cNvSpPr>
            <a:spLocks noGrp="1"/>
          </p:cNvSpPr>
          <p:nvPr>
            <p:ph type="body" sz="quarter" idx="26"/>
          </p:nvPr>
        </p:nvSpPr>
        <p:spPr>
          <a:xfrm>
            <a:off x="504509" y="5130306"/>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53" name="Text Placeholder 5">
            <a:extLst>
              <a:ext uri="{FF2B5EF4-FFF2-40B4-BE49-F238E27FC236}">
                <a16:creationId xmlns:a16="http://schemas.microsoft.com/office/drawing/2014/main" id="{6AC830A3-E614-4D7D-8182-82699360AD5B}"/>
              </a:ext>
            </a:extLst>
          </p:cNvPr>
          <p:cNvSpPr>
            <a:spLocks noGrp="1"/>
          </p:cNvSpPr>
          <p:nvPr>
            <p:ph type="body" sz="quarter" idx="27"/>
          </p:nvPr>
        </p:nvSpPr>
        <p:spPr>
          <a:xfrm>
            <a:off x="504509" y="5702439"/>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54" name="Picture Placeholder 3">
            <a:extLst>
              <a:ext uri="{FF2B5EF4-FFF2-40B4-BE49-F238E27FC236}">
                <a16:creationId xmlns:a16="http://schemas.microsoft.com/office/drawing/2014/main" id="{F78AE723-1CB0-40FE-9706-082AD51D122E}"/>
              </a:ext>
            </a:extLst>
          </p:cNvPr>
          <p:cNvSpPr>
            <a:spLocks noGrp="1"/>
          </p:cNvSpPr>
          <p:nvPr>
            <p:ph type="pic" sz="quarter" idx="28"/>
          </p:nvPr>
        </p:nvSpPr>
        <p:spPr>
          <a:xfrm>
            <a:off x="3241648" y="1649999"/>
            <a:ext cx="1044000" cy="1044000"/>
          </a:xfrm>
          <a:prstGeom prst="ellipse">
            <a:avLst/>
          </a:prstGeom>
          <a:solidFill>
            <a:schemeClr val="bg1">
              <a:lumMod val="95000"/>
            </a:schemeClr>
          </a:solidFill>
        </p:spPr>
        <p:txBody>
          <a:bodyPr/>
          <a:lstStyle/>
          <a:p>
            <a:endParaRPr lang="en-GB"/>
          </a:p>
        </p:txBody>
      </p:sp>
      <p:cxnSp>
        <p:nvCxnSpPr>
          <p:cNvPr id="55" name="Straight Connector 54">
            <a:extLst>
              <a:ext uri="{FF2B5EF4-FFF2-40B4-BE49-F238E27FC236}">
                <a16:creationId xmlns:a16="http://schemas.microsoft.com/office/drawing/2014/main" id="{F71B027A-1D84-44E4-BCFF-21821A4B89EE}"/>
              </a:ext>
            </a:extLst>
          </p:cNvPr>
          <p:cNvCxnSpPr>
            <a:cxnSpLocks/>
          </p:cNvCxnSpPr>
          <p:nvPr userDrawn="1"/>
        </p:nvCxnSpPr>
        <p:spPr>
          <a:xfrm>
            <a:off x="3566348"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a16="http://schemas.microsoft.com/office/drawing/2014/main" id="{26F6DDCC-5EC9-410C-8B2C-9CE693E7A045}"/>
              </a:ext>
            </a:extLst>
          </p:cNvPr>
          <p:cNvSpPr>
            <a:spLocks noGrp="1"/>
          </p:cNvSpPr>
          <p:nvPr>
            <p:ph type="body" sz="quarter" idx="29"/>
          </p:nvPr>
        </p:nvSpPr>
        <p:spPr>
          <a:xfrm>
            <a:off x="2827947" y="2802788"/>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74" name="Text Placeholder 5">
            <a:extLst>
              <a:ext uri="{FF2B5EF4-FFF2-40B4-BE49-F238E27FC236}">
                <a16:creationId xmlns:a16="http://schemas.microsoft.com/office/drawing/2014/main" id="{DC986D57-1E40-4119-B7F8-DFD27A16BA7C}"/>
              </a:ext>
            </a:extLst>
          </p:cNvPr>
          <p:cNvSpPr>
            <a:spLocks noGrp="1"/>
          </p:cNvSpPr>
          <p:nvPr>
            <p:ph type="body" sz="quarter" idx="30"/>
          </p:nvPr>
        </p:nvSpPr>
        <p:spPr>
          <a:xfrm>
            <a:off x="2827947" y="3308413"/>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75" name="Picture Placeholder 3">
            <a:extLst>
              <a:ext uri="{FF2B5EF4-FFF2-40B4-BE49-F238E27FC236}">
                <a16:creationId xmlns:a16="http://schemas.microsoft.com/office/drawing/2014/main" id="{EAD6E6BB-597D-422D-B563-E88D1BFFAB23}"/>
              </a:ext>
            </a:extLst>
          </p:cNvPr>
          <p:cNvSpPr>
            <a:spLocks noGrp="1"/>
          </p:cNvSpPr>
          <p:nvPr>
            <p:ph type="pic" sz="quarter" idx="31"/>
          </p:nvPr>
        </p:nvSpPr>
        <p:spPr>
          <a:xfrm>
            <a:off x="5564787" y="1649999"/>
            <a:ext cx="1044000" cy="1044000"/>
          </a:xfrm>
          <a:prstGeom prst="ellipse">
            <a:avLst/>
          </a:prstGeom>
          <a:solidFill>
            <a:schemeClr val="bg1">
              <a:lumMod val="95000"/>
            </a:schemeClr>
          </a:solidFill>
        </p:spPr>
        <p:txBody>
          <a:bodyPr/>
          <a:lstStyle/>
          <a:p>
            <a:endParaRPr lang="en-GB"/>
          </a:p>
        </p:txBody>
      </p:sp>
      <p:cxnSp>
        <p:nvCxnSpPr>
          <p:cNvPr id="76" name="Straight Connector 75">
            <a:extLst>
              <a:ext uri="{FF2B5EF4-FFF2-40B4-BE49-F238E27FC236}">
                <a16:creationId xmlns:a16="http://schemas.microsoft.com/office/drawing/2014/main" id="{7B160D8E-58C4-4745-ABDB-6C36238BC6B0}"/>
              </a:ext>
            </a:extLst>
          </p:cNvPr>
          <p:cNvCxnSpPr>
            <a:cxnSpLocks/>
          </p:cNvCxnSpPr>
          <p:nvPr userDrawn="1"/>
        </p:nvCxnSpPr>
        <p:spPr>
          <a:xfrm>
            <a:off x="5889786"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Text Placeholder 2">
            <a:extLst>
              <a:ext uri="{FF2B5EF4-FFF2-40B4-BE49-F238E27FC236}">
                <a16:creationId xmlns:a16="http://schemas.microsoft.com/office/drawing/2014/main" id="{23583BA1-BC96-4293-B00D-9AE7BBB95262}"/>
              </a:ext>
            </a:extLst>
          </p:cNvPr>
          <p:cNvSpPr>
            <a:spLocks noGrp="1"/>
          </p:cNvSpPr>
          <p:nvPr>
            <p:ph type="body" sz="quarter" idx="32"/>
          </p:nvPr>
        </p:nvSpPr>
        <p:spPr>
          <a:xfrm>
            <a:off x="5151385" y="2802788"/>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78" name="Text Placeholder 5">
            <a:extLst>
              <a:ext uri="{FF2B5EF4-FFF2-40B4-BE49-F238E27FC236}">
                <a16:creationId xmlns:a16="http://schemas.microsoft.com/office/drawing/2014/main" id="{E3F580CF-C390-4B11-8141-C807A14E3B9A}"/>
              </a:ext>
            </a:extLst>
          </p:cNvPr>
          <p:cNvSpPr>
            <a:spLocks noGrp="1"/>
          </p:cNvSpPr>
          <p:nvPr>
            <p:ph type="body" sz="quarter" idx="33"/>
          </p:nvPr>
        </p:nvSpPr>
        <p:spPr>
          <a:xfrm>
            <a:off x="5151385" y="3308413"/>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79" name="Picture Placeholder 3">
            <a:extLst>
              <a:ext uri="{FF2B5EF4-FFF2-40B4-BE49-F238E27FC236}">
                <a16:creationId xmlns:a16="http://schemas.microsoft.com/office/drawing/2014/main" id="{35DA8194-759C-499A-92AD-2334ECA6A722}"/>
              </a:ext>
            </a:extLst>
          </p:cNvPr>
          <p:cNvSpPr>
            <a:spLocks noGrp="1"/>
          </p:cNvSpPr>
          <p:nvPr>
            <p:ph type="pic" sz="quarter" idx="34"/>
          </p:nvPr>
        </p:nvSpPr>
        <p:spPr>
          <a:xfrm>
            <a:off x="7887926" y="1649999"/>
            <a:ext cx="1044000" cy="1044000"/>
          </a:xfrm>
          <a:prstGeom prst="ellipse">
            <a:avLst/>
          </a:prstGeom>
          <a:solidFill>
            <a:schemeClr val="bg1">
              <a:lumMod val="95000"/>
            </a:schemeClr>
          </a:solidFill>
        </p:spPr>
        <p:txBody>
          <a:bodyPr/>
          <a:lstStyle/>
          <a:p>
            <a:endParaRPr lang="en-GB"/>
          </a:p>
        </p:txBody>
      </p:sp>
      <p:cxnSp>
        <p:nvCxnSpPr>
          <p:cNvPr id="80" name="Straight Connector 79">
            <a:extLst>
              <a:ext uri="{FF2B5EF4-FFF2-40B4-BE49-F238E27FC236}">
                <a16:creationId xmlns:a16="http://schemas.microsoft.com/office/drawing/2014/main" id="{84E427F4-E79E-474B-BF34-D81F4B61085D}"/>
              </a:ext>
            </a:extLst>
          </p:cNvPr>
          <p:cNvCxnSpPr>
            <a:cxnSpLocks/>
          </p:cNvCxnSpPr>
          <p:nvPr userDrawn="1"/>
        </p:nvCxnSpPr>
        <p:spPr>
          <a:xfrm>
            <a:off x="8212028"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Text Placeholder 2">
            <a:extLst>
              <a:ext uri="{FF2B5EF4-FFF2-40B4-BE49-F238E27FC236}">
                <a16:creationId xmlns:a16="http://schemas.microsoft.com/office/drawing/2014/main" id="{F552059D-B598-4791-8B17-A02E881C5B36}"/>
              </a:ext>
            </a:extLst>
          </p:cNvPr>
          <p:cNvSpPr>
            <a:spLocks noGrp="1"/>
          </p:cNvSpPr>
          <p:nvPr>
            <p:ph type="body" sz="quarter" idx="35"/>
          </p:nvPr>
        </p:nvSpPr>
        <p:spPr>
          <a:xfrm>
            <a:off x="7473627" y="2802788"/>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82" name="Text Placeholder 5">
            <a:extLst>
              <a:ext uri="{FF2B5EF4-FFF2-40B4-BE49-F238E27FC236}">
                <a16:creationId xmlns:a16="http://schemas.microsoft.com/office/drawing/2014/main" id="{DC022B67-4084-4B9A-8226-D9344115C32C}"/>
              </a:ext>
            </a:extLst>
          </p:cNvPr>
          <p:cNvSpPr>
            <a:spLocks noGrp="1"/>
          </p:cNvSpPr>
          <p:nvPr>
            <p:ph type="body" sz="quarter" idx="36"/>
          </p:nvPr>
        </p:nvSpPr>
        <p:spPr>
          <a:xfrm>
            <a:off x="7473627" y="3308413"/>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83" name="Picture Placeholder 3">
            <a:extLst>
              <a:ext uri="{FF2B5EF4-FFF2-40B4-BE49-F238E27FC236}">
                <a16:creationId xmlns:a16="http://schemas.microsoft.com/office/drawing/2014/main" id="{C73DC3C3-5394-4EF2-A2BC-FC6E6774D940}"/>
              </a:ext>
            </a:extLst>
          </p:cNvPr>
          <p:cNvSpPr>
            <a:spLocks noGrp="1"/>
          </p:cNvSpPr>
          <p:nvPr>
            <p:ph type="pic" sz="quarter" idx="37"/>
          </p:nvPr>
        </p:nvSpPr>
        <p:spPr>
          <a:xfrm>
            <a:off x="10211065" y="1649999"/>
            <a:ext cx="1044000" cy="1044000"/>
          </a:xfrm>
          <a:prstGeom prst="ellipse">
            <a:avLst/>
          </a:prstGeom>
          <a:solidFill>
            <a:schemeClr val="bg1">
              <a:lumMod val="95000"/>
            </a:schemeClr>
          </a:solidFill>
        </p:spPr>
        <p:txBody>
          <a:bodyPr/>
          <a:lstStyle/>
          <a:p>
            <a:endParaRPr lang="en-GB"/>
          </a:p>
        </p:txBody>
      </p:sp>
      <p:cxnSp>
        <p:nvCxnSpPr>
          <p:cNvPr id="84" name="Straight Connector 83">
            <a:extLst>
              <a:ext uri="{FF2B5EF4-FFF2-40B4-BE49-F238E27FC236}">
                <a16:creationId xmlns:a16="http://schemas.microsoft.com/office/drawing/2014/main" id="{A6E81B85-DB7E-4D0E-9A4B-1E726CBA4AD6}"/>
              </a:ext>
            </a:extLst>
          </p:cNvPr>
          <p:cNvCxnSpPr>
            <a:cxnSpLocks/>
          </p:cNvCxnSpPr>
          <p:nvPr userDrawn="1"/>
        </p:nvCxnSpPr>
        <p:spPr>
          <a:xfrm>
            <a:off x="10535466"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Text Placeholder 2">
            <a:extLst>
              <a:ext uri="{FF2B5EF4-FFF2-40B4-BE49-F238E27FC236}">
                <a16:creationId xmlns:a16="http://schemas.microsoft.com/office/drawing/2014/main" id="{FE39DA8B-4260-47E9-A641-36FCBBC467F7}"/>
              </a:ext>
            </a:extLst>
          </p:cNvPr>
          <p:cNvSpPr>
            <a:spLocks noGrp="1"/>
          </p:cNvSpPr>
          <p:nvPr>
            <p:ph type="body" sz="quarter" idx="38"/>
          </p:nvPr>
        </p:nvSpPr>
        <p:spPr>
          <a:xfrm>
            <a:off x="9797065" y="2802788"/>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86" name="Text Placeholder 5">
            <a:extLst>
              <a:ext uri="{FF2B5EF4-FFF2-40B4-BE49-F238E27FC236}">
                <a16:creationId xmlns:a16="http://schemas.microsoft.com/office/drawing/2014/main" id="{B531FAF4-1687-452D-A416-201C2A076B18}"/>
              </a:ext>
            </a:extLst>
          </p:cNvPr>
          <p:cNvSpPr>
            <a:spLocks noGrp="1"/>
          </p:cNvSpPr>
          <p:nvPr>
            <p:ph type="body" sz="quarter" idx="39"/>
          </p:nvPr>
        </p:nvSpPr>
        <p:spPr>
          <a:xfrm>
            <a:off x="9797065" y="3308413"/>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87" name="Picture Placeholder 3">
            <a:extLst>
              <a:ext uri="{FF2B5EF4-FFF2-40B4-BE49-F238E27FC236}">
                <a16:creationId xmlns:a16="http://schemas.microsoft.com/office/drawing/2014/main" id="{F43FAE7D-08BF-4420-BF10-2F1862F8B5F1}"/>
              </a:ext>
            </a:extLst>
          </p:cNvPr>
          <p:cNvSpPr>
            <a:spLocks noGrp="1"/>
          </p:cNvSpPr>
          <p:nvPr>
            <p:ph type="pic" sz="quarter" idx="40"/>
          </p:nvPr>
        </p:nvSpPr>
        <p:spPr>
          <a:xfrm>
            <a:off x="3241648" y="3977517"/>
            <a:ext cx="1044000" cy="1044000"/>
          </a:xfrm>
          <a:prstGeom prst="ellipse">
            <a:avLst/>
          </a:prstGeom>
          <a:solidFill>
            <a:schemeClr val="bg1">
              <a:lumMod val="95000"/>
            </a:schemeClr>
          </a:solidFill>
        </p:spPr>
        <p:txBody>
          <a:bodyPr/>
          <a:lstStyle/>
          <a:p>
            <a:endParaRPr lang="en-GB"/>
          </a:p>
        </p:txBody>
      </p:sp>
      <p:cxnSp>
        <p:nvCxnSpPr>
          <p:cNvPr id="88" name="Straight Connector 87">
            <a:extLst>
              <a:ext uri="{FF2B5EF4-FFF2-40B4-BE49-F238E27FC236}">
                <a16:creationId xmlns:a16="http://schemas.microsoft.com/office/drawing/2014/main" id="{CF2C30AF-8741-44EA-8C7E-01F4E8602EEA}"/>
              </a:ext>
            </a:extLst>
          </p:cNvPr>
          <p:cNvCxnSpPr>
            <a:cxnSpLocks/>
          </p:cNvCxnSpPr>
          <p:nvPr userDrawn="1"/>
        </p:nvCxnSpPr>
        <p:spPr>
          <a:xfrm>
            <a:off x="3566348"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89" name="Text Placeholder 2">
            <a:extLst>
              <a:ext uri="{FF2B5EF4-FFF2-40B4-BE49-F238E27FC236}">
                <a16:creationId xmlns:a16="http://schemas.microsoft.com/office/drawing/2014/main" id="{67AEC111-D4D6-4BA8-85DF-711E4D514626}"/>
              </a:ext>
            </a:extLst>
          </p:cNvPr>
          <p:cNvSpPr>
            <a:spLocks noGrp="1"/>
          </p:cNvSpPr>
          <p:nvPr>
            <p:ph type="body" sz="quarter" idx="41"/>
          </p:nvPr>
        </p:nvSpPr>
        <p:spPr>
          <a:xfrm>
            <a:off x="2827947" y="5130306"/>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0" name="Text Placeholder 5">
            <a:extLst>
              <a:ext uri="{FF2B5EF4-FFF2-40B4-BE49-F238E27FC236}">
                <a16:creationId xmlns:a16="http://schemas.microsoft.com/office/drawing/2014/main" id="{88928627-1AA7-4218-8C34-C820099BF4F7}"/>
              </a:ext>
            </a:extLst>
          </p:cNvPr>
          <p:cNvSpPr>
            <a:spLocks noGrp="1"/>
          </p:cNvSpPr>
          <p:nvPr>
            <p:ph type="body" sz="quarter" idx="42"/>
          </p:nvPr>
        </p:nvSpPr>
        <p:spPr>
          <a:xfrm>
            <a:off x="2827947" y="5702439"/>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1" name="Picture Placeholder 3">
            <a:extLst>
              <a:ext uri="{FF2B5EF4-FFF2-40B4-BE49-F238E27FC236}">
                <a16:creationId xmlns:a16="http://schemas.microsoft.com/office/drawing/2014/main" id="{FEDF244A-203E-496B-86FC-018606150C17}"/>
              </a:ext>
            </a:extLst>
          </p:cNvPr>
          <p:cNvSpPr>
            <a:spLocks noGrp="1"/>
          </p:cNvSpPr>
          <p:nvPr>
            <p:ph type="pic" sz="quarter" idx="43"/>
          </p:nvPr>
        </p:nvSpPr>
        <p:spPr>
          <a:xfrm>
            <a:off x="5564787" y="3977517"/>
            <a:ext cx="1044000" cy="1044000"/>
          </a:xfrm>
          <a:prstGeom prst="ellipse">
            <a:avLst/>
          </a:prstGeom>
          <a:solidFill>
            <a:schemeClr val="bg1">
              <a:lumMod val="95000"/>
            </a:schemeClr>
          </a:solidFill>
        </p:spPr>
        <p:txBody>
          <a:bodyPr/>
          <a:lstStyle/>
          <a:p>
            <a:endParaRPr lang="en-GB"/>
          </a:p>
        </p:txBody>
      </p:sp>
      <p:cxnSp>
        <p:nvCxnSpPr>
          <p:cNvPr id="92" name="Straight Connector 91">
            <a:extLst>
              <a:ext uri="{FF2B5EF4-FFF2-40B4-BE49-F238E27FC236}">
                <a16:creationId xmlns:a16="http://schemas.microsoft.com/office/drawing/2014/main" id="{BB601599-0B23-4862-A375-2FCD95974C8D}"/>
              </a:ext>
            </a:extLst>
          </p:cNvPr>
          <p:cNvCxnSpPr>
            <a:cxnSpLocks/>
          </p:cNvCxnSpPr>
          <p:nvPr userDrawn="1"/>
        </p:nvCxnSpPr>
        <p:spPr>
          <a:xfrm>
            <a:off x="5889786"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3" name="Text Placeholder 2">
            <a:extLst>
              <a:ext uri="{FF2B5EF4-FFF2-40B4-BE49-F238E27FC236}">
                <a16:creationId xmlns:a16="http://schemas.microsoft.com/office/drawing/2014/main" id="{98FC2A9D-01C5-415E-96CD-F5F24964367D}"/>
              </a:ext>
            </a:extLst>
          </p:cNvPr>
          <p:cNvSpPr>
            <a:spLocks noGrp="1"/>
          </p:cNvSpPr>
          <p:nvPr>
            <p:ph type="body" sz="quarter" idx="44"/>
          </p:nvPr>
        </p:nvSpPr>
        <p:spPr>
          <a:xfrm>
            <a:off x="5151385" y="5130306"/>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4" name="Text Placeholder 5">
            <a:extLst>
              <a:ext uri="{FF2B5EF4-FFF2-40B4-BE49-F238E27FC236}">
                <a16:creationId xmlns:a16="http://schemas.microsoft.com/office/drawing/2014/main" id="{659E7EDB-C5B1-4C4A-BA2E-C9543E5CDDA3}"/>
              </a:ext>
            </a:extLst>
          </p:cNvPr>
          <p:cNvSpPr>
            <a:spLocks noGrp="1"/>
          </p:cNvSpPr>
          <p:nvPr>
            <p:ph type="body" sz="quarter" idx="45"/>
          </p:nvPr>
        </p:nvSpPr>
        <p:spPr>
          <a:xfrm>
            <a:off x="5151385" y="5702439"/>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5" name="Picture Placeholder 3">
            <a:extLst>
              <a:ext uri="{FF2B5EF4-FFF2-40B4-BE49-F238E27FC236}">
                <a16:creationId xmlns:a16="http://schemas.microsoft.com/office/drawing/2014/main" id="{605566B2-98A4-4E89-98F9-0462733A367B}"/>
              </a:ext>
            </a:extLst>
          </p:cNvPr>
          <p:cNvSpPr>
            <a:spLocks noGrp="1"/>
          </p:cNvSpPr>
          <p:nvPr>
            <p:ph type="pic" sz="quarter" idx="46"/>
          </p:nvPr>
        </p:nvSpPr>
        <p:spPr>
          <a:xfrm>
            <a:off x="7887926" y="3977517"/>
            <a:ext cx="1044000" cy="1044000"/>
          </a:xfrm>
          <a:prstGeom prst="ellipse">
            <a:avLst/>
          </a:prstGeom>
          <a:solidFill>
            <a:schemeClr val="bg1">
              <a:lumMod val="95000"/>
            </a:schemeClr>
          </a:solidFill>
        </p:spPr>
        <p:txBody>
          <a:bodyPr/>
          <a:lstStyle/>
          <a:p>
            <a:endParaRPr lang="en-GB"/>
          </a:p>
        </p:txBody>
      </p:sp>
      <p:cxnSp>
        <p:nvCxnSpPr>
          <p:cNvPr id="96" name="Straight Connector 95">
            <a:extLst>
              <a:ext uri="{FF2B5EF4-FFF2-40B4-BE49-F238E27FC236}">
                <a16:creationId xmlns:a16="http://schemas.microsoft.com/office/drawing/2014/main" id="{2D143964-55A9-44DE-975E-BBA5CE804A19}"/>
              </a:ext>
            </a:extLst>
          </p:cNvPr>
          <p:cNvCxnSpPr>
            <a:cxnSpLocks/>
          </p:cNvCxnSpPr>
          <p:nvPr userDrawn="1"/>
        </p:nvCxnSpPr>
        <p:spPr>
          <a:xfrm>
            <a:off x="8212028"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Text Placeholder 2">
            <a:extLst>
              <a:ext uri="{FF2B5EF4-FFF2-40B4-BE49-F238E27FC236}">
                <a16:creationId xmlns:a16="http://schemas.microsoft.com/office/drawing/2014/main" id="{5DE8BEBD-714D-4121-8ED5-25B393A6879A}"/>
              </a:ext>
            </a:extLst>
          </p:cNvPr>
          <p:cNvSpPr>
            <a:spLocks noGrp="1"/>
          </p:cNvSpPr>
          <p:nvPr>
            <p:ph type="body" sz="quarter" idx="47"/>
          </p:nvPr>
        </p:nvSpPr>
        <p:spPr>
          <a:xfrm>
            <a:off x="7473627" y="5130306"/>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8" name="Text Placeholder 5">
            <a:extLst>
              <a:ext uri="{FF2B5EF4-FFF2-40B4-BE49-F238E27FC236}">
                <a16:creationId xmlns:a16="http://schemas.microsoft.com/office/drawing/2014/main" id="{5BB0644B-1380-411C-9F95-5597AB426F89}"/>
              </a:ext>
            </a:extLst>
          </p:cNvPr>
          <p:cNvSpPr>
            <a:spLocks noGrp="1"/>
          </p:cNvSpPr>
          <p:nvPr>
            <p:ph type="body" sz="quarter" idx="48"/>
          </p:nvPr>
        </p:nvSpPr>
        <p:spPr>
          <a:xfrm>
            <a:off x="7473627" y="5702439"/>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9" name="Picture Placeholder 3">
            <a:extLst>
              <a:ext uri="{FF2B5EF4-FFF2-40B4-BE49-F238E27FC236}">
                <a16:creationId xmlns:a16="http://schemas.microsoft.com/office/drawing/2014/main" id="{D351A70F-9575-47CA-AF5E-5FBD2BEDF47F}"/>
              </a:ext>
            </a:extLst>
          </p:cNvPr>
          <p:cNvSpPr>
            <a:spLocks noGrp="1"/>
          </p:cNvSpPr>
          <p:nvPr>
            <p:ph type="pic" sz="quarter" idx="49"/>
          </p:nvPr>
        </p:nvSpPr>
        <p:spPr>
          <a:xfrm>
            <a:off x="10211065" y="3977517"/>
            <a:ext cx="1044000" cy="1044000"/>
          </a:xfrm>
          <a:prstGeom prst="ellipse">
            <a:avLst/>
          </a:prstGeom>
          <a:solidFill>
            <a:schemeClr val="bg1">
              <a:lumMod val="95000"/>
            </a:schemeClr>
          </a:solidFill>
        </p:spPr>
        <p:txBody>
          <a:bodyPr/>
          <a:lstStyle/>
          <a:p>
            <a:endParaRPr lang="en-GB"/>
          </a:p>
        </p:txBody>
      </p:sp>
      <p:cxnSp>
        <p:nvCxnSpPr>
          <p:cNvPr id="100" name="Straight Connector 99">
            <a:extLst>
              <a:ext uri="{FF2B5EF4-FFF2-40B4-BE49-F238E27FC236}">
                <a16:creationId xmlns:a16="http://schemas.microsoft.com/office/drawing/2014/main" id="{57D58268-E30C-4119-B1E6-C2E429719A3B}"/>
              </a:ext>
            </a:extLst>
          </p:cNvPr>
          <p:cNvCxnSpPr>
            <a:cxnSpLocks/>
          </p:cNvCxnSpPr>
          <p:nvPr userDrawn="1"/>
        </p:nvCxnSpPr>
        <p:spPr>
          <a:xfrm>
            <a:off x="10535466"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01" name="Text Placeholder 2">
            <a:extLst>
              <a:ext uri="{FF2B5EF4-FFF2-40B4-BE49-F238E27FC236}">
                <a16:creationId xmlns:a16="http://schemas.microsoft.com/office/drawing/2014/main" id="{DDB3AD93-AF25-46BC-B8E6-E77216C665FD}"/>
              </a:ext>
            </a:extLst>
          </p:cNvPr>
          <p:cNvSpPr>
            <a:spLocks noGrp="1"/>
          </p:cNvSpPr>
          <p:nvPr>
            <p:ph type="body" sz="quarter" idx="50"/>
          </p:nvPr>
        </p:nvSpPr>
        <p:spPr>
          <a:xfrm>
            <a:off x="9797065" y="5130306"/>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102" name="Text Placeholder 5">
            <a:extLst>
              <a:ext uri="{FF2B5EF4-FFF2-40B4-BE49-F238E27FC236}">
                <a16:creationId xmlns:a16="http://schemas.microsoft.com/office/drawing/2014/main" id="{0C1B23BA-33C4-4236-8AF6-6F01312E7130}"/>
              </a:ext>
            </a:extLst>
          </p:cNvPr>
          <p:cNvSpPr>
            <a:spLocks noGrp="1"/>
          </p:cNvSpPr>
          <p:nvPr>
            <p:ph type="body" sz="quarter" idx="51"/>
          </p:nvPr>
        </p:nvSpPr>
        <p:spPr>
          <a:xfrm>
            <a:off x="9797065" y="5702439"/>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65093866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eam profile_pictur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69EBA71-ABF1-9346-0ABC-9A06D2FE0E33}"/>
              </a:ext>
            </a:extLst>
          </p:cNvPr>
          <p:cNvGraphicFramePr>
            <a:graphicFrameLocks noChangeAspect="1"/>
          </p:cNvGraphicFramePr>
          <p:nvPr userDrawn="1">
            <p:custDataLst>
              <p:tags r:id="rId1"/>
            </p:custDataLst>
            <p:extLst>
              <p:ext uri="{D42A27DB-BD31-4B8C-83A1-F6EECF244321}">
                <p14:modId xmlns:p14="http://schemas.microsoft.com/office/powerpoint/2010/main" val="3986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E69EBA71-ABF1-9346-0ABC-9A06D2FE0E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936000"/>
            <a:ext cx="7410705" cy="607110"/>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417600"/>
            <a:ext cx="7410705" cy="334099"/>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4" name="Picture Placeholder 3">
            <a:extLst>
              <a:ext uri="{FF2B5EF4-FFF2-40B4-BE49-F238E27FC236}">
                <a16:creationId xmlns:a16="http://schemas.microsoft.com/office/drawing/2014/main" id="{EBB87FA1-A9A7-4D67-B87A-B90B51DCAE81}"/>
              </a:ext>
            </a:extLst>
          </p:cNvPr>
          <p:cNvSpPr>
            <a:spLocks noGrp="1"/>
          </p:cNvSpPr>
          <p:nvPr>
            <p:ph type="pic" sz="quarter" idx="22"/>
          </p:nvPr>
        </p:nvSpPr>
        <p:spPr>
          <a:xfrm>
            <a:off x="918509" y="1649999"/>
            <a:ext cx="1044000" cy="1044000"/>
          </a:xfrm>
          <a:prstGeom prst="ellipse">
            <a:avLst/>
          </a:prstGeom>
          <a:solidFill>
            <a:schemeClr val="bg1">
              <a:lumMod val="95000"/>
            </a:schemeClr>
          </a:solidFill>
        </p:spPr>
        <p:txBody>
          <a:bodyPr/>
          <a:lstStyle/>
          <a:p>
            <a:endParaRPr lang="en-GB"/>
          </a:p>
        </p:txBody>
      </p:sp>
      <p:cxnSp>
        <p:nvCxnSpPr>
          <p:cNvPr id="24" name="Straight Connector 23">
            <a:extLst>
              <a:ext uri="{FF2B5EF4-FFF2-40B4-BE49-F238E27FC236}">
                <a16:creationId xmlns:a16="http://schemas.microsoft.com/office/drawing/2014/main" id="{BE4815D8-2443-4215-86BC-1EADBD4EC08A}"/>
              </a:ext>
            </a:extLst>
          </p:cNvPr>
          <p:cNvCxnSpPr>
            <a:cxnSpLocks/>
          </p:cNvCxnSpPr>
          <p:nvPr userDrawn="1"/>
        </p:nvCxnSpPr>
        <p:spPr>
          <a:xfrm>
            <a:off x="1242910"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B2CAC3F-D88D-4E4D-B41D-2E734CDC51A6}"/>
              </a:ext>
            </a:extLst>
          </p:cNvPr>
          <p:cNvSpPr>
            <a:spLocks noGrp="1"/>
          </p:cNvSpPr>
          <p:nvPr>
            <p:ph type="body" sz="quarter" idx="23"/>
          </p:nvPr>
        </p:nvSpPr>
        <p:spPr>
          <a:xfrm>
            <a:off x="504509" y="2802788"/>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6" name="Text Placeholder 5">
            <a:extLst>
              <a:ext uri="{FF2B5EF4-FFF2-40B4-BE49-F238E27FC236}">
                <a16:creationId xmlns:a16="http://schemas.microsoft.com/office/drawing/2014/main" id="{993081A5-9D72-401F-86D3-EBDEC265C630}"/>
              </a:ext>
            </a:extLst>
          </p:cNvPr>
          <p:cNvSpPr>
            <a:spLocks noGrp="1"/>
          </p:cNvSpPr>
          <p:nvPr>
            <p:ph type="body" sz="quarter" idx="24"/>
          </p:nvPr>
        </p:nvSpPr>
        <p:spPr>
          <a:xfrm>
            <a:off x="504509" y="3308413"/>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50" name="Picture Placeholder 3">
            <a:extLst>
              <a:ext uri="{FF2B5EF4-FFF2-40B4-BE49-F238E27FC236}">
                <a16:creationId xmlns:a16="http://schemas.microsoft.com/office/drawing/2014/main" id="{F10FC35E-F476-45A0-97FF-19D6E49F4DEC}"/>
              </a:ext>
            </a:extLst>
          </p:cNvPr>
          <p:cNvSpPr>
            <a:spLocks noGrp="1"/>
          </p:cNvSpPr>
          <p:nvPr>
            <p:ph type="pic" sz="quarter" idx="25"/>
          </p:nvPr>
        </p:nvSpPr>
        <p:spPr>
          <a:xfrm>
            <a:off x="918509" y="3977517"/>
            <a:ext cx="1044000" cy="1044000"/>
          </a:xfrm>
          <a:prstGeom prst="ellipse">
            <a:avLst/>
          </a:prstGeom>
          <a:solidFill>
            <a:schemeClr val="bg1">
              <a:lumMod val="95000"/>
            </a:schemeClr>
          </a:solidFill>
        </p:spPr>
        <p:txBody>
          <a:bodyPr/>
          <a:lstStyle/>
          <a:p>
            <a:endParaRPr lang="en-GB"/>
          </a:p>
        </p:txBody>
      </p:sp>
      <p:cxnSp>
        <p:nvCxnSpPr>
          <p:cNvPr id="51" name="Straight Connector 50">
            <a:extLst>
              <a:ext uri="{FF2B5EF4-FFF2-40B4-BE49-F238E27FC236}">
                <a16:creationId xmlns:a16="http://schemas.microsoft.com/office/drawing/2014/main" id="{714C7665-A7A6-4486-8453-F0F52E17913B}"/>
              </a:ext>
            </a:extLst>
          </p:cNvPr>
          <p:cNvCxnSpPr>
            <a:cxnSpLocks/>
          </p:cNvCxnSpPr>
          <p:nvPr userDrawn="1"/>
        </p:nvCxnSpPr>
        <p:spPr>
          <a:xfrm>
            <a:off x="1242910"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
            <a:extLst>
              <a:ext uri="{FF2B5EF4-FFF2-40B4-BE49-F238E27FC236}">
                <a16:creationId xmlns:a16="http://schemas.microsoft.com/office/drawing/2014/main" id="{5F51A724-28CC-4114-BE83-7BC69A80CB38}"/>
              </a:ext>
            </a:extLst>
          </p:cNvPr>
          <p:cNvSpPr>
            <a:spLocks noGrp="1"/>
          </p:cNvSpPr>
          <p:nvPr>
            <p:ph type="body" sz="quarter" idx="26"/>
          </p:nvPr>
        </p:nvSpPr>
        <p:spPr>
          <a:xfrm>
            <a:off x="504509" y="5130306"/>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53" name="Text Placeholder 5">
            <a:extLst>
              <a:ext uri="{FF2B5EF4-FFF2-40B4-BE49-F238E27FC236}">
                <a16:creationId xmlns:a16="http://schemas.microsoft.com/office/drawing/2014/main" id="{6AC830A3-E614-4D7D-8182-82699360AD5B}"/>
              </a:ext>
            </a:extLst>
          </p:cNvPr>
          <p:cNvSpPr>
            <a:spLocks noGrp="1"/>
          </p:cNvSpPr>
          <p:nvPr>
            <p:ph type="body" sz="quarter" idx="27"/>
          </p:nvPr>
        </p:nvSpPr>
        <p:spPr>
          <a:xfrm>
            <a:off x="504509" y="5702439"/>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54" name="Picture Placeholder 3">
            <a:extLst>
              <a:ext uri="{FF2B5EF4-FFF2-40B4-BE49-F238E27FC236}">
                <a16:creationId xmlns:a16="http://schemas.microsoft.com/office/drawing/2014/main" id="{F78AE723-1CB0-40FE-9706-082AD51D122E}"/>
              </a:ext>
            </a:extLst>
          </p:cNvPr>
          <p:cNvSpPr>
            <a:spLocks noGrp="1"/>
          </p:cNvSpPr>
          <p:nvPr>
            <p:ph type="pic" sz="quarter" idx="28"/>
          </p:nvPr>
        </p:nvSpPr>
        <p:spPr>
          <a:xfrm>
            <a:off x="3241648" y="1649999"/>
            <a:ext cx="1044000" cy="1044000"/>
          </a:xfrm>
          <a:prstGeom prst="ellipse">
            <a:avLst/>
          </a:prstGeom>
          <a:solidFill>
            <a:schemeClr val="bg1">
              <a:lumMod val="95000"/>
            </a:schemeClr>
          </a:solidFill>
        </p:spPr>
        <p:txBody>
          <a:bodyPr/>
          <a:lstStyle/>
          <a:p>
            <a:endParaRPr lang="en-GB"/>
          </a:p>
        </p:txBody>
      </p:sp>
      <p:cxnSp>
        <p:nvCxnSpPr>
          <p:cNvPr id="55" name="Straight Connector 54">
            <a:extLst>
              <a:ext uri="{FF2B5EF4-FFF2-40B4-BE49-F238E27FC236}">
                <a16:creationId xmlns:a16="http://schemas.microsoft.com/office/drawing/2014/main" id="{F71B027A-1D84-44E4-BCFF-21821A4B89EE}"/>
              </a:ext>
            </a:extLst>
          </p:cNvPr>
          <p:cNvCxnSpPr>
            <a:cxnSpLocks/>
          </p:cNvCxnSpPr>
          <p:nvPr userDrawn="1"/>
        </p:nvCxnSpPr>
        <p:spPr>
          <a:xfrm>
            <a:off x="3566348"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a16="http://schemas.microsoft.com/office/drawing/2014/main" id="{26F6DDCC-5EC9-410C-8B2C-9CE693E7A045}"/>
              </a:ext>
            </a:extLst>
          </p:cNvPr>
          <p:cNvSpPr>
            <a:spLocks noGrp="1"/>
          </p:cNvSpPr>
          <p:nvPr>
            <p:ph type="body" sz="quarter" idx="29"/>
          </p:nvPr>
        </p:nvSpPr>
        <p:spPr>
          <a:xfrm>
            <a:off x="2827947" y="2802788"/>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74" name="Text Placeholder 5">
            <a:extLst>
              <a:ext uri="{FF2B5EF4-FFF2-40B4-BE49-F238E27FC236}">
                <a16:creationId xmlns:a16="http://schemas.microsoft.com/office/drawing/2014/main" id="{DC986D57-1E40-4119-B7F8-DFD27A16BA7C}"/>
              </a:ext>
            </a:extLst>
          </p:cNvPr>
          <p:cNvSpPr>
            <a:spLocks noGrp="1"/>
          </p:cNvSpPr>
          <p:nvPr>
            <p:ph type="body" sz="quarter" idx="30"/>
          </p:nvPr>
        </p:nvSpPr>
        <p:spPr>
          <a:xfrm>
            <a:off x="2827947" y="3308413"/>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75" name="Picture Placeholder 3">
            <a:extLst>
              <a:ext uri="{FF2B5EF4-FFF2-40B4-BE49-F238E27FC236}">
                <a16:creationId xmlns:a16="http://schemas.microsoft.com/office/drawing/2014/main" id="{EAD6E6BB-597D-422D-B563-E88D1BFFAB23}"/>
              </a:ext>
            </a:extLst>
          </p:cNvPr>
          <p:cNvSpPr>
            <a:spLocks noGrp="1"/>
          </p:cNvSpPr>
          <p:nvPr>
            <p:ph type="pic" sz="quarter" idx="31"/>
          </p:nvPr>
        </p:nvSpPr>
        <p:spPr>
          <a:xfrm>
            <a:off x="5564787" y="1649999"/>
            <a:ext cx="1044000" cy="1044000"/>
          </a:xfrm>
          <a:prstGeom prst="ellipse">
            <a:avLst/>
          </a:prstGeom>
          <a:solidFill>
            <a:schemeClr val="bg1">
              <a:lumMod val="95000"/>
            </a:schemeClr>
          </a:solidFill>
        </p:spPr>
        <p:txBody>
          <a:bodyPr/>
          <a:lstStyle/>
          <a:p>
            <a:endParaRPr lang="en-GB"/>
          </a:p>
        </p:txBody>
      </p:sp>
      <p:cxnSp>
        <p:nvCxnSpPr>
          <p:cNvPr id="76" name="Straight Connector 75">
            <a:extLst>
              <a:ext uri="{FF2B5EF4-FFF2-40B4-BE49-F238E27FC236}">
                <a16:creationId xmlns:a16="http://schemas.microsoft.com/office/drawing/2014/main" id="{7B160D8E-58C4-4745-ABDB-6C36238BC6B0}"/>
              </a:ext>
            </a:extLst>
          </p:cNvPr>
          <p:cNvCxnSpPr>
            <a:cxnSpLocks/>
          </p:cNvCxnSpPr>
          <p:nvPr userDrawn="1"/>
        </p:nvCxnSpPr>
        <p:spPr>
          <a:xfrm>
            <a:off x="5889786" y="3231044"/>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Text Placeholder 2">
            <a:extLst>
              <a:ext uri="{FF2B5EF4-FFF2-40B4-BE49-F238E27FC236}">
                <a16:creationId xmlns:a16="http://schemas.microsoft.com/office/drawing/2014/main" id="{23583BA1-BC96-4293-B00D-9AE7BBB95262}"/>
              </a:ext>
            </a:extLst>
          </p:cNvPr>
          <p:cNvSpPr>
            <a:spLocks noGrp="1"/>
          </p:cNvSpPr>
          <p:nvPr>
            <p:ph type="body" sz="quarter" idx="32"/>
          </p:nvPr>
        </p:nvSpPr>
        <p:spPr>
          <a:xfrm>
            <a:off x="5151385" y="2802788"/>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78" name="Text Placeholder 5">
            <a:extLst>
              <a:ext uri="{FF2B5EF4-FFF2-40B4-BE49-F238E27FC236}">
                <a16:creationId xmlns:a16="http://schemas.microsoft.com/office/drawing/2014/main" id="{E3F580CF-C390-4B11-8141-C807A14E3B9A}"/>
              </a:ext>
            </a:extLst>
          </p:cNvPr>
          <p:cNvSpPr>
            <a:spLocks noGrp="1"/>
          </p:cNvSpPr>
          <p:nvPr>
            <p:ph type="body" sz="quarter" idx="33"/>
          </p:nvPr>
        </p:nvSpPr>
        <p:spPr>
          <a:xfrm>
            <a:off x="5151385" y="3308413"/>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87" name="Picture Placeholder 3">
            <a:extLst>
              <a:ext uri="{FF2B5EF4-FFF2-40B4-BE49-F238E27FC236}">
                <a16:creationId xmlns:a16="http://schemas.microsoft.com/office/drawing/2014/main" id="{F43FAE7D-08BF-4420-BF10-2F1862F8B5F1}"/>
              </a:ext>
            </a:extLst>
          </p:cNvPr>
          <p:cNvSpPr>
            <a:spLocks noGrp="1"/>
          </p:cNvSpPr>
          <p:nvPr>
            <p:ph type="pic" sz="quarter" idx="40"/>
          </p:nvPr>
        </p:nvSpPr>
        <p:spPr>
          <a:xfrm>
            <a:off x="3241648" y="3977517"/>
            <a:ext cx="1044000" cy="1044000"/>
          </a:xfrm>
          <a:prstGeom prst="ellipse">
            <a:avLst/>
          </a:prstGeom>
          <a:solidFill>
            <a:schemeClr val="bg1">
              <a:lumMod val="95000"/>
            </a:schemeClr>
          </a:solidFill>
        </p:spPr>
        <p:txBody>
          <a:bodyPr/>
          <a:lstStyle/>
          <a:p>
            <a:endParaRPr lang="en-GB"/>
          </a:p>
        </p:txBody>
      </p:sp>
      <p:cxnSp>
        <p:nvCxnSpPr>
          <p:cNvPr id="88" name="Straight Connector 87">
            <a:extLst>
              <a:ext uri="{FF2B5EF4-FFF2-40B4-BE49-F238E27FC236}">
                <a16:creationId xmlns:a16="http://schemas.microsoft.com/office/drawing/2014/main" id="{CF2C30AF-8741-44EA-8C7E-01F4E8602EEA}"/>
              </a:ext>
            </a:extLst>
          </p:cNvPr>
          <p:cNvCxnSpPr>
            <a:cxnSpLocks/>
          </p:cNvCxnSpPr>
          <p:nvPr userDrawn="1"/>
        </p:nvCxnSpPr>
        <p:spPr>
          <a:xfrm>
            <a:off x="3566348"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89" name="Text Placeholder 2">
            <a:extLst>
              <a:ext uri="{FF2B5EF4-FFF2-40B4-BE49-F238E27FC236}">
                <a16:creationId xmlns:a16="http://schemas.microsoft.com/office/drawing/2014/main" id="{67AEC111-D4D6-4BA8-85DF-711E4D514626}"/>
              </a:ext>
            </a:extLst>
          </p:cNvPr>
          <p:cNvSpPr>
            <a:spLocks noGrp="1"/>
          </p:cNvSpPr>
          <p:nvPr>
            <p:ph type="body" sz="quarter" idx="41"/>
          </p:nvPr>
        </p:nvSpPr>
        <p:spPr>
          <a:xfrm>
            <a:off x="2827947" y="5130306"/>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0" name="Text Placeholder 5">
            <a:extLst>
              <a:ext uri="{FF2B5EF4-FFF2-40B4-BE49-F238E27FC236}">
                <a16:creationId xmlns:a16="http://schemas.microsoft.com/office/drawing/2014/main" id="{88928627-1AA7-4218-8C34-C820099BF4F7}"/>
              </a:ext>
            </a:extLst>
          </p:cNvPr>
          <p:cNvSpPr>
            <a:spLocks noGrp="1"/>
          </p:cNvSpPr>
          <p:nvPr>
            <p:ph type="body" sz="quarter" idx="42"/>
          </p:nvPr>
        </p:nvSpPr>
        <p:spPr>
          <a:xfrm>
            <a:off x="2827947" y="5702439"/>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1" name="Picture Placeholder 3">
            <a:extLst>
              <a:ext uri="{FF2B5EF4-FFF2-40B4-BE49-F238E27FC236}">
                <a16:creationId xmlns:a16="http://schemas.microsoft.com/office/drawing/2014/main" id="{FEDF244A-203E-496B-86FC-018606150C17}"/>
              </a:ext>
            </a:extLst>
          </p:cNvPr>
          <p:cNvSpPr>
            <a:spLocks noGrp="1"/>
          </p:cNvSpPr>
          <p:nvPr>
            <p:ph type="pic" sz="quarter" idx="43"/>
          </p:nvPr>
        </p:nvSpPr>
        <p:spPr>
          <a:xfrm>
            <a:off x="5564787" y="3977517"/>
            <a:ext cx="1044000" cy="1044000"/>
          </a:xfrm>
          <a:prstGeom prst="ellipse">
            <a:avLst/>
          </a:prstGeom>
          <a:solidFill>
            <a:schemeClr val="bg1">
              <a:lumMod val="95000"/>
            </a:schemeClr>
          </a:solidFill>
        </p:spPr>
        <p:txBody>
          <a:bodyPr/>
          <a:lstStyle/>
          <a:p>
            <a:endParaRPr lang="en-GB"/>
          </a:p>
        </p:txBody>
      </p:sp>
      <p:cxnSp>
        <p:nvCxnSpPr>
          <p:cNvPr id="92" name="Straight Connector 91">
            <a:extLst>
              <a:ext uri="{FF2B5EF4-FFF2-40B4-BE49-F238E27FC236}">
                <a16:creationId xmlns:a16="http://schemas.microsoft.com/office/drawing/2014/main" id="{BB601599-0B23-4862-A375-2FCD95974C8D}"/>
              </a:ext>
            </a:extLst>
          </p:cNvPr>
          <p:cNvCxnSpPr>
            <a:cxnSpLocks/>
          </p:cNvCxnSpPr>
          <p:nvPr userDrawn="1"/>
        </p:nvCxnSpPr>
        <p:spPr>
          <a:xfrm>
            <a:off x="5889786" y="5577946"/>
            <a:ext cx="395199"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3" name="Text Placeholder 2">
            <a:extLst>
              <a:ext uri="{FF2B5EF4-FFF2-40B4-BE49-F238E27FC236}">
                <a16:creationId xmlns:a16="http://schemas.microsoft.com/office/drawing/2014/main" id="{98FC2A9D-01C5-415E-96CD-F5F24964367D}"/>
              </a:ext>
            </a:extLst>
          </p:cNvPr>
          <p:cNvSpPr>
            <a:spLocks noGrp="1"/>
          </p:cNvSpPr>
          <p:nvPr>
            <p:ph type="body" sz="quarter" idx="44"/>
          </p:nvPr>
        </p:nvSpPr>
        <p:spPr>
          <a:xfrm>
            <a:off x="5151385" y="5130306"/>
            <a:ext cx="1872000" cy="379458"/>
          </a:xfrm>
        </p:spPr>
        <p:txBody>
          <a:bodyPr>
            <a:noAutofit/>
          </a:bodyPr>
          <a:lstStyle>
            <a:lvl1pPr algn="ctr" rtl="0">
              <a:spcAft>
                <a:spcPts val="100"/>
              </a:spcAft>
              <a:defRPr sz="1100" b="1" i="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algn="ctr" rtl="0">
              <a:spcAft>
                <a:spcPts val="100"/>
              </a:spcAft>
              <a:defRPr sz="1100" b="1" i="0">
                <a:latin typeface="Open Sans SemiBold" panose="020B0606030504020204" pitchFamily="34" charset="0"/>
                <a:ea typeface="Open Sans SemiBold" panose="020B0606030504020204" pitchFamily="34" charset="0"/>
                <a:cs typeface="Open Sans SemiBold" panose="020B0606030504020204" pitchFamily="34" charset="0"/>
              </a:defRPr>
            </a:lvl2pPr>
            <a:lvl3pPr algn="ctr">
              <a:defRPr/>
            </a:lvl3pPr>
            <a:lvl4pPr algn="ctr">
              <a:defRPr/>
            </a:lvl4pPr>
            <a:lvl5pPr algn="ctr">
              <a:defRPr/>
            </a:lvl5pPr>
          </a:lstStyle>
          <a:p>
            <a:pPr lvl="0"/>
            <a:r>
              <a:rPr lang="en-US" dirty="0"/>
              <a:t>Click to edit Master text</a:t>
            </a:r>
          </a:p>
          <a:p>
            <a:pPr lvl="1"/>
            <a:r>
              <a:rPr lang="en-US" dirty="0"/>
              <a:t>Second level</a:t>
            </a:r>
          </a:p>
        </p:txBody>
      </p:sp>
      <p:sp>
        <p:nvSpPr>
          <p:cNvPr id="94" name="Text Placeholder 5">
            <a:extLst>
              <a:ext uri="{FF2B5EF4-FFF2-40B4-BE49-F238E27FC236}">
                <a16:creationId xmlns:a16="http://schemas.microsoft.com/office/drawing/2014/main" id="{659E7EDB-C5B1-4C4A-BA2E-C9543E5CDDA3}"/>
              </a:ext>
            </a:extLst>
          </p:cNvPr>
          <p:cNvSpPr>
            <a:spLocks noGrp="1"/>
          </p:cNvSpPr>
          <p:nvPr>
            <p:ph type="body" sz="quarter" idx="45"/>
          </p:nvPr>
        </p:nvSpPr>
        <p:spPr>
          <a:xfrm>
            <a:off x="5151385" y="5702439"/>
            <a:ext cx="1872000" cy="607110"/>
          </a:xfrm>
        </p:spPr>
        <p:txBody>
          <a:bodyPr>
            <a:noAutofit/>
          </a:bodyPr>
          <a:lstStyle>
            <a:lvl1pPr algn="ct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edit Master text styles</a:t>
            </a:r>
          </a:p>
        </p:txBody>
      </p:sp>
      <p:sp>
        <p:nvSpPr>
          <p:cNvPr id="9" name="Picture Placeholder 8">
            <a:extLst>
              <a:ext uri="{FF2B5EF4-FFF2-40B4-BE49-F238E27FC236}">
                <a16:creationId xmlns:a16="http://schemas.microsoft.com/office/drawing/2014/main" id="{1D1DDC91-E7E5-FA80-6778-B2C2325D26A2}"/>
              </a:ext>
            </a:extLst>
          </p:cNvPr>
          <p:cNvSpPr>
            <a:spLocks noGrp="1"/>
          </p:cNvSpPr>
          <p:nvPr>
            <p:ph type="pic" sz="quarter" idx="46"/>
          </p:nvPr>
        </p:nvSpPr>
        <p:spPr>
          <a:xfrm>
            <a:off x="8178800" y="0"/>
            <a:ext cx="4013200" cy="6858000"/>
          </a:xfrm>
        </p:spPr>
        <p:txBody>
          <a:bodyPr/>
          <a:lstStyle/>
          <a:p>
            <a:endParaRPr lang="en-CH"/>
          </a:p>
        </p:txBody>
      </p:sp>
    </p:spTree>
    <p:extLst>
      <p:ext uri="{BB962C8B-B14F-4D97-AF65-F5344CB8AC3E}">
        <p14:creationId xmlns:p14="http://schemas.microsoft.com/office/powerpoint/2010/main" val="131386644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References">
    <p:bg>
      <p:bgPr>
        <a:blipFill dpi="0" rotWithShape="1">
          <a:blip r:embed="rId3" cstate="email">
            <a:lum/>
            <a:extLst>
              <a:ext uri="{28A0092B-C50C-407E-A947-70E740481C1C}">
                <a14:useLocalDpi xmlns:a14="http://schemas.microsoft.com/office/drawing/2010/main"/>
              </a:ext>
            </a:extLst>
          </a:blip>
          <a:srcRect/>
          <a:stretch>
            <a:fillRect l="76000"/>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42A23B0-9F4B-4CF4-9773-7644FC721EB9}"/>
              </a:ext>
            </a:extLst>
          </p:cNvPr>
          <p:cNvGraphicFramePr>
            <a:graphicFrameLocks noChangeAspect="1"/>
          </p:cNvGraphicFramePr>
          <p:nvPr userDrawn="1">
            <p:custDataLst>
              <p:tags r:id="rId1"/>
            </p:custDataLst>
            <p:extLst>
              <p:ext uri="{D42A27DB-BD31-4B8C-83A1-F6EECF244321}">
                <p14:modId xmlns:p14="http://schemas.microsoft.com/office/powerpoint/2010/main" val="1257585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think-cell data - do not delete" hidden="1">
                        <a:extLst>
                          <a:ext uri="{FF2B5EF4-FFF2-40B4-BE49-F238E27FC236}">
                            <a16:creationId xmlns:a16="http://schemas.microsoft.com/office/drawing/2014/main" id="{D42A23B0-9F4B-4CF4-9773-7644FC721E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4640" y="417600"/>
            <a:ext cx="8469810" cy="332651"/>
          </a:xfrm>
          <a:prstGeom prst="rect">
            <a:avLst/>
          </a:prstGeom>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25" name="Text Placeholder 24">
            <a:extLst>
              <a:ext uri="{FF2B5EF4-FFF2-40B4-BE49-F238E27FC236}">
                <a16:creationId xmlns:a16="http://schemas.microsoft.com/office/drawing/2014/main" id="{6964F6E8-F173-4712-8145-18497B72F779}"/>
              </a:ext>
            </a:extLst>
          </p:cNvPr>
          <p:cNvSpPr>
            <a:spLocks noGrp="1"/>
          </p:cNvSpPr>
          <p:nvPr>
            <p:ph type="body" sz="quarter" idx="25"/>
          </p:nvPr>
        </p:nvSpPr>
        <p:spPr>
          <a:xfrm>
            <a:off x="468320" y="1730542"/>
            <a:ext cx="2618912" cy="4516049"/>
          </a:xfrm>
        </p:spPr>
        <p:txBody>
          <a:bodyPr>
            <a:noAutofit/>
          </a:bodyPr>
          <a:lstStyle>
            <a:lvl1pP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rtl="0">
              <a:defRPr sz="1000" b="0" i="0">
                <a:latin typeface="Open Sans Light" panose="020B0306030504020204" pitchFamily="34" charset="0"/>
                <a:ea typeface="Open Sans Light" panose="020B0306030504020204" pitchFamily="34" charset="0"/>
                <a:cs typeface="Open Sans Light" panose="020B0306030504020204" pitchFamily="34" charset="0"/>
              </a:defRPr>
            </a:lvl2pPr>
            <a:lvl3pPr rtl="0">
              <a:defRPr sz="1000" b="0" i="0">
                <a:latin typeface="Open Sans Light" panose="020B0306030504020204" pitchFamily="34" charset="0"/>
                <a:ea typeface="Open Sans Light" panose="020B0306030504020204" pitchFamily="34" charset="0"/>
                <a:cs typeface="Open Sans Light" panose="020B0306030504020204" pitchFamily="34" charset="0"/>
              </a:defRPr>
            </a:lvl3pPr>
            <a:lvl4pPr rtl="0">
              <a:defRPr sz="10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7" name="Text Placeholder 24">
            <a:extLst>
              <a:ext uri="{FF2B5EF4-FFF2-40B4-BE49-F238E27FC236}">
                <a16:creationId xmlns:a16="http://schemas.microsoft.com/office/drawing/2014/main" id="{29EBC357-354B-4668-9D29-1B72B4C18D0C}"/>
              </a:ext>
            </a:extLst>
          </p:cNvPr>
          <p:cNvSpPr>
            <a:spLocks noGrp="1"/>
          </p:cNvSpPr>
          <p:nvPr>
            <p:ph type="body" sz="quarter" idx="26"/>
          </p:nvPr>
        </p:nvSpPr>
        <p:spPr>
          <a:xfrm>
            <a:off x="3352801" y="1730542"/>
            <a:ext cx="2618910" cy="4516049"/>
          </a:xfrm>
        </p:spPr>
        <p:txBody>
          <a:bodyPr>
            <a:noAutofit/>
          </a:bodyPr>
          <a:lstStyle>
            <a:lvl1pP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rtl="0">
              <a:defRPr sz="1000" b="0" i="0">
                <a:latin typeface="Open Sans Light" panose="020B0306030504020204" pitchFamily="34" charset="0"/>
                <a:ea typeface="Open Sans Light" panose="020B0306030504020204" pitchFamily="34" charset="0"/>
                <a:cs typeface="Open Sans Light" panose="020B0306030504020204" pitchFamily="34" charset="0"/>
              </a:defRPr>
            </a:lvl2pPr>
            <a:lvl3pPr rtl="0">
              <a:defRPr sz="1000" b="0" i="0">
                <a:latin typeface="Open Sans Light" panose="020B0306030504020204" pitchFamily="34" charset="0"/>
                <a:ea typeface="Open Sans Light" panose="020B0306030504020204" pitchFamily="34" charset="0"/>
                <a:cs typeface="Open Sans Light" panose="020B0306030504020204" pitchFamily="34" charset="0"/>
              </a:defRPr>
            </a:lvl3pPr>
            <a:lvl4pPr rtl="0">
              <a:defRPr sz="10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8" name="Text Placeholder 24">
            <a:extLst>
              <a:ext uri="{FF2B5EF4-FFF2-40B4-BE49-F238E27FC236}">
                <a16:creationId xmlns:a16="http://schemas.microsoft.com/office/drawing/2014/main" id="{3E23FB3A-93BB-4974-A260-5F21D11C4F8D}"/>
              </a:ext>
            </a:extLst>
          </p:cNvPr>
          <p:cNvSpPr>
            <a:spLocks noGrp="1"/>
          </p:cNvSpPr>
          <p:nvPr>
            <p:ph type="body" sz="quarter" idx="27"/>
          </p:nvPr>
        </p:nvSpPr>
        <p:spPr>
          <a:xfrm>
            <a:off x="6248400" y="1730542"/>
            <a:ext cx="2686050" cy="4516049"/>
          </a:xfrm>
        </p:spPr>
        <p:txBody>
          <a:bodyPr>
            <a:noAutofit/>
          </a:bodyPr>
          <a:lstStyle>
            <a:lvl1pPr rtl="0">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rtl="0">
              <a:defRPr sz="1000" b="0" i="0">
                <a:latin typeface="Open Sans Light" panose="020B0306030504020204" pitchFamily="34" charset="0"/>
                <a:ea typeface="Open Sans Light" panose="020B0306030504020204" pitchFamily="34" charset="0"/>
                <a:cs typeface="Open Sans Light" panose="020B0306030504020204" pitchFamily="34" charset="0"/>
              </a:defRPr>
            </a:lvl2pPr>
            <a:lvl3pPr rtl="0">
              <a:defRPr sz="1000" b="0" i="0">
                <a:latin typeface="Open Sans Light" panose="020B0306030504020204" pitchFamily="34" charset="0"/>
                <a:ea typeface="Open Sans Light" panose="020B0306030504020204" pitchFamily="34" charset="0"/>
                <a:cs typeface="Open Sans Light" panose="020B0306030504020204" pitchFamily="34" charset="0"/>
              </a:defRPr>
            </a:lvl3pPr>
            <a:lvl4pPr rtl="0">
              <a:defRPr sz="10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Picture Placeholder 9">
            <a:extLst>
              <a:ext uri="{FF2B5EF4-FFF2-40B4-BE49-F238E27FC236}">
                <a16:creationId xmlns:a16="http://schemas.microsoft.com/office/drawing/2014/main" id="{74BF8740-A64F-1AA8-D801-A29B18FA761E}"/>
              </a:ext>
            </a:extLst>
          </p:cNvPr>
          <p:cNvSpPr>
            <a:spLocks noGrp="1"/>
          </p:cNvSpPr>
          <p:nvPr>
            <p:ph type="pic" sz="quarter" idx="28"/>
          </p:nvPr>
        </p:nvSpPr>
        <p:spPr>
          <a:xfrm>
            <a:off x="9512968" y="1925222"/>
            <a:ext cx="2221831" cy="1267158"/>
          </a:xfrm>
          <a:solidFill>
            <a:schemeClr val="bg1"/>
          </a:solidFill>
        </p:spPr>
        <p:txBody>
          <a:bodyPr/>
          <a:lstStyle/>
          <a:p>
            <a:endParaRPr lang="en-CH"/>
          </a:p>
        </p:txBody>
      </p:sp>
      <p:sp>
        <p:nvSpPr>
          <p:cNvPr id="11" name="Picture Placeholder 9">
            <a:extLst>
              <a:ext uri="{FF2B5EF4-FFF2-40B4-BE49-F238E27FC236}">
                <a16:creationId xmlns:a16="http://schemas.microsoft.com/office/drawing/2014/main" id="{6CFED7DC-4EFC-5414-51BF-A163ECB9114E}"/>
              </a:ext>
            </a:extLst>
          </p:cNvPr>
          <p:cNvSpPr>
            <a:spLocks noGrp="1"/>
          </p:cNvSpPr>
          <p:nvPr>
            <p:ph type="pic" sz="quarter" idx="29"/>
          </p:nvPr>
        </p:nvSpPr>
        <p:spPr>
          <a:xfrm>
            <a:off x="9512969" y="3401096"/>
            <a:ext cx="2221831" cy="1267158"/>
          </a:xfrm>
          <a:solidFill>
            <a:schemeClr val="bg1"/>
          </a:solidFill>
        </p:spPr>
        <p:txBody>
          <a:bodyPr/>
          <a:lstStyle/>
          <a:p>
            <a:endParaRPr lang="en-CH"/>
          </a:p>
        </p:txBody>
      </p:sp>
      <p:sp>
        <p:nvSpPr>
          <p:cNvPr id="13" name="Picture Placeholder 9">
            <a:extLst>
              <a:ext uri="{FF2B5EF4-FFF2-40B4-BE49-F238E27FC236}">
                <a16:creationId xmlns:a16="http://schemas.microsoft.com/office/drawing/2014/main" id="{FF10CA72-A6A9-A09F-D446-C7D61F387902}"/>
              </a:ext>
            </a:extLst>
          </p:cNvPr>
          <p:cNvSpPr>
            <a:spLocks noGrp="1"/>
          </p:cNvSpPr>
          <p:nvPr>
            <p:ph type="pic" sz="quarter" idx="30"/>
          </p:nvPr>
        </p:nvSpPr>
        <p:spPr>
          <a:xfrm>
            <a:off x="9512969" y="4876970"/>
            <a:ext cx="2221831" cy="1267158"/>
          </a:xfrm>
          <a:solidFill>
            <a:schemeClr val="bg1"/>
          </a:solidFill>
        </p:spPr>
        <p:txBody>
          <a:bodyPr/>
          <a:lstStyle/>
          <a:p>
            <a:endParaRPr lang="en-CH"/>
          </a:p>
        </p:txBody>
      </p:sp>
      <p:cxnSp>
        <p:nvCxnSpPr>
          <p:cNvPr id="3" name="Straight Connector 2">
            <a:extLst>
              <a:ext uri="{FF2B5EF4-FFF2-40B4-BE49-F238E27FC236}">
                <a16:creationId xmlns:a16="http://schemas.microsoft.com/office/drawing/2014/main" id="{7DDE2D9D-B8A0-B835-ABB8-63B3F581DC01}"/>
              </a:ext>
            </a:extLst>
          </p:cNvPr>
          <p:cNvCxnSpPr>
            <a:cxnSpLocks/>
          </p:cNvCxnSpPr>
          <p:nvPr userDrawn="1"/>
        </p:nvCxnSpPr>
        <p:spPr>
          <a:xfrm>
            <a:off x="3212852" y="1714500"/>
            <a:ext cx="0" cy="4536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9F934FD-670F-0A12-A31C-0A07201BF206}"/>
              </a:ext>
            </a:extLst>
          </p:cNvPr>
          <p:cNvCxnSpPr>
            <a:cxnSpLocks/>
          </p:cNvCxnSpPr>
          <p:nvPr userDrawn="1"/>
        </p:nvCxnSpPr>
        <p:spPr>
          <a:xfrm>
            <a:off x="6103034" y="1714500"/>
            <a:ext cx="0" cy="4536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7270303D-AA9C-AE1E-3D36-6FCFFDEB2A06}"/>
              </a:ext>
            </a:extLst>
          </p:cNvPr>
          <p:cNvSpPr>
            <a:spLocks noGrp="1"/>
          </p:cNvSpPr>
          <p:nvPr>
            <p:ph type="body" sz="quarter" idx="21" hasCustomPrompt="1"/>
          </p:nvPr>
        </p:nvSpPr>
        <p:spPr>
          <a:xfrm>
            <a:off x="463295" y="936000"/>
            <a:ext cx="7410705" cy="607110"/>
          </a:xfrm>
          <a:prstGeom prst="rect">
            <a:avLst/>
          </a:prstGeom>
        </p:spPr>
        <p:txBody>
          <a:bodyPr lIns="0" tIns="0" rIns="0" bIns="0">
            <a:noAutofit/>
          </a:bodyPr>
          <a:lstStyle>
            <a:lvl1pPr marL="0" indent="0" rtl="0">
              <a:buNone/>
              <a:defRPr sz="18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Tree>
    <p:extLst>
      <p:ext uri="{BB962C8B-B14F-4D97-AF65-F5344CB8AC3E}">
        <p14:creationId xmlns:p14="http://schemas.microsoft.com/office/powerpoint/2010/main" val="343747906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V_x2">
    <p:bg>
      <p:bgPr>
        <a:solidFill>
          <a:srgbClr val="ECECEC"/>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C05021-FE26-EFDF-616C-D304293E4896}"/>
              </a:ext>
            </a:extLst>
          </p:cNvPr>
          <p:cNvGraphicFramePr>
            <a:graphicFrameLocks noChangeAspect="1"/>
          </p:cNvGraphicFramePr>
          <p:nvPr userDrawn="1">
            <p:custDataLst>
              <p:tags r:id="rId1"/>
            </p:custDataLst>
            <p:extLst>
              <p:ext uri="{D42A27DB-BD31-4B8C-83A1-F6EECF244321}">
                <p14:modId xmlns:p14="http://schemas.microsoft.com/office/powerpoint/2010/main" val="331077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25C05021-FE26-EFDF-616C-D304293E48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0C7045B-2B0E-1CF7-A13F-D0D057A30BF4}"/>
              </a:ext>
            </a:extLst>
          </p:cNvPr>
          <p:cNvSpPr/>
          <p:nvPr userDrawn="1"/>
        </p:nvSpPr>
        <p:spPr bwMode="gray">
          <a:xfrm>
            <a:off x="467125" y="1026695"/>
            <a:ext cx="11267675" cy="5336005"/>
          </a:xfrm>
          <a:prstGeom prst="rect">
            <a:avLst/>
          </a:prstGeom>
          <a:solidFill>
            <a:schemeClr val="bg1"/>
          </a:solid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pic>
        <p:nvPicPr>
          <p:cNvPr id="4" name="Picture 3">
            <a:extLst>
              <a:ext uri="{FF2B5EF4-FFF2-40B4-BE49-F238E27FC236}">
                <a16:creationId xmlns:a16="http://schemas.microsoft.com/office/drawing/2014/main" id="{603B92E2-2BFA-91BB-C667-F81A1B5BC197}"/>
              </a:ext>
            </a:extLst>
          </p:cNvPr>
          <p:cNvPicPr>
            <a:picLocks noChangeAspect="1"/>
          </p:cNvPicPr>
          <p:nvPr userDrawn="1"/>
        </p:nvPicPr>
        <p:blipFill rotWithShape="1">
          <a:blip r:embed="rId5" cstate="email">
            <a:alphaModFix amt="35000"/>
            <a:extLst>
              <a:ext uri="{28A0092B-C50C-407E-A947-70E740481C1C}">
                <a14:useLocalDpi xmlns:a14="http://schemas.microsoft.com/office/drawing/2010/main"/>
              </a:ext>
            </a:extLst>
          </a:blip>
          <a:srcRect/>
          <a:stretch/>
        </p:blipFill>
        <p:spPr>
          <a:xfrm>
            <a:off x="970430" y="1158285"/>
            <a:ext cx="5125569" cy="1402741"/>
          </a:xfrm>
          <a:prstGeom prst="rect">
            <a:avLst/>
          </a:prstGeom>
        </p:spPr>
      </p:pic>
      <p:sp>
        <p:nvSpPr>
          <p:cNvPr id="11" name="Picture Placeholder 8">
            <a:extLst>
              <a:ext uri="{FF2B5EF4-FFF2-40B4-BE49-F238E27FC236}">
                <a16:creationId xmlns:a16="http://schemas.microsoft.com/office/drawing/2014/main" id="{5F834A8A-067E-A149-B7F6-25D8C65ADEF0}"/>
              </a:ext>
            </a:extLst>
          </p:cNvPr>
          <p:cNvSpPr>
            <a:spLocks noGrp="1" noChangeAspect="1"/>
          </p:cNvSpPr>
          <p:nvPr>
            <p:ph type="pic" sz="quarter" idx="22"/>
          </p:nvPr>
        </p:nvSpPr>
        <p:spPr>
          <a:xfrm>
            <a:off x="638148" y="1164853"/>
            <a:ext cx="1260000" cy="1260000"/>
          </a:xfrm>
          <a:prstGeom prst="ellipse">
            <a:avLst/>
          </a:prstGeom>
          <a:solidFill>
            <a:schemeClr val="bg1">
              <a:lumMod val="95000"/>
            </a:schemeClr>
          </a:solidFill>
        </p:spPr>
        <p:txBody>
          <a:bodyPr/>
          <a:lstStyle/>
          <a:p>
            <a:endParaRPr lang="en-GB"/>
          </a:p>
        </p:txBody>
      </p:sp>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4400" y="417600"/>
            <a:ext cx="11277599" cy="334099"/>
          </a:xfrm>
          <a:prstGeom prst="rect">
            <a:avLst/>
          </a:prstGeom>
          <a:noFill/>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5" name="Text Placeholder 40">
            <a:extLst>
              <a:ext uri="{FF2B5EF4-FFF2-40B4-BE49-F238E27FC236}">
                <a16:creationId xmlns:a16="http://schemas.microsoft.com/office/drawing/2014/main" id="{C192016D-2850-4EC6-5C63-881FD3C111CA}"/>
              </a:ext>
            </a:extLst>
          </p:cNvPr>
          <p:cNvSpPr>
            <a:spLocks noGrp="1"/>
          </p:cNvSpPr>
          <p:nvPr>
            <p:ph type="body" sz="quarter" idx="21" hasCustomPrompt="1"/>
          </p:nvPr>
        </p:nvSpPr>
        <p:spPr>
          <a:xfrm>
            <a:off x="2093823" y="1326392"/>
            <a:ext cx="1758510" cy="836503"/>
          </a:xfrm>
        </p:spPr>
        <p:txBody>
          <a:bodyPr lIns="0">
            <a:noAutofit/>
          </a:bodyPr>
          <a:lstStyle>
            <a:lvl1pPr rtl="0">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rtl="0">
              <a:spcAft>
                <a:spcPts val="200"/>
              </a:spcAft>
              <a:buNone/>
              <a:defRPr sz="1400" b="1" i="0">
                <a:solidFill>
                  <a:schemeClr val="accent2"/>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rtl="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a:t>Fifth level</a:t>
            </a:r>
            <a:endParaRPr lang="en-US" dirty="0"/>
          </a:p>
        </p:txBody>
      </p:sp>
      <p:sp>
        <p:nvSpPr>
          <p:cNvPr id="16" name="Oval 15">
            <a:extLst>
              <a:ext uri="{FF2B5EF4-FFF2-40B4-BE49-F238E27FC236}">
                <a16:creationId xmlns:a16="http://schemas.microsoft.com/office/drawing/2014/main" id="{16183CB6-2C37-0D35-9AC9-CBC1F07A0C6D}"/>
              </a:ext>
            </a:extLst>
          </p:cNvPr>
          <p:cNvSpPr/>
          <p:nvPr userDrawn="1"/>
        </p:nvSpPr>
        <p:spPr bwMode="gray">
          <a:xfrm>
            <a:off x="4049503" y="1366128"/>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17" name="Oval 16">
            <a:extLst>
              <a:ext uri="{FF2B5EF4-FFF2-40B4-BE49-F238E27FC236}">
                <a16:creationId xmlns:a16="http://schemas.microsoft.com/office/drawing/2014/main" id="{E53CDDD6-3D77-259D-FD6C-D6999819CCC3}"/>
              </a:ext>
            </a:extLst>
          </p:cNvPr>
          <p:cNvSpPr/>
          <p:nvPr userDrawn="1"/>
        </p:nvSpPr>
        <p:spPr bwMode="gray">
          <a:xfrm>
            <a:off x="4049503" y="1567862"/>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20" name="Oval 19">
            <a:extLst>
              <a:ext uri="{FF2B5EF4-FFF2-40B4-BE49-F238E27FC236}">
                <a16:creationId xmlns:a16="http://schemas.microsoft.com/office/drawing/2014/main" id="{7968E04B-3FC3-6EF3-5D27-9F13C0A8DC9C}"/>
              </a:ext>
            </a:extLst>
          </p:cNvPr>
          <p:cNvSpPr/>
          <p:nvPr userDrawn="1"/>
        </p:nvSpPr>
        <p:spPr bwMode="gray">
          <a:xfrm>
            <a:off x="4049503" y="1769596"/>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21" name="Oval 20">
            <a:extLst>
              <a:ext uri="{FF2B5EF4-FFF2-40B4-BE49-F238E27FC236}">
                <a16:creationId xmlns:a16="http://schemas.microsoft.com/office/drawing/2014/main" id="{06E287A0-9EF7-1E6C-1997-EACF0E26E6A6}"/>
              </a:ext>
            </a:extLst>
          </p:cNvPr>
          <p:cNvSpPr/>
          <p:nvPr userDrawn="1"/>
        </p:nvSpPr>
        <p:spPr bwMode="gray">
          <a:xfrm>
            <a:off x="4049503" y="1971330"/>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22" name="Graphic 4">
            <a:extLst>
              <a:ext uri="{FF2B5EF4-FFF2-40B4-BE49-F238E27FC236}">
                <a16:creationId xmlns:a16="http://schemas.microsoft.com/office/drawing/2014/main" id="{560B4A67-2682-47AC-49D0-BF1A903D76EB}"/>
              </a:ext>
            </a:extLst>
          </p:cNvPr>
          <p:cNvSpPr>
            <a:spLocks noChangeAspect="1"/>
          </p:cNvSpPr>
          <p:nvPr userDrawn="1"/>
        </p:nvSpPr>
        <p:spPr>
          <a:xfrm>
            <a:off x="4082888" y="1412860"/>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noAutofit/>
          </a:bodyPr>
          <a:lstStyle/>
          <a:p>
            <a:pPr rtl="0"/>
            <a:endParaRPr lang="en-US" dirty="0"/>
          </a:p>
        </p:txBody>
      </p:sp>
      <p:sp>
        <p:nvSpPr>
          <p:cNvPr id="23" name="Graphic 1100">
            <a:extLst>
              <a:ext uri="{FF2B5EF4-FFF2-40B4-BE49-F238E27FC236}">
                <a16:creationId xmlns:a16="http://schemas.microsoft.com/office/drawing/2014/main" id="{C1557683-7396-E359-3DDF-BBFC13C2294D}"/>
              </a:ext>
            </a:extLst>
          </p:cNvPr>
          <p:cNvSpPr/>
          <p:nvPr userDrawn="1"/>
        </p:nvSpPr>
        <p:spPr>
          <a:xfrm>
            <a:off x="4086368" y="1606132"/>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noAutofit/>
          </a:bodyPr>
          <a:lstStyle/>
          <a:p>
            <a:pPr rtl="0"/>
            <a:endParaRPr lang="en-US" dirty="0">
              <a:solidFill>
                <a:schemeClr val="accent5"/>
              </a:solidFill>
            </a:endParaRPr>
          </a:p>
        </p:txBody>
      </p:sp>
      <p:grpSp>
        <p:nvGrpSpPr>
          <p:cNvPr id="24" name="Graphic 4">
            <a:extLst>
              <a:ext uri="{FF2B5EF4-FFF2-40B4-BE49-F238E27FC236}">
                <a16:creationId xmlns:a16="http://schemas.microsoft.com/office/drawing/2014/main" id="{30F51514-562A-E413-9DD5-272FABCC31DC}"/>
              </a:ext>
            </a:extLst>
          </p:cNvPr>
          <p:cNvGrpSpPr/>
          <p:nvPr userDrawn="1"/>
        </p:nvGrpSpPr>
        <p:grpSpPr>
          <a:xfrm>
            <a:off x="4095842" y="1804961"/>
            <a:ext cx="73565" cy="101091"/>
            <a:chOff x="2656935" y="4857096"/>
            <a:chExt cx="170032" cy="233653"/>
          </a:xfrm>
          <a:solidFill>
            <a:schemeClr val="bg1"/>
          </a:solidFill>
        </p:grpSpPr>
        <p:sp>
          <p:nvSpPr>
            <p:cNvPr id="25" name="Graphic 4">
              <a:extLst>
                <a:ext uri="{FF2B5EF4-FFF2-40B4-BE49-F238E27FC236}">
                  <a16:creationId xmlns:a16="http://schemas.microsoft.com/office/drawing/2014/main" id="{038E7B2A-D65E-29DD-72BD-1C9E8E652C6A}"/>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noAutofit/>
            </a:bodyPr>
            <a:lstStyle/>
            <a:p>
              <a:pPr rtl="0"/>
              <a:endParaRPr lang="en-US" dirty="0"/>
            </a:p>
          </p:txBody>
        </p:sp>
        <p:sp>
          <p:nvSpPr>
            <p:cNvPr id="26" name="Graphic 4">
              <a:extLst>
                <a:ext uri="{FF2B5EF4-FFF2-40B4-BE49-F238E27FC236}">
                  <a16:creationId xmlns:a16="http://schemas.microsoft.com/office/drawing/2014/main" id="{73E6F964-9AB0-DDBD-2208-5BDDBA655EF3}"/>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noAutofit/>
            </a:bodyPr>
            <a:lstStyle/>
            <a:p>
              <a:pPr rtl="0"/>
              <a:endParaRPr lang="en-US" dirty="0"/>
            </a:p>
          </p:txBody>
        </p:sp>
      </p:grpSp>
      <p:sp>
        <p:nvSpPr>
          <p:cNvPr id="27" name="Graphic 4">
            <a:extLst>
              <a:ext uri="{FF2B5EF4-FFF2-40B4-BE49-F238E27FC236}">
                <a16:creationId xmlns:a16="http://schemas.microsoft.com/office/drawing/2014/main" id="{66D0D708-E723-17E9-BCD1-7D43DBC08C24}"/>
              </a:ext>
            </a:extLst>
          </p:cNvPr>
          <p:cNvSpPr/>
          <p:nvPr userDrawn="1"/>
        </p:nvSpPr>
        <p:spPr>
          <a:xfrm>
            <a:off x="4088721" y="2016349"/>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noAutofit/>
          </a:bodyPr>
          <a:lstStyle/>
          <a:p>
            <a:pPr rtl="0"/>
            <a:endParaRPr lang="en-US" dirty="0"/>
          </a:p>
        </p:txBody>
      </p:sp>
      <p:sp>
        <p:nvSpPr>
          <p:cNvPr id="28" name="Text Placeholder 27">
            <a:extLst>
              <a:ext uri="{FF2B5EF4-FFF2-40B4-BE49-F238E27FC236}">
                <a16:creationId xmlns:a16="http://schemas.microsoft.com/office/drawing/2014/main" id="{19640466-C60C-8500-2B3F-3380C21679AD}"/>
              </a:ext>
            </a:extLst>
          </p:cNvPr>
          <p:cNvSpPr>
            <a:spLocks noGrp="1"/>
          </p:cNvSpPr>
          <p:nvPr>
            <p:ph type="body" sz="quarter" idx="16"/>
          </p:nvPr>
        </p:nvSpPr>
        <p:spPr>
          <a:xfrm>
            <a:off x="4298660" y="1364405"/>
            <a:ext cx="1644941"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9" name="Text Placeholder 27">
            <a:extLst>
              <a:ext uri="{FF2B5EF4-FFF2-40B4-BE49-F238E27FC236}">
                <a16:creationId xmlns:a16="http://schemas.microsoft.com/office/drawing/2014/main" id="{5835141B-C563-EB7C-2FCC-3217E06CB2D6}"/>
              </a:ext>
            </a:extLst>
          </p:cNvPr>
          <p:cNvSpPr>
            <a:spLocks noGrp="1"/>
          </p:cNvSpPr>
          <p:nvPr>
            <p:ph type="body" sz="quarter" idx="17"/>
          </p:nvPr>
        </p:nvSpPr>
        <p:spPr>
          <a:xfrm>
            <a:off x="4298660" y="1566012"/>
            <a:ext cx="1644941"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0" name="Text Placeholder 27">
            <a:extLst>
              <a:ext uri="{FF2B5EF4-FFF2-40B4-BE49-F238E27FC236}">
                <a16:creationId xmlns:a16="http://schemas.microsoft.com/office/drawing/2014/main" id="{3B330040-00E9-C85C-043C-1532E2D0C695}"/>
              </a:ext>
            </a:extLst>
          </p:cNvPr>
          <p:cNvSpPr>
            <a:spLocks noGrp="1"/>
          </p:cNvSpPr>
          <p:nvPr>
            <p:ph type="body" sz="quarter" idx="18"/>
          </p:nvPr>
        </p:nvSpPr>
        <p:spPr>
          <a:xfrm>
            <a:off x="4298660" y="1767527"/>
            <a:ext cx="1644941"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1" name="Text Placeholder 27">
            <a:extLst>
              <a:ext uri="{FF2B5EF4-FFF2-40B4-BE49-F238E27FC236}">
                <a16:creationId xmlns:a16="http://schemas.microsoft.com/office/drawing/2014/main" id="{CA8D9D34-2CDD-EE9F-FDEE-E2D0F0B3CF2F}"/>
              </a:ext>
            </a:extLst>
          </p:cNvPr>
          <p:cNvSpPr>
            <a:spLocks noGrp="1"/>
          </p:cNvSpPr>
          <p:nvPr>
            <p:ph type="body" sz="quarter" idx="19"/>
          </p:nvPr>
        </p:nvSpPr>
        <p:spPr>
          <a:xfrm>
            <a:off x="4298660" y="1969210"/>
            <a:ext cx="1644941"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4" name="Text Placeholder 4">
            <a:extLst>
              <a:ext uri="{FF2B5EF4-FFF2-40B4-BE49-F238E27FC236}">
                <a16:creationId xmlns:a16="http://schemas.microsoft.com/office/drawing/2014/main" id="{96FF3014-BCB5-AD37-D9B1-BC0927F32221}"/>
              </a:ext>
            </a:extLst>
          </p:cNvPr>
          <p:cNvSpPr>
            <a:spLocks noGrp="1"/>
          </p:cNvSpPr>
          <p:nvPr>
            <p:ph type="body" sz="quarter" idx="33"/>
          </p:nvPr>
        </p:nvSpPr>
        <p:spPr>
          <a:xfrm>
            <a:off x="630603" y="2750077"/>
            <a:ext cx="5312998" cy="3339438"/>
          </a:xfrm>
        </p:spPr>
        <p:txBody>
          <a:bodyPr numCol="2" spcCol="216000">
            <a:normAutofit/>
          </a:bodyPr>
          <a:lstStyle>
            <a:lvl1pPr rtl="0">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rtl="0">
              <a:defRPr sz="900" b="0" i="0">
                <a:latin typeface="Open Sans Light" panose="020B0306030504020204" pitchFamily="34" charset="0"/>
                <a:ea typeface="Open Sans Light" panose="020B0306030504020204" pitchFamily="34" charset="0"/>
                <a:cs typeface="Open Sans Light" panose="020B0306030504020204" pitchFamily="34" charset="0"/>
              </a:defRPr>
            </a:lvl2pPr>
            <a:lvl3pPr rtl="0">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rtl="0">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rtl="0">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Text Placeholder 4">
            <a:extLst>
              <a:ext uri="{FF2B5EF4-FFF2-40B4-BE49-F238E27FC236}">
                <a16:creationId xmlns:a16="http://schemas.microsoft.com/office/drawing/2014/main" id="{4F3A36BD-9EF7-2720-54BE-39F004C4AB57}"/>
              </a:ext>
            </a:extLst>
          </p:cNvPr>
          <p:cNvSpPr>
            <a:spLocks noGrp="1"/>
          </p:cNvSpPr>
          <p:nvPr>
            <p:ph type="body" sz="quarter" idx="34"/>
          </p:nvPr>
        </p:nvSpPr>
        <p:spPr>
          <a:xfrm>
            <a:off x="6248400" y="2750077"/>
            <a:ext cx="5312998" cy="3339438"/>
          </a:xfrm>
        </p:spPr>
        <p:txBody>
          <a:bodyPr numCol="2" spcCol="216000">
            <a:normAutofit/>
          </a:bodyPr>
          <a:lstStyle>
            <a:lvl1pPr rtl="0">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rtl="0">
              <a:defRPr sz="900" b="0" i="0">
                <a:latin typeface="Open Sans Light" panose="020B0306030504020204" pitchFamily="34" charset="0"/>
                <a:ea typeface="Open Sans Light" panose="020B0306030504020204" pitchFamily="34" charset="0"/>
                <a:cs typeface="Open Sans Light" panose="020B0306030504020204" pitchFamily="34" charset="0"/>
              </a:defRPr>
            </a:lvl2pPr>
            <a:lvl3pPr rtl="0">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rtl="0">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rtl="0">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6" name="Picture 35">
            <a:extLst>
              <a:ext uri="{FF2B5EF4-FFF2-40B4-BE49-F238E27FC236}">
                <a16:creationId xmlns:a16="http://schemas.microsoft.com/office/drawing/2014/main" id="{DE8057B3-7388-0A6F-0F23-7544D551B7D8}"/>
              </a:ext>
            </a:extLst>
          </p:cNvPr>
          <p:cNvPicPr>
            <a:picLocks noChangeAspect="1"/>
          </p:cNvPicPr>
          <p:nvPr userDrawn="1"/>
        </p:nvPicPr>
        <p:blipFill rotWithShape="1">
          <a:blip r:embed="rId5" cstate="email">
            <a:alphaModFix amt="35000"/>
            <a:extLst>
              <a:ext uri="{28A0092B-C50C-407E-A947-70E740481C1C}">
                <a14:useLocalDpi xmlns:a14="http://schemas.microsoft.com/office/drawing/2010/main"/>
              </a:ext>
            </a:extLst>
          </a:blip>
          <a:srcRect/>
          <a:stretch/>
        </p:blipFill>
        <p:spPr>
          <a:xfrm>
            <a:off x="6571348" y="1170804"/>
            <a:ext cx="5125569" cy="1402741"/>
          </a:xfrm>
          <a:prstGeom prst="rect">
            <a:avLst/>
          </a:prstGeom>
        </p:spPr>
      </p:pic>
      <p:sp>
        <p:nvSpPr>
          <p:cNvPr id="37" name="Text Placeholder 40">
            <a:extLst>
              <a:ext uri="{FF2B5EF4-FFF2-40B4-BE49-F238E27FC236}">
                <a16:creationId xmlns:a16="http://schemas.microsoft.com/office/drawing/2014/main" id="{FFF32CB5-3606-E7B0-FDBB-CB32C961D0D5}"/>
              </a:ext>
            </a:extLst>
          </p:cNvPr>
          <p:cNvSpPr>
            <a:spLocks noGrp="1"/>
          </p:cNvSpPr>
          <p:nvPr>
            <p:ph type="body" sz="quarter" idx="35" hasCustomPrompt="1"/>
          </p:nvPr>
        </p:nvSpPr>
        <p:spPr>
          <a:xfrm>
            <a:off x="7694741" y="1338911"/>
            <a:ext cx="1758510" cy="836503"/>
          </a:xfrm>
        </p:spPr>
        <p:txBody>
          <a:bodyPr lIns="0">
            <a:noAutofit/>
          </a:bodyPr>
          <a:lstStyle>
            <a:lvl1pPr rtl="0">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rtl="0">
              <a:spcAft>
                <a:spcPts val="200"/>
              </a:spcAft>
              <a:buNone/>
              <a:defRPr sz="1400" b="1" i="0">
                <a:solidFill>
                  <a:schemeClr val="accent2"/>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rtl="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a:t>Fifth level</a:t>
            </a:r>
            <a:endParaRPr lang="en-US" dirty="0"/>
          </a:p>
        </p:txBody>
      </p:sp>
      <p:sp>
        <p:nvSpPr>
          <p:cNvPr id="38" name="Oval 37">
            <a:extLst>
              <a:ext uri="{FF2B5EF4-FFF2-40B4-BE49-F238E27FC236}">
                <a16:creationId xmlns:a16="http://schemas.microsoft.com/office/drawing/2014/main" id="{917FCE54-278B-6AE2-F477-C8184A9A1787}"/>
              </a:ext>
            </a:extLst>
          </p:cNvPr>
          <p:cNvSpPr/>
          <p:nvPr userDrawn="1"/>
        </p:nvSpPr>
        <p:spPr bwMode="gray">
          <a:xfrm>
            <a:off x="9650421" y="1378647"/>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39" name="Oval 38">
            <a:extLst>
              <a:ext uri="{FF2B5EF4-FFF2-40B4-BE49-F238E27FC236}">
                <a16:creationId xmlns:a16="http://schemas.microsoft.com/office/drawing/2014/main" id="{4E2A740D-0222-5290-1D63-27ACE77A7F85}"/>
              </a:ext>
            </a:extLst>
          </p:cNvPr>
          <p:cNvSpPr/>
          <p:nvPr userDrawn="1"/>
        </p:nvSpPr>
        <p:spPr bwMode="gray">
          <a:xfrm>
            <a:off x="9650421" y="1580381"/>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40" name="Oval 39">
            <a:extLst>
              <a:ext uri="{FF2B5EF4-FFF2-40B4-BE49-F238E27FC236}">
                <a16:creationId xmlns:a16="http://schemas.microsoft.com/office/drawing/2014/main" id="{2A7706A1-5AE3-9BDC-636A-1C6486B518B3}"/>
              </a:ext>
            </a:extLst>
          </p:cNvPr>
          <p:cNvSpPr/>
          <p:nvPr userDrawn="1"/>
        </p:nvSpPr>
        <p:spPr bwMode="gray">
          <a:xfrm>
            <a:off x="9650421" y="1782115"/>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41" name="Oval 40">
            <a:extLst>
              <a:ext uri="{FF2B5EF4-FFF2-40B4-BE49-F238E27FC236}">
                <a16:creationId xmlns:a16="http://schemas.microsoft.com/office/drawing/2014/main" id="{F4BFDBCD-A855-4434-185C-37BC16EB2BF7}"/>
              </a:ext>
            </a:extLst>
          </p:cNvPr>
          <p:cNvSpPr/>
          <p:nvPr userDrawn="1"/>
        </p:nvSpPr>
        <p:spPr bwMode="gray">
          <a:xfrm>
            <a:off x="9650421" y="1983849"/>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42" name="Graphic 4">
            <a:extLst>
              <a:ext uri="{FF2B5EF4-FFF2-40B4-BE49-F238E27FC236}">
                <a16:creationId xmlns:a16="http://schemas.microsoft.com/office/drawing/2014/main" id="{BB62A7F7-EA1B-8047-928F-1FA45DFE8A64}"/>
              </a:ext>
            </a:extLst>
          </p:cNvPr>
          <p:cNvSpPr>
            <a:spLocks noChangeAspect="1"/>
          </p:cNvSpPr>
          <p:nvPr userDrawn="1"/>
        </p:nvSpPr>
        <p:spPr>
          <a:xfrm>
            <a:off x="9683806" y="1425379"/>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lstStyle/>
          <a:p>
            <a:pPr rtl="0"/>
            <a:endParaRPr lang="en-US" dirty="0"/>
          </a:p>
        </p:txBody>
      </p:sp>
      <p:sp>
        <p:nvSpPr>
          <p:cNvPr id="43" name="Graphic 1100">
            <a:extLst>
              <a:ext uri="{FF2B5EF4-FFF2-40B4-BE49-F238E27FC236}">
                <a16:creationId xmlns:a16="http://schemas.microsoft.com/office/drawing/2014/main" id="{95E52BF0-4397-A988-D07C-019F398F859A}"/>
              </a:ext>
            </a:extLst>
          </p:cNvPr>
          <p:cNvSpPr/>
          <p:nvPr userDrawn="1"/>
        </p:nvSpPr>
        <p:spPr>
          <a:xfrm>
            <a:off x="9687286" y="1618651"/>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lstStyle/>
          <a:p>
            <a:pPr rtl="0"/>
            <a:endParaRPr lang="en-US" dirty="0">
              <a:solidFill>
                <a:schemeClr val="accent5"/>
              </a:solidFill>
            </a:endParaRPr>
          </a:p>
        </p:txBody>
      </p:sp>
      <p:grpSp>
        <p:nvGrpSpPr>
          <p:cNvPr id="44" name="Graphic 4">
            <a:extLst>
              <a:ext uri="{FF2B5EF4-FFF2-40B4-BE49-F238E27FC236}">
                <a16:creationId xmlns:a16="http://schemas.microsoft.com/office/drawing/2014/main" id="{40FA3299-2331-EFD1-2D1F-087321644E15}"/>
              </a:ext>
            </a:extLst>
          </p:cNvPr>
          <p:cNvGrpSpPr/>
          <p:nvPr userDrawn="1"/>
        </p:nvGrpSpPr>
        <p:grpSpPr>
          <a:xfrm>
            <a:off x="9696760" y="1817480"/>
            <a:ext cx="73565" cy="101091"/>
            <a:chOff x="2656935" y="4857096"/>
            <a:chExt cx="170032" cy="233653"/>
          </a:xfrm>
          <a:solidFill>
            <a:schemeClr val="bg1"/>
          </a:solidFill>
        </p:grpSpPr>
        <p:sp>
          <p:nvSpPr>
            <p:cNvPr id="45" name="Graphic 4">
              <a:extLst>
                <a:ext uri="{FF2B5EF4-FFF2-40B4-BE49-F238E27FC236}">
                  <a16:creationId xmlns:a16="http://schemas.microsoft.com/office/drawing/2014/main" id="{553FD3DE-1AD9-9AA3-C401-1960D7FCE65E}"/>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pPr rtl="0"/>
              <a:endParaRPr lang="en-US" dirty="0"/>
            </a:p>
          </p:txBody>
        </p:sp>
        <p:sp>
          <p:nvSpPr>
            <p:cNvPr id="46" name="Graphic 4">
              <a:extLst>
                <a:ext uri="{FF2B5EF4-FFF2-40B4-BE49-F238E27FC236}">
                  <a16:creationId xmlns:a16="http://schemas.microsoft.com/office/drawing/2014/main" id="{88B8026E-D027-1C15-D92C-52FC80D21A9D}"/>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pPr rtl="0"/>
              <a:endParaRPr lang="en-US" dirty="0"/>
            </a:p>
          </p:txBody>
        </p:sp>
      </p:grpSp>
      <p:sp>
        <p:nvSpPr>
          <p:cNvPr id="47" name="Graphic 4">
            <a:extLst>
              <a:ext uri="{FF2B5EF4-FFF2-40B4-BE49-F238E27FC236}">
                <a16:creationId xmlns:a16="http://schemas.microsoft.com/office/drawing/2014/main" id="{5C0B6975-3442-D29D-6B9D-8E4A7E84BC0F}"/>
              </a:ext>
            </a:extLst>
          </p:cNvPr>
          <p:cNvSpPr/>
          <p:nvPr userDrawn="1"/>
        </p:nvSpPr>
        <p:spPr>
          <a:xfrm>
            <a:off x="9689639" y="2028868"/>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lstStyle/>
          <a:p>
            <a:pPr rtl="0"/>
            <a:endParaRPr lang="en-US" dirty="0"/>
          </a:p>
        </p:txBody>
      </p:sp>
      <p:sp>
        <p:nvSpPr>
          <p:cNvPr id="48" name="Text Placeholder 27">
            <a:extLst>
              <a:ext uri="{FF2B5EF4-FFF2-40B4-BE49-F238E27FC236}">
                <a16:creationId xmlns:a16="http://schemas.microsoft.com/office/drawing/2014/main" id="{AAFD8DF9-E795-E52B-74BD-064D0DDF7938}"/>
              </a:ext>
            </a:extLst>
          </p:cNvPr>
          <p:cNvSpPr>
            <a:spLocks noGrp="1"/>
          </p:cNvSpPr>
          <p:nvPr>
            <p:ph type="body" sz="quarter" idx="36"/>
          </p:nvPr>
        </p:nvSpPr>
        <p:spPr>
          <a:xfrm>
            <a:off x="9899578" y="1376924"/>
            <a:ext cx="1644941"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49" name="Text Placeholder 27">
            <a:extLst>
              <a:ext uri="{FF2B5EF4-FFF2-40B4-BE49-F238E27FC236}">
                <a16:creationId xmlns:a16="http://schemas.microsoft.com/office/drawing/2014/main" id="{C94AA6E0-3435-51C6-29B6-19C3D696025E}"/>
              </a:ext>
            </a:extLst>
          </p:cNvPr>
          <p:cNvSpPr>
            <a:spLocks noGrp="1"/>
          </p:cNvSpPr>
          <p:nvPr>
            <p:ph type="body" sz="quarter" idx="37"/>
          </p:nvPr>
        </p:nvSpPr>
        <p:spPr>
          <a:xfrm>
            <a:off x="9899578" y="1578531"/>
            <a:ext cx="1644941"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50" name="Text Placeholder 27">
            <a:extLst>
              <a:ext uri="{FF2B5EF4-FFF2-40B4-BE49-F238E27FC236}">
                <a16:creationId xmlns:a16="http://schemas.microsoft.com/office/drawing/2014/main" id="{D82E2F06-4FE2-2869-E896-557F8232EE5D}"/>
              </a:ext>
            </a:extLst>
          </p:cNvPr>
          <p:cNvSpPr>
            <a:spLocks noGrp="1"/>
          </p:cNvSpPr>
          <p:nvPr>
            <p:ph type="body" sz="quarter" idx="38"/>
          </p:nvPr>
        </p:nvSpPr>
        <p:spPr>
          <a:xfrm>
            <a:off x="9899578" y="1780046"/>
            <a:ext cx="1644941"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51" name="Text Placeholder 27">
            <a:extLst>
              <a:ext uri="{FF2B5EF4-FFF2-40B4-BE49-F238E27FC236}">
                <a16:creationId xmlns:a16="http://schemas.microsoft.com/office/drawing/2014/main" id="{23F6B958-6DFF-7162-563B-1D50C64D695F}"/>
              </a:ext>
            </a:extLst>
          </p:cNvPr>
          <p:cNvSpPr>
            <a:spLocks noGrp="1"/>
          </p:cNvSpPr>
          <p:nvPr>
            <p:ph type="body" sz="quarter" idx="39"/>
          </p:nvPr>
        </p:nvSpPr>
        <p:spPr>
          <a:xfrm>
            <a:off x="9899578" y="1981729"/>
            <a:ext cx="1644941"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8" name="Picture Placeholder 8">
            <a:extLst>
              <a:ext uri="{FF2B5EF4-FFF2-40B4-BE49-F238E27FC236}">
                <a16:creationId xmlns:a16="http://schemas.microsoft.com/office/drawing/2014/main" id="{0FB74A1A-8F13-4DAA-B784-C6CC37D1DD03}"/>
              </a:ext>
            </a:extLst>
          </p:cNvPr>
          <p:cNvSpPr>
            <a:spLocks noGrp="1" noChangeAspect="1"/>
          </p:cNvSpPr>
          <p:nvPr>
            <p:ph type="pic" sz="quarter" idx="14"/>
          </p:nvPr>
        </p:nvSpPr>
        <p:spPr>
          <a:xfrm>
            <a:off x="6220441" y="1164853"/>
            <a:ext cx="1260000" cy="1260000"/>
          </a:xfrm>
          <a:prstGeom prst="ellipse">
            <a:avLst/>
          </a:prstGeom>
          <a:solidFill>
            <a:schemeClr val="bg1">
              <a:lumMod val="95000"/>
            </a:schemeClr>
          </a:solidFill>
        </p:spPr>
        <p:txBody>
          <a:bodyPr/>
          <a:lstStyle/>
          <a:p>
            <a:endParaRPr lang="en-GB"/>
          </a:p>
        </p:txBody>
      </p:sp>
    </p:spTree>
    <p:extLst>
      <p:ext uri="{BB962C8B-B14F-4D97-AF65-F5344CB8AC3E}">
        <p14:creationId xmlns:p14="http://schemas.microsoft.com/office/powerpoint/2010/main" val="296553380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V_x1">
    <p:bg>
      <p:bgPr>
        <a:solidFill>
          <a:srgbClr val="ECECEC"/>
        </a:solidFill>
        <a:effectLst/>
      </p:bgPr>
    </p:bg>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F9BD94F0-28F4-620E-1942-8BB27B6DA765}"/>
              </a:ext>
            </a:extLst>
          </p:cNvPr>
          <p:cNvGraphicFramePr>
            <a:graphicFrameLocks noChangeAspect="1"/>
          </p:cNvGraphicFramePr>
          <p:nvPr userDrawn="1">
            <p:custDataLst>
              <p:tags r:id="rId1"/>
            </p:custDataLst>
            <p:extLst>
              <p:ext uri="{D42A27DB-BD31-4B8C-83A1-F6EECF244321}">
                <p14:modId xmlns:p14="http://schemas.microsoft.com/office/powerpoint/2010/main" val="1065538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5" name="think-cell data - do not delete" hidden="1">
                        <a:extLst>
                          <a:ext uri="{FF2B5EF4-FFF2-40B4-BE49-F238E27FC236}">
                            <a16:creationId xmlns:a16="http://schemas.microsoft.com/office/drawing/2014/main" id="{F9BD94F0-28F4-620E-1942-8BB27B6DA7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5258D1C-A143-148E-F52B-591EE07CAA65}"/>
              </a:ext>
            </a:extLst>
          </p:cNvPr>
          <p:cNvSpPr/>
          <p:nvPr userDrawn="1"/>
        </p:nvSpPr>
        <p:spPr bwMode="gray">
          <a:xfrm>
            <a:off x="467125" y="1026695"/>
            <a:ext cx="11267675" cy="5336005"/>
          </a:xfrm>
          <a:prstGeom prst="rect">
            <a:avLst/>
          </a:prstGeom>
          <a:solidFill>
            <a:schemeClr val="bg1"/>
          </a:solid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pic>
        <p:nvPicPr>
          <p:cNvPr id="4" name="Picture 3">
            <a:extLst>
              <a:ext uri="{FF2B5EF4-FFF2-40B4-BE49-F238E27FC236}">
                <a16:creationId xmlns:a16="http://schemas.microsoft.com/office/drawing/2014/main" id="{05BCDCB8-CF55-25F5-EEC3-7821441D4556}"/>
              </a:ext>
            </a:extLst>
          </p:cNvPr>
          <p:cNvPicPr>
            <a:picLocks noChangeAspect="1"/>
          </p:cNvPicPr>
          <p:nvPr userDrawn="1"/>
        </p:nvPicPr>
        <p:blipFill rotWithShape="1">
          <a:blip r:embed="rId5" cstate="email">
            <a:alphaModFix amt="35000"/>
            <a:extLst>
              <a:ext uri="{28A0092B-C50C-407E-A947-70E740481C1C}">
                <a14:useLocalDpi xmlns:a14="http://schemas.microsoft.com/office/drawing/2010/main"/>
              </a:ext>
            </a:extLst>
          </a:blip>
          <a:srcRect/>
          <a:stretch/>
        </p:blipFill>
        <p:spPr>
          <a:xfrm>
            <a:off x="970430" y="1158285"/>
            <a:ext cx="10667387" cy="1402741"/>
          </a:xfrm>
          <a:prstGeom prst="rect">
            <a:avLst/>
          </a:prstGeom>
        </p:spPr>
      </p:pic>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4400" y="417600"/>
            <a:ext cx="11277599" cy="334099"/>
          </a:xfrm>
          <a:prstGeom prst="rect">
            <a:avLst/>
          </a:prstGeom>
          <a:noFill/>
        </p:spPr>
        <p:txBody>
          <a:bodyPr vert="horz" lIns="0" tIns="0" rIns="0" bIns="0" rtlCol="0" anchor="t" anchorCtr="0">
            <a:noAutofit/>
          </a:bodyPr>
          <a:lstStyle>
            <a:lvl1pPr rtl="0">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6" name="Text Placeholder 7">
            <a:extLst>
              <a:ext uri="{FF2B5EF4-FFF2-40B4-BE49-F238E27FC236}">
                <a16:creationId xmlns:a16="http://schemas.microsoft.com/office/drawing/2014/main" id="{059F9F0C-D7EA-4D6D-B819-3DAA187FDA77}"/>
              </a:ext>
            </a:extLst>
          </p:cNvPr>
          <p:cNvSpPr>
            <a:spLocks noGrp="1"/>
          </p:cNvSpPr>
          <p:nvPr>
            <p:ph type="body" sz="quarter" idx="15" hasCustomPrompt="1"/>
          </p:nvPr>
        </p:nvSpPr>
        <p:spPr>
          <a:xfrm>
            <a:off x="638148" y="2750008"/>
            <a:ext cx="5305452" cy="3408049"/>
          </a:xfrm>
        </p:spPr>
        <p:txBody>
          <a:bodyPr lIns="0">
            <a:noAutofit/>
          </a:bodyPr>
          <a:lstStyle>
            <a:lvl1pPr rtl="0">
              <a:spcBef>
                <a:spcPts val="200"/>
              </a:spcBef>
              <a:spcAft>
                <a:spcPts val="300"/>
              </a:spcAft>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rtl="0">
              <a:spcBef>
                <a:spcPts val="200"/>
              </a:spcBef>
              <a:spcAft>
                <a:spcPts val="300"/>
              </a:spcAft>
              <a:buNone/>
              <a:defRPr sz="9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80975" indent="-180975" rtl="0">
              <a:spcBef>
                <a:spcPts val="200"/>
              </a:spcBef>
              <a:spcAft>
                <a:spcPts val="300"/>
              </a:spcAft>
              <a:buFont typeface="Arial" panose="020B0604020202020204" pitchFamily="34" charset="0"/>
              <a:buChar char="•"/>
              <a:tabLst>
                <a:tab pos="180975" algn="l"/>
              </a:tabLst>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marL="357188" indent="-176213" rtl="0">
              <a:spcBef>
                <a:spcPts val="200"/>
              </a:spcBef>
              <a:spcAft>
                <a:spcPts val="300"/>
              </a:spcAft>
              <a:buFont typeface="Calibri" panose="020F0502020204030204" pitchFamily="34" charset="0"/>
              <a:buChar cha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spcBef>
                <a:spcPts val="200"/>
              </a:spcBef>
              <a:spcAft>
                <a:spcPts val="300"/>
              </a:spcAft>
              <a:buNone/>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Text Placeholder 7">
            <a:extLst>
              <a:ext uri="{FF2B5EF4-FFF2-40B4-BE49-F238E27FC236}">
                <a16:creationId xmlns:a16="http://schemas.microsoft.com/office/drawing/2014/main" id="{7682BE68-DFC7-491B-AF65-1A4E7619A5F2}"/>
              </a:ext>
            </a:extLst>
          </p:cNvPr>
          <p:cNvSpPr>
            <a:spLocks noGrp="1"/>
          </p:cNvSpPr>
          <p:nvPr>
            <p:ph type="body" sz="quarter" idx="25" hasCustomPrompt="1"/>
          </p:nvPr>
        </p:nvSpPr>
        <p:spPr>
          <a:xfrm>
            <a:off x="6248401" y="2750007"/>
            <a:ext cx="5305452" cy="3408049"/>
          </a:xfrm>
        </p:spPr>
        <p:txBody>
          <a:bodyPr lIns="0">
            <a:noAutofit/>
          </a:bodyPr>
          <a:lstStyle>
            <a:lvl1pPr rtl="0">
              <a:spcBef>
                <a:spcPts val="200"/>
              </a:spcBef>
              <a:spcAft>
                <a:spcPts val="300"/>
              </a:spcAft>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rtl="0">
              <a:spcBef>
                <a:spcPts val="200"/>
              </a:spcBef>
              <a:spcAft>
                <a:spcPts val="300"/>
              </a:spcAft>
              <a:buNone/>
              <a:defRPr sz="9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80975" indent="-180975" rtl="0">
              <a:spcBef>
                <a:spcPts val="200"/>
              </a:spcBef>
              <a:spcAft>
                <a:spcPts val="300"/>
              </a:spcAft>
              <a:buFont typeface="Arial" panose="020B0604020202020204" pitchFamily="34" charset="0"/>
              <a:buChar char="•"/>
              <a:tabLst>
                <a:tab pos="180975" algn="l"/>
              </a:tabLst>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marL="357188" indent="-176213" rtl="0">
              <a:spcBef>
                <a:spcPts val="200"/>
              </a:spcBef>
              <a:spcAft>
                <a:spcPts val="300"/>
              </a:spcAft>
              <a:buFont typeface="Calibri" panose="020F0502020204030204" pitchFamily="34" charset="0"/>
              <a:buChar cha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spcBef>
                <a:spcPts val="200"/>
              </a:spcBef>
              <a:spcAft>
                <a:spcPts val="300"/>
              </a:spcAft>
              <a:buNone/>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Picture Placeholder 8">
            <a:extLst>
              <a:ext uri="{FF2B5EF4-FFF2-40B4-BE49-F238E27FC236}">
                <a16:creationId xmlns:a16="http://schemas.microsoft.com/office/drawing/2014/main" id="{942DD90D-D621-FA6C-D989-EE0070A6D8A0}"/>
              </a:ext>
            </a:extLst>
          </p:cNvPr>
          <p:cNvSpPr>
            <a:spLocks noGrp="1" noChangeAspect="1"/>
          </p:cNvSpPr>
          <p:nvPr>
            <p:ph type="pic" sz="quarter" idx="22"/>
          </p:nvPr>
        </p:nvSpPr>
        <p:spPr>
          <a:xfrm>
            <a:off x="638148" y="1164853"/>
            <a:ext cx="1260000" cy="1260000"/>
          </a:xfrm>
          <a:prstGeom prst="ellipse">
            <a:avLst/>
          </a:prstGeom>
          <a:solidFill>
            <a:schemeClr val="bg1">
              <a:lumMod val="95000"/>
            </a:schemeClr>
          </a:solidFill>
        </p:spPr>
        <p:txBody>
          <a:bodyPr/>
          <a:lstStyle/>
          <a:p>
            <a:endParaRPr lang="en-GB"/>
          </a:p>
        </p:txBody>
      </p:sp>
      <p:sp>
        <p:nvSpPr>
          <p:cNvPr id="7" name="Text Placeholder 40">
            <a:extLst>
              <a:ext uri="{FF2B5EF4-FFF2-40B4-BE49-F238E27FC236}">
                <a16:creationId xmlns:a16="http://schemas.microsoft.com/office/drawing/2014/main" id="{4C2DDF78-2626-387F-4FA4-C3DB369E634C}"/>
              </a:ext>
            </a:extLst>
          </p:cNvPr>
          <p:cNvSpPr>
            <a:spLocks noGrp="1"/>
          </p:cNvSpPr>
          <p:nvPr>
            <p:ph type="body" sz="quarter" idx="21" hasCustomPrompt="1"/>
          </p:nvPr>
        </p:nvSpPr>
        <p:spPr>
          <a:xfrm>
            <a:off x="2094523" y="1326392"/>
            <a:ext cx="3464293" cy="836503"/>
          </a:xfrm>
        </p:spPr>
        <p:txBody>
          <a:bodyPr lIns="0">
            <a:noAutofit/>
          </a:bodyPr>
          <a:lstStyle>
            <a:lvl1pPr rtl="0">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rtl="0">
              <a:spcAft>
                <a:spcPts val="200"/>
              </a:spcAft>
              <a:buNone/>
              <a:defRPr sz="1400" b="1" i="0">
                <a:solidFill>
                  <a:schemeClr val="accent2"/>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rtl="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a:t>Fifth level</a:t>
            </a:r>
            <a:endParaRPr lang="en-US" dirty="0"/>
          </a:p>
        </p:txBody>
      </p:sp>
      <p:sp>
        <p:nvSpPr>
          <p:cNvPr id="10" name="Oval 9">
            <a:extLst>
              <a:ext uri="{FF2B5EF4-FFF2-40B4-BE49-F238E27FC236}">
                <a16:creationId xmlns:a16="http://schemas.microsoft.com/office/drawing/2014/main" id="{AD943B81-ED1B-389B-57F5-0148B9C4A4A4}"/>
              </a:ext>
            </a:extLst>
          </p:cNvPr>
          <p:cNvSpPr/>
          <p:nvPr userDrawn="1"/>
        </p:nvSpPr>
        <p:spPr bwMode="gray">
          <a:xfrm>
            <a:off x="6262954" y="1366128"/>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11" name="Oval 10">
            <a:extLst>
              <a:ext uri="{FF2B5EF4-FFF2-40B4-BE49-F238E27FC236}">
                <a16:creationId xmlns:a16="http://schemas.microsoft.com/office/drawing/2014/main" id="{CB62CD10-D3B0-525A-157B-F501004E7FA9}"/>
              </a:ext>
            </a:extLst>
          </p:cNvPr>
          <p:cNvSpPr/>
          <p:nvPr userDrawn="1"/>
        </p:nvSpPr>
        <p:spPr bwMode="gray">
          <a:xfrm>
            <a:off x="6262954" y="1567862"/>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EF7F918C-8F65-62E6-5F15-3CCB39835AE3}"/>
              </a:ext>
            </a:extLst>
          </p:cNvPr>
          <p:cNvSpPr/>
          <p:nvPr userDrawn="1"/>
        </p:nvSpPr>
        <p:spPr bwMode="gray">
          <a:xfrm>
            <a:off x="6262954" y="1769596"/>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13" name="Oval 12">
            <a:extLst>
              <a:ext uri="{FF2B5EF4-FFF2-40B4-BE49-F238E27FC236}">
                <a16:creationId xmlns:a16="http://schemas.microsoft.com/office/drawing/2014/main" id="{65ED4AD2-B242-48D1-DC1A-7C325E8465A2}"/>
              </a:ext>
            </a:extLst>
          </p:cNvPr>
          <p:cNvSpPr/>
          <p:nvPr userDrawn="1"/>
        </p:nvSpPr>
        <p:spPr bwMode="gray">
          <a:xfrm>
            <a:off x="6262954" y="1971330"/>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en-US" sz="1600" b="1" dirty="0">
              <a:solidFill>
                <a:schemeClr val="bg1"/>
              </a:solidFill>
            </a:endParaRPr>
          </a:p>
        </p:txBody>
      </p:sp>
      <p:sp>
        <p:nvSpPr>
          <p:cNvPr id="15" name="Graphic 4">
            <a:extLst>
              <a:ext uri="{FF2B5EF4-FFF2-40B4-BE49-F238E27FC236}">
                <a16:creationId xmlns:a16="http://schemas.microsoft.com/office/drawing/2014/main" id="{1D1B2BC3-69CF-69DF-AA37-A1B13357C5B2}"/>
              </a:ext>
            </a:extLst>
          </p:cNvPr>
          <p:cNvSpPr>
            <a:spLocks noChangeAspect="1"/>
          </p:cNvSpPr>
          <p:nvPr userDrawn="1"/>
        </p:nvSpPr>
        <p:spPr>
          <a:xfrm>
            <a:off x="6296339" y="1412860"/>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lstStyle/>
          <a:p>
            <a:pPr rtl="0"/>
            <a:endParaRPr lang="en-US" dirty="0"/>
          </a:p>
        </p:txBody>
      </p:sp>
      <p:sp>
        <p:nvSpPr>
          <p:cNvPr id="16" name="Graphic 1100">
            <a:extLst>
              <a:ext uri="{FF2B5EF4-FFF2-40B4-BE49-F238E27FC236}">
                <a16:creationId xmlns:a16="http://schemas.microsoft.com/office/drawing/2014/main" id="{DBC2821D-5EE2-6ABD-314A-D5A8CFCF735A}"/>
              </a:ext>
            </a:extLst>
          </p:cNvPr>
          <p:cNvSpPr/>
          <p:nvPr userDrawn="1"/>
        </p:nvSpPr>
        <p:spPr>
          <a:xfrm>
            <a:off x="6299819" y="1606132"/>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lstStyle/>
          <a:p>
            <a:pPr rtl="0"/>
            <a:endParaRPr lang="en-US" dirty="0">
              <a:solidFill>
                <a:schemeClr val="accent5"/>
              </a:solidFill>
            </a:endParaRPr>
          </a:p>
        </p:txBody>
      </p:sp>
      <p:grpSp>
        <p:nvGrpSpPr>
          <p:cNvPr id="17" name="Graphic 4">
            <a:extLst>
              <a:ext uri="{FF2B5EF4-FFF2-40B4-BE49-F238E27FC236}">
                <a16:creationId xmlns:a16="http://schemas.microsoft.com/office/drawing/2014/main" id="{2103216C-DDCA-C05C-39C5-E3CC38500AB3}"/>
              </a:ext>
            </a:extLst>
          </p:cNvPr>
          <p:cNvGrpSpPr/>
          <p:nvPr userDrawn="1"/>
        </p:nvGrpSpPr>
        <p:grpSpPr>
          <a:xfrm>
            <a:off x="6309293" y="1804961"/>
            <a:ext cx="73565" cy="101091"/>
            <a:chOff x="2656935" y="4857096"/>
            <a:chExt cx="170032" cy="233653"/>
          </a:xfrm>
          <a:solidFill>
            <a:schemeClr val="bg1"/>
          </a:solidFill>
        </p:grpSpPr>
        <p:sp>
          <p:nvSpPr>
            <p:cNvPr id="18" name="Graphic 4">
              <a:extLst>
                <a:ext uri="{FF2B5EF4-FFF2-40B4-BE49-F238E27FC236}">
                  <a16:creationId xmlns:a16="http://schemas.microsoft.com/office/drawing/2014/main" id="{BDE46DA2-69BF-7C41-3815-6E45BB170C55}"/>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pPr rtl="0"/>
              <a:endParaRPr lang="en-US" dirty="0"/>
            </a:p>
          </p:txBody>
        </p:sp>
        <p:sp>
          <p:nvSpPr>
            <p:cNvPr id="19" name="Graphic 4">
              <a:extLst>
                <a:ext uri="{FF2B5EF4-FFF2-40B4-BE49-F238E27FC236}">
                  <a16:creationId xmlns:a16="http://schemas.microsoft.com/office/drawing/2014/main" id="{2D935034-02E4-7506-7866-5F47036E4832}"/>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pPr rtl="0"/>
              <a:endParaRPr lang="en-US" dirty="0"/>
            </a:p>
          </p:txBody>
        </p:sp>
      </p:grpSp>
      <p:sp>
        <p:nvSpPr>
          <p:cNvPr id="20" name="Graphic 4">
            <a:extLst>
              <a:ext uri="{FF2B5EF4-FFF2-40B4-BE49-F238E27FC236}">
                <a16:creationId xmlns:a16="http://schemas.microsoft.com/office/drawing/2014/main" id="{56DFD7A2-C900-98E9-4F52-6C67C1B9AAC8}"/>
              </a:ext>
            </a:extLst>
          </p:cNvPr>
          <p:cNvSpPr/>
          <p:nvPr userDrawn="1"/>
        </p:nvSpPr>
        <p:spPr>
          <a:xfrm>
            <a:off x="6302172" y="2016349"/>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lstStyle/>
          <a:p>
            <a:pPr rtl="0"/>
            <a:endParaRPr lang="en-US" dirty="0"/>
          </a:p>
        </p:txBody>
      </p:sp>
      <p:sp>
        <p:nvSpPr>
          <p:cNvPr id="21" name="Text Placeholder 27">
            <a:extLst>
              <a:ext uri="{FF2B5EF4-FFF2-40B4-BE49-F238E27FC236}">
                <a16:creationId xmlns:a16="http://schemas.microsoft.com/office/drawing/2014/main" id="{B9A0BB0F-418C-8766-B9C4-9D836B5CC640}"/>
              </a:ext>
            </a:extLst>
          </p:cNvPr>
          <p:cNvSpPr>
            <a:spLocks noGrp="1"/>
          </p:cNvSpPr>
          <p:nvPr>
            <p:ph type="body" sz="quarter" idx="16"/>
          </p:nvPr>
        </p:nvSpPr>
        <p:spPr>
          <a:xfrm>
            <a:off x="6535557" y="1364405"/>
            <a:ext cx="4686013"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2" name="Text Placeholder 27">
            <a:extLst>
              <a:ext uri="{FF2B5EF4-FFF2-40B4-BE49-F238E27FC236}">
                <a16:creationId xmlns:a16="http://schemas.microsoft.com/office/drawing/2014/main" id="{C65A014A-64D2-F368-A76E-23D9B1CE828D}"/>
              </a:ext>
            </a:extLst>
          </p:cNvPr>
          <p:cNvSpPr>
            <a:spLocks noGrp="1"/>
          </p:cNvSpPr>
          <p:nvPr>
            <p:ph type="body" sz="quarter" idx="17"/>
          </p:nvPr>
        </p:nvSpPr>
        <p:spPr>
          <a:xfrm>
            <a:off x="6535557" y="1566012"/>
            <a:ext cx="4686013"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3" name="Text Placeholder 27">
            <a:extLst>
              <a:ext uri="{FF2B5EF4-FFF2-40B4-BE49-F238E27FC236}">
                <a16:creationId xmlns:a16="http://schemas.microsoft.com/office/drawing/2014/main" id="{F6F2954C-96B0-A31B-44CF-13F7A57D6B59}"/>
              </a:ext>
            </a:extLst>
          </p:cNvPr>
          <p:cNvSpPr>
            <a:spLocks noGrp="1"/>
          </p:cNvSpPr>
          <p:nvPr>
            <p:ph type="body" sz="quarter" idx="18"/>
          </p:nvPr>
        </p:nvSpPr>
        <p:spPr>
          <a:xfrm>
            <a:off x="6535557" y="1767527"/>
            <a:ext cx="4686013"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4" name="Text Placeholder 27">
            <a:extLst>
              <a:ext uri="{FF2B5EF4-FFF2-40B4-BE49-F238E27FC236}">
                <a16:creationId xmlns:a16="http://schemas.microsoft.com/office/drawing/2014/main" id="{5A98AA22-04CC-0166-E24E-EAD46F12369B}"/>
              </a:ext>
            </a:extLst>
          </p:cNvPr>
          <p:cNvSpPr>
            <a:spLocks noGrp="1"/>
          </p:cNvSpPr>
          <p:nvPr>
            <p:ph type="body" sz="quarter" idx="19"/>
          </p:nvPr>
        </p:nvSpPr>
        <p:spPr>
          <a:xfrm>
            <a:off x="6535557" y="1969210"/>
            <a:ext cx="4686013" cy="165100"/>
          </a:xfrm>
        </p:spPr>
        <p:txBody>
          <a:bodyPr anchor="ctr">
            <a:noAutofit/>
          </a:bodyPr>
          <a:lstStyle>
            <a:lvl1pPr rtl="0">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cxnSp>
        <p:nvCxnSpPr>
          <p:cNvPr id="2" name="Straight Connector 1">
            <a:extLst>
              <a:ext uri="{FF2B5EF4-FFF2-40B4-BE49-F238E27FC236}">
                <a16:creationId xmlns:a16="http://schemas.microsoft.com/office/drawing/2014/main" id="{B55811C5-3040-DA36-1502-8A93998B1E37}"/>
              </a:ext>
            </a:extLst>
          </p:cNvPr>
          <p:cNvCxnSpPr>
            <a:cxnSpLocks/>
          </p:cNvCxnSpPr>
          <p:nvPr userDrawn="1"/>
        </p:nvCxnSpPr>
        <p:spPr>
          <a:xfrm>
            <a:off x="6098746" y="2766174"/>
            <a:ext cx="0" cy="3408049"/>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09219"/>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2_Disclaimer">
    <p:bg>
      <p:bgPr>
        <a:solidFill>
          <a:srgbClr val="9DD4CF">
            <a:alpha val="10000"/>
          </a:srgb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646F36-8A78-40F3-1E4D-A7B5DF03DC56}"/>
              </a:ext>
            </a:extLst>
          </p:cNvPr>
          <p:cNvGraphicFramePr>
            <a:graphicFrameLocks noChangeAspect="1"/>
          </p:cNvGraphicFramePr>
          <p:nvPr userDrawn="1">
            <p:custDataLst>
              <p:tags r:id="rId1"/>
            </p:custDataLst>
            <p:extLst>
              <p:ext uri="{D42A27DB-BD31-4B8C-83A1-F6EECF244321}">
                <p14:modId xmlns:p14="http://schemas.microsoft.com/office/powerpoint/2010/main" val="330125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F0646F36-8A78-40F3-1E4D-A7B5DF03DC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41557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pic>
        <p:nvPicPr>
          <p:cNvPr id="2" name="Picture 1">
            <a:extLst>
              <a:ext uri="{FF2B5EF4-FFF2-40B4-BE49-F238E27FC236}">
                <a16:creationId xmlns:a16="http://schemas.microsoft.com/office/drawing/2014/main" id="{A87136DC-FC34-2112-B674-780979BDC67A}"/>
              </a:ext>
            </a:extLst>
          </p:cNvPr>
          <p:cNvPicPr>
            <a:picLocks noChangeAspect="1"/>
          </p:cNvPicPr>
          <p:nvPr userDrawn="1"/>
        </p:nvPicPr>
        <p:blipFill rotWithShape="1">
          <a:blip r:embed="rId5" cstate="email">
            <a:clrChange>
              <a:clrFrom>
                <a:srgbClr val="FFFFFF"/>
              </a:clrFrom>
              <a:clrTo>
                <a:srgbClr val="FFFFFF">
                  <a:alpha val="0"/>
                </a:srgbClr>
              </a:clrTo>
            </a:clrChange>
            <a:alphaModFix amt="77000"/>
            <a:extLst>
              <a:ext uri="{28A0092B-C50C-407E-A947-70E740481C1C}">
                <a14:useLocalDpi xmlns:a14="http://schemas.microsoft.com/office/drawing/2010/main"/>
              </a:ext>
            </a:extLst>
          </a:blip>
          <a:srcRect/>
          <a:stretch/>
        </p:blipFill>
        <p:spPr>
          <a:xfrm rot="16200000">
            <a:off x="6289037" y="955036"/>
            <a:ext cx="6858003" cy="4947924"/>
          </a:xfrm>
          <a:prstGeom prst="rect">
            <a:avLst/>
          </a:prstGeom>
        </p:spPr>
      </p:pic>
      <p:sp>
        <p:nvSpPr>
          <p:cNvPr id="3" name="TextBox 2">
            <a:extLst>
              <a:ext uri="{FF2B5EF4-FFF2-40B4-BE49-F238E27FC236}">
                <a16:creationId xmlns:a16="http://schemas.microsoft.com/office/drawing/2014/main" id="{4B653EE6-54D9-D2B1-0F37-AC6364EB65AC}"/>
              </a:ext>
            </a:extLst>
          </p:cNvPr>
          <p:cNvSpPr txBox="1"/>
          <p:nvPr userDrawn="1"/>
        </p:nvSpPr>
        <p:spPr>
          <a:xfrm>
            <a:off x="464991" y="3574387"/>
            <a:ext cx="7178822" cy="2831544"/>
          </a:xfrm>
          <a:prstGeom prst="rect">
            <a:avLst/>
          </a:prstGeom>
          <a:noFill/>
        </p:spPr>
        <p:txBody>
          <a:bodyPr wrap="square" lIns="0" tIns="0" rIns="0" bIns="0" rtlCol="0">
            <a:spAutoFit/>
          </a:bodyPr>
          <a:lstStyle/>
          <a:p>
            <a:pPr rtl="0"/>
            <a:r>
              <a:rPr lang="en-US" sz="800" b="1" i="0" kern="1200">
                <a:solidFill>
                  <a:schemeClr val="accent1"/>
                </a:solidFill>
                <a:effectLst/>
                <a:latin typeface="Open Sans SemiBold" panose="020B0606030504020204" pitchFamily="34" charset="0"/>
                <a:ea typeface="Open Sans SemiBold" panose="020B0606030504020204" pitchFamily="34" charset="0"/>
                <a:cs typeface="Open Sans SemiBold" panose="020B0606030504020204" pitchFamily="34" charset="0"/>
              </a:rPr>
              <a:t>Important notice</a:t>
            </a:r>
          </a:p>
          <a:p>
            <a:pPr rtl="0"/>
            <a:b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br>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has been prepared by Deloitte Consulting AG for the sole purpose of enabling the parties to whom it is addressed to evaluate the capabilities of Deloitte Consulting AG to supply the proposed services.</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e information contained in this document has been compiled by Deloitte Consulting AG and may include material obtained from various sources which have not been verified or audited. This document also contains material proprietary to Deloitte Consulting AG. Except in the general context of evaluating the capabilities of Deloitte Consulting AG, no reliance may be placed for any purposes whatsoever on the contents of this document. No representation or warranty, express or implied, is given and no responsibility or liability is or will be accepted by or on behalf of Deloitte Consulting AG or by any of its partners, members, employees, agents or any other person as to the accuracy, completeness or correctness of the information contained in this docu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Other than as stated below, this document and its contents are confidential and prepared solely for your information, and may not be reproduced, redistributed or passed on to any other person in whole or in part. No other party is entitled to rely on this document for any purpose whatsoever and we accept no liability to any other party who is shown or obtains access to this docu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Deloitte Consulting AG is an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a:t>
            </a:r>
            <a:r>
              <a:rPr lang="en-US" sz="800" b="0" i="0" u="none" strike="noStrike"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hlinkClick r:id="rId6">
                  <a:extLst>
                    <a:ext uri="{A12FA001-AC4F-418D-AE19-62706E023703}">
                      <ahyp:hlinkClr xmlns:ahyp="http://schemas.microsoft.com/office/drawing/2018/hyperlinkcolor" val="tx"/>
                    </a:ext>
                  </a:extLst>
                </a:hlinkClick>
              </a:rPr>
              <a:t>www.deloitte.com/ch/about</a:t>
            </a:r>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2023 Deloitte Consulting AG. All rights reserved.</a:t>
            </a:r>
            <a:endParaRPr lang="en-US"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50927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1_Disclaimer">
    <p:bg>
      <p:bgPr>
        <a:solidFill>
          <a:srgbClr val="9DD4CF">
            <a:alpha val="10000"/>
          </a:srgbClr>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9D941E-1F25-3A43-1BB4-58BEE7AA4DAB}"/>
              </a:ext>
            </a:extLst>
          </p:cNvPr>
          <p:cNvGraphicFramePr>
            <a:graphicFrameLocks noChangeAspect="1"/>
          </p:cNvGraphicFramePr>
          <p:nvPr userDrawn="1">
            <p:custDataLst>
              <p:tags r:id="rId1"/>
            </p:custDataLst>
            <p:extLst>
              <p:ext uri="{D42A27DB-BD31-4B8C-83A1-F6EECF244321}">
                <p14:modId xmlns:p14="http://schemas.microsoft.com/office/powerpoint/2010/main" val="2669607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B99D941E-1F25-3A43-1BB4-58BEE7AA4D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41557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sp>
        <p:nvSpPr>
          <p:cNvPr id="3" name="TextBox 2">
            <a:extLst>
              <a:ext uri="{FF2B5EF4-FFF2-40B4-BE49-F238E27FC236}">
                <a16:creationId xmlns:a16="http://schemas.microsoft.com/office/drawing/2014/main" id="{4B653EE6-54D9-D2B1-0F37-AC6364EB65AC}"/>
              </a:ext>
            </a:extLst>
          </p:cNvPr>
          <p:cNvSpPr txBox="1"/>
          <p:nvPr userDrawn="1"/>
        </p:nvSpPr>
        <p:spPr>
          <a:xfrm>
            <a:off x="464991" y="3574387"/>
            <a:ext cx="7178822" cy="2831544"/>
          </a:xfrm>
          <a:prstGeom prst="rect">
            <a:avLst/>
          </a:prstGeom>
          <a:noFill/>
        </p:spPr>
        <p:txBody>
          <a:bodyPr wrap="square" lIns="0" tIns="0" rIns="0" bIns="0" rtlCol="0">
            <a:spAutoFit/>
          </a:bodyPr>
          <a:lstStyle/>
          <a:p>
            <a:pPr rtl="0"/>
            <a:r>
              <a:rPr lang="en-US" sz="800" b="1" i="0" kern="1200">
                <a:solidFill>
                  <a:schemeClr val="accent1"/>
                </a:solidFill>
                <a:effectLst/>
                <a:latin typeface="Open Sans SemiBold" panose="020B0606030504020204" pitchFamily="34" charset="0"/>
                <a:ea typeface="Open Sans SemiBold" panose="020B0606030504020204" pitchFamily="34" charset="0"/>
                <a:cs typeface="Open Sans SemiBold" panose="020B0606030504020204" pitchFamily="34" charset="0"/>
              </a:rPr>
              <a:t>Important notice</a:t>
            </a:r>
          </a:p>
          <a:p>
            <a:pPr rtl="0"/>
            <a:b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br>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has been prepared by Deloitte Consulting AG for the sole purpose of enabling the parties to whom it is addressed to evaluate the capabilities of Deloitte Consulting AG to supply the proposed services.</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e information contained in this document has been compiled by Deloitte Consulting AG and may include material obtained from various sources which have not been verified or audited. This document also contains material proprietary to Deloitte Consulting AG. Except in the general context of evaluating the capabilities of Deloitte Consulting AG, no reliance may be placed for any purposes whatsoever on the contents of this document. No representation or warranty, express or implied, is given and no responsibility or liability is or will be accepted by or on behalf of Deloitte Consulting AG or by any of its partners, members, employees, agents or any other person as to the accuracy, completeness or correctness of the information contained in this docu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Other than as stated below, this document and its contents are confidential and prepared solely for your information, and may not be reproduced, redistributed or passed on to any other person in whole or in part. No other party is entitled to rely on this document for any purpose whatsoever and we accept no liability to any other party who is shown or obtains access to this docu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Deloitte Consulting AG is an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a:t>
            </a:r>
            <a:r>
              <a:rPr lang="en-US" sz="800" b="0" i="0" u="none" strike="noStrike"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hlinkClick r:id="rId5">
                  <a:extLst>
                    <a:ext uri="{A12FA001-AC4F-418D-AE19-62706E023703}">
                      <ahyp:hlinkClr xmlns:ahyp="http://schemas.microsoft.com/office/drawing/2018/hyperlinkcolor" val="tx"/>
                    </a:ext>
                  </a:extLst>
                </a:hlinkClick>
              </a:rPr>
              <a:t>www.deloitte.com/ch/about</a:t>
            </a:r>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2023 Deloitte Consulting AG. All rights reserved.</a:t>
            </a:r>
            <a:endParaRPr lang="en-US"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Picture 3">
            <a:extLst>
              <a:ext uri="{FF2B5EF4-FFF2-40B4-BE49-F238E27FC236}">
                <a16:creationId xmlns:a16="http://schemas.microsoft.com/office/drawing/2014/main" id="{557C76A5-894D-4DFD-917B-CBE88EC78A03}"/>
              </a:ext>
            </a:extLst>
          </p:cNvPr>
          <p:cNvPicPr>
            <a:picLocks noChangeAspect="1"/>
          </p:cNvPicPr>
          <p:nvPr userDrawn="1"/>
        </p:nvPicPr>
        <p:blipFill>
          <a:blip r:embed="rId6"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Tree>
    <p:extLst>
      <p:ext uri="{BB962C8B-B14F-4D97-AF65-F5344CB8AC3E}">
        <p14:creationId xmlns:p14="http://schemas.microsoft.com/office/powerpoint/2010/main" val="1750927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sclaimer">
    <p:bg>
      <p:bgPr>
        <a:solidFill>
          <a:srgbClr val="9DD4CF">
            <a:alpha val="10000"/>
          </a:srgbClr>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08DB35E-93DB-8081-84AA-439E0FCF129D}"/>
              </a:ext>
            </a:extLst>
          </p:cNvPr>
          <p:cNvGraphicFramePr>
            <a:graphicFrameLocks noChangeAspect="1"/>
          </p:cNvGraphicFramePr>
          <p:nvPr userDrawn="1">
            <p:custDataLst>
              <p:tags r:id="rId1"/>
            </p:custDataLst>
            <p:extLst>
              <p:ext uri="{D42A27DB-BD31-4B8C-83A1-F6EECF244321}">
                <p14:modId xmlns:p14="http://schemas.microsoft.com/office/powerpoint/2010/main" val="44286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808DB35E-93DB-8081-84AA-439E0FCF12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41557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dirty="0">
                <a:solidFill>
                  <a:schemeClr val="bg1"/>
                </a:solidFill>
              </a:endParaRPr>
            </a:p>
          </p:txBody>
        </p:sp>
      </p:grpSp>
      <p:sp>
        <p:nvSpPr>
          <p:cNvPr id="3" name="TextBox 2">
            <a:extLst>
              <a:ext uri="{FF2B5EF4-FFF2-40B4-BE49-F238E27FC236}">
                <a16:creationId xmlns:a16="http://schemas.microsoft.com/office/drawing/2014/main" id="{4B653EE6-54D9-D2B1-0F37-AC6364EB65AC}"/>
              </a:ext>
            </a:extLst>
          </p:cNvPr>
          <p:cNvSpPr txBox="1"/>
          <p:nvPr userDrawn="1"/>
        </p:nvSpPr>
        <p:spPr>
          <a:xfrm>
            <a:off x="464991" y="3574387"/>
            <a:ext cx="7178822" cy="2831544"/>
          </a:xfrm>
          <a:prstGeom prst="rect">
            <a:avLst/>
          </a:prstGeom>
          <a:noFill/>
        </p:spPr>
        <p:txBody>
          <a:bodyPr wrap="square" lIns="0" tIns="0" rIns="0" bIns="0" rtlCol="0">
            <a:spAutoFit/>
          </a:bodyPr>
          <a:lstStyle/>
          <a:p>
            <a:pPr rtl="0"/>
            <a:r>
              <a:rPr lang="en-US" sz="800" b="1" i="0" kern="1200">
                <a:solidFill>
                  <a:schemeClr val="accent1"/>
                </a:solidFill>
                <a:effectLst/>
                <a:latin typeface="Open Sans SemiBold" panose="020B0606030504020204" pitchFamily="34" charset="0"/>
                <a:ea typeface="Open Sans SemiBold" panose="020B0606030504020204" pitchFamily="34" charset="0"/>
                <a:cs typeface="Open Sans SemiBold" panose="020B0606030504020204" pitchFamily="34" charset="0"/>
              </a:rPr>
              <a:t>Important notice</a:t>
            </a:r>
          </a:p>
          <a:p>
            <a:pPr rtl="0"/>
            <a:b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br>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has been prepared by Deloitte Consulting AG for the sole purpose of enabling the parties to whom it is addressed to evaluate the capabilities of Deloitte Consulting AG to supply the proposed services.</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e information contained in this document has been compiled by Deloitte Consulting AG and may include material obtained from various sources which have not been verified or audited. This document also contains material proprietary to Deloitte Consulting AG. Except in the general context of evaluating the capabilities of Deloitte Consulting AG, no reliance may be placed for any purposes whatsoever on the contents of this document. No representation or warranty, express or implied, is given and no responsibility or liability is or will be accepted by or on behalf of Deloitte Consulting AG or by any of its partners, members, employees, agents or any other person as to the accuracy, completeness or correctness of the information contained in this docu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Other than as stated below, this document and its contents are confidential and prepared solely for your information, and may not be reproduced, redistributed or passed on to any other person in whole or in part. No other party is entitled to rely on this document for any purpose whatsoever and we accept no liability to any other party who is shown or obtains access to this docu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Deloitte Consulting AG is an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a:t>
            </a:r>
            <a:r>
              <a:rPr lang="en-US" sz="800" b="0" i="0" u="none" strike="noStrike"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hlinkClick r:id="rId5">
                  <a:extLst>
                    <a:ext uri="{A12FA001-AC4F-418D-AE19-62706E023703}">
                      <ahyp:hlinkClr xmlns:ahyp="http://schemas.microsoft.com/office/drawing/2018/hyperlinkcolor" val="tx"/>
                    </a:ext>
                  </a:extLst>
                </a:hlinkClick>
              </a:rPr>
              <a:t>www.deloitte.com/ch/about</a:t>
            </a:r>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p>
          <a:p>
            <a:pPr rtl="0"/>
            <a:endPar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rtl="0"/>
            <a:r>
              <a:rPr lang="en-US" sz="800" b="0" i="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 2023 Deloitte Consulting AG. All rights reserved.</a:t>
            </a:r>
            <a:endParaRPr lang="en-US" sz="800" b="0" i="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Picture 3">
            <a:extLst>
              <a:ext uri="{FF2B5EF4-FFF2-40B4-BE49-F238E27FC236}">
                <a16:creationId xmlns:a16="http://schemas.microsoft.com/office/drawing/2014/main" id="{2B9E3BBE-3AD1-B762-E716-190D70316553}"/>
              </a:ext>
            </a:extLst>
          </p:cNvPr>
          <p:cNvPicPr>
            <a:picLocks noChangeAspect="1"/>
          </p:cNvPicPr>
          <p:nvPr userDrawn="1"/>
        </p:nvPicPr>
        <p:blipFill>
          <a:blip r:embed="rId6"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Tree>
    <p:extLst>
      <p:ext uri="{BB962C8B-B14F-4D97-AF65-F5344CB8AC3E}">
        <p14:creationId xmlns:p14="http://schemas.microsoft.com/office/powerpoint/2010/main" val="1750927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and Subhead: No Content - Breadcrumb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4752A2E-7BFC-F303-6A9B-95F48B5E7A37}"/>
              </a:ext>
            </a:extLst>
          </p:cNvPr>
          <p:cNvGraphicFramePr>
            <a:graphicFrameLocks noChangeAspect="1"/>
          </p:cNvGraphicFramePr>
          <p:nvPr userDrawn="1">
            <p:custDataLst>
              <p:tags r:id="rId1"/>
            </p:custDataLst>
            <p:extLst>
              <p:ext uri="{D42A27DB-BD31-4B8C-83A1-F6EECF244321}">
                <p14:modId xmlns:p14="http://schemas.microsoft.com/office/powerpoint/2010/main" val="1412307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F4752A2E-7BFC-F303-6A9B-95F48B5E7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Placeholder 1">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lvl1pPr rtl="0">
              <a:defRPr/>
            </a:lvl1pPr>
          </a:lstStyle>
          <a:p>
            <a:r>
              <a:rPr lang="en-US" noProof="0" dirty="0"/>
              <a:t>Click to edit Master title s edit Master title style tyle</a:t>
            </a:r>
          </a:p>
        </p:txBody>
      </p:sp>
      <p:sp>
        <p:nvSpPr>
          <p:cNvPr id="7" name="Text Placeholder 7">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
        <p:nvSpPr>
          <p:cNvPr id="10" name="Text Placeholder 2">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00</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rtl="0">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DELOITTE DIGITAL</a:t>
            </a:r>
          </a:p>
        </p:txBody>
      </p:sp>
    </p:spTree>
    <p:extLst>
      <p:ext uri="{BB962C8B-B14F-4D97-AF65-F5344CB8AC3E}">
        <p14:creationId xmlns:p14="http://schemas.microsoft.com/office/powerpoint/2010/main" val="3207573834"/>
      </p:ext>
    </p:extLst>
  </p:cSld>
  <p:clrMapOvr>
    <a:masterClrMapping/>
  </p:clrMapOv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Subhead: 3 Column">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F932B7AC-E03D-4641-A658-EFC46DA5B953}"/>
              </a:ext>
            </a:extLst>
          </p:cNvPr>
          <p:cNvSpPr>
            <a:spLocks noGrp="1"/>
          </p:cNvSpPr>
          <p:nvPr>
            <p:ph type="body" sz="quarter" idx="14" hasCustomPrompt="1"/>
          </p:nvPr>
        </p:nvSpPr>
        <p:spPr>
          <a:xfrm>
            <a:off x="914400" y="2771775"/>
            <a:ext cx="2628900" cy="3186113"/>
          </a:xfrm>
          <a:prstGeom prst="rect">
            <a:avLst/>
          </a:prstGeom>
        </p:spPr>
        <p:txBody>
          <a:bodyPr>
            <a:noAutofit/>
          </a:bodyPr>
          <a:lstStyle>
            <a:lvl1pPr marL="0" marR="0" indent="0" algn="l" defTabSz="914400" rtl="0" eaLnBrk="1" fontAlgn="auto" latinLnBrk="0" hangingPunct="1">
              <a:lnSpc>
                <a:spcPct val="150000"/>
              </a:lnSpc>
              <a:spcBef>
                <a:spcPts val="0"/>
              </a:spcBef>
              <a:spcAft>
                <a:spcPts val="400"/>
              </a:spcAft>
              <a:buClrTx/>
              <a:buSzTx/>
              <a:buFontTx/>
              <a:buNone/>
              <a:tabLst/>
              <a:defRPr sz="1000"/>
            </a:lvl1pPr>
          </a:lstStyle>
          <a:p>
            <a:pPr marL="0" marR="0" lvl="0" indent="0" algn="l" defTabSz="914400" rtl="0" eaLnBrk="1" fontAlgn="auto" latinLnBrk="0" hangingPunct="1">
              <a:lnSpc>
                <a:spcPct val="130000"/>
              </a:lnSpc>
              <a:spcBef>
                <a:spcPts val="0"/>
              </a:spcBef>
              <a:spcAft>
                <a:spcPts val="400"/>
              </a:spcAft>
              <a:buClrTx/>
              <a:buSzTx/>
              <a:buFontTx/>
              <a:buNone/>
              <a:tabLst/>
              <a:defRPr/>
            </a:pP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GB" sz="105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b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5" name="Text Placeholder 10">
            <a:extLst>
              <a:ext uri="{FF2B5EF4-FFF2-40B4-BE49-F238E27FC236}">
                <a16:creationId xmlns:a16="http://schemas.microsoft.com/office/drawing/2014/main" id="{35766036-CC94-7A43-8277-EE32236244B9}"/>
              </a:ext>
            </a:extLst>
          </p:cNvPr>
          <p:cNvSpPr>
            <a:spLocks noGrp="1"/>
          </p:cNvSpPr>
          <p:nvPr>
            <p:ph type="body" sz="quarter" idx="15" hasCustomPrompt="1"/>
          </p:nvPr>
        </p:nvSpPr>
        <p:spPr>
          <a:xfrm>
            <a:off x="4086224" y="2771775"/>
            <a:ext cx="2628900" cy="3186113"/>
          </a:xfrm>
          <a:prstGeom prst="rect">
            <a:avLst/>
          </a:prstGeom>
        </p:spPr>
        <p:txBody>
          <a:bodyPr>
            <a:noAutofit/>
          </a:bodyPr>
          <a:lstStyle>
            <a:lvl1pPr marL="0" marR="0" indent="0" algn="l" defTabSz="914400" rtl="0" eaLnBrk="1" fontAlgn="auto" latinLnBrk="0" hangingPunct="1">
              <a:lnSpc>
                <a:spcPct val="150000"/>
              </a:lnSpc>
              <a:spcBef>
                <a:spcPts val="0"/>
              </a:spcBef>
              <a:spcAft>
                <a:spcPts val="400"/>
              </a:spcAft>
              <a:buClrTx/>
              <a:buSzTx/>
              <a:buFontTx/>
              <a:buNone/>
              <a:tabLst/>
              <a:defRPr sz="1000"/>
            </a:lvl1pPr>
          </a:lstStyle>
          <a:p>
            <a:pPr marL="0" marR="0" lvl="0" indent="0" algn="l" defTabSz="914400" rtl="0" eaLnBrk="1" fontAlgn="auto" latinLnBrk="0" hangingPunct="1">
              <a:lnSpc>
                <a:spcPct val="130000"/>
              </a:lnSpc>
              <a:spcBef>
                <a:spcPts val="0"/>
              </a:spcBef>
              <a:spcAft>
                <a:spcPts val="400"/>
              </a:spcAft>
              <a:buClrTx/>
              <a:buSzTx/>
              <a:buFontTx/>
              <a:buNone/>
              <a:tabLst/>
              <a:defRPr/>
            </a:pP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GB" sz="105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b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6" name="Text Placeholder 10">
            <a:extLst>
              <a:ext uri="{FF2B5EF4-FFF2-40B4-BE49-F238E27FC236}">
                <a16:creationId xmlns:a16="http://schemas.microsoft.com/office/drawing/2014/main" id="{187DBF68-EA89-5143-8F64-7AE55771EB4D}"/>
              </a:ext>
            </a:extLst>
          </p:cNvPr>
          <p:cNvSpPr>
            <a:spLocks noGrp="1"/>
          </p:cNvSpPr>
          <p:nvPr>
            <p:ph type="body" sz="quarter" idx="16" hasCustomPrompt="1"/>
          </p:nvPr>
        </p:nvSpPr>
        <p:spPr>
          <a:xfrm>
            <a:off x="7210424" y="2771775"/>
            <a:ext cx="2628900" cy="3186113"/>
          </a:xfrm>
          <a:prstGeom prst="rect">
            <a:avLst/>
          </a:prstGeom>
        </p:spPr>
        <p:txBody>
          <a:bodyPr>
            <a:noAutofit/>
          </a:bodyPr>
          <a:lstStyle>
            <a:lvl1pPr marL="0" marR="0" indent="0" algn="l" defTabSz="914400" rtl="0" eaLnBrk="1" fontAlgn="auto" latinLnBrk="0" hangingPunct="1">
              <a:lnSpc>
                <a:spcPct val="150000"/>
              </a:lnSpc>
              <a:spcBef>
                <a:spcPts val="0"/>
              </a:spcBef>
              <a:spcAft>
                <a:spcPts val="400"/>
              </a:spcAft>
              <a:buClrTx/>
              <a:buSzTx/>
              <a:buFontTx/>
              <a:buNone/>
              <a:tabLst/>
              <a:defRPr sz="1000"/>
            </a:lvl1pPr>
          </a:lstStyle>
          <a:p>
            <a:pPr marL="0" marR="0" lvl="0" indent="0" algn="l" defTabSz="914400" rtl="0" eaLnBrk="1" fontAlgn="auto" latinLnBrk="0" hangingPunct="1">
              <a:lnSpc>
                <a:spcPct val="130000"/>
              </a:lnSpc>
              <a:spcBef>
                <a:spcPts val="0"/>
              </a:spcBef>
              <a:spcAft>
                <a:spcPts val="400"/>
              </a:spcAft>
              <a:buClrTx/>
              <a:buSzTx/>
              <a:buFontTx/>
              <a:buNone/>
              <a:tabLst/>
              <a:defRPr/>
            </a:pP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 </a:t>
            </a:r>
            <a:r>
              <a:rPr kumimoji="0" lang="en-GB" sz="1050" b="1"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landit</a:t>
            </a:r>
            <a: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rsus</a:t>
            </a:r>
            <a:br>
              <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05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50000"/>
              </a:lnSpc>
              <a:spcBef>
                <a:spcPts val="0"/>
              </a:spcBef>
              <a:spcAft>
                <a:spcPts val="4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i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rn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las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ltricie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ll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ctums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enean</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non a in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lla.Etu</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te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llentesque</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um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l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qu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erdie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quam</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teger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cerat</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e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urp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mi eros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c</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borti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citi</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hicul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isl</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tora</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ll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igula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rttitor</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000" b="0" i="0" u="none" strike="noStrike" kern="120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etus</a:t>
            </a:r>
            <a:r>
              <a:rPr kumimoji="0" lang="en-GB"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7" name="Title Placeholder 1">
            <a:extLst>
              <a:ext uri="{FF2B5EF4-FFF2-40B4-BE49-F238E27FC236}">
                <a16:creationId xmlns:a16="http://schemas.microsoft.com/office/drawing/2014/main" id="{24377E0F-77E6-D347-8705-67011AA7BA4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8" name="Text Placeholder 7">
            <a:extLst>
              <a:ext uri="{FF2B5EF4-FFF2-40B4-BE49-F238E27FC236}">
                <a16:creationId xmlns:a16="http://schemas.microsoft.com/office/drawing/2014/main" id="{9A1AB959-3A65-5F49-9162-938F4A1B6367}"/>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386433194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475324" y="5763710"/>
            <a:ext cx="9343364" cy="200055"/>
          </a:xfrm>
          <a:prstGeom prst="rect">
            <a:avLst/>
          </a:prstGeom>
        </p:spPr>
        <p:txBody>
          <a:bodyPr wrap="square" lIns="0" tIns="0" rIns="0" bIns="0" anchor="b" anchorCtr="0">
            <a:spAutoFit/>
          </a:bodyPr>
          <a:lstStyle>
            <a:lvl1pPr marL="0" indent="0" algn="l">
              <a:lnSpc>
                <a:spcPct val="100000"/>
              </a:lnSpc>
              <a:spcAft>
                <a:spcPts val="600"/>
              </a:spcAft>
              <a:buNone/>
              <a:defRPr sz="3200" b="0">
                <a:solidFill>
                  <a:schemeClr val="bg1"/>
                </a:solidFill>
                <a:latin typeface="+mj-lt"/>
              </a:defRPr>
            </a:lvl1pPr>
            <a:lvl2pPr marL="0" indent="0" algn="l">
              <a:lnSpc>
                <a:spcPct val="100000"/>
              </a:lnSpc>
              <a:spcAft>
                <a:spcPts val="600"/>
              </a:spcAft>
              <a:buNone/>
              <a:defRPr sz="1300" b="0">
                <a:solidFill>
                  <a:schemeClr val="bg1">
                    <a:lumMod val="75000"/>
                  </a:schemeClr>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1"/>
            <a:r>
              <a:rPr lang="en-GB" noProof="0"/>
              <a:t>Click to edit Master subtitle style</a:t>
            </a:r>
          </a:p>
        </p:txBody>
      </p:sp>
      <p:sp>
        <p:nvSpPr>
          <p:cNvPr id="5" name="Text Placeholder 4"/>
          <p:cNvSpPr>
            <a:spLocks noGrp="1"/>
          </p:cNvSpPr>
          <p:nvPr>
            <p:ph type="body" sz="quarter" idx="10" hasCustomPrompt="1"/>
          </p:nvPr>
        </p:nvSpPr>
        <p:spPr>
          <a:xfrm>
            <a:off x="475326" y="6181217"/>
            <a:ext cx="3622012" cy="154401"/>
          </a:xfrm>
          <a:prstGeom prst="rect">
            <a:avLst/>
          </a:prstGeom>
        </p:spPr>
        <p:txBody>
          <a:bodyPr wrap="square" lIns="0" tIns="0" rIns="0" bIns="0">
            <a:spAutoFit/>
          </a:bodyPr>
          <a:lstStyle>
            <a:lvl1pPr>
              <a:spcAft>
                <a:spcPts val="0"/>
              </a:spcAft>
              <a:defRPr sz="900" b="1" spc="300">
                <a:solidFill>
                  <a:schemeClr val="bg1">
                    <a:lumMod val="75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DATE</a:t>
            </a:r>
          </a:p>
        </p:txBody>
      </p:sp>
      <p:sp>
        <p:nvSpPr>
          <p:cNvPr id="4" name="Text Placeholder 86">
            <a:extLst>
              <a:ext uri="{FF2B5EF4-FFF2-40B4-BE49-F238E27FC236}">
                <a16:creationId xmlns:a16="http://schemas.microsoft.com/office/drawing/2014/main" id="{B5E657DF-63DE-4581-8B11-DC4432A612AA}"/>
              </a:ext>
            </a:extLst>
          </p:cNvPr>
          <p:cNvSpPr>
            <a:spLocks noGrp="1"/>
          </p:cNvSpPr>
          <p:nvPr>
            <p:ph type="body" sz="quarter" idx="11"/>
          </p:nvPr>
        </p:nvSpPr>
        <p:spPr>
          <a:xfrm>
            <a:off x="475325" y="5255125"/>
            <a:ext cx="7439950" cy="514821"/>
          </a:xfrm>
          <a:prstGeom prst="rect">
            <a:avLst/>
          </a:prstGeom>
        </p:spPr>
        <p:txBody>
          <a:bodyPr wrap="square" lIns="0" tIns="0" rIns="0" bIns="0">
            <a:spAutoFit/>
          </a:bodyPr>
          <a:lstStyle>
            <a:lvl1pPr>
              <a:defRPr sz="3000" b="1">
                <a:solidFill>
                  <a:schemeClr val="bg1"/>
                </a:solidFill>
              </a:defRPr>
            </a:lvl1pPr>
            <a:lvl2pPr marL="0" indent="0">
              <a:buNone/>
              <a:defRPr/>
            </a:lvl2pPr>
          </a:lstStyle>
          <a:p>
            <a:pPr lvl="0"/>
            <a:r>
              <a:rPr lang="en-GB"/>
              <a:t>Click to edit Master text</a:t>
            </a:r>
          </a:p>
        </p:txBody>
      </p:sp>
    </p:spTree>
    <p:extLst>
      <p:ext uri="{BB962C8B-B14F-4D97-AF65-F5344CB8AC3E}">
        <p14:creationId xmlns:p14="http://schemas.microsoft.com/office/powerpoint/2010/main" val="252496935"/>
      </p:ext>
    </p:extLst>
  </p:cSld>
  <p:clrMapOvr>
    <a:masterClrMapping/>
  </p:clrMapOvr>
  <p:transition>
    <p:fade/>
  </p:transition>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90F889-C588-F577-0099-3DFD995AFA9E}"/>
              </a:ext>
            </a:extLst>
          </p:cNvPr>
          <p:cNvGraphicFramePr>
            <a:graphicFrameLocks noChangeAspect="1"/>
          </p:cNvGraphicFramePr>
          <p:nvPr userDrawn="1">
            <p:custDataLst>
              <p:tags r:id="rId1"/>
            </p:custDataLst>
            <p:extLst>
              <p:ext uri="{D42A27DB-BD31-4B8C-83A1-F6EECF244321}">
                <p14:modId xmlns:p14="http://schemas.microsoft.com/office/powerpoint/2010/main" val="316118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B990F889-C588-F577-0099-3DFD995AF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oogle Shape;15;p69"/>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defRPr>
            </a:lvl1pPr>
            <a:lvl2pPr marL="0" marR="0" lvl="1"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400"/>
              <a:buFont typeface="Arial"/>
              <a:buNone/>
              <a:defRPr sz="933"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20865471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Services lis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81174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0" name="Text Placeholder 2"/>
          <p:cNvSpPr>
            <a:spLocks noGrp="1"/>
          </p:cNvSpPr>
          <p:nvPr>
            <p:ph type="body" sz="quarter" idx="26" hasCustomPrompt="1"/>
          </p:nvPr>
        </p:nvSpPr>
        <p:spPr>
          <a:xfrm>
            <a:off x="1216657" y="2053002"/>
            <a:ext cx="3634317" cy="338654"/>
          </a:xfrm>
          <a:prstGeom prst="rect">
            <a:avLst/>
          </a:prstGeom>
        </p:spPr>
        <p:txBody>
          <a:bodyPr>
            <a:noAutofit/>
          </a:bodyPr>
          <a:lstStyle>
            <a:lvl1pPr marL="0" indent="0" rtl="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dirty="0"/>
              <a:t>Social Media</a:t>
            </a:r>
          </a:p>
        </p:txBody>
      </p:sp>
      <p:sp>
        <p:nvSpPr>
          <p:cNvPr id="43" name="Text Placeholder 2"/>
          <p:cNvSpPr>
            <a:spLocks noGrp="1"/>
          </p:cNvSpPr>
          <p:nvPr>
            <p:ph type="body" sz="quarter" idx="28" hasCustomPrompt="1"/>
          </p:nvPr>
        </p:nvSpPr>
        <p:spPr>
          <a:xfrm>
            <a:off x="1216657" y="5053299"/>
            <a:ext cx="3634317" cy="338654"/>
          </a:xfrm>
          <a:prstGeom prst="rect">
            <a:avLst/>
          </a:prstGeom>
        </p:spPr>
        <p:txBody>
          <a:bodyPr>
            <a:noAutofit/>
          </a:bodyPr>
          <a:lstStyle>
            <a:lvl1pPr marL="0" indent="0" rtl="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dirty="0"/>
              <a:t>Photography</a:t>
            </a:r>
          </a:p>
        </p:txBody>
      </p:sp>
      <p:sp>
        <p:nvSpPr>
          <p:cNvPr id="46" name="Text Placeholder 2"/>
          <p:cNvSpPr>
            <a:spLocks noGrp="1"/>
          </p:cNvSpPr>
          <p:nvPr>
            <p:ph type="body" sz="quarter" idx="29" hasCustomPrompt="1"/>
          </p:nvPr>
        </p:nvSpPr>
        <p:spPr>
          <a:xfrm>
            <a:off x="6556685" y="2053002"/>
            <a:ext cx="3634317" cy="338654"/>
          </a:xfrm>
          <a:prstGeom prst="rect">
            <a:avLst/>
          </a:prstGeom>
        </p:spPr>
        <p:txBody>
          <a:bodyPr>
            <a:noAutofit/>
          </a:bodyPr>
          <a:lstStyle>
            <a:lvl1pPr marL="0" indent="0" rtl="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dirty="0"/>
              <a:t>Audio Productions</a:t>
            </a:r>
          </a:p>
        </p:txBody>
      </p:sp>
      <p:sp>
        <p:nvSpPr>
          <p:cNvPr id="58" name="Text Placeholder 2"/>
          <p:cNvSpPr>
            <a:spLocks noGrp="1"/>
          </p:cNvSpPr>
          <p:nvPr>
            <p:ph type="body" sz="quarter" idx="31" hasCustomPrompt="1"/>
          </p:nvPr>
        </p:nvSpPr>
        <p:spPr>
          <a:xfrm>
            <a:off x="6556685" y="5053299"/>
            <a:ext cx="3634317" cy="338654"/>
          </a:xfrm>
          <a:prstGeom prst="rect">
            <a:avLst/>
          </a:prstGeom>
        </p:spPr>
        <p:txBody>
          <a:bodyPr>
            <a:noAutofit/>
          </a:bodyPr>
          <a:lstStyle>
            <a:lvl1pPr marL="0" marR="0" indent="0" algn="l" defTabSz="914400" rtl="0" eaLnBrk="1" fontAlgn="auto" latinLnBrk="0" hangingPunct="1">
              <a:lnSpc>
                <a:spcPct val="110000"/>
              </a:lnSpc>
              <a:spcBef>
                <a:spcPct val="20000"/>
              </a:spcBef>
              <a:spcAft>
                <a:spcPts val="0"/>
              </a:spcAft>
              <a:buClrTx/>
              <a:buSzTx/>
              <a:buFont typeface="Arial" pitchFamily="34" charset="0"/>
              <a:buNone/>
              <a:tabLst/>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lang="en-US" dirty="0"/>
              <a:t>Films</a:t>
            </a:r>
          </a:p>
        </p:txBody>
      </p:sp>
      <p:sp>
        <p:nvSpPr>
          <p:cNvPr id="3" name="Title 2"/>
          <p:cNvSpPr>
            <a:spLocks noGrp="1"/>
          </p:cNvSpPr>
          <p:nvPr>
            <p:ph type="title" hasCustomPrompt="1"/>
          </p:nvPr>
        </p:nvSpPr>
        <p:spPr/>
        <p:txBody>
          <a:bodyPr vert="horz"/>
          <a:lstStyle>
            <a:lvl1pPr rtl="0">
              <a:defRPr/>
            </a:lvl1pPr>
          </a:lstStyle>
          <a:p>
            <a:r>
              <a:rPr lang="en-US" dirty="0"/>
              <a:t>Services list sample</a:t>
            </a:r>
          </a:p>
        </p:txBody>
      </p:sp>
      <p:sp>
        <p:nvSpPr>
          <p:cNvPr id="11" name="Text Placeholder 2"/>
          <p:cNvSpPr>
            <a:spLocks noGrp="1"/>
          </p:cNvSpPr>
          <p:nvPr>
            <p:ph type="body" sz="quarter" idx="32" hasCustomPrompt="1"/>
          </p:nvPr>
        </p:nvSpPr>
        <p:spPr>
          <a:xfrm>
            <a:off x="1216657" y="3553151"/>
            <a:ext cx="3634317" cy="338654"/>
          </a:xfrm>
          <a:prstGeom prst="rect">
            <a:avLst/>
          </a:prstGeom>
        </p:spPr>
        <p:txBody>
          <a:bodyPr>
            <a:noAutofit/>
          </a:bodyPr>
          <a:lstStyle>
            <a:lvl1pPr marL="0" indent="0" rtl="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dirty="0"/>
              <a:t>Code</a:t>
            </a:r>
          </a:p>
        </p:txBody>
      </p:sp>
      <p:sp>
        <p:nvSpPr>
          <p:cNvPr id="12" name="Text Placeholder 2"/>
          <p:cNvSpPr>
            <a:spLocks noGrp="1"/>
          </p:cNvSpPr>
          <p:nvPr>
            <p:ph type="body" sz="quarter" idx="33" hasCustomPrompt="1"/>
          </p:nvPr>
        </p:nvSpPr>
        <p:spPr>
          <a:xfrm>
            <a:off x="6556685" y="3553151"/>
            <a:ext cx="3634317" cy="338654"/>
          </a:xfrm>
          <a:prstGeom prst="rect">
            <a:avLst/>
          </a:prstGeom>
        </p:spPr>
        <p:txBody>
          <a:bodyPr>
            <a:noAutofit/>
          </a:bodyPr>
          <a:lstStyle>
            <a:lvl1pPr marL="0" indent="0" rtl="0">
              <a:lnSpc>
                <a:spcPct val="110000"/>
              </a:lnSpc>
              <a:buFont typeface="Arial" pitchFamily="34" charset="0"/>
              <a:buNone/>
              <a:defRPr sz="2400" b="1">
                <a:solidFill>
                  <a:schemeClr val="bg1"/>
                </a:solidFill>
              </a:defRPr>
            </a:lvl1pPr>
            <a:lvl2pPr marL="457200" indent="0">
              <a:buFontTx/>
              <a:buNone/>
              <a:defRPr sz="1800" b="1"/>
            </a:lvl2pPr>
            <a:lvl3pPr marL="914400" indent="0">
              <a:buFontTx/>
              <a:buNone/>
              <a:defRPr sz="1800" b="1"/>
            </a:lvl3pPr>
            <a:lvl4pPr marL="1371600" indent="0">
              <a:buFontTx/>
              <a:buNone/>
              <a:defRPr sz="1800" b="1"/>
            </a:lvl4pPr>
            <a:lvl5pPr marL="1828800" indent="0">
              <a:buFontTx/>
              <a:buNone/>
              <a:defRPr sz="1800" b="1"/>
            </a:lvl5pPr>
          </a:lstStyle>
          <a:p>
            <a:pPr lvl="0"/>
            <a:r>
              <a:rPr lang="en-US" dirty="0"/>
              <a:t>Copywriting</a:t>
            </a:r>
          </a:p>
        </p:txBody>
      </p:sp>
      <p:sp>
        <p:nvSpPr>
          <p:cNvPr id="13" name="Text Placeholder 2"/>
          <p:cNvSpPr>
            <a:spLocks noGrp="1"/>
          </p:cNvSpPr>
          <p:nvPr>
            <p:ph type="body" sz="quarter" idx="22" hasCustomPrompt="1"/>
          </p:nvPr>
        </p:nvSpPr>
        <p:spPr>
          <a:xfrm>
            <a:off x="1216657" y="2623067"/>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dirty="0"/>
              <a:t>Lorem Ipsum has been the industry's standard dummy text ever since the 1500s, when an unknown printer took a galley of type.</a:t>
            </a:r>
          </a:p>
        </p:txBody>
      </p:sp>
      <p:sp>
        <p:nvSpPr>
          <p:cNvPr id="14" name="Text Placeholder 2"/>
          <p:cNvSpPr>
            <a:spLocks noGrp="1"/>
          </p:cNvSpPr>
          <p:nvPr>
            <p:ph type="body" sz="quarter" idx="34" hasCustomPrompt="1"/>
          </p:nvPr>
        </p:nvSpPr>
        <p:spPr>
          <a:xfrm>
            <a:off x="1216656" y="4087515"/>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dirty="0"/>
              <a:t>Lorem Ipsum has been the industry's standard dummy text ever since the 1500s, when an unknown printer took a galley of type.</a:t>
            </a:r>
          </a:p>
        </p:txBody>
      </p:sp>
      <p:sp>
        <p:nvSpPr>
          <p:cNvPr id="15" name="Text Placeholder 2"/>
          <p:cNvSpPr>
            <a:spLocks noGrp="1"/>
          </p:cNvSpPr>
          <p:nvPr>
            <p:ph type="body" sz="quarter" idx="35" hasCustomPrompt="1"/>
          </p:nvPr>
        </p:nvSpPr>
        <p:spPr>
          <a:xfrm>
            <a:off x="1216655" y="5551963"/>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dirty="0"/>
              <a:t>Lorem Ipsum has been the industry's standard dummy text ever since the 1500s, when an unknown printer took a galley of type.</a:t>
            </a:r>
          </a:p>
        </p:txBody>
      </p:sp>
      <p:sp>
        <p:nvSpPr>
          <p:cNvPr id="16" name="Text Placeholder 2"/>
          <p:cNvSpPr>
            <a:spLocks noGrp="1"/>
          </p:cNvSpPr>
          <p:nvPr>
            <p:ph type="body" sz="quarter" idx="36" hasCustomPrompt="1"/>
          </p:nvPr>
        </p:nvSpPr>
        <p:spPr>
          <a:xfrm>
            <a:off x="6556683" y="2617234"/>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dirty="0"/>
              <a:t>Lorem Ipsum has been the industry's standard dummy text ever since the 1500s, when an unknown printer took a galley of type.</a:t>
            </a:r>
          </a:p>
        </p:txBody>
      </p:sp>
      <p:sp>
        <p:nvSpPr>
          <p:cNvPr id="17" name="Text Placeholder 2"/>
          <p:cNvSpPr>
            <a:spLocks noGrp="1"/>
          </p:cNvSpPr>
          <p:nvPr>
            <p:ph type="body" sz="quarter" idx="37" hasCustomPrompt="1"/>
          </p:nvPr>
        </p:nvSpPr>
        <p:spPr>
          <a:xfrm>
            <a:off x="6556682" y="4081682"/>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dirty="0"/>
              <a:t>Lorem Ipsum has been the industry's standard dummy text ever since the 1500s, when an unknown printer took a galley of type.</a:t>
            </a:r>
          </a:p>
        </p:txBody>
      </p:sp>
      <p:sp>
        <p:nvSpPr>
          <p:cNvPr id="18" name="Text Placeholder 2"/>
          <p:cNvSpPr>
            <a:spLocks noGrp="1"/>
          </p:cNvSpPr>
          <p:nvPr>
            <p:ph type="body" sz="quarter" idx="38" hasCustomPrompt="1"/>
          </p:nvPr>
        </p:nvSpPr>
        <p:spPr>
          <a:xfrm>
            <a:off x="6556681" y="5546130"/>
            <a:ext cx="4063693" cy="605908"/>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
                <a:schemeClr val="accent5"/>
              </a:buClr>
              <a:buSzTx/>
              <a:buFont typeface="Arial" panose="020B0604020202020204" pitchFamily="34" charset="0"/>
              <a:buNone/>
              <a:tabLst/>
              <a:defRPr lang="en-US" sz="1400" dirty="0">
                <a:solidFill>
                  <a:schemeClr val="bg1">
                    <a:lumMod val="65000"/>
                  </a:schemeClr>
                </a:solidFill>
              </a:defRPr>
            </a:lvl1pPr>
          </a:lstStyle>
          <a:p>
            <a:pPr marL="0" indent="0">
              <a:buFont typeface="Arial" panose="020B0604020202020204" pitchFamily="34" charset="0"/>
              <a:buNone/>
            </a:pPr>
            <a:r>
              <a:rPr lang="en-US" sz="1400" dirty="0"/>
              <a:t>Lorem Ipsum has been the industry's standard dummy text ever since the 1500s, when an unknown printer took a galley of type.</a:t>
            </a:r>
          </a:p>
        </p:txBody>
      </p:sp>
      <p:sp>
        <p:nvSpPr>
          <p:cNvPr id="19" name="Slide Number Placeholder 5"/>
          <p:cNvSpPr>
            <a:spLocks noGrp="1"/>
          </p:cNvSpPr>
          <p:nvPr>
            <p:ph type="sldNum" sz="quarter" idx="4"/>
          </p:nvPr>
        </p:nvSpPr>
        <p:spPr>
          <a:xfrm>
            <a:off x="8936604" y="6356350"/>
            <a:ext cx="2743200" cy="365125"/>
          </a:xfrm>
          <a:prstGeom prst="rect">
            <a:avLst/>
          </a:prstGeom>
        </p:spPr>
        <p:txBody>
          <a:bodyPr vert="horz" lIns="91440" tIns="45720" rIns="91440" bIns="45720" rtlCol="0" anchor="ctr"/>
          <a:lstStyle>
            <a:lvl1pPr algn="r" rtl="0">
              <a:defRPr sz="800">
                <a:solidFill>
                  <a:schemeClr val="bg1">
                    <a:lumMod val="50000"/>
                  </a:schemeClr>
                </a:solidFill>
              </a:defRPr>
            </a:lvl1pPr>
          </a:lstStyle>
          <a:p>
            <a:fld id="{56C0D935-D802-48C2-BA0B-1A8DBFF4C45B}"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175078104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hree-page 1.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1A9B205-1E4C-E2ED-0150-B61D039D416E}"/>
              </a:ext>
            </a:extLst>
          </p:cNvPr>
          <p:cNvGraphicFramePr>
            <a:graphicFrameLocks noChangeAspect="1"/>
          </p:cNvGraphicFramePr>
          <p:nvPr userDrawn="1">
            <p:custDataLst>
              <p:tags r:id="rId1"/>
            </p:custDataLst>
            <p:extLst>
              <p:ext uri="{D42A27DB-BD31-4B8C-83A1-F6EECF244321}">
                <p14:modId xmlns:p14="http://schemas.microsoft.com/office/powerpoint/2010/main" val="761031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71A9B205-1E4C-E2ED-0150-B61D039D4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445EAA1-4B5F-2E4B-9108-AE95B9DAFD44}"/>
              </a:ext>
            </a:extLst>
          </p:cNvPr>
          <p:cNvCxnSpPr/>
          <p:nvPr userDrawn="1"/>
        </p:nvCxnSpPr>
        <p:spPr>
          <a:xfrm>
            <a:off x="0" y="1688709"/>
            <a:ext cx="8065341"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0392EE45-E55C-214C-BDF9-E846DE19DD9C}"/>
              </a:ext>
            </a:extLst>
          </p:cNvPr>
          <p:cNvSpPr>
            <a:spLocks noGrp="1"/>
          </p:cNvSpPr>
          <p:nvPr>
            <p:ph type="pic" sz="quarter" idx="10"/>
          </p:nvPr>
        </p:nvSpPr>
        <p:spPr>
          <a:xfrm>
            <a:off x="8066088" y="0"/>
            <a:ext cx="4125912" cy="6858000"/>
          </a:xfrm>
          <a:prstGeom prst="rect">
            <a:avLst/>
          </a:prstGeom>
        </p:spPr>
        <p:txBody>
          <a:bodyPr/>
          <a:lstStyle/>
          <a:p>
            <a:endParaRPr lang="en-US"/>
          </a:p>
        </p:txBody>
      </p:sp>
      <p:sp>
        <p:nvSpPr>
          <p:cNvPr id="13" name="Text Placeholder 36">
            <a:extLst>
              <a:ext uri="{FF2B5EF4-FFF2-40B4-BE49-F238E27FC236}">
                <a16:creationId xmlns:a16="http://schemas.microsoft.com/office/drawing/2014/main" id="{3D953596-8C9A-574B-9082-B0BFAC89A425}"/>
              </a:ext>
            </a:extLst>
          </p:cNvPr>
          <p:cNvSpPr>
            <a:spLocks noGrp="1"/>
          </p:cNvSpPr>
          <p:nvPr>
            <p:ph type="body" sz="quarter" idx="21" hasCustomPrompt="1"/>
          </p:nvPr>
        </p:nvSpPr>
        <p:spPr>
          <a:xfrm>
            <a:off x="714124" y="2380971"/>
            <a:ext cx="2216174" cy="257333"/>
          </a:xfrm>
          <a:prstGeom prst="rect">
            <a:avLst/>
          </a:prstGeom>
        </p:spPr>
        <p:txBody>
          <a:bodyPr lIns="0" tIns="0" rIns="0" bIns="0">
            <a:noAutofit/>
          </a:bodyPr>
          <a:lstStyle>
            <a:lvl1pPr marL="0" indent="0" rtl="0">
              <a:buNone/>
              <a:defRPr sz="1600" b="1" i="0">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buNone/>
              <a:defRPr/>
            </a:lvl2pPr>
          </a:lstStyle>
          <a:p>
            <a:pPr lvl="0"/>
            <a:r>
              <a:rPr lang="en-US" dirty="0"/>
              <a:t>Issue</a:t>
            </a:r>
          </a:p>
        </p:txBody>
      </p:sp>
      <p:sp>
        <p:nvSpPr>
          <p:cNvPr id="15" name="Text Placeholder 36">
            <a:extLst>
              <a:ext uri="{FF2B5EF4-FFF2-40B4-BE49-F238E27FC236}">
                <a16:creationId xmlns:a16="http://schemas.microsoft.com/office/drawing/2014/main" id="{224B2B0E-DE2C-7C48-AD35-912F1B01F60D}"/>
              </a:ext>
            </a:extLst>
          </p:cNvPr>
          <p:cNvSpPr>
            <a:spLocks noGrp="1"/>
          </p:cNvSpPr>
          <p:nvPr>
            <p:ph type="body" sz="quarter" idx="23" hasCustomPrompt="1"/>
          </p:nvPr>
        </p:nvSpPr>
        <p:spPr>
          <a:xfrm>
            <a:off x="6211874" y="2380971"/>
            <a:ext cx="2216174" cy="257333"/>
          </a:xfrm>
          <a:prstGeom prst="rect">
            <a:avLst/>
          </a:prstGeom>
        </p:spPr>
        <p:txBody>
          <a:bodyPr lIns="0" tIns="0" rIns="0" bIns="0">
            <a:noAutofit/>
          </a:bodyPr>
          <a:lstStyle>
            <a:lvl1pPr marL="0" indent="0" rtl="0">
              <a:buNone/>
              <a:defRPr sz="1600" b="1" i="0">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buNone/>
              <a:defRPr/>
            </a:lvl2pPr>
          </a:lstStyle>
          <a:p>
            <a:pPr lvl="0"/>
            <a:r>
              <a:rPr lang="en-US" dirty="0"/>
              <a:t>Solution</a:t>
            </a:r>
          </a:p>
        </p:txBody>
      </p:sp>
      <p:sp>
        <p:nvSpPr>
          <p:cNvPr id="16" name="Text Placeholder 36">
            <a:extLst>
              <a:ext uri="{FF2B5EF4-FFF2-40B4-BE49-F238E27FC236}">
                <a16:creationId xmlns:a16="http://schemas.microsoft.com/office/drawing/2014/main" id="{BD76BC3E-AC01-A24C-84E9-3E772D131D2B}"/>
              </a:ext>
            </a:extLst>
          </p:cNvPr>
          <p:cNvSpPr>
            <a:spLocks noGrp="1"/>
          </p:cNvSpPr>
          <p:nvPr>
            <p:ph type="body" sz="quarter" idx="24" hasCustomPrompt="1"/>
          </p:nvPr>
        </p:nvSpPr>
        <p:spPr>
          <a:xfrm>
            <a:off x="6214711" y="2771947"/>
            <a:ext cx="3886552" cy="3357391"/>
          </a:xfrm>
          <a:prstGeom prst="rect">
            <a:avLst/>
          </a:prstGeom>
        </p:spPr>
        <p:txBody>
          <a:bodyPr lIns="0" tIns="0" rIns="0" bIns="0">
            <a:noAutofit/>
          </a:bodyPr>
          <a:lstStyle>
            <a:lvl1pPr marL="0" indent="0" rtl="0">
              <a:lnSpc>
                <a:spcPct val="130000"/>
              </a:lnSpc>
              <a:buNone/>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dirty="0"/>
              <a:t>Insert text here</a:t>
            </a:r>
          </a:p>
        </p:txBody>
      </p:sp>
      <p:sp>
        <p:nvSpPr>
          <p:cNvPr id="17" name="Text Placeholder 36">
            <a:extLst>
              <a:ext uri="{FF2B5EF4-FFF2-40B4-BE49-F238E27FC236}">
                <a16:creationId xmlns:a16="http://schemas.microsoft.com/office/drawing/2014/main" id="{C466136E-2FD8-AE4E-8DAD-0E1D0B24F7BF}"/>
              </a:ext>
            </a:extLst>
          </p:cNvPr>
          <p:cNvSpPr>
            <a:spLocks noGrp="1"/>
          </p:cNvSpPr>
          <p:nvPr>
            <p:ph type="body" sz="quarter" idx="25" hasCustomPrompt="1"/>
          </p:nvPr>
        </p:nvSpPr>
        <p:spPr>
          <a:xfrm>
            <a:off x="714023" y="2771947"/>
            <a:ext cx="4286602" cy="3357391"/>
          </a:xfrm>
          <a:prstGeom prst="rect">
            <a:avLst/>
          </a:prstGeom>
        </p:spPr>
        <p:txBody>
          <a:bodyPr lIns="0" tIns="0" rIns="0" bIns="0">
            <a:noAutofit/>
          </a:bodyPr>
          <a:lstStyle>
            <a:lvl1pPr marL="0" indent="0" rtl="0">
              <a:lnSpc>
                <a:spcPct val="130000"/>
              </a:lnSpc>
              <a:buNone/>
              <a:defRPr sz="1000" b="0" i="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a:lvl2pPr>
          </a:lstStyle>
          <a:p>
            <a:pPr lvl="0"/>
            <a:r>
              <a:rPr lang="en-US" dirty="0"/>
              <a:t>Insert text here</a:t>
            </a:r>
          </a:p>
        </p:txBody>
      </p:sp>
      <p:sp>
        <p:nvSpPr>
          <p:cNvPr id="9" name="Text Placeholder 2">
            <a:extLst>
              <a:ext uri="{FF2B5EF4-FFF2-40B4-BE49-F238E27FC236}">
                <a16:creationId xmlns:a16="http://schemas.microsoft.com/office/drawing/2014/main" id="{CFCDF029-F27A-487A-9FBF-BB3303E4F664}"/>
              </a:ext>
            </a:extLst>
          </p:cNvPr>
          <p:cNvSpPr>
            <a:spLocks noGrp="1"/>
          </p:cNvSpPr>
          <p:nvPr>
            <p:ph type="body" sz="quarter" idx="15" hasCustomPrompt="1"/>
          </p:nvPr>
        </p:nvSpPr>
        <p:spPr>
          <a:xfrm>
            <a:off x="1025305" y="537883"/>
            <a:ext cx="6389908" cy="685792"/>
          </a:xfrm>
        </p:spPr>
        <p:txBody>
          <a:bodyPr>
            <a:noAutofit/>
          </a:bodyPr>
          <a:lstStyle>
            <a:lvl1pPr marL="0" indent="0" rtl="0">
              <a:buNone/>
              <a:defRPr sz="2000"/>
            </a:lvl1p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This is a box for you to place callout text, quote, etc. that you want to highlight. Lorem ipsum dolor sit </a:t>
            </a:r>
            <a:r>
              <a:rPr lang="en-US" dirty="0" err="1">
                <a:latin typeface="Open Sans Light" panose="020B0306030504020204" pitchFamily="34" charset="0"/>
                <a:ea typeface="Open Sans Light" panose="020B0306030504020204" pitchFamily="34" charset="0"/>
                <a:cs typeface="Open Sans Light" panose="020B0306030504020204" pitchFamily="34" charset="0"/>
              </a:rPr>
              <a:t>amet</a:t>
            </a:r>
            <a:r>
              <a:rPr lang="en-US" dirty="0">
                <a:latin typeface="Open Sans Light" panose="020B0306030504020204" pitchFamily="34" charset="0"/>
                <a:ea typeface="Open Sans Light" panose="020B0306030504020204" pitchFamily="34" charset="0"/>
                <a:cs typeface="Open Sans Light" panose="020B0306030504020204" pitchFamily="34" charset="0"/>
              </a:rPr>
              <a:t>.</a:t>
            </a:r>
          </a:p>
        </p:txBody>
      </p:sp>
    </p:spTree>
    <p:extLst>
      <p:ext uri="{BB962C8B-B14F-4D97-AF65-F5344CB8AC3E}">
        <p14:creationId xmlns:p14="http://schemas.microsoft.com/office/powerpoint/2010/main" val="226035672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Main Page Layout">
  <p:cSld name="Main Page Layout">
    <p:spTree>
      <p:nvGrpSpPr>
        <p:cNvPr id="1" name="Shape 16"/>
        <p:cNvGrpSpPr/>
        <p:nvPr/>
      </p:nvGrpSpPr>
      <p:grpSpPr>
        <a:xfrm>
          <a:off x="0" y="0"/>
          <a:ext cx="0" cy="0"/>
          <a:chOff x="0" y="0"/>
          <a:chExt cx="0" cy="0"/>
        </a:xfrm>
      </p:grpSpPr>
    </p:spTree>
    <p:extLst>
      <p:ext uri="{BB962C8B-B14F-4D97-AF65-F5344CB8AC3E}">
        <p14:creationId xmlns:p14="http://schemas.microsoft.com/office/powerpoint/2010/main" val="2749879560"/>
      </p:ext>
    </p:extLst>
  </p:cSld>
  <p:clrMapOvr>
    <a:masterClrMapping/>
  </p:clrMapOvr>
  <p:extLst>
    <p:ext uri="{DCECCB84-F9BA-43D5-87BE-67443E8EF086}">
      <p15:sldGuideLst xmlns:p15="http://schemas.microsoft.com/office/powerpoint/2012/main">
        <p15:guide id="1" orient="horz" pos="172">
          <p15:clr>
            <a:srgbClr val="FA7B17"/>
          </p15:clr>
        </p15:guide>
        <p15:guide id="2" orient="horz" pos="361">
          <p15:clr>
            <a:srgbClr val="FA7B17"/>
          </p15:clr>
        </p15:guide>
        <p15:guide id="3" pos="148">
          <p15:clr>
            <a:srgbClr val="FA7B17"/>
          </p15:clr>
        </p15:guide>
        <p15:guide id="4" pos="5612">
          <p15:clr>
            <a:srgbClr val="FA7B17"/>
          </p15:clr>
        </p15:guide>
        <p15:guide id="5" orient="horz" pos="3092">
          <p15:clr>
            <a:srgbClr val="FA7B17"/>
          </p15:clr>
        </p15:guide>
        <p15:guide id="6" pos="2880">
          <p15:clr>
            <a:srgbClr val="FA7B17"/>
          </p15:clr>
        </p15:guide>
        <p15:guide id="7" orient="horz" pos="1801">
          <p15:clr>
            <a:srgbClr val="FA7B17"/>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Header, big image, text">
  <p:cSld name="Header, big image, text">
    <p:spTree>
      <p:nvGrpSpPr>
        <p:cNvPr id="1" name="Shape 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EEED064-BC62-7EE7-13FE-E744DF644D99}"/>
              </a:ext>
            </a:extLst>
          </p:cNvPr>
          <p:cNvGraphicFramePr>
            <a:graphicFrameLocks noChangeAspect="1"/>
          </p:cNvGraphicFramePr>
          <p:nvPr userDrawn="1">
            <p:custDataLst>
              <p:tags r:id="rId1"/>
            </p:custDataLst>
            <p:extLst>
              <p:ext uri="{D42A27DB-BD31-4B8C-83A1-F6EECF244321}">
                <p14:modId xmlns:p14="http://schemas.microsoft.com/office/powerpoint/2010/main" val="442431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DEEED064-BC62-7EE7-13FE-E744DF644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Google Shape;11;p68"/>
          <p:cNvSpPr>
            <a:spLocks noGrp="1"/>
          </p:cNvSpPr>
          <p:nvPr>
            <p:ph type="pic" idx="2"/>
          </p:nvPr>
        </p:nvSpPr>
        <p:spPr>
          <a:xfrm>
            <a:off x="3228900" y="238933"/>
            <a:ext cx="5736000" cy="6001200"/>
          </a:xfrm>
          <a:prstGeom prst="rect">
            <a:avLst/>
          </a:prstGeom>
          <a:noFill/>
          <a:ln>
            <a:noFill/>
          </a:ln>
        </p:spPr>
      </p:sp>
      <p:sp>
        <p:nvSpPr>
          <p:cNvPr id="12" name="Google Shape;12;p68"/>
          <p:cNvSpPr txBox="1">
            <a:spLocks noGrp="1"/>
          </p:cNvSpPr>
          <p:nvPr>
            <p:ph type="body" idx="1"/>
          </p:nvPr>
        </p:nvSpPr>
        <p:spPr>
          <a:xfrm>
            <a:off x="9205767" y="238933"/>
            <a:ext cx="2746400" cy="6001200"/>
          </a:xfrm>
          <a:prstGeom prst="rect">
            <a:avLst/>
          </a:prstGeom>
          <a:noFill/>
          <a:ln>
            <a:noFill/>
          </a:ln>
        </p:spPr>
        <p:txBody>
          <a:bodyPr spcFirstLastPara="1" wrap="square" lIns="0" tIns="0" rIns="0" bIns="0" anchor="t" anchorCtr="0">
            <a:noAutofit/>
          </a:bodyPr>
          <a:lstStyle>
            <a:lvl1pPr marL="304815" marR="0" lvl="0" indent="-228611" algn="l" rtl="0">
              <a:lnSpc>
                <a:spcPct val="115000"/>
              </a:lnSpc>
              <a:spcBef>
                <a:spcPts val="0"/>
              </a:spcBef>
              <a:spcAft>
                <a:spcPts val="0"/>
              </a:spcAft>
              <a:buClr>
                <a:srgbClr val="000000"/>
              </a:buClr>
              <a:buSzPts val="1800"/>
              <a:buFont typeface="Helvetica Neue"/>
              <a:buChar char="●"/>
              <a:defRPr sz="1200" b="0" i="0" u="none" strike="noStrike" cap="none">
                <a:solidFill>
                  <a:srgbClr val="000000"/>
                </a:solidFill>
                <a:latin typeface="Open Sans" panose="020B0606030504020204" pitchFamily="34" charset="0"/>
                <a:ea typeface="Open Sans" panose="020B0606030504020204" pitchFamily="34" charset="0"/>
                <a:cs typeface="Open Sans" panose="020B0606030504020204" pitchFamily="34" charset="0"/>
                <a:sym typeface="Helvetica Neue"/>
              </a:defRPr>
            </a:lvl1pPr>
            <a:lvl2pPr marL="609630" marR="0" lvl="1"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2pPr>
            <a:lvl3pPr marL="914446" marR="0" lvl="2"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3pPr>
            <a:lvl4pPr marL="1219261" marR="0" lvl="3"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4pPr>
            <a:lvl5pPr marL="1524076" marR="0" lvl="4"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5pPr>
            <a:lvl6pPr marL="1828891" marR="0" lvl="5"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6pPr>
            <a:lvl7pPr marL="2133707" marR="0" lvl="6"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7pPr>
            <a:lvl8pPr marL="2438522" marR="0" lvl="7"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8pPr>
            <a:lvl9pPr marL="2743337" marR="0" lvl="8" indent="-228611" algn="l" rtl="0">
              <a:lnSpc>
                <a:spcPct val="100000"/>
              </a:lnSpc>
              <a:spcBef>
                <a:spcPts val="0"/>
              </a:spcBef>
              <a:spcAft>
                <a:spcPts val="0"/>
              </a:spcAft>
              <a:buClr>
                <a:srgbClr val="000000"/>
              </a:buClr>
              <a:buSzPts val="1800"/>
              <a:buFont typeface="Helvetica Neue"/>
              <a:buChar char="■"/>
              <a:defRPr sz="1200" b="0" i="0" u="none" strike="noStrike" cap="none">
                <a:solidFill>
                  <a:srgbClr val="000000"/>
                </a:solidFill>
                <a:latin typeface="Helvetica Neue"/>
                <a:ea typeface="Helvetica Neue"/>
                <a:cs typeface="Helvetica Neue"/>
                <a:sym typeface="Helvetica Neue"/>
              </a:defRPr>
            </a:lvl9pPr>
          </a:lstStyle>
          <a:p>
            <a:endParaRPr lang="en-US" dirty="0"/>
          </a:p>
        </p:txBody>
      </p:sp>
      <p:sp>
        <p:nvSpPr>
          <p:cNvPr id="13" name="Google Shape;13;p68"/>
          <p:cNvSpPr txBox="1">
            <a:spLocks noGrp="1"/>
          </p:cNvSpPr>
          <p:nvPr>
            <p:ph type="title"/>
          </p:nvPr>
        </p:nvSpPr>
        <p:spPr>
          <a:xfrm>
            <a:off x="241767" y="238933"/>
            <a:ext cx="2746400" cy="3000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3000"/>
              <a:buFont typeface="Helvetica Neue"/>
              <a:buNone/>
              <a:defRPr sz="2000" b="0" i="0" u="none" strike="noStrike" cap="none">
                <a:solidFill>
                  <a:srgbClr val="000000"/>
                </a:solidFill>
                <a:latin typeface="Open Sans" panose="020B0606030504020204" pitchFamily="34" charset="0"/>
                <a:ea typeface="Open Sans" panose="020B0606030504020204" pitchFamily="34" charset="0"/>
                <a:cs typeface="Open Sans" panose="020B0606030504020204" pitchFamily="34" charset="0"/>
                <a:sym typeface="Helvetica Neue"/>
              </a:defRPr>
            </a:lvl1pPr>
            <a:lvl2pPr marR="0" lvl="1"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800"/>
              <a:buFont typeface="Arial"/>
              <a:buNone/>
              <a:defRPr sz="1867" b="0" i="0" u="none" strike="noStrike" cap="none">
                <a:solidFill>
                  <a:srgbClr val="000000"/>
                </a:solidFill>
                <a:latin typeface="Arial"/>
                <a:ea typeface="Arial"/>
                <a:cs typeface="Arial"/>
                <a:sym typeface="Arial"/>
              </a:defRPr>
            </a:lvl9pPr>
          </a:lstStyle>
          <a:p>
            <a:endParaRPr lang="en-US" dirty="0"/>
          </a:p>
        </p:txBody>
      </p:sp>
    </p:spTree>
    <p:extLst>
      <p:ext uri="{BB962C8B-B14F-4D97-AF65-F5344CB8AC3E}">
        <p14:creationId xmlns:p14="http://schemas.microsoft.com/office/powerpoint/2010/main" val="147125326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19B7DD-AC20-A6E4-C943-6366C473AF80}"/>
              </a:ext>
            </a:extLst>
          </p:cNvPr>
          <p:cNvGraphicFramePr>
            <a:graphicFrameLocks noChangeAspect="1"/>
          </p:cNvGraphicFramePr>
          <p:nvPr userDrawn="1">
            <p:custDataLst>
              <p:tags r:id="rId1"/>
            </p:custDataLst>
            <p:extLst>
              <p:ext uri="{D42A27DB-BD31-4B8C-83A1-F6EECF244321}">
                <p14:modId xmlns:p14="http://schemas.microsoft.com/office/powerpoint/2010/main" val="835525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CE19B7DD-AC20-A6E4-C943-6366C473AF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5200"/>
              <a:buNone/>
              <a:defRPr sz="6934"/>
            </a:lvl1pPr>
            <a:lvl2pPr lvl="1" algn="ctr">
              <a:spcBef>
                <a:spcPts val="0"/>
              </a:spcBef>
              <a:spcAft>
                <a:spcPts val="0"/>
              </a:spcAft>
              <a:buSzPts val="5200"/>
              <a:buNone/>
              <a:defRPr sz="6934"/>
            </a:lvl2pPr>
            <a:lvl3pPr lvl="2" algn="ctr">
              <a:spcBef>
                <a:spcPts val="0"/>
              </a:spcBef>
              <a:spcAft>
                <a:spcPts val="0"/>
              </a:spcAft>
              <a:buSzPts val="5200"/>
              <a:buNone/>
              <a:defRPr sz="6934"/>
            </a:lvl3pPr>
            <a:lvl4pPr lvl="3" algn="ctr">
              <a:spcBef>
                <a:spcPts val="0"/>
              </a:spcBef>
              <a:spcAft>
                <a:spcPts val="0"/>
              </a:spcAft>
              <a:buSzPts val="5200"/>
              <a:buNone/>
              <a:defRPr sz="6934"/>
            </a:lvl4pPr>
            <a:lvl5pPr lvl="4" algn="ctr">
              <a:spcBef>
                <a:spcPts val="0"/>
              </a:spcBef>
              <a:spcAft>
                <a:spcPts val="0"/>
              </a:spcAft>
              <a:buSzPts val="5200"/>
              <a:buNone/>
              <a:defRPr sz="6934"/>
            </a:lvl5pPr>
            <a:lvl6pPr lvl="5" algn="ctr">
              <a:spcBef>
                <a:spcPts val="0"/>
              </a:spcBef>
              <a:spcAft>
                <a:spcPts val="0"/>
              </a:spcAft>
              <a:buSzPts val="5200"/>
              <a:buNone/>
              <a:defRPr sz="6934"/>
            </a:lvl6pPr>
            <a:lvl7pPr lvl="6" algn="ctr">
              <a:spcBef>
                <a:spcPts val="0"/>
              </a:spcBef>
              <a:spcAft>
                <a:spcPts val="0"/>
              </a:spcAft>
              <a:buSzPts val="5200"/>
              <a:buNone/>
              <a:defRPr sz="6934"/>
            </a:lvl7pPr>
            <a:lvl8pPr lvl="7" algn="ctr">
              <a:spcBef>
                <a:spcPts val="0"/>
              </a:spcBef>
              <a:spcAft>
                <a:spcPts val="0"/>
              </a:spcAft>
              <a:buSzPts val="5200"/>
              <a:buNone/>
              <a:defRPr sz="6934"/>
            </a:lvl8pPr>
            <a:lvl9pPr lvl="8" algn="ctr">
              <a:spcBef>
                <a:spcPts val="0"/>
              </a:spcBef>
              <a:spcAft>
                <a:spcPts val="0"/>
              </a:spcAft>
              <a:buSzPts val="5200"/>
              <a:buNone/>
              <a:defRPr sz="6934"/>
            </a:lvl9pPr>
          </a:lstStyle>
          <a:p>
            <a:endParaRPr lang="en-US" dirty="0"/>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2800"/>
              <a:buNone/>
              <a:defRPr sz="3734"/>
            </a:lvl1pPr>
            <a:lvl2pPr lvl="1" algn="ctr">
              <a:lnSpc>
                <a:spcPct val="100000"/>
              </a:lnSpc>
              <a:spcBef>
                <a:spcPts val="0"/>
              </a:spcBef>
              <a:spcAft>
                <a:spcPts val="0"/>
              </a:spcAft>
              <a:buSzPts val="2800"/>
              <a:buNone/>
              <a:defRPr sz="3734"/>
            </a:lvl2pPr>
            <a:lvl3pPr lvl="2" algn="ctr">
              <a:lnSpc>
                <a:spcPct val="100000"/>
              </a:lnSpc>
              <a:spcBef>
                <a:spcPts val="0"/>
              </a:spcBef>
              <a:spcAft>
                <a:spcPts val="0"/>
              </a:spcAft>
              <a:buSzPts val="2800"/>
              <a:buNone/>
              <a:defRPr sz="3734"/>
            </a:lvl3pPr>
            <a:lvl4pPr lvl="3" algn="ctr">
              <a:lnSpc>
                <a:spcPct val="100000"/>
              </a:lnSpc>
              <a:spcBef>
                <a:spcPts val="0"/>
              </a:spcBef>
              <a:spcAft>
                <a:spcPts val="0"/>
              </a:spcAft>
              <a:buSzPts val="2800"/>
              <a:buNone/>
              <a:defRPr sz="3734"/>
            </a:lvl4pPr>
            <a:lvl5pPr lvl="4" algn="ctr">
              <a:lnSpc>
                <a:spcPct val="100000"/>
              </a:lnSpc>
              <a:spcBef>
                <a:spcPts val="0"/>
              </a:spcBef>
              <a:spcAft>
                <a:spcPts val="0"/>
              </a:spcAft>
              <a:buSzPts val="2800"/>
              <a:buNone/>
              <a:defRPr sz="3734"/>
            </a:lvl5pPr>
            <a:lvl6pPr lvl="5" algn="ctr">
              <a:lnSpc>
                <a:spcPct val="100000"/>
              </a:lnSpc>
              <a:spcBef>
                <a:spcPts val="0"/>
              </a:spcBef>
              <a:spcAft>
                <a:spcPts val="0"/>
              </a:spcAft>
              <a:buSzPts val="2800"/>
              <a:buNone/>
              <a:defRPr sz="3734"/>
            </a:lvl6pPr>
            <a:lvl7pPr lvl="6" algn="ctr">
              <a:lnSpc>
                <a:spcPct val="100000"/>
              </a:lnSpc>
              <a:spcBef>
                <a:spcPts val="0"/>
              </a:spcBef>
              <a:spcAft>
                <a:spcPts val="0"/>
              </a:spcAft>
              <a:buSzPts val="2800"/>
              <a:buNone/>
              <a:defRPr sz="3734"/>
            </a:lvl7pPr>
            <a:lvl8pPr lvl="7" algn="ctr">
              <a:lnSpc>
                <a:spcPct val="100000"/>
              </a:lnSpc>
              <a:spcBef>
                <a:spcPts val="0"/>
              </a:spcBef>
              <a:spcAft>
                <a:spcPts val="0"/>
              </a:spcAft>
              <a:buSzPts val="2800"/>
              <a:buNone/>
              <a:defRPr sz="3734"/>
            </a:lvl8pPr>
            <a:lvl9pPr lvl="8" algn="ctr">
              <a:lnSpc>
                <a:spcPct val="100000"/>
              </a:lnSpc>
              <a:spcBef>
                <a:spcPts val="0"/>
              </a:spcBef>
              <a:spcAft>
                <a:spcPts val="0"/>
              </a:spcAft>
              <a:buSzPts val="2800"/>
              <a:buNone/>
              <a:defRPr sz="3734"/>
            </a:lvl9pPr>
          </a:lstStyle>
          <a:p>
            <a:endParaRPr lang="en-US" dirty="0"/>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US" smtClean="0"/>
              <a:pPr algn="r"/>
              <a:t>‹#›</a:t>
            </a:fld>
            <a:endParaRPr lang="en-US" dirty="0"/>
          </a:p>
        </p:txBody>
      </p:sp>
    </p:spTree>
    <p:extLst>
      <p:ext uri="{BB962C8B-B14F-4D97-AF65-F5344CB8AC3E}">
        <p14:creationId xmlns:p14="http://schemas.microsoft.com/office/powerpoint/2010/main" val="221189617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3119604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Subhead_MAF_Fin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88EC04-C5F3-4FBB-D8FC-D62F9D92A501}"/>
              </a:ext>
            </a:extLst>
          </p:cNvPr>
          <p:cNvGraphicFramePr>
            <a:graphicFrameLocks noChangeAspect="1"/>
          </p:cNvGraphicFramePr>
          <p:nvPr userDrawn="1">
            <p:custDataLst>
              <p:tags r:id="rId1"/>
            </p:custDataLst>
            <p:extLst>
              <p:ext uri="{D42A27DB-BD31-4B8C-83A1-F6EECF244321}">
                <p14:modId xmlns:p14="http://schemas.microsoft.com/office/powerpoint/2010/main" val="3799331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DC88EC04-C5F3-4FBB-D8FC-D62F9D92A5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7674" y="469900"/>
            <a:ext cx="11277280" cy="366254"/>
          </a:xfrm>
          <a:prstGeom prst="rect">
            <a:avLst/>
          </a:prstGeom>
        </p:spPr>
        <p:txBody>
          <a:bodyPr vert="horz" wrap="square" lIns="0" tIns="0" rIns="0" bIns="0" rtlCol="0" anchor="t" anchorCtr="0">
            <a:spAutoFit/>
          </a:bodyPr>
          <a:lstStyle>
            <a:lvl1pPr rtl="0">
              <a:defRPr lang="en-US" sz="28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hasCustomPrompt="1"/>
          </p:nvPr>
        </p:nvSpPr>
        <p:spPr>
          <a:xfrm>
            <a:off x="457520" y="871240"/>
            <a:ext cx="11276960" cy="283173"/>
          </a:xfrm>
          <a:prstGeom prst="rect">
            <a:avLst/>
          </a:prstGeom>
        </p:spPr>
        <p:txBody>
          <a:bodyPr vert="horz" lIns="0" tIns="0" rIns="0" bIns="0" rtlCol="0">
            <a:noAutofit/>
          </a:bodyPr>
          <a:lstStyle>
            <a:lvl1pPr marL="0" indent="0" rtl="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US"/>
              <a:t>Edit Master text styles</a:t>
            </a:r>
            <a:endParaRPr lang="en-US" dirty="0"/>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457200" y="272179"/>
            <a:ext cx="5562600" cy="123111"/>
          </a:xfrm>
          <a:prstGeom prst="rect">
            <a:avLst/>
          </a:prstGeom>
        </p:spPr>
        <p:txBody>
          <a:bodyPr lIns="0" tIns="0" rIns="0" bIns="0" anchor="b" anchorCtr="0">
            <a:spAutoFit/>
          </a:bodyPr>
          <a:lstStyle>
            <a:lvl1pPr marL="0" indent="0" algn="l" rtl="0">
              <a:spcBef>
                <a:spcPts val="0"/>
              </a:spcBef>
              <a:buNone/>
              <a:defRPr sz="800" b="1" spc="300">
                <a:solidFill>
                  <a:schemeClr val="accent5">
                    <a:lumMod val="60000"/>
                    <a:lumOff val="40000"/>
                  </a:schemeClr>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58852903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Quals_MAF_Fin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C60E9E-FDCE-CA0B-CC68-4453BCE26EF7}"/>
              </a:ext>
            </a:extLst>
          </p:cNvPr>
          <p:cNvGraphicFramePr>
            <a:graphicFrameLocks noChangeAspect="1"/>
          </p:cNvGraphicFramePr>
          <p:nvPr userDrawn="1">
            <p:custDataLst>
              <p:tags r:id="rId1"/>
            </p:custDataLst>
            <p:extLst>
              <p:ext uri="{D42A27DB-BD31-4B8C-83A1-F6EECF244321}">
                <p14:modId xmlns:p14="http://schemas.microsoft.com/office/powerpoint/2010/main" val="56908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72C60E9E-FDCE-CA0B-CC68-4453BCE26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14700" y="469900"/>
            <a:ext cx="8410254" cy="732508"/>
          </a:xfrm>
          <a:prstGeom prst="rect">
            <a:avLst/>
          </a:prstGeom>
        </p:spPr>
        <p:txBody>
          <a:bodyPr vert="horz" wrap="square" lIns="0" tIns="0" rIns="0" bIns="0" rtlCol="0" anchor="t" anchorCtr="0">
            <a:spAutoFit/>
          </a:bodyPr>
          <a:lstStyle>
            <a:lvl1pPr rtl="0">
              <a:defRPr lang="en-US" sz="2800" b="0" spc="-75" dirty="0">
                <a:latin typeface="+mj-lt"/>
              </a:defRPr>
            </a:lvl1pPr>
          </a:lstStyle>
          <a:p>
            <a:pPr lvl="0" defTabSz="685800">
              <a:lnSpc>
                <a:spcPct val="85000"/>
              </a:lnSpc>
            </a:pPr>
            <a:r>
              <a:rPr lang="en-US"/>
              <a:t>Click to edit Master title </a:t>
            </a:r>
            <a:br>
              <a:rPr lang="en-US"/>
            </a:br>
            <a:r>
              <a:rPr lang="en-US"/>
              <a:t>style</a:t>
            </a:r>
            <a:endParaRPr lang="en-US" dirty="0"/>
          </a:p>
        </p:txBody>
      </p:sp>
      <p:sp>
        <p:nvSpPr>
          <p:cNvPr id="4" name="Text Placeholder 8"/>
          <p:cNvSpPr>
            <a:spLocks noGrp="1"/>
          </p:cNvSpPr>
          <p:nvPr>
            <p:ph type="body" sz="quarter" idx="14" hasCustomPrompt="1"/>
          </p:nvPr>
        </p:nvSpPr>
        <p:spPr>
          <a:xfrm>
            <a:off x="3324464" y="1201440"/>
            <a:ext cx="8410015" cy="283173"/>
          </a:xfrm>
          <a:prstGeom prst="rect">
            <a:avLst/>
          </a:prstGeom>
        </p:spPr>
        <p:txBody>
          <a:bodyPr vert="horz" lIns="0" tIns="0" rIns="0" bIns="0" rtlCol="0">
            <a:noAutofit/>
          </a:bodyPr>
          <a:lstStyle>
            <a:lvl1pPr marL="0" indent="0" rtl="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US"/>
              <a:t>Edit Master text styles</a:t>
            </a:r>
            <a:endParaRPr lang="en-US" dirty="0"/>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3314700" y="272179"/>
            <a:ext cx="4148419" cy="123111"/>
          </a:xfrm>
          <a:prstGeom prst="rect">
            <a:avLst/>
          </a:prstGeom>
        </p:spPr>
        <p:txBody>
          <a:bodyPr wrap="square" lIns="0" tIns="0" rIns="0" bIns="0" anchor="b" anchorCtr="0">
            <a:spAutoFit/>
          </a:bodyPr>
          <a:lstStyle>
            <a:lvl1pPr marL="0" indent="0" algn="l" rtl="0">
              <a:spcBef>
                <a:spcPts val="0"/>
              </a:spcBef>
              <a:buNone/>
              <a:defRPr sz="800" b="1" spc="300">
                <a:solidFill>
                  <a:schemeClr val="accent5">
                    <a:lumMod val="60000"/>
                    <a:lumOff val="40000"/>
                  </a:schemeClr>
                </a:solidFill>
              </a:defRPr>
            </a:lvl1pPr>
          </a:lstStyle>
          <a:p>
            <a:pPr lvl="0"/>
            <a:r>
              <a:rPr lang="en-US"/>
              <a:t>Click to edit Master text styles</a:t>
            </a:r>
            <a:endParaRPr lang="en-US" dirty="0"/>
          </a:p>
        </p:txBody>
      </p:sp>
      <p:sp>
        <p:nvSpPr>
          <p:cNvPr id="8" name="Rectangle 7">
            <a:extLst>
              <a:ext uri="{FF2B5EF4-FFF2-40B4-BE49-F238E27FC236}">
                <a16:creationId xmlns:a16="http://schemas.microsoft.com/office/drawing/2014/main" id="{B7A697C8-B454-4FF3-876D-311272C237ED}"/>
              </a:ext>
            </a:extLst>
          </p:cNvPr>
          <p:cNvSpPr/>
          <p:nvPr userDrawn="1"/>
        </p:nvSpPr>
        <p:spPr>
          <a:xfrm>
            <a:off x="0" y="0"/>
            <a:ext cx="3162300"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dirty="0"/>
          </a:p>
        </p:txBody>
      </p:sp>
    </p:spTree>
    <p:extLst>
      <p:ext uri="{BB962C8B-B14F-4D97-AF65-F5344CB8AC3E}">
        <p14:creationId xmlns:p14="http://schemas.microsoft.com/office/powerpoint/2010/main" val="303314630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_Quals_MAF_Fin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E6D7325-30CB-DD60-FA5C-E02464107E2F}"/>
              </a:ext>
            </a:extLst>
          </p:cNvPr>
          <p:cNvGraphicFramePr>
            <a:graphicFrameLocks noChangeAspect="1"/>
          </p:cNvGraphicFramePr>
          <p:nvPr userDrawn="1">
            <p:custDataLst>
              <p:tags r:id="rId1"/>
            </p:custDataLst>
            <p:extLst>
              <p:ext uri="{D42A27DB-BD31-4B8C-83A1-F6EECF244321}">
                <p14:modId xmlns:p14="http://schemas.microsoft.com/office/powerpoint/2010/main" val="3870209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AE6D7325-30CB-DD60-FA5C-E02464107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314700" y="469900"/>
            <a:ext cx="8410254" cy="366254"/>
          </a:xfrm>
          <a:prstGeom prst="rect">
            <a:avLst/>
          </a:prstGeom>
        </p:spPr>
        <p:txBody>
          <a:bodyPr vert="horz" wrap="square" lIns="0" tIns="0" rIns="0" bIns="0" rtlCol="0" anchor="t" anchorCtr="0">
            <a:spAutoFit/>
          </a:bodyPr>
          <a:lstStyle>
            <a:lvl1pPr rtl="0">
              <a:defRPr lang="en-US" sz="28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hasCustomPrompt="1"/>
          </p:nvPr>
        </p:nvSpPr>
        <p:spPr>
          <a:xfrm>
            <a:off x="3324464" y="890290"/>
            <a:ext cx="8410015" cy="283173"/>
          </a:xfrm>
          <a:prstGeom prst="rect">
            <a:avLst/>
          </a:prstGeom>
        </p:spPr>
        <p:txBody>
          <a:bodyPr vert="horz" lIns="0" tIns="0" rIns="0" bIns="0" rtlCol="0">
            <a:noAutofit/>
          </a:bodyPr>
          <a:lstStyle>
            <a:lvl1pPr marL="0" indent="0" rtl="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US"/>
              <a:t>Edit Master text styles</a:t>
            </a:r>
            <a:endParaRPr lang="en-US" dirty="0"/>
          </a:p>
        </p:txBody>
      </p:sp>
      <p:sp>
        <p:nvSpPr>
          <p:cNvPr id="5" name="Text Placeholder 4">
            <a:extLst>
              <a:ext uri="{FF2B5EF4-FFF2-40B4-BE49-F238E27FC236}">
                <a16:creationId xmlns:a16="http://schemas.microsoft.com/office/drawing/2014/main" id="{1272BC33-7F4F-46B3-9725-3915201D9AD4}"/>
              </a:ext>
            </a:extLst>
          </p:cNvPr>
          <p:cNvSpPr>
            <a:spLocks noGrp="1"/>
          </p:cNvSpPr>
          <p:nvPr>
            <p:ph type="body" sz="quarter" idx="15"/>
          </p:nvPr>
        </p:nvSpPr>
        <p:spPr>
          <a:xfrm>
            <a:off x="3314700" y="272179"/>
            <a:ext cx="4148419" cy="123111"/>
          </a:xfrm>
          <a:prstGeom prst="rect">
            <a:avLst/>
          </a:prstGeom>
        </p:spPr>
        <p:txBody>
          <a:bodyPr wrap="square" lIns="0" tIns="0" rIns="0" bIns="0" anchor="b" anchorCtr="0">
            <a:spAutoFit/>
          </a:bodyPr>
          <a:lstStyle>
            <a:lvl1pPr marL="0" indent="0" algn="l" rtl="0">
              <a:spcBef>
                <a:spcPts val="0"/>
              </a:spcBef>
              <a:buNone/>
              <a:defRPr sz="800" b="1" spc="300">
                <a:solidFill>
                  <a:schemeClr val="accent5">
                    <a:lumMod val="60000"/>
                    <a:lumOff val="40000"/>
                  </a:schemeClr>
                </a:solidFill>
              </a:defRPr>
            </a:lvl1pPr>
          </a:lstStyle>
          <a:p>
            <a:pPr lvl="0"/>
            <a:r>
              <a:rPr lang="en-US"/>
              <a:t>Click to edit Master text styles</a:t>
            </a:r>
            <a:endParaRPr lang="en-US" dirty="0"/>
          </a:p>
        </p:txBody>
      </p:sp>
      <p:sp>
        <p:nvSpPr>
          <p:cNvPr id="8" name="Rectangle 7">
            <a:extLst>
              <a:ext uri="{FF2B5EF4-FFF2-40B4-BE49-F238E27FC236}">
                <a16:creationId xmlns:a16="http://schemas.microsoft.com/office/drawing/2014/main" id="{B7A697C8-B454-4FF3-876D-311272C237ED}"/>
              </a:ext>
            </a:extLst>
          </p:cNvPr>
          <p:cNvSpPr/>
          <p:nvPr userDrawn="1"/>
        </p:nvSpPr>
        <p:spPr>
          <a:xfrm>
            <a:off x="0" y="0"/>
            <a:ext cx="3162300"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dirty="0"/>
          </a:p>
        </p:txBody>
      </p:sp>
    </p:spTree>
    <p:extLst>
      <p:ext uri="{BB962C8B-B14F-4D97-AF65-F5344CB8AC3E}">
        <p14:creationId xmlns:p14="http://schemas.microsoft.com/office/powerpoint/2010/main" val="38720818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End slide ">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1362058"/>
      </p:ext>
    </p:extLst>
  </p:cSld>
  <p:clrMapOvr>
    <a:masterClrMapping/>
  </p:clrMapOvr>
  <p:hf hd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Line_Title, Subhead_MAF_Fin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4229C7-AEC6-99EB-80C0-10E86B1F1566}"/>
              </a:ext>
            </a:extLst>
          </p:cNvPr>
          <p:cNvGraphicFramePr>
            <a:graphicFrameLocks noChangeAspect="1"/>
          </p:cNvGraphicFramePr>
          <p:nvPr userDrawn="1">
            <p:custDataLst>
              <p:tags r:id="rId1"/>
            </p:custDataLst>
            <p:extLst>
              <p:ext uri="{D42A27DB-BD31-4B8C-83A1-F6EECF244321}">
                <p14:modId xmlns:p14="http://schemas.microsoft.com/office/powerpoint/2010/main" val="321576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8E4229C7-AEC6-99EB-80C0-10E86B1F15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7368" y="469900"/>
            <a:ext cx="11277280" cy="732508"/>
          </a:xfrm>
          <a:prstGeom prst="rect">
            <a:avLst/>
          </a:prstGeom>
        </p:spPr>
        <p:txBody>
          <a:bodyPr vert="horz" wrap="square" lIns="0" tIns="0" rIns="0" bIns="0" rtlCol="0" anchor="t" anchorCtr="0">
            <a:spAutoFit/>
          </a:bodyPr>
          <a:lstStyle>
            <a:lvl1pPr rtl="0">
              <a:defRPr lang="en-US" sz="2800" b="0" spc="-75" dirty="0">
                <a:latin typeface="+mj-lt"/>
              </a:defRPr>
            </a:lvl1pPr>
          </a:lstStyle>
          <a:p>
            <a:pPr lvl="0" defTabSz="685800">
              <a:lnSpc>
                <a:spcPct val="85000"/>
              </a:lnSpc>
            </a:pPr>
            <a:r>
              <a:rPr lang="en-US"/>
              <a:t>Click to edit Master </a:t>
            </a:r>
            <a:br>
              <a:rPr lang="en-US"/>
            </a:br>
            <a:r>
              <a:rPr lang="en-US"/>
              <a:t>title style</a:t>
            </a:r>
            <a:endParaRPr lang="en-US" dirty="0"/>
          </a:p>
        </p:txBody>
      </p:sp>
      <p:sp>
        <p:nvSpPr>
          <p:cNvPr id="4" name="Text Placeholder 8"/>
          <p:cNvSpPr>
            <a:spLocks noGrp="1"/>
          </p:cNvSpPr>
          <p:nvPr>
            <p:ph type="body" sz="quarter" idx="14" hasCustomPrompt="1"/>
          </p:nvPr>
        </p:nvSpPr>
        <p:spPr>
          <a:xfrm>
            <a:off x="457520" y="1219577"/>
            <a:ext cx="11276960" cy="283173"/>
          </a:xfrm>
          <a:prstGeom prst="rect">
            <a:avLst/>
          </a:prstGeom>
        </p:spPr>
        <p:txBody>
          <a:bodyPr vert="horz" lIns="0" tIns="0" rIns="0" bIns="0" rtlCol="0">
            <a:noAutofit/>
          </a:bodyPr>
          <a:lstStyle>
            <a:lvl1pPr marL="0" indent="0" rtl="0">
              <a:lnSpc>
                <a:spcPct val="100000"/>
              </a:lnSpc>
              <a:spcBef>
                <a:spcPts val="0"/>
              </a:spcBef>
              <a:buNone/>
              <a:defRPr lang="en-US" sz="1200">
                <a:solidFill>
                  <a:schemeClr val="accent5"/>
                </a:solidFill>
                <a:latin typeface="+mn-lt"/>
                <a:cs typeface="Calibri" panose="020F0502020204030204" pitchFamily="34" charset="0"/>
              </a:defRPr>
            </a:lvl1pPr>
          </a:lstStyle>
          <a:p>
            <a:pPr marL="228600" lvl="0" indent="-228600">
              <a:lnSpc>
                <a:spcPct val="130000"/>
              </a:lnSpc>
            </a:pPr>
            <a:r>
              <a:rPr lang="en-US"/>
              <a:t>Edit Master text styles</a:t>
            </a:r>
            <a:endParaRPr lang="en-US" dirty="0"/>
          </a:p>
        </p:txBody>
      </p:sp>
      <p:sp>
        <p:nvSpPr>
          <p:cNvPr id="5" name="Text Placeholder 4">
            <a:extLst>
              <a:ext uri="{FF2B5EF4-FFF2-40B4-BE49-F238E27FC236}">
                <a16:creationId xmlns:a16="http://schemas.microsoft.com/office/drawing/2014/main" id="{E2B8159F-A4D5-40E3-937B-98705B9BD881}"/>
              </a:ext>
            </a:extLst>
          </p:cNvPr>
          <p:cNvSpPr>
            <a:spLocks noGrp="1"/>
          </p:cNvSpPr>
          <p:nvPr>
            <p:ph type="body" sz="quarter" idx="15"/>
          </p:nvPr>
        </p:nvSpPr>
        <p:spPr>
          <a:xfrm>
            <a:off x="457200" y="272179"/>
            <a:ext cx="5562600" cy="123111"/>
          </a:xfrm>
          <a:prstGeom prst="rect">
            <a:avLst/>
          </a:prstGeom>
        </p:spPr>
        <p:txBody>
          <a:bodyPr lIns="0" tIns="0" rIns="0" bIns="0" anchor="b" anchorCtr="0">
            <a:spAutoFit/>
          </a:bodyPr>
          <a:lstStyle>
            <a:lvl1pPr marL="0" indent="0" algn="l" rtl="0">
              <a:spcBef>
                <a:spcPts val="0"/>
              </a:spcBef>
              <a:buNone/>
              <a:defRPr sz="800" b="1" spc="300">
                <a:solidFill>
                  <a:schemeClr val="accent5">
                    <a:lumMod val="60000"/>
                    <a:lumOff val="40000"/>
                  </a:schemeClr>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3227450331"/>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itle_MAF_Fina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373A3BD-F55B-FD97-5C2C-902C3A8A5BC7}"/>
              </a:ext>
            </a:extLst>
          </p:cNvPr>
          <p:cNvGraphicFramePr>
            <a:graphicFrameLocks noChangeAspect="1"/>
          </p:cNvGraphicFramePr>
          <p:nvPr userDrawn="1">
            <p:custDataLst>
              <p:tags r:id="rId1"/>
            </p:custDataLst>
            <p:extLst>
              <p:ext uri="{D42A27DB-BD31-4B8C-83A1-F6EECF244321}">
                <p14:modId xmlns:p14="http://schemas.microsoft.com/office/powerpoint/2010/main" val="211625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1373A3BD-F55B-FD97-5C2C-902C3A8A5B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7368" y="469900"/>
            <a:ext cx="11277280" cy="366254"/>
          </a:xfrm>
          <a:prstGeom prst="rect">
            <a:avLst/>
          </a:prstGeom>
        </p:spPr>
        <p:txBody>
          <a:bodyPr vert="horz" wrap="square" lIns="0" tIns="0" rIns="0" bIns="0" rtlCol="0" anchor="t" anchorCtr="0">
            <a:spAutoFit/>
          </a:bodyPr>
          <a:lstStyle>
            <a:lvl1pPr rtl="0">
              <a:defRPr lang="en-US" sz="2800" b="0" spc="-75" dirty="0">
                <a:latin typeface="+mj-lt"/>
              </a:defRPr>
            </a:lvl1pPr>
          </a:lstStyle>
          <a:p>
            <a:pPr lvl="0" defTabSz="685800">
              <a:lnSpc>
                <a:spcPct val="85000"/>
              </a:lnSpc>
            </a:pPr>
            <a:r>
              <a:rPr lang="en-US"/>
              <a:t>Click to edit Master title style</a:t>
            </a:r>
            <a:endParaRPr lang="en-US" dirty="0"/>
          </a:p>
        </p:txBody>
      </p:sp>
      <p:sp>
        <p:nvSpPr>
          <p:cNvPr id="3" name="Text Placeholder 4">
            <a:extLst>
              <a:ext uri="{FF2B5EF4-FFF2-40B4-BE49-F238E27FC236}">
                <a16:creationId xmlns:a16="http://schemas.microsoft.com/office/drawing/2014/main" id="{123CCF22-4D93-482A-B4CF-D00A3C47AC95}"/>
              </a:ext>
            </a:extLst>
          </p:cNvPr>
          <p:cNvSpPr>
            <a:spLocks noGrp="1"/>
          </p:cNvSpPr>
          <p:nvPr>
            <p:ph type="body" sz="quarter" idx="15"/>
          </p:nvPr>
        </p:nvSpPr>
        <p:spPr>
          <a:xfrm>
            <a:off x="457200" y="272179"/>
            <a:ext cx="5562600" cy="123111"/>
          </a:xfrm>
          <a:prstGeom prst="rect">
            <a:avLst/>
          </a:prstGeom>
        </p:spPr>
        <p:txBody>
          <a:bodyPr lIns="0" tIns="0" rIns="0" bIns="0" anchor="b" anchorCtr="0">
            <a:spAutoFit/>
          </a:bodyPr>
          <a:lstStyle>
            <a:lvl1pPr marL="0" indent="0" algn="l" rtl="0">
              <a:spcBef>
                <a:spcPts val="0"/>
              </a:spcBef>
              <a:buNone/>
              <a:defRPr sz="800" b="1" spc="300">
                <a:solidFill>
                  <a:schemeClr val="accent5">
                    <a:lumMod val="60000"/>
                    <a:lumOff val="40000"/>
                  </a:schemeClr>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239382133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userDrawn="1">
  <p:cSld name="End slide ">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922312"/>
      </p:ext>
    </p:extLst>
  </p:cSld>
  <p:clrMapOvr>
    <a:masterClrMapping/>
  </p:clrMapOvr>
  <p:hf hd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amp; subtitle_V">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E93A59-1659-80AB-6AB1-84FF6B19737E}"/>
              </a:ext>
            </a:extLst>
          </p:cNvPr>
          <p:cNvGraphicFramePr>
            <a:graphicFrameLocks noChangeAspect="1"/>
          </p:cNvGraphicFramePr>
          <p:nvPr userDrawn="1">
            <p:custDataLst>
              <p:tags r:id="rId1"/>
            </p:custDataLst>
            <p:extLst>
              <p:ext uri="{D42A27DB-BD31-4B8C-83A1-F6EECF244321}">
                <p14:modId xmlns:p14="http://schemas.microsoft.com/office/powerpoint/2010/main" val="1296961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8EE93A59-1659-80AB-6AB1-84FF6B1973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BF6A0240-FC18-487D-98D5-76BC779639D6}"/>
              </a:ext>
            </a:extLst>
          </p:cNvPr>
          <p:cNvSpPr>
            <a:spLocks noGrp="1"/>
          </p:cNvSpPr>
          <p:nvPr>
            <p:ph type="body" sz="quarter" idx="13" hasCustomPrompt="1"/>
          </p:nvPr>
        </p:nvSpPr>
        <p:spPr>
          <a:xfrm>
            <a:off x="477044" y="1303277"/>
            <a:ext cx="11252200" cy="184666"/>
          </a:xfrm>
          <a:prstGeom prst="rect">
            <a:avLst/>
          </a:prstGeom>
        </p:spPr>
        <p:txBody>
          <a:bodyPr vert="horz" lIns="0" tIns="0" rIns="0" bIns="0" anchor="t" anchorCtr="0">
            <a:spAutoFit/>
          </a:bodyPr>
          <a:lstStyle>
            <a:lvl1pPr marL="0" indent="0" rtl="0">
              <a:spcAft>
                <a:spcPts val="600"/>
              </a:spcAft>
              <a:buNone/>
              <a:defRPr sz="1200" b="0">
                <a:solidFill>
                  <a:srgbClr val="53565A"/>
                </a:solidFill>
              </a:defRPr>
            </a:lvl1pPr>
          </a:lstStyle>
          <a:p>
            <a:pPr lvl="0"/>
            <a:r>
              <a:rPr lang="en-US" noProof="0"/>
              <a:t>Click to add subtitle</a:t>
            </a:r>
            <a:endParaRPr lang="en-US" noProof="0" dirty="0"/>
          </a:p>
        </p:txBody>
      </p:sp>
      <p:sp>
        <p:nvSpPr>
          <p:cNvPr id="7" name="Title Placeholder 1">
            <a:extLst>
              <a:ext uri="{FF2B5EF4-FFF2-40B4-BE49-F238E27FC236}">
                <a16:creationId xmlns:a16="http://schemas.microsoft.com/office/drawing/2014/main" id="{A46DAB7F-57D4-4842-9496-B5D76065B7A1}"/>
              </a:ext>
            </a:extLst>
          </p:cNvPr>
          <p:cNvSpPr>
            <a:spLocks noGrp="1"/>
          </p:cNvSpPr>
          <p:nvPr>
            <p:ph type="title" hasCustomPrompt="1"/>
          </p:nvPr>
        </p:nvSpPr>
        <p:spPr>
          <a:xfrm>
            <a:off x="463549" y="391326"/>
            <a:ext cx="11252200" cy="861774"/>
          </a:xfrm>
          <a:prstGeom prst="rect">
            <a:avLst/>
          </a:prstGeom>
        </p:spPr>
        <p:txBody>
          <a:bodyPr vert="horz" lIns="0" tIns="0" rIns="0" bIns="0" rtlCol="0" anchor="t" anchorCtr="0">
            <a:spAutoFit/>
          </a:bodyPr>
          <a:lstStyle>
            <a:lvl1pPr rtl="0">
              <a:defRPr sz="2800">
                <a:solidFill>
                  <a:schemeClr val="tx1"/>
                </a:solidFill>
              </a:defRPr>
            </a:lvl1pPr>
          </a:lstStyle>
          <a:p>
            <a:r>
              <a:rPr lang="en-US" noProof="0"/>
              <a:t>Click to edit Master </a:t>
            </a:r>
            <a:br>
              <a:rPr lang="en-US" noProof="0"/>
            </a:br>
            <a:r>
              <a:rPr lang="en-US" noProof="0"/>
              <a:t>title style</a:t>
            </a:r>
            <a:endParaRPr lang="en-US" noProof="0" dirty="0"/>
          </a:p>
        </p:txBody>
      </p:sp>
      <p:sp>
        <p:nvSpPr>
          <p:cNvPr id="3" name="Text Placeholder 2">
            <a:extLst>
              <a:ext uri="{FF2B5EF4-FFF2-40B4-BE49-F238E27FC236}">
                <a16:creationId xmlns:a16="http://schemas.microsoft.com/office/drawing/2014/main" id="{ABF5C095-7887-4A15-840B-C5DF1627F2AC}"/>
              </a:ext>
            </a:extLst>
          </p:cNvPr>
          <p:cNvSpPr>
            <a:spLocks noGrp="1"/>
          </p:cNvSpPr>
          <p:nvPr>
            <p:ph type="body" sz="quarter" idx="14" hasCustomPrompt="1"/>
          </p:nvPr>
        </p:nvSpPr>
        <p:spPr>
          <a:xfrm>
            <a:off x="477044" y="249933"/>
            <a:ext cx="5535613" cy="123111"/>
          </a:xfrm>
          <a:prstGeom prst="rect">
            <a:avLst/>
          </a:prstGeom>
        </p:spPr>
        <p:txBody>
          <a:bodyPr lIns="0" tIns="0" rIns="0" bIns="0" anchor="ctr" anchorCtr="0">
            <a:spAutoFit/>
          </a:bodyPr>
          <a:lstStyle>
            <a:lvl1pPr rtl="0">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US"/>
              <a:t>CLICK TO EDIT MASTER TEXT STYLES</a:t>
            </a:r>
            <a:endParaRPr lang="en-US" dirty="0"/>
          </a:p>
        </p:txBody>
      </p:sp>
    </p:spTree>
    <p:extLst>
      <p:ext uri="{BB962C8B-B14F-4D97-AF65-F5344CB8AC3E}">
        <p14:creationId xmlns:p14="http://schemas.microsoft.com/office/powerpoint/2010/main" val="4293993855"/>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_Title &amp; subtitle_V">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B74A67C-9DF9-FE45-F566-6BC6F05A027A}"/>
              </a:ext>
            </a:extLst>
          </p:cNvPr>
          <p:cNvGraphicFramePr>
            <a:graphicFrameLocks noChangeAspect="1"/>
          </p:cNvGraphicFramePr>
          <p:nvPr userDrawn="1">
            <p:custDataLst>
              <p:tags r:id="rId1"/>
            </p:custDataLst>
            <p:extLst>
              <p:ext uri="{D42A27DB-BD31-4B8C-83A1-F6EECF244321}">
                <p14:modId xmlns:p14="http://schemas.microsoft.com/office/powerpoint/2010/main" val="122066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FB74A67C-9DF9-FE45-F566-6BC6F05A0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BF6A0240-FC18-487D-98D5-76BC779639D6}"/>
              </a:ext>
            </a:extLst>
          </p:cNvPr>
          <p:cNvSpPr>
            <a:spLocks noGrp="1"/>
          </p:cNvSpPr>
          <p:nvPr>
            <p:ph type="body" sz="quarter" idx="13" hasCustomPrompt="1"/>
          </p:nvPr>
        </p:nvSpPr>
        <p:spPr>
          <a:xfrm>
            <a:off x="477044" y="858777"/>
            <a:ext cx="11252200" cy="184666"/>
          </a:xfrm>
          <a:prstGeom prst="rect">
            <a:avLst/>
          </a:prstGeom>
        </p:spPr>
        <p:txBody>
          <a:bodyPr vert="horz" lIns="0" tIns="0" rIns="0" bIns="0" anchor="t" anchorCtr="0">
            <a:spAutoFit/>
          </a:bodyPr>
          <a:lstStyle>
            <a:lvl1pPr marL="0" indent="0" rtl="0">
              <a:spcAft>
                <a:spcPts val="600"/>
              </a:spcAft>
              <a:buNone/>
              <a:defRPr sz="1200" b="0">
                <a:solidFill>
                  <a:srgbClr val="53565A"/>
                </a:solidFill>
              </a:defRPr>
            </a:lvl1pPr>
          </a:lstStyle>
          <a:p>
            <a:pPr lvl="0"/>
            <a:r>
              <a:rPr lang="en-US" noProof="0"/>
              <a:t>Click to add subtitle</a:t>
            </a:r>
            <a:endParaRPr lang="en-US" noProof="0" dirty="0"/>
          </a:p>
        </p:txBody>
      </p:sp>
      <p:sp>
        <p:nvSpPr>
          <p:cNvPr id="7" name="Title Placeholder 1">
            <a:extLst>
              <a:ext uri="{FF2B5EF4-FFF2-40B4-BE49-F238E27FC236}">
                <a16:creationId xmlns:a16="http://schemas.microsoft.com/office/drawing/2014/main" id="{A46DAB7F-57D4-4842-9496-B5D76065B7A1}"/>
              </a:ext>
            </a:extLst>
          </p:cNvPr>
          <p:cNvSpPr>
            <a:spLocks noGrp="1"/>
          </p:cNvSpPr>
          <p:nvPr>
            <p:ph type="title"/>
          </p:nvPr>
        </p:nvSpPr>
        <p:spPr>
          <a:xfrm>
            <a:off x="463549" y="391326"/>
            <a:ext cx="11252200" cy="430887"/>
          </a:xfrm>
          <a:prstGeom prst="rect">
            <a:avLst/>
          </a:prstGeom>
        </p:spPr>
        <p:txBody>
          <a:bodyPr vert="horz" lIns="0" tIns="0" rIns="0" bIns="0" rtlCol="0" anchor="t" anchorCtr="0">
            <a:spAutoFit/>
          </a:bodyPr>
          <a:lstStyle>
            <a:lvl1pPr rtl="0">
              <a:defRPr sz="2800">
                <a:solidFill>
                  <a:schemeClr val="tx1"/>
                </a:solidFill>
              </a:defRPr>
            </a:lvl1pPr>
          </a:lstStyle>
          <a:p>
            <a:r>
              <a:rPr lang="en-US" noProof="0"/>
              <a:t>Click to edit Master title style</a:t>
            </a:r>
            <a:endParaRPr lang="en-US" noProof="0" dirty="0"/>
          </a:p>
        </p:txBody>
      </p:sp>
      <p:sp>
        <p:nvSpPr>
          <p:cNvPr id="3" name="Text Placeholder 2">
            <a:extLst>
              <a:ext uri="{FF2B5EF4-FFF2-40B4-BE49-F238E27FC236}">
                <a16:creationId xmlns:a16="http://schemas.microsoft.com/office/drawing/2014/main" id="{ABF5C095-7887-4A15-840B-C5DF1627F2AC}"/>
              </a:ext>
            </a:extLst>
          </p:cNvPr>
          <p:cNvSpPr>
            <a:spLocks noGrp="1"/>
          </p:cNvSpPr>
          <p:nvPr>
            <p:ph type="body" sz="quarter" idx="14" hasCustomPrompt="1"/>
          </p:nvPr>
        </p:nvSpPr>
        <p:spPr>
          <a:xfrm>
            <a:off x="477044" y="249933"/>
            <a:ext cx="5535613" cy="123111"/>
          </a:xfrm>
          <a:prstGeom prst="rect">
            <a:avLst/>
          </a:prstGeom>
        </p:spPr>
        <p:txBody>
          <a:bodyPr lIns="0" tIns="0" rIns="0" bIns="0" anchor="ctr" anchorCtr="0">
            <a:spAutoFit/>
          </a:bodyPr>
          <a:lstStyle>
            <a:lvl1pPr rtl="0">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US"/>
              <a:t>CLICK TO EDIT MASTER TEXT STYLES</a:t>
            </a:r>
            <a:endParaRPr lang="en-US" dirty="0"/>
          </a:p>
        </p:txBody>
      </p:sp>
    </p:spTree>
    <p:extLst>
      <p:ext uri="{BB962C8B-B14F-4D97-AF65-F5344CB8AC3E}">
        <p14:creationId xmlns:p14="http://schemas.microsoft.com/office/powerpoint/2010/main" val="308588826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_Title Only_V">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F366A8-82D3-433D-77D6-E303258B9B5E}"/>
              </a:ext>
            </a:extLst>
          </p:cNvPr>
          <p:cNvGraphicFramePr>
            <a:graphicFrameLocks noChangeAspect="1"/>
          </p:cNvGraphicFramePr>
          <p:nvPr userDrawn="1">
            <p:custDataLst>
              <p:tags r:id="rId1"/>
            </p:custDataLst>
            <p:extLst>
              <p:ext uri="{D42A27DB-BD31-4B8C-83A1-F6EECF244321}">
                <p14:modId xmlns:p14="http://schemas.microsoft.com/office/powerpoint/2010/main" val="795188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E2F366A8-82D3-433D-77D6-E303258B9B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Placeholder 1">
            <a:extLst>
              <a:ext uri="{FF2B5EF4-FFF2-40B4-BE49-F238E27FC236}">
                <a16:creationId xmlns:a16="http://schemas.microsoft.com/office/drawing/2014/main" id="{A46DAB7F-57D4-4842-9496-B5D76065B7A1}"/>
              </a:ext>
            </a:extLst>
          </p:cNvPr>
          <p:cNvSpPr>
            <a:spLocks noGrp="1"/>
          </p:cNvSpPr>
          <p:nvPr>
            <p:ph type="title"/>
          </p:nvPr>
        </p:nvSpPr>
        <p:spPr>
          <a:xfrm>
            <a:off x="463548" y="391325"/>
            <a:ext cx="11252200" cy="430887"/>
          </a:xfrm>
          <a:prstGeom prst="rect">
            <a:avLst/>
          </a:prstGeom>
        </p:spPr>
        <p:txBody>
          <a:bodyPr vert="horz" lIns="0" tIns="0" rIns="0" bIns="0" rtlCol="0" anchor="t" anchorCtr="0">
            <a:spAutoFit/>
          </a:bodyPr>
          <a:lstStyle>
            <a:lvl1pPr rtl="0">
              <a:defRPr sz="2800"/>
            </a:lvl1pPr>
          </a:lstStyle>
          <a:p>
            <a:r>
              <a:rPr lang="en-US" noProof="0"/>
              <a:t>Click to edit Master title style</a:t>
            </a:r>
            <a:endParaRPr lang="en-US" noProof="0" dirty="0"/>
          </a:p>
        </p:txBody>
      </p:sp>
      <p:sp>
        <p:nvSpPr>
          <p:cNvPr id="3" name="Text Placeholder 2">
            <a:extLst>
              <a:ext uri="{FF2B5EF4-FFF2-40B4-BE49-F238E27FC236}">
                <a16:creationId xmlns:a16="http://schemas.microsoft.com/office/drawing/2014/main" id="{5EBD8BAD-4FD1-4683-BC55-196FA87A5D3D}"/>
              </a:ext>
            </a:extLst>
          </p:cNvPr>
          <p:cNvSpPr>
            <a:spLocks noGrp="1"/>
          </p:cNvSpPr>
          <p:nvPr>
            <p:ph type="body" sz="quarter" idx="14" hasCustomPrompt="1"/>
          </p:nvPr>
        </p:nvSpPr>
        <p:spPr>
          <a:xfrm>
            <a:off x="477044" y="249933"/>
            <a:ext cx="5535613" cy="123111"/>
          </a:xfrm>
          <a:prstGeom prst="rect">
            <a:avLst/>
          </a:prstGeom>
        </p:spPr>
        <p:txBody>
          <a:bodyPr lIns="0" tIns="0" rIns="0" bIns="0" anchor="ctr" anchorCtr="0">
            <a:spAutoFit/>
          </a:bodyPr>
          <a:lstStyle>
            <a:lvl1pPr rtl="0">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US"/>
              <a:t>CLICK TO EDIT MASTER TEXT STYLES</a:t>
            </a:r>
            <a:endParaRPr lang="en-US" dirty="0"/>
          </a:p>
        </p:txBody>
      </p:sp>
    </p:spTree>
    <p:extLst>
      <p:ext uri="{BB962C8B-B14F-4D97-AF65-F5344CB8AC3E}">
        <p14:creationId xmlns:p14="http://schemas.microsoft.com/office/powerpoint/2010/main" val="154408485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3_Impact Slide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8CE468A-5A33-A15C-5E5B-BF0E851944C5}"/>
              </a:ext>
            </a:extLst>
          </p:cNvPr>
          <p:cNvGraphicFramePr>
            <a:graphicFrameLocks noChangeAspect="1"/>
          </p:cNvGraphicFramePr>
          <p:nvPr userDrawn="1">
            <p:custDataLst>
              <p:tags r:id="rId1"/>
            </p:custDataLst>
            <p:extLst>
              <p:ext uri="{D42A27DB-BD31-4B8C-83A1-F6EECF244321}">
                <p14:modId xmlns:p14="http://schemas.microsoft.com/office/powerpoint/2010/main" val="174163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A8CE468A-5A33-A15C-5E5B-BF0E851944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
            <a:extLst>
              <a:ext uri="{FF2B5EF4-FFF2-40B4-BE49-F238E27FC236}">
                <a16:creationId xmlns:a16="http://schemas.microsoft.com/office/drawing/2014/main" id="{9F12BF97-8549-4B26-A2D2-6D2AAE82D052}"/>
              </a:ext>
            </a:extLst>
          </p:cNvPr>
          <p:cNvSpPr>
            <a:spLocks noGrp="1"/>
          </p:cNvSpPr>
          <p:nvPr>
            <p:ph type="body" sz="quarter" idx="14" hasCustomPrompt="1"/>
          </p:nvPr>
        </p:nvSpPr>
        <p:spPr>
          <a:xfrm>
            <a:off x="477044" y="249933"/>
            <a:ext cx="5535613" cy="123111"/>
          </a:xfrm>
          <a:prstGeom prst="rect">
            <a:avLst/>
          </a:prstGeom>
        </p:spPr>
        <p:txBody>
          <a:bodyPr lIns="0" tIns="0" rIns="0" bIns="0" anchor="ctr" anchorCtr="0">
            <a:spAutoFit/>
          </a:bodyPr>
          <a:lstStyle>
            <a:lvl1pPr rtl="0">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US"/>
              <a:t>CLICK TO EDIT MASTER TEXT STYLES</a:t>
            </a:r>
            <a:endParaRPr lang="en-US" dirty="0"/>
          </a:p>
        </p:txBody>
      </p:sp>
    </p:spTree>
    <p:extLst>
      <p:ext uri="{BB962C8B-B14F-4D97-AF65-F5344CB8AC3E}">
        <p14:creationId xmlns:p14="http://schemas.microsoft.com/office/powerpoint/2010/main" val="1223225074"/>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2_Title and Subhead: No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B3E97E-6070-43FD-2583-4BD223DFD2A3}"/>
              </a:ext>
            </a:extLst>
          </p:cNvPr>
          <p:cNvGraphicFramePr>
            <a:graphicFrameLocks noChangeAspect="1"/>
          </p:cNvGraphicFramePr>
          <p:nvPr userDrawn="1">
            <p:custDataLst>
              <p:tags r:id="rId1"/>
            </p:custDataLst>
            <p:extLst>
              <p:ext uri="{D42A27DB-BD31-4B8C-83A1-F6EECF244321}">
                <p14:modId xmlns:p14="http://schemas.microsoft.com/office/powerpoint/2010/main" val="1690758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5DB3E97E-6070-43FD-2583-4BD223DFD2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rtl="0">
              <a:defRPr/>
            </a:lvl1pPr>
          </a:lstStyle>
          <a:p>
            <a:r>
              <a:rPr lang="en-US" noProof="0"/>
              <a:t>Click to edit Master title s edit Master title style tyle</a:t>
            </a:r>
            <a:endParaRPr lang="en-US" noProof="0" dirty="0"/>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leo risus, porta ac consectetur ac, vestibulum at eros. Donec sed odio dui. Praesent commodo cursus magna, vel scelerisque nisl consectetur et. Sed posuere consectetur est at lobortis.</a:t>
            </a:r>
            <a:endParaRPr lang="en-US" dirty="0"/>
          </a:p>
        </p:txBody>
      </p:sp>
    </p:spTree>
    <p:extLst>
      <p:ext uri="{BB962C8B-B14F-4D97-AF65-F5344CB8AC3E}">
        <p14:creationId xmlns:p14="http://schemas.microsoft.com/office/powerpoint/2010/main" val="2913689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Large Title -  Messaging - Color Background">
    <p:bg>
      <p:bgPr>
        <a:solidFill>
          <a:schemeClr val="accent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F45DB84-291D-5C44-7226-E0DFBB99E59B}"/>
              </a:ext>
            </a:extLst>
          </p:cNvPr>
          <p:cNvGraphicFramePr>
            <a:graphicFrameLocks noChangeAspect="1"/>
          </p:cNvGraphicFramePr>
          <p:nvPr userDrawn="1">
            <p:custDataLst>
              <p:tags r:id="rId1"/>
            </p:custDataLst>
            <p:extLst>
              <p:ext uri="{D42A27DB-BD31-4B8C-83A1-F6EECF244321}">
                <p14:modId xmlns:p14="http://schemas.microsoft.com/office/powerpoint/2010/main" val="1213046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5F45DB84-291D-5C44-7226-E0DFBB99E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n organic human figure drawn in loose white brush strokes on a background of light blue">
            <a:extLst>
              <a:ext uri="{FF2B5EF4-FFF2-40B4-BE49-F238E27FC236}">
                <a16:creationId xmlns:a16="http://schemas.microsoft.com/office/drawing/2014/main" id="{BE72E9CE-09AF-F84C-AD04-9D83DD83BD2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2071731"/>
            <a:ext cx="5383369" cy="4786269"/>
          </a:xfrm>
          <a:prstGeom prst="rect">
            <a:avLst/>
          </a:prstGeom>
        </p:spPr>
      </p:pic>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a:t>Mollis pretium lorem primisetua, senectus habitasse lectusetu doler scelerisque donec, ultricies tortor suspendisse adipiscing fusce morbi volutpat pellentesque, consectetur mi risus molestie curae malesuada. Massa curae fringilla porttitor quam =elit, urna consequat felis vehicula class ultricies mollis dictumst, aenean non a in donec nulla.</a:t>
            </a:r>
            <a:endParaRPr lang="en-US" dirty="0"/>
          </a:p>
        </p:txBody>
      </p:sp>
      <p:sp>
        <p:nvSpPr>
          <p:cNvPr id="8" name="Title Placeholder 1">
            <a:extLst>
              <a:ext uri="{FF2B5EF4-FFF2-40B4-BE49-F238E27FC236}">
                <a16:creationId xmlns:a16="http://schemas.microsoft.com/office/drawing/2014/main" id="{90194FF2-8221-9649-9FD2-0C3EDEDE0177}"/>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rtl="0">
              <a:defRPr/>
            </a:lvl1pPr>
          </a:lstStyle>
          <a:p>
            <a:r>
              <a:rPr lang="en-US" noProof="0"/>
              <a:t>Your headline goes here when you’re ready</a:t>
            </a:r>
            <a:endParaRPr lang="en-US" noProof="0" dirty="0"/>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US"/>
              <a:t>Conubia aptent primis</a:t>
            </a:r>
          </a:p>
          <a:p>
            <a:pPr lvl="0"/>
            <a:r>
              <a:rPr lang="en-US"/>
              <a:t>Libero pellentesque nunc fames penatibus accumsan hendrerit diam platea, himenaeos scelerisque eros congue vestibulum ipsum adipiscin adipiscing ligula odio adipiscing ligula odio g ligula odio, neque metus sociisetur facilisis sagittis tincidunt.</a:t>
            </a:r>
          </a:p>
          <a:p>
            <a:pPr lvl="0"/>
            <a:r>
              <a:rPr lang="en-US"/>
              <a:t>Quisque laoreet</a:t>
            </a:r>
          </a:p>
          <a:p>
            <a:pPr lvl="0"/>
            <a:r>
              <a:rPr lang="en-US"/>
              <a:t>Viverra dolor eros semper sociosqu lobortis sodales metus velit, nulla leo turpis enim quis platea cursus per sid risus auctor inceptos nisl.</a:t>
            </a:r>
          </a:p>
          <a:p>
            <a:pPr lvl="0"/>
            <a:r>
              <a:rPr lang="en-US"/>
              <a:t>Conubia aptent primis</a:t>
            </a:r>
          </a:p>
          <a:p>
            <a:pPr lvl="0"/>
            <a:r>
              <a:rPr lang="en-US"/>
              <a:t>Libero pellentesque nunc fames penatibus accumsan h adipiscing ligula odio adipiscing ligula odio endrerit diam platea, himenaeos scelerisque eros congue vestibulum ipsum adipiscing ligula odio, neque metus sociisetur facilisis sagittis tincidunt.</a:t>
            </a:r>
          </a:p>
          <a:p>
            <a:pPr lvl="0"/>
            <a:endParaRPr lang="en-US" dirty="0"/>
          </a:p>
        </p:txBody>
      </p:sp>
    </p:spTree>
    <p:extLst>
      <p:ext uri="{BB962C8B-B14F-4D97-AF65-F5344CB8AC3E}">
        <p14:creationId xmlns:p14="http://schemas.microsoft.com/office/powerpoint/2010/main" val="337807845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and Subhead: No Content - Color Background">
    <p:bg>
      <p:bgPr>
        <a:solidFill>
          <a:schemeClr val="accent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E49918C-1118-C943-BD8A-2D75DC39725B}"/>
              </a:ext>
            </a:extLst>
          </p:cNvPr>
          <p:cNvGraphicFramePr>
            <a:graphicFrameLocks noChangeAspect="1"/>
          </p:cNvGraphicFramePr>
          <p:nvPr userDrawn="1">
            <p:custDataLst>
              <p:tags r:id="rId1"/>
            </p:custDataLst>
            <p:extLst>
              <p:ext uri="{D42A27DB-BD31-4B8C-83A1-F6EECF244321}">
                <p14:modId xmlns:p14="http://schemas.microsoft.com/office/powerpoint/2010/main" val="2805901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2E49918C-1118-C943-BD8A-2D75DC3972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rtl="0">
              <a:defRPr/>
            </a:lvl1pPr>
          </a:lstStyle>
          <a:p>
            <a:r>
              <a:rPr lang="en-US" noProof="0"/>
              <a:t>Your headline goes here when you’re ready</a:t>
            </a:r>
            <a:endParaRPr lang="en-US" noProof="0" dirty="0"/>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leo risus, porta ac consectetur ac, vestibulum at eros. Donec sed odio dui. Praesent commodo cursus magna, vel scelerisque nisl consectetur et. Sed posuere consectetur est at lobortis.</a:t>
            </a:r>
            <a:endParaRPr lang="en-US" dirty="0"/>
          </a:p>
        </p:txBody>
      </p:sp>
    </p:spTree>
    <p:extLst>
      <p:ext uri="{BB962C8B-B14F-4D97-AF65-F5344CB8AC3E}">
        <p14:creationId xmlns:p14="http://schemas.microsoft.com/office/powerpoint/2010/main" val="1497540856"/>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subtitle_V">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BF6A0240-FC18-487D-98D5-76BC779639D6}"/>
              </a:ext>
            </a:extLst>
          </p:cNvPr>
          <p:cNvSpPr>
            <a:spLocks noGrp="1"/>
          </p:cNvSpPr>
          <p:nvPr>
            <p:ph type="body" sz="quarter" idx="13" hasCustomPrompt="1"/>
          </p:nvPr>
        </p:nvSpPr>
        <p:spPr>
          <a:xfrm>
            <a:off x="477044" y="1303277"/>
            <a:ext cx="11252200" cy="205954"/>
          </a:xfrm>
          <a:prstGeom prst="rect">
            <a:avLst/>
          </a:prstGeom>
        </p:spPr>
        <p:txBody>
          <a:bodyPr vert="horz" lIns="0" tIns="0" rIns="0" bIns="0" anchor="t" anchorCtr="0">
            <a:spAutoFit/>
          </a:bodyPr>
          <a:lstStyle>
            <a:lvl1pPr marL="0" indent="0">
              <a:spcAft>
                <a:spcPts val="600"/>
              </a:spcAft>
              <a:buNone/>
              <a:defRPr sz="1200" b="0">
                <a:solidFill>
                  <a:srgbClr val="53565A"/>
                </a:solidFill>
              </a:defRPr>
            </a:lvl1pPr>
          </a:lstStyle>
          <a:p>
            <a:pPr lvl="0"/>
            <a:r>
              <a:rPr lang="en-GB" noProof="0"/>
              <a:t>Click to add subtitle</a:t>
            </a:r>
          </a:p>
        </p:txBody>
      </p:sp>
      <p:sp>
        <p:nvSpPr>
          <p:cNvPr id="7" name="Title Placeholder 1">
            <a:extLst>
              <a:ext uri="{FF2B5EF4-FFF2-40B4-BE49-F238E27FC236}">
                <a16:creationId xmlns:a16="http://schemas.microsoft.com/office/drawing/2014/main" id="{A46DAB7F-57D4-4842-9496-B5D76065B7A1}"/>
              </a:ext>
            </a:extLst>
          </p:cNvPr>
          <p:cNvSpPr>
            <a:spLocks noGrp="1"/>
          </p:cNvSpPr>
          <p:nvPr>
            <p:ph type="title" hasCustomPrompt="1"/>
          </p:nvPr>
        </p:nvSpPr>
        <p:spPr>
          <a:xfrm>
            <a:off x="463549" y="391326"/>
            <a:ext cx="11252200" cy="861774"/>
          </a:xfrm>
          <a:prstGeom prst="rect">
            <a:avLst/>
          </a:prstGeom>
        </p:spPr>
        <p:txBody>
          <a:bodyPr vert="horz" lIns="0" tIns="0" rIns="0" bIns="0" rtlCol="0" anchor="t" anchorCtr="0">
            <a:spAutoFit/>
          </a:bodyPr>
          <a:lstStyle>
            <a:lvl1pPr>
              <a:defRPr sz="2800">
                <a:solidFill>
                  <a:schemeClr val="tx1"/>
                </a:solidFill>
              </a:defRPr>
            </a:lvl1pPr>
          </a:lstStyle>
          <a:p>
            <a:r>
              <a:rPr lang="en-GB" noProof="0"/>
              <a:t>Click to edit Master </a:t>
            </a:r>
            <a:br>
              <a:rPr lang="en-GB" noProof="0"/>
            </a:br>
            <a:r>
              <a:rPr lang="en-GB" noProof="0"/>
              <a:t>title style</a:t>
            </a:r>
          </a:p>
        </p:txBody>
      </p:sp>
      <p:sp>
        <p:nvSpPr>
          <p:cNvPr id="3" name="Text Placeholder 2">
            <a:extLst>
              <a:ext uri="{FF2B5EF4-FFF2-40B4-BE49-F238E27FC236}">
                <a16:creationId xmlns:a16="http://schemas.microsoft.com/office/drawing/2014/main" id="{ABF5C095-7887-4A15-840B-C5DF1627F2AC}"/>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1785446174"/>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Subhead: 3 Column - Breadcrumb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7B3D22B-71A7-42DD-A4B4-56F99E1635D5}"/>
              </a:ext>
            </a:extLst>
          </p:cNvPr>
          <p:cNvGraphicFramePr>
            <a:graphicFrameLocks noChangeAspect="1"/>
          </p:cNvGraphicFramePr>
          <p:nvPr userDrawn="1">
            <p:custDataLst>
              <p:tags r:id="rId1"/>
            </p:custDataLst>
            <p:extLst>
              <p:ext uri="{D42A27DB-BD31-4B8C-83A1-F6EECF244321}">
                <p14:modId xmlns:p14="http://schemas.microsoft.com/office/powerpoint/2010/main" val="1183374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F7B3D22B-71A7-42DD-A4B4-56F99E1635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Placeholder 1">
            <a:extLst>
              <a:ext uri="{FF2B5EF4-FFF2-40B4-BE49-F238E27FC236}">
                <a16:creationId xmlns:a16="http://schemas.microsoft.com/office/drawing/2014/main" id="{D1FA0000-C94E-E149-9623-BD66BFB0643F}"/>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lvl1pPr rtl="0">
              <a:defRPr/>
            </a:lvl1pPr>
          </a:lstStyle>
          <a:p>
            <a:r>
              <a:rPr lang="en-US" noProof="0"/>
              <a:t>Click to edit Master title s edit Master title style tyle</a:t>
            </a:r>
            <a:endParaRPr lang="en-US" noProof="0" dirty="0"/>
          </a:p>
        </p:txBody>
      </p:sp>
      <p:sp>
        <p:nvSpPr>
          <p:cNvPr id="13" name="Text Placeholder 7">
            <a:extLst>
              <a:ext uri="{FF2B5EF4-FFF2-40B4-BE49-F238E27FC236}">
                <a16:creationId xmlns:a16="http://schemas.microsoft.com/office/drawing/2014/main" id="{A8B5101F-02F4-F644-B829-A903E6C5AF82}"/>
              </a:ext>
            </a:extLst>
          </p:cNvPr>
          <p:cNvSpPr>
            <a:spLocks noGrp="1"/>
          </p:cNvSpPr>
          <p:nvPr>
            <p:ph type="body" sz="quarter" idx="17"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leo risus, porta ac consectetur ac, vestibulum at eros. Donec sed odio dui. Praesent commodo cursus magna, vel scelerisque nisl consectetur et. Sed posuere consectetur est at lobortis.</a:t>
            </a:r>
            <a:endParaRPr lang="en-US" dirty="0"/>
          </a:p>
        </p:txBody>
      </p:sp>
      <p:sp>
        <p:nvSpPr>
          <p:cNvPr id="3" name="Text Placeholder 2">
            <a:extLst>
              <a:ext uri="{FF2B5EF4-FFF2-40B4-BE49-F238E27FC236}">
                <a16:creationId xmlns:a16="http://schemas.microsoft.com/office/drawing/2014/main" id="{9A91C994-DD05-CB44-8508-2A07253626FD}"/>
              </a:ext>
            </a:extLst>
          </p:cNvPr>
          <p:cNvSpPr>
            <a:spLocks noGrp="1"/>
          </p:cNvSpPr>
          <p:nvPr>
            <p:ph type="body" sz="quarter" idx="18" hasCustomPrompt="1"/>
          </p:nvPr>
        </p:nvSpPr>
        <p:spPr>
          <a:xfrm>
            <a:off x="914399" y="2675965"/>
            <a:ext cx="3092823" cy="3321610"/>
          </a:xfrm>
        </p:spPr>
        <p:txBody>
          <a:bodyPr/>
          <a:lstStyle>
            <a:lvl1pPr rtl="0">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Felis blandit cursus</a:t>
            </a:r>
          </a:p>
          <a:p>
            <a:pPr lvl="0"/>
            <a:r>
              <a:rPr lang="en-US"/>
              <a:t>Lorem ipsum dolor sit amet consectetur adipiscing elit, urna consequat felis vehicula class ultricies mollis dictumst, aenean non a in donec nulla.Etu phasellus ante pellentesque erat cum risus dolor consequat imperdiet aliquam, integer placerat et turpis mi eros nec lobortis taciti, vehicula nisl litora tellus ligula porttitor metus.</a:t>
            </a:r>
          </a:p>
          <a:p>
            <a:pPr lvl="0"/>
            <a:r>
              <a:rPr lang="en-US"/>
              <a:t>Mollis pretium lorem primisetua, senectus habitasse lectusetu doler scelerisque donec, ultricies tortor suspendisse adipiscing fusce morbi volutpat pellentesque, consectetur mi risus molestie curae malesuada. Massa curae fringilla porttitor quam =elit, urna consequat felis vehicula class ultricies mollis dictumst, aenean non a in donec nulla.</a:t>
            </a:r>
            <a:endParaRPr lang="en-US" dirty="0"/>
          </a:p>
        </p:txBody>
      </p:sp>
      <p:sp>
        <p:nvSpPr>
          <p:cNvPr id="14" name="Text Placeholder 2">
            <a:extLst>
              <a:ext uri="{FF2B5EF4-FFF2-40B4-BE49-F238E27FC236}">
                <a16:creationId xmlns:a16="http://schemas.microsoft.com/office/drawing/2014/main" id="{62BE551D-14EE-544A-8F49-DE7C4E74B109}"/>
              </a:ext>
            </a:extLst>
          </p:cNvPr>
          <p:cNvSpPr>
            <a:spLocks noGrp="1"/>
          </p:cNvSpPr>
          <p:nvPr>
            <p:ph type="body" sz="quarter" idx="19" hasCustomPrompt="1"/>
          </p:nvPr>
        </p:nvSpPr>
        <p:spPr>
          <a:xfrm>
            <a:off x="4410635" y="2675965"/>
            <a:ext cx="3092823" cy="3321610"/>
          </a:xfrm>
        </p:spPr>
        <p:txBody>
          <a:bodyPr/>
          <a:lstStyle>
            <a:lvl1pPr rtl="0">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Felis blandit cursus</a:t>
            </a:r>
          </a:p>
          <a:p>
            <a:pPr lvl="0"/>
            <a:r>
              <a:rPr lang="en-US"/>
              <a:t>Lorem ipsum dolor sit amet consectetur adipiscing elit, urna consequat felis vehicula class ultricies mollis dictumst, aenean non a in donec nulla.Etu phasellus ante pellentesque erat cum risus dolor consequat imperdiet aliquam, integer placerat et turpis mi eros nec lobortis taciti, vehicula nisl litora tellus ligula porttitor metus.</a:t>
            </a:r>
          </a:p>
          <a:p>
            <a:pPr lvl="0"/>
            <a:r>
              <a:rPr lang="en-US"/>
              <a:t>Mollis pretium lorem primisetua, senectus habitasse lectusetu doler scelerisque donec, ultricies tortor suspendisse adipiscing fusce morbi volutpat pellentesque, consectetur mi risus molestie curae malesuada. Massa curae fringilla porttitor quam =elit, urna consequat felis vehicula class ultricies mollis dictumst, aenean non a in donec nulla.</a:t>
            </a:r>
            <a:endParaRPr lang="en-US" dirty="0"/>
          </a:p>
        </p:txBody>
      </p:sp>
      <p:sp>
        <p:nvSpPr>
          <p:cNvPr id="18" name="Text Placeholder 2">
            <a:extLst>
              <a:ext uri="{FF2B5EF4-FFF2-40B4-BE49-F238E27FC236}">
                <a16:creationId xmlns:a16="http://schemas.microsoft.com/office/drawing/2014/main" id="{8F694449-2177-6F4F-978A-F254F736AAED}"/>
              </a:ext>
            </a:extLst>
          </p:cNvPr>
          <p:cNvSpPr>
            <a:spLocks noGrp="1"/>
          </p:cNvSpPr>
          <p:nvPr>
            <p:ph type="body" sz="quarter" idx="21" hasCustomPrompt="1"/>
          </p:nvPr>
        </p:nvSpPr>
        <p:spPr>
          <a:xfrm>
            <a:off x="7893423" y="2675965"/>
            <a:ext cx="3092823" cy="3321610"/>
          </a:xfrm>
        </p:spPr>
        <p:txBody>
          <a:bodyPr/>
          <a:lstStyle>
            <a:lvl1pPr rtl="0">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Felis blandit cursus</a:t>
            </a:r>
          </a:p>
          <a:p>
            <a:pPr lvl="0"/>
            <a:r>
              <a:rPr lang="en-US"/>
              <a:t>Lorem ipsum dolor sit amet consectetur adipiscing elit, urna consequat felis vehicula class ultricies mollis dictumst, aenean non a in donec nulla.Etu phasellus ante pellentesque erat cum risus dolor consequat imperdiet aliquam, integer placerat et turpis mi eros nec lobortis taciti, vehicula nisl litora tellus ligula porttitor metus.</a:t>
            </a:r>
          </a:p>
          <a:p>
            <a:pPr lvl="0"/>
            <a:r>
              <a:rPr lang="en-US"/>
              <a:t>Mollis pretium lorem primisetua, senectus habitasse lectusetu doler scelerisque donec, ultricies tortor suspendisse adipiscing fusce morbi volutpat pellentesque, consectetur mi risus molestie curae malesuada. Massa curae fringilla porttitor quam =elit, urna consequat felis vehicula class ultricies mollis dictumst, aenean non a in donec nulla.</a:t>
            </a:r>
            <a:endParaRPr lang="en-US" dirty="0"/>
          </a:p>
        </p:txBody>
      </p:sp>
      <p:sp>
        <p:nvSpPr>
          <p:cNvPr id="19" name="Text Placeholder 2">
            <a:extLst>
              <a:ext uri="{FF2B5EF4-FFF2-40B4-BE49-F238E27FC236}">
                <a16:creationId xmlns:a16="http://schemas.microsoft.com/office/drawing/2014/main" id="{AA02C6BE-9131-7144-A89D-17B9B6BF1F0F}"/>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endParaRPr lang="en-US" dirty="0"/>
          </a:p>
        </p:txBody>
      </p:sp>
      <p:sp>
        <p:nvSpPr>
          <p:cNvPr id="20" name="Text Placeholder 2">
            <a:extLst>
              <a:ext uri="{FF2B5EF4-FFF2-40B4-BE49-F238E27FC236}">
                <a16:creationId xmlns:a16="http://schemas.microsoft.com/office/drawing/2014/main" id="{E2674560-4F3C-1240-A50E-2F71A3F4C759}"/>
              </a:ext>
            </a:extLst>
          </p:cNvPr>
          <p:cNvSpPr>
            <a:spLocks noGrp="1"/>
          </p:cNvSpPr>
          <p:nvPr>
            <p:ph type="body" sz="quarter" idx="26" hasCustomPrompt="1"/>
          </p:nvPr>
        </p:nvSpPr>
        <p:spPr>
          <a:xfrm>
            <a:off x="1986247" y="495992"/>
            <a:ext cx="3488042" cy="139781"/>
          </a:xfrm>
        </p:spPr>
        <p:txBody>
          <a:bodyPr/>
          <a:lstStyle>
            <a:lvl1pPr rtl="0">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endParaRPr lang="en-US" dirty="0"/>
          </a:p>
        </p:txBody>
      </p:sp>
    </p:spTree>
    <p:extLst>
      <p:ext uri="{BB962C8B-B14F-4D97-AF65-F5344CB8AC3E}">
        <p14:creationId xmlns:p14="http://schemas.microsoft.com/office/powerpoint/2010/main" val="1191997750"/>
      </p:ext>
    </p:extLst>
  </p:cSld>
  <p:clrMapOvr>
    <a:masterClrMapping/>
  </p:clrMapOvr>
  <p:transition>
    <p:fade/>
  </p:transition>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and Subhead: Tier Messaging - Breadcrumb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7A7614-5FAB-8092-30A9-AA20EFA9D84F}"/>
              </a:ext>
            </a:extLst>
          </p:cNvPr>
          <p:cNvGraphicFramePr>
            <a:graphicFrameLocks noChangeAspect="1"/>
          </p:cNvGraphicFramePr>
          <p:nvPr userDrawn="1">
            <p:custDataLst>
              <p:tags r:id="rId1"/>
            </p:custDataLst>
            <p:extLst>
              <p:ext uri="{D42A27DB-BD31-4B8C-83A1-F6EECF244321}">
                <p14:modId xmlns:p14="http://schemas.microsoft.com/office/powerpoint/2010/main" val="2992314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E17A7614-5FAB-8092-30A9-AA20EFA9D8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Placeholder 1">
            <a:extLst>
              <a:ext uri="{FF2B5EF4-FFF2-40B4-BE49-F238E27FC236}">
                <a16:creationId xmlns:a16="http://schemas.microsoft.com/office/drawing/2014/main" id="{6FFB0421-D2FD-3D4E-B9B1-06F317B8D040}"/>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lvl1pPr rtl="0">
              <a:defRPr/>
            </a:lvl1pPr>
          </a:lstStyle>
          <a:p>
            <a:r>
              <a:rPr lang="en-US" noProof="0"/>
              <a:t>Click to edit Master title s edit Master title style tyle</a:t>
            </a:r>
            <a:endParaRPr lang="en-US" noProof="0" dirty="0"/>
          </a:p>
        </p:txBody>
      </p:sp>
      <p:sp>
        <p:nvSpPr>
          <p:cNvPr id="17" name="Text Placeholder 13">
            <a:extLst>
              <a:ext uri="{FF2B5EF4-FFF2-40B4-BE49-F238E27FC236}">
                <a16:creationId xmlns:a16="http://schemas.microsoft.com/office/drawing/2014/main" id="{8D30F071-F953-AE45-848C-4A88A58ABD6A}"/>
              </a:ext>
            </a:extLst>
          </p:cNvPr>
          <p:cNvSpPr>
            <a:spLocks noGrp="1"/>
          </p:cNvSpPr>
          <p:nvPr>
            <p:ph type="body" sz="quarter" idx="17"/>
          </p:nvPr>
        </p:nvSpPr>
        <p:spPr>
          <a:xfrm>
            <a:off x="914400" y="4149912"/>
            <a:ext cx="9296400" cy="1121336"/>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endParaRPr lang="en-US" dirty="0"/>
          </a:p>
        </p:txBody>
      </p:sp>
      <p:sp>
        <p:nvSpPr>
          <p:cNvPr id="8" name="Text Placeholder 10">
            <a:extLst>
              <a:ext uri="{FF2B5EF4-FFF2-40B4-BE49-F238E27FC236}">
                <a16:creationId xmlns:a16="http://schemas.microsoft.com/office/drawing/2014/main" id="{463985F8-E7E2-514E-B644-AA0D3303D0F2}"/>
              </a:ext>
            </a:extLst>
          </p:cNvPr>
          <p:cNvSpPr>
            <a:spLocks noGrp="1"/>
          </p:cNvSpPr>
          <p:nvPr>
            <p:ph type="body" sz="quarter" idx="16" hasCustomPrompt="1"/>
          </p:nvPr>
        </p:nvSpPr>
        <p:spPr>
          <a:xfrm>
            <a:off x="914400" y="1943256"/>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a:t>Mollis pretium lorem primisetua, senectus habitasse lectusetu doler scelerisque donec, ultricies tortor suspendisse adipiscing fusce morbi volutpat pellentesque, consectetur mi risus molestie curae malesuada. Massa curae fringilla porttitor quam =elit, urna consequat felis vehicula class ultricies mollis dictumst, aenean non a in donec nulla.</a:t>
            </a:r>
            <a:endParaRPr lang="en-US" dirty="0"/>
          </a:p>
        </p:txBody>
      </p:sp>
      <p:sp>
        <p:nvSpPr>
          <p:cNvPr id="11" name="Text Placeholder 2">
            <a:extLst>
              <a:ext uri="{FF2B5EF4-FFF2-40B4-BE49-F238E27FC236}">
                <a16:creationId xmlns:a16="http://schemas.microsoft.com/office/drawing/2014/main" id="{0DDFE1B1-9364-4E44-BE5A-008902C97089}"/>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endParaRPr lang="en-US" dirty="0"/>
          </a:p>
        </p:txBody>
      </p:sp>
      <p:sp>
        <p:nvSpPr>
          <p:cNvPr id="12" name="Text Placeholder 2">
            <a:extLst>
              <a:ext uri="{FF2B5EF4-FFF2-40B4-BE49-F238E27FC236}">
                <a16:creationId xmlns:a16="http://schemas.microsoft.com/office/drawing/2014/main" id="{5561B028-51AA-784D-A4C9-A82067CB3850}"/>
              </a:ext>
            </a:extLst>
          </p:cNvPr>
          <p:cNvSpPr>
            <a:spLocks noGrp="1"/>
          </p:cNvSpPr>
          <p:nvPr>
            <p:ph type="body" sz="quarter" idx="26" hasCustomPrompt="1"/>
          </p:nvPr>
        </p:nvSpPr>
        <p:spPr>
          <a:xfrm>
            <a:off x="1986247" y="495992"/>
            <a:ext cx="3488042" cy="139781"/>
          </a:xfrm>
        </p:spPr>
        <p:txBody>
          <a:bodyPr/>
          <a:lstStyle>
            <a:lvl1pPr rtl="0">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endParaRPr lang="en-US" dirty="0"/>
          </a:p>
        </p:txBody>
      </p:sp>
    </p:spTree>
    <p:extLst>
      <p:ext uri="{BB962C8B-B14F-4D97-AF65-F5344CB8AC3E}">
        <p14:creationId xmlns:p14="http://schemas.microsoft.com/office/powerpoint/2010/main" val="1112695949"/>
      </p:ext>
    </p:extLst>
  </p:cSld>
  <p:clrMapOvr>
    <a:masterClrMapping/>
  </p:clrMapOvr>
  <p:transition>
    <p:fade/>
  </p:transition>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and Subhead: 3 Column with Footer - Breadcrumb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180939-7085-E9FC-C4DC-7E1611210561}"/>
              </a:ext>
            </a:extLst>
          </p:cNvPr>
          <p:cNvGraphicFramePr>
            <a:graphicFrameLocks noChangeAspect="1"/>
          </p:cNvGraphicFramePr>
          <p:nvPr userDrawn="1">
            <p:custDataLst>
              <p:tags r:id="rId1"/>
            </p:custDataLst>
            <p:extLst>
              <p:ext uri="{D42A27DB-BD31-4B8C-83A1-F6EECF244321}">
                <p14:modId xmlns:p14="http://schemas.microsoft.com/office/powerpoint/2010/main" val="2346151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F7180939-7085-E9FC-C4DC-7E16112105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B08EE29-A03A-C342-B34E-CB43983D5274}"/>
              </a:ext>
            </a:extLst>
          </p:cNvPr>
          <p:cNvCxnSpPr>
            <a:cxnSpLocks/>
          </p:cNvCxnSpPr>
          <p:nvPr userDrawn="1"/>
        </p:nvCxnSpPr>
        <p:spPr>
          <a:xfrm>
            <a:off x="912813" y="5734285"/>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902960"/>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endParaRPr kumimoji="0" lang="en-US" sz="900" b="0" i="0" u="none" strike="noStrike" kern="0" cap="all" spc="25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endParaRPr kumimoji="0" lang="en-US" sz="900" b="0" i="0" u="none" strike="noStrike" kern="0" cap="all" spc="25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endParaRPr kumimoji="0" lang="en-US" sz="900" b="0" i="0" u="none" strike="noStrike" kern="0" cap="all" spc="25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90327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endParaRPr kumimoji="0" lang="en-US" sz="900" b="0" i="0" u="none" strike="noStrike" kern="0" cap="all" spc="25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Title Placeholder 1">
            <a:extLst>
              <a:ext uri="{FF2B5EF4-FFF2-40B4-BE49-F238E27FC236}">
                <a16:creationId xmlns:a16="http://schemas.microsoft.com/office/drawing/2014/main" id="{587A59F8-B5A7-7543-BCD3-6D3B96423664}"/>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lvl1pPr rtl="0">
              <a:defRPr/>
            </a:lvl1pPr>
          </a:lstStyle>
          <a:p>
            <a:r>
              <a:rPr lang="en-US" noProof="0"/>
              <a:t>Click to edit Master title s edit Master title style tyle</a:t>
            </a:r>
            <a:endParaRPr lang="en-US" noProof="0" dirty="0"/>
          </a:p>
        </p:txBody>
      </p:sp>
      <p:sp>
        <p:nvSpPr>
          <p:cNvPr id="25" name="Text Placeholder 9">
            <a:extLst>
              <a:ext uri="{FF2B5EF4-FFF2-40B4-BE49-F238E27FC236}">
                <a16:creationId xmlns:a16="http://schemas.microsoft.com/office/drawing/2014/main" id="{5B8C51D7-FE3E-D842-9B2F-5F0C99510C05}"/>
              </a:ext>
            </a:extLst>
          </p:cNvPr>
          <p:cNvSpPr>
            <a:spLocks noGrp="1"/>
          </p:cNvSpPr>
          <p:nvPr>
            <p:ph type="body" sz="quarter" idx="18" hasCustomPrompt="1"/>
          </p:nvPr>
        </p:nvSpPr>
        <p:spPr>
          <a:xfrm>
            <a:off x="914400" y="2329329"/>
            <a:ext cx="30099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Ligula justo porttitor</a:t>
            </a:r>
          </a:p>
          <a:p>
            <a:pPr lvl="0"/>
            <a:r>
              <a:rPr lang="en-US"/>
              <a:t>Lorem ipsum dolor sit amet consectetur adipiscing elit, urna consequat felis vehicula class ultricies mollis dictumst, aenean non a in donec nulla. Etu phasellus ante pellentesque erat cum risus dolor</a:t>
            </a:r>
          </a:p>
          <a:p>
            <a:pPr lvl="0"/>
            <a:endParaRPr lang="en-US"/>
          </a:p>
          <a:p>
            <a:pPr lvl="0"/>
            <a:r>
              <a:rPr lang="en-US"/>
              <a:t>Etu phasellus ante</a:t>
            </a:r>
          </a:p>
          <a:p>
            <a:pPr lvl="0"/>
            <a:r>
              <a:rPr lang="en-US"/>
              <a:t>Viverra dolor eros semper sociosqu lobortis sodales metus velit, nulla leo turpis enim quis platea cursus per suscipit, consectetur duis id  risus auctor inceptos nisl. Facilisis est porttitor.</a:t>
            </a:r>
            <a:endParaRPr lang="en-US" dirty="0"/>
          </a:p>
        </p:txBody>
      </p:sp>
      <p:sp>
        <p:nvSpPr>
          <p:cNvPr id="26" name="Text Placeholder 9">
            <a:extLst>
              <a:ext uri="{FF2B5EF4-FFF2-40B4-BE49-F238E27FC236}">
                <a16:creationId xmlns:a16="http://schemas.microsoft.com/office/drawing/2014/main" id="{39EC3C5A-1CBC-4942-8736-3D6B4698E09A}"/>
              </a:ext>
            </a:extLst>
          </p:cNvPr>
          <p:cNvSpPr>
            <a:spLocks noGrp="1"/>
          </p:cNvSpPr>
          <p:nvPr>
            <p:ph type="body" sz="quarter" idx="19" hasCustomPrompt="1"/>
          </p:nvPr>
        </p:nvSpPr>
        <p:spPr>
          <a:xfrm>
            <a:off x="4613478"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Conubia aptent primis</a:t>
            </a:r>
          </a:p>
          <a:p>
            <a:pPr lvl="0"/>
            <a:r>
              <a:rPr lang="en-US"/>
              <a:t>Libero pellentesque nunc fames penatibus accumsan hendrerit diam platea, himenaeos scelerisque eros congue vestibulum ipsum.</a:t>
            </a:r>
          </a:p>
          <a:p>
            <a:pPr lvl="0"/>
            <a:endParaRPr lang="en-US"/>
          </a:p>
          <a:p>
            <a:pPr lvl="0"/>
            <a:r>
              <a:rPr lang="en-US"/>
              <a:t>Aenean suspendisse fames </a:t>
            </a:r>
          </a:p>
          <a:p>
            <a:pPr lvl="0"/>
            <a:r>
              <a:rPr lang="en-US"/>
              <a:t>Facilisis est porttitor sed nec scelerisque urna aptent nisl curae adipiscing, fermentum curabr enim auctor massa integer fames purus in.</a:t>
            </a:r>
          </a:p>
          <a:p>
            <a:pPr lvl="0"/>
            <a:endParaRPr lang="en-US"/>
          </a:p>
          <a:p>
            <a:pPr lvl="0"/>
            <a:r>
              <a:rPr lang="en-US"/>
              <a:t>Quisque laoreet</a:t>
            </a:r>
          </a:p>
          <a:p>
            <a:pPr lvl="0"/>
            <a:r>
              <a:rPr lang="en-US"/>
              <a:t>Viverra dolor eros semper sociosqu lobortis sodales metus velit, nulla leo turpis enim quis platea cursus.</a:t>
            </a:r>
            <a:endParaRPr lang="en-US" dirty="0"/>
          </a:p>
        </p:txBody>
      </p:sp>
      <p:sp>
        <p:nvSpPr>
          <p:cNvPr id="27" name="Text Placeholder 9">
            <a:extLst>
              <a:ext uri="{FF2B5EF4-FFF2-40B4-BE49-F238E27FC236}">
                <a16:creationId xmlns:a16="http://schemas.microsoft.com/office/drawing/2014/main" id="{5FB42339-0512-FF4A-A3AB-61E340CC01DE}"/>
              </a:ext>
            </a:extLst>
          </p:cNvPr>
          <p:cNvSpPr>
            <a:spLocks noGrp="1"/>
          </p:cNvSpPr>
          <p:nvPr>
            <p:ph type="body" sz="quarter" idx="20" hasCustomPrompt="1"/>
          </p:nvPr>
        </p:nvSpPr>
        <p:spPr>
          <a:xfrm>
            <a:off x="8269941"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Ligula justo porttitor</a:t>
            </a:r>
          </a:p>
          <a:p>
            <a:pPr lvl="0"/>
            <a:r>
              <a:rPr lang="en-US"/>
              <a:t>Lorem ipsum dolor sit amet consectetur adipiscing elit, urna consequat felis vehicula class ultricies mollis dictumst, aenean non a in donec nulla. Etu phasellus ante pellentesque erat cum risus dolor</a:t>
            </a:r>
          </a:p>
          <a:p>
            <a:pPr lvl="0"/>
            <a:endParaRPr lang="en-US"/>
          </a:p>
          <a:p>
            <a:pPr lvl="0"/>
            <a:r>
              <a:rPr lang="en-US"/>
              <a:t>Etu phasellus ante</a:t>
            </a:r>
          </a:p>
          <a:p>
            <a:pPr lvl="0"/>
            <a:r>
              <a:rPr lang="en-US"/>
              <a:t>Viverra dolor eros semper sociosqu lobortis sodales metus velit, nulla leo turpis enim quis platea cursus per suscipit, consectetur duis id  risus auctor inceptos nisl. Facilisis est porttitor.</a:t>
            </a:r>
            <a:endParaRPr lang="en-US" dirty="0"/>
          </a:p>
        </p:txBody>
      </p:sp>
      <p:sp>
        <p:nvSpPr>
          <p:cNvPr id="14" name="Text Placeholder 2">
            <a:extLst>
              <a:ext uri="{FF2B5EF4-FFF2-40B4-BE49-F238E27FC236}">
                <a16:creationId xmlns:a16="http://schemas.microsoft.com/office/drawing/2014/main" id="{D06929EA-D49D-4F46-A84D-6D323E890B91}"/>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endParaRPr lang="en-US" dirty="0"/>
          </a:p>
        </p:txBody>
      </p:sp>
      <p:sp>
        <p:nvSpPr>
          <p:cNvPr id="15" name="Text Placeholder 2">
            <a:extLst>
              <a:ext uri="{FF2B5EF4-FFF2-40B4-BE49-F238E27FC236}">
                <a16:creationId xmlns:a16="http://schemas.microsoft.com/office/drawing/2014/main" id="{59D9BD63-561E-7641-BD15-6DD81F5FA291}"/>
              </a:ext>
            </a:extLst>
          </p:cNvPr>
          <p:cNvSpPr>
            <a:spLocks noGrp="1"/>
          </p:cNvSpPr>
          <p:nvPr>
            <p:ph type="body" sz="quarter" idx="26" hasCustomPrompt="1"/>
          </p:nvPr>
        </p:nvSpPr>
        <p:spPr>
          <a:xfrm>
            <a:off x="1986247" y="495992"/>
            <a:ext cx="3488042" cy="139781"/>
          </a:xfrm>
        </p:spPr>
        <p:txBody>
          <a:bodyPr/>
          <a:lstStyle>
            <a:lvl1pPr rtl="0">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endParaRPr lang="en-US" dirty="0"/>
          </a:p>
        </p:txBody>
      </p:sp>
    </p:spTree>
    <p:extLst>
      <p:ext uri="{BB962C8B-B14F-4D97-AF65-F5344CB8AC3E}">
        <p14:creationId xmlns:p14="http://schemas.microsoft.com/office/powerpoint/2010/main" val="2118685955"/>
      </p:ext>
    </p:extLst>
  </p:cSld>
  <p:clrMapOvr>
    <a:masterClrMapping/>
  </p:clrMapOvr>
  <p:transition>
    <p:fade/>
  </p:transition>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Title and Subhead: Sidebar - 3 Column Highlight - 1 - Breadcrumb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1466EE-1906-BC52-BA54-985A16ED0E2C}"/>
              </a:ext>
            </a:extLst>
          </p:cNvPr>
          <p:cNvGraphicFramePr>
            <a:graphicFrameLocks noChangeAspect="1"/>
          </p:cNvGraphicFramePr>
          <p:nvPr userDrawn="1">
            <p:custDataLst>
              <p:tags r:id="rId1"/>
            </p:custDataLst>
            <p:extLst>
              <p:ext uri="{D42A27DB-BD31-4B8C-83A1-F6EECF244321}">
                <p14:modId xmlns:p14="http://schemas.microsoft.com/office/powerpoint/2010/main" val="1407302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AA1466EE-1906-BC52-BA54-985A16ED0E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F1D460F9-EB1A-804D-B6A6-90FD865587A1}"/>
              </a:ext>
              <a:ext uri="{C183D7F6-B498-43B3-948B-1728B52AA6E4}">
                <adec:decorative xmlns:adec="http://schemas.microsoft.com/office/drawing/2017/decorative" val="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rtl="0"/>
            <a:endParaRPr lang="en-US" dirty="0"/>
          </a:p>
        </p:txBody>
      </p:sp>
      <p:sp>
        <p:nvSpPr>
          <p:cNvPr id="14" name="Text Placeholder 7">
            <a:extLst>
              <a:ext uri="{FF2B5EF4-FFF2-40B4-BE49-F238E27FC236}">
                <a16:creationId xmlns:a16="http://schemas.microsoft.com/office/drawing/2014/main" id="{50FD3A15-BD8B-E34B-BC34-50978AF2D590}"/>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leo risus, porta ac consectetur ac, vestibulum at eros. Donec sed odio dui. odio dui. Praesent commodo cursus magna, vel scelerisque nisl consectetur et. Sed posuere consectetur est at lobortis. Praesent commodo cursus magna, vel scelerisque nisl consectetur et.</a:t>
            </a:r>
            <a:endParaRPr lang="en-US" dirty="0"/>
          </a:p>
        </p:txBody>
      </p:sp>
      <p:sp>
        <p:nvSpPr>
          <p:cNvPr id="15" name="Text Placeholder 9">
            <a:extLst>
              <a:ext uri="{FF2B5EF4-FFF2-40B4-BE49-F238E27FC236}">
                <a16:creationId xmlns:a16="http://schemas.microsoft.com/office/drawing/2014/main" id="{8C0AE4FA-D2A5-C24F-B394-2F06B8655D73}"/>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US"/>
              <a:t>Ligula justo porttitor</a:t>
            </a:r>
          </a:p>
          <a:p>
            <a:pPr lvl="0"/>
            <a:r>
              <a:rPr lang="en-US"/>
              <a:t>Lorem ipsum dolor sit amet consectetur adipiscing elit, urna consequat felis vehicula class ultricies mollis dictumst, aenean non a in donec nulla. Etu phasellus ante pellentesque erat cum risus dolor</a:t>
            </a:r>
          </a:p>
          <a:p>
            <a:pPr lvl="0"/>
            <a:endParaRPr lang="en-US"/>
          </a:p>
          <a:p>
            <a:pPr lvl="0"/>
            <a:r>
              <a:rPr lang="en-US"/>
              <a:t>Etu phasellus ante</a:t>
            </a:r>
          </a:p>
          <a:p>
            <a:pPr lvl="0"/>
            <a:r>
              <a:rPr lang="en-US"/>
              <a:t>Viverra dolor eros semper sociosqu lobortis sodales metus velit, nulla leo turpis enim quis platea cursus per suscipit, consectetur duis id  risus auctor inceptos nisl. Facilisis est porttitor.</a:t>
            </a:r>
            <a:endParaRPr lang="en-US" dirty="0"/>
          </a:p>
        </p:txBody>
      </p:sp>
      <p:sp>
        <p:nvSpPr>
          <p:cNvPr id="16" name="Text Placeholder 9">
            <a:extLst>
              <a:ext uri="{FF2B5EF4-FFF2-40B4-BE49-F238E27FC236}">
                <a16:creationId xmlns:a16="http://schemas.microsoft.com/office/drawing/2014/main" id="{145DA036-2645-6A4B-AAB9-D5649DF2BE66}"/>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US"/>
              <a:t>Ligula justo porttitor</a:t>
            </a:r>
          </a:p>
          <a:p>
            <a:pPr lvl="0"/>
            <a:r>
              <a:rPr lang="en-US"/>
              <a:t>Lorem ipsum dolor sit amet consectetur adipiscing elit, urna consequat felis vehicula class ultricies mollis dictumst, aenean non a in donec nulla. Etu phasellus ante pellentesque erat cum risus dolor</a:t>
            </a:r>
          </a:p>
          <a:p>
            <a:pPr lvl="0"/>
            <a:endParaRPr lang="en-US"/>
          </a:p>
          <a:p>
            <a:pPr lvl="0"/>
            <a:r>
              <a:rPr lang="en-US"/>
              <a:t>Etu phasellus ante</a:t>
            </a:r>
          </a:p>
          <a:p>
            <a:pPr lvl="0"/>
            <a:r>
              <a:rPr lang="en-US"/>
              <a:t>Viverra dolor eros semper sociosqu lobortis sodales metus velit, nulla leo turpis enim quis platea cursus per suscipit, consectetur duis id  risus auctor inceptos nisl. Facilisis est porttitor.</a:t>
            </a:r>
            <a:endParaRPr lang="en-US" dirty="0"/>
          </a:p>
        </p:txBody>
      </p:sp>
      <p:sp>
        <p:nvSpPr>
          <p:cNvPr id="17" name="Text Placeholder 9">
            <a:extLst>
              <a:ext uri="{FF2B5EF4-FFF2-40B4-BE49-F238E27FC236}">
                <a16:creationId xmlns:a16="http://schemas.microsoft.com/office/drawing/2014/main" id="{F2697B8C-43B6-9A45-932F-FFADB537D4C2}"/>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solidFill>
                  <a:schemeClr val="tx1"/>
                </a:solidFill>
              </a:defRPr>
            </a:lvl1pPr>
          </a:lstStyle>
          <a:p>
            <a:pPr lvl="0"/>
            <a:r>
              <a:rPr lang="en-US"/>
              <a:t>Conubia aptent primis</a:t>
            </a:r>
          </a:p>
          <a:p>
            <a:pPr lvl="0"/>
            <a:r>
              <a:rPr lang="en-US"/>
              <a:t>Libero pellentesque nunc fames penatibus accumsan hendrerit diam platea, himenaeos scelerisque eros congue vestibulum ipsum adipiscin adipiscing ligula odio adipiscing ligula odio g ligula odio, neque metus sociisetur facilisis sagittis tincidunt.</a:t>
            </a:r>
          </a:p>
          <a:p>
            <a:pPr lvl="0"/>
            <a:endParaRPr lang="en-US"/>
          </a:p>
          <a:p>
            <a:pPr lvl="0"/>
            <a:r>
              <a:rPr lang="en-US"/>
              <a:t>Quisque laoreet</a:t>
            </a:r>
          </a:p>
          <a:p>
            <a:pPr lvl="0"/>
            <a:r>
              <a:rPr lang="en-US"/>
              <a:t>Viverra dolor eros semper sociosqu lobortis sodales metus velit, nulla leo turpis enim quis platea cursus per sid risus auctor inceptos nisl.</a:t>
            </a:r>
          </a:p>
          <a:p>
            <a:pPr lvl="0"/>
            <a:endParaRPr lang="en-US"/>
          </a:p>
          <a:p>
            <a:pPr lvl="0"/>
            <a:r>
              <a:rPr lang="en-US"/>
              <a:t>Conubia aptent primis</a:t>
            </a:r>
          </a:p>
          <a:p>
            <a:pPr lvl="0"/>
            <a:r>
              <a:rPr lang="en-US"/>
              <a:t>Libero pellentesque nunc fames penatibus accumsan h adipiscing ligula odio adipiscing ligula odio endrerit diam platea, himenaeos scelerisque eros congue vestibulum ipsum adipiscing ligula odio, neque metus sociisetur facilisis sagittis tincidunt.</a:t>
            </a:r>
            <a:endParaRPr lang="en-US" dirty="0"/>
          </a:p>
        </p:txBody>
      </p:sp>
      <p:sp>
        <p:nvSpPr>
          <p:cNvPr id="18" name="Text Placeholder 2">
            <a:extLst>
              <a:ext uri="{FF2B5EF4-FFF2-40B4-BE49-F238E27FC236}">
                <a16:creationId xmlns:a16="http://schemas.microsoft.com/office/drawing/2014/main" id="{423A93C1-26C8-7246-A60C-C403CB759C6E}"/>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356F363A-A759-A646-97B7-B063F02DC549}"/>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endParaRPr lang="en-US" dirty="0"/>
          </a:p>
        </p:txBody>
      </p:sp>
      <p:sp>
        <p:nvSpPr>
          <p:cNvPr id="19" name="Text Placeholder 2">
            <a:extLst>
              <a:ext uri="{FF2B5EF4-FFF2-40B4-BE49-F238E27FC236}">
                <a16:creationId xmlns:a16="http://schemas.microsoft.com/office/drawing/2014/main" id="{A67CC57D-A7D1-434A-84AB-06E26C1EDEB1}"/>
              </a:ext>
            </a:extLst>
          </p:cNvPr>
          <p:cNvSpPr>
            <a:spLocks noGrp="1"/>
          </p:cNvSpPr>
          <p:nvPr>
            <p:ph type="body" sz="quarter" idx="26" hasCustomPrompt="1"/>
          </p:nvPr>
        </p:nvSpPr>
        <p:spPr>
          <a:xfrm>
            <a:off x="1986247" y="495992"/>
            <a:ext cx="1938053" cy="139781"/>
          </a:xfrm>
        </p:spPr>
        <p:txBody>
          <a:bodyPr/>
          <a:lstStyle>
            <a:lvl1pPr rtl="0">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endParaRPr lang="en-US" dirty="0"/>
          </a:p>
        </p:txBody>
      </p:sp>
    </p:spTree>
    <p:extLst>
      <p:ext uri="{BB962C8B-B14F-4D97-AF65-F5344CB8AC3E}">
        <p14:creationId xmlns:p14="http://schemas.microsoft.com/office/powerpoint/2010/main" val="3492921125"/>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Title and Subhead: Sidebar - 3 Column Highlight - 2 - Breadcrumb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88FFAA-C493-DA13-060A-E56CA67CC418}"/>
              </a:ext>
            </a:extLst>
          </p:cNvPr>
          <p:cNvGraphicFramePr>
            <a:graphicFrameLocks noChangeAspect="1"/>
          </p:cNvGraphicFramePr>
          <p:nvPr userDrawn="1">
            <p:custDataLst>
              <p:tags r:id="rId1"/>
            </p:custDataLst>
            <p:extLst>
              <p:ext uri="{D42A27DB-BD31-4B8C-83A1-F6EECF244321}">
                <p14:modId xmlns:p14="http://schemas.microsoft.com/office/powerpoint/2010/main" val="1242355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FD88FFAA-C493-DA13-060A-E56CA67CC4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F1D460F9-EB1A-804D-B6A6-90FD865587A1}"/>
              </a:ext>
              <a:ext uri="{C183D7F6-B498-43B3-948B-1728B52AA6E4}">
                <adec:decorative xmlns:adec="http://schemas.microsoft.com/office/drawing/2017/decorative" val="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rgbClr val="004F59"/>
          </a:solidFill>
          <a:ln w="19050" algn="ctr">
            <a:noFill/>
            <a:miter lim="800000"/>
            <a:headEnd/>
            <a:tailEnd/>
          </a:ln>
        </p:spPr>
        <p:txBody>
          <a:bodyPr wrap="square" lIns="0" tIns="0" rIns="0" bIns="0" rtlCol="0" anchor="ctr">
            <a:noAutofit/>
          </a:bodyPr>
          <a:lstStyle/>
          <a:p>
            <a:pPr algn="ctr" rtl="0"/>
            <a:endParaRPr lang="en-US" dirty="0"/>
          </a:p>
        </p:txBody>
      </p:sp>
      <p:sp>
        <p:nvSpPr>
          <p:cNvPr id="11" name="Text Placeholder 10">
            <a:extLst>
              <a:ext uri="{FF2B5EF4-FFF2-40B4-BE49-F238E27FC236}">
                <a16:creationId xmlns:a16="http://schemas.microsoft.com/office/drawing/2014/main" id="{C55C4337-5BFE-F74F-BFD1-A76C1C03F250}"/>
              </a:ext>
            </a:extLst>
          </p:cNvPr>
          <p:cNvSpPr>
            <a:spLocks noGrp="1"/>
          </p:cNvSpPr>
          <p:nvPr>
            <p:ph type="body" sz="quarter" idx="18" hasCustomPrompt="1"/>
          </p:nvPr>
        </p:nvSpPr>
        <p:spPr>
          <a:xfrm>
            <a:off x="4955394" y="1066800"/>
            <a:ext cx="3063894" cy="1818904"/>
          </a:xfrm>
        </p:spPr>
        <p:txBody>
          <a:bodyPr>
            <a:noAutofit/>
          </a:bodyPr>
          <a:lstStyle>
            <a:lvl1pPr rtl="0">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igula justo porttitor Lorem ipsum dolor sit amet consectetur adipiscing elit, urna consequat felis vehicula class ultricies mollis dictumst, aenean non a in donec nulla. Etu phasellus ante pellentesque erat cum risus dolor Etu phasellus ante Viverra dolor eros semper sociosqu lobortis sodales metus velit, nulla leo turpis enim quis platea cursus per suscipit, consectetur duis id risus auctor inceptos nisl. </a:t>
            </a:r>
            <a:endParaRPr lang="en-US" dirty="0"/>
          </a:p>
        </p:txBody>
      </p:sp>
      <p:sp>
        <p:nvSpPr>
          <p:cNvPr id="15" name="Text Placeholder 10">
            <a:extLst>
              <a:ext uri="{FF2B5EF4-FFF2-40B4-BE49-F238E27FC236}">
                <a16:creationId xmlns:a16="http://schemas.microsoft.com/office/drawing/2014/main" id="{05808D96-A577-AF40-9D56-1FF43AA9660E}"/>
              </a:ext>
            </a:extLst>
          </p:cNvPr>
          <p:cNvSpPr>
            <a:spLocks noGrp="1"/>
          </p:cNvSpPr>
          <p:nvPr>
            <p:ph type="body" sz="quarter" idx="19" hasCustomPrompt="1"/>
          </p:nvPr>
        </p:nvSpPr>
        <p:spPr>
          <a:xfrm>
            <a:off x="8135112" y="1066800"/>
            <a:ext cx="3063894" cy="1818904"/>
          </a:xfrm>
        </p:spPr>
        <p:txBody>
          <a:bodyPr>
            <a:noAutofit/>
          </a:bodyPr>
          <a:lstStyle>
            <a:lvl1pPr rtl="0">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igula justo porttitor Lorem ipsum dolor sit amet consectetur adipiscing elit, urna consequat felis vehicula class ultricies mollis dictumst, aenean non a in donec nulla. Etu phasellus ante pellentesque erat cum risus dolor Etu phasellus ante Viverra dolor eros semper sociosqu lobortis sodales metus velit, nulla leo turpis enim quis platea cursus per suscipit, consectetur duis id risus auctor inceptos nisl. </a:t>
            </a:r>
            <a:endParaRPr lang="en-US" dirty="0"/>
          </a:p>
        </p:txBody>
      </p:sp>
      <p:sp>
        <p:nvSpPr>
          <p:cNvPr id="17" name="Text Placeholder 16">
            <a:extLst>
              <a:ext uri="{FF2B5EF4-FFF2-40B4-BE49-F238E27FC236}">
                <a16:creationId xmlns:a16="http://schemas.microsoft.com/office/drawing/2014/main" id="{A80E9A9B-D905-6744-B429-EF79B075874D}"/>
              </a:ext>
            </a:extLst>
          </p:cNvPr>
          <p:cNvSpPr>
            <a:spLocks noGrp="1"/>
          </p:cNvSpPr>
          <p:nvPr>
            <p:ph type="body" sz="quarter" idx="20" hasCustomPrompt="1"/>
          </p:nvPr>
        </p:nvSpPr>
        <p:spPr>
          <a:xfrm>
            <a:off x="4953000" y="3429000"/>
            <a:ext cx="6286500" cy="19288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ubia aptent primis</a:t>
            </a:r>
          </a:p>
          <a:p>
            <a:pPr lvl="0"/>
            <a:r>
              <a:rPr lang="en-US"/>
              <a:t>Libero pellentesque nunc fames penatibus accumsan hendrerit diam platea, himenaeos scelerisque eros congue vestibulum ipsum adipiscin adipiscing ligula odio adipiscing ligula odio g ligula odio, neque metus sociisetur facilisis sagittis tincidunt.</a:t>
            </a:r>
          </a:p>
          <a:p>
            <a:pPr lvl="0"/>
            <a:endParaRPr lang="en-US"/>
          </a:p>
          <a:p>
            <a:pPr lvl="0"/>
            <a:r>
              <a:rPr lang="en-US"/>
              <a:t>Quisque laoreet</a:t>
            </a:r>
          </a:p>
          <a:p>
            <a:pPr lvl="0"/>
            <a:r>
              <a:rPr lang="en-US"/>
              <a:t>Viverra dolor eros semper sociosqu lobortis sodales metus velit, nulla leo turpis enim quis platea cursus per sid risus auctor inceptos nisl.</a:t>
            </a:r>
          </a:p>
          <a:p>
            <a:pPr lvl="0"/>
            <a:endParaRPr lang="en-US"/>
          </a:p>
          <a:p>
            <a:pPr lvl="0"/>
            <a:r>
              <a:rPr lang="en-US"/>
              <a:t>Conubia aptent primis</a:t>
            </a:r>
          </a:p>
          <a:p>
            <a:pPr lvl="0"/>
            <a:r>
              <a:rPr lang="en-US"/>
              <a:t>Libero pellentesque nunc fames penatibus accumsan h adipiscing ligula odio adipiscing ligula odio endrerit diam platea, himenaeos scelerisque eros congue vestibulum ipsum adipiscing ligula odio, neque metus sociisetur facilisis sagittis tincidunt.</a:t>
            </a:r>
            <a:endParaRPr lang="en-US" dirty="0"/>
          </a:p>
        </p:txBody>
      </p:sp>
      <p:sp>
        <p:nvSpPr>
          <p:cNvPr id="14" name="Text Placeholder 7">
            <a:extLst>
              <a:ext uri="{FF2B5EF4-FFF2-40B4-BE49-F238E27FC236}">
                <a16:creationId xmlns:a16="http://schemas.microsoft.com/office/drawing/2014/main" id="{5C6CFBB4-2358-3847-A891-56DD4504D08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7 lines running intro text. Morbi leo risus, porta ac consectetur ac, vestibulum at eros. Donec sed odio dui. odio dui. Praesent commodo cursus magna, vel scelerisque nisl consectetur et. Sed posuere consectetur est at lobortis. Praesent commodo cursus magna, vel scelerisque nisl consectetur et.</a:t>
            </a:r>
            <a:endParaRPr lang="en-US" dirty="0"/>
          </a:p>
        </p:txBody>
      </p:sp>
      <p:sp>
        <p:nvSpPr>
          <p:cNvPr id="16" name="Text Placeholder 2">
            <a:extLst>
              <a:ext uri="{FF2B5EF4-FFF2-40B4-BE49-F238E27FC236}">
                <a16:creationId xmlns:a16="http://schemas.microsoft.com/office/drawing/2014/main" id="{FCA932F0-619D-AC43-A797-7FE8DE7E0665}"/>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DD4982B0-1368-6A44-BF22-6DB52D72F7C6}"/>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endParaRPr lang="en-US" dirty="0"/>
          </a:p>
        </p:txBody>
      </p:sp>
      <p:sp>
        <p:nvSpPr>
          <p:cNvPr id="18" name="Text Placeholder 2">
            <a:extLst>
              <a:ext uri="{FF2B5EF4-FFF2-40B4-BE49-F238E27FC236}">
                <a16:creationId xmlns:a16="http://schemas.microsoft.com/office/drawing/2014/main" id="{EBA3A501-B27D-E948-A2CA-6A950EDD8E9D}"/>
              </a:ext>
            </a:extLst>
          </p:cNvPr>
          <p:cNvSpPr>
            <a:spLocks noGrp="1"/>
          </p:cNvSpPr>
          <p:nvPr>
            <p:ph type="body" sz="quarter" idx="26" hasCustomPrompt="1"/>
          </p:nvPr>
        </p:nvSpPr>
        <p:spPr>
          <a:xfrm>
            <a:off x="1986247" y="495992"/>
            <a:ext cx="2266776" cy="139781"/>
          </a:xfrm>
        </p:spPr>
        <p:txBody>
          <a:bodyPr/>
          <a:lstStyle>
            <a:lvl1pPr rtl="0">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endParaRPr lang="en-US" dirty="0"/>
          </a:p>
        </p:txBody>
      </p:sp>
    </p:spTree>
    <p:extLst>
      <p:ext uri="{BB962C8B-B14F-4D97-AF65-F5344CB8AC3E}">
        <p14:creationId xmlns:p14="http://schemas.microsoft.com/office/powerpoint/2010/main" val="902319255"/>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and Subhead: Sidebar - No Content - Breadcrumb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2E5076-C23C-E59A-8CBE-4BEEC9C75BCC}"/>
              </a:ext>
            </a:extLst>
          </p:cNvPr>
          <p:cNvGraphicFramePr>
            <a:graphicFrameLocks noChangeAspect="1"/>
          </p:cNvGraphicFramePr>
          <p:nvPr userDrawn="1">
            <p:custDataLst>
              <p:tags r:id="rId1"/>
            </p:custDataLst>
            <p:extLst>
              <p:ext uri="{D42A27DB-BD31-4B8C-83A1-F6EECF244321}">
                <p14:modId xmlns:p14="http://schemas.microsoft.com/office/powerpoint/2010/main" val="279368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C92E5076-C23C-E59A-8CBE-4BEEC9C75B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rgbClr val="004F59"/>
          </a:solidFill>
          <a:ln w="19050" algn="ctr">
            <a:noFill/>
            <a:miter lim="800000"/>
            <a:headEnd/>
            <a:tailEnd/>
          </a:ln>
        </p:spPr>
        <p:txBody>
          <a:bodyPr wrap="square" lIns="0" tIns="0" rIns="0" bIns="0" rtlCol="0" anchor="ctr">
            <a:noAutofit/>
          </a:bodyPr>
          <a:lstStyle/>
          <a:p>
            <a:pPr algn="ctr" rtl="0"/>
            <a:endParaRPr lang="en-US" dirty="0"/>
          </a:p>
        </p:txBody>
      </p:sp>
      <p:sp>
        <p:nvSpPr>
          <p:cNvPr id="11" name="Title Placeholder 1">
            <a:extLst>
              <a:ext uri="{FF2B5EF4-FFF2-40B4-BE49-F238E27FC236}">
                <a16:creationId xmlns:a16="http://schemas.microsoft.com/office/drawing/2014/main" id="{CCC8559E-F5E2-0347-840E-E629DC9F61B5}"/>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rtl="0">
              <a:defRPr>
                <a:solidFill>
                  <a:schemeClr val="bg1"/>
                </a:solidFill>
              </a:defRPr>
            </a:lvl1pPr>
          </a:lstStyle>
          <a:p>
            <a:r>
              <a:rPr lang="en-US" noProof="0"/>
              <a:t>Click to edit Master title style</a:t>
            </a:r>
            <a:endParaRPr lang="en-US" noProof="0" dirty="0"/>
          </a:p>
        </p:txBody>
      </p:sp>
      <p:sp>
        <p:nvSpPr>
          <p:cNvPr id="15" name="Text Placeholder 7">
            <a:extLst>
              <a:ext uri="{FF2B5EF4-FFF2-40B4-BE49-F238E27FC236}">
                <a16:creationId xmlns:a16="http://schemas.microsoft.com/office/drawing/2014/main" id="{6627A73F-C8F9-C143-A124-0C1DFBD38A80}"/>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US"/>
              <a:t>7 lines running intro text. Morbi leo risus, porta ac consectetur ac, vestibulum at eros. Donec sed odio dui. odio dui. Praesent commodo cursus magna, vel scelerisque nisl consectetur et. Sed posuere consectetur est at lobortis. Praesent commodo cursus magna, vel scelerisque nisl consectetur et.</a:t>
            </a:r>
            <a:endParaRPr lang="en-US" dirty="0"/>
          </a:p>
        </p:txBody>
      </p:sp>
      <p:sp>
        <p:nvSpPr>
          <p:cNvPr id="10" name="Text Placeholder 2">
            <a:extLst>
              <a:ext uri="{FF2B5EF4-FFF2-40B4-BE49-F238E27FC236}">
                <a16:creationId xmlns:a16="http://schemas.microsoft.com/office/drawing/2014/main" id="{D928B8B3-E1F7-A641-89DC-53E0F2105799}"/>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endParaRPr lang="en-US" dirty="0"/>
          </a:p>
        </p:txBody>
      </p:sp>
      <p:sp>
        <p:nvSpPr>
          <p:cNvPr id="12" name="Text Placeholder 2">
            <a:extLst>
              <a:ext uri="{FF2B5EF4-FFF2-40B4-BE49-F238E27FC236}">
                <a16:creationId xmlns:a16="http://schemas.microsoft.com/office/drawing/2014/main" id="{148AE39B-AB7A-B24E-96E2-9B3F4693BD1E}"/>
              </a:ext>
            </a:extLst>
          </p:cNvPr>
          <p:cNvSpPr>
            <a:spLocks noGrp="1"/>
          </p:cNvSpPr>
          <p:nvPr>
            <p:ph type="body" sz="quarter" idx="26" hasCustomPrompt="1"/>
          </p:nvPr>
        </p:nvSpPr>
        <p:spPr>
          <a:xfrm>
            <a:off x="1986247" y="495992"/>
            <a:ext cx="2713344" cy="139781"/>
          </a:xfrm>
        </p:spPr>
        <p:txBody>
          <a:bodyPr/>
          <a:lstStyle>
            <a:lvl1pPr rtl="0">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endParaRPr lang="en-US" dirty="0"/>
          </a:p>
        </p:txBody>
      </p:sp>
    </p:spTree>
    <p:extLst>
      <p:ext uri="{BB962C8B-B14F-4D97-AF65-F5344CB8AC3E}">
        <p14:creationId xmlns:p14="http://schemas.microsoft.com/office/powerpoint/2010/main" val="1810640741"/>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Title and Subhead: Sidebar - Messaging - Breadcrumb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4E9357D-A6D1-3C2D-5B6B-2518B7FE1203}"/>
              </a:ext>
            </a:extLst>
          </p:cNvPr>
          <p:cNvGraphicFramePr>
            <a:graphicFrameLocks noChangeAspect="1"/>
          </p:cNvGraphicFramePr>
          <p:nvPr userDrawn="1">
            <p:custDataLst>
              <p:tags r:id="rId1"/>
            </p:custDataLst>
            <p:extLst>
              <p:ext uri="{D42A27DB-BD31-4B8C-83A1-F6EECF244321}">
                <p14:modId xmlns:p14="http://schemas.microsoft.com/office/powerpoint/2010/main" val="3853982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4E9357D-A6D1-3C2D-5B6B-2518B7FE12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chemeClr val="accent6">
              <a:lumMod val="75000"/>
            </a:schemeClr>
          </a:solidFill>
          <a:ln w="19050" algn="ctr">
            <a:noFill/>
            <a:miter lim="800000"/>
            <a:headEnd/>
            <a:tailEnd/>
          </a:ln>
        </p:spPr>
        <p:txBody>
          <a:bodyPr wrap="square" lIns="0" tIns="0" rIns="0" bIns="0" rtlCol="0" anchor="ctr">
            <a:noAutofit/>
          </a:bodyPr>
          <a:lstStyle/>
          <a:p>
            <a:pPr algn="ctr" rtl="0"/>
            <a:endParaRPr lang="en-US" dirty="0"/>
          </a:p>
        </p:txBody>
      </p:sp>
      <p:sp>
        <p:nvSpPr>
          <p:cNvPr id="13" name="Title Placeholder 1">
            <a:extLst>
              <a:ext uri="{FF2B5EF4-FFF2-40B4-BE49-F238E27FC236}">
                <a16:creationId xmlns:a16="http://schemas.microsoft.com/office/drawing/2014/main" id="{41AED56B-4FBA-7B41-8642-EECEFE511009}"/>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rtl="0">
              <a:defRPr>
                <a:solidFill>
                  <a:schemeClr val="bg1"/>
                </a:solidFill>
              </a:defRPr>
            </a:lvl1pPr>
          </a:lstStyle>
          <a:p>
            <a:r>
              <a:rPr lang="en-US" noProof="0"/>
              <a:t>Click to edit Master title style</a:t>
            </a:r>
            <a:endParaRPr lang="en-US" noProof="0" dirty="0"/>
          </a:p>
        </p:txBody>
      </p:sp>
      <p:sp>
        <p:nvSpPr>
          <p:cNvPr id="17" name="Text Placeholder 7">
            <a:extLst>
              <a:ext uri="{FF2B5EF4-FFF2-40B4-BE49-F238E27FC236}">
                <a16:creationId xmlns:a16="http://schemas.microsoft.com/office/drawing/2014/main" id="{333FE8BD-D45A-D947-B56A-6B35CC9BAFA2}"/>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US"/>
              <a:t>7 lines running intro text. Morbi leo risus, porta ac consectetur ac, vestibulum at eros. Donec sed odio dui. odio dui. Praesent commodo cursus magna, vel scelerisque nisl consectetur et. Sed posuere consectetur est at lobortis. Praesent commodo cursus magna, vel scelerisque nisl consectetur et.</a:t>
            </a:r>
            <a:endParaRPr lang="en-US" dirty="0"/>
          </a:p>
        </p:txBody>
      </p:sp>
      <p:sp>
        <p:nvSpPr>
          <p:cNvPr id="19" name="Text Placeholder 10">
            <a:extLst>
              <a:ext uri="{FF2B5EF4-FFF2-40B4-BE49-F238E27FC236}">
                <a16:creationId xmlns:a16="http://schemas.microsoft.com/office/drawing/2014/main" id="{EADA8F4D-49E2-2C4C-8EFD-35EE530F2D3D}"/>
              </a:ext>
            </a:extLst>
          </p:cNvPr>
          <p:cNvSpPr>
            <a:spLocks noGrp="1"/>
          </p:cNvSpPr>
          <p:nvPr>
            <p:ph type="body" sz="quarter" idx="16" hasCustomPrompt="1"/>
          </p:nvPr>
        </p:nvSpPr>
        <p:spPr>
          <a:xfrm>
            <a:off x="6019800" y="1092200"/>
            <a:ext cx="5219700" cy="18288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a:t>Mollis pretium lorem primisetua, senectus habitasse lectusetu doler scelerisque donec, ultricies tortor suspendisse adipiscing fusce morbi volutpat pellentesque, consectetur mi risus molestie curae malesuada. Massa curae fringilla porttitor quam =elit, urna consequat felis vehicula class ultricies mollis dictumst, aenean non a in donec nulla.</a:t>
            </a:r>
            <a:endParaRPr lang="en-US" dirty="0"/>
          </a:p>
        </p:txBody>
      </p:sp>
      <p:sp>
        <p:nvSpPr>
          <p:cNvPr id="21" name="Text Placeholder 13">
            <a:extLst>
              <a:ext uri="{FF2B5EF4-FFF2-40B4-BE49-F238E27FC236}">
                <a16:creationId xmlns:a16="http://schemas.microsoft.com/office/drawing/2014/main" id="{9F0D342F-3673-B847-BC99-40D039EE6742}"/>
              </a:ext>
            </a:extLst>
          </p:cNvPr>
          <p:cNvSpPr>
            <a:spLocks noGrp="1"/>
          </p:cNvSpPr>
          <p:nvPr>
            <p:ph type="body" sz="quarter" idx="17" hasCustomPrompt="1"/>
          </p:nvPr>
        </p:nvSpPr>
        <p:spPr>
          <a:xfrm>
            <a:off x="6019800" y="3289300"/>
            <a:ext cx="5219700" cy="1766794"/>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US"/>
              <a:t>Felis blandit cursus</a:t>
            </a:r>
            <a:br>
              <a:rPr lang="en-US"/>
            </a:br>
            <a:endParaRPr lang="en-US"/>
          </a:p>
          <a:p>
            <a:pPr lvl="0"/>
            <a:r>
              <a:rPr lang="en-US"/>
              <a:t>Lorem ipsum dolor sit amet consectetur adipiscing elit, urna consequat felis vehicula class ultricies mollis dictumst, aenean non a in donec nulla.Etu phasellus ante pellentesque erat cum risus dolor consequat imperdiet aliquam, integer placerat et turpis mi eros nec lobortis taciti, vehicula nisl litora tellus ligula porttitor metus.</a:t>
            </a:r>
            <a:endParaRPr lang="en-US" dirty="0"/>
          </a:p>
        </p:txBody>
      </p:sp>
      <p:sp>
        <p:nvSpPr>
          <p:cNvPr id="10" name="Text Placeholder 2">
            <a:extLst>
              <a:ext uri="{FF2B5EF4-FFF2-40B4-BE49-F238E27FC236}">
                <a16:creationId xmlns:a16="http://schemas.microsoft.com/office/drawing/2014/main" id="{D0D9845D-F9D1-BF4F-A74F-B37D037255A8}"/>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endParaRPr lang="en-US" dirty="0"/>
          </a:p>
        </p:txBody>
      </p:sp>
      <p:sp>
        <p:nvSpPr>
          <p:cNvPr id="11" name="Text Placeholder 2">
            <a:extLst>
              <a:ext uri="{FF2B5EF4-FFF2-40B4-BE49-F238E27FC236}">
                <a16:creationId xmlns:a16="http://schemas.microsoft.com/office/drawing/2014/main" id="{BE37137C-0549-F241-8EFF-61C923DB1698}"/>
              </a:ext>
            </a:extLst>
          </p:cNvPr>
          <p:cNvSpPr>
            <a:spLocks noGrp="1"/>
          </p:cNvSpPr>
          <p:nvPr>
            <p:ph type="body" sz="quarter" idx="26" hasCustomPrompt="1"/>
          </p:nvPr>
        </p:nvSpPr>
        <p:spPr>
          <a:xfrm>
            <a:off x="1986247" y="495992"/>
            <a:ext cx="3488042" cy="139781"/>
          </a:xfrm>
        </p:spPr>
        <p:txBody>
          <a:bodyPr/>
          <a:lstStyle>
            <a:lvl1pPr rtl="0">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endParaRPr lang="en-US" dirty="0"/>
          </a:p>
        </p:txBody>
      </p:sp>
    </p:spTree>
    <p:extLst>
      <p:ext uri="{BB962C8B-B14F-4D97-AF65-F5344CB8AC3E}">
        <p14:creationId xmlns:p14="http://schemas.microsoft.com/office/powerpoint/2010/main" val="905067418"/>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Subhead &amp; Breadcrumb">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94E7F13-1CEF-2DF2-6924-066C070DFE05}"/>
              </a:ext>
            </a:extLst>
          </p:cNvPr>
          <p:cNvGraphicFramePr>
            <a:graphicFrameLocks noChangeAspect="1"/>
          </p:cNvGraphicFramePr>
          <p:nvPr userDrawn="1">
            <p:custDataLst>
              <p:tags r:id="rId1"/>
            </p:custDataLst>
            <p:extLst>
              <p:ext uri="{D42A27DB-BD31-4B8C-83A1-F6EECF244321}">
                <p14:modId xmlns:p14="http://schemas.microsoft.com/office/powerpoint/2010/main" val="4083231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think-cell data - do not delete" hidden="1">
                        <a:extLst>
                          <a:ext uri="{FF2B5EF4-FFF2-40B4-BE49-F238E27FC236}">
                            <a16:creationId xmlns:a16="http://schemas.microsoft.com/office/drawing/2014/main" id="{194E7F13-1CEF-2DF2-6924-066C070DF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399" y="462430"/>
            <a:ext cx="10062355" cy="695809"/>
          </a:xfrm>
        </p:spPr>
        <p:txBody>
          <a:bodyPr vert="horz" lIns="0" tIns="45720" rIns="0" bIns="0" rtlCol="0" anchor="b" anchorCtr="0">
            <a:noAutofit/>
          </a:bodyPr>
          <a:lstStyle>
            <a:lvl1pPr rtl="0">
              <a:defRPr lang="en-US" sz="2400" spc="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hasCustomPrompt="1"/>
          </p:nvPr>
        </p:nvSpPr>
        <p:spPr>
          <a:xfrm>
            <a:off x="914399" y="1158240"/>
            <a:ext cx="10325101" cy="784860"/>
          </a:xfrm>
        </p:spPr>
        <p:txBody>
          <a:bodyPr vert="horz" lIns="0" tIns="0" rIns="0" bIns="0" rtlCol="0">
            <a:noAutofit/>
          </a:bodyPr>
          <a:lstStyle>
            <a:lvl1pPr marL="0" indent="0" rtl="0">
              <a:buNone/>
              <a:defRPr lang="en-US" sz="1400">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Edit Master text styles</a:t>
            </a:r>
            <a:endParaRPr lang="en-US" dirty="0"/>
          </a:p>
        </p:txBody>
      </p:sp>
      <p:sp>
        <p:nvSpPr>
          <p:cNvPr id="9" name="Text Placeholder 8">
            <a:extLst>
              <a:ext uri="{FF2B5EF4-FFF2-40B4-BE49-F238E27FC236}">
                <a16:creationId xmlns:a16="http://schemas.microsoft.com/office/drawing/2014/main" id="{CF58716D-DBF8-4716-A5E8-177B06C7AAB7}"/>
              </a:ext>
            </a:extLst>
          </p:cNvPr>
          <p:cNvSpPr>
            <a:spLocks noGrp="1"/>
          </p:cNvSpPr>
          <p:nvPr>
            <p:ph type="body" sz="quarter" idx="15" hasCustomPrompt="1"/>
          </p:nvPr>
        </p:nvSpPr>
        <p:spPr>
          <a:xfrm>
            <a:off x="914399" y="198438"/>
            <a:ext cx="3776663" cy="263525"/>
          </a:xfrm>
        </p:spPr>
        <p:txBody>
          <a:bodyPr anchor="t"/>
          <a:lstStyle>
            <a:lvl1pPr rtl="0">
              <a:defRPr sz="1200" b="1" spc="100" baseline="0">
                <a:solidFill>
                  <a:schemeClr val="tx2"/>
                </a:solidFill>
              </a:defRPr>
            </a:lvl1pPr>
          </a:lstStyle>
          <a:p>
            <a:pPr lvl="0"/>
            <a:r>
              <a:rPr lang="en-US"/>
              <a:t>BREADCRUMB</a:t>
            </a:r>
            <a:endParaRPr lang="en-US" dirty="0"/>
          </a:p>
        </p:txBody>
      </p:sp>
      <p:sp>
        <p:nvSpPr>
          <p:cNvPr id="5" name="Text Placeholder 8">
            <a:extLst>
              <a:ext uri="{FF2B5EF4-FFF2-40B4-BE49-F238E27FC236}">
                <a16:creationId xmlns:a16="http://schemas.microsoft.com/office/drawing/2014/main" id="{B4FB89FE-98E6-4E5F-A2B7-01E6256D5A50}"/>
              </a:ext>
            </a:extLst>
          </p:cNvPr>
          <p:cNvSpPr>
            <a:spLocks noGrp="1"/>
          </p:cNvSpPr>
          <p:nvPr>
            <p:ph type="body" sz="quarter" idx="16" hasCustomPrompt="1"/>
          </p:nvPr>
        </p:nvSpPr>
        <p:spPr>
          <a:xfrm>
            <a:off x="613555" y="198438"/>
            <a:ext cx="300845" cy="263525"/>
          </a:xfrm>
        </p:spPr>
        <p:txBody>
          <a:bodyPr anchor="t"/>
          <a:lstStyle>
            <a:lvl1pPr rtl="0">
              <a:defRPr sz="1200" b="1" spc="100" baseline="0">
                <a:solidFill>
                  <a:schemeClr val="tx2"/>
                </a:solidFill>
              </a:defRPr>
            </a:lvl1pPr>
          </a:lstStyle>
          <a:p>
            <a:pPr lvl="0"/>
            <a:r>
              <a:rPr lang="en-US"/>
              <a:t>01</a:t>
            </a:r>
            <a:endParaRPr lang="en-US" dirty="0"/>
          </a:p>
        </p:txBody>
      </p:sp>
    </p:spTree>
    <p:extLst>
      <p:ext uri="{BB962C8B-B14F-4D97-AF65-F5344CB8AC3E}">
        <p14:creationId xmlns:p14="http://schemas.microsoft.com/office/powerpoint/2010/main" val="48213524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3_Greeting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5648767-810E-3E8C-6317-4BDB7C6AA8F9}"/>
              </a:ext>
            </a:extLst>
          </p:cNvPr>
          <p:cNvGraphicFramePr>
            <a:graphicFrameLocks noChangeAspect="1"/>
          </p:cNvGraphicFramePr>
          <p:nvPr userDrawn="1">
            <p:custDataLst>
              <p:tags r:id="rId1"/>
            </p:custDataLst>
            <p:extLst>
              <p:ext uri="{D42A27DB-BD31-4B8C-83A1-F6EECF244321}">
                <p14:modId xmlns:p14="http://schemas.microsoft.com/office/powerpoint/2010/main" val="4084675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A5648767-810E-3E8C-6317-4BDB7C6AA8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rtl="0">
              <a:defRPr/>
            </a:lvl1pPr>
          </a:lstStyle>
          <a:p>
            <a:r>
              <a:rPr lang="en-US" noProof="0"/>
              <a:t>Click to edit Master title s edit Master title style tyle</a:t>
            </a:r>
            <a:endParaRPr lang="en-US" noProof="0" dirty="0"/>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Lorem ipsum dolor sit amet, consectetur adipiscing elit. Integer nec odio. Praesent libero. Sed cursus ante dapibus diam. Sed nisi. Nulla quis sem at nibh elementum imperdiet. Duis sagittis ipsum. Praesent mauris. Fusce nec tellus sed augue semper porta. Mauris massa. Vestibulum lacinia arcu eget nulla. Class aptent taciti sociosqu ad litora torquent per conubia nostra, per inceptos himenaeos. Curabitur sodales ligula in libero. Sed dignissim.</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estibulum ante ipsum primis in faucibus orci luctus et ultrices posuere cubilia Curae; Morbi lacinia molestie dui. Praesent blandit dolor. Sed non quam. In vel mi sit amet augue congue elementum. Morbi in ipsum sit amet pede facilisis laoreet. Donec lacus nunc, viverra nec, blandit vel, egestas et, augu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Quisque volutpat condimentum veli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Class aptent taciti sociosqu ad litora torquent per conubia nostra, per inceptos himenaeo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Nam nec ante. Sed lacinia, urna non tincidunt mattis, tortor neque adipiscing diam, a cursus ipsum ante quis turpi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Nulla facilisi. Ut fringilla. Suspendisse potenti</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Vestibulum lacinia arcu eget nulla</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Lorem ipsum dolor sit amet, consectetur adipiscing elit. Integer nec odio. Praesent libero. Sed cursus ante dapibus diam. Sed nisi. Nulla quis sem at nibh elementum imperdiet. Duis sagittis ipsum. Praesent mauris. Fusce nec tellus sed augue semper porta. Mauris massa. Vestibulum lacinia arcu eget nulla. Class aptent taciti sociosqu ad litora torquent per conubia nostra, per inceptos himenaeos. Curabitur sodales ligula in libero. Sed dignissim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estibulum ante ipsum primis in faucibus orci luctus et ultrices posuere cubilia Curae; Morbi lacinia molestie dui. Praesent blandit dolor. Sed non quam. In vel mi sit amet augue congue elementum. Morbi in ipsum sit amet pede facilisis laoreet. Donec lacus nunc, viverra nec, blandit vel, egestas et, augu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rtl="0">
              <a:defRPr sz="1000"/>
            </a:lvl1pPr>
          </a:lstStyle>
          <a:p>
            <a:pPr lvl="0"/>
            <a:r>
              <a:rPr lang="en-US"/>
              <a:t>First, Last Name </a:t>
            </a:r>
            <a:br>
              <a:rPr lang="en-US"/>
            </a:br>
            <a:r>
              <a:rPr lang="en-US"/>
              <a:t>Role or title Deloitte Digital name@deloitte.com</a:t>
            </a:r>
            <a:endParaRPr lang="en-US" dirty="0"/>
          </a:p>
        </p:txBody>
      </p:sp>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rtl="0">
              <a:defRPr sz="1000"/>
            </a:lvl1pPr>
          </a:lstStyle>
          <a:p>
            <a:pPr lvl="0"/>
            <a:r>
              <a:rPr lang="en-US"/>
              <a:t>First, Last Name </a:t>
            </a:r>
            <a:br>
              <a:rPr lang="en-US"/>
            </a:br>
            <a:r>
              <a:rPr lang="en-US"/>
              <a:t>Role or title Deloitte Digital name@deloitte.com</a:t>
            </a:r>
            <a:endParaRPr lang="en-US" dirty="0"/>
          </a:p>
        </p:txBody>
      </p:sp>
    </p:spTree>
    <p:extLst>
      <p:ext uri="{BB962C8B-B14F-4D97-AF65-F5344CB8AC3E}">
        <p14:creationId xmlns:p14="http://schemas.microsoft.com/office/powerpoint/2010/main" val="703732583"/>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_Large Title -  Messaging - Color Backgroun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0A7A0C-E936-039B-C79C-0107BC4543F9}"/>
              </a:ext>
            </a:extLst>
          </p:cNvPr>
          <p:cNvGraphicFramePr>
            <a:graphicFrameLocks noChangeAspect="1"/>
          </p:cNvGraphicFramePr>
          <p:nvPr userDrawn="1">
            <p:custDataLst>
              <p:tags r:id="rId1"/>
            </p:custDataLst>
            <p:extLst>
              <p:ext uri="{D42A27DB-BD31-4B8C-83A1-F6EECF244321}">
                <p14:modId xmlns:p14="http://schemas.microsoft.com/office/powerpoint/2010/main" val="664146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0A0A7A0C-E936-039B-C79C-0107BC4543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n organic human figure drawn in loose white brush strokes on a background of light blue">
            <a:extLst>
              <a:ext uri="{FF2B5EF4-FFF2-40B4-BE49-F238E27FC236}">
                <a16:creationId xmlns:a16="http://schemas.microsoft.com/office/drawing/2014/main" id="{BE72E9CE-09AF-F84C-AD04-9D83DD83BD2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2071731"/>
            <a:ext cx="5383369" cy="4786269"/>
          </a:xfrm>
          <a:prstGeom prst="rect">
            <a:avLst/>
          </a:prstGeom>
        </p:spPr>
      </p:pic>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a:t>Mollis pretium lorem primisetua, senectus habitasse lectusetu doler scelerisque donec, ultricies tortor suspendisse adipiscing fusce morbi volutpat pellentesque, consectetur mi risus molestie curae malesuada. Massa curae fringilla porttitor quam =elit, urna consequat felis vehicula class ultricies mollis dictumst, aenean non a in donec nulla.</a:t>
            </a:r>
            <a:endParaRPr lang="en-US" dirty="0"/>
          </a:p>
        </p:txBody>
      </p:sp>
      <p:sp>
        <p:nvSpPr>
          <p:cNvPr id="8" name="Title Placeholder 1">
            <a:extLst>
              <a:ext uri="{FF2B5EF4-FFF2-40B4-BE49-F238E27FC236}">
                <a16:creationId xmlns:a16="http://schemas.microsoft.com/office/drawing/2014/main" id="{90194FF2-8221-9649-9FD2-0C3EDEDE0177}"/>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rtl="0">
              <a:defRPr/>
            </a:lvl1pPr>
          </a:lstStyle>
          <a:p>
            <a:r>
              <a:rPr lang="en-US" noProof="0"/>
              <a:t>Your headline goes here when you’re ready</a:t>
            </a:r>
            <a:endParaRPr lang="en-US" noProof="0" dirty="0"/>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US"/>
              <a:t>Conubia aptent primis</a:t>
            </a:r>
          </a:p>
          <a:p>
            <a:pPr lvl="0"/>
            <a:r>
              <a:rPr lang="en-US"/>
              <a:t>Libero pellentesque nunc fames penatibus accumsan hendrerit diam platea, himenaeos scelerisque eros congue vestibulum ipsum adipiscin adipiscing ligula odio adipiscing ligula odio g ligula odio, neque metus sociisetur facilisis sagittis tincidunt.</a:t>
            </a:r>
          </a:p>
          <a:p>
            <a:pPr lvl="0"/>
            <a:r>
              <a:rPr lang="en-US"/>
              <a:t>Quisque laoreet</a:t>
            </a:r>
          </a:p>
          <a:p>
            <a:pPr lvl="0"/>
            <a:r>
              <a:rPr lang="en-US"/>
              <a:t>Viverra dolor eros semper sociosqu lobortis sodales metus velit, nulla leo turpis enim quis platea cursus per sid risus auctor inceptos nisl.</a:t>
            </a:r>
          </a:p>
          <a:p>
            <a:pPr lvl="0"/>
            <a:r>
              <a:rPr lang="en-US"/>
              <a:t>Conubia aptent primis</a:t>
            </a:r>
          </a:p>
          <a:p>
            <a:pPr lvl="0"/>
            <a:r>
              <a:rPr lang="en-US"/>
              <a:t>Libero pellentesque nunc fames penatibus accumsan h adipiscing ligula odio adipiscing ligula odio endrerit diam platea, himenaeos scelerisque eros congue vestibulum ipsum adipiscing ligula odio, neque metus sociisetur facilisis sagittis tincidunt.</a:t>
            </a:r>
          </a:p>
          <a:p>
            <a:pPr lvl="0"/>
            <a:endParaRPr lang="en-US" dirty="0"/>
          </a:p>
        </p:txBody>
      </p:sp>
    </p:spTree>
    <p:extLst>
      <p:ext uri="{BB962C8B-B14F-4D97-AF65-F5344CB8AC3E}">
        <p14:creationId xmlns:p14="http://schemas.microsoft.com/office/powerpoint/2010/main" val="23533023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mp; subtitle_V">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BF6A0240-FC18-487D-98D5-76BC779639D6}"/>
              </a:ext>
            </a:extLst>
          </p:cNvPr>
          <p:cNvSpPr>
            <a:spLocks noGrp="1"/>
          </p:cNvSpPr>
          <p:nvPr>
            <p:ph type="body" sz="quarter" idx="13" hasCustomPrompt="1"/>
          </p:nvPr>
        </p:nvSpPr>
        <p:spPr>
          <a:xfrm>
            <a:off x="477044" y="858777"/>
            <a:ext cx="11252200" cy="205954"/>
          </a:xfrm>
          <a:prstGeom prst="rect">
            <a:avLst/>
          </a:prstGeom>
        </p:spPr>
        <p:txBody>
          <a:bodyPr vert="horz" lIns="0" tIns="0" rIns="0" bIns="0" anchor="t" anchorCtr="0">
            <a:spAutoFit/>
          </a:bodyPr>
          <a:lstStyle>
            <a:lvl1pPr marL="0" indent="0">
              <a:spcAft>
                <a:spcPts val="600"/>
              </a:spcAft>
              <a:buNone/>
              <a:defRPr sz="1200" b="0">
                <a:solidFill>
                  <a:srgbClr val="53565A"/>
                </a:solidFill>
              </a:defRPr>
            </a:lvl1pPr>
          </a:lstStyle>
          <a:p>
            <a:pPr lvl="0"/>
            <a:r>
              <a:rPr lang="en-GB" noProof="0"/>
              <a:t>Click to add subtitle</a:t>
            </a:r>
          </a:p>
        </p:txBody>
      </p:sp>
      <p:sp>
        <p:nvSpPr>
          <p:cNvPr id="7" name="Title Placeholder 1">
            <a:extLst>
              <a:ext uri="{FF2B5EF4-FFF2-40B4-BE49-F238E27FC236}">
                <a16:creationId xmlns:a16="http://schemas.microsoft.com/office/drawing/2014/main" id="{A46DAB7F-57D4-4842-9496-B5D76065B7A1}"/>
              </a:ext>
            </a:extLst>
          </p:cNvPr>
          <p:cNvSpPr>
            <a:spLocks noGrp="1"/>
          </p:cNvSpPr>
          <p:nvPr>
            <p:ph type="title"/>
          </p:nvPr>
        </p:nvSpPr>
        <p:spPr>
          <a:xfrm>
            <a:off x="463549" y="391326"/>
            <a:ext cx="11252200" cy="430887"/>
          </a:xfrm>
          <a:prstGeom prst="rect">
            <a:avLst/>
          </a:prstGeom>
        </p:spPr>
        <p:txBody>
          <a:bodyPr vert="horz" lIns="0" tIns="0" rIns="0" bIns="0" rtlCol="0" anchor="t" anchorCtr="0">
            <a:spAutoFit/>
          </a:bodyPr>
          <a:lstStyle>
            <a:lvl1pPr>
              <a:defRPr sz="2800">
                <a:solidFill>
                  <a:schemeClr val="tx1"/>
                </a:solidFill>
              </a:defRPr>
            </a:lvl1pPr>
          </a:lstStyle>
          <a:p>
            <a:r>
              <a:rPr lang="en-GB" noProof="0"/>
              <a:t>Click to edit Master title style</a:t>
            </a:r>
          </a:p>
        </p:txBody>
      </p:sp>
      <p:sp>
        <p:nvSpPr>
          <p:cNvPr id="3" name="Text Placeholder 2">
            <a:extLst>
              <a:ext uri="{FF2B5EF4-FFF2-40B4-BE49-F238E27FC236}">
                <a16:creationId xmlns:a16="http://schemas.microsoft.com/office/drawing/2014/main" id="{ABF5C095-7887-4A15-840B-C5DF1627F2AC}"/>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883471831"/>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Title and Subhead: No Content - Color Backgroun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37C3126-3C5E-9956-2DCB-3F0B3CD8AD83}"/>
              </a:ext>
            </a:extLst>
          </p:cNvPr>
          <p:cNvGraphicFramePr>
            <a:graphicFrameLocks noChangeAspect="1"/>
          </p:cNvGraphicFramePr>
          <p:nvPr userDrawn="1">
            <p:custDataLst>
              <p:tags r:id="rId1"/>
            </p:custDataLst>
            <p:extLst>
              <p:ext uri="{D42A27DB-BD31-4B8C-83A1-F6EECF244321}">
                <p14:modId xmlns:p14="http://schemas.microsoft.com/office/powerpoint/2010/main" val="4049928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E37C3126-3C5E-9956-2DCB-3F0B3CD8AD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rtl="0">
              <a:defRPr/>
            </a:lvl1pPr>
          </a:lstStyle>
          <a:p>
            <a:r>
              <a:rPr lang="en-US" noProof="0"/>
              <a:t>Your headline goes here when you’re ready</a:t>
            </a:r>
            <a:endParaRPr lang="en-US" noProof="0" dirty="0"/>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leo risus, porta ac consectetur ac, vestibulum at eros. Donec sed odio dui. Praesent commodo cursus magna, vel scelerisque nisl consectetur et. Sed posuere consectetur est at lobortis.</a:t>
            </a:r>
            <a:endParaRPr lang="en-US" dirty="0"/>
          </a:p>
        </p:txBody>
      </p:sp>
    </p:spTree>
    <p:extLst>
      <p:ext uri="{BB962C8B-B14F-4D97-AF65-F5344CB8AC3E}">
        <p14:creationId xmlns:p14="http://schemas.microsoft.com/office/powerpoint/2010/main" val="3573121388"/>
      </p:ext>
    </p:extLst>
  </p:cSld>
  <p:clrMapOvr>
    <a:masterClrMapping/>
  </p:clrMapOvr>
  <p:transition>
    <p:fade/>
  </p:transition>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2_Title and Subhead: No Content - Breadcrumb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E6D83C-63C3-4B2C-AC58-5A074DBDD84E}"/>
              </a:ext>
            </a:extLst>
          </p:cNvPr>
          <p:cNvGraphicFramePr>
            <a:graphicFrameLocks noChangeAspect="1"/>
          </p:cNvGraphicFramePr>
          <p:nvPr userDrawn="1">
            <p:custDataLst>
              <p:tags r:id="rId1"/>
            </p:custDataLst>
            <p:extLst>
              <p:ext uri="{D42A27DB-BD31-4B8C-83A1-F6EECF244321}">
                <p14:modId xmlns:p14="http://schemas.microsoft.com/office/powerpoint/2010/main" val="52945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1E6D83C-63C3-4B2C-AC58-5A074DBDD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Placeholder 1">
            <a:extLst>
              <a:ext uri="{FF2B5EF4-FFF2-40B4-BE49-F238E27FC236}">
                <a16:creationId xmlns:a16="http://schemas.microsoft.com/office/drawing/2014/main" id="{C13FF76A-4C04-7C40-B276-46DB909165DB}"/>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rtl="0">
              <a:defRPr sz="3200"/>
            </a:lvl1pPr>
          </a:lstStyle>
          <a:p>
            <a:r>
              <a:rPr lang="en-US" noProof="0"/>
              <a:t>Your headline goes here when you’re ready</a:t>
            </a:r>
            <a:endParaRPr lang="en-US" noProof="0" dirty="0"/>
          </a:p>
        </p:txBody>
      </p:sp>
      <p:sp>
        <p:nvSpPr>
          <p:cNvPr id="13" name="Text Placeholder 7">
            <a:extLst>
              <a:ext uri="{FF2B5EF4-FFF2-40B4-BE49-F238E27FC236}">
                <a16:creationId xmlns:a16="http://schemas.microsoft.com/office/drawing/2014/main" id="{E7D646A0-5F3F-BC41-8E22-2823D1AC8CE3}"/>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leo risus, porta ac consectetur ac, vestibulum at eros. Donec sed odio dui. Praesent commodo cursus magna, vel scelerisque nisl consectetur et. Sed posuere consectetur est at lobortis.</a:t>
            </a:r>
            <a:endParaRPr lang="en-US" dirty="0"/>
          </a:p>
        </p:txBody>
      </p:sp>
    </p:spTree>
    <p:extLst>
      <p:ext uri="{BB962C8B-B14F-4D97-AF65-F5344CB8AC3E}">
        <p14:creationId xmlns:p14="http://schemas.microsoft.com/office/powerpoint/2010/main" val="2017064361"/>
      </p:ext>
    </p:extLst>
  </p:cSld>
  <p:clrMapOvr>
    <a:masterClrMapping/>
  </p:clrMapOvr>
  <p:transition/>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userDrawn="1">
  <p:cSld name="1_Appendix C_Global C Team">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CE9572-8B52-9F4F-308D-D8641A6661B4}"/>
              </a:ext>
            </a:extLst>
          </p:cNvPr>
          <p:cNvGraphicFramePr>
            <a:graphicFrameLocks noChangeAspect="1"/>
          </p:cNvGraphicFramePr>
          <p:nvPr userDrawn="1">
            <p:custDataLst>
              <p:tags r:id="rId1"/>
            </p:custDataLst>
            <p:extLst>
              <p:ext uri="{D42A27DB-BD31-4B8C-83A1-F6EECF244321}">
                <p14:modId xmlns:p14="http://schemas.microsoft.com/office/powerpoint/2010/main" val="134450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64CE9572-8B52-9F4F-308D-D8641A6661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7EB8441-7010-4D27-985A-69F1BAE7A3F9}"/>
              </a:ext>
            </a:extLst>
          </p:cNvPr>
          <p:cNvSpPr/>
          <p:nvPr userDrawn="1"/>
        </p:nvSpPr>
        <p:spPr bwMode="gray">
          <a:xfrm>
            <a:off x="1524" y="0"/>
            <a:ext cx="10933176" cy="783771"/>
          </a:xfrm>
          <a:prstGeom prst="rect">
            <a:avLst/>
          </a:prstGeom>
          <a:solidFill>
            <a:schemeClr val="bg1"/>
          </a:solidFill>
          <a:ln w="19050" algn="ctr">
            <a:noFill/>
            <a:miter lim="800000"/>
            <a:headEnd/>
            <a:tailEnd/>
          </a:ln>
          <a:effectLst>
            <a:outerShdw blurRad="50800" dist="38100" dir="5400000" algn="t" rotWithShape="0">
              <a:srgbClr val="63666A">
                <a:alpha val="40000"/>
              </a:srgbClr>
            </a:outerShdw>
          </a:effec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rtl="0">
              <a:lnSpc>
                <a:spcPct val="106000"/>
              </a:lnSpc>
              <a:buFont typeface="Wingdings 2" pitchFamily="18" charset="2"/>
              <a:buNone/>
            </a:pPr>
            <a:endParaRPr lang="en-US" sz="1600" b="1" dirty="0">
              <a:solidFill>
                <a:schemeClr val="bg1"/>
              </a:solidFill>
            </a:endParaRPr>
          </a:p>
        </p:txBody>
      </p:sp>
      <p:grpSp>
        <p:nvGrpSpPr>
          <p:cNvPr id="13" name="Group 12">
            <a:extLst>
              <a:ext uri="{FF2B5EF4-FFF2-40B4-BE49-F238E27FC236}">
                <a16:creationId xmlns:a16="http://schemas.microsoft.com/office/drawing/2014/main" id="{B619FE68-38C6-4FB8-9741-43DABADAE908}"/>
              </a:ext>
            </a:extLst>
          </p:cNvPr>
          <p:cNvGrpSpPr/>
          <p:nvPr userDrawn="1"/>
        </p:nvGrpSpPr>
        <p:grpSpPr>
          <a:xfrm>
            <a:off x="469902" y="353723"/>
            <a:ext cx="10464798" cy="418688"/>
            <a:chOff x="469902" y="353723"/>
            <a:chExt cx="8404858" cy="418688"/>
          </a:xfrm>
        </p:grpSpPr>
        <p:sp>
          <p:nvSpPr>
            <p:cNvPr id="14" name="Rectangle: Top Corners Rounded 13">
              <a:hlinkClick r:id="" action="ppaction://noaction"/>
              <a:extLst>
                <a:ext uri="{FF2B5EF4-FFF2-40B4-BE49-F238E27FC236}">
                  <a16:creationId xmlns:a16="http://schemas.microsoft.com/office/drawing/2014/main" id="{6D18AF94-2CF1-479A-A275-4DEF9CCA1BEF}"/>
                </a:ext>
              </a:extLst>
            </p:cNvPr>
            <p:cNvSpPr/>
            <p:nvPr userDrawn="1"/>
          </p:nvSpPr>
          <p:spPr bwMode="gray">
            <a:xfrm>
              <a:off x="4699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Introduction</a:t>
              </a:r>
              <a:endParaRPr lang="en-US" sz="800" b="0" dirty="0"/>
            </a:p>
          </p:txBody>
        </p:sp>
        <p:sp>
          <p:nvSpPr>
            <p:cNvPr id="15" name="Rectangle: Top Corners Rounded 14">
              <a:hlinkClick r:id="" action="ppaction://noaction"/>
              <a:extLst>
                <a:ext uri="{FF2B5EF4-FFF2-40B4-BE49-F238E27FC236}">
                  <a16:creationId xmlns:a16="http://schemas.microsoft.com/office/drawing/2014/main" id="{18A80764-8A9D-4378-8A11-C00AB78601A7}"/>
                </a:ext>
              </a:extLst>
            </p:cNvPr>
            <p:cNvSpPr/>
            <p:nvPr userDrawn="1"/>
          </p:nvSpPr>
          <p:spPr bwMode="gray">
            <a:xfrm>
              <a:off x="1403352" y="353723"/>
              <a:ext cx="937258" cy="418688"/>
            </a:xfrm>
            <a:prstGeom prst="round2SameRect">
              <a:avLst>
                <a:gd name="adj1" fmla="val 15676"/>
                <a:gd name="adj2" fmla="val 0"/>
              </a:avLst>
            </a:prstGeom>
            <a:solidFill>
              <a:schemeClr val="tx1"/>
            </a:solidFill>
            <a:ln w="19050" algn="ctr">
              <a:solidFill>
                <a:schemeClr val="bg1"/>
              </a:solidFill>
              <a:miter lim="800000"/>
              <a:headEnd/>
              <a:tailEnd/>
            </a:ln>
          </p:spPr>
          <p:txBody>
            <a:bodyPr wrap="none" lIns="27432" tIns="27432" rIns="27432" bIns="27432" rtlCol="0" anchor="ctr"/>
            <a:lstStyle/>
            <a:p>
              <a:pPr algn="ctr" rtl="0">
                <a:buFont typeface="Wingdings 2" pitchFamily="18" charset="2"/>
                <a:buNone/>
              </a:pPr>
              <a:r>
                <a:rPr lang="en-US" sz="800" b="1">
                  <a:solidFill>
                    <a:schemeClr val="bg1"/>
                  </a:solidFill>
                </a:rPr>
                <a:t>Global</a:t>
              </a:r>
              <a:br>
                <a:rPr lang="en-US" sz="800" b="1">
                  <a:solidFill>
                    <a:schemeClr val="bg1"/>
                  </a:solidFill>
                </a:rPr>
              </a:br>
              <a:r>
                <a:rPr lang="en-US" sz="800" b="1">
                  <a:solidFill>
                    <a:schemeClr val="bg1"/>
                  </a:solidFill>
                </a:rPr>
                <a:t>Coordination Team</a:t>
              </a:r>
              <a:endParaRPr lang="en-US" sz="800" b="1" dirty="0">
                <a:solidFill>
                  <a:schemeClr val="bg1"/>
                </a:solidFill>
              </a:endParaRPr>
            </a:p>
          </p:txBody>
        </p:sp>
        <p:sp>
          <p:nvSpPr>
            <p:cNvPr id="16" name="Rectangle: Top Corners Rounded 15">
              <a:hlinkClick r:id="" action="ppaction://noaction"/>
              <a:extLst>
                <a:ext uri="{FF2B5EF4-FFF2-40B4-BE49-F238E27FC236}">
                  <a16:creationId xmlns:a16="http://schemas.microsoft.com/office/drawing/2014/main" id="{21489F88-63F4-4D5E-A31A-B05C34DDC82E}"/>
                </a:ext>
              </a:extLst>
            </p:cNvPr>
            <p:cNvSpPr/>
            <p:nvPr userDrawn="1"/>
          </p:nvSpPr>
          <p:spPr bwMode="gray">
            <a:xfrm>
              <a:off x="23368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dirty="0"/>
                <a:t>East Asia and the </a:t>
              </a:r>
              <a:r>
                <a:rPr lang="en-US" sz="800" b="0" dirty="0" err="1"/>
                <a:t>Painnovationfic</a:t>
              </a:r>
              <a:endParaRPr lang="en-US" sz="800" b="0" dirty="0"/>
            </a:p>
          </p:txBody>
        </p:sp>
        <p:sp>
          <p:nvSpPr>
            <p:cNvPr id="17" name="Rectangle: Top Corners Rounded 16">
              <a:hlinkClick r:id="" action="ppaction://noaction"/>
              <a:extLst>
                <a:ext uri="{FF2B5EF4-FFF2-40B4-BE49-F238E27FC236}">
                  <a16:creationId xmlns:a16="http://schemas.microsoft.com/office/drawing/2014/main" id="{E9D58494-7912-4D6F-91D7-DF9548A1DE07}"/>
                </a:ext>
              </a:extLst>
            </p:cNvPr>
            <p:cNvSpPr/>
            <p:nvPr userDrawn="1"/>
          </p:nvSpPr>
          <p:spPr bwMode="gray">
            <a:xfrm>
              <a:off x="32702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Eastern and Southern Africa</a:t>
              </a:r>
              <a:endParaRPr lang="en-US" sz="800" b="0" dirty="0"/>
            </a:p>
          </p:txBody>
        </p:sp>
        <p:sp>
          <p:nvSpPr>
            <p:cNvPr id="18" name="Rectangle: Top Corners Rounded 17">
              <a:hlinkClick r:id="" action="ppaction://noaction"/>
              <a:extLst>
                <a:ext uri="{FF2B5EF4-FFF2-40B4-BE49-F238E27FC236}">
                  <a16:creationId xmlns:a16="http://schemas.microsoft.com/office/drawing/2014/main" id="{7786A7A4-9360-4337-BB3C-306FA6C33332}"/>
                </a:ext>
              </a:extLst>
            </p:cNvPr>
            <p:cNvSpPr/>
            <p:nvPr userDrawn="1"/>
          </p:nvSpPr>
          <p:spPr bwMode="gray">
            <a:xfrm>
              <a:off x="42037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Europe and Central Asia</a:t>
              </a:r>
              <a:endParaRPr lang="en-US" sz="800" b="0" dirty="0"/>
            </a:p>
          </p:txBody>
        </p:sp>
        <p:sp>
          <p:nvSpPr>
            <p:cNvPr id="19" name="Rectangle: Top Corners Rounded 18">
              <a:hlinkClick r:id="" action="ppaction://noaction"/>
              <a:extLst>
                <a:ext uri="{FF2B5EF4-FFF2-40B4-BE49-F238E27FC236}">
                  <a16:creationId xmlns:a16="http://schemas.microsoft.com/office/drawing/2014/main" id="{F0E2753C-02CB-4E2B-9171-BFBE2340BF98}"/>
                </a:ext>
              </a:extLst>
            </p:cNvPr>
            <p:cNvSpPr/>
            <p:nvPr userDrawn="1"/>
          </p:nvSpPr>
          <p:spPr bwMode="gray">
            <a:xfrm>
              <a:off x="51371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Latin America and Caribbean</a:t>
              </a:r>
              <a:endParaRPr lang="en-US" sz="800" b="0" dirty="0"/>
            </a:p>
          </p:txBody>
        </p:sp>
        <p:sp>
          <p:nvSpPr>
            <p:cNvPr id="20" name="Rectangle: Top Corners Rounded 19">
              <a:hlinkClick r:id="" action="ppaction://noaction"/>
              <a:extLst>
                <a:ext uri="{FF2B5EF4-FFF2-40B4-BE49-F238E27FC236}">
                  <a16:creationId xmlns:a16="http://schemas.microsoft.com/office/drawing/2014/main" id="{10103538-61C5-41A4-A31B-020DF836C5CF}"/>
                </a:ext>
              </a:extLst>
            </p:cNvPr>
            <p:cNvSpPr/>
            <p:nvPr userDrawn="1"/>
          </p:nvSpPr>
          <p:spPr bwMode="gray">
            <a:xfrm>
              <a:off x="60706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Middle East and North Africa</a:t>
              </a:r>
              <a:endParaRPr lang="en-US" sz="800" b="0" dirty="0"/>
            </a:p>
          </p:txBody>
        </p:sp>
        <p:sp>
          <p:nvSpPr>
            <p:cNvPr id="21" name="Rectangle: Top Corners Rounded 20">
              <a:hlinkClick r:id="" action="ppaction://noaction"/>
              <a:extLst>
                <a:ext uri="{FF2B5EF4-FFF2-40B4-BE49-F238E27FC236}">
                  <a16:creationId xmlns:a16="http://schemas.microsoft.com/office/drawing/2014/main" id="{C7E86401-F9D5-4827-9E9F-169A437B2928}"/>
                </a:ext>
              </a:extLst>
            </p:cNvPr>
            <p:cNvSpPr/>
            <p:nvPr userDrawn="1"/>
          </p:nvSpPr>
          <p:spPr bwMode="gray">
            <a:xfrm>
              <a:off x="70040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South Asia</a:t>
              </a:r>
              <a:endParaRPr lang="en-US" sz="800" b="0" dirty="0"/>
            </a:p>
          </p:txBody>
        </p:sp>
        <p:sp>
          <p:nvSpPr>
            <p:cNvPr id="22" name="Rectangle: Top Corners Rounded 21">
              <a:hlinkClick r:id="" action="ppaction://noaction"/>
              <a:extLst>
                <a:ext uri="{FF2B5EF4-FFF2-40B4-BE49-F238E27FC236}">
                  <a16:creationId xmlns:a16="http://schemas.microsoft.com/office/drawing/2014/main" id="{A78A7EEA-A3AD-42FA-B617-760559667FC6}"/>
                </a:ext>
              </a:extLst>
            </p:cNvPr>
            <p:cNvSpPr/>
            <p:nvPr userDrawn="1"/>
          </p:nvSpPr>
          <p:spPr bwMode="gray">
            <a:xfrm>
              <a:off x="79375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West and</a:t>
              </a:r>
            </a:p>
            <a:p>
              <a:pPr lvl="0" algn="ctr" rtl="0">
                <a:buFont typeface="Wingdings 2" pitchFamily="18" charset="2"/>
                <a:buNone/>
              </a:pPr>
              <a:r>
                <a:rPr lang="en-US" sz="800" b="0"/>
                <a:t>Central Africa</a:t>
              </a:r>
              <a:endParaRPr lang="en-US" sz="800" b="0" dirty="0"/>
            </a:p>
          </p:txBody>
        </p:sp>
      </p:grpSp>
    </p:spTree>
    <p:extLst>
      <p:ext uri="{BB962C8B-B14F-4D97-AF65-F5344CB8AC3E}">
        <p14:creationId xmlns:p14="http://schemas.microsoft.com/office/powerpoint/2010/main" val="344232999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Appendix C_Global C Team">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CE9572-8B52-9F4F-308D-D8641A6661B4}"/>
              </a:ext>
            </a:extLst>
          </p:cNvPr>
          <p:cNvGraphicFramePr>
            <a:graphicFrameLocks noChangeAspect="1"/>
          </p:cNvGraphicFramePr>
          <p:nvPr userDrawn="1">
            <p:custDataLst>
              <p:tags r:id="rId1"/>
            </p:custDataLst>
            <p:extLst>
              <p:ext uri="{D42A27DB-BD31-4B8C-83A1-F6EECF244321}">
                <p14:modId xmlns:p14="http://schemas.microsoft.com/office/powerpoint/2010/main" val="134450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64CE9572-8B52-9F4F-308D-D8641A6661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7EB8441-7010-4D27-985A-69F1BAE7A3F9}"/>
              </a:ext>
            </a:extLst>
          </p:cNvPr>
          <p:cNvSpPr/>
          <p:nvPr userDrawn="1"/>
        </p:nvSpPr>
        <p:spPr bwMode="gray">
          <a:xfrm>
            <a:off x="1524" y="0"/>
            <a:ext cx="10933176" cy="783771"/>
          </a:xfrm>
          <a:prstGeom prst="rect">
            <a:avLst/>
          </a:prstGeom>
          <a:solidFill>
            <a:schemeClr val="bg1"/>
          </a:solidFill>
          <a:ln w="19050" algn="ctr">
            <a:noFill/>
            <a:miter lim="800000"/>
            <a:headEnd/>
            <a:tailEnd/>
          </a:ln>
          <a:effectLst>
            <a:outerShdw blurRad="50800" dist="38100" dir="5400000" algn="t" rotWithShape="0">
              <a:srgbClr val="63666A">
                <a:alpha val="40000"/>
              </a:srgbClr>
            </a:outerShdw>
          </a:effec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rtl="0">
              <a:lnSpc>
                <a:spcPct val="106000"/>
              </a:lnSpc>
              <a:buFont typeface="Wingdings 2" pitchFamily="18" charset="2"/>
              <a:buNone/>
            </a:pPr>
            <a:endParaRPr lang="en-US" sz="1600" b="1" dirty="0">
              <a:solidFill>
                <a:schemeClr val="bg1"/>
              </a:solidFill>
            </a:endParaRPr>
          </a:p>
        </p:txBody>
      </p:sp>
      <p:grpSp>
        <p:nvGrpSpPr>
          <p:cNvPr id="13" name="Group 12">
            <a:extLst>
              <a:ext uri="{FF2B5EF4-FFF2-40B4-BE49-F238E27FC236}">
                <a16:creationId xmlns:a16="http://schemas.microsoft.com/office/drawing/2014/main" id="{B619FE68-38C6-4FB8-9741-43DABADAE908}"/>
              </a:ext>
            </a:extLst>
          </p:cNvPr>
          <p:cNvGrpSpPr/>
          <p:nvPr userDrawn="1"/>
        </p:nvGrpSpPr>
        <p:grpSpPr>
          <a:xfrm>
            <a:off x="469902" y="353723"/>
            <a:ext cx="10464798" cy="418688"/>
            <a:chOff x="469902" y="353723"/>
            <a:chExt cx="8404858" cy="418688"/>
          </a:xfrm>
        </p:grpSpPr>
        <p:sp>
          <p:nvSpPr>
            <p:cNvPr id="14" name="Rectangle: Top Corners Rounded 13">
              <a:hlinkClick r:id="" action="ppaction://noaction"/>
              <a:extLst>
                <a:ext uri="{FF2B5EF4-FFF2-40B4-BE49-F238E27FC236}">
                  <a16:creationId xmlns:a16="http://schemas.microsoft.com/office/drawing/2014/main" id="{6D18AF94-2CF1-479A-A275-4DEF9CCA1BEF}"/>
                </a:ext>
              </a:extLst>
            </p:cNvPr>
            <p:cNvSpPr/>
            <p:nvPr userDrawn="1"/>
          </p:nvSpPr>
          <p:spPr bwMode="gray">
            <a:xfrm>
              <a:off x="4699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Introduction</a:t>
              </a:r>
              <a:endParaRPr lang="en-US" sz="800" b="0" dirty="0"/>
            </a:p>
          </p:txBody>
        </p:sp>
        <p:sp>
          <p:nvSpPr>
            <p:cNvPr id="15" name="Rectangle: Top Corners Rounded 14">
              <a:hlinkClick r:id="" action="ppaction://noaction"/>
              <a:extLst>
                <a:ext uri="{FF2B5EF4-FFF2-40B4-BE49-F238E27FC236}">
                  <a16:creationId xmlns:a16="http://schemas.microsoft.com/office/drawing/2014/main" id="{18A80764-8A9D-4378-8A11-C00AB78601A7}"/>
                </a:ext>
              </a:extLst>
            </p:cNvPr>
            <p:cNvSpPr/>
            <p:nvPr userDrawn="1"/>
          </p:nvSpPr>
          <p:spPr bwMode="gray">
            <a:xfrm>
              <a:off x="1403352" y="353723"/>
              <a:ext cx="937258" cy="418688"/>
            </a:xfrm>
            <a:prstGeom prst="round2SameRect">
              <a:avLst>
                <a:gd name="adj1" fmla="val 15676"/>
                <a:gd name="adj2" fmla="val 0"/>
              </a:avLst>
            </a:prstGeom>
            <a:solidFill>
              <a:schemeClr val="tx1"/>
            </a:solidFill>
            <a:ln w="19050" algn="ctr">
              <a:solidFill>
                <a:schemeClr val="bg1"/>
              </a:solidFill>
              <a:miter lim="800000"/>
              <a:headEnd/>
              <a:tailEnd/>
            </a:ln>
          </p:spPr>
          <p:txBody>
            <a:bodyPr wrap="none" lIns="27432" tIns="27432" rIns="27432" bIns="27432" rtlCol="0" anchor="ctr"/>
            <a:lstStyle/>
            <a:p>
              <a:pPr algn="ctr" rtl="0">
                <a:buFont typeface="Wingdings 2" pitchFamily="18" charset="2"/>
                <a:buNone/>
              </a:pPr>
              <a:r>
                <a:rPr lang="en-US" sz="800" b="1">
                  <a:solidFill>
                    <a:schemeClr val="bg1"/>
                  </a:solidFill>
                </a:rPr>
                <a:t>Global</a:t>
              </a:r>
              <a:br>
                <a:rPr lang="en-US" sz="800" b="1">
                  <a:solidFill>
                    <a:schemeClr val="bg1"/>
                  </a:solidFill>
                </a:rPr>
              </a:br>
              <a:r>
                <a:rPr lang="en-US" sz="800" b="1">
                  <a:solidFill>
                    <a:schemeClr val="bg1"/>
                  </a:solidFill>
                </a:rPr>
                <a:t>Coordination Team</a:t>
              </a:r>
              <a:endParaRPr lang="en-US" sz="800" b="1" dirty="0">
                <a:solidFill>
                  <a:schemeClr val="bg1"/>
                </a:solidFill>
              </a:endParaRPr>
            </a:p>
          </p:txBody>
        </p:sp>
        <p:sp>
          <p:nvSpPr>
            <p:cNvPr id="16" name="Rectangle: Top Corners Rounded 15">
              <a:hlinkClick r:id="" action="ppaction://noaction"/>
              <a:extLst>
                <a:ext uri="{FF2B5EF4-FFF2-40B4-BE49-F238E27FC236}">
                  <a16:creationId xmlns:a16="http://schemas.microsoft.com/office/drawing/2014/main" id="{21489F88-63F4-4D5E-A31A-B05C34DDC82E}"/>
                </a:ext>
              </a:extLst>
            </p:cNvPr>
            <p:cNvSpPr/>
            <p:nvPr userDrawn="1"/>
          </p:nvSpPr>
          <p:spPr bwMode="gray">
            <a:xfrm>
              <a:off x="23368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East Asia and the Pacific</a:t>
              </a:r>
              <a:endParaRPr lang="en-US" sz="800" b="0" dirty="0"/>
            </a:p>
          </p:txBody>
        </p:sp>
        <p:sp>
          <p:nvSpPr>
            <p:cNvPr id="17" name="Rectangle: Top Corners Rounded 16">
              <a:hlinkClick r:id="" action="ppaction://noaction"/>
              <a:extLst>
                <a:ext uri="{FF2B5EF4-FFF2-40B4-BE49-F238E27FC236}">
                  <a16:creationId xmlns:a16="http://schemas.microsoft.com/office/drawing/2014/main" id="{E9D58494-7912-4D6F-91D7-DF9548A1DE07}"/>
                </a:ext>
              </a:extLst>
            </p:cNvPr>
            <p:cNvSpPr/>
            <p:nvPr userDrawn="1"/>
          </p:nvSpPr>
          <p:spPr bwMode="gray">
            <a:xfrm>
              <a:off x="32702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Eastern and Southern Africa</a:t>
              </a:r>
              <a:endParaRPr lang="en-US" sz="800" b="0" dirty="0"/>
            </a:p>
          </p:txBody>
        </p:sp>
        <p:sp>
          <p:nvSpPr>
            <p:cNvPr id="18" name="Rectangle: Top Corners Rounded 17">
              <a:hlinkClick r:id="" action="ppaction://noaction"/>
              <a:extLst>
                <a:ext uri="{FF2B5EF4-FFF2-40B4-BE49-F238E27FC236}">
                  <a16:creationId xmlns:a16="http://schemas.microsoft.com/office/drawing/2014/main" id="{7786A7A4-9360-4337-BB3C-306FA6C33332}"/>
                </a:ext>
              </a:extLst>
            </p:cNvPr>
            <p:cNvSpPr/>
            <p:nvPr userDrawn="1"/>
          </p:nvSpPr>
          <p:spPr bwMode="gray">
            <a:xfrm>
              <a:off x="42037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Europe and Central Asia</a:t>
              </a:r>
              <a:endParaRPr lang="en-US" sz="800" b="0" dirty="0"/>
            </a:p>
          </p:txBody>
        </p:sp>
        <p:sp>
          <p:nvSpPr>
            <p:cNvPr id="19" name="Rectangle: Top Corners Rounded 18">
              <a:hlinkClick r:id="" action="ppaction://noaction"/>
              <a:extLst>
                <a:ext uri="{FF2B5EF4-FFF2-40B4-BE49-F238E27FC236}">
                  <a16:creationId xmlns:a16="http://schemas.microsoft.com/office/drawing/2014/main" id="{F0E2753C-02CB-4E2B-9171-BFBE2340BF98}"/>
                </a:ext>
              </a:extLst>
            </p:cNvPr>
            <p:cNvSpPr/>
            <p:nvPr userDrawn="1"/>
          </p:nvSpPr>
          <p:spPr bwMode="gray">
            <a:xfrm>
              <a:off x="51371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Latin America and Caribbean</a:t>
              </a:r>
              <a:endParaRPr lang="en-US" sz="800" b="0" dirty="0"/>
            </a:p>
          </p:txBody>
        </p:sp>
        <p:sp>
          <p:nvSpPr>
            <p:cNvPr id="20" name="Rectangle: Top Corners Rounded 19">
              <a:hlinkClick r:id="" action="ppaction://noaction"/>
              <a:extLst>
                <a:ext uri="{FF2B5EF4-FFF2-40B4-BE49-F238E27FC236}">
                  <a16:creationId xmlns:a16="http://schemas.microsoft.com/office/drawing/2014/main" id="{10103538-61C5-41A4-A31B-020DF836C5CF}"/>
                </a:ext>
              </a:extLst>
            </p:cNvPr>
            <p:cNvSpPr/>
            <p:nvPr userDrawn="1"/>
          </p:nvSpPr>
          <p:spPr bwMode="gray">
            <a:xfrm>
              <a:off x="60706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Middle East and North Africa</a:t>
              </a:r>
              <a:endParaRPr lang="en-US" sz="800" b="0" dirty="0"/>
            </a:p>
          </p:txBody>
        </p:sp>
        <p:sp>
          <p:nvSpPr>
            <p:cNvPr id="21" name="Rectangle: Top Corners Rounded 20">
              <a:hlinkClick r:id="" action="ppaction://noaction"/>
              <a:extLst>
                <a:ext uri="{FF2B5EF4-FFF2-40B4-BE49-F238E27FC236}">
                  <a16:creationId xmlns:a16="http://schemas.microsoft.com/office/drawing/2014/main" id="{C7E86401-F9D5-4827-9E9F-169A437B2928}"/>
                </a:ext>
              </a:extLst>
            </p:cNvPr>
            <p:cNvSpPr/>
            <p:nvPr userDrawn="1"/>
          </p:nvSpPr>
          <p:spPr bwMode="gray">
            <a:xfrm>
              <a:off x="70040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South Asia</a:t>
              </a:r>
              <a:endParaRPr lang="en-US" sz="800" b="0" dirty="0"/>
            </a:p>
          </p:txBody>
        </p:sp>
        <p:sp>
          <p:nvSpPr>
            <p:cNvPr id="22" name="Rectangle: Top Corners Rounded 21">
              <a:hlinkClick r:id="" action="ppaction://noaction"/>
              <a:extLst>
                <a:ext uri="{FF2B5EF4-FFF2-40B4-BE49-F238E27FC236}">
                  <a16:creationId xmlns:a16="http://schemas.microsoft.com/office/drawing/2014/main" id="{A78A7EEA-A3AD-42FA-B617-760559667FC6}"/>
                </a:ext>
              </a:extLst>
            </p:cNvPr>
            <p:cNvSpPr/>
            <p:nvPr userDrawn="1"/>
          </p:nvSpPr>
          <p:spPr bwMode="gray">
            <a:xfrm>
              <a:off x="79375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rtl="0">
                <a:buFont typeface="Wingdings 2" pitchFamily="18" charset="2"/>
                <a:buNone/>
              </a:pPr>
              <a:r>
                <a:rPr lang="en-US" sz="800" b="0"/>
                <a:t>West and</a:t>
              </a:r>
            </a:p>
            <a:p>
              <a:pPr lvl="0" algn="ctr" rtl="0">
                <a:buFont typeface="Wingdings 2" pitchFamily="18" charset="2"/>
                <a:buNone/>
              </a:pPr>
              <a:r>
                <a:rPr lang="en-US" sz="800" b="0"/>
                <a:t>Central Africa</a:t>
              </a:r>
              <a:endParaRPr lang="en-US" sz="800" b="0" dirty="0"/>
            </a:p>
          </p:txBody>
        </p:sp>
      </p:grpSp>
    </p:spTree>
    <p:extLst>
      <p:ext uri="{BB962C8B-B14F-4D97-AF65-F5344CB8AC3E}">
        <p14:creationId xmlns:p14="http://schemas.microsoft.com/office/powerpoint/2010/main" val="3442329995"/>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3FC79E-4BED-3BCD-48B7-C7BA79431EFF}"/>
              </a:ext>
            </a:extLst>
          </p:cNvPr>
          <p:cNvGraphicFramePr>
            <a:graphicFrameLocks noChangeAspect="1"/>
          </p:cNvGraphicFramePr>
          <p:nvPr userDrawn="1">
            <p:custDataLst>
              <p:tags r:id="rId1"/>
            </p:custDataLst>
            <p:extLst>
              <p:ext uri="{D42A27DB-BD31-4B8C-83A1-F6EECF244321}">
                <p14:modId xmlns:p14="http://schemas.microsoft.com/office/powerpoint/2010/main" val="804538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A3FC79E-4BED-3BCD-48B7-C7BA79431E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rtl="0">
              <a:defRPr/>
            </a:lvl1pPr>
          </a:lstStyle>
          <a:p>
            <a:endParaRPr lang="en-US" dirty="0"/>
          </a:p>
        </p:txBody>
      </p:sp>
    </p:spTree>
    <p:extLst>
      <p:ext uri="{BB962C8B-B14F-4D97-AF65-F5344CB8AC3E}">
        <p14:creationId xmlns:p14="http://schemas.microsoft.com/office/powerpoint/2010/main" val="310017065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NEW_Titl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71F6C3-E317-426C-4F1B-6A3A2B49B47B}"/>
              </a:ext>
            </a:extLst>
          </p:cNvPr>
          <p:cNvGraphicFramePr>
            <a:graphicFrameLocks noChangeAspect="1"/>
          </p:cNvGraphicFramePr>
          <p:nvPr userDrawn="1">
            <p:custDataLst>
              <p:tags r:id="rId1"/>
            </p:custDataLst>
            <p:extLst>
              <p:ext uri="{D42A27DB-BD31-4B8C-83A1-F6EECF244321}">
                <p14:modId xmlns:p14="http://schemas.microsoft.com/office/powerpoint/2010/main" val="136657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5771F6C3-E317-426C-4F1B-6A3A2B49B4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400" y="683776"/>
            <a:ext cx="10325100" cy="594360"/>
          </a:xfrm>
        </p:spPr>
        <p:txBody>
          <a:bodyPr vert="horz" lIns="0" tIns="45720" rIns="0" bIns="0" rtlCol="0" anchor="t" anchorCtr="0">
            <a:noAutofit/>
          </a:bodyPr>
          <a:lstStyle>
            <a:lvl1pPr rtl="0">
              <a:defRPr lang="en-US" sz="3200" b="0" spc="-75" dirty="0">
                <a:latin typeface="+mj-lt"/>
              </a:defRPr>
            </a:lvl1pPr>
          </a:lstStyle>
          <a:p>
            <a:pPr lvl="0" defTabSz="685800">
              <a:lnSpc>
                <a:spcPct val="85000"/>
              </a:lnSpc>
            </a:pPr>
            <a:r>
              <a:rPr lang="en-US" dirty="0"/>
              <a:t>Click to edit Master title style</a:t>
            </a:r>
          </a:p>
        </p:txBody>
      </p:sp>
      <p:sp>
        <p:nvSpPr>
          <p:cNvPr id="4" name="Text Placeholder 2">
            <a:extLst>
              <a:ext uri="{FF2B5EF4-FFF2-40B4-BE49-F238E27FC236}">
                <a16:creationId xmlns:a16="http://schemas.microsoft.com/office/drawing/2014/main" id="{56DF51C6-03E7-2348-85AB-DBC2883BA4C4}"/>
              </a:ext>
            </a:extLst>
          </p:cNvPr>
          <p:cNvSpPr>
            <a:spLocks noGrp="1"/>
          </p:cNvSpPr>
          <p:nvPr>
            <p:ph type="body" sz="quarter" idx="25" hasCustomPrompt="1"/>
          </p:nvPr>
        </p:nvSpPr>
        <p:spPr>
          <a:xfrm>
            <a:off x="926512" y="495992"/>
            <a:ext cx="569228" cy="139781"/>
          </a:xfrm>
        </p:spPr>
        <p:txBody>
          <a:bodyPr/>
          <a:lstStyle>
            <a:lvl1pPr rtl="0">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00</a:t>
            </a:r>
          </a:p>
        </p:txBody>
      </p:sp>
      <p:sp>
        <p:nvSpPr>
          <p:cNvPr id="5" name="Text Placeholder 2">
            <a:extLst>
              <a:ext uri="{FF2B5EF4-FFF2-40B4-BE49-F238E27FC236}">
                <a16:creationId xmlns:a16="http://schemas.microsoft.com/office/drawing/2014/main" id="{790C1BD8-7159-E644-89D3-6E24FE48829B}"/>
              </a:ext>
            </a:extLst>
          </p:cNvPr>
          <p:cNvSpPr>
            <a:spLocks noGrp="1"/>
          </p:cNvSpPr>
          <p:nvPr>
            <p:ph type="body" sz="quarter" idx="26" hasCustomPrompt="1"/>
          </p:nvPr>
        </p:nvSpPr>
        <p:spPr>
          <a:xfrm>
            <a:off x="1986247" y="495992"/>
            <a:ext cx="3488042" cy="139781"/>
          </a:xfrm>
        </p:spPr>
        <p:txBody>
          <a:bodyPr/>
          <a:lstStyle>
            <a:lvl1pPr rtl="0">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DELOITTE DIGITAL</a:t>
            </a:r>
          </a:p>
        </p:txBody>
      </p:sp>
      <p:pic>
        <p:nvPicPr>
          <p:cNvPr id="6" name="Picture 5">
            <a:extLst>
              <a:ext uri="{FF2B5EF4-FFF2-40B4-BE49-F238E27FC236}">
                <a16:creationId xmlns:a16="http://schemas.microsoft.com/office/drawing/2014/main" id="{444C36BF-1A57-02BF-0EB1-B25A192669AB}"/>
              </a:ext>
            </a:extLst>
          </p:cNvPr>
          <p:cNvPicPr>
            <a:picLocks noChangeAspect="1"/>
          </p:cNvPicPr>
          <p:nvPr userDrawn="1"/>
        </p:nvPicPr>
        <p:blipFill>
          <a:blip r:embed="rId5" cstate="email">
            <a:alphaModFix amt="50000"/>
            <a:extLst>
              <a:ext uri="{28A0092B-C50C-407E-A947-70E740481C1C}">
                <a14:useLocalDpi xmlns:a14="http://schemas.microsoft.com/office/drawing/2010/main"/>
              </a:ext>
            </a:extLst>
          </a:blip>
          <a:srcRect/>
          <a:stretch/>
        </p:blipFill>
        <p:spPr>
          <a:xfrm>
            <a:off x="7226808" y="0"/>
            <a:ext cx="4965192" cy="6858000"/>
          </a:xfrm>
          <a:prstGeom prst="rect">
            <a:avLst/>
          </a:prstGeom>
        </p:spPr>
      </p:pic>
    </p:spTree>
    <p:extLst>
      <p:ext uri="{BB962C8B-B14F-4D97-AF65-F5344CB8AC3E}">
        <p14:creationId xmlns:p14="http://schemas.microsoft.com/office/powerpoint/2010/main" val="193925212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No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89D75F-B86E-2B13-73E8-BCC2A27B5E3D}"/>
              </a:ext>
            </a:extLst>
          </p:cNvPr>
          <p:cNvGraphicFramePr>
            <a:graphicFrameLocks noChangeAspect="1"/>
          </p:cNvGraphicFramePr>
          <p:nvPr userDrawn="1">
            <p:custDataLst>
              <p:tags r:id="rId1"/>
            </p:custDataLst>
            <p:extLst>
              <p:ext uri="{D42A27DB-BD31-4B8C-83A1-F6EECF244321}">
                <p14:modId xmlns:p14="http://schemas.microsoft.com/office/powerpoint/2010/main" val="3466841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F889D75F-B86E-2B13-73E8-BCC2A27B5E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rtl="0">
              <a:defRPr/>
            </a:lvl1pPr>
          </a:lstStyle>
          <a:p>
            <a:r>
              <a:rPr lang="en-US" noProof="0" dirty="0"/>
              <a:t>Click to edit Master title s edit Master title style tyle</a:t>
            </a:r>
          </a:p>
        </p:txBody>
      </p:sp>
    </p:spTree>
    <p:extLst>
      <p:ext uri="{BB962C8B-B14F-4D97-AF65-F5344CB8AC3E}">
        <p14:creationId xmlns:p14="http://schemas.microsoft.com/office/powerpoint/2010/main" val="3539424554"/>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4_CV_x2_Layout 1">
    <p:bg>
      <p:bgPr>
        <a:solidFill>
          <a:srgbClr val="ECECEC"/>
        </a:solidFill>
        <a:effectLst/>
      </p:bgPr>
    </p:bg>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2B42446A-E0F4-C7A2-2A09-B36BE719533C}"/>
              </a:ext>
            </a:extLst>
          </p:cNvPr>
          <p:cNvGraphicFramePr>
            <a:graphicFrameLocks noChangeAspect="1"/>
          </p:cNvGraphicFramePr>
          <p:nvPr userDrawn="1">
            <p:custDataLst>
              <p:tags r:id="rId1"/>
            </p:custDataLst>
            <p:extLst>
              <p:ext uri="{D42A27DB-BD31-4B8C-83A1-F6EECF244321}">
                <p14:modId xmlns:p14="http://schemas.microsoft.com/office/powerpoint/2010/main" val="256999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9" name="think-cell data - do not delete" hidden="1">
                        <a:extLst>
                          <a:ext uri="{FF2B5EF4-FFF2-40B4-BE49-F238E27FC236}">
                            <a16:creationId xmlns:a16="http://schemas.microsoft.com/office/drawing/2014/main" id="{2B42446A-E0F4-C7A2-2A09-B36BE7195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5258D1C-A143-148E-F52B-591EE07CAA65}"/>
              </a:ext>
            </a:extLst>
          </p:cNvPr>
          <p:cNvSpPr/>
          <p:nvPr userDrawn="1"/>
        </p:nvSpPr>
        <p:spPr bwMode="gray">
          <a:xfrm>
            <a:off x="467125" y="1026695"/>
            <a:ext cx="11267675" cy="533600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pic>
        <p:nvPicPr>
          <p:cNvPr id="4" name="Picture 3">
            <a:extLst>
              <a:ext uri="{FF2B5EF4-FFF2-40B4-BE49-F238E27FC236}">
                <a16:creationId xmlns:a16="http://schemas.microsoft.com/office/drawing/2014/main" id="{05BCDCB8-CF55-25F5-EEC3-7821441D4556}"/>
              </a:ext>
            </a:extLst>
          </p:cNvPr>
          <p:cNvPicPr>
            <a:picLocks noChangeAspect="1"/>
          </p:cNvPicPr>
          <p:nvPr userDrawn="1"/>
        </p:nvPicPr>
        <p:blipFill rotWithShape="1">
          <a:blip r:embed="rId5" cstate="email">
            <a:alphaModFix amt="35000"/>
            <a:extLst>
              <a:ext uri="{28A0092B-C50C-407E-A947-70E740481C1C}">
                <a14:useLocalDpi xmlns:a14="http://schemas.microsoft.com/office/drawing/2010/main"/>
              </a:ext>
            </a:extLst>
          </a:blip>
          <a:srcRect/>
          <a:stretch/>
        </p:blipFill>
        <p:spPr>
          <a:xfrm>
            <a:off x="970430" y="1158285"/>
            <a:ext cx="10667387" cy="1402741"/>
          </a:xfrm>
          <a:prstGeom prst="rect">
            <a:avLst/>
          </a:prstGeom>
        </p:spPr>
      </p:pic>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57200" y="422850"/>
            <a:ext cx="11277599" cy="334099"/>
          </a:xfrm>
          <a:prstGeom prst="rect">
            <a:avLst/>
          </a:prstGeom>
          <a:noFill/>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6" name="Text Placeholder 7">
            <a:extLst>
              <a:ext uri="{FF2B5EF4-FFF2-40B4-BE49-F238E27FC236}">
                <a16:creationId xmlns:a16="http://schemas.microsoft.com/office/drawing/2014/main" id="{059F9F0C-D7EA-4D6D-B819-3DAA187FDA77}"/>
              </a:ext>
            </a:extLst>
          </p:cNvPr>
          <p:cNvSpPr>
            <a:spLocks noGrp="1"/>
          </p:cNvSpPr>
          <p:nvPr>
            <p:ph type="body" sz="quarter" idx="15"/>
          </p:nvPr>
        </p:nvSpPr>
        <p:spPr>
          <a:xfrm>
            <a:off x="638148" y="2750008"/>
            <a:ext cx="5305452" cy="3408049"/>
          </a:xfrm>
        </p:spPr>
        <p:txBody>
          <a:bodyPr lIns="0">
            <a:noAutofit/>
          </a:bodyPr>
          <a:lstStyle>
            <a:lvl1pPr>
              <a:spcBef>
                <a:spcPts val="200"/>
              </a:spcBef>
              <a:spcAft>
                <a:spcPts val="300"/>
              </a:spcAft>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Bef>
                <a:spcPts val="200"/>
              </a:spcBef>
              <a:spcAft>
                <a:spcPts val="300"/>
              </a:spcAft>
              <a:buNone/>
              <a:defRPr sz="9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80975" indent="-180975">
              <a:spcBef>
                <a:spcPts val="200"/>
              </a:spcBef>
              <a:spcAft>
                <a:spcPts val="300"/>
              </a:spcAft>
              <a:buFont typeface="Arial" panose="020B0604020202020204" pitchFamily="34" charset="0"/>
              <a:buChar char="•"/>
              <a:tabLst>
                <a:tab pos="180975" algn="l"/>
              </a:tabLst>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marL="357188" indent="-176213">
              <a:spcBef>
                <a:spcPts val="200"/>
              </a:spcBef>
              <a:spcAft>
                <a:spcPts val="300"/>
              </a:spcAft>
              <a:buFont typeface="Calibri" panose="020F0502020204030204" pitchFamily="34" charset="0"/>
              <a:buChar cha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spcBef>
                <a:spcPts val="200"/>
              </a:spcBef>
              <a:spcAft>
                <a:spcPts val="300"/>
              </a:spcAft>
              <a:buNone/>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7">
            <a:extLst>
              <a:ext uri="{FF2B5EF4-FFF2-40B4-BE49-F238E27FC236}">
                <a16:creationId xmlns:a16="http://schemas.microsoft.com/office/drawing/2014/main" id="{7682BE68-DFC7-491B-AF65-1A4E7619A5F2}"/>
              </a:ext>
            </a:extLst>
          </p:cNvPr>
          <p:cNvSpPr>
            <a:spLocks noGrp="1"/>
          </p:cNvSpPr>
          <p:nvPr>
            <p:ph type="body" sz="quarter" idx="25"/>
          </p:nvPr>
        </p:nvSpPr>
        <p:spPr>
          <a:xfrm>
            <a:off x="6248401" y="2750007"/>
            <a:ext cx="5305452" cy="3408049"/>
          </a:xfrm>
        </p:spPr>
        <p:txBody>
          <a:bodyPr lIns="0">
            <a:noAutofit/>
          </a:bodyPr>
          <a:lstStyle>
            <a:lvl1pPr>
              <a:spcBef>
                <a:spcPts val="200"/>
              </a:spcBef>
              <a:spcAft>
                <a:spcPts val="300"/>
              </a:spcAft>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Bef>
                <a:spcPts val="200"/>
              </a:spcBef>
              <a:spcAft>
                <a:spcPts val="300"/>
              </a:spcAft>
              <a:buNone/>
              <a:defRPr sz="9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80975" indent="-180975">
              <a:spcBef>
                <a:spcPts val="200"/>
              </a:spcBef>
              <a:spcAft>
                <a:spcPts val="300"/>
              </a:spcAft>
              <a:buFont typeface="Arial" panose="020B0604020202020204" pitchFamily="34" charset="0"/>
              <a:buChar char="•"/>
              <a:tabLst>
                <a:tab pos="180975" algn="l"/>
              </a:tabLst>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marL="357188" indent="-176213">
              <a:spcBef>
                <a:spcPts val="200"/>
              </a:spcBef>
              <a:spcAft>
                <a:spcPts val="300"/>
              </a:spcAft>
              <a:buFont typeface="Calibri" panose="020F0502020204030204" pitchFamily="34" charset="0"/>
              <a:buChar cha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marL="0" indent="0">
              <a:spcBef>
                <a:spcPts val="200"/>
              </a:spcBef>
              <a:spcAft>
                <a:spcPts val="300"/>
              </a:spcAft>
              <a:buNone/>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8">
            <a:extLst>
              <a:ext uri="{FF2B5EF4-FFF2-40B4-BE49-F238E27FC236}">
                <a16:creationId xmlns:a16="http://schemas.microsoft.com/office/drawing/2014/main" id="{942DD90D-D621-FA6C-D989-EE0070A6D8A0}"/>
              </a:ext>
            </a:extLst>
          </p:cNvPr>
          <p:cNvSpPr>
            <a:spLocks noGrp="1" noChangeAspect="1"/>
          </p:cNvSpPr>
          <p:nvPr>
            <p:ph type="pic" sz="quarter" idx="22"/>
          </p:nvPr>
        </p:nvSpPr>
        <p:spPr>
          <a:xfrm>
            <a:off x="638148" y="1164853"/>
            <a:ext cx="1260000" cy="1260000"/>
          </a:xfrm>
          <a:prstGeom prst="ellipse">
            <a:avLst/>
          </a:prstGeom>
          <a:solidFill>
            <a:schemeClr val="bg1">
              <a:lumMod val="95000"/>
            </a:schemeClr>
          </a:solidFill>
        </p:spPr>
        <p:txBody>
          <a:bodyPr/>
          <a:lstStyle/>
          <a:p>
            <a:endParaRPr lang="en-GB"/>
          </a:p>
        </p:txBody>
      </p:sp>
      <p:sp>
        <p:nvSpPr>
          <p:cNvPr id="7" name="Text Placeholder 40">
            <a:extLst>
              <a:ext uri="{FF2B5EF4-FFF2-40B4-BE49-F238E27FC236}">
                <a16:creationId xmlns:a16="http://schemas.microsoft.com/office/drawing/2014/main" id="{4C2DDF78-2626-387F-4FA4-C3DB369E634C}"/>
              </a:ext>
            </a:extLst>
          </p:cNvPr>
          <p:cNvSpPr>
            <a:spLocks noGrp="1"/>
          </p:cNvSpPr>
          <p:nvPr>
            <p:ph type="body" sz="quarter" idx="21" hasCustomPrompt="1"/>
          </p:nvPr>
        </p:nvSpPr>
        <p:spPr>
          <a:xfrm>
            <a:off x="2094523" y="1326392"/>
            <a:ext cx="3464293" cy="836503"/>
          </a:xfrm>
        </p:spPr>
        <p:txBody>
          <a:bodyPr lIns="0">
            <a:noAutofit/>
          </a:bodyPr>
          <a:lstStyle>
            <a:lvl1pPr>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Aft>
                <a:spcPts val="200"/>
              </a:spcAft>
              <a:buNone/>
              <a:defRPr sz="1400" b="1" i="0">
                <a:solidFill>
                  <a:schemeClr val="accent2"/>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dirty="0"/>
              <a:t>Fifth level</a:t>
            </a:r>
            <a:endParaRPr lang="en-GB" dirty="0"/>
          </a:p>
        </p:txBody>
      </p:sp>
      <p:sp>
        <p:nvSpPr>
          <p:cNvPr id="10" name="Oval 9">
            <a:extLst>
              <a:ext uri="{FF2B5EF4-FFF2-40B4-BE49-F238E27FC236}">
                <a16:creationId xmlns:a16="http://schemas.microsoft.com/office/drawing/2014/main" id="{AD943B81-ED1B-389B-57F5-0148B9C4A4A4}"/>
              </a:ext>
            </a:extLst>
          </p:cNvPr>
          <p:cNvSpPr/>
          <p:nvPr userDrawn="1"/>
        </p:nvSpPr>
        <p:spPr bwMode="gray">
          <a:xfrm>
            <a:off x="6262954" y="1366128"/>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1" name="Oval 10">
            <a:extLst>
              <a:ext uri="{FF2B5EF4-FFF2-40B4-BE49-F238E27FC236}">
                <a16:creationId xmlns:a16="http://schemas.microsoft.com/office/drawing/2014/main" id="{CB62CD10-D3B0-525A-157B-F501004E7FA9}"/>
              </a:ext>
            </a:extLst>
          </p:cNvPr>
          <p:cNvSpPr/>
          <p:nvPr userDrawn="1"/>
        </p:nvSpPr>
        <p:spPr bwMode="gray">
          <a:xfrm>
            <a:off x="6262954" y="1567862"/>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2" name="Oval 11">
            <a:extLst>
              <a:ext uri="{FF2B5EF4-FFF2-40B4-BE49-F238E27FC236}">
                <a16:creationId xmlns:a16="http://schemas.microsoft.com/office/drawing/2014/main" id="{EF7F918C-8F65-62E6-5F15-3CCB39835AE3}"/>
              </a:ext>
            </a:extLst>
          </p:cNvPr>
          <p:cNvSpPr/>
          <p:nvPr userDrawn="1"/>
        </p:nvSpPr>
        <p:spPr bwMode="gray">
          <a:xfrm>
            <a:off x="6262954" y="1769596"/>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3" name="Oval 12">
            <a:extLst>
              <a:ext uri="{FF2B5EF4-FFF2-40B4-BE49-F238E27FC236}">
                <a16:creationId xmlns:a16="http://schemas.microsoft.com/office/drawing/2014/main" id="{65ED4AD2-B242-48D1-DC1A-7C325E8465A2}"/>
              </a:ext>
            </a:extLst>
          </p:cNvPr>
          <p:cNvSpPr/>
          <p:nvPr userDrawn="1"/>
        </p:nvSpPr>
        <p:spPr bwMode="gray">
          <a:xfrm>
            <a:off x="6262954" y="1971330"/>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5" name="Graphic 4">
            <a:extLst>
              <a:ext uri="{FF2B5EF4-FFF2-40B4-BE49-F238E27FC236}">
                <a16:creationId xmlns:a16="http://schemas.microsoft.com/office/drawing/2014/main" id="{1D1B2BC3-69CF-69DF-AA37-A1B13357C5B2}"/>
              </a:ext>
            </a:extLst>
          </p:cNvPr>
          <p:cNvSpPr>
            <a:spLocks noChangeAspect="1"/>
          </p:cNvSpPr>
          <p:nvPr userDrawn="1"/>
        </p:nvSpPr>
        <p:spPr>
          <a:xfrm>
            <a:off x="6296339" y="1412860"/>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lstStyle/>
          <a:p>
            <a:endParaRPr lang="en-US"/>
          </a:p>
        </p:txBody>
      </p:sp>
      <p:sp>
        <p:nvSpPr>
          <p:cNvPr id="16" name="Graphic 1100">
            <a:extLst>
              <a:ext uri="{FF2B5EF4-FFF2-40B4-BE49-F238E27FC236}">
                <a16:creationId xmlns:a16="http://schemas.microsoft.com/office/drawing/2014/main" id="{DBC2821D-5EE2-6ABD-314A-D5A8CFCF735A}"/>
              </a:ext>
            </a:extLst>
          </p:cNvPr>
          <p:cNvSpPr/>
          <p:nvPr userDrawn="1"/>
        </p:nvSpPr>
        <p:spPr>
          <a:xfrm>
            <a:off x="6299819" y="1606132"/>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lstStyle/>
          <a:p>
            <a:endParaRPr lang="en-US">
              <a:solidFill>
                <a:schemeClr val="accent5"/>
              </a:solidFill>
            </a:endParaRPr>
          </a:p>
        </p:txBody>
      </p:sp>
      <p:grpSp>
        <p:nvGrpSpPr>
          <p:cNvPr id="17" name="Graphic 4">
            <a:extLst>
              <a:ext uri="{FF2B5EF4-FFF2-40B4-BE49-F238E27FC236}">
                <a16:creationId xmlns:a16="http://schemas.microsoft.com/office/drawing/2014/main" id="{2103216C-DDCA-C05C-39C5-E3CC38500AB3}"/>
              </a:ext>
            </a:extLst>
          </p:cNvPr>
          <p:cNvGrpSpPr/>
          <p:nvPr userDrawn="1"/>
        </p:nvGrpSpPr>
        <p:grpSpPr>
          <a:xfrm>
            <a:off x="6309293" y="1804961"/>
            <a:ext cx="73565" cy="101091"/>
            <a:chOff x="2656935" y="4857096"/>
            <a:chExt cx="170032" cy="233653"/>
          </a:xfrm>
          <a:solidFill>
            <a:schemeClr val="bg1"/>
          </a:solidFill>
        </p:grpSpPr>
        <p:sp>
          <p:nvSpPr>
            <p:cNvPr id="18" name="Graphic 4">
              <a:extLst>
                <a:ext uri="{FF2B5EF4-FFF2-40B4-BE49-F238E27FC236}">
                  <a16:creationId xmlns:a16="http://schemas.microsoft.com/office/drawing/2014/main" id="{BDE46DA2-69BF-7C41-3815-6E45BB170C55}"/>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2D935034-02E4-7506-7866-5F47036E4832}"/>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endParaRPr lang="en-US"/>
            </a:p>
          </p:txBody>
        </p:sp>
      </p:grpSp>
      <p:sp>
        <p:nvSpPr>
          <p:cNvPr id="20" name="Graphic 4">
            <a:extLst>
              <a:ext uri="{FF2B5EF4-FFF2-40B4-BE49-F238E27FC236}">
                <a16:creationId xmlns:a16="http://schemas.microsoft.com/office/drawing/2014/main" id="{56DFD7A2-C900-98E9-4F52-6C67C1B9AAC8}"/>
              </a:ext>
            </a:extLst>
          </p:cNvPr>
          <p:cNvSpPr/>
          <p:nvPr userDrawn="1"/>
        </p:nvSpPr>
        <p:spPr>
          <a:xfrm>
            <a:off x="6302172" y="2016349"/>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lstStyle/>
          <a:p>
            <a:endParaRPr lang="en-US"/>
          </a:p>
        </p:txBody>
      </p:sp>
      <p:sp>
        <p:nvSpPr>
          <p:cNvPr id="21" name="Text Placeholder 27">
            <a:extLst>
              <a:ext uri="{FF2B5EF4-FFF2-40B4-BE49-F238E27FC236}">
                <a16:creationId xmlns:a16="http://schemas.microsoft.com/office/drawing/2014/main" id="{B9A0BB0F-418C-8766-B9C4-9D836B5CC640}"/>
              </a:ext>
            </a:extLst>
          </p:cNvPr>
          <p:cNvSpPr>
            <a:spLocks noGrp="1"/>
          </p:cNvSpPr>
          <p:nvPr>
            <p:ph type="body" sz="quarter" idx="16"/>
          </p:nvPr>
        </p:nvSpPr>
        <p:spPr>
          <a:xfrm>
            <a:off x="6535557" y="1364405"/>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2" name="Text Placeholder 27">
            <a:extLst>
              <a:ext uri="{FF2B5EF4-FFF2-40B4-BE49-F238E27FC236}">
                <a16:creationId xmlns:a16="http://schemas.microsoft.com/office/drawing/2014/main" id="{C65A014A-64D2-F368-A76E-23D9B1CE828D}"/>
              </a:ext>
            </a:extLst>
          </p:cNvPr>
          <p:cNvSpPr>
            <a:spLocks noGrp="1"/>
          </p:cNvSpPr>
          <p:nvPr>
            <p:ph type="body" sz="quarter" idx="17"/>
          </p:nvPr>
        </p:nvSpPr>
        <p:spPr>
          <a:xfrm>
            <a:off x="6535557" y="1566012"/>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3" name="Text Placeholder 27">
            <a:extLst>
              <a:ext uri="{FF2B5EF4-FFF2-40B4-BE49-F238E27FC236}">
                <a16:creationId xmlns:a16="http://schemas.microsoft.com/office/drawing/2014/main" id="{F6F2954C-96B0-A31B-44CF-13F7A57D6B59}"/>
              </a:ext>
            </a:extLst>
          </p:cNvPr>
          <p:cNvSpPr>
            <a:spLocks noGrp="1"/>
          </p:cNvSpPr>
          <p:nvPr>
            <p:ph type="body" sz="quarter" idx="18"/>
          </p:nvPr>
        </p:nvSpPr>
        <p:spPr>
          <a:xfrm>
            <a:off x="6535557" y="1767527"/>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4" name="Text Placeholder 27">
            <a:extLst>
              <a:ext uri="{FF2B5EF4-FFF2-40B4-BE49-F238E27FC236}">
                <a16:creationId xmlns:a16="http://schemas.microsoft.com/office/drawing/2014/main" id="{5A98AA22-04CC-0166-E24E-EAD46F12369B}"/>
              </a:ext>
            </a:extLst>
          </p:cNvPr>
          <p:cNvSpPr>
            <a:spLocks noGrp="1"/>
          </p:cNvSpPr>
          <p:nvPr>
            <p:ph type="body" sz="quarter" idx="19"/>
          </p:nvPr>
        </p:nvSpPr>
        <p:spPr>
          <a:xfrm>
            <a:off x="6535557" y="1969210"/>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cxnSp>
        <p:nvCxnSpPr>
          <p:cNvPr id="2" name="Straight Connector 1">
            <a:extLst>
              <a:ext uri="{FF2B5EF4-FFF2-40B4-BE49-F238E27FC236}">
                <a16:creationId xmlns:a16="http://schemas.microsoft.com/office/drawing/2014/main" id="{B55811C5-3040-DA36-1502-8A93998B1E37}"/>
              </a:ext>
            </a:extLst>
          </p:cNvPr>
          <p:cNvCxnSpPr>
            <a:cxnSpLocks/>
          </p:cNvCxnSpPr>
          <p:nvPr userDrawn="1"/>
        </p:nvCxnSpPr>
        <p:spPr>
          <a:xfrm>
            <a:off x="6098746" y="2766174"/>
            <a:ext cx="0" cy="3408049"/>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86D340A1-58FE-F9E0-29A9-5F24B61E9429}"/>
              </a:ext>
            </a:extLst>
          </p:cNvPr>
          <p:cNvGrpSpPr/>
          <p:nvPr userDrawn="1"/>
        </p:nvGrpSpPr>
        <p:grpSpPr>
          <a:xfrm>
            <a:off x="6262954" y="2173064"/>
            <a:ext cx="165465" cy="165465"/>
            <a:chOff x="6750890" y="2233941"/>
            <a:chExt cx="165465" cy="165465"/>
          </a:xfrm>
        </p:grpSpPr>
        <p:sp>
          <p:nvSpPr>
            <p:cNvPr id="27" name="Oval 26">
              <a:extLst>
                <a:ext uri="{FF2B5EF4-FFF2-40B4-BE49-F238E27FC236}">
                  <a16:creationId xmlns:a16="http://schemas.microsoft.com/office/drawing/2014/main" id="{BD1AFB99-1A6E-8971-E552-C2E5F458F399}"/>
                </a:ext>
              </a:extLst>
            </p:cNvPr>
            <p:cNvSpPr/>
            <p:nvPr userDrawn="1"/>
          </p:nvSpPr>
          <p:spPr bwMode="gray">
            <a:xfrm>
              <a:off x="6750890" y="2233941"/>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26" name="Freeform 316">
              <a:extLst>
                <a:ext uri="{FF2B5EF4-FFF2-40B4-BE49-F238E27FC236}">
                  <a16:creationId xmlns:a16="http://schemas.microsoft.com/office/drawing/2014/main" id="{82CFFF86-9B83-0372-0C04-D7C4EA2C3071}"/>
                </a:ext>
              </a:extLst>
            </p:cNvPr>
            <p:cNvSpPr>
              <a:spLocks noEditPoints="1"/>
            </p:cNvSpPr>
            <p:nvPr/>
          </p:nvSpPr>
          <p:spPr bwMode="auto">
            <a:xfrm>
              <a:off x="6779791" y="2273814"/>
              <a:ext cx="107663" cy="85719"/>
            </a:xfrm>
            <a:custGeom>
              <a:avLst/>
              <a:gdLst>
                <a:gd name="T0" fmla="*/ 258 w 313"/>
                <a:gd name="T1" fmla="*/ 2 h 252"/>
                <a:gd name="T2" fmla="*/ 255 w 313"/>
                <a:gd name="T3" fmla="*/ 12 h 252"/>
                <a:gd name="T4" fmla="*/ 237 w 313"/>
                <a:gd name="T5" fmla="*/ 25 h 252"/>
                <a:gd name="T6" fmla="*/ 223 w 313"/>
                <a:gd name="T7" fmla="*/ 19 h 252"/>
                <a:gd name="T8" fmla="*/ 216 w 313"/>
                <a:gd name="T9" fmla="*/ 4 h 252"/>
                <a:gd name="T10" fmla="*/ 181 w 313"/>
                <a:gd name="T11" fmla="*/ 0 h 252"/>
                <a:gd name="T12" fmla="*/ 176 w 313"/>
                <a:gd name="T13" fmla="*/ 8 h 252"/>
                <a:gd name="T14" fmla="*/ 160 w 313"/>
                <a:gd name="T15" fmla="*/ 25 h 252"/>
                <a:gd name="T16" fmla="*/ 148 w 313"/>
                <a:gd name="T17" fmla="*/ 23 h 252"/>
                <a:gd name="T18" fmla="*/ 136 w 313"/>
                <a:gd name="T19" fmla="*/ 4 h 252"/>
                <a:gd name="T20" fmla="*/ 101 w 313"/>
                <a:gd name="T21" fmla="*/ 0 h 252"/>
                <a:gd name="T22" fmla="*/ 95 w 313"/>
                <a:gd name="T23" fmla="*/ 4 h 252"/>
                <a:gd name="T24" fmla="*/ 83 w 313"/>
                <a:gd name="T25" fmla="*/ 23 h 252"/>
                <a:gd name="T26" fmla="*/ 71 w 313"/>
                <a:gd name="T27" fmla="*/ 25 h 252"/>
                <a:gd name="T28" fmla="*/ 55 w 313"/>
                <a:gd name="T29" fmla="*/ 8 h 252"/>
                <a:gd name="T30" fmla="*/ 50 w 313"/>
                <a:gd name="T31" fmla="*/ 0 h 252"/>
                <a:gd name="T32" fmla="*/ 0 w 313"/>
                <a:gd name="T33" fmla="*/ 4 h 252"/>
                <a:gd name="T34" fmla="*/ 5 w 313"/>
                <a:gd name="T35" fmla="*/ 252 h 252"/>
                <a:gd name="T36" fmla="*/ 313 w 313"/>
                <a:gd name="T37" fmla="*/ 248 h 252"/>
                <a:gd name="T38" fmla="*/ 308 w 313"/>
                <a:gd name="T39" fmla="*/ 0 h 252"/>
                <a:gd name="T40" fmla="*/ 71 w 313"/>
                <a:gd name="T41" fmla="*/ 101 h 252"/>
                <a:gd name="T42" fmla="*/ 82 w 313"/>
                <a:gd name="T43" fmla="*/ 85 h 252"/>
                <a:gd name="T44" fmla="*/ 95 w 313"/>
                <a:gd name="T45" fmla="*/ 81 h 252"/>
                <a:gd name="T46" fmla="*/ 113 w 313"/>
                <a:gd name="T47" fmla="*/ 88 h 252"/>
                <a:gd name="T48" fmla="*/ 121 w 313"/>
                <a:gd name="T49" fmla="*/ 105 h 252"/>
                <a:gd name="T50" fmla="*/ 118 w 313"/>
                <a:gd name="T51" fmla="*/ 125 h 252"/>
                <a:gd name="T52" fmla="*/ 105 w 313"/>
                <a:gd name="T53" fmla="*/ 139 h 252"/>
                <a:gd name="T54" fmla="*/ 90 w 313"/>
                <a:gd name="T55" fmla="*/ 140 h 252"/>
                <a:gd name="T56" fmla="*/ 75 w 313"/>
                <a:gd name="T57" fmla="*/ 129 h 252"/>
                <a:gd name="T58" fmla="*/ 70 w 313"/>
                <a:gd name="T59" fmla="*/ 105 h 252"/>
                <a:gd name="T60" fmla="*/ 46 w 313"/>
                <a:gd name="T61" fmla="*/ 191 h 252"/>
                <a:gd name="T62" fmla="*/ 40 w 313"/>
                <a:gd name="T63" fmla="*/ 187 h 252"/>
                <a:gd name="T64" fmla="*/ 51 w 313"/>
                <a:gd name="T65" fmla="*/ 162 h 252"/>
                <a:gd name="T66" fmla="*/ 75 w 313"/>
                <a:gd name="T67" fmla="*/ 151 h 252"/>
                <a:gd name="T68" fmla="*/ 129 w 313"/>
                <a:gd name="T69" fmla="*/ 154 h 252"/>
                <a:gd name="T70" fmla="*/ 148 w 313"/>
                <a:gd name="T71" fmla="*/ 172 h 252"/>
                <a:gd name="T72" fmla="*/ 152 w 313"/>
                <a:gd name="T73" fmla="*/ 187 h 252"/>
                <a:gd name="T74" fmla="*/ 146 w 313"/>
                <a:gd name="T75" fmla="*/ 191 h 252"/>
                <a:gd name="T76" fmla="*/ 183 w 313"/>
                <a:gd name="T77" fmla="*/ 174 h 252"/>
                <a:gd name="T78" fmla="*/ 179 w 313"/>
                <a:gd name="T79" fmla="*/ 167 h 252"/>
                <a:gd name="T80" fmla="*/ 187 w 313"/>
                <a:gd name="T81" fmla="*/ 159 h 252"/>
                <a:gd name="T82" fmla="*/ 254 w 313"/>
                <a:gd name="T83" fmla="*/ 160 h 252"/>
                <a:gd name="T84" fmla="*/ 255 w 313"/>
                <a:gd name="T85" fmla="*/ 170 h 252"/>
                <a:gd name="T86" fmla="*/ 249 w 313"/>
                <a:gd name="T87" fmla="*/ 175 h 252"/>
                <a:gd name="T88" fmla="*/ 183 w 313"/>
                <a:gd name="T89" fmla="*/ 133 h 252"/>
                <a:gd name="T90" fmla="*/ 179 w 313"/>
                <a:gd name="T91" fmla="*/ 125 h 252"/>
                <a:gd name="T92" fmla="*/ 187 w 313"/>
                <a:gd name="T93" fmla="*/ 117 h 252"/>
                <a:gd name="T94" fmla="*/ 274 w 313"/>
                <a:gd name="T95" fmla="*/ 120 h 252"/>
                <a:gd name="T96" fmla="*/ 277 w 313"/>
                <a:gd name="T97" fmla="*/ 129 h 252"/>
                <a:gd name="T98" fmla="*/ 269 w 313"/>
                <a:gd name="T99" fmla="*/ 133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3" h="252">
                  <a:moveTo>
                    <a:pt x="308" y="0"/>
                  </a:moveTo>
                  <a:lnTo>
                    <a:pt x="262" y="0"/>
                  </a:lnTo>
                  <a:lnTo>
                    <a:pt x="262" y="0"/>
                  </a:lnTo>
                  <a:lnTo>
                    <a:pt x="258" y="2"/>
                  </a:lnTo>
                  <a:lnTo>
                    <a:pt x="257" y="4"/>
                  </a:lnTo>
                  <a:lnTo>
                    <a:pt x="257" y="4"/>
                  </a:lnTo>
                  <a:lnTo>
                    <a:pt x="257" y="8"/>
                  </a:lnTo>
                  <a:lnTo>
                    <a:pt x="255" y="12"/>
                  </a:lnTo>
                  <a:lnTo>
                    <a:pt x="251" y="19"/>
                  </a:lnTo>
                  <a:lnTo>
                    <a:pt x="245" y="23"/>
                  </a:lnTo>
                  <a:lnTo>
                    <a:pt x="241" y="25"/>
                  </a:lnTo>
                  <a:lnTo>
                    <a:pt x="237" y="25"/>
                  </a:lnTo>
                  <a:lnTo>
                    <a:pt x="237" y="25"/>
                  </a:lnTo>
                  <a:lnTo>
                    <a:pt x="232" y="25"/>
                  </a:lnTo>
                  <a:lnTo>
                    <a:pt x="228" y="23"/>
                  </a:lnTo>
                  <a:lnTo>
                    <a:pt x="223" y="19"/>
                  </a:lnTo>
                  <a:lnTo>
                    <a:pt x="218" y="12"/>
                  </a:lnTo>
                  <a:lnTo>
                    <a:pt x="218" y="8"/>
                  </a:lnTo>
                  <a:lnTo>
                    <a:pt x="216" y="4"/>
                  </a:lnTo>
                  <a:lnTo>
                    <a:pt x="216" y="4"/>
                  </a:lnTo>
                  <a:lnTo>
                    <a:pt x="215" y="2"/>
                  </a:lnTo>
                  <a:lnTo>
                    <a:pt x="211" y="0"/>
                  </a:lnTo>
                  <a:lnTo>
                    <a:pt x="181" y="0"/>
                  </a:lnTo>
                  <a:lnTo>
                    <a:pt x="181" y="0"/>
                  </a:lnTo>
                  <a:lnTo>
                    <a:pt x="177" y="2"/>
                  </a:lnTo>
                  <a:lnTo>
                    <a:pt x="176" y="4"/>
                  </a:lnTo>
                  <a:lnTo>
                    <a:pt x="176" y="4"/>
                  </a:lnTo>
                  <a:lnTo>
                    <a:pt x="176" y="8"/>
                  </a:lnTo>
                  <a:lnTo>
                    <a:pt x="175" y="12"/>
                  </a:lnTo>
                  <a:lnTo>
                    <a:pt x="171" y="19"/>
                  </a:lnTo>
                  <a:lnTo>
                    <a:pt x="164" y="23"/>
                  </a:lnTo>
                  <a:lnTo>
                    <a:pt x="160" y="25"/>
                  </a:lnTo>
                  <a:lnTo>
                    <a:pt x="156" y="25"/>
                  </a:lnTo>
                  <a:lnTo>
                    <a:pt x="156" y="25"/>
                  </a:lnTo>
                  <a:lnTo>
                    <a:pt x="152" y="25"/>
                  </a:lnTo>
                  <a:lnTo>
                    <a:pt x="148" y="23"/>
                  </a:lnTo>
                  <a:lnTo>
                    <a:pt x="142" y="19"/>
                  </a:lnTo>
                  <a:lnTo>
                    <a:pt x="137" y="12"/>
                  </a:lnTo>
                  <a:lnTo>
                    <a:pt x="136" y="8"/>
                  </a:lnTo>
                  <a:lnTo>
                    <a:pt x="136" y="4"/>
                  </a:lnTo>
                  <a:lnTo>
                    <a:pt x="136" y="4"/>
                  </a:lnTo>
                  <a:lnTo>
                    <a:pt x="134" y="2"/>
                  </a:lnTo>
                  <a:lnTo>
                    <a:pt x="130" y="0"/>
                  </a:lnTo>
                  <a:lnTo>
                    <a:pt x="101" y="0"/>
                  </a:lnTo>
                  <a:lnTo>
                    <a:pt x="101" y="0"/>
                  </a:lnTo>
                  <a:lnTo>
                    <a:pt x="97" y="2"/>
                  </a:lnTo>
                  <a:lnTo>
                    <a:pt x="95" y="4"/>
                  </a:lnTo>
                  <a:lnTo>
                    <a:pt x="95" y="4"/>
                  </a:lnTo>
                  <a:lnTo>
                    <a:pt x="95" y="8"/>
                  </a:lnTo>
                  <a:lnTo>
                    <a:pt x="94" y="12"/>
                  </a:lnTo>
                  <a:lnTo>
                    <a:pt x="90" y="19"/>
                  </a:lnTo>
                  <a:lnTo>
                    <a:pt x="83" y="23"/>
                  </a:lnTo>
                  <a:lnTo>
                    <a:pt x="79" y="25"/>
                  </a:lnTo>
                  <a:lnTo>
                    <a:pt x="75" y="25"/>
                  </a:lnTo>
                  <a:lnTo>
                    <a:pt x="75" y="25"/>
                  </a:lnTo>
                  <a:lnTo>
                    <a:pt x="71" y="25"/>
                  </a:lnTo>
                  <a:lnTo>
                    <a:pt x="67" y="23"/>
                  </a:lnTo>
                  <a:lnTo>
                    <a:pt x="62" y="19"/>
                  </a:lnTo>
                  <a:lnTo>
                    <a:pt x="56" y="12"/>
                  </a:lnTo>
                  <a:lnTo>
                    <a:pt x="55" y="8"/>
                  </a:lnTo>
                  <a:lnTo>
                    <a:pt x="55" y="4"/>
                  </a:lnTo>
                  <a:lnTo>
                    <a:pt x="55" y="4"/>
                  </a:lnTo>
                  <a:lnTo>
                    <a:pt x="54" y="2"/>
                  </a:lnTo>
                  <a:lnTo>
                    <a:pt x="50" y="0"/>
                  </a:lnTo>
                  <a:lnTo>
                    <a:pt x="5" y="0"/>
                  </a:lnTo>
                  <a:lnTo>
                    <a:pt x="5" y="0"/>
                  </a:lnTo>
                  <a:lnTo>
                    <a:pt x="1" y="2"/>
                  </a:lnTo>
                  <a:lnTo>
                    <a:pt x="0" y="4"/>
                  </a:lnTo>
                  <a:lnTo>
                    <a:pt x="0" y="248"/>
                  </a:lnTo>
                  <a:lnTo>
                    <a:pt x="0" y="248"/>
                  </a:lnTo>
                  <a:lnTo>
                    <a:pt x="1" y="250"/>
                  </a:lnTo>
                  <a:lnTo>
                    <a:pt x="5" y="252"/>
                  </a:lnTo>
                  <a:lnTo>
                    <a:pt x="308" y="252"/>
                  </a:lnTo>
                  <a:lnTo>
                    <a:pt x="308" y="252"/>
                  </a:lnTo>
                  <a:lnTo>
                    <a:pt x="310" y="250"/>
                  </a:lnTo>
                  <a:lnTo>
                    <a:pt x="313" y="248"/>
                  </a:lnTo>
                  <a:lnTo>
                    <a:pt x="313" y="4"/>
                  </a:lnTo>
                  <a:lnTo>
                    <a:pt x="313" y="4"/>
                  </a:lnTo>
                  <a:lnTo>
                    <a:pt x="310" y="2"/>
                  </a:lnTo>
                  <a:lnTo>
                    <a:pt x="308" y="0"/>
                  </a:lnTo>
                  <a:lnTo>
                    <a:pt x="308" y="0"/>
                  </a:lnTo>
                  <a:close/>
                  <a:moveTo>
                    <a:pt x="70" y="105"/>
                  </a:moveTo>
                  <a:lnTo>
                    <a:pt x="70" y="105"/>
                  </a:lnTo>
                  <a:lnTo>
                    <a:pt x="71" y="101"/>
                  </a:lnTo>
                  <a:lnTo>
                    <a:pt x="73" y="96"/>
                  </a:lnTo>
                  <a:lnTo>
                    <a:pt x="75" y="92"/>
                  </a:lnTo>
                  <a:lnTo>
                    <a:pt x="78" y="88"/>
                  </a:lnTo>
                  <a:lnTo>
                    <a:pt x="82" y="85"/>
                  </a:lnTo>
                  <a:lnTo>
                    <a:pt x="86" y="82"/>
                  </a:lnTo>
                  <a:lnTo>
                    <a:pt x="90" y="81"/>
                  </a:lnTo>
                  <a:lnTo>
                    <a:pt x="95" y="81"/>
                  </a:lnTo>
                  <a:lnTo>
                    <a:pt x="95" y="81"/>
                  </a:lnTo>
                  <a:lnTo>
                    <a:pt x="101" y="81"/>
                  </a:lnTo>
                  <a:lnTo>
                    <a:pt x="105" y="82"/>
                  </a:lnTo>
                  <a:lnTo>
                    <a:pt x="110" y="85"/>
                  </a:lnTo>
                  <a:lnTo>
                    <a:pt x="113" y="88"/>
                  </a:lnTo>
                  <a:lnTo>
                    <a:pt x="117" y="92"/>
                  </a:lnTo>
                  <a:lnTo>
                    <a:pt x="118" y="96"/>
                  </a:lnTo>
                  <a:lnTo>
                    <a:pt x="121" y="101"/>
                  </a:lnTo>
                  <a:lnTo>
                    <a:pt x="121" y="105"/>
                  </a:lnTo>
                  <a:lnTo>
                    <a:pt x="121" y="116"/>
                  </a:lnTo>
                  <a:lnTo>
                    <a:pt x="121" y="116"/>
                  </a:lnTo>
                  <a:lnTo>
                    <a:pt x="121" y="121"/>
                  </a:lnTo>
                  <a:lnTo>
                    <a:pt x="118" y="125"/>
                  </a:lnTo>
                  <a:lnTo>
                    <a:pt x="117" y="129"/>
                  </a:lnTo>
                  <a:lnTo>
                    <a:pt x="113" y="133"/>
                  </a:lnTo>
                  <a:lnTo>
                    <a:pt x="110" y="137"/>
                  </a:lnTo>
                  <a:lnTo>
                    <a:pt x="105" y="139"/>
                  </a:lnTo>
                  <a:lnTo>
                    <a:pt x="101" y="140"/>
                  </a:lnTo>
                  <a:lnTo>
                    <a:pt x="95" y="141"/>
                  </a:lnTo>
                  <a:lnTo>
                    <a:pt x="95" y="141"/>
                  </a:lnTo>
                  <a:lnTo>
                    <a:pt x="90" y="140"/>
                  </a:lnTo>
                  <a:lnTo>
                    <a:pt x="86" y="139"/>
                  </a:lnTo>
                  <a:lnTo>
                    <a:pt x="82" y="137"/>
                  </a:lnTo>
                  <a:lnTo>
                    <a:pt x="78" y="133"/>
                  </a:lnTo>
                  <a:lnTo>
                    <a:pt x="75" y="129"/>
                  </a:lnTo>
                  <a:lnTo>
                    <a:pt x="73" y="125"/>
                  </a:lnTo>
                  <a:lnTo>
                    <a:pt x="71" y="121"/>
                  </a:lnTo>
                  <a:lnTo>
                    <a:pt x="70" y="116"/>
                  </a:lnTo>
                  <a:lnTo>
                    <a:pt x="70" y="105"/>
                  </a:lnTo>
                  <a:close/>
                  <a:moveTo>
                    <a:pt x="146" y="191"/>
                  </a:moveTo>
                  <a:lnTo>
                    <a:pt x="146" y="191"/>
                  </a:lnTo>
                  <a:lnTo>
                    <a:pt x="146" y="191"/>
                  </a:lnTo>
                  <a:lnTo>
                    <a:pt x="46" y="191"/>
                  </a:lnTo>
                  <a:lnTo>
                    <a:pt x="46" y="191"/>
                  </a:lnTo>
                  <a:lnTo>
                    <a:pt x="42" y="190"/>
                  </a:lnTo>
                  <a:lnTo>
                    <a:pt x="40" y="187"/>
                  </a:lnTo>
                  <a:lnTo>
                    <a:pt x="40" y="187"/>
                  </a:lnTo>
                  <a:lnTo>
                    <a:pt x="40" y="179"/>
                  </a:lnTo>
                  <a:lnTo>
                    <a:pt x="43" y="172"/>
                  </a:lnTo>
                  <a:lnTo>
                    <a:pt x="46" y="167"/>
                  </a:lnTo>
                  <a:lnTo>
                    <a:pt x="51" y="162"/>
                  </a:lnTo>
                  <a:lnTo>
                    <a:pt x="55" y="158"/>
                  </a:lnTo>
                  <a:lnTo>
                    <a:pt x="62" y="154"/>
                  </a:lnTo>
                  <a:lnTo>
                    <a:pt x="69" y="152"/>
                  </a:lnTo>
                  <a:lnTo>
                    <a:pt x="75" y="151"/>
                  </a:lnTo>
                  <a:lnTo>
                    <a:pt x="116" y="151"/>
                  </a:lnTo>
                  <a:lnTo>
                    <a:pt x="116" y="151"/>
                  </a:lnTo>
                  <a:lnTo>
                    <a:pt x="122" y="152"/>
                  </a:lnTo>
                  <a:lnTo>
                    <a:pt x="129" y="154"/>
                  </a:lnTo>
                  <a:lnTo>
                    <a:pt x="136" y="158"/>
                  </a:lnTo>
                  <a:lnTo>
                    <a:pt x="140" y="162"/>
                  </a:lnTo>
                  <a:lnTo>
                    <a:pt x="145" y="166"/>
                  </a:lnTo>
                  <a:lnTo>
                    <a:pt x="148" y="172"/>
                  </a:lnTo>
                  <a:lnTo>
                    <a:pt x="151" y="179"/>
                  </a:lnTo>
                  <a:lnTo>
                    <a:pt x="151" y="186"/>
                  </a:lnTo>
                  <a:lnTo>
                    <a:pt x="151" y="186"/>
                  </a:lnTo>
                  <a:lnTo>
                    <a:pt x="152" y="187"/>
                  </a:lnTo>
                  <a:lnTo>
                    <a:pt x="152" y="187"/>
                  </a:lnTo>
                  <a:lnTo>
                    <a:pt x="149" y="190"/>
                  </a:lnTo>
                  <a:lnTo>
                    <a:pt x="146" y="191"/>
                  </a:lnTo>
                  <a:lnTo>
                    <a:pt x="146" y="191"/>
                  </a:lnTo>
                  <a:close/>
                  <a:moveTo>
                    <a:pt x="249" y="175"/>
                  </a:moveTo>
                  <a:lnTo>
                    <a:pt x="187" y="175"/>
                  </a:lnTo>
                  <a:lnTo>
                    <a:pt x="187" y="175"/>
                  </a:lnTo>
                  <a:lnTo>
                    <a:pt x="183" y="174"/>
                  </a:lnTo>
                  <a:lnTo>
                    <a:pt x="180" y="172"/>
                  </a:lnTo>
                  <a:lnTo>
                    <a:pt x="179" y="170"/>
                  </a:lnTo>
                  <a:lnTo>
                    <a:pt x="179" y="167"/>
                  </a:lnTo>
                  <a:lnTo>
                    <a:pt x="179" y="167"/>
                  </a:lnTo>
                  <a:lnTo>
                    <a:pt x="179" y="163"/>
                  </a:lnTo>
                  <a:lnTo>
                    <a:pt x="180" y="160"/>
                  </a:lnTo>
                  <a:lnTo>
                    <a:pt x="183" y="159"/>
                  </a:lnTo>
                  <a:lnTo>
                    <a:pt x="187" y="159"/>
                  </a:lnTo>
                  <a:lnTo>
                    <a:pt x="249" y="159"/>
                  </a:lnTo>
                  <a:lnTo>
                    <a:pt x="249" y="159"/>
                  </a:lnTo>
                  <a:lnTo>
                    <a:pt x="251" y="159"/>
                  </a:lnTo>
                  <a:lnTo>
                    <a:pt x="254" y="160"/>
                  </a:lnTo>
                  <a:lnTo>
                    <a:pt x="255" y="163"/>
                  </a:lnTo>
                  <a:lnTo>
                    <a:pt x="257" y="167"/>
                  </a:lnTo>
                  <a:lnTo>
                    <a:pt x="257" y="167"/>
                  </a:lnTo>
                  <a:lnTo>
                    <a:pt x="255" y="170"/>
                  </a:lnTo>
                  <a:lnTo>
                    <a:pt x="254" y="172"/>
                  </a:lnTo>
                  <a:lnTo>
                    <a:pt x="251" y="174"/>
                  </a:lnTo>
                  <a:lnTo>
                    <a:pt x="249" y="175"/>
                  </a:lnTo>
                  <a:lnTo>
                    <a:pt x="249" y="175"/>
                  </a:lnTo>
                  <a:close/>
                  <a:moveTo>
                    <a:pt x="269" y="133"/>
                  </a:moveTo>
                  <a:lnTo>
                    <a:pt x="187" y="133"/>
                  </a:lnTo>
                  <a:lnTo>
                    <a:pt x="187" y="133"/>
                  </a:lnTo>
                  <a:lnTo>
                    <a:pt x="183" y="133"/>
                  </a:lnTo>
                  <a:lnTo>
                    <a:pt x="180" y="132"/>
                  </a:lnTo>
                  <a:lnTo>
                    <a:pt x="179" y="129"/>
                  </a:lnTo>
                  <a:lnTo>
                    <a:pt x="179" y="125"/>
                  </a:lnTo>
                  <a:lnTo>
                    <a:pt x="179" y="125"/>
                  </a:lnTo>
                  <a:lnTo>
                    <a:pt x="179" y="123"/>
                  </a:lnTo>
                  <a:lnTo>
                    <a:pt x="180" y="120"/>
                  </a:lnTo>
                  <a:lnTo>
                    <a:pt x="183" y="119"/>
                  </a:lnTo>
                  <a:lnTo>
                    <a:pt x="187" y="117"/>
                  </a:lnTo>
                  <a:lnTo>
                    <a:pt x="269" y="117"/>
                  </a:lnTo>
                  <a:lnTo>
                    <a:pt x="269" y="117"/>
                  </a:lnTo>
                  <a:lnTo>
                    <a:pt x="271" y="119"/>
                  </a:lnTo>
                  <a:lnTo>
                    <a:pt x="274" y="120"/>
                  </a:lnTo>
                  <a:lnTo>
                    <a:pt x="277" y="123"/>
                  </a:lnTo>
                  <a:lnTo>
                    <a:pt x="277" y="125"/>
                  </a:lnTo>
                  <a:lnTo>
                    <a:pt x="277" y="125"/>
                  </a:lnTo>
                  <a:lnTo>
                    <a:pt x="277" y="129"/>
                  </a:lnTo>
                  <a:lnTo>
                    <a:pt x="274" y="132"/>
                  </a:lnTo>
                  <a:lnTo>
                    <a:pt x="271" y="133"/>
                  </a:lnTo>
                  <a:lnTo>
                    <a:pt x="269" y="133"/>
                  </a:lnTo>
                  <a:lnTo>
                    <a:pt x="269" y="1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Text Placeholder 27">
            <a:extLst>
              <a:ext uri="{FF2B5EF4-FFF2-40B4-BE49-F238E27FC236}">
                <a16:creationId xmlns:a16="http://schemas.microsoft.com/office/drawing/2014/main" id="{3325CFE8-84F0-44CF-84F4-2A2089CE2BB5}"/>
              </a:ext>
            </a:extLst>
          </p:cNvPr>
          <p:cNvSpPr>
            <a:spLocks noGrp="1"/>
          </p:cNvSpPr>
          <p:nvPr>
            <p:ph type="body" sz="quarter" idx="26"/>
          </p:nvPr>
        </p:nvSpPr>
        <p:spPr>
          <a:xfrm>
            <a:off x="6535556" y="2170893"/>
            <a:ext cx="4686013"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Tree>
    <p:extLst>
      <p:ext uri="{BB962C8B-B14F-4D97-AF65-F5344CB8AC3E}">
        <p14:creationId xmlns:p14="http://schemas.microsoft.com/office/powerpoint/2010/main" val="283440620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4_CV_x2">
    <p:bg>
      <p:bgPr>
        <a:solidFill>
          <a:srgbClr val="ECECE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C7045B-2B0E-1CF7-A13F-D0D057A30BF4}"/>
              </a:ext>
            </a:extLst>
          </p:cNvPr>
          <p:cNvSpPr/>
          <p:nvPr userDrawn="1"/>
        </p:nvSpPr>
        <p:spPr bwMode="gray">
          <a:xfrm>
            <a:off x="467125" y="1026695"/>
            <a:ext cx="11267675" cy="533600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pic>
        <p:nvPicPr>
          <p:cNvPr id="4" name="Picture 3">
            <a:extLst>
              <a:ext uri="{FF2B5EF4-FFF2-40B4-BE49-F238E27FC236}">
                <a16:creationId xmlns:a16="http://schemas.microsoft.com/office/drawing/2014/main" id="{603B92E2-2BFA-91BB-C667-F81A1B5BC197}"/>
              </a:ext>
            </a:extLst>
          </p:cNvPr>
          <p:cNvPicPr>
            <a:picLocks noChangeAspect="1"/>
          </p:cNvPicPr>
          <p:nvPr userDrawn="1"/>
        </p:nvPicPr>
        <p:blipFill rotWithShape="1">
          <a:blip r:embed="rId2" cstate="email">
            <a:alphaModFix amt="35000"/>
            <a:extLst>
              <a:ext uri="{28A0092B-C50C-407E-A947-70E740481C1C}">
                <a14:useLocalDpi xmlns:a14="http://schemas.microsoft.com/office/drawing/2010/main"/>
              </a:ext>
            </a:extLst>
          </a:blip>
          <a:srcRect/>
          <a:stretch/>
        </p:blipFill>
        <p:spPr>
          <a:xfrm>
            <a:off x="970430" y="1158285"/>
            <a:ext cx="5125569" cy="1402741"/>
          </a:xfrm>
          <a:prstGeom prst="rect">
            <a:avLst/>
          </a:prstGeom>
        </p:spPr>
      </p:pic>
      <p:sp>
        <p:nvSpPr>
          <p:cNvPr id="11" name="Picture Placeholder 8">
            <a:extLst>
              <a:ext uri="{FF2B5EF4-FFF2-40B4-BE49-F238E27FC236}">
                <a16:creationId xmlns:a16="http://schemas.microsoft.com/office/drawing/2014/main" id="{5F834A8A-067E-A149-B7F6-25D8C65ADEF0}"/>
              </a:ext>
            </a:extLst>
          </p:cNvPr>
          <p:cNvSpPr>
            <a:spLocks noGrp="1" noChangeAspect="1"/>
          </p:cNvSpPr>
          <p:nvPr>
            <p:ph type="pic" sz="quarter" idx="22"/>
          </p:nvPr>
        </p:nvSpPr>
        <p:spPr>
          <a:xfrm>
            <a:off x="638148" y="1164853"/>
            <a:ext cx="1260000" cy="1260000"/>
          </a:xfrm>
          <a:prstGeom prst="ellipse">
            <a:avLst/>
          </a:prstGeom>
          <a:solidFill>
            <a:schemeClr val="bg1">
              <a:lumMod val="95000"/>
            </a:schemeClr>
          </a:solidFill>
        </p:spPr>
        <p:txBody>
          <a:bodyPr/>
          <a:lstStyle/>
          <a:p>
            <a:endParaRPr lang="en-GB"/>
          </a:p>
        </p:txBody>
      </p:sp>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4400" y="417600"/>
            <a:ext cx="11277599" cy="334099"/>
          </a:xfrm>
          <a:prstGeom prst="rect">
            <a:avLst/>
          </a:prstGeom>
          <a:noFill/>
        </p:spPr>
        <p:txBody>
          <a:bodyPr vert="horz" lIns="0" tIns="0" rIns="0" bIns="0" rtlCol="0" anchor="t" anchorCtr="0">
            <a:noAutofit/>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5" name="Text Placeholder 40">
            <a:extLst>
              <a:ext uri="{FF2B5EF4-FFF2-40B4-BE49-F238E27FC236}">
                <a16:creationId xmlns:a16="http://schemas.microsoft.com/office/drawing/2014/main" id="{C192016D-2850-4EC6-5C63-881FD3C111CA}"/>
              </a:ext>
            </a:extLst>
          </p:cNvPr>
          <p:cNvSpPr>
            <a:spLocks noGrp="1"/>
          </p:cNvSpPr>
          <p:nvPr>
            <p:ph type="body" sz="quarter" idx="21" hasCustomPrompt="1"/>
          </p:nvPr>
        </p:nvSpPr>
        <p:spPr>
          <a:xfrm>
            <a:off x="2093823" y="1326392"/>
            <a:ext cx="1758510" cy="836503"/>
          </a:xfrm>
        </p:spPr>
        <p:txBody>
          <a:bodyPr lIns="0">
            <a:noAutofit/>
          </a:bodyPr>
          <a:lstStyle>
            <a:lvl1pPr>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Aft>
                <a:spcPts val="200"/>
              </a:spcAft>
              <a:buNone/>
              <a:defRPr sz="1400" b="1" i="0">
                <a:solidFill>
                  <a:schemeClr val="accent2"/>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dirty="0"/>
              <a:t>Fifth level</a:t>
            </a:r>
            <a:endParaRPr lang="en-GB" dirty="0"/>
          </a:p>
        </p:txBody>
      </p:sp>
      <p:sp>
        <p:nvSpPr>
          <p:cNvPr id="16" name="Oval 15">
            <a:extLst>
              <a:ext uri="{FF2B5EF4-FFF2-40B4-BE49-F238E27FC236}">
                <a16:creationId xmlns:a16="http://schemas.microsoft.com/office/drawing/2014/main" id="{16183CB6-2C37-0D35-9AC9-CBC1F07A0C6D}"/>
              </a:ext>
            </a:extLst>
          </p:cNvPr>
          <p:cNvSpPr/>
          <p:nvPr userDrawn="1"/>
        </p:nvSpPr>
        <p:spPr bwMode="gray">
          <a:xfrm>
            <a:off x="4049503" y="1366128"/>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17" name="Oval 16">
            <a:extLst>
              <a:ext uri="{FF2B5EF4-FFF2-40B4-BE49-F238E27FC236}">
                <a16:creationId xmlns:a16="http://schemas.microsoft.com/office/drawing/2014/main" id="{E53CDDD6-3D77-259D-FD6C-D6999819CCC3}"/>
              </a:ext>
            </a:extLst>
          </p:cNvPr>
          <p:cNvSpPr/>
          <p:nvPr userDrawn="1"/>
        </p:nvSpPr>
        <p:spPr bwMode="gray">
          <a:xfrm>
            <a:off x="4049503" y="1567862"/>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20" name="Oval 19">
            <a:extLst>
              <a:ext uri="{FF2B5EF4-FFF2-40B4-BE49-F238E27FC236}">
                <a16:creationId xmlns:a16="http://schemas.microsoft.com/office/drawing/2014/main" id="{7968E04B-3FC3-6EF3-5D27-9F13C0A8DC9C}"/>
              </a:ext>
            </a:extLst>
          </p:cNvPr>
          <p:cNvSpPr/>
          <p:nvPr userDrawn="1"/>
        </p:nvSpPr>
        <p:spPr bwMode="gray">
          <a:xfrm>
            <a:off x="4049503" y="1769596"/>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21" name="Oval 20">
            <a:extLst>
              <a:ext uri="{FF2B5EF4-FFF2-40B4-BE49-F238E27FC236}">
                <a16:creationId xmlns:a16="http://schemas.microsoft.com/office/drawing/2014/main" id="{06E287A0-9EF7-1E6C-1997-EACF0E26E6A6}"/>
              </a:ext>
            </a:extLst>
          </p:cNvPr>
          <p:cNvSpPr/>
          <p:nvPr userDrawn="1"/>
        </p:nvSpPr>
        <p:spPr bwMode="gray">
          <a:xfrm>
            <a:off x="4049503" y="1971330"/>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22" name="Graphic 4">
            <a:extLst>
              <a:ext uri="{FF2B5EF4-FFF2-40B4-BE49-F238E27FC236}">
                <a16:creationId xmlns:a16="http://schemas.microsoft.com/office/drawing/2014/main" id="{560B4A67-2682-47AC-49D0-BF1A903D76EB}"/>
              </a:ext>
            </a:extLst>
          </p:cNvPr>
          <p:cNvSpPr>
            <a:spLocks noChangeAspect="1"/>
          </p:cNvSpPr>
          <p:nvPr userDrawn="1"/>
        </p:nvSpPr>
        <p:spPr>
          <a:xfrm>
            <a:off x="4082888" y="1412860"/>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noAutofit/>
          </a:bodyPr>
          <a:lstStyle/>
          <a:p>
            <a:endParaRPr lang="en-US"/>
          </a:p>
        </p:txBody>
      </p:sp>
      <p:sp>
        <p:nvSpPr>
          <p:cNvPr id="23" name="Graphic 1100">
            <a:extLst>
              <a:ext uri="{FF2B5EF4-FFF2-40B4-BE49-F238E27FC236}">
                <a16:creationId xmlns:a16="http://schemas.microsoft.com/office/drawing/2014/main" id="{C1557683-7396-E359-3DDF-BBFC13C2294D}"/>
              </a:ext>
            </a:extLst>
          </p:cNvPr>
          <p:cNvSpPr/>
          <p:nvPr userDrawn="1"/>
        </p:nvSpPr>
        <p:spPr>
          <a:xfrm>
            <a:off x="4086368" y="1606132"/>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noAutofit/>
          </a:bodyPr>
          <a:lstStyle/>
          <a:p>
            <a:endParaRPr lang="en-US">
              <a:solidFill>
                <a:schemeClr val="accent5"/>
              </a:solidFill>
            </a:endParaRPr>
          </a:p>
        </p:txBody>
      </p:sp>
      <p:grpSp>
        <p:nvGrpSpPr>
          <p:cNvPr id="24" name="Graphic 4">
            <a:extLst>
              <a:ext uri="{FF2B5EF4-FFF2-40B4-BE49-F238E27FC236}">
                <a16:creationId xmlns:a16="http://schemas.microsoft.com/office/drawing/2014/main" id="{30F51514-562A-E413-9DD5-272FABCC31DC}"/>
              </a:ext>
            </a:extLst>
          </p:cNvPr>
          <p:cNvGrpSpPr/>
          <p:nvPr userDrawn="1"/>
        </p:nvGrpSpPr>
        <p:grpSpPr>
          <a:xfrm>
            <a:off x="4095842" y="1804961"/>
            <a:ext cx="73565" cy="101091"/>
            <a:chOff x="2656935" y="4857096"/>
            <a:chExt cx="170032" cy="233653"/>
          </a:xfrm>
          <a:solidFill>
            <a:schemeClr val="bg1"/>
          </a:solidFill>
        </p:grpSpPr>
        <p:sp>
          <p:nvSpPr>
            <p:cNvPr id="25" name="Graphic 4">
              <a:extLst>
                <a:ext uri="{FF2B5EF4-FFF2-40B4-BE49-F238E27FC236}">
                  <a16:creationId xmlns:a16="http://schemas.microsoft.com/office/drawing/2014/main" id="{038E7B2A-D65E-29DD-72BD-1C9E8E652C6A}"/>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noAutofit/>
            </a:bodyPr>
            <a:lstStyle/>
            <a:p>
              <a:endParaRPr lang="en-US"/>
            </a:p>
          </p:txBody>
        </p:sp>
        <p:sp>
          <p:nvSpPr>
            <p:cNvPr id="26" name="Graphic 4">
              <a:extLst>
                <a:ext uri="{FF2B5EF4-FFF2-40B4-BE49-F238E27FC236}">
                  <a16:creationId xmlns:a16="http://schemas.microsoft.com/office/drawing/2014/main" id="{73E6F964-9AB0-DDBD-2208-5BDDBA655EF3}"/>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noAutofit/>
            </a:bodyPr>
            <a:lstStyle/>
            <a:p>
              <a:endParaRPr lang="en-US"/>
            </a:p>
          </p:txBody>
        </p:sp>
      </p:grpSp>
      <p:sp>
        <p:nvSpPr>
          <p:cNvPr id="27" name="Graphic 4">
            <a:extLst>
              <a:ext uri="{FF2B5EF4-FFF2-40B4-BE49-F238E27FC236}">
                <a16:creationId xmlns:a16="http://schemas.microsoft.com/office/drawing/2014/main" id="{66D0D708-E723-17E9-BCD1-7D43DBC08C24}"/>
              </a:ext>
            </a:extLst>
          </p:cNvPr>
          <p:cNvSpPr/>
          <p:nvPr userDrawn="1"/>
        </p:nvSpPr>
        <p:spPr>
          <a:xfrm>
            <a:off x="4088721" y="2016349"/>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noAutofit/>
          </a:bodyPr>
          <a:lstStyle/>
          <a:p>
            <a:endParaRPr lang="en-US"/>
          </a:p>
        </p:txBody>
      </p:sp>
      <p:sp>
        <p:nvSpPr>
          <p:cNvPr id="28" name="Text Placeholder 27">
            <a:extLst>
              <a:ext uri="{FF2B5EF4-FFF2-40B4-BE49-F238E27FC236}">
                <a16:creationId xmlns:a16="http://schemas.microsoft.com/office/drawing/2014/main" id="{19640466-C60C-8500-2B3F-3380C21679AD}"/>
              </a:ext>
            </a:extLst>
          </p:cNvPr>
          <p:cNvSpPr>
            <a:spLocks noGrp="1"/>
          </p:cNvSpPr>
          <p:nvPr>
            <p:ph type="body" sz="quarter" idx="16"/>
          </p:nvPr>
        </p:nvSpPr>
        <p:spPr>
          <a:xfrm>
            <a:off x="4298660" y="1364405"/>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29" name="Text Placeholder 27">
            <a:extLst>
              <a:ext uri="{FF2B5EF4-FFF2-40B4-BE49-F238E27FC236}">
                <a16:creationId xmlns:a16="http://schemas.microsoft.com/office/drawing/2014/main" id="{5835141B-C563-EB7C-2FCC-3217E06CB2D6}"/>
              </a:ext>
            </a:extLst>
          </p:cNvPr>
          <p:cNvSpPr>
            <a:spLocks noGrp="1"/>
          </p:cNvSpPr>
          <p:nvPr>
            <p:ph type="body" sz="quarter" idx="17"/>
          </p:nvPr>
        </p:nvSpPr>
        <p:spPr>
          <a:xfrm>
            <a:off x="4298660" y="1566012"/>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0" name="Text Placeholder 27">
            <a:extLst>
              <a:ext uri="{FF2B5EF4-FFF2-40B4-BE49-F238E27FC236}">
                <a16:creationId xmlns:a16="http://schemas.microsoft.com/office/drawing/2014/main" id="{3B330040-00E9-C85C-043C-1532E2D0C695}"/>
              </a:ext>
            </a:extLst>
          </p:cNvPr>
          <p:cNvSpPr>
            <a:spLocks noGrp="1"/>
          </p:cNvSpPr>
          <p:nvPr>
            <p:ph type="body" sz="quarter" idx="18"/>
          </p:nvPr>
        </p:nvSpPr>
        <p:spPr>
          <a:xfrm>
            <a:off x="4298660" y="1767527"/>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1" name="Text Placeholder 27">
            <a:extLst>
              <a:ext uri="{FF2B5EF4-FFF2-40B4-BE49-F238E27FC236}">
                <a16:creationId xmlns:a16="http://schemas.microsoft.com/office/drawing/2014/main" id="{CA8D9D34-2CDD-EE9F-FDEE-E2D0F0B3CF2F}"/>
              </a:ext>
            </a:extLst>
          </p:cNvPr>
          <p:cNvSpPr>
            <a:spLocks noGrp="1"/>
          </p:cNvSpPr>
          <p:nvPr>
            <p:ph type="body" sz="quarter" idx="19"/>
          </p:nvPr>
        </p:nvSpPr>
        <p:spPr>
          <a:xfrm>
            <a:off x="4298660" y="1969210"/>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4" name="Text Placeholder 4">
            <a:extLst>
              <a:ext uri="{FF2B5EF4-FFF2-40B4-BE49-F238E27FC236}">
                <a16:creationId xmlns:a16="http://schemas.microsoft.com/office/drawing/2014/main" id="{96FF3014-BCB5-AD37-D9B1-BC0927F32221}"/>
              </a:ext>
            </a:extLst>
          </p:cNvPr>
          <p:cNvSpPr>
            <a:spLocks noGrp="1"/>
          </p:cNvSpPr>
          <p:nvPr>
            <p:ph type="body" sz="quarter" idx="33"/>
          </p:nvPr>
        </p:nvSpPr>
        <p:spPr>
          <a:xfrm>
            <a:off x="630603" y="2750077"/>
            <a:ext cx="5312998" cy="3339438"/>
          </a:xfrm>
        </p:spPr>
        <p:txBody>
          <a:bodyPr numCol="2" spcCol="216000">
            <a:normAutofit/>
          </a:bodyPr>
          <a:lstStyle>
            <a:lvl1pPr>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a:defRPr sz="900" b="0" i="0">
                <a:latin typeface="Open Sans Light" panose="020B0306030504020204" pitchFamily="34" charset="0"/>
                <a:ea typeface="Open Sans Light" panose="020B0306030504020204" pitchFamily="34" charset="0"/>
                <a:cs typeface="Open Sans Light" panose="020B0306030504020204" pitchFamily="34" charset="0"/>
              </a:defRPr>
            </a:lvl2pPr>
            <a:lvl3pPr>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CH" dirty="0"/>
          </a:p>
        </p:txBody>
      </p:sp>
      <p:sp>
        <p:nvSpPr>
          <p:cNvPr id="35" name="Text Placeholder 4">
            <a:extLst>
              <a:ext uri="{FF2B5EF4-FFF2-40B4-BE49-F238E27FC236}">
                <a16:creationId xmlns:a16="http://schemas.microsoft.com/office/drawing/2014/main" id="{4F3A36BD-9EF7-2720-54BE-39F004C4AB57}"/>
              </a:ext>
            </a:extLst>
          </p:cNvPr>
          <p:cNvSpPr>
            <a:spLocks noGrp="1"/>
          </p:cNvSpPr>
          <p:nvPr>
            <p:ph type="body" sz="quarter" idx="34"/>
          </p:nvPr>
        </p:nvSpPr>
        <p:spPr>
          <a:xfrm>
            <a:off x="6248400" y="2750077"/>
            <a:ext cx="5312998" cy="3339438"/>
          </a:xfrm>
        </p:spPr>
        <p:txBody>
          <a:bodyPr numCol="2" spcCol="216000">
            <a:normAutofit/>
          </a:bodyPr>
          <a:lstStyle>
            <a:lvl1pPr>
              <a:defRPr sz="900" b="0" i="0">
                <a:latin typeface="Open Sans Light" panose="020B0306030504020204" pitchFamily="34" charset="0"/>
                <a:ea typeface="Open Sans Light" panose="020B0306030504020204" pitchFamily="34" charset="0"/>
                <a:cs typeface="Open Sans Light" panose="020B0306030504020204" pitchFamily="34" charset="0"/>
              </a:defRPr>
            </a:lvl1pPr>
            <a:lvl2pPr>
              <a:defRPr sz="900" b="0" i="0">
                <a:latin typeface="Open Sans Light" panose="020B0306030504020204" pitchFamily="34" charset="0"/>
                <a:ea typeface="Open Sans Light" panose="020B0306030504020204" pitchFamily="34" charset="0"/>
                <a:cs typeface="Open Sans Light" panose="020B0306030504020204" pitchFamily="34" charset="0"/>
              </a:defRPr>
            </a:lvl2pPr>
            <a:lvl3pPr>
              <a:defRPr sz="900" b="0" i="0">
                <a:latin typeface="Open Sans Light" panose="020B0306030504020204" pitchFamily="34" charset="0"/>
                <a:ea typeface="Open Sans Light" panose="020B0306030504020204" pitchFamily="34" charset="0"/>
                <a:cs typeface="Open Sans Light" panose="020B0306030504020204" pitchFamily="34" charset="0"/>
              </a:defRPr>
            </a:lvl3pPr>
            <a:lvl4pPr>
              <a:defRPr sz="900" b="0" i="0">
                <a:latin typeface="Open Sans Light" panose="020B0306030504020204" pitchFamily="34" charset="0"/>
                <a:ea typeface="Open Sans Light" panose="020B0306030504020204" pitchFamily="34" charset="0"/>
                <a:cs typeface="Open Sans Light" panose="020B0306030504020204" pitchFamily="34" charset="0"/>
              </a:defRPr>
            </a:lvl4pPr>
            <a:lvl5pPr>
              <a:defRPr sz="9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CH" dirty="0"/>
          </a:p>
        </p:txBody>
      </p:sp>
      <p:pic>
        <p:nvPicPr>
          <p:cNvPr id="36" name="Picture 35">
            <a:extLst>
              <a:ext uri="{FF2B5EF4-FFF2-40B4-BE49-F238E27FC236}">
                <a16:creationId xmlns:a16="http://schemas.microsoft.com/office/drawing/2014/main" id="{DE8057B3-7388-0A6F-0F23-7544D551B7D8}"/>
              </a:ext>
            </a:extLst>
          </p:cNvPr>
          <p:cNvPicPr>
            <a:picLocks noChangeAspect="1"/>
          </p:cNvPicPr>
          <p:nvPr userDrawn="1"/>
        </p:nvPicPr>
        <p:blipFill rotWithShape="1">
          <a:blip r:embed="rId2" cstate="email">
            <a:alphaModFix amt="35000"/>
            <a:extLst>
              <a:ext uri="{28A0092B-C50C-407E-A947-70E740481C1C}">
                <a14:useLocalDpi xmlns:a14="http://schemas.microsoft.com/office/drawing/2010/main"/>
              </a:ext>
            </a:extLst>
          </a:blip>
          <a:srcRect/>
          <a:stretch/>
        </p:blipFill>
        <p:spPr>
          <a:xfrm>
            <a:off x="6571348" y="1170804"/>
            <a:ext cx="5125569" cy="1402741"/>
          </a:xfrm>
          <a:prstGeom prst="rect">
            <a:avLst/>
          </a:prstGeom>
        </p:spPr>
      </p:pic>
      <p:sp>
        <p:nvSpPr>
          <p:cNvPr id="37" name="Text Placeholder 40">
            <a:extLst>
              <a:ext uri="{FF2B5EF4-FFF2-40B4-BE49-F238E27FC236}">
                <a16:creationId xmlns:a16="http://schemas.microsoft.com/office/drawing/2014/main" id="{FFF32CB5-3606-E7B0-FDBB-CB32C961D0D5}"/>
              </a:ext>
            </a:extLst>
          </p:cNvPr>
          <p:cNvSpPr>
            <a:spLocks noGrp="1"/>
          </p:cNvSpPr>
          <p:nvPr>
            <p:ph type="body" sz="quarter" idx="35" hasCustomPrompt="1"/>
          </p:nvPr>
        </p:nvSpPr>
        <p:spPr>
          <a:xfrm>
            <a:off x="7694741" y="1338911"/>
            <a:ext cx="1758510" cy="836503"/>
          </a:xfrm>
        </p:spPr>
        <p:txBody>
          <a:bodyPr lIns="0">
            <a:noAutofit/>
          </a:bodyPr>
          <a:lstStyle>
            <a:lvl1pPr>
              <a:spcAft>
                <a:spcPts val="0"/>
              </a:spcAft>
              <a:defRPr sz="13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spcAft>
                <a:spcPts val="200"/>
              </a:spcAft>
              <a:buNone/>
              <a:defRPr sz="1400" b="1" i="0">
                <a:solidFill>
                  <a:schemeClr val="accent2"/>
                </a:solidFill>
                <a:latin typeface="Open Sans SemiBold" panose="020B0606030504020204" pitchFamily="34" charset="0"/>
                <a:ea typeface="Open Sans SemiBold" panose="020B0606030504020204" pitchFamily="34" charset="0"/>
                <a:cs typeface="Open Sans SemiBold" panose="020B0606030504020204" pitchFamily="34" charset="0"/>
              </a:defRPr>
            </a:lvl2pPr>
            <a:lvl5pPr marL="0" indent="0">
              <a:spcAft>
                <a:spcPts val="200"/>
              </a:spcAft>
              <a:buNone/>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Edit Master text styles</a:t>
            </a:r>
          </a:p>
          <a:p>
            <a:pPr lvl="1"/>
            <a:r>
              <a:rPr lang="en-US" dirty="0"/>
              <a:t>Second level</a:t>
            </a:r>
          </a:p>
          <a:p>
            <a:pPr lvl="4"/>
            <a:r>
              <a:rPr lang="en-US" dirty="0"/>
              <a:t>Fifth level</a:t>
            </a:r>
            <a:endParaRPr lang="en-GB" dirty="0"/>
          </a:p>
        </p:txBody>
      </p:sp>
      <p:sp>
        <p:nvSpPr>
          <p:cNvPr id="40" name="Oval 39">
            <a:extLst>
              <a:ext uri="{FF2B5EF4-FFF2-40B4-BE49-F238E27FC236}">
                <a16:creationId xmlns:a16="http://schemas.microsoft.com/office/drawing/2014/main" id="{2A7706A1-5AE3-9BDC-636A-1C6486B518B3}"/>
              </a:ext>
            </a:extLst>
          </p:cNvPr>
          <p:cNvSpPr/>
          <p:nvPr userDrawn="1"/>
        </p:nvSpPr>
        <p:spPr bwMode="gray">
          <a:xfrm>
            <a:off x="9650421" y="1782115"/>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41" name="Oval 40">
            <a:extLst>
              <a:ext uri="{FF2B5EF4-FFF2-40B4-BE49-F238E27FC236}">
                <a16:creationId xmlns:a16="http://schemas.microsoft.com/office/drawing/2014/main" id="{F4BFDBCD-A855-4434-185C-37BC16EB2BF7}"/>
              </a:ext>
            </a:extLst>
          </p:cNvPr>
          <p:cNvSpPr/>
          <p:nvPr userDrawn="1"/>
        </p:nvSpPr>
        <p:spPr bwMode="gray">
          <a:xfrm>
            <a:off x="9650421" y="1983849"/>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grpSp>
        <p:nvGrpSpPr>
          <p:cNvPr id="44" name="Graphic 4">
            <a:extLst>
              <a:ext uri="{FF2B5EF4-FFF2-40B4-BE49-F238E27FC236}">
                <a16:creationId xmlns:a16="http://schemas.microsoft.com/office/drawing/2014/main" id="{40FA3299-2331-EFD1-2D1F-087321644E15}"/>
              </a:ext>
            </a:extLst>
          </p:cNvPr>
          <p:cNvGrpSpPr/>
          <p:nvPr userDrawn="1"/>
        </p:nvGrpSpPr>
        <p:grpSpPr>
          <a:xfrm>
            <a:off x="9696760" y="1817480"/>
            <a:ext cx="73565" cy="101091"/>
            <a:chOff x="2656935" y="4857096"/>
            <a:chExt cx="170032" cy="233653"/>
          </a:xfrm>
          <a:solidFill>
            <a:schemeClr val="bg1"/>
          </a:solidFill>
        </p:grpSpPr>
        <p:sp>
          <p:nvSpPr>
            <p:cNvPr id="45" name="Graphic 4">
              <a:extLst>
                <a:ext uri="{FF2B5EF4-FFF2-40B4-BE49-F238E27FC236}">
                  <a16:creationId xmlns:a16="http://schemas.microsoft.com/office/drawing/2014/main" id="{553FD3DE-1AD9-9AA3-C401-1960D7FCE65E}"/>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88B8026E-D027-1C15-D92C-52FC80D21A9D}"/>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endParaRPr lang="en-US"/>
            </a:p>
          </p:txBody>
        </p:sp>
      </p:grpSp>
      <p:sp>
        <p:nvSpPr>
          <p:cNvPr id="47" name="Graphic 4">
            <a:extLst>
              <a:ext uri="{FF2B5EF4-FFF2-40B4-BE49-F238E27FC236}">
                <a16:creationId xmlns:a16="http://schemas.microsoft.com/office/drawing/2014/main" id="{5C0B6975-3442-D29D-6B9D-8E4A7E84BC0F}"/>
              </a:ext>
            </a:extLst>
          </p:cNvPr>
          <p:cNvSpPr/>
          <p:nvPr userDrawn="1"/>
        </p:nvSpPr>
        <p:spPr>
          <a:xfrm>
            <a:off x="9689639" y="2028868"/>
            <a:ext cx="87028" cy="75427"/>
          </a:xfrm>
          <a:custGeom>
            <a:avLst/>
            <a:gdLst>
              <a:gd name="connsiteX0" fmla="*/ 195532 w 202560"/>
              <a:gd name="connsiteY0" fmla="*/ 0 h 175559"/>
              <a:gd name="connsiteX1" fmla="*/ 6390 w 202560"/>
              <a:gd name="connsiteY1" fmla="*/ 0 h 175559"/>
              <a:gd name="connsiteX2" fmla="*/ 0 w 202560"/>
              <a:gd name="connsiteY2" fmla="*/ 6384 h 175559"/>
              <a:gd name="connsiteX3" fmla="*/ 0 w 202560"/>
              <a:gd name="connsiteY3" fmla="*/ 128318 h 175559"/>
              <a:gd name="connsiteX4" fmla="*/ 6390 w 202560"/>
              <a:gd name="connsiteY4" fmla="*/ 134702 h 175559"/>
              <a:gd name="connsiteX5" fmla="*/ 33867 w 202560"/>
              <a:gd name="connsiteY5" fmla="*/ 134702 h 175559"/>
              <a:gd name="connsiteX6" fmla="*/ 33867 w 202560"/>
              <a:gd name="connsiteY6" fmla="*/ 169176 h 175559"/>
              <a:gd name="connsiteX7" fmla="*/ 38340 w 202560"/>
              <a:gd name="connsiteY7" fmla="*/ 174921 h 175559"/>
              <a:gd name="connsiteX8" fmla="*/ 40257 w 202560"/>
              <a:gd name="connsiteY8" fmla="*/ 175560 h 175559"/>
              <a:gd name="connsiteX9" fmla="*/ 45369 w 202560"/>
              <a:gd name="connsiteY9" fmla="*/ 173006 h 175559"/>
              <a:gd name="connsiteX10" fmla="*/ 77318 w 202560"/>
              <a:gd name="connsiteY10" fmla="*/ 134702 h 175559"/>
              <a:gd name="connsiteX11" fmla="*/ 196171 w 202560"/>
              <a:gd name="connsiteY11" fmla="*/ 134702 h 175559"/>
              <a:gd name="connsiteX12" fmla="*/ 202561 w 202560"/>
              <a:gd name="connsiteY12" fmla="*/ 128318 h 175559"/>
              <a:gd name="connsiteX13" fmla="*/ 202561 w 202560"/>
              <a:gd name="connsiteY13" fmla="*/ 6384 h 175559"/>
              <a:gd name="connsiteX14" fmla="*/ 195532 w 202560"/>
              <a:gd name="connsiteY14" fmla="*/ 0 h 175559"/>
              <a:gd name="connsiteX15" fmla="*/ 189142 w 202560"/>
              <a:gd name="connsiteY15" fmla="*/ 121296 h 175559"/>
              <a:gd name="connsiteX16" fmla="*/ 73484 w 202560"/>
              <a:gd name="connsiteY16" fmla="*/ 121296 h 175559"/>
              <a:gd name="connsiteX17" fmla="*/ 68372 w 202560"/>
              <a:gd name="connsiteY17" fmla="*/ 123849 h 175559"/>
              <a:gd name="connsiteX18" fmla="*/ 46007 w 202560"/>
              <a:gd name="connsiteY18" fmla="*/ 150662 h 175559"/>
              <a:gd name="connsiteX19" fmla="*/ 46007 w 202560"/>
              <a:gd name="connsiteY19" fmla="*/ 127680 h 175559"/>
              <a:gd name="connsiteX20" fmla="*/ 39618 w 202560"/>
              <a:gd name="connsiteY20" fmla="*/ 121296 h 175559"/>
              <a:gd name="connsiteX21" fmla="*/ 12141 w 202560"/>
              <a:gd name="connsiteY21" fmla="*/ 121296 h 175559"/>
              <a:gd name="connsiteX22" fmla="*/ 12141 w 202560"/>
              <a:gd name="connsiteY22" fmla="*/ 12129 h 175559"/>
              <a:gd name="connsiteX23" fmla="*/ 188503 w 202560"/>
              <a:gd name="connsiteY23" fmla="*/ 12129 h 175559"/>
              <a:gd name="connsiteX24" fmla="*/ 188503 w 202560"/>
              <a:gd name="connsiteY24" fmla="*/ 121296 h 1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2560" h="175559">
                <a:moveTo>
                  <a:pt x="195532" y="0"/>
                </a:moveTo>
                <a:lnTo>
                  <a:pt x="6390" y="0"/>
                </a:lnTo>
                <a:cubicBezTo>
                  <a:pt x="2556" y="0"/>
                  <a:pt x="0" y="2553"/>
                  <a:pt x="0" y="6384"/>
                </a:cubicBezTo>
                <a:lnTo>
                  <a:pt x="0" y="128318"/>
                </a:lnTo>
                <a:cubicBezTo>
                  <a:pt x="0" y="132149"/>
                  <a:pt x="2556" y="134702"/>
                  <a:pt x="6390" y="134702"/>
                </a:cubicBezTo>
                <a:lnTo>
                  <a:pt x="33867" y="134702"/>
                </a:lnTo>
                <a:lnTo>
                  <a:pt x="33867" y="169176"/>
                </a:lnTo>
                <a:cubicBezTo>
                  <a:pt x="33867" y="171729"/>
                  <a:pt x="35784" y="174283"/>
                  <a:pt x="38340" y="174921"/>
                </a:cubicBezTo>
                <a:cubicBezTo>
                  <a:pt x="38979" y="174921"/>
                  <a:pt x="39618" y="175560"/>
                  <a:pt x="40257" y="175560"/>
                </a:cubicBezTo>
                <a:cubicBezTo>
                  <a:pt x="42174" y="175560"/>
                  <a:pt x="44091" y="174921"/>
                  <a:pt x="45369" y="173006"/>
                </a:cubicBezTo>
                <a:lnTo>
                  <a:pt x="77318" y="134702"/>
                </a:lnTo>
                <a:lnTo>
                  <a:pt x="196171" y="134702"/>
                </a:lnTo>
                <a:cubicBezTo>
                  <a:pt x="200005" y="134702"/>
                  <a:pt x="202561" y="132149"/>
                  <a:pt x="202561" y="128318"/>
                </a:cubicBezTo>
                <a:lnTo>
                  <a:pt x="202561" y="6384"/>
                </a:lnTo>
                <a:cubicBezTo>
                  <a:pt x="201922" y="2553"/>
                  <a:pt x="199366" y="0"/>
                  <a:pt x="195532" y="0"/>
                </a:cubicBezTo>
                <a:close/>
                <a:moveTo>
                  <a:pt x="189142" y="121296"/>
                </a:moveTo>
                <a:lnTo>
                  <a:pt x="73484" y="121296"/>
                </a:lnTo>
                <a:cubicBezTo>
                  <a:pt x="71567" y="121296"/>
                  <a:pt x="69650" y="121934"/>
                  <a:pt x="68372" y="123849"/>
                </a:cubicBezTo>
                <a:lnTo>
                  <a:pt x="46007" y="150662"/>
                </a:lnTo>
                <a:lnTo>
                  <a:pt x="46007" y="127680"/>
                </a:lnTo>
                <a:cubicBezTo>
                  <a:pt x="46007" y="123849"/>
                  <a:pt x="43451" y="121296"/>
                  <a:pt x="39618" y="121296"/>
                </a:cubicBezTo>
                <a:lnTo>
                  <a:pt x="12141" y="121296"/>
                </a:lnTo>
                <a:lnTo>
                  <a:pt x="12141" y="12129"/>
                </a:lnTo>
                <a:lnTo>
                  <a:pt x="188503" y="12129"/>
                </a:lnTo>
                <a:lnTo>
                  <a:pt x="188503" y="121296"/>
                </a:lnTo>
                <a:close/>
              </a:path>
            </a:pathLst>
          </a:custGeom>
          <a:solidFill>
            <a:schemeClr val="bg1"/>
          </a:solidFill>
          <a:ln w="6390" cap="flat">
            <a:noFill/>
            <a:prstDash val="solid"/>
            <a:miter/>
          </a:ln>
        </p:spPr>
        <p:txBody>
          <a:bodyPr rtlCol="0" anchor="ctr"/>
          <a:lstStyle/>
          <a:p>
            <a:endParaRPr lang="en-US"/>
          </a:p>
        </p:txBody>
      </p:sp>
      <p:sp>
        <p:nvSpPr>
          <p:cNvPr id="50" name="Text Placeholder 27">
            <a:extLst>
              <a:ext uri="{FF2B5EF4-FFF2-40B4-BE49-F238E27FC236}">
                <a16:creationId xmlns:a16="http://schemas.microsoft.com/office/drawing/2014/main" id="{D82E2F06-4FE2-2869-E896-557F8232EE5D}"/>
              </a:ext>
            </a:extLst>
          </p:cNvPr>
          <p:cNvSpPr>
            <a:spLocks noGrp="1"/>
          </p:cNvSpPr>
          <p:nvPr>
            <p:ph type="body" sz="quarter" idx="38"/>
          </p:nvPr>
        </p:nvSpPr>
        <p:spPr>
          <a:xfrm>
            <a:off x="9899578" y="1780046"/>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51" name="Text Placeholder 27">
            <a:extLst>
              <a:ext uri="{FF2B5EF4-FFF2-40B4-BE49-F238E27FC236}">
                <a16:creationId xmlns:a16="http://schemas.microsoft.com/office/drawing/2014/main" id="{23F6B958-6DFF-7162-563B-1D50C64D695F}"/>
              </a:ext>
            </a:extLst>
          </p:cNvPr>
          <p:cNvSpPr>
            <a:spLocks noGrp="1"/>
          </p:cNvSpPr>
          <p:nvPr>
            <p:ph type="body" sz="quarter" idx="39"/>
          </p:nvPr>
        </p:nvSpPr>
        <p:spPr>
          <a:xfrm>
            <a:off x="9899578" y="1981729"/>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8" name="Picture Placeholder 8">
            <a:extLst>
              <a:ext uri="{FF2B5EF4-FFF2-40B4-BE49-F238E27FC236}">
                <a16:creationId xmlns:a16="http://schemas.microsoft.com/office/drawing/2014/main" id="{0FB74A1A-8F13-4DAA-B784-C6CC37D1DD03}"/>
              </a:ext>
            </a:extLst>
          </p:cNvPr>
          <p:cNvSpPr>
            <a:spLocks noGrp="1" noChangeAspect="1"/>
          </p:cNvSpPr>
          <p:nvPr>
            <p:ph type="pic" sz="quarter" idx="14"/>
          </p:nvPr>
        </p:nvSpPr>
        <p:spPr>
          <a:xfrm>
            <a:off x="6220441" y="1164853"/>
            <a:ext cx="1260000" cy="1260000"/>
          </a:xfrm>
          <a:prstGeom prst="ellipse">
            <a:avLst/>
          </a:prstGeom>
          <a:solidFill>
            <a:schemeClr val="bg1">
              <a:lumMod val="95000"/>
            </a:schemeClr>
          </a:solidFill>
        </p:spPr>
        <p:txBody>
          <a:bodyPr/>
          <a:lstStyle/>
          <a:p>
            <a:endParaRPr lang="en-GB" dirty="0"/>
          </a:p>
        </p:txBody>
      </p:sp>
      <p:sp>
        <p:nvSpPr>
          <p:cNvPr id="2" name="Oval 1">
            <a:extLst>
              <a:ext uri="{FF2B5EF4-FFF2-40B4-BE49-F238E27FC236}">
                <a16:creationId xmlns:a16="http://schemas.microsoft.com/office/drawing/2014/main" id="{327050C7-8DAD-A65C-3A7B-10C24A566E4F}"/>
              </a:ext>
            </a:extLst>
          </p:cNvPr>
          <p:cNvSpPr/>
          <p:nvPr userDrawn="1"/>
        </p:nvSpPr>
        <p:spPr bwMode="gray">
          <a:xfrm>
            <a:off x="9650421" y="1583565"/>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6" name="Graphic 4">
            <a:extLst>
              <a:ext uri="{FF2B5EF4-FFF2-40B4-BE49-F238E27FC236}">
                <a16:creationId xmlns:a16="http://schemas.microsoft.com/office/drawing/2014/main" id="{243035CF-938F-0B9C-84D4-D06FD85F1C28}"/>
              </a:ext>
            </a:extLst>
          </p:cNvPr>
          <p:cNvSpPr>
            <a:spLocks noChangeAspect="1"/>
          </p:cNvSpPr>
          <p:nvPr userDrawn="1"/>
        </p:nvSpPr>
        <p:spPr>
          <a:xfrm>
            <a:off x="9683806" y="1398207"/>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noAutofit/>
          </a:bodyPr>
          <a:lstStyle/>
          <a:p>
            <a:endParaRPr lang="en-US"/>
          </a:p>
        </p:txBody>
      </p:sp>
      <p:sp>
        <p:nvSpPr>
          <p:cNvPr id="7" name="Oval 6">
            <a:extLst>
              <a:ext uri="{FF2B5EF4-FFF2-40B4-BE49-F238E27FC236}">
                <a16:creationId xmlns:a16="http://schemas.microsoft.com/office/drawing/2014/main" id="{917B3415-87FF-9FDA-A3AB-49F6637BCD9E}"/>
              </a:ext>
            </a:extLst>
          </p:cNvPr>
          <p:cNvSpPr/>
          <p:nvPr userDrawn="1"/>
        </p:nvSpPr>
        <p:spPr bwMode="gray">
          <a:xfrm>
            <a:off x="9650420" y="1389091"/>
            <a:ext cx="165465" cy="165465"/>
          </a:xfrm>
          <a:prstGeom prst="ellipse">
            <a:avLst/>
          </a:prstGeom>
          <a:solidFill>
            <a:schemeClr val="accent1"/>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32" name="Graphic 1100">
            <a:extLst>
              <a:ext uri="{FF2B5EF4-FFF2-40B4-BE49-F238E27FC236}">
                <a16:creationId xmlns:a16="http://schemas.microsoft.com/office/drawing/2014/main" id="{03DD5341-59C9-C604-007C-95C32D1D1BA9}"/>
              </a:ext>
            </a:extLst>
          </p:cNvPr>
          <p:cNvSpPr/>
          <p:nvPr userDrawn="1"/>
        </p:nvSpPr>
        <p:spPr>
          <a:xfrm>
            <a:off x="9689424" y="1621750"/>
            <a:ext cx="87456" cy="87505"/>
          </a:xfrm>
          <a:custGeom>
            <a:avLst/>
            <a:gdLst>
              <a:gd name="connsiteX0" fmla="*/ 198302 w 203535"/>
              <a:gd name="connsiteY0" fmla="*/ 153854 h 203649"/>
              <a:gd name="connsiteX1" fmla="*/ 154851 w 203535"/>
              <a:gd name="connsiteY1" fmla="*/ 119381 h 203649"/>
              <a:gd name="connsiteX2" fmla="*/ 149100 w 203535"/>
              <a:gd name="connsiteY2" fmla="*/ 121296 h 203649"/>
              <a:gd name="connsiteX3" fmla="*/ 131208 w 203535"/>
              <a:gd name="connsiteY3" fmla="*/ 139171 h 203649"/>
              <a:gd name="connsiteX4" fmla="*/ 121623 w 203535"/>
              <a:gd name="connsiteY4" fmla="*/ 133425 h 203649"/>
              <a:gd name="connsiteX5" fmla="*/ 70503 w 203535"/>
              <a:gd name="connsiteY5" fmla="*/ 82354 h 203649"/>
              <a:gd name="connsiteX6" fmla="*/ 64752 w 203535"/>
              <a:gd name="connsiteY6" fmla="*/ 72778 h 203649"/>
              <a:gd name="connsiteX7" fmla="*/ 82644 w 203535"/>
              <a:gd name="connsiteY7" fmla="*/ 54902 h 203649"/>
              <a:gd name="connsiteX8" fmla="*/ 84561 w 203535"/>
              <a:gd name="connsiteY8" fmla="*/ 49157 h 203649"/>
              <a:gd name="connsiteX9" fmla="*/ 50056 w 203535"/>
              <a:gd name="connsiteY9" fmla="*/ 5746 h 203649"/>
              <a:gd name="connsiteX10" fmla="*/ 30886 w 203535"/>
              <a:gd name="connsiteY10" fmla="*/ 0 h 203649"/>
              <a:gd name="connsiteX11" fmla="*/ 30886 w 203535"/>
              <a:gd name="connsiteY11" fmla="*/ 0 h 203649"/>
              <a:gd name="connsiteX12" fmla="*/ 11716 w 203535"/>
              <a:gd name="connsiteY12" fmla="*/ 15960 h 203649"/>
              <a:gd name="connsiteX13" fmla="*/ 9799 w 203535"/>
              <a:gd name="connsiteY13" fmla="*/ 17875 h 203649"/>
              <a:gd name="connsiteX14" fmla="*/ 1492 w 203535"/>
              <a:gd name="connsiteY14" fmla="*/ 46603 h 203649"/>
              <a:gd name="connsiteX15" fmla="*/ 55806 w 203535"/>
              <a:gd name="connsiteY15" fmla="*/ 148108 h 203649"/>
              <a:gd name="connsiteX16" fmla="*/ 158045 w 203535"/>
              <a:gd name="connsiteY16" fmla="*/ 202372 h 203649"/>
              <a:gd name="connsiteX17" fmla="*/ 166991 w 203535"/>
              <a:gd name="connsiteY17" fmla="*/ 203649 h 203649"/>
              <a:gd name="connsiteX18" fmla="*/ 186161 w 203535"/>
              <a:gd name="connsiteY18" fmla="*/ 194073 h 203649"/>
              <a:gd name="connsiteX19" fmla="*/ 188078 w 203535"/>
              <a:gd name="connsiteY19" fmla="*/ 192158 h 203649"/>
              <a:gd name="connsiteX20" fmla="*/ 203414 w 203535"/>
              <a:gd name="connsiteY20" fmla="*/ 173006 h 203649"/>
              <a:gd name="connsiteX21" fmla="*/ 203414 w 203535"/>
              <a:gd name="connsiteY21" fmla="*/ 173006 h 203649"/>
              <a:gd name="connsiteX22" fmla="*/ 198302 w 203535"/>
              <a:gd name="connsiteY22" fmla="*/ 153854 h 203649"/>
              <a:gd name="connsiteX23" fmla="*/ 179132 w 203535"/>
              <a:gd name="connsiteY23" fmla="*/ 183220 h 203649"/>
              <a:gd name="connsiteX24" fmla="*/ 176576 w 203535"/>
              <a:gd name="connsiteY24" fmla="*/ 185135 h 203649"/>
              <a:gd name="connsiteX25" fmla="*/ 159323 w 203535"/>
              <a:gd name="connsiteY25" fmla="*/ 190243 h 203649"/>
              <a:gd name="connsiteX26" fmla="*/ 158685 w 203535"/>
              <a:gd name="connsiteY26" fmla="*/ 190243 h 203649"/>
              <a:gd name="connsiteX27" fmla="*/ 13633 w 203535"/>
              <a:gd name="connsiteY27" fmla="*/ 45327 h 203649"/>
              <a:gd name="connsiteX28" fmla="*/ 13633 w 203535"/>
              <a:gd name="connsiteY28" fmla="*/ 44688 h 203649"/>
              <a:gd name="connsiteX29" fmla="*/ 18745 w 203535"/>
              <a:gd name="connsiteY29" fmla="*/ 27451 h 203649"/>
              <a:gd name="connsiteX30" fmla="*/ 20662 w 203535"/>
              <a:gd name="connsiteY30" fmla="*/ 24898 h 203649"/>
              <a:gd name="connsiteX31" fmla="*/ 33442 w 203535"/>
              <a:gd name="connsiteY31" fmla="*/ 13407 h 203649"/>
              <a:gd name="connsiteX32" fmla="*/ 71781 w 203535"/>
              <a:gd name="connsiteY32" fmla="*/ 48519 h 203649"/>
              <a:gd name="connsiteX33" fmla="*/ 52612 w 203535"/>
              <a:gd name="connsiteY33" fmla="*/ 67670 h 203649"/>
              <a:gd name="connsiteX34" fmla="*/ 51973 w 203535"/>
              <a:gd name="connsiteY34" fmla="*/ 75970 h 203649"/>
              <a:gd name="connsiteX35" fmla="*/ 60279 w 203535"/>
              <a:gd name="connsiteY35" fmla="*/ 88738 h 203649"/>
              <a:gd name="connsiteX36" fmla="*/ 115233 w 203535"/>
              <a:gd name="connsiteY36" fmla="*/ 143640 h 203649"/>
              <a:gd name="connsiteX37" fmla="*/ 128652 w 203535"/>
              <a:gd name="connsiteY37" fmla="*/ 151939 h 203649"/>
              <a:gd name="connsiteX38" fmla="*/ 136959 w 203535"/>
              <a:gd name="connsiteY38" fmla="*/ 151300 h 203649"/>
              <a:gd name="connsiteX39" fmla="*/ 156129 w 203535"/>
              <a:gd name="connsiteY39" fmla="*/ 132149 h 203649"/>
              <a:gd name="connsiteX40" fmla="*/ 191273 w 203535"/>
              <a:gd name="connsiteY40" fmla="*/ 170452 h 203649"/>
              <a:gd name="connsiteX41" fmla="*/ 179132 w 203535"/>
              <a:gd name="connsiteY41" fmla="*/ 183220 h 203649"/>
              <a:gd name="connsiteX42" fmla="*/ 179132 w 203535"/>
              <a:gd name="connsiteY42" fmla="*/ 183220 h 20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3535" h="203649">
                <a:moveTo>
                  <a:pt x="198302" y="153854"/>
                </a:moveTo>
                <a:cubicBezTo>
                  <a:pt x="192551" y="142363"/>
                  <a:pt x="179771" y="123211"/>
                  <a:pt x="154851" y="119381"/>
                </a:cubicBezTo>
                <a:cubicBezTo>
                  <a:pt x="152934" y="119381"/>
                  <a:pt x="151017" y="120019"/>
                  <a:pt x="149100" y="121296"/>
                </a:cubicBezTo>
                <a:lnTo>
                  <a:pt x="131208" y="139171"/>
                </a:lnTo>
                <a:cubicBezTo>
                  <a:pt x="127374" y="136617"/>
                  <a:pt x="124818" y="134702"/>
                  <a:pt x="121623" y="133425"/>
                </a:cubicBezTo>
                <a:cubicBezTo>
                  <a:pt x="101175" y="120657"/>
                  <a:pt x="83283" y="102782"/>
                  <a:pt x="70503" y="82354"/>
                </a:cubicBezTo>
                <a:cubicBezTo>
                  <a:pt x="68586" y="79800"/>
                  <a:pt x="66669" y="76608"/>
                  <a:pt x="64752" y="72778"/>
                </a:cubicBezTo>
                <a:lnTo>
                  <a:pt x="82644" y="54902"/>
                </a:lnTo>
                <a:cubicBezTo>
                  <a:pt x="83922" y="53626"/>
                  <a:pt x="84561" y="51710"/>
                  <a:pt x="84561" y="49157"/>
                </a:cubicBezTo>
                <a:cubicBezTo>
                  <a:pt x="80727" y="24898"/>
                  <a:pt x="61557" y="11491"/>
                  <a:pt x="50056" y="5746"/>
                </a:cubicBezTo>
                <a:cubicBezTo>
                  <a:pt x="44305" y="2554"/>
                  <a:pt x="37915" y="639"/>
                  <a:pt x="30886" y="0"/>
                </a:cubicBezTo>
                <a:lnTo>
                  <a:pt x="30886" y="0"/>
                </a:lnTo>
                <a:cubicBezTo>
                  <a:pt x="23218" y="3831"/>
                  <a:pt x="16828" y="8938"/>
                  <a:pt x="11716" y="15960"/>
                </a:cubicBezTo>
                <a:lnTo>
                  <a:pt x="9799" y="17875"/>
                </a:lnTo>
                <a:cubicBezTo>
                  <a:pt x="1492" y="24898"/>
                  <a:pt x="-2342" y="35751"/>
                  <a:pt x="1492" y="46603"/>
                </a:cubicBezTo>
                <a:cubicBezTo>
                  <a:pt x="7882" y="85546"/>
                  <a:pt x="27052" y="121296"/>
                  <a:pt x="55806" y="148108"/>
                </a:cubicBezTo>
                <a:cubicBezTo>
                  <a:pt x="82644" y="176836"/>
                  <a:pt x="119067" y="195988"/>
                  <a:pt x="158045" y="202372"/>
                </a:cubicBezTo>
                <a:cubicBezTo>
                  <a:pt x="161240" y="203011"/>
                  <a:pt x="164435" y="203649"/>
                  <a:pt x="166991" y="203649"/>
                </a:cubicBezTo>
                <a:cubicBezTo>
                  <a:pt x="174659" y="203649"/>
                  <a:pt x="181688" y="199819"/>
                  <a:pt x="186161" y="194073"/>
                </a:cubicBezTo>
                <a:lnTo>
                  <a:pt x="188078" y="192158"/>
                </a:lnTo>
                <a:cubicBezTo>
                  <a:pt x="194468" y="187051"/>
                  <a:pt x="200219" y="180667"/>
                  <a:pt x="203414" y="173006"/>
                </a:cubicBezTo>
                <a:lnTo>
                  <a:pt x="203414" y="173006"/>
                </a:lnTo>
                <a:cubicBezTo>
                  <a:pt x="204053" y="166622"/>
                  <a:pt x="202136" y="159600"/>
                  <a:pt x="198302" y="153854"/>
                </a:cubicBezTo>
                <a:close/>
                <a:moveTo>
                  <a:pt x="179132" y="183220"/>
                </a:moveTo>
                <a:lnTo>
                  <a:pt x="176576" y="185135"/>
                </a:lnTo>
                <a:cubicBezTo>
                  <a:pt x="172742" y="190881"/>
                  <a:pt x="165713" y="192796"/>
                  <a:pt x="159323" y="190243"/>
                </a:cubicBezTo>
                <a:lnTo>
                  <a:pt x="158685" y="190243"/>
                </a:lnTo>
                <a:cubicBezTo>
                  <a:pt x="85200" y="175560"/>
                  <a:pt x="28330" y="118104"/>
                  <a:pt x="13633" y="45327"/>
                </a:cubicBezTo>
                <a:cubicBezTo>
                  <a:pt x="13633" y="45327"/>
                  <a:pt x="13633" y="44688"/>
                  <a:pt x="13633" y="44688"/>
                </a:cubicBezTo>
                <a:cubicBezTo>
                  <a:pt x="11077" y="38304"/>
                  <a:pt x="12994" y="31282"/>
                  <a:pt x="18745" y="27451"/>
                </a:cubicBezTo>
                <a:lnTo>
                  <a:pt x="20662" y="24898"/>
                </a:lnTo>
                <a:cubicBezTo>
                  <a:pt x="24496" y="20429"/>
                  <a:pt x="28969" y="16599"/>
                  <a:pt x="33442" y="13407"/>
                </a:cubicBezTo>
                <a:cubicBezTo>
                  <a:pt x="39832" y="15322"/>
                  <a:pt x="66030" y="24259"/>
                  <a:pt x="71781" y="48519"/>
                </a:cubicBezTo>
                <a:lnTo>
                  <a:pt x="52612" y="67670"/>
                </a:lnTo>
                <a:cubicBezTo>
                  <a:pt x="50695" y="69586"/>
                  <a:pt x="50056" y="73416"/>
                  <a:pt x="51973" y="75970"/>
                </a:cubicBezTo>
                <a:cubicBezTo>
                  <a:pt x="55806" y="81077"/>
                  <a:pt x="58362" y="84907"/>
                  <a:pt x="60279" y="88738"/>
                </a:cubicBezTo>
                <a:cubicBezTo>
                  <a:pt x="74337" y="111081"/>
                  <a:pt x="92868" y="129595"/>
                  <a:pt x="115233" y="143640"/>
                </a:cubicBezTo>
                <a:cubicBezTo>
                  <a:pt x="119067" y="146193"/>
                  <a:pt x="122901" y="148747"/>
                  <a:pt x="128652" y="151939"/>
                </a:cubicBezTo>
                <a:cubicBezTo>
                  <a:pt x="131208" y="153854"/>
                  <a:pt x="134403" y="153216"/>
                  <a:pt x="136959" y="151300"/>
                </a:cubicBezTo>
                <a:lnTo>
                  <a:pt x="156129" y="132149"/>
                </a:lnTo>
                <a:cubicBezTo>
                  <a:pt x="180410" y="137894"/>
                  <a:pt x="189356" y="164068"/>
                  <a:pt x="191273" y="170452"/>
                </a:cubicBezTo>
                <a:cubicBezTo>
                  <a:pt x="188078" y="175560"/>
                  <a:pt x="184244" y="179390"/>
                  <a:pt x="179132" y="183220"/>
                </a:cubicBezTo>
                <a:lnTo>
                  <a:pt x="179132" y="183220"/>
                </a:lnTo>
                <a:close/>
              </a:path>
            </a:pathLst>
          </a:custGeom>
          <a:solidFill>
            <a:schemeClr val="bg1"/>
          </a:solidFill>
          <a:ln w="6390" cap="flat">
            <a:noFill/>
            <a:prstDash val="solid"/>
            <a:miter/>
          </a:ln>
        </p:spPr>
        <p:txBody>
          <a:bodyPr rtlCol="0" anchor="ctr">
            <a:noAutofit/>
          </a:bodyPr>
          <a:lstStyle/>
          <a:p>
            <a:endParaRPr lang="en-US" dirty="0">
              <a:solidFill>
                <a:schemeClr val="accent5"/>
              </a:solidFill>
            </a:endParaRPr>
          </a:p>
        </p:txBody>
      </p:sp>
      <p:sp>
        <p:nvSpPr>
          <p:cNvPr id="33" name="Graphic 4">
            <a:extLst>
              <a:ext uri="{FF2B5EF4-FFF2-40B4-BE49-F238E27FC236}">
                <a16:creationId xmlns:a16="http://schemas.microsoft.com/office/drawing/2014/main" id="{0C2BC945-A5CF-932A-B533-18C6147A6EE5}"/>
              </a:ext>
            </a:extLst>
          </p:cNvPr>
          <p:cNvSpPr>
            <a:spLocks noChangeAspect="1"/>
          </p:cNvSpPr>
          <p:nvPr userDrawn="1"/>
        </p:nvSpPr>
        <p:spPr>
          <a:xfrm>
            <a:off x="9684537" y="1434207"/>
            <a:ext cx="98694" cy="72000"/>
          </a:xfrm>
          <a:custGeom>
            <a:avLst/>
            <a:gdLst>
              <a:gd name="connsiteX0" fmla="*/ 216619 w 217896"/>
              <a:gd name="connsiteY0" fmla="*/ 4469 h 158961"/>
              <a:gd name="connsiteX1" fmla="*/ 216619 w 217896"/>
              <a:gd name="connsiteY1" fmla="*/ 4469 h 158961"/>
              <a:gd name="connsiteX2" fmla="*/ 216619 w 217896"/>
              <a:gd name="connsiteY2" fmla="*/ 4469 h 158961"/>
              <a:gd name="connsiteX3" fmla="*/ 215341 w 217896"/>
              <a:gd name="connsiteY3" fmla="*/ 2554 h 158961"/>
              <a:gd name="connsiteX4" fmla="*/ 214702 w 217896"/>
              <a:gd name="connsiteY4" fmla="*/ 1915 h 158961"/>
              <a:gd name="connsiteX5" fmla="*/ 213424 w 217896"/>
              <a:gd name="connsiteY5" fmla="*/ 1277 h 158961"/>
              <a:gd name="connsiteX6" fmla="*/ 212785 w 217896"/>
              <a:gd name="connsiteY6" fmla="*/ 638 h 158961"/>
              <a:gd name="connsiteX7" fmla="*/ 210868 w 217896"/>
              <a:gd name="connsiteY7" fmla="*/ 0 h 158961"/>
              <a:gd name="connsiteX8" fmla="*/ 6390 w 217896"/>
              <a:gd name="connsiteY8" fmla="*/ 0 h 158961"/>
              <a:gd name="connsiteX9" fmla="*/ 4473 w 217896"/>
              <a:gd name="connsiteY9" fmla="*/ 638 h 158961"/>
              <a:gd name="connsiteX10" fmla="*/ 3834 w 217896"/>
              <a:gd name="connsiteY10" fmla="*/ 1277 h 158961"/>
              <a:gd name="connsiteX11" fmla="*/ 2556 w 217896"/>
              <a:gd name="connsiteY11" fmla="*/ 1915 h 158961"/>
              <a:gd name="connsiteX12" fmla="*/ 1917 w 217896"/>
              <a:gd name="connsiteY12" fmla="*/ 2554 h 158961"/>
              <a:gd name="connsiteX13" fmla="*/ 639 w 217896"/>
              <a:gd name="connsiteY13" fmla="*/ 3830 h 158961"/>
              <a:gd name="connsiteX14" fmla="*/ 639 w 217896"/>
              <a:gd name="connsiteY14" fmla="*/ 4469 h 158961"/>
              <a:gd name="connsiteX15" fmla="*/ 639 w 217896"/>
              <a:gd name="connsiteY15" fmla="*/ 4469 h 158961"/>
              <a:gd name="connsiteX16" fmla="*/ 0 w 217896"/>
              <a:gd name="connsiteY16" fmla="*/ 6384 h 158961"/>
              <a:gd name="connsiteX17" fmla="*/ 0 w 217896"/>
              <a:gd name="connsiteY17" fmla="*/ 6384 h 158961"/>
              <a:gd name="connsiteX18" fmla="*/ 0 w 217896"/>
              <a:gd name="connsiteY18" fmla="*/ 152577 h 158961"/>
              <a:gd name="connsiteX19" fmla="*/ 639 w 217896"/>
              <a:gd name="connsiteY19" fmla="*/ 155131 h 158961"/>
              <a:gd name="connsiteX20" fmla="*/ 6390 w 217896"/>
              <a:gd name="connsiteY20" fmla="*/ 158961 h 158961"/>
              <a:gd name="connsiteX21" fmla="*/ 210868 w 217896"/>
              <a:gd name="connsiteY21" fmla="*/ 158961 h 158961"/>
              <a:gd name="connsiteX22" fmla="*/ 213424 w 217896"/>
              <a:gd name="connsiteY22" fmla="*/ 158323 h 158961"/>
              <a:gd name="connsiteX23" fmla="*/ 217258 w 217896"/>
              <a:gd name="connsiteY23" fmla="*/ 155131 h 158961"/>
              <a:gd name="connsiteX24" fmla="*/ 217897 w 217896"/>
              <a:gd name="connsiteY24" fmla="*/ 152577 h 158961"/>
              <a:gd name="connsiteX25" fmla="*/ 217897 w 217896"/>
              <a:gd name="connsiteY25" fmla="*/ 6384 h 158961"/>
              <a:gd name="connsiteX26" fmla="*/ 216619 w 217896"/>
              <a:gd name="connsiteY26" fmla="*/ 4469 h 158961"/>
              <a:gd name="connsiteX27" fmla="*/ 82430 w 217896"/>
              <a:gd name="connsiteY27" fmla="*/ 86184 h 158961"/>
              <a:gd name="connsiteX28" fmla="*/ 104156 w 217896"/>
              <a:gd name="connsiteY28" fmla="*/ 106613 h 158961"/>
              <a:gd name="connsiteX29" fmla="*/ 108629 w 217896"/>
              <a:gd name="connsiteY29" fmla="*/ 108528 h 158961"/>
              <a:gd name="connsiteX30" fmla="*/ 113102 w 217896"/>
              <a:gd name="connsiteY30" fmla="*/ 106613 h 158961"/>
              <a:gd name="connsiteX31" fmla="*/ 134828 w 217896"/>
              <a:gd name="connsiteY31" fmla="*/ 86184 h 158961"/>
              <a:gd name="connsiteX32" fmla="*/ 195532 w 217896"/>
              <a:gd name="connsiteY32" fmla="*/ 146832 h 158961"/>
              <a:gd name="connsiteX33" fmla="*/ 21726 w 217896"/>
              <a:gd name="connsiteY33" fmla="*/ 146832 h 158961"/>
              <a:gd name="connsiteX34" fmla="*/ 82430 w 217896"/>
              <a:gd name="connsiteY34" fmla="*/ 86184 h 158961"/>
              <a:gd name="connsiteX35" fmla="*/ 12780 w 217896"/>
              <a:gd name="connsiteY35" fmla="*/ 137256 h 158961"/>
              <a:gd name="connsiteX36" fmla="*/ 12780 w 217896"/>
              <a:gd name="connsiteY36" fmla="*/ 21067 h 158961"/>
              <a:gd name="connsiteX37" fmla="*/ 72845 w 217896"/>
              <a:gd name="connsiteY37" fmla="*/ 77246 h 158961"/>
              <a:gd name="connsiteX38" fmla="*/ 12780 w 217896"/>
              <a:gd name="connsiteY38" fmla="*/ 137256 h 158961"/>
              <a:gd name="connsiteX39" fmla="*/ 144412 w 217896"/>
              <a:gd name="connsiteY39" fmla="*/ 77246 h 158961"/>
              <a:gd name="connsiteX40" fmla="*/ 204478 w 217896"/>
              <a:gd name="connsiteY40" fmla="*/ 21706 h 158961"/>
              <a:gd name="connsiteX41" fmla="*/ 204478 w 217896"/>
              <a:gd name="connsiteY41" fmla="*/ 137894 h 158961"/>
              <a:gd name="connsiteX42" fmla="*/ 144412 w 217896"/>
              <a:gd name="connsiteY42" fmla="*/ 77246 h 158961"/>
              <a:gd name="connsiteX43" fmla="*/ 194893 w 217896"/>
              <a:gd name="connsiteY43" fmla="*/ 13406 h 158961"/>
              <a:gd name="connsiteX44" fmla="*/ 108629 w 217896"/>
              <a:gd name="connsiteY44" fmla="*/ 93206 h 158961"/>
              <a:gd name="connsiteX45" fmla="*/ 22365 w 217896"/>
              <a:gd name="connsiteY45" fmla="*/ 13406 h 158961"/>
              <a:gd name="connsiteX46" fmla="*/ 194893 w 217896"/>
              <a:gd name="connsiteY46" fmla="*/ 13406 h 15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7896" h="158961">
                <a:moveTo>
                  <a:pt x="216619" y="4469"/>
                </a:moveTo>
                <a:lnTo>
                  <a:pt x="216619" y="4469"/>
                </a:lnTo>
                <a:lnTo>
                  <a:pt x="216619" y="4469"/>
                </a:lnTo>
                <a:cubicBezTo>
                  <a:pt x="216619" y="3830"/>
                  <a:pt x="215980" y="3192"/>
                  <a:pt x="215341" y="2554"/>
                </a:cubicBezTo>
                <a:lnTo>
                  <a:pt x="214702" y="1915"/>
                </a:lnTo>
                <a:cubicBezTo>
                  <a:pt x="214063" y="1277"/>
                  <a:pt x="214063" y="1277"/>
                  <a:pt x="213424" y="1277"/>
                </a:cubicBezTo>
                <a:cubicBezTo>
                  <a:pt x="213424" y="1277"/>
                  <a:pt x="212785" y="1277"/>
                  <a:pt x="212785" y="638"/>
                </a:cubicBezTo>
                <a:cubicBezTo>
                  <a:pt x="212146" y="638"/>
                  <a:pt x="211507" y="0"/>
                  <a:pt x="210868" y="0"/>
                </a:cubicBezTo>
                <a:lnTo>
                  <a:pt x="6390" y="0"/>
                </a:lnTo>
                <a:cubicBezTo>
                  <a:pt x="5751" y="0"/>
                  <a:pt x="5112" y="0"/>
                  <a:pt x="4473" y="638"/>
                </a:cubicBezTo>
                <a:lnTo>
                  <a:pt x="3834" y="1277"/>
                </a:lnTo>
                <a:cubicBezTo>
                  <a:pt x="3195" y="1277"/>
                  <a:pt x="3195" y="1915"/>
                  <a:pt x="2556" y="1915"/>
                </a:cubicBezTo>
                <a:lnTo>
                  <a:pt x="1917" y="2554"/>
                </a:lnTo>
                <a:cubicBezTo>
                  <a:pt x="1278" y="3192"/>
                  <a:pt x="1278" y="3192"/>
                  <a:pt x="639" y="3830"/>
                </a:cubicBezTo>
                <a:lnTo>
                  <a:pt x="639" y="4469"/>
                </a:lnTo>
                <a:lnTo>
                  <a:pt x="639" y="4469"/>
                </a:lnTo>
                <a:cubicBezTo>
                  <a:pt x="639" y="5107"/>
                  <a:pt x="0" y="5746"/>
                  <a:pt x="0" y="6384"/>
                </a:cubicBezTo>
                <a:lnTo>
                  <a:pt x="0" y="6384"/>
                </a:lnTo>
                <a:lnTo>
                  <a:pt x="0" y="152577"/>
                </a:lnTo>
                <a:cubicBezTo>
                  <a:pt x="0" y="153216"/>
                  <a:pt x="0" y="154492"/>
                  <a:pt x="639" y="155131"/>
                </a:cubicBezTo>
                <a:cubicBezTo>
                  <a:pt x="1917" y="157684"/>
                  <a:pt x="3834" y="158961"/>
                  <a:pt x="6390" y="158961"/>
                </a:cubicBezTo>
                <a:lnTo>
                  <a:pt x="210868" y="158961"/>
                </a:lnTo>
                <a:cubicBezTo>
                  <a:pt x="211507" y="158961"/>
                  <a:pt x="212785" y="158961"/>
                  <a:pt x="213424" y="158323"/>
                </a:cubicBezTo>
                <a:cubicBezTo>
                  <a:pt x="214702" y="157684"/>
                  <a:pt x="215980" y="156408"/>
                  <a:pt x="217258" y="155131"/>
                </a:cubicBezTo>
                <a:cubicBezTo>
                  <a:pt x="217258" y="154492"/>
                  <a:pt x="217897" y="153854"/>
                  <a:pt x="217897" y="152577"/>
                </a:cubicBezTo>
                <a:lnTo>
                  <a:pt x="217897" y="6384"/>
                </a:lnTo>
                <a:cubicBezTo>
                  <a:pt x="217897" y="5746"/>
                  <a:pt x="217258" y="5107"/>
                  <a:pt x="216619" y="4469"/>
                </a:cubicBezTo>
                <a:close/>
                <a:moveTo>
                  <a:pt x="82430" y="86184"/>
                </a:moveTo>
                <a:lnTo>
                  <a:pt x="104156" y="106613"/>
                </a:lnTo>
                <a:cubicBezTo>
                  <a:pt x="105434" y="107889"/>
                  <a:pt x="106712" y="108528"/>
                  <a:pt x="108629" y="108528"/>
                </a:cubicBezTo>
                <a:cubicBezTo>
                  <a:pt x="110546" y="108528"/>
                  <a:pt x="111824" y="107889"/>
                  <a:pt x="113102" y="106613"/>
                </a:cubicBezTo>
                <a:lnTo>
                  <a:pt x="134828" y="86184"/>
                </a:lnTo>
                <a:lnTo>
                  <a:pt x="195532" y="146832"/>
                </a:lnTo>
                <a:lnTo>
                  <a:pt x="21726" y="146832"/>
                </a:lnTo>
                <a:lnTo>
                  <a:pt x="82430" y="86184"/>
                </a:lnTo>
                <a:close/>
                <a:moveTo>
                  <a:pt x="12780" y="137256"/>
                </a:moveTo>
                <a:lnTo>
                  <a:pt x="12780" y="21067"/>
                </a:lnTo>
                <a:lnTo>
                  <a:pt x="72845" y="77246"/>
                </a:lnTo>
                <a:lnTo>
                  <a:pt x="12780" y="137256"/>
                </a:lnTo>
                <a:close/>
                <a:moveTo>
                  <a:pt x="144412" y="77246"/>
                </a:moveTo>
                <a:lnTo>
                  <a:pt x="204478" y="21706"/>
                </a:lnTo>
                <a:lnTo>
                  <a:pt x="204478" y="137894"/>
                </a:lnTo>
                <a:lnTo>
                  <a:pt x="144412" y="77246"/>
                </a:lnTo>
                <a:close/>
                <a:moveTo>
                  <a:pt x="194893" y="13406"/>
                </a:moveTo>
                <a:lnTo>
                  <a:pt x="108629" y="93206"/>
                </a:lnTo>
                <a:lnTo>
                  <a:pt x="22365" y="13406"/>
                </a:lnTo>
                <a:lnTo>
                  <a:pt x="194893" y="13406"/>
                </a:lnTo>
                <a:close/>
              </a:path>
            </a:pathLst>
          </a:custGeom>
          <a:solidFill>
            <a:schemeClr val="bg1"/>
          </a:solidFill>
          <a:ln w="6390" cap="flat">
            <a:noFill/>
            <a:prstDash val="solid"/>
            <a:miter/>
          </a:ln>
        </p:spPr>
        <p:txBody>
          <a:bodyPr rtlCol="0" anchor="ctr">
            <a:noAutofit/>
          </a:bodyPr>
          <a:lstStyle/>
          <a:p>
            <a:endParaRPr lang="en-US" dirty="0"/>
          </a:p>
        </p:txBody>
      </p:sp>
      <p:sp>
        <p:nvSpPr>
          <p:cNvPr id="38" name="Text Placeholder 27">
            <a:extLst>
              <a:ext uri="{FF2B5EF4-FFF2-40B4-BE49-F238E27FC236}">
                <a16:creationId xmlns:a16="http://schemas.microsoft.com/office/drawing/2014/main" id="{0D5C1B78-3BA9-858C-FE93-9C6B2B3B0F1F}"/>
              </a:ext>
            </a:extLst>
          </p:cNvPr>
          <p:cNvSpPr>
            <a:spLocks noGrp="1"/>
          </p:cNvSpPr>
          <p:nvPr>
            <p:ph type="body" sz="quarter" idx="40"/>
          </p:nvPr>
        </p:nvSpPr>
        <p:spPr>
          <a:xfrm>
            <a:off x="9899577" y="1398207"/>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
        <p:nvSpPr>
          <p:cNvPr id="39" name="Text Placeholder 27">
            <a:extLst>
              <a:ext uri="{FF2B5EF4-FFF2-40B4-BE49-F238E27FC236}">
                <a16:creationId xmlns:a16="http://schemas.microsoft.com/office/drawing/2014/main" id="{E093ECFD-59F5-2CB0-D554-B636CB2E5246}"/>
              </a:ext>
            </a:extLst>
          </p:cNvPr>
          <p:cNvSpPr>
            <a:spLocks noGrp="1"/>
          </p:cNvSpPr>
          <p:nvPr>
            <p:ph type="body" sz="quarter" idx="41"/>
          </p:nvPr>
        </p:nvSpPr>
        <p:spPr>
          <a:xfrm>
            <a:off x="9899576" y="1581954"/>
            <a:ext cx="1644941" cy="165100"/>
          </a:xfrm>
        </p:spPr>
        <p:txBody>
          <a:bodyPr anchor="ctr">
            <a:noAutofit/>
          </a:bodyPr>
          <a:lstStyle>
            <a:lvl1pPr>
              <a:defRPr sz="90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dirty="0"/>
              <a:t>Click to edit</a:t>
            </a:r>
          </a:p>
        </p:txBody>
      </p:sp>
    </p:spTree>
    <p:extLst>
      <p:ext uri="{BB962C8B-B14F-4D97-AF65-F5344CB8AC3E}">
        <p14:creationId xmlns:p14="http://schemas.microsoft.com/office/powerpoint/2010/main" val="228904181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669120" y="484390"/>
            <a:ext cx="4830727" cy="493340"/>
          </a:xfrm>
          <a:prstGeom prst="rect">
            <a:avLst/>
          </a:prstGeom>
        </p:spPr>
        <p:txBody>
          <a:bodyPr vert="horz" wrap="square" lIns="0" tIns="12700" rIns="0" bIns="0" rtlCol="0">
            <a:spAutoFit/>
          </a:bodyPr>
          <a:lstStyle>
            <a:lvl1pPr>
              <a:defRPr lang="en-US" sz="2800" noProof="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20000"/>
              </a:lnSpc>
              <a:spcBef>
                <a:spcPts val="0"/>
              </a:spcBef>
              <a:spcAft>
                <a:spcPts val="1333"/>
              </a:spcAft>
              <a:buSzPct val="100000"/>
            </a:pPr>
            <a:r>
              <a:rPr lang="en-US" noProof="0" dirty="0"/>
              <a:t>Click to edit Master title style</a:t>
            </a:r>
          </a:p>
        </p:txBody>
      </p:sp>
    </p:spTree>
    <p:extLst>
      <p:ext uri="{BB962C8B-B14F-4D97-AF65-F5344CB8AC3E}">
        <p14:creationId xmlns:p14="http://schemas.microsoft.com/office/powerpoint/2010/main" val="406623928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_V">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A46DAB7F-57D4-4842-9496-B5D76065B7A1}"/>
              </a:ext>
            </a:extLst>
          </p:cNvPr>
          <p:cNvSpPr>
            <a:spLocks noGrp="1"/>
          </p:cNvSpPr>
          <p:nvPr>
            <p:ph type="title"/>
          </p:nvPr>
        </p:nvSpPr>
        <p:spPr>
          <a:xfrm>
            <a:off x="463548" y="391325"/>
            <a:ext cx="11252200" cy="430887"/>
          </a:xfrm>
          <a:prstGeom prst="rect">
            <a:avLst/>
          </a:prstGeom>
        </p:spPr>
        <p:txBody>
          <a:bodyPr vert="horz" lIns="0" tIns="0" rIns="0" bIns="0" rtlCol="0" anchor="t" anchorCtr="0">
            <a:spAutoFit/>
          </a:bodyPr>
          <a:lstStyle>
            <a:lvl1pPr>
              <a:defRPr sz="2800"/>
            </a:lvl1pPr>
          </a:lstStyle>
          <a:p>
            <a:r>
              <a:rPr lang="en-GB" noProof="0"/>
              <a:t>Click to edit Master title style</a:t>
            </a:r>
          </a:p>
        </p:txBody>
      </p:sp>
      <p:sp>
        <p:nvSpPr>
          <p:cNvPr id="3" name="Text Placeholder 2">
            <a:extLst>
              <a:ext uri="{FF2B5EF4-FFF2-40B4-BE49-F238E27FC236}">
                <a16:creationId xmlns:a16="http://schemas.microsoft.com/office/drawing/2014/main" id="{5EBD8BAD-4FD1-4683-BC55-196FA87A5D3D}"/>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121556064"/>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3_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669120" y="484390"/>
            <a:ext cx="10949139" cy="493340"/>
          </a:xfrm>
          <a:prstGeom prst="rect">
            <a:avLst/>
          </a:prstGeom>
        </p:spPr>
        <p:txBody>
          <a:bodyPr vert="horz" wrap="square" lIns="0" tIns="12700" rIns="0" bIns="0" rtlCol="0">
            <a:spAutoFit/>
          </a:bodyPr>
          <a:lstStyle>
            <a:lvl1pPr>
              <a:defRPr lang="en-US" sz="2800" noProof="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20000"/>
              </a:lnSpc>
              <a:spcBef>
                <a:spcPts val="0"/>
              </a:spcBef>
              <a:spcAft>
                <a:spcPts val="1333"/>
              </a:spcAft>
              <a:buSzPct val="100000"/>
            </a:pPr>
            <a:r>
              <a:rPr lang="en-US" noProof="0" dirty="0"/>
              <a:t>Click to edit Master title style</a:t>
            </a:r>
          </a:p>
        </p:txBody>
      </p:sp>
      <p:sp>
        <p:nvSpPr>
          <p:cNvPr id="8" name="Text Placeholder 7">
            <a:extLst>
              <a:ext uri="{FF2B5EF4-FFF2-40B4-BE49-F238E27FC236}">
                <a16:creationId xmlns:a16="http://schemas.microsoft.com/office/drawing/2014/main" id="{F1DED643-2551-354F-BD65-7AAB2E42C8F5}"/>
              </a:ext>
            </a:extLst>
          </p:cNvPr>
          <p:cNvSpPr>
            <a:spLocks noGrp="1"/>
          </p:cNvSpPr>
          <p:nvPr>
            <p:ph type="body" sz="quarter" idx="10" hasCustomPrompt="1"/>
          </p:nvPr>
        </p:nvSpPr>
        <p:spPr>
          <a:xfrm>
            <a:off x="695232" y="994896"/>
            <a:ext cx="10950575" cy="390525"/>
          </a:xfrm>
        </p:spPr>
        <p:txBody>
          <a:bodyPr/>
          <a:lstStyle/>
          <a:p>
            <a:pPr lvl="0"/>
            <a:r>
              <a:rPr lang="en-US" dirty="0"/>
              <a:t>Click to edit subhead</a:t>
            </a:r>
          </a:p>
        </p:txBody>
      </p:sp>
    </p:spTree>
    <p:extLst>
      <p:ext uri="{BB962C8B-B14F-4D97-AF65-F5344CB8AC3E}">
        <p14:creationId xmlns:p14="http://schemas.microsoft.com/office/powerpoint/2010/main" val="446727443"/>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7EB0C-33CA-4201-8A06-982D995C93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C491A5-2865-4BD7-9763-E7F306F0F2C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023136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4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2" name="Footer Placeholder 1"/>
          <p:cNvSpPr>
            <a:spLocks noGrp="1"/>
          </p:cNvSpPr>
          <p:nvPr>
            <p:ph type="ftr" sz="quarter" idx="14"/>
          </p:nvPr>
        </p:nvSpPr>
        <p:spPr/>
        <p:txBody>
          <a:bodyPr/>
          <a:lstStyle/>
          <a:p>
            <a:r>
              <a:rPr lang="hu-HU" dirty="0"/>
              <a:t>© 2021 Deloitte Hungary</a:t>
            </a:r>
          </a:p>
        </p:txBody>
      </p:sp>
    </p:spTree>
    <p:extLst>
      <p:ext uri="{BB962C8B-B14F-4D97-AF65-F5344CB8AC3E}">
        <p14:creationId xmlns:p14="http://schemas.microsoft.com/office/powerpoint/2010/main" val="110536105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a:p>
        </p:txBody>
      </p:sp>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 name="Footer Placeholder 1"/>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3822294653"/>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Title, Subhead &amp; Breadcrumb">
    <p:bg>
      <p:bgPr>
        <a:solidFill>
          <a:schemeClr val="bg1"/>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dirty="0"/>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itle 4"/>
          <p:cNvSpPr>
            <a:spLocks noGrp="1"/>
          </p:cNvSpPr>
          <p:nvPr>
            <p:ph type="title"/>
          </p:nvPr>
        </p:nvSpPr>
        <p:spPr/>
        <p:txBody>
          <a:bodyPr/>
          <a:lstStyle>
            <a:lvl1pPr>
              <a:defRPr sz="3600"/>
            </a:lvl1pPr>
          </a:lstStyle>
          <a:p>
            <a:r>
              <a:rPr lang="en-US" dirty="0"/>
              <a:t>Click to edit Master title style</a:t>
            </a:r>
          </a:p>
        </p:txBody>
      </p:sp>
    </p:spTree>
    <p:extLst>
      <p:ext uri="{BB962C8B-B14F-4D97-AF65-F5344CB8AC3E}">
        <p14:creationId xmlns:p14="http://schemas.microsoft.com/office/powerpoint/2010/main" val="12899407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Impact Slides">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9F12BF97-8549-4B26-A2D2-6D2AAE82D052}"/>
              </a:ext>
            </a:extLst>
          </p:cNvPr>
          <p:cNvSpPr>
            <a:spLocks noGrp="1"/>
          </p:cNvSpPr>
          <p:nvPr>
            <p:ph type="body" sz="quarter" idx="14" hasCustomPrompt="1"/>
          </p:nvPr>
        </p:nvSpPr>
        <p:spPr>
          <a:xfrm>
            <a:off x="477044" y="242848"/>
            <a:ext cx="5535613" cy="137282"/>
          </a:xfrm>
          <a:prstGeom prst="rect">
            <a:avLst/>
          </a:prstGeom>
        </p:spPr>
        <p:txBody>
          <a:bodyPr lIns="0" tIns="0" rIns="0" bIns="0" anchor="ctr" anchorCtr="0">
            <a:spAutoFit/>
          </a:bodyPr>
          <a:lstStyle>
            <a:lvl1pPr>
              <a:spcAft>
                <a:spcPts val="0"/>
              </a:spcAft>
              <a:defRPr sz="800" b="1" spc="300">
                <a:solidFill>
                  <a:schemeClr val="bg1">
                    <a:lumMod val="75000"/>
                  </a:schemeClr>
                </a:solidFill>
              </a:defRPr>
            </a:lvl1pPr>
            <a:lvl2pPr>
              <a:defRPr>
                <a:solidFill>
                  <a:schemeClr val="bg1">
                    <a:lumMod val="65000"/>
                  </a:schemeClr>
                </a:solidFill>
              </a:defRPr>
            </a:lvl2pPr>
            <a:lvl3pPr>
              <a:defRPr>
                <a:solidFill>
                  <a:schemeClr val="bg1">
                    <a:lumMod val="65000"/>
                  </a:schemeClr>
                </a:solidFill>
              </a:defRPr>
            </a:lvl3pPr>
            <a:lvl4pPr>
              <a:defRPr>
                <a:solidFill>
                  <a:schemeClr val="bg1">
                    <a:lumMod val="65000"/>
                  </a:schemeClr>
                </a:solidFill>
              </a:defRPr>
            </a:lvl4pPr>
            <a:lvl5pPr>
              <a:defRPr>
                <a:solidFill>
                  <a:schemeClr val="bg1">
                    <a:lumMod val="65000"/>
                  </a:schemeClr>
                </a:solidFill>
              </a:defRPr>
            </a:lvl5pPr>
          </a:lstStyle>
          <a:p>
            <a:pPr lvl="0"/>
            <a:r>
              <a:rPr lang="en-GB"/>
              <a:t>CLICK TO EDIT MASTER TEXT STYLES</a:t>
            </a:r>
          </a:p>
        </p:txBody>
      </p:sp>
    </p:spTree>
    <p:extLst>
      <p:ext uri="{BB962C8B-B14F-4D97-AF65-F5344CB8AC3E}">
        <p14:creationId xmlns:p14="http://schemas.microsoft.com/office/powerpoint/2010/main" val="27827456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Greeting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Quis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olutpa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condimentum</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elit</a:t>
            </a:r>
            <a:r>
              <a:rPr kumimoji="0" lang="en-GB"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Class </a:t>
            </a:r>
            <a:r>
              <a:rPr kumimoji="0" lang="en-GB" sz="1000" b="1" i="0" u="none" strike="noStrike" kern="1200" cap="none" spc="0" normalizeH="0" baseline="0" noProof="0" err="1">
                <a:ln>
                  <a:noFill/>
                </a:ln>
                <a:solidFill>
                  <a:srgbClr val="000000"/>
                </a:solidFill>
                <a:effectLst/>
                <a:uLnTx/>
                <a:uFillTx/>
                <a:latin typeface="+mn-lt"/>
                <a:ea typeface="+mn-ea"/>
                <a:cs typeface="+mn-cs"/>
              </a:rPr>
              <a:t>apte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aciti</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ociosqu</a:t>
            </a:r>
            <a:r>
              <a:rPr kumimoji="0" lang="en-GB" sz="1000" b="1" i="0" u="none" strike="noStrike" kern="1200" cap="none" spc="0" normalizeH="0" baseline="0" noProof="0">
                <a:ln>
                  <a:noFill/>
                </a:ln>
                <a:solidFill>
                  <a:srgbClr val="000000"/>
                </a:solidFill>
                <a:effectLst/>
                <a:uLnTx/>
                <a:uFillTx/>
                <a:latin typeface="+mn-lt"/>
                <a:ea typeface="+mn-ea"/>
                <a:cs typeface="+mn-cs"/>
              </a:rPr>
              <a:t> ad </a:t>
            </a:r>
            <a:r>
              <a:rPr kumimoji="0" lang="en-GB" sz="1000" b="1" i="0" u="none" strike="noStrike" kern="1200" cap="none" spc="0" normalizeH="0" baseline="0" noProof="0" err="1">
                <a:ln>
                  <a:noFill/>
                </a:ln>
                <a:solidFill>
                  <a:srgbClr val="000000"/>
                </a:solidFill>
                <a:effectLst/>
                <a:uLnTx/>
                <a:uFillTx/>
                <a:latin typeface="+mn-lt"/>
                <a:ea typeface="+mn-ea"/>
                <a:cs typeface="+mn-cs"/>
              </a:rPr>
              <a:t>litor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quent</a:t>
            </a:r>
            <a:r>
              <a:rPr kumimoji="0" lang="en-GB" sz="1000" b="1" i="0" u="none" strike="noStrike" kern="1200" cap="none" spc="0" normalizeH="0" baseline="0" noProof="0">
                <a:ln>
                  <a:noFill/>
                </a:ln>
                <a:solidFill>
                  <a:srgbClr val="000000"/>
                </a:solidFill>
                <a:effectLst/>
                <a:uLnTx/>
                <a:uFillTx/>
                <a:latin typeface="+mn-lt"/>
                <a:ea typeface="+mn-ea"/>
                <a:cs typeface="+mn-cs"/>
              </a:rPr>
              <a:t> per </a:t>
            </a:r>
            <a:r>
              <a:rPr kumimoji="0" lang="en-GB" sz="1000" b="1" i="0" u="none" strike="noStrike" kern="1200" cap="none" spc="0" normalizeH="0" baseline="0" noProof="0" err="1">
                <a:ln>
                  <a:noFill/>
                </a:ln>
                <a:solidFill>
                  <a:srgbClr val="000000"/>
                </a:solidFill>
                <a:effectLst/>
                <a:uLnTx/>
                <a:uFillTx/>
                <a:latin typeface="+mn-lt"/>
                <a:ea typeface="+mn-ea"/>
                <a:cs typeface="+mn-cs"/>
              </a:rPr>
              <a:t>conubia</a:t>
            </a:r>
            <a:r>
              <a:rPr kumimoji="0" lang="en-GB" sz="1000" b="1" i="0" u="none" strike="noStrike" kern="1200" cap="none" spc="0" normalizeH="0" baseline="0" noProof="0">
                <a:ln>
                  <a:noFill/>
                </a:ln>
                <a:solidFill>
                  <a:srgbClr val="000000"/>
                </a:solidFill>
                <a:effectLst/>
                <a:uLnTx/>
                <a:uFillTx/>
                <a:latin typeface="+mn-lt"/>
                <a:ea typeface="+mn-ea"/>
                <a:cs typeface="+mn-cs"/>
              </a:rPr>
              <a:t> nostra, per </a:t>
            </a:r>
            <a:r>
              <a:rPr kumimoji="0" lang="en-GB" sz="1000" b="1" i="0" u="none" strike="noStrike" kern="1200" cap="none" spc="0" normalizeH="0" baseline="0" noProof="0" err="1">
                <a:ln>
                  <a:noFill/>
                </a:ln>
                <a:solidFill>
                  <a:srgbClr val="000000"/>
                </a:solidFill>
                <a:effectLst/>
                <a:uLnTx/>
                <a:uFillTx/>
                <a:latin typeface="+mn-lt"/>
                <a:ea typeface="+mn-ea"/>
                <a:cs typeface="+mn-cs"/>
              </a:rPr>
              <a:t>incepto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Nam </a:t>
            </a:r>
            <a:r>
              <a:rPr kumimoji="0" lang="en-GB" sz="1000" b="1" i="0" u="none" strike="noStrike" kern="1200" cap="none" spc="0" normalizeH="0" baseline="0" noProof="0" err="1">
                <a:ln>
                  <a:noFill/>
                </a:ln>
                <a:solidFill>
                  <a:srgbClr val="000000"/>
                </a:solidFill>
                <a:effectLst/>
                <a:uLnTx/>
                <a:uFillTx/>
                <a:latin typeface="+mn-lt"/>
                <a:ea typeface="+mn-ea"/>
                <a:cs typeface="+mn-cs"/>
              </a:rPr>
              <a:t>nec</a:t>
            </a:r>
            <a:r>
              <a:rPr kumimoji="0" lang="en-GB" sz="1000" b="1" i="0" u="none" strike="noStrike" kern="1200" cap="none" spc="0" normalizeH="0" baseline="0" noProof="0">
                <a:ln>
                  <a:noFill/>
                </a:ln>
                <a:solidFill>
                  <a:srgbClr val="000000"/>
                </a:solidFill>
                <a:effectLst/>
                <a:uLnTx/>
                <a:uFillTx/>
                <a:latin typeface="+mn-lt"/>
                <a:ea typeface="+mn-ea"/>
                <a:cs typeface="+mn-cs"/>
              </a:rPr>
              <a:t> ante. </a:t>
            </a:r>
            <a:r>
              <a:rPr kumimoji="0" lang="en-GB" sz="1000" b="1" i="0" u="none" strike="noStrike" kern="1200" cap="none" spc="0" normalizeH="0" baseline="0" noProof="0" err="1">
                <a:ln>
                  <a:noFill/>
                </a:ln>
                <a:solidFill>
                  <a:srgbClr val="000000"/>
                </a:solidFill>
                <a:effectLst/>
                <a:uLnTx/>
                <a:uFillTx/>
                <a:latin typeface="+mn-lt"/>
                <a:ea typeface="+mn-ea"/>
                <a:cs typeface="+mn-cs"/>
              </a:rPr>
              <a:t>Sed</a:t>
            </a:r>
            <a:r>
              <a:rPr kumimoji="0" lang="en-GB" sz="1000" b="1" i="0" u="none" strike="noStrike" kern="1200" cap="none" spc="0" normalizeH="0" baseline="0" noProof="0">
                <a:ln>
                  <a:noFill/>
                </a:ln>
                <a:solidFill>
                  <a:srgbClr val="000000"/>
                </a:solidFill>
                <a:effectLst/>
                <a:uLnTx/>
                <a:uFillTx/>
                <a:latin typeface="+mn-lt"/>
                <a:ea typeface="+mn-ea"/>
                <a:cs typeface="+mn-cs"/>
              </a:rPr>
              <a:t> lacinia, </a:t>
            </a:r>
            <a:r>
              <a:rPr kumimoji="0" lang="en-GB" sz="1000" b="1" i="0" u="none" strike="noStrike" kern="1200" cap="none" spc="0" normalizeH="0" baseline="0" noProof="0" err="1">
                <a:ln>
                  <a:noFill/>
                </a:ln>
                <a:solidFill>
                  <a:srgbClr val="000000"/>
                </a:solidFill>
                <a:effectLst/>
                <a:uLnTx/>
                <a:uFillTx/>
                <a:latin typeface="+mn-lt"/>
                <a:ea typeface="+mn-ea"/>
                <a:cs typeface="+mn-cs"/>
              </a:rPr>
              <a:t>urna</a:t>
            </a:r>
            <a:r>
              <a:rPr kumimoji="0" lang="en-GB" sz="1000" b="1" i="0" u="none" strike="noStrike" kern="1200" cap="none" spc="0" normalizeH="0" baseline="0" noProof="0">
                <a:ln>
                  <a:noFill/>
                </a:ln>
                <a:solidFill>
                  <a:srgbClr val="000000"/>
                </a:solidFill>
                <a:effectLst/>
                <a:uLnTx/>
                <a:uFillTx/>
                <a:latin typeface="+mn-lt"/>
                <a:ea typeface="+mn-ea"/>
                <a:cs typeface="+mn-cs"/>
              </a:rPr>
              <a:t> non </a:t>
            </a:r>
            <a:r>
              <a:rPr kumimoji="0" lang="en-GB" sz="1000" b="1" i="0" u="none" strike="noStrike" kern="1200" cap="none" spc="0" normalizeH="0" baseline="0" noProof="0" err="1">
                <a:ln>
                  <a:noFill/>
                </a:ln>
                <a:solidFill>
                  <a:srgbClr val="000000"/>
                </a:solidFill>
                <a:effectLst/>
                <a:uLnTx/>
                <a:uFillTx/>
                <a:latin typeface="+mn-lt"/>
                <a:ea typeface="+mn-ea"/>
                <a:cs typeface="+mn-cs"/>
              </a:rPr>
              <a:t>tincidu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matt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tor</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e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adipiscing</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diam</a:t>
            </a:r>
            <a:r>
              <a:rPr kumimoji="0" lang="en-GB" sz="1000" b="1" i="0" u="none" strike="noStrike" kern="1200" cap="none" spc="0" normalizeH="0" baseline="0" noProof="0">
                <a:ln>
                  <a:noFill/>
                </a:ln>
                <a:solidFill>
                  <a:srgbClr val="000000"/>
                </a:solidFill>
                <a:effectLst/>
                <a:uLnTx/>
                <a:uFillTx/>
                <a:latin typeface="+mn-lt"/>
                <a:ea typeface="+mn-ea"/>
                <a:cs typeface="+mn-cs"/>
              </a:rPr>
              <a:t>, a cursus ipsum ante </a:t>
            </a:r>
            <a:r>
              <a:rPr kumimoji="0" lang="en-GB" sz="1000" b="1" i="0" u="none" strike="noStrike" kern="1200" cap="none" spc="0" normalizeH="0" baseline="0" noProof="0" err="1">
                <a:ln>
                  <a:noFill/>
                </a:ln>
                <a:solidFill>
                  <a:srgbClr val="000000"/>
                </a:solidFill>
                <a:effectLst/>
                <a:uLnTx/>
                <a:uFillTx/>
                <a:latin typeface="+mn-lt"/>
                <a:ea typeface="+mn-ea"/>
                <a:cs typeface="+mn-cs"/>
              </a:rPr>
              <a:t>qu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urpi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Nu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facilisi</a:t>
            </a:r>
            <a:r>
              <a:rPr kumimoji="0" lang="en-GB" sz="1000" b="1" i="0" u="none" strike="noStrike" kern="1200" cap="none" spc="0" normalizeH="0" baseline="0" noProof="0">
                <a:ln>
                  <a:noFill/>
                </a:ln>
                <a:solidFill>
                  <a:srgbClr val="000000"/>
                </a:solidFill>
                <a:effectLst/>
                <a:uLnTx/>
                <a:uFillTx/>
                <a:latin typeface="+mn-lt"/>
                <a:ea typeface="+mn-ea"/>
                <a:cs typeface="+mn-cs"/>
              </a:rPr>
              <a:t>. Ut </a:t>
            </a:r>
            <a:r>
              <a:rPr kumimoji="0" lang="en-GB" sz="1000" b="1" i="0" u="none" strike="noStrike" kern="1200" cap="none" spc="0" normalizeH="0" baseline="0" noProof="0" err="1">
                <a:ln>
                  <a:noFill/>
                </a:ln>
                <a:solidFill>
                  <a:srgbClr val="000000"/>
                </a:solidFill>
                <a:effectLst/>
                <a:uLnTx/>
                <a:uFillTx/>
                <a:latin typeface="+mn-lt"/>
                <a:ea typeface="+mn-ea"/>
                <a:cs typeface="+mn-cs"/>
              </a:rPr>
              <a:t>fringi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uspendiss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potenti</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GB" sz="1000" b="1" i="0" u="none" strike="noStrike" kern="1200" cap="none" spc="0" normalizeH="0" baseline="0" noProof="0" err="1">
                <a:ln>
                  <a:noFill/>
                </a:ln>
                <a:solidFill>
                  <a:srgbClr val="000000"/>
                </a:solidFill>
                <a:effectLst/>
                <a:uLnTx/>
                <a:uFillTx/>
                <a:latin typeface="+mn-lt"/>
                <a:ea typeface="+mn-ea"/>
                <a:cs typeface="+mn-cs"/>
              </a:rPr>
              <a:t>arcu</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ege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ulla</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cxnSp>
        <p:nvCxnSpPr>
          <p:cNvPr id="15" name="Straight Connector 14">
            <a:extLst>
              <a:ext uri="{FF2B5EF4-FFF2-40B4-BE49-F238E27FC236}">
                <a16:creationId xmlns:a16="http://schemas.microsoft.com/office/drawing/2014/main" id="{45EAAC76-D81F-C040-9284-FE1D7DE2EED5}"/>
              </a:ext>
            </a:extLst>
          </p:cNvPr>
          <p:cNvCxnSpPr/>
          <p:nvPr userDrawn="1"/>
        </p:nvCxnSpPr>
        <p:spPr>
          <a:xfrm>
            <a:off x="9036424" y="1532965"/>
            <a:ext cx="0" cy="457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E0EF246-E81C-E742-862F-0B0A666D89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1508597"/>
            <a:ext cx="1125274" cy="434503"/>
          </a:xfrm>
          <a:prstGeom prst="rect">
            <a:avLst/>
          </a:prstGeom>
        </p:spPr>
      </p:pic>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pic>
        <p:nvPicPr>
          <p:cNvPr id="18" name="Picture 17">
            <a:extLst>
              <a:ext uri="{FF2B5EF4-FFF2-40B4-BE49-F238E27FC236}">
                <a16:creationId xmlns:a16="http://schemas.microsoft.com/office/drawing/2014/main" id="{ED6CF4E5-6D19-2545-9B0F-2A46658423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2895600"/>
            <a:ext cx="1125274" cy="434503"/>
          </a:xfrm>
          <a:prstGeom prst="rect">
            <a:avLst/>
          </a:prstGeom>
        </p:spPr>
      </p:pic>
      <p:sp>
        <p:nvSpPr>
          <p:cNvPr id="19" name="Text Placeholder 8">
            <a:extLst>
              <a:ext uri="{FF2B5EF4-FFF2-40B4-BE49-F238E27FC236}">
                <a16:creationId xmlns:a16="http://schemas.microsoft.com/office/drawing/2014/main" id="{5467000A-4742-A14C-8185-C89BEECC42FF}"/>
              </a:ext>
            </a:extLst>
          </p:cNvPr>
          <p:cNvSpPr>
            <a:spLocks noGrp="1"/>
          </p:cNvSpPr>
          <p:nvPr>
            <p:ph type="body" sz="quarter" idx="17" hasCustomPrompt="1"/>
          </p:nvPr>
        </p:nvSpPr>
        <p:spPr>
          <a:xfrm>
            <a:off x="9296400" y="47295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pic>
        <p:nvPicPr>
          <p:cNvPr id="20" name="Picture 19">
            <a:extLst>
              <a:ext uri="{FF2B5EF4-FFF2-40B4-BE49-F238E27FC236}">
                <a16:creationId xmlns:a16="http://schemas.microsoft.com/office/drawing/2014/main" id="{E9456665-D12E-DB4F-A2B4-8153DB942B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4267200"/>
            <a:ext cx="1125274" cy="434503"/>
          </a:xfrm>
          <a:prstGeom prst="rect">
            <a:avLst/>
          </a:prstGeom>
        </p:spPr>
      </p:pic>
    </p:spTree>
    <p:extLst>
      <p:ext uri="{BB962C8B-B14F-4D97-AF65-F5344CB8AC3E}">
        <p14:creationId xmlns:p14="http://schemas.microsoft.com/office/powerpoint/2010/main" val="39065189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28974462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Greeting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Quis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olutpa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condimentum</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elit</a:t>
            </a:r>
            <a:r>
              <a:rPr kumimoji="0" lang="en-GB"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Class </a:t>
            </a:r>
            <a:r>
              <a:rPr kumimoji="0" lang="en-GB" sz="1000" b="1" i="0" u="none" strike="noStrike" kern="1200" cap="none" spc="0" normalizeH="0" baseline="0" noProof="0" err="1">
                <a:ln>
                  <a:noFill/>
                </a:ln>
                <a:solidFill>
                  <a:srgbClr val="000000"/>
                </a:solidFill>
                <a:effectLst/>
                <a:uLnTx/>
                <a:uFillTx/>
                <a:latin typeface="+mn-lt"/>
                <a:ea typeface="+mn-ea"/>
                <a:cs typeface="+mn-cs"/>
              </a:rPr>
              <a:t>apte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aciti</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ociosqu</a:t>
            </a:r>
            <a:r>
              <a:rPr kumimoji="0" lang="en-GB" sz="1000" b="1" i="0" u="none" strike="noStrike" kern="1200" cap="none" spc="0" normalizeH="0" baseline="0" noProof="0">
                <a:ln>
                  <a:noFill/>
                </a:ln>
                <a:solidFill>
                  <a:srgbClr val="000000"/>
                </a:solidFill>
                <a:effectLst/>
                <a:uLnTx/>
                <a:uFillTx/>
                <a:latin typeface="+mn-lt"/>
                <a:ea typeface="+mn-ea"/>
                <a:cs typeface="+mn-cs"/>
              </a:rPr>
              <a:t> ad </a:t>
            </a:r>
            <a:r>
              <a:rPr kumimoji="0" lang="en-GB" sz="1000" b="1" i="0" u="none" strike="noStrike" kern="1200" cap="none" spc="0" normalizeH="0" baseline="0" noProof="0" err="1">
                <a:ln>
                  <a:noFill/>
                </a:ln>
                <a:solidFill>
                  <a:srgbClr val="000000"/>
                </a:solidFill>
                <a:effectLst/>
                <a:uLnTx/>
                <a:uFillTx/>
                <a:latin typeface="+mn-lt"/>
                <a:ea typeface="+mn-ea"/>
                <a:cs typeface="+mn-cs"/>
              </a:rPr>
              <a:t>litor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quent</a:t>
            </a:r>
            <a:r>
              <a:rPr kumimoji="0" lang="en-GB" sz="1000" b="1" i="0" u="none" strike="noStrike" kern="1200" cap="none" spc="0" normalizeH="0" baseline="0" noProof="0">
                <a:ln>
                  <a:noFill/>
                </a:ln>
                <a:solidFill>
                  <a:srgbClr val="000000"/>
                </a:solidFill>
                <a:effectLst/>
                <a:uLnTx/>
                <a:uFillTx/>
                <a:latin typeface="+mn-lt"/>
                <a:ea typeface="+mn-ea"/>
                <a:cs typeface="+mn-cs"/>
              </a:rPr>
              <a:t> per </a:t>
            </a:r>
            <a:r>
              <a:rPr kumimoji="0" lang="en-GB" sz="1000" b="1" i="0" u="none" strike="noStrike" kern="1200" cap="none" spc="0" normalizeH="0" baseline="0" noProof="0" err="1">
                <a:ln>
                  <a:noFill/>
                </a:ln>
                <a:solidFill>
                  <a:srgbClr val="000000"/>
                </a:solidFill>
                <a:effectLst/>
                <a:uLnTx/>
                <a:uFillTx/>
                <a:latin typeface="+mn-lt"/>
                <a:ea typeface="+mn-ea"/>
                <a:cs typeface="+mn-cs"/>
              </a:rPr>
              <a:t>conubia</a:t>
            </a:r>
            <a:r>
              <a:rPr kumimoji="0" lang="en-GB" sz="1000" b="1" i="0" u="none" strike="noStrike" kern="1200" cap="none" spc="0" normalizeH="0" baseline="0" noProof="0">
                <a:ln>
                  <a:noFill/>
                </a:ln>
                <a:solidFill>
                  <a:srgbClr val="000000"/>
                </a:solidFill>
                <a:effectLst/>
                <a:uLnTx/>
                <a:uFillTx/>
                <a:latin typeface="+mn-lt"/>
                <a:ea typeface="+mn-ea"/>
                <a:cs typeface="+mn-cs"/>
              </a:rPr>
              <a:t> nostra, per </a:t>
            </a:r>
            <a:r>
              <a:rPr kumimoji="0" lang="en-GB" sz="1000" b="1" i="0" u="none" strike="noStrike" kern="1200" cap="none" spc="0" normalizeH="0" baseline="0" noProof="0" err="1">
                <a:ln>
                  <a:noFill/>
                </a:ln>
                <a:solidFill>
                  <a:srgbClr val="000000"/>
                </a:solidFill>
                <a:effectLst/>
                <a:uLnTx/>
                <a:uFillTx/>
                <a:latin typeface="+mn-lt"/>
                <a:ea typeface="+mn-ea"/>
                <a:cs typeface="+mn-cs"/>
              </a:rPr>
              <a:t>incepto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Nam </a:t>
            </a:r>
            <a:r>
              <a:rPr kumimoji="0" lang="en-GB" sz="1000" b="1" i="0" u="none" strike="noStrike" kern="1200" cap="none" spc="0" normalizeH="0" baseline="0" noProof="0" err="1">
                <a:ln>
                  <a:noFill/>
                </a:ln>
                <a:solidFill>
                  <a:srgbClr val="000000"/>
                </a:solidFill>
                <a:effectLst/>
                <a:uLnTx/>
                <a:uFillTx/>
                <a:latin typeface="+mn-lt"/>
                <a:ea typeface="+mn-ea"/>
                <a:cs typeface="+mn-cs"/>
              </a:rPr>
              <a:t>nec</a:t>
            </a:r>
            <a:r>
              <a:rPr kumimoji="0" lang="en-GB" sz="1000" b="1" i="0" u="none" strike="noStrike" kern="1200" cap="none" spc="0" normalizeH="0" baseline="0" noProof="0">
                <a:ln>
                  <a:noFill/>
                </a:ln>
                <a:solidFill>
                  <a:srgbClr val="000000"/>
                </a:solidFill>
                <a:effectLst/>
                <a:uLnTx/>
                <a:uFillTx/>
                <a:latin typeface="+mn-lt"/>
                <a:ea typeface="+mn-ea"/>
                <a:cs typeface="+mn-cs"/>
              </a:rPr>
              <a:t> ante. </a:t>
            </a:r>
            <a:r>
              <a:rPr kumimoji="0" lang="en-GB" sz="1000" b="1" i="0" u="none" strike="noStrike" kern="1200" cap="none" spc="0" normalizeH="0" baseline="0" noProof="0" err="1">
                <a:ln>
                  <a:noFill/>
                </a:ln>
                <a:solidFill>
                  <a:srgbClr val="000000"/>
                </a:solidFill>
                <a:effectLst/>
                <a:uLnTx/>
                <a:uFillTx/>
                <a:latin typeface="+mn-lt"/>
                <a:ea typeface="+mn-ea"/>
                <a:cs typeface="+mn-cs"/>
              </a:rPr>
              <a:t>Sed</a:t>
            </a:r>
            <a:r>
              <a:rPr kumimoji="0" lang="en-GB" sz="1000" b="1" i="0" u="none" strike="noStrike" kern="1200" cap="none" spc="0" normalizeH="0" baseline="0" noProof="0">
                <a:ln>
                  <a:noFill/>
                </a:ln>
                <a:solidFill>
                  <a:srgbClr val="000000"/>
                </a:solidFill>
                <a:effectLst/>
                <a:uLnTx/>
                <a:uFillTx/>
                <a:latin typeface="+mn-lt"/>
                <a:ea typeface="+mn-ea"/>
                <a:cs typeface="+mn-cs"/>
              </a:rPr>
              <a:t> lacinia, </a:t>
            </a:r>
            <a:r>
              <a:rPr kumimoji="0" lang="en-GB" sz="1000" b="1" i="0" u="none" strike="noStrike" kern="1200" cap="none" spc="0" normalizeH="0" baseline="0" noProof="0" err="1">
                <a:ln>
                  <a:noFill/>
                </a:ln>
                <a:solidFill>
                  <a:srgbClr val="000000"/>
                </a:solidFill>
                <a:effectLst/>
                <a:uLnTx/>
                <a:uFillTx/>
                <a:latin typeface="+mn-lt"/>
                <a:ea typeface="+mn-ea"/>
                <a:cs typeface="+mn-cs"/>
              </a:rPr>
              <a:t>urna</a:t>
            </a:r>
            <a:r>
              <a:rPr kumimoji="0" lang="en-GB" sz="1000" b="1" i="0" u="none" strike="noStrike" kern="1200" cap="none" spc="0" normalizeH="0" baseline="0" noProof="0">
                <a:ln>
                  <a:noFill/>
                </a:ln>
                <a:solidFill>
                  <a:srgbClr val="000000"/>
                </a:solidFill>
                <a:effectLst/>
                <a:uLnTx/>
                <a:uFillTx/>
                <a:latin typeface="+mn-lt"/>
                <a:ea typeface="+mn-ea"/>
                <a:cs typeface="+mn-cs"/>
              </a:rPr>
              <a:t> non </a:t>
            </a:r>
            <a:r>
              <a:rPr kumimoji="0" lang="en-GB" sz="1000" b="1" i="0" u="none" strike="noStrike" kern="1200" cap="none" spc="0" normalizeH="0" baseline="0" noProof="0" err="1">
                <a:ln>
                  <a:noFill/>
                </a:ln>
                <a:solidFill>
                  <a:srgbClr val="000000"/>
                </a:solidFill>
                <a:effectLst/>
                <a:uLnTx/>
                <a:uFillTx/>
                <a:latin typeface="+mn-lt"/>
                <a:ea typeface="+mn-ea"/>
                <a:cs typeface="+mn-cs"/>
              </a:rPr>
              <a:t>tincidu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matt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tor</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e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adipiscing</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diam</a:t>
            </a:r>
            <a:r>
              <a:rPr kumimoji="0" lang="en-GB" sz="1000" b="1" i="0" u="none" strike="noStrike" kern="1200" cap="none" spc="0" normalizeH="0" baseline="0" noProof="0">
                <a:ln>
                  <a:noFill/>
                </a:ln>
                <a:solidFill>
                  <a:srgbClr val="000000"/>
                </a:solidFill>
                <a:effectLst/>
                <a:uLnTx/>
                <a:uFillTx/>
                <a:latin typeface="+mn-lt"/>
                <a:ea typeface="+mn-ea"/>
                <a:cs typeface="+mn-cs"/>
              </a:rPr>
              <a:t>, a cursus ipsum ante </a:t>
            </a:r>
            <a:r>
              <a:rPr kumimoji="0" lang="en-GB" sz="1000" b="1" i="0" u="none" strike="noStrike" kern="1200" cap="none" spc="0" normalizeH="0" baseline="0" noProof="0" err="1">
                <a:ln>
                  <a:noFill/>
                </a:ln>
                <a:solidFill>
                  <a:srgbClr val="000000"/>
                </a:solidFill>
                <a:effectLst/>
                <a:uLnTx/>
                <a:uFillTx/>
                <a:latin typeface="+mn-lt"/>
                <a:ea typeface="+mn-ea"/>
                <a:cs typeface="+mn-cs"/>
              </a:rPr>
              <a:t>qu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urpi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Nu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facilisi</a:t>
            </a:r>
            <a:r>
              <a:rPr kumimoji="0" lang="en-GB" sz="1000" b="1" i="0" u="none" strike="noStrike" kern="1200" cap="none" spc="0" normalizeH="0" baseline="0" noProof="0">
                <a:ln>
                  <a:noFill/>
                </a:ln>
                <a:solidFill>
                  <a:srgbClr val="000000"/>
                </a:solidFill>
                <a:effectLst/>
                <a:uLnTx/>
                <a:uFillTx/>
                <a:latin typeface="+mn-lt"/>
                <a:ea typeface="+mn-ea"/>
                <a:cs typeface="+mn-cs"/>
              </a:rPr>
              <a:t>. Ut </a:t>
            </a:r>
            <a:r>
              <a:rPr kumimoji="0" lang="en-GB" sz="1000" b="1" i="0" u="none" strike="noStrike" kern="1200" cap="none" spc="0" normalizeH="0" baseline="0" noProof="0" err="1">
                <a:ln>
                  <a:noFill/>
                </a:ln>
                <a:solidFill>
                  <a:srgbClr val="000000"/>
                </a:solidFill>
                <a:effectLst/>
                <a:uLnTx/>
                <a:uFillTx/>
                <a:latin typeface="+mn-lt"/>
                <a:ea typeface="+mn-ea"/>
                <a:cs typeface="+mn-cs"/>
              </a:rPr>
              <a:t>fringi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uspendiss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potenti</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GB" sz="1000" b="1" i="0" u="none" strike="noStrike" kern="1200" cap="none" spc="0" normalizeH="0" baseline="0" noProof="0" err="1">
                <a:ln>
                  <a:noFill/>
                </a:ln>
                <a:solidFill>
                  <a:srgbClr val="000000"/>
                </a:solidFill>
                <a:effectLst/>
                <a:uLnTx/>
                <a:uFillTx/>
                <a:latin typeface="+mn-lt"/>
                <a:ea typeface="+mn-ea"/>
                <a:cs typeface="+mn-cs"/>
              </a:rPr>
              <a:t>arcu</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ege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ulla</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cxnSp>
        <p:nvCxnSpPr>
          <p:cNvPr id="15" name="Straight Connector 14">
            <a:extLst>
              <a:ext uri="{FF2B5EF4-FFF2-40B4-BE49-F238E27FC236}">
                <a16:creationId xmlns:a16="http://schemas.microsoft.com/office/drawing/2014/main" id="{45EAAC76-D81F-C040-9284-FE1D7DE2EED5}"/>
              </a:ext>
            </a:extLst>
          </p:cNvPr>
          <p:cNvCxnSpPr/>
          <p:nvPr userDrawn="1"/>
        </p:nvCxnSpPr>
        <p:spPr>
          <a:xfrm>
            <a:off x="9036424" y="1532965"/>
            <a:ext cx="0" cy="457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E0EF246-E81C-E742-862F-0B0A666D89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1508597"/>
            <a:ext cx="1125274" cy="434503"/>
          </a:xfrm>
          <a:prstGeom prst="rect">
            <a:avLst/>
          </a:prstGeom>
        </p:spPr>
      </p:pic>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pic>
        <p:nvPicPr>
          <p:cNvPr id="18" name="Picture 17">
            <a:extLst>
              <a:ext uri="{FF2B5EF4-FFF2-40B4-BE49-F238E27FC236}">
                <a16:creationId xmlns:a16="http://schemas.microsoft.com/office/drawing/2014/main" id="{ED6CF4E5-6D19-2545-9B0F-2A46658423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2895600"/>
            <a:ext cx="1125274" cy="434503"/>
          </a:xfrm>
          <a:prstGeom prst="rect">
            <a:avLst/>
          </a:prstGeom>
        </p:spPr>
      </p:pic>
      <p:sp>
        <p:nvSpPr>
          <p:cNvPr id="19" name="Text Placeholder 8">
            <a:extLst>
              <a:ext uri="{FF2B5EF4-FFF2-40B4-BE49-F238E27FC236}">
                <a16:creationId xmlns:a16="http://schemas.microsoft.com/office/drawing/2014/main" id="{5467000A-4742-A14C-8185-C89BEECC42FF}"/>
              </a:ext>
            </a:extLst>
          </p:cNvPr>
          <p:cNvSpPr>
            <a:spLocks noGrp="1"/>
          </p:cNvSpPr>
          <p:nvPr>
            <p:ph type="body" sz="quarter" idx="17" hasCustomPrompt="1"/>
          </p:nvPr>
        </p:nvSpPr>
        <p:spPr>
          <a:xfrm>
            <a:off x="9296400" y="47295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pic>
        <p:nvPicPr>
          <p:cNvPr id="20" name="Picture 19">
            <a:extLst>
              <a:ext uri="{FF2B5EF4-FFF2-40B4-BE49-F238E27FC236}">
                <a16:creationId xmlns:a16="http://schemas.microsoft.com/office/drawing/2014/main" id="{E9456665-D12E-DB4F-A2B4-8153DB942B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4267200"/>
            <a:ext cx="1125274" cy="434503"/>
          </a:xfrm>
          <a:prstGeom prst="rect">
            <a:avLst/>
          </a:prstGeom>
        </p:spPr>
      </p:pic>
    </p:spTree>
    <p:extLst>
      <p:ext uri="{BB962C8B-B14F-4D97-AF65-F5344CB8AC3E}">
        <p14:creationId xmlns:p14="http://schemas.microsoft.com/office/powerpoint/2010/main" val="35657115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Subhead: Sidebar - N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C00475B-A5C6-C849-A5AB-E57F23F3E9B8}"/>
              </a:ext>
            </a:extLst>
          </p:cNvPr>
          <p:cNvSpPr/>
          <p:nvPr userDrawn="1"/>
        </p:nvSpPr>
        <p:spPr bwMode="gray">
          <a:xfrm flipH="1">
            <a:off x="-3" y="0"/>
            <a:ext cx="4953002" cy="6858000"/>
          </a:xfrm>
          <a:prstGeom prst="rect">
            <a:avLst/>
          </a:prstGeom>
          <a:solidFill>
            <a:schemeClr val="accent4"/>
          </a:solidFill>
          <a:ln w="19050" algn="ctr">
            <a:noFill/>
            <a:miter lim="800000"/>
            <a:headEnd/>
            <a:tailEnd/>
          </a:ln>
        </p:spPr>
        <p:txBody>
          <a:bodyPr wrap="square" lIns="0" tIns="0" rIns="0" bIns="0" rtlCol="0" anchor="ctr">
            <a:noAutofit/>
          </a:bodyPr>
          <a:lstStyle/>
          <a:p>
            <a:pPr algn="ctr"/>
            <a:endParaRPr lang="en-GB"/>
          </a:p>
        </p:txBody>
      </p:sp>
      <p:sp>
        <p:nvSpPr>
          <p:cNvPr id="8" name="Text Placeholder 7">
            <a:extLst>
              <a:ext uri="{FF2B5EF4-FFF2-40B4-BE49-F238E27FC236}">
                <a16:creationId xmlns:a16="http://schemas.microsoft.com/office/drawing/2014/main" id="{866FB94F-08D4-3E44-BFE4-F557107D2DE8}"/>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tx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2" name="Text Placeholder 5">
            <a:extLst>
              <a:ext uri="{FF2B5EF4-FFF2-40B4-BE49-F238E27FC236}">
                <a16:creationId xmlns:a16="http://schemas.microsoft.com/office/drawing/2014/main" id="{D17C4CB6-256B-004F-984C-4EAB9A3533F0}"/>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141120310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Subhead: Tier Messagin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B615B79-83A2-0343-BB17-1E5F1DBD268B}"/>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12" name="Text Placeholder 10">
            <a:extLst>
              <a:ext uri="{FF2B5EF4-FFF2-40B4-BE49-F238E27FC236}">
                <a16:creationId xmlns:a16="http://schemas.microsoft.com/office/drawing/2014/main" id="{CD642028-55AE-A84C-8468-9727C57D77D4}"/>
              </a:ext>
            </a:extLst>
          </p:cNvPr>
          <p:cNvSpPr>
            <a:spLocks noGrp="1"/>
          </p:cNvSpPr>
          <p:nvPr>
            <p:ph type="body" sz="quarter" idx="16" hasCustomPrompt="1"/>
          </p:nvPr>
        </p:nvSpPr>
        <p:spPr>
          <a:xfrm>
            <a:off x="914400" y="2465668"/>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7" name="Text Placeholder 7">
            <a:extLst>
              <a:ext uri="{FF2B5EF4-FFF2-40B4-BE49-F238E27FC236}">
                <a16:creationId xmlns:a16="http://schemas.microsoft.com/office/drawing/2014/main" id="{E7D24869-7C17-4646-B9D3-8285654B0D42}"/>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13843031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Subhead: Sidebar - Messag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C00475B-A5C6-C849-A5AB-E57F23F3E9B8}"/>
              </a:ext>
            </a:extLst>
          </p:cNvPr>
          <p:cNvSpPr/>
          <p:nvPr userDrawn="1"/>
        </p:nvSpPr>
        <p:spPr bwMode="gray">
          <a:xfrm flipH="1">
            <a:off x="-3" y="0"/>
            <a:ext cx="4953002" cy="6858000"/>
          </a:xfrm>
          <a:prstGeom prst="rect">
            <a:avLst/>
          </a:prstGeom>
          <a:solidFill>
            <a:schemeClr val="accent1"/>
          </a:solidFill>
          <a:ln w="19050" algn="ctr">
            <a:noFill/>
            <a:miter lim="800000"/>
            <a:headEnd/>
            <a:tailEnd/>
          </a:ln>
        </p:spPr>
        <p:txBody>
          <a:bodyPr wrap="square" lIns="0" tIns="0" rIns="0" bIns="0" rtlCol="0" anchor="ctr">
            <a:noAutofit/>
          </a:bodyPr>
          <a:lstStyle/>
          <a:p>
            <a:pPr algn="ctr"/>
            <a:endParaRPr lang="en-GB"/>
          </a:p>
        </p:txBody>
      </p:sp>
      <p:sp>
        <p:nvSpPr>
          <p:cNvPr id="11" name="Rectangle 2">
            <a:extLst>
              <a:ext uri="{FF2B5EF4-FFF2-40B4-BE49-F238E27FC236}">
                <a16:creationId xmlns:a16="http://schemas.microsoft.com/office/drawing/2014/main" id="{C7C7A6A0-FE3D-104E-8393-4A7A8E30C83F}"/>
              </a:ext>
            </a:extLst>
          </p:cNvPr>
          <p:cNvSpPr>
            <a:spLocks/>
          </p:cNvSpPr>
          <p:nvPr userDrawn="1"/>
        </p:nvSpPr>
        <p:spPr bwMode="auto">
          <a:xfrm>
            <a:off x="914719" y="6286500"/>
            <a:ext cx="3088987"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fld id="{C84F2FB2-4A16-1542-BD5E-F56870239E74}" type="slidenum">
              <a:rPr lang="en-GB" sz="800" smtClean="0">
                <a:solidFill>
                  <a:schemeClr val="bg1">
                    <a:lumMod val="50000"/>
                  </a:schemeClr>
                </a:solidFill>
                <a:latin typeface="Open Sans" charset="0"/>
                <a:ea typeface="Open Sans" charset="0"/>
                <a:cs typeface="Open Sans" charset="0"/>
                <a:sym typeface="Frutiger Next Pro Light" charset="0"/>
              </a:rPr>
              <a:pPr/>
              <a:t>‹#›</a:t>
            </a:fld>
            <a:r>
              <a:rPr lang="en-GB" sz="800">
                <a:solidFill>
                  <a:schemeClr val="bg1">
                    <a:lumMod val="50000"/>
                  </a:schemeClr>
                </a:solidFill>
                <a:latin typeface="Open Sans" charset="0"/>
                <a:ea typeface="Open Sans" charset="0"/>
                <a:cs typeface="Open Sans" charset="0"/>
                <a:sym typeface="Frutiger Next Pro Light" charset="0"/>
              </a:rPr>
              <a:t>  |  Copyright © 2021 For information contact Deloitte Global. </a:t>
            </a:r>
          </a:p>
        </p:txBody>
      </p:sp>
      <p:sp>
        <p:nvSpPr>
          <p:cNvPr id="14" name="Text Placeholder 7">
            <a:extLst>
              <a:ext uri="{FF2B5EF4-FFF2-40B4-BE49-F238E27FC236}">
                <a16:creationId xmlns:a16="http://schemas.microsoft.com/office/drawing/2014/main" id="{149D441B-5A96-9B41-9D87-454944D82470}"/>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10">
            <a:extLst>
              <a:ext uri="{FF2B5EF4-FFF2-40B4-BE49-F238E27FC236}">
                <a16:creationId xmlns:a16="http://schemas.microsoft.com/office/drawing/2014/main" id="{E116E8C8-C57E-3C4C-ACC0-344B7AA9A17D}"/>
              </a:ext>
            </a:extLst>
          </p:cNvPr>
          <p:cNvSpPr>
            <a:spLocks noGrp="1"/>
          </p:cNvSpPr>
          <p:nvPr>
            <p:ph type="body" sz="quarter" idx="16" hasCustomPrompt="1"/>
          </p:nvPr>
        </p:nvSpPr>
        <p:spPr>
          <a:xfrm>
            <a:off x="6019800" y="1212850"/>
            <a:ext cx="5219700" cy="8509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8" name="Text Placeholder 13">
            <a:extLst>
              <a:ext uri="{FF2B5EF4-FFF2-40B4-BE49-F238E27FC236}">
                <a16:creationId xmlns:a16="http://schemas.microsoft.com/office/drawing/2014/main" id="{A5647CB6-FC63-DF44-8496-CE9754E13DE2}"/>
              </a:ext>
            </a:extLst>
          </p:cNvPr>
          <p:cNvSpPr>
            <a:spLocks noGrp="1"/>
          </p:cNvSpPr>
          <p:nvPr>
            <p:ph type="body" sz="quarter" idx="17" hasCustomPrompt="1"/>
          </p:nvPr>
        </p:nvSpPr>
        <p:spPr>
          <a:xfrm>
            <a:off x="6019800" y="3289299"/>
            <a:ext cx="5219700" cy="1645771"/>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Felis </a:t>
            </a:r>
            <a:r>
              <a:rPr lang="en-GB" err="1"/>
              <a:t>blandit</a:t>
            </a:r>
            <a:r>
              <a:rPr lang="en-GB"/>
              <a:t> cursus</a:t>
            </a:r>
            <a:br>
              <a:rPr lang="en-GB"/>
            </a:b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p:txBody>
      </p:sp>
      <p:sp>
        <p:nvSpPr>
          <p:cNvPr id="13" name="Text Placeholder 5">
            <a:extLst>
              <a:ext uri="{FF2B5EF4-FFF2-40B4-BE49-F238E27FC236}">
                <a16:creationId xmlns:a16="http://schemas.microsoft.com/office/drawing/2014/main" id="{63E69F53-FE35-D641-B88F-0A68E2BCA049}"/>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313593327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Subhead: No Content - Breadcrumb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B3FE79D3-B21C-A940-9413-05C2C3557EB3}"/>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7" name="Text Placeholder 7">
            <a:extLst>
              <a:ext uri="{FF2B5EF4-FFF2-40B4-BE49-F238E27FC236}">
                <a16:creationId xmlns:a16="http://schemas.microsoft.com/office/drawing/2014/main" id="{21B08B97-243B-5443-A860-23EDD9E8F98C}"/>
              </a:ext>
            </a:extLst>
          </p:cNvPr>
          <p:cNvSpPr>
            <a:spLocks noGrp="1"/>
          </p:cNvSpPr>
          <p:nvPr>
            <p:ph type="body" sz="quarter" idx="14"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
        <p:nvSpPr>
          <p:cNvPr id="10" name="Text Placeholder 2">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4223837581"/>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Subhead: 3 Column - Breadcrumbs">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D1FA0000-C94E-E149-9623-BD66BFB0643F}"/>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3" name="Text Placeholder 7">
            <a:extLst>
              <a:ext uri="{FF2B5EF4-FFF2-40B4-BE49-F238E27FC236}">
                <a16:creationId xmlns:a16="http://schemas.microsoft.com/office/drawing/2014/main" id="{A8B5101F-02F4-F644-B829-A903E6C5AF82}"/>
              </a:ext>
            </a:extLst>
          </p:cNvPr>
          <p:cNvSpPr>
            <a:spLocks noGrp="1"/>
          </p:cNvSpPr>
          <p:nvPr>
            <p:ph type="body" sz="quarter" idx="17" hasCustomPrompt="1"/>
          </p:nvPr>
        </p:nvSpPr>
        <p:spPr>
          <a:xfrm>
            <a:off x="914400" y="1724535"/>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
        <p:nvSpPr>
          <p:cNvPr id="3" name="Text Placeholder 2">
            <a:extLst>
              <a:ext uri="{FF2B5EF4-FFF2-40B4-BE49-F238E27FC236}">
                <a16:creationId xmlns:a16="http://schemas.microsoft.com/office/drawing/2014/main" id="{9A91C994-DD05-CB44-8508-2A07253626FD}"/>
              </a:ext>
            </a:extLst>
          </p:cNvPr>
          <p:cNvSpPr>
            <a:spLocks noGrp="1"/>
          </p:cNvSpPr>
          <p:nvPr>
            <p:ph type="body" sz="quarter" idx="18" hasCustomPrompt="1"/>
          </p:nvPr>
        </p:nvSpPr>
        <p:spPr>
          <a:xfrm>
            <a:off x="914399"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4" name="Text Placeholder 2">
            <a:extLst>
              <a:ext uri="{FF2B5EF4-FFF2-40B4-BE49-F238E27FC236}">
                <a16:creationId xmlns:a16="http://schemas.microsoft.com/office/drawing/2014/main" id="{62BE551D-14EE-544A-8F49-DE7C4E74B109}"/>
              </a:ext>
            </a:extLst>
          </p:cNvPr>
          <p:cNvSpPr>
            <a:spLocks noGrp="1"/>
          </p:cNvSpPr>
          <p:nvPr>
            <p:ph type="body" sz="quarter" idx="19" hasCustomPrompt="1"/>
          </p:nvPr>
        </p:nvSpPr>
        <p:spPr>
          <a:xfrm>
            <a:off x="4410635"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8" name="Text Placeholder 2">
            <a:extLst>
              <a:ext uri="{FF2B5EF4-FFF2-40B4-BE49-F238E27FC236}">
                <a16:creationId xmlns:a16="http://schemas.microsoft.com/office/drawing/2014/main" id="{8F694449-2177-6F4F-978A-F254F736AAED}"/>
              </a:ext>
            </a:extLst>
          </p:cNvPr>
          <p:cNvSpPr>
            <a:spLocks noGrp="1"/>
          </p:cNvSpPr>
          <p:nvPr>
            <p:ph type="body" sz="quarter" idx="21" hasCustomPrompt="1"/>
          </p:nvPr>
        </p:nvSpPr>
        <p:spPr>
          <a:xfrm>
            <a:off x="7893423" y="2675965"/>
            <a:ext cx="3092823" cy="3321610"/>
          </a:xfrm>
        </p:spPr>
        <p:txBody>
          <a:bodyPr/>
          <a:lstStyle>
            <a:lvl1pPr>
              <a:defRPr sz="10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GB"/>
              <a:t>Felis </a:t>
            </a:r>
            <a:r>
              <a:rPr lang="en-GB" err="1"/>
              <a:t>blandit</a:t>
            </a:r>
            <a:r>
              <a:rPr lang="en-GB"/>
              <a:t> cursus</a:t>
            </a:r>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9" name="Text Placeholder 2">
            <a:extLst>
              <a:ext uri="{FF2B5EF4-FFF2-40B4-BE49-F238E27FC236}">
                <a16:creationId xmlns:a16="http://schemas.microsoft.com/office/drawing/2014/main" id="{AA02C6BE-9131-7144-A89D-17B9B6BF1F0F}"/>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20" name="Text Placeholder 2">
            <a:extLst>
              <a:ext uri="{FF2B5EF4-FFF2-40B4-BE49-F238E27FC236}">
                <a16:creationId xmlns:a16="http://schemas.microsoft.com/office/drawing/2014/main" id="{E2674560-4F3C-1240-A50E-2F71A3F4C759}"/>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23288697"/>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Subhead: Tier Messaging - Breadcrumbs">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6FFB0421-D2FD-3D4E-B9B1-06F317B8D040}"/>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17" name="Text Placeholder 13">
            <a:extLst>
              <a:ext uri="{FF2B5EF4-FFF2-40B4-BE49-F238E27FC236}">
                <a16:creationId xmlns:a16="http://schemas.microsoft.com/office/drawing/2014/main" id="{8D30F071-F953-AE45-848C-4A88A58ABD6A}"/>
              </a:ext>
            </a:extLst>
          </p:cNvPr>
          <p:cNvSpPr>
            <a:spLocks noGrp="1"/>
          </p:cNvSpPr>
          <p:nvPr>
            <p:ph type="body" sz="quarter" idx="17"/>
          </p:nvPr>
        </p:nvSpPr>
        <p:spPr>
          <a:xfrm>
            <a:off x="914400" y="4149912"/>
            <a:ext cx="9296400" cy="1121336"/>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endParaRPr lang="en-GB"/>
          </a:p>
        </p:txBody>
      </p:sp>
      <p:sp>
        <p:nvSpPr>
          <p:cNvPr id="8" name="Text Placeholder 10">
            <a:extLst>
              <a:ext uri="{FF2B5EF4-FFF2-40B4-BE49-F238E27FC236}">
                <a16:creationId xmlns:a16="http://schemas.microsoft.com/office/drawing/2014/main" id="{463985F8-E7E2-514E-B644-AA0D3303D0F2}"/>
              </a:ext>
            </a:extLst>
          </p:cNvPr>
          <p:cNvSpPr>
            <a:spLocks noGrp="1"/>
          </p:cNvSpPr>
          <p:nvPr>
            <p:ph type="body" sz="quarter" idx="16" hasCustomPrompt="1"/>
          </p:nvPr>
        </p:nvSpPr>
        <p:spPr>
          <a:xfrm>
            <a:off x="914400" y="1943256"/>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1" name="Text Placeholder 2">
            <a:extLst>
              <a:ext uri="{FF2B5EF4-FFF2-40B4-BE49-F238E27FC236}">
                <a16:creationId xmlns:a16="http://schemas.microsoft.com/office/drawing/2014/main" id="{0DDFE1B1-9364-4E44-BE5A-008902C9708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5561B028-51AA-784D-A4C9-A82067CB3850}"/>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588987339"/>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Subhead: 3 Column with Footer - Breadcrumb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B08EE29-A03A-C342-B34E-CB43983D5274}"/>
              </a:ext>
            </a:extLst>
          </p:cNvPr>
          <p:cNvCxnSpPr>
            <a:cxnSpLocks/>
          </p:cNvCxnSpPr>
          <p:nvPr userDrawn="1"/>
        </p:nvCxnSpPr>
        <p:spPr>
          <a:xfrm>
            <a:off x="912813" y="5734285"/>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902960"/>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90565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903279"/>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p>
        </p:txBody>
      </p:sp>
      <p:sp>
        <p:nvSpPr>
          <p:cNvPr id="21" name="Title Placeholder 1">
            <a:extLst>
              <a:ext uri="{FF2B5EF4-FFF2-40B4-BE49-F238E27FC236}">
                <a16:creationId xmlns:a16="http://schemas.microsoft.com/office/drawing/2014/main" id="{587A59F8-B5A7-7543-BCD3-6D3B96423664}"/>
              </a:ext>
            </a:extLst>
          </p:cNvPr>
          <p:cNvSpPr>
            <a:spLocks noGrp="1"/>
          </p:cNvSpPr>
          <p:nvPr>
            <p:ph type="title" hasCustomPrompt="1"/>
          </p:nvPr>
        </p:nvSpPr>
        <p:spPr bwMode="gray">
          <a:xfrm>
            <a:off x="914400" y="8128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25" name="Text Placeholder 9">
            <a:extLst>
              <a:ext uri="{FF2B5EF4-FFF2-40B4-BE49-F238E27FC236}">
                <a16:creationId xmlns:a16="http://schemas.microsoft.com/office/drawing/2014/main" id="{5B8C51D7-FE3E-D842-9B2F-5F0C99510C05}"/>
              </a:ext>
            </a:extLst>
          </p:cNvPr>
          <p:cNvSpPr>
            <a:spLocks noGrp="1"/>
          </p:cNvSpPr>
          <p:nvPr>
            <p:ph type="body" sz="quarter" idx="18" hasCustomPrompt="1"/>
          </p:nvPr>
        </p:nvSpPr>
        <p:spPr>
          <a:xfrm>
            <a:off x="914400" y="2329329"/>
            <a:ext cx="30099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26" name="Text Placeholder 9">
            <a:extLst>
              <a:ext uri="{FF2B5EF4-FFF2-40B4-BE49-F238E27FC236}">
                <a16:creationId xmlns:a16="http://schemas.microsoft.com/office/drawing/2014/main" id="{39EC3C5A-1CBC-4942-8736-3D6B4698E09A}"/>
              </a:ext>
            </a:extLst>
          </p:cNvPr>
          <p:cNvSpPr>
            <a:spLocks noGrp="1"/>
          </p:cNvSpPr>
          <p:nvPr>
            <p:ph type="body" sz="quarter" idx="19" hasCustomPrompt="1"/>
          </p:nvPr>
        </p:nvSpPr>
        <p:spPr>
          <a:xfrm>
            <a:off x="4613478"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a:t>
            </a:r>
          </a:p>
          <a:p>
            <a:pPr lvl="0"/>
            <a:endParaRPr lang="en-GB"/>
          </a:p>
          <a:p>
            <a:pPr lvl="0"/>
            <a:r>
              <a:rPr lang="en-GB"/>
              <a:t>Aenean </a:t>
            </a:r>
            <a:r>
              <a:rPr lang="en-GB" err="1"/>
              <a:t>suspendisse</a:t>
            </a:r>
            <a:r>
              <a:rPr lang="en-GB"/>
              <a:t> fames </a:t>
            </a:r>
          </a:p>
          <a:p>
            <a:pPr lvl="0"/>
            <a:r>
              <a:rPr lang="en-GB" err="1"/>
              <a:t>Facilisis</a:t>
            </a:r>
            <a:r>
              <a:rPr lang="en-GB"/>
              <a:t> </a:t>
            </a:r>
            <a:r>
              <a:rPr lang="en-GB" err="1"/>
              <a:t>est</a:t>
            </a:r>
            <a:r>
              <a:rPr lang="en-GB"/>
              <a:t> </a:t>
            </a:r>
            <a:r>
              <a:rPr lang="en-GB" err="1"/>
              <a:t>porttitor</a:t>
            </a:r>
            <a:r>
              <a:rPr lang="en-GB"/>
              <a:t> </a:t>
            </a:r>
            <a:r>
              <a:rPr lang="en-GB" err="1"/>
              <a:t>sed</a:t>
            </a:r>
            <a:r>
              <a:rPr lang="en-GB"/>
              <a:t> </a:t>
            </a:r>
            <a:r>
              <a:rPr lang="en-GB" err="1"/>
              <a:t>nec</a:t>
            </a:r>
            <a:r>
              <a:rPr lang="en-GB"/>
              <a:t> </a:t>
            </a:r>
            <a:r>
              <a:rPr lang="en-GB" err="1"/>
              <a:t>scelerisque</a:t>
            </a:r>
            <a:r>
              <a:rPr lang="en-GB"/>
              <a:t> </a:t>
            </a:r>
            <a:r>
              <a:rPr lang="en-GB" err="1"/>
              <a:t>urna</a:t>
            </a:r>
            <a:r>
              <a:rPr lang="en-GB"/>
              <a:t> </a:t>
            </a:r>
            <a:r>
              <a:rPr lang="en-GB" err="1"/>
              <a:t>aptent</a:t>
            </a:r>
            <a:r>
              <a:rPr lang="en-GB"/>
              <a:t> </a:t>
            </a:r>
            <a:r>
              <a:rPr lang="en-GB" err="1"/>
              <a:t>nisl</a:t>
            </a:r>
            <a:r>
              <a:rPr lang="en-GB"/>
              <a:t> </a:t>
            </a:r>
            <a:r>
              <a:rPr lang="en-GB" err="1"/>
              <a:t>curae</a:t>
            </a:r>
            <a:r>
              <a:rPr lang="en-GB"/>
              <a:t> </a:t>
            </a:r>
            <a:r>
              <a:rPr lang="en-GB" err="1"/>
              <a:t>adipiscing</a:t>
            </a:r>
            <a:r>
              <a:rPr lang="en-GB"/>
              <a:t>, fermentum </a:t>
            </a:r>
            <a:r>
              <a:rPr lang="en-GB" err="1"/>
              <a:t>curabr</a:t>
            </a:r>
            <a:r>
              <a:rPr lang="en-GB"/>
              <a:t> </a:t>
            </a:r>
            <a:r>
              <a:rPr lang="en-GB" err="1"/>
              <a:t>enim</a:t>
            </a:r>
            <a:r>
              <a:rPr lang="en-GB"/>
              <a:t> auctor </a:t>
            </a:r>
            <a:r>
              <a:rPr lang="en-GB" err="1"/>
              <a:t>massa</a:t>
            </a:r>
            <a:r>
              <a:rPr lang="en-GB"/>
              <a:t> integer fames </a:t>
            </a:r>
            <a:r>
              <a:rPr lang="en-GB" err="1"/>
              <a:t>purus</a:t>
            </a:r>
            <a:r>
              <a:rPr lang="en-GB"/>
              <a:t> in.</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a:t>
            </a:r>
          </a:p>
        </p:txBody>
      </p:sp>
      <p:sp>
        <p:nvSpPr>
          <p:cNvPr id="27" name="Text Placeholder 9">
            <a:extLst>
              <a:ext uri="{FF2B5EF4-FFF2-40B4-BE49-F238E27FC236}">
                <a16:creationId xmlns:a16="http://schemas.microsoft.com/office/drawing/2014/main" id="{5FB42339-0512-FF4A-A3AB-61E340CC01DE}"/>
              </a:ext>
            </a:extLst>
          </p:cNvPr>
          <p:cNvSpPr>
            <a:spLocks noGrp="1"/>
          </p:cNvSpPr>
          <p:nvPr>
            <p:ph type="body" sz="quarter" idx="20" hasCustomPrompt="1"/>
          </p:nvPr>
        </p:nvSpPr>
        <p:spPr>
          <a:xfrm>
            <a:off x="8269941" y="2329329"/>
            <a:ext cx="296955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4" name="Text Placeholder 2">
            <a:extLst>
              <a:ext uri="{FF2B5EF4-FFF2-40B4-BE49-F238E27FC236}">
                <a16:creationId xmlns:a16="http://schemas.microsoft.com/office/drawing/2014/main" id="{D06929EA-D49D-4F46-A84D-6D323E890B91}"/>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5" name="Text Placeholder 2">
            <a:extLst>
              <a:ext uri="{FF2B5EF4-FFF2-40B4-BE49-F238E27FC236}">
                <a16:creationId xmlns:a16="http://schemas.microsoft.com/office/drawing/2014/main" id="{59D9BD63-561E-7641-BD15-6DD81F5FA291}"/>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3959080637"/>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Subhead: Sidebar - 3 Column Highlight - 1 - Breadcrumb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D460F9-EB1A-804D-B6A6-90FD865587A1}"/>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chemeClr val="accent3"/>
          </a:solidFill>
          <a:ln w="19050" algn="ctr">
            <a:noFill/>
            <a:miter lim="800000"/>
            <a:headEnd/>
            <a:tailEnd/>
          </a:ln>
        </p:spPr>
        <p:txBody>
          <a:bodyPr wrap="square" lIns="0" tIns="0" rIns="0" bIns="0" rtlCol="0" anchor="ctr">
            <a:noAutofit/>
          </a:bodyPr>
          <a:lstStyle/>
          <a:p>
            <a:pPr algn="ctr"/>
            <a:endParaRPr lang="en-GB"/>
          </a:p>
        </p:txBody>
      </p:sp>
      <p:sp>
        <p:nvSpPr>
          <p:cNvPr id="14" name="Text Placeholder 7">
            <a:extLst>
              <a:ext uri="{FF2B5EF4-FFF2-40B4-BE49-F238E27FC236}">
                <a16:creationId xmlns:a16="http://schemas.microsoft.com/office/drawing/2014/main" id="{50FD3A15-BD8B-E34B-BC34-50978AF2D590}"/>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9">
            <a:extLst>
              <a:ext uri="{FF2B5EF4-FFF2-40B4-BE49-F238E27FC236}">
                <a16:creationId xmlns:a16="http://schemas.microsoft.com/office/drawing/2014/main" id="{8C0AE4FA-D2A5-C24F-B394-2F06B8655D73}"/>
              </a:ext>
            </a:extLst>
          </p:cNvPr>
          <p:cNvSpPr>
            <a:spLocks noGrp="1"/>
          </p:cNvSpPr>
          <p:nvPr>
            <p:ph type="body" sz="quarter" idx="18" hasCustomPrompt="1"/>
          </p:nvPr>
        </p:nvSpPr>
        <p:spPr>
          <a:xfrm>
            <a:off x="5105400"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6" name="Text Placeholder 9">
            <a:extLst>
              <a:ext uri="{FF2B5EF4-FFF2-40B4-BE49-F238E27FC236}">
                <a16:creationId xmlns:a16="http://schemas.microsoft.com/office/drawing/2014/main" id="{145DA036-2645-6A4B-AAB9-D5649DF2BE66}"/>
              </a:ext>
            </a:extLst>
          </p:cNvPr>
          <p:cNvSpPr>
            <a:spLocks noGrp="1"/>
          </p:cNvSpPr>
          <p:nvPr>
            <p:ph type="body" sz="quarter" idx="19" hasCustomPrompt="1"/>
          </p:nvPr>
        </p:nvSpPr>
        <p:spPr>
          <a:xfrm>
            <a:off x="8325971" y="1066800"/>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solidFill>
                  <a:schemeClr val="tx1"/>
                </a:solidFill>
              </a:defRPr>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7" name="Text Placeholder 9">
            <a:extLst>
              <a:ext uri="{FF2B5EF4-FFF2-40B4-BE49-F238E27FC236}">
                <a16:creationId xmlns:a16="http://schemas.microsoft.com/office/drawing/2014/main" id="{F2697B8C-43B6-9A45-932F-FFADB537D4C2}"/>
              </a:ext>
            </a:extLst>
          </p:cNvPr>
          <p:cNvSpPr>
            <a:spLocks noGrp="1"/>
          </p:cNvSpPr>
          <p:nvPr>
            <p:ph type="body" sz="quarter" idx="20" hasCustomPrompt="1"/>
          </p:nvPr>
        </p:nvSpPr>
        <p:spPr>
          <a:xfrm>
            <a:off x="5105400" y="3641912"/>
            <a:ext cx="61341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800">
                <a:solidFill>
                  <a:schemeClr val="tx1"/>
                </a:solidFill>
              </a:defRPr>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8" name="Text Placeholder 2">
            <a:extLst>
              <a:ext uri="{FF2B5EF4-FFF2-40B4-BE49-F238E27FC236}">
                <a16:creationId xmlns:a16="http://schemas.microsoft.com/office/drawing/2014/main" id="{423A93C1-26C8-7246-A60C-C403CB759C6E}"/>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356F363A-A759-A646-97B7-B063F02DC54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9" name="Text Placeholder 2">
            <a:extLst>
              <a:ext uri="{FF2B5EF4-FFF2-40B4-BE49-F238E27FC236}">
                <a16:creationId xmlns:a16="http://schemas.microsoft.com/office/drawing/2014/main" id="{A67CC57D-A7D1-434A-84AB-06E26C1EDEB1}"/>
              </a:ext>
            </a:extLst>
          </p:cNvPr>
          <p:cNvSpPr>
            <a:spLocks noGrp="1"/>
          </p:cNvSpPr>
          <p:nvPr>
            <p:ph type="body" sz="quarter" idx="26" hasCustomPrompt="1"/>
          </p:nvPr>
        </p:nvSpPr>
        <p:spPr>
          <a:xfrm>
            <a:off x="1986247" y="495992"/>
            <a:ext cx="1938053"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28123893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Subhead: Sidebar - 3 Column Highlight - 2 - Breadcrumb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D460F9-EB1A-804D-B6A6-90FD865587A1}"/>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46626" y="316241"/>
            <a:ext cx="7545374" cy="258398"/>
          </a:xfrm>
          <a:prstGeom prst="rect">
            <a:avLst/>
          </a:prstGeom>
        </p:spPr>
      </p:pic>
      <p:sp>
        <p:nvSpPr>
          <p:cNvPr id="2" name="Rectangle 1">
            <a:extLst>
              <a:ext uri="{FF2B5EF4-FFF2-40B4-BE49-F238E27FC236}">
                <a16:creationId xmlns:a16="http://schemas.microsoft.com/office/drawing/2014/main" id="{CB3D235C-95B5-5B47-875E-76A6BBB2A607}"/>
              </a:ext>
            </a:extLst>
          </p:cNvPr>
          <p:cNvSpPr/>
          <p:nvPr userDrawn="1"/>
        </p:nvSpPr>
        <p:spPr bwMode="gray">
          <a:xfrm>
            <a:off x="4507832" y="571500"/>
            <a:ext cx="7684168" cy="5715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ext Placeholder 10">
            <a:extLst>
              <a:ext uri="{FF2B5EF4-FFF2-40B4-BE49-F238E27FC236}">
                <a16:creationId xmlns:a16="http://schemas.microsoft.com/office/drawing/2014/main" id="{C55C4337-5BFE-F74F-BFD1-A76C1C03F250}"/>
              </a:ext>
            </a:extLst>
          </p:cNvPr>
          <p:cNvSpPr>
            <a:spLocks noGrp="1"/>
          </p:cNvSpPr>
          <p:nvPr>
            <p:ph type="body" sz="quarter" idx="18" hasCustomPrompt="1"/>
          </p:nvPr>
        </p:nvSpPr>
        <p:spPr>
          <a:xfrm>
            <a:off x="4955394"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5" name="Text Placeholder 10">
            <a:extLst>
              <a:ext uri="{FF2B5EF4-FFF2-40B4-BE49-F238E27FC236}">
                <a16:creationId xmlns:a16="http://schemas.microsoft.com/office/drawing/2014/main" id="{05808D96-A577-AF40-9D56-1FF43AA9660E}"/>
              </a:ext>
            </a:extLst>
          </p:cNvPr>
          <p:cNvSpPr>
            <a:spLocks noGrp="1"/>
          </p:cNvSpPr>
          <p:nvPr>
            <p:ph type="body" sz="quarter" idx="19" hasCustomPrompt="1"/>
          </p:nvPr>
        </p:nvSpPr>
        <p:spPr>
          <a:xfrm>
            <a:off x="8135112" y="1066800"/>
            <a:ext cx="3063894" cy="1818904"/>
          </a:xfrm>
        </p:spPr>
        <p:txBody>
          <a:bodyPr>
            <a:noAutofit/>
          </a:bodyPr>
          <a:lstStyle>
            <a:lvl1pPr>
              <a:lnSpc>
                <a:spcPct val="150000"/>
              </a:lnSpc>
              <a:defRPr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igula </a:t>
            </a:r>
            <a:r>
              <a:rPr lang="en-GB" err="1"/>
              <a:t>justo</a:t>
            </a:r>
            <a:r>
              <a:rPr lang="en-GB"/>
              <a:t> </a:t>
            </a:r>
            <a:r>
              <a:rPr lang="en-GB" err="1"/>
              <a:t>porttitor</a:t>
            </a:r>
            <a:r>
              <a:rPr lang="en-GB"/>
              <a:t>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Etu</a:t>
            </a:r>
            <a:r>
              <a:rPr lang="en-GB"/>
              <a:t> </a:t>
            </a:r>
            <a:r>
              <a:rPr lang="en-GB" err="1"/>
              <a:t>phasellus</a:t>
            </a:r>
            <a:r>
              <a:rPr lang="en-GB"/>
              <a:t> ante </a:t>
            </a:r>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p>
        </p:txBody>
      </p:sp>
      <p:sp>
        <p:nvSpPr>
          <p:cNvPr id="17" name="Text Placeholder 16">
            <a:extLst>
              <a:ext uri="{FF2B5EF4-FFF2-40B4-BE49-F238E27FC236}">
                <a16:creationId xmlns:a16="http://schemas.microsoft.com/office/drawing/2014/main" id="{A80E9A9B-D905-6744-B429-EF79B075874D}"/>
              </a:ext>
            </a:extLst>
          </p:cNvPr>
          <p:cNvSpPr>
            <a:spLocks noGrp="1"/>
          </p:cNvSpPr>
          <p:nvPr>
            <p:ph type="body" sz="quarter" idx="20" hasCustomPrompt="1"/>
          </p:nvPr>
        </p:nvSpPr>
        <p:spPr>
          <a:xfrm>
            <a:off x="4953000" y="3429000"/>
            <a:ext cx="6286500" cy="19288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14" name="Text Placeholder 7">
            <a:extLst>
              <a:ext uri="{FF2B5EF4-FFF2-40B4-BE49-F238E27FC236}">
                <a16:creationId xmlns:a16="http://schemas.microsoft.com/office/drawing/2014/main" id="{5C6CFBB4-2358-3847-A891-56DD4504D08D}"/>
              </a:ext>
            </a:extLst>
          </p:cNvPr>
          <p:cNvSpPr>
            <a:spLocks noGrp="1"/>
          </p:cNvSpPr>
          <p:nvPr>
            <p:ph type="body" sz="quarter" idx="14" hasCustomPrompt="1"/>
          </p:nvPr>
        </p:nvSpPr>
        <p:spPr>
          <a:xfrm>
            <a:off x="914400" y="34290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6" name="Text Placeholder 2">
            <a:extLst>
              <a:ext uri="{FF2B5EF4-FFF2-40B4-BE49-F238E27FC236}">
                <a16:creationId xmlns:a16="http://schemas.microsoft.com/office/drawing/2014/main" id="{FCA932F0-619D-AC43-A797-7FE8DE7E0665}"/>
              </a:ext>
            </a:extLst>
          </p:cNvPr>
          <p:cNvSpPr>
            <a:spLocks noGrp="1"/>
          </p:cNvSpPr>
          <p:nvPr>
            <p:ph type="body" sz="quarter" idx="21" hasCustomPrompt="1"/>
          </p:nvPr>
        </p:nvSpPr>
        <p:spPr>
          <a:xfrm>
            <a:off x="914400" y="1235635"/>
            <a:ext cx="3009900" cy="2051538"/>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Open Sans Light"/>
                <a:ea typeface="+mj-ea"/>
                <a:cs typeface="Calibri Light" panose="020F0302020204030204" pitchFamily="34" charset="0"/>
              </a:rPr>
              <a:t>Click to edit Master title style</a:t>
            </a:r>
            <a:endParaRPr kumimoji="0" lang="en-GB"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DD4982B0-1368-6A44-BF22-6DB52D72F7C6}"/>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8" name="Text Placeholder 2">
            <a:extLst>
              <a:ext uri="{FF2B5EF4-FFF2-40B4-BE49-F238E27FC236}">
                <a16:creationId xmlns:a16="http://schemas.microsoft.com/office/drawing/2014/main" id="{EBA3A501-B27D-E948-A2CA-6A950EDD8E9D}"/>
              </a:ext>
            </a:extLst>
          </p:cNvPr>
          <p:cNvSpPr>
            <a:spLocks noGrp="1"/>
          </p:cNvSpPr>
          <p:nvPr>
            <p:ph type="body" sz="quarter" idx="26" hasCustomPrompt="1"/>
          </p:nvPr>
        </p:nvSpPr>
        <p:spPr>
          <a:xfrm>
            <a:off x="1986247" y="495992"/>
            <a:ext cx="2266776" cy="139781"/>
          </a:xfrm>
        </p:spPr>
        <p:txBody>
          <a:bodyPr/>
          <a:lstStyle>
            <a:lvl1pPr>
              <a:lnSpc>
                <a:spcPct val="100000"/>
              </a:lnSpc>
              <a:spcAft>
                <a:spcPts val="0"/>
              </a:spcAft>
              <a:defRPr sz="700" b="1" cap="all" spc="150" baseline="0">
                <a:solidFill>
                  <a:schemeClr val="tx2"/>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82469682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Subhead: Sidebar - No Content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rgbClr val="004F59"/>
          </a:solidFill>
          <a:ln w="19050" algn="ctr">
            <a:noFill/>
            <a:miter lim="800000"/>
            <a:headEnd/>
            <a:tailEnd/>
          </a:ln>
        </p:spPr>
        <p:txBody>
          <a:bodyPr wrap="square" lIns="0" tIns="0" rIns="0" bIns="0" rtlCol="0" anchor="ctr">
            <a:noAutofit/>
          </a:bodyPr>
          <a:lstStyle/>
          <a:p>
            <a:pPr algn="ctr"/>
            <a:endParaRPr lang="en-GB"/>
          </a:p>
        </p:txBody>
      </p:sp>
      <p:sp>
        <p:nvSpPr>
          <p:cNvPr id="11" name="Title Placeholder 1">
            <a:extLst>
              <a:ext uri="{FF2B5EF4-FFF2-40B4-BE49-F238E27FC236}">
                <a16:creationId xmlns:a16="http://schemas.microsoft.com/office/drawing/2014/main" id="{CCC8559E-F5E2-0347-840E-E629DC9F61B5}"/>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5" name="Text Placeholder 7">
            <a:extLst>
              <a:ext uri="{FF2B5EF4-FFF2-40B4-BE49-F238E27FC236}">
                <a16:creationId xmlns:a16="http://schemas.microsoft.com/office/drawing/2014/main" id="{6627A73F-C8F9-C143-A124-0C1DFBD38A80}"/>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0" name="Text Placeholder 2">
            <a:extLst>
              <a:ext uri="{FF2B5EF4-FFF2-40B4-BE49-F238E27FC236}">
                <a16:creationId xmlns:a16="http://schemas.microsoft.com/office/drawing/2014/main" id="{D928B8B3-E1F7-A641-89DC-53E0F210579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2" name="Text Placeholder 2">
            <a:extLst>
              <a:ext uri="{FF2B5EF4-FFF2-40B4-BE49-F238E27FC236}">
                <a16:creationId xmlns:a16="http://schemas.microsoft.com/office/drawing/2014/main" id="{148AE39B-AB7A-B24E-96E2-9B3F4693BD1E}"/>
              </a:ext>
            </a:extLst>
          </p:cNvPr>
          <p:cNvSpPr>
            <a:spLocks noGrp="1"/>
          </p:cNvSpPr>
          <p:nvPr>
            <p:ph type="body" sz="quarter" idx="26" hasCustomPrompt="1"/>
          </p:nvPr>
        </p:nvSpPr>
        <p:spPr>
          <a:xfrm>
            <a:off x="1986247" y="495992"/>
            <a:ext cx="2713344"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706136300"/>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Subhead: Sidebar - Messaging - Breadcrumb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B7BEFD-9FA6-6642-B065-2AC63D884014}"/>
              </a:ext>
            </a:extLst>
          </p:cNvPr>
          <p:cNvSpPr/>
          <p:nvPr userDrawn="1"/>
        </p:nvSpPr>
        <p:spPr bwMode="gray">
          <a:xfrm flipH="1">
            <a:off x="-3" y="0"/>
            <a:ext cx="4953002" cy="6858000"/>
          </a:xfrm>
          <a:prstGeom prst="rect">
            <a:avLst/>
          </a:prstGeom>
          <a:solidFill>
            <a:schemeClr val="accent6">
              <a:lumMod val="75000"/>
            </a:schemeClr>
          </a:solidFill>
          <a:ln w="19050" algn="ctr">
            <a:noFill/>
            <a:miter lim="800000"/>
            <a:headEnd/>
            <a:tailEnd/>
          </a:ln>
        </p:spPr>
        <p:txBody>
          <a:bodyPr wrap="square" lIns="0" tIns="0" rIns="0" bIns="0" rtlCol="0" anchor="ctr">
            <a:noAutofit/>
          </a:bodyPr>
          <a:lstStyle/>
          <a:p>
            <a:pPr algn="ctr"/>
            <a:endParaRPr lang="en-GB"/>
          </a:p>
        </p:txBody>
      </p:sp>
      <p:sp>
        <p:nvSpPr>
          <p:cNvPr id="13" name="Title Placeholder 1">
            <a:extLst>
              <a:ext uri="{FF2B5EF4-FFF2-40B4-BE49-F238E27FC236}">
                <a16:creationId xmlns:a16="http://schemas.microsoft.com/office/drawing/2014/main" id="{41AED56B-4FBA-7B41-8642-EECEFE511009}"/>
              </a:ext>
            </a:extLst>
          </p:cNvPr>
          <p:cNvSpPr>
            <a:spLocks noGrp="1"/>
          </p:cNvSpPr>
          <p:nvPr>
            <p:ph type="title"/>
          </p:nvPr>
        </p:nvSpPr>
        <p:spPr bwMode="gray">
          <a:xfrm>
            <a:off x="914400" y="1218959"/>
            <a:ext cx="3162300" cy="1397482"/>
          </a:xfrm>
          <a:prstGeom prst="rect">
            <a:avLst/>
          </a:prstGeom>
        </p:spPr>
        <p:txBody>
          <a:bodyPr vert="horz" lIns="0" tIns="0" rIns="0" bIns="0" rtlCol="0" anchor="b" anchorCtr="0">
            <a:noAutofit/>
          </a:bodyPr>
          <a:lstStyle>
            <a:lvl1pPr>
              <a:defRPr>
                <a:solidFill>
                  <a:schemeClr val="bg1"/>
                </a:solidFill>
              </a:defRPr>
            </a:lvl1pPr>
          </a:lstStyle>
          <a:p>
            <a:r>
              <a:rPr lang="en-GB" noProof="0"/>
              <a:t>Click to edit Master title style</a:t>
            </a:r>
          </a:p>
        </p:txBody>
      </p:sp>
      <p:sp>
        <p:nvSpPr>
          <p:cNvPr id="17" name="Text Placeholder 7">
            <a:extLst>
              <a:ext uri="{FF2B5EF4-FFF2-40B4-BE49-F238E27FC236}">
                <a16:creationId xmlns:a16="http://schemas.microsoft.com/office/drawing/2014/main" id="{333FE8BD-D45A-D947-B56A-6B35CC9BAFA2}"/>
              </a:ext>
            </a:extLst>
          </p:cNvPr>
          <p:cNvSpPr>
            <a:spLocks noGrp="1"/>
          </p:cNvSpPr>
          <p:nvPr>
            <p:ph type="body" sz="quarter" idx="15"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bg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9" name="Text Placeholder 10">
            <a:extLst>
              <a:ext uri="{FF2B5EF4-FFF2-40B4-BE49-F238E27FC236}">
                <a16:creationId xmlns:a16="http://schemas.microsoft.com/office/drawing/2014/main" id="{EADA8F4D-49E2-2C4C-8EFD-35EE530F2D3D}"/>
              </a:ext>
            </a:extLst>
          </p:cNvPr>
          <p:cNvSpPr>
            <a:spLocks noGrp="1"/>
          </p:cNvSpPr>
          <p:nvPr>
            <p:ph type="body" sz="quarter" idx="16" hasCustomPrompt="1"/>
          </p:nvPr>
        </p:nvSpPr>
        <p:spPr>
          <a:xfrm>
            <a:off x="6019800" y="1092200"/>
            <a:ext cx="5219700" cy="18288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21" name="Text Placeholder 13">
            <a:extLst>
              <a:ext uri="{FF2B5EF4-FFF2-40B4-BE49-F238E27FC236}">
                <a16:creationId xmlns:a16="http://schemas.microsoft.com/office/drawing/2014/main" id="{9F0D342F-3673-B847-BC99-40D039EE6742}"/>
              </a:ext>
            </a:extLst>
          </p:cNvPr>
          <p:cNvSpPr>
            <a:spLocks noGrp="1"/>
          </p:cNvSpPr>
          <p:nvPr>
            <p:ph type="body" sz="quarter" idx="17" hasCustomPrompt="1"/>
          </p:nvPr>
        </p:nvSpPr>
        <p:spPr>
          <a:xfrm>
            <a:off x="6019800" y="3289300"/>
            <a:ext cx="5219700" cy="1766794"/>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Felis </a:t>
            </a:r>
            <a:r>
              <a:rPr lang="en-GB" err="1"/>
              <a:t>blandit</a:t>
            </a:r>
            <a:r>
              <a:rPr lang="en-GB"/>
              <a:t> cursus</a:t>
            </a:r>
            <a:br>
              <a:rPr lang="en-GB"/>
            </a:b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p:txBody>
      </p:sp>
      <p:sp>
        <p:nvSpPr>
          <p:cNvPr id="10" name="Text Placeholder 2">
            <a:extLst>
              <a:ext uri="{FF2B5EF4-FFF2-40B4-BE49-F238E27FC236}">
                <a16:creationId xmlns:a16="http://schemas.microsoft.com/office/drawing/2014/main" id="{D0D9845D-F9D1-BF4F-A74F-B37D037255A8}"/>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11" name="Text Placeholder 2">
            <a:extLst>
              <a:ext uri="{FF2B5EF4-FFF2-40B4-BE49-F238E27FC236}">
                <a16:creationId xmlns:a16="http://schemas.microsoft.com/office/drawing/2014/main" id="{BE37137C-0549-F241-8EFF-61C923DB1698}"/>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Tree>
    <p:extLst>
      <p:ext uri="{BB962C8B-B14F-4D97-AF65-F5344CB8AC3E}">
        <p14:creationId xmlns:p14="http://schemas.microsoft.com/office/powerpoint/2010/main" val="1052323983"/>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Master_RIC_Suppage">
    <p:spTree>
      <p:nvGrpSpPr>
        <p:cNvPr id="1" name=""/>
        <p:cNvGrpSpPr/>
        <p:nvPr/>
      </p:nvGrpSpPr>
      <p:grpSpPr>
        <a:xfrm>
          <a:off x="0" y="0"/>
          <a:ext cx="0" cy="0"/>
          <a:chOff x="0" y="0"/>
          <a:chExt cx="0" cy="0"/>
        </a:xfrm>
      </p:grpSpPr>
      <p:sp>
        <p:nvSpPr>
          <p:cNvPr id="2" name="Title 1"/>
          <p:cNvSpPr>
            <a:spLocks noGrp="1"/>
          </p:cNvSpPr>
          <p:nvPr>
            <p:ph type="title"/>
          </p:nvPr>
        </p:nvSpPr>
        <p:spPr>
          <a:xfrm>
            <a:off x="914400" y="485084"/>
            <a:ext cx="10363200" cy="594360"/>
          </a:xfrm>
        </p:spPr>
        <p:txBody>
          <a:bodyPr vert="horz" lIns="0" tIns="45720" rIns="0" bIns="0" rtlCol="0" anchor="b" anchorCtr="0">
            <a:noAutofit/>
          </a:bodyPr>
          <a:lstStyle>
            <a:lvl1pPr>
              <a:defRPr lang="en-US" sz="3000" b="0" i="0" spc="-75" dirty="0">
                <a:latin typeface="Open Sans Light" panose="020B0306030504020204" pitchFamily="34" charset="0"/>
              </a:defRPr>
            </a:lvl1pPr>
          </a:lstStyle>
          <a:p>
            <a:pPr lvl="0" defTabSz="685800">
              <a:lnSpc>
                <a:spcPct val="85000"/>
              </a:lnSpc>
            </a:pPr>
            <a:r>
              <a:rPr lang="en-GB" dirty="0"/>
              <a:t>Click to edit Master title style</a:t>
            </a:r>
          </a:p>
        </p:txBody>
      </p:sp>
      <p:sp>
        <p:nvSpPr>
          <p:cNvPr id="4" name="Text Placeholder 8"/>
          <p:cNvSpPr>
            <a:spLocks noGrp="1"/>
          </p:cNvSpPr>
          <p:nvPr>
            <p:ph type="body" sz="quarter" idx="14" hasCustomPrompt="1"/>
          </p:nvPr>
        </p:nvSpPr>
        <p:spPr>
          <a:xfrm>
            <a:off x="943896" y="117343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Edit Master text styles</a:t>
            </a:r>
          </a:p>
        </p:txBody>
      </p:sp>
      <p:sp>
        <p:nvSpPr>
          <p:cNvPr id="8" name="Text Placeholder 5"/>
          <p:cNvSpPr>
            <a:spLocks noGrp="1"/>
          </p:cNvSpPr>
          <p:nvPr>
            <p:ph type="body" sz="quarter" idx="15" hasCustomPrompt="1"/>
          </p:nvPr>
        </p:nvSpPr>
        <p:spPr>
          <a:xfrm>
            <a:off x="965200" y="316444"/>
            <a:ext cx="5110480" cy="24235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Italic" charset="0"/>
                <a:cs typeface="Nexa Black Italic" charset="0"/>
              </a:defRPr>
            </a:lvl1pPr>
          </a:lstStyle>
          <a:p>
            <a:pPr marL="228600" lvl="0" indent="-228600"/>
            <a:r>
              <a:rPr lang="en-GB"/>
              <a:t>BREADCRUMBS</a:t>
            </a:r>
          </a:p>
        </p:txBody>
      </p:sp>
    </p:spTree>
    <p:extLst>
      <p:ext uri="{BB962C8B-B14F-4D97-AF65-F5344CB8AC3E}">
        <p14:creationId xmlns:p14="http://schemas.microsoft.com/office/powerpoint/2010/main" val="1691841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head: Sidebar">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8EC5EC5A-100A-7147-B3DC-6BBBC38A8B41}"/>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6" name="Text Placeholder 5">
            <a:extLst>
              <a:ext uri="{FF2B5EF4-FFF2-40B4-BE49-F238E27FC236}">
                <a16:creationId xmlns:a16="http://schemas.microsoft.com/office/drawing/2014/main" id="{1110A1F4-8F2A-B944-8910-489459DDC3B8}"/>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3826740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700" b="0">
                <a:solidFill>
                  <a:schemeClr val="tx2"/>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GB"/>
              <a:t>Click to add title</a:t>
            </a:r>
          </a:p>
        </p:txBody>
      </p:sp>
    </p:spTree>
    <p:extLst>
      <p:ext uri="{BB962C8B-B14F-4D97-AF65-F5344CB8AC3E}">
        <p14:creationId xmlns:p14="http://schemas.microsoft.com/office/powerpoint/2010/main" val="406389031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
        <p:nvSpPr>
          <p:cNvPr id="5" name="Text Placeholder 4"/>
          <p:cNvSpPr>
            <a:spLocks noGrp="1"/>
          </p:cNvSpPr>
          <p:nvPr>
            <p:ph type="body" sz="quarter" idx="16"/>
          </p:nvPr>
        </p:nvSpPr>
        <p:spPr>
          <a:xfrm>
            <a:off x="914400" y="2743200"/>
            <a:ext cx="3355975" cy="1169988"/>
          </a:xfrm>
        </p:spPr>
        <p:txBody>
          <a:bodyPr/>
          <a:lstStyle>
            <a:lvl1pPr marL="0" indent="0">
              <a:lnSpc>
                <a:spcPct val="130000"/>
              </a:lnSpc>
              <a:buNone/>
              <a:defRPr sz="1200" baseline="0"/>
            </a:lvl1pPr>
          </a:lstStyle>
          <a:p>
            <a:pPr lvl="0"/>
            <a:r>
              <a:rPr lang="en-GB"/>
              <a:t>Click to edit Master text styles</a:t>
            </a:r>
          </a:p>
        </p:txBody>
      </p:sp>
    </p:spTree>
    <p:extLst>
      <p:ext uri="{BB962C8B-B14F-4D97-AF65-F5344CB8AC3E}">
        <p14:creationId xmlns:p14="http://schemas.microsoft.com/office/powerpoint/2010/main" val="14231936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lang="en-GB"/>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lang="en-GB"/>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28580454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only Small" type="titleOnly">
  <p:cSld name="Title only Small">
    <p:spTree>
      <p:nvGrpSpPr>
        <p:cNvPr id="1" name="Shape 548"/>
        <p:cNvGrpSpPr/>
        <p:nvPr/>
      </p:nvGrpSpPr>
      <p:grpSpPr>
        <a:xfrm>
          <a:off x="0" y="0"/>
          <a:ext cx="0" cy="0"/>
          <a:chOff x="0" y="0"/>
          <a:chExt cx="0" cy="0"/>
        </a:xfrm>
      </p:grpSpPr>
      <p:sp>
        <p:nvSpPr>
          <p:cNvPr id="549" name="Google Shape;549;p86"/>
          <p:cNvSpPr txBox="1">
            <a:spLocks noGrp="1"/>
          </p:cNvSpPr>
          <p:nvPr>
            <p:ph type="title"/>
          </p:nvPr>
        </p:nvSpPr>
        <p:spPr>
          <a:xfrm>
            <a:off x="193933" y="251400"/>
            <a:ext cx="113608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a:lvl1pPr>
            <a:lvl2pPr lvl="1" rtl="0">
              <a:spcBef>
                <a:spcPts val="0"/>
              </a:spcBef>
              <a:spcAft>
                <a:spcPts val="0"/>
              </a:spcAft>
              <a:buSzPts val="2800"/>
              <a:buFont typeface="Roboto"/>
              <a:buNone/>
              <a:defRPr>
                <a:latin typeface="Roboto"/>
                <a:ea typeface="Roboto"/>
                <a:cs typeface="Roboto"/>
                <a:sym typeface="Roboto"/>
              </a:defRPr>
            </a:lvl2pPr>
            <a:lvl3pPr lvl="2" rtl="0">
              <a:spcBef>
                <a:spcPts val="0"/>
              </a:spcBef>
              <a:spcAft>
                <a:spcPts val="0"/>
              </a:spcAft>
              <a:buSzPts val="2800"/>
              <a:buFont typeface="Roboto"/>
              <a:buNone/>
              <a:defRPr>
                <a:latin typeface="Roboto"/>
                <a:ea typeface="Roboto"/>
                <a:cs typeface="Roboto"/>
                <a:sym typeface="Roboto"/>
              </a:defRPr>
            </a:lvl3pPr>
            <a:lvl4pPr lvl="3" rtl="0">
              <a:spcBef>
                <a:spcPts val="0"/>
              </a:spcBef>
              <a:spcAft>
                <a:spcPts val="0"/>
              </a:spcAft>
              <a:buSzPts val="2800"/>
              <a:buFont typeface="Roboto"/>
              <a:buNone/>
              <a:defRPr>
                <a:latin typeface="Roboto"/>
                <a:ea typeface="Roboto"/>
                <a:cs typeface="Roboto"/>
                <a:sym typeface="Roboto"/>
              </a:defRPr>
            </a:lvl4pPr>
            <a:lvl5pPr lvl="4" rtl="0">
              <a:spcBef>
                <a:spcPts val="0"/>
              </a:spcBef>
              <a:spcAft>
                <a:spcPts val="0"/>
              </a:spcAft>
              <a:buSzPts val="2800"/>
              <a:buFont typeface="Roboto"/>
              <a:buNone/>
              <a:defRPr>
                <a:latin typeface="Roboto"/>
                <a:ea typeface="Roboto"/>
                <a:cs typeface="Roboto"/>
                <a:sym typeface="Roboto"/>
              </a:defRPr>
            </a:lvl5pPr>
            <a:lvl6pPr lvl="5" rtl="0">
              <a:spcBef>
                <a:spcPts val="0"/>
              </a:spcBef>
              <a:spcAft>
                <a:spcPts val="0"/>
              </a:spcAft>
              <a:buSzPts val="2800"/>
              <a:buFont typeface="Roboto"/>
              <a:buNone/>
              <a:defRPr>
                <a:latin typeface="Roboto"/>
                <a:ea typeface="Roboto"/>
                <a:cs typeface="Roboto"/>
                <a:sym typeface="Roboto"/>
              </a:defRPr>
            </a:lvl6pPr>
            <a:lvl7pPr lvl="6" rtl="0">
              <a:spcBef>
                <a:spcPts val="0"/>
              </a:spcBef>
              <a:spcAft>
                <a:spcPts val="0"/>
              </a:spcAft>
              <a:buSzPts val="2800"/>
              <a:buFont typeface="Roboto"/>
              <a:buNone/>
              <a:defRPr>
                <a:latin typeface="Roboto"/>
                <a:ea typeface="Roboto"/>
                <a:cs typeface="Roboto"/>
                <a:sym typeface="Roboto"/>
              </a:defRPr>
            </a:lvl7pPr>
            <a:lvl8pPr lvl="7" rtl="0">
              <a:spcBef>
                <a:spcPts val="0"/>
              </a:spcBef>
              <a:spcAft>
                <a:spcPts val="0"/>
              </a:spcAft>
              <a:buSzPts val="2800"/>
              <a:buFont typeface="Roboto"/>
              <a:buNone/>
              <a:defRPr>
                <a:latin typeface="Roboto"/>
                <a:ea typeface="Roboto"/>
                <a:cs typeface="Roboto"/>
                <a:sym typeface="Roboto"/>
              </a:defRPr>
            </a:lvl8pPr>
            <a:lvl9pPr lvl="8" rtl="0">
              <a:spcBef>
                <a:spcPts val="0"/>
              </a:spcBef>
              <a:spcAft>
                <a:spcPts val="0"/>
              </a:spcAft>
              <a:buSzPts val="2800"/>
              <a:buFont typeface="Roboto"/>
              <a:buNone/>
              <a:defRPr>
                <a:latin typeface="Roboto"/>
                <a:ea typeface="Roboto"/>
                <a:cs typeface="Roboto"/>
                <a:sym typeface="Roboto"/>
              </a:defRPr>
            </a:lvl9pPr>
          </a:lstStyle>
          <a:p>
            <a:endParaRPr lang="en-GB"/>
          </a:p>
        </p:txBody>
      </p:sp>
      <p:sp>
        <p:nvSpPr>
          <p:cNvPr id="550" name="Google Shape;550;p8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25464999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Option page">
  <p:cSld name="Option page">
    <p:spTree>
      <p:nvGrpSpPr>
        <p:cNvPr id="1" name="Shape 1498"/>
        <p:cNvGrpSpPr/>
        <p:nvPr/>
      </p:nvGrpSpPr>
      <p:grpSpPr>
        <a:xfrm>
          <a:off x="0" y="0"/>
          <a:ext cx="0" cy="0"/>
          <a:chOff x="0" y="0"/>
          <a:chExt cx="0" cy="0"/>
        </a:xfrm>
      </p:grpSpPr>
      <p:sp>
        <p:nvSpPr>
          <p:cNvPr id="1500" name="Google Shape;1500;p16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3500"/>
              <a:buFont typeface="Roboto Light"/>
              <a:buNone/>
              <a:defRPr sz="4667">
                <a:latin typeface="Roboto Light"/>
                <a:ea typeface="Roboto Light"/>
                <a:cs typeface="Roboto Light"/>
                <a:sym typeface="Roboto Light"/>
              </a:defRPr>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lang="en-GB"/>
          </a:p>
        </p:txBody>
      </p:sp>
      <p:sp>
        <p:nvSpPr>
          <p:cNvPr id="1501" name="Google Shape;1501;p169"/>
          <p:cNvSpPr txBox="1">
            <a:spLocks noGrp="1"/>
          </p:cNvSpPr>
          <p:nvPr>
            <p:ph type="subTitle" idx="1"/>
          </p:nvPr>
        </p:nvSpPr>
        <p:spPr>
          <a:xfrm>
            <a:off x="810400" y="3753267"/>
            <a:ext cx="4480800" cy="524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600"/>
              <a:buFont typeface="Roboto Light"/>
              <a:buNone/>
              <a:defRPr sz="2133">
                <a:latin typeface="Roboto Light"/>
                <a:ea typeface="Roboto Light"/>
                <a:cs typeface="Roboto Light"/>
                <a:sym typeface="Roboto Light"/>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lang="en-GB"/>
          </a:p>
        </p:txBody>
      </p:sp>
      <p:sp>
        <p:nvSpPr>
          <p:cNvPr id="1502" name="Google Shape;1502;p169"/>
          <p:cNvSpPr txBox="1">
            <a:spLocks noGrp="1"/>
          </p:cNvSpPr>
          <p:nvPr>
            <p:ph type="body" idx="2"/>
          </p:nvPr>
        </p:nvSpPr>
        <p:spPr>
          <a:xfrm>
            <a:off x="6586000" y="987817"/>
            <a:ext cx="5116000" cy="4926800"/>
          </a:xfrm>
          <a:prstGeom prst="rect">
            <a:avLst/>
          </a:prstGeom>
        </p:spPr>
        <p:txBody>
          <a:bodyPr spcFirstLastPara="1" wrap="square" lIns="91425" tIns="91425" rIns="91425" bIns="91425" anchor="ctr" anchorCtr="0">
            <a:normAutofit/>
          </a:bodyPr>
          <a:lstStyle>
            <a:lvl1pPr marL="609585" lvl="0" indent="-457189" rtl="0">
              <a:spcBef>
                <a:spcPts val="0"/>
              </a:spcBef>
              <a:spcAft>
                <a:spcPts val="0"/>
              </a:spcAft>
              <a:buSzPts val="1800"/>
              <a:buFont typeface="Roboto Light"/>
              <a:buChar char="●"/>
              <a:defRPr>
                <a:latin typeface="Roboto Light"/>
                <a:ea typeface="Roboto Light"/>
                <a:cs typeface="Roboto Light"/>
                <a:sym typeface="Roboto Light"/>
              </a:defRPr>
            </a:lvl1pPr>
            <a:lvl2pPr marL="1219170" lvl="1" indent="-423323" rtl="0">
              <a:spcBef>
                <a:spcPts val="0"/>
              </a:spcBef>
              <a:spcAft>
                <a:spcPts val="0"/>
              </a:spcAft>
              <a:buSzPts val="1400"/>
              <a:buFont typeface="Roboto Light"/>
              <a:buChar char="○"/>
              <a:defRPr>
                <a:latin typeface="Roboto Light"/>
                <a:ea typeface="Roboto Light"/>
                <a:cs typeface="Roboto Light"/>
                <a:sym typeface="Roboto Light"/>
              </a:defRPr>
            </a:lvl2pPr>
            <a:lvl3pPr marL="1828754" lvl="2" indent="-423323" rtl="0">
              <a:spcBef>
                <a:spcPts val="0"/>
              </a:spcBef>
              <a:spcAft>
                <a:spcPts val="0"/>
              </a:spcAft>
              <a:buSzPts val="1400"/>
              <a:buFont typeface="Roboto Light"/>
              <a:buChar char="■"/>
              <a:defRPr>
                <a:latin typeface="Roboto Light"/>
                <a:ea typeface="Roboto Light"/>
                <a:cs typeface="Roboto Light"/>
                <a:sym typeface="Roboto Light"/>
              </a:defRPr>
            </a:lvl3pPr>
            <a:lvl4pPr marL="2438339" lvl="3" indent="-423323" rtl="0">
              <a:spcBef>
                <a:spcPts val="0"/>
              </a:spcBef>
              <a:spcAft>
                <a:spcPts val="0"/>
              </a:spcAft>
              <a:buSzPts val="1400"/>
              <a:buFont typeface="Roboto Light"/>
              <a:buChar char="●"/>
              <a:defRPr>
                <a:latin typeface="Roboto Light"/>
                <a:ea typeface="Roboto Light"/>
                <a:cs typeface="Roboto Light"/>
                <a:sym typeface="Roboto Light"/>
              </a:defRPr>
            </a:lvl4pPr>
            <a:lvl5pPr marL="3047924" lvl="4" indent="-423323" rtl="0">
              <a:spcBef>
                <a:spcPts val="0"/>
              </a:spcBef>
              <a:spcAft>
                <a:spcPts val="0"/>
              </a:spcAft>
              <a:buSzPts val="1400"/>
              <a:buFont typeface="Roboto Light"/>
              <a:buChar char="○"/>
              <a:defRPr>
                <a:latin typeface="Roboto Light"/>
                <a:ea typeface="Roboto Light"/>
                <a:cs typeface="Roboto Light"/>
                <a:sym typeface="Roboto Light"/>
              </a:defRPr>
            </a:lvl5pPr>
            <a:lvl6pPr marL="3657509" lvl="5" indent="-423323" rtl="0">
              <a:spcBef>
                <a:spcPts val="0"/>
              </a:spcBef>
              <a:spcAft>
                <a:spcPts val="0"/>
              </a:spcAft>
              <a:buSzPts val="1400"/>
              <a:buFont typeface="Roboto Light"/>
              <a:buChar char="■"/>
              <a:defRPr>
                <a:latin typeface="Roboto Light"/>
                <a:ea typeface="Roboto Light"/>
                <a:cs typeface="Roboto Light"/>
                <a:sym typeface="Roboto Light"/>
              </a:defRPr>
            </a:lvl6pPr>
            <a:lvl7pPr marL="4267093" lvl="6" indent="-423323" rtl="0">
              <a:spcBef>
                <a:spcPts val="0"/>
              </a:spcBef>
              <a:spcAft>
                <a:spcPts val="0"/>
              </a:spcAft>
              <a:buSzPts val="1400"/>
              <a:buFont typeface="Roboto Light"/>
              <a:buChar char="●"/>
              <a:defRPr>
                <a:latin typeface="Roboto Light"/>
                <a:ea typeface="Roboto Light"/>
                <a:cs typeface="Roboto Light"/>
                <a:sym typeface="Roboto Light"/>
              </a:defRPr>
            </a:lvl7pPr>
            <a:lvl8pPr marL="4876678" lvl="7" indent="-423323" rtl="0">
              <a:spcBef>
                <a:spcPts val="0"/>
              </a:spcBef>
              <a:spcAft>
                <a:spcPts val="0"/>
              </a:spcAft>
              <a:buSzPts val="1400"/>
              <a:buFont typeface="Roboto Light"/>
              <a:buChar char="○"/>
              <a:defRPr>
                <a:latin typeface="Roboto Light"/>
                <a:ea typeface="Roboto Light"/>
                <a:cs typeface="Roboto Light"/>
                <a:sym typeface="Roboto Light"/>
              </a:defRPr>
            </a:lvl8pPr>
            <a:lvl9pPr marL="5486263" lvl="8" indent="-423323" rtl="0">
              <a:spcBef>
                <a:spcPts val="0"/>
              </a:spcBef>
              <a:spcAft>
                <a:spcPts val="0"/>
              </a:spcAft>
              <a:buSzPts val="1400"/>
              <a:buFont typeface="Roboto Light"/>
              <a:buChar char="■"/>
              <a:defRPr>
                <a:latin typeface="Roboto Light"/>
                <a:ea typeface="Roboto Light"/>
                <a:cs typeface="Roboto Light"/>
                <a:sym typeface="Roboto Light"/>
              </a:defRPr>
            </a:lvl9pPr>
          </a:lstStyle>
          <a:p>
            <a:endParaRPr lang="en-GB"/>
          </a:p>
        </p:txBody>
      </p:sp>
      <p:sp>
        <p:nvSpPr>
          <p:cNvPr id="1503" name="Google Shape;1503;p16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17355992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64"/>
        <p:cNvGrpSpPr/>
        <p:nvPr/>
      </p:nvGrpSpPr>
      <p:grpSpPr>
        <a:xfrm>
          <a:off x="0" y="0"/>
          <a:ext cx="0" cy="0"/>
          <a:chOff x="0" y="0"/>
          <a:chExt cx="0" cy="0"/>
        </a:xfrm>
      </p:grpSpPr>
      <p:sp>
        <p:nvSpPr>
          <p:cNvPr id="1165" name="Google Shape;1165;p135"/>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3302696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Subhead: Sidebar - Breadcrumbs Right">
  <p:cSld name="Title and Subhead: Sidebar - Breadcrumbs Right">
    <p:spTree>
      <p:nvGrpSpPr>
        <p:cNvPr id="1" name="Shape 19"/>
        <p:cNvGrpSpPr/>
        <p:nvPr/>
      </p:nvGrpSpPr>
      <p:grpSpPr>
        <a:xfrm>
          <a:off x="0" y="0"/>
          <a:ext cx="0" cy="0"/>
          <a:chOff x="0" y="0"/>
          <a:chExt cx="0" cy="0"/>
        </a:xfrm>
      </p:grpSpPr>
      <p:sp>
        <p:nvSpPr>
          <p:cNvPr id="20" name="Google Shape;20;p3"/>
          <p:cNvSpPr txBox="1">
            <a:spLocks noGrp="1"/>
          </p:cNvSpPr>
          <p:nvPr>
            <p:ph type="body" idx="1"/>
          </p:nvPr>
        </p:nvSpPr>
        <p:spPr>
          <a:xfrm>
            <a:off x="914400" y="3238501"/>
            <a:ext cx="3009900" cy="1714500"/>
          </a:xfrm>
          <a:prstGeom prst="rect">
            <a:avLst/>
          </a:prstGeom>
          <a:noFill/>
          <a:ln>
            <a:noFill/>
          </a:ln>
        </p:spPr>
        <p:txBody>
          <a:bodyPr spcFirstLastPara="1" wrap="square" lIns="0" tIns="0" rIns="0" bIns="0" anchor="t" anchorCtr="0">
            <a:noAutofit/>
          </a:bodyPr>
          <a:lstStyle>
            <a:lvl1pPr marL="457200" marR="0" lvl="0" indent="-228600" algn="l">
              <a:lnSpc>
                <a:spcPct val="120000"/>
              </a:lnSpc>
              <a:spcBef>
                <a:spcPts val="0"/>
              </a:spcBef>
              <a:spcAft>
                <a:spcPts val="0"/>
              </a:spcAft>
              <a:buClr>
                <a:schemeClr val="dk1"/>
              </a:buClr>
              <a:buSzPts val="1100"/>
              <a:buFont typeface="Open Sans"/>
              <a:buNone/>
              <a:defRPr sz="1100"/>
            </a:lvl1pPr>
            <a:lvl2pPr marL="914400" lvl="1" indent="-228600" algn="l">
              <a:lnSpc>
                <a:spcPct val="120000"/>
              </a:lnSpc>
              <a:spcBef>
                <a:spcPts val="0"/>
              </a:spcBef>
              <a:spcAft>
                <a:spcPts val="0"/>
              </a:spcAft>
              <a:buClr>
                <a:schemeClr val="dk1"/>
              </a:buClr>
              <a:buSzPts val="1800"/>
              <a:buNone/>
              <a:defRPr/>
            </a:lvl2pPr>
            <a:lvl3pPr marL="1371600" lvl="2" indent="-342900" algn="l">
              <a:lnSpc>
                <a:spcPct val="120000"/>
              </a:lnSpc>
              <a:spcBef>
                <a:spcPts val="1000"/>
              </a:spcBef>
              <a:spcAft>
                <a:spcPts val="0"/>
              </a:spcAft>
              <a:buClr>
                <a:schemeClr val="dk1"/>
              </a:buClr>
              <a:buSzPts val="1800"/>
              <a:buChar char="•"/>
              <a:defRPr/>
            </a:lvl3pPr>
            <a:lvl4pPr marL="1828800" lvl="3" indent="-342900" algn="l">
              <a:lnSpc>
                <a:spcPct val="120000"/>
              </a:lnSpc>
              <a:spcBef>
                <a:spcPts val="1000"/>
              </a:spcBef>
              <a:spcAft>
                <a:spcPts val="0"/>
              </a:spcAft>
              <a:buClr>
                <a:schemeClr val="dk1"/>
              </a:buClr>
              <a:buSzPts val="1800"/>
              <a:buChar char="−"/>
              <a:defRPr/>
            </a:lvl4pPr>
            <a:lvl5pPr marL="2286000" lvl="4" indent="-342900" algn="l">
              <a:lnSpc>
                <a:spcPct val="120000"/>
              </a:lnSpc>
              <a:spcBef>
                <a:spcPts val="1000"/>
              </a:spcBef>
              <a:spcAft>
                <a:spcPts val="0"/>
              </a:spcAft>
              <a:buClr>
                <a:schemeClr val="dk1"/>
              </a:buClr>
              <a:buSzPts val="1800"/>
              <a:buChar char="−"/>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lang="en-GB"/>
          </a:p>
        </p:txBody>
      </p:sp>
      <p:sp>
        <p:nvSpPr>
          <p:cNvPr id="21" name="Google Shape;21;p3"/>
          <p:cNvSpPr txBox="1">
            <a:spLocks noGrp="1"/>
          </p:cNvSpPr>
          <p:nvPr>
            <p:ph type="body" idx="2"/>
          </p:nvPr>
        </p:nvSpPr>
        <p:spPr>
          <a:xfrm>
            <a:off x="914400" y="1066800"/>
            <a:ext cx="3009900" cy="1701113"/>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0"/>
              </a:spcBef>
              <a:spcAft>
                <a:spcPts val="0"/>
              </a:spcAft>
              <a:buClr>
                <a:schemeClr val="dk1"/>
              </a:buClr>
              <a:buSzPts val="3200"/>
              <a:buNone/>
              <a:defRPr sz="3200">
                <a:latin typeface="Open Sans Light"/>
                <a:ea typeface="Open Sans Light"/>
                <a:cs typeface="Open Sans Light"/>
                <a:sym typeface="Open Sans Light"/>
              </a:defRPr>
            </a:lvl1pPr>
            <a:lvl2pPr marL="914400" lvl="1" indent="-228600" algn="l">
              <a:lnSpc>
                <a:spcPct val="120000"/>
              </a:lnSpc>
              <a:spcBef>
                <a:spcPts val="1000"/>
              </a:spcBef>
              <a:spcAft>
                <a:spcPts val="0"/>
              </a:spcAft>
              <a:buClr>
                <a:schemeClr val="dk1"/>
              </a:buClr>
              <a:buSzPts val="2400"/>
              <a:buNone/>
              <a:defRPr sz="2400">
                <a:latin typeface="Open Sans Light"/>
                <a:ea typeface="Open Sans Light"/>
                <a:cs typeface="Open Sans Light"/>
                <a:sym typeface="Open Sans Light"/>
              </a:defRPr>
            </a:lvl2pPr>
            <a:lvl3pPr marL="1371600" lvl="2" indent="-381000" algn="l">
              <a:lnSpc>
                <a:spcPct val="120000"/>
              </a:lnSpc>
              <a:spcBef>
                <a:spcPts val="1000"/>
              </a:spcBef>
              <a:spcAft>
                <a:spcPts val="0"/>
              </a:spcAft>
              <a:buClr>
                <a:schemeClr val="dk1"/>
              </a:buClr>
              <a:buSzPts val="2400"/>
              <a:buChar char="•"/>
              <a:defRPr sz="2400">
                <a:latin typeface="Open Sans Light"/>
                <a:ea typeface="Open Sans Light"/>
                <a:cs typeface="Open Sans Light"/>
                <a:sym typeface="Open Sans Light"/>
              </a:defRPr>
            </a:lvl3pPr>
            <a:lvl4pPr marL="1828800" lvl="3" indent="-381000" algn="l">
              <a:lnSpc>
                <a:spcPct val="120000"/>
              </a:lnSpc>
              <a:spcBef>
                <a:spcPts val="1000"/>
              </a:spcBef>
              <a:spcAft>
                <a:spcPts val="0"/>
              </a:spcAft>
              <a:buClr>
                <a:schemeClr val="dk1"/>
              </a:buClr>
              <a:buSzPts val="2400"/>
              <a:buChar char="−"/>
              <a:defRPr sz="2400">
                <a:latin typeface="Open Sans Light"/>
                <a:ea typeface="Open Sans Light"/>
                <a:cs typeface="Open Sans Light"/>
                <a:sym typeface="Open Sans Light"/>
              </a:defRPr>
            </a:lvl4pPr>
            <a:lvl5pPr marL="2286000" lvl="4" indent="-381000" algn="l">
              <a:lnSpc>
                <a:spcPct val="120000"/>
              </a:lnSpc>
              <a:spcBef>
                <a:spcPts val="1000"/>
              </a:spcBef>
              <a:spcAft>
                <a:spcPts val="0"/>
              </a:spcAft>
              <a:buClr>
                <a:schemeClr val="dk1"/>
              </a:buClr>
              <a:buSzPts val="2400"/>
              <a:buChar char="−"/>
              <a:defRPr sz="2400">
                <a:latin typeface="Open Sans Light"/>
                <a:ea typeface="Open Sans Light"/>
                <a:cs typeface="Open Sans Light"/>
                <a:sym typeface="Open Sans Light"/>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lang="en-GB"/>
          </a:p>
        </p:txBody>
      </p:sp>
      <p:sp>
        <p:nvSpPr>
          <p:cNvPr id="22" name="Google Shape;22;p3"/>
          <p:cNvSpPr txBox="1">
            <a:spLocks noGrp="1"/>
          </p:cNvSpPr>
          <p:nvPr>
            <p:ph type="body" idx="3"/>
          </p:nvPr>
        </p:nvSpPr>
        <p:spPr>
          <a:xfrm>
            <a:off x="926512" y="495992"/>
            <a:ext cx="569228" cy="139781"/>
          </a:xfrm>
          <a:prstGeom prst="rect">
            <a:avLst/>
          </a:prstGeom>
          <a:noFill/>
          <a:ln>
            <a:noFill/>
          </a:ln>
        </p:spPr>
        <p:txBody>
          <a:bodyPr spcFirstLastPara="1" wrap="square" lIns="0" tIns="0" rIns="0" bIns="0" anchor="t" anchorCtr="0">
            <a:noAutofit/>
          </a:bodyPr>
          <a:lstStyle>
            <a:lvl1pPr marL="228600" lvl="0" indent="0" algn="l">
              <a:lnSpc>
                <a:spcPct val="100000"/>
              </a:lnSpc>
              <a:spcBef>
                <a:spcPts val="0"/>
              </a:spcBef>
              <a:spcAft>
                <a:spcPts val="0"/>
              </a:spcAft>
              <a:buClr>
                <a:schemeClr val="dk1"/>
              </a:buClr>
              <a:buSzPts val="700"/>
              <a:buFont typeface="Arial" panose="020B0604020202020204" pitchFamily="34" charset="0"/>
              <a:buNone/>
              <a:defRPr sz="700" b="1" cap="none">
                <a:solidFill>
                  <a:schemeClr val="dk1"/>
                </a:solidFill>
                <a:latin typeface="Open Sans"/>
                <a:ea typeface="Open Sans"/>
                <a:cs typeface="Open Sans"/>
                <a:sym typeface="Open Sans"/>
              </a:defRPr>
            </a:lvl1pPr>
            <a:lvl2pPr marL="914400" lvl="1" indent="-228600" algn="l">
              <a:lnSpc>
                <a:spcPct val="120000"/>
              </a:lnSpc>
              <a:spcBef>
                <a:spcPts val="0"/>
              </a:spcBef>
              <a:spcAft>
                <a:spcPts val="0"/>
              </a:spcAft>
              <a:buClr>
                <a:schemeClr val="dk1"/>
              </a:buClr>
              <a:buSzPts val="1300"/>
              <a:buNone/>
              <a:defRPr>
                <a:latin typeface="Open Sans"/>
                <a:ea typeface="Open Sans"/>
                <a:cs typeface="Open Sans"/>
                <a:sym typeface="Open Sans"/>
              </a:defRPr>
            </a:lvl2pPr>
            <a:lvl3pPr marL="1371600" lvl="2"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3pPr>
            <a:lvl4pPr marL="1828800" lvl="3"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4pPr>
            <a:lvl5pPr marL="2286000" lvl="4"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lang="en-GB"/>
          </a:p>
        </p:txBody>
      </p:sp>
      <p:sp>
        <p:nvSpPr>
          <p:cNvPr id="23" name="Google Shape;23;p3"/>
          <p:cNvSpPr txBox="1">
            <a:spLocks noGrp="1"/>
          </p:cNvSpPr>
          <p:nvPr>
            <p:ph type="body" idx="4"/>
          </p:nvPr>
        </p:nvSpPr>
        <p:spPr>
          <a:xfrm>
            <a:off x="1986247" y="495992"/>
            <a:ext cx="3488042" cy="139781"/>
          </a:xfrm>
          <a:prstGeom prst="rect">
            <a:avLst/>
          </a:prstGeom>
          <a:noFill/>
          <a:ln>
            <a:noFill/>
          </a:ln>
        </p:spPr>
        <p:txBody>
          <a:bodyPr spcFirstLastPara="1" wrap="square" lIns="0" tIns="0" rIns="0" bIns="0" anchor="t" anchorCtr="0">
            <a:noAutofit/>
          </a:bodyPr>
          <a:lstStyle>
            <a:lvl1pPr marL="228600" lvl="0" indent="0" algn="l">
              <a:lnSpc>
                <a:spcPct val="100000"/>
              </a:lnSpc>
              <a:spcBef>
                <a:spcPts val="0"/>
              </a:spcBef>
              <a:spcAft>
                <a:spcPts val="0"/>
              </a:spcAft>
              <a:buClr>
                <a:schemeClr val="dk1"/>
              </a:buClr>
              <a:buSzPts val="700"/>
              <a:buFont typeface="Arial" panose="020B0604020202020204" pitchFamily="34" charset="0"/>
              <a:buNone/>
              <a:defRPr sz="700" b="1" cap="none">
                <a:solidFill>
                  <a:schemeClr val="dk1"/>
                </a:solidFill>
                <a:latin typeface="Open Sans"/>
                <a:ea typeface="Open Sans"/>
                <a:cs typeface="Open Sans"/>
                <a:sym typeface="Open Sans"/>
              </a:defRPr>
            </a:lvl1pPr>
            <a:lvl2pPr marL="914400" lvl="1" indent="-228600" algn="l">
              <a:lnSpc>
                <a:spcPct val="120000"/>
              </a:lnSpc>
              <a:spcBef>
                <a:spcPts val="0"/>
              </a:spcBef>
              <a:spcAft>
                <a:spcPts val="0"/>
              </a:spcAft>
              <a:buClr>
                <a:schemeClr val="dk1"/>
              </a:buClr>
              <a:buSzPts val="1300"/>
              <a:buNone/>
              <a:defRPr>
                <a:latin typeface="Open Sans"/>
                <a:ea typeface="Open Sans"/>
                <a:cs typeface="Open Sans"/>
                <a:sym typeface="Open Sans"/>
              </a:defRPr>
            </a:lvl2pPr>
            <a:lvl3pPr marL="1371600" lvl="2"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3pPr>
            <a:lvl4pPr marL="1828800" lvl="3"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4pPr>
            <a:lvl5pPr marL="2286000" lvl="4" indent="-311150" algn="l">
              <a:lnSpc>
                <a:spcPct val="120000"/>
              </a:lnSpc>
              <a:spcBef>
                <a:spcPts val="1000"/>
              </a:spcBef>
              <a:spcAft>
                <a:spcPts val="0"/>
              </a:spcAft>
              <a:buClr>
                <a:schemeClr val="dk1"/>
              </a:buClr>
              <a:buSzPts val="1300"/>
              <a:buChar char="−"/>
              <a:defRPr>
                <a:latin typeface="Open Sans"/>
                <a:ea typeface="Open Sans"/>
                <a:cs typeface="Open Sans"/>
                <a:sym typeface="Open Sans"/>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lang="en-GB"/>
          </a:p>
        </p:txBody>
      </p:sp>
    </p:spTree>
    <p:extLst>
      <p:ext uri="{BB962C8B-B14F-4D97-AF65-F5344CB8AC3E}">
        <p14:creationId xmlns:p14="http://schemas.microsoft.com/office/powerpoint/2010/main" val="3102679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D - Basic - Title &amp; Subtitle">
  <p:cSld name="D - Basic - Title &amp; Subtitle">
    <p:spTree>
      <p:nvGrpSpPr>
        <p:cNvPr id="1" name="Shape 478"/>
        <p:cNvGrpSpPr/>
        <p:nvPr/>
      </p:nvGrpSpPr>
      <p:grpSpPr>
        <a:xfrm>
          <a:off x="0" y="0"/>
          <a:ext cx="0" cy="0"/>
          <a:chOff x="0" y="0"/>
          <a:chExt cx="0" cy="0"/>
        </a:xfrm>
      </p:grpSpPr>
      <p:sp>
        <p:nvSpPr>
          <p:cNvPr id="479" name="Google Shape;479;p60"/>
          <p:cNvSpPr txBox="1">
            <a:spLocks noGrp="1"/>
          </p:cNvSpPr>
          <p:nvPr>
            <p:ph type="title"/>
          </p:nvPr>
        </p:nvSpPr>
        <p:spPr>
          <a:xfrm>
            <a:off x="479344" y="139701"/>
            <a:ext cx="11048800" cy="990000"/>
          </a:xfrm>
          <a:prstGeom prst="rect">
            <a:avLst/>
          </a:prstGeom>
          <a:noFill/>
          <a:ln>
            <a:noFill/>
          </a:ln>
        </p:spPr>
        <p:txBody>
          <a:bodyPr spcFirstLastPara="1" wrap="square" lIns="68575" tIns="68575" rIns="68575" bIns="68575" anchor="b" anchorCtr="0">
            <a:noAutofit/>
          </a:bodyPr>
          <a:lstStyle>
            <a:lvl1pPr lvl="0" rtl="0">
              <a:lnSpc>
                <a:spcPct val="95000"/>
              </a:lnSpc>
              <a:spcBef>
                <a:spcPts val="0"/>
              </a:spcBef>
              <a:spcAft>
                <a:spcPts val="0"/>
              </a:spcAft>
              <a:buSzPts val="1100"/>
              <a:buNone/>
              <a:defRPr/>
            </a:lvl1pPr>
            <a:lvl2pPr lvl="1" rtl="0">
              <a:spcBef>
                <a:spcPts val="0"/>
              </a:spcBef>
              <a:spcAft>
                <a:spcPts val="0"/>
              </a:spcAft>
              <a:buSzPts val="1100"/>
              <a:buNone/>
              <a:defRPr sz="3200">
                <a:solidFill>
                  <a:schemeClr val="accent1"/>
                </a:solidFill>
              </a:defRPr>
            </a:lvl2pPr>
            <a:lvl3pPr lvl="2" rtl="0">
              <a:spcBef>
                <a:spcPts val="0"/>
              </a:spcBef>
              <a:spcAft>
                <a:spcPts val="0"/>
              </a:spcAft>
              <a:buSzPts val="1100"/>
              <a:buNone/>
              <a:defRPr sz="3200">
                <a:solidFill>
                  <a:schemeClr val="accent1"/>
                </a:solidFill>
              </a:defRPr>
            </a:lvl3pPr>
            <a:lvl4pPr lvl="3" rtl="0">
              <a:spcBef>
                <a:spcPts val="0"/>
              </a:spcBef>
              <a:spcAft>
                <a:spcPts val="0"/>
              </a:spcAft>
              <a:buSzPts val="1100"/>
              <a:buNone/>
              <a:defRPr sz="3200">
                <a:solidFill>
                  <a:schemeClr val="accent1"/>
                </a:solidFill>
              </a:defRPr>
            </a:lvl4pPr>
            <a:lvl5pPr lvl="4" rtl="0">
              <a:spcBef>
                <a:spcPts val="0"/>
              </a:spcBef>
              <a:spcAft>
                <a:spcPts val="0"/>
              </a:spcAft>
              <a:buSzPts val="1100"/>
              <a:buNone/>
              <a:defRPr sz="3200">
                <a:solidFill>
                  <a:schemeClr val="accent1"/>
                </a:solidFill>
              </a:defRPr>
            </a:lvl5pPr>
            <a:lvl6pPr lvl="5" rtl="0">
              <a:spcBef>
                <a:spcPts val="0"/>
              </a:spcBef>
              <a:spcAft>
                <a:spcPts val="0"/>
              </a:spcAft>
              <a:buSzPts val="1100"/>
              <a:buNone/>
              <a:defRPr sz="3200">
                <a:solidFill>
                  <a:schemeClr val="accent1"/>
                </a:solidFill>
              </a:defRPr>
            </a:lvl6pPr>
            <a:lvl7pPr lvl="6" rtl="0">
              <a:spcBef>
                <a:spcPts val="0"/>
              </a:spcBef>
              <a:spcAft>
                <a:spcPts val="0"/>
              </a:spcAft>
              <a:buSzPts val="1100"/>
              <a:buNone/>
              <a:defRPr sz="3200">
                <a:solidFill>
                  <a:schemeClr val="accent1"/>
                </a:solidFill>
              </a:defRPr>
            </a:lvl7pPr>
            <a:lvl8pPr lvl="7" rtl="0">
              <a:spcBef>
                <a:spcPts val="0"/>
              </a:spcBef>
              <a:spcAft>
                <a:spcPts val="0"/>
              </a:spcAft>
              <a:buSzPts val="1100"/>
              <a:buNone/>
              <a:defRPr sz="3200">
                <a:solidFill>
                  <a:schemeClr val="accent1"/>
                </a:solidFill>
              </a:defRPr>
            </a:lvl8pPr>
            <a:lvl9pPr lvl="8" rtl="0">
              <a:spcBef>
                <a:spcPts val="0"/>
              </a:spcBef>
              <a:spcAft>
                <a:spcPts val="0"/>
              </a:spcAft>
              <a:buSzPts val="1100"/>
              <a:buNone/>
              <a:defRPr sz="3200">
                <a:solidFill>
                  <a:schemeClr val="accent1"/>
                </a:solidFill>
              </a:defRPr>
            </a:lvl9pPr>
          </a:lstStyle>
          <a:p>
            <a:endParaRPr lang="en-GB"/>
          </a:p>
        </p:txBody>
      </p:sp>
      <p:sp>
        <p:nvSpPr>
          <p:cNvPr id="480" name="Google Shape;480;p60"/>
          <p:cNvSpPr txBox="1">
            <a:spLocks noGrp="1"/>
          </p:cNvSpPr>
          <p:nvPr>
            <p:ph type="body" idx="1"/>
          </p:nvPr>
        </p:nvSpPr>
        <p:spPr>
          <a:xfrm>
            <a:off x="479344" y="1081136"/>
            <a:ext cx="11048800" cy="369200"/>
          </a:xfrm>
          <a:prstGeom prst="rect">
            <a:avLst/>
          </a:prstGeom>
          <a:noFill/>
          <a:ln>
            <a:noFill/>
          </a:ln>
        </p:spPr>
        <p:txBody>
          <a:bodyPr spcFirstLastPara="1" wrap="square" lIns="68575" tIns="68575" rIns="68575" bIns="68575" anchor="ctr" anchorCtr="0">
            <a:noAutofit/>
          </a:bodyPr>
          <a:lstStyle>
            <a:lvl1pPr marL="609585" lvl="0" indent="-304792" rtl="0">
              <a:lnSpc>
                <a:spcPct val="100000"/>
              </a:lnSpc>
              <a:spcBef>
                <a:spcPts val="0"/>
              </a:spcBef>
              <a:spcAft>
                <a:spcPts val="0"/>
              </a:spcAft>
              <a:buClr>
                <a:schemeClr val="accent2"/>
              </a:buClr>
              <a:buSzPts val="1700"/>
              <a:buFont typeface="Arial"/>
              <a:buNone/>
              <a:defRPr sz="2267">
                <a:solidFill>
                  <a:schemeClr val="accent2"/>
                </a:solidFill>
              </a:defRPr>
            </a:lvl1pPr>
            <a:lvl2pPr marL="1219170" lvl="1" indent="-304792" rtl="0">
              <a:spcBef>
                <a:spcPts val="0"/>
              </a:spcBef>
              <a:spcAft>
                <a:spcPts val="0"/>
              </a:spcAft>
              <a:buClr>
                <a:schemeClr val="accent2"/>
              </a:buClr>
              <a:buSzPts val="1400"/>
              <a:buNone/>
              <a:defRPr sz="1867">
                <a:solidFill>
                  <a:schemeClr val="accent2"/>
                </a:solidFill>
                <a:latin typeface="Arial"/>
                <a:ea typeface="Arial"/>
                <a:cs typeface="Arial"/>
                <a:sym typeface="Arial"/>
              </a:defRPr>
            </a:lvl2pPr>
            <a:lvl3pPr marL="1828754" lvl="2" indent="-304792" rtl="0">
              <a:spcBef>
                <a:spcPts val="0"/>
              </a:spcBef>
              <a:spcAft>
                <a:spcPts val="0"/>
              </a:spcAft>
              <a:buClr>
                <a:schemeClr val="accent2"/>
              </a:buClr>
              <a:buSzPts val="1200"/>
              <a:buNone/>
              <a:defRPr sz="1600">
                <a:solidFill>
                  <a:schemeClr val="accent2"/>
                </a:solidFill>
                <a:latin typeface="Arial"/>
                <a:ea typeface="Arial"/>
                <a:cs typeface="Arial"/>
                <a:sym typeface="Arial"/>
              </a:defRPr>
            </a:lvl3pPr>
            <a:lvl4pPr marL="2438339" lvl="3" indent="-304792" rtl="0">
              <a:spcBef>
                <a:spcPts val="0"/>
              </a:spcBef>
              <a:spcAft>
                <a:spcPts val="0"/>
              </a:spcAft>
              <a:buClr>
                <a:schemeClr val="accent2"/>
              </a:buClr>
              <a:buSzPts val="1400"/>
              <a:buNone/>
              <a:defRPr sz="1467">
                <a:solidFill>
                  <a:schemeClr val="accent2"/>
                </a:solidFill>
                <a:latin typeface="Arial"/>
                <a:ea typeface="Arial"/>
                <a:cs typeface="Arial"/>
                <a:sym typeface="Arial"/>
              </a:defRPr>
            </a:lvl4pPr>
            <a:lvl5pPr marL="3047924" lvl="4" indent="-304792" rtl="0">
              <a:spcBef>
                <a:spcPts val="0"/>
              </a:spcBef>
              <a:spcAft>
                <a:spcPts val="0"/>
              </a:spcAft>
              <a:buClr>
                <a:schemeClr val="accent2"/>
              </a:buClr>
              <a:buSzPts val="1400"/>
              <a:buNone/>
              <a:defRPr sz="2133">
                <a:solidFill>
                  <a:schemeClr val="accent2"/>
                </a:solidFill>
                <a:latin typeface="Arial"/>
                <a:ea typeface="Arial"/>
                <a:cs typeface="Arial"/>
                <a:sym typeface="Arial"/>
              </a:defRPr>
            </a:lvl5pPr>
            <a:lvl6pPr marL="3657509" lvl="5" indent="-304792" rtl="0">
              <a:spcBef>
                <a:spcPts val="0"/>
              </a:spcBef>
              <a:spcAft>
                <a:spcPts val="0"/>
              </a:spcAft>
              <a:buClr>
                <a:schemeClr val="accent2"/>
              </a:buClr>
              <a:buSzPts val="1400"/>
              <a:buNone/>
              <a:defRPr sz="2000">
                <a:solidFill>
                  <a:schemeClr val="accent2"/>
                </a:solidFill>
              </a:defRPr>
            </a:lvl6pPr>
            <a:lvl7pPr marL="4267093" lvl="6" indent="-304792" rtl="0">
              <a:spcBef>
                <a:spcPts val="0"/>
              </a:spcBef>
              <a:spcAft>
                <a:spcPts val="0"/>
              </a:spcAft>
              <a:buClr>
                <a:schemeClr val="accent2"/>
              </a:buClr>
              <a:buSzPts val="1400"/>
              <a:buNone/>
              <a:defRPr sz="2000">
                <a:solidFill>
                  <a:schemeClr val="accent2"/>
                </a:solidFill>
              </a:defRPr>
            </a:lvl7pPr>
            <a:lvl8pPr marL="4876678" lvl="7" indent="-304792" rtl="0">
              <a:spcBef>
                <a:spcPts val="0"/>
              </a:spcBef>
              <a:spcAft>
                <a:spcPts val="0"/>
              </a:spcAft>
              <a:buClr>
                <a:schemeClr val="accent2"/>
              </a:buClr>
              <a:buSzPts val="1400"/>
              <a:buNone/>
              <a:defRPr sz="2000">
                <a:solidFill>
                  <a:schemeClr val="accent2"/>
                </a:solidFill>
              </a:defRPr>
            </a:lvl8pPr>
            <a:lvl9pPr marL="5486263" lvl="8" indent="-304792" rtl="0">
              <a:spcBef>
                <a:spcPts val="0"/>
              </a:spcBef>
              <a:spcAft>
                <a:spcPts val="0"/>
              </a:spcAft>
              <a:buClr>
                <a:schemeClr val="accent2"/>
              </a:buClr>
              <a:buSzPts val="1400"/>
              <a:buNone/>
              <a:defRPr sz="2000">
                <a:solidFill>
                  <a:schemeClr val="accent2"/>
                </a:solidFill>
              </a:defRPr>
            </a:lvl9pPr>
          </a:lstStyle>
          <a:p>
            <a:endParaRPr lang="en-GB"/>
          </a:p>
        </p:txBody>
      </p:sp>
    </p:spTree>
    <p:extLst>
      <p:ext uri="{BB962C8B-B14F-4D97-AF65-F5344CB8AC3E}">
        <p14:creationId xmlns:p14="http://schemas.microsoft.com/office/powerpoint/2010/main" val="25988029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399" y="462430"/>
            <a:ext cx="10062355" cy="695809"/>
          </a:xfrm>
        </p:spPr>
        <p:txBody>
          <a:bodyPr vert="horz" lIns="0" tIns="45720" rIns="0" bIns="0" rtlCol="0" anchor="b" anchorCtr="0">
            <a:noAutofit/>
          </a:bodyPr>
          <a:lstStyle>
            <a:lvl1pPr>
              <a:defRPr lang="en-US" sz="2400" spc="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GB"/>
              <a:t>Click to edit Master title style</a:t>
            </a:r>
          </a:p>
        </p:txBody>
      </p:sp>
      <p:sp>
        <p:nvSpPr>
          <p:cNvPr id="4" name="Text Placeholder 8"/>
          <p:cNvSpPr>
            <a:spLocks noGrp="1"/>
          </p:cNvSpPr>
          <p:nvPr>
            <p:ph type="body" sz="quarter" idx="14" hasCustomPrompt="1"/>
          </p:nvPr>
        </p:nvSpPr>
        <p:spPr>
          <a:xfrm>
            <a:off x="914399" y="1158240"/>
            <a:ext cx="10325101" cy="784860"/>
          </a:xfrm>
        </p:spPr>
        <p:txBody>
          <a:bodyPr vert="horz" lIns="0" tIns="0" rIns="0" bIns="0" rtlCol="0">
            <a:noAutofit/>
          </a:bodyPr>
          <a:lstStyle>
            <a:lvl1pPr marL="0" indent="0">
              <a:buNone/>
              <a:defRPr lang="en-US" sz="1400">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GB"/>
              <a:t>Edit Master text styles</a:t>
            </a:r>
          </a:p>
        </p:txBody>
      </p:sp>
      <p:sp>
        <p:nvSpPr>
          <p:cNvPr id="9" name="Text Placeholder 8">
            <a:extLst>
              <a:ext uri="{FF2B5EF4-FFF2-40B4-BE49-F238E27FC236}">
                <a16:creationId xmlns:a16="http://schemas.microsoft.com/office/drawing/2014/main" id="{CF58716D-DBF8-4716-A5E8-177B06C7AAB7}"/>
              </a:ext>
            </a:extLst>
          </p:cNvPr>
          <p:cNvSpPr>
            <a:spLocks noGrp="1"/>
          </p:cNvSpPr>
          <p:nvPr>
            <p:ph type="body" sz="quarter" idx="15" hasCustomPrompt="1"/>
          </p:nvPr>
        </p:nvSpPr>
        <p:spPr>
          <a:xfrm>
            <a:off x="914399" y="198438"/>
            <a:ext cx="3776663" cy="263525"/>
          </a:xfrm>
        </p:spPr>
        <p:txBody>
          <a:bodyPr anchor="t"/>
          <a:lstStyle>
            <a:lvl1pPr>
              <a:defRPr sz="1200" b="1" spc="100" baseline="0">
                <a:solidFill>
                  <a:schemeClr val="tx2"/>
                </a:solidFill>
              </a:defRPr>
            </a:lvl1pPr>
          </a:lstStyle>
          <a:p>
            <a:pPr lvl="0"/>
            <a:r>
              <a:rPr lang="en-GB"/>
              <a:t>BREADCRUMB</a:t>
            </a:r>
          </a:p>
        </p:txBody>
      </p:sp>
      <p:sp>
        <p:nvSpPr>
          <p:cNvPr id="5" name="Text Placeholder 8">
            <a:extLst>
              <a:ext uri="{FF2B5EF4-FFF2-40B4-BE49-F238E27FC236}">
                <a16:creationId xmlns:a16="http://schemas.microsoft.com/office/drawing/2014/main" id="{B4FB89FE-98E6-4E5F-A2B7-01E6256D5A50}"/>
              </a:ext>
            </a:extLst>
          </p:cNvPr>
          <p:cNvSpPr>
            <a:spLocks noGrp="1"/>
          </p:cNvSpPr>
          <p:nvPr>
            <p:ph type="body" sz="quarter" idx="16" hasCustomPrompt="1"/>
          </p:nvPr>
        </p:nvSpPr>
        <p:spPr>
          <a:xfrm>
            <a:off x="613555" y="198438"/>
            <a:ext cx="300845" cy="263525"/>
          </a:xfrm>
        </p:spPr>
        <p:txBody>
          <a:bodyPr anchor="t"/>
          <a:lstStyle>
            <a:lvl1pPr>
              <a:defRPr sz="1200" b="1" spc="100" baseline="0">
                <a:solidFill>
                  <a:schemeClr val="tx2"/>
                </a:solidFill>
              </a:defRPr>
            </a:lvl1pPr>
          </a:lstStyle>
          <a:p>
            <a:pPr lvl="0"/>
            <a:r>
              <a:rPr lang="en-GB"/>
              <a:t>01</a:t>
            </a:r>
          </a:p>
        </p:txBody>
      </p:sp>
    </p:spTree>
    <p:extLst>
      <p:ext uri="{BB962C8B-B14F-4D97-AF65-F5344CB8AC3E}">
        <p14:creationId xmlns:p14="http://schemas.microsoft.com/office/powerpoint/2010/main" val="2488804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New Section Slide    ">
  <p:cSld name="New Section Slide    ">
    <p:spTree>
      <p:nvGrpSpPr>
        <p:cNvPr id="1" name="Shape 2025"/>
        <p:cNvGrpSpPr/>
        <p:nvPr/>
      </p:nvGrpSpPr>
      <p:grpSpPr>
        <a:xfrm>
          <a:off x="0" y="0"/>
          <a:ext cx="0" cy="0"/>
          <a:chOff x="0" y="0"/>
          <a:chExt cx="0" cy="0"/>
        </a:xfrm>
      </p:grpSpPr>
      <p:sp>
        <p:nvSpPr>
          <p:cNvPr id="2027" name="Google Shape;2027;p26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GB" smtClean="0"/>
              <a:pPr algn="r"/>
              <a:t>‹#›</a:t>
            </a:fld>
            <a:endParaRPr lang="en-GB"/>
          </a:p>
        </p:txBody>
      </p:sp>
      <p:sp>
        <p:nvSpPr>
          <p:cNvPr id="2029" name="Google Shape;2029;p260"/>
          <p:cNvSpPr txBox="1">
            <a:spLocks noGrp="1"/>
          </p:cNvSpPr>
          <p:nvPr>
            <p:ph type="title"/>
          </p:nvPr>
        </p:nvSpPr>
        <p:spPr>
          <a:xfrm>
            <a:off x="1058400" y="2857200"/>
            <a:ext cx="6588000" cy="763600"/>
          </a:xfrm>
          <a:prstGeom prst="rect">
            <a:avLst/>
          </a:prstGeom>
          <a:effectLst>
            <a:outerShdw blurRad="57150" dist="19050" dir="5400000" algn="bl" rotWithShape="0">
              <a:srgbClr val="000000">
                <a:alpha val="50000"/>
              </a:srgbClr>
            </a:outerShdw>
          </a:effectLst>
        </p:spPr>
        <p:txBody>
          <a:bodyPr spcFirstLastPara="1" wrap="square" lIns="91425" tIns="91425" rIns="91425" bIns="91425" anchor="t" anchorCtr="0">
            <a:normAutofit/>
          </a:bodyPr>
          <a:lstStyle>
            <a:lvl1pPr lvl="0"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1pPr>
            <a:lvl2pPr lvl="1"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2pPr>
            <a:lvl3pPr lvl="2"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3pPr>
            <a:lvl4pPr lvl="3"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4pPr>
            <a:lvl5pPr lvl="4"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5pPr>
            <a:lvl6pPr lvl="5"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6pPr>
            <a:lvl7pPr lvl="6"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7pPr>
            <a:lvl8pPr lvl="7"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8pPr>
            <a:lvl9pPr lvl="8" rtl="0">
              <a:spcBef>
                <a:spcPts val="0"/>
              </a:spcBef>
              <a:spcAft>
                <a:spcPts val="0"/>
              </a:spcAft>
              <a:buClr>
                <a:schemeClr val="lt1"/>
              </a:buClr>
              <a:buSzPts val="2800"/>
              <a:buFont typeface="Roboto Light"/>
              <a:buNone/>
              <a:defRPr>
                <a:solidFill>
                  <a:schemeClr val="lt1"/>
                </a:solidFill>
                <a:latin typeface="Roboto Light"/>
                <a:ea typeface="Roboto Light"/>
                <a:cs typeface="Roboto Light"/>
                <a:sym typeface="Roboto Light"/>
              </a:defRPr>
            </a:lvl9pPr>
          </a:lstStyle>
          <a:p>
            <a:endParaRPr lang="en-GB"/>
          </a:p>
        </p:txBody>
      </p:sp>
    </p:spTree>
    <p:extLst>
      <p:ext uri="{BB962C8B-B14F-4D97-AF65-F5344CB8AC3E}">
        <p14:creationId xmlns:p14="http://schemas.microsoft.com/office/powerpoint/2010/main" val="5902005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Subhead: Sidebar - 3 Column">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853F0EA-AC11-8C4E-9D81-4613FE65844D}"/>
              </a:ext>
            </a:extLst>
          </p:cNvPr>
          <p:cNvSpPr>
            <a:spLocks noGrp="1"/>
          </p:cNvSpPr>
          <p:nvPr>
            <p:ph type="body" sz="quarter" idx="18" hasCustomPrompt="1"/>
          </p:nvPr>
        </p:nvSpPr>
        <p:spPr>
          <a:xfrm>
            <a:off x="4953000" y="59839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3" name="Text Placeholder 9">
            <a:extLst>
              <a:ext uri="{FF2B5EF4-FFF2-40B4-BE49-F238E27FC236}">
                <a16:creationId xmlns:a16="http://schemas.microsoft.com/office/drawing/2014/main" id="{4A2113F8-68DA-F348-9BDA-CC52D25A1C2E}"/>
              </a:ext>
            </a:extLst>
          </p:cNvPr>
          <p:cNvSpPr>
            <a:spLocks noGrp="1"/>
          </p:cNvSpPr>
          <p:nvPr>
            <p:ph type="body" sz="quarter" idx="19" hasCustomPrompt="1"/>
          </p:nvPr>
        </p:nvSpPr>
        <p:spPr>
          <a:xfrm>
            <a:off x="8278906" y="598394"/>
            <a:ext cx="2913529"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Ligula </a:t>
            </a:r>
            <a:r>
              <a:rPr lang="en-GB" err="1"/>
              <a:t>justo</a:t>
            </a:r>
            <a:r>
              <a:rPr lang="en-GB"/>
              <a:t> </a:t>
            </a:r>
            <a:r>
              <a:rPr lang="en-GB" err="1"/>
              <a:t>porttitor</a:t>
            </a: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 </a:t>
            </a:r>
            <a:r>
              <a:rPr lang="en-GB" err="1"/>
              <a:t>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endParaRPr lang="en-GB"/>
          </a:p>
          <a:p>
            <a:pPr lvl="0"/>
            <a:endParaRPr lang="en-GB"/>
          </a:p>
          <a:p>
            <a:pPr lvl="0"/>
            <a:r>
              <a:rPr lang="en-GB" err="1"/>
              <a:t>Etu</a:t>
            </a:r>
            <a:r>
              <a:rPr lang="en-GB"/>
              <a:t> </a:t>
            </a:r>
            <a:r>
              <a:rPr lang="en-GB" err="1"/>
              <a:t>phasellus</a:t>
            </a:r>
            <a:r>
              <a:rPr lang="en-GB"/>
              <a:t> ante</a:t>
            </a:r>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uscipit</a:t>
            </a:r>
            <a:r>
              <a:rPr lang="en-GB"/>
              <a:t>, </a:t>
            </a:r>
            <a:r>
              <a:rPr lang="en-GB" err="1"/>
              <a:t>consectetur</a:t>
            </a:r>
            <a:r>
              <a:rPr lang="en-GB"/>
              <a:t> </a:t>
            </a:r>
            <a:r>
              <a:rPr lang="en-GB" err="1"/>
              <a:t>duis</a:t>
            </a:r>
            <a:r>
              <a:rPr lang="en-GB"/>
              <a:t> id  </a:t>
            </a:r>
            <a:r>
              <a:rPr lang="en-GB" err="1"/>
              <a:t>risus</a:t>
            </a:r>
            <a:r>
              <a:rPr lang="en-GB"/>
              <a:t> auctor </a:t>
            </a:r>
            <a:r>
              <a:rPr lang="en-GB" err="1"/>
              <a:t>inceptos</a:t>
            </a:r>
            <a:r>
              <a:rPr lang="en-GB"/>
              <a:t> </a:t>
            </a:r>
            <a:r>
              <a:rPr lang="en-GB" err="1"/>
              <a:t>nisl</a:t>
            </a:r>
            <a:r>
              <a:rPr lang="en-GB"/>
              <a:t>. </a:t>
            </a:r>
            <a:r>
              <a:rPr lang="en-GB" err="1"/>
              <a:t>Facilisis</a:t>
            </a:r>
            <a:r>
              <a:rPr lang="en-GB"/>
              <a:t> </a:t>
            </a:r>
            <a:r>
              <a:rPr lang="en-GB" err="1"/>
              <a:t>est</a:t>
            </a:r>
            <a:r>
              <a:rPr lang="en-GB"/>
              <a:t> </a:t>
            </a:r>
            <a:r>
              <a:rPr lang="en-GB" err="1"/>
              <a:t>porttitor</a:t>
            </a:r>
            <a:r>
              <a:rPr lang="en-GB"/>
              <a:t>.</a:t>
            </a:r>
          </a:p>
        </p:txBody>
      </p:sp>
      <p:sp>
        <p:nvSpPr>
          <p:cNvPr id="14" name="Text Placeholder 9">
            <a:extLst>
              <a:ext uri="{FF2B5EF4-FFF2-40B4-BE49-F238E27FC236}">
                <a16:creationId xmlns:a16="http://schemas.microsoft.com/office/drawing/2014/main" id="{A4A9E2B4-6FEE-DA4E-AD16-A814A4081949}"/>
              </a:ext>
            </a:extLst>
          </p:cNvPr>
          <p:cNvSpPr>
            <a:spLocks noGrp="1"/>
          </p:cNvSpPr>
          <p:nvPr>
            <p:ph type="body" sz="quarter" idx="20" hasCustomPrompt="1"/>
          </p:nvPr>
        </p:nvSpPr>
        <p:spPr>
          <a:xfrm>
            <a:off x="4953000" y="3429000"/>
            <a:ext cx="6286500" cy="23876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endParaRPr lang="en-GB"/>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p:txBody>
      </p:sp>
      <p:sp>
        <p:nvSpPr>
          <p:cNvPr id="8" name="Text Placeholder 7">
            <a:extLst>
              <a:ext uri="{FF2B5EF4-FFF2-40B4-BE49-F238E27FC236}">
                <a16:creationId xmlns:a16="http://schemas.microsoft.com/office/drawing/2014/main" id="{26F07B15-98E7-FC46-A720-8B2370D0EF7A}"/>
              </a:ext>
            </a:extLst>
          </p:cNvPr>
          <p:cNvSpPr>
            <a:spLocks noGrp="1"/>
          </p:cNvSpPr>
          <p:nvPr>
            <p:ph type="body" sz="quarter" idx="14" hasCustomPrompt="1"/>
          </p:nvPr>
        </p:nvSpPr>
        <p:spPr>
          <a:xfrm>
            <a:off x="914400" y="2959100"/>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2" name="Text Placeholder 5">
            <a:extLst>
              <a:ext uri="{FF2B5EF4-FFF2-40B4-BE49-F238E27FC236}">
                <a16:creationId xmlns:a16="http://schemas.microsoft.com/office/drawing/2014/main" id="{1BC14B02-EC5A-D343-8FED-78FD9330CC6E}"/>
              </a:ext>
            </a:extLst>
          </p:cNvPr>
          <p:cNvSpPr>
            <a:spLocks noGrp="1"/>
          </p:cNvSpPr>
          <p:nvPr>
            <p:ph type="body" sz="quarter" idx="21"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88479745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Greeting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Click to edit Master title s edit Master title style tyle</a:t>
            </a:r>
          </a:p>
        </p:txBody>
      </p:sp>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Quis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olutpa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condimentum</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velit</a:t>
            </a:r>
            <a:r>
              <a:rPr kumimoji="0" lang="en-GB"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Class </a:t>
            </a:r>
            <a:r>
              <a:rPr kumimoji="0" lang="en-GB" sz="1000" b="1" i="0" u="none" strike="noStrike" kern="1200" cap="none" spc="0" normalizeH="0" baseline="0" noProof="0" err="1">
                <a:ln>
                  <a:noFill/>
                </a:ln>
                <a:solidFill>
                  <a:srgbClr val="000000"/>
                </a:solidFill>
                <a:effectLst/>
                <a:uLnTx/>
                <a:uFillTx/>
                <a:latin typeface="+mn-lt"/>
                <a:ea typeface="+mn-ea"/>
                <a:cs typeface="+mn-cs"/>
              </a:rPr>
              <a:t>apte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aciti</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ociosqu</a:t>
            </a:r>
            <a:r>
              <a:rPr kumimoji="0" lang="en-GB" sz="1000" b="1" i="0" u="none" strike="noStrike" kern="1200" cap="none" spc="0" normalizeH="0" baseline="0" noProof="0">
                <a:ln>
                  <a:noFill/>
                </a:ln>
                <a:solidFill>
                  <a:srgbClr val="000000"/>
                </a:solidFill>
                <a:effectLst/>
                <a:uLnTx/>
                <a:uFillTx/>
                <a:latin typeface="+mn-lt"/>
                <a:ea typeface="+mn-ea"/>
                <a:cs typeface="+mn-cs"/>
              </a:rPr>
              <a:t> ad </a:t>
            </a:r>
            <a:r>
              <a:rPr kumimoji="0" lang="en-GB" sz="1000" b="1" i="0" u="none" strike="noStrike" kern="1200" cap="none" spc="0" normalizeH="0" baseline="0" noProof="0" err="1">
                <a:ln>
                  <a:noFill/>
                </a:ln>
                <a:solidFill>
                  <a:srgbClr val="000000"/>
                </a:solidFill>
                <a:effectLst/>
                <a:uLnTx/>
                <a:uFillTx/>
                <a:latin typeface="+mn-lt"/>
                <a:ea typeface="+mn-ea"/>
                <a:cs typeface="+mn-cs"/>
              </a:rPr>
              <a:t>litor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quent</a:t>
            </a:r>
            <a:r>
              <a:rPr kumimoji="0" lang="en-GB" sz="1000" b="1" i="0" u="none" strike="noStrike" kern="1200" cap="none" spc="0" normalizeH="0" baseline="0" noProof="0">
                <a:ln>
                  <a:noFill/>
                </a:ln>
                <a:solidFill>
                  <a:srgbClr val="000000"/>
                </a:solidFill>
                <a:effectLst/>
                <a:uLnTx/>
                <a:uFillTx/>
                <a:latin typeface="+mn-lt"/>
                <a:ea typeface="+mn-ea"/>
                <a:cs typeface="+mn-cs"/>
              </a:rPr>
              <a:t> per </a:t>
            </a:r>
            <a:r>
              <a:rPr kumimoji="0" lang="en-GB" sz="1000" b="1" i="0" u="none" strike="noStrike" kern="1200" cap="none" spc="0" normalizeH="0" baseline="0" noProof="0" err="1">
                <a:ln>
                  <a:noFill/>
                </a:ln>
                <a:solidFill>
                  <a:srgbClr val="000000"/>
                </a:solidFill>
                <a:effectLst/>
                <a:uLnTx/>
                <a:uFillTx/>
                <a:latin typeface="+mn-lt"/>
                <a:ea typeface="+mn-ea"/>
                <a:cs typeface="+mn-cs"/>
              </a:rPr>
              <a:t>conubia</a:t>
            </a:r>
            <a:r>
              <a:rPr kumimoji="0" lang="en-GB" sz="1000" b="1" i="0" u="none" strike="noStrike" kern="1200" cap="none" spc="0" normalizeH="0" baseline="0" noProof="0">
                <a:ln>
                  <a:noFill/>
                </a:ln>
                <a:solidFill>
                  <a:srgbClr val="000000"/>
                </a:solidFill>
                <a:effectLst/>
                <a:uLnTx/>
                <a:uFillTx/>
                <a:latin typeface="+mn-lt"/>
                <a:ea typeface="+mn-ea"/>
                <a:cs typeface="+mn-cs"/>
              </a:rPr>
              <a:t> nostra, per </a:t>
            </a:r>
            <a:r>
              <a:rPr kumimoji="0" lang="en-GB" sz="1000" b="1" i="0" u="none" strike="noStrike" kern="1200" cap="none" spc="0" normalizeH="0" baseline="0" noProof="0" err="1">
                <a:ln>
                  <a:noFill/>
                </a:ln>
                <a:solidFill>
                  <a:srgbClr val="000000"/>
                </a:solidFill>
                <a:effectLst/>
                <a:uLnTx/>
                <a:uFillTx/>
                <a:latin typeface="+mn-lt"/>
                <a:ea typeface="+mn-ea"/>
                <a:cs typeface="+mn-cs"/>
              </a:rPr>
              <a:t>incepto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Nam </a:t>
            </a:r>
            <a:r>
              <a:rPr kumimoji="0" lang="en-GB" sz="1000" b="1" i="0" u="none" strike="noStrike" kern="1200" cap="none" spc="0" normalizeH="0" baseline="0" noProof="0" err="1">
                <a:ln>
                  <a:noFill/>
                </a:ln>
                <a:solidFill>
                  <a:srgbClr val="000000"/>
                </a:solidFill>
                <a:effectLst/>
                <a:uLnTx/>
                <a:uFillTx/>
                <a:latin typeface="+mn-lt"/>
                <a:ea typeface="+mn-ea"/>
                <a:cs typeface="+mn-cs"/>
              </a:rPr>
              <a:t>nec</a:t>
            </a:r>
            <a:r>
              <a:rPr kumimoji="0" lang="en-GB" sz="1000" b="1" i="0" u="none" strike="noStrike" kern="1200" cap="none" spc="0" normalizeH="0" baseline="0" noProof="0">
                <a:ln>
                  <a:noFill/>
                </a:ln>
                <a:solidFill>
                  <a:srgbClr val="000000"/>
                </a:solidFill>
                <a:effectLst/>
                <a:uLnTx/>
                <a:uFillTx/>
                <a:latin typeface="+mn-lt"/>
                <a:ea typeface="+mn-ea"/>
                <a:cs typeface="+mn-cs"/>
              </a:rPr>
              <a:t> ante. </a:t>
            </a:r>
            <a:r>
              <a:rPr kumimoji="0" lang="en-GB" sz="1000" b="1" i="0" u="none" strike="noStrike" kern="1200" cap="none" spc="0" normalizeH="0" baseline="0" noProof="0" err="1">
                <a:ln>
                  <a:noFill/>
                </a:ln>
                <a:solidFill>
                  <a:srgbClr val="000000"/>
                </a:solidFill>
                <a:effectLst/>
                <a:uLnTx/>
                <a:uFillTx/>
                <a:latin typeface="+mn-lt"/>
                <a:ea typeface="+mn-ea"/>
                <a:cs typeface="+mn-cs"/>
              </a:rPr>
              <a:t>Sed</a:t>
            </a:r>
            <a:r>
              <a:rPr kumimoji="0" lang="en-GB" sz="1000" b="1" i="0" u="none" strike="noStrike" kern="1200" cap="none" spc="0" normalizeH="0" baseline="0" noProof="0">
                <a:ln>
                  <a:noFill/>
                </a:ln>
                <a:solidFill>
                  <a:srgbClr val="000000"/>
                </a:solidFill>
                <a:effectLst/>
                <a:uLnTx/>
                <a:uFillTx/>
                <a:latin typeface="+mn-lt"/>
                <a:ea typeface="+mn-ea"/>
                <a:cs typeface="+mn-cs"/>
              </a:rPr>
              <a:t> lacinia, </a:t>
            </a:r>
            <a:r>
              <a:rPr kumimoji="0" lang="en-GB" sz="1000" b="1" i="0" u="none" strike="noStrike" kern="1200" cap="none" spc="0" normalizeH="0" baseline="0" noProof="0" err="1">
                <a:ln>
                  <a:noFill/>
                </a:ln>
                <a:solidFill>
                  <a:srgbClr val="000000"/>
                </a:solidFill>
                <a:effectLst/>
                <a:uLnTx/>
                <a:uFillTx/>
                <a:latin typeface="+mn-lt"/>
                <a:ea typeface="+mn-ea"/>
                <a:cs typeface="+mn-cs"/>
              </a:rPr>
              <a:t>urna</a:t>
            </a:r>
            <a:r>
              <a:rPr kumimoji="0" lang="en-GB" sz="1000" b="1" i="0" u="none" strike="noStrike" kern="1200" cap="none" spc="0" normalizeH="0" baseline="0" noProof="0">
                <a:ln>
                  <a:noFill/>
                </a:ln>
                <a:solidFill>
                  <a:srgbClr val="000000"/>
                </a:solidFill>
                <a:effectLst/>
                <a:uLnTx/>
                <a:uFillTx/>
                <a:latin typeface="+mn-lt"/>
                <a:ea typeface="+mn-ea"/>
                <a:cs typeface="+mn-cs"/>
              </a:rPr>
              <a:t> non </a:t>
            </a:r>
            <a:r>
              <a:rPr kumimoji="0" lang="en-GB" sz="1000" b="1" i="0" u="none" strike="noStrike" kern="1200" cap="none" spc="0" normalizeH="0" baseline="0" noProof="0" err="1">
                <a:ln>
                  <a:noFill/>
                </a:ln>
                <a:solidFill>
                  <a:srgbClr val="000000"/>
                </a:solidFill>
                <a:effectLst/>
                <a:uLnTx/>
                <a:uFillTx/>
                <a:latin typeface="+mn-lt"/>
                <a:ea typeface="+mn-ea"/>
                <a:cs typeface="+mn-cs"/>
              </a:rPr>
              <a:t>tincidun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matt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ortor</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equ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adipiscing</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diam</a:t>
            </a:r>
            <a:r>
              <a:rPr kumimoji="0" lang="en-GB" sz="1000" b="1" i="0" u="none" strike="noStrike" kern="1200" cap="none" spc="0" normalizeH="0" baseline="0" noProof="0">
                <a:ln>
                  <a:noFill/>
                </a:ln>
                <a:solidFill>
                  <a:srgbClr val="000000"/>
                </a:solidFill>
                <a:effectLst/>
                <a:uLnTx/>
                <a:uFillTx/>
                <a:latin typeface="+mn-lt"/>
                <a:ea typeface="+mn-ea"/>
                <a:cs typeface="+mn-cs"/>
              </a:rPr>
              <a:t>, a cursus ipsum ante </a:t>
            </a:r>
            <a:r>
              <a:rPr kumimoji="0" lang="en-GB" sz="1000" b="1" i="0" u="none" strike="noStrike" kern="1200" cap="none" spc="0" normalizeH="0" baseline="0" noProof="0" err="1">
                <a:ln>
                  <a:noFill/>
                </a:ln>
                <a:solidFill>
                  <a:srgbClr val="000000"/>
                </a:solidFill>
                <a:effectLst/>
                <a:uLnTx/>
                <a:uFillTx/>
                <a:latin typeface="+mn-lt"/>
                <a:ea typeface="+mn-ea"/>
                <a:cs typeface="+mn-cs"/>
              </a:rPr>
              <a:t>quis</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turpis</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err="1">
                <a:ln>
                  <a:noFill/>
                </a:ln>
                <a:solidFill>
                  <a:srgbClr val="000000"/>
                </a:solidFill>
                <a:effectLst/>
                <a:uLnTx/>
                <a:uFillTx/>
                <a:latin typeface="+mn-lt"/>
                <a:ea typeface="+mn-ea"/>
                <a:cs typeface="+mn-cs"/>
              </a:rPr>
              <a:t>Nu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facilisi</a:t>
            </a:r>
            <a:r>
              <a:rPr kumimoji="0" lang="en-GB" sz="1000" b="1" i="0" u="none" strike="noStrike" kern="1200" cap="none" spc="0" normalizeH="0" baseline="0" noProof="0">
                <a:ln>
                  <a:noFill/>
                </a:ln>
                <a:solidFill>
                  <a:srgbClr val="000000"/>
                </a:solidFill>
                <a:effectLst/>
                <a:uLnTx/>
                <a:uFillTx/>
                <a:latin typeface="+mn-lt"/>
                <a:ea typeface="+mn-ea"/>
                <a:cs typeface="+mn-cs"/>
              </a:rPr>
              <a:t>. Ut </a:t>
            </a:r>
            <a:r>
              <a:rPr kumimoji="0" lang="en-GB" sz="1000" b="1" i="0" u="none" strike="noStrike" kern="1200" cap="none" spc="0" normalizeH="0" baseline="0" noProof="0" err="1">
                <a:ln>
                  <a:noFill/>
                </a:ln>
                <a:solidFill>
                  <a:srgbClr val="000000"/>
                </a:solidFill>
                <a:effectLst/>
                <a:uLnTx/>
                <a:uFillTx/>
                <a:latin typeface="+mn-lt"/>
                <a:ea typeface="+mn-ea"/>
                <a:cs typeface="+mn-cs"/>
              </a:rPr>
              <a:t>fringilla</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Suspendisse</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potenti</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GB" sz="1000" b="1" i="0" u="none" strike="noStrike" kern="1200" cap="none" spc="0" normalizeH="0" baseline="0" noProof="0" err="1">
                <a:ln>
                  <a:noFill/>
                </a:ln>
                <a:solidFill>
                  <a:srgbClr val="000000"/>
                </a:solidFill>
                <a:effectLst/>
                <a:uLnTx/>
                <a:uFillTx/>
                <a:latin typeface="+mn-lt"/>
                <a:ea typeface="+mn-ea"/>
                <a:cs typeface="+mn-cs"/>
              </a:rPr>
              <a:t>arcu</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eget</a:t>
            </a:r>
            <a:r>
              <a:rPr kumimoji="0" lang="en-GB" sz="1000" b="1" i="0" u="none" strike="noStrike" kern="1200" cap="none" spc="0" normalizeH="0" baseline="0" noProof="0">
                <a:ln>
                  <a:noFill/>
                </a:ln>
                <a:solidFill>
                  <a:srgbClr val="000000"/>
                </a:solidFill>
                <a:effectLst/>
                <a:uLnTx/>
                <a:uFillTx/>
                <a:latin typeface="+mn-lt"/>
                <a:ea typeface="+mn-ea"/>
                <a:cs typeface="+mn-cs"/>
              </a:rPr>
              <a:t> </a:t>
            </a:r>
            <a:r>
              <a:rPr kumimoji="0" lang="en-GB" sz="1000" b="1" i="0" u="none" strike="noStrike" kern="1200" cap="none" spc="0" normalizeH="0" baseline="0" noProof="0" err="1">
                <a:ln>
                  <a:noFill/>
                </a:ln>
                <a:solidFill>
                  <a:srgbClr val="000000"/>
                </a:solidFill>
                <a:effectLst/>
                <a:uLnTx/>
                <a:uFillTx/>
                <a:latin typeface="+mn-lt"/>
                <a:ea typeface="+mn-ea"/>
                <a:cs typeface="+mn-cs"/>
              </a:rPr>
              <a:t>nulla</a:t>
            </a:r>
            <a:endParaRPr kumimoji="0" lang="en-GB"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Lorem ipsum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it</a:t>
            </a:r>
            <a:r>
              <a:rPr kumimoji="0" lang="en-GB" sz="1000" b="0" i="0" u="none" strike="noStrike" kern="1200" cap="none" spc="0" normalizeH="0" baseline="0" noProof="0">
                <a:ln>
                  <a:noFill/>
                </a:ln>
                <a:solidFill>
                  <a:srgbClr val="000000"/>
                </a:solidFill>
                <a:effectLst/>
                <a:uLnTx/>
                <a:uFillTx/>
                <a:latin typeface="+mn-lt"/>
                <a:ea typeface="+mn-ea"/>
                <a:cs typeface="+mn-cs"/>
              </a:rPr>
              <a:t>. Integer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dio</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err="1">
                <a:ln>
                  <a:noFill/>
                </a:ln>
                <a:solidFill>
                  <a:srgbClr val="000000"/>
                </a:solidFill>
                <a:effectLst/>
                <a:uLnTx/>
                <a:uFillTx/>
                <a:latin typeface="+mn-lt"/>
                <a:ea typeface="+mn-ea"/>
                <a:cs typeface="+mn-cs"/>
              </a:rPr>
              <a:t>dapibus</a:t>
            </a:r>
            <a:r>
              <a:rPr kumimoji="0" lang="en-GB" sz="1000" b="0" i="0" u="none" strike="noStrike" kern="1200" cap="none" spc="0" normalizeH="0" baseline="0" noProof="0">
                <a:ln>
                  <a:noFill/>
                </a:ln>
                <a:solidFill>
                  <a:srgbClr val="000000"/>
                </a:solidFill>
                <a:effectLst/>
                <a:uLnTx/>
                <a:uFillTx/>
                <a:latin typeface="+mn-lt"/>
                <a:ea typeface="+mn-ea"/>
                <a:cs typeface="+mn-cs"/>
              </a:rPr>
              <a:t> diam.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isi.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qu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m</a:t>
            </a:r>
            <a:r>
              <a:rPr kumimoji="0" lang="en-GB" sz="1000" b="0" i="0" u="none" strike="noStrike" kern="1200" cap="none" spc="0" normalizeH="0" baseline="0" noProof="0">
                <a:ln>
                  <a:noFill/>
                </a:ln>
                <a:solidFill>
                  <a:srgbClr val="000000"/>
                </a:solidFill>
                <a:effectLst/>
                <a:uLnTx/>
                <a:uFillTx/>
                <a:latin typeface="+mn-lt"/>
                <a:ea typeface="+mn-ea"/>
                <a:cs typeface="+mn-cs"/>
              </a:rPr>
              <a:t> at </a:t>
            </a:r>
            <a:r>
              <a:rPr kumimoji="0" lang="en-GB" sz="1000" b="0" i="0" u="none" strike="noStrike" kern="1200" cap="none" spc="0" normalizeH="0" baseline="0" noProof="0" err="1">
                <a:ln>
                  <a:noFill/>
                </a:ln>
                <a:solidFill>
                  <a:srgbClr val="000000"/>
                </a:solidFill>
                <a:effectLst/>
                <a:uLnTx/>
                <a:uFillTx/>
                <a:latin typeface="+mn-lt"/>
                <a:ea typeface="+mn-ea"/>
                <a:cs typeface="+mn-cs"/>
              </a:rPr>
              <a:t>nibh</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a:ln>
                  <a:noFill/>
                </a:ln>
                <a:solidFill>
                  <a:srgbClr val="000000"/>
                </a:solidFill>
                <a:effectLst/>
                <a:uLnTx/>
                <a:uFillTx/>
                <a:latin typeface="+mn-lt"/>
                <a:ea typeface="+mn-ea"/>
                <a:cs typeface="+mn-cs"/>
              </a:rPr>
              <a:t>. Duis </a:t>
            </a:r>
            <a:r>
              <a:rPr kumimoji="0" lang="en-GB" sz="1000" b="0" i="0" u="none" strike="noStrike" kern="1200" cap="none" spc="0" normalizeH="0" baseline="0" noProof="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a:ln>
                  <a:noFill/>
                </a:ln>
                <a:solidFill>
                  <a:srgbClr val="000000"/>
                </a:solidFill>
                <a:effectLst/>
                <a:uLnTx/>
                <a:uFillTx/>
                <a:latin typeface="+mn-lt"/>
                <a:ea typeface="+mn-ea"/>
                <a:cs typeface="+mn-cs"/>
              </a:rPr>
              <a:t> ipsum.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usc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ell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err="1">
                <a:ln>
                  <a:noFill/>
                </a:ln>
                <a:solidFill>
                  <a:srgbClr val="000000"/>
                </a:solidFill>
                <a:effectLst/>
                <a:uLnTx/>
                <a:uFillTx/>
                <a:latin typeface="+mn-lt"/>
                <a:ea typeface="+mn-ea"/>
                <a:cs typeface="+mn-cs"/>
              </a:rPr>
              <a:t>Maur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massa</a:t>
            </a:r>
            <a:r>
              <a:rPr kumimoji="0" lang="en-GB"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err="1">
                <a:ln>
                  <a:noFill/>
                </a:ln>
                <a:solidFill>
                  <a:srgbClr val="000000"/>
                </a:solidFill>
                <a:effectLst/>
                <a:uLnTx/>
                <a:uFillTx/>
                <a:latin typeface="+mn-lt"/>
                <a:ea typeface="+mn-ea"/>
                <a:cs typeface="+mn-cs"/>
              </a:rPr>
              <a:t>arcu</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lla</a:t>
            </a:r>
            <a:r>
              <a:rPr kumimoji="0" lang="en-GB" sz="1000" b="0" i="0" u="none" strike="noStrike" kern="1200" cap="none" spc="0" normalizeH="0" baseline="0" noProof="0">
                <a:ln>
                  <a:noFill/>
                </a:ln>
                <a:solidFill>
                  <a:srgbClr val="000000"/>
                </a:solidFill>
                <a:effectLst/>
                <a:uLnTx/>
                <a:uFillTx/>
                <a:latin typeface="+mn-lt"/>
                <a:ea typeface="+mn-ea"/>
                <a:cs typeface="+mn-cs"/>
              </a:rPr>
              <a:t>. Class </a:t>
            </a:r>
            <a:r>
              <a:rPr kumimoji="0" lang="en-GB" sz="1000" b="0" i="0" u="none" strike="noStrike" kern="1200" cap="none" spc="0" normalizeH="0" baseline="0" noProof="0" err="1">
                <a:ln>
                  <a:noFill/>
                </a:ln>
                <a:solidFill>
                  <a:srgbClr val="000000"/>
                </a:solidFill>
                <a:effectLst/>
                <a:uLnTx/>
                <a:uFillTx/>
                <a:latin typeface="+mn-lt"/>
                <a:ea typeface="+mn-ea"/>
                <a:cs typeface="+mn-cs"/>
              </a:rPr>
              <a:t>apt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acit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a:ln>
                  <a:noFill/>
                </a:ln>
                <a:solidFill>
                  <a:srgbClr val="000000"/>
                </a:solidFill>
                <a:effectLst/>
                <a:uLnTx/>
                <a:uFillTx/>
                <a:latin typeface="+mn-lt"/>
                <a:ea typeface="+mn-ea"/>
                <a:cs typeface="+mn-cs"/>
              </a:rPr>
              <a:t> ad </a:t>
            </a:r>
            <a:r>
              <a:rPr kumimoji="0" lang="en-GB" sz="1000" b="0" i="0" u="none" strike="noStrike" kern="1200" cap="none" spc="0" normalizeH="0" baseline="0" noProof="0" err="1">
                <a:ln>
                  <a:noFill/>
                </a:ln>
                <a:solidFill>
                  <a:srgbClr val="000000"/>
                </a:solidFill>
                <a:effectLst/>
                <a:uLnTx/>
                <a:uFillTx/>
                <a:latin typeface="+mn-lt"/>
                <a:ea typeface="+mn-ea"/>
                <a:cs typeface="+mn-cs"/>
              </a:rPr>
              <a:t>lito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a:ln>
                  <a:noFill/>
                </a:ln>
                <a:solidFill>
                  <a:srgbClr val="000000"/>
                </a:solidFill>
                <a:effectLst/>
                <a:uLnTx/>
                <a:uFillTx/>
                <a:latin typeface="+mn-lt"/>
                <a:ea typeface="+mn-ea"/>
                <a:cs typeface="+mn-cs"/>
              </a:rPr>
              <a:t> per </a:t>
            </a:r>
            <a:r>
              <a:rPr kumimoji="0" lang="en-GB" sz="1000" b="0" i="0" u="none" strike="noStrike" kern="1200" cap="none" spc="0" normalizeH="0" baseline="0" noProof="0" err="1">
                <a:ln>
                  <a:noFill/>
                </a:ln>
                <a:solidFill>
                  <a:srgbClr val="000000"/>
                </a:solidFill>
                <a:effectLst/>
                <a:uLnTx/>
                <a:uFillTx/>
                <a:latin typeface="+mn-lt"/>
                <a:ea typeface="+mn-ea"/>
                <a:cs typeface="+mn-cs"/>
              </a:rPr>
              <a:t>conubia</a:t>
            </a:r>
            <a:r>
              <a:rPr kumimoji="0" lang="en-GB" sz="1000" b="0" i="0" u="none" strike="noStrike" kern="1200" cap="none" spc="0" normalizeH="0" baseline="0" noProof="0">
                <a:ln>
                  <a:noFill/>
                </a:ln>
                <a:solidFill>
                  <a:srgbClr val="000000"/>
                </a:solidFill>
                <a:effectLst/>
                <a:uLnTx/>
                <a:uFillTx/>
                <a:latin typeface="+mn-lt"/>
                <a:ea typeface="+mn-ea"/>
                <a:cs typeface="+mn-cs"/>
              </a:rPr>
              <a:t> nostra, per </a:t>
            </a:r>
            <a:r>
              <a:rPr kumimoji="0" lang="en-GB" sz="1000" b="0" i="0" u="none" strike="noStrike" kern="1200" cap="none" spc="0" normalizeH="0" baseline="0" noProof="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odales</a:t>
            </a:r>
            <a:r>
              <a:rPr kumimoji="0" lang="en-GB" sz="1000" b="0" i="0" u="none" strike="noStrike" kern="1200" cap="none" spc="0" normalizeH="0" baseline="0" noProof="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err="1">
                <a:ln>
                  <a:noFill/>
                </a:ln>
                <a:solidFill>
                  <a:srgbClr val="000000"/>
                </a:solidFill>
                <a:effectLst/>
                <a:uLnTx/>
                <a:uFillTx/>
                <a:latin typeface="+mn-lt"/>
                <a:ea typeface="+mn-ea"/>
                <a:cs typeface="+mn-cs"/>
              </a:rPr>
              <a:t>primis</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orci</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uctu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osuer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bili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urae</a:t>
            </a:r>
            <a:r>
              <a:rPr kumimoji="0" lang="en-GB" sz="1000" b="0" i="0" u="none" strike="noStrike" kern="1200" cap="none" spc="0" normalizeH="0" baseline="0" noProof="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a:ln>
                  <a:noFill/>
                </a:ln>
                <a:solidFill>
                  <a:srgbClr val="000000"/>
                </a:solidFill>
                <a:effectLst/>
                <a:uLnTx/>
                <a:uFillTx/>
                <a:latin typeface="+mn-lt"/>
                <a:ea typeface="+mn-ea"/>
                <a:cs typeface="+mn-cs"/>
              </a:rPr>
              <a:t> dui. </a:t>
            </a:r>
            <a:r>
              <a:rPr kumimoji="0" lang="en-GB" sz="1000" b="0" i="0" u="none" strike="noStrike" kern="1200" cap="none" spc="0" normalizeH="0" baseline="0" noProof="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dolo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Sed</a:t>
            </a:r>
            <a:r>
              <a:rPr kumimoji="0" lang="en-GB" sz="1000" b="0" i="0" u="none" strike="noStrike" kern="1200" cap="none" spc="0" normalizeH="0" baseline="0" noProof="0">
                <a:ln>
                  <a:noFill/>
                </a:ln>
                <a:solidFill>
                  <a:srgbClr val="000000"/>
                </a:solidFill>
                <a:effectLst/>
                <a:uLnTx/>
                <a:uFillTx/>
                <a:latin typeface="+mn-lt"/>
                <a:ea typeface="+mn-ea"/>
                <a:cs typeface="+mn-cs"/>
              </a:rPr>
              <a:t> non </a:t>
            </a:r>
            <a:r>
              <a:rPr kumimoji="0" lang="en-GB" sz="1000" b="0" i="0" u="none" strike="noStrike" kern="1200" cap="none" spc="0" normalizeH="0" baseline="0" noProof="0" err="1">
                <a:ln>
                  <a:noFill/>
                </a:ln>
                <a:solidFill>
                  <a:srgbClr val="000000"/>
                </a:solidFill>
                <a:effectLst/>
                <a:uLnTx/>
                <a:uFillTx/>
                <a:latin typeface="+mn-lt"/>
                <a:ea typeface="+mn-ea"/>
                <a:cs typeface="+mn-cs"/>
              </a:rPr>
              <a:t>quam</a:t>
            </a:r>
            <a:r>
              <a:rPr kumimoji="0" lang="en-GB" sz="1000" b="0" i="0" u="none" strike="noStrike" kern="1200" cap="none" spc="0" normalizeH="0" baseline="0" noProof="0">
                <a:ln>
                  <a:noFill/>
                </a:ln>
                <a:solidFill>
                  <a:srgbClr val="000000"/>
                </a:solidFill>
                <a:effectLst/>
                <a:uLnTx/>
                <a:uFillTx/>
                <a:latin typeface="+mn-lt"/>
                <a:ea typeface="+mn-ea"/>
                <a:cs typeface="+mn-cs"/>
              </a:rPr>
              <a:t>. In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mi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congu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err="1">
                <a:ln>
                  <a:noFill/>
                </a:ln>
                <a:solidFill>
                  <a:srgbClr val="000000"/>
                </a:solidFill>
                <a:effectLst/>
                <a:uLnTx/>
                <a:uFillTx/>
                <a:latin typeface="+mn-lt"/>
                <a:ea typeface="+mn-ea"/>
                <a:cs typeface="+mn-cs"/>
              </a:rPr>
              <a:t>ame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pede</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laoreet</a:t>
            </a:r>
            <a:r>
              <a:rPr kumimoji="0" lang="en-GB" sz="1000" b="0" i="0" u="none" strike="noStrike" kern="1200" cap="none" spc="0" normalizeH="0" baseline="0" noProof="0">
                <a:ln>
                  <a:noFill/>
                </a:ln>
                <a:solidFill>
                  <a:srgbClr val="000000"/>
                </a:solidFill>
                <a:effectLst/>
                <a:uLnTx/>
                <a:uFillTx/>
                <a:latin typeface="+mn-lt"/>
                <a:ea typeface="+mn-ea"/>
                <a:cs typeface="+mn-cs"/>
              </a:rPr>
              <a:t>. Donec </a:t>
            </a:r>
            <a:r>
              <a:rPr kumimoji="0" lang="en-GB" sz="1000" b="0" i="0" u="none" strike="noStrike" kern="1200" cap="none" spc="0" normalizeH="0" baseline="0" noProof="0" err="1">
                <a:ln>
                  <a:noFill/>
                </a:ln>
                <a:solidFill>
                  <a:srgbClr val="000000"/>
                </a:solidFill>
                <a:effectLst/>
                <a:uLnTx/>
                <a:uFillTx/>
                <a:latin typeface="+mn-lt"/>
                <a:ea typeface="+mn-ea"/>
                <a:cs typeface="+mn-cs"/>
              </a:rPr>
              <a:t>lacus</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un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iverra</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nec</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blandit</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vel</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gestas</a:t>
            </a:r>
            <a:r>
              <a:rPr kumimoji="0" lang="en-GB" sz="1000" b="0" i="0" u="none" strike="noStrike" kern="1200" cap="none" spc="0" normalizeH="0" baseline="0" noProof="0">
                <a:ln>
                  <a:noFill/>
                </a:ln>
                <a:solidFill>
                  <a:srgbClr val="000000"/>
                </a:solidFill>
                <a:effectLst/>
                <a:uLnTx/>
                <a:uFillTx/>
                <a:latin typeface="+mn-lt"/>
                <a:ea typeface="+mn-ea"/>
                <a:cs typeface="+mn-cs"/>
              </a:rPr>
              <a:t> et, </a:t>
            </a:r>
            <a:r>
              <a:rPr kumimoji="0" lang="en-GB" sz="1000" b="0" i="0" u="none" strike="noStrike" kern="1200" cap="none" spc="0" normalizeH="0" baseline="0" noProof="0" err="1">
                <a:ln>
                  <a:noFill/>
                </a:ln>
                <a:solidFill>
                  <a:srgbClr val="000000"/>
                </a:solidFill>
                <a:effectLst/>
                <a:uLnTx/>
                <a:uFillTx/>
                <a:latin typeface="+mn-lt"/>
                <a:ea typeface="+mn-ea"/>
                <a:cs typeface="+mn-cs"/>
              </a:rPr>
              <a:t>augue</a:t>
            </a:r>
            <a:r>
              <a:rPr kumimoji="0" lang="en-GB" sz="1000" b="0" i="0" u="none" strike="noStrike" kern="1200" cap="none" spc="0" normalizeH="0" baseline="0" noProof="0">
                <a:ln>
                  <a:noFill/>
                </a:ln>
                <a:solidFill>
                  <a:srgbClr val="000000"/>
                </a:solidFill>
                <a:effectLst/>
                <a:uLnTx/>
                <a:uFillTx/>
                <a:latin typeface="+mn-lt"/>
                <a:ea typeface="+mn-ea"/>
                <a:cs typeface="+mn-cs"/>
              </a:rPr>
              <a:t>:</a:t>
            </a: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a:defRPr sz="1000"/>
            </a:lvl1pPr>
          </a:lstStyle>
          <a:p>
            <a:pPr lvl="0"/>
            <a:r>
              <a:rPr lang="en-GB"/>
              <a:t>First, Last Name </a:t>
            </a:r>
            <a:br>
              <a:rPr lang="en-GB"/>
            </a:br>
            <a:r>
              <a:rPr lang="en-GB"/>
              <a:t>Role or title Deloitte Digital name@deloitte.com</a:t>
            </a:r>
          </a:p>
        </p:txBody>
      </p:sp>
    </p:spTree>
    <p:extLst>
      <p:ext uri="{BB962C8B-B14F-4D97-AF65-F5344CB8AC3E}">
        <p14:creationId xmlns:p14="http://schemas.microsoft.com/office/powerpoint/2010/main" val="236013751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Large Title -  Messaging - Color Background">
    <p:spTree>
      <p:nvGrpSpPr>
        <p:cNvPr id="1" name=""/>
        <p:cNvGrpSpPr/>
        <p:nvPr/>
      </p:nvGrpSpPr>
      <p:grpSpPr>
        <a:xfrm>
          <a:off x="0" y="0"/>
          <a:ext cx="0" cy="0"/>
          <a:chOff x="0" y="0"/>
          <a:chExt cx="0" cy="0"/>
        </a:xfrm>
      </p:grpSpPr>
      <p:pic>
        <p:nvPicPr>
          <p:cNvPr id="6" name="Picture 5" descr="An organic human figure drawn in loose white brush strokes on a background of light blue">
            <a:extLst>
              <a:ext uri="{FF2B5EF4-FFF2-40B4-BE49-F238E27FC236}">
                <a16:creationId xmlns:a16="http://schemas.microsoft.com/office/drawing/2014/main" id="{BE72E9CE-09AF-F84C-AD04-9D83DD83BD2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071731"/>
            <a:ext cx="5383369" cy="4786269"/>
          </a:xfrm>
          <a:prstGeom prst="rect">
            <a:avLst/>
          </a:prstGeom>
        </p:spPr>
      </p:pic>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8" name="Title Placeholder 1">
            <a:extLst>
              <a:ext uri="{FF2B5EF4-FFF2-40B4-BE49-F238E27FC236}">
                <a16:creationId xmlns:a16="http://schemas.microsoft.com/office/drawing/2014/main" id="{90194FF2-8221-9649-9FD2-0C3EDEDE0177}"/>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p:txBody>
      </p:sp>
    </p:spTree>
    <p:extLst>
      <p:ext uri="{BB962C8B-B14F-4D97-AF65-F5344CB8AC3E}">
        <p14:creationId xmlns:p14="http://schemas.microsoft.com/office/powerpoint/2010/main" val="150031949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nd Subhead: No Content - Color Background">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2956371478"/>
      </p:ext>
    </p:extLst>
  </p:cSld>
  <p:clrMapOvr>
    <a:masterClrMapping/>
  </p:clrMapOvr>
  <p:transition>
    <p:fade/>
  </p:transition>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Subhead: No Content - Breadcrumbs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E086C2-66FF-46BF-868E-B991A9F927C2}"/>
              </a:ext>
            </a:extLst>
          </p:cNvPr>
          <p:cNvGraphicFramePr>
            <a:graphicFrameLocks noChangeAspect="1"/>
          </p:cNvGraphicFramePr>
          <p:nvPr userDrawn="1">
            <p:custDataLst>
              <p:tags r:id="rId1"/>
            </p:custDataLst>
            <p:extLst>
              <p:ext uri="{D42A27DB-BD31-4B8C-83A1-F6EECF244321}">
                <p14:modId xmlns:p14="http://schemas.microsoft.com/office/powerpoint/2010/main" val="220211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3BE086C2-66FF-46BF-868E-B991A9F927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13D7EEC6-556F-0C48-B74F-66FCB8AD10C9}"/>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00</a:t>
            </a:r>
          </a:p>
        </p:txBody>
      </p:sp>
      <p:sp>
        <p:nvSpPr>
          <p:cNvPr id="8" name="Text Placeholder 2">
            <a:extLst>
              <a:ext uri="{FF2B5EF4-FFF2-40B4-BE49-F238E27FC236}">
                <a16:creationId xmlns:a16="http://schemas.microsoft.com/office/drawing/2014/main" id="{FEA8A739-19B6-6F45-AA1A-B1E0C4909A87}"/>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a:t>DELOITTE DIGITAL</a:t>
            </a:r>
          </a:p>
        </p:txBody>
      </p:sp>
      <p:sp>
        <p:nvSpPr>
          <p:cNvPr id="12" name="Title Placeholder 1">
            <a:extLst>
              <a:ext uri="{FF2B5EF4-FFF2-40B4-BE49-F238E27FC236}">
                <a16:creationId xmlns:a16="http://schemas.microsoft.com/office/drawing/2014/main" id="{1FFF84D3-7D0E-AD44-A9CF-EEA5216D653E}"/>
              </a:ext>
            </a:extLst>
          </p:cNvPr>
          <p:cNvSpPr>
            <a:spLocks noGrp="1"/>
          </p:cNvSpPr>
          <p:nvPr>
            <p:ph type="title" hasCustomPrompt="1"/>
          </p:nvPr>
        </p:nvSpPr>
        <p:spPr bwMode="gray">
          <a:xfrm>
            <a:off x="914400" y="1082246"/>
            <a:ext cx="10325100" cy="787400"/>
          </a:xfrm>
          <a:prstGeom prst="rect">
            <a:avLst/>
          </a:prstGeom>
        </p:spPr>
        <p:txBody>
          <a:bodyPr vert="horz" lIns="0" tIns="0" rIns="0" bIns="0" rtlCol="0" anchor="t" anchorCtr="0">
            <a:noAutofit/>
          </a:bodyPr>
          <a:lstStyle>
            <a:lvl1pPr>
              <a:defRPr sz="3200"/>
            </a:lvl1pPr>
          </a:lstStyle>
          <a:p>
            <a:r>
              <a:rPr lang="en-GB" noProof="0"/>
              <a:t>Your headline goes here when you’re ready</a:t>
            </a:r>
          </a:p>
        </p:txBody>
      </p:sp>
      <p:sp>
        <p:nvSpPr>
          <p:cNvPr id="13" name="Text Placeholder 7">
            <a:extLst>
              <a:ext uri="{FF2B5EF4-FFF2-40B4-BE49-F238E27FC236}">
                <a16:creationId xmlns:a16="http://schemas.microsoft.com/office/drawing/2014/main" id="{310F69C2-7D19-0F4B-B6E5-04DE0BFDBDF3}"/>
              </a:ext>
            </a:extLst>
          </p:cNvPr>
          <p:cNvSpPr>
            <a:spLocks noGrp="1"/>
          </p:cNvSpPr>
          <p:nvPr>
            <p:ph type="body" sz="quarter" idx="14" hasCustomPrompt="1"/>
          </p:nvPr>
        </p:nvSpPr>
        <p:spPr>
          <a:xfrm>
            <a:off x="914400" y="1882003"/>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389468738"/>
      </p:ext>
    </p:extLst>
  </p:cSld>
  <p:clrMapOvr>
    <a:masterClrMapping/>
  </p:clrMapOvr>
  <p:transition/>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le and Subhead: No Content - Breadcrumb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E6D83C-63C3-4B2C-AC58-5A074DBDD84E}"/>
              </a:ext>
            </a:extLst>
          </p:cNvPr>
          <p:cNvGraphicFramePr>
            <a:graphicFrameLocks noChangeAspect="1"/>
          </p:cNvGraphicFramePr>
          <p:nvPr userDrawn="1">
            <p:custDataLst>
              <p:tags r:id="rId1"/>
            </p:custDataLst>
            <p:extLst>
              <p:ext uri="{D42A27DB-BD31-4B8C-83A1-F6EECF244321}">
                <p14:modId xmlns:p14="http://schemas.microsoft.com/office/powerpoint/2010/main" val="350293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1E6D83C-63C3-4B2C-AC58-5A074DBDD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Placeholder 1">
            <a:extLst>
              <a:ext uri="{FF2B5EF4-FFF2-40B4-BE49-F238E27FC236}">
                <a16:creationId xmlns:a16="http://schemas.microsoft.com/office/drawing/2014/main" id="{C13FF76A-4C04-7C40-B276-46DB909165DB}"/>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a:defRPr sz="3200"/>
            </a:lvl1pPr>
          </a:lstStyle>
          <a:p>
            <a:r>
              <a:rPr lang="en-GB" noProof="0"/>
              <a:t>Your headline goes here when you’re ready</a:t>
            </a:r>
          </a:p>
        </p:txBody>
      </p:sp>
      <p:sp>
        <p:nvSpPr>
          <p:cNvPr id="13" name="Text Placeholder 7">
            <a:extLst>
              <a:ext uri="{FF2B5EF4-FFF2-40B4-BE49-F238E27FC236}">
                <a16:creationId xmlns:a16="http://schemas.microsoft.com/office/drawing/2014/main" id="{E7D646A0-5F3F-BC41-8E22-2823D1AC8CE3}"/>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2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a:t>
            </a:r>
          </a:p>
        </p:txBody>
      </p:sp>
    </p:spTree>
    <p:extLst>
      <p:ext uri="{BB962C8B-B14F-4D97-AF65-F5344CB8AC3E}">
        <p14:creationId xmlns:p14="http://schemas.microsoft.com/office/powerpoint/2010/main" val="3936824363"/>
      </p:ext>
    </p:extLst>
  </p:cSld>
  <p:clrMapOvr>
    <a:masterClrMapping/>
  </p:clrMapOvr>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noProof="0"/>
              <a:t>Click to edit Master title style</a:t>
            </a:r>
          </a:p>
          <a:p>
            <a:pPr lvl="1"/>
            <a:r>
              <a:rPr lang="en-GB" noProof="0"/>
              <a:t>Click to edit Master subtitle style</a:t>
            </a:r>
          </a:p>
        </p:txBody>
      </p:sp>
      <p:sp>
        <p:nvSpPr>
          <p:cNvPr id="5" name="Text Placeholder 4"/>
          <p:cNvSpPr>
            <a:spLocks noGrp="1"/>
          </p:cNvSpPr>
          <p:nvPr>
            <p:ph type="body" sz="quarter" idx="10" hasCustomPrompt="1"/>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GB" noProof="0"/>
              <a:t>Click icon to add picture</a:t>
            </a:r>
          </a:p>
        </p:txBody>
      </p:sp>
    </p:spTree>
    <p:extLst>
      <p:ext uri="{BB962C8B-B14F-4D97-AF65-F5344CB8AC3E}">
        <p14:creationId xmlns:p14="http://schemas.microsoft.com/office/powerpoint/2010/main" val="308965317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Appendix C_Global C T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EB8441-7010-4D27-985A-69F1BAE7A3F9}"/>
              </a:ext>
            </a:extLst>
          </p:cNvPr>
          <p:cNvSpPr/>
          <p:nvPr userDrawn="1"/>
        </p:nvSpPr>
        <p:spPr bwMode="gray">
          <a:xfrm>
            <a:off x="1524" y="0"/>
            <a:ext cx="10933176" cy="783771"/>
          </a:xfrm>
          <a:prstGeom prst="rect">
            <a:avLst/>
          </a:prstGeom>
          <a:solidFill>
            <a:schemeClr val="bg1"/>
          </a:solidFill>
          <a:ln w="19050" algn="ctr">
            <a:noFill/>
            <a:miter lim="800000"/>
            <a:headEnd/>
            <a:tailEnd/>
          </a:ln>
          <a:effectLst>
            <a:outerShdw blurRad="50800" dist="38100" dir="5400000" algn="t" rotWithShape="0">
              <a:srgbClr val="63666A">
                <a:alpha val="40000"/>
              </a:srgbClr>
            </a:outerShdw>
          </a:effec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grpSp>
        <p:nvGrpSpPr>
          <p:cNvPr id="13" name="Group 12">
            <a:extLst>
              <a:ext uri="{FF2B5EF4-FFF2-40B4-BE49-F238E27FC236}">
                <a16:creationId xmlns:a16="http://schemas.microsoft.com/office/drawing/2014/main" id="{B619FE68-38C6-4FB8-9741-43DABADAE908}"/>
              </a:ext>
            </a:extLst>
          </p:cNvPr>
          <p:cNvGrpSpPr/>
          <p:nvPr userDrawn="1"/>
        </p:nvGrpSpPr>
        <p:grpSpPr>
          <a:xfrm>
            <a:off x="469902" y="353723"/>
            <a:ext cx="10464798" cy="418688"/>
            <a:chOff x="469902" y="353723"/>
            <a:chExt cx="8404858" cy="418688"/>
          </a:xfrm>
        </p:grpSpPr>
        <p:sp>
          <p:nvSpPr>
            <p:cNvPr id="14" name="Rectangle: Top Corners Rounded 13">
              <a:hlinkClick r:id="" action="ppaction://noaction"/>
              <a:extLst>
                <a:ext uri="{FF2B5EF4-FFF2-40B4-BE49-F238E27FC236}">
                  <a16:creationId xmlns:a16="http://schemas.microsoft.com/office/drawing/2014/main" id="{6D18AF94-2CF1-479A-A275-4DEF9CCA1BEF}"/>
                </a:ext>
              </a:extLst>
            </p:cNvPr>
            <p:cNvSpPr/>
            <p:nvPr userDrawn="1"/>
          </p:nvSpPr>
          <p:spPr bwMode="gray">
            <a:xfrm>
              <a:off x="4699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Introduction</a:t>
              </a:r>
            </a:p>
          </p:txBody>
        </p:sp>
        <p:sp>
          <p:nvSpPr>
            <p:cNvPr id="15" name="Rectangle: Top Corners Rounded 14">
              <a:hlinkClick r:id="" action="ppaction://noaction"/>
              <a:extLst>
                <a:ext uri="{FF2B5EF4-FFF2-40B4-BE49-F238E27FC236}">
                  <a16:creationId xmlns:a16="http://schemas.microsoft.com/office/drawing/2014/main" id="{18A80764-8A9D-4378-8A11-C00AB78601A7}"/>
                </a:ext>
              </a:extLst>
            </p:cNvPr>
            <p:cNvSpPr/>
            <p:nvPr userDrawn="1"/>
          </p:nvSpPr>
          <p:spPr bwMode="gray">
            <a:xfrm>
              <a:off x="1403352" y="353723"/>
              <a:ext cx="937258" cy="418688"/>
            </a:xfrm>
            <a:prstGeom prst="round2SameRect">
              <a:avLst>
                <a:gd name="adj1" fmla="val 15676"/>
                <a:gd name="adj2" fmla="val 0"/>
              </a:avLst>
            </a:prstGeom>
            <a:solidFill>
              <a:schemeClr val="tx1"/>
            </a:solidFill>
            <a:ln w="19050" algn="ctr">
              <a:solidFill>
                <a:schemeClr val="bg1"/>
              </a:solidFill>
              <a:miter lim="800000"/>
              <a:headEnd/>
              <a:tailEnd/>
            </a:ln>
          </p:spPr>
          <p:txBody>
            <a:bodyPr wrap="none" lIns="27432" tIns="27432" rIns="27432" bIns="27432" rtlCol="0" anchor="ctr"/>
            <a:lstStyle/>
            <a:p>
              <a:pPr algn="ctr">
                <a:buFont typeface="Wingdings 2" pitchFamily="18" charset="2"/>
                <a:buNone/>
              </a:pPr>
              <a:r>
                <a:rPr lang="en-GB" sz="800" b="1">
                  <a:solidFill>
                    <a:schemeClr val="bg1"/>
                  </a:solidFill>
                </a:rPr>
                <a:t>Global</a:t>
              </a:r>
              <a:br>
                <a:rPr lang="en-GB" sz="800" b="1">
                  <a:solidFill>
                    <a:schemeClr val="bg1"/>
                  </a:solidFill>
                </a:rPr>
              </a:br>
              <a:r>
                <a:rPr lang="en-GB" sz="800" b="1">
                  <a:solidFill>
                    <a:schemeClr val="bg1"/>
                  </a:solidFill>
                </a:rPr>
                <a:t>Coordination Team</a:t>
              </a:r>
            </a:p>
          </p:txBody>
        </p:sp>
        <p:sp>
          <p:nvSpPr>
            <p:cNvPr id="16" name="Rectangle: Top Corners Rounded 15">
              <a:hlinkClick r:id="" action="ppaction://noaction"/>
              <a:extLst>
                <a:ext uri="{FF2B5EF4-FFF2-40B4-BE49-F238E27FC236}">
                  <a16:creationId xmlns:a16="http://schemas.microsoft.com/office/drawing/2014/main" id="{21489F88-63F4-4D5E-A31A-B05C34DDC82E}"/>
                </a:ext>
              </a:extLst>
            </p:cNvPr>
            <p:cNvSpPr/>
            <p:nvPr userDrawn="1"/>
          </p:nvSpPr>
          <p:spPr bwMode="gray">
            <a:xfrm>
              <a:off x="23368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ast Asia and the Pacific</a:t>
              </a:r>
            </a:p>
          </p:txBody>
        </p:sp>
        <p:sp>
          <p:nvSpPr>
            <p:cNvPr id="17" name="Rectangle: Top Corners Rounded 16">
              <a:hlinkClick r:id="" action="ppaction://noaction"/>
              <a:extLst>
                <a:ext uri="{FF2B5EF4-FFF2-40B4-BE49-F238E27FC236}">
                  <a16:creationId xmlns:a16="http://schemas.microsoft.com/office/drawing/2014/main" id="{E9D58494-7912-4D6F-91D7-DF9548A1DE07}"/>
                </a:ext>
              </a:extLst>
            </p:cNvPr>
            <p:cNvSpPr/>
            <p:nvPr userDrawn="1"/>
          </p:nvSpPr>
          <p:spPr bwMode="gray">
            <a:xfrm>
              <a:off x="32702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astern and Southern Africa</a:t>
              </a:r>
            </a:p>
          </p:txBody>
        </p:sp>
        <p:sp>
          <p:nvSpPr>
            <p:cNvPr id="18" name="Rectangle: Top Corners Rounded 17">
              <a:hlinkClick r:id="" action="ppaction://noaction"/>
              <a:extLst>
                <a:ext uri="{FF2B5EF4-FFF2-40B4-BE49-F238E27FC236}">
                  <a16:creationId xmlns:a16="http://schemas.microsoft.com/office/drawing/2014/main" id="{7786A7A4-9360-4337-BB3C-306FA6C33332}"/>
                </a:ext>
              </a:extLst>
            </p:cNvPr>
            <p:cNvSpPr/>
            <p:nvPr userDrawn="1"/>
          </p:nvSpPr>
          <p:spPr bwMode="gray">
            <a:xfrm>
              <a:off x="42037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Europe and Central Asia</a:t>
              </a:r>
            </a:p>
          </p:txBody>
        </p:sp>
        <p:sp>
          <p:nvSpPr>
            <p:cNvPr id="19" name="Rectangle: Top Corners Rounded 18">
              <a:hlinkClick r:id="" action="ppaction://noaction"/>
              <a:extLst>
                <a:ext uri="{FF2B5EF4-FFF2-40B4-BE49-F238E27FC236}">
                  <a16:creationId xmlns:a16="http://schemas.microsoft.com/office/drawing/2014/main" id="{F0E2753C-02CB-4E2B-9171-BFBE2340BF98}"/>
                </a:ext>
              </a:extLst>
            </p:cNvPr>
            <p:cNvSpPr/>
            <p:nvPr userDrawn="1"/>
          </p:nvSpPr>
          <p:spPr bwMode="gray">
            <a:xfrm>
              <a:off x="51371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Latin America and Caribbean</a:t>
              </a:r>
            </a:p>
          </p:txBody>
        </p:sp>
        <p:sp>
          <p:nvSpPr>
            <p:cNvPr id="20" name="Rectangle: Top Corners Rounded 19">
              <a:hlinkClick r:id="" action="ppaction://noaction"/>
              <a:extLst>
                <a:ext uri="{FF2B5EF4-FFF2-40B4-BE49-F238E27FC236}">
                  <a16:creationId xmlns:a16="http://schemas.microsoft.com/office/drawing/2014/main" id="{10103538-61C5-41A4-A31B-020DF836C5CF}"/>
                </a:ext>
              </a:extLst>
            </p:cNvPr>
            <p:cNvSpPr/>
            <p:nvPr userDrawn="1"/>
          </p:nvSpPr>
          <p:spPr bwMode="gray">
            <a:xfrm>
              <a:off x="60706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Middle East and North Africa</a:t>
              </a:r>
            </a:p>
          </p:txBody>
        </p:sp>
        <p:sp>
          <p:nvSpPr>
            <p:cNvPr id="21" name="Rectangle: Top Corners Rounded 20">
              <a:hlinkClick r:id="" action="ppaction://noaction"/>
              <a:extLst>
                <a:ext uri="{FF2B5EF4-FFF2-40B4-BE49-F238E27FC236}">
                  <a16:creationId xmlns:a16="http://schemas.microsoft.com/office/drawing/2014/main" id="{C7E86401-F9D5-4827-9E9F-169A437B2928}"/>
                </a:ext>
              </a:extLst>
            </p:cNvPr>
            <p:cNvSpPr/>
            <p:nvPr userDrawn="1"/>
          </p:nvSpPr>
          <p:spPr bwMode="gray">
            <a:xfrm>
              <a:off x="700405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South Asia</a:t>
              </a:r>
            </a:p>
          </p:txBody>
        </p:sp>
        <p:sp>
          <p:nvSpPr>
            <p:cNvPr id="22" name="Rectangle: Top Corners Rounded 21">
              <a:hlinkClick r:id="" action="ppaction://noaction"/>
              <a:extLst>
                <a:ext uri="{FF2B5EF4-FFF2-40B4-BE49-F238E27FC236}">
                  <a16:creationId xmlns:a16="http://schemas.microsoft.com/office/drawing/2014/main" id="{A78A7EEA-A3AD-42FA-B617-760559667FC6}"/>
                </a:ext>
              </a:extLst>
            </p:cNvPr>
            <p:cNvSpPr/>
            <p:nvPr userDrawn="1"/>
          </p:nvSpPr>
          <p:spPr bwMode="gray">
            <a:xfrm>
              <a:off x="7937502" y="353723"/>
              <a:ext cx="937258" cy="418688"/>
            </a:xfrm>
            <a:prstGeom prst="round2SameRect">
              <a:avLst>
                <a:gd name="adj1" fmla="val 15676"/>
                <a:gd name="adj2" fmla="val 0"/>
              </a:avLst>
            </a:prstGeom>
            <a:solidFill>
              <a:schemeClr val="bg2"/>
            </a:solidFill>
            <a:ln w="19050" algn="ctr">
              <a:solidFill>
                <a:schemeClr val="bg1"/>
              </a:solidFill>
              <a:miter lim="800000"/>
              <a:headEnd/>
              <a:tailEnd/>
            </a:ln>
          </p:spPr>
          <p:txBody>
            <a:bodyPr wrap="square" lIns="27432" tIns="27432" rIns="27432" bIns="27432" rtlCol="0" anchor="ctr"/>
            <a:lstStyle/>
            <a:p>
              <a:pPr lvl="0" algn="ctr">
                <a:buFont typeface="Wingdings 2" pitchFamily="18" charset="2"/>
                <a:buNone/>
              </a:pPr>
              <a:r>
                <a:rPr lang="en-GB" sz="800" b="0"/>
                <a:t>West and</a:t>
              </a:r>
            </a:p>
            <a:p>
              <a:pPr lvl="0" algn="ctr">
                <a:buFont typeface="Wingdings 2" pitchFamily="18" charset="2"/>
                <a:buNone/>
              </a:pPr>
              <a:r>
                <a:rPr lang="en-GB" sz="800" b="0"/>
                <a:t>Central Africa</a:t>
              </a:r>
            </a:p>
          </p:txBody>
        </p:sp>
      </p:grpSp>
    </p:spTree>
    <p:extLst>
      <p:ext uri="{BB962C8B-B14F-4D97-AF65-F5344CB8AC3E}">
        <p14:creationId xmlns:p14="http://schemas.microsoft.com/office/powerpoint/2010/main" val="144600186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2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23835456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Disclaimer Client">
    <p:spTree>
      <p:nvGrpSpPr>
        <p:cNvPr id="1" name=""/>
        <p:cNvGrpSpPr/>
        <p:nvPr/>
      </p:nvGrpSpPr>
      <p:grpSpPr>
        <a:xfrm>
          <a:off x="0" y="0"/>
          <a:ext cx="0" cy="0"/>
          <a:chOff x="0" y="0"/>
          <a:chExt cx="0" cy="0"/>
        </a:xfrm>
      </p:grpSpPr>
      <p:sp>
        <p:nvSpPr>
          <p:cNvPr id="22" name="TextBox 21"/>
          <p:cNvSpPr txBox="1"/>
          <p:nvPr/>
        </p:nvSpPr>
        <p:spPr>
          <a:xfrm>
            <a:off x="511176" y="4750876"/>
            <a:ext cx="11168185" cy="1538883"/>
          </a:xfrm>
          <a:prstGeom prst="rect">
            <a:avLst/>
          </a:prstGeom>
          <a:noFill/>
        </p:spPr>
        <p:txBody>
          <a:bodyPr wrap="square" lIns="0" tIns="0" rIns="0" bIns="0" rtlCol="0">
            <a:spAutoFit/>
          </a:bodyPr>
          <a:lstStyle/>
          <a:p>
            <a:pPr algn="just">
              <a:spcBef>
                <a:spcPts val="600"/>
              </a:spcBef>
              <a:buClr>
                <a:schemeClr val="tx2"/>
              </a:buClr>
            </a:pPr>
            <a:r>
              <a:rPr lang="en-GB" sz="10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a:t>
            </a:r>
            <a:r>
              <a:rPr lang="en-GB" sz="100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ouche</a:t>
            </a:r>
            <a:r>
              <a:rPr lang="en-GB" sz="10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for a more detailed description of DTTL and its member firms.</a:t>
            </a:r>
          </a:p>
          <a:p>
            <a:pPr algn="just">
              <a:spcBef>
                <a:spcPts val="600"/>
              </a:spcBef>
              <a:buClr>
                <a:schemeClr val="tx2"/>
              </a:buClr>
            </a:pPr>
            <a:r>
              <a:rPr lang="en-GB" sz="10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loitte provides audit, consulting, financial advisory, risk management, tax and related services to public and private clients spanning multiple industries. Deloitte serves four out of five Fortune Global 500® companies through a globally connected network of member firms in more than 150 countries bringing world-class capabilities, insights, and high-quality service to address clients’ most complex business challenges. To learn more about how Deloitte’s approximately 312,000 professionals make an impact that matters, please connect with us on Facebook, LinkedIn, or Twitter.</a:t>
            </a:r>
          </a:p>
          <a:p>
            <a:pPr algn="just">
              <a:spcBef>
                <a:spcPts val="600"/>
              </a:spcBef>
              <a:buClr>
                <a:schemeClr val="tx2"/>
              </a:buClr>
            </a:pPr>
            <a:r>
              <a:rPr lang="en-GB" sz="10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is communication contains general information only, and none of Deloitte </a:t>
            </a:r>
            <a:r>
              <a:rPr lang="en-GB" sz="100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ouche</a:t>
            </a:r>
            <a:r>
              <a:rPr lang="en-GB" sz="10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p:txBody>
      </p:sp>
      <p:grpSp>
        <p:nvGrpSpPr>
          <p:cNvPr id="21" name="Group 20"/>
          <p:cNvGrpSpPr/>
          <p:nvPr/>
        </p:nvGrpSpPr>
        <p:grpSpPr>
          <a:xfrm>
            <a:off x="531621" y="347578"/>
            <a:ext cx="1620000" cy="307976"/>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27"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2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3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3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GB" sz="1550" noProof="0">
                <a:solidFill>
                  <a:schemeClr val="bg1"/>
                </a:solidFill>
              </a:endParaRPr>
            </a:p>
          </p:txBody>
        </p:sp>
      </p:grpSp>
      <p:sp>
        <p:nvSpPr>
          <p:cNvPr id="17" name="Fußzeilenplatzhalter 7"/>
          <p:cNvSpPr txBox="1">
            <a:spLocks/>
          </p:cNvSpPr>
          <p:nvPr/>
        </p:nvSpPr>
        <p:spPr>
          <a:xfrm>
            <a:off x="511175" y="6515400"/>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6"/>
            <a:r>
              <a:rPr lang="en-GB" sz="635">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2020 Deloitte</a:t>
            </a:r>
          </a:p>
        </p:txBody>
      </p:sp>
    </p:spTree>
    <p:extLst>
      <p:ext uri="{BB962C8B-B14F-4D97-AF65-F5344CB8AC3E}">
        <p14:creationId xmlns:p14="http://schemas.microsoft.com/office/powerpoint/2010/main" val="41440528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3018063" y="711296"/>
            <a:ext cx="6157683" cy="4898782"/>
          </a:xfrm>
          <a:prstGeom prst="rect">
            <a:avLst/>
          </a:prstGeom>
        </p:spPr>
        <p:txBody>
          <a:bodyPr/>
          <a:lstStyle/>
          <a:p>
            <a:r>
              <a:rPr lang="en-US"/>
              <a:t>Click icon to add picture</a:t>
            </a:r>
            <a:endParaRPr lang="en-GB"/>
          </a:p>
        </p:txBody>
      </p:sp>
      <p:sp>
        <p:nvSpPr>
          <p:cNvPr id="3" name="Subtitle 2"/>
          <p:cNvSpPr>
            <a:spLocks noGrp="1"/>
          </p:cNvSpPr>
          <p:nvPr>
            <p:ph type="subTitle" idx="1" hasCustomPrompt="1"/>
          </p:nvPr>
        </p:nvSpPr>
        <p:spPr bwMode="gray">
          <a:xfrm>
            <a:off x="511202" y="5864233"/>
            <a:ext cx="5455139" cy="505645"/>
          </a:xfrm>
          <a:prstGeom prst="rect">
            <a:avLst/>
          </a:prstGeom>
        </p:spPr>
        <p:txBody>
          <a:bodyPr lIns="0" tIns="0" rIns="0" bIns="0" anchor="b" anchorCtr="0">
            <a:noAutofit/>
          </a:bodyPr>
          <a:lstStyle>
            <a:lvl1pPr marL="0" indent="0" algn="l">
              <a:lnSpc>
                <a:spcPct val="100000"/>
              </a:lnSpc>
              <a:spcAft>
                <a:spcPts val="0"/>
              </a:spcAft>
              <a:buNone/>
              <a:defRPr sz="1996" b="1">
                <a:solidFill>
                  <a:schemeClr val="tx1"/>
                </a:solidFill>
              </a:defRPr>
            </a:lvl1pPr>
            <a:lvl2pPr marL="0" indent="0" algn="l">
              <a:buNone/>
              <a:defRPr sz="1633" b="0"/>
            </a:lvl2pPr>
            <a:lvl3pPr marL="898646" indent="0" algn="ctr">
              <a:buNone/>
              <a:defRPr sz="1769"/>
            </a:lvl3pPr>
            <a:lvl4pPr marL="1347969" indent="0" algn="ctr">
              <a:buNone/>
              <a:defRPr sz="1572"/>
            </a:lvl4pPr>
            <a:lvl5pPr marL="1797290" indent="0" algn="ctr">
              <a:buNone/>
              <a:defRPr sz="1572"/>
            </a:lvl5pPr>
            <a:lvl6pPr marL="2246614" indent="0" algn="ctr">
              <a:buNone/>
              <a:defRPr sz="1572"/>
            </a:lvl6pPr>
            <a:lvl7pPr marL="2695936" indent="0" algn="ctr">
              <a:buNone/>
              <a:defRPr sz="1572"/>
            </a:lvl7pPr>
            <a:lvl8pPr marL="3145258" indent="0" algn="ctr">
              <a:buNone/>
              <a:defRPr sz="1572"/>
            </a:lvl8pPr>
            <a:lvl9pPr marL="3594581" indent="0" algn="ctr">
              <a:buNone/>
              <a:defRPr sz="1572"/>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11198" y="6381750"/>
            <a:ext cx="5455140" cy="298450"/>
          </a:xfrm>
          <a:prstGeom prst="rect">
            <a:avLst/>
          </a:prstGeom>
        </p:spPr>
        <p:txBody>
          <a:bodyPr>
            <a:normAutofit/>
          </a:bodyPr>
          <a:lstStyle>
            <a:lvl1pPr>
              <a:spcAft>
                <a:spcPts val="0"/>
              </a:spcAft>
              <a:defRPr sz="90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a:grpSpLocks noChangeAspect="1"/>
          </p:cNvGrpSpPr>
          <p:nvPr userDrawn="1"/>
        </p:nvGrpSpPr>
        <p:grpSpPr>
          <a:xfrm>
            <a:off x="529493" y="374651"/>
            <a:ext cx="2134664" cy="316788"/>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grpSp>
    </p:spTree>
    <p:extLst>
      <p:ext uri="{BB962C8B-B14F-4D97-AF65-F5344CB8AC3E}">
        <p14:creationId xmlns:p14="http://schemas.microsoft.com/office/powerpoint/2010/main" val="2626685076"/>
      </p:ext>
    </p:extLst>
  </p:cSld>
  <p:clrMapOvr>
    <a:masterClrMapping/>
  </p:clrMapOvr>
  <p:transition>
    <p:fade/>
  </p:transition>
  <p:extLst>
    <p:ext uri="{DCECCB84-F9BA-43D5-87BE-67443E8EF086}">
      <p15:sldGuideLst xmlns:p15="http://schemas.microsoft.com/office/powerpoint/2012/main">
        <p15:guide id="1" orient="horz" pos="45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Subhead: Sidebar - N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C00475B-A5C6-C849-A5AB-E57F23F3E9B8}"/>
              </a:ext>
            </a:extLst>
          </p:cNvPr>
          <p:cNvSpPr/>
          <p:nvPr/>
        </p:nvSpPr>
        <p:spPr bwMode="gray">
          <a:xfrm flipH="1">
            <a:off x="-3" y="0"/>
            <a:ext cx="4953002" cy="6858000"/>
          </a:xfrm>
          <a:prstGeom prst="rect">
            <a:avLst/>
          </a:prstGeom>
          <a:solidFill>
            <a:schemeClr val="accent4"/>
          </a:solidFill>
          <a:ln w="19050" algn="ctr">
            <a:noFill/>
            <a:miter lim="800000"/>
            <a:headEnd/>
            <a:tailEnd/>
          </a:ln>
        </p:spPr>
        <p:txBody>
          <a:bodyPr wrap="square" lIns="0" tIns="0" rIns="0" bIns="0" rtlCol="0" anchor="ctr">
            <a:noAutofit/>
          </a:bodyPr>
          <a:lstStyle/>
          <a:p>
            <a:pPr algn="ctr"/>
            <a:endParaRPr lang="en-GB"/>
          </a:p>
        </p:txBody>
      </p:sp>
      <p:sp>
        <p:nvSpPr>
          <p:cNvPr id="8" name="Text Placeholder 7">
            <a:extLst>
              <a:ext uri="{FF2B5EF4-FFF2-40B4-BE49-F238E27FC236}">
                <a16:creationId xmlns:a16="http://schemas.microsoft.com/office/drawing/2014/main" id="{866FB94F-08D4-3E44-BFE4-F557107D2DE8}"/>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solidFill>
                  <a:schemeClr val="tx1"/>
                </a:solidFill>
              </a:defRPr>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2" name="Text Placeholder 5">
            <a:extLst>
              <a:ext uri="{FF2B5EF4-FFF2-40B4-BE49-F238E27FC236}">
                <a16:creationId xmlns:a16="http://schemas.microsoft.com/office/drawing/2014/main" id="{D17C4CB6-256B-004F-984C-4EAB9A3533F0}"/>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36787032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noChangeAspect="1"/>
          </p:cNvSpPr>
          <p:nvPr>
            <p:ph type="ctrTitle"/>
          </p:nvPr>
        </p:nvSpPr>
        <p:spPr bwMode="gray">
          <a:xfrm>
            <a:off x="3736459" y="1551134"/>
            <a:ext cx="4720891" cy="3755733"/>
          </a:xfrm>
          <a:prstGeom prst="ellipse">
            <a:avLst/>
          </a:prstGeom>
          <a:ln w="25400">
            <a:solidFill>
              <a:schemeClr val="accent1"/>
            </a:solidFill>
          </a:ln>
        </p:spPr>
        <p:txBody>
          <a:bodyPr lIns="108000" tIns="108000" rIns="108000" bIns="108000" anchor="ctr" anchorCtr="0">
            <a:normAutofit/>
          </a:bodyPr>
          <a:lstStyle>
            <a:lvl1pPr algn="ctr">
              <a:lnSpc>
                <a:spcPts val="3810"/>
              </a:lnSpc>
              <a:defRPr sz="3447"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11202" y="5864233"/>
            <a:ext cx="5455139" cy="505645"/>
          </a:xfrm>
          <a:prstGeom prst="rect">
            <a:avLst/>
          </a:prstGeom>
        </p:spPr>
        <p:txBody>
          <a:bodyPr lIns="0" tIns="0" rIns="0" bIns="0" anchor="b" anchorCtr="0">
            <a:noAutofit/>
          </a:bodyPr>
          <a:lstStyle>
            <a:lvl1pPr marL="0" indent="0" algn="l">
              <a:lnSpc>
                <a:spcPct val="100000"/>
              </a:lnSpc>
              <a:spcAft>
                <a:spcPts val="0"/>
              </a:spcAft>
              <a:buNone/>
              <a:defRPr sz="1633">
                <a:solidFill>
                  <a:schemeClr val="tx1"/>
                </a:solidFill>
              </a:defRPr>
            </a:lvl1pPr>
            <a:lvl2pPr marL="449323" indent="0" algn="ctr">
              <a:buNone/>
              <a:defRPr sz="1966"/>
            </a:lvl2pPr>
            <a:lvl3pPr marL="898646" indent="0" algn="ctr">
              <a:buNone/>
              <a:defRPr sz="1769"/>
            </a:lvl3pPr>
            <a:lvl4pPr marL="1347969" indent="0" algn="ctr">
              <a:buNone/>
              <a:defRPr sz="1572"/>
            </a:lvl4pPr>
            <a:lvl5pPr marL="1797290" indent="0" algn="ctr">
              <a:buNone/>
              <a:defRPr sz="1572"/>
            </a:lvl5pPr>
            <a:lvl6pPr marL="2246614" indent="0" algn="ctr">
              <a:buNone/>
              <a:defRPr sz="1572"/>
            </a:lvl6pPr>
            <a:lvl7pPr marL="2695936" indent="0" algn="ctr">
              <a:buNone/>
              <a:defRPr sz="1572"/>
            </a:lvl7pPr>
            <a:lvl8pPr marL="3145258" indent="0" algn="ctr">
              <a:buNone/>
              <a:defRPr sz="1572"/>
            </a:lvl8pPr>
            <a:lvl9pPr marL="3594581" indent="0" algn="ctr">
              <a:buNone/>
              <a:defRPr sz="1572"/>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11198" y="6381750"/>
            <a:ext cx="5455140" cy="298450"/>
          </a:xfrm>
          <a:prstGeom prst="rect">
            <a:avLst/>
          </a:prstGeom>
        </p:spPr>
        <p:txBody>
          <a:bodyPr>
            <a:normAutofit/>
          </a:bodyPr>
          <a:lstStyle>
            <a:lvl1pPr>
              <a:spcAft>
                <a:spcPts val="0"/>
              </a:spcAft>
              <a:defRPr sz="90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529493" y="374651"/>
            <a:ext cx="2134664" cy="316788"/>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grpSp>
    </p:spTree>
    <p:extLst>
      <p:ext uri="{BB962C8B-B14F-4D97-AF65-F5344CB8AC3E}">
        <p14:creationId xmlns:p14="http://schemas.microsoft.com/office/powerpoint/2010/main" val="618766894"/>
      </p:ext>
    </p:extLst>
  </p:cSld>
  <p:clrMapOvr>
    <a:masterClrMapping/>
  </p:clrMapOvr>
  <p:transition>
    <p:fade/>
  </p:transition>
  <p:extLst>
    <p:ext uri="{DCECCB84-F9BA-43D5-87BE-67443E8EF086}">
      <p15:sldGuideLst xmlns:p15="http://schemas.microsoft.com/office/powerpoint/2012/main">
        <p15:guide id="1" orient="horz" pos="450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1202" y="1705675"/>
            <a:ext cx="10513159" cy="1592403"/>
          </a:xfrm>
        </p:spPr>
        <p:txBody>
          <a:bodyPr anchor="b"/>
          <a:lstStyle>
            <a:lvl1pPr>
              <a:lnSpc>
                <a:spcPct val="95000"/>
              </a:lnSpc>
              <a:defRPr sz="353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11202" y="3429001"/>
            <a:ext cx="10513159" cy="1566533"/>
          </a:xfrm>
        </p:spPr>
        <p:txBody>
          <a:bodyPr lIns="0" tIns="0" rIns="0" bIns="0">
            <a:noAutofit/>
          </a:bodyPr>
          <a:lstStyle>
            <a:lvl1pPr marL="0" indent="0">
              <a:lnSpc>
                <a:spcPct val="95000"/>
              </a:lnSpc>
              <a:spcAft>
                <a:spcPts val="0"/>
              </a:spcAft>
              <a:buNone/>
              <a:defRPr sz="3538">
                <a:solidFill>
                  <a:schemeClr val="tx1"/>
                </a:solidFill>
              </a:defRPr>
            </a:lvl1pPr>
            <a:lvl2pPr marL="449323" indent="0">
              <a:buNone/>
              <a:defRPr sz="1966">
                <a:solidFill>
                  <a:schemeClr val="tx1">
                    <a:tint val="75000"/>
                  </a:schemeClr>
                </a:solidFill>
              </a:defRPr>
            </a:lvl2pPr>
            <a:lvl3pPr marL="898646" indent="0">
              <a:buNone/>
              <a:defRPr sz="1769">
                <a:solidFill>
                  <a:schemeClr val="tx1">
                    <a:tint val="75000"/>
                  </a:schemeClr>
                </a:solidFill>
              </a:defRPr>
            </a:lvl3pPr>
            <a:lvl4pPr marL="1347969" indent="0">
              <a:buNone/>
              <a:defRPr sz="1572">
                <a:solidFill>
                  <a:schemeClr val="tx1">
                    <a:tint val="75000"/>
                  </a:schemeClr>
                </a:solidFill>
              </a:defRPr>
            </a:lvl4pPr>
            <a:lvl5pPr marL="1797290" indent="0">
              <a:buNone/>
              <a:defRPr sz="1572">
                <a:solidFill>
                  <a:schemeClr val="tx1">
                    <a:tint val="75000"/>
                  </a:schemeClr>
                </a:solidFill>
              </a:defRPr>
            </a:lvl5pPr>
            <a:lvl6pPr marL="2246614" indent="0">
              <a:buNone/>
              <a:defRPr sz="1572">
                <a:solidFill>
                  <a:schemeClr val="tx1">
                    <a:tint val="75000"/>
                  </a:schemeClr>
                </a:solidFill>
              </a:defRPr>
            </a:lvl6pPr>
            <a:lvl7pPr marL="2695936" indent="0">
              <a:buNone/>
              <a:defRPr sz="1572">
                <a:solidFill>
                  <a:schemeClr val="tx1">
                    <a:tint val="75000"/>
                  </a:schemeClr>
                </a:solidFill>
              </a:defRPr>
            </a:lvl7pPr>
            <a:lvl8pPr marL="3145258" indent="0">
              <a:buNone/>
              <a:defRPr sz="1572">
                <a:solidFill>
                  <a:schemeClr val="tx1">
                    <a:tint val="75000"/>
                  </a:schemeClr>
                </a:solidFill>
              </a:defRPr>
            </a:lvl8pPr>
            <a:lvl9pPr marL="3594581" indent="0">
              <a:buNone/>
              <a:defRPr sz="1572">
                <a:solidFill>
                  <a:schemeClr val="tx1">
                    <a:tint val="75000"/>
                  </a:schemeClr>
                </a:solidFill>
              </a:defRPr>
            </a:lvl9pPr>
          </a:lstStyle>
          <a:p>
            <a:pPr lvl="0"/>
            <a:r>
              <a:rPr lang="en-US" noProof="0"/>
              <a:t>Click to edit Master text styles</a:t>
            </a:r>
          </a:p>
        </p:txBody>
      </p:sp>
      <p:sp>
        <p:nvSpPr>
          <p:cNvPr id="4"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139583733"/>
      </p:ext>
    </p:extLst>
  </p:cSld>
  <p:clrMapOvr>
    <a:masterClrMapping/>
  </p:clrMapOvr>
  <p:transition>
    <p:fade/>
  </p:transition>
  <p:extLst>
    <p:ext uri="{DCECCB84-F9BA-43D5-87BE-67443E8EF086}">
      <p15:sldGuideLst xmlns:p15="http://schemas.microsoft.com/office/powerpoint/2012/main">
        <p15:guide id="1" orient="horz" pos="238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8635" y="1628780"/>
            <a:ext cx="9314790" cy="4752531"/>
          </a:xfrm>
          <a:prstGeom prst="rect">
            <a:avLst/>
          </a:prstGeom>
        </p:spPr>
        <p:txBody>
          <a:bodyPr>
            <a:noAutofit/>
          </a:bodyPr>
          <a:lstStyle>
            <a:lvl1pPr>
              <a:spcBef>
                <a:spcPts val="3538"/>
              </a:spcBef>
              <a:defRPr sz="2162">
                <a:solidFill>
                  <a:schemeClr val="tx1"/>
                </a:solidFill>
              </a:defRPr>
            </a:lvl1pPr>
            <a:lvl2pPr marL="449323" indent="-449323">
              <a:defRPr sz="2948">
                <a:solidFill>
                  <a:schemeClr val="bg2"/>
                </a:solidFill>
              </a:defRPr>
            </a:lvl2pPr>
            <a:lvl3pPr>
              <a:defRPr sz="2948">
                <a:solidFill>
                  <a:schemeClr val="bg2"/>
                </a:solidFill>
              </a:defRPr>
            </a:lvl3pPr>
            <a:lvl4pPr>
              <a:defRPr sz="2948">
                <a:solidFill>
                  <a:schemeClr val="bg2"/>
                </a:solidFill>
              </a:defRPr>
            </a:lvl4pPr>
            <a:lvl5pPr>
              <a:defRPr sz="2948">
                <a:solidFill>
                  <a:schemeClr val="bg2"/>
                </a:solidFill>
              </a:defRPr>
            </a:lvl5pPr>
          </a:lstStyle>
          <a:p>
            <a:pPr lvl="0"/>
            <a:r>
              <a:rPr lang="en-US" noProof="0"/>
              <a:t>Click to edit Master text styles</a:t>
            </a:r>
          </a:p>
        </p:txBody>
      </p:sp>
      <p:sp>
        <p:nvSpPr>
          <p:cNvPr id="3"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638283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98842" y="384477"/>
            <a:ext cx="2798298" cy="1027760"/>
          </a:xfrm>
        </p:spPr>
        <p:txBody>
          <a:bodyPr/>
          <a:lstStyle>
            <a:lvl1pPr>
              <a:spcBef>
                <a:spcPts val="181"/>
              </a:spcBef>
              <a:defRPr sz="907">
                <a:solidFill>
                  <a:schemeClr val="tx1"/>
                </a:solidFill>
              </a:defRPr>
            </a:lvl1pPr>
            <a:lvl2pPr>
              <a:defRPr sz="953">
                <a:solidFill>
                  <a:schemeClr val="tx2"/>
                </a:solidFill>
              </a:defRPr>
            </a:lvl2pPr>
            <a:lvl3pPr>
              <a:defRPr sz="953">
                <a:solidFill>
                  <a:schemeClr val="tx2"/>
                </a:solidFill>
              </a:defRPr>
            </a:lvl3pPr>
            <a:lvl4pPr>
              <a:defRPr sz="907">
                <a:solidFill>
                  <a:schemeClr val="tx2"/>
                </a:solidFill>
              </a:defRPr>
            </a:lvl4pPr>
            <a:lvl5pPr>
              <a:defRPr sz="907">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11199" y="1675455"/>
            <a:ext cx="2762350" cy="4656835"/>
          </a:xfrm>
        </p:spPr>
        <p:txBody>
          <a:bodyPr>
            <a:noAutofit/>
          </a:bodyPr>
          <a:lstStyle>
            <a:lvl1pPr>
              <a:spcBef>
                <a:spcPts val="0"/>
              </a:spcBef>
              <a:spcAft>
                <a:spcPts val="544"/>
              </a:spcAft>
              <a:defRPr sz="907"/>
            </a:lvl1pPr>
            <a:lvl2pPr>
              <a:spcBef>
                <a:spcPts val="272"/>
              </a:spcBef>
              <a:defRPr/>
            </a:lvl2pPr>
            <a:lvl3pPr>
              <a:spcBef>
                <a:spcPts val="272"/>
              </a:spcBef>
              <a:defRPr/>
            </a:lvl3pPr>
            <a:lvl4pPr>
              <a:spcBef>
                <a:spcPts val="272"/>
              </a:spcBef>
              <a:defRPr/>
            </a:lvl4pPr>
            <a:lvl5pPr>
              <a:spcBef>
                <a:spcPts val="272"/>
              </a:spcBef>
              <a:defRPr/>
            </a:lvl5pPr>
          </a:lstStyle>
          <a:p>
            <a:pPr lvl="0"/>
            <a:r>
              <a:rPr lang="en-US"/>
              <a:t>Click to edit Master text styles</a:t>
            </a:r>
          </a:p>
        </p:txBody>
      </p:sp>
      <p:sp>
        <p:nvSpPr>
          <p:cNvPr id="9" name="Text Placeholder 8"/>
          <p:cNvSpPr>
            <a:spLocks noGrp="1"/>
          </p:cNvSpPr>
          <p:nvPr>
            <p:ph type="body" sz="quarter" idx="12"/>
          </p:nvPr>
        </p:nvSpPr>
        <p:spPr>
          <a:xfrm>
            <a:off x="3816960" y="1675450"/>
            <a:ext cx="7880183" cy="4657727"/>
          </a:xfrm>
        </p:spPr>
        <p:txBody>
          <a:bodyPr>
            <a:noAutofit/>
          </a:bodyPr>
          <a:lstStyle>
            <a:lvl1pPr>
              <a:spcBef>
                <a:spcPts val="1633"/>
              </a:spcBef>
              <a:defRPr sz="907"/>
            </a:lvl1pPr>
            <a:lvl2pPr>
              <a:defRPr sz="907"/>
            </a:lvl2pPr>
            <a:lvl3pPr>
              <a:defRPr sz="907"/>
            </a:lvl3pPr>
            <a:lvl4pPr>
              <a:defRPr sz="907"/>
            </a:lvl4pPr>
            <a:lvl5pPr>
              <a:defRPr sz="9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0" name="Group 19"/>
          <p:cNvGrpSpPr>
            <a:grpSpLocks noChangeAspect="1"/>
          </p:cNvGrpSpPr>
          <p:nvPr userDrawn="1"/>
        </p:nvGrpSpPr>
        <p:grpSpPr>
          <a:xfrm>
            <a:off x="529493" y="374651"/>
            <a:ext cx="2134664" cy="316788"/>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grpSp>
      <p:sp>
        <p:nvSpPr>
          <p:cNvPr id="16"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7"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2969589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2501501"/>
              </p:ext>
            </p:extLst>
          </p:nvPr>
        </p:nvGraphicFramePr>
        <p:xfrm>
          <a:off x="1811" y="1441"/>
          <a:ext cx="1810" cy="1440"/>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2" name="Object 1" hidden="1"/>
                      <p:cNvPicPr/>
                      <p:nvPr/>
                    </p:nvPicPr>
                    <p:blipFill>
                      <a:blip r:embed="rId4"/>
                      <a:stretch>
                        <a:fillRect/>
                      </a:stretch>
                    </p:blipFill>
                    <p:spPr>
                      <a:xfrm>
                        <a:off x="1811" y="1441"/>
                        <a:ext cx="1810" cy="1440"/>
                      </a:xfrm>
                      <a:prstGeom prst="rect">
                        <a:avLst/>
                      </a:prstGeom>
                    </p:spPr>
                  </p:pic>
                </p:oleObj>
              </mc:Fallback>
            </mc:AlternateContent>
          </a:graphicData>
        </a:graphic>
      </p:graphicFrame>
      <p:sp>
        <p:nvSpPr>
          <p:cNvPr id="4" name="Content Placeholder 3"/>
          <p:cNvSpPr>
            <a:spLocks noGrp="1"/>
          </p:cNvSpPr>
          <p:nvPr>
            <p:ph sz="quarter" idx="10"/>
          </p:nvPr>
        </p:nvSpPr>
        <p:spPr>
          <a:xfrm>
            <a:off x="492615" y="1665291"/>
            <a:ext cx="9300810" cy="4716463"/>
          </a:xfrm>
          <a:prstGeom prst="rect">
            <a:avLst/>
          </a:prstGeom>
        </p:spPr>
        <p:txBody>
          <a:bodyPr/>
          <a:lstStyle>
            <a:lvl1pPr>
              <a:tabLst>
                <a:tab pos="6613469" algn="r"/>
              </a:tabLst>
              <a:defRPr/>
            </a:lvl1pPr>
            <a:lvl2pPr>
              <a:tabLst>
                <a:tab pos="6613469" algn="r"/>
              </a:tabLst>
              <a:defRPr/>
            </a:lvl2pPr>
            <a:lvl3pPr>
              <a:tabLst>
                <a:tab pos="6613469" algn="r"/>
              </a:tabLst>
              <a:defRPr/>
            </a:lvl3pPr>
            <a:lvl4pPr>
              <a:tabLst>
                <a:tab pos="6613469" algn="r"/>
              </a:tabLst>
              <a:defRPr/>
            </a:lvl4pPr>
            <a:lvl5pPr>
              <a:tabLst>
                <a:tab pos="4942550" algn="r"/>
              </a:tabLst>
              <a:defRPr baseline="0"/>
            </a:lvl5pPr>
            <a:lvl6pPr>
              <a:tabLst>
                <a:tab pos="6613469" algn="r"/>
              </a:tabLst>
              <a:defRPr/>
            </a:lvl6pPr>
            <a:lvl7pPr>
              <a:tabLst>
                <a:tab pos="6613469" algn="r"/>
              </a:tabLst>
              <a:defRPr/>
            </a:lvl7pPr>
            <a:lvl8pPr>
              <a:tabLst>
                <a:tab pos="6613469" algn="r"/>
              </a:tabLst>
              <a:defRPr/>
            </a:lvl8pPr>
            <a:lvl9pPr>
              <a:tabLst>
                <a:tab pos="6613469"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492615" y="317505"/>
            <a:ext cx="11203378"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59053744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94198" y="316834"/>
            <a:ext cx="1120179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85791" y="1701804"/>
            <a:ext cx="6210203"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94198" y="1665291"/>
            <a:ext cx="4463886" cy="4716463"/>
          </a:xfrm>
          <a:prstGeom prst="rect">
            <a:avLst/>
          </a:prstGeom>
        </p:spPr>
        <p:txBody>
          <a:bodyPr/>
          <a:lstStyle>
            <a:lvl1pPr>
              <a:tabLst>
                <a:tab pos="4942550" algn="r"/>
              </a:tabLst>
              <a:defRPr/>
            </a:lvl1pPr>
            <a:lvl2pPr>
              <a:tabLst>
                <a:tab pos="4942550" algn="r"/>
              </a:tabLst>
              <a:defRPr/>
            </a:lvl2pPr>
            <a:lvl3pPr>
              <a:tabLst>
                <a:tab pos="4942550" algn="r"/>
              </a:tabLst>
              <a:defRPr/>
            </a:lvl3pPr>
            <a:lvl4pPr>
              <a:tabLst>
                <a:tab pos="4942550" algn="r"/>
              </a:tabLst>
              <a:defRPr/>
            </a:lvl4pPr>
            <a:lvl5pPr>
              <a:tabLst>
                <a:tab pos="494255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36133536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1962742"/>
              </p:ext>
            </p:extLst>
          </p:nvPr>
        </p:nvGraphicFramePr>
        <p:xfrm>
          <a:off x="1811" y="1441"/>
          <a:ext cx="1810" cy="1440"/>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3" name="Object 2" hidden="1"/>
                      <p:cNvPicPr/>
                      <p:nvPr/>
                    </p:nvPicPr>
                    <p:blipFill>
                      <a:blip r:embed="rId4"/>
                      <a:stretch>
                        <a:fillRect/>
                      </a:stretch>
                    </p:blipFill>
                    <p:spPr>
                      <a:xfrm>
                        <a:off x="1811" y="1441"/>
                        <a:ext cx="1810" cy="1440"/>
                      </a:xfrm>
                      <a:prstGeom prst="rect">
                        <a:avLst/>
                      </a:prstGeom>
                    </p:spPr>
                  </p:pic>
                </p:oleObj>
              </mc:Fallback>
            </mc:AlternateContent>
          </a:graphicData>
        </a:graphic>
      </p:graphicFrame>
      <p:sp>
        <p:nvSpPr>
          <p:cNvPr id="2" name="Title 1"/>
          <p:cNvSpPr>
            <a:spLocks noGrp="1"/>
          </p:cNvSpPr>
          <p:nvPr>
            <p:ph type="title"/>
          </p:nvPr>
        </p:nvSpPr>
        <p:spPr>
          <a:xfrm>
            <a:off x="494198" y="317501"/>
            <a:ext cx="11201795"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494198" y="1665291"/>
            <a:ext cx="11201795"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35735522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52452945"/>
              </p:ext>
            </p:extLst>
          </p:nvPr>
        </p:nvGraphicFramePr>
        <p:xfrm>
          <a:off x="1811" y="1441"/>
          <a:ext cx="1810" cy="1440"/>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3" name="Object 2" hidden="1"/>
                      <p:cNvPicPr/>
                      <p:nvPr/>
                    </p:nvPicPr>
                    <p:blipFill>
                      <a:blip r:embed="rId4"/>
                      <a:stretch>
                        <a:fillRect/>
                      </a:stretch>
                    </p:blipFill>
                    <p:spPr>
                      <a:xfrm>
                        <a:off x="1811" y="1441"/>
                        <a:ext cx="1810" cy="1440"/>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94198" y="651601"/>
            <a:ext cx="11201795" cy="757252"/>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494198" y="317504"/>
            <a:ext cx="11201795" cy="334099"/>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494198" y="1666256"/>
            <a:ext cx="11201795" cy="47129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172418018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37926269"/>
              </p:ext>
            </p:extLst>
          </p:nvPr>
        </p:nvGraphicFramePr>
        <p:xfrm>
          <a:off x="1811" y="1441"/>
          <a:ext cx="1810" cy="1440"/>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3" name="Object 2" hidden="1"/>
                      <p:cNvPicPr/>
                      <p:nvPr/>
                    </p:nvPicPr>
                    <p:blipFill>
                      <a:blip r:embed="rId4"/>
                      <a:stretch>
                        <a:fillRect/>
                      </a:stretch>
                    </p:blipFill>
                    <p:spPr>
                      <a:xfrm>
                        <a:off x="1811" y="1441"/>
                        <a:ext cx="1810" cy="1440"/>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94198" y="317505"/>
            <a:ext cx="11201795" cy="334097"/>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494198" y="1700214"/>
            <a:ext cx="11201795" cy="4678985"/>
          </a:xfrm>
          <a:prstGeom prst="rect">
            <a:avLst/>
          </a:prstGeom>
        </p:spPr>
        <p:txBody>
          <a:bodyPr vert="horz" lIns="0" tIns="0" rIns="0" bIns="0" rtlCol="0">
            <a:noAutofit/>
          </a:bodyPr>
          <a:lstStyle>
            <a:lvl1pPr>
              <a:defRPr sz="1572"/>
            </a:lvl1pPr>
            <a:lvl2pPr>
              <a:defRPr sz="1572"/>
            </a:lvl2pPr>
            <a:lvl3pPr>
              <a:defRPr sz="1572"/>
            </a:lvl3pPr>
            <a:lvl4pPr>
              <a:defRPr sz="1572"/>
            </a:lvl4pPr>
            <a:lvl5pPr>
              <a:defRPr sz="1572"/>
            </a:lvl5pPr>
            <a:lvl6pPr>
              <a:defRPr sz="1572"/>
            </a:lvl6pPr>
            <a:lvl7pPr>
              <a:defRPr sz="1572"/>
            </a:lvl7pPr>
            <a:lvl8pPr>
              <a:defRPr sz="1572"/>
            </a:lvl8pPr>
            <a:lvl9pPr>
              <a:defRPr sz="157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177806530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94198" y="650500"/>
            <a:ext cx="11201797"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94201" y="317505"/>
            <a:ext cx="11201797" cy="33299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494198" y="2052005"/>
            <a:ext cx="11201795"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494198" y="1666255"/>
            <a:ext cx="11201795" cy="3663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94201" y="6121018"/>
            <a:ext cx="11201797" cy="260737"/>
          </a:xfrm>
        </p:spPr>
        <p:txBody>
          <a:bodyPr>
            <a:normAutofit/>
          </a:bodyPr>
          <a:lstStyle>
            <a:lvl1pPr>
              <a:spcAft>
                <a:spcPts val="0"/>
              </a:spcAft>
              <a:defRPr sz="907"/>
            </a:lvl1pPr>
          </a:lstStyle>
          <a:p>
            <a:pPr lvl="0"/>
            <a:r>
              <a:rPr lang="en-US"/>
              <a:t>Click to edit Master text styles</a:t>
            </a:r>
          </a:p>
        </p:txBody>
      </p:sp>
      <p:sp>
        <p:nvSpPr>
          <p:cNvPr id="7"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8"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9565089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head: Sidebar - Messag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C00475B-A5C6-C849-A5AB-E57F23F3E9B8}"/>
              </a:ext>
            </a:extLst>
          </p:cNvPr>
          <p:cNvSpPr/>
          <p:nvPr/>
        </p:nvSpPr>
        <p:spPr bwMode="gray">
          <a:xfrm flipH="1">
            <a:off x="-3" y="0"/>
            <a:ext cx="4953002" cy="6858000"/>
          </a:xfrm>
          <a:prstGeom prst="rect">
            <a:avLst/>
          </a:prstGeom>
          <a:solidFill>
            <a:schemeClr val="accent1"/>
          </a:solidFill>
          <a:ln w="19050" algn="ctr">
            <a:noFill/>
            <a:miter lim="800000"/>
            <a:headEnd/>
            <a:tailEnd/>
          </a:ln>
        </p:spPr>
        <p:txBody>
          <a:bodyPr wrap="square" lIns="0" tIns="0" rIns="0" bIns="0" rtlCol="0" anchor="ctr">
            <a:noAutofit/>
          </a:bodyPr>
          <a:lstStyle/>
          <a:p>
            <a:pPr algn="ctr"/>
            <a:endParaRPr lang="en-GB"/>
          </a:p>
        </p:txBody>
      </p:sp>
      <p:sp>
        <p:nvSpPr>
          <p:cNvPr id="11" name="Rectangle 2">
            <a:extLst>
              <a:ext uri="{FF2B5EF4-FFF2-40B4-BE49-F238E27FC236}">
                <a16:creationId xmlns:a16="http://schemas.microsoft.com/office/drawing/2014/main" id="{C7C7A6A0-FE3D-104E-8393-4A7A8E30C83F}"/>
              </a:ext>
            </a:extLst>
          </p:cNvPr>
          <p:cNvSpPr>
            <a:spLocks/>
          </p:cNvSpPr>
          <p:nvPr/>
        </p:nvSpPr>
        <p:spPr bwMode="auto">
          <a:xfrm>
            <a:off x="914719" y="6286500"/>
            <a:ext cx="3088987"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fld id="{C84F2FB2-4A16-1542-BD5E-F56870239E74}" type="slidenum">
              <a:rPr lang="en-GB" sz="800" smtClean="0">
                <a:solidFill>
                  <a:schemeClr val="bg1">
                    <a:lumMod val="50000"/>
                  </a:schemeClr>
                </a:solidFill>
                <a:latin typeface="Open Sans" charset="0"/>
                <a:ea typeface="Open Sans" charset="0"/>
                <a:cs typeface="Open Sans" charset="0"/>
                <a:sym typeface="Frutiger Next Pro Light" charset="0"/>
              </a:rPr>
              <a:pPr/>
              <a:t>‹#›</a:t>
            </a:fld>
            <a:r>
              <a:rPr lang="en-GB" sz="800">
                <a:solidFill>
                  <a:schemeClr val="bg1">
                    <a:lumMod val="50000"/>
                  </a:schemeClr>
                </a:solidFill>
                <a:latin typeface="Open Sans" charset="0"/>
                <a:ea typeface="Open Sans" charset="0"/>
                <a:cs typeface="Open Sans" charset="0"/>
                <a:sym typeface="Frutiger Next Pro Light" charset="0"/>
              </a:rPr>
              <a:t>  |  Copyright © 2022 For information contact Deloitte Global. </a:t>
            </a:r>
          </a:p>
        </p:txBody>
      </p:sp>
      <p:sp>
        <p:nvSpPr>
          <p:cNvPr id="14" name="Text Placeholder 7">
            <a:extLst>
              <a:ext uri="{FF2B5EF4-FFF2-40B4-BE49-F238E27FC236}">
                <a16:creationId xmlns:a16="http://schemas.microsoft.com/office/drawing/2014/main" id="{149D441B-5A96-9B41-9D87-454944D82470}"/>
              </a:ext>
            </a:extLst>
          </p:cNvPr>
          <p:cNvSpPr>
            <a:spLocks noGrp="1"/>
          </p:cNvSpPr>
          <p:nvPr>
            <p:ph type="body" sz="quarter" idx="14" hasCustomPrompt="1"/>
          </p:nvPr>
        </p:nvSpPr>
        <p:spPr>
          <a:xfrm>
            <a:off x="914400" y="2959100"/>
            <a:ext cx="3009900" cy="17145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a:t>7 lines running intro text. Morbi </a:t>
            </a:r>
            <a:r>
              <a:rPr lang="en-GB" err="1"/>
              <a:t>leo</a:t>
            </a:r>
            <a:r>
              <a:rPr lang="en-GB"/>
              <a:t> </a:t>
            </a:r>
            <a:r>
              <a:rPr lang="en-GB" err="1"/>
              <a:t>risus</a:t>
            </a:r>
            <a:r>
              <a:rPr lang="en-GB"/>
              <a:t>, porta ac </a:t>
            </a:r>
            <a:r>
              <a:rPr lang="en-GB" err="1"/>
              <a:t>consectetur</a:t>
            </a:r>
            <a:r>
              <a:rPr lang="en-GB"/>
              <a:t> ac, vestibulum at eros. Donec </a:t>
            </a:r>
            <a:r>
              <a:rPr lang="en-GB" err="1"/>
              <a:t>sed</a:t>
            </a:r>
            <a:r>
              <a:rPr lang="en-GB"/>
              <a:t> </a:t>
            </a:r>
            <a:r>
              <a:rPr lang="en-GB" err="1"/>
              <a:t>odio</a:t>
            </a:r>
            <a:r>
              <a:rPr lang="en-GB"/>
              <a:t> dui. </a:t>
            </a:r>
            <a:r>
              <a:rPr lang="en-GB" err="1"/>
              <a:t>odio</a:t>
            </a:r>
            <a:r>
              <a:rPr lang="en-GB"/>
              <a:t> dui.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 </a:t>
            </a:r>
            <a:r>
              <a:rPr lang="en-GB" err="1"/>
              <a:t>Sed</a:t>
            </a:r>
            <a:r>
              <a:rPr lang="en-GB"/>
              <a:t> </a:t>
            </a:r>
            <a:r>
              <a:rPr lang="en-GB" err="1"/>
              <a:t>posuere</a:t>
            </a:r>
            <a:r>
              <a:rPr lang="en-GB"/>
              <a:t> </a:t>
            </a:r>
            <a:r>
              <a:rPr lang="en-GB" err="1"/>
              <a:t>consectetur</a:t>
            </a:r>
            <a:r>
              <a:rPr lang="en-GB"/>
              <a:t> </a:t>
            </a:r>
            <a:r>
              <a:rPr lang="en-GB" err="1"/>
              <a:t>est</a:t>
            </a:r>
            <a:r>
              <a:rPr lang="en-GB"/>
              <a:t> at </a:t>
            </a:r>
            <a:r>
              <a:rPr lang="en-GB" err="1"/>
              <a:t>lobortis</a:t>
            </a:r>
            <a:r>
              <a:rPr lang="en-GB"/>
              <a:t>. </a:t>
            </a:r>
            <a:r>
              <a:rPr lang="en-GB" err="1"/>
              <a:t>Praesent</a:t>
            </a:r>
            <a:r>
              <a:rPr lang="en-GB"/>
              <a:t> </a:t>
            </a:r>
            <a:r>
              <a:rPr lang="en-GB" err="1"/>
              <a:t>commodo</a:t>
            </a:r>
            <a:r>
              <a:rPr lang="en-GB"/>
              <a:t> cursus magna, </a:t>
            </a:r>
            <a:r>
              <a:rPr lang="en-GB" err="1"/>
              <a:t>vel</a:t>
            </a:r>
            <a:r>
              <a:rPr lang="en-GB"/>
              <a:t> </a:t>
            </a:r>
            <a:r>
              <a:rPr lang="en-GB" err="1"/>
              <a:t>scelerisque</a:t>
            </a:r>
            <a:r>
              <a:rPr lang="en-GB"/>
              <a:t> </a:t>
            </a:r>
            <a:r>
              <a:rPr lang="en-GB" err="1"/>
              <a:t>nisl</a:t>
            </a:r>
            <a:r>
              <a:rPr lang="en-GB"/>
              <a:t> </a:t>
            </a:r>
            <a:r>
              <a:rPr lang="en-GB" err="1"/>
              <a:t>consectetur</a:t>
            </a:r>
            <a:r>
              <a:rPr lang="en-GB"/>
              <a:t> et.</a:t>
            </a:r>
          </a:p>
        </p:txBody>
      </p:sp>
      <p:sp>
        <p:nvSpPr>
          <p:cNvPr id="15" name="Text Placeholder 10">
            <a:extLst>
              <a:ext uri="{FF2B5EF4-FFF2-40B4-BE49-F238E27FC236}">
                <a16:creationId xmlns:a16="http://schemas.microsoft.com/office/drawing/2014/main" id="{E116E8C8-C57E-3C4C-ACC0-344B7AA9A17D}"/>
              </a:ext>
            </a:extLst>
          </p:cNvPr>
          <p:cNvSpPr>
            <a:spLocks noGrp="1"/>
          </p:cNvSpPr>
          <p:nvPr>
            <p:ph type="body" sz="quarter" idx="16" hasCustomPrompt="1"/>
          </p:nvPr>
        </p:nvSpPr>
        <p:spPr>
          <a:xfrm>
            <a:off x="6019800" y="1212850"/>
            <a:ext cx="5219700" cy="8509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18" name="Text Placeholder 13">
            <a:extLst>
              <a:ext uri="{FF2B5EF4-FFF2-40B4-BE49-F238E27FC236}">
                <a16:creationId xmlns:a16="http://schemas.microsoft.com/office/drawing/2014/main" id="{A5647CB6-FC63-DF44-8496-CE9754E13DE2}"/>
              </a:ext>
            </a:extLst>
          </p:cNvPr>
          <p:cNvSpPr>
            <a:spLocks noGrp="1"/>
          </p:cNvSpPr>
          <p:nvPr>
            <p:ph type="body" sz="quarter" idx="17" hasCustomPrompt="1"/>
          </p:nvPr>
        </p:nvSpPr>
        <p:spPr>
          <a:xfrm>
            <a:off x="6019800" y="3289299"/>
            <a:ext cx="5219700" cy="1645771"/>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000"/>
            </a:lvl1pPr>
          </a:lstStyle>
          <a:p>
            <a:pPr lvl="0"/>
            <a:r>
              <a:rPr lang="en-GB"/>
              <a:t>Felis </a:t>
            </a:r>
            <a:r>
              <a:rPr lang="en-GB" err="1"/>
              <a:t>blandit</a:t>
            </a:r>
            <a:r>
              <a:rPr lang="en-GB"/>
              <a:t> cursus</a:t>
            </a:r>
            <a:br>
              <a:rPr lang="en-GB"/>
            </a:br>
            <a:endParaRPr lang="en-GB"/>
          </a:p>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Etu</a:t>
            </a:r>
            <a:r>
              <a:rPr lang="en-GB"/>
              <a:t> </a:t>
            </a:r>
            <a:r>
              <a:rPr lang="en-GB" err="1"/>
              <a:t>phasellus</a:t>
            </a:r>
            <a:r>
              <a:rPr lang="en-GB"/>
              <a:t> ante </a:t>
            </a:r>
            <a:r>
              <a:rPr lang="en-GB" err="1"/>
              <a:t>pellentesque</a:t>
            </a:r>
            <a:r>
              <a:rPr lang="en-GB"/>
              <a:t> </a:t>
            </a:r>
            <a:r>
              <a:rPr lang="en-GB" err="1"/>
              <a:t>erat</a:t>
            </a:r>
            <a:r>
              <a:rPr lang="en-GB"/>
              <a:t> cum </a:t>
            </a:r>
            <a:r>
              <a:rPr lang="en-GB" err="1"/>
              <a:t>risus</a:t>
            </a:r>
            <a:r>
              <a:rPr lang="en-GB"/>
              <a:t> </a:t>
            </a:r>
            <a:r>
              <a:rPr lang="en-GB" err="1"/>
              <a:t>dolor</a:t>
            </a:r>
            <a:r>
              <a:rPr lang="en-GB"/>
              <a:t> </a:t>
            </a:r>
            <a:r>
              <a:rPr lang="en-GB" err="1"/>
              <a:t>consequat</a:t>
            </a:r>
            <a:r>
              <a:rPr lang="en-GB"/>
              <a:t> </a:t>
            </a:r>
            <a:r>
              <a:rPr lang="en-GB" err="1"/>
              <a:t>imperdiet</a:t>
            </a:r>
            <a:r>
              <a:rPr lang="en-GB"/>
              <a:t> </a:t>
            </a:r>
            <a:r>
              <a:rPr lang="en-GB" err="1"/>
              <a:t>aliquam</a:t>
            </a:r>
            <a:r>
              <a:rPr lang="en-GB"/>
              <a:t>, integer </a:t>
            </a:r>
            <a:r>
              <a:rPr lang="en-GB" err="1"/>
              <a:t>placerat</a:t>
            </a:r>
            <a:r>
              <a:rPr lang="en-GB"/>
              <a:t> et </a:t>
            </a:r>
            <a:r>
              <a:rPr lang="en-GB" err="1"/>
              <a:t>turpis</a:t>
            </a:r>
            <a:r>
              <a:rPr lang="en-GB"/>
              <a:t> mi eros </a:t>
            </a:r>
            <a:r>
              <a:rPr lang="en-GB" err="1"/>
              <a:t>nec</a:t>
            </a:r>
            <a:r>
              <a:rPr lang="en-GB"/>
              <a:t> </a:t>
            </a:r>
            <a:r>
              <a:rPr lang="en-GB" err="1"/>
              <a:t>lobortis</a:t>
            </a:r>
            <a:r>
              <a:rPr lang="en-GB"/>
              <a:t> </a:t>
            </a:r>
            <a:r>
              <a:rPr lang="en-GB" err="1"/>
              <a:t>taciti</a:t>
            </a:r>
            <a:r>
              <a:rPr lang="en-GB"/>
              <a:t>, </a:t>
            </a:r>
            <a:r>
              <a:rPr lang="en-GB" err="1"/>
              <a:t>vehicula</a:t>
            </a:r>
            <a:r>
              <a:rPr lang="en-GB"/>
              <a:t> </a:t>
            </a:r>
            <a:r>
              <a:rPr lang="en-GB" err="1"/>
              <a:t>nisl</a:t>
            </a:r>
            <a:r>
              <a:rPr lang="en-GB"/>
              <a:t> </a:t>
            </a:r>
            <a:r>
              <a:rPr lang="en-GB" err="1"/>
              <a:t>litora</a:t>
            </a:r>
            <a:r>
              <a:rPr lang="en-GB"/>
              <a:t> </a:t>
            </a:r>
            <a:r>
              <a:rPr lang="en-GB" err="1"/>
              <a:t>tellus</a:t>
            </a:r>
            <a:r>
              <a:rPr lang="en-GB"/>
              <a:t> ligula </a:t>
            </a:r>
            <a:r>
              <a:rPr lang="en-GB" err="1"/>
              <a:t>porttitor</a:t>
            </a:r>
            <a:r>
              <a:rPr lang="en-GB"/>
              <a:t> </a:t>
            </a:r>
            <a:r>
              <a:rPr lang="en-GB" err="1"/>
              <a:t>metus</a:t>
            </a:r>
            <a:r>
              <a:rPr lang="en-GB"/>
              <a:t>.</a:t>
            </a:r>
          </a:p>
        </p:txBody>
      </p:sp>
      <p:sp>
        <p:nvSpPr>
          <p:cNvPr id="13" name="Text Placeholder 5">
            <a:extLst>
              <a:ext uri="{FF2B5EF4-FFF2-40B4-BE49-F238E27FC236}">
                <a16:creationId xmlns:a16="http://schemas.microsoft.com/office/drawing/2014/main" id="{63E69F53-FE35-D641-B88F-0A68E2BCA049}"/>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GB"/>
              <a:t>Click to edit slide heading</a:t>
            </a:r>
          </a:p>
        </p:txBody>
      </p:sp>
    </p:spTree>
    <p:extLst>
      <p:ext uri="{BB962C8B-B14F-4D97-AF65-F5344CB8AC3E}">
        <p14:creationId xmlns:p14="http://schemas.microsoft.com/office/powerpoint/2010/main" val="106549529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94200"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94198" y="317505"/>
            <a:ext cx="11201795" cy="334093"/>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12527" y="2052000"/>
            <a:ext cx="3581774"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6013" y="1665290"/>
            <a:ext cx="3588289"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16097" y="2052000"/>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16098" y="1665291"/>
            <a:ext cx="3561616"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99509" y="2052000"/>
            <a:ext cx="3596484"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94173" y="1659145"/>
            <a:ext cx="360183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494198" y="6121018"/>
            <a:ext cx="11201794" cy="260293"/>
          </a:xfrm>
        </p:spPr>
        <p:txBody>
          <a:bodyPr>
            <a:normAutofit/>
          </a:bodyPr>
          <a:lstStyle>
            <a:lvl1pPr>
              <a:spcAft>
                <a:spcPts val="0"/>
              </a:spcAft>
              <a:defRPr sz="907"/>
            </a:lvl1pPr>
          </a:lstStyle>
          <a:p>
            <a:pPr lvl="0"/>
            <a:r>
              <a:rPr lang="en-US" noProof="0"/>
              <a:t>Click to edit Master text styles</a:t>
            </a:r>
          </a:p>
        </p:txBody>
      </p:sp>
      <p:sp>
        <p:nvSpPr>
          <p:cNvPr id="11"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3"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28746013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94198" y="317505"/>
            <a:ext cx="11201795" cy="334097"/>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494199" y="1665292"/>
            <a:ext cx="5300855" cy="4716461"/>
          </a:xfrm>
          <a:prstGeom prst="rect">
            <a:avLst/>
          </a:prstGeom>
        </p:spPr>
        <p:txBody>
          <a:bodyPr/>
          <a:lstStyle>
            <a:lvl1pPr>
              <a:tabLst>
                <a:tab pos="4942550" algn="r"/>
              </a:tabLst>
              <a:defRPr/>
            </a:lvl1pPr>
            <a:lvl2pPr>
              <a:tabLst>
                <a:tab pos="4942550" algn="r"/>
              </a:tabLst>
              <a:defRPr/>
            </a:lvl2pPr>
            <a:lvl3pPr>
              <a:tabLst>
                <a:tab pos="4942550" algn="r"/>
              </a:tabLst>
              <a:defRPr/>
            </a:lvl3pPr>
            <a:lvl4pPr>
              <a:tabLst>
                <a:tab pos="4942550" algn="r"/>
              </a:tabLst>
              <a:defRPr/>
            </a:lvl4pPr>
            <a:lvl5pPr>
              <a:tabLst>
                <a:tab pos="494255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9751" y="1665292"/>
            <a:ext cx="5296242" cy="4716461"/>
          </a:xfrm>
          <a:prstGeom prst="rect">
            <a:avLst/>
          </a:prstGeom>
        </p:spPr>
        <p:txBody>
          <a:bodyPr/>
          <a:lstStyle>
            <a:lvl1pPr>
              <a:tabLst>
                <a:tab pos="4942550" algn="r"/>
              </a:tabLst>
              <a:defRPr/>
            </a:lvl1pPr>
            <a:lvl2pPr>
              <a:tabLst>
                <a:tab pos="4942550" algn="r"/>
              </a:tabLst>
              <a:defRPr/>
            </a:lvl2pPr>
            <a:lvl3pPr>
              <a:tabLst>
                <a:tab pos="4942550" algn="r"/>
              </a:tabLst>
              <a:defRPr/>
            </a:lvl3pPr>
            <a:lvl4pPr>
              <a:tabLst>
                <a:tab pos="4942550" algn="r"/>
              </a:tabLst>
              <a:defRPr/>
            </a:lvl4pPr>
            <a:lvl5pPr>
              <a:tabLst>
                <a:tab pos="494255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7010069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494198" y="317502"/>
            <a:ext cx="1120179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494198" y="1665292"/>
            <a:ext cx="5313035" cy="4716461"/>
          </a:xfrm>
          <a:prstGeom prst="rect">
            <a:avLst/>
          </a:prstGeom>
        </p:spPr>
        <p:txBody>
          <a:bodyPr>
            <a:noAutofit/>
          </a:bodyPr>
          <a:lstStyle>
            <a:lvl1pPr>
              <a:tabLst>
                <a:tab pos="4942550" algn="r"/>
              </a:tabLst>
              <a:defRPr sz="1572"/>
            </a:lvl1pPr>
            <a:lvl2pPr>
              <a:tabLst>
                <a:tab pos="4942550" algn="r"/>
              </a:tabLst>
              <a:defRPr sz="1572"/>
            </a:lvl2pPr>
            <a:lvl3pPr>
              <a:tabLst>
                <a:tab pos="4942550" algn="r"/>
              </a:tabLst>
              <a:defRPr sz="1572"/>
            </a:lvl3pPr>
            <a:lvl4pPr>
              <a:tabLst>
                <a:tab pos="4942550" algn="r"/>
              </a:tabLst>
              <a:defRPr sz="1572"/>
            </a:lvl4pPr>
            <a:lvl5pPr>
              <a:tabLst>
                <a:tab pos="4942550" algn="r"/>
              </a:tabLst>
              <a:defRPr baseline="0"/>
            </a:lvl5pPr>
            <a:lvl6pPr>
              <a:defRPr sz="1572"/>
            </a:lvl6pPr>
            <a:lvl7pPr>
              <a:defRPr sz="1572"/>
            </a:lvl7pPr>
            <a:lvl8pPr>
              <a:defRPr sz="1572"/>
            </a:lvl8pPr>
            <a:lvl9pPr>
              <a:defRPr sz="157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92"/>
            <a:ext cx="5311993" cy="4716461"/>
          </a:xfrm>
          <a:prstGeom prst="rect">
            <a:avLst/>
          </a:prstGeom>
        </p:spPr>
        <p:txBody>
          <a:bodyPr>
            <a:noAutofit/>
          </a:bodyPr>
          <a:lstStyle>
            <a:lvl1pPr>
              <a:tabLst>
                <a:tab pos="4942550" algn="r"/>
              </a:tabLst>
              <a:defRPr sz="1572"/>
            </a:lvl1pPr>
            <a:lvl2pPr>
              <a:tabLst>
                <a:tab pos="4942550" algn="r"/>
              </a:tabLst>
              <a:defRPr sz="1572"/>
            </a:lvl2pPr>
            <a:lvl3pPr>
              <a:tabLst>
                <a:tab pos="4942550" algn="r"/>
              </a:tabLst>
              <a:defRPr sz="1572"/>
            </a:lvl3pPr>
            <a:lvl4pPr>
              <a:tabLst>
                <a:tab pos="4942550" algn="r"/>
              </a:tabLst>
              <a:defRPr sz="1572"/>
            </a:lvl4pPr>
            <a:lvl5pPr>
              <a:tabLst>
                <a:tab pos="4942550" algn="r"/>
              </a:tabLst>
              <a:defRPr baseline="0"/>
            </a:lvl5pPr>
            <a:lvl6pPr>
              <a:defRPr sz="1572"/>
            </a:lvl6pPr>
            <a:lvl7pPr>
              <a:defRPr sz="1572"/>
            </a:lvl7pPr>
            <a:lvl8pPr>
              <a:defRPr sz="1572"/>
            </a:lvl8pPr>
            <a:lvl9pPr>
              <a:defRPr sz="157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4736769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94198" y="1665292"/>
            <a:ext cx="5341270" cy="4455725"/>
          </a:xfrm>
          <a:prstGeom prst="rect">
            <a:avLst/>
          </a:prstGeom>
        </p:spPr>
        <p:txBody>
          <a:bodyPr/>
          <a:lstStyle>
            <a:lvl1pPr>
              <a:tabLst>
                <a:tab pos="4942550" algn="r"/>
              </a:tabLst>
              <a:defRPr/>
            </a:lvl1pPr>
            <a:lvl2pPr>
              <a:tabLst>
                <a:tab pos="4942550" algn="r"/>
              </a:tabLst>
              <a:defRPr/>
            </a:lvl2pPr>
            <a:lvl3pPr>
              <a:tabLst>
                <a:tab pos="4942550" algn="r"/>
              </a:tabLst>
              <a:defRPr/>
            </a:lvl3pPr>
            <a:lvl4pPr>
              <a:tabLst>
                <a:tab pos="4942550" algn="r"/>
              </a:tabLst>
              <a:defRPr/>
            </a:lvl4pPr>
            <a:lvl5pPr>
              <a:tabLst>
                <a:tab pos="494255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4" y="2125014"/>
            <a:ext cx="535476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4" y="1665289"/>
            <a:ext cx="535476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94198" y="317505"/>
            <a:ext cx="11201795" cy="3340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494198" y="6121018"/>
            <a:ext cx="11201795" cy="260292"/>
          </a:xfrm>
        </p:spPr>
        <p:txBody>
          <a:bodyPr>
            <a:normAutofit/>
          </a:bodyPr>
          <a:lstStyle>
            <a:lvl1pPr>
              <a:spcAft>
                <a:spcPts val="0"/>
              </a:spcAft>
              <a:defRPr sz="907"/>
            </a:lvl1pPr>
          </a:lstStyle>
          <a:p>
            <a:pPr lvl="0"/>
            <a:r>
              <a:rPr lang="en-US"/>
              <a:t>Click to edit Master text styles</a:t>
            </a:r>
          </a:p>
        </p:txBody>
      </p:sp>
      <p:sp>
        <p:nvSpPr>
          <p:cNvPr id="8"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2376323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4" y="2125014"/>
            <a:ext cx="535476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4" y="1665289"/>
            <a:ext cx="535476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94198" y="317505"/>
            <a:ext cx="11201795" cy="3340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494199" y="6121019"/>
            <a:ext cx="11172875" cy="260292"/>
          </a:xfrm>
        </p:spPr>
        <p:txBody>
          <a:bodyPr>
            <a:normAutofit/>
          </a:bodyPr>
          <a:lstStyle>
            <a:lvl1pPr>
              <a:spcAft>
                <a:spcPts val="0"/>
              </a:spcAft>
              <a:defRPr sz="907"/>
            </a:lvl1pPr>
          </a:lstStyle>
          <a:p>
            <a:pPr lvl="0"/>
            <a:r>
              <a:rPr lang="en-US"/>
              <a:t>Click to edit Master text styles</a:t>
            </a:r>
          </a:p>
        </p:txBody>
      </p:sp>
      <p:sp>
        <p:nvSpPr>
          <p:cNvPr id="9" name="Chart Placeholder 2"/>
          <p:cNvSpPr>
            <a:spLocks noGrp="1"/>
          </p:cNvSpPr>
          <p:nvPr>
            <p:ph type="chart" sz="quarter" idx="24"/>
          </p:nvPr>
        </p:nvSpPr>
        <p:spPr>
          <a:xfrm>
            <a:off x="494199" y="2125014"/>
            <a:ext cx="5346518"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494194" y="1665289"/>
            <a:ext cx="5346522" cy="420687"/>
          </a:xfrm>
        </p:spPr>
        <p:txBody>
          <a:bodyPr/>
          <a:lstStyle/>
          <a:p>
            <a:pPr lvl="0"/>
            <a:r>
              <a:rPr lang="en-US" noProof="0"/>
              <a:t>Click to edit Master text styles</a:t>
            </a:r>
          </a:p>
        </p:txBody>
      </p:sp>
      <p:sp>
        <p:nvSpPr>
          <p:cNvPr id="10"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4"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58992558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94194" y="317505"/>
            <a:ext cx="11201794" cy="334097"/>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494199" y="1665291"/>
            <a:ext cx="4467155" cy="4716463"/>
          </a:xfrm>
          <a:prstGeom prst="rect">
            <a:avLst/>
          </a:prstGeom>
        </p:spPr>
        <p:txBody>
          <a:bodyPr/>
          <a:lstStyle>
            <a:lvl1pPr>
              <a:tabLst>
                <a:tab pos="4942550" algn="r"/>
              </a:tabLst>
              <a:defRPr/>
            </a:lvl1pPr>
            <a:lvl2pPr>
              <a:tabLst>
                <a:tab pos="4942550" algn="r"/>
              </a:tabLst>
              <a:defRPr/>
            </a:lvl2pPr>
            <a:lvl3pPr>
              <a:tabLst>
                <a:tab pos="4942550" algn="r"/>
              </a:tabLst>
              <a:defRPr/>
            </a:lvl3pPr>
            <a:lvl4pPr>
              <a:tabLst>
                <a:tab pos="4942550" algn="r"/>
              </a:tabLst>
              <a:defRPr/>
            </a:lvl4pPr>
            <a:lvl5pPr>
              <a:tabLst>
                <a:tab pos="494255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53" y="1700219"/>
            <a:ext cx="6245640" cy="4681537"/>
          </a:xfrm>
          <a:prstGeom prst="rect">
            <a:avLst/>
          </a:prstGeom>
        </p:spPr>
        <p:txBody>
          <a:bodyPr/>
          <a:lstStyle>
            <a:lvl1pPr>
              <a:tabLst>
                <a:tab pos="4942550" algn="r"/>
              </a:tabLst>
              <a:defRPr/>
            </a:lvl1pPr>
            <a:lvl2pPr>
              <a:tabLst>
                <a:tab pos="4942550" algn="r"/>
              </a:tabLst>
              <a:defRPr/>
            </a:lvl2pPr>
            <a:lvl3pPr>
              <a:tabLst>
                <a:tab pos="4942550" algn="r"/>
              </a:tabLst>
              <a:defRPr/>
            </a:lvl3pPr>
            <a:lvl4pPr>
              <a:tabLst>
                <a:tab pos="4942550" algn="r"/>
              </a:tabLst>
              <a:defRPr/>
            </a:lvl4pPr>
            <a:lvl5pPr>
              <a:tabLst>
                <a:tab pos="494255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0"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1"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5306283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94202" y="317502"/>
            <a:ext cx="11201797"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3" y="1658680"/>
            <a:ext cx="4118110" cy="4723072"/>
          </a:xfrm>
          <a:prstGeom prst="rect">
            <a:avLst/>
          </a:prstGeom>
        </p:spPr>
        <p:txBody>
          <a:bodyPr>
            <a:noAutofit/>
          </a:bodyPr>
          <a:lstStyle>
            <a:lvl1pPr>
              <a:tabLst>
                <a:tab pos="4942550" algn="r"/>
              </a:tabLst>
              <a:defRPr sz="2162">
                <a:solidFill>
                  <a:schemeClr val="accent3"/>
                </a:solidFill>
              </a:defRPr>
            </a:lvl1pPr>
            <a:lvl2pPr>
              <a:tabLst>
                <a:tab pos="4942550" algn="r"/>
              </a:tabLst>
              <a:defRPr/>
            </a:lvl2pPr>
            <a:lvl3pPr>
              <a:tabLst>
                <a:tab pos="4942550" algn="r"/>
              </a:tabLst>
              <a:defRPr/>
            </a:lvl3pPr>
            <a:lvl4pPr>
              <a:tabLst>
                <a:tab pos="4942550" algn="r"/>
              </a:tabLst>
              <a:defRPr/>
            </a:lvl4pPr>
            <a:lvl5pPr>
              <a:tabLst>
                <a:tab pos="494255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94198" y="1665288"/>
            <a:ext cx="6513806" cy="4716462"/>
          </a:xfrm>
          <a:prstGeom prst="rect">
            <a:avLst/>
          </a:prstGeom>
        </p:spPr>
        <p:txBody>
          <a:bodyPr/>
          <a:lstStyle>
            <a:lvl1pPr>
              <a:tabLst>
                <a:tab pos="4942550" algn="r"/>
              </a:tabLst>
              <a:defRPr/>
            </a:lvl1pPr>
            <a:lvl2pPr>
              <a:tabLst>
                <a:tab pos="4942550" algn="r"/>
              </a:tabLst>
              <a:defRPr/>
            </a:lvl2pPr>
            <a:lvl3pPr>
              <a:tabLst>
                <a:tab pos="4942550" algn="r"/>
              </a:tabLst>
              <a:defRPr/>
            </a:lvl3pPr>
            <a:lvl4pPr>
              <a:tabLst>
                <a:tab pos="4942550" algn="r"/>
              </a:tabLst>
              <a:defRPr/>
            </a:lvl4pPr>
            <a:lvl5pPr>
              <a:tabLst>
                <a:tab pos="494255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94199"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0"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1"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10078409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94205" y="317502"/>
            <a:ext cx="11201794" cy="334101"/>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498432" y="1696569"/>
            <a:ext cx="2712000" cy="1259999"/>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55142" y="1700215"/>
            <a:ext cx="2712000" cy="1259999"/>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1849" y="1700215"/>
            <a:ext cx="2712000" cy="1259999"/>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91401" y="1700215"/>
            <a:ext cx="2712000" cy="1259999"/>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94198" y="3120554"/>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3360" indent="-173360">
              <a:spcAft>
                <a:spcPts val="0"/>
              </a:spcAft>
              <a:buFont typeface="Arial" panose="020B0604020202020204" pitchFamily="34" charset="0"/>
              <a:buChar char="•"/>
              <a:defRPr/>
            </a:lvl4pPr>
            <a:lvl5pPr marL="350260" indent="-173360">
              <a:spcAft>
                <a:spcPts val="0"/>
              </a:spcAft>
              <a:defRPr baseline="0"/>
            </a:lvl5pPr>
            <a:lvl6pPr marL="350260" indent="-173360">
              <a:spcAft>
                <a:spcPts val="0"/>
              </a:spcAft>
              <a:buFont typeface="Verdana" panose="020B0604030504040204" pitchFamily="34" charset="0"/>
              <a:buChar char="−"/>
              <a:defRPr/>
            </a:lvl6pPr>
            <a:lvl7pPr marL="350260" indent="-173360">
              <a:spcAft>
                <a:spcPts val="0"/>
              </a:spcAft>
              <a:defRPr/>
            </a:lvl7pPr>
            <a:lvl8pPr marL="350260" indent="-173360">
              <a:spcAft>
                <a:spcPts val="0"/>
              </a:spcAft>
              <a:defRPr/>
            </a:lvl8pPr>
            <a:lvl9pPr marL="350260" indent="-17336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58196" y="3120555"/>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3360" indent="-173360">
              <a:spcAft>
                <a:spcPts val="0"/>
              </a:spcAft>
              <a:buFont typeface="Arial" panose="020B0604020202020204" pitchFamily="34" charset="0"/>
              <a:buChar char="•"/>
              <a:defRPr/>
            </a:lvl4pPr>
            <a:lvl5pPr marL="350260" indent="-173360">
              <a:spcAft>
                <a:spcPts val="0"/>
              </a:spcAft>
              <a:defRPr baseline="0"/>
            </a:lvl5pPr>
            <a:lvl6pPr marL="350260" indent="-173360">
              <a:spcAft>
                <a:spcPts val="0"/>
              </a:spcAft>
              <a:buFont typeface="Verdana" panose="020B0604030504040204" pitchFamily="34" charset="0"/>
              <a:buChar char="−"/>
              <a:defRPr/>
            </a:lvl6pPr>
            <a:lvl7pPr marL="350260" indent="-173360">
              <a:spcAft>
                <a:spcPts val="0"/>
              </a:spcAft>
              <a:defRPr/>
            </a:lvl7pPr>
            <a:lvl8pPr marL="350260" indent="-173360">
              <a:spcAft>
                <a:spcPts val="0"/>
              </a:spcAft>
              <a:defRPr/>
            </a:lvl8pPr>
            <a:lvl9pPr marL="350260" indent="-17336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60432" y="3124205"/>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3360" indent="-173360">
              <a:spcAft>
                <a:spcPts val="0"/>
              </a:spcAft>
              <a:buFont typeface="Arial" panose="020B0604020202020204" pitchFamily="34" charset="0"/>
              <a:buChar char="•"/>
              <a:defRPr/>
            </a:lvl4pPr>
            <a:lvl5pPr marL="350260" indent="-173360">
              <a:spcAft>
                <a:spcPts val="0"/>
              </a:spcAft>
              <a:defRPr baseline="0"/>
            </a:lvl5pPr>
            <a:lvl6pPr marL="350260" indent="-173360">
              <a:spcAft>
                <a:spcPts val="0"/>
              </a:spcAft>
              <a:buFont typeface="Verdana" panose="020B0604030504040204" pitchFamily="34" charset="0"/>
              <a:buChar char="−"/>
              <a:defRPr/>
            </a:lvl6pPr>
            <a:lvl7pPr marL="350260" indent="-173360">
              <a:spcAft>
                <a:spcPts val="0"/>
              </a:spcAft>
              <a:defRPr/>
            </a:lvl7pPr>
            <a:lvl8pPr marL="350260" indent="-173360">
              <a:spcAft>
                <a:spcPts val="0"/>
              </a:spcAft>
              <a:defRPr/>
            </a:lvl8pPr>
            <a:lvl9pPr marL="350260" indent="-17336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8811" y="3120554"/>
            <a:ext cx="2697183" cy="3257548"/>
          </a:xfrm>
        </p:spPr>
        <p:txBody>
          <a:bodyPr/>
          <a:lstStyle>
            <a:lvl1pPr>
              <a:defRPr b="1">
                <a:solidFill>
                  <a:schemeClr val="accent1"/>
                </a:solidFill>
              </a:defRPr>
            </a:lvl1pPr>
            <a:lvl2pPr>
              <a:spcAft>
                <a:spcPts val="0"/>
              </a:spcAft>
              <a:defRPr/>
            </a:lvl2pPr>
            <a:lvl3pPr marL="0" indent="0">
              <a:spcAft>
                <a:spcPts val="0"/>
              </a:spcAft>
              <a:buNone/>
              <a:defRPr/>
            </a:lvl3pPr>
            <a:lvl4pPr marL="173360" indent="-173360">
              <a:spcAft>
                <a:spcPts val="0"/>
              </a:spcAft>
              <a:buFont typeface="Arial" panose="020B0604020202020204" pitchFamily="34" charset="0"/>
              <a:buChar char="•"/>
              <a:defRPr/>
            </a:lvl4pPr>
            <a:lvl5pPr marL="350260" indent="-173360">
              <a:spcAft>
                <a:spcPts val="0"/>
              </a:spcAft>
              <a:defRPr baseline="0"/>
            </a:lvl5pPr>
            <a:lvl6pPr marL="350260" indent="-173360">
              <a:spcAft>
                <a:spcPts val="0"/>
              </a:spcAft>
              <a:buFont typeface="Verdana" panose="020B0604030504040204" pitchFamily="34" charset="0"/>
              <a:buChar char="−"/>
              <a:defRPr/>
            </a:lvl6pPr>
            <a:lvl7pPr marL="350260" indent="-173360">
              <a:spcAft>
                <a:spcPts val="0"/>
              </a:spcAft>
              <a:defRPr/>
            </a:lvl7pPr>
            <a:lvl8pPr marL="350260" indent="-173360">
              <a:spcAft>
                <a:spcPts val="0"/>
              </a:spcAft>
              <a:defRPr/>
            </a:lvl8pPr>
            <a:lvl9pPr marL="350260" indent="-17336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4"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5"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54228713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94262" y="317502"/>
            <a:ext cx="11201728" cy="334101"/>
          </a:xfrm>
        </p:spPr>
        <p:txBody>
          <a:bodyPr/>
          <a:lstStyle/>
          <a:p>
            <a:r>
              <a:rPr lang="en-US" noProof="0"/>
              <a:t>Click to edit Master title style</a:t>
            </a:r>
            <a:endParaRPr lang="en-US" noProof="0" dirty="0"/>
          </a:p>
        </p:txBody>
      </p:sp>
      <p:sp>
        <p:nvSpPr>
          <p:cNvPr id="4" name="Rectangle 3"/>
          <p:cNvSpPr/>
          <p:nvPr userDrawn="1"/>
        </p:nvSpPr>
        <p:spPr>
          <a:xfrm>
            <a:off x="494198" y="1707173"/>
            <a:ext cx="5505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081" dirty="0">
              <a:solidFill>
                <a:schemeClr val="bg1"/>
              </a:solidFill>
            </a:endParaRPr>
          </a:p>
        </p:txBody>
      </p:sp>
      <p:sp>
        <p:nvSpPr>
          <p:cNvPr id="5" name="Rectangle 4"/>
          <p:cNvSpPr/>
          <p:nvPr userDrawn="1"/>
        </p:nvSpPr>
        <p:spPr>
          <a:xfrm>
            <a:off x="6198277" y="1700213"/>
            <a:ext cx="5504969"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081" dirty="0">
              <a:solidFill>
                <a:schemeClr val="bg1"/>
              </a:solidFill>
            </a:endParaRPr>
          </a:p>
        </p:txBody>
      </p:sp>
      <p:sp>
        <p:nvSpPr>
          <p:cNvPr id="6" name="Rectangle 5"/>
          <p:cNvSpPr/>
          <p:nvPr userDrawn="1"/>
        </p:nvSpPr>
        <p:spPr>
          <a:xfrm>
            <a:off x="493118" y="4065174"/>
            <a:ext cx="55049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081" dirty="0">
              <a:solidFill>
                <a:schemeClr val="bg1"/>
              </a:solidFill>
            </a:endParaRPr>
          </a:p>
        </p:txBody>
      </p:sp>
      <p:sp>
        <p:nvSpPr>
          <p:cNvPr id="7" name="Rectangle 6"/>
          <p:cNvSpPr/>
          <p:nvPr userDrawn="1"/>
        </p:nvSpPr>
        <p:spPr>
          <a:xfrm>
            <a:off x="6211962" y="4065174"/>
            <a:ext cx="55049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081" dirty="0">
              <a:solidFill>
                <a:schemeClr val="bg1"/>
              </a:solidFill>
            </a:endParaRPr>
          </a:p>
        </p:txBody>
      </p:sp>
      <p:sp>
        <p:nvSpPr>
          <p:cNvPr id="8" name="Picture Placeholder 11"/>
          <p:cNvSpPr>
            <a:spLocks noGrp="1"/>
          </p:cNvSpPr>
          <p:nvPr>
            <p:ph type="pic" sz="quarter" idx="25"/>
          </p:nvPr>
        </p:nvSpPr>
        <p:spPr>
          <a:xfrm>
            <a:off x="494198" y="1880214"/>
            <a:ext cx="1942507" cy="1475999"/>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4"/>
            <a:ext cx="1968000" cy="1475999"/>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494198" y="4256214"/>
            <a:ext cx="1942509" cy="1475999"/>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4"/>
            <a:ext cx="1968000" cy="1475999"/>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1" y="1880213"/>
            <a:ext cx="3306685"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2" y="4256213"/>
            <a:ext cx="329943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dirty="0"/>
              <a:t>Click to add subtitle</a:t>
            </a:r>
          </a:p>
        </p:txBody>
      </p:sp>
      <p:sp>
        <p:nvSpPr>
          <p:cNvPr id="18"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9"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14893683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94262" y="317506"/>
            <a:ext cx="11201728" cy="334095"/>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3954" y="1700216"/>
            <a:ext cx="3655384" cy="1971674"/>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47988" y="1700216"/>
            <a:ext cx="3655384" cy="1971674"/>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5971" y="1700219"/>
            <a:ext cx="3655384" cy="1971674"/>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3955" y="3832226"/>
            <a:ext cx="3655384"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5971" y="3832226"/>
            <a:ext cx="3655384"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7988" y="3832226"/>
            <a:ext cx="3655384"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dirty="0"/>
              <a:t>Click to add subtitle</a:t>
            </a:r>
          </a:p>
        </p:txBody>
      </p:sp>
      <p:sp>
        <p:nvSpPr>
          <p:cNvPr id="11"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2"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6028770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Title -  Messaging - Color Background">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72E9CE-09AF-F84C-AD04-9D83DD83BD2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071731"/>
            <a:ext cx="5383369" cy="4786269"/>
          </a:xfrm>
          <a:prstGeom prst="rect">
            <a:avLst/>
          </a:prstGeom>
        </p:spPr>
      </p:pic>
      <p:sp>
        <p:nvSpPr>
          <p:cNvPr id="7" name="Text Placeholder 10">
            <a:extLst>
              <a:ext uri="{FF2B5EF4-FFF2-40B4-BE49-F238E27FC236}">
                <a16:creationId xmlns:a16="http://schemas.microsoft.com/office/drawing/2014/main" id="{163E3A62-D110-124C-BFA5-4BCA8D567DE6}"/>
              </a:ext>
            </a:extLst>
          </p:cNvPr>
          <p:cNvSpPr>
            <a:spLocks noGrp="1"/>
          </p:cNvSpPr>
          <p:nvPr>
            <p:ph type="body" sz="quarter" idx="16" hasCustomPrompt="1"/>
          </p:nvPr>
        </p:nvSpPr>
        <p:spPr>
          <a:xfrm>
            <a:off x="914400" y="1835047"/>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GB" err="1"/>
              <a:t>Mollis</a:t>
            </a:r>
            <a:r>
              <a:rPr lang="en-GB"/>
              <a:t> </a:t>
            </a:r>
            <a:r>
              <a:rPr lang="en-GB" err="1"/>
              <a:t>pretium</a:t>
            </a:r>
            <a:r>
              <a:rPr lang="en-GB"/>
              <a:t> lorem </a:t>
            </a:r>
            <a:r>
              <a:rPr lang="en-GB" err="1"/>
              <a:t>primisetua</a:t>
            </a:r>
            <a:r>
              <a:rPr lang="en-GB"/>
              <a:t>, </a:t>
            </a:r>
            <a:r>
              <a:rPr lang="en-GB" err="1"/>
              <a:t>senectus</a:t>
            </a:r>
            <a:r>
              <a:rPr lang="en-GB"/>
              <a:t> </a:t>
            </a:r>
            <a:r>
              <a:rPr lang="en-GB" err="1"/>
              <a:t>habitasse</a:t>
            </a:r>
            <a:r>
              <a:rPr lang="en-GB"/>
              <a:t> </a:t>
            </a:r>
            <a:r>
              <a:rPr lang="en-GB" err="1"/>
              <a:t>lectusetu</a:t>
            </a:r>
            <a:r>
              <a:rPr lang="en-GB"/>
              <a:t> </a:t>
            </a:r>
            <a:r>
              <a:rPr lang="en-GB" err="1"/>
              <a:t>doler</a:t>
            </a:r>
            <a:r>
              <a:rPr lang="en-GB"/>
              <a:t> </a:t>
            </a:r>
            <a:r>
              <a:rPr lang="en-GB" err="1"/>
              <a:t>scelerisque</a:t>
            </a:r>
            <a:r>
              <a:rPr lang="en-GB"/>
              <a:t> </a:t>
            </a:r>
            <a:r>
              <a:rPr lang="en-GB" err="1"/>
              <a:t>donec</a:t>
            </a:r>
            <a:r>
              <a:rPr lang="en-GB"/>
              <a:t>, </a:t>
            </a:r>
            <a:r>
              <a:rPr lang="en-GB" err="1"/>
              <a:t>ultricies</a:t>
            </a:r>
            <a:r>
              <a:rPr lang="en-GB"/>
              <a:t> </a:t>
            </a:r>
            <a:r>
              <a:rPr lang="en-GB" err="1"/>
              <a:t>tortor</a:t>
            </a:r>
            <a:r>
              <a:rPr lang="en-GB"/>
              <a:t> </a:t>
            </a:r>
            <a:r>
              <a:rPr lang="en-GB" err="1"/>
              <a:t>suspendisse</a:t>
            </a:r>
            <a:r>
              <a:rPr lang="en-GB"/>
              <a:t> </a:t>
            </a:r>
            <a:r>
              <a:rPr lang="en-GB" err="1"/>
              <a:t>adipiscing</a:t>
            </a:r>
            <a:r>
              <a:rPr lang="en-GB"/>
              <a:t> </a:t>
            </a:r>
            <a:r>
              <a:rPr lang="en-GB" err="1"/>
              <a:t>fusce</a:t>
            </a:r>
            <a:r>
              <a:rPr lang="en-GB"/>
              <a:t> </a:t>
            </a:r>
            <a:r>
              <a:rPr lang="en-GB" err="1"/>
              <a:t>morbi</a:t>
            </a:r>
            <a:r>
              <a:rPr lang="en-GB"/>
              <a:t> </a:t>
            </a:r>
            <a:r>
              <a:rPr lang="en-GB" err="1"/>
              <a:t>volutpat</a:t>
            </a:r>
            <a:r>
              <a:rPr lang="en-GB"/>
              <a:t> </a:t>
            </a:r>
            <a:r>
              <a:rPr lang="en-GB" err="1"/>
              <a:t>pellentesque</a:t>
            </a:r>
            <a:r>
              <a:rPr lang="en-GB"/>
              <a:t>, </a:t>
            </a:r>
            <a:r>
              <a:rPr lang="en-GB" err="1"/>
              <a:t>consectetur</a:t>
            </a:r>
            <a:r>
              <a:rPr lang="en-GB"/>
              <a:t> mi </a:t>
            </a:r>
            <a:r>
              <a:rPr lang="en-GB" err="1"/>
              <a:t>risus</a:t>
            </a:r>
            <a:r>
              <a:rPr lang="en-GB"/>
              <a:t> </a:t>
            </a:r>
            <a:r>
              <a:rPr lang="en-GB" err="1"/>
              <a:t>molestie</a:t>
            </a:r>
            <a:r>
              <a:rPr lang="en-GB"/>
              <a:t> </a:t>
            </a:r>
            <a:r>
              <a:rPr lang="en-GB" err="1"/>
              <a:t>curae</a:t>
            </a:r>
            <a:r>
              <a:rPr lang="en-GB"/>
              <a:t> </a:t>
            </a:r>
            <a:r>
              <a:rPr lang="en-GB" err="1"/>
              <a:t>malesuada</a:t>
            </a:r>
            <a:r>
              <a:rPr lang="en-GB"/>
              <a:t>. Massa </a:t>
            </a:r>
            <a:r>
              <a:rPr lang="en-GB" err="1"/>
              <a:t>curae</a:t>
            </a:r>
            <a:r>
              <a:rPr lang="en-GB"/>
              <a:t> </a:t>
            </a:r>
            <a:r>
              <a:rPr lang="en-GB" err="1"/>
              <a:t>fringilla</a:t>
            </a:r>
            <a:r>
              <a:rPr lang="en-GB"/>
              <a:t> </a:t>
            </a:r>
            <a:r>
              <a:rPr lang="en-GB" err="1"/>
              <a:t>porttitor</a:t>
            </a:r>
            <a:r>
              <a:rPr lang="en-GB"/>
              <a:t> </a:t>
            </a:r>
            <a:r>
              <a:rPr lang="en-GB" err="1"/>
              <a:t>quam</a:t>
            </a:r>
            <a:r>
              <a:rPr lang="en-GB"/>
              <a:t> =</a:t>
            </a:r>
            <a:r>
              <a:rPr lang="en-GB" err="1"/>
              <a:t>elit</a:t>
            </a:r>
            <a:r>
              <a:rPr lang="en-GB"/>
              <a:t>, </a:t>
            </a:r>
            <a:r>
              <a:rPr lang="en-GB" err="1"/>
              <a:t>urna</a:t>
            </a:r>
            <a:r>
              <a:rPr lang="en-GB"/>
              <a:t> </a:t>
            </a:r>
            <a:r>
              <a:rPr lang="en-GB" err="1"/>
              <a:t>consequat</a:t>
            </a:r>
            <a:r>
              <a:rPr lang="en-GB"/>
              <a:t> </a:t>
            </a:r>
            <a:r>
              <a:rPr lang="en-GB" err="1"/>
              <a:t>felis</a:t>
            </a:r>
            <a:r>
              <a:rPr lang="en-GB"/>
              <a:t> </a:t>
            </a:r>
            <a:r>
              <a:rPr lang="en-GB" err="1"/>
              <a:t>vehicula</a:t>
            </a:r>
            <a:r>
              <a:rPr lang="en-GB"/>
              <a:t> class </a:t>
            </a:r>
            <a:r>
              <a:rPr lang="en-GB" err="1"/>
              <a:t>ultricies</a:t>
            </a:r>
            <a:r>
              <a:rPr lang="en-GB"/>
              <a:t> </a:t>
            </a:r>
            <a:r>
              <a:rPr lang="en-GB" err="1"/>
              <a:t>mollis</a:t>
            </a:r>
            <a:r>
              <a:rPr lang="en-GB"/>
              <a:t> </a:t>
            </a:r>
            <a:r>
              <a:rPr lang="en-GB" err="1"/>
              <a:t>dictumst</a:t>
            </a:r>
            <a:r>
              <a:rPr lang="en-GB"/>
              <a:t>, </a:t>
            </a:r>
            <a:r>
              <a:rPr lang="en-GB" err="1"/>
              <a:t>aenean</a:t>
            </a:r>
            <a:r>
              <a:rPr lang="en-GB"/>
              <a:t> non a in </a:t>
            </a:r>
            <a:r>
              <a:rPr lang="en-GB" err="1"/>
              <a:t>donec</a:t>
            </a:r>
            <a:r>
              <a:rPr lang="en-GB"/>
              <a:t> </a:t>
            </a:r>
            <a:r>
              <a:rPr lang="en-GB" err="1"/>
              <a:t>nulla</a:t>
            </a:r>
            <a:r>
              <a:rPr lang="en-GB"/>
              <a:t>.</a:t>
            </a:r>
          </a:p>
        </p:txBody>
      </p:sp>
      <p:sp>
        <p:nvSpPr>
          <p:cNvPr id="8" name="Title Placeholder 1">
            <a:extLst>
              <a:ext uri="{FF2B5EF4-FFF2-40B4-BE49-F238E27FC236}">
                <a16:creationId xmlns:a16="http://schemas.microsoft.com/office/drawing/2014/main" id="{90194FF2-8221-9649-9FD2-0C3EDEDE0177}"/>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GB" noProof="0"/>
              <a:t>Your headline goes here when you’re ready</a:t>
            </a:r>
          </a:p>
        </p:txBody>
      </p:sp>
      <p:sp>
        <p:nvSpPr>
          <p:cNvPr id="9" name="Text Placeholder 9">
            <a:extLst>
              <a:ext uri="{FF2B5EF4-FFF2-40B4-BE49-F238E27FC236}">
                <a16:creationId xmlns:a16="http://schemas.microsoft.com/office/drawing/2014/main" id="{D5C972E0-FFF8-EB46-9B7C-37CDB763A629}"/>
              </a:ext>
            </a:extLst>
          </p:cNvPr>
          <p:cNvSpPr>
            <a:spLocks noGrp="1"/>
          </p:cNvSpPr>
          <p:nvPr>
            <p:ph type="body" sz="quarter" idx="20" hasCustomPrompt="1"/>
          </p:nvPr>
        </p:nvSpPr>
        <p:spPr>
          <a:xfrm>
            <a:off x="5544667" y="3845112"/>
            <a:ext cx="5694833" cy="2441388"/>
          </a:xfrm>
        </p:spPr>
        <p:txBody>
          <a:bodyPr>
            <a:noAutofit/>
          </a:bodyPr>
          <a:lstStyle>
            <a:lvl1pPr marL="0" marR="0" indent="0" algn="l" defTabSz="914400" rtl="0" eaLnBrk="1" fontAlgn="auto" latinLnBrk="0" hangingPunct="1">
              <a:lnSpc>
                <a:spcPct val="120000"/>
              </a:lnSpc>
              <a:spcBef>
                <a:spcPts val="600"/>
              </a:spcBef>
              <a:spcAft>
                <a:spcPts val="0"/>
              </a:spcAft>
              <a:buClrTx/>
              <a:buSzTx/>
              <a:buFontTx/>
              <a:buNone/>
              <a:tabLst/>
              <a:defRPr sz="1000" b="0"/>
            </a:lvl1pPr>
          </a:lstStyle>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a:t>
            </a:r>
            <a:r>
              <a:rPr lang="en-GB" err="1"/>
              <a:t>h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a:t>
            </a:r>
            <a:r>
              <a:rPr lang="en-GB"/>
              <a:t> </a:t>
            </a:r>
            <a:r>
              <a:rPr lang="en-GB" err="1"/>
              <a:t>adipiscing</a:t>
            </a:r>
            <a:r>
              <a:rPr lang="en-GB"/>
              <a:t> ligula </a:t>
            </a:r>
            <a:r>
              <a:rPr lang="en-GB" err="1"/>
              <a:t>odio</a:t>
            </a:r>
            <a:r>
              <a:rPr lang="en-GB"/>
              <a:t> </a:t>
            </a:r>
            <a:r>
              <a:rPr lang="en-GB" err="1"/>
              <a:t>adipiscing</a:t>
            </a:r>
            <a:r>
              <a:rPr lang="en-GB"/>
              <a:t> ligula </a:t>
            </a:r>
            <a:r>
              <a:rPr lang="en-GB" err="1"/>
              <a:t>odio</a:t>
            </a:r>
            <a:r>
              <a:rPr lang="en-GB"/>
              <a:t> g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r>
              <a:rPr lang="en-GB" err="1"/>
              <a:t>Quisque</a:t>
            </a:r>
            <a:r>
              <a:rPr lang="en-GB"/>
              <a:t> </a:t>
            </a:r>
            <a:r>
              <a:rPr lang="en-GB" err="1"/>
              <a:t>laoreet</a:t>
            </a:r>
            <a:endParaRPr lang="en-GB"/>
          </a:p>
          <a:p>
            <a:pPr lvl="0"/>
            <a:r>
              <a:rPr lang="en-GB" err="1"/>
              <a:t>Viverra</a:t>
            </a:r>
            <a:r>
              <a:rPr lang="en-GB"/>
              <a:t> </a:t>
            </a:r>
            <a:r>
              <a:rPr lang="en-GB" err="1"/>
              <a:t>dolor</a:t>
            </a:r>
            <a:r>
              <a:rPr lang="en-GB"/>
              <a:t> eros semper </a:t>
            </a:r>
            <a:r>
              <a:rPr lang="en-GB" err="1"/>
              <a:t>sociosqu</a:t>
            </a:r>
            <a:r>
              <a:rPr lang="en-GB"/>
              <a:t> </a:t>
            </a:r>
            <a:r>
              <a:rPr lang="en-GB" err="1"/>
              <a:t>lobortis</a:t>
            </a:r>
            <a:r>
              <a:rPr lang="en-GB"/>
              <a:t> </a:t>
            </a:r>
            <a:r>
              <a:rPr lang="en-GB" err="1"/>
              <a:t>sodales</a:t>
            </a:r>
            <a:r>
              <a:rPr lang="en-GB"/>
              <a:t> </a:t>
            </a:r>
            <a:r>
              <a:rPr lang="en-GB" err="1"/>
              <a:t>metus</a:t>
            </a:r>
            <a:r>
              <a:rPr lang="en-GB"/>
              <a:t> </a:t>
            </a:r>
            <a:r>
              <a:rPr lang="en-GB" err="1"/>
              <a:t>velit</a:t>
            </a:r>
            <a:r>
              <a:rPr lang="en-GB"/>
              <a:t>, </a:t>
            </a:r>
            <a:r>
              <a:rPr lang="en-GB" err="1"/>
              <a:t>nulla</a:t>
            </a:r>
            <a:r>
              <a:rPr lang="en-GB"/>
              <a:t> </a:t>
            </a:r>
            <a:r>
              <a:rPr lang="en-GB" err="1"/>
              <a:t>leo</a:t>
            </a:r>
            <a:r>
              <a:rPr lang="en-GB"/>
              <a:t> </a:t>
            </a:r>
            <a:r>
              <a:rPr lang="en-GB" err="1"/>
              <a:t>turpis</a:t>
            </a:r>
            <a:r>
              <a:rPr lang="en-GB"/>
              <a:t> </a:t>
            </a:r>
            <a:r>
              <a:rPr lang="en-GB" err="1"/>
              <a:t>enim</a:t>
            </a:r>
            <a:r>
              <a:rPr lang="en-GB"/>
              <a:t> </a:t>
            </a:r>
            <a:r>
              <a:rPr lang="en-GB" err="1"/>
              <a:t>quis</a:t>
            </a:r>
            <a:r>
              <a:rPr lang="en-GB"/>
              <a:t> </a:t>
            </a:r>
            <a:r>
              <a:rPr lang="en-GB" err="1"/>
              <a:t>platea</a:t>
            </a:r>
            <a:r>
              <a:rPr lang="en-GB"/>
              <a:t> cursus per </a:t>
            </a:r>
            <a:r>
              <a:rPr lang="en-GB" err="1"/>
              <a:t>sid</a:t>
            </a:r>
            <a:r>
              <a:rPr lang="en-GB"/>
              <a:t> </a:t>
            </a:r>
            <a:r>
              <a:rPr lang="en-GB" err="1"/>
              <a:t>risus</a:t>
            </a:r>
            <a:r>
              <a:rPr lang="en-GB"/>
              <a:t> auctor </a:t>
            </a:r>
            <a:r>
              <a:rPr lang="en-GB" err="1"/>
              <a:t>inceptos</a:t>
            </a:r>
            <a:r>
              <a:rPr lang="en-GB"/>
              <a:t> </a:t>
            </a:r>
            <a:r>
              <a:rPr lang="en-GB" err="1"/>
              <a:t>nisl</a:t>
            </a:r>
            <a:r>
              <a:rPr lang="en-GB"/>
              <a:t>.</a:t>
            </a:r>
          </a:p>
          <a:p>
            <a:pPr lvl="0"/>
            <a:r>
              <a:rPr lang="en-GB" err="1"/>
              <a:t>Conubia</a:t>
            </a:r>
            <a:r>
              <a:rPr lang="en-GB"/>
              <a:t> </a:t>
            </a:r>
            <a:r>
              <a:rPr lang="en-GB" err="1"/>
              <a:t>aptent</a:t>
            </a:r>
            <a:r>
              <a:rPr lang="en-GB"/>
              <a:t> </a:t>
            </a:r>
            <a:r>
              <a:rPr lang="en-GB" err="1"/>
              <a:t>primis</a:t>
            </a:r>
            <a:endParaRPr lang="en-GB"/>
          </a:p>
          <a:p>
            <a:pPr lvl="0"/>
            <a:r>
              <a:rPr lang="en-GB"/>
              <a:t>Libero </a:t>
            </a:r>
            <a:r>
              <a:rPr lang="en-GB" err="1"/>
              <a:t>pellentesque</a:t>
            </a:r>
            <a:r>
              <a:rPr lang="en-GB"/>
              <a:t> </a:t>
            </a:r>
            <a:r>
              <a:rPr lang="en-GB" err="1"/>
              <a:t>nunc</a:t>
            </a:r>
            <a:r>
              <a:rPr lang="en-GB"/>
              <a:t> fames </a:t>
            </a:r>
            <a:r>
              <a:rPr lang="en-GB" err="1"/>
              <a:t>penatibus</a:t>
            </a:r>
            <a:r>
              <a:rPr lang="en-GB"/>
              <a:t> </a:t>
            </a:r>
            <a:r>
              <a:rPr lang="en-GB" err="1"/>
              <a:t>accumsan</a:t>
            </a:r>
            <a:r>
              <a:rPr lang="en-GB"/>
              <a:t> h </a:t>
            </a:r>
            <a:r>
              <a:rPr lang="en-GB" err="1"/>
              <a:t>adipiscing</a:t>
            </a:r>
            <a:r>
              <a:rPr lang="en-GB"/>
              <a:t> ligula </a:t>
            </a:r>
            <a:r>
              <a:rPr lang="en-GB" err="1"/>
              <a:t>odio</a:t>
            </a:r>
            <a:r>
              <a:rPr lang="en-GB"/>
              <a:t> </a:t>
            </a:r>
            <a:r>
              <a:rPr lang="en-GB" err="1"/>
              <a:t>adipiscing</a:t>
            </a:r>
            <a:r>
              <a:rPr lang="en-GB"/>
              <a:t> ligula </a:t>
            </a:r>
            <a:r>
              <a:rPr lang="en-GB" err="1"/>
              <a:t>odio</a:t>
            </a:r>
            <a:r>
              <a:rPr lang="en-GB"/>
              <a:t> </a:t>
            </a:r>
            <a:r>
              <a:rPr lang="en-GB" err="1"/>
              <a:t>endrerit</a:t>
            </a:r>
            <a:r>
              <a:rPr lang="en-GB"/>
              <a:t> </a:t>
            </a:r>
            <a:r>
              <a:rPr lang="en-GB" err="1"/>
              <a:t>diam</a:t>
            </a:r>
            <a:r>
              <a:rPr lang="en-GB"/>
              <a:t> </a:t>
            </a:r>
            <a:r>
              <a:rPr lang="en-GB" err="1"/>
              <a:t>platea</a:t>
            </a:r>
            <a:r>
              <a:rPr lang="en-GB"/>
              <a:t>, </a:t>
            </a:r>
            <a:r>
              <a:rPr lang="en-GB" err="1"/>
              <a:t>himenaeos</a:t>
            </a:r>
            <a:r>
              <a:rPr lang="en-GB"/>
              <a:t> </a:t>
            </a:r>
            <a:r>
              <a:rPr lang="en-GB" err="1"/>
              <a:t>scelerisque</a:t>
            </a:r>
            <a:r>
              <a:rPr lang="en-GB"/>
              <a:t> eros </a:t>
            </a:r>
            <a:r>
              <a:rPr lang="en-GB" err="1"/>
              <a:t>congue</a:t>
            </a:r>
            <a:r>
              <a:rPr lang="en-GB"/>
              <a:t> vestibulum ipsum </a:t>
            </a:r>
            <a:r>
              <a:rPr lang="en-GB" err="1"/>
              <a:t>adipiscing</a:t>
            </a:r>
            <a:r>
              <a:rPr lang="en-GB"/>
              <a:t> ligula </a:t>
            </a:r>
            <a:r>
              <a:rPr lang="en-GB" err="1"/>
              <a:t>odio</a:t>
            </a:r>
            <a:r>
              <a:rPr lang="en-GB"/>
              <a:t>, </a:t>
            </a:r>
            <a:r>
              <a:rPr lang="en-GB" err="1"/>
              <a:t>neque</a:t>
            </a:r>
            <a:r>
              <a:rPr lang="en-GB"/>
              <a:t> </a:t>
            </a:r>
            <a:r>
              <a:rPr lang="en-GB" err="1"/>
              <a:t>metus</a:t>
            </a:r>
            <a:r>
              <a:rPr lang="en-GB"/>
              <a:t> </a:t>
            </a:r>
            <a:r>
              <a:rPr lang="en-GB" err="1"/>
              <a:t>sociisetur</a:t>
            </a:r>
            <a:r>
              <a:rPr lang="en-GB"/>
              <a:t> </a:t>
            </a:r>
            <a:r>
              <a:rPr lang="en-GB" err="1"/>
              <a:t>facilisis</a:t>
            </a:r>
            <a:r>
              <a:rPr lang="en-GB"/>
              <a:t> </a:t>
            </a:r>
            <a:r>
              <a:rPr lang="en-GB" err="1"/>
              <a:t>sagittis</a:t>
            </a:r>
            <a:r>
              <a:rPr lang="en-GB"/>
              <a:t> </a:t>
            </a:r>
            <a:r>
              <a:rPr lang="en-GB" err="1"/>
              <a:t>tincidunt</a:t>
            </a:r>
            <a:r>
              <a:rPr lang="en-GB"/>
              <a:t>.</a:t>
            </a:r>
          </a:p>
          <a:p>
            <a:pPr lvl="0"/>
            <a:endParaRPr lang="en-GB"/>
          </a:p>
        </p:txBody>
      </p:sp>
    </p:spTree>
    <p:extLst>
      <p:ext uri="{BB962C8B-B14F-4D97-AF65-F5344CB8AC3E}">
        <p14:creationId xmlns:p14="http://schemas.microsoft.com/office/powerpoint/2010/main" val="338737273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790699"/>
              </p:ext>
            </p:extLst>
          </p:nvPr>
        </p:nvGraphicFramePr>
        <p:xfrm>
          <a:off x="1811" y="1441"/>
          <a:ext cx="1810" cy="1440"/>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2" name="Object 1" hidden="1"/>
                      <p:cNvPicPr/>
                      <p:nvPr/>
                    </p:nvPicPr>
                    <p:blipFill>
                      <a:blip r:embed="rId4"/>
                      <a:stretch>
                        <a:fillRect/>
                      </a:stretch>
                    </p:blipFill>
                    <p:spPr>
                      <a:xfrm>
                        <a:off x="1811" y="1441"/>
                        <a:ext cx="1810" cy="1440"/>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494198" y="651601"/>
            <a:ext cx="11201795" cy="757252"/>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494198" y="317504"/>
            <a:ext cx="11201795" cy="33409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87954160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1201" y="1857892"/>
            <a:ext cx="5486676" cy="1695450"/>
          </a:xfrm>
        </p:spPr>
        <p:txBody>
          <a:bodyPr/>
          <a:lstStyle>
            <a:lvl1pPr>
              <a:spcAft>
                <a:spcPts val="982"/>
              </a:spcAft>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05419" y="1857892"/>
            <a:ext cx="5490574" cy="1695450"/>
          </a:xfrm>
        </p:spPr>
        <p:txBody>
          <a:bodyPr/>
          <a:lstStyle>
            <a:lvl1pPr>
              <a:spcAft>
                <a:spcPts val="982"/>
              </a:spcAft>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494199" y="317506"/>
            <a:ext cx="11201795" cy="334095"/>
          </a:xfrm>
        </p:spPr>
        <p:txBody>
          <a:bodyPr/>
          <a:lstStyle/>
          <a:p>
            <a:r>
              <a:rPr lang="en-US" noProof="0"/>
              <a:t>Click to edit Master title style</a:t>
            </a:r>
            <a:endParaRPr lang="en-US" noProof="0" dirty="0"/>
          </a:p>
        </p:txBody>
      </p:sp>
      <p:sp>
        <p:nvSpPr>
          <p:cNvPr id="4" name="Rectangle 3"/>
          <p:cNvSpPr/>
          <p:nvPr userDrawn="1"/>
        </p:nvSpPr>
        <p:spPr>
          <a:xfrm>
            <a:off x="492908" y="1705379"/>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82"/>
              </a:spcAft>
            </a:pPr>
            <a:endParaRPr lang="en-US" sz="1081" noProof="0" dirty="0">
              <a:solidFill>
                <a:schemeClr val="bg1"/>
              </a:solidFill>
            </a:endParaRPr>
          </a:p>
        </p:txBody>
      </p:sp>
      <p:sp>
        <p:nvSpPr>
          <p:cNvPr id="5" name="Rectangle 4"/>
          <p:cNvSpPr/>
          <p:nvPr userDrawn="1"/>
        </p:nvSpPr>
        <p:spPr>
          <a:xfrm>
            <a:off x="6205348" y="1705379"/>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82"/>
              </a:spcAft>
            </a:pPr>
            <a:endParaRPr lang="en-US" sz="1081" noProof="0" dirty="0">
              <a:solidFill>
                <a:schemeClr val="bg1"/>
              </a:solidFill>
            </a:endParaRPr>
          </a:p>
        </p:txBody>
      </p:sp>
      <p:sp>
        <p:nvSpPr>
          <p:cNvPr id="6" name="Picture Placeholder 29"/>
          <p:cNvSpPr>
            <a:spLocks noGrp="1"/>
          </p:cNvSpPr>
          <p:nvPr>
            <p:ph type="pic" sz="quarter" idx="19" hasCustomPrompt="1"/>
          </p:nvPr>
        </p:nvSpPr>
        <p:spPr>
          <a:xfrm>
            <a:off x="4775136" y="1863920"/>
            <a:ext cx="1204564" cy="549275"/>
          </a:xfrm>
        </p:spPr>
        <p:txBody>
          <a:bodyPr/>
          <a:lstStyle>
            <a:lvl1pPr marL="0" marR="0" indent="0" algn="l" defTabSz="898646" rtl="0" eaLnBrk="1" fontAlgn="auto" latinLnBrk="0" hangingPunct="1">
              <a:lnSpc>
                <a:spcPct val="100000"/>
              </a:lnSpc>
              <a:spcBef>
                <a:spcPts val="0"/>
              </a:spcBef>
              <a:spcAft>
                <a:spcPts val="982"/>
              </a:spcAft>
              <a:buClrTx/>
              <a:buSzTx/>
              <a:buFont typeface="Arial" panose="020B0604020202020204" pitchFamily="34" charset="0"/>
              <a:buNone/>
              <a:tabLst/>
              <a:defRPr sz="885"/>
            </a:lvl1pPr>
          </a:lstStyle>
          <a:p>
            <a:pPr>
              <a:spcBef>
                <a:spcPct val="0"/>
              </a:spcBef>
            </a:pPr>
            <a:r>
              <a:rPr lang="en-US" sz="1179" noProof="0" dirty="0">
                <a:solidFill>
                  <a:schemeClr val="bg1"/>
                </a:solidFill>
              </a:rPr>
              <a:t>Co-brand</a:t>
            </a:r>
            <a:br>
              <a:rPr lang="en-US" sz="1179" noProof="0" dirty="0">
                <a:solidFill>
                  <a:schemeClr val="bg1"/>
                </a:solidFill>
              </a:rPr>
            </a:br>
            <a:r>
              <a:rPr lang="en-US" sz="1179"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15303" y="1857898"/>
            <a:ext cx="1246671" cy="549275"/>
          </a:xfrm>
        </p:spPr>
        <p:txBody>
          <a:bodyPr/>
          <a:lstStyle>
            <a:lvl1pPr marL="0" marR="0" indent="0" algn="l" defTabSz="898646" rtl="0" eaLnBrk="1" fontAlgn="auto" latinLnBrk="0" hangingPunct="1">
              <a:lnSpc>
                <a:spcPct val="100000"/>
              </a:lnSpc>
              <a:spcBef>
                <a:spcPts val="0"/>
              </a:spcBef>
              <a:spcAft>
                <a:spcPts val="982"/>
              </a:spcAft>
              <a:buClrTx/>
              <a:buSzTx/>
              <a:buFont typeface="Arial" panose="020B0604020202020204" pitchFamily="34" charset="0"/>
              <a:buNone/>
              <a:tabLst/>
              <a:defRPr sz="885"/>
            </a:lvl1pPr>
          </a:lstStyle>
          <a:p>
            <a:pPr>
              <a:spcBef>
                <a:spcPct val="0"/>
              </a:spcBef>
            </a:pPr>
            <a:r>
              <a:rPr lang="en-US" sz="1179" noProof="0" dirty="0">
                <a:solidFill>
                  <a:schemeClr val="bg1"/>
                </a:solidFill>
              </a:rPr>
              <a:t>Co-brand</a:t>
            </a:r>
            <a:br>
              <a:rPr lang="en-US" sz="1179" noProof="0" dirty="0">
                <a:solidFill>
                  <a:schemeClr val="bg1"/>
                </a:solidFill>
              </a:rPr>
            </a:br>
            <a:r>
              <a:rPr lang="en-US" sz="1179"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dirty="0"/>
              <a:t>Click to add subtitle</a:t>
            </a:r>
          </a:p>
        </p:txBody>
      </p:sp>
      <p:sp>
        <p:nvSpPr>
          <p:cNvPr id="10"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1"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404694879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511201" y="1857892"/>
            <a:ext cx="5486676" cy="1695450"/>
          </a:xfrm>
        </p:spPr>
        <p:txBody>
          <a:bodyPr/>
          <a:lstStyle>
            <a:lvl1pPr>
              <a:spcAft>
                <a:spcPts val="982"/>
              </a:spcAft>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ext Placeholder 8"/>
          <p:cNvSpPr>
            <a:spLocks noGrp="1"/>
          </p:cNvSpPr>
          <p:nvPr>
            <p:ph type="body" sz="quarter" idx="21"/>
          </p:nvPr>
        </p:nvSpPr>
        <p:spPr>
          <a:xfrm>
            <a:off x="6205419" y="1857892"/>
            <a:ext cx="5490574" cy="1695450"/>
          </a:xfrm>
        </p:spPr>
        <p:txBody>
          <a:bodyPr/>
          <a:lstStyle>
            <a:lvl1pPr>
              <a:spcAft>
                <a:spcPts val="982"/>
              </a:spcAft>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itle 1"/>
          <p:cNvSpPr>
            <a:spLocks noGrp="1"/>
          </p:cNvSpPr>
          <p:nvPr>
            <p:ph type="title"/>
          </p:nvPr>
        </p:nvSpPr>
        <p:spPr>
          <a:xfrm>
            <a:off x="494199" y="317506"/>
            <a:ext cx="11201795" cy="334095"/>
          </a:xfrm>
        </p:spPr>
        <p:txBody>
          <a:bodyPr/>
          <a:lstStyle/>
          <a:p>
            <a:r>
              <a:rPr lang="en-US" noProof="0"/>
              <a:t>Click to edit Master title style</a:t>
            </a:r>
            <a:endParaRPr lang="en-US" noProof="0" dirty="0"/>
          </a:p>
        </p:txBody>
      </p:sp>
      <p:sp>
        <p:nvSpPr>
          <p:cNvPr id="21" name="Rectangle 20"/>
          <p:cNvSpPr/>
          <p:nvPr userDrawn="1"/>
        </p:nvSpPr>
        <p:spPr>
          <a:xfrm>
            <a:off x="492908" y="1705379"/>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82"/>
              </a:spcAft>
            </a:pPr>
            <a:endParaRPr lang="en-US" sz="1081" noProof="0" dirty="0">
              <a:solidFill>
                <a:schemeClr val="bg1"/>
              </a:solidFill>
            </a:endParaRPr>
          </a:p>
        </p:txBody>
      </p:sp>
      <p:sp>
        <p:nvSpPr>
          <p:cNvPr id="22" name="Rectangle 21"/>
          <p:cNvSpPr/>
          <p:nvPr userDrawn="1"/>
        </p:nvSpPr>
        <p:spPr>
          <a:xfrm>
            <a:off x="6205348" y="1705379"/>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82"/>
              </a:spcAft>
            </a:pPr>
            <a:endParaRPr lang="en-US" sz="1081" noProof="0" dirty="0">
              <a:solidFill>
                <a:schemeClr val="bg1"/>
              </a:solidFill>
            </a:endParaRPr>
          </a:p>
        </p:txBody>
      </p:sp>
      <p:sp>
        <p:nvSpPr>
          <p:cNvPr id="23" name="Picture Placeholder 29"/>
          <p:cNvSpPr>
            <a:spLocks noGrp="1"/>
          </p:cNvSpPr>
          <p:nvPr>
            <p:ph type="pic" sz="quarter" idx="19" hasCustomPrompt="1"/>
          </p:nvPr>
        </p:nvSpPr>
        <p:spPr>
          <a:xfrm>
            <a:off x="4775136" y="1863920"/>
            <a:ext cx="1204564" cy="549275"/>
          </a:xfrm>
        </p:spPr>
        <p:txBody>
          <a:bodyPr/>
          <a:lstStyle>
            <a:lvl1pPr marL="0" marR="0" indent="0" algn="l" defTabSz="898646" rtl="0" eaLnBrk="1" fontAlgn="auto" latinLnBrk="0" hangingPunct="1">
              <a:lnSpc>
                <a:spcPct val="100000"/>
              </a:lnSpc>
              <a:spcBef>
                <a:spcPts val="0"/>
              </a:spcBef>
              <a:spcAft>
                <a:spcPts val="982"/>
              </a:spcAft>
              <a:buClrTx/>
              <a:buSzTx/>
              <a:buFont typeface="Arial" panose="020B0604020202020204" pitchFamily="34" charset="0"/>
              <a:buNone/>
              <a:tabLst/>
              <a:defRPr sz="885"/>
            </a:lvl1pPr>
          </a:lstStyle>
          <a:p>
            <a:pPr>
              <a:spcBef>
                <a:spcPct val="0"/>
              </a:spcBef>
            </a:pPr>
            <a:r>
              <a:rPr lang="en-US" sz="1179" noProof="0" dirty="0">
                <a:solidFill>
                  <a:schemeClr val="bg1"/>
                </a:solidFill>
              </a:rPr>
              <a:t>Co-brand</a:t>
            </a:r>
            <a:br>
              <a:rPr lang="en-US" sz="1179" noProof="0" dirty="0">
                <a:solidFill>
                  <a:schemeClr val="bg1"/>
                </a:solidFill>
              </a:rPr>
            </a:br>
            <a:r>
              <a:rPr lang="en-US" sz="1179" noProof="0" dirty="0">
                <a:solidFill>
                  <a:schemeClr val="bg1"/>
                </a:solidFill>
              </a:rPr>
              <a:t>Logo</a:t>
            </a:r>
          </a:p>
          <a:p>
            <a:endParaRPr lang="en-US" noProof="0" dirty="0"/>
          </a:p>
        </p:txBody>
      </p:sp>
      <p:sp>
        <p:nvSpPr>
          <p:cNvPr id="24" name="Picture Placeholder 29"/>
          <p:cNvSpPr>
            <a:spLocks noGrp="1"/>
          </p:cNvSpPr>
          <p:nvPr>
            <p:ph type="pic" sz="quarter" idx="20" hasCustomPrompt="1"/>
          </p:nvPr>
        </p:nvSpPr>
        <p:spPr>
          <a:xfrm>
            <a:off x="10415303" y="1857898"/>
            <a:ext cx="1246671" cy="549275"/>
          </a:xfrm>
        </p:spPr>
        <p:txBody>
          <a:bodyPr/>
          <a:lstStyle>
            <a:lvl1pPr marL="0" marR="0" indent="0" algn="l" defTabSz="898646" rtl="0" eaLnBrk="1" fontAlgn="auto" latinLnBrk="0" hangingPunct="1">
              <a:lnSpc>
                <a:spcPct val="100000"/>
              </a:lnSpc>
              <a:spcBef>
                <a:spcPts val="0"/>
              </a:spcBef>
              <a:spcAft>
                <a:spcPts val="982"/>
              </a:spcAft>
              <a:buClrTx/>
              <a:buSzTx/>
              <a:buFont typeface="Arial" panose="020B0604020202020204" pitchFamily="34" charset="0"/>
              <a:buNone/>
              <a:tabLst/>
              <a:defRPr sz="885"/>
            </a:lvl1pPr>
          </a:lstStyle>
          <a:p>
            <a:pPr>
              <a:spcBef>
                <a:spcPct val="0"/>
              </a:spcBef>
            </a:pPr>
            <a:r>
              <a:rPr lang="en-US" sz="1179" noProof="0" dirty="0">
                <a:solidFill>
                  <a:schemeClr val="bg1"/>
                </a:solidFill>
              </a:rPr>
              <a:t>Co-brand</a:t>
            </a:r>
            <a:br>
              <a:rPr lang="en-US" sz="1179" noProof="0" dirty="0">
                <a:solidFill>
                  <a:schemeClr val="bg1"/>
                </a:solidFill>
              </a:rPr>
            </a:br>
            <a:r>
              <a:rPr lang="en-US" sz="1179" noProof="0" dirty="0">
                <a:solidFill>
                  <a:schemeClr val="bg1"/>
                </a:solidFill>
              </a:rPr>
              <a:t>Logo</a:t>
            </a:r>
          </a:p>
          <a:p>
            <a:endParaRPr lang="en-US" noProof="0" dirty="0"/>
          </a:p>
        </p:txBody>
      </p:sp>
      <p:sp>
        <p:nvSpPr>
          <p:cNvPr id="25"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dirty="0"/>
              <a:t>Click to add subtitle</a:t>
            </a:r>
          </a:p>
        </p:txBody>
      </p:sp>
      <p:sp>
        <p:nvSpPr>
          <p:cNvPr id="26" name="Text Placeholder 8"/>
          <p:cNvSpPr>
            <a:spLocks noGrp="1"/>
          </p:cNvSpPr>
          <p:nvPr>
            <p:ph type="body" sz="quarter" idx="22"/>
          </p:nvPr>
        </p:nvSpPr>
        <p:spPr>
          <a:xfrm>
            <a:off x="520348" y="4164560"/>
            <a:ext cx="5486676" cy="1695450"/>
          </a:xfrm>
        </p:spPr>
        <p:txBody>
          <a:bodyPr/>
          <a:lstStyle>
            <a:lvl1pPr>
              <a:spcAft>
                <a:spcPts val="982"/>
              </a:spcAft>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p:cNvSpPr>
            <a:spLocks noGrp="1"/>
          </p:cNvSpPr>
          <p:nvPr>
            <p:ph type="body" sz="quarter" idx="23"/>
          </p:nvPr>
        </p:nvSpPr>
        <p:spPr>
          <a:xfrm>
            <a:off x="6214567" y="4164560"/>
            <a:ext cx="5490574" cy="1695450"/>
          </a:xfrm>
        </p:spPr>
        <p:txBody>
          <a:bodyPr/>
          <a:lstStyle>
            <a:lvl1pPr>
              <a:spcAft>
                <a:spcPts val="982"/>
              </a:spcAft>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2055" y="4012047"/>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82"/>
              </a:spcAft>
            </a:pPr>
            <a:endParaRPr lang="en-US" sz="1081" noProof="0" dirty="0">
              <a:solidFill>
                <a:schemeClr val="bg1"/>
              </a:solidFill>
            </a:endParaRPr>
          </a:p>
        </p:txBody>
      </p:sp>
      <p:sp>
        <p:nvSpPr>
          <p:cNvPr id="29" name="Rectangle 28"/>
          <p:cNvSpPr/>
          <p:nvPr userDrawn="1"/>
        </p:nvSpPr>
        <p:spPr>
          <a:xfrm>
            <a:off x="6214496" y="4012047"/>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82"/>
              </a:spcAft>
            </a:pPr>
            <a:endParaRPr lang="en-US" sz="1081" noProof="0" dirty="0">
              <a:solidFill>
                <a:schemeClr val="bg1"/>
              </a:solidFill>
            </a:endParaRPr>
          </a:p>
        </p:txBody>
      </p:sp>
      <p:sp>
        <p:nvSpPr>
          <p:cNvPr id="30" name="Picture Placeholder 29"/>
          <p:cNvSpPr>
            <a:spLocks noGrp="1"/>
          </p:cNvSpPr>
          <p:nvPr>
            <p:ph type="pic" sz="quarter" idx="24" hasCustomPrompt="1"/>
          </p:nvPr>
        </p:nvSpPr>
        <p:spPr>
          <a:xfrm>
            <a:off x="4784284" y="4170588"/>
            <a:ext cx="1204564" cy="549275"/>
          </a:xfrm>
        </p:spPr>
        <p:txBody>
          <a:bodyPr/>
          <a:lstStyle>
            <a:lvl1pPr marL="0" marR="0" indent="0" algn="l" defTabSz="898646" rtl="0" eaLnBrk="1" fontAlgn="auto" latinLnBrk="0" hangingPunct="1">
              <a:lnSpc>
                <a:spcPct val="100000"/>
              </a:lnSpc>
              <a:spcBef>
                <a:spcPts val="0"/>
              </a:spcBef>
              <a:spcAft>
                <a:spcPts val="982"/>
              </a:spcAft>
              <a:buClrTx/>
              <a:buSzTx/>
              <a:buFont typeface="Arial" panose="020B0604020202020204" pitchFamily="34" charset="0"/>
              <a:buNone/>
              <a:tabLst/>
              <a:defRPr sz="885"/>
            </a:lvl1pPr>
          </a:lstStyle>
          <a:p>
            <a:pPr>
              <a:spcBef>
                <a:spcPct val="0"/>
              </a:spcBef>
            </a:pPr>
            <a:r>
              <a:rPr lang="en-US" sz="1179" noProof="0" dirty="0">
                <a:solidFill>
                  <a:schemeClr val="bg1"/>
                </a:solidFill>
              </a:rPr>
              <a:t>Co-brand</a:t>
            </a:r>
            <a:br>
              <a:rPr lang="en-US" sz="1179" noProof="0" dirty="0">
                <a:solidFill>
                  <a:schemeClr val="bg1"/>
                </a:solidFill>
              </a:rPr>
            </a:br>
            <a:r>
              <a:rPr lang="en-US" sz="1179" noProof="0" dirty="0">
                <a:solidFill>
                  <a:schemeClr val="bg1"/>
                </a:solidFill>
              </a:rPr>
              <a:t>Logo</a:t>
            </a:r>
          </a:p>
          <a:p>
            <a:endParaRPr lang="en-US" noProof="0" dirty="0"/>
          </a:p>
        </p:txBody>
      </p:sp>
      <p:sp>
        <p:nvSpPr>
          <p:cNvPr id="31" name="Picture Placeholder 29"/>
          <p:cNvSpPr>
            <a:spLocks noGrp="1"/>
          </p:cNvSpPr>
          <p:nvPr>
            <p:ph type="pic" sz="quarter" idx="25" hasCustomPrompt="1"/>
          </p:nvPr>
        </p:nvSpPr>
        <p:spPr>
          <a:xfrm>
            <a:off x="10424451" y="4164565"/>
            <a:ext cx="1246671" cy="549275"/>
          </a:xfrm>
        </p:spPr>
        <p:txBody>
          <a:bodyPr/>
          <a:lstStyle>
            <a:lvl1pPr marL="0" marR="0" indent="0" algn="l" defTabSz="898646" rtl="0" eaLnBrk="1" fontAlgn="auto" latinLnBrk="0" hangingPunct="1">
              <a:lnSpc>
                <a:spcPct val="100000"/>
              </a:lnSpc>
              <a:spcBef>
                <a:spcPts val="0"/>
              </a:spcBef>
              <a:spcAft>
                <a:spcPts val="982"/>
              </a:spcAft>
              <a:buClrTx/>
              <a:buSzTx/>
              <a:buFont typeface="Arial" panose="020B0604020202020204" pitchFamily="34" charset="0"/>
              <a:buNone/>
              <a:tabLst/>
              <a:defRPr sz="885"/>
            </a:lvl1pPr>
          </a:lstStyle>
          <a:p>
            <a:pPr>
              <a:spcBef>
                <a:spcPct val="0"/>
              </a:spcBef>
            </a:pPr>
            <a:r>
              <a:rPr lang="en-US" sz="1179" noProof="0" dirty="0">
                <a:solidFill>
                  <a:schemeClr val="bg1"/>
                </a:solidFill>
              </a:rPr>
              <a:t>Co-brand</a:t>
            </a:r>
            <a:br>
              <a:rPr lang="en-US" sz="1179" noProof="0" dirty="0">
                <a:solidFill>
                  <a:schemeClr val="bg1"/>
                </a:solidFill>
              </a:rPr>
            </a:br>
            <a:r>
              <a:rPr lang="en-US" sz="1179" noProof="0" dirty="0">
                <a:solidFill>
                  <a:schemeClr val="bg1"/>
                </a:solidFill>
              </a:rPr>
              <a:t>Logo</a:t>
            </a:r>
          </a:p>
          <a:p>
            <a:endParaRPr lang="en-US" noProof="0" dirty="0"/>
          </a:p>
        </p:txBody>
      </p:sp>
      <p:sp>
        <p:nvSpPr>
          <p:cNvPr id="16"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7"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416361354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94198" y="317502"/>
            <a:ext cx="11201795" cy="334101"/>
          </a:xfrm>
        </p:spPr>
        <p:txBody>
          <a:bodyPr/>
          <a:lstStyle/>
          <a:p>
            <a:r>
              <a:rPr lang="en-US" noProof="0"/>
              <a:t>Click to edit Master title style</a:t>
            </a:r>
            <a:endParaRPr lang="en-US" noProof="0" dirty="0"/>
          </a:p>
        </p:txBody>
      </p:sp>
      <p:sp>
        <p:nvSpPr>
          <p:cNvPr id="4" name="Rectangle 3"/>
          <p:cNvSpPr/>
          <p:nvPr userDrawn="1"/>
        </p:nvSpPr>
        <p:spPr>
          <a:xfrm>
            <a:off x="4292562" y="1705970"/>
            <a:ext cx="361250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81" noProof="0" dirty="0">
              <a:solidFill>
                <a:schemeClr val="bg1"/>
              </a:solidFill>
            </a:endParaRPr>
          </a:p>
        </p:txBody>
      </p:sp>
      <p:sp>
        <p:nvSpPr>
          <p:cNvPr id="5" name="Rectangle 4"/>
          <p:cNvSpPr/>
          <p:nvPr userDrawn="1"/>
        </p:nvSpPr>
        <p:spPr>
          <a:xfrm>
            <a:off x="494196" y="1700218"/>
            <a:ext cx="3612508"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81" noProof="0" dirty="0">
              <a:solidFill>
                <a:schemeClr val="bg1"/>
              </a:solidFill>
            </a:endParaRPr>
          </a:p>
        </p:txBody>
      </p:sp>
      <p:sp>
        <p:nvSpPr>
          <p:cNvPr id="6" name="Rectangle 5"/>
          <p:cNvSpPr/>
          <p:nvPr userDrawn="1"/>
        </p:nvSpPr>
        <p:spPr>
          <a:xfrm>
            <a:off x="8087859" y="1705970"/>
            <a:ext cx="361250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81" noProof="0" dirty="0">
              <a:solidFill>
                <a:schemeClr val="bg1"/>
              </a:solidFill>
            </a:endParaRPr>
          </a:p>
        </p:txBody>
      </p:sp>
      <p:sp>
        <p:nvSpPr>
          <p:cNvPr id="7" name="Text Placeholder 8"/>
          <p:cNvSpPr>
            <a:spLocks noGrp="1"/>
          </p:cNvSpPr>
          <p:nvPr>
            <p:ph type="body" sz="quarter" idx="17"/>
          </p:nvPr>
        </p:nvSpPr>
        <p:spPr>
          <a:xfrm>
            <a:off x="4325715" y="1851442"/>
            <a:ext cx="3540577" cy="3845753"/>
          </a:xfrm>
        </p:spPr>
        <p:txBody>
          <a:bodyPr/>
          <a:lstStyle>
            <a:lvl1pPr>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94198" y="1851442"/>
            <a:ext cx="3560000" cy="3845753"/>
          </a:xfrm>
        </p:spPr>
        <p:txBody>
          <a:bodyPr/>
          <a:lstStyle>
            <a:lvl1pPr>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63439" y="1851442"/>
            <a:ext cx="3532554" cy="3845753"/>
          </a:xfrm>
        </p:spPr>
        <p:txBody>
          <a:bodyPr/>
          <a:lstStyle>
            <a:lvl1pPr>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2"/>
            <a:ext cx="11194341"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dirty="0"/>
              <a:t>Click to add subtitle</a:t>
            </a:r>
          </a:p>
        </p:txBody>
      </p:sp>
      <p:sp>
        <p:nvSpPr>
          <p:cNvPr id="11"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2"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59250805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4" y="317504"/>
            <a:ext cx="1119434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29493" y="2556000"/>
            <a:ext cx="2592000" cy="3394800"/>
          </a:xfrm>
        </p:spPr>
        <p:txBody>
          <a:bodyPr/>
          <a:lstStyle>
            <a:lvl1pPr>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68556" y="2556000"/>
            <a:ext cx="2592000" cy="3394800"/>
          </a:xfrm>
        </p:spPr>
        <p:txBody>
          <a:bodyPr/>
          <a:lstStyle>
            <a:lvl1pPr>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75848" y="2556000"/>
            <a:ext cx="2592000" cy="3394800"/>
          </a:xfrm>
        </p:spPr>
        <p:txBody>
          <a:bodyPr/>
          <a:lstStyle>
            <a:lvl1pPr>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22201" y="2556000"/>
            <a:ext cx="2592000" cy="3394800"/>
          </a:xfrm>
        </p:spPr>
        <p:txBody>
          <a:bodyPr/>
          <a:lstStyle>
            <a:lvl1pPr>
              <a:defRPr b="1">
                <a:solidFill>
                  <a:schemeClr val="accent1"/>
                </a:solidFill>
              </a:defRPr>
            </a:lvl1pPr>
            <a:lvl2pPr>
              <a:spcAft>
                <a:spcPts val="982"/>
              </a:spcAft>
              <a:defRPr/>
            </a:lvl2pPr>
            <a:lvl3pPr marL="0" indent="0">
              <a:spcAft>
                <a:spcPts val="982"/>
              </a:spcAft>
              <a:buNone/>
              <a:defRPr/>
            </a:lvl3pPr>
            <a:lvl4pPr marL="173360" indent="-173360">
              <a:spcAft>
                <a:spcPts val="982"/>
              </a:spcAft>
              <a:buFont typeface="Arial" panose="020B0604020202020204" pitchFamily="34" charset="0"/>
              <a:buChar char="•"/>
              <a:defRPr/>
            </a:lvl4pPr>
            <a:lvl5pPr marL="350260" indent="-173360">
              <a:spcAft>
                <a:spcPts val="982"/>
              </a:spcAft>
              <a:defRPr baseline="0"/>
            </a:lvl5pPr>
            <a:lvl6pPr marL="350260" indent="-173360">
              <a:spcAft>
                <a:spcPts val="982"/>
              </a:spcAft>
              <a:buFont typeface="Verdana" panose="020B0604030504040204" pitchFamily="34" charset="0"/>
              <a:buChar char="−"/>
              <a:defRPr/>
            </a:lvl6pPr>
            <a:lvl7pPr marL="350260" indent="-173360">
              <a:spcAft>
                <a:spcPts val="982"/>
              </a:spcAft>
              <a:defRPr/>
            </a:lvl7pPr>
            <a:lvl8pPr marL="350260" indent="-173360">
              <a:spcAft>
                <a:spcPts val="982"/>
              </a:spcAft>
              <a:defRPr/>
            </a:lvl8pPr>
            <a:lvl9pPr marL="350260" indent="-173360">
              <a:spcAft>
                <a:spcPts val="98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3" y="651602"/>
            <a:ext cx="11194340"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dirty="0"/>
              <a:t>Click to add subtitle</a:t>
            </a:r>
          </a:p>
        </p:txBody>
      </p:sp>
      <p:sp>
        <p:nvSpPr>
          <p:cNvPr id="9"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10"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166786925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494198" y="317505"/>
            <a:ext cx="11201795" cy="334097"/>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494199" y="1665291"/>
            <a:ext cx="5601804"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02109469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4198" y="317501"/>
            <a:ext cx="11201795" cy="692150"/>
          </a:xfrm>
        </p:spPr>
        <p:txBody>
          <a:bodyPr/>
          <a:lstStyle/>
          <a:p>
            <a:r>
              <a:rPr lang="en-US"/>
              <a:t>Click to edit Master title style</a:t>
            </a:r>
            <a:endParaRPr lang="en-GB"/>
          </a:p>
        </p:txBody>
      </p:sp>
      <p:sp>
        <p:nvSpPr>
          <p:cNvPr id="3"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4"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179463988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3"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292276772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94197" y="4211955"/>
            <a:ext cx="8536392" cy="2169796"/>
          </a:xfrm>
        </p:spPr>
        <p:txBody>
          <a:bodyPr anchor="b" anchorCtr="0">
            <a:noAutofit/>
          </a:bodyPr>
          <a:lstStyle>
            <a:lvl1pPr>
              <a:lnSpc>
                <a:spcPct val="100000"/>
              </a:lnSpc>
              <a:spcAft>
                <a:spcPts val="590"/>
              </a:spcAft>
              <a:defRPr sz="907"/>
            </a:lvl1pPr>
          </a:lstStyle>
          <a:p>
            <a:pPr lvl="0"/>
            <a:r>
              <a:rPr lang="en-US"/>
              <a:t>Click to edit Master text styles</a:t>
            </a:r>
          </a:p>
        </p:txBody>
      </p:sp>
      <p:sp>
        <p:nvSpPr>
          <p:cNvPr id="3" name="Picture Placeholder 2"/>
          <p:cNvSpPr>
            <a:spLocks noGrp="1"/>
          </p:cNvSpPr>
          <p:nvPr>
            <p:ph type="pic" sz="quarter" idx="14" hasCustomPrompt="1"/>
          </p:nvPr>
        </p:nvSpPr>
        <p:spPr>
          <a:xfrm>
            <a:off x="9341053" y="4211955"/>
            <a:ext cx="2354940" cy="1725448"/>
          </a:xfrm>
        </p:spPr>
        <p:txBody>
          <a:bodyPr anchor="ctr" anchorCtr="0"/>
          <a:lstStyle>
            <a:lvl1pPr algn="ctr">
              <a:defRPr sz="885"/>
            </a:lvl1pPr>
          </a:lstStyle>
          <a:p>
            <a:r>
              <a:rPr lang="en-GB" sz="885" dirty="0"/>
              <a:t>Insert sponsorship mark here</a:t>
            </a:r>
            <a:endParaRPr lang="en-GB" dirty="0"/>
          </a:p>
        </p:txBody>
      </p:sp>
      <p:sp>
        <p:nvSpPr>
          <p:cNvPr id="8" name="Text Placeholder 7"/>
          <p:cNvSpPr>
            <a:spLocks noGrp="1"/>
          </p:cNvSpPr>
          <p:nvPr>
            <p:ph type="body" sz="quarter" idx="15"/>
          </p:nvPr>
        </p:nvSpPr>
        <p:spPr>
          <a:xfrm>
            <a:off x="9341055" y="6018028"/>
            <a:ext cx="2354940" cy="363722"/>
          </a:xfrm>
        </p:spPr>
        <p:txBody>
          <a:bodyPr anchor="b" anchorCtr="0">
            <a:noAutofit/>
          </a:bodyPr>
          <a:lstStyle>
            <a:lvl1pPr>
              <a:lnSpc>
                <a:spcPct val="100000"/>
              </a:lnSpc>
              <a:defRPr sz="907"/>
            </a:lvl1pPr>
          </a:lstStyle>
          <a:p>
            <a:pPr lvl="0"/>
            <a:r>
              <a:rPr lang="en-US"/>
              <a:t>Click to edit Master text styles</a:t>
            </a:r>
          </a:p>
        </p:txBody>
      </p:sp>
      <p:grpSp>
        <p:nvGrpSpPr>
          <p:cNvPr id="20" name="Group 19"/>
          <p:cNvGrpSpPr>
            <a:grpSpLocks noChangeAspect="1"/>
          </p:cNvGrpSpPr>
          <p:nvPr userDrawn="1"/>
        </p:nvGrpSpPr>
        <p:grpSpPr>
          <a:xfrm>
            <a:off x="529493" y="374651"/>
            <a:ext cx="2134664" cy="316788"/>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grpSp>
    </p:spTree>
    <p:extLst>
      <p:ext uri="{BB962C8B-B14F-4D97-AF65-F5344CB8AC3E}">
        <p14:creationId xmlns:p14="http://schemas.microsoft.com/office/powerpoint/2010/main" val="35218199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5" y="801550"/>
            <a:ext cx="11184000" cy="969282"/>
          </a:xfrm>
        </p:spPr>
        <p:txBody>
          <a:bodyPr>
            <a:normAutofit/>
          </a:bodyPr>
          <a:lstStyle>
            <a:lvl1pPr marL="0" indent="0">
              <a:buNone/>
              <a:defRPr sz="2722" b="0">
                <a:solidFill>
                  <a:schemeClr val="accent2"/>
                </a:solidFill>
              </a:defRPr>
            </a:lvl1pPr>
          </a:lstStyle>
          <a:p>
            <a:pPr lvl="0"/>
            <a:r>
              <a:rPr lang="en-US"/>
              <a:t>Click to edit Master text styles</a:t>
            </a:r>
          </a:p>
        </p:txBody>
      </p:sp>
      <p:sp>
        <p:nvSpPr>
          <p:cNvPr id="14" name="Title Placeholder 1"/>
          <p:cNvSpPr>
            <a:spLocks noGrp="1"/>
          </p:cNvSpPr>
          <p:nvPr>
            <p:ph type="title"/>
          </p:nvPr>
        </p:nvSpPr>
        <p:spPr>
          <a:xfrm>
            <a:off x="493485" y="332059"/>
            <a:ext cx="11184000"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494400" y="1828799"/>
            <a:ext cx="11184000" cy="44511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726" b="0">
                <a:solidFill>
                  <a:schemeClr val="tx2"/>
                </a:solidFill>
              </a:defRPr>
            </a:lvl1pPr>
          </a:lstStyle>
          <a:p>
            <a:r>
              <a:rPr lang="en-GB"/>
              <a:t>© 2019 Deloitte Hungary</a:t>
            </a:r>
            <a:endParaRPr lang="en-GB" dirty="0"/>
          </a:p>
        </p:txBody>
      </p:sp>
      <p:sp>
        <p:nvSpPr>
          <p:cNvPr id="6"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726" b="0">
                <a:solidFill>
                  <a:schemeClr val="tx2"/>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85397325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2.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75"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image" Target="../media/image1.emf"/><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oleObject" Target="../embeddings/oleObject5.bin"/><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tags" Target="../tags/tag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theme" Target="../theme/theme2.xml"/><Relationship Id="rId8" Type="http://schemas.openxmlformats.org/officeDocument/2006/relationships/slideLayout" Target="../slideLayouts/slideLayout76.xml"/><Relationship Id="rId3"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28.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50" Type="http://schemas.openxmlformats.org/officeDocument/2006/relationships/slideLayout" Target="../slideLayouts/slideLayout152.xml"/><Relationship Id="rId55" Type="http://schemas.openxmlformats.org/officeDocument/2006/relationships/slideLayout" Target="../slideLayouts/slideLayout157.xml"/><Relationship Id="rId63" Type="http://schemas.openxmlformats.org/officeDocument/2006/relationships/image" Target="../media/image1.emf"/><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3" Type="http://schemas.openxmlformats.org/officeDocument/2006/relationships/slideLayout" Target="../slideLayouts/slideLayout155.xml"/><Relationship Id="rId58" Type="http://schemas.openxmlformats.org/officeDocument/2006/relationships/slideLayout" Target="../slideLayouts/slideLayout160.xml"/><Relationship Id="rId5" Type="http://schemas.openxmlformats.org/officeDocument/2006/relationships/slideLayout" Target="../slideLayouts/slideLayout107.xml"/><Relationship Id="rId61" Type="http://schemas.openxmlformats.org/officeDocument/2006/relationships/tags" Target="../tags/tag14.xml"/><Relationship Id="rId19" Type="http://schemas.openxmlformats.org/officeDocument/2006/relationships/slideLayout" Target="../slideLayouts/slideLayout12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56" Type="http://schemas.openxmlformats.org/officeDocument/2006/relationships/slideLayout" Target="../slideLayouts/slideLayout158.xml"/><Relationship Id="rId64" Type="http://schemas.openxmlformats.org/officeDocument/2006/relationships/oleObject" Target="../embeddings/oleObject13.bin"/><Relationship Id="rId8" Type="http://schemas.openxmlformats.org/officeDocument/2006/relationships/slideLayout" Target="../slideLayouts/slideLayout110.xml"/><Relationship Id="rId51" Type="http://schemas.openxmlformats.org/officeDocument/2006/relationships/slideLayout" Target="../slideLayouts/slideLayout153.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slideLayout" Target="../slideLayouts/slideLayout148.xml"/><Relationship Id="rId59" Type="http://schemas.openxmlformats.org/officeDocument/2006/relationships/theme" Target="../theme/theme3.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54" Type="http://schemas.openxmlformats.org/officeDocument/2006/relationships/slideLayout" Target="../slideLayouts/slideLayout156.xml"/><Relationship Id="rId62" Type="http://schemas.openxmlformats.org/officeDocument/2006/relationships/oleObject" Target="../embeddings/oleObject12.bin"/><Relationship Id="rId1" Type="http://schemas.openxmlformats.org/officeDocument/2006/relationships/slideLayout" Target="../slideLayouts/slideLayout103.xml"/><Relationship Id="rId6" Type="http://schemas.openxmlformats.org/officeDocument/2006/relationships/slideLayout" Target="../slideLayouts/slideLayout108.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57" Type="http://schemas.openxmlformats.org/officeDocument/2006/relationships/slideLayout" Target="../slideLayouts/slideLayout159.xml"/><Relationship Id="rId10" Type="http://schemas.openxmlformats.org/officeDocument/2006/relationships/slideLayout" Target="../slideLayouts/slideLayout112.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slideLayout" Target="../slideLayouts/slideLayout154.xml"/><Relationship Id="rId60" Type="http://schemas.openxmlformats.org/officeDocument/2006/relationships/tags" Target="../tags/tag13.xml"/><Relationship Id="rId65" Type="http://schemas.openxmlformats.org/officeDocument/2006/relationships/image" Target="../media/image2.emf"/><Relationship Id="rId4" Type="http://schemas.openxmlformats.org/officeDocument/2006/relationships/slideLayout" Target="../slideLayouts/slideLayout106.xml"/><Relationship Id="rId9" Type="http://schemas.openxmlformats.org/officeDocument/2006/relationships/slideLayout" Target="../slideLayouts/slideLayout111.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9" Type="http://schemas.openxmlformats.org/officeDocument/2006/relationships/slideLayout" Target="../slideLayouts/slideLayout14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86.xml"/><Relationship Id="rId21" Type="http://schemas.openxmlformats.org/officeDocument/2006/relationships/slideLayout" Target="../slideLayouts/slideLayout181.xml"/><Relationship Id="rId42" Type="http://schemas.openxmlformats.org/officeDocument/2006/relationships/slideLayout" Target="../slideLayouts/slideLayout202.xml"/><Relationship Id="rId47" Type="http://schemas.openxmlformats.org/officeDocument/2006/relationships/slideLayout" Target="../slideLayouts/slideLayout207.xml"/><Relationship Id="rId63" Type="http://schemas.openxmlformats.org/officeDocument/2006/relationships/slideLayout" Target="../slideLayouts/slideLayout223.xml"/><Relationship Id="rId68" Type="http://schemas.openxmlformats.org/officeDocument/2006/relationships/slideLayout" Target="../slideLayouts/slideLayout228.xml"/><Relationship Id="rId84" Type="http://schemas.openxmlformats.org/officeDocument/2006/relationships/slideLayout" Target="../slideLayouts/slideLayout244.xml"/><Relationship Id="rId89" Type="http://schemas.openxmlformats.org/officeDocument/2006/relationships/slideLayout" Target="../slideLayouts/slideLayout249.xml"/><Relationship Id="rId16" Type="http://schemas.openxmlformats.org/officeDocument/2006/relationships/slideLayout" Target="../slideLayouts/slideLayout176.xml"/><Relationship Id="rId11" Type="http://schemas.openxmlformats.org/officeDocument/2006/relationships/slideLayout" Target="../slideLayouts/slideLayout171.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53" Type="http://schemas.openxmlformats.org/officeDocument/2006/relationships/slideLayout" Target="../slideLayouts/slideLayout213.xml"/><Relationship Id="rId58" Type="http://schemas.openxmlformats.org/officeDocument/2006/relationships/slideLayout" Target="../slideLayouts/slideLayout218.xml"/><Relationship Id="rId74" Type="http://schemas.openxmlformats.org/officeDocument/2006/relationships/slideLayout" Target="../slideLayouts/slideLayout234.xml"/><Relationship Id="rId79" Type="http://schemas.openxmlformats.org/officeDocument/2006/relationships/slideLayout" Target="../slideLayouts/slideLayout239.xml"/><Relationship Id="rId102" Type="http://schemas.openxmlformats.org/officeDocument/2006/relationships/tags" Target="../tags/tag17.xml"/><Relationship Id="rId5" Type="http://schemas.openxmlformats.org/officeDocument/2006/relationships/slideLayout" Target="../slideLayouts/slideLayout165.xml"/><Relationship Id="rId90" Type="http://schemas.openxmlformats.org/officeDocument/2006/relationships/slideLayout" Target="../slideLayouts/slideLayout250.xml"/><Relationship Id="rId95" Type="http://schemas.openxmlformats.org/officeDocument/2006/relationships/slideLayout" Target="../slideLayouts/slideLayout255.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43" Type="http://schemas.openxmlformats.org/officeDocument/2006/relationships/slideLayout" Target="../slideLayouts/slideLayout203.xml"/><Relationship Id="rId48" Type="http://schemas.openxmlformats.org/officeDocument/2006/relationships/slideLayout" Target="../slideLayouts/slideLayout208.xml"/><Relationship Id="rId64" Type="http://schemas.openxmlformats.org/officeDocument/2006/relationships/slideLayout" Target="../slideLayouts/slideLayout224.xml"/><Relationship Id="rId69" Type="http://schemas.openxmlformats.org/officeDocument/2006/relationships/slideLayout" Target="../slideLayouts/slideLayout229.xml"/><Relationship Id="rId80" Type="http://schemas.openxmlformats.org/officeDocument/2006/relationships/slideLayout" Target="../slideLayouts/slideLayout240.xml"/><Relationship Id="rId85" Type="http://schemas.openxmlformats.org/officeDocument/2006/relationships/slideLayout" Target="../slideLayouts/slideLayout245.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slideLayout" Target="../slideLayouts/slideLayout206.xml"/><Relationship Id="rId59" Type="http://schemas.openxmlformats.org/officeDocument/2006/relationships/slideLayout" Target="../slideLayouts/slideLayout219.xml"/><Relationship Id="rId67" Type="http://schemas.openxmlformats.org/officeDocument/2006/relationships/slideLayout" Target="../slideLayouts/slideLayout227.xml"/><Relationship Id="rId103" Type="http://schemas.openxmlformats.org/officeDocument/2006/relationships/oleObject" Target="../embeddings/oleObject16.bin"/><Relationship Id="rId20" Type="http://schemas.openxmlformats.org/officeDocument/2006/relationships/slideLayout" Target="../slideLayouts/slideLayout180.xml"/><Relationship Id="rId41" Type="http://schemas.openxmlformats.org/officeDocument/2006/relationships/slideLayout" Target="../slideLayouts/slideLayout201.xml"/><Relationship Id="rId54" Type="http://schemas.openxmlformats.org/officeDocument/2006/relationships/slideLayout" Target="../slideLayouts/slideLayout214.xml"/><Relationship Id="rId62" Type="http://schemas.openxmlformats.org/officeDocument/2006/relationships/slideLayout" Target="../slideLayouts/slideLayout222.xml"/><Relationship Id="rId70" Type="http://schemas.openxmlformats.org/officeDocument/2006/relationships/slideLayout" Target="../slideLayouts/slideLayout230.xml"/><Relationship Id="rId75" Type="http://schemas.openxmlformats.org/officeDocument/2006/relationships/slideLayout" Target="../slideLayouts/slideLayout235.xml"/><Relationship Id="rId83" Type="http://schemas.openxmlformats.org/officeDocument/2006/relationships/slideLayout" Target="../slideLayouts/slideLayout243.xml"/><Relationship Id="rId88" Type="http://schemas.openxmlformats.org/officeDocument/2006/relationships/slideLayout" Target="../slideLayouts/slideLayout248.xml"/><Relationship Id="rId91" Type="http://schemas.openxmlformats.org/officeDocument/2006/relationships/slideLayout" Target="../slideLayouts/slideLayout251.xml"/><Relationship Id="rId96" Type="http://schemas.openxmlformats.org/officeDocument/2006/relationships/slideLayout" Target="../slideLayouts/slideLayout256.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49" Type="http://schemas.openxmlformats.org/officeDocument/2006/relationships/slideLayout" Target="../slideLayouts/slideLayout209.xml"/><Relationship Id="rId57" Type="http://schemas.openxmlformats.org/officeDocument/2006/relationships/slideLayout" Target="../slideLayouts/slideLayout217.xml"/><Relationship Id="rId10" Type="http://schemas.openxmlformats.org/officeDocument/2006/relationships/slideLayout" Target="../slideLayouts/slideLayout170.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52" Type="http://schemas.openxmlformats.org/officeDocument/2006/relationships/slideLayout" Target="../slideLayouts/slideLayout212.xml"/><Relationship Id="rId60" Type="http://schemas.openxmlformats.org/officeDocument/2006/relationships/slideLayout" Target="../slideLayouts/slideLayout220.xml"/><Relationship Id="rId65" Type="http://schemas.openxmlformats.org/officeDocument/2006/relationships/slideLayout" Target="../slideLayouts/slideLayout225.xml"/><Relationship Id="rId73" Type="http://schemas.openxmlformats.org/officeDocument/2006/relationships/slideLayout" Target="../slideLayouts/slideLayout233.xml"/><Relationship Id="rId78" Type="http://schemas.openxmlformats.org/officeDocument/2006/relationships/slideLayout" Target="../slideLayouts/slideLayout238.xml"/><Relationship Id="rId81" Type="http://schemas.openxmlformats.org/officeDocument/2006/relationships/slideLayout" Target="../slideLayouts/slideLayout241.xml"/><Relationship Id="rId86" Type="http://schemas.openxmlformats.org/officeDocument/2006/relationships/slideLayout" Target="../slideLayouts/slideLayout246.xml"/><Relationship Id="rId94" Type="http://schemas.openxmlformats.org/officeDocument/2006/relationships/slideLayout" Target="../slideLayouts/slideLayout254.xml"/><Relationship Id="rId99" Type="http://schemas.openxmlformats.org/officeDocument/2006/relationships/slideLayout" Target="../slideLayouts/slideLayout259.xml"/><Relationship Id="rId101" Type="http://schemas.openxmlformats.org/officeDocument/2006/relationships/theme" Target="../theme/theme4.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9" Type="http://schemas.openxmlformats.org/officeDocument/2006/relationships/slideLayout" Target="../slideLayouts/slideLayout199.xml"/><Relationship Id="rId34" Type="http://schemas.openxmlformats.org/officeDocument/2006/relationships/slideLayout" Target="../slideLayouts/slideLayout194.xml"/><Relationship Id="rId50" Type="http://schemas.openxmlformats.org/officeDocument/2006/relationships/slideLayout" Target="../slideLayouts/slideLayout210.xml"/><Relationship Id="rId55" Type="http://schemas.openxmlformats.org/officeDocument/2006/relationships/slideLayout" Target="../slideLayouts/slideLayout215.xml"/><Relationship Id="rId76" Type="http://schemas.openxmlformats.org/officeDocument/2006/relationships/slideLayout" Target="../slideLayouts/slideLayout236.xml"/><Relationship Id="rId97" Type="http://schemas.openxmlformats.org/officeDocument/2006/relationships/slideLayout" Target="../slideLayouts/slideLayout257.xml"/><Relationship Id="rId104" Type="http://schemas.openxmlformats.org/officeDocument/2006/relationships/image" Target="../media/image1.emf"/><Relationship Id="rId7" Type="http://schemas.openxmlformats.org/officeDocument/2006/relationships/slideLayout" Target="../slideLayouts/slideLayout167.xml"/><Relationship Id="rId71" Type="http://schemas.openxmlformats.org/officeDocument/2006/relationships/slideLayout" Target="../slideLayouts/slideLayout231.xml"/><Relationship Id="rId92" Type="http://schemas.openxmlformats.org/officeDocument/2006/relationships/slideLayout" Target="../slideLayouts/slideLayout252.xml"/><Relationship Id="rId2" Type="http://schemas.openxmlformats.org/officeDocument/2006/relationships/slideLayout" Target="../slideLayouts/slideLayout162.xml"/><Relationship Id="rId29" Type="http://schemas.openxmlformats.org/officeDocument/2006/relationships/slideLayout" Target="../slideLayouts/slideLayout189.xml"/><Relationship Id="rId24" Type="http://schemas.openxmlformats.org/officeDocument/2006/relationships/slideLayout" Target="../slideLayouts/slideLayout184.xml"/><Relationship Id="rId40" Type="http://schemas.openxmlformats.org/officeDocument/2006/relationships/slideLayout" Target="../slideLayouts/slideLayout200.xml"/><Relationship Id="rId45" Type="http://schemas.openxmlformats.org/officeDocument/2006/relationships/slideLayout" Target="../slideLayouts/slideLayout205.xml"/><Relationship Id="rId66" Type="http://schemas.openxmlformats.org/officeDocument/2006/relationships/slideLayout" Target="../slideLayouts/slideLayout226.xml"/><Relationship Id="rId87" Type="http://schemas.openxmlformats.org/officeDocument/2006/relationships/slideLayout" Target="../slideLayouts/slideLayout247.xml"/><Relationship Id="rId61" Type="http://schemas.openxmlformats.org/officeDocument/2006/relationships/slideLayout" Target="../slideLayouts/slideLayout221.xml"/><Relationship Id="rId82" Type="http://schemas.openxmlformats.org/officeDocument/2006/relationships/slideLayout" Target="../slideLayouts/slideLayout242.xml"/><Relationship Id="rId19" Type="http://schemas.openxmlformats.org/officeDocument/2006/relationships/slideLayout" Target="../slideLayouts/slideLayout179.xml"/><Relationship Id="rId14" Type="http://schemas.openxmlformats.org/officeDocument/2006/relationships/slideLayout" Target="../slideLayouts/slideLayout174.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56" Type="http://schemas.openxmlformats.org/officeDocument/2006/relationships/slideLayout" Target="../slideLayouts/slideLayout216.xml"/><Relationship Id="rId77" Type="http://schemas.openxmlformats.org/officeDocument/2006/relationships/slideLayout" Target="../slideLayouts/slideLayout237.xml"/><Relationship Id="rId100" Type="http://schemas.openxmlformats.org/officeDocument/2006/relationships/slideLayout" Target="../slideLayouts/slideLayout260.xml"/><Relationship Id="rId8" Type="http://schemas.openxmlformats.org/officeDocument/2006/relationships/slideLayout" Target="../slideLayouts/slideLayout168.xml"/><Relationship Id="rId51" Type="http://schemas.openxmlformats.org/officeDocument/2006/relationships/slideLayout" Target="../slideLayouts/slideLayout211.xml"/><Relationship Id="rId72" Type="http://schemas.openxmlformats.org/officeDocument/2006/relationships/slideLayout" Target="../slideLayouts/slideLayout232.xml"/><Relationship Id="rId93" Type="http://schemas.openxmlformats.org/officeDocument/2006/relationships/slideLayout" Target="../slideLayouts/slideLayout253.xml"/><Relationship Id="rId98" Type="http://schemas.openxmlformats.org/officeDocument/2006/relationships/slideLayout" Target="../slideLayouts/slideLayout258.xml"/><Relationship Id="rId3" Type="http://schemas.openxmlformats.org/officeDocument/2006/relationships/slideLayout" Target="../slideLayouts/slideLayout163.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86.xml"/><Relationship Id="rId21" Type="http://schemas.openxmlformats.org/officeDocument/2006/relationships/slideLayout" Target="../slideLayouts/slideLayout281.xml"/><Relationship Id="rId42" Type="http://schemas.openxmlformats.org/officeDocument/2006/relationships/slideLayout" Target="../slideLayouts/slideLayout302.xml"/><Relationship Id="rId47" Type="http://schemas.openxmlformats.org/officeDocument/2006/relationships/slideLayout" Target="../slideLayouts/slideLayout307.xml"/><Relationship Id="rId63" Type="http://schemas.openxmlformats.org/officeDocument/2006/relationships/slideLayout" Target="../slideLayouts/slideLayout323.xml"/><Relationship Id="rId68" Type="http://schemas.openxmlformats.org/officeDocument/2006/relationships/slideLayout" Target="../slideLayouts/slideLayout328.xml"/><Relationship Id="rId84" Type="http://schemas.openxmlformats.org/officeDocument/2006/relationships/slideLayout" Target="../slideLayouts/slideLayout344.xml"/><Relationship Id="rId16" Type="http://schemas.openxmlformats.org/officeDocument/2006/relationships/slideLayout" Target="../slideLayouts/slideLayout276.xml"/><Relationship Id="rId11" Type="http://schemas.openxmlformats.org/officeDocument/2006/relationships/slideLayout" Target="../slideLayouts/slideLayout271.xml"/><Relationship Id="rId32" Type="http://schemas.openxmlformats.org/officeDocument/2006/relationships/slideLayout" Target="../slideLayouts/slideLayout292.xml"/><Relationship Id="rId37" Type="http://schemas.openxmlformats.org/officeDocument/2006/relationships/slideLayout" Target="../slideLayouts/slideLayout297.xml"/><Relationship Id="rId53" Type="http://schemas.openxmlformats.org/officeDocument/2006/relationships/slideLayout" Target="../slideLayouts/slideLayout313.xml"/><Relationship Id="rId58" Type="http://schemas.openxmlformats.org/officeDocument/2006/relationships/slideLayout" Target="../slideLayouts/slideLayout318.xml"/><Relationship Id="rId74" Type="http://schemas.openxmlformats.org/officeDocument/2006/relationships/slideLayout" Target="../slideLayouts/slideLayout334.xml"/><Relationship Id="rId79" Type="http://schemas.openxmlformats.org/officeDocument/2006/relationships/slideLayout" Target="../slideLayouts/slideLayout339.xml"/><Relationship Id="rId5" Type="http://schemas.openxmlformats.org/officeDocument/2006/relationships/slideLayout" Target="../slideLayouts/slideLayout265.xml"/><Relationship Id="rId19" Type="http://schemas.openxmlformats.org/officeDocument/2006/relationships/slideLayout" Target="../slideLayouts/slideLayout27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 Id="rId30" Type="http://schemas.openxmlformats.org/officeDocument/2006/relationships/slideLayout" Target="../slideLayouts/slideLayout290.xml"/><Relationship Id="rId35" Type="http://schemas.openxmlformats.org/officeDocument/2006/relationships/slideLayout" Target="../slideLayouts/slideLayout295.xml"/><Relationship Id="rId43" Type="http://schemas.openxmlformats.org/officeDocument/2006/relationships/slideLayout" Target="../slideLayouts/slideLayout303.xml"/><Relationship Id="rId48" Type="http://schemas.openxmlformats.org/officeDocument/2006/relationships/slideLayout" Target="../slideLayouts/slideLayout308.xml"/><Relationship Id="rId56" Type="http://schemas.openxmlformats.org/officeDocument/2006/relationships/slideLayout" Target="../slideLayouts/slideLayout316.xml"/><Relationship Id="rId64" Type="http://schemas.openxmlformats.org/officeDocument/2006/relationships/slideLayout" Target="../slideLayouts/slideLayout324.xml"/><Relationship Id="rId69" Type="http://schemas.openxmlformats.org/officeDocument/2006/relationships/slideLayout" Target="../slideLayouts/slideLayout329.xml"/><Relationship Id="rId77" Type="http://schemas.openxmlformats.org/officeDocument/2006/relationships/slideLayout" Target="../slideLayouts/slideLayout337.xml"/><Relationship Id="rId8" Type="http://schemas.openxmlformats.org/officeDocument/2006/relationships/slideLayout" Target="../slideLayouts/slideLayout268.xml"/><Relationship Id="rId51" Type="http://schemas.openxmlformats.org/officeDocument/2006/relationships/slideLayout" Target="../slideLayouts/slideLayout311.xml"/><Relationship Id="rId72" Type="http://schemas.openxmlformats.org/officeDocument/2006/relationships/slideLayout" Target="../slideLayouts/slideLayout332.xml"/><Relationship Id="rId80" Type="http://schemas.openxmlformats.org/officeDocument/2006/relationships/slideLayout" Target="../slideLayouts/slideLayout340.xml"/><Relationship Id="rId85" Type="http://schemas.openxmlformats.org/officeDocument/2006/relationships/theme" Target="../theme/theme5.xml"/><Relationship Id="rId3" Type="http://schemas.openxmlformats.org/officeDocument/2006/relationships/slideLayout" Target="../slideLayouts/slideLayout263.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33" Type="http://schemas.openxmlformats.org/officeDocument/2006/relationships/slideLayout" Target="../slideLayouts/slideLayout293.xml"/><Relationship Id="rId38" Type="http://schemas.openxmlformats.org/officeDocument/2006/relationships/slideLayout" Target="../slideLayouts/slideLayout298.xml"/><Relationship Id="rId46" Type="http://schemas.openxmlformats.org/officeDocument/2006/relationships/slideLayout" Target="../slideLayouts/slideLayout306.xml"/><Relationship Id="rId59" Type="http://schemas.openxmlformats.org/officeDocument/2006/relationships/slideLayout" Target="../slideLayouts/slideLayout319.xml"/><Relationship Id="rId67" Type="http://schemas.openxmlformats.org/officeDocument/2006/relationships/slideLayout" Target="../slideLayouts/slideLayout327.xml"/><Relationship Id="rId20" Type="http://schemas.openxmlformats.org/officeDocument/2006/relationships/slideLayout" Target="../slideLayouts/slideLayout280.xml"/><Relationship Id="rId41" Type="http://schemas.openxmlformats.org/officeDocument/2006/relationships/slideLayout" Target="../slideLayouts/slideLayout301.xml"/><Relationship Id="rId54" Type="http://schemas.openxmlformats.org/officeDocument/2006/relationships/slideLayout" Target="../slideLayouts/slideLayout314.xml"/><Relationship Id="rId62" Type="http://schemas.openxmlformats.org/officeDocument/2006/relationships/slideLayout" Target="../slideLayouts/slideLayout322.xml"/><Relationship Id="rId70" Type="http://schemas.openxmlformats.org/officeDocument/2006/relationships/slideLayout" Target="../slideLayouts/slideLayout330.xml"/><Relationship Id="rId75" Type="http://schemas.openxmlformats.org/officeDocument/2006/relationships/slideLayout" Target="../slideLayouts/slideLayout335.xml"/><Relationship Id="rId83" Type="http://schemas.openxmlformats.org/officeDocument/2006/relationships/slideLayout" Target="../slideLayouts/slideLayout343.xml"/><Relationship Id="rId88" Type="http://schemas.openxmlformats.org/officeDocument/2006/relationships/image" Target="../media/image1.emf"/><Relationship Id="rId1" Type="http://schemas.openxmlformats.org/officeDocument/2006/relationships/slideLayout" Target="../slideLayouts/slideLayout261.xml"/><Relationship Id="rId6" Type="http://schemas.openxmlformats.org/officeDocument/2006/relationships/slideLayout" Target="../slideLayouts/slideLayout266.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slideLayout" Target="../slideLayouts/slideLayout288.xml"/><Relationship Id="rId36" Type="http://schemas.openxmlformats.org/officeDocument/2006/relationships/slideLayout" Target="../slideLayouts/slideLayout296.xml"/><Relationship Id="rId49" Type="http://schemas.openxmlformats.org/officeDocument/2006/relationships/slideLayout" Target="../slideLayouts/slideLayout309.xml"/><Relationship Id="rId57" Type="http://schemas.openxmlformats.org/officeDocument/2006/relationships/slideLayout" Target="../slideLayouts/slideLayout317.xml"/><Relationship Id="rId10" Type="http://schemas.openxmlformats.org/officeDocument/2006/relationships/slideLayout" Target="../slideLayouts/slideLayout270.xml"/><Relationship Id="rId31" Type="http://schemas.openxmlformats.org/officeDocument/2006/relationships/slideLayout" Target="../slideLayouts/slideLayout291.xml"/><Relationship Id="rId44" Type="http://schemas.openxmlformats.org/officeDocument/2006/relationships/slideLayout" Target="../slideLayouts/slideLayout304.xml"/><Relationship Id="rId52" Type="http://schemas.openxmlformats.org/officeDocument/2006/relationships/slideLayout" Target="../slideLayouts/slideLayout312.xml"/><Relationship Id="rId60" Type="http://schemas.openxmlformats.org/officeDocument/2006/relationships/slideLayout" Target="../slideLayouts/slideLayout320.xml"/><Relationship Id="rId65" Type="http://schemas.openxmlformats.org/officeDocument/2006/relationships/slideLayout" Target="../slideLayouts/slideLayout325.xml"/><Relationship Id="rId73" Type="http://schemas.openxmlformats.org/officeDocument/2006/relationships/slideLayout" Target="../slideLayouts/slideLayout333.xml"/><Relationship Id="rId78" Type="http://schemas.openxmlformats.org/officeDocument/2006/relationships/slideLayout" Target="../slideLayouts/slideLayout338.xml"/><Relationship Id="rId81" Type="http://schemas.openxmlformats.org/officeDocument/2006/relationships/slideLayout" Target="../slideLayouts/slideLayout341.xml"/><Relationship Id="rId86" Type="http://schemas.openxmlformats.org/officeDocument/2006/relationships/tags" Target="../tags/tag3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39" Type="http://schemas.openxmlformats.org/officeDocument/2006/relationships/slideLayout" Target="../slideLayouts/slideLayout299.xml"/><Relationship Id="rId34" Type="http://schemas.openxmlformats.org/officeDocument/2006/relationships/slideLayout" Target="../slideLayouts/slideLayout294.xml"/><Relationship Id="rId50" Type="http://schemas.openxmlformats.org/officeDocument/2006/relationships/slideLayout" Target="../slideLayouts/slideLayout310.xml"/><Relationship Id="rId55" Type="http://schemas.openxmlformats.org/officeDocument/2006/relationships/slideLayout" Target="../slideLayouts/slideLayout315.xml"/><Relationship Id="rId76" Type="http://schemas.openxmlformats.org/officeDocument/2006/relationships/slideLayout" Target="../slideLayouts/slideLayout336.xml"/><Relationship Id="rId7" Type="http://schemas.openxmlformats.org/officeDocument/2006/relationships/slideLayout" Target="../slideLayouts/slideLayout267.xml"/><Relationship Id="rId71" Type="http://schemas.openxmlformats.org/officeDocument/2006/relationships/slideLayout" Target="../slideLayouts/slideLayout331.xml"/><Relationship Id="rId2" Type="http://schemas.openxmlformats.org/officeDocument/2006/relationships/slideLayout" Target="../slideLayouts/slideLayout262.xml"/><Relationship Id="rId29" Type="http://schemas.openxmlformats.org/officeDocument/2006/relationships/slideLayout" Target="../slideLayouts/slideLayout289.xml"/><Relationship Id="rId24" Type="http://schemas.openxmlformats.org/officeDocument/2006/relationships/slideLayout" Target="../slideLayouts/slideLayout284.xml"/><Relationship Id="rId40" Type="http://schemas.openxmlformats.org/officeDocument/2006/relationships/slideLayout" Target="../slideLayouts/slideLayout300.xml"/><Relationship Id="rId45" Type="http://schemas.openxmlformats.org/officeDocument/2006/relationships/slideLayout" Target="../slideLayouts/slideLayout305.xml"/><Relationship Id="rId66" Type="http://schemas.openxmlformats.org/officeDocument/2006/relationships/slideLayout" Target="../slideLayouts/slideLayout326.xml"/><Relationship Id="rId87" Type="http://schemas.openxmlformats.org/officeDocument/2006/relationships/oleObject" Target="../embeddings/oleObject36.bin"/><Relationship Id="rId61" Type="http://schemas.openxmlformats.org/officeDocument/2006/relationships/slideLayout" Target="../slideLayouts/slideLayout321.xml"/><Relationship Id="rId82" Type="http://schemas.openxmlformats.org/officeDocument/2006/relationships/slideLayout" Target="../slideLayouts/slideLayout3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0"/>
            </p:custDataLst>
            <p:extLst>
              <p:ext uri="{D42A27DB-BD31-4B8C-83A1-F6EECF244321}">
                <p14:modId xmlns:p14="http://schemas.microsoft.com/office/powerpoint/2010/main" val="19541220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4" name="Object 3" hidden="1"/>
                      <p:cNvPicPr/>
                      <p:nvPr/>
                    </p:nvPicPr>
                    <p:blipFill>
                      <a:blip r:embed="rId73"/>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914400" y="1970711"/>
            <a:ext cx="10325100" cy="3962729"/>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914400" y="1099820"/>
            <a:ext cx="10325100" cy="668019"/>
          </a:xfrm>
          <a:prstGeom prst="rect">
            <a:avLst/>
          </a:prstGeom>
        </p:spPr>
        <p:txBody>
          <a:bodyPr vert="horz" lIns="0" tIns="0" rIns="0" bIns="0" rtlCol="0" anchor="t" anchorCtr="0">
            <a:noAutofit/>
          </a:bodyPr>
          <a:lstStyle/>
          <a:p>
            <a:r>
              <a:rPr lang="en-GB" noProof="0"/>
              <a:t>Click to edit Master title style</a:t>
            </a:r>
          </a:p>
        </p:txBody>
      </p:sp>
      <p:graphicFrame>
        <p:nvGraphicFramePr>
          <p:cNvPr id="6" name="Object 5" hidden="1">
            <a:extLst>
              <a:ext uri="{FF2B5EF4-FFF2-40B4-BE49-F238E27FC236}">
                <a16:creationId xmlns:a16="http://schemas.microsoft.com/office/drawing/2014/main" id="{EC3AC03C-67F0-4B21-8060-A531F194089B}"/>
              </a:ext>
            </a:extLst>
          </p:cNvPr>
          <p:cNvGraphicFramePr>
            <a:graphicFrameLocks noChangeAspect="1"/>
          </p:cNvGraphicFramePr>
          <p:nvPr userDrawn="1">
            <p:custDataLst>
              <p:tags r:id="rId71"/>
            </p:custDataLst>
            <p:extLst>
              <p:ext uri="{D42A27DB-BD31-4B8C-83A1-F6EECF244321}">
                <p14:modId xmlns:p14="http://schemas.microsoft.com/office/powerpoint/2010/main" val="167858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4" imgW="498" imgH="499" progId="TCLayout.ActiveDocument.1">
                  <p:embed/>
                </p:oleObj>
              </mc:Choice>
              <mc:Fallback>
                <p:oleObj name="think-cell Slide" r:id="rId74" imgW="498" imgH="499" progId="TCLayout.ActiveDocument.1">
                  <p:embed/>
                  <p:pic>
                    <p:nvPicPr>
                      <p:cNvPr id="6" name="Object 5" hidden="1">
                        <a:extLst>
                          <a:ext uri="{FF2B5EF4-FFF2-40B4-BE49-F238E27FC236}">
                            <a16:creationId xmlns:a16="http://schemas.microsoft.com/office/drawing/2014/main" id="{EC3AC03C-67F0-4B21-8060-A531F194089B}"/>
                          </a:ext>
                        </a:extLst>
                      </p:cNvPr>
                      <p:cNvPicPr/>
                      <p:nvPr/>
                    </p:nvPicPr>
                    <p:blipFill>
                      <a:blip r:embed="rId7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77991190"/>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5095" r:id="rId7"/>
    <p:sldLayoutId id="2147485096" r:id="rId8"/>
    <p:sldLayoutId id="2147485097" r:id="rId9"/>
    <p:sldLayoutId id="2147484811" r:id="rId10"/>
    <p:sldLayoutId id="2147484814" r:id="rId11"/>
    <p:sldLayoutId id="2147484815" r:id="rId12"/>
    <p:sldLayoutId id="2147484816" r:id="rId13"/>
    <p:sldLayoutId id="2147484817" r:id="rId14"/>
    <p:sldLayoutId id="2147484818" r:id="rId15"/>
    <p:sldLayoutId id="2147484819" r:id="rId16"/>
    <p:sldLayoutId id="2147484820" r:id="rId17"/>
    <p:sldLayoutId id="2147484821" r:id="rId18"/>
    <p:sldLayoutId id="2147484822" r:id="rId19"/>
    <p:sldLayoutId id="2147484823" r:id="rId20"/>
    <p:sldLayoutId id="2147484828" r:id="rId21"/>
    <p:sldLayoutId id="2147484829" r:id="rId22"/>
    <p:sldLayoutId id="2147484830" r:id="rId23"/>
    <p:sldLayoutId id="2147484831" r:id="rId24"/>
    <p:sldLayoutId id="2147484832" r:id="rId25"/>
    <p:sldLayoutId id="2147484833" r:id="rId26"/>
    <p:sldLayoutId id="2147484834" r:id="rId27"/>
    <p:sldLayoutId id="2147484835" r:id="rId28"/>
    <p:sldLayoutId id="2147484836" r:id="rId29"/>
    <p:sldLayoutId id="2147484838" r:id="rId30"/>
    <p:sldLayoutId id="2147484839" r:id="rId31"/>
    <p:sldLayoutId id="2147484840" r:id="rId32"/>
    <p:sldLayoutId id="2147484841" r:id="rId33"/>
    <p:sldLayoutId id="2147484842" r:id="rId34"/>
    <p:sldLayoutId id="2147484843" r:id="rId35"/>
    <p:sldLayoutId id="2147484844" r:id="rId36"/>
    <p:sldLayoutId id="2147484845" r:id="rId37"/>
    <p:sldLayoutId id="2147484866" r:id="rId38"/>
    <p:sldLayoutId id="2147484869" r:id="rId39"/>
    <p:sldLayoutId id="2147484870" r:id="rId40"/>
    <p:sldLayoutId id="2147484876" r:id="rId41"/>
    <p:sldLayoutId id="2147484877" r:id="rId42"/>
    <p:sldLayoutId id="2147484878" r:id="rId43"/>
    <p:sldLayoutId id="2147484879" r:id="rId44"/>
    <p:sldLayoutId id="2147484880" r:id="rId45"/>
    <p:sldLayoutId id="2147484881" r:id="rId46"/>
    <p:sldLayoutId id="2147484882" r:id="rId47"/>
    <p:sldLayoutId id="2147484883" r:id="rId48"/>
    <p:sldLayoutId id="2147484888" r:id="rId49"/>
    <p:sldLayoutId id="2147484889" r:id="rId50"/>
    <p:sldLayoutId id="2147484890" r:id="rId51"/>
    <p:sldLayoutId id="2147484891" r:id="rId52"/>
    <p:sldLayoutId id="2147484892" r:id="rId53"/>
    <p:sldLayoutId id="2147484893" r:id="rId54"/>
    <p:sldLayoutId id="2147484894" r:id="rId55"/>
    <p:sldLayoutId id="2147484895" r:id="rId56"/>
    <p:sldLayoutId id="2147484896" r:id="rId57"/>
    <p:sldLayoutId id="2147484897" r:id="rId58"/>
    <p:sldLayoutId id="2147484898" r:id="rId59"/>
    <p:sldLayoutId id="2147484899" r:id="rId60"/>
    <p:sldLayoutId id="2147484920" r:id="rId61"/>
    <p:sldLayoutId id="2147484921" r:id="rId62"/>
    <p:sldLayoutId id="2147484928" r:id="rId63"/>
    <p:sldLayoutId id="2147484929" r:id="rId64"/>
    <p:sldLayoutId id="2147484930" r:id="rId65"/>
    <p:sldLayoutId id="2147484931" r:id="rId66"/>
    <p:sldLayoutId id="2147484932" r:id="rId67"/>
    <p:sldLayoutId id="2147484933" r:id="rId68"/>
  </p:sldLayoutIdLst>
  <p:transition>
    <p:fade/>
  </p:transition>
  <p:txStyles>
    <p:title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6">
          <p15:clr>
            <a:srgbClr val="F26B43"/>
          </p15:clr>
        </p15:guide>
        <p15:guide id="2" pos="1152">
          <p15:clr>
            <a:srgbClr val="F26B43"/>
          </p15:clr>
        </p15:guide>
        <p15:guide id="3" pos="1248">
          <p15:clr>
            <a:srgbClr val="F26B43"/>
          </p15:clr>
        </p15:guide>
        <p15:guide id="4" pos="1800">
          <p15:clr>
            <a:srgbClr val="F26B43"/>
          </p15:clr>
        </p15:guide>
        <p15:guide id="5" pos="1896">
          <p15:clr>
            <a:srgbClr val="F26B43"/>
          </p15:clr>
        </p15:guide>
        <p15:guide id="6" pos="2472">
          <p15:clr>
            <a:srgbClr val="F26B43"/>
          </p15:clr>
        </p15:guide>
        <p15:guide id="7" pos="2568">
          <p15:clr>
            <a:srgbClr val="F26B43"/>
          </p15:clr>
        </p15:guide>
        <p15:guide id="8" pos="3120">
          <p15:clr>
            <a:srgbClr val="F26B43"/>
          </p15:clr>
        </p15:guide>
        <p15:guide id="9" pos="3216">
          <p15:clr>
            <a:srgbClr val="F26B43"/>
          </p15:clr>
        </p15:guide>
        <p15:guide id="12" pos="4440">
          <p15:clr>
            <a:srgbClr val="F26B43"/>
          </p15:clr>
        </p15:guide>
        <p15:guide id="13" pos="4536">
          <p15:clr>
            <a:srgbClr val="F26B43"/>
          </p15:clr>
        </p15:guide>
        <p15:guide id="14" pos="5112">
          <p15:clr>
            <a:srgbClr val="F26B43"/>
          </p15:clr>
        </p15:guide>
        <p15:guide id="15" pos="5208">
          <p15:clr>
            <a:srgbClr val="F26B43"/>
          </p15:clr>
        </p15:guide>
        <p15:guide id="16" pos="5760">
          <p15:clr>
            <a:srgbClr val="F26B43"/>
          </p15:clr>
        </p15:guide>
        <p15:guide id="17" pos="5856">
          <p15:clr>
            <a:srgbClr val="F26B43"/>
          </p15:clr>
        </p15:guide>
        <p15:guide id="18" pos="6432">
          <p15:clr>
            <a:srgbClr val="F26B43"/>
          </p15:clr>
        </p15:guide>
        <p15:guide id="19" pos="6528">
          <p15:clr>
            <a:srgbClr val="F26B43"/>
          </p15:clr>
        </p15:guide>
        <p15:guide id="20" pos="7080">
          <p15:clr>
            <a:srgbClr val="F26B43"/>
          </p15:clr>
        </p15:guide>
        <p15:guide id="21" orient="horz" pos="2160">
          <p15:clr>
            <a:srgbClr val="F26B43"/>
          </p15:clr>
        </p15:guide>
        <p15:guide id="22" orient="horz" pos="360">
          <p15:clr>
            <a:srgbClr val="F26B43"/>
          </p15:clr>
        </p15:guide>
        <p15:guide id="23" orient="horz" pos="3960">
          <p15:clr>
            <a:srgbClr val="F26B43"/>
          </p15:clr>
        </p15:guide>
        <p15:guide id="25" orient="horz" pos="672">
          <p15:clr>
            <a:srgbClr val="F26B43"/>
          </p15:clr>
        </p15:guide>
        <p15:guide id="26" orient="horz" pos="1224">
          <p15:clr>
            <a:srgbClr val="F26B43"/>
          </p15:clr>
        </p15:guide>
        <p15:guide id="27" pos="288">
          <p15:clr>
            <a:srgbClr val="F26B43"/>
          </p15:clr>
        </p15:guide>
        <p15:guide id="28" pos="7392">
          <p15:clr>
            <a:srgbClr val="F26B43"/>
          </p15:clr>
        </p15:guide>
        <p15:guide id="29" pos="3840">
          <p15:clr>
            <a:srgbClr val="F26B43"/>
          </p15:clr>
        </p15:guide>
        <p15:guide id="30" pos="1992">
          <p15:clr>
            <a:srgbClr val="F26B43"/>
          </p15:clr>
        </p15:guide>
        <p15:guide id="31" orient="horz" pos="4032">
          <p15:clr>
            <a:srgbClr val="F26B43"/>
          </p15:clr>
        </p15:guide>
        <p15:guide id="32" orient="horz" pos="288">
          <p15:clr>
            <a:srgbClr val="F26B43"/>
          </p15:clr>
        </p15:guide>
        <p15:guide id="33" orient="horz" pos="864">
          <p15:clr>
            <a:srgbClr val="F26B43"/>
          </p15:clr>
        </p15:guide>
        <p15:guide id="34" pos="2088">
          <p15:clr>
            <a:srgbClr val="F26B43"/>
          </p15:clr>
        </p15:guide>
        <p15:guide id="35" pos="3792">
          <p15:clr>
            <a:srgbClr val="F26B43"/>
          </p15:clr>
        </p15:guide>
        <p15:guide id="36" pos="3888">
          <p15:clr>
            <a:srgbClr val="F26B43"/>
          </p15:clr>
        </p15:guide>
        <p15:guide id="37" pos="5592">
          <p15:clr>
            <a:srgbClr val="F26B43"/>
          </p15:clr>
        </p15:guide>
        <p15:guide id="38" pos="5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911008990"/>
              </p:ext>
            </p:extLst>
          </p:nvPr>
        </p:nvGraphicFramePr>
        <p:xfrm>
          <a:off x="2120" y="1594"/>
          <a:ext cx="2116" cy="1588"/>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2120" y="1594"/>
                        <a:ext cx="211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94198" y="317501"/>
            <a:ext cx="1120179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94198" y="1665289"/>
            <a:ext cx="1120179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Slide Number Placeholder 7"/>
          <p:cNvSpPr>
            <a:spLocks noGrp="1"/>
          </p:cNvSpPr>
          <p:nvPr>
            <p:ph type="sldNum" sz="quarter" idx="4"/>
          </p:nvPr>
        </p:nvSpPr>
        <p:spPr>
          <a:xfrm>
            <a:off x="10629330" y="6408002"/>
            <a:ext cx="1056118" cy="252001"/>
          </a:xfrm>
          <a:prstGeom prst="rect">
            <a:avLst/>
          </a:prstGeom>
        </p:spPr>
        <p:txBody>
          <a:bodyPr vert="horz" lIns="0" tIns="0" rIns="0" bIns="0" rtlCol="0" anchor="ctr" anchorCtr="0"/>
          <a:lstStyle>
            <a:lvl1pPr algn="r">
              <a:defRPr sz="635" b="0">
                <a:solidFill>
                  <a:schemeClr val="tx2"/>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6" y="6408002"/>
            <a:ext cx="10079297" cy="252001"/>
          </a:xfrm>
          <a:prstGeom prst="rect">
            <a:avLst/>
          </a:prstGeom>
        </p:spPr>
        <p:txBody>
          <a:bodyPr vert="horz" lIns="0" tIns="0" rIns="0" bIns="0" rtlCol="0" anchor="ctr" anchorCtr="0"/>
          <a:lstStyle>
            <a:lvl1pPr algn="l">
              <a:defRPr sz="635" b="0">
                <a:solidFill>
                  <a:schemeClr val="tx2"/>
                </a:solidFill>
              </a:defRPr>
            </a:lvl1pPr>
          </a:lstStyle>
          <a:p>
            <a:r>
              <a:rPr lang="en-GB"/>
              <a:t>© 2019 Deloitte Hungary</a:t>
            </a:r>
            <a:endParaRPr lang="en-GB" dirty="0"/>
          </a:p>
        </p:txBody>
      </p:sp>
    </p:spTree>
    <p:extLst>
      <p:ext uri="{BB962C8B-B14F-4D97-AF65-F5344CB8AC3E}">
        <p14:creationId xmlns:p14="http://schemas.microsoft.com/office/powerpoint/2010/main" val="3069092637"/>
      </p:ext>
    </p:extLst>
  </p:cSld>
  <p:clrMap bg1="lt1" tx1="dk1" bg2="lt2" tx2="dk2" accent1="accent1" accent2="accent2" accent3="accent3" accent4="accent4" accent5="accent5" accent6="accent6" hlink="hlink" folHlink="folHlink"/>
  <p:sldLayoutIdLst>
    <p:sldLayoutId id="2147484687" r:id="rId1"/>
    <p:sldLayoutId id="2147484688" r:id="rId2"/>
    <p:sldLayoutId id="2147484689" r:id="rId3"/>
    <p:sldLayoutId id="2147484690" r:id="rId4"/>
    <p:sldLayoutId id="2147484691" r:id="rId5"/>
    <p:sldLayoutId id="2147484692" r:id="rId6"/>
    <p:sldLayoutId id="2147484693" r:id="rId7"/>
    <p:sldLayoutId id="2147484694" r:id="rId8"/>
    <p:sldLayoutId id="2147484695" r:id="rId9"/>
    <p:sldLayoutId id="2147484696" r:id="rId10"/>
    <p:sldLayoutId id="2147484697" r:id="rId11"/>
    <p:sldLayoutId id="2147484698" r:id="rId12"/>
    <p:sldLayoutId id="2147484699" r:id="rId13"/>
    <p:sldLayoutId id="2147484700" r:id="rId14"/>
    <p:sldLayoutId id="2147484701" r:id="rId15"/>
    <p:sldLayoutId id="2147484702" r:id="rId16"/>
    <p:sldLayoutId id="2147484703" r:id="rId17"/>
    <p:sldLayoutId id="2147484704" r:id="rId18"/>
    <p:sldLayoutId id="2147484705" r:id="rId19"/>
    <p:sldLayoutId id="2147484706" r:id="rId20"/>
    <p:sldLayoutId id="2147484707" r:id="rId21"/>
    <p:sldLayoutId id="2147484708" r:id="rId22"/>
    <p:sldLayoutId id="2147484709" r:id="rId23"/>
    <p:sldLayoutId id="2147484710" r:id="rId24"/>
    <p:sldLayoutId id="2147484711" r:id="rId25"/>
    <p:sldLayoutId id="2147484712" r:id="rId26"/>
    <p:sldLayoutId id="2147484713" r:id="rId27"/>
    <p:sldLayoutId id="2147484714" r:id="rId28"/>
    <p:sldLayoutId id="2147484715" r:id="rId29"/>
    <p:sldLayoutId id="2147484716" r:id="rId30"/>
    <p:sldLayoutId id="2147484717" r:id="rId31"/>
    <p:sldLayoutId id="2147484718" r:id="rId32"/>
    <p:sldLayoutId id="2147484719" r:id="rId33"/>
    <p:sldLayoutId id="2147484934" r:id="rId34"/>
  </p:sldLayoutIdLst>
  <p:transition>
    <p:fade/>
  </p:transition>
  <p:hf hdr="0" dt="0"/>
  <p:txStyles>
    <p:titleStyle>
      <a:lvl1pPr algn="l" defTabSz="898646" rtl="0" eaLnBrk="1" latinLnBrk="0" hangingPunct="1">
        <a:spcBef>
          <a:spcPct val="0"/>
        </a:spcBef>
        <a:buNone/>
        <a:defRPr sz="1814" kern="1200">
          <a:solidFill>
            <a:schemeClr val="tx1"/>
          </a:solidFill>
          <a:latin typeface="+mj-lt"/>
          <a:ea typeface="+mj-ea"/>
          <a:cs typeface="+mj-cs"/>
        </a:defRPr>
      </a:lvl1pPr>
    </p:titleStyle>
    <p:bodyStyle>
      <a:lvl1pPr marL="0" indent="0" algn="l" defTabSz="898646" rtl="0" eaLnBrk="1" latinLnBrk="0" hangingPunct="1">
        <a:spcBef>
          <a:spcPts val="0"/>
        </a:spcBef>
        <a:spcAft>
          <a:spcPts val="982"/>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898646" rtl="0" eaLnBrk="1" latinLnBrk="0"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0"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0"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0"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0"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p:bodyStyle>
    <p:otherStyle>
      <a:defPPr>
        <a:defRPr lang="en-US"/>
      </a:defPPr>
      <a:lvl1pPr marL="0" algn="l" defTabSz="898646" rtl="0" eaLnBrk="1" latinLnBrk="0" hangingPunct="1">
        <a:defRPr sz="1769" kern="1200">
          <a:solidFill>
            <a:schemeClr val="tx1"/>
          </a:solidFill>
          <a:latin typeface="+mn-lt"/>
          <a:ea typeface="+mn-ea"/>
          <a:cs typeface="+mn-cs"/>
        </a:defRPr>
      </a:lvl1pPr>
      <a:lvl2pPr marL="449323" algn="l" defTabSz="898646" rtl="0" eaLnBrk="1" latinLnBrk="0" hangingPunct="1">
        <a:defRPr sz="1769" kern="1200">
          <a:solidFill>
            <a:schemeClr val="tx1"/>
          </a:solidFill>
          <a:latin typeface="+mn-lt"/>
          <a:ea typeface="+mn-ea"/>
          <a:cs typeface="+mn-cs"/>
        </a:defRPr>
      </a:lvl2pPr>
      <a:lvl3pPr marL="898646" algn="l" defTabSz="898646" rtl="0" eaLnBrk="1" latinLnBrk="0" hangingPunct="1">
        <a:defRPr sz="1769" kern="1200">
          <a:solidFill>
            <a:schemeClr val="tx1"/>
          </a:solidFill>
          <a:latin typeface="+mn-lt"/>
          <a:ea typeface="+mn-ea"/>
          <a:cs typeface="+mn-cs"/>
        </a:defRPr>
      </a:lvl3pPr>
      <a:lvl4pPr marL="1347969" algn="l" defTabSz="898646" rtl="0" eaLnBrk="1" latinLnBrk="0" hangingPunct="1">
        <a:defRPr sz="1769" kern="1200">
          <a:solidFill>
            <a:schemeClr val="tx1"/>
          </a:solidFill>
          <a:latin typeface="+mn-lt"/>
          <a:ea typeface="+mn-ea"/>
          <a:cs typeface="+mn-cs"/>
        </a:defRPr>
      </a:lvl4pPr>
      <a:lvl5pPr marL="1797290" algn="l" defTabSz="898646" rtl="0" eaLnBrk="1" latinLnBrk="0" hangingPunct="1">
        <a:defRPr sz="1769" kern="1200">
          <a:solidFill>
            <a:schemeClr val="tx1"/>
          </a:solidFill>
          <a:latin typeface="+mn-lt"/>
          <a:ea typeface="+mn-ea"/>
          <a:cs typeface="+mn-cs"/>
        </a:defRPr>
      </a:lvl5pPr>
      <a:lvl6pPr marL="2246614" algn="l" defTabSz="898646" rtl="0" eaLnBrk="1" latinLnBrk="0" hangingPunct="1">
        <a:defRPr sz="1769" kern="1200">
          <a:solidFill>
            <a:schemeClr val="tx1"/>
          </a:solidFill>
          <a:latin typeface="+mn-lt"/>
          <a:ea typeface="+mn-ea"/>
          <a:cs typeface="+mn-cs"/>
        </a:defRPr>
      </a:lvl6pPr>
      <a:lvl7pPr marL="2695936" algn="l" defTabSz="898646" rtl="0" eaLnBrk="1" latinLnBrk="0" hangingPunct="1">
        <a:defRPr sz="1769" kern="1200">
          <a:solidFill>
            <a:schemeClr val="tx1"/>
          </a:solidFill>
          <a:latin typeface="+mn-lt"/>
          <a:ea typeface="+mn-ea"/>
          <a:cs typeface="+mn-cs"/>
        </a:defRPr>
      </a:lvl7pPr>
      <a:lvl8pPr marL="3145258" algn="l" defTabSz="898646" rtl="0" eaLnBrk="1" latinLnBrk="0" hangingPunct="1">
        <a:defRPr sz="1769" kern="1200">
          <a:solidFill>
            <a:schemeClr val="tx1"/>
          </a:solidFill>
          <a:latin typeface="+mn-lt"/>
          <a:ea typeface="+mn-ea"/>
          <a:cs typeface="+mn-cs"/>
        </a:defRPr>
      </a:lvl8pPr>
      <a:lvl9pPr marL="3594581" algn="l" defTabSz="898646" rtl="0" eaLnBrk="1" latinLnBrk="0" hangingPunct="1">
        <a:defRPr sz="176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10" pos="4361">
          <p15:clr>
            <a:srgbClr val="F26B43"/>
          </p15:clr>
        </p15:guide>
        <p15:guide id="11" orient="horz" pos="260">
          <p15:clr>
            <a:srgbClr val="F26B43"/>
          </p15:clr>
        </p15:guide>
        <p15:guide id="12" pos="1210">
          <p15:clr>
            <a:srgbClr val="F26B43"/>
          </p15:clr>
        </p15:guide>
        <p15:guide id="13" pos="1323">
          <p15:clr>
            <a:srgbClr val="F26B43"/>
          </p15:clr>
        </p15:guide>
        <p15:guide id="14" pos="2260">
          <p15:clr>
            <a:srgbClr val="F26B43"/>
          </p15:clr>
        </p15:guide>
        <p15:guide id="15" pos="2373">
          <p15:clr>
            <a:srgbClr val="F26B43"/>
          </p15:clr>
        </p15:guide>
        <p15:guide id="16" pos="5410">
          <p15:clr>
            <a:srgbClr val="F26B43"/>
          </p15:clr>
        </p15:guide>
        <p15:guide id="17" pos="3306">
          <p15:clr>
            <a:srgbClr val="F26B43"/>
          </p15:clr>
        </p15:guide>
        <p15:guide id="18" pos="3424">
          <p15:clr>
            <a:srgbClr val="F26B43"/>
          </p15:clr>
        </p15:guide>
        <p15:guide id="19" pos="3368">
          <p15:clr>
            <a:srgbClr val="F26B43"/>
          </p15:clr>
        </p15:guide>
        <p15:guide id="20" pos="5525">
          <p15:clr>
            <a:srgbClr val="F26B43"/>
          </p15:clr>
        </p15:guide>
        <p15:guide id="21" orient="horz" pos="1157">
          <p15:clr>
            <a:srgbClr val="F26B43"/>
          </p15:clr>
        </p15:guide>
        <p15:guide id="22" orient="horz" pos="7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0"/>
            </p:custDataLst>
            <p:extLst>
              <p:ext uri="{D42A27DB-BD31-4B8C-83A1-F6EECF244321}">
                <p14:modId xmlns:p14="http://schemas.microsoft.com/office/powerpoint/2010/main" val="19541220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2" imgW="270" imgH="270" progId="TCLayout.ActiveDocument.1">
                  <p:embed/>
                </p:oleObj>
              </mc:Choice>
              <mc:Fallback>
                <p:oleObj name="think-cell Slide" r:id="rId62" imgW="270" imgH="270" progId="TCLayout.ActiveDocument.1">
                  <p:embed/>
                  <p:pic>
                    <p:nvPicPr>
                      <p:cNvPr id="4" name="Object 3" hidden="1"/>
                      <p:cNvPicPr/>
                      <p:nvPr/>
                    </p:nvPicPr>
                    <p:blipFill>
                      <a:blip r:embed="rId63"/>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914400" y="1970711"/>
            <a:ext cx="10325100" cy="3962729"/>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Rectangle 2">
            <a:extLst>
              <a:ext uri="{FF2B5EF4-FFF2-40B4-BE49-F238E27FC236}">
                <a16:creationId xmlns:a16="http://schemas.microsoft.com/office/drawing/2014/main" id="{F0F4EDEF-F91B-1746-A3E2-4BB9FB7514F9}"/>
              </a:ext>
            </a:extLst>
          </p:cNvPr>
          <p:cNvSpPr>
            <a:spLocks/>
          </p:cNvSpPr>
          <p:nvPr/>
        </p:nvSpPr>
        <p:spPr bwMode="auto">
          <a:xfrm>
            <a:off x="914719" y="6286500"/>
            <a:ext cx="306173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84F2FB2-4A16-1542-BD5E-F56870239E74}" type="slidenum">
              <a:rPr lang="en-GB" sz="800" smtClean="0">
                <a:solidFill>
                  <a:schemeClr val="bg1">
                    <a:lumMod val="65000"/>
                  </a:schemeClr>
                </a:solidFill>
                <a:latin typeface="Open Sans" charset="0"/>
                <a:ea typeface="Open Sans" charset="0"/>
                <a:cs typeface="Open Sans" charset="0"/>
                <a:sym typeface="Frutiger Next Pro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lang="en-GB" sz="800">
                <a:solidFill>
                  <a:schemeClr val="bg1">
                    <a:lumMod val="65000"/>
                  </a:schemeClr>
                </a:solidFill>
                <a:latin typeface="Open Sans" charset="0"/>
                <a:ea typeface="Open Sans" charset="0"/>
                <a:cs typeface="Open Sans" charset="0"/>
                <a:sym typeface="Frutiger Next Pro Light" charset="0"/>
              </a:rPr>
              <a:t>  |  Copyright © 2022 For information contact Deloitte Consulting AG. </a:t>
            </a:r>
          </a:p>
          <a:p>
            <a:endParaRPr lang="en-GB" sz="800">
              <a:solidFill>
                <a:schemeClr val="bg1">
                  <a:lumMod val="65000"/>
                </a:schemeClr>
              </a:solidFill>
              <a:latin typeface="Open Sans" charset="0"/>
              <a:ea typeface="Open Sans" charset="0"/>
              <a:cs typeface="Open Sans" charset="0"/>
              <a:sym typeface="Frutiger Next Pro Light" charset="0"/>
            </a:endParaRP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914400" y="1099820"/>
            <a:ext cx="10325100" cy="668019"/>
          </a:xfrm>
          <a:prstGeom prst="rect">
            <a:avLst/>
          </a:prstGeom>
        </p:spPr>
        <p:txBody>
          <a:bodyPr vert="horz" lIns="0" tIns="0" rIns="0" bIns="0" rtlCol="0" anchor="t" anchorCtr="0">
            <a:noAutofit/>
          </a:bodyPr>
          <a:lstStyle/>
          <a:p>
            <a:r>
              <a:rPr lang="en-GB" noProof="0"/>
              <a:t>Click to edit Master title style</a:t>
            </a:r>
          </a:p>
        </p:txBody>
      </p:sp>
      <p:graphicFrame>
        <p:nvGraphicFramePr>
          <p:cNvPr id="6" name="Object 5" hidden="1">
            <a:extLst>
              <a:ext uri="{FF2B5EF4-FFF2-40B4-BE49-F238E27FC236}">
                <a16:creationId xmlns:a16="http://schemas.microsoft.com/office/drawing/2014/main" id="{EC3AC03C-67F0-4B21-8060-A531F194089B}"/>
              </a:ext>
            </a:extLst>
          </p:cNvPr>
          <p:cNvGraphicFramePr>
            <a:graphicFrameLocks noChangeAspect="1"/>
          </p:cNvGraphicFramePr>
          <p:nvPr userDrawn="1">
            <p:custDataLst>
              <p:tags r:id="rId61"/>
            </p:custDataLst>
            <p:extLst>
              <p:ext uri="{D42A27DB-BD31-4B8C-83A1-F6EECF244321}">
                <p14:modId xmlns:p14="http://schemas.microsoft.com/office/powerpoint/2010/main" val="167858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498" imgH="499" progId="TCLayout.ActiveDocument.1">
                  <p:embed/>
                </p:oleObj>
              </mc:Choice>
              <mc:Fallback>
                <p:oleObj name="think-cell Slide" r:id="rId64" imgW="498" imgH="499" progId="TCLayout.ActiveDocument.1">
                  <p:embed/>
                  <p:pic>
                    <p:nvPicPr>
                      <p:cNvPr id="6" name="Object 5" hidden="1">
                        <a:extLst>
                          <a:ext uri="{FF2B5EF4-FFF2-40B4-BE49-F238E27FC236}">
                            <a16:creationId xmlns:a16="http://schemas.microsoft.com/office/drawing/2014/main" id="{EC3AC03C-67F0-4B21-8060-A531F194089B}"/>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67755784"/>
      </p:ext>
    </p:extLst>
  </p:cSld>
  <p:clrMap bg1="lt1" tx1="dk1" bg2="lt2" tx2="dk2" accent1="accent1" accent2="accent2" accent3="accent3" accent4="accent4" accent5="accent5" accent6="accent6" hlink="hlink" folHlink="folHlink"/>
  <p:sldLayoutIdLst>
    <p:sldLayoutId id="2147484623" r:id="rId1"/>
    <p:sldLayoutId id="2147484624" r:id="rId2"/>
    <p:sldLayoutId id="2147484625" r:id="rId3"/>
    <p:sldLayoutId id="2147484626" r:id="rId4"/>
    <p:sldLayoutId id="2147484627" r:id="rId5"/>
    <p:sldLayoutId id="2147484628" r:id="rId6"/>
    <p:sldLayoutId id="2147484629" r:id="rId7"/>
    <p:sldLayoutId id="2147484630" r:id="rId8"/>
    <p:sldLayoutId id="2147484631" r:id="rId9"/>
    <p:sldLayoutId id="2147484632" r:id="rId10"/>
    <p:sldLayoutId id="2147484633" r:id="rId11"/>
    <p:sldLayoutId id="2147484634" r:id="rId12"/>
    <p:sldLayoutId id="2147484635" r:id="rId13"/>
    <p:sldLayoutId id="2147484636" r:id="rId14"/>
    <p:sldLayoutId id="2147484637" r:id="rId15"/>
    <p:sldLayoutId id="2147484638" r:id="rId16"/>
    <p:sldLayoutId id="2147484639" r:id="rId17"/>
    <p:sldLayoutId id="2147484640" r:id="rId18"/>
    <p:sldLayoutId id="2147484641" r:id="rId19"/>
    <p:sldLayoutId id="2147484642" r:id="rId20"/>
    <p:sldLayoutId id="2147484643" r:id="rId21"/>
    <p:sldLayoutId id="2147484644" r:id="rId22"/>
    <p:sldLayoutId id="2147484645" r:id="rId23"/>
    <p:sldLayoutId id="2147484646" r:id="rId24"/>
    <p:sldLayoutId id="2147484647" r:id="rId25"/>
    <p:sldLayoutId id="2147484648" r:id="rId26"/>
    <p:sldLayoutId id="2147484649" r:id="rId27"/>
    <p:sldLayoutId id="2147484650" r:id="rId28"/>
    <p:sldLayoutId id="2147484651" r:id="rId29"/>
    <p:sldLayoutId id="2147484652" r:id="rId30"/>
    <p:sldLayoutId id="2147484653" r:id="rId31"/>
    <p:sldLayoutId id="2147484654" r:id="rId32"/>
    <p:sldLayoutId id="2147484655" r:id="rId33"/>
    <p:sldLayoutId id="2147484656" r:id="rId34"/>
    <p:sldLayoutId id="2147484657" r:id="rId35"/>
    <p:sldLayoutId id="2147484658" r:id="rId36"/>
    <p:sldLayoutId id="2147484659" r:id="rId37"/>
    <p:sldLayoutId id="2147484660" r:id="rId38"/>
    <p:sldLayoutId id="2147484661" r:id="rId39"/>
    <p:sldLayoutId id="2147484662" r:id="rId40"/>
    <p:sldLayoutId id="2147484663" r:id="rId41"/>
    <p:sldLayoutId id="2147484664" r:id="rId42"/>
    <p:sldLayoutId id="2147484665" r:id="rId43"/>
    <p:sldLayoutId id="2147484666" r:id="rId44"/>
    <p:sldLayoutId id="2147484667" r:id="rId45"/>
    <p:sldLayoutId id="2147484668" r:id="rId46"/>
    <p:sldLayoutId id="2147484669" r:id="rId47"/>
    <p:sldLayoutId id="2147484670" r:id="rId48"/>
    <p:sldLayoutId id="2147484671" r:id="rId49"/>
    <p:sldLayoutId id="2147484672" r:id="rId50"/>
    <p:sldLayoutId id="2147484673" r:id="rId51"/>
    <p:sldLayoutId id="2147484674" r:id="rId52"/>
    <p:sldLayoutId id="2147484675" r:id="rId53"/>
    <p:sldLayoutId id="2147484676" r:id="rId54"/>
    <p:sldLayoutId id="2147484677" r:id="rId55"/>
    <p:sldLayoutId id="2147484678" r:id="rId56"/>
    <p:sldLayoutId id="2147484679" r:id="rId57"/>
    <p:sldLayoutId id="2147484680" r:id="rId58"/>
  </p:sldLayoutIdLst>
  <p:transition>
    <p:fade/>
  </p:transition>
  <p:txStyles>
    <p:title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6">
          <p15:clr>
            <a:srgbClr val="F26B43"/>
          </p15:clr>
        </p15:guide>
        <p15:guide id="2" pos="1152">
          <p15:clr>
            <a:srgbClr val="F26B43"/>
          </p15:clr>
        </p15:guide>
        <p15:guide id="3" pos="1248">
          <p15:clr>
            <a:srgbClr val="F26B43"/>
          </p15:clr>
        </p15:guide>
        <p15:guide id="4" pos="1800">
          <p15:clr>
            <a:srgbClr val="F26B43"/>
          </p15:clr>
        </p15:guide>
        <p15:guide id="5" pos="1896">
          <p15:clr>
            <a:srgbClr val="F26B43"/>
          </p15:clr>
        </p15:guide>
        <p15:guide id="6" pos="2472">
          <p15:clr>
            <a:srgbClr val="F26B43"/>
          </p15:clr>
        </p15:guide>
        <p15:guide id="7" pos="2568">
          <p15:clr>
            <a:srgbClr val="F26B43"/>
          </p15:clr>
        </p15:guide>
        <p15:guide id="8" pos="3120">
          <p15:clr>
            <a:srgbClr val="F26B43"/>
          </p15:clr>
        </p15:guide>
        <p15:guide id="9" pos="3216">
          <p15:clr>
            <a:srgbClr val="F26B43"/>
          </p15:clr>
        </p15:guide>
        <p15:guide id="12" pos="4440">
          <p15:clr>
            <a:srgbClr val="F26B43"/>
          </p15:clr>
        </p15:guide>
        <p15:guide id="13" pos="4536">
          <p15:clr>
            <a:srgbClr val="F26B43"/>
          </p15:clr>
        </p15:guide>
        <p15:guide id="14" pos="5112">
          <p15:clr>
            <a:srgbClr val="F26B43"/>
          </p15:clr>
        </p15:guide>
        <p15:guide id="15" pos="5208">
          <p15:clr>
            <a:srgbClr val="F26B43"/>
          </p15:clr>
        </p15:guide>
        <p15:guide id="16" pos="5760">
          <p15:clr>
            <a:srgbClr val="F26B43"/>
          </p15:clr>
        </p15:guide>
        <p15:guide id="17" pos="5856">
          <p15:clr>
            <a:srgbClr val="F26B43"/>
          </p15:clr>
        </p15:guide>
        <p15:guide id="18" pos="6432">
          <p15:clr>
            <a:srgbClr val="F26B43"/>
          </p15:clr>
        </p15:guide>
        <p15:guide id="19" pos="6528">
          <p15:clr>
            <a:srgbClr val="F26B43"/>
          </p15:clr>
        </p15:guide>
        <p15:guide id="20" pos="7080">
          <p15:clr>
            <a:srgbClr val="F26B43"/>
          </p15:clr>
        </p15:guide>
        <p15:guide id="21" orient="horz" pos="2160">
          <p15:clr>
            <a:srgbClr val="F26B43"/>
          </p15:clr>
        </p15:guide>
        <p15:guide id="22" orient="horz" pos="360">
          <p15:clr>
            <a:srgbClr val="F26B43"/>
          </p15:clr>
        </p15:guide>
        <p15:guide id="23" orient="horz" pos="3960">
          <p15:clr>
            <a:srgbClr val="F26B43"/>
          </p15:clr>
        </p15:guide>
        <p15:guide id="25" orient="horz" pos="672">
          <p15:clr>
            <a:srgbClr val="F26B43"/>
          </p15:clr>
        </p15:guide>
        <p15:guide id="26" orient="horz" pos="1224">
          <p15:clr>
            <a:srgbClr val="F26B43"/>
          </p15:clr>
        </p15:guide>
        <p15:guide id="27" pos="288">
          <p15:clr>
            <a:srgbClr val="F26B43"/>
          </p15:clr>
        </p15:guide>
        <p15:guide id="28" pos="7392">
          <p15:clr>
            <a:srgbClr val="F26B43"/>
          </p15:clr>
        </p15:guide>
        <p15:guide id="29" pos="3840">
          <p15:clr>
            <a:srgbClr val="F26B43"/>
          </p15:clr>
        </p15:guide>
        <p15:guide id="30" pos="1992">
          <p15:clr>
            <a:srgbClr val="F26B43"/>
          </p15:clr>
        </p15:guide>
        <p15:guide id="31" orient="horz" pos="4032">
          <p15:clr>
            <a:srgbClr val="F26B43"/>
          </p15:clr>
        </p15:guide>
        <p15:guide id="32" orient="horz" pos="288">
          <p15:clr>
            <a:srgbClr val="F26B43"/>
          </p15:clr>
        </p15:guide>
        <p15:guide id="33" orient="horz" pos="864">
          <p15:clr>
            <a:srgbClr val="F26B43"/>
          </p15:clr>
        </p15:guide>
        <p15:guide id="34" pos="2088">
          <p15:clr>
            <a:srgbClr val="F26B43"/>
          </p15:clr>
        </p15:guide>
        <p15:guide id="35" pos="3792">
          <p15:clr>
            <a:srgbClr val="F26B43"/>
          </p15:clr>
        </p15:guide>
        <p15:guide id="36" pos="3888">
          <p15:clr>
            <a:srgbClr val="F26B43"/>
          </p15:clr>
        </p15:guide>
        <p15:guide id="37" pos="5592">
          <p15:clr>
            <a:srgbClr val="F26B43"/>
          </p15:clr>
        </p15:guide>
        <p15:guide id="38" pos="56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2"/>
            </p:custDataLst>
            <p:extLst>
              <p:ext uri="{D42A27DB-BD31-4B8C-83A1-F6EECF244321}">
                <p14:modId xmlns:p14="http://schemas.microsoft.com/office/powerpoint/2010/main" val="260540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03" imgW="270" imgH="270" progId="TCLayout.ActiveDocument.1">
                  <p:embed/>
                </p:oleObj>
              </mc:Choice>
              <mc:Fallback>
                <p:oleObj name="think-cell Slide" r:id="rId103" imgW="270" imgH="270" progId="TCLayout.ActiveDocument.1">
                  <p:embed/>
                  <p:pic>
                    <p:nvPicPr>
                      <p:cNvPr id="4" name="Object 3" hidden="1"/>
                      <p:cNvPicPr/>
                      <p:nvPr/>
                    </p:nvPicPr>
                    <p:blipFill>
                      <a:blip r:embed="rId10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4400" y="417600"/>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D42147CE-6909-4177-8826-26411881AF8F}" type="slidenum">
              <a:rPr lang="en-US" sz="800" b="0" i="0" noProof="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fld>
            <a:endParaRPr lang="en-US" sz="800" b="0" i="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i="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i="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i="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i="0" dirty="0">
              <a:solidFill>
                <a:srgbClr val="31313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4118" r:id="rId1"/>
    <p:sldLayoutId id="2147484117" r:id="rId2"/>
    <p:sldLayoutId id="2147484134" r:id="rId3"/>
    <p:sldLayoutId id="2147484136" r:id="rId4"/>
    <p:sldLayoutId id="2147484135" r:id="rId5"/>
    <p:sldLayoutId id="2147484119" r:id="rId6"/>
    <p:sldLayoutId id="2147484553" r:id="rId7"/>
    <p:sldLayoutId id="2147484733" r:id="rId8"/>
    <p:sldLayoutId id="2147484587" r:id="rId9"/>
    <p:sldLayoutId id="2147484008" r:id="rId10"/>
    <p:sldLayoutId id="2147484017" r:id="rId11"/>
    <p:sldLayoutId id="2147484127" r:id="rId12"/>
    <p:sldLayoutId id="2147483973" r:id="rId13"/>
    <p:sldLayoutId id="2147484133" r:id="rId14"/>
    <p:sldLayoutId id="2147484724" r:id="rId15"/>
    <p:sldLayoutId id="2147484725" r:id="rId16"/>
    <p:sldLayoutId id="2147484726" r:id="rId17"/>
    <p:sldLayoutId id="2147484727" r:id="rId18"/>
    <p:sldLayoutId id="2147484723" r:id="rId19"/>
    <p:sldLayoutId id="2147484722" r:id="rId20"/>
    <p:sldLayoutId id="2147484734" r:id="rId21"/>
    <p:sldLayoutId id="2147484517" r:id="rId22"/>
    <p:sldLayoutId id="2147484131" r:id="rId23"/>
    <p:sldLayoutId id="2147484515" r:id="rId24"/>
    <p:sldLayoutId id="2147484518" r:id="rId25"/>
    <p:sldLayoutId id="2147484519" r:id="rId26"/>
    <p:sldLayoutId id="2147484522" r:id="rId27"/>
    <p:sldLayoutId id="2147484130" r:id="rId28"/>
    <p:sldLayoutId id="2147484128" r:id="rId29"/>
    <p:sldLayoutId id="2147484129" r:id="rId30"/>
    <p:sldLayoutId id="2147483974" r:id="rId31"/>
    <p:sldLayoutId id="2147484111" r:id="rId32"/>
    <p:sldLayoutId id="2147484002" r:id="rId33"/>
    <p:sldLayoutId id="2147484026" r:id="rId34"/>
    <p:sldLayoutId id="2147484076" r:id="rId35"/>
    <p:sldLayoutId id="2147484132" r:id="rId36"/>
    <p:sldLayoutId id="2147484078" r:id="rId37"/>
    <p:sldLayoutId id="2147484126" r:id="rId38"/>
    <p:sldLayoutId id="2147484112" r:id="rId39"/>
    <p:sldLayoutId id="2147484022" r:id="rId40"/>
    <p:sldLayoutId id="2147484122" r:id="rId41"/>
    <p:sldLayoutId id="2147484728" r:id="rId42"/>
    <p:sldLayoutId id="2147484735" r:id="rId43"/>
    <p:sldLayoutId id="2147484006" r:id="rId44"/>
    <p:sldLayoutId id="2147484137" r:id="rId45"/>
    <p:sldLayoutId id="2147484729" r:id="rId46"/>
    <p:sldLayoutId id="2147484580" r:id="rId47"/>
    <p:sldLayoutId id="2147484581" r:id="rId48"/>
    <p:sldLayoutId id="2147484512" r:id="rId49"/>
    <p:sldLayoutId id="2147484534" r:id="rId50"/>
    <p:sldLayoutId id="2147484583" r:id="rId51"/>
    <p:sldLayoutId id="2147484584" r:id="rId52"/>
    <p:sldLayoutId id="2147484585" r:id="rId53"/>
    <p:sldLayoutId id="2147484586" r:id="rId54"/>
    <p:sldLayoutId id="2147484588" r:id="rId55"/>
    <p:sldLayoutId id="2147484589" r:id="rId56"/>
    <p:sldLayoutId id="2147484548" r:id="rId57"/>
    <p:sldLayoutId id="2147484549" r:id="rId58"/>
    <p:sldLayoutId id="2147484550" r:id="rId59"/>
    <p:sldLayoutId id="2147484551" r:id="rId60"/>
    <p:sldLayoutId id="2147484552" r:id="rId61"/>
    <p:sldLayoutId id="2147484621" r:id="rId62"/>
    <p:sldLayoutId id="2147484554" r:id="rId63"/>
    <p:sldLayoutId id="2147484555" r:id="rId64"/>
    <p:sldLayoutId id="2147484556" r:id="rId65"/>
    <p:sldLayoutId id="2147484557" r:id="rId66"/>
    <p:sldLayoutId id="2147484558" r:id="rId67"/>
    <p:sldLayoutId id="2147484559" r:id="rId68"/>
    <p:sldLayoutId id="2147484560" r:id="rId69"/>
    <p:sldLayoutId id="2147484561" r:id="rId70"/>
    <p:sldLayoutId id="2147484562" r:id="rId71"/>
    <p:sldLayoutId id="2147484563" r:id="rId72"/>
    <p:sldLayoutId id="2147484564" r:id="rId73"/>
    <p:sldLayoutId id="2147484565" r:id="rId74"/>
    <p:sldLayoutId id="2147484566" r:id="rId75"/>
    <p:sldLayoutId id="2147484567" r:id="rId76"/>
    <p:sldLayoutId id="2147484568" r:id="rId77"/>
    <p:sldLayoutId id="2147484569" r:id="rId78"/>
    <p:sldLayoutId id="2147484570" r:id="rId79"/>
    <p:sldLayoutId id="2147484571" r:id="rId80"/>
    <p:sldLayoutId id="2147484572" r:id="rId81"/>
    <p:sldLayoutId id="2147484573" r:id="rId82"/>
    <p:sldLayoutId id="2147484574" r:id="rId83"/>
    <p:sldLayoutId id="2147484575" r:id="rId84"/>
    <p:sldLayoutId id="2147484576" r:id="rId85"/>
    <p:sldLayoutId id="2147484577" r:id="rId86"/>
    <p:sldLayoutId id="2147484578" r:id="rId87"/>
    <p:sldLayoutId id="2147484730" r:id="rId88"/>
    <p:sldLayoutId id="2147484684" r:id="rId89"/>
    <p:sldLayoutId id="2147484683" r:id="rId90"/>
    <p:sldLayoutId id="2147484685" r:id="rId91"/>
    <p:sldLayoutId id="2147484590" r:id="rId92"/>
    <p:sldLayoutId id="2147484582" r:id="rId93"/>
    <p:sldLayoutId id="2147484938" r:id="rId94"/>
    <p:sldLayoutId id="2147484935" r:id="rId95"/>
    <p:sldLayoutId id="2147484936" r:id="rId96"/>
    <p:sldLayoutId id="2147484937" r:id="rId97"/>
    <p:sldLayoutId id="2147484540" r:id="rId98"/>
    <p:sldLayoutId id="2147485098" r:id="rId99"/>
    <p:sldLayoutId id="2147485099" r:id="rId100"/>
  </p:sldLayoutIdLst>
  <p:transition>
    <p:fade/>
  </p:transition>
  <p:hf hdr="0" dt="0"/>
  <p:txStyles>
    <p:title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75" userDrawn="1">
          <p15:clr>
            <a:srgbClr val="F26B43"/>
          </p15:clr>
        </p15:guide>
        <p15:guide id="68" orient="horz" pos="4104" userDrawn="1">
          <p15:clr>
            <a:srgbClr val="F26B43"/>
          </p15:clr>
        </p15:guide>
        <p15:guide id="69" orient="horz" pos="2088" userDrawn="1">
          <p15:clr>
            <a:srgbClr val="F26B43"/>
          </p15:clr>
        </p15:guide>
        <p15:guide id="70" orient="horz" pos="1080" userDrawn="1">
          <p15:clr>
            <a:srgbClr val="F26B43"/>
          </p15:clr>
        </p15:guide>
        <p15:guide id="71" orient="horz" pos="255"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6"/>
            </p:custDataLst>
            <p:extLst>
              <p:ext uri="{D42A27DB-BD31-4B8C-83A1-F6EECF244321}">
                <p14:modId xmlns:p14="http://schemas.microsoft.com/office/powerpoint/2010/main" val="197276618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87" imgW="270" imgH="270" progId="TCLayout.ActiveDocument.1">
                  <p:embed/>
                </p:oleObj>
              </mc:Choice>
              <mc:Fallback>
                <p:oleObj name="think-cell Slide" r:id="rId87" imgW="270" imgH="270" progId="TCLayout.ActiveDocument.1">
                  <p:embed/>
                  <p:pic>
                    <p:nvPicPr>
                      <p:cNvPr id="4" name="Object 3" hidden="1"/>
                      <p:cNvPicPr/>
                      <p:nvPr/>
                    </p:nvPicPr>
                    <p:blipFill>
                      <a:blip r:embed="rId8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4400" y="417600"/>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rtl="0">
              <a:spcBef>
                <a:spcPts val="450"/>
              </a:spcBef>
              <a:buSzPct val="100000"/>
              <a:buFont typeface="Arial"/>
              <a:buNone/>
            </a:pPr>
            <a:fld id="{D42147CE-6909-4177-8826-26411881AF8F}" type="slidenum">
              <a:rPr lang="en-US" sz="800" b="0" i="0" noProof="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marL="0" indent="0" algn="r" rtl="0">
                <a:spcBef>
                  <a:spcPts val="450"/>
                </a:spcBef>
                <a:buSzPct val="100000"/>
                <a:buFont typeface="Arial"/>
                <a:buNone/>
              </a:pPr>
              <a:t>‹#›</a:t>
            </a:fld>
            <a:endParaRPr lang="en-US" sz="800" b="0" i="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rtl="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rtl="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rtl="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rtl="0">
              <a:spcBef>
                <a:spcPts val="600"/>
              </a:spcBef>
              <a:buSzPct val="100000"/>
              <a:buFont typeface="Arial"/>
              <a:buChar char="•"/>
            </a:pPr>
            <a:endParaRPr lang="en-US" sz="1800" dirty="0">
              <a:solidFill>
                <a:srgbClr val="31313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5021" r:id="rId1"/>
    <p:sldLayoutId id="2147485022" r:id="rId2"/>
    <p:sldLayoutId id="2147485023" r:id="rId3"/>
    <p:sldLayoutId id="2147485024" r:id="rId4"/>
    <p:sldLayoutId id="2147485025" r:id="rId5"/>
    <p:sldLayoutId id="2147485026" r:id="rId6"/>
    <p:sldLayoutId id="2147485027" r:id="rId7"/>
    <p:sldLayoutId id="2147485028" r:id="rId8"/>
    <p:sldLayoutId id="2147485029" r:id="rId9"/>
    <p:sldLayoutId id="2147485030" r:id="rId10"/>
    <p:sldLayoutId id="2147485031" r:id="rId11"/>
    <p:sldLayoutId id="2147485032" r:id="rId12"/>
    <p:sldLayoutId id="2147485033" r:id="rId13"/>
    <p:sldLayoutId id="2147485034" r:id="rId14"/>
    <p:sldLayoutId id="2147485035" r:id="rId15"/>
    <p:sldLayoutId id="2147485036" r:id="rId16"/>
    <p:sldLayoutId id="2147485037" r:id="rId17"/>
    <p:sldLayoutId id="2147485038" r:id="rId18"/>
    <p:sldLayoutId id="2147485039" r:id="rId19"/>
    <p:sldLayoutId id="2147485040" r:id="rId20"/>
    <p:sldLayoutId id="2147485041" r:id="rId21"/>
    <p:sldLayoutId id="2147485042" r:id="rId22"/>
    <p:sldLayoutId id="2147485043" r:id="rId23"/>
    <p:sldLayoutId id="2147485044" r:id="rId24"/>
    <p:sldLayoutId id="2147485045" r:id="rId25"/>
    <p:sldLayoutId id="2147485046" r:id="rId26"/>
    <p:sldLayoutId id="2147485047" r:id="rId27"/>
    <p:sldLayoutId id="2147485048" r:id="rId28"/>
    <p:sldLayoutId id="2147485049" r:id="rId29"/>
    <p:sldLayoutId id="2147485050" r:id="rId30"/>
    <p:sldLayoutId id="2147485051" r:id="rId31"/>
    <p:sldLayoutId id="2147485052" r:id="rId32"/>
    <p:sldLayoutId id="2147485053" r:id="rId33"/>
    <p:sldLayoutId id="2147485054" r:id="rId34"/>
    <p:sldLayoutId id="2147485055" r:id="rId35"/>
    <p:sldLayoutId id="2147485056" r:id="rId36"/>
    <p:sldLayoutId id="2147485057" r:id="rId37"/>
    <p:sldLayoutId id="2147485058" r:id="rId38"/>
    <p:sldLayoutId id="2147485059" r:id="rId39"/>
    <p:sldLayoutId id="2147485060" r:id="rId40"/>
    <p:sldLayoutId id="2147485061" r:id="rId41"/>
    <p:sldLayoutId id="2147485062" r:id="rId42"/>
    <p:sldLayoutId id="2147485063" r:id="rId43"/>
    <p:sldLayoutId id="2147485064" r:id="rId44"/>
    <p:sldLayoutId id="2147485065" r:id="rId45"/>
    <p:sldLayoutId id="2147485066" r:id="rId46"/>
    <p:sldLayoutId id="2147485067" r:id="rId47"/>
    <p:sldLayoutId id="2147485068" r:id="rId48"/>
    <p:sldLayoutId id="2147485069" r:id="rId49"/>
    <p:sldLayoutId id="2147485070" r:id="rId50"/>
    <p:sldLayoutId id="2147485071" r:id="rId51"/>
    <p:sldLayoutId id="2147485072" r:id="rId52"/>
    <p:sldLayoutId id="2147485073" r:id="rId53"/>
    <p:sldLayoutId id="2147485074" r:id="rId54"/>
    <p:sldLayoutId id="2147485075" r:id="rId55"/>
    <p:sldLayoutId id="2147485076" r:id="rId56"/>
    <p:sldLayoutId id="2147485077" r:id="rId57"/>
    <p:sldLayoutId id="2147485078" r:id="rId58"/>
    <p:sldLayoutId id="2147485079" r:id="rId59"/>
    <p:sldLayoutId id="2147485080" r:id="rId60"/>
    <p:sldLayoutId id="2147485081" r:id="rId61"/>
    <p:sldLayoutId id="2147485082" r:id="rId62"/>
    <p:sldLayoutId id="2147485083" r:id="rId63"/>
    <p:sldLayoutId id="2147485084" r:id="rId64"/>
    <p:sldLayoutId id="2147485085" r:id="rId65"/>
    <p:sldLayoutId id="2147485086" r:id="rId66"/>
    <p:sldLayoutId id="2147485087" r:id="rId67"/>
    <p:sldLayoutId id="2147485088" r:id="rId68"/>
    <p:sldLayoutId id="2147485089" r:id="rId69"/>
    <p:sldLayoutId id="2147485090" r:id="rId70"/>
    <p:sldLayoutId id="2147485091" r:id="rId71"/>
    <p:sldLayoutId id="2147484868" r:id="rId72"/>
    <p:sldLayoutId id="2147485092" r:id="rId73"/>
    <p:sldLayoutId id="2147485093" r:id="rId74"/>
    <p:sldLayoutId id="2147485019" r:id="rId75"/>
    <p:sldLayoutId id="2147485018" r:id="rId76"/>
    <p:sldLayoutId id="2147484739" r:id="rId77"/>
    <p:sldLayoutId id="2147484740" r:id="rId78"/>
    <p:sldLayoutId id="2147484806" r:id="rId79"/>
    <p:sldLayoutId id="2147484807" r:id="rId80"/>
    <p:sldLayoutId id="2147484808" r:id="rId81"/>
    <p:sldLayoutId id="2147484810" r:id="rId82"/>
    <p:sldLayoutId id="2147484867" r:id="rId83"/>
    <p:sldLayoutId id="2147485102" r:id="rId84"/>
  </p:sldLayoutIdLst>
  <p:transition>
    <p:fade/>
  </p:transition>
  <p:hf hdr="0" dt="0"/>
  <p:txStyles>
    <p:title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75" userDrawn="1">
          <p15:clr>
            <a:srgbClr val="F26B43"/>
          </p15:clr>
        </p15:guide>
        <p15:guide id="68" orient="horz" pos="4104" userDrawn="1">
          <p15:clr>
            <a:srgbClr val="F26B43"/>
          </p15:clr>
        </p15:guide>
        <p15:guide id="69" orient="horz" pos="2088" userDrawn="1">
          <p15:clr>
            <a:srgbClr val="F26B43"/>
          </p15:clr>
        </p15:guide>
        <p15:guide id="70" orient="horz" pos="1080" userDrawn="1">
          <p15:clr>
            <a:srgbClr val="F26B43"/>
          </p15:clr>
        </p15:guide>
        <p15:guide id="71" orient="horz" pos="255"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7.png"/><Relationship Id="rId2" Type="http://schemas.openxmlformats.org/officeDocument/2006/relationships/slideLayout" Target="../slideLayouts/slideLayout164.xml"/><Relationship Id="rId1" Type="http://schemas.openxmlformats.org/officeDocument/2006/relationships/tags" Target="../tags/tag114.xml"/><Relationship Id="rId6" Type="http://schemas.openxmlformats.org/officeDocument/2006/relationships/image" Target="../media/image31.emf"/><Relationship Id="rId5" Type="http://schemas.openxmlformats.org/officeDocument/2006/relationships/oleObject" Target="../embeddings/oleObject111.bin"/><Relationship Id="rId4" Type="http://schemas.microsoft.com/office/2018/10/relationships/comments" Target="../comments/modernComment_7FFFD87A_1CA49F5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2.xml"/><Relationship Id="rId1" Type="http://schemas.openxmlformats.org/officeDocument/2006/relationships/tags" Target="../tags/tag140.xml"/><Relationship Id="rId5" Type="http://schemas.openxmlformats.org/officeDocument/2006/relationships/image" Target="../media/image31.emf"/><Relationship Id="rId4" Type="http://schemas.openxmlformats.org/officeDocument/2006/relationships/oleObject" Target="../embeddings/oleObject119.bin"/></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74.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31.emf"/><Relationship Id="rId5" Type="http://schemas.openxmlformats.org/officeDocument/2006/relationships/oleObject" Target="../embeddings/oleObject195.bin"/><Relationship Id="rId4" Type="http://schemas.openxmlformats.org/officeDocument/2006/relationships/notesSlide" Target="../notesSlides/notesSlide98.xml"/></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335.xml"/><Relationship Id="rId1" Type="http://schemas.openxmlformats.org/officeDocument/2006/relationships/tags" Target="../tags/tag224.xml"/><Relationship Id="rId4" Type="http://schemas.openxmlformats.org/officeDocument/2006/relationships/image" Target="../media/image31.emf"/></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274.xml"/><Relationship Id="rId1" Type="http://schemas.openxmlformats.org/officeDocument/2006/relationships/tags" Target="../tags/tag225.xml"/><Relationship Id="rId5" Type="http://schemas.openxmlformats.org/officeDocument/2006/relationships/image" Target="../media/image31.emf"/><Relationship Id="rId4" Type="http://schemas.openxmlformats.org/officeDocument/2006/relationships/oleObject" Target="../embeddings/oleObject197.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274.xml"/><Relationship Id="rId1" Type="http://schemas.openxmlformats.org/officeDocument/2006/relationships/tags" Target="../tags/tag226.xml"/><Relationship Id="rId6" Type="http://schemas.openxmlformats.org/officeDocument/2006/relationships/image" Target="../media/image31.emf"/><Relationship Id="rId5" Type="http://schemas.openxmlformats.org/officeDocument/2006/relationships/oleObject" Target="../embeddings/oleObject198.bin"/><Relationship Id="rId4" Type="http://schemas.microsoft.com/office/2018/10/relationships/comments" Target="../comments/modernComment_7FFFF9A4_3075E6C4.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Layout" Target="../slideLayouts/slideLayout335.xml"/><Relationship Id="rId1" Type="http://schemas.openxmlformats.org/officeDocument/2006/relationships/tags" Target="../tags/tag227.xml"/><Relationship Id="rId4" Type="http://schemas.openxmlformats.org/officeDocument/2006/relationships/image" Target="../media/image31.emf"/></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275.xml"/><Relationship Id="rId1" Type="http://schemas.openxmlformats.org/officeDocument/2006/relationships/tags" Target="../tags/tag228.xml"/><Relationship Id="rId5" Type="http://schemas.openxmlformats.org/officeDocument/2006/relationships/image" Target="../media/image31.emf"/><Relationship Id="rId4" Type="http://schemas.openxmlformats.org/officeDocument/2006/relationships/oleObject" Target="../embeddings/oleObject200.bin"/></Relationships>
</file>

<file path=ppt/slides/_rels/slide106.xml.rels><?xml version="1.0" encoding="UTF-8" standalone="yes"?>
<Relationships xmlns="http://schemas.openxmlformats.org/package/2006/relationships"><Relationship Id="rId8" Type="http://schemas.openxmlformats.org/officeDocument/2006/relationships/image" Target="../media/image316.png"/><Relationship Id="rId3" Type="http://schemas.openxmlformats.org/officeDocument/2006/relationships/notesSlide" Target="../notesSlides/notesSlide102.xml"/><Relationship Id="rId7" Type="http://schemas.openxmlformats.org/officeDocument/2006/relationships/image" Target="../media/image315.png"/><Relationship Id="rId2" Type="http://schemas.openxmlformats.org/officeDocument/2006/relationships/slideLayout" Target="../slideLayouts/slideLayout276.xml"/><Relationship Id="rId1" Type="http://schemas.openxmlformats.org/officeDocument/2006/relationships/tags" Target="../tags/tag229.xml"/><Relationship Id="rId6" Type="http://schemas.openxmlformats.org/officeDocument/2006/relationships/image" Target="../media/image314.png"/><Relationship Id="rId5" Type="http://schemas.openxmlformats.org/officeDocument/2006/relationships/image" Target="../media/image31.emf"/><Relationship Id="rId4" Type="http://schemas.openxmlformats.org/officeDocument/2006/relationships/oleObject" Target="../embeddings/oleObject201.bin"/><Relationship Id="rId9" Type="http://schemas.openxmlformats.org/officeDocument/2006/relationships/image" Target="../media/image317.png"/></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344.xml"/><Relationship Id="rId2" Type="http://schemas.openxmlformats.org/officeDocument/2006/relationships/tags" Target="../tags/tag231.xml"/><Relationship Id="rId1" Type="http://schemas.openxmlformats.org/officeDocument/2006/relationships/tags" Target="../tags/tag230.xml"/><Relationship Id="rId5" Type="http://schemas.openxmlformats.org/officeDocument/2006/relationships/image" Target="../media/image32.emf"/><Relationship Id="rId4" Type="http://schemas.openxmlformats.org/officeDocument/2006/relationships/oleObject" Target="../embeddings/oleObject202.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276.xml"/><Relationship Id="rId1" Type="http://schemas.openxmlformats.org/officeDocument/2006/relationships/tags" Target="../tags/tag232.xml"/><Relationship Id="rId5" Type="http://schemas.openxmlformats.org/officeDocument/2006/relationships/image" Target="../media/image31.emf"/><Relationship Id="rId4" Type="http://schemas.openxmlformats.org/officeDocument/2006/relationships/oleObject" Target="../embeddings/oleObject203.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276.xml"/><Relationship Id="rId1" Type="http://schemas.openxmlformats.org/officeDocument/2006/relationships/tags" Target="../tags/tag233.xml"/><Relationship Id="rId6" Type="http://schemas.openxmlformats.org/officeDocument/2006/relationships/image" Target="../media/image318.png"/><Relationship Id="rId5" Type="http://schemas.openxmlformats.org/officeDocument/2006/relationships/image" Target="../media/image31.emf"/><Relationship Id="rId4" Type="http://schemas.openxmlformats.org/officeDocument/2006/relationships/oleObject" Target="../embeddings/oleObject20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1.xml"/><Relationship Id="rId1" Type="http://schemas.openxmlformats.org/officeDocument/2006/relationships/tags" Target="../tags/tag141.xml"/><Relationship Id="rId6" Type="http://schemas.openxmlformats.org/officeDocument/2006/relationships/image" Target="../media/image46.png"/><Relationship Id="rId5" Type="http://schemas.openxmlformats.org/officeDocument/2006/relationships/image" Target="../media/image31.emf"/><Relationship Id="rId4" Type="http://schemas.openxmlformats.org/officeDocument/2006/relationships/oleObject" Target="../embeddings/oleObject120.bin"/></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05.xml"/><Relationship Id="rId7" Type="http://schemas.openxmlformats.org/officeDocument/2006/relationships/image" Target="../media/image320.png"/><Relationship Id="rId2" Type="http://schemas.openxmlformats.org/officeDocument/2006/relationships/slideLayout" Target="../slideLayouts/slideLayout276.xml"/><Relationship Id="rId1" Type="http://schemas.openxmlformats.org/officeDocument/2006/relationships/tags" Target="../tags/tag234.xml"/><Relationship Id="rId6" Type="http://schemas.openxmlformats.org/officeDocument/2006/relationships/image" Target="../media/image319.png"/><Relationship Id="rId5" Type="http://schemas.openxmlformats.org/officeDocument/2006/relationships/image" Target="../media/image31.emf"/><Relationship Id="rId4" Type="http://schemas.openxmlformats.org/officeDocument/2006/relationships/oleObject" Target="../embeddings/oleObject205.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275.xml"/><Relationship Id="rId1" Type="http://schemas.openxmlformats.org/officeDocument/2006/relationships/tags" Target="../tags/tag235.xml"/><Relationship Id="rId5" Type="http://schemas.openxmlformats.org/officeDocument/2006/relationships/image" Target="../media/image31.emf"/><Relationship Id="rId4" Type="http://schemas.openxmlformats.org/officeDocument/2006/relationships/oleObject" Target="../embeddings/oleObject206.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275.xml"/><Relationship Id="rId1" Type="http://schemas.openxmlformats.org/officeDocument/2006/relationships/tags" Target="../tags/tag236.xml"/><Relationship Id="rId5" Type="http://schemas.openxmlformats.org/officeDocument/2006/relationships/image" Target="../media/image31.emf"/><Relationship Id="rId4" Type="http://schemas.openxmlformats.org/officeDocument/2006/relationships/oleObject" Target="../embeddings/oleObject207.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275.xml"/><Relationship Id="rId1" Type="http://schemas.openxmlformats.org/officeDocument/2006/relationships/tags" Target="../tags/tag237.xml"/><Relationship Id="rId5" Type="http://schemas.openxmlformats.org/officeDocument/2006/relationships/image" Target="../media/image31.emf"/><Relationship Id="rId4" Type="http://schemas.openxmlformats.org/officeDocument/2006/relationships/oleObject" Target="../embeddings/oleObject208.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275.xml"/><Relationship Id="rId1" Type="http://schemas.openxmlformats.org/officeDocument/2006/relationships/tags" Target="../tags/tag238.xml"/><Relationship Id="rId5" Type="http://schemas.openxmlformats.org/officeDocument/2006/relationships/image" Target="../media/image31.emf"/><Relationship Id="rId4" Type="http://schemas.openxmlformats.org/officeDocument/2006/relationships/oleObject" Target="../embeddings/oleObject209.bin"/></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Layout" Target="../slideLayouts/slideLayout335.xml"/><Relationship Id="rId1" Type="http://schemas.openxmlformats.org/officeDocument/2006/relationships/tags" Target="../tags/tag239.xml"/><Relationship Id="rId4" Type="http://schemas.openxmlformats.org/officeDocument/2006/relationships/image" Target="../media/image31.emf"/></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71.xml"/></Relationships>
</file>

<file path=ppt/slides/_rels/slide117.xml.rels><?xml version="1.0" encoding="UTF-8" standalone="yes"?>
<Relationships xmlns="http://schemas.openxmlformats.org/package/2006/relationships"><Relationship Id="rId8" Type="http://schemas.openxmlformats.org/officeDocument/2006/relationships/hyperlink" Target="https://www.linkedin.com/in/tamas-schenk-80b06a2b/" TargetMode="External"/><Relationship Id="rId3" Type="http://schemas.openxmlformats.org/officeDocument/2006/relationships/notesSlide" Target="../notesSlides/notesSlide111.xml"/><Relationship Id="rId7" Type="http://schemas.openxmlformats.org/officeDocument/2006/relationships/image" Target="../media/image321.jpeg"/><Relationship Id="rId2" Type="http://schemas.openxmlformats.org/officeDocument/2006/relationships/slideLayout" Target="../slideLayouts/slideLayout218.xml"/><Relationship Id="rId1" Type="http://schemas.openxmlformats.org/officeDocument/2006/relationships/tags" Target="../tags/tag240.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108.png"/><Relationship Id="rId4" Type="http://schemas.openxmlformats.org/officeDocument/2006/relationships/oleObject" Target="../embeddings/oleObject211.bin"/><Relationship Id="rId9" Type="http://schemas.openxmlformats.org/officeDocument/2006/relationships/image" Target="../media/image107.png"/></Relationships>
</file>

<file path=ppt/slides/_rels/slide118.xml.rels><?xml version="1.0" encoding="UTF-8" standalone="yes"?>
<Relationships xmlns="http://schemas.openxmlformats.org/package/2006/relationships"><Relationship Id="rId8" Type="http://schemas.openxmlformats.org/officeDocument/2006/relationships/image" Target="../media/image323.png"/><Relationship Id="rId3" Type="http://schemas.openxmlformats.org/officeDocument/2006/relationships/slideLayout" Target="../slideLayouts/slideLayout181.xml"/><Relationship Id="rId7" Type="http://schemas.openxmlformats.org/officeDocument/2006/relationships/image" Target="../media/image322.png"/><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2.emf"/><Relationship Id="rId11" Type="http://schemas.openxmlformats.org/officeDocument/2006/relationships/image" Target="../media/image326.png"/><Relationship Id="rId5" Type="http://schemas.openxmlformats.org/officeDocument/2006/relationships/oleObject" Target="../embeddings/oleObject212.bin"/><Relationship Id="rId10" Type="http://schemas.openxmlformats.org/officeDocument/2006/relationships/image" Target="../media/image325.png"/><Relationship Id="rId4" Type="http://schemas.openxmlformats.org/officeDocument/2006/relationships/notesSlide" Target="../notesSlides/notesSlide112.xml"/><Relationship Id="rId9" Type="http://schemas.openxmlformats.org/officeDocument/2006/relationships/image" Target="../media/image324.png"/></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181.xml"/><Relationship Id="rId1" Type="http://schemas.openxmlformats.org/officeDocument/2006/relationships/tags" Target="../tags/tag243.xml"/><Relationship Id="rId5" Type="http://schemas.openxmlformats.org/officeDocument/2006/relationships/image" Target="../media/image31.emf"/><Relationship Id="rId4" Type="http://schemas.openxmlformats.org/officeDocument/2006/relationships/oleObject" Target="../embeddings/oleObject21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7.png"/><Relationship Id="rId2" Type="http://schemas.openxmlformats.org/officeDocument/2006/relationships/slideLayout" Target="../slideLayouts/slideLayout182.xml"/><Relationship Id="rId1" Type="http://schemas.openxmlformats.org/officeDocument/2006/relationships/tags" Target="../tags/tag142.xml"/><Relationship Id="rId6" Type="http://schemas.openxmlformats.org/officeDocument/2006/relationships/image" Target="../media/image47.png"/><Relationship Id="rId5" Type="http://schemas.openxmlformats.org/officeDocument/2006/relationships/image" Target="../media/image31.emf"/><Relationship Id="rId4" Type="http://schemas.openxmlformats.org/officeDocument/2006/relationships/oleObject" Target="../embeddings/oleObject121.bin"/></Relationships>
</file>

<file path=ppt/slides/_rels/slide120.xml.rels><?xml version="1.0" encoding="UTF-8" standalone="yes"?>
<Relationships xmlns="http://schemas.openxmlformats.org/package/2006/relationships"><Relationship Id="rId8" Type="http://schemas.openxmlformats.org/officeDocument/2006/relationships/image" Target="../media/image329.png"/><Relationship Id="rId13" Type="http://schemas.openxmlformats.org/officeDocument/2006/relationships/image" Target="../media/image334.png"/><Relationship Id="rId3" Type="http://schemas.openxmlformats.org/officeDocument/2006/relationships/notesSlide" Target="../notesSlides/notesSlide114.xml"/><Relationship Id="rId7" Type="http://schemas.openxmlformats.org/officeDocument/2006/relationships/image" Target="../media/image328.jpeg"/><Relationship Id="rId12" Type="http://schemas.openxmlformats.org/officeDocument/2006/relationships/image" Target="../media/image333.emf"/><Relationship Id="rId2" Type="http://schemas.openxmlformats.org/officeDocument/2006/relationships/slideLayout" Target="../slideLayouts/slideLayout181.xml"/><Relationship Id="rId16" Type="http://schemas.openxmlformats.org/officeDocument/2006/relationships/image" Target="../media/image337.jpeg"/><Relationship Id="rId1" Type="http://schemas.openxmlformats.org/officeDocument/2006/relationships/tags" Target="../tags/tag244.xml"/><Relationship Id="rId6" Type="http://schemas.openxmlformats.org/officeDocument/2006/relationships/image" Target="../media/image327.png"/><Relationship Id="rId11" Type="http://schemas.openxmlformats.org/officeDocument/2006/relationships/image" Target="../media/image332.emf"/><Relationship Id="rId5" Type="http://schemas.openxmlformats.org/officeDocument/2006/relationships/image" Target="../media/image31.emf"/><Relationship Id="rId15" Type="http://schemas.openxmlformats.org/officeDocument/2006/relationships/image" Target="../media/image336.png"/><Relationship Id="rId10" Type="http://schemas.openxmlformats.org/officeDocument/2006/relationships/image" Target="../media/image331.emf"/><Relationship Id="rId4" Type="http://schemas.openxmlformats.org/officeDocument/2006/relationships/oleObject" Target="../embeddings/oleObject214.bin"/><Relationship Id="rId9" Type="http://schemas.openxmlformats.org/officeDocument/2006/relationships/image" Target="../media/image330.jpeg"/><Relationship Id="rId14" Type="http://schemas.openxmlformats.org/officeDocument/2006/relationships/image" Target="../media/image335.png"/></Relationships>
</file>

<file path=ppt/slides/_rels/slide121.xml.rels><?xml version="1.0" encoding="UTF-8" standalone="yes"?>
<Relationships xmlns="http://schemas.openxmlformats.org/package/2006/relationships"><Relationship Id="rId8" Type="http://schemas.openxmlformats.org/officeDocument/2006/relationships/image" Target="../media/image340.png"/><Relationship Id="rId3" Type="http://schemas.openxmlformats.org/officeDocument/2006/relationships/notesSlide" Target="../notesSlides/notesSlide115.xml"/><Relationship Id="rId7" Type="http://schemas.openxmlformats.org/officeDocument/2006/relationships/image" Target="../media/image339.png"/><Relationship Id="rId2" Type="http://schemas.openxmlformats.org/officeDocument/2006/relationships/slideLayout" Target="../slideLayouts/slideLayout181.xml"/><Relationship Id="rId1" Type="http://schemas.openxmlformats.org/officeDocument/2006/relationships/tags" Target="../tags/tag245.xml"/><Relationship Id="rId6" Type="http://schemas.openxmlformats.org/officeDocument/2006/relationships/image" Target="../media/image338.png"/><Relationship Id="rId5" Type="http://schemas.openxmlformats.org/officeDocument/2006/relationships/image" Target="../media/image31.emf"/><Relationship Id="rId4" Type="http://schemas.openxmlformats.org/officeDocument/2006/relationships/oleObject" Target="../embeddings/oleObject215.bin"/><Relationship Id="rId9" Type="http://schemas.microsoft.com/office/2007/relationships/hdphoto" Target="../media/hdphoto8.wdp"/></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16.xml"/><Relationship Id="rId7" Type="http://schemas.openxmlformats.org/officeDocument/2006/relationships/image" Target="../media/image342.png"/><Relationship Id="rId2" Type="http://schemas.openxmlformats.org/officeDocument/2006/relationships/slideLayout" Target="../slideLayouts/slideLayout181.xml"/><Relationship Id="rId1" Type="http://schemas.openxmlformats.org/officeDocument/2006/relationships/tags" Target="../tags/tag246.xml"/><Relationship Id="rId6" Type="http://schemas.openxmlformats.org/officeDocument/2006/relationships/image" Target="../media/image341.png"/><Relationship Id="rId5" Type="http://schemas.openxmlformats.org/officeDocument/2006/relationships/image" Target="../media/image31.emf"/><Relationship Id="rId4" Type="http://schemas.openxmlformats.org/officeDocument/2006/relationships/oleObject" Target="../embeddings/oleObject216.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17.xml"/><Relationship Id="rId7" Type="http://schemas.openxmlformats.org/officeDocument/2006/relationships/image" Target="../media/image344.png"/><Relationship Id="rId2" Type="http://schemas.openxmlformats.org/officeDocument/2006/relationships/slideLayout" Target="../slideLayouts/slideLayout181.xml"/><Relationship Id="rId1" Type="http://schemas.openxmlformats.org/officeDocument/2006/relationships/tags" Target="../tags/tag247.xml"/><Relationship Id="rId6" Type="http://schemas.openxmlformats.org/officeDocument/2006/relationships/image" Target="../media/image343.png"/><Relationship Id="rId5" Type="http://schemas.openxmlformats.org/officeDocument/2006/relationships/image" Target="../media/image31.emf"/><Relationship Id="rId4" Type="http://schemas.openxmlformats.org/officeDocument/2006/relationships/oleObject" Target="../embeddings/oleObject21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181.xml"/><Relationship Id="rId1" Type="http://schemas.openxmlformats.org/officeDocument/2006/relationships/tags" Target="../tags/tag248.xml"/><Relationship Id="rId5" Type="http://schemas.openxmlformats.org/officeDocument/2006/relationships/image" Target="../media/image31.emf"/><Relationship Id="rId4" Type="http://schemas.openxmlformats.org/officeDocument/2006/relationships/oleObject" Target="../embeddings/oleObject218.bin"/></Relationships>
</file>

<file path=ppt/slides/_rels/slide125.xml.rels><?xml version="1.0" encoding="UTF-8" standalone="yes"?>
<Relationships xmlns="http://schemas.openxmlformats.org/package/2006/relationships"><Relationship Id="rId8" Type="http://schemas.openxmlformats.org/officeDocument/2006/relationships/image" Target="../media/image347.png"/><Relationship Id="rId3" Type="http://schemas.openxmlformats.org/officeDocument/2006/relationships/notesSlide" Target="../notesSlides/notesSlide119.xml"/><Relationship Id="rId7" Type="http://schemas.openxmlformats.org/officeDocument/2006/relationships/image" Target="../media/image346.png"/><Relationship Id="rId2" Type="http://schemas.openxmlformats.org/officeDocument/2006/relationships/slideLayout" Target="../slideLayouts/slideLayout181.xml"/><Relationship Id="rId1" Type="http://schemas.openxmlformats.org/officeDocument/2006/relationships/tags" Target="../tags/tag249.xml"/><Relationship Id="rId6" Type="http://schemas.openxmlformats.org/officeDocument/2006/relationships/image" Target="../media/image345.png"/><Relationship Id="rId5" Type="http://schemas.openxmlformats.org/officeDocument/2006/relationships/image" Target="../media/image31.emf"/><Relationship Id="rId4" Type="http://schemas.openxmlformats.org/officeDocument/2006/relationships/oleObject" Target="../embeddings/oleObject219.bin"/></Relationships>
</file>

<file path=ppt/slides/_rels/slide126.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350.jpeg"/><Relationship Id="rId18" Type="http://schemas.openxmlformats.org/officeDocument/2006/relationships/image" Target="../media/image355.jpeg"/><Relationship Id="rId3" Type="http://schemas.openxmlformats.org/officeDocument/2006/relationships/notesSlide" Target="../notesSlides/notesSlide120.xml"/><Relationship Id="rId21" Type="http://schemas.openxmlformats.org/officeDocument/2006/relationships/image" Target="../media/image358.jpeg"/><Relationship Id="rId7" Type="http://schemas.openxmlformats.org/officeDocument/2006/relationships/image" Target="../media/image54.png"/><Relationship Id="rId12" Type="http://schemas.openxmlformats.org/officeDocument/2006/relationships/image" Target="../media/image349.jpeg"/><Relationship Id="rId17" Type="http://schemas.openxmlformats.org/officeDocument/2006/relationships/image" Target="../media/image354.jpeg"/><Relationship Id="rId2" Type="http://schemas.openxmlformats.org/officeDocument/2006/relationships/slideLayout" Target="../slideLayouts/slideLayout181.xml"/><Relationship Id="rId16" Type="http://schemas.openxmlformats.org/officeDocument/2006/relationships/image" Target="../media/image353.jpeg"/><Relationship Id="rId20" Type="http://schemas.openxmlformats.org/officeDocument/2006/relationships/image" Target="../media/image357.jpeg"/><Relationship Id="rId1" Type="http://schemas.openxmlformats.org/officeDocument/2006/relationships/tags" Target="../tags/tag250.xml"/><Relationship Id="rId6" Type="http://schemas.openxmlformats.org/officeDocument/2006/relationships/image" Target="../media/image37.png"/><Relationship Id="rId11" Type="http://schemas.openxmlformats.org/officeDocument/2006/relationships/image" Target="../media/image348.jpeg"/><Relationship Id="rId24" Type="http://schemas.openxmlformats.org/officeDocument/2006/relationships/image" Target="../media/image361.jpeg"/><Relationship Id="rId5" Type="http://schemas.openxmlformats.org/officeDocument/2006/relationships/image" Target="../media/image110.emf"/><Relationship Id="rId15" Type="http://schemas.openxmlformats.org/officeDocument/2006/relationships/image" Target="../media/image352.jpeg"/><Relationship Id="rId23" Type="http://schemas.openxmlformats.org/officeDocument/2006/relationships/image" Target="../media/image360.jpeg"/><Relationship Id="rId10" Type="http://schemas.openxmlformats.org/officeDocument/2006/relationships/image" Target="../media/image108.png"/><Relationship Id="rId19" Type="http://schemas.openxmlformats.org/officeDocument/2006/relationships/image" Target="../media/image356.png"/><Relationship Id="rId4" Type="http://schemas.openxmlformats.org/officeDocument/2006/relationships/oleObject" Target="../embeddings/oleObject220.bin"/><Relationship Id="rId9" Type="http://schemas.microsoft.com/office/2007/relationships/hdphoto" Target="../media/hdphoto2.wdp"/><Relationship Id="rId14" Type="http://schemas.openxmlformats.org/officeDocument/2006/relationships/image" Target="../media/image351.jpeg"/><Relationship Id="rId22" Type="http://schemas.openxmlformats.org/officeDocument/2006/relationships/image" Target="../media/image359.jpeg"/></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1.xml"/><Relationship Id="rId7" Type="http://schemas.microsoft.com/office/2007/relationships/hdphoto" Target="../media/hdphoto4.wdp"/><Relationship Id="rId2" Type="http://schemas.openxmlformats.org/officeDocument/2006/relationships/slideLayout" Target="../slideLayouts/slideLayout181.xml"/><Relationship Id="rId1" Type="http://schemas.openxmlformats.org/officeDocument/2006/relationships/tags" Target="../tags/tag251.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221.bin"/></Relationships>
</file>

<file path=ppt/slides/_rels/slide128.xml.rels><?xml version="1.0" encoding="UTF-8" standalone="yes"?>
<Relationships xmlns="http://schemas.openxmlformats.org/package/2006/relationships"><Relationship Id="rId8" Type="http://schemas.openxmlformats.org/officeDocument/2006/relationships/image" Target="../media/image364.png"/><Relationship Id="rId3" Type="http://schemas.openxmlformats.org/officeDocument/2006/relationships/notesSlide" Target="../notesSlides/notesSlide122.xml"/><Relationship Id="rId7" Type="http://schemas.openxmlformats.org/officeDocument/2006/relationships/image" Target="../media/image363.png"/><Relationship Id="rId2" Type="http://schemas.openxmlformats.org/officeDocument/2006/relationships/slideLayout" Target="../slideLayouts/slideLayout211.xml"/><Relationship Id="rId1" Type="http://schemas.openxmlformats.org/officeDocument/2006/relationships/tags" Target="../tags/tag252.xml"/><Relationship Id="rId6" Type="http://schemas.openxmlformats.org/officeDocument/2006/relationships/image" Target="../media/image362.png"/><Relationship Id="rId5" Type="http://schemas.openxmlformats.org/officeDocument/2006/relationships/image" Target="../media/image32.emf"/><Relationship Id="rId4" Type="http://schemas.openxmlformats.org/officeDocument/2006/relationships/oleObject" Target="../embeddings/oleObject222.bin"/></Relationships>
</file>

<file path=ppt/slides/_rels/slide129.xml.rels><?xml version="1.0" encoding="UTF-8" standalone="yes"?>
<Relationships xmlns="http://schemas.openxmlformats.org/package/2006/relationships"><Relationship Id="rId8" Type="http://schemas.openxmlformats.org/officeDocument/2006/relationships/image" Target="../media/image367.png"/><Relationship Id="rId13" Type="http://schemas.openxmlformats.org/officeDocument/2006/relationships/hyperlink" Target="https://uplink.weforum.org/uplink/s/" TargetMode="External"/><Relationship Id="rId3" Type="http://schemas.openxmlformats.org/officeDocument/2006/relationships/notesSlide" Target="../notesSlides/notesSlide123.xml"/><Relationship Id="rId7" Type="http://schemas.openxmlformats.org/officeDocument/2006/relationships/image" Target="../media/image366.png"/><Relationship Id="rId12" Type="http://schemas.openxmlformats.org/officeDocument/2006/relationships/image" Target="../media/image371.png"/><Relationship Id="rId2" Type="http://schemas.openxmlformats.org/officeDocument/2006/relationships/slideLayout" Target="../slideLayouts/slideLayout211.xml"/><Relationship Id="rId1" Type="http://schemas.openxmlformats.org/officeDocument/2006/relationships/tags" Target="../tags/tag253.xml"/><Relationship Id="rId6" Type="http://schemas.openxmlformats.org/officeDocument/2006/relationships/image" Target="../media/image365.png"/><Relationship Id="rId11" Type="http://schemas.openxmlformats.org/officeDocument/2006/relationships/image" Target="../media/image370.png"/><Relationship Id="rId5" Type="http://schemas.openxmlformats.org/officeDocument/2006/relationships/image" Target="../media/image32.emf"/><Relationship Id="rId10" Type="http://schemas.openxmlformats.org/officeDocument/2006/relationships/image" Target="../media/image369.png"/><Relationship Id="rId4" Type="http://schemas.openxmlformats.org/officeDocument/2006/relationships/oleObject" Target="../embeddings/oleObject223.bin"/><Relationship Id="rId9" Type="http://schemas.openxmlformats.org/officeDocument/2006/relationships/image" Target="../media/image368.png"/></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png"/><Relationship Id="rId3" Type="http://schemas.openxmlformats.org/officeDocument/2006/relationships/notesSlide" Target="../notesSlides/notesSlide12.xml"/><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jpeg"/><Relationship Id="rId2" Type="http://schemas.openxmlformats.org/officeDocument/2006/relationships/slideLayout" Target="../slideLayouts/slideLayout182.xml"/><Relationship Id="rId16" Type="http://schemas.openxmlformats.org/officeDocument/2006/relationships/image" Target="../media/image58.png"/><Relationship Id="rId1" Type="http://schemas.openxmlformats.org/officeDocument/2006/relationships/tags" Target="../tags/tag143.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31.emf"/><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oleObject" Target="../embeddings/oleObject122.bin"/><Relationship Id="rId9" Type="http://schemas.openxmlformats.org/officeDocument/2006/relationships/image" Target="../media/image51.png"/><Relationship Id="rId14" Type="http://schemas.openxmlformats.org/officeDocument/2006/relationships/image" Target="../media/image56.png"/></Relationships>
</file>

<file path=ppt/slides/_rels/slide130.xml.rels><?xml version="1.0" encoding="UTF-8" standalone="yes"?>
<Relationships xmlns="http://schemas.openxmlformats.org/package/2006/relationships"><Relationship Id="rId8" Type="http://schemas.openxmlformats.org/officeDocument/2006/relationships/hyperlink" Target="https://www.nationalgeographic.co.uk/26visions" TargetMode="External"/><Relationship Id="rId3" Type="http://schemas.openxmlformats.org/officeDocument/2006/relationships/oleObject" Target="../embeddings/oleObject224.bin"/><Relationship Id="rId7" Type="http://schemas.openxmlformats.org/officeDocument/2006/relationships/image" Target="../media/image374.jpeg"/><Relationship Id="rId2" Type="http://schemas.openxmlformats.org/officeDocument/2006/relationships/slideLayout" Target="../slideLayouts/slideLayout211.xml"/><Relationship Id="rId1" Type="http://schemas.openxmlformats.org/officeDocument/2006/relationships/tags" Target="../tags/tag254.xml"/><Relationship Id="rId6" Type="http://schemas.openxmlformats.org/officeDocument/2006/relationships/image" Target="../media/image373.png"/><Relationship Id="rId5" Type="http://schemas.openxmlformats.org/officeDocument/2006/relationships/image" Target="../media/image372.png"/><Relationship Id="rId4" Type="http://schemas.openxmlformats.org/officeDocument/2006/relationships/image" Target="../media/image32.emf"/></Relationships>
</file>

<file path=ppt/slides/_rels/slide131.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notesSlide" Target="../notesSlides/notesSlide124.xml"/><Relationship Id="rId7" Type="http://schemas.openxmlformats.org/officeDocument/2006/relationships/hyperlink" Target="https://dfb-pokal.dfb.de/" TargetMode="External"/><Relationship Id="rId2" Type="http://schemas.openxmlformats.org/officeDocument/2006/relationships/slideLayout" Target="../slideLayouts/slideLayout209.xml"/><Relationship Id="rId1" Type="http://schemas.openxmlformats.org/officeDocument/2006/relationships/tags" Target="../tags/tag255.xml"/><Relationship Id="rId6" Type="http://schemas.openxmlformats.org/officeDocument/2006/relationships/image" Target="../media/image375.png"/><Relationship Id="rId5" Type="http://schemas.openxmlformats.org/officeDocument/2006/relationships/image" Target="../media/image136.emf"/><Relationship Id="rId4" Type="http://schemas.openxmlformats.org/officeDocument/2006/relationships/oleObject" Target="../embeddings/oleObject225.bin"/><Relationship Id="rId9" Type="http://schemas.microsoft.com/office/2007/relationships/hdphoto" Target="../media/hdphoto5.wdp"/></Relationships>
</file>

<file path=ppt/slides/_rels/slide132.xml.rels><?xml version="1.0" encoding="UTF-8" standalone="yes"?>
<Relationships xmlns="http://schemas.openxmlformats.org/package/2006/relationships"><Relationship Id="rId8" Type="http://schemas.openxmlformats.org/officeDocument/2006/relationships/image" Target="../media/image381.png"/><Relationship Id="rId3" Type="http://schemas.openxmlformats.org/officeDocument/2006/relationships/image" Target="../media/image376.png"/><Relationship Id="rId7" Type="http://schemas.openxmlformats.org/officeDocument/2006/relationships/image" Target="../media/image380.png"/><Relationship Id="rId2" Type="http://schemas.openxmlformats.org/officeDocument/2006/relationships/notesSlide" Target="../notesSlides/notesSlide125.xml"/><Relationship Id="rId1" Type="http://schemas.openxmlformats.org/officeDocument/2006/relationships/slideLayout" Target="../slideLayouts/slideLayout259.xml"/><Relationship Id="rId6" Type="http://schemas.openxmlformats.org/officeDocument/2006/relationships/image" Target="../media/image379.png"/><Relationship Id="rId11" Type="http://schemas.openxmlformats.org/officeDocument/2006/relationships/image" Target="../media/image384.png"/><Relationship Id="rId5" Type="http://schemas.openxmlformats.org/officeDocument/2006/relationships/image" Target="../media/image378.jpeg"/><Relationship Id="rId10" Type="http://schemas.openxmlformats.org/officeDocument/2006/relationships/image" Target="../media/image383.png"/><Relationship Id="rId4" Type="http://schemas.openxmlformats.org/officeDocument/2006/relationships/image" Target="../media/image377.png"/><Relationship Id="rId9" Type="http://schemas.openxmlformats.org/officeDocument/2006/relationships/image" Target="../media/image382.png"/></Relationships>
</file>

<file path=ppt/slides/_rels/slide133.xml.rels><?xml version="1.0" encoding="UTF-8" standalone="yes"?>
<Relationships xmlns="http://schemas.openxmlformats.org/package/2006/relationships"><Relationship Id="rId8" Type="http://schemas.openxmlformats.org/officeDocument/2006/relationships/image" Target="../media/image387.png"/><Relationship Id="rId3" Type="http://schemas.openxmlformats.org/officeDocument/2006/relationships/notesSlide" Target="../notesSlides/notesSlide126.xml"/><Relationship Id="rId7" Type="http://schemas.openxmlformats.org/officeDocument/2006/relationships/image" Target="../media/image386.png"/><Relationship Id="rId2" Type="http://schemas.openxmlformats.org/officeDocument/2006/relationships/slideLayout" Target="../slideLayouts/slideLayout259.xml"/><Relationship Id="rId1" Type="http://schemas.openxmlformats.org/officeDocument/2006/relationships/tags" Target="../tags/tag256.xml"/><Relationship Id="rId6" Type="http://schemas.openxmlformats.org/officeDocument/2006/relationships/image" Target="../media/image385.png"/><Relationship Id="rId5" Type="http://schemas.openxmlformats.org/officeDocument/2006/relationships/image" Target="../media/image32.emf"/><Relationship Id="rId10" Type="http://schemas.openxmlformats.org/officeDocument/2006/relationships/image" Target="../media/image389.png"/><Relationship Id="rId4" Type="http://schemas.openxmlformats.org/officeDocument/2006/relationships/oleObject" Target="../embeddings/oleObject226.bin"/><Relationship Id="rId9" Type="http://schemas.openxmlformats.org/officeDocument/2006/relationships/image" Target="../media/image388.png"/></Relationships>
</file>

<file path=ppt/slides/_rels/slide134.xml.rels><?xml version="1.0" encoding="UTF-8" standalone="yes"?>
<Relationships xmlns="http://schemas.openxmlformats.org/package/2006/relationships"><Relationship Id="rId8" Type="http://schemas.openxmlformats.org/officeDocument/2006/relationships/image" Target="../media/image392.png"/><Relationship Id="rId3" Type="http://schemas.openxmlformats.org/officeDocument/2006/relationships/notesSlide" Target="../notesSlides/notesSlide127.xml"/><Relationship Id="rId7" Type="http://schemas.openxmlformats.org/officeDocument/2006/relationships/image" Target="../media/image391.png"/><Relationship Id="rId2" Type="http://schemas.openxmlformats.org/officeDocument/2006/relationships/slideLayout" Target="../slideLayouts/slideLayout259.xml"/><Relationship Id="rId1" Type="http://schemas.openxmlformats.org/officeDocument/2006/relationships/tags" Target="../tags/tag257.xml"/><Relationship Id="rId6" Type="http://schemas.openxmlformats.org/officeDocument/2006/relationships/image" Target="../media/image390.png"/><Relationship Id="rId5" Type="http://schemas.openxmlformats.org/officeDocument/2006/relationships/image" Target="../media/image32.emf"/><Relationship Id="rId10" Type="http://schemas.openxmlformats.org/officeDocument/2006/relationships/image" Target="../media/image385.png"/><Relationship Id="rId4" Type="http://schemas.openxmlformats.org/officeDocument/2006/relationships/oleObject" Target="../embeddings/oleObject227.bin"/><Relationship Id="rId9" Type="http://schemas.openxmlformats.org/officeDocument/2006/relationships/image" Target="../media/image393.png"/></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71.xml"/></Relationships>
</file>

<file path=ppt/slides/_rels/slide136.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129.xml"/><Relationship Id="rId7" Type="http://schemas.openxmlformats.org/officeDocument/2006/relationships/hyperlink" Target="https://www.linkedin.com/in/jozsefsirokai" TargetMode="External"/><Relationship Id="rId2" Type="http://schemas.openxmlformats.org/officeDocument/2006/relationships/slideLayout" Target="../slideLayouts/slideLayout218.xml"/><Relationship Id="rId1" Type="http://schemas.openxmlformats.org/officeDocument/2006/relationships/tags" Target="../tags/tag258.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394.jpeg"/><Relationship Id="rId4" Type="http://schemas.openxmlformats.org/officeDocument/2006/relationships/oleObject" Target="../embeddings/oleObject228.bin"/><Relationship Id="rId9" Type="http://schemas.openxmlformats.org/officeDocument/2006/relationships/image" Target="../media/image108.png"/></Relationships>
</file>

<file path=ppt/slides/_rels/slide137.xml.rels><?xml version="1.0" encoding="UTF-8" standalone="yes"?>
<Relationships xmlns="http://schemas.openxmlformats.org/package/2006/relationships"><Relationship Id="rId8" Type="http://schemas.openxmlformats.org/officeDocument/2006/relationships/image" Target="../media/image399.jpeg"/><Relationship Id="rId13" Type="http://schemas.openxmlformats.org/officeDocument/2006/relationships/image" Target="../media/image404.png"/><Relationship Id="rId18" Type="http://schemas.openxmlformats.org/officeDocument/2006/relationships/image" Target="../media/image409.png"/><Relationship Id="rId3" Type="http://schemas.openxmlformats.org/officeDocument/2006/relationships/image" Target="../media/image395.png"/><Relationship Id="rId21" Type="http://schemas.openxmlformats.org/officeDocument/2006/relationships/diagramQuickStyle" Target="../diagrams/quickStyle1.xml"/><Relationship Id="rId7" Type="http://schemas.openxmlformats.org/officeDocument/2006/relationships/image" Target="../media/image398.png"/><Relationship Id="rId12" Type="http://schemas.openxmlformats.org/officeDocument/2006/relationships/image" Target="../media/image403.png"/><Relationship Id="rId17" Type="http://schemas.openxmlformats.org/officeDocument/2006/relationships/image" Target="../media/image408.jpeg"/><Relationship Id="rId2" Type="http://schemas.openxmlformats.org/officeDocument/2006/relationships/notesSlide" Target="../notesSlides/notesSlide130.xml"/><Relationship Id="rId16" Type="http://schemas.openxmlformats.org/officeDocument/2006/relationships/image" Target="../media/image407.jpeg"/><Relationship Id="rId20" Type="http://schemas.openxmlformats.org/officeDocument/2006/relationships/diagramLayout" Target="../diagrams/layout1.xml"/><Relationship Id="rId1" Type="http://schemas.openxmlformats.org/officeDocument/2006/relationships/slideLayout" Target="../slideLayouts/slideLayout219.xml"/><Relationship Id="rId6" Type="http://schemas.microsoft.com/office/2007/relationships/hdphoto" Target="../media/hdphoto9.wdp"/><Relationship Id="rId11" Type="http://schemas.openxmlformats.org/officeDocument/2006/relationships/image" Target="../media/image402.png"/><Relationship Id="rId5" Type="http://schemas.openxmlformats.org/officeDocument/2006/relationships/image" Target="../media/image397.png"/><Relationship Id="rId15" Type="http://schemas.openxmlformats.org/officeDocument/2006/relationships/image" Target="../media/image406.png"/><Relationship Id="rId23" Type="http://schemas.microsoft.com/office/2007/relationships/diagramDrawing" Target="../diagrams/drawing1.xml"/><Relationship Id="rId10" Type="http://schemas.openxmlformats.org/officeDocument/2006/relationships/image" Target="../media/image401.png"/><Relationship Id="rId19" Type="http://schemas.openxmlformats.org/officeDocument/2006/relationships/diagramData" Target="../diagrams/data1.xml"/><Relationship Id="rId4" Type="http://schemas.openxmlformats.org/officeDocument/2006/relationships/image" Target="../media/image396.jpeg"/><Relationship Id="rId9" Type="http://schemas.openxmlformats.org/officeDocument/2006/relationships/image" Target="../media/image400.png"/><Relationship Id="rId14" Type="http://schemas.openxmlformats.org/officeDocument/2006/relationships/image" Target="../media/image405.jpeg"/><Relationship Id="rId22" Type="http://schemas.openxmlformats.org/officeDocument/2006/relationships/diagramColors" Target="../diagrams/colors1.xml"/></Relationships>
</file>

<file path=ppt/slides/_rels/slide138.xml.rels><?xml version="1.0" encoding="UTF-8" standalone="yes"?>
<Relationships xmlns="http://schemas.openxmlformats.org/package/2006/relationships"><Relationship Id="rId3" Type="http://schemas.openxmlformats.org/officeDocument/2006/relationships/image" Target="../media/image410.png"/><Relationship Id="rId2" Type="http://schemas.openxmlformats.org/officeDocument/2006/relationships/notesSlide" Target="../notesSlides/notesSlide131.xml"/><Relationship Id="rId1" Type="http://schemas.openxmlformats.org/officeDocument/2006/relationships/slideLayout" Target="../slideLayouts/slideLayout219.xml"/><Relationship Id="rId5" Type="http://schemas.openxmlformats.org/officeDocument/2006/relationships/image" Target="../media/image411.png"/><Relationship Id="rId4" Type="http://schemas.microsoft.com/office/2007/relationships/hdphoto" Target="../media/hdphoto10.wdp"/></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19.xml"/></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3.xml"/><Relationship Id="rId7" Type="http://schemas.openxmlformats.org/officeDocument/2006/relationships/image" Target="../media/image62.jpeg"/><Relationship Id="rId2" Type="http://schemas.openxmlformats.org/officeDocument/2006/relationships/slideLayout" Target="../slideLayouts/slideLayout182.xml"/><Relationship Id="rId1" Type="http://schemas.openxmlformats.org/officeDocument/2006/relationships/tags" Target="../tags/tag144.xml"/><Relationship Id="rId6" Type="http://schemas.openxmlformats.org/officeDocument/2006/relationships/image" Target="../media/image61.png"/><Relationship Id="rId5" Type="http://schemas.openxmlformats.org/officeDocument/2006/relationships/image" Target="../media/image31.emf"/><Relationship Id="rId10" Type="http://schemas.openxmlformats.org/officeDocument/2006/relationships/image" Target="../media/image64.png"/><Relationship Id="rId4" Type="http://schemas.openxmlformats.org/officeDocument/2006/relationships/oleObject" Target="../embeddings/oleObject123.bin"/><Relationship Id="rId9" Type="http://schemas.openxmlformats.org/officeDocument/2006/relationships/image" Target="../media/image63.png"/></Relationships>
</file>

<file path=ppt/slides/_rels/slide140.xml.rels><?xml version="1.0" encoding="UTF-8" standalone="yes"?>
<Relationships xmlns="http://schemas.openxmlformats.org/package/2006/relationships"><Relationship Id="rId3" Type="http://schemas.openxmlformats.org/officeDocument/2006/relationships/image" Target="../media/image412.png"/><Relationship Id="rId2" Type="http://schemas.openxmlformats.org/officeDocument/2006/relationships/notesSlide" Target="../notesSlides/notesSlide133.xml"/><Relationship Id="rId1" Type="http://schemas.openxmlformats.org/officeDocument/2006/relationships/slideLayout" Target="../slideLayouts/slideLayout219.xml"/></Relationships>
</file>

<file path=ppt/slides/_rels/slide141.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notesSlide" Target="../notesSlides/notesSlide134.xml"/><Relationship Id="rId7" Type="http://schemas.openxmlformats.org/officeDocument/2006/relationships/image" Target="../media/image189.png"/><Relationship Id="rId2" Type="http://schemas.openxmlformats.org/officeDocument/2006/relationships/slideLayout" Target="../slideLayouts/slideLayout219.xml"/><Relationship Id="rId1" Type="http://schemas.openxmlformats.org/officeDocument/2006/relationships/tags" Target="../tags/tag259.xml"/><Relationship Id="rId6" Type="http://schemas.openxmlformats.org/officeDocument/2006/relationships/image" Target="../media/image188.png"/><Relationship Id="rId5" Type="http://schemas.openxmlformats.org/officeDocument/2006/relationships/image" Target="../media/image31.emf"/><Relationship Id="rId4" Type="http://schemas.openxmlformats.org/officeDocument/2006/relationships/oleObject" Target="../embeddings/oleObject229.bin"/><Relationship Id="rId9" Type="http://schemas.openxmlformats.org/officeDocument/2006/relationships/image" Target="../media/image191.png"/></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219.xml"/><Relationship Id="rId1" Type="http://schemas.openxmlformats.org/officeDocument/2006/relationships/tags" Target="../tags/tag260.xml"/><Relationship Id="rId5" Type="http://schemas.openxmlformats.org/officeDocument/2006/relationships/image" Target="../media/image31.emf"/><Relationship Id="rId4" Type="http://schemas.openxmlformats.org/officeDocument/2006/relationships/oleObject" Target="../embeddings/oleObject230.bin"/></Relationships>
</file>

<file path=ppt/slides/_rels/slide143.xml.rels><?xml version="1.0" encoding="UTF-8" standalone="yes"?>
<Relationships xmlns="http://schemas.openxmlformats.org/package/2006/relationships"><Relationship Id="rId3" Type="http://schemas.openxmlformats.org/officeDocument/2006/relationships/image" Target="../media/image413.png"/><Relationship Id="rId2" Type="http://schemas.openxmlformats.org/officeDocument/2006/relationships/notesSlide" Target="../notesSlides/notesSlide136.xml"/><Relationship Id="rId1" Type="http://schemas.openxmlformats.org/officeDocument/2006/relationships/slideLayout" Target="../slideLayouts/slideLayout219.xml"/><Relationship Id="rId5" Type="http://schemas.openxmlformats.org/officeDocument/2006/relationships/image" Target="../media/image414.png"/><Relationship Id="rId4" Type="http://schemas.openxmlformats.org/officeDocument/2006/relationships/hyperlink" Target="https://www.km.deloitteresources.com/sites/live/_layouts/DTTS.DR.KAMDocumentForms/DisplayFormRedirect.aspx?ID=KMIP-6958536"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415.png"/><Relationship Id="rId2" Type="http://schemas.openxmlformats.org/officeDocument/2006/relationships/notesSlide" Target="../notesSlides/notesSlide137.xml"/><Relationship Id="rId1" Type="http://schemas.openxmlformats.org/officeDocument/2006/relationships/slideLayout" Target="../slideLayouts/slideLayout219.xml"/><Relationship Id="rId4" Type="http://schemas.microsoft.com/office/2007/relationships/hdphoto" Target="../media/hdphoto11.wdp"/></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19.xml"/></Relationships>
</file>

<file path=ppt/slides/_rels/slide146.xml.rels><?xml version="1.0" encoding="UTF-8" standalone="yes"?>
<Relationships xmlns="http://schemas.openxmlformats.org/package/2006/relationships"><Relationship Id="rId8" Type="http://schemas.openxmlformats.org/officeDocument/2006/relationships/image" Target="../media/image168.svg"/><Relationship Id="rId3" Type="http://schemas.openxmlformats.org/officeDocument/2006/relationships/image" Target="../media/image163.png"/><Relationship Id="rId7" Type="http://schemas.openxmlformats.org/officeDocument/2006/relationships/image" Target="../media/image167.png"/><Relationship Id="rId2" Type="http://schemas.openxmlformats.org/officeDocument/2006/relationships/notesSlide" Target="../notesSlides/notesSlide139.xml"/><Relationship Id="rId1" Type="http://schemas.openxmlformats.org/officeDocument/2006/relationships/slideLayout" Target="../slideLayouts/slideLayout219.xml"/><Relationship Id="rId6" Type="http://schemas.openxmlformats.org/officeDocument/2006/relationships/image" Target="../media/image166.svg"/><Relationship Id="rId5" Type="http://schemas.openxmlformats.org/officeDocument/2006/relationships/image" Target="../media/image165.png"/><Relationship Id="rId4" Type="http://schemas.openxmlformats.org/officeDocument/2006/relationships/image" Target="../media/image164.svg"/></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19.xml"/></Relationships>
</file>

<file path=ppt/slides/_rels/slide14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41.xml"/><Relationship Id="rId1" Type="http://schemas.openxmlformats.org/officeDocument/2006/relationships/slideLayout" Target="../slideLayouts/slideLayout219.xml"/></Relationships>
</file>

<file path=ppt/slides/_rels/slide149.xml.rels><?xml version="1.0" encoding="UTF-8" standalone="yes"?>
<Relationships xmlns="http://schemas.openxmlformats.org/package/2006/relationships"><Relationship Id="rId8" Type="http://schemas.openxmlformats.org/officeDocument/2006/relationships/hyperlink" Target="https://www2.deloitte.com/global/en/pages/technology/articles/magic-quadrant-for-oracle-cloud-applications-services.html" TargetMode="External"/><Relationship Id="rId3" Type="http://schemas.openxmlformats.org/officeDocument/2006/relationships/hyperlink" Target="https://www2.deloitte.com/global/en/pages/technology/articles/2022-gartner-magic-quadrant-for-data-outsourcing-and-hybrid-infrastructure-managed-services-worldwide.html" TargetMode="External"/><Relationship Id="rId7" Type="http://schemas.openxmlformats.org/officeDocument/2006/relationships/hyperlink" Target="https://www2.deloitte.com/global/en/pages/technology/articles/idc-marketscape-worldwide-incident-readiness-services-2021.html" TargetMode="External"/><Relationship Id="rId2" Type="http://schemas.openxmlformats.org/officeDocument/2006/relationships/notesSlide" Target="../notesSlides/notesSlide142.xml"/><Relationship Id="rId1" Type="http://schemas.openxmlformats.org/officeDocument/2006/relationships/slideLayout" Target="../slideLayouts/slideLayout219.xml"/><Relationship Id="rId6" Type="http://schemas.openxmlformats.org/officeDocument/2006/relationships/hyperlink" Target="https://www2.deloitte.com/global/en/pages/technology/articles/gartner-magic-quadrant-for-public-cloud-it-transformation-services.html" TargetMode="External"/><Relationship Id="rId11" Type="http://schemas.openxmlformats.org/officeDocument/2006/relationships/hyperlink" Target="https://www.deloitte.com/global/en/about/recognition/analyst-relations/gartner-magic-quadrant-for-custom-software-development.html" TargetMode="External"/><Relationship Id="rId5" Type="http://schemas.openxmlformats.org/officeDocument/2006/relationships/hyperlink" Target="https://www2.deloitte.com/global/en/pages/technology/articles/magic-quadrant-for-data-and-analytics-service.html" TargetMode="External"/><Relationship Id="rId10" Type="http://schemas.openxmlformats.org/officeDocument/2006/relationships/hyperlink" Target="https://www2.deloitte.com/global/en/pages/technology/articles/wave-for-innovation-consulting-services-2021.html" TargetMode="External"/><Relationship Id="rId4" Type="http://schemas.openxmlformats.org/officeDocument/2006/relationships/hyperlink" Target="https://www2.deloitte.com/global/en/pages/technology/articles/cybersecurity-incident-response-services.html" TargetMode="External"/><Relationship Id="rId9" Type="http://schemas.openxmlformats.org/officeDocument/2006/relationships/hyperlink" Target="https://www2.deloitte.com/global/en/pages/technology/articles/magic-quadrant-for-sap-s4hana-application-services.html"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notesSlide" Target="../notesSlides/notesSlide14.xml"/><Relationship Id="rId7" Type="http://schemas.openxmlformats.org/officeDocument/2006/relationships/image" Target="../media/image50.png"/><Relationship Id="rId2" Type="http://schemas.openxmlformats.org/officeDocument/2006/relationships/slideLayout" Target="../slideLayouts/slideLayout182.xml"/><Relationship Id="rId1" Type="http://schemas.openxmlformats.org/officeDocument/2006/relationships/tags" Target="../tags/tag145.xml"/><Relationship Id="rId6" Type="http://schemas.openxmlformats.org/officeDocument/2006/relationships/image" Target="../media/image55.png"/><Relationship Id="rId5" Type="http://schemas.openxmlformats.org/officeDocument/2006/relationships/image" Target="../media/image31.emf"/><Relationship Id="rId10" Type="http://schemas.openxmlformats.org/officeDocument/2006/relationships/image" Target="../media/image67.png"/><Relationship Id="rId4" Type="http://schemas.openxmlformats.org/officeDocument/2006/relationships/oleObject" Target="../embeddings/oleObject124.bin"/><Relationship Id="rId9" Type="http://schemas.openxmlformats.org/officeDocument/2006/relationships/image" Target="../media/image66.jpeg"/></Relationships>
</file>

<file path=ppt/slides/_rels/slide150.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418.jpeg"/><Relationship Id="rId18" Type="http://schemas.openxmlformats.org/officeDocument/2006/relationships/image" Target="../media/image423.jpeg"/><Relationship Id="rId3" Type="http://schemas.openxmlformats.org/officeDocument/2006/relationships/notesSlide" Target="../notesSlides/notesSlide143.xml"/><Relationship Id="rId7" Type="http://schemas.openxmlformats.org/officeDocument/2006/relationships/image" Target="../media/image37.png"/><Relationship Id="rId12" Type="http://schemas.openxmlformats.org/officeDocument/2006/relationships/image" Target="../media/image352.jpeg"/><Relationship Id="rId17" Type="http://schemas.openxmlformats.org/officeDocument/2006/relationships/image" Target="../media/image422.jpeg"/><Relationship Id="rId2" Type="http://schemas.openxmlformats.org/officeDocument/2006/relationships/slideLayout" Target="../slideLayouts/slideLayout181.xml"/><Relationship Id="rId16" Type="http://schemas.openxmlformats.org/officeDocument/2006/relationships/image" Target="../media/image421.jpeg"/><Relationship Id="rId1" Type="http://schemas.openxmlformats.org/officeDocument/2006/relationships/tags" Target="../tags/tag261.xml"/><Relationship Id="rId6" Type="http://schemas.openxmlformats.org/officeDocument/2006/relationships/image" Target="../media/image108.png"/><Relationship Id="rId11" Type="http://schemas.openxmlformats.org/officeDocument/2006/relationships/image" Target="../media/image417.jpeg"/><Relationship Id="rId5" Type="http://schemas.openxmlformats.org/officeDocument/2006/relationships/image" Target="../media/image110.emf"/><Relationship Id="rId15" Type="http://schemas.openxmlformats.org/officeDocument/2006/relationships/image" Target="../media/image420.jpeg"/><Relationship Id="rId10" Type="http://schemas.openxmlformats.org/officeDocument/2006/relationships/image" Target="../media/image416.jpeg"/><Relationship Id="rId19" Type="http://schemas.openxmlformats.org/officeDocument/2006/relationships/image" Target="../media/image424.jpeg"/><Relationship Id="rId4" Type="http://schemas.openxmlformats.org/officeDocument/2006/relationships/oleObject" Target="../embeddings/oleObject231.bin"/><Relationship Id="rId9" Type="http://schemas.microsoft.com/office/2007/relationships/hdphoto" Target="../media/hdphoto2.wdp"/><Relationship Id="rId14" Type="http://schemas.openxmlformats.org/officeDocument/2006/relationships/image" Target="../media/image419.jpeg"/></Relationships>
</file>

<file path=ppt/slides/_rels/slide151.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notesSlide" Target="../notesSlides/notesSlide144.xml"/><Relationship Id="rId7" Type="http://schemas.microsoft.com/office/2007/relationships/hdphoto" Target="../media/hdphoto4.wdp"/><Relationship Id="rId2" Type="http://schemas.openxmlformats.org/officeDocument/2006/relationships/slideLayout" Target="../slideLayouts/slideLayout180.xml"/><Relationship Id="rId1" Type="http://schemas.openxmlformats.org/officeDocument/2006/relationships/tags" Target="../tags/tag262.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232.bin"/></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71.xml"/></Relationships>
</file>

<file path=ppt/slides/_rels/slide153.xml.rels><?xml version="1.0" encoding="UTF-8" standalone="yes"?>
<Relationships xmlns="http://schemas.openxmlformats.org/package/2006/relationships"><Relationship Id="rId8" Type="http://schemas.openxmlformats.org/officeDocument/2006/relationships/image" Target="../media/image425.jpeg"/><Relationship Id="rId3" Type="http://schemas.openxmlformats.org/officeDocument/2006/relationships/notesSlide" Target="../notesSlides/notesSlide146.xml"/><Relationship Id="rId7" Type="http://schemas.openxmlformats.org/officeDocument/2006/relationships/image" Target="../media/image106.png"/><Relationship Id="rId2" Type="http://schemas.openxmlformats.org/officeDocument/2006/relationships/slideLayout" Target="../slideLayouts/slideLayout218.xml"/><Relationship Id="rId1" Type="http://schemas.openxmlformats.org/officeDocument/2006/relationships/tags" Target="../tags/tag263.xml"/><Relationship Id="rId6" Type="http://schemas.openxmlformats.org/officeDocument/2006/relationships/image" Target="../media/image31.emf"/><Relationship Id="rId11" Type="http://schemas.openxmlformats.org/officeDocument/2006/relationships/image" Target="../media/image108.png"/><Relationship Id="rId5" Type="http://schemas.openxmlformats.org/officeDocument/2006/relationships/oleObject" Target="../embeddings/oleObject233.bin"/><Relationship Id="rId10" Type="http://schemas.openxmlformats.org/officeDocument/2006/relationships/image" Target="../media/image107.png"/><Relationship Id="rId4" Type="http://schemas.microsoft.com/office/2018/10/relationships/comments" Target="../comments/modernComment_7FFFD8AF_23C388E1.xml"/><Relationship Id="rId9" Type="http://schemas.openxmlformats.org/officeDocument/2006/relationships/hyperlink" Target="https://www.linkedin.com/in/tamas-schenk-80b06a2b/" TargetMode="External"/></Relationships>
</file>

<file path=ppt/slides/_rels/slide15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notesSlide" Target="../notesSlides/notesSlide147.xml"/><Relationship Id="rId7" Type="http://schemas.openxmlformats.org/officeDocument/2006/relationships/image" Target="../media/image153.png"/><Relationship Id="rId2" Type="http://schemas.openxmlformats.org/officeDocument/2006/relationships/slideLayout" Target="../slideLayouts/slideLayout181.xml"/><Relationship Id="rId1" Type="http://schemas.openxmlformats.org/officeDocument/2006/relationships/tags" Target="../tags/tag264.xml"/><Relationship Id="rId6" Type="http://schemas.openxmlformats.org/officeDocument/2006/relationships/image" Target="../media/image110.emf"/><Relationship Id="rId5" Type="http://schemas.openxmlformats.org/officeDocument/2006/relationships/oleObject" Target="../embeddings/oleObject234.bin"/><Relationship Id="rId4" Type="http://schemas.microsoft.com/office/2018/10/relationships/comments" Target="../comments/modernComment_7FFFD92F_14E88974.xml"/></Relationships>
</file>

<file path=ppt/slides/_rels/slide15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notesSlide" Target="../notesSlides/notesSlide148.xml"/><Relationship Id="rId7" Type="http://schemas.openxmlformats.org/officeDocument/2006/relationships/image" Target="../media/image153.png"/><Relationship Id="rId2" Type="http://schemas.openxmlformats.org/officeDocument/2006/relationships/slideLayout" Target="../slideLayouts/slideLayout182.xml"/><Relationship Id="rId1" Type="http://schemas.openxmlformats.org/officeDocument/2006/relationships/tags" Target="../tags/tag265.xml"/><Relationship Id="rId6" Type="http://schemas.openxmlformats.org/officeDocument/2006/relationships/image" Target="../media/image110.emf"/><Relationship Id="rId5" Type="http://schemas.openxmlformats.org/officeDocument/2006/relationships/oleObject" Target="../embeddings/oleObject235.bin"/><Relationship Id="rId4" Type="http://schemas.microsoft.com/office/2018/10/relationships/comments" Target="../comments/modernComment_7FFFD8F7_331340B2.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181.xml"/><Relationship Id="rId1" Type="http://schemas.openxmlformats.org/officeDocument/2006/relationships/tags" Target="../tags/tag266.xml"/><Relationship Id="rId6" Type="http://schemas.openxmlformats.org/officeDocument/2006/relationships/image" Target="../media/image31.emf"/><Relationship Id="rId5" Type="http://schemas.openxmlformats.org/officeDocument/2006/relationships/oleObject" Target="../embeddings/oleObject236.bin"/><Relationship Id="rId4" Type="http://schemas.microsoft.com/office/2018/10/relationships/comments" Target="../comments/modernComment_7FFFF922_CF6E05FE.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0.xml"/><Relationship Id="rId7" Type="http://schemas.openxmlformats.org/officeDocument/2006/relationships/chart" Target="../charts/chart5.xml"/><Relationship Id="rId2" Type="http://schemas.openxmlformats.org/officeDocument/2006/relationships/slideLayout" Target="../slideLayouts/slideLayout181.xml"/><Relationship Id="rId1" Type="http://schemas.openxmlformats.org/officeDocument/2006/relationships/tags" Target="../tags/tag267.xml"/><Relationship Id="rId6" Type="http://schemas.openxmlformats.org/officeDocument/2006/relationships/image" Target="../media/image31.emf"/><Relationship Id="rId5" Type="http://schemas.openxmlformats.org/officeDocument/2006/relationships/oleObject" Target="../embeddings/oleObject237.bin"/><Relationship Id="rId4" Type="http://schemas.microsoft.com/office/2018/10/relationships/comments" Target="../comments/modernComment_7FFFF993_ADA3974.xml"/></Relationships>
</file>

<file path=ppt/slides/_rels/slide158.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notesSlide" Target="../notesSlides/notesSlide151.xml"/><Relationship Id="rId7" Type="http://schemas.openxmlformats.org/officeDocument/2006/relationships/image" Target="../media/image153.png"/><Relationship Id="rId2" Type="http://schemas.openxmlformats.org/officeDocument/2006/relationships/slideLayout" Target="../slideLayouts/slideLayout181.xml"/><Relationship Id="rId1" Type="http://schemas.openxmlformats.org/officeDocument/2006/relationships/tags" Target="../tags/tag268.xml"/><Relationship Id="rId6" Type="http://schemas.openxmlformats.org/officeDocument/2006/relationships/image" Target="../media/image110.emf"/><Relationship Id="rId5" Type="http://schemas.openxmlformats.org/officeDocument/2006/relationships/oleObject" Target="../embeddings/oleObject238.bin"/><Relationship Id="rId4" Type="http://schemas.microsoft.com/office/2018/10/relationships/comments" Target="../comments/modernComment_7FFFD978_1C1992F0.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2.xml"/><Relationship Id="rId7" Type="http://schemas.microsoft.com/office/2007/relationships/hdphoto" Target="../media/hdphoto4.wdp"/><Relationship Id="rId2" Type="http://schemas.openxmlformats.org/officeDocument/2006/relationships/slideLayout" Target="../slideLayouts/slideLayout181.xml"/><Relationship Id="rId1" Type="http://schemas.openxmlformats.org/officeDocument/2006/relationships/tags" Target="../tags/tag269.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23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82.xml"/><Relationship Id="rId1" Type="http://schemas.openxmlformats.org/officeDocument/2006/relationships/tags" Target="../tags/tag146.xml"/><Relationship Id="rId5" Type="http://schemas.openxmlformats.org/officeDocument/2006/relationships/image" Target="../media/image31.emf"/><Relationship Id="rId4" Type="http://schemas.openxmlformats.org/officeDocument/2006/relationships/oleObject" Target="../embeddings/oleObject125.bin"/></Relationships>
</file>

<file path=ppt/slides/_rels/slide160.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430.jpeg"/><Relationship Id="rId18" Type="http://schemas.openxmlformats.org/officeDocument/2006/relationships/image" Target="../media/image435.jpeg"/><Relationship Id="rId3" Type="http://schemas.openxmlformats.org/officeDocument/2006/relationships/notesSlide" Target="../notesSlides/notesSlide153.xml"/><Relationship Id="rId21" Type="http://schemas.openxmlformats.org/officeDocument/2006/relationships/image" Target="../media/image111.png"/><Relationship Id="rId7" Type="http://schemas.openxmlformats.org/officeDocument/2006/relationships/image" Target="../media/image37.png"/><Relationship Id="rId12" Type="http://schemas.openxmlformats.org/officeDocument/2006/relationships/image" Target="../media/image429.jpeg"/><Relationship Id="rId17" Type="http://schemas.openxmlformats.org/officeDocument/2006/relationships/image" Target="../media/image434.jpeg"/><Relationship Id="rId2" Type="http://schemas.openxmlformats.org/officeDocument/2006/relationships/slideLayout" Target="../slideLayouts/slideLayout182.xml"/><Relationship Id="rId16" Type="http://schemas.openxmlformats.org/officeDocument/2006/relationships/image" Target="../media/image433.jpeg"/><Relationship Id="rId20" Type="http://schemas.openxmlformats.org/officeDocument/2006/relationships/image" Target="../media/image437.jpeg"/><Relationship Id="rId1" Type="http://schemas.openxmlformats.org/officeDocument/2006/relationships/tags" Target="../tags/tag270.xml"/><Relationship Id="rId6" Type="http://schemas.openxmlformats.org/officeDocument/2006/relationships/image" Target="../media/image108.png"/><Relationship Id="rId11" Type="http://schemas.openxmlformats.org/officeDocument/2006/relationships/image" Target="../media/image428.jpeg"/><Relationship Id="rId5" Type="http://schemas.openxmlformats.org/officeDocument/2006/relationships/image" Target="../media/image110.emf"/><Relationship Id="rId15" Type="http://schemas.openxmlformats.org/officeDocument/2006/relationships/image" Target="../media/image432.jpeg"/><Relationship Id="rId10" Type="http://schemas.openxmlformats.org/officeDocument/2006/relationships/image" Target="../media/image427.jpeg"/><Relationship Id="rId19" Type="http://schemas.openxmlformats.org/officeDocument/2006/relationships/image" Target="../media/image436.jpeg"/><Relationship Id="rId4" Type="http://schemas.openxmlformats.org/officeDocument/2006/relationships/oleObject" Target="../embeddings/oleObject240.bin"/><Relationship Id="rId9" Type="http://schemas.openxmlformats.org/officeDocument/2006/relationships/image" Target="../media/image426.jpeg"/><Relationship Id="rId14" Type="http://schemas.openxmlformats.org/officeDocument/2006/relationships/image" Target="../media/image431.jpeg"/><Relationship Id="rId22" Type="http://schemas.microsoft.com/office/2007/relationships/hdphoto" Target="../media/hdphoto2.wdp"/></Relationships>
</file>

<file path=ppt/slides/_rels/slide161.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438.jpeg"/><Relationship Id="rId3" Type="http://schemas.openxmlformats.org/officeDocument/2006/relationships/notesSlide" Target="../notesSlides/notesSlide154.xml"/><Relationship Id="rId7" Type="http://schemas.openxmlformats.org/officeDocument/2006/relationships/image" Target="../media/image37.png"/><Relationship Id="rId12" Type="http://schemas.openxmlformats.org/officeDocument/2006/relationships/image" Target="../media/image115.jpeg"/><Relationship Id="rId2" Type="http://schemas.openxmlformats.org/officeDocument/2006/relationships/slideLayout" Target="../slideLayouts/slideLayout180.xml"/><Relationship Id="rId16" Type="http://schemas.openxmlformats.org/officeDocument/2006/relationships/image" Target="../media/image441.jpeg"/><Relationship Id="rId1" Type="http://schemas.openxmlformats.org/officeDocument/2006/relationships/tags" Target="../tags/tag271.xml"/><Relationship Id="rId6" Type="http://schemas.openxmlformats.org/officeDocument/2006/relationships/image" Target="../media/image108.png"/><Relationship Id="rId11" Type="http://schemas.openxmlformats.org/officeDocument/2006/relationships/image" Target="../media/image113.jpeg"/><Relationship Id="rId5" Type="http://schemas.openxmlformats.org/officeDocument/2006/relationships/image" Target="../media/image110.emf"/><Relationship Id="rId15" Type="http://schemas.openxmlformats.org/officeDocument/2006/relationships/image" Target="../media/image440.jpeg"/><Relationship Id="rId10" Type="http://schemas.microsoft.com/office/2007/relationships/hdphoto" Target="../media/hdphoto2.wdp"/><Relationship Id="rId4" Type="http://schemas.openxmlformats.org/officeDocument/2006/relationships/oleObject" Target="../embeddings/oleObject241.bin"/><Relationship Id="rId9" Type="http://schemas.openxmlformats.org/officeDocument/2006/relationships/image" Target="../media/image111.png"/><Relationship Id="rId14" Type="http://schemas.openxmlformats.org/officeDocument/2006/relationships/image" Target="../media/image439.jpeg"/></Relationships>
</file>

<file path=ppt/slides/_rels/slide16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notesSlide" Target="../notesSlides/notesSlide155.xml"/><Relationship Id="rId7" Type="http://schemas.openxmlformats.org/officeDocument/2006/relationships/image" Target="../media/image153.png"/><Relationship Id="rId2" Type="http://schemas.openxmlformats.org/officeDocument/2006/relationships/slideLayout" Target="../slideLayouts/slideLayout181.xml"/><Relationship Id="rId1" Type="http://schemas.openxmlformats.org/officeDocument/2006/relationships/tags" Target="../tags/tag272.xml"/><Relationship Id="rId6" Type="http://schemas.openxmlformats.org/officeDocument/2006/relationships/image" Target="../media/image110.emf"/><Relationship Id="rId5" Type="http://schemas.openxmlformats.org/officeDocument/2006/relationships/oleObject" Target="../embeddings/oleObject242.bin"/><Relationship Id="rId4" Type="http://schemas.microsoft.com/office/2018/10/relationships/comments" Target="../comments/modernComment_7FFFD961_45306062.xml"/></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56.xml"/><Relationship Id="rId7" Type="http://schemas.microsoft.com/office/2007/relationships/hdphoto" Target="../media/hdphoto4.wdp"/><Relationship Id="rId2" Type="http://schemas.openxmlformats.org/officeDocument/2006/relationships/slideLayout" Target="../slideLayouts/slideLayout180.xml"/><Relationship Id="rId1" Type="http://schemas.openxmlformats.org/officeDocument/2006/relationships/tags" Target="../tags/tag273.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243.bin"/></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71.xml"/></Relationships>
</file>

<file path=ppt/slides/_rels/slide16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158.xml"/><Relationship Id="rId7" Type="http://schemas.openxmlformats.org/officeDocument/2006/relationships/hyperlink" Target="https://www.linkedin.com/in/t%C3%ADmea-g%C3%A1sp%C3%A1r-0b5430127/" TargetMode="External"/><Relationship Id="rId2" Type="http://schemas.openxmlformats.org/officeDocument/2006/relationships/slideLayout" Target="../slideLayouts/slideLayout336.xml"/><Relationship Id="rId1" Type="http://schemas.openxmlformats.org/officeDocument/2006/relationships/tags" Target="../tags/tag274.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108.png"/><Relationship Id="rId4" Type="http://schemas.openxmlformats.org/officeDocument/2006/relationships/oleObject" Target="../embeddings/oleObject244.bin"/><Relationship Id="rId9" Type="http://schemas.openxmlformats.org/officeDocument/2006/relationships/image" Target="../media/image442.jpeg"/></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45.bin"/><Relationship Id="rId2" Type="http://schemas.openxmlformats.org/officeDocument/2006/relationships/slideLayout" Target="../slideLayouts/slideLayout275.xml"/><Relationship Id="rId1" Type="http://schemas.openxmlformats.org/officeDocument/2006/relationships/tags" Target="../tags/tag275.xml"/><Relationship Id="rId4" Type="http://schemas.openxmlformats.org/officeDocument/2006/relationships/image" Target="../media/image31.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46.bin"/><Relationship Id="rId2" Type="http://schemas.openxmlformats.org/officeDocument/2006/relationships/slideLayout" Target="../slideLayouts/slideLayout275.xml"/><Relationship Id="rId1" Type="http://schemas.openxmlformats.org/officeDocument/2006/relationships/tags" Target="../tags/tag276.xml"/><Relationship Id="rId4" Type="http://schemas.openxmlformats.org/officeDocument/2006/relationships/image" Target="../media/image31.emf"/></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275.xml"/></Relationships>
</file>

<file path=ppt/slides/_rels/slide169.xml.rels><?xml version="1.0" encoding="UTF-8" standalone="yes"?>
<Relationships xmlns="http://schemas.openxmlformats.org/package/2006/relationships"><Relationship Id="rId8" Type="http://schemas.openxmlformats.org/officeDocument/2006/relationships/image" Target="../media/image449.png"/><Relationship Id="rId3" Type="http://schemas.openxmlformats.org/officeDocument/2006/relationships/image" Target="../media/image444.png"/><Relationship Id="rId7" Type="http://schemas.openxmlformats.org/officeDocument/2006/relationships/image" Target="../media/image448.png"/><Relationship Id="rId12" Type="http://schemas.openxmlformats.org/officeDocument/2006/relationships/image" Target="../media/image453.png"/><Relationship Id="rId2" Type="http://schemas.openxmlformats.org/officeDocument/2006/relationships/image" Target="../media/image443.png"/><Relationship Id="rId1" Type="http://schemas.openxmlformats.org/officeDocument/2006/relationships/slideLayout" Target="../slideLayouts/slideLayout275.xml"/><Relationship Id="rId6" Type="http://schemas.openxmlformats.org/officeDocument/2006/relationships/image" Target="../media/image447.png"/><Relationship Id="rId11" Type="http://schemas.openxmlformats.org/officeDocument/2006/relationships/image" Target="../media/image452.png"/><Relationship Id="rId5" Type="http://schemas.openxmlformats.org/officeDocument/2006/relationships/image" Target="../media/image446.emf"/><Relationship Id="rId10" Type="http://schemas.openxmlformats.org/officeDocument/2006/relationships/image" Target="../media/image451.jpeg"/><Relationship Id="rId4" Type="http://schemas.openxmlformats.org/officeDocument/2006/relationships/image" Target="../media/image445.png"/><Relationship Id="rId9" Type="http://schemas.openxmlformats.org/officeDocument/2006/relationships/image" Target="../media/image450.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microsoft.com/office/2007/relationships/hdphoto" Target="../media/hdphoto1.wdp"/><Relationship Id="rId2" Type="http://schemas.openxmlformats.org/officeDocument/2006/relationships/slideLayout" Target="../slideLayouts/slideLayout171.xml"/><Relationship Id="rId1" Type="http://schemas.openxmlformats.org/officeDocument/2006/relationships/tags" Target="../tags/tag147.xml"/><Relationship Id="rId6" Type="http://schemas.openxmlformats.org/officeDocument/2006/relationships/image" Target="../media/image68.png"/><Relationship Id="rId5" Type="http://schemas.openxmlformats.org/officeDocument/2006/relationships/image" Target="../media/image31.emf"/><Relationship Id="rId4" Type="http://schemas.openxmlformats.org/officeDocument/2006/relationships/oleObject" Target="../embeddings/oleObject126.bin"/></Relationships>
</file>

<file path=ppt/slides/_rels/slide170.xml.rels><?xml version="1.0" encoding="UTF-8" standalone="yes"?>
<Relationships xmlns="http://schemas.openxmlformats.org/package/2006/relationships"><Relationship Id="rId8" Type="http://schemas.openxmlformats.org/officeDocument/2006/relationships/image" Target="../media/image456.jpeg"/><Relationship Id="rId13" Type="http://schemas.openxmlformats.org/officeDocument/2006/relationships/image" Target="../media/image461.png"/><Relationship Id="rId3" Type="http://schemas.openxmlformats.org/officeDocument/2006/relationships/image" Target="../media/image108.png"/><Relationship Id="rId7" Type="http://schemas.openxmlformats.org/officeDocument/2006/relationships/image" Target="../media/image455.jpeg"/><Relationship Id="rId12" Type="http://schemas.openxmlformats.org/officeDocument/2006/relationships/image" Target="../media/image460.jpeg"/><Relationship Id="rId2" Type="http://schemas.microsoft.com/office/2018/10/relationships/comments" Target="../comments/modernComment_7FFFF9BA_FE9D42F9.xml"/><Relationship Id="rId16" Type="http://schemas.microsoft.com/office/2007/relationships/hdphoto" Target="../media/hdphoto2.wdp"/><Relationship Id="rId1" Type="http://schemas.openxmlformats.org/officeDocument/2006/relationships/slideLayout" Target="../slideLayouts/slideLayout275.xml"/><Relationship Id="rId6" Type="http://schemas.openxmlformats.org/officeDocument/2006/relationships/image" Target="../media/image454.jpeg"/><Relationship Id="rId11" Type="http://schemas.openxmlformats.org/officeDocument/2006/relationships/image" Target="../media/image459.jpeg"/><Relationship Id="rId5" Type="http://schemas.openxmlformats.org/officeDocument/2006/relationships/image" Target="../media/image54.png"/><Relationship Id="rId15" Type="http://schemas.openxmlformats.org/officeDocument/2006/relationships/image" Target="../media/image111.png"/><Relationship Id="rId10" Type="http://schemas.openxmlformats.org/officeDocument/2006/relationships/image" Target="../media/image458.jpeg"/><Relationship Id="rId4" Type="http://schemas.openxmlformats.org/officeDocument/2006/relationships/image" Target="../media/image37.png"/><Relationship Id="rId9" Type="http://schemas.openxmlformats.org/officeDocument/2006/relationships/image" Target="../media/image457.jpeg"/><Relationship Id="rId14" Type="http://schemas.openxmlformats.org/officeDocument/2006/relationships/image" Target="../media/image462.jpeg"/></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71.xml"/></Relationships>
</file>

<file path=ppt/slides/_rels/slide172.xml.rels><?xml version="1.0" encoding="UTF-8" standalone="yes"?>
<Relationships xmlns="http://schemas.openxmlformats.org/package/2006/relationships"><Relationship Id="rId8" Type="http://schemas.openxmlformats.org/officeDocument/2006/relationships/image" Target="../media/image463.jpeg"/><Relationship Id="rId3" Type="http://schemas.openxmlformats.org/officeDocument/2006/relationships/notesSlide" Target="../notesSlides/notesSlide160.xml"/><Relationship Id="rId7" Type="http://schemas.openxmlformats.org/officeDocument/2006/relationships/image" Target="../media/image108.png"/><Relationship Id="rId2" Type="http://schemas.openxmlformats.org/officeDocument/2006/relationships/slideLayout" Target="../slideLayouts/slideLayout218.xml"/><Relationship Id="rId1" Type="http://schemas.openxmlformats.org/officeDocument/2006/relationships/tags" Target="../tags/tag277.xml"/><Relationship Id="rId6" Type="http://schemas.openxmlformats.org/officeDocument/2006/relationships/image" Target="../media/image106.png"/><Relationship Id="rId5" Type="http://schemas.openxmlformats.org/officeDocument/2006/relationships/image" Target="../media/image31.emf"/><Relationship Id="rId4" Type="http://schemas.openxmlformats.org/officeDocument/2006/relationships/oleObject" Target="../embeddings/oleObject247.bin"/></Relationships>
</file>

<file path=ppt/slides/_rels/slide17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1.xml"/><Relationship Id="rId1" Type="http://schemas.openxmlformats.org/officeDocument/2006/relationships/slideLayout" Target="../slideLayouts/slideLayout25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219.xml"/></Relationships>
</file>

<file path=ppt/slides/_rels/slide175.xml.rels><?xml version="1.0" encoding="UTF-8" standalone="yes"?>
<Relationships xmlns="http://schemas.openxmlformats.org/package/2006/relationships"><Relationship Id="rId8" Type="http://schemas.openxmlformats.org/officeDocument/2006/relationships/tags" Target="../tags/tag285.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10.emf"/><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oleObject" Target="../embeddings/oleObject248.bin"/><Relationship Id="rId5" Type="http://schemas.openxmlformats.org/officeDocument/2006/relationships/tags" Target="../tags/tag282.xml"/><Relationship Id="rId10" Type="http://schemas.openxmlformats.org/officeDocument/2006/relationships/notesSlide" Target="../notesSlides/notesSlide162.xml"/><Relationship Id="rId4" Type="http://schemas.openxmlformats.org/officeDocument/2006/relationships/tags" Target="../tags/tag281.xml"/><Relationship Id="rId9" Type="http://schemas.openxmlformats.org/officeDocument/2006/relationships/slideLayout" Target="../slideLayouts/slideLayout78.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77.xml.rels><?xml version="1.0" encoding="UTF-8" standalone="yes"?>
<Relationships xmlns="http://schemas.openxmlformats.org/package/2006/relationships"><Relationship Id="rId2" Type="http://schemas.openxmlformats.org/officeDocument/2006/relationships/image" Target="../media/image464.png"/><Relationship Id="rId1" Type="http://schemas.openxmlformats.org/officeDocument/2006/relationships/slideLayout" Target="../slideLayouts/slideLayout96.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86.xml"/></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251.xml"/><Relationship Id="rId1" Type="http://schemas.openxmlformats.org/officeDocument/2006/relationships/tags" Target="../tags/tag286.xml"/><Relationship Id="rId6" Type="http://schemas.openxmlformats.org/officeDocument/2006/relationships/image" Target="../media/image465.jpeg"/><Relationship Id="rId5" Type="http://schemas.openxmlformats.org/officeDocument/2006/relationships/image" Target="../media/image2.emf"/><Relationship Id="rId4" Type="http://schemas.openxmlformats.org/officeDocument/2006/relationships/oleObject" Target="../embeddings/oleObject249.bin"/></Relationships>
</file>

<file path=ppt/slides/_rels/slide1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jpeg"/><Relationship Id="rId18" Type="http://schemas.openxmlformats.org/officeDocument/2006/relationships/image" Target="../media/image80.png"/><Relationship Id="rId3" Type="http://schemas.openxmlformats.org/officeDocument/2006/relationships/notesSlide" Target="../notesSlides/notesSlide17.xml"/><Relationship Id="rId7" Type="http://schemas.openxmlformats.org/officeDocument/2006/relationships/image" Target="../media/image69.png"/><Relationship Id="rId12" Type="http://schemas.openxmlformats.org/officeDocument/2006/relationships/image" Target="../media/image74.jpeg"/><Relationship Id="rId17" Type="http://schemas.openxmlformats.org/officeDocument/2006/relationships/image" Target="../media/image79.png"/><Relationship Id="rId2" Type="http://schemas.openxmlformats.org/officeDocument/2006/relationships/slideLayout" Target="../slideLayouts/slideLayout172.xml"/><Relationship Id="rId16" Type="http://schemas.openxmlformats.org/officeDocument/2006/relationships/image" Target="../media/image78.png"/><Relationship Id="rId1" Type="http://schemas.openxmlformats.org/officeDocument/2006/relationships/tags" Target="../tags/tag148.xml"/><Relationship Id="rId6" Type="http://schemas.openxmlformats.org/officeDocument/2006/relationships/image" Target="../media/image31.emf"/><Relationship Id="rId11" Type="http://schemas.openxmlformats.org/officeDocument/2006/relationships/image" Target="../media/image73.png"/><Relationship Id="rId5" Type="http://schemas.openxmlformats.org/officeDocument/2006/relationships/oleObject" Target="../embeddings/oleObject127.bin"/><Relationship Id="rId15" Type="http://schemas.openxmlformats.org/officeDocument/2006/relationships/image" Target="../media/image77.png"/><Relationship Id="rId10" Type="http://schemas.openxmlformats.org/officeDocument/2006/relationships/image" Target="../media/image72.png"/><Relationship Id="rId4" Type="http://schemas.microsoft.com/office/2018/10/relationships/comments" Target="../comments/modernComment_7FFFD8BF_CCBBF258.xml"/><Relationship Id="rId9" Type="http://schemas.openxmlformats.org/officeDocument/2006/relationships/image" Target="../media/image71.gif"/><Relationship Id="rId14" Type="http://schemas.openxmlformats.org/officeDocument/2006/relationships/image" Target="../media/image76.png"/></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251.xml"/><Relationship Id="rId1" Type="http://schemas.openxmlformats.org/officeDocument/2006/relationships/tags" Target="../tags/tag287.xml"/><Relationship Id="rId6" Type="http://schemas.openxmlformats.org/officeDocument/2006/relationships/image" Target="../media/image465.jpeg"/><Relationship Id="rId5" Type="http://schemas.openxmlformats.org/officeDocument/2006/relationships/image" Target="../media/image2.emf"/><Relationship Id="rId4" Type="http://schemas.openxmlformats.org/officeDocument/2006/relationships/oleObject" Target="../embeddings/oleObject250.bin"/></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171.xml"/></Relationships>
</file>

<file path=ppt/slides/_rels/slide182.xml.rels><?xml version="1.0" encoding="UTF-8" standalone="yes"?>
<Relationships xmlns="http://schemas.openxmlformats.org/package/2006/relationships"><Relationship Id="rId8" Type="http://schemas.openxmlformats.org/officeDocument/2006/relationships/image" Target="../media/image287.jpeg"/><Relationship Id="rId3" Type="http://schemas.openxmlformats.org/officeDocument/2006/relationships/notesSlide" Target="../notesSlides/notesSlide167.xml"/><Relationship Id="rId7" Type="http://schemas.openxmlformats.org/officeDocument/2006/relationships/image" Target="../media/image466.png"/><Relationship Id="rId2" Type="http://schemas.openxmlformats.org/officeDocument/2006/relationships/slideLayout" Target="../slideLayouts/slideLayout218.xml"/><Relationship Id="rId1" Type="http://schemas.openxmlformats.org/officeDocument/2006/relationships/tags" Target="../tags/tag288.xml"/><Relationship Id="rId6" Type="http://schemas.openxmlformats.org/officeDocument/2006/relationships/image" Target="../media/image106.png"/><Relationship Id="rId11" Type="http://schemas.openxmlformats.org/officeDocument/2006/relationships/image" Target="../media/image467.png"/><Relationship Id="rId5" Type="http://schemas.openxmlformats.org/officeDocument/2006/relationships/image" Target="../media/image31.emf"/><Relationship Id="rId10" Type="http://schemas.openxmlformats.org/officeDocument/2006/relationships/image" Target="../media/image107.png"/><Relationship Id="rId4" Type="http://schemas.openxmlformats.org/officeDocument/2006/relationships/oleObject" Target="../embeddings/oleObject251.bin"/><Relationship Id="rId9" Type="http://schemas.openxmlformats.org/officeDocument/2006/relationships/hyperlink" Target="https://www.linkedin.com/in/eszter-luk%C3%A1cs-89249385/" TargetMode="External"/></Relationships>
</file>

<file path=ppt/slides/_rels/slide183.xml.rels><?xml version="1.0" encoding="UTF-8" standalone="yes"?>
<Relationships xmlns="http://schemas.openxmlformats.org/package/2006/relationships"><Relationship Id="rId8" Type="http://schemas.openxmlformats.org/officeDocument/2006/relationships/hyperlink" Target="https://www.linkedin.com/in/eszter-luk%C3%A1cs-89249385/" TargetMode="External"/><Relationship Id="rId3" Type="http://schemas.openxmlformats.org/officeDocument/2006/relationships/notesSlide" Target="../notesSlides/notesSlide168.xml"/><Relationship Id="rId7" Type="http://schemas.openxmlformats.org/officeDocument/2006/relationships/image" Target="../media/image287.jpeg"/><Relationship Id="rId2" Type="http://schemas.openxmlformats.org/officeDocument/2006/relationships/slideLayout" Target="../slideLayouts/slideLayout218.xml"/><Relationship Id="rId1" Type="http://schemas.openxmlformats.org/officeDocument/2006/relationships/tags" Target="../tags/tag289.xml"/><Relationship Id="rId6" Type="http://schemas.openxmlformats.org/officeDocument/2006/relationships/image" Target="../media/image106.png"/><Relationship Id="rId11" Type="http://schemas.microsoft.com/office/2007/relationships/hdphoto" Target="../media/hdphoto12.wdp"/><Relationship Id="rId5" Type="http://schemas.openxmlformats.org/officeDocument/2006/relationships/image" Target="../media/image31.emf"/><Relationship Id="rId10" Type="http://schemas.openxmlformats.org/officeDocument/2006/relationships/image" Target="../media/image468.png"/><Relationship Id="rId4" Type="http://schemas.openxmlformats.org/officeDocument/2006/relationships/oleObject" Target="../embeddings/oleObject252.bin"/><Relationship Id="rId9" Type="http://schemas.openxmlformats.org/officeDocument/2006/relationships/image" Target="../media/image107.png"/></Relationships>
</file>

<file path=ppt/slides/_rels/slide184.xml.rels><?xml version="1.0" encoding="UTF-8" standalone="yes"?>
<Relationships xmlns="http://schemas.openxmlformats.org/package/2006/relationships"><Relationship Id="rId8" Type="http://schemas.openxmlformats.org/officeDocument/2006/relationships/image" Target="../media/image469.png"/><Relationship Id="rId3" Type="http://schemas.openxmlformats.org/officeDocument/2006/relationships/notesSlide" Target="../notesSlides/notesSlide169.xml"/><Relationship Id="rId7" Type="http://schemas.openxmlformats.org/officeDocument/2006/relationships/image" Target="../media/image287.jpeg"/><Relationship Id="rId2" Type="http://schemas.openxmlformats.org/officeDocument/2006/relationships/slideLayout" Target="../slideLayouts/slideLayout218.xml"/><Relationship Id="rId1" Type="http://schemas.openxmlformats.org/officeDocument/2006/relationships/tags" Target="../tags/tag290.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107.png"/><Relationship Id="rId4" Type="http://schemas.openxmlformats.org/officeDocument/2006/relationships/oleObject" Target="../embeddings/oleObject253.bin"/><Relationship Id="rId9" Type="http://schemas.openxmlformats.org/officeDocument/2006/relationships/hyperlink" Target="https://www.linkedin.com/in/eszter-luk%C3%A1cs-89249385/" TargetMode="External"/></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54.bin"/><Relationship Id="rId2" Type="http://schemas.openxmlformats.org/officeDocument/2006/relationships/slideLayout" Target="../slideLayouts/slideLayout209.xml"/><Relationship Id="rId1" Type="http://schemas.openxmlformats.org/officeDocument/2006/relationships/tags" Target="../tags/tag291.xml"/><Relationship Id="rId4" Type="http://schemas.openxmlformats.org/officeDocument/2006/relationships/image" Target="../media/image31.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55.bin"/><Relationship Id="rId2" Type="http://schemas.openxmlformats.org/officeDocument/2006/relationships/slideLayout" Target="../slideLayouts/slideLayout180.xml"/><Relationship Id="rId1" Type="http://schemas.openxmlformats.org/officeDocument/2006/relationships/tags" Target="../tags/tag292.xml"/><Relationship Id="rId4" Type="http://schemas.openxmlformats.org/officeDocument/2006/relationships/image" Target="../media/image31.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56.bin"/><Relationship Id="rId2" Type="http://schemas.openxmlformats.org/officeDocument/2006/relationships/slideLayout" Target="../slideLayouts/slideLayout180.xml"/><Relationship Id="rId1" Type="http://schemas.openxmlformats.org/officeDocument/2006/relationships/tags" Target="../tags/tag293.xml"/><Relationship Id="rId4" Type="http://schemas.openxmlformats.org/officeDocument/2006/relationships/image" Target="../media/image31.emf"/></Relationships>
</file>

<file path=ppt/slides/_rels/slide188.xml.rels><?xml version="1.0" encoding="UTF-8" standalone="yes"?>
<Relationships xmlns="http://schemas.openxmlformats.org/package/2006/relationships"><Relationship Id="rId26" Type="http://schemas.openxmlformats.org/officeDocument/2006/relationships/image" Target="../media/image491.png"/><Relationship Id="rId21" Type="http://schemas.openxmlformats.org/officeDocument/2006/relationships/image" Target="../media/image486.png"/><Relationship Id="rId42" Type="http://schemas.openxmlformats.org/officeDocument/2006/relationships/image" Target="../media/image507.png"/><Relationship Id="rId47" Type="http://schemas.openxmlformats.org/officeDocument/2006/relationships/image" Target="../media/image512.png"/><Relationship Id="rId63" Type="http://schemas.openxmlformats.org/officeDocument/2006/relationships/image" Target="../media/image528.png"/><Relationship Id="rId68" Type="http://schemas.openxmlformats.org/officeDocument/2006/relationships/image" Target="../media/image533.png"/><Relationship Id="rId16" Type="http://schemas.openxmlformats.org/officeDocument/2006/relationships/image" Target="../media/image481.png"/><Relationship Id="rId11" Type="http://schemas.openxmlformats.org/officeDocument/2006/relationships/image" Target="../media/image476.png"/><Relationship Id="rId24" Type="http://schemas.openxmlformats.org/officeDocument/2006/relationships/image" Target="../media/image489.png"/><Relationship Id="rId32" Type="http://schemas.openxmlformats.org/officeDocument/2006/relationships/image" Target="../media/image497.png"/><Relationship Id="rId37" Type="http://schemas.openxmlformats.org/officeDocument/2006/relationships/image" Target="../media/image502.png"/><Relationship Id="rId40" Type="http://schemas.openxmlformats.org/officeDocument/2006/relationships/image" Target="../media/image505.png"/><Relationship Id="rId45" Type="http://schemas.openxmlformats.org/officeDocument/2006/relationships/image" Target="../media/image510.png"/><Relationship Id="rId53" Type="http://schemas.openxmlformats.org/officeDocument/2006/relationships/image" Target="../media/image518.png"/><Relationship Id="rId58" Type="http://schemas.openxmlformats.org/officeDocument/2006/relationships/image" Target="../media/image523.png"/><Relationship Id="rId66" Type="http://schemas.openxmlformats.org/officeDocument/2006/relationships/image" Target="../media/image531.png"/><Relationship Id="rId74" Type="http://schemas.openxmlformats.org/officeDocument/2006/relationships/image" Target="../media/image539.png"/><Relationship Id="rId79" Type="http://schemas.openxmlformats.org/officeDocument/2006/relationships/image" Target="../media/image544.png"/><Relationship Id="rId5" Type="http://schemas.openxmlformats.org/officeDocument/2006/relationships/image" Target="../media/image470.png"/><Relationship Id="rId61" Type="http://schemas.openxmlformats.org/officeDocument/2006/relationships/image" Target="../media/image526.png"/><Relationship Id="rId19" Type="http://schemas.openxmlformats.org/officeDocument/2006/relationships/image" Target="../media/image484.png"/><Relationship Id="rId14" Type="http://schemas.openxmlformats.org/officeDocument/2006/relationships/image" Target="../media/image479.png"/><Relationship Id="rId22" Type="http://schemas.openxmlformats.org/officeDocument/2006/relationships/image" Target="../media/image487.png"/><Relationship Id="rId27" Type="http://schemas.openxmlformats.org/officeDocument/2006/relationships/image" Target="../media/image492.png"/><Relationship Id="rId30" Type="http://schemas.openxmlformats.org/officeDocument/2006/relationships/image" Target="../media/image495.png"/><Relationship Id="rId35" Type="http://schemas.openxmlformats.org/officeDocument/2006/relationships/image" Target="../media/image500.png"/><Relationship Id="rId43" Type="http://schemas.openxmlformats.org/officeDocument/2006/relationships/image" Target="../media/image508.png"/><Relationship Id="rId48" Type="http://schemas.openxmlformats.org/officeDocument/2006/relationships/image" Target="../media/image513.png"/><Relationship Id="rId56" Type="http://schemas.openxmlformats.org/officeDocument/2006/relationships/image" Target="../media/image521.png"/><Relationship Id="rId64" Type="http://schemas.openxmlformats.org/officeDocument/2006/relationships/image" Target="../media/image529.png"/><Relationship Id="rId69" Type="http://schemas.openxmlformats.org/officeDocument/2006/relationships/image" Target="../media/image534.png"/><Relationship Id="rId77" Type="http://schemas.openxmlformats.org/officeDocument/2006/relationships/image" Target="../media/image542.png"/><Relationship Id="rId8" Type="http://schemas.openxmlformats.org/officeDocument/2006/relationships/image" Target="../media/image473.png"/><Relationship Id="rId51" Type="http://schemas.openxmlformats.org/officeDocument/2006/relationships/image" Target="../media/image516.png"/><Relationship Id="rId72" Type="http://schemas.openxmlformats.org/officeDocument/2006/relationships/image" Target="../media/image537.png"/><Relationship Id="rId80" Type="http://schemas.openxmlformats.org/officeDocument/2006/relationships/image" Target="../media/image545.png"/><Relationship Id="rId3" Type="http://schemas.openxmlformats.org/officeDocument/2006/relationships/oleObject" Target="../embeddings/oleObject257.bin"/><Relationship Id="rId12" Type="http://schemas.openxmlformats.org/officeDocument/2006/relationships/image" Target="../media/image477.png"/><Relationship Id="rId17" Type="http://schemas.openxmlformats.org/officeDocument/2006/relationships/image" Target="../media/image482.png"/><Relationship Id="rId25" Type="http://schemas.openxmlformats.org/officeDocument/2006/relationships/image" Target="../media/image490.png"/><Relationship Id="rId33" Type="http://schemas.openxmlformats.org/officeDocument/2006/relationships/image" Target="../media/image498.png"/><Relationship Id="rId38" Type="http://schemas.openxmlformats.org/officeDocument/2006/relationships/image" Target="../media/image503.png"/><Relationship Id="rId46" Type="http://schemas.openxmlformats.org/officeDocument/2006/relationships/image" Target="../media/image511.png"/><Relationship Id="rId59" Type="http://schemas.openxmlformats.org/officeDocument/2006/relationships/image" Target="../media/image524.png"/><Relationship Id="rId67" Type="http://schemas.openxmlformats.org/officeDocument/2006/relationships/image" Target="../media/image532.png"/><Relationship Id="rId20" Type="http://schemas.openxmlformats.org/officeDocument/2006/relationships/image" Target="../media/image485.png"/><Relationship Id="rId41" Type="http://schemas.openxmlformats.org/officeDocument/2006/relationships/image" Target="../media/image506.png"/><Relationship Id="rId54" Type="http://schemas.openxmlformats.org/officeDocument/2006/relationships/image" Target="../media/image519.png"/><Relationship Id="rId62" Type="http://schemas.openxmlformats.org/officeDocument/2006/relationships/image" Target="../media/image527.png"/><Relationship Id="rId70" Type="http://schemas.openxmlformats.org/officeDocument/2006/relationships/image" Target="../media/image535.png"/><Relationship Id="rId75" Type="http://schemas.openxmlformats.org/officeDocument/2006/relationships/image" Target="../media/image540.png"/><Relationship Id="rId1" Type="http://schemas.openxmlformats.org/officeDocument/2006/relationships/tags" Target="../tags/tag294.xml"/><Relationship Id="rId6" Type="http://schemas.openxmlformats.org/officeDocument/2006/relationships/image" Target="../media/image471.png"/><Relationship Id="rId15" Type="http://schemas.openxmlformats.org/officeDocument/2006/relationships/image" Target="../media/image480.png"/><Relationship Id="rId23" Type="http://schemas.openxmlformats.org/officeDocument/2006/relationships/image" Target="../media/image488.png"/><Relationship Id="rId28" Type="http://schemas.openxmlformats.org/officeDocument/2006/relationships/image" Target="../media/image493.png"/><Relationship Id="rId36" Type="http://schemas.openxmlformats.org/officeDocument/2006/relationships/image" Target="../media/image501.png"/><Relationship Id="rId49" Type="http://schemas.openxmlformats.org/officeDocument/2006/relationships/image" Target="../media/image514.png"/><Relationship Id="rId57" Type="http://schemas.openxmlformats.org/officeDocument/2006/relationships/image" Target="../media/image522.png"/><Relationship Id="rId10" Type="http://schemas.openxmlformats.org/officeDocument/2006/relationships/image" Target="../media/image475.png"/><Relationship Id="rId31" Type="http://schemas.openxmlformats.org/officeDocument/2006/relationships/image" Target="../media/image496.png"/><Relationship Id="rId44" Type="http://schemas.openxmlformats.org/officeDocument/2006/relationships/image" Target="../media/image509.png"/><Relationship Id="rId52" Type="http://schemas.openxmlformats.org/officeDocument/2006/relationships/image" Target="../media/image517.png"/><Relationship Id="rId60" Type="http://schemas.openxmlformats.org/officeDocument/2006/relationships/image" Target="../media/image525.png"/><Relationship Id="rId65" Type="http://schemas.openxmlformats.org/officeDocument/2006/relationships/image" Target="../media/image530.png"/><Relationship Id="rId73" Type="http://schemas.openxmlformats.org/officeDocument/2006/relationships/image" Target="../media/image538.png"/><Relationship Id="rId78" Type="http://schemas.openxmlformats.org/officeDocument/2006/relationships/image" Target="../media/image543.png"/><Relationship Id="rId4" Type="http://schemas.openxmlformats.org/officeDocument/2006/relationships/image" Target="../media/image31.emf"/><Relationship Id="rId9" Type="http://schemas.openxmlformats.org/officeDocument/2006/relationships/image" Target="../media/image474.png"/><Relationship Id="rId13" Type="http://schemas.openxmlformats.org/officeDocument/2006/relationships/image" Target="../media/image478.png"/><Relationship Id="rId18" Type="http://schemas.openxmlformats.org/officeDocument/2006/relationships/image" Target="../media/image483.png"/><Relationship Id="rId39" Type="http://schemas.openxmlformats.org/officeDocument/2006/relationships/image" Target="../media/image504.png"/><Relationship Id="rId34" Type="http://schemas.openxmlformats.org/officeDocument/2006/relationships/image" Target="../media/image499.png"/><Relationship Id="rId50" Type="http://schemas.openxmlformats.org/officeDocument/2006/relationships/image" Target="../media/image515.png"/><Relationship Id="rId55" Type="http://schemas.openxmlformats.org/officeDocument/2006/relationships/image" Target="../media/image520.png"/><Relationship Id="rId76" Type="http://schemas.openxmlformats.org/officeDocument/2006/relationships/image" Target="../media/image541.png"/><Relationship Id="rId7" Type="http://schemas.openxmlformats.org/officeDocument/2006/relationships/image" Target="../media/image472.png"/><Relationship Id="rId71" Type="http://schemas.openxmlformats.org/officeDocument/2006/relationships/image" Target="../media/image536.png"/><Relationship Id="rId2" Type="http://schemas.openxmlformats.org/officeDocument/2006/relationships/slideLayout" Target="../slideLayouts/slideLayout180.xml"/><Relationship Id="rId29" Type="http://schemas.openxmlformats.org/officeDocument/2006/relationships/image" Target="../media/image494.png"/></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58.bin"/><Relationship Id="rId7" Type="http://schemas.openxmlformats.org/officeDocument/2006/relationships/image" Target="../media/image548.png"/><Relationship Id="rId2" Type="http://schemas.openxmlformats.org/officeDocument/2006/relationships/slideLayout" Target="../slideLayouts/slideLayout180.xml"/><Relationship Id="rId1" Type="http://schemas.openxmlformats.org/officeDocument/2006/relationships/tags" Target="../tags/tag295.xml"/><Relationship Id="rId6" Type="http://schemas.openxmlformats.org/officeDocument/2006/relationships/image" Target="../media/image547.png"/><Relationship Id="rId5" Type="http://schemas.openxmlformats.org/officeDocument/2006/relationships/image" Target="../media/image546.png"/><Relationship Id="rId4" Type="http://schemas.openxmlformats.org/officeDocument/2006/relationships/image" Target="../media/image31.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72.xml"/><Relationship Id="rId1" Type="http://schemas.openxmlformats.org/officeDocument/2006/relationships/tags" Target="../tags/tag149.xml"/><Relationship Id="rId5" Type="http://schemas.openxmlformats.org/officeDocument/2006/relationships/image" Target="../media/image31.emf"/><Relationship Id="rId4" Type="http://schemas.openxmlformats.org/officeDocument/2006/relationships/oleObject" Target="../embeddings/oleObject128.bin"/></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59.bin"/><Relationship Id="rId7" Type="http://schemas.openxmlformats.org/officeDocument/2006/relationships/image" Target="../media/image551.png"/><Relationship Id="rId2" Type="http://schemas.openxmlformats.org/officeDocument/2006/relationships/slideLayout" Target="../slideLayouts/slideLayout180.xml"/><Relationship Id="rId1" Type="http://schemas.openxmlformats.org/officeDocument/2006/relationships/tags" Target="../tags/tag296.xml"/><Relationship Id="rId6" Type="http://schemas.openxmlformats.org/officeDocument/2006/relationships/image" Target="../media/image550.png"/><Relationship Id="rId5" Type="http://schemas.openxmlformats.org/officeDocument/2006/relationships/image" Target="../media/image549.png"/><Relationship Id="rId4" Type="http://schemas.openxmlformats.org/officeDocument/2006/relationships/image" Target="../media/image31.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60.bin"/><Relationship Id="rId2" Type="http://schemas.openxmlformats.org/officeDocument/2006/relationships/slideLayout" Target="../slideLayouts/slideLayout180.xml"/><Relationship Id="rId1" Type="http://schemas.openxmlformats.org/officeDocument/2006/relationships/tags" Target="../tags/tag297.xml"/><Relationship Id="rId6" Type="http://schemas.openxmlformats.org/officeDocument/2006/relationships/image" Target="../media/image553.png"/><Relationship Id="rId5" Type="http://schemas.openxmlformats.org/officeDocument/2006/relationships/image" Target="../media/image552.png"/><Relationship Id="rId4" Type="http://schemas.openxmlformats.org/officeDocument/2006/relationships/image" Target="../media/image31.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61.bin"/><Relationship Id="rId2" Type="http://schemas.openxmlformats.org/officeDocument/2006/relationships/slideLayout" Target="../slideLayouts/slideLayout180.xml"/><Relationship Id="rId1" Type="http://schemas.openxmlformats.org/officeDocument/2006/relationships/tags" Target="../tags/tag298.xml"/><Relationship Id="rId5" Type="http://schemas.openxmlformats.org/officeDocument/2006/relationships/image" Target="../media/image555.png"/><Relationship Id="rId4" Type="http://schemas.openxmlformats.org/officeDocument/2006/relationships/image" Target="../media/image554.emf"/></Relationships>
</file>

<file path=ppt/slides/_rels/slide193.xml.rels><?xml version="1.0" encoding="UTF-8" standalone="yes"?>
<Relationships xmlns="http://schemas.openxmlformats.org/package/2006/relationships"><Relationship Id="rId3" Type="http://schemas.microsoft.com/office/2018/10/relationships/comments" Target="../comments/modernComment_7FFFF9DF_5BDAB6E6.xml"/><Relationship Id="rId2" Type="http://schemas.openxmlformats.org/officeDocument/2006/relationships/slideLayout" Target="../slideLayouts/slideLayout209.xml"/><Relationship Id="rId1" Type="http://schemas.openxmlformats.org/officeDocument/2006/relationships/tags" Target="../tags/tag299.xml"/><Relationship Id="rId5" Type="http://schemas.openxmlformats.org/officeDocument/2006/relationships/image" Target="../media/image31.emf"/><Relationship Id="rId4" Type="http://schemas.openxmlformats.org/officeDocument/2006/relationships/oleObject" Target="../embeddings/oleObject262.bin"/></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63.bin"/><Relationship Id="rId2" Type="http://schemas.openxmlformats.org/officeDocument/2006/relationships/slideLayout" Target="../slideLayouts/slideLayout180.xml"/><Relationship Id="rId1" Type="http://schemas.openxmlformats.org/officeDocument/2006/relationships/tags" Target="../tags/tag300.xml"/><Relationship Id="rId4" Type="http://schemas.openxmlformats.org/officeDocument/2006/relationships/image" Target="../media/image554.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64.bin"/><Relationship Id="rId2" Type="http://schemas.openxmlformats.org/officeDocument/2006/relationships/slideLayout" Target="../slideLayouts/slideLayout180.xml"/><Relationship Id="rId1" Type="http://schemas.openxmlformats.org/officeDocument/2006/relationships/tags" Target="../tags/tag301.xml"/><Relationship Id="rId4" Type="http://schemas.openxmlformats.org/officeDocument/2006/relationships/image" Target="../media/image554.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65.bin"/><Relationship Id="rId2" Type="http://schemas.openxmlformats.org/officeDocument/2006/relationships/slideLayout" Target="../slideLayouts/slideLayout209.xml"/><Relationship Id="rId1" Type="http://schemas.openxmlformats.org/officeDocument/2006/relationships/tags" Target="../tags/tag302.xml"/><Relationship Id="rId4" Type="http://schemas.openxmlformats.org/officeDocument/2006/relationships/image" Target="../media/image31.emf"/></Relationships>
</file>

<file path=ppt/slides/_rels/slide197.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tags" Target="../tags/tag315.xml"/><Relationship Id="rId18" Type="http://schemas.openxmlformats.org/officeDocument/2006/relationships/oleObject" Target="../embeddings/oleObject266.bin"/><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tags" Target="../tags/tag314.xml"/><Relationship Id="rId17" Type="http://schemas.openxmlformats.org/officeDocument/2006/relationships/slideLayout" Target="../slideLayouts/slideLayout180.xml"/><Relationship Id="rId2" Type="http://schemas.openxmlformats.org/officeDocument/2006/relationships/tags" Target="../tags/tag304.xml"/><Relationship Id="rId16" Type="http://schemas.openxmlformats.org/officeDocument/2006/relationships/tags" Target="../tags/tag318.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tags" Target="../tags/tag313.xml"/><Relationship Id="rId5" Type="http://schemas.openxmlformats.org/officeDocument/2006/relationships/tags" Target="../tags/tag307.xml"/><Relationship Id="rId15" Type="http://schemas.openxmlformats.org/officeDocument/2006/relationships/tags" Target="../tags/tag317.xml"/><Relationship Id="rId10" Type="http://schemas.openxmlformats.org/officeDocument/2006/relationships/tags" Target="../tags/tag312.xml"/><Relationship Id="rId19" Type="http://schemas.openxmlformats.org/officeDocument/2006/relationships/image" Target="../media/image554.emf"/><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tags" Target="../tags/tag316.xml"/></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67.bin"/><Relationship Id="rId7" Type="http://schemas.openxmlformats.org/officeDocument/2006/relationships/image" Target="../media/image558.emf"/><Relationship Id="rId2" Type="http://schemas.openxmlformats.org/officeDocument/2006/relationships/slideLayout" Target="../slideLayouts/slideLayout180.xml"/><Relationship Id="rId1" Type="http://schemas.openxmlformats.org/officeDocument/2006/relationships/tags" Target="../tags/tag319.xml"/><Relationship Id="rId6" Type="http://schemas.openxmlformats.org/officeDocument/2006/relationships/image" Target="../media/image557.emf"/><Relationship Id="rId5" Type="http://schemas.openxmlformats.org/officeDocument/2006/relationships/image" Target="../media/image556.emf"/><Relationship Id="rId4" Type="http://schemas.openxmlformats.org/officeDocument/2006/relationships/image" Target="../media/image554.emf"/></Relationships>
</file>

<file path=ppt/slides/_rels/slide199.xml.rels><?xml version="1.0" encoding="UTF-8" standalone="yes"?>
<Relationships xmlns="http://schemas.openxmlformats.org/package/2006/relationships"><Relationship Id="rId8" Type="http://schemas.openxmlformats.org/officeDocument/2006/relationships/image" Target="../media/image562.png"/><Relationship Id="rId3" Type="http://schemas.openxmlformats.org/officeDocument/2006/relationships/oleObject" Target="../embeddings/oleObject268.bin"/><Relationship Id="rId7" Type="http://schemas.openxmlformats.org/officeDocument/2006/relationships/image" Target="../media/image561.png"/><Relationship Id="rId2" Type="http://schemas.openxmlformats.org/officeDocument/2006/relationships/slideLayout" Target="../slideLayouts/slideLayout180.xml"/><Relationship Id="rId1" Type="http://schemas.openxmlformats.org/officeDocument/2006/relationships/tags" Target="../tags/tag320.xml"/><Relationship Id="rId6" Type="http://schemas.openxmlformats.org/officeDocument/2006/relationships/image" Target="../media/image560.png"/><Relationship Id="rId5" Type="http://schemas.openxmlformats.org/officeDocument/2006/relationships/image" Target="../media/image559.png"/><Relationship Id="rId10" Type="http://schemas.openxmlformats.org/officeDocument/2006/relationships/image" Target="../media/image564.png"/><Relationship Id="rId4" Type="http://schemas.openxmlformats.org/officeDocument/2006/relationships/image" Target="../media/image554.emf"/><Relationship Id="rId9" Type="http://schemas.openxmlformats.org/officeDocument/2006/relationships/image" Target="../media/image563.png"/></Relationships>
</file>

<file path=ppt/slides/_rels/slide2.xml.rels><?xml version="1.0" encoding="UTF-8" standalone="yes"?>
<Relationships xmlns="http://schemas.openxmlformats.org/package/2006/relationships"><Relationship Id="rId3" Type="http://schemas.microsoft.com/office/2018/10/relationships/comments" Target="../comments/modernComment_7FFFD973_38FE641F.xml"/><Relationship Id="rId2" Type="http://schemas.openxmlformats.org/officeDocument/2006/relationships/slideLayout" Target="../slideLayouts/slideLayout172.xml"/><Relationship Id="rId1" Type="http://schemas.openxmlformats.org/officeDocument/2006/relationships/tags" Target="../tags/tag115.xml"/><Relationship Id="rId5" Type="http://schemas.openxmlformats.org/officeDocument/2006/relationships/image" Target="../media/image31.emf"/><Relationship Id="rId4" Type="http://schemas.openxmlformats.org/officeDocument/2006/relationships/oleObject" Target="../embeddings/oleObject112.bin"/></Relationships>
</file>

<file path=ppt/slides/_rels/slide20.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notesSlide" Target="../notesSlides/notesSlide19.xml"/><Relationship Id="rId7" Type="http://schemas.openxmlformats.org/officeDocument/2006/relationships/image" Target="../media/image82.png"/><Relationship Id="rId2" Type="http://schemas.openxmlformats.org/officeDocument/2006/relationships/slideLayout" Target="../slideLayouts/slideLayout172.xml"/><Relationship Id="rId1" Type="http://schemas.openxmlformats.org/officeDocument/2006/relationships/tags" Target="../tags/tag150.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31.emf"/><Relationship Id="rId10" Type="http://schemas.openxmlformats.org/officeDocument/2006/relationships/image" Target="../media/image85.png"/><Relationship Id="rId4" Type="http://schemas.openxmlformats.org/officeDocument/2006/relationships/oleObject" Target="../embeddings/oleObject129.bin"/><Relationship Id="rId9" Type="http://schemas.openxmlformats.org/officeDocument/2006/relationships/image" Target="../media/image84.png"/></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69.bin"/><Relationship Id="rId2" Type="http://schemas.openxmlformats.org/officeDocument/2006/relationships/slideLayout" Target="../slideLayouts/slideLayout209.xml"/><Relationship Id="rId1" Type="http://schemas.openxmlformats.org/officeDocument/2006/relationships/tags" Target="../tags/tag321.xml"/><Relationship Id="rId4" Type="http://schemas.openxmlformats.org/officeDocument/2006/relationships/image" Target="../media/image31.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0.bin"/><Relationship Id="rId2" Type="http://schemas.openxmlformats.org/officeDocument/2006/relationships/slideLayout" Target="../slideLayouts/slideLayout180.xml"/><Relationship Id="rId1" Type="http://schemas.openxmlformats.org/officeDocument/2006/relationships/tags" Target="../tags/tag322.xml"/><Relationship Id="rId4" Type="http://schemas.openxmlformats.org/officeDocument/2006/relationships/image" Target="../media/image554.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1.bin"/><Relationship Id="rId2" Type="http://schemas.openxmlformats.org/officeDocument/2006/relationships/slideLayout" Target="../slideLayouts/slideLayout180.xml"/><Relationship Id="rId1" Type="http://schemas.openxmlformats.org/officeDocument/2006/relationships/tags" Target="../tags/tag323.xml"/><Relationship Id="rId4" Type="http://schemas.openxmlformats.org/officeDocument/2006/relationships/image" Target="../media/image554.emf"/></Relationships>
</file>

<file path=ppt/slides/_rels/slide203.xml.rels><?xml version="1.0" encoding="UTF-8" standalone="yes"?>
<Relationships xmlns="http://schemas.openxmlformats.org/package/2006/relationships"><Relationship Id="rId8" Type="http://schemas.openxmlformats.org/officeDocument/2006/relationships/image" Target="../media/image568.emf"/><Relationship Id="rId3" Type="http://schemas.openxmlformats.org/officeDocument/2006/relationships/oleObject" Target="../embeddings/oleObject272.bin"/><Relationship Id="rId7" Type="http://schemas.openxmlformats.org/officeDocument/2006/relationships/image" Target="../media/image567.emf"/><Relationship Id="rId2" Type="http://schemas.openxmlformats.org/officeDocument/2006/relationships/slideLayout" Target="../slideLayouts/slideLayout180.xml"/><Relationship Id="rId1" Type="http://schemas.openxmlformats.org/officeDocument/2006/relationships/tags" Target="../tags/tag324.xml"/><Relationship Id="rId6" Type="http://schemas.openxmlformats.org/officeDocument/2006/relationships/image" Target="../media/image566.emf"/><Relationship Id="rId5" Type="http://schemas.openxmlformats.org/officeDocument/2006/relationships/image" Target="../media/image565.emf"/><Relationship Id="rId10" Type="http://schemas.openxmlformats.org/officeDocument/2006/relationships/image" Target="../media/image570.emf"/><Relationship Id="rId4" Type="http://schemas.openxmlformats.org/officeDocument/2006/relationships/image" Target="../media/image554.emf"/><Relationship Id="rId9" Type="http://schemas.openxmlformats.org/officeDocument/2006/relationships/image" Target="../media/image569.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3.bin"/><Relationship Id="rId2" Type="http://schemas.openxmlformats.org/officeDocument/2006/relationships/slideLayout" Target="../slideLayouts/slideLayout180.xml"/><Relationship Id="rId1" Type="http://schemas.openxmlformats.org/officeDocument/2006/relationships/tags" Target="../tags/tag325.xml"/><Relationship Id="rId6" Type="http://schemas.openxmlformats.org/officeDocument/2006/relationships/image" Target="../media/image572.png"/><Relationship Id="rId5" Type="http://schemas.openxmlformats.org/officeDocument/2006/relationships/image" Target="../media/image571.jpeg"/><Relationship Id="rId4" Type="http://schemas.openxmlformats.org/officeDocument/2006/relationships/image" Target="../media/image554.emf"/></Relationships>
</file>

<file path=ppt/slides/_rels/slide205.xml.rels><?xml version="1.0" encoding="UTF-8" standalone="yes"?>
<Relationships xmlns="http://schemas.openxmlformats.org/package/2006/relationships"><Relationship Id="rId3" Type="http://schemas.microsoft.com/office/2018/10/relationships/comments" Target="../comments/modernComment_7FFFF9EB_9BF04F45.xml"/><Relationship Id="rId2" Type="http://schemas.openxmlformats.org/officeDocument/2006/relationships/slideLayout" Target="../slideLayouts/slideLayout209.xml"/><Relationship Id="rId1" Type="http://schemas.openxmlformats.org/officeDocument/2006/relationships/tags" Target="../tags/tag326.xml"/><Relationship Id="rId5" Type="http://schemas.openxmlformats.org/officeDocument/2006/relationships/image" Target="../media/image31.emf"/><Relationship Id="rId4" Type="http://schemas.openxmlformats.org/officeDocument/2006/relationships/oleObject" Target="../embeddings/oleObject274.bin"/></Relationships>
</file>

<file path=ppt/slides/_rels/slide206.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notesSlide" Target="../notesSlides/notesSlide170.xml"/><Relationship Id="rId7" Type="http://schemas.openxmlformats.org/officeDocument/2006/relationships/chart" Target="../charts/chart7.xml"/><Relationship Id="rId2" Type="http://schemas.openxmlformats.org/officeDocument/2006/relationships/slideLayout" Target="../slideLayouts/slideLayout180.xml"/><Relationship Id="rId1" Type="http://schemas.openxmlformats.org/officeDocument/2006/relationships/tags" Target="../tags/tag327.xml"/><Relationship Id="rId6" Type="http://schemas.openxmlformats.org/officeDocument/2006/relationships/chart" Target="../charts/chart6.xml"/><Relationship Id="rId5" Type="http://schemas.openxmlformats.org/officeDocument/2006/relationships/image" Target="../media/image31.emf"/><Relationship Id="rId10" Type="http://schemas.openxmlformats.org/officeDocument/2006/relationships/hyperlink" Target="https://www2.deloitte.com/us/en/pages/operations/articles/shared-services-survey.html" TargetMode="External"/><Relationship Id="rId4" Type="http://schemas.openxmlformats.org/officeDocument/2006/relationships/oleObject" Target="../embeddings/oleObject275.bin"/><Relationship Id="rId9" Type="http://schemas.openxmlformats.org/officeDocument/2006/relationships/chart" Target="../charts/chart9.xml"/></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6.bin"/><Relationship Id="rId7" Type="http://schemas.openxmlformats.org/officeDocument/2006/relationships/image" Target="../media/image575.png"/><Relationship Id="rId2" Type="http://schemas.openxmlformats.org/officeDocument/2006/relationships/slideLayout" Target="../slideLayouts/slideLayout180.xml"/><Relationship Id="rId1" Type="http://schemas.openxmlformats.org/officeDocument/2006/relationships/tags" Target="../tags/tag328.xml"/><Relationship Id="rId6" Type="http://schemas.openxmlformats.org/officeDocument/2006/relationships/image" Target="../media/image574.png"/><Relationship Id="rId5" Type="http://schemas.openxmlformats.org/officeDocument/2006/relationships/image" Target="../media/image573.png"/><Relationship Id="rId4" Type="http://schemas.openxmlformats.org/officeDocument/2006/relationships/image" Target="../media/image31.emf"/></Relationships>
</file>

<file path=ppt/slides/_rels/slide208.xml.rels><?xml version="1.0" encoding="UTF-8" standalone="yes"?>
<Relationships xmlns="http://schemas.openxmlformats.org/package/2006/relationships"><Relationship Id="rId8" Type="http://schemas.openxmlformats.org/officeDocument/2006/relationships/image" Target="../media/image578.png"/><Relationship Id="rId3" Type="http://schemas.openxmlformats.org/officeDocument/2006/relationships/notesSlide" Target="../notesSlides/notesSlide171.xml"/><Relationship Id="rId7" Type="http://schemas.openxmlformats.org/officeDocument/2006/relationships/image" Target="../media/image577.png"/><Relationship Id="rId2" Type="http://schemas.openxmlformats.org/officeDocument/2006/relationships/slideLayout" Target="../slideLayouts/slideLayout180.xml"/><Relationship Id="rId1" Type="http://schemas.openxmlformats.org/officeDocument/2006/relationships/tags" Target="../tags/tag329.xml"/><Relationship Id="rId6" Type="http://schemas.openxmlformats.org/officeDocument/2006/relationships/image" Target="../media/image576.png"/><Relationship Id="rId5" Type="http://schemas.openxmlformats.org/officeDocument/2006/relationships/image" Target="../media/image31.emf"/><Relationship Id="rId4" Type="http://schemas.openxmlformats.org/officeDocument/2006/relationships/oleObject" Target="../embeddings/oleObject277.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180.xml"/><Relationship Id="rId1" Type="http://schemas.openxmlformats.org/officeDocument/2006/relationships/tags" Target="../tags/tag330.xml"/><Relationship Id="rId5" Type="http://schemas.openxmlformats.org/officeDocument/2006/relationships/image" Target="../media/image31.emf"/><Relationship Id="rId4" Type="http://schemas.openxmlformats.org/officeDocument/2006/relationships/oleObject" Target="../embeddings/oleObject278.bin"/></Relationships>
</file>

<file path=ppt/slides/_rels/slide21.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20.xml"/><Relationship Id="rId7" Type="http://schemas.openxmlformats.org/officeDocument/2006/relationships/image" Target="../media/image88.png"/><Relationship Id="rId2" Type="http://schemas.openxmlformats.org/officeDocument/2006/relationships/slideLayout" Target="../slideLayouts/slideLayout172.xml"/><Relationship Id="rId1" Type="http://schemas.openxmlformats.org/officeDocument/2006/relationships/tags" Target="../tags/tag151.xml"/><Relationship Id="rId6" Type="http://schemas.openxmlformats.org/officeDocument/2006/relationships/image" Target="../media/image87.png"/><Relationship Id="rId5" Type="http://schemas.openxmlformats.org/officeDocument/2006/relationships/image" Target="../media/image31.emf"/><Relationship Id="rId10" Type="http://schemas.openxmlformats.org/officeDocument/2006/relationships/image" Target="../media/image55.png"/><Relationship Id="rId4" Type="http://schemas.openxmlformats.org/officeDocument/2006/relationships/oleObject" Target="../embeddings/oleObject130.bin"/><Relationship Id="rId9" Type="http://schemas.openxmlformats.org/officeDocument/2006/relationships/image" Target="../media/image90.png"/></Relationships>
</file>

<file path=ppt/slides/_rels/slide210.xml.rels><?xml version="1.0" encoding="UTF-8" standalone="yes"?>
<Relationships xmlns="http://schemas.openxmlformats.org/package/2006/relationships"><Relationship Id="rId8" Type="http://schemas.openxmlformats.org/officeDocument/2006/relationships/image" Target="../media/image582.png"/><Relationship Id="rId3" Type="http://schemas.openxmlformats.org/officeDocument/2006/relationships/oleObject" Target="../embeddings/oleObject279.bin"/><Relationship Id="rId7" Type="http://schemas.openxmlformats.org/officeDocument/2006/relationships/image" Target="../media/image581.png"/><Relationship Id="rId2" Type="http://schemas.openxmlformats.org/officeDocument/2006/relationships/slideLayout" Target="../slideLayouts/slideLayout180.xml"/><Relationship Id="rId1" Type="http://schemas.openxmlformats.org/officeDocument/2006/relationships/tags" Target="../tags/tag331.xml"/><Relationship Id="rId6" Type="http://schemas.openxmlformats.org/officeDocument/2006/relationships/image" Target="../media/image580.png"/><Relationship Id="rId5" Type="http://schemas.openxmlformats.org/officeDocument/2006/relationships/image" Target="../media/image579.png"/><Relationship Id="rId4" Type="http://schemas.openxmlformats.org/officeDocument/2006/relationships/image" Target="../media/image554.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80.bin"/><Relationship Id="rId2" Type="http://schemas.openxmlformats.org/officeDocument/2006/relationships/slideLayout" Target="../slideLayouts/slideLayout209.xml"/><Relationship Id="rId1" Type="http://schemas.openxmlformats.org/officeDocument/2006/relationships/tags" Target="../tags/tag332.xml"/><Relationship Id="rId4" Type="http://schemas.openxmlformats.org/officeDocument/2006/relationships/image" Target="../media/image31.emf"/></Relationships>
</file>

<file path=ppt/slides/_rels/slide212.xml.rels><?xml version="1.0" encoding="UTF-8" standalone="yes"?>
<Relationships xmlns="http://schemas.openxmlformats.org/package/2006/relationships"><Relationship Id="rId8" Type="http://schemas.openxmlformats.org/officeDocument/2006/relationships/image" Target="../media/image585.png"/><Relationship Id="rId3" Type="http://schemas.openxmlformats.org/officeDocument/2006/relationships/notesSlide" Target="../notesSlides/notesSlide173.xml"/><Relationship Id="rId7" Type="http://schemas.openxmlformats.org/officeDocument/2006/relationships/image" Target="../media/image584.png"/><Relationship Id="rId2" Type="http://schemas.openxmlformats.org/officeDocument/2006/relationships/slideLayout" Target="../slideLayouts/slideLayout180.xml"/><Relationship Id="rId1" Type="http://schemas.openxmlformats.org/officeDocument/2006/relationships/tags" Target="../tags/tag333.xml"/><Relationship Id="rId6" Type="http://schemas.openxmlformats.org/officeDocument/2006/relationships/image" Target="../media/image583.png"/><Relationship Id="rId5" Type="http://schemas.openxmlformats.org/officeDocument/2006/relationships/image" Target="../media/image31.emf"/><Relationship Id="rId10" Type="http://schemas.openxmlformats.org/officeDocument/2006/relationships/image" Target="../media/image587.png"/><Relationship Id="rId4" Type="http://schemas.openxmlformats.org/officeDocument/2006/relationships/oleObject" Target="../embeddings/oleObject281.bin"/><Relationship Id="rId9" Type="http://schemas.openxmlformats.org/officeDocument/2006/relationships/image" Target="../media/image586.png"/></Relationships>
</file>

<file path=ppt/slides/_rels/slide213.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174.xml"/><Relationship Id="rId7" Type="http://schemas.openxmlformats.org/officeDocument/2006/relationships/diagramLayout" Target="../diagrams/layout3.xml"/><Relationship Id="rId2" Type="http://schemas.openxmlformats.org/officeDocument/2006/relationships/slideLayout" Target="../slideLayouts/slideLayout180.xml"/><Relationship Id="rId1" Type="http://schemas.openxmlformats.org/officeDocument/2006/relationships/tags" Target="../tags/tag334.xml"/><Relationship Id="rId6" Type="http://schemas.openxmlformats.org/officeDocument/2006/relationships/diagramData" Target="../diagrams/data3.xml"/><Relationship Id="rId5" Type="http://schemas.openxmlformats.org/officeDocument/2006/relationships/image" Target="../media/image31.emf"/><Relationship Id="rId10" Type="http://schemas.microsoft.com/office/2007/relationships/diagramDrawing" Target="../diagrams/drawing3.xml"/><Relationship Id="rId4" Type="http://schemas.openxmlformats.org/officeDocument/2006/relationships/oleObject" Target="../embeddings/oleObject282.bin"/><Relationship Id="rId9" Type="http://schemas.openxmlformats.org/officeDocument/2006/relationships/diagramColors" Target="../diagrams/colors3.xml"/></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83.bin"/><Relationship Id="rId2" Type="http://schemas.openxmlformats.org/officeDocument/2006/relationships/slideLayout" Target="../slideLayouts/slideLayout209.xml"/><Relationship Id="rId1" Type="http://schemas.openxmlformats.org/officeDocument/2006/relationships/tags" Target="../tags/tag335.xml"/><Relationship Id="rId4" Type="http://schemas.openxmlformats.org/officeDocument/2006/relationships/image" Target="../media/image31.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84.bin"/><Relationship Id="rId2" Type="http://schemas.openxmlformats.org/officeDocument/2006/relationships/slideLayout" Target="../slideLayouts/slideLayout180.xml"/><Relationship Id="rId1" Type="http://schemas.openxmlformats.org/officeDocument/2006/relationships/tags" Target="../tags/tag336.xml"/><Relationship Id="rId6" Type="http://schemas.microsoft.com/office/2007/relationships/hdphoto" Target="../media/hdphoto13.wdp"/><Relationship Id="rId5" Type="http://schemas.openxmlformats.org/officeDocument/2006/relationships/image" Target="../media/image588.png"/><Relationship Id="rId4" Type="http://schemas.openxmlformats.org/officeDocument/2006/relationships/image" Target="../media/image554.emf"/></Relationships>
</file>

<file path=ppt/slides/_rels/slide216.xml.rels><?xml version="1.0" encoding="UTF-8" standalone="yes"?>
<Relationships xmlns="http://schemas.openxmlformats.org/package/2006/relationships"><Relationship Id="rId8" Type="http://schemas.openxmlformats.org/officeDocument/2006/relationships/image" Target="../media/image592.png"/><Relationship Id="rId3" Type="http://schemas.openxmlformats.org/officeDocument/2006/relationships/oleObject" Target="../embeddings/oleObject285.bin"/><Relationship Id="rId7" Type="http://schemas.openxmlformats.org/officeDocument/2006/relationships/image" Target="../media/image591.png"/><Relationship Id="rId12" Type="http://schemas.openxmlformats.org/officeDocument/2006/relationships/image" Target="../media/image596.svg"/><Relationship Id="rId2" Type="http://schemas.openxmlformats.org/officeDocument/2006/relationships/slideLayout" Target="../slideLayouts/slideLayout180.xml"/><Relationship Id="rId1" Type="http://schemas.openxmlformats.org/officeDocument/2006/relationships/tags" Target="../tags/tag337.xml"/><Relationship Id="rId6" Type="http://schemas.openxmlformats.org/officeDocument/2006/relationships/image" Target="../media/image590.png"/><Relationship Id="rId11" Type="http://schemas.openxmlformats.org/officeDocument/2006/relationships/image" Target="../media/image595.png"/><Relationship Id="rId5" Type="http://schemas.openxmlformats.org/officeDocument/2006/relationships/image" Target="../media/image589.png"/><Relationship Id="rId10" Type="http://schemas.openxmlformats.org/officeDocument/2006/relationships/image" Target="../media/image594.png"/><Relationship Id="rId4" Type="http://schemas.openxmlformats.org/officeDocument/2006/relationships/image" Target="../media/image554.emf"/><Relationship Id="rId9" Type="http://schemas.openxmlformats.org/officeDocument/2006/relationships/image" Target="../media/image593.jpeg"/></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86.bin"/><Relationship Id="rId2" Type="http://schemas.openxmlformats.org/officeDocument/2006/relationships/slideLayout" Target="../slideLayouts/slideLayout180.xml"/><Relationship Id="rId1" Type="http://schemas.openxmlformats.org/officeDocument/2006/relationships/tags" Target="../tags/tag338.xml"/><Relationship Id="rId4" Type="http://schemas.openxmlformats.org/officeDocument/2006/relationships/image" Target="../media/image31.emf"/></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175.xml"/><Relationship Id="rId7" Type="http://schemas.openxmlformats.org/officeDocument/2006/relationships/image" Target="../media/image598.png"/><Relationship Id="rId2" Type="http://schemas.openxmlformats.org/officeDocument/2006/relationships/slideLayout" Target="../slideLayouts/slideLayout180.xml"/><Relationship Id="rId1" Type="http://schemas.openxmlformats.org/officeDocument/2006/relationships/tags" Target="../tags/tag339.xml"/><Relationship Id="rId6" Type="http://schemas.openxmlformats.org/officeDocument/2006/relationships/image" Target="../media/image597.png"/><Relationship Id="rId5" Type="http://schemas.openxmlformats.org/officeDocument/2006/relationships/image" Target="../media/image554.emf"/><Relationship Id="rId4" Type="http://schemas.openxmlformats.org/officeDocument/2006/relationships/oleObject" Target="../embeddings/oleObject287.bin"/></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88.bin"/><Relationship Id="rId2" Type="http://schemas.openxmlformats.org/officeDocument/2006/relationships/slideLayout" Target="../slideLayouts/slideLayout180.xml"/><Relationship Id="rId1" Type="http://schemas.openxmlformats.org/officeDocument/2006/relationships/tags" Target="../tags/tag340.xml"/><Relationship Id="rId5" Type="http://schemas.openxmlformats.org/officeDocument/2006/relationships/image" Target="../media/image599.png"/><Relationship Id="rId4" Type="http://schemas.openxmlformats.org/officeDocument/2006/relationships/image" Target="../media/image554.emf"/></Relationships>
</file>

<file path=ppt/slides/_rels/slide22.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55.png"/><Relationship Id="rId3" Type="http://schemas.openxmlformats.org/officeDocument/2006/relationships/notesSlide" Target="../notesSlides/notesSlide21.xml"/><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slideLayout" Target="../slideLayouts/slideLayout172.xml"/><Relationship Id="rId1" Type="http://schemas.openxmlformats.org/officeDocument/2006/relationships/tags" Target="../tags/tag152.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31.emf"/><Relationship Id="rId10" Type="http://schemas.openxmlformats.org/officeDocument/2006/relationships/image" Target="../media/image95.png"/><Relationship Id="rId4" Type="http://schemas.openxmlformats.org/officeDocument/2006/relationships/oleObject" Target="../embeddings/oleObject131.bin"/><Relationship Id="rId9" Type="http://schemas.openxmlformats.org/officeDocument/2006/relationships/image" Target="../media/image94.png"/></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89.bin"/><Relationship Id="rId2" Type="http://schemas.openxmlformats.org/officeDocument/2006/relationships/slideLayout" Target="../slideLayouts/slideLayout180.xml"/><Relationship Id="rId1" Type="http://schemas.openxmlformats.org/officeDocument/2006/relationships/tags" Target="../tags/tag341.xml"/><Relationship Id="rId4" Type="http://schemas.openxmlformats.org/officeDocument/2006/relationships/image" Target="../media/image554.emf"/></Relationships>
</file>

<file path=ppt/slides/_rels/slide221.xml.rels><?xml version="1.0" encoding="UTF-8" standalone="yes"?>
<Relationships xmlns="http://schemas.openxmlformats.org/package/2006/relationships"><Relationship Id="rId3" Type="http://schemas.microsoft.com/office/2018/10/relationships/comments" Target="../comments/modernComment_7FFFF9F7_AD9554E.xml"/><Relationship Id="rId2" Type="http://schemas.openxmlformats.org/officeDocument/2006/relationships/slideLayout" Target="../slideLayouts/slideLayout209.xml"/><Relationship Id="rId1" Type="http://schemas.openxmlformats.org/officeDocument/2006/relationships/tags" Target="../tags/tag342.xml"/><Relationship Id="rId5" Type="http://schemas.openxmlformats.org/officeDocument/2006/relationships/image" Target="../media/image31.emf"/><Relationship Id="rId4" Type="http://schemas.openxmlformats.org/officeDocument/2006/relationships/oleObject" Target="../embeddings/oleObject290.bin"/></Relationships>
</file>

<file path=ppt/slides/_rels/slide222.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600.emf"/><Relationship Id="rId5" Type="http://schemas.openxmlformats.org/officeDocument/2006/relationships/oleObject" Target="../embeddings/oleObject291.bin"/><Relationship Id="rId4" Type="http://schemas.openxmlformats.org/officeDocument/2006/relationships/slideLayout" Target="../slideLayouts/slideLayout182.xml"/></Relationships>
</file>

<file path=ppt/slides/_rels/slide223.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image" Target="../media/image32.emf"/><Relationship Id="rId5" Type="http://schemas.openxmlformats.org/officeDocument/2006/relationships/tags" Target="../tags/tag350.xml"/><Relationship Id="rId10" Type="http://schemas.openxmlformats.org/officeDocument/2006/relationships/oleObject" Target="../embeddings/oleObject292.bin"/><Relationship Id="rId4" Type="http://schemas.openxmlformats.org/officeDocument/2006/relationships/tags" Target="../tags/tag349.xml"/><Relationship Id="rId9" Type="http://schemas.openxmlformats.org/officeDocument/2006/relationships/slideLayout" Target="../slideLayouts/slideLayout182.xml"/></Relationships>
</file>

<file path=ppt/slides/_rels/slide224.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600.emf"/><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oleObject" Target="../embeddings/oleObject293.bin"/><Relationship Id="rId5" Type="http://schemas.openxmlformats.org/officeDocument/2006/relationships/slideLayout" Target="../slideLayouts/slideLayout182.xml"/><Relationship Id="rId4" Type="http://schemas.openxmlformats.org/officeDocument/2006/relationships/tags" Target="../tags/tag357.xml"/></Relationships>
</file>

<file path=ppt/slides/_rels/slide22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32.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oleObject" Target="../embeddings/oleObject294.bin"/><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notesSlide" Target="../notesSlides/notesSlide176.xml"/><Relationship Id="rId5" Type="http://schemas.openxmlformats.org/officeDocument/2006/relationships/tags" Target="../tags/tag362.xml"/><Relationship Id="rId10" Type="http://schemas.openxmlformats.org/officeDocument/2006/relationships/slideLayout" Target="../slideLayouts/slideLayout182.xml"/><Relationship Id="rId4" Type="http://schemas.openxmlformats.org/officeDocument/2006/relationships/tags" Target="../tags/tag361.xml"/><Relationship Id="rId9" Type="http://schemas.openxmlformats.org/officeDocument/2006/relationships/tags" Target="../tags/tag366.xml"/></Relationships>
</file>

<file path=ppt/slides/_rels/slide226.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oleObject" Target="../embeddings/oleObject295.bin"/><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slideLayout" Target="../slideLayouts/slideLayout182.xml"/><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chart" Target="../charts/chart10.xml"/><Relationship Id="rId10" Type="http://schemas.openxmlformats.org/officeDocument/2006/relationships/tags" Target="../tags/tag376.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image" Target="../media/image600.emf"/></Relationships>
</file>

<file path=ppt/slides/_rels/slide227.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image" Target="../media/image600.emf"/><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oleObject" Target="../embeddings/oleObject296.bin"/><Relationship Id="rId5" Type="http://schemas.openxmlformats.org/officeDocument/2006/relationships/slideLayout" Target="../slideLayouts/slideLayout182.xml"/><Relationship Id="rId4" Type="http://schemas.openxmlformats.org/officeDocument/2006/relationships/tags" Target="../tags/tag381.xml"/></Relationships>
</file>

<file path=ppt/slides/_rels/slide228.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image" Target="../media/image32.emf"/><Relationship Id="rId3" Type="http://schemas.openxmlformats.org/officeDocument/2006/relationships/tags" Target="../tags/tag384.xml"/><Relationship Id="rId7" Type="http://schemas.openxmlformats.org/officeDocument/2006/relationships/tags" Target="../tags/tag388.xml"/><Relationship Id="rId12" Type="http://schemas.openxmlformats.org/officeDocument/2006/relationships/oleObject" Target="../embeddings/oleObject297.bin"/><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tags" Target="../tags/tag387.xml"/><Relationship Id="rId11" Type="http://schemas.openxmlformats.org/officeDocument/2006/relationships/slideLayout" Target="../slideLayouts/slideLayout182.xml"/><Relationship Id="rId5" Type="http://schemas.openxmlformats.org/officeDocument/2006/relationships/tags" Target="../tags/tag386.xml"/><Relationship Id="rId10" Type="http://schemas.openxmlformats.org/officeDocument/2006/relationships/tags" Target="../tags/tag391.xml"/><Relationship Id="rId4" Type="http://schemas.openxmlformats.org/officeDocument/2006/relationships/tags" Target="../tags/tag385.xml"/><Relationship Id="rId9" Type="http://schemas.openxmlformats.org/officeDocument/2006/relationships/tags" Target="../tags/tag390.xml"/></Relationships>
</file>

<file path=ppt/slides/_rels/slide229.xml.rels><?xml version="1.0" encoding="UTF-8" standalone="yes"?>
<Relationships xmlns="http://schemas.openxmlformats.org/package/2006/relationships"><Relationship Id="rId3" Type="http://schemas.microsoft.com/office/2018/10/relationships/comments" Target="../comments/modernComment_7FFFF984_8A2FBF95.xml"/><Relationship Id="rId2" Type="http://schemas.openxmlformats.org/officeDocument/2006/relationships/slideLayout" Target="../slideLayouts/slideLayout209.xml"/><Relationship Id="rId1" Type="http://schemas.openxmlformats.org/officeDocument/2006/relationships/tags" Target="../tags/tag392.xml"/><Relationship Id="rId5" Type="http://schemas.openxmlformats.org/officeDocument/2006/relationships/image" Target="../media/image31.emf"/><Relationship Id="rId4" Type="http://schemas.openxmlformats.org/officeDocument/2006/relationships/oleObject" Target="../embeddings/oleObject298.bin"/></Relationships>
</file>

<file path=ppt/slides/_rels/slide23.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notesSlide" Target="../notesSlides/notesSlide22.xml"/><Relationship Id="rId7" Type="http://schemas.openxmlformats.org/officeDocument/2006/relationships/image" Target="../media/image99.png"/><Relationship Id="rId2" Type="http://schemas.openxmlformats.org/officeDocument/2006/relationships/slideLayout" Target="../slideLayouts/slideLayout172.xml"/><Relationship Id="rId1" Type="http://schemas.openxmlformats.org/officeDocument/2006/relationships/tags" Target="../tags/tag153.xml"/><Relationship Id="rId6" Type="http://schemas.openxmlformats.org/officeDocument/2006/relationships/image" Target="../media/image98.png"/><Relationship Id="rId5" Type="http://schemas.openxmlformats.org/officeDocument/2006/relationships/image" Target="../media/image31.emf"/><Relationship Id="rId10" Type="http://schemas.openxmlformats.org/officeDocument/2006/relationships/image" Target="../media/image55.png"/><Relationship Id="rId4" Type="http://schemas.openxmlformats.org/officeDocument/2006/relationships/oleObject" Target="../embeddings/oleObject132.bin"/><Relationship Id="rId9" Type="http://schemas.openxmlformats.org/officeDocument/2006/relationships/image" Target="../media/image101.png"/></Relationships>
</file>

<file path=ppt/slides/_rels/slide230.xml.rels><?xml version="1.0" encoding="UTF-8" standalone="yes"?>
<Relationships xmlns="http://schemas.openxmlformats.org/package/2006/relationships"><Relationship Id="rId8" Type="http://schemas.openxmlformats.org/officeDocument/2006/relationships/image" Target="../media/image604.svg"/><Relationship Id="rId13" Type="http://schemas.openxmlformats.org/officeDocument/2006/relationships/image" Target="../media/image609.png"/><Relationship Id="rId18" Type="http://schemas.openxmlformats.org/officeDocument/2006/relationships/image" Target="../media/image614.svg"/><Relationship Id="rId3" Type="http://schemas.openxmlformats.org/officeDocument/2006/relationships/oleObject" Target="../embeddings/oleObject299.bin"/><Relationship Id="rId21" Type="http://schemas.openxmlformats.org/officeDocument/2006/relationships/image" Target="../media/image617.png"/><Relationship Id="rId7" Type="http://schemas.openxmlformats.org/officeDocument/2006/relationships/image" Target="../media/image603.png"/><Relationship Id="rId12" Type="http://schemas.openxmlformats.org/officeDocument/2006/relationships/image" Target="../media/image608.svg"/><Relationship Id="rId17" Type="http://schemas.openxmlformats.org/officeDocument/2006/relationships/image" Target="../media/image613.png"/><Relationship Id="rId2" Type="http://schemas.openxmlformats.org/officeDocument/2006/relationships/slideLayout" Target="../slideLayouts/slideLayout180.xml"/><Relationship Id="rId16" Type="http://schemas.openxmlformats.org/officeDocument/2006/relationships/image" Target="../media/image612.svg"/><Relationship Id="rId20" Type="http://schemas.openxmlformats.org/officeDocument/2006/relationships/image" Target="../media/image616.svg"/><Relationship Id="rId1" Type="http://schemas.openxmlformats.org/officeDocument/2006/relationships/tags" Target="../tags/tag393.xml"/><Relationship Id="rId6" Type="http://schemas.openxmlformats.org/officeDocument/2006/relationships/image" Target="../media/image602.svg"/><Relationship Id="rId11" Type="http://schemas.openxmlformats.org/officeDocument/2006/relationships/image" Target="../media/image607.png"/><Relationship Id="rId5" Type="http://schemas.openxmlformats.org/officeDocument/2006/relationships/image" Target="../media/image601.png"/><Relationship Id="rId15" Type="http://schemas.openxmlformats.org/officeDocument/2006/relationships/image" Target="../media/image611.png"/><Relationship Id="rId10" Type="http://schemas.openxmlformats.org/officeDocument/2006/relationships/image" Target="../media/image606.svg"/><Relationship Id="rId19" Type="http://schemas.openxmlformats.org/officeDocument/2006/relationships/image" Target="../media/image615.png"/><Relationship Id="rId4" Type="http://schemas.openxmlformats.org/officeDocument/2006/relationships/image" Target="../media/image31.emf"/><Relationship Id="rId9" Type="http://schemas.openxmlformats.org/officeDocument/2006/relationships/image" Target="../media/image605.png"/><Relationship Id="rId14" Type="http://schemas.openxmlformats.org/officeDocument/2006/relationships/image" Target="../media/image610.svg"/><Relationship Id="rId22" Type="http://schemas.openxmlformats.org/officeDocument/2006/relationships/image" Target="../media/image618.svg"/></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300.bin"/><Relationship Id="rId2" Type="http://schemas.openxmlformats.org/officeDocument/2006/relationships/slideLayout" Target="../slideLayouts/slideLayout180.xml"/><Relationship Id="rId1" Type="http://schemas.openxmlformats.org/officeDocument/2006/relationships/tags" Target="../tags/tag394.xml"/><Relationship Id="rId4" Type="http://schemas.openxmlformats.org/officeDocument/2006/relationships/image" Target="../media/image554.emf"/></Relationships>
</file>

<file path=ppt/slides/_rels/slide232.xml.rels><?xml version="1.0" encoding="UTF-8" standalone="yes"?>
<Relationships xmlns="http://schemas.openxmlformats.org/package/2006/relationships"><Relationship Id="rId8" Type="http://schemas.openxmlformats.org/officeDocument/2006/relationships/image" Target="../media/image622.svg"/><Relationship Id="rId13" Type="http://schemas.openxmlformats.org/officeDocument/2006/relationships/image" Target="../media/image627.png"/><Relationship Id="rId18" Type="http://schemas.openxmlformats.org/officeDocument/2006/relationships/image" Target="../media/image632.svg"/><Relationship Id="rId3" Type="http://schemas.openxmlformats.org/officeDocument/2006/relationships/oleObject" Target="../embeddings/oleObject301.bin"/><Relationship Id="rId7" Type="http://schemas.openxmlformats.org/officeDocument/2006/relationships/image" Target="../media/image621.png"/><Relationship Id="rId12" Type="http://schemas.openxmlformats.org/officeDocument/2006/relationships/image" Target="../media/image626.svg"/><Relationship Id="rId17" Type="http://schemas.openxmlformats.org/officeDocument/2006/relationships/image" Target="../media/image631.png"/><Relationship Id="rId2" Type="http://schemas.openxmlformats.org/officeDocument/2006/relationships/slideLayout" Target="../slideLayouts/slideLayout180.xml"/><Relationship Id="rId16" Type="http://schemas.openxmlformats.org/officeDocument/2006/relationships/image" Target="../media/image630.svg"/><Relationship Id="rId1" Type="http://schemas.openxmlformats.org/officeDocument/2006/relationships/tags" Target="../tags/tag395.xml"/><Relationship Id="rId6" Type="http://schemas.openxmlformats.org/officeDocument/2006/relationships/image" Target="../media/image620.svg"/><Relationship Id="rId11" Type="http://schemas.openxmlformats.org/officeDocument/2006/relationships/image" Target="../media/image625.png"/><Relationship Id="rId5" Type="http://schemas.openxmlformats.org/officeDocument/2006/relationships/image" Target="../media/image619.png"/><Relationship Id="rId15" Type="http://schemas.openxmlformats.org/officeDocument/2006/relationships/image" Target="../media/image629.png"/><Relationship Id="rId10" Type="http://schemas.openxmlformats.org/officeDocument/2006/relationships/image" Target="../media/image624.svg"/><Relationship Id="rId4" Type="http://schemas.openxmlformats.org/officeDocument/2006/relationships/image" Target="../media/image554.emf"/><Relationship Id="rId9" Type="http://schemas.openxmlformats.org/officeDocument/2006/relationships/image" Target="../media/image623.png"/><Relationship Id="rId14" Type="http://schemas.openxmlformats.org/officeDocument/2006/relationships/image" Target="../media/image628.svg"/></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Layout" Target="../slideLayouts/slideLayout180.xml"/><Relationship Id="rId1" Type="http://schemas.openxmlformats.org/officeDocument/2006/relationships/tags" Target="../tags/tag396.xml"/><Relationship Id="rId4" Type="http://schemas.openxmlformats.org/officeDocument/2006/relationships/image" Target="../media/image554.emf"/></Relationships>
</file>

<file path=ppt/slides/_rels/slide234.xml.rels><?xml version="1.0" encoding="UTF-8" standalone="yes"?>
<Relationships xmlns="http://schemas.openxmlformats.org/package/2006/relationships"><Relationship Id="rId8" Type="http://schemas.openxmlformats.org/officeDocument/2006/relationships/image" Target="../media/image636.svg"/><Relationship Id="rId13" Type="http://schemas.openxmlformats.org/officeDocument/2006/relationships/image" Target="../media/image641.png"/><Relationship Id="rId3" Type="http://schemas.openxmlformats.org/officeDocument/2006/relationships/oleObject" Target="../embeddings/oleObject303.bin"/><Relationship Id="rId7" Type="http://schemas.openxmlformats.org/officeDocument/2006/relationships/image" Target="../media/image635.png"/><Relationship Id="rId12" Type="http://schemas.openxmlformats.org/officeDocument/2006/relationships/image" Target="../media/image640.svg"/><Relationship Id="rId2" Type="http://schemas.openxmlformats.org/officeDocument/2006/relationships/slideLayout" Target="../slideLayouts/slideLayout180.xml"/><Relationship Id="rId16" Type="http://schemas.openxmlformats.org/officeDocument/2006/relationships/image" Target="../media/image644.svg"/><Relationship Id="rId1" Type="http://schemas.openxmlformats.org/officeDocument/2006/relationships/tags" Target="../tags/tag397.xml"/><Relationship Id="rId6" Type="http://schemas.openxmlformats.org/officeDocument/2006/relationships/image" Target="../media/image634.svg"/><Relationship Id="rId11" Type="http://schemas.openxmlformats.org/officeDocument/2006/relationships/image" Target="../media/image639.png"/><Relationship Id="rId5" Type="http://schemas.openxmlformats.org/officeDocument/2006/relationships/image" Target="../media/image633.png"/><Relationship Id="rId15" Type="http://schemas.openxmlformats.org/officeDocument/2006/relationships/image" Target="../media/image643.png"/><Relationship Id="rId10" Type="http://schemas.openxmlformats.org/officeDocument/2006/relationships/image" Target="../media/image638.svg"/><Relationship Id="rId4" Type="http://schemas.openxmlformats.org/officeDocument/2006/relationships/image" Target="../media/image554.emf"/><Relationship Id="rId9" Type="http://schemas.openxmlformats.org/officeDocument/2006/relationships/image" Target="../media/image637.png"/><Relationship Id="rId14" Type="http://schemas.openxmlformats.org/officeDocument/2006/relationships/image" Target="../media/image642.svg"/></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304.bin"/><Relationship Id="rId2" Type="http://schemas.openxmlformats.org/officeDocument/2006/relationships/slideLayout" Target="../slideLayouts/slideLayout209.xml"/><Relationship Id="rId1" Type="http://schemas.openxmlformats.org/officeDocument/2006/relationships/tags" Target="../tags/tag398.xml"/><Relationship Id="rId4" Type="http://schemas.openxmlformats.org/officeDocument/2006/relationships/image" Target="../media/image31.emf"/></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171.xml"/></Relationships>
</file>

<file path=ppt/slides/_rels/slide238.xml.rels><?xml version="1.0" encoding="UTF-8" standalone="yes"?>
<Relationships xmlns="http://schemas.openxmlformats.org/package/2006/relationships"><Relationship Id="rId8" Type="http://schemas.openxmlformats.org/officeDocument/2006/relationships/image" Target="../media/image463.jpeg"/><Relationship Id="rId3" Type="http://schemas.openxmlformats.org/officeDocument/2006/relationships/notesSlide" Target="../notesSlides/notesSlide178.xml"/><Relationship Id="rId7" Type="http://schemas.openxmlformats.org/officeDocument/2006/relationships/image" Target="../media/image108.png"/><Relationship Id="rId2" Type="http://schemas.openxmlformats.org/officeDocument/2006/relationships/slideLayout" Target="../slideLayouts/slideLayout218.xml"/><Relationship Id="rId1" Type="http://schemas.openxmlformats.org/officeDocument/2006/relationships/tags" Target="../tags/tag399.xml"/><Relationship Id="rId6" Type="http://schemas.openxmlformats.org/officeDocument/2006/relationships/image" Target="../media/image106.png"/><Relationship Id="rId5" Type="http://schemas.openxmlformats.org/officeDocument/2006/relationships/image" Target="../media/image31.emf"/><Relationship Id="rId4" Type="http://schemas.openxmlformats.org/officeDocument/2006/relationships/oleObject" Target="../embeddings/oleObject305.bin"/></Relationships>
</file>

<file path=ppt/slides/_rels/slide239.xml.rels><?xml version="1.0" encoding="UTF-8" standalone="yes"?>
<Relationships xmlns="http://schemas.openxmlformats.org/package/2006/relationships"><Relationship Id="rId3" Type="http://schemas.openxmlformats.org/officeDocument/2006/relationships/slideLayout" Target="../slideLayouts/slideLayout256.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image" Target="../media/image2.emf"/><Relationship Id="rId4" Type="http://schemas.openxmlformats.org/officeDocument/2006/relationships/oleObject" Target="../embeddings/oleObject306.bin"/></Relationships>
</file>

<file path=ppt/slides/_rels/slide2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3.xml"/><Relationship Id="rId1" Type="http://schemas.openxmlformats.org/officeDocument/2006/relationships/slideLayout" Target="../slideLayouts/slideLayout171.xml"/></Relationships>
</file>

<file path=ppt/slides/_rels/slide240.xml.rels><?xml version="1.0" encoding="UTF-8" standalone="yes"?>
<Relationships xmlns="http://schemas.openxmlformats.org/package/2006/relationships"><Relationship Id="rId3" Type="http://schemas.openxmlformats.org/officeDocument/2006/relationships/image" Target="../media/image646.png"/><Relationship Id="rId2" Type="http://schemas.openxmlformats.org/officeDocument/2006/relationships/image" Target="../media/image645.png"/><Relationship Id="rId1" Type="http://schemas.openxmlformats.org/officeDocument/2006/relationships/slideLayout" Target="../slideLayouts/slideLayout257.xml"/><Relationship Id="rId4" Type="http://schemas.openxmlformats.org/officeDocument/2006/relationships/image" Target="../media/image647.png"/></Relationships>
</file>

<file path=ppt/slides/_rels/slide241.xml.rels><?xml version="1.0" encoding="UTF-8" standalone="yes"?>
<Relationships xmlns="http://schemas.openxmlformats.org/package/2006/relationships"><Relationship Id="rId2" Type="http://schemas.openxmlformats.org/officeDocument/2006/relationships/image" Target="../media/image648.png"/><Relationship Id="rId1" Type="http://schemas.openxmlformats.org/officeDocument/2006/relationships/slideLayout" Target="../slideLayouts/slideLayout257.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71.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71.xml"/></Relationships>
</file>

<file path=ppt/slides/_rels/slide244.xml.rels><?xml version="1.0" encoding="UTF-8" standalone="yes"?>
<Relationships xmlns="http://schemas.openxmlformats.org/package/2006/relationships"><Relationship Id="rId8" Type="http://schemas.openxmlformats.org/officeDocument/2006/relationships/image" Target="../media/image107.png"/><Relationship Id="rId3" Type="http://schemas.microsoft.com/office/2018/10/relationships/comments" Target="../comments/modernComment_7FFFF985_C46BFA86.xml"/><Relationship Id="rId7" Type="http://schemas.openxmlformats.org/officeDocument/2006/relationships/hyperlink" Target="https://www.linkedin.com/in/danieldracz/?originalSubdomain=hu" TargetMode="External"/><Relationship Id="rId2" Type="http://schemas.openxmlformats.org/officeDocument/2006/relationships/slideLayout" Target="../slideLayouts/slideLayout218.xml"/><Relationship Id="rId1" Type="http://schemas.openxmlformats.org/officeDocument/2006/relationships/tags" Target="../tags/tag402.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649.jpeg"/><Relationship Id="rId4" Type="http://schemas.openxmlformats.org/officeDocument/2006/relationships/oleObject" Target="../embeddings/oleObject307.bin"/><Relationship Id="rId9" Type="http://schemas.openxmlformats.org/officeDocument/2006/relationships/image" Target="../media/image108.png"/></Relationships>
</file>

<file path=ppt/slides/_rels/slide245.xml.rels><?xml version="1.0" encoding="UTF-8" standalone="yes"?>
<Relationships xmlns="http://schemas.openxmlformats.org/package/2006/relationships"><Relationship Id="rId3" Type="http://schemas.openxmlformats.org/officeDocument/2006/relationships/image" Target="../media/image650.png"/><Relationship Id="rId2" Type="http://schemas.openxmlformats.org/officeDocument/2006/relationships/notesSlide" Target="../notesSlides/notesSlide181.xml"/><Relationship Id="rId1" Type="http://schemas.openxmlformats.org/officeDocument/2006/relationships/slideLayout" Target="../slideLayouts/slideLayout258.xml"/></Relationships>
</file>

<file path=ppt/slides/_rels/slide246.xml.rels><?xml version="1.0" encoding="UTF-8" standalone="yes"?>
<Relationships xmlns="http://schemas.openxmlformats.org/package/2006/relationships"><Relationship Id="rId8" Type="http://schemas.openxmlformats.org/officeDocument/2006/relationships/image" Target="../media/image652.png"/><Relationship Id="rId13" Type="http://schemas.microsoft.com/office/2007/relationships/diagramDrawing" Target="../diagrams/drawing4.xml"/><Relationship Id="rId3" Type="http://schemas.openxmlformats.org/officeDocument/2006/relationships/slideLayout" Target="../slideLayouts/slideLayout248.xml"/><Relationship Id="rId7" Type="http://schemas.openxmlformats.org/officeDocument/2006/relationships/image" Target="../media/image651.png"/><Relationship Id="rId12" Type="http://schemas.openxmlformats.org/officeDocument/2006/relationships/diagramColors" Target="../diagrams/colors4.xml"/><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image" Target="../media/image32.emf"/><Relationship Id="rId11" Type="http://schemas.openxmlformats.org/officeDocument/2006/relationships/diagramQuickStyle" Target="../diagrams/quickStyle4.xml"/><Relationship Id="rId5" Type="http://schemas.openxmlformats.org/officeDocument/2006/relationships/oleObject" Target="../embeddings/oleObject308.bin"/><Relationship Id="rId10" Type="http://schemas.openxmlformats.org/officeDocument/2006/relationships/diagramLayout" Target="../diagrams/layout4.xml"/><Relationship Id="rId4" Type="http://schemas.openxmlformats.org/officeDocument/2006/relationships/notesSlide" Target="../notesSlides/notesSlide182.xml"/><Relationship Id="rId9" Type="http://schemas.openxmlformats.org/officeDocument/2006/relationships/diagramData" Target="../diagrams/data4.xml"/></Relationships>
</file>

<file path=ppt/slides/_rels/slide247.xml.rels><?xml version="1.0" encoding="UTF-8" standalone="yes"?>
<Relationships xmlns="http://schemas.openxmlformats.org/package/2006/relationships"><Relationship Id="rId8" Type="http://schemas.openxmlformats.org/officeDocument/2006/relationships/image" Target="../media/image658.svg"/><Relationship Id="rId3" Type="http://schemas.openxmlformats.org/officeDocument/2006/relationships/image" Target="../media/image653.png"/><Relationship Id="rId7" Type="http://schemas.openxmlformats.org/officeDocument/2006/relationships/image" Target="../media/image657.png"/><Relationship Id="rId2" Type="http://schemas.openxmlformats.org/officeDocument/2006/relationships/notesSlide" Target="../notesSlides/notesSlide183.xml"/><Relationship Id="rId1" Type="http://schemas.openxmlformats.org/officeDocument/2006/relationships/slideLayout" Target="../slideLayouts/slideLayout219.xml"/><Relationship Id="rId6" Type="http://schemas.openxmlformats.org/officeDocument/2006/relationships/image" Target="../media/image656.svg"/><Relationship Id="rId11" Type="http://schemas.openxmlformats.org/officeDocument/2006/relationships/image" Target="../media/image661.jpeg"/><Relationship Id="rId5" Type="http://schemas.openxmlformats.org/officeDocument/2006/relationships/image" Target="../media/image655.png"/><Relationship Id="rId10" Type="http://schemas.openxmlformats.org/officeDocument/2006/relationships/image" Target="../media/image660.svg"/><Relationship Id="rId4" Type="http://schemas.openxmlformats.org/officeDocument/2006/relationships/image" Target="../media/image654.svg"/><Relationship Id="rId9" Type="http://schemas.openxmlformats.org/officeDocument/2006/relationships/image" Target="../media/image659.png"/></Relationships>
</file>

<file path=ppt/slides/_rels/slide248.xml.rels><?xml version="1.0" encoding="UTF-8" standalone="yes"?>
<Relationships xmlns="http://schemas.openxmlformats.org/package/2006/relationships"><Relationship Id="rId2" Type="http://schemas.microsoft.com/office/2018/10/relationships/comments" Target="../comments/modernComment_7FFFF986_69DBD849.xml"/><Relationship Id="rId1" Type="http://schemas.openxmlformats.org/officeDocument/2006/relationships/slideLayout" Target="../slideLayouts/slideLayout219.xml"/></Relationships>
</file>

<file path=ppt/slides/_rels/slide249.xml.rels><?xml version="1.0" encoding="UTF-8" standalone="yes"?>
<Relationships xmlns="http://schemas.openxmlformats.org/package/2006/relationships"><Relationship Id="rId8" Type="http://schemas.openxmlformats.org/officeDocument/2006/relationships/image" Target="../media/image662.jpeg"/><Relationship Id="rId3" Type="http://schemas.openxmlformats.org/officeDocument/2006/relationships/notesSlide" Target="../notesSlides/notesSlide184.xml"/><Relationship Id="rId7" Type="http://schemas.microsoft.com/office/2007/relationships/hdphoto" Target="../media/hdphoto5.wdp"/><Relationship Id="rId2" Type="http://schemas.openxmlformats.org/officeDocument/2006/relationships/slideLayout" Target="../slideLayouts/slideLayout207.xml"/><Relationship Id="rId1" Type="http://schemas.openxmlformats.org/officeDocument/2006/relationships/tags" Target="../tags/tag405.xml"/><Relationship Id="rId6" Type="http://schemas.openxmlformats.org/officeDocument/2006/relationships/image" Target="../media/image173.png"/><Relationship Id="rId5" Type="http://schemas.openxmlformats.org/officeDocument/2006/relationships/image" Target="../media/image136.emf"/><Relationship Id="rId4" Type="http://schemas.openxmlformats.org/officeDocument/2006/relationships/oleObject" Target="../embeddings/oleObject30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81.xml"/><Relationship Id="rId1" Type="http://schemas.openxmlformats.org/officeDocument/2006/relationships/tags" Target="../tags/tag154.xml"/><Relationship Id="rId6" Type="http://schemas.openxmlformats.org/officeDocument/2006/relationships/image" Target="../media/image31.emf"/><Relationship Id="rId5" Type="http://schemas.openxmlformats.org/officeDocument/2006/relationships/oleObject" Target="../embeddings/oleObject133.bin"/><Relationship Id="rId4" Type="http://schemas.microsoft.com/office/2018/10/relationships/comments" Target="../comments/modernComment_7FFFD931_5C9D1904.xml"/></Relationships>
</file>

<file path=ppt/slides/_rels/slide250.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665.png"/><Relationship Id="rId18" Type="http://schemas.openxmlformats.org/officeDocument/2006/relationships/image" Target="../media/image669.jpeg"/><Relationship Id="rId3" Type="http://schemas.openxmlformats.org/officeDocument/2006/relationships/notesSlide" Target="../notesSlides/notesSlide185.xml"/><Relationship Id="rId7" Type="http://schemas.openxmlformats.org/officeDocument/2006/relationships/image" Target="../media/image37.png"/><Relationship Id="rId12" Type="http://schemas.openxmlformats.org/officeDocument/2006/relationships/image" Target="../media/image664.jpeg"/><Relationship Id="rId17" Type="http://schemas.openxmlformats.org/officeDocument/2006/relationships/image" Target="../media/image668.png"/><Relationship Id="rId2" Type="http://schemas.openxmlformats.org/officeDocument/2006/relationships/slideLayout" Target="../slideLayouts/slideLayout181.xml"/><Relationship Id="rId16" Type="http://schemas.openxmlformats.org/officeDocument/2006/relationships/image" Target="../media/image667.jpeg"/><Relationship Id="rId1" Type="http://schemas.openxmlformats.org/officeDocument/2006/relationships/tags" Target="../tags/tag406.xml"/><Relationship Id="rId6" Type="http://schemas.openxmlformats.org/officeDocument/2006/relationships/image" Target="../media/image108.png"/><Relationship Id="rId11" Type="http://schemas.openxmlformats.org/officeDocument/2006/relationships/image" Target="../media/image663.jpeg"/><Relationship Id="rId5" Type="http://schemas.openxmlformats.org/officeDocument/2006/relationships/image" Target="../media/image110.emf"/><Relationship Id="rId15" Type="http://schemas.openxmlformats.org/officeDocument/2006/relationships/image" Target="../media/image666.png"/><Relationship Id="rId10" Type="http://schemas.microsoft.com/office/2007/relationships/hdphoto" Target="../media/hdphoto2.wdp"/><Relationship Id="rId4" Type="http://schemas.openxmlformats.org/officeDocument/2006/relationships/oleObject" Target="../embeddings/oleObject310.bin"/><Relationship Id="rId9" Type="http://schemas.openxmlformats.org/officeDocument/2006/relationships/image" Target="../media/image111.png"/><Relationship Id="rId14" Type="http://schemas.openxmlformats.org/officeDocument/2006/relationships/image" Target="../media/image352.jpeg"/></Relationships>
</file>

<file path=ppt/slides/_rels/slide251.xml.rels><?xml version="1.0" encoding="UTF-8" standalone="yes"?>
<Relationships xmlns="http://schemas.openxmlformats.org/package/2006/relationships"><Relationship Id="rId3" Type="http://schemas.openxmlformats.org/officeDocument/2006/relationships/image" Target="../media/image670.png"/><Relationship Id="rId2" Type="http://schemas.openxmlformats.org/officeDocument/2006/relationships/notesSlide" Target="../notesSlides/notesSlide186.xml"/><Relationship Id="rId1" Type="http://schemas.openxmlformats.org/officeDocument/2006/relationships/slideLayout" Target="../slideLayouts/slideLayout171.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204.xml"/></Relationships>
</file>

<file path=ppt/slides/_rels/slide26.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notesSlide" Target="../notesSlides/notesSlide25.xml"/><Relationship Id="rId7" Type="http://schemas.openxmlformats.org/officeDocument/2006/relationships/image" Target="../media/image103.png"/><Relationship Id="rId2" Type="http://schemas.openxmlformats.org/officeDocument/2006/relationships/slideLayout" Target="../slideLayouts/slideLayout181.xml"/><Relationship Id="rId1" Type="http://schemas.openxmlformats.org/officeDocument/2006/relationships/tags" Target="../tags/tag155.xml"/><Relationship Id="rId6" Type="http://schemas.openxmlformats.org/officeDocument/2006/relationships/image" Target="../media/image31.emf"/><Relationship Id="rId5" Type="http://schemas.openxmlformats.org/officeDocument/2006/relationships/oleObject" Target="../embeddings/oleObject134.bin"/><Relationship Id="rId4" Type="http://schemas.microsoft.com/office/2018/10/relationships/comments" Target="../comments/modernComment_7FFFF990_7B50865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04.svg"/><Relationship Id="rId2" Type="http://schemas.openxmlformats.org/officeDocument/2006/relationships/slideLayout" Target="../slideLayouts/slideLayout181.xml"/><Relationship Id="rId1" Type="http://schemas.openxmlformats.org/officeDocument/2006/relationships/tags" Target="../tags/tag156.xml"/><Relationship Id="rId6" Type="http://schemas.openxmlformats.org/officeDocument/2006/relationships/image" Target="../media/image103.png"/><Relationship Id="rId5" Type="http://schemas.openxmlformats.org/officeDocument/2006/relationships/image" Target="../media/image31.emf"/><Relationship Id="rId4" Type="http://schemas.openxmlformats.org/officeDocument/2006/relationships/oleObject" Target="../embeddings/oleObject13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04.svg"/><Relationship Id="rId2" Type="http://schemas.openxmlformats.org/officeDocument/2006/relationships/slideLayout" Target="../slideLayouts/slideLayout181.xml"/><Relationship Id="rId1" Type="http://schemas.openxmlformats.org/officeDocument/2006/relationships/tags" Target="../tags/tag157.xml"/><Relationship Id="rId6" Type="http://schemas.openxmlformats.org/officeDocument/2006/relationships/image" Target="../media/image103.png"/><Relationship Id="rId5" Type="http://schemas.openxmlformats.org/officeDocument/2006/relationships/image" Target="../media/image31.emf"/><Relationship Id="rId4" Type="http://schemas.openxmlformats.org/officeDocument/2006/relationships/oleObject" Target="../embeddings/oleObject136.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04.svg"/><Relationship Id="rId2" Type="http://schemas.openxmlformats.org/officeDocument/2006/relationships/slideLayout" Target="../slideLayouts/slideLayout181.xml"/><Relationship Id="rId1" Type="http://schemas.openxmlformats.org/officeDocument/2006/relationships/tags" Target="../tags/tag158.xml"/><Relationship Id="rId6" Type="http://schemas.openxmlformats.org/officeDocument/2006/relationships/image" Target="../media/image103.png"/><Relationship Id="rId5" Type="http://schemas.openxmlformats.org/officeDocument/2006/relationships/image" Target="../media/image31.emf"/><Relationship Id="rId4" Type="http://schemas.openxmlformats.org/officeDocument/2006/relationships/oleObject" Target="../embeddings/oleObject13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9.jpeg"/><Relationship Id="rId2" Type="http://schemas.openxmlformats.org/officeDocument/2006/relationships/slideLayout" Target="../slideLayouts/slideLayout170.xml"/><Relationship Id="rId1" Type="http://schemas.openxmlformats.org/officeDocument/2006/relationships/tags" Target="../tags/tag116.xml"/><Relationship Id="rId6" Type="http://schemas.openxmlformats.org/officeDocument/2006/relationships/image" Target="../media/image38.jpeg"/><Relationship Id="rId5" Type="http://schemas.openxmlformats.org/officeDocument/2006/relationships/image" Target="../media/image31.emf"/><Relationship Id="rId4" Type="http://schemas.openxmlformats.org/officeDocument/2006/relationships/oleObject" Target="../embeddings/oleObject113.bin"/></Relationships>
</file>

<file path=ppt/slides/_rels/slide3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29.xml"/><Relationship Id="rId1" Type="http://schemas.openxmlformats.org/officeDocument/2006/relationships/slideLayout" Target="../slideLayouts/slideLayout17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1.xml"/></Relationships>
</file>

<file path=ppt/slides/_rels/slide32.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31.xml"/><Relationship Id="rId7" Type="http://schemas.openxmlformats.org/officeDocument/2006/relationships/hyperlink" Target="https://www.linkedin.com/in/danieldracz/?originalSubdomain=hu" TargetMode="External"/><Relationship Id="rId2" Type="http://schemas.openxmlformats.org/officeDocument/2006/relationships/slideLayout" Target="../slideLayouts/slideLayout218.xml"/><Relationship Id="rId1" Type="http://schemas.openxmlformats.org/officeDocument/2006/relationships/tags" Target="../tags/tag159.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109.jpeg"/><Relationship Id="rId4" Type="http://schemas.openxmlformats.org/officeDocument/2006/relationships/oleObject" Target="../embeddings/oleObject138.bin"/><Relationship Id="rId9" Type="http://schemas.openxmlformats.org/officeDocument/2006/relationships/image" Target="../media/image108.png"/></Relationships>
</file>

<file path=ppt/slides/_rels/slide33.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32.xml"/><Relationship Id="rId7" Type="http://schemas.openxmlformats.org/officeDocument/2006/relationships/hyperlink" Target="https://www.linkedin.com/in/danieldracz/?originalSubdomain=hu" TargetMode="External"/><Relationship Id="rId2" Type="http://schemas.openxmlformats.org/officeDocument/2006/relationships/slideLayout" Target="../slideLayouts/slideLayout218.xml"/><Relationship Id="rId1" Type="http://schemas.openxmlformats.org/officeDocument/2006/relationships/tags" Target="../tags/tag160.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109.jpeg"/><Relationship Id="rId4" Type="http://schemas.openxmlformats.org/officeDocument/2006/relationships/oleObject" Target="../embeddings/oleObject139.bin"/><Relationship Id="rId9" Type="http://schemas.openxmlformats.org/officeDocument/2006/relationships/image" Target="../media/image108.png"/></Relationships>
</file>

<file path=ppt/slides/_rels/slide34.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33.xml"/><Relationship Id="rId7" Type="http://schemas.openxmlformats.org/officeDocument/2006/relationships/hyperlink" Target="https://www.linkedin.com/in/danieldracz/?originalSubdomain=hu" TargetMode="External"/><Relationship Id="rId2" Type="http://schemas.openxmlformats.org/officeDocument/2006/relationships/slideLayout" Target="../slideLayouts/slideLayout218.xml"/><Relationship Id="rId1" Type="http://schemas.openxmlformats.org/officeDocument/2006/relationships/tags" Target="../tags/tag161.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109.jpeg"/><Relationship Id="rId4" Type="http://schemas.openxmlformats.org/officeDocument/2006/relationships/oleObject" Target="../embeddings/oleObject140.bin"/><Relationship Id="rId9" Type="http://schemas.openxmlformats.org/officeDocument/2006/relationships/image" Target="../media/image108.png"/></Relationships>
</file>

<file path=ppt/slides/_rels/slide3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114.jpeg"/><Relationship Id="rId18" Type="http://schemas.openxmlformats.org/officeDocument/2006/relationships/image" Target="../media/image119.jpeg"/><Relationship Id="rId3" Type="http://schemas.openxmlformats.org/officeDocument/2006/relationships/notesSlide" Target="../notesSlides/notesSlide34.xml"/><Relationship Id="rId21" Type="http://schemas.openxmlformats.org/officeDocument/2006/relationships/image" Target="../media/image122.jpeg"/><Relationship Id="rId7" Type="http://schemas.openxmlformats.org/officeDocument/2006/relationships/image" Target="../media/image37.png"/><Relationship Id="rId12" Type="http://schemas.openxmlformats.org/officeDocument/2006/relationships/image" Target="../media/image113.jpeg"/><Relationship Id="rId17" Type="http://schemas.openxmlformats.org/officeDocument/2006/relationships/image" Target="../media/image118.jpeg"/><Relationship Id="rId2" Type="http://schemas.openxmlformats.org/officeDocument/2006/relationships/slideLayout" Target="../slideLayouts/slideLayout180.xml"/><Relationship Id="rId16" Type="http://schemas.openxmlformats.org/officeDocument/2006/relationships/image" Target="../media/image117.jpeg"/><Relationship Id="rId20" Type="http://schemas.openxmlformats.org/officeDocument/2006/relationships/image" Target="../media/image121.jpeg"/><Relationship Id="rId1" Type="http://schemas.openxmlformats.org/officeDocument/2006/relationships/tags" Target="../tags/tag162.xml"/><Relationship Id="rId6" Type="http://schemas.openxmlformats.org/officeDocument/2006/relationships/image" Target="../media/image108.png"/><Relationship Id="rId11" Type="http://schemas.openxmlformats.org/officeDocument/2006/relationships/image" Target="../media/image112.jpeg"/><Relationship Id="rId5" Type="http://schemas.openxmlformats.org/officeDocument/2006/relationships/image" Target="../media/image110.emf"/><Relationship Id="rId15" Type="http://schemas.openxmlformats.org/officeDocument/2006/relationships/image" Target="../media/image116.jpeg"/><Relationship Id="rId10" Type="http://schemas.microsoft.com/office/2007/relationships/hdphoto" Target="../media/hdphoto2.wdp"/><Relationship Id="rId19" Type="http://schemas.openxmlformats.org/officeDocument/2006/relationships/image" Target="../media/image120.jpeg"/><Relationship Id="rId4" Type="http://schemas.openxmlformats.org/officeDocument/2006/relationships/oleObject" Target="../embeddings/oleObject141.bin"/><Relationship Id="rId9" Type="http://schemas.openxmlformats.org/officeDocument/2006/relationships/image" Target="../media/image111.png"/><Relationship Id="rId14" Type="http://schemas.openxmlformats.org/officeDocument/2006/relationships/image" Target="../media/image115.jpeg"/></Relationships>
</file>

<file path=ppt/slides/_rels/slide36.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124.jpeg"/><Relationship Id="rId18" Type="http://schemas.microsoft.com/office/2007/relationships/hdphoto" Target="../media/hdphoto3.wdp"/><Relationship Id="rId3" Type="http://schemas.openxmlformats.org/officeDocument/2006/relationships/notesSlide" Target="../notesSlides/notesSlide35.xml"/><Relationship Id="rId21" Type="http://schemas.openxmlformats.org/officeDocument/2006/relationships/image" Target="../media/image131.jpeg"/><Relationship Id="rId7" Type="http://schemas.openxmlformats.org/officeDocument/2006/relationships/image" Target="../media/image37.png"/><Relationship Id="rId12" Type="http://schemas.openxmlformats.org/officeDocument/2006/relationships/image" Target="../media/image123.jpeg"/><Relationship Id="rId17" Type="http://schemas.openxmlformats.org/officeDocument/2006/relationships/image" Target="../media/image128.png"/><Relationship Id="rId25" Type="http://schemas.openxmlformats.org/officeDocument/2006/relationships/image" Target="../media/image135.jpeg"/><Relationship Id="rId2" Type="http://schemas.openxmlformats.org/officeDocument/2006/relationships/slideLayout" Target="../slideLayouts/slideLayout180.xml"/><Relationship Id="rId16" Type="http://schemas.openxmlformats.org/officeDocument/2006/relationships/image" Target="../media/image127.jpeg"/><Relationship Id="rId20" Type="http://schemas.openxmlformats.org/officeDocument/2006/relationships/image" Target="../media/image130.jpeg"/><Relationship Id="rId1" Type="http://schemas.openxmlformats.org/officeDocument/2006/relationships/tags" Target="../tags/tag163.xml"/><Relationship Id="rId6" Type="http://schemas.openxmlformats.org/officeDocument/2006/relationships/image" Target="../media/image110.emf"/><Relationship Id="rId11" Type="http://schemas.openxmlformats.org/officeDocument/2006/relationships/image" Target="../media/image108.png"/><Relationship Id="rId24" Type="http://schemas.openxmlformats.org/officeDocument/2006/relationships/image" Target="../media/image134.jpeg"/><Relationship Id="rId5" Type="http://schemas.openxmlformats.org/officeDocument/2006/relationships/oleObject" Target="../embeddings/oleObject142.bin"/><Relationship Id="rId15" Type="http://schemas.openxmlformats.org/officeDocument/2006/relationships/image" Target="../media/image126.jpeg"/><Relationship Id="rId23" Type="http://schemas.openxmlformats.org/officeDocument/2006/relationships/image" Target="../media/image133.jpeg"/><Relationship Id="rId10" Type="http://schemas.microsoft.com/office/2007/relationships/hdphoto" Target="../media/hdphoto2.wdp"/><Relationship Id="rId19" Type="http://schemas.openxmlformats.org/officeDocument/2006/relationships/image" Target="../media/image129.jpeg"/><Relationship Id="rId4" Type="http://schemas.microsoft.com/office/2018/10/relationships/comments" Target="../comments/modernComment_7FFFF96F_57BB953.xml"/><Relationship Id="rId9" Type="http://schemas.openxmlformats.org/officeDocument/2006/relationships/image" Target="../media/image111.png"/><Relationship Id="rId14" Type="http://schemas.openxmlformats.org/officeDocument/2006/relationships/image" Target="../media/image125.jpeg"/><Relationship Id="rId22" Type="http://schemas.openxmlformats.org/officeDocument/2006/relationships/image" Target="../media/image132.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09.xml"/><Relationship Id="rId1" Type="http://schemas.openxmlformats.org/officeDocument/2006/relationships/tags" Target="../tags/tag164.xml"/><Relationship Id="rId6" Type="http://schemas.openxmlformats.org/officeDocument/2006/relationships/image" Target="../media/image136.emf"/><Relationship Id="rId5" Type="http://schemas.openxmlformats.org/officeDocument/2006/relationships/oleObject" Target="../embeddings/oleObject143.bin"/><Relationship Id="rId4" Type="http://schemas.microsoft.com/office/2018/10/relationships/comments" Target="../comments/modernComment_7FFFD921_B8D38E0B.xml"/></Relationships>
</file>

<file path=ppt/slides/_rels/slide38.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notesSlide" Target="../notesSlides/notesSlide37.xml"/><Relationship Id="rId7" Type="http://schemas.openxmlformats.org/officeDocument/2006/relationships/image" Target="../media/image138.png"/><Relationship Id="rId12" Type="http://schemas.openxmlformats.org/officeDocument/2006/relationships/image" Target="../media/image143.png"/><Relationship Id="rId2" Type="http://schemas.openxmlformats.org/officeDocument/2006/relationships/slideLayout" Target="../slideLayouts/slideLayout209.xml"/><Relationship Id="rId1" Type="http://schemas.openxmlformats.org/officeDocument/2006/relationships/tags" Target="../tags/tag165.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emf"/><Relationship Id="rId10" Type="http://schemas.openxmlformats.org/officeDocument/2006/relationships/image" Target="../media/image141.png"/><Relationship Id="rId4" Type="http://schemas.openxmlformats.org/officeDocument/2006/relationships/oleObject" Target="../embeddings/oleObject144.bin"/><Relationship Id="rId9" Type="http://schemas.openxmlformats.org/officeDocument/2006/relationships/image" Target="../media/image140.png"/></Relationships>
</file>

<file path=ppt/slides/_rels/slide39.xml.rels><?xml version="1.0" encoding="UTF-8" standalone="yes"?>
<Relationships xmlns="http://schemas.openxmlformats.org/package/2006/relationships"><Relationship Id="rId8" Type="http://schemas.openxmlformats.org/officeDocument/2006/relationships/image" Target="../media/image146.svg"/><Relationship Id="rId13" Type="http://schemas.openxmlformats.org/officeDocument/2006/relationships/image" Target="../media/image151.png"/><Relationship Id="rId3" Type="http://schemas.openxmlformats.org/officeDocument/2006/relationships/notesSlide" Target="../notesSlides/notesSlide38.xml"/><Relationship Id="rId7" Type="http://schemas.openxmlformats.org/officeDocument/2006/relationships/image" Target="../media/image145.png"/><Relationship Id="rId12" Type="http://schemas.openxmlformats.org/officeDocument/2006/relationships/image" Target="../media/image150.png"/><Relationship Id="rId2" Type="http://schemas.openxmlformats.org/officeDocument/2006/relationships/slideLayout" Target="../slideLayouts/slideLayout209.xml"/><Relationship Id="rId1" Type="http://schemas.openxmlformats.org/officeDocument/2006/relationships/tags" Target="../tags/tag166.xml"/><Relationship Id="rId6" Type="http://schemas.openxmlformats.org/officeDocument/2006/relationships/image" Target="../media/image136.emf"/><Relationship Id="rId11" Type="http://schemas.openxmlformats.org/officeDocument/2006/relationships/image" Target="../media/image149.png"/><Relationship Id="rId5" Type="http://schemas.openxmlformats.org/officeDocument/2006/relationships/oleObject" Target="../embeddings/oleObject145.bin"/><Relationship Id="rId10" Type="http://schemas.openxmlformats.org/officeDocument/2006/relationships/image" Target="../media/image148.png"/><Relationship Id="rId4" Type="http://schemas.openxmlformats.org/officeDocument/2006/relationships/image" Target="../media/image144.jpeg"/><Relationship Id="rId9" Type="http://schemas.openxmlformats.org/officeDocument/2006/relationships/image" Target="../media/image147.png"/><Relationship Id="rId14" Type="http://schemas.openxmlformats.org/officeDocument/2006/relationships/image" Target="../media/image15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jpeg"/><Relationship Id="rId2" Type="http://schemas.openxmlformats.org/officeDocument/2006/relationships/slideLayout" Target="../slideLayouts/slideLayout217.xml"/><Relationship Id="rId1" Type="http://schemas.openxmlformats.org/officeDocument/2006/relationships/tags" Target="../tags/tag117.xml"/><Relationship Id="rId6" Type="http://schemas.openxmlformats.org/officeDocument/2006/relationships/image" Target="../media/image2.emf"/><Relationship Id="rId5" Type="http://schemas.openxmlformats.org/officeDocument/2006/relationships/oleObject" Target="../embeddings/oleObject114.bin"/><Relationship Id="rId4" Type="http://schemas.microsoft.com/office/2018/10/relationships/comments" Target="../comments/modernComment_7FFFCD6A_6E76C52E.xml"/></Relationships>
</file>

<file path=ppt/slides/_rels/slide4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notesSlide" Target="../notesSlides/notesSlide39.xml"/><Relationship Id="rId7" Type="http://schemas.openxmlformats.org/officeDocument/2006/relationships/image" Target="../media/image153.png"/><Relationship Id="rId2" Type="http://schemas.openxmlformats.org/officeDocument/2006/relationships/slideLayout" Target="../slideLayouts/slideLayout182.xml"/><Relationship Id="rId1" Type="http://schemas.openxmlformats.org/officeDocument/2006/relationships/tags" Target="../tags/tag167.xml"/><Relationship Id="rId6" Type="http://schemas.openxmlformats.org/officeDocument/2006/relationships/image" Target="../media/image110.emf"/><Relationship Id="rId5" Type="http://schemas.openxmlformats.org/officeDocument/2006/relationships/oleObject" Target="../embeddings/oleObject146.bin"/><Relationship Id="rId4" Type="http://schemas.microsoft.com/office/2018/10/relationships/comments" Target="../comments/modernComment_7FFFD91D_58A7BBD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07.xml"/><Relationship Id="rId1" Type="http://schemas.openxmlformats.org/officeDocument/2006/relationships/tags" Target="../tags/tag168.xml"/><Relationship Id="rId6" Type="http://schemas.openxmlformats.org/officeDocument/2006/relationships/image" Target="../media/image154.jpeg"/><Relationship Id="rId5" Type="http://schemas.openxmlformats.org/officeDocument/2006/relationships/image" Target="../media/image136.emf"/><Relationship Id="rId4" Type="http://schemas.openxmlformats.org/officeDocument/2006/relationships/oleObject" Target="../embeddings/oleObject14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07.xml"/><Relationship Id="rId1" Type="http://schemas.openxmlformats.org/officeDocument/2006/relationships/tags" Target="../tags/tag169.xml"/><Relationship Id="rId6" Type="http://schemas.openxmlformats.org/officeDocument/2006/relationships/image" Target="../media/image155.png"/><Relationship Id="rId5" Type="http://schemas.openxmlformats.org/officeDocument/2006/relationships/image" Target="../media/image136.emf"/><Relationship Id="rId4" Type="http://schemas.openxmlformats.org/officeDocument/2006/relationships/oleObject" Target="../embeddings/oleObject14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07.xml"/><Relationship Id="rId1" Type="http://schemas.openxmlformats.org/officeDocument/2006/relationships/tags" Target="../tags/tag170.xml"/><Relationship Id="rId6" Type="http://schemas.openxmlformats.org/officeDocument/2006/relationships/image" Target="../media/image156.png"/><Relationship Id="rId5" Type="http://schemas.openxmlformats.org/officeDocument/2006/relationships/image" Target="../media/image136.emf"/><Relationship Id="rId4" Type="http://schemas.openxmlformats.org/officeDocument/2006/relationships/oleObject" Target="../embeddings/oleObject14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07.xml"/><Relationship Id="rId1" Type="http://schemas.openxmlformats.org/officeDocument/2006/relationships/tags" Target="../tags/tag171.xml"/><Relationship Id="rId6" Type="http://schemas.openxmlformats.org/officeDocument/2006/relationships/image" Target="../media/image157.jpeg"/><Relationship Id="rId5" Type="http://schemas.openxmlformats.org/officeDocument/2006/relationships/image" Target="../media/image136.emf"/><Relationship Id="rId4" Type="http://schemas.openxmlformats.org/officeDocument/2006/relationships/oleObject" Target="../embeddings/oleObject150.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07.xml"/><Relationship Id="rId1" Type="http://schemas.openxmlformats.org/officeDocument/2006/relationships/tags" Target="../tags/tag172.xml"/><Relationship Id="rId6" Type="http://schemas.openxmlformats.org/officeDocument/2006/relationships/image" Target="../media/image136.emf"/><Relationship Id="rId5" Type="http://schemas.openxmlformats.org/officeDocument/2006/relationships/oleObject" Target="../embeddings/oleObject151.bin"/><Relationship Id="rId4" Type="http://schemas.microsoft.com/office/2018/10/relationships/comments" Target="../comments/modernComment_7FFFD937_DC4BC6F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07.xml"/><Relationship Id="rId1" Type="http://schemas.openxmlformats.org/officeDocument/2006/relationships/tags" Target="../tags/tag173.xml"/><Relationship Id="rId6" Type="http://schemas.openxmlformats.org/officeDocument/2006/relationships/image" Target="../media/image158.png"/><Relationship Id="rId5" Type="http://schemas.openxmlformats.org/officeDocument/2006/relationships/image" Target="../media/image136.emf"/><Relationship Id="rId4" Type="http://schemas.openxmlformats.org/officeDocument/2006/relationships/oleObject" Target="../embeddings/oleObject15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microsoft.com/office/2007/relationships/hdphoto" Target="../media/hdphoto4.wdp"/><Relationship Id="rId2" Type="http://schemas.openxmlformats.org/officeDocument/2006/relationships/slideLayout" Target="../slideLayouts/slideLayout160.xml"/><Relationship Id="rId1" Type="http://schemas.openxmlformats.org/officeDocument/2006/relationships/tags" Target="../tags/tag174.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153.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07.xml"/><Relationship Id="rId1" Type="http://schemas.openxmlformats.org/officeDocument/2006/relationships/tags" Target="../tags/tag175.xml"/><Relationship Id="rId6" Type="http://schemas.openxmlformats.org/officeDocument/2006/relationships/chart" Target="../charts/chart2.xml"/><Relationship Id="rId5" Type="http://schemas.openxmlformats.org/officeDocument/2006/relationships/image" Target="../media/image136.emf"/><Relationship Id="rId4" Type="http://schemas.openxmlformats.org/officeDocument/2006/relationships/oleObject" Target="../embeddings/oleObject154.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07.xml"/><Relationship Id="rId1" Type="http://schemas.openxmlformats.org/officeDocument/2006/relationships/tags" Target="../tags/tag176.xml"/><Relationship Id="rId6" Type="http://schemas.openxmlformats.org/officeDocument/2006/relationships/chart" Target="../charts/chart3.xml"/><Relationship Id="rId5" Type="http://schemas.openxmlformats.org/officeDocument/2006/relationships/image" Target="../media/image136.emf"/><Relationship Id="rId4" Type="http://schemas.openxmlformats.org/officeDocument/2006/relationships/oleObject" Target="../embeddings/oleObject155.bin"/></Relationships>
</file>

<file path=ppt/slides/_rels/slide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171.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microsoft.com/office/2007/relationships/hdphoto" Target="../media/hdphoto4.wdp"/><Relationship Id="rId2" Type="http://schemas.openxmlformats.org/officeDocument/2006/relationships/slideLayout" Target="../slideLayouts/slideLayout160.xml"/><Relationship Id="rId1" Type="http://schemas.openxmlformats.org/officeDocument/2006/relationships/tags" Target="../tags/tag177.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156.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microsoft.com/office/2007/relationships/hdphoto" Target="../media/hdphoto4.wdp"/><Relationship Id="rId2" Type="http://schemas.openxmlformats.org/officeDocument/2006/relationships/slideLayout" Target="../slideLayouts/slideLayout160.xml"/><Relationship Id="rId1" Type="http://schemas.openxmlformats.org/officeDocument/2006/relationships/tags" Target="../tags/tag178.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15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hyperlink" Target="https://puppet.com/resources/white-paper/2016-state-of-devops-report" TargetMode="External"/><Relationship Id="rId2" Type="http://schemas.openxmlformats.org/officeDocument/2006/relationships/slideLayout" Target="../slideLayouts/slideLayout160.xml"/><Relationship Id="rId1" Type="http://schemas.openxmlformats.org/officeDocument/2006/relationships/tags" Target="../tags/tag179.xml"/><Relationship Id="rId6" Type="http://schemas.openxmlformats.org/officeDocument/2006/relationships/image" Target="../media/image159.png"/><Relationship Id="rId5" Type="http://schemas.openxmlformats.org/officeDocument/2006/relationships/image" Target="../media/image31.emf"/><Relationship Id="rId4" Type="http://schemas.openxmlformats.org/officeDocument/2006/relationships/oleObject" Target="../embeddings/oleObject158.bin"/></Relationships>
</file>

<file path=ppt/slides/_rels/slide53.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notesSlide" Target="../notesSlides/notesSlide52.xml"/><Relationship Id="rId7" Type="http://schemas.openxmlformats.org/officeDocument/2006/relationships/image" Target="../media/image160.png"/><Relationship Id="rId2" Type="http://schemas.openxmlformats.org/officeDocument/2006/relationships/slideLayout" Target="../slideLayouts/slideLayout160.xml"/><Relationship Id="rId1" Type="http://schemas.openxmlformats.org/officeDocument/2006/relationships/tags" Target="../tags/tag180.xml"/><Relationship Id="rId6" Type="http://schemas.openxmlformats.org/officeDocument/2006/relationships/image" Target="../media/image31.emf"/><Relationship Id="rId5" Type="http://schemas.openxmlformats.org/officeDocument/2006/relationships/oleObject" Target="../embeddings/oleObject159.bin"/><Relationship Id="rId4" Type="http://schemas.microsoft.com/office/2018/10/relationships/comments" Target="../comments/modernComment_7FFFF920_2EE847F2.xml"/><Relationship Id="rId9" Type="http://schemas.openxmlformats.org/officeDocument/2006/relationships/image" Target="../media/image162.png"/></Relationships>
</file>

<file path=ppt/slides/_rels/slide54.xml.rels><?xml version="1.0" encoding="UTF-8" standalone="yes"?>
<Relationships xmlns="http://schemas.openxmlformats.org/package/2006/relationships"><Relationship Id="rId8" Type="http://schemas.openxmlformats.org/officeDocument/2006/relationships/image" Target="../media/image167.png"/><Relationship Id="rId3" Type="http://schemas.microsoft.com/office/2018/10/relationships/comments" Target="../comments/modernComment_7FFFD94B_63828397.xml"/><Relationship Id="rId7" Type="http://schemas.openxmlformats.org/officeDocument/2006/relationships/image" Target="../media/image166.svg"/><Relationship Id="rId2" Type="http://schemas.openxmlformats.org/officeDocument/2006/relationships/notesSlide" Target="../notesSlides/notesSlide53.xml"/><Relationship Id="rId1" Type="http://schemas.openxmlformats.org/officeDocument/2006/relationships/slideLayout" Target="../slideLayouts/slideLayout219.xml"/><Relationship Id="rId6" Type="http://schemas.openxmlformats.org/officeDocument/2006/relationships/image" Target="../media/image165.png"/><Relationship Id="rId5" Type="http://schemas.openxmlformats.org/officeDocument/2006/relationships/image" Target="../media/image164.svg"/><Relationship Id="rId4" Type="http://schemas.openxmlformats.org/officeDocument/2006/relationships/image" Target="../media/image163.png"/><Relationship Id="rId9" Type="http://schemas.openxmlformats.org/officeDocument/2006/relationships/image" Target="../media/image168.sv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07.xml"/><Relationship Id="rId1" Type="http://schemas.openxmlformats.org/officeDocument/2006/relationships/tags" Target="../tags/tag181.xml"/><Relationship Id="rId5" Type="http://schemas.openxmlformats.org/officeDocument/2006/relationships/image" Target="../media/image136.emf"/><Relationship Id="rId4" Type="http://schemas.openxmlformats.org/officeDocument/2006/relationships/oleObject" Target="../embeddings/oleObject160.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microsoft.com/office/2007/relationships/hdphoto" Target="../media/hdphoto4.wdp"/><Relationship Id="rId2" Type="http://schemas.openxmlformats.org/officeDocument/2006/relationships/slideLayout" Target="../slideLayouts/slideLayout160.xml"/><Relationship Id="rId1" Type="http://schemas.openxmlformats.org/officeDocument/2006/relationships/tags" Target="../tags/tag182.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161.bin"/></Relationships>
</file>

<file path=ppt/slides/_rels/slide57.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notesSlide" Target="../notesSlides/notesSlide56.xml"/><Relationship Id="rId7" Type="http://schemas.openxmlformats.org/officeDocument/2006/relationships/image" Target="../media/image170.png"/><Relationship Id="rId2" Type="http://schemas.openxmlformats.org/officeDocument/2006/relationships/slideLayout" Target="../slideLayouts/slideLayout181.xml"/><Relationship Id="rId1" Type="http://schemas.openxmlformats.org/officeDocument/2006/relationships/tags" Target="../tags/tag183.xml"/><Relationship Id="rId6" Type="http://schemas.openxmlformats.org/officeDocument/2006/relationships/image" Target="../media/image169.png"/><Relationship Id="rId5" Type="http://schemas.openxmlformats.org/officeDocument/2006/relationships/image" Target="../media/image31.emf"/><Relationship Id="rId4" Type="http://schemas.openxmlformats.org/officeDocument/2006/relationships/oleObject" Target="../embeddings/oleObject162.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microsoft.com/office/2007/relationships/hdphoto" Target="../media/hdphoto4.wdp"/><Relationship Id="rId2" Type="http://schemas.openxmlformats.org/officeDocument/2006/relationships/slideLayout" Target="../slideLayouts/slideLayout181.xml"/><Relationship Id="rId1" Type="http://schemas.openxmlformats.org/officeDocument/2006/relationships/tags" Target="../tags/tag184.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163.bin"/></Relationships>
</file>

<file path=ppt/slides/_rels/slide59.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notesSlide" Target="../notesSlides/notesSlide58.xml"/><Relationship Id="rId7" Type="http://schemas.openxmlformats.org/officeDocument/2006/relationships/image" Target="../media/image173.png"/><Relationship Id="rId2" Type="http://schemas.openxmlformats.org/officeDocument/2006/relationships/slideLayout" Target="../slideLayouts/slideLayout206.xml"/><Relationship Id="rId1" Type="http://schemas.openxmlformats.org/officeDocument/2006/relationships/tags" Target="../tags/tag185.xml"/><Relationship Id="rId6" Type="http://schemas.openxmlformats.org/officeDocument/2006/relationships/image" Target="../media/image172.jpeg"/><Relationship Id="rId5" Type="http://schemas.openxmlformats.org/officeDocument/2006/relationships/image" Target="../media/image136.emf"/><Relationship Id="rId4" Type="http://schemas.openxmlformats.org/officeDocument/2006/relationships/oleObject" Target="../embeddings/oleObject16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9.xml"/><Relationship Id="rId1" Type="http://schemas.openxmlformats.org/officeDocument/2006/relationships/tags" Target="../tags/tag118.xml"/><Relationship Id="rId6" Type="http://schemas.openxmlformats.org/officeDocument/2006/relationships/image" Target="../media/image31.emf"/><Relationship Id="rId5" Type="http://schemas.openxmlformats.org/officeDocument/2006/relationships/oleObject" Target="../embeddings/oleObject115.bin"/><Relationship Id="rId4" Type="http://schemas.microsoft.com/office/2018/10/relationships/comments" Target="../comments/modernComment_7FFFD8BD_B38D12FA.xml"/></Relationships>
</file>

<file path=ppt/slides/_rels/slide60.xml.rels><?xml version="1.0" encoding="UTF-8" standalone="yes"?>
<Relationships xmlns="http://schemas.openxmlformats.org/package/2006/relationships"><Relationship Id="rId8" Type="http://schemas.openxmlformats.org/officeDocument/2006/relationships/image" Target="../media/image176.svg"/><Relationship Id="rId13" Type="http://schemas.openxmlformats.org/officeDocument/2006/relationships/image" Target="../media/image181.emf"/><Relationship Id="rId18" Type="http://schemas.openxmlformats.org/officeDocument/2006/relationships/image" Target="../media/image186.emf"/><Relationship Id="rId3" Type="http://schemas.openxmlformats.org/officeDocument/2006/relationships/notesSlide" Target="../notesSlides/notesSlide59.xml"/><Relationship Id="rId7" Type="http://schemas.openxmlformats.org/officeDocument/2006/relationships/image" Target="../media/image175.png"/><Relationship Id="rId12" Type="http://schemas.openxmlformats.org/officeDocument/2006/relationships/image" Target="../media/image180.svg"/><Relationship Id="rId17" Type="http://schemas.openxmlformats.org/officeDocument/2006/relationships/image" Target="../media/image185.emf"/><Relationship Id="rId2" Type="http://schemas.openxmlformats.org/officeDocument/2006/relationships/slideLayout" Target="../slideLayouts/slideLayout181.xml"/><Relationship Id="rId16" Type="http://schemas.openxmlformats.org/officeDocument/2006/relationships/image" Target="../media/image184.emf"/><Relationship Id="rId20" Type="http://schemas.openxmlformats.org/officeDocument/2006/relationships/image" Target="../media/image187.jpeg"/><Relationship Id="rId1" Type="http://schemas.openxmlformats.org/officeDocument/2006/relationships/tags" Target="../tags/tag186.xml"/><Relationship Id="rId6" Type="http://schemas.openxmlformats.org/officeDocument/2006/relationships/image" Target="../media/image174.emf"/><Relationship Id="rId11" Type="http://schemas.openxmlformats.org/officeDocument/2006/relationships/image" Target="../media/image179.png"/><Relationship Id="rId5" Type="http://schemas.openxmlformats.org/officeDocument/2006/relationships/image" Target="../media/image31.emf"/><Relationship Id="rId15" Type="http://schemas.openxmlformats.org/officeDocument/2006/relationships/image" Target="../media/image183.emf"/><Relationship Id="rId10" Type="http://schemas.openxmlformats.org/officeDocument/2006/relationships/image" Target="../media/image178.svg"/><Relationship Id="rId19" Type="http://schemas.openxmlformats.org/officeDocument/2006/relationships/hyperlink" Target="https://www2.deloitte.com/us/en/insights/focus/tech-trends.html?icid=learn_more_content_click" TargetMode="External"/><Relationship Id="rId4" Type="http://schemas.openxmlformats.org/officeDocument/2006/relationships/oleObject" Target="../embeddings/oleObject165.bin"/><Relationship Id="rId9" Type="http://schemas.openxmlformats.org/officeDocument/2006/relationships/image" Target="../media/image177.png"/><Relationship Id="rId14" Type="http://schemas.openxmlformats.org/officeDocument/2006/relationships/image" Target="../media/image182.emf"/></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206.xml"/><Relationship Id="rId1" Type="http://schemas.openxmlformats.org/officeDocument/2006/relationships/tags" Target="../tags/tag187.xml"/><Relationship Id="rId5" Type="http://schemas.openxmlformats.org/officeDocument/2006/relationships/image" Target="../media/image136.emf"/><Relationship Id="rId4" Type="http://schemas.openxmlformats.org/officeDocument/2006/relationships/oleObject" Target="../embeddings/oleObject166.bin"/></Relationships>
</file>

<file path=ppt/slides/_rels/slide62.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notesSlide" Target="../notesSlides/notesSlide61.xml"/><Relationship Id="rId7" Type="http://schemas.openxmlformats.org/officeDocument/2006/relationships/image" Target="../media/image188.png"/><Relationship Id="rId2" Type="http://schemas.openxmlformats.org/officeDocument/2006/relationships/slideLayout" Target="../slideLayouts/slideLayout219.xml"/><Relationship Id="rId1" Type="http://schemas.openxmlformats.org/officeDocument/2006/relationships/tags" Target="../tags/tag188.xml"/><Relationship Id="rId6" Type="http://schemas.openxmlformats.org/officeDocument/2006/relationships/image" Target="../media/image31.emf"/><Relationship Id="rId5" Type="http://schemas.openxmlformats.org/officeDocument/2006/relationships/oleObject" Target="../embeddings/oleObject167.bin"/><Relationship Id="rId10" Type="http://schemas.openxmlformats.org/officeDocument/2006/relationships/image" Target="../media/image191.png"/><Relationship Id="rId4" Type="http://schemas.microsoft.com/office/2018/10/relationships/comments" Target="../comments/modernComment_7FFFF949_2E361F5D.xml"/><Relationship Id="rId9" Type="http://schemas.openxmlformats.org/officeDocument/2006/relationships/image" Target="../media/image190.png"/></Relationships>
</file>

<file path=ppt/slides/_rels/slide63.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notesSlide" Target="../notesSlides/notesSlide62.xml"/><Relationship Id="rId7" Type="http://schemas.microsoft.com/office/2007/relationships/hdphoto" Target="../media/hdphoto4.wdp"/><Relationship Id="rId2" Type="http://schemas.openxmlformats.org/officeDocument/2006/relationships/slideLayout" Target="../slideLayouts/slideLayout181.xml"/><Relationship Id="rId1" Type="http://schemas.openxmlformats.org/officeDocument/2006/relationships/tags" Target="../tags/tag189.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168.bin"/></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71.xml"/></Relationships>
</file>

<file path=ppt/slides/_rels/slide6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64.xml"/><Relationship Id="rId7" Type="http://schemas.openxmlformats.org/officeDocument/2006/relationships/hyperlink" Target="https://www.linkedin.com/in/danieldracz/?originalSubdomain=hu" TargetMode="External"/><Relationship Id="rId2" Type="http://schemas.openxmlformats.org/officeDocument/2006/relationships/slideLayout" Target="../slideLayouts/slideLayout218.xml"/><Relationship Id="rId1" Type="http://schemas.openxmlformats.org/officeDocument/2006/relationships/tags" Target="../tags/tag190.xml"/><Relationship Id="rId6" Type="http://schemas.openxmlformats.org/officeDocument/2006/relationships/image" Target="../media/image106.png"/><Relationship Id="rId5" Type="http://schemas.openxmlformats.org/officeDocument/2006/relationships/image" Target="../media/image31.emf"/><Relationship Id="rId10" Type="http://schemas.openxmlformats.org/officeDocument/2006/relationships/image" Target="../media/image193.jpeg"/><Relationship Id="rId4" Type="http://schemas.openxmlformats.org/officeDocument/2006/relationships/oleObject" Target="../embeddings/oleObject169.bin"/><Relationship Id="rId9" Type="http://schemas.openxmlformats.org/officeDocument/2006/relationships/image" Target="../media/image108.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50.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81.xml"/><Relationship Id="rId1" Type="http://schemas.openxmlformats.org/officeDocument/2006/relationships/tags" Target="../tags/tag191.xml"/><Relationship Id="rId6" Type="http://schemas.openxmlformats.org/officeDocument/2006/relationships/image" Target="../media/image194.png"/><Relationship Id="rId5" Type="http://schemas.openxmlformats.org/officeDocument/2006/relationships/image" Target="../media/image31.emf"/><Relationship Id="rId4" Type="http://schemas.openxmlformats.org/officeDocument/2006/relationships/oleObject" Target="../embeddings/oleObject170.bin"/></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4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49.xm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6.xml"/><Relationship Id="rId7" Type="http://schemas.openxmlformats.org/officeDocument/2006/relationships/image" Target="../media/image43.png"/><Relationship Id="rId2" Type="http://schemas.openxmlformats.org/officeDocument/2006/relationships/slideLayout" Target="../slideLayouts/slideLayout172.xml"/><Relationship Id="rId1" Type="http://schemas.openxmlformats.org/officeDocument/2006/relationships/tags" Target="../tags/tag119.xml"/><Relationship Id="rId6" Type="http://schemas.openxmlformats.org/officeDocument/2006/relationships/image" Target="../media/image42.png"/><Relationship Id="rId5" Type="http://schemas.openxmlformats.org/officeDocument/2006/relationships/image" Target="../media/image31.emf"/><Relationship Id="rId4" Type="http://schemas.openxmlformats.org/officeDocument/2006/relationships/oleObject" Target="../embeddings/oleObject116.bin"/><Relationship Id="rId9" Type="http://schemas.openxmlformats.org/officeDocument/2006/relationships/image" Target="../media/image45.png"/></Relationships>
</file>

<file path=ppt/slides/_rels/slide70.xml.rels><?xml version="1.0" encoding="UTF-8" standalone="yes"?>
<Relationships xmlns="http://schemas.openxmlformats.org/package/2006/relationships"><Relationship Id="rId3" Type="http://schemas.microsoft.com/office/2018/10/relationships/comments" Target="../comments/modernComment_7FFFD96B_5A06B0BD.xml"/><Relationship Id="rId2" Type="http://schemas.openxmlformats.org/officeDocument/2006/relationships/notesSlide" Target="../notesSlides/notesSlide69.xml"/><Relationship Id="rId1" Type="http://schemas.openxmlformats.org/officeDocument/2006/relationships/slideLayout" Target="../slideLayouts/slideLayout219.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07.xml"/><Relationship Id="rId1" Type="http://schemas.openxmlformats.org/officeDocument/2006/relationships/tags" Target="../tags/tag192.xml"/><Relationship Id="rId6" Type="http://schemas.openxmlformats.org/officeDocument/2006/relationships/image" Target="../media/image195.png"/><Relationship Id="rId5" Type="http://schemas.openxmlformats.org/officeDocument/2006/relationships/image" Target="../media/image136.emf"/><Relationship Id="rId4" Type="http://schemas.openxmlformats.org/officeDocument/2006/relationships/oleObject" Target="../embeddings/oleObject171.bin"/></Relationships>
</file>

<file path=ppt/slides/_rels/slide72.xml.rels><?xml version="1.0" encoding="UTF-8" standalone="yes"?>
<Relationships xmlns="http://schemas.openxmlformats.org/package/2006/relationships"><Relationship Id="rId8" Type="http://schemas.openxmlformats.org/officeDocument/2006/relationships/image" Target="../media/image198.svg"/><Relationship Id="rId13" Type="http://schemas.openxmlformats.org/officeDocument/2006/relationships/image" Target="../media/image203.png"/><Relationship Id="rId18" Type="http://schemas.openxmlformats.org/officeDocument/2006/relationships/image" Target="../media/image208.svg"/><Relationship Id="rId26" Type="http://schemas.openxmlformats.org/officeDocument/2006/relationships/image" Target="../media/image216.svg"/><Relationship Id="rId3" Type="http://schemas.openxmlformats.org/officeDocument/2006/relationships/notesSlide" Target="../notesSlides/notesSlide71.xml"/><Relationship Id="rId21" Type="http://schemas.openxmlformats.org/officeDocument/2006/relationships/image" Target="../media/image211.png"/><Relationship Id="rId7" Type="http://schemas.openxmlformats.org/officeDocument/2006/relationships/image" Target="../media/image197.png"/><Relationship Id="rId12" Type="http://schemas.openxmlformats.org/officeDocument/2006/relationships/image" Target="../media/image202.svg"/><Relationship Id="rId17" Type="http://schemas.openxmlformats.org/officeDocument/2006/relationships/image" Target="../media/image207.png"/><Relationship Id="rId25" Type="http://schemas.openxmlformats.org/officeDocument/2006/relationships/image" Target="../media/image215.png"/><Relationship Id="rId2" Type="http://schemas.openxmlformats.org/officeDocument/2006/relationships/slideLayout" Target="../slideLayouts/slideLayout250.xml"/><Relationship Id="rId16" Type="http://schemas.openxmlformats.org/officeDocument/2006/relationships/image" Target="../media/image206.svg"/><Relationship Id="rId20" Type="http://schemas.openxmlformats.org/officeDocument/2006/relationships/image" Target="../media/image210.svg"/><Relationship Id="rId1" Type="http://schemas.openxmlformats.org/officeDocument/2006/relationships/tags" Target="../tags/tag193.xml"/><Relationship Id="rId6" Type="http://schemas.openxmlformats.org/officeDocument/2006/relationships/image" Target="../media/image196.png"/><Relationship Id="rId11" Type="http://schemas.openxmlformats.org/officeDocument/2006/relationships/image" Target="../media/image201.png"/><Relationship Id="rId24" Type="http://schemas.openxmlformats.org/officeDocument/2006/relationships/image" Target="../media/image214.svg"/><Relationship Id="rId5" Type="http://schemas.openxmlformats.org/officeDocument/2006/relationships/image" Target="../media/image31.emf"/><Relationship Id="rId15" Type="http://schemas.openxmlformats.org/officeDocument/2006/relationships/image" Target="../media/image205.png"/><Relationship Id="rId23" Type="http://schemas.openxmlformats.org/officeDocument/2006/relationships/image" Target="../media/image213.png"/><Relationship Id="rId10" Type="http://schemas.openxmlformats.org/officeDocument/2006/relationships/image" Target="../media/image200.svg"/><Relationship Id="rId19" Type="http://schemas.openxmlformats.org/officeDocument/2006/relationships/image" Target="../media/image209.png"/><Relationship Id="rId4" Type="http://schemas.openxmlformats.org/officeDocument/2006/relationships/oleObject" Target="../embeddings/oleObject172.bin"/><Relationship Id="rId9" Type="http://schemas.openxmlformats.org/officeDocument/2006/relationships/image" Target="../media/image199.png"/><Relationship Id="rId14" Type="http://schemas.openxmlformats.org/officeDocument/2006/relationships/image" Target="../media/image204.svg"/><Relationship Id="rId22" Type="http://schemas.openxmlformats.org/officeDocument/2006/relationships/image" Target="../media/image212.svg"/></Relationships>
</file>

<file path=ppt/slides/_rels/slide73.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72.xml"/><Relationship Id="rId1" Type="http://schemas.openxmlformats.org/officeDocument/2006/relationships/slideLayout" Target="../slideLayouts/slideLayout258.xml"/></Relationships>
</file>

<file path=ppt/slides/_rels/slide74.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2800.png"/><Relationship Id="rId2" Type="http://schemas.openxmlformats.org/officeDocument/2006/relationships/notesSlide" Target="../notesSlides/notesSlide73.xml"/><Relationship Id="rId1" Type="http://schemas.openxmlformats.org/officeDocument/2006/relationships/slideLayout" Target="../slideLayouts/slideLayout253.xml"/><Relationship Id="rId6" Type="http://schemas.openxmlformats.org/officeDocument/2006/relationships/customXml" Target="../ink/ink1.xml"/><Relationship Id="rId5" Type="http://schemas.microsoft.com/office/2007/relationships/hdphoto" Target="../media/hdphoto6.wdp"/><Relationship Id="rId4" Type="http://schemas.openxmlformats.org/officeDocument/2006/relationships/image" Target="../media/image219.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52.xml"/></Relationships>
</file>

<file path=ppt/slides/_rels/slide76.xml.rels><?xml version="1.0" encoding="UTF-8" standalone="yes"?>
<Relationships xmlns="http://schemas.openxmlformats.org/package/2006/relationships"><Relationship Id="rId8" Type="http://schemas.openxmlformats.org/officeDocument/2006/relationships/image" Target="../media/image222.png"/><Relationship Id="rId13" Type="http://schemas.openxmlformats.org/officeDocument/2006/relationships/image" Target="../media/image227.svg"/><Relationship Id="rId18" Type="http://schemas.openxmlformats.org/officeDocument/2006/relationships/image" Target="../media/image232.png"/><Relationship Id="rId3" Type="http://schemas.openxmlformats.org/officeDocument/2006/relationships/notesSlide" Target="../notesSlides/notesSlide75.xml"/><Relationship Id="rId21" Type="http://schemas.openxmlformats.org/officeDocument/2006/relationships/image" Target="../media/image235.svg"/><Relationship Id="rId7" Type="http://schemas.openxmlformats.org/officeDocument/2006/relationships/image" Target="../media/image221.svg"/><Relationship Id="rId12" Type="http://schemas.openxmlformats.org/officeDocument/2006/relationships/image" Target="../media/image226.png"/><Relationship Id="rId17" Type="http://schemas.openxmlformats.org/officeDocument/2006/relationships/image" Target="../media/image231.svg"/><Relationship Id="rId2" Type="http://schemas.openxmlformats.org/officeDocument/2006/relationships/slideLayout" Target="../slideLayouts/slideLayout24.xml"/><Relationship Id="rId16" Type="http://schemas.openxmlformats.org/officeDocument/2006/relationships/image" Target="../media/image230.png"/><Relationship Id="rId20" Type="http://schemas.openxmlformats.org/officeDocument/2006/relationships/image" Target="../media/image234.png"/><Relationship Id="rId1" Type="http://schemas.openxmlformats.org/officeDocument/2006/relationships/tags" Target="../tags/tag194.xml"/><Relationship Id="rId6" Type="http://schemas.openxmlformats.org/officeDocument/2006/relationships/image" Target="../media/image220.png"/><Relationship Id="rId11" Type="http://schemas.openxmlformats.org/officeDocument/2006/relationships/image" Target="../media/image225.svg"/><Relationship Id="rId5" Type="http://schemas.openxmlformats.org/officeDocument/2006/relationships/image" Target="../media/image2.emf"/><Relationship Id="rId15" Type="http://schemas.openxmlformats.org/officeDocument/2006/relationships/image" Target="../media/image229.svg"/><Relationship Id="rId10" Type="http://schemas.openxmlformats.org/officeDocument/2006/relationships/image" Target="../media/image224.png"/><Relationship Id="rId19" Type="http://schemas.openxmlformats.org/officeDocument/2006/relationships/image" Target="../media/image233.svg"/><Relationship Id="rId4" Type="http://schemas.openxmlformats.org/officeDocument/2006/relationships/oleObject" Target="../embeddings/oleObject173.bin"/><Relationship Id="rId9" Type="http://schemas.openxmlformats.org/officeDocument/2006/relationships/image" Target="../media/image223.svg"/><Relationship Id="rId14" Type="http://schemas.openxmlformats.org/officeDocument/2006/relationships/image" Target="../media/image228.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07.xml"/><Relationship Id="rId1" Type="http://schemas.openxmlformats.org/officeDocument/2006/relationships/tags" Target="../tags/tag195.xml"/><Relationship Id="rId5" Type="http://schemas.openxmlformats.org/officeDocument/2006/relationships/image" Target="../media/image136.emf"/><Relationship Id="rId4" Type="http://schemas.openxmlformats.org/officeDocument/2006/relationships/oleObject" Target="../embeddings/oleObject174.bin"/></Relationships>
</file>

<file path=ppt/slides/_rels/slide78.xml.rels><?xml version="1.0" encoding="UTF-8" standalone="yes"?>
<Relationships xmlns="http://schemas.openxmlformats.org/package/2006/relationships"><Relationship Id="rId8" Type="http://schemas.openxmlformats.org/officeDocument/2006/relationships/image" Target="../media/image238.png"/><Relationship Id="rId13" Type="http://schemas.openxmlformats.org/officeDocument/2006/relationships/image" Target="../media/image243.svg"/><Relationship Id="rId3" Type="http://schemas.openxmlformats.org/officeDocument/2006/relationships/notesSlide" Target="../notesSlides/notesSlide77.xml"/><Relationship Id="rId7" Type="http://schemas.openxmlformats.org/officeDocument/2006/relationships/image" Target="../media/image237.svg"/><Relationship Id="rId12" Type="http://schemas.openxmlformats.org/officeDocument/2006/relationships/image" Target="../media/image242.png"/><Relationship Id="rId17" Type="http://schemas.openxmlformats.org/officeDocument/2006/relationships/image" Target="../media/image247.svg"/><Relationship Id="rId2" Type="http://schemas.openxmlformats.org/officeDocument/2006/relationships/slideLayout" Target="../slideLayouts/slideLayout207.xml"/><Relationship Id="rId16" Type="http://schemas.openxmlformats.org/officeDocument/2006/relationships/image" Target="../media/image246.png"/><Relationship Id="rId1" Type="http://schemas.openxmlformats.org/officeDocument/2006/relationships/tags" Target="../tags/tag196.xml"/><Relationship Id="rId6" Type="http://schemas.openxmlformats.org/officeDocument/2006/relationships/image" Target="../media/image236.png"/><Relationship Id="rId11" Type="http://schemas.openxmlformats.org/officeDocument/2006/relationships/image" Target="../media/image241.svg"/><Relationship Id="rId5" Type="http://schemas.openxmlformats.org/officeDocument/2006/relationships/image" Target="../media/image136.emf"/><Relationship Id="rId15" Type="http://schemas.openxmlformats.org/officeDocument/2006/relationships/image" Target="../media/image245.svg"/><Relationship Id="rId10" Type="http://schemas.openxmlformats.org/officeDocument/2006/relationships/image" Target="../media/image240.png"/><Relationship Id="rId4" Type="http://schemas.openxmlformats.org/officeDocument/2006/relationships/oleObject" Target="../embeddings/oleObject175.bin"/><Relationship Id="rId9" Type="http://schemas.openxmlformats.org/officeDocument/2006/relationships/image" Target="../media/image239.svg"/><Relationship Id="rId14" Type="http://schemas.openxmlformats.org/officeDocument/2006/relationships/image" Target="../media/image244.png"/></Relationships>
</file>

<file path=ppt/slides/_rels/slide79.xml.rels><?xml version="1.0" encoding="UTF-8" standalone="yes"?>
<Relationships xmlns="http://schemas.openxmlformats.org/package/2006/relationships"><Relationship Id="rId8" Type="http://schemas.openxmlformats.org/officeDocument/2006/relationships/image" Target="../media/image253.png"/><Relationship Id="rId13" Type="http://schemas.openxmlformats.org/officeDocument/2006/relationships/image" Target="../media/image258.png"/><Relationship Id="rId18" Type="http://schemas.openxmlformats.org/officeDocument/2006/relationships/image" Target="../media/image263.png"/><Relationship Id="rId26" Type="http://schemas.microsoft.com/office/2007/relationships/hdphoto" Target="../media/hdphoto7.wdp"/><Relationship Id="rId3" Type="http://schemas.openxmlformats.org/officeDocument/2006/relationships/image" Target="../media/image248.jpeg"/><Relationship Id="rId21" Type="http://schemas.openxmlformats.org/officeDocument/2006/relationships/image" Target="../media/image266.png"/><Relationship Id="rId7" Type="http://schemas.openxmlformats.org/officeDocument/2006/relationships/image" Target="../media/image252.png"/><Relationship Id="rId12" Type="http://schemas.openxmlformats.org/officeDocument/2006/relationships/image" Target="../media/image257.png"/><Relationship Id="rId17" Type="http://schemas.openxmlformats.org/officeDocument/2006/relationships/image" Target="../media/image262.png"/><Relationship Id="rId25" Type="http://schemas.openxmlformats.org/officeDocument/2006/relationships/image" Target="../media/image270.png"/><Relationship Id="rId2" Type="http://schemas.openxmlformats.org/officeDocument/2006/relationships/notesSlide" Target="../notesSlides/notesSlide78.xml"/><Relationship Id="rId16" Type="http://schemas.openxmlformats.org/officeDocument/2006/relationships/image" Target="../media/image261.png"/><Relationship Id="rId20" Type="http://schemas.openxmlformats.org/officeDocument/2006/relationships/image" Target="../media/image265.png"/><Relationship Id="rId1" Type="http://schemas.openxmlformats.org/officeDocument/2006/relationships/slideLayout" Target="../slideLayouts/slideLayout250.xml"/><Relationship Id="rId6" Type="http://schemas.openxmlformats.org/officeDocument/2006/relationships/image" Target="../media/image251.png"/><Relationship Id="rId11" Type="http://schemas.openxmlformats.org/officeDocument/2006/relationships/image" Target="../media/image256.png"/><Relationship Id="rId24" Type="http://schemas.openxmlformats.org/officeDocument/2006/relationships/image" Target="../media/image269.svg"/><Relationship Id="rId5" Type="http://schemas.openxmlformats.org/officeDocument/2006/relationships/image" Target="../media/image250.png"/><Relationship Id="rId15" Type="http://schemas.openxmlformats.org/officeDocument/2006/relationships/image" Target="../media/image260.png"/><Relationship Id="rId23" Type="http://schemas.openxmlformats.org/officeDocument/2006/relationships/image" Target="../media/image268.png"/><Relationship Id="rId10" Type="http://schemas.openxmlformats.org/officeDocument/2006/relationships/image" Target="../media/image255.png"/><Relationship Id="rId19" Type="http://schemas.openxmlformats.org/officeDocument/2006/relationships/image" Target="../media/image264.png"/><Relationship Id="rId4" Type="http://schemas.openxmlformats.org/officeDocument/2006/relationships/image" Target="../media/image249.png"/><Relationship Id="rId9" Type="http://schemas.openxmlformats.org/officeDocument/2006/relationships/image" Target="../media/image254.png"/><Relationship Id="rId14" Type="http://schemas.openxmlformats.org/officeDocument/2006/relationships/image" Target="../media/image259.png"/><Relationship Id="rId22" Type="http://schemas.openxmlformats.org/officeDocument/2006/relationships/image" Target="../media/image267.png"/><Relationship Id="rId27" Type="http://schemas.openxmlformats.org/officeDocument/2006/relationships/image" Target="../media/image271.png"/></Relationships>
</file>

<file path=ppt/slides/_rels/slide8.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3" Type="http://schemas.openxmlformats.org/officeDocument/2006/relationships/tags" Target="../tags/tag122.xml"/><Relationship Id="rId21" Type="http://schemas.openxmlformats.org/officeDocument/2006/relationships/notesSlide" Target="../notesSlides/notesSlide7.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slideLayout" Target="../slideLayouts/slideLayout182.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chart" Target="../charts/chart1.xml"/><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image" Target="../media/image31.emf"/><Relationship Id="rId10" Type="http://schemas.openxmlformats.org/officeDocument/2006/relationships/tags" Target="../tags/tag129.xml"/><Relationship Id="rId19" Type="http://schemas.openxmlformats.org/officeDocument/2006/relationships/tags" Target="../tags/tag138.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oleObject" Target="../embeddings/oleObject117.bin"/></Relationships>
</file>

<file path=ppt/slides/_rels/slide80.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273.png"/><Relationship Id="rId18" Type="http://schemas.openxmlformats.org/officeDocument/2006/relationships/image" Target="../media/image278.jpeg"/><Relationship Id="rId3" Type="http://schemas.openxmlformats.org/officeDocument/2006/relationships/notesSlide" Target="../notesSlides/notesSlide79.xml"/><Relationship Id="rId7" Type="http://schemas.openxmlformats.org/officeDocument/2006/relationships/image" Target="../media/image108.png"/><Relationship Id="rId12" Type="http://schemas.openxmlformats.org/officeDocument/2006/relationships/image" Target="../media/image272.jpeg"/><Relationship Id="rId17" Type="http://schemas.openxmlformats.org/officeDocument/2006/relationships/image" Target="../media/image277.jpeg"/><Relationship Id="rId2" Type="http://schemas.openxmlformats.org/officeDocument/2006/relationships/slideLayout" Target="../slideLayouts/slideLayout181.xml"/><Relationship Id="rId16" Type="http://schemas.openxmlformats.org/officeDocument/2006/relationships/image" Target="../media/image276.jpeg"/><Relationship Id="rId20" Type="http://schemas.openxmlformats.org/officeDocument/2006/relationships/image" Target="../media/image280.jpeg"/><Relationship Id="rId1" Type="http://schemas.openxmlformats.org/officeDocument/2006/relationships/tags" Target="../tags/tag197.xml"/><Relationship Id="rId6" Type="http://schemas.openxmlformats.org/officeDocument/2006/relationships/image" Target="../media/image110.emf"/><Relationship Id="rId11" Type="http://schemas.microsoft.com/office/2007/relationships/hdphoto" Target="../media/hdphoto2.wdp"/><Relationship Id="rId5" Type="http://schemas.openxmlformats.org/officeDocument/2006/relationships/oleObject" Target="../embeddings/oleObject176.bin"/><Relationship Id="rId15" Type="http://schemas.openxmlformats.org/officeDocument/2006/relationships/image" Target="../media/image275.jpeg"/><Relationship Id="rId10" Type="http://schemas.openxmlformats.org/officeDocument/2006/relationships/image" Target="../media/image111.png"/><Relationship Id="rId19" Type="http://schemas.openxmlformats.org/officeDocument/2006/relationships/image" Target="../media/image279.jpeg"/><Relationship Id="rId4" Type="http://schemas.microsoft.com/office/2018/10/relationships/comments" Target="../comments/modernComment_7FFFD96E_AD8EE829.xml"/><Relationship Id="rId9" Type="http://schemas.openxmlformats.org/officeDocument/2006/relationships/image" Target="../media/image54.png"/><Relationship Id="rId14" Type="http://schemas.openxmlformats.org/officeDocument/2006/relationships/image" Target="../media/image274.jpeg"/></Relationships>
</file>

<file path=ppt/slides/_rels/slide81.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281.jpeg"/><Relationship Id="rId3" Type="http://schemas.openxmlformats.org/officeDocument/2006/relationships/notesSlide" Target="../notesSlides/notesSlide80.xml"/><Relationship Id="rId7" Type="http://schemas.openxmlformats.org/officeDocument/2006/relationships/image" Target="../media/image108.png"/><Relationship Id="rId12" Type="http://schemas.openxmlformats.org/officeDocument/2006/relationships/image" Target="../media/image129.jpeg"/><Relationship Id="rId2" Type="http://schemas.openxmlformats.org/officeDocument/2006/relationships/slideLayout" Target="../slideLayouts/slideLayout181.xml"/><Relationship Id="rId1" Type="http://schemas.openxmlformats.org/officeDocument/2006/relationships/tags" Target="../tags/tag198.xml"/><Relationship Id="rId6" Type="http://schemas.openxmlformats.org/officeDocument/2006/relationships/image" Target="../media/image37.png"/><Relationship Id="rId11" Type="http://schemas.openxmlformats.org/officeDocument/2006/relationships/image" Target="../media/image115.jpeg"/><Relationship Id="rId5" Type="http://schemas.openxmlformats.org/officeDocument/2006/relationships/image" Target="../media/image110.emf"/><Relationship Id="rId10" Type="http://schemas.microsoft.com/office/2007/relationships/hdphoto" Target="../media/hdphoto2.wdp"/><Relationship Id="rId4" Type="http://schemas.openxmlformats.org/officeDocument/2006/relationships/oleObject" Target="../embeddings/oleObject177.bin"/><Relationship Id="rId9" Type="http://schemas.openxmlformats.org/officeDocument/2006/relationships/image" Target="../media/image111.png"/><Relationship Id="rId14" Type="http://schemas.openxmlformats.org/officeDocument/2006/relationships/image" Target="../media/image282.jpeg"/></Relationships>
</file>

<file path=ppt/slides/_rels/slide8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notesSlide" Target="../notesSlides/notesSlide81.xml"/><Relationship Id="rId7" Type="http://schemas.openxmlformats.org/officeDocument/2006/relationships/image" Target="../media/image153.png"/><Relationship Id="rId2" Type="http://schemas.openxmlformats.org/officeDocument/2006/relationships/slideLayout" Target="../slideLayouts/slideLayout181.xml"/><Relationship Id="rId1" Type="http://schemas.openxmlformats.org/officeDocument/2006/relationships/tags" Target="../tags/tag199.xml"/><Relationship Id="rId6" Type="http://schemas.openxmlformats.org/officeDocument/2006/relationships/image" Target="../media/image110.emf"/><Relationship Id="rId5" Type="http://schemas.openxmlformats.org/officeDocument/2006/relationships/oleObject" Target="../embeddings/oleObject178.bin"/><Relationship Id="rId4" Type="http://schemas.microsoft.com/office/2018/10/relationships/comments" Target="../comments/modernComment_7FFFD96F_7835C621.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207.xml"/><Relationship Id="rId1" Type="http://schemas.openxmlformats.org/officeDocument/2006/relationships/tags" Target="../tags/tag200.xml"/><Relationship Id="rId6" Type="http://schemas.openxmlformats.org/officeDocument/2006/relationships/image" Target="../media/image283.jpeg"/><Relationship Id="rId5" Type="http://schemas.openxmlformats.org/officeDocument/2006/relationships/image" Target="../media/image136.emf"/><Relationship Id="rId4" Type="http://schemas.openxmlformats.org/officeDocument/2006/relationships/oleObject" Target="../embeddings/oleObject17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207.xml"/><Relationship Id="rId1" Type="http://schemas.openxmlformats.org/officeDocument/2006/relationships/tags" Target="../tags/tag201.xml"/><Relationship Id="rId6" Type="http://schemas.openxmlformats.org/officeDocument/2006/relationships/image" Target="../media/image284.png"/><Relationship Id="rId5" Type="http://schemas.openxmlformats.org/officeDocument/2006/relationships/image" Target="../media/image136.emf"/><Relationship Id="rId4" Type="http://schemas.openxmlformats.org/officeDocument/2006/relationships/oleObject" Target="../embeddings/oleObject180.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microsoft.com/office/2007/relationships/hdphoto" Target="../media/hdphoto4.wdp"/><Relationship Id="rId2" Type="http://schemas.openxmlformats.org/officeDocument/2006/relationships/slideLayout" Target="../slideLayouts/slideLayout181.xml"/><Relationship Id="rId1" Type="http://schemas.openxmlformats.org/officeDocument/2006/relationships/tags" Target="../tags/tag202.xml"/><Relationship Id="rId6" Type="http://schemas.openxmlformats.org/officeDocument/2006/relationships/image" Target="../media/image153.png"/><Relationship Id="rId5" Type="http://schemas.openxmlformats.org/officeDocument/2006/relationships/image" Target="../media/image110.emf"/><Relationship Id="rId4" Type="http://schemas.openxmlformats.org/officeDocument/2006/relationships/oleObject" Target="../embeddings/oleObject181.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07.xml"/><Relationship Id="rId1" Type="http://schemas.openxmlformats.org/officeDocument/2006/relationships/tags" Target="../tags/tag203.xml"/><Relationship Id="rId6" Type="http://schemas.openxmlformats.org/officeDocument/2006/relationships/image" Target="../media/image285.jpeg"/><Relationship Id="rId5" Type="http://schemas.openxmlformats.org/officeDocument/2006/relationships/image" Target="../media/image136.emf"/><Relationship Id="rId4" Type="http://schemas.openxmlformats.org/officeDocument/2006/relationships/oleObject" Target="../embeddings/oleObject182.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207.xml"/><Relationship Id="rId1" Type="http://schemas.openxmlformats.org/officeDocument/2006/relationships/tags" Target="../tags/tag204.xml"/><Relationship Id="rId6" Type="http://schemas.openxmlformats.org/officeDocument/2006/relationships/image" Target="../media/image286.jpeg"/><Relationship Id="rId5" Type="http://schemas.openxmlformats.org/officeDocument/2006/relationships/image" Target="../media/image136.emf"/><Relationship Id="rId4" Type="http://schemas.openxmlformats.org/officeDocument/2006/relationships/oleObject" Target="../embeddings/oleObject183.bin"/></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71.xml"/></Relationships>
</file>

<file path=ppt/slides/_rels/slide89.xml.rels><?xml version="1.0" encoding="UTF-8" standalone="yes"?>
<Relationships xmlns="http://schemas.openxmlformats.org/package/2006/relationships"><Relationship Id="rId8" Type="http://schemas.openxmlformats.org/officeDocument/2006/relationships/hyperlink" Target="https://www.linkedin.com/in/eszter-luk%C3%A1cs-89249385/" TargetMode="External"/><Relationship Id="rId3" Type="http://schemas.openxmlformats.org/officeDocument/2006/relationships/notesSlide" Target="../notesSlides/notesSlide88.xml"/><Relationship Id="rId7" Type="http://schemas.openxmlformats.org/officeDocument/2006/relationships/image" Target="../media/image106.png"/><Relationship Id="rId2" Type="http://schemas.openxmlformats.org/officeDocument/2006/relationships/slideLayout" Target="../slideLayouts/slideLayout336.xml"/><Relationship Id="rId1" Type="http://schemas.openxmlformats.org/officeDocument/2006/relationships/tags" Target="../tags/tag205.xml"/><Relationship Id="rId6" Type="http://schemas.openxmlformats.org/officeDocument/2006/relationships/image" Target="../media/image287.jpeg"/><Relationship Id="rId5" Type="http://schemas.openxmlformats.org/officeDocument/2006/relationships/image" Target="../media/image31.emf"/><Relationship Id="rId10" Type="http://schemas.openxmlformats.org/officeDocument/2006/relationships/image" Target="../media/image108.png"/><Relationship Id="rId4" Type="http://schemas.openxmlformats.org/officeDocument/2006/relationships/oleObject" Target="../embeddings/oleObject184.bin"/><Relationship Id="rId9" Type="http://schemas.openxmlformats.org/officeDocument/2006/relationships/image" Target="../media/image10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2.xml"/><Relationship Id="rId1" Type="http://schemas.openxmlformats.org/officeDocument/2006/relationships/tags" Target="../tags/tag139.xml"/><Relationship Id="rId5" Type="http://schemas.openxmlformats.org/officeDocument/2006/relationships/image" Target="../media/image31.emf"/><Relationship Id="rId4" Type="http://schemas.openxmlformats.org/officeDocument/2006/relationships/oleObject" Target="../embeddings/oleObject118.bin"/></Relationships>
</file>

<file path=ppt/slides/_rels/slide90.xml.rels><?xml version="1.0" encoding="UTF-8" standalone="yes"?>
<Relationships xmlns="http://schemas.openxmlformats.org/package/2006/relationships"><Relationship Id="rId3" Type="http://schemas.microsoft.com/office/2018/10/relationships/comments" Target="../comments/modernComment_7FFFF9A3_12BB73CD.xml"/><Relationship Id="rId2" Type="http://schemas.openxmlformats.org/officeDocument/2006/relationships/slideLayout" Target="../slideLayouts/slideLayout335.xml"/><Relationship Id="rId1" Type="http://schemas.openxmlformats.org/officeDocument/2006/relationships/tags" Target="../tags/tag206.xml"/><Relationship Id="rId5" Type="http://schemas.openxmlformats.org/officeDocument/2006/relationships/image" Target="../media/image31.emf"/><Relationship Id="rId4" Type="http://schemas.openxmlformats.org/officeDocument/2006/relationships/oleObject" Target="../embeddings/oleObject185.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74.xml"/><Relationship Id="rId1" Type="http://schemas.openxmlformats.org/officeDocument/2006/relationships/tags" Target="../tags/tag207.xml"/><Relationship Id="rId5" Type="http://schemas.openxmlformats.org/officeDocument/2006/relationships/image" Target="../media/image31.emf"/><Relationship Id="rId4" Type="http://schemas.openxmlformats.org/officeDocument/2006/relationships/oleObject" Target="../embeddings/oleObject186.bin"/></Relationships>
</file>

<file path=ppt/slides/_rels/slide92.xml.rels><?xml version="1.0" encoding="UTF-8" standalone="yes"?>
<Relationships xmlns="http://schemas.openxmlformats.org/package/2006/relationships"><Relationship Id="rId8" Type="http://schemas.openxmlformats.org/officeDocument/2006/relationships/slideLayout" Target="../slideLayouts/slideLayout274.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288.wmf"/><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31.emf"/><Relationship Id="rId5" Type="http://schemas.openxmlformats.org/officeDocument/2006/relationships/tags" Target="../tags/tag212.xml"/><Relationship Id="rId10" Type="http://schemas.openxmlformats.org/officeDocument/2006/relationships/oleObject" Target="../embeddings/oleObject187.bin"/><Relationship Id="rId4" Type="http://schemas.openxmlformats.org/officeDocument/2006/relationships/tags" Target="../tags/tag211.xml"/><Relationship Id="rId9" Type="http://schemas.openxmlformats.org/officeDocument/2006/relationships/notesSlide" Target="../notesSlides/notesSlide90.xml"/></Relationships>
</file>

<file path=ppt/slides/_rels/slide93.xml.rels><?xml version="1.0" encoding="UTF-8" standalone="yes"?>
<Relationships xmlns="http://schemas.openxmlformats.org/package/2006/relationships"><Relationship Id="rId8" Type="http://schemas.openxmlformats.org/officeDocument/2006/relationships/image" Target="../media/image291.png"/><Relationship Id="rId3" Type="http://schemas.openxmlformats.org/officeDocument/2006/relationships/notesSlide" Target="../notesSlides/notesSlide91.xml"/><Relationship Id="rId7" Type="http://schemas.openxmlformats.org/officeDocument/2006/relationships/image" Target="../media/image290.jpeg"/><Relationship Id="rId12" Type="http://schemas.openxmlformats.org/officeDocument/2006/relationships/image" Target="../media/image295.png"/><Relationship Id="rId2" Type="http://schemas.openxmlformats.org/officeDocument/2006/relationships/slideLayout" Target="../slideLayouts/slideLayout274.xml"/><Relationship Id="rId1" Type="http://schemas.openxmlformats.org/officeDocument/2006/relationships/tags" Target="../tags/tag215.xml"/><Relationship Id="rId6" Type="http://schemas.openxmlformats.org/officeDocument/2006/relationships/image" Target="../media/image289.jpeg"/><Relationship Id="rId11" Type="http://schemas.openxmlformats.org/officeDocument/2006/relationships/image" Target="../media/image294.png"/><Relationship Id="rId5" Type="http://schemas.openxmlformats.org/officeDocument/2006/relationships/image" Target="../media/image31.emf"/><Relationship Id="rId10" Type="http://schemas.openxmlformats.org/officeDocument/2006/relationships/image" Target="../media/image293.png"/><Relationship Id="rId4" Type="http://schemas.openxmlformats.org/officeDocument/2006/relationships/oleObject" Target="../embeddings/oleObject188.bin"/><Relationship Id="rId9" Type="http://schemas.openxmlformats.org/officeDocument/2006/relationships/image" Target="../media/image292.emf"/></Relationships>
</file>

<file path=ppt/slides/_rels/slide94.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notesSlide" Target="../notesSlides/notesSlide92.xml"/><Relationship Id="rId7" Type="http://schemas.openxmlformats.org/officeDocument/2006/relationships/image" Target="../media/image297.png"/><Relationship Id="rId2" Type="http://schemas.openxmlformats.org/officeDocument/2006/relationships/slideLayout" Target="../slideLayouts/slideLayout274.xml"/><Relationship Id="rId1" Type="http://schemas.openxmlformats.org/officeDocument/2006/relationships/tags" Target="../tags/tag216.xml"/><Relationship Id="rId6" Type="http://schemas.openxmlformats.org/officeDocument/2006/relationships/image" Target="../media/image296.png"/><Relationship Id="rId11" Type="http://schemas.openxmlformats.org/officeDocument/2006/relationships/image" Target="../media/image301.svg"/><Relationship Id="rId5" Type="http://schemas.openxmlformats.org/officeDocument/2006/relationships/image" Target="../media/image31.emf"/><Relationship Id="rId10" Type="http://schemas.openxmlformats.org/officeDocument/2006/relationships/image" Target="../media/image300.png"/><Relationship Id="rId4" Type="http://schemas.openxmlformats.org/officeDocument/2006/relationships/oleObject" Target="../embeddings/oleObject189.bin"/><Relationship Id="rId9" Type="http://schemas.openxmlformats.org/officeDocument/2006/relationships/image" Target="../media/image299.jpe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274.xml"/><Relationship Id="rId1" Type="http://schemas.openxmlformats.org/officeDocument/2006/relationships/tags" Target="../tags/tag217.xml"/><Relationship Id="rId5" Type="http://schemas.openxmlformats.org/officeDocument/2006/relationships/image" Target="../media/image31.emf"/><Relationship Id="rId4" Type="http://schemas.openxmlformats.org/officeDocument/2006/relationships/oleObject" Target="../embeddings/oleObject190.bin"/></Relationships>
</file>

<file path=ppt/slides/_rels/slide96.xml.rels><?xml version="1.0" encoding="UTF-8" standalone="yes"?>
<Relationships xmlns="http://schemas.openxmlformats.org/package/2006/relationships"><Relationship Id="rId8" Type="http://schemas.openxmlformats.org/officeDocument/2006/relationships/image" Target="../media/image304.png"/><Relationship Id="rId13" Type="http://schemas.openxmlformats.org/officeDocument/2006/relationships/image" Target="../media/image309.emf"/><Relationship Id="rId3" Type="http://schemas.openxmlformats.org/officeDocument/2006/relationships/notesSlide" Target="../notesSlides/notesSlide94.xml"/><Relationship Id="rId7" Type="http://schemas.openxmlformats.org/officeDocument/2006/relationships/image" Target="../media/image303.jpeg"/><Relationship Id="rId12" Type="http://schemas.openxmlformats.org/officeDocument/2006/relationships/image" Target="../media/image308.png"/><Relationship Id="rId2" Type="http://schemas.openxmlformats.org/officeDocument/2006/relationships/slideLayout" Target="../slideLayouts/slideLayout274.xml"/><Relationship Id="rId1" Type="http://schemas.openxmlformats.org/officeDocument/2006/relationships/tags" Target="../tags/tag218.xml"/><Relationship Id="rId6" Type="http://schemas.openxmlformats.org/officeDocument/2006/relationships/image" Target="../media/image302.png"/><Relationship Id="rId11" Type="http://schemas.openxmlformats.org/officeDocument/2006/relationships/image" Target="../media/image307.png"/><Relationship Id="rId5" Type="http://schemas.openxmlformats.org/officeDocument/2006/relationships/image" Target="../media/image31.emf"/><Relationship Id="rId10" Type="http://schemas.openxmlformats.org/officeDocument/2006/relationships/image" Target="../media/image306.png"/><Relationship Id="rId4" Type="http://schemas.openxmlformats.org/officeDocument/2006/relationships/oleObject" Target="../embeddings/oleObject191.bin"/><Relationship Id="rId9" Type="http://schemas.openxmlformats.org/officeDocument/2006/relationships/image" Target="../media/image305.png"/><Relationship Id="rId14" Type="http://schemas.openxmlformats.org/officeDocument/2006/relationships/image" Target="../media/image310.png"/></Relationships>
</file>

<file path=ppt/slides/_rels/slide97.xml.rels><?xml version="1.0" encoding="UTF-8" standalone="yes"?>
<Relationships xmlns="http://schemas.openxmlformats.org/package/2006/relationships"><Relationship Id="rId8" Type="http://schemas.openxmlformats.org/officeDocument/2006/relationships/image" Target="../media/image313.png"/><Relationship Id="rId3" Type="http://schemas.openxmlformats.org/officeDocument/2006/relationships/notesSlide" Target="../notesSlides/notesSlide95.xml"/><Relationship Id="rId7" Type="http://schemas.openxmlformats.org/officeDocument/2006/relationships/image" Target="../media/image312.png"/><Relationship Id="rId2" Type="http://schemas.openxmlformats.org/officeDocument/2006/relationships/slideLayout" Target="../slideLayouts/slideLayout274.xml"/><Relationship Id="rId1" Type="http://schemas.openxmlformats.org/officeDocument/2006/relationships/tags" Target="../tags/tag219.xml"/><Relationship Id="rId6" Type="http://schemas.openxmlformats.org/officeDocument/2006/relationships/image" Target="../media/image311.png"/><Relationship Id="rId5" Type="http://schemas.openxmlformats.org/officeDocument/2006/relationships/image" Target="../media/image31.emf"/><Relationship Id="rId4" Type="http://schemas.openxmlformats.org/officeDocument/2006/relationships/oleObject" Target="../embeddings/oleObject192.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274.xml"/><Relationship Id="rId1" Type="http://schemas.openxmlformats.org/officeDocument/2006/relationships/tags" Target="../tags/tag220.xml"/><Relationship Id="rId5" Type="http://schemas.openxmlformats.org/officeDocument/2006/relationships/image" Target="../media/image31.emf"/><Relationship Id="rId4" Type="http://schemas.openxmlformats.org/officeDocument/2006/relationships/oleObject" Target="../embeddings/oleObject193.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274.xml"/><Relationship Id="rId1" Type="http://schemas.openxmlformats.org/officeDocument/2006/relationships/tags" Target="../tags/tag221.xml"/><Relationship Id="rId5" Type="http://schemas.openxmlformats.org/officeDocument/2006/relationships/image" Target="../media/image31.emf"/><Relationship Id="rId4" Type="http://schemas.openxmlformats.org/officeDocument/2006/relationships/oleObject" Target="../embeddings/oleObject19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06F20BB-6230-692D-82DD-42AB0FB9498B}"/>
              </a:ext>
            </a:extLst>
          </p:cNvPr>
          <p:cNvGraphicFramePr>
            <a:graphicFrameLocks noChangeAspect="1"/>
          </p:cNvGraphicFramePr>
          <p:nvPr>
            <p:custDataLst>
              <p:tags r:id="rId1"/>
            </p:custDataLst>
            <p:extLst>
              <p:ext uri="{D42A27DB-BD31-4B8C-83A1-F6EECF244321}">
                <p14:modId xmlns:p14="http://schemas.microsoft.com/office/powerpoint/2010/main" val="30257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4" name="think-cell data - do not delete" hidden="1">
                        <a:extLst>
                          <a:ext uri="{FF2B5EF4-FFF2-40B4-BE49-F238E27FC236}">
                            <a16:creationId xmlns:a16="http://schemas.microsoft.com/office/drawing/2014/main" id="{906F20BB-6230-692D-82DD-42AB0FB949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4EC63F6-D2BE-4E43-A303-96E9F17AAA0A}"/>
              </a:ext>
            </a:extLst>
          </p:cNvPr>
          <p:cNvSpPr>
            <a:spLocks noGrp="1"/>
          </p:cNvSpPr>
          <p:nvPr>
            <p:ph type="ctrTitle"/>
          </p:nvPr>
        </p:nvSpPr>
        <p:spPr>
          <a:xfrm>
            <a:off x="457201" y="3110327"/>
            <a:ext cx="4071256" cy="772631"/>
          </a:xfrm>
        </p:spPr>
        <p:txBody>
          <a:bodyPr vert="horz" anchor="t"/>
          <a:lstStyle/>
          <a:p>
            <a:r>
              <a:rPr lang="en-US"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Business Solutions and Consulting Services</a:t>
            </a:r>
            <a:endParaRPr lang="en-US"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3" name="Text Placeholder 2">
            <a:extLst>
              <a:ext uri="{FF2B5EF4-FFF2-40B4-BE49-F238E27FC236}">
                <a16:creationId xmlns:a16="http://schemas.microsoft.com/office/drawing/2014/main" id="{37194EFA-2971-4EA8-9C69-165CDF59BFF1}"/>
              </a:ext>
            </a:extLst>
          </p:cNvPr>
          <p:cNvSpPr>
            <a:spLocks noGrp="1"/>
          </p:cNvSpPr>
          <p:nvPr>
            <p:ph type="body" sz="quarter" idx="10"/>
          </p:nvPr>
        </p:nvSpPr>
        <p:spPr>
          <a:xfrm>
            <a:off x="457201" y="4943819"/>
            <a:ext cx="5816850" cy="273050"/>
          </a:xfrm>
        </p:spPr>
        <p:txBody>
          <a:bodyPr/>
          <a:lstStyle/>
          <a:p>
            <a:pPr algn="l"/>
            <a:r>
              <a:rPr lang="en-US" sz="1800" b="0" i="0" u="none" strike="noStrike" baseline="0" dirty="0">
                <a:solidFill>
                  <a:srgbClr val="000000"/>
                </a:solidFill>
                <a:latin typeface="Calibri" panose="020F0502020204030204" pitchFamily="34" charset="0"/>
              </a:rPr>
              <a:t>RFPS-2023-503636</a:t>
            </a:r>
          </a:p>
          <a:p>
            <a:pPr algn="l"/>
            <a:endParaRPr lang="en-US" sz="1800" dirty="0">
              <a:solidFill>
                <a:srgbClr val="000000"/>
              </a:solidFill>
              <a:latin typeface="Calibri" panose="020F0502020204030204" pitchFamily="34" charset="0"/>
            </a:endParaRPr>
          </a:p>
          <a:p>
            <a:pPr algn="l"/>
            <a:r>
              <a:rPr lang="en-US" sz="1800" b="0" i="0" u="none" strike="noStrike" baseline="0" dirty="0">
                <a:solidFill>
                  <a:srgbClr val="000000"/>
                </a:solidFill>
                <a:latin typeface="Calibri" panose="020F0502020204030204" pitchFamily="34" charset="0"/>
              </a:rPr>
              <a:t>A technical proposal</a:t>
            </a:r>
            <a:r>
              <a:rPr lang="hu-HU" sz="1800" b="0" i="0" u="none" strike="noStrike" baseline="0" dirty="0">
                <a:solidFill>
                  <a:srgbClr val="000000"/>
                </a:solidFill>
                <a:latin typeface="Calibri" panose="020F0502020204030204" pitchFamily="34" charset="0"/>
              </a:rPr>
              <a:t> </a:t>
            </a:r>
            <a:r>
              <a:rPr lang="hu-HU" sz="1800" b="0" i="0" u="none" strike="noStrike" baseline="0" dirty="0" err="1">
                <a:solidFill>
                  <a:srgbClr val="000000"/>
                </a:solidFill>
                <a:latin typeface="Calibri" panose="020F0502020204030204" pitchFamily="34" charset="0"/>
              </a:rPr>
              <a:t>for</a:t>
            </a:r>
            <a:r>
              <a:rPr lang="hu-HU" sz="1800" b="0" i="0" u="none" strike="noStrike" baseline="0" dirty="0">
                <a:solidFill>
                  <a:srgbClr val="000000"/>
                </a:solidFill>
                <a:latin typeface="Calibri" panose="020F0502020204030204" pitchFamily="34" charset="0"/>
              </a:rPr>
              <a:t> UNICEF GSSC</a:t>
            </a:r>
            <a:r>
              <a:rPr lang="en-US" sz="1800" b="0" i="0" u="none" strike="noStrike" baseline="0" dirty="0">
                <a:solidFill>
                  <a:srgbClr val="000000"/>
                </a:solidFill>
                <a:latin typeface="Calibri" panose="020F0502020204030204" pitchFamily="34" charset="0"/>
              </a:rPr>
              <a:t> by </a:t>
            </a:r>
            <a:br>
              <a:rPr lang="en-US" sz="1800" b="0" i="0" u="none" strike="noStrike" baseline="0" dirty="0">
                <a:solidFill>
                  <a:srgbClr val="000000"/>
                </a:solidFill>
                <a:latin typeface="Calibri" panose="020F0502020204030204" pitchFamily="34" charset="0"/>
              </a:rPr>
            </a:br>
            <a:r>
              <a:rPr lang="en-US" sz="1800" b="0" i="0" u="none" strike="noStrike" baseline="0" dirty="0">
                <a:solidFill>
                  <a:srgbClr val="000000"/>
                </a:solidFill>
                <a:latin typeface="Calibri" panose="020F0502020204030204" pitchFamily="34" charset="0"/>
              </a:rPr>
              <a:t>Deloitte Advisory and Management Consulting Ltd.</a:t>
            </a:r>
          </a:p>
          <a:p>
            <a:pPr algn="l"/>
            <a:r>
              <a:rPr lang="en-US" sz="1800" dirty="0">
                <a:solidFill>
                  <a:srgbClr val="000000"/>
                </a:solidFill>
                <a:latin typeface="Calibri" panose="020F0502020204030204" pitchFamily="34" charset="0"/>
              </a:rPr>
              <a:t>Contact persons: Daniel Kiss and Eszter </a:t>
            </a:r>
            <a:r>
              <a:rPr lang="en-US" sz="1800" dirty="0" err="1">
                <a:solidFill>
                  <a:srgbClr val="000000"/>
                </a:solidFill>
                <a:latin typeface="Calibri" panose="020F0502020204030204" pitchFamily="34" charset="0"/>
              </a:rPr>
              <a:t>Lukács</a:t>
            </a:r>
            <a:r>
              <a:rPr lang="en-US" sz="1800" b="0" i="0" u="none" strike="noStrike" baseline="0" dirty="0">
                <a:solidFill>
                  <a:srgbClr val="000000"/>
                </a:solidFill>
                <a:latin typeface="Calibri" panose="020F0502020204030204" pitchFamily="34" charset="0"/>
              </a:rPr>
              <a:t> </a:t>
            </a:r>
            <a:endParaRPr lang="en-US" dirty="0">
              <a:solidFill>
                <a:schemeClr val="accent2"/>
              </a:solidFill>
              <a:latin typeface="Open Sans Light" panose="020B0306030504020204" pitchFamily="34" charset="0"/>
              <a:cs typeface="Open Sans Light" panose="020B0306030504020204" pitchFamily="34" charset="0"/>
            </a:endParaRPr>
          </a:p>
          <a:p>
            <a:endParaRPr lang="en-US" dirty="0">
              <a:solidFill>
                <a:schemeClr val="accent2"/>
              </a:solidFill>
            </a:endParaRPr>
          </a:p>
        </p:txBody>
      </p:sp>
      <p:sp>
        <p:nvSpPr>
          <p:cNvPr id="14" name="Text Placeholder 3">
            <a:extLst>
              <a:ext uri="{FF2B5EF4-FFF2-40B4-BE49-F238E27FC236}">
                <a16:creationId xmlns:a16="http://schemas.microsoft.com/office/drawing/2014/main" id="{FE8AA07D-7CB9-4D4C-A960-CA1C94EEAA93}"/>
              </a:ext>
            </a:extLst>
          </p:cNvPr>
          <p:cNvSpPr>
            <a:spLocks noGrp="1"/>
          </p:cNvSpPr>
          <p:nvPr>
            <p:ph type="body" sz="quarter" idx="11"/>
          </p:nvPr>
        </p:nvSpPr>
        <p:spPr>
          <a:xfrm>
            <a:off x="457201" y="2671330"/>
            <a:ext cx="1927035" cy="273050"/>
          </a:xfrm>
        </p:spPr>
        <p:txBody>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7 November 2023</a:t>
            </a:r>
          </a:p>
          <a:p>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 name="Picture 2" descr="UNICEF Logo and symbol, meaning, history, PNG, brand">
            <a:extLst>
              <a:ext uri="{FF2B5EF4-FFF2-40B4-BE49-F238E27FC236}">
                <a16:creationId xmlns:a16="http://schemas.microsoft.com/office/drawing/2014/main" id="{57F86617-E6DE-4BAE-6760-752960EADEA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706248" y="-98290"/>
            <a:ext cx="2192839" cy="123347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1C98D9E-313F-8097-678C-EB32F45DCD70}"/>
              </a:ext>
            </a:extLst>
          </p:cNvPr>
          <p:cNvSpPr/>
          <p:nvPr/>
        </p:nvSpPr>
        <p:spPr bwMode="gray">
          <a:xfrm>
            <a:off x="5909412" y="5986130"/>
            <a:ext cx="5989675" cy="401534"/>
          </a:xfrm>
          <a:prstGeom prst="rect">
            <a:avLst/>
          </a:prstGeom>
          <a:solidFill>
            <a:schemeClr val="bg1"/>
          </a:solid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hu-HU" sz="1200" b="1" dirty="0">
                <a:solidFill>
                  <a:srgbClr val="FF0000"/>
                </a:solidFill>
              </a:rPr>
              <a:t>CONFIDENTIAL, FOR INTERNAL USE ONLY. </a:t>
            </a:r>
            <a:br>
              <a:rPr lang="hu-HU" sz="1200" b="1" dirty="0">
                <a:solidFill>
                  <a:srgbClr val="FF0000"/>
                </a:solidFill>
              </a:rPr>
            </a:br>
            <a:r>
              <a:rPr lang="hu-HU" sz="1200" b="1" dirty="0">
                <a:solidFill>
                  <a:srgbClr val="FF0000"/>
                </a:solidFill>
              </a:rPr>
              <a:t>ALL RIGHTS RESERVED. DELOITTE LTD.</a:t>
            </a:r>
            <a:endParaRPr lang="en-GB" sz="1200" b="1" dirty="0">
              <a:solidFill>
                <a:srgbClr val="FF0000"/>
              </a:solidFill>
            </a:endParaRPr>
          </a:p>
        </p:txBody>
      </p:sp>
    </p:spTree>
    <p:extLst>
      <p:ext uri="{BB962C8B-B14F-4D97-AF65-F5344CB8AC3E}">
        <p14:creationId xmlns:p14="http://schemas.microsoft.com/office/powerpoint/2010/main" val="480550736"/>
      </p:ext>
    </p:extLst>
  </p:cSld>
  <p:clrMapOvr>
    <a:masterClrMapping/>
  </p:clrMapOvr>
  <p:transition>
    <p:fade/>
  </p:transition>
  <p:extLst>
    <p:ext uri="{6950BFC3-D8DA-4A85-94F7-54DA5524770B}">
      <p188:commentRel xmlns:p188="http://schemas.microsoft.com/office/powerpoint/2018/8/main" r:id="rId4"/>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695C1324-292E-4BD9-2605-1165B449D9E0}"/>
              </a:ext>
            </a:extLst>
          </p:cNvPr>
          <p:cNvGraphicFramePr>
            <a:graphicFrameLocks noChangeAspect="1"/>
          </p:cNvGraphicFramePr>
          <p:nvPr>
            <p:custDataLst>
              <p:tags r:id="rId1"/>
            </p:custDataLst>
            <p:extLst>
              <p:ext uri="{D42A27DB-BD31-4B8C-83A1-F6EECF244321}">
                <p14:modId xmlns:p14="http://schemas.microsoft.com/office/powerpoint/2010/main" val="3379033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0" name="think-cell data - do not delete" hidden="1">
                        <a:extLst>
                          <a:ext uri="{FF2B5EF4-FFF2-40B4-BE49-F238E27FC236}">
                            <a16:creationId xmlns:a16="http://schemas.microsoft.com/office/drawing/2014/main" id="{695C1324-292E-4BD9-2605-1165B449D9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7" name="Group 26">
            <a:extLst>
              <a:ext uri="{FF2B5EF4-FFF2-40B4-BE49-F238E27FC236}">
                <a16:creationId xmlns:a16="http://schemas.microsoft.com/office/drawing/2014/main" id="{CE739251-A0BF-D5B8-9DC6-8AA6057FD155}"/>
              </a:ext>
            </a:extLst>
          </p:cNvPr>
          <p:cNvGrpSpPr/>
          <p:nvPr/>
        </p:nvGrpSpPr>
        <p:grpSpPr>
          <a:xfrm>
            <a:off x="9467583" y="2158237"/>
            <a:ext cx="1964262" cy="448023"/>
            <a:chOff x="518867" y="2158223"/>
            <a:chExt cx="1964262" cy="448023"/>
          </a:xfrm>
        </p:grpSpPr>
        <p:sp>
          <p:nvSpPr>
            <p:cNvPr id="206" name="Rectangle 4">
              <a:extLst>
                <a:ext uri="{FF2B5EF4-FFF2-40B4-BE49-F238E27FC236}">
                  <a16:creationId xmlns:a16="http://schemas.microsoft.com/office/drawing/2014/main" id="{899B3466-424B-D852-B829-0978008B7714}"/>
                </a:ext>
              </a:extLst>
            </p:cNvPr>
            <p:cNvSpPr/>
            <p:nvPr/>
          </p:nvSpPr>
          <p:spPr bwMode="gray">
            <a:xfrm>
              <a:off x="518869" y="2556192"/>
              <a:ext cx="1964260" cy="50054"/>
            </a:xfrm>
            <a:prstGeom prst="rect">
              <a:avLst/>
            </a:prstGeom>
            <a:solidFill>
              <a:srgbClr val="00B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3">
              <a:extLst>
                <a:ext uri="{FF2B5EF4-FFF2-40B4-BE49-F238E27FC236}">
                  <a16:creationId xmlns:a16="http://schemas.microsoft.com/office/drawing/2014/main" id="{8921C5E9-6187-733D-5E53-3A3A3FE7EFE9}"/>
                </a:ext>
              </a:extLst>
            </p:cNvPr>
            <p:cNvSpPr txBox="1">
              <a:spLocks/>
            </p:cNvSpPr>
            <p:nvPr/>
          </p:nvSpPr>
          <p:spPr bwMode="gray">
            <a:xfrm>
              <a:off x="518867" y="2158223"/>
              <a:ext cx="1964260" cy="184666"/>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200" spc="300" dirty="0"/>
                <a:t>Risk Advisory</a:t>
              </a:r>
            </a:p>
          </p:txBody>
        </p:sp>
      </p:grpSp>
      <p:sp>
        <p:nvSpPr>
          <p:cNvPr id="455" name="Rectangle: Rounded Corners 454">
            <a:extLst>
              <a:ext uri="{FF2B5EF4-FFF2-40B4-BE49-F238E27FC236}">
                <a16:creationId xmlns:a16="http://schemas.microsoft.com/office/drawing/2014/main" id="{2D7E4FE5-B9FF-6ABC-FC45-32FE1ED29DEF}"/>
              </a:ext>
            </a:extLst>
          </p:cNvPr>
          <p:cNvSpPr/>
          <p:nvPr/>
        </p:nvSpPr>
        <p:spPr bwMode="gray">
          <a:xfrm>
            <a:off x="518867" y="1572621"/>
            <a:ext cx="10970749" cy="275592"/>
          </a:xfrm>
          <a:prstGeom prst="roundRect">
            <a:avLst>
              <a:gd name="adj" fmla="val 0"/>
            </a:avLst>
          </a:prstGeom>
          <a:solidFill>
            <a:srgbClr val="D5F4F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400" b="1" spc="300" dirty="0">
                <a:latin typeface="Open Sans" panose="020B0606030504020204" pitchFamily="34" charset="0"/>
                <a:ea typeface="Open Sans" panose="020B0606030504020204" pitchFamily="34" charset="0"/>
                <a:cs typeface="Open Sans" panose="020B0606030504020204" pitchFamily="34" charset="0"/>
              </a:rPr>
              <a:t>SERVICE PORTFOLIO</a:t>
            </a:r>
          </a:p>
        </p:txBody>
      </p:sp>
      <p:grpSp>
        <p:nvGrpSpPr>
          <p:cNvPr id="35" name="Group 34">
            <a:extLst>
              <a:ext uri="{FF2B5EF4-FFF2-40B4-BE49-F238E27FC236}">
                <a16:creationId xmlns:a16="http://schemas.microsoft.com/office/drawing/2014/main" id="{F3972920-7BF4-694B-0110-EFB2CB446116}"/>
              </a:ext>
            </a:extLst>
          </p:cNvPr>
          <p:cNvGrpSpPr/>
          <p:nvPr/>
        </p:nvGrpSpPr>
        <p:grpSpPr>
          <a:xfrm>
            <a:off x="396252" y="1465334"/>
            <a:ext cx="528077" cy="528077"/>
            <a:chOff x="1984379" y="4874000"/>
            <a:chExt cx="1816041" cy="1816041"/>
          </a:xfrm>
        </p:grpSpPr>
        <p:grpSp>
          <p:nvGrpSpPr>
            <p:cNvPr id="36" name="Group 35">
              <a:extLst>
                <a:ext uri="{FF2B5EF4-FFF2-40B4-BE49-F238E27FC236}">
                  <a16:creationId xmlns:a16="http://schemas.microsoft.com/office/drawing/2014/main" id="{52276E9A-2E05-3A2D-E17D-F047F11188D0}"/>
                </a:ext>
              </a:extLst>
            </p:cNvPr>
            <p:cNvGrpSpPr/>
            <p:nvPr/>
          </p:nvGrpSpPr>
          <p:grpSpPr>
            <a:xfrm>
              <a:off x="1984379" y="4874000"/>
              <a:ext cx="1816041" cy="1816041"/>
              <a:chOff x="465740" y="2706207"/>
              <a:chExt cx="442310" cy="442310"/>
            </a:xfrm>
          </p:grpSpPr>
          <p:sp>
            <p:nvSpPr>
              <p:cNvPr id="44" name="Oval 43">
                <a:extLst>
                  <a:ext uri="{FF2B5EF4-FFF2-40B4-BE49-F238E27FC236}">
                    <a16:creationId xmlns:a16="http://schemas.microsoft.com/office/drawing/2014/main" id="{895AF9A7-2E0E-3653-A9A5-20B9B5F50CBB}"/>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45" name="Oval 44">
                <a:extLst>
                  <a:ext uri="{FF2B5EF4-FFF2-40B4-BE49-F238E27FC236}">
                    <a16:creationId xmlns:a16="http://schemas.microsoft.com/office/drawing/2014/main" id="{2FDFF531-698D-C485-FB88-EC18ABFE6FBC}"/>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46" name="Oval 45">
                <a:extLst>
                  <a:ext uri="{FF2B5EF4-FFF2-40B4-BE49-F238E27FC236}">
                    <a16:creationId xmlns:a16="http://schemas.microsoft.com/office/drawing/2014/main" id="{5C247A3B-38D3-A6EE-F214-C94754FFF0A0}"/>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grpSp>
          <p:nvGrpSpPr>
            <p:cNvPr id="37" name="Graphic 4">
              <a:extLst>
                <a:ext uri="{FF2B5EF4-FFF2-40B4-BE49-F238E27FC236}">
                  <a16:creationId xmlns:a16="http://schemas.microsoft.com/office/drawing/2014/main" id="{FAEB9B27-5AC8-7544-0B02-2C2109D9B1EF}"/>
                </a:ext>
              </a:extLst>
            </p:cNvPr>
            <p:cNvGrpSpPr>
              <a:grpSpLocks noChangeAspect="1"/>
            </p:cNvGrpSpPr>
            <p:nvPr/>
          </p:nvGrpSpPr>
          <p:grpSpPr>
            <a:xfrm>
              <a:off x="2535592" y="5425957"/>
              <a:ext cx="713661" cy="712127"/>
              <a:chOff x="4735970" y="2449058"/>
              <a:chExt cx="206646" cy="206202"/>
            </a:xfrm>
            <a:solidFill>
              <a:schemeClr val="bg1"/>
            </a:solidFill>
          </p:grpSpPr>
          <p:sp>
            <p:nvSpPr>
              <p:cNvPr id="38" name="Graphic 4">
                <a:extLst>
                  <a:ext uri="{FF2B5EF4-FFF2-40B4-BE49-F238E27FC236}">
                    <a16:creationId xmlns:a16="http://schemas.microsoft.com/office/drawing/2014/main" id="{1823FD2C-8B0C-29ED-888D-748145917AB7}"/>
                  </a:ext>
                </a:extLst>
              </p:cNvPr>
              <p:cNvSpPr/>
              <p:nvPr/>
            </p:nvSpPr>
            <p:spPr>
              <a:xfrm>
                <a:off x="4735970" y="2508429"/>
                <a:ext cx="58649" cy="146831"/>
              </a:xfrm>
              <a:custGeom>
                <a:avLst/>
                <a:gdLst>
                  <a:gd name="connsiteX0" fmla="*/ 36034 w 58649"/>
                  <a:gd name="connsiteY0" fmla="*/ 0 h 146831"/>
                  <a:gd name="connsiteX1" fmla="*/ 21337 w 58649"/>
                  <a:gd name="connsiteY1" fmla="*/ 0 h 146831"/>
                  <a:gd name="connsiteX2" fmla="*/ 14948 w 58649"/>
                  <a:gd name="connsiteY2" fmla="*/ 5107 h 146831"/>
                  <a:gd name="connsiteX3" fmla="*/ 251 w 58649"/>
                  <a:gd name="connsiteY3" fmla="*/ 79800 h 146831"/>
                  <a:gd name="connsiteX4" fmla="*/ 1529 w 58649"/>
                  <a:gd name="connsiteY4" fmla="*/ 84907 h 146831"/>
                  <a:gd name="connsiteX5" fmla="*/ 6641 w 58649"/>
                  <a:gd name="connsiteY5" fmla="*/ 87461 h 146831"/>
                  <a:gd name="connsiteX6" fmla="*/ 7919 w 58649"/>
                  <a:gd name="connsiteY6" fmla="*/ 87461 h 146831"/>
                  <a:gd name="connsiteX7" fmla="*/ 7919 w 58649"/>
                  <a:gd name="connsiteY7" fmla="*/ 140448 h 146831"/>
                  <a:gd name="connsiteX8" fmla="*/ 14309 w 58649"/>
                  <a:gd name="connsiteY8" fmla="*/ 146832 h 146831"/>
                  <a:gd name="connsiteX9" fmla="*/ 20699 w 58649"/>
                  <a:gd name="connsiteY9" fmla="*/ 140448 h 146831"/>
                  <a:gd name="connsiteX10" fmla="*/ 20699 w 58649"/>
                  <a:gd name="connsiteY10" fmla="*/ 87461 h 146831"/>
                  <a:gd name="connsiteX11" fmla="*/ 37951 w 58649"/>
                  <a:gd name="connsiteY11" fmla="*/ 87461 h 146831"/>
                  <a:gd name="connsiteX12" fmla="*/ 37951 w 58649"/>
                  <a:gd name="connsiteY12" fmla="*/ 140448 h 146831"/>
                  <a:gd name="connsiteX13" fmla="*/ 44341 w 58649"/>
                  <a:gd name="connsiteY13" fmla="*/ 146832 h 146831"/>
                  <a:gd name="connsiteX14" fmla="*/ 50731 w 58649"/>
                  <a:gd name="connsiteY14" fmla="*/ 140448 h 146831"/>
                  <a:gd name="connsiteX15" fmla="*/ 50731 w 58649"/>
                  <a:gd name="connsiteY15" fmla="*/ 87461 h 146831"/>
                  <a:gd name="connsiteX16" fmla="*/ 52009 w 58649"/>
                  <a:gd name="connsiteY16" fmla="*/ 87461 h 146831"/>
                  <a:gd name="connsiteX17" fmla="*/ 57121 w 58649"/>
                  <a:gd name="connsiteY17" fmla="*/ 84907 h 146831"/>
                  <a:gd name="connsiteX18" fmla="*/ 58399 w 58649"/>
                  <a:gd name="connsiteY18" fmla="*/ 79800 h 146831"/>
                  <a:gd name="connsiteX19" fmla="*/ 43702 w 58649"/>
                  <a:gd name="connsiteY19" fmla="*/ 5107 h 146831"/>
                  <a:gd name="connsiteX20" fmla="*/ 36034 w 58649"/>
                  <a:gd name="connsiteY20" fmla="*/ 0 h 146831"/>
                  <a:gd name="connsiteX21" fmla="*/ 13669 w 58649"/>
                  <a:gd name="connsiteY21" fmla="*/ 74693 h 146831"/>
                  <a:gd name="connsiteX22" fmla="*/ 25811 w 58649"/>
                  <a:gd name="connsiteY22" fmla="*/ 13406 h 146831"/>
                  <a:gd name="connsiteX23" fmla="*/ 30284 w 58649"/>
                  <a:gd name="connsiteY23" fmla="*/ 13406 h 146831"/>
                  <a:gd name="connsiteX24" fmla="*/ 42424 w 58649"/>
                  <a:gd name="connsiteY24" fmla="*/ 74693 h 146831"/>
                  <a:gd name="connsiteX25" fmla="*/ 13669 w 58649"/>
                  <a:gd name="connsiteY25" fmla="*/ 74693 h 14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649" h="146831">
                    <a:moveTo>
                      <a:pt x="36034" y="0"/>
                    </a:moveTo>
                    <a:lnTo>
                      <a:pt x="21337" y="0"/>
                    </a:lnTo>
                    <a:cubicBezTo>
                      <a:pt x="18143" y="0"/>
                      <a:pt x="15586" y="1915"/>
                      <a:pt x="14948" y="5107"/>
                    </a:cubicBezTo>
                    <a:lnTo>
                      <a:pt x="251" y="79800"/>
                    </a:lnTo>
                    <a:cubicBezTo>
                      <a:pt x="-388" y="81715"/>
                      <a:pt x="251" y="83630"/>
                      <a:pt x="1529" y="84907"/>
                    </a:cubicBezTo>
                    <a:cubicBezTo>
                      <a:pt x="2807" y="86184"/>
                      <a:pt x="4724" y="87461"/>
                      <a:pt x="6641" y="87461"/>
                    </a:cubicBezTo>
                    <a:lnTo>
                      <a:pt x="7919" y="87461"/>
                    </a:lnTo>
                    <a:lnTo>
                      <a:pt x="7919" y="140448"/>
                    </a:lnTo>
                    <a:cubicBezTo>
                      <a:pt x="7919" y="144278"/>
                      <a:pt x="10475" y="146832"/>
                      <a:pt x="14309" y="146832"/>
                    </a:cubicBezTo>
                    <a:cubicBezTo>
                      <a:pt x="18143" y="146832"/>
                      <a:pt x="20699" y="144278"/>
                      <a:pt x="20699" y="140448"/>
                    </a:cubicBezTo>
                    <a:lnTo>
                      <a:pt x="20699" y="87461"/>
                    </a:lnTo>
                    <a:lnTo>
                      <a:pt x="37951" y="87461"/>
                    </a:lnTo>
                    <a:lnTo>
                      <a:pt x="37951" y="140448"/>
                    </a:lnTo>
                    <a:cubicBezTo>
                      <a:pt x="37951" y="144278"/>
                      <a:pt x="40507" y="146832"/>
                      <a:pt x="44341" y="146832"/>
                    </a:cubicBezTo>
                    <a:cubicBezTo>
                      <a:pt x="48175" y="146832"/>
                      <a:pt x="50731" y="144278"/>
                      <a:pt x="50731" y="140448"/>
                    </a:cubicBezTo>
                    <a:lnTo>
                      <a:pt x="50731" y="87461"/>
                    </a:lnTo>
                    <a:lnTo>
                      <a:pt x="52009" y="87461"/>
                    </a:lnTo>
                    <a:cubicBezTo>
                      <a:pt x="53926" y="87461"/>
                      <a:pt x="55843" y="86822"/>
                      <a:pt x="57121" y="84907"/>
                    </a:cubicBezTo>
                    <a:cubicBezTo>
                      <a:pt x="58399" y="83630"/>
                      <a:pt x="59038" y="81715"/>
                      <a:pt x="58399" y="79800"/>
                    </a:cubicBezTo>
                    <a:lnTo>
                      <a:pt x="43702" y="5107"/>
                    </a:lnTo>
                    <a:cubicBezTo>
                      <a:pt x="41146" y="2554"/>
                      <a:pt x="38590" y="0"/>
                      <a:pt x="36034" y="0"/>
                    </a:cubicBezTo>
                    <a:close/>
                    <a:moveTo>
                      <a:pt x="13669" y="74693"/>
                    </a:moveTo>
                    <a:lnTo>
                      <a:pt x="25811" y="13406"/>
                    </a:lnTo>
                    <a:lnTo>
                      <a:pt x="30284" y="13406"/>
                    </a:lnTo>
                    <a:lnTo>
                      <a:pt x="42424" y="74693"/>
                    </a:lnTo>
                    <a:lnTo>
                      <a:pt x="13669"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39" name="Graphic 4">
                <a:extLst>
                  <a:ext uri="{FF2B5EF4-FFF2-40B4-BE49-F238E27FC236}">
                    <a16:creationId xmlns:a16="http://schemas.microsoft.com/office/drawing/2014/main" id="{1C73685E-5AEC-E687-EC43-4427694445D0}"/>
                  </a:ext>
                </a:extLst>
              </p:cNvPr>
              <p:cNvSpPr/>
              <p:nvPr/>
            </p:nvSpPr>
            <p:spPr>
              <a:xfrm>
                <a:off x="4743250"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ubicBezTo>
                      <a:pt x="21087" y="12768"/>
                      <a:pt x="21087"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0" name="Graphic 4">
                <a:extLst>
                  <a:ext uri="{FF2B5EF4-FFF2-40B4-BE49-F238E27FC236}">
                    <a16:creationId xmlns:a16="http://schemas.microsoft.com/office/drawing/2014/main" id="{15350C07-6E46-FEA3-3E28-5AD5F503E48D}"/>
                  </a:ext>
                </a:extLst>
              </p:cNvPr>
              <p:cNvSpPr/>
              <p:nvPr/>
            </p:nvSpPr>
            <p:spPr>
              <a:xfrm>
                <a:off x="4884468"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7 w 58148"/>
                  <a:gd name="connsiteY8" fmla="*/ 139809 h 146193"/>
                  <a:gd name="connsiteX9" fmla="*/ 20447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7" y="143640"/>
                      <a:pt x="20447" y="139809"/>
                    </a:cubicBezTo>
                    <a:lnTo>
                      <a:pt x="20447"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2" y="72139"/>
                      <a:pt x="58148" y="69586"/>
                      <a:pt x="58148" y="65755"/>
                    </a:cubicBezTo>
                    <a:lnTo>
                      <a:pt x="58148" y="6384"/>
                    </a:lnTo>
                    <a:cubicBezTo>
                      <a:pt x="57509" y="3192"/>
                      <a:pt x="54314"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1" name="Graphic 4">
                <a:extLst>
                  <a:ext uri="{FF2B5EF4-FFF2-40B4-BE49-F238E27FC236}">
                    <a16:creationId xmlns:a16="http://schemas.microsoft.com/office/drawing/2014/main" id="{227D867C-DE22-CF44-352C-7A43551B8B87}"/>
                  </a:ext>
                </a:extLst>
              </p:cNvPr>
              <p:cNvSpPr/>
              <p:nvPr/>
            </p:nvSpPr>
            <p:spPr>
              <a:xfrm>
                <a:off x="4892135"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2" name="Graphic 4">
                <a:extLst>
                  <a:ext uri="{FF2B5EF4-FFF2-40B4-BE49-F238E27FC236}">
                    <a16:creationId xmlns:a16="http://schemas.microsoft.com/office/drawing/2014/main" id="{4365908F-7A30-BFB4-54E4-9BEC10C0548E}"/>
                  </a:ext>
                </a:extLst>
              </p:cNvPr>
              <p:cNvSpPr/>
              <p:nvPr/>
            </p:nvSpPr>
            <p:spPr>
              <a:xfrm>
                <a:off x="4809705"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8 w 58148"/>
                  <a:gd name="connsiteY8" fmla="*/ 139809 h 146193"/>
                  <a:gd name="connsiteX9" fmla="*/ 20448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8" y="143640"/>
                      <a:pt x="20448" y="139809"/>
                    </a:cubicBezTo>
                    <a:lnTo>
                      <a:pt x="20448"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3" y="72139"/>
                      <a:pt x="58148" y="69586"/>
                      <a:pt x="58148" y="65755"/>
                    </a:cubicBezTo>
                    <a:lnTo>
                      <a:pt x="58148" y="6384"/>
                    </a:lnTo>
                    <a:cubicBezTo>
                      <a:pt x="57509" y="3192"/>
                      <a:pt x="54953"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3" name="Graphic 4">
                <a:extLst>
                  <a:ext uri="{FF2B5EF4-FFF2-40B4-BE49-F238E27FC236}">
                    <a16:creationId xmlns:a16="http://schemas.microsoft.com/office/drawing/2014/main" id="{EE595068-1284-22DD-54FC-744C1F74BC54}"/>
                  </a:ext>
                </a:extLst>
              </p:cNvPr>
              <p:cNvSpPr/>
              <p:nvPr/>
            </p:nvSpPr>
            <p:spPr>
              <a:xfrm>
                <a:off x="4817373" y="2449058"/>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grpSp>
      <p:sp>
        <p:nvSpPr>
          <p:cNvPr id="433" name="Rectangle: Rounded Corners 432">
            <a:extLst>
              <a:ext uri="{FF2B5EF4-FFF2-40B4-BE49-F238E27FC236}">
                <a16:creationId xmlns:a16="http://schemas.microsoft.com/office/drawing/2014/main" id="{B56E9E51-021E-3D8A-FF12-A17694759076}"/>
              </a:ext>
            </a:extLst>
          </p:cNvPr>
          <p:cNvSpPr/>
          <p:nvPr/>
        </p:nvSpPr>
        <p:spPr bwMode="gray">
          <a:xfrm>
            <a:off x="566861" y="5111657"/>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HR Consulting</a:t>
            </a:r>
          </a:p>
        </p:txBody>
      </p:sp>
      <p:sp>
        <p:nvSpPr>
          <p:cNvPr id="5" name="Rectangle 4">
            <a:extLst>
              <a:ext uri="{FF2B5EF4-FFF2-40B4-BE49-F238E27FC236}">
                <a16:creationId xmlns:a16="http://schemas.microsoft.com/office/drawing/2014/main" id="{F7F2E78E-38A4-7FE6-EA67-B5E92832B3F9}"/>
              </a:ext>
            </a:extLst>
          </p:cNvPr>
          <p:cNvSpPr/>
          <p:nvPr/>
        </p:nvSpPr>
        <p:spPr bwMode="gray">
          <a:xfrm>
            <a:off x="594258" y="2556189"/>
            <a:ext cx="1964260" cy="50054"/>
          </a:xfrm>
          <a:prstGeom prst="rect">
            <a:avLst/>
          </a:prstGeom>
          <a:solidFill>
            <a:srgbClr val="00B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C4888FF2-B7AA-AB8C-D41E-C6EB3A91F6A5}"/>
              </a:ext>
            </a:extLst>
          </p:cNvPr>
          <p:cNvSpPr/>
          <p:nvPr/>
        </p:nvSpPr>
        <p:spPr bwMode="gray">
          <a:xfrm>
            <a:off x="2875392" y="2556189"/>
            <a:ext cx="4002168" cy="50054"/>
          </a:xfrm>
          <a:prstGeom prst="rect">
            <a:avLst/>
          </a:prstGeom>
          <a:solidFill>
            <a:srgbClr val="00B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669A24FC-044D-A0CC-928A-D265210960FB}"/>
              </a:ext>
            </a:extLst>
          </p:cNvPr>
          <p:cNvSpPr/>
          <p:nvPr/>
        </p:nvSpPr>
        <p:spPr bwMode="gray">
          <a:xfrm>
            <a:off x="7213132" y="2556189"/>
            <a:ext cx="1964260" cy="50054"/>
          </a:xfrm>
          <a:prstGeom prst="rect">
            <a:avLst/>
          </a:prstGeom>
          <a:solidFill>
            <a:srgbClr val="00B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latin typeface="Calibri" panose="020F0502020204030204" pitchFamily="34" charset="0"/>
              <a:cs typeface="Calibri" panose="020F0502020204030204" pitchFamily="34" charset="0"/>
            </a:endParaRPr>
          </a:p>
        </p:txBody>
      </p:sp>
      <p:sp>
        <p:nvSpPr>
          <p:cNvPr id="8" name="Rectangle: Rounded Corners 7">
            <a:extLst>
              <a:ext uri="{FF2B5EF4-FFF2-40B4-BE49-F238E27FC236}">
                <a16:creationId xmlns:a16="http://schemas.microsoft.com/office/drawing/2014/main" id="{01C70116-7DB9-9C0E-C363-549D2629DFDC}"/>
              </a:ext>
            </a:extLst>
          </p:cNvPr>
          <p:cNvSpPr/>
          <p:nvPr/>
        </p:nvSpPr>
        <p:spPr bwMode="gray">
          <a:xfrm>
            <a:off x="569218" y="2706300"/>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Customer Strategy</a:t>
            </a:r>
          </a:p>
        </p:txBody>
      </p:sp>
      <p:sp>
        <p:nvSpPr>
          <p:cNvPr id="9" name="Rectangle: Rounded Corners 8">
            <a:extLst>
              <a:ext uri="{FF2B5EF4-FFF2-40B4-BE49-F238E27FC236}">
                <a16:creationId xmlns:a16="http://schemas.microsoft.com/office/drawing/2014/main" id="{D31D337D-A8CA-AE1D-FB92-A152177C4985}"/>
              </a:ext>
            </a:extLst>
          </p:cNvPr>
          <p:cNvSpPr/>
          <p:nvPr/>
        </p:nvSpPr>
        <p:spPr bwMode="gray">
          <a:xfrm>
            <a:off x="569218" y="3480797"/>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hu-HU" sz="1200" b="1" dirty="0">
                <a:latin typeface="Open Sans" panose="020B0606030504020204" pitchFamily="34" charset="0"/>
                <a:ea typeface="Open Sans" panose="020B0606030504020204" pitchFamily="34" charset="0"/>
                <a:cs typeface="Open Sans" panose="020B0606030504020204" pitchFamily="34" charset="0"/>
              </a:rPr>
              <a:t>UX/UI </a:t>
            </a:r>
            <a:r>
              <a:rPr lang="en-US" sz="1200" b="1" dirty="0">
                <a:latin typeface="Open Sans" panose="020B0606030504020204" pitchFamily="34" charset="0"/>
                <a:ea typeface="Open Sans" panose="020B0606030504020204" pitchFamily="34" charset="0"/>
                <a:cs typeface="Open Sans" panose="020B0606030504020204" pitchFamily="34" charset="0"/>
              </a:rPr>
              <a:t>Design</a:t>
            </a:r>
          </a:p>
        </p:txBody>
      </p:sp>
      <p:sp>
        <p:nvSpPr>
          <p:cNvPr id="10" name="Rectangle: Rounded Corners 9">
            <a:extLst>
              <a:ext uri="{FF2B5EF4-FFF2-40B4-BE49-F238E27FC236}">
                <a16:creationId xmlns:a16="http://schemas.microsoft.com/office/drawing/2014/main" id="{70255BA6-6AB5-1E10-EB44-FFBBFEA96F1D}"/>
              </a:ext>
            </a:extLst>
          </p:cNvPr>
          <p:cNvSpPr/>
          <p:nvPr/>
        </p:nvSpPr>
        <p:spPr bwMode="gray">
          <a:xfrm>
            <a:off x="569218" y="4314676"/>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Digital Customer</a:t>
            </a:r>
          </a:p>
        </p:txBody>
      </p:sp>
      <p:sp>
        <p:nvSpPr>
          <p:cNvPr id="11" name="Rectangle: Rounded Corners 10">
            <a:extLst>
              <a:ext uri="{FF2B5EF4-FFF2-40B4-BE49-F238E27FC236}">
                <a16:creationId xmlns:a16="http://schemas.microsoft.com/office/drawing/2014/main" id="{A7E72039-F349-D7F5-B8E8-41C871179318}"/>
              </a:ext>
            </a:extLst>
          </p:cNvPr>
          <p:cNvSpPr/>
          <p:nvPr/>
        </p:nvSpPr>
        <p:spPr bwMode="gray">
          <a:xfrm>
            <a:off x="2806756" y="2706300"/>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Cloud Engineering</a:t>
            </a:r>
          </a:p>
        </p:txBody>
      </p:sp>
      <p:sp>
        <p:nvSpPr>
          <p:cNvPr id="12" name="Rectangle: Rounded Corners 11">
            <a:extLst>
              <a:ext uri="{FF2B5EF4-FFF2-40B4-BE49-F238E27FC236}">
                <a16:creationId xmlns:a16="http://schemas.microsoft.com/office/drawing/2014/main" id="{C44CF87C-29B7-185E-187B-3E7BD07430F0}"/>
              </a:ext>
            </a:extLst>
          </p:cNvPr>
          <p:cNvSpPr/>
          <p:nvPr/>
        </p:nvSpPr>
        <p:spPr bwMode="gray">
          <a:xfrm>
            <a:off x="4915281" y="2714864"/>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AI &amp; Data</a:t>
            </a:r>
          </a:p>
        </p:txBody>
      </p:sp>
      <p:sp>
        <p:nvSpPr>
          <p:cNvPr id="13" name="Rectangle: Rounded Corners 12">
            <a:extLst>
              <a:ext uri="{FF2B5EF4-FFF2-40B4-BE49-F238E27FC236}">
                <a16:creationId xmlns:a16="http://schemas.microsoft.com/office/drawing/2014/main" id="{9430290B-5726-D599-AF78-1C176BCA5FC8}"/>
              </a:ext>
            </a:extLst>
          </p:cNvPr>
          <p:cNvSpPr/>
          <p:nvPr/>
        </p:nvSpPr>
        <p:spPr bwMode="gray">
          <a:xfrm>
            <a:off x="2838210" y="3510004"/>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Quality Engineering</a:t>
            </a:r>
          </a:p>
        </p:txBody>
      </p:sp>
      <p:sp>
        <p:nvSpPr>
          <p:cNvPr id="14" name="Rectangle: Rounded Corners 13">
            <a:extLst>
              <a:ext uri="{FF2B5EF4-FFF2-40B4-BE49-F238E27FC236}">
                <a16:creationId xmlns:a16="http://schemas.microsoft.com/office/drawing/2014/main" id="{EFF70F69-4AEF-EB61-E49D-EBBFE1852D42}"/>
              </a:ext>
            </a:extLst>
          </p:cNvPr>
          <p:cNvSpPr/>
          <p:nvPr/>
        </p:nvSpPr>
        <p:spPr bwMode="gray">
          <a:xfrm>
            <a:off x="4915282" y="4329525"/>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Industry Solutions</a:t>
            </a:r>
          </a:p>
        </p:txBody>
      </p:sp>
      <p:sp>
        <p:nvSpPr>
          <p:cNvPr id="17" name="Rectangle: Rounded Corners 16">
            <a:extLst>
              <a:ext uri="{FF2B5EF4-FFF2-40B4-BE49-F238E27FC236}">
                <a16:creationId xmlns:a16="http://schemas.microsoft.com/office/drawing/2014/main" id="{F7B3E54F-7790-8B5F-ADAD-7CD49AA56E64}"/>
              </a:ext>
            </a:extLst>
          </p:cNvPr>
          <p:cNvSpPr/>
          <p:nvPr/>
        </p:nvSpPr>
        <p:spPr bwMode="gray">
          <a:xfrm>
            <a:off x="4915282" y="3498432"/>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Operation Transformation </a:t>
            </a:r>
          </a:p>
        </p:txBody>
      </p:sp>
      <p:sp>
        <p:nvSpPr>
          <p:cNvPr id="18" name="Rectangle: Rounded Corners 17">
            <a:extLst>
              <a:ext uri="{FF2B5EF4-FFF2-40B4-BE49-F238E27FC236}">
                <a16:creationId xmlns:a16="http://schemas.microsoft.com/office/drawing/2014/main" id="{BBEE1D63-5747-6344-192B-078D5490697A}"/>
              </a:ext>
            </a:extLst>
          </p:cNvPr>
          <p:cNvSpPr/>
          <p:nvPr/>
        </p:nvSpPr>
        <p:spPr bwMode="gray">
          <a:xfrm>
            <a:off x="7223486" y="2701893"/>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Technology Strategy &amp; Transformation</a:t>
            </a:r>
          </a:p>
        </p:txBody>
      </p:sp>
      <p:sp>
        <p:nvSpPr>
          <p:cNvPr id="19" name="Rectangle: Rounded Corners 18">
            <a:extLst>
              <a:ext uri="{FF2B5EF4-FFF2-40B4-BE49-F238E27FC236}">
                <a16:creationId xmlns:a16="http://schemas.microsoft.com/office/drawing/2014/main" id="{1738520C-EFC2-7122-A76B-107C6E14BD88}"/>
              </a:ext>
            </a:extLst>
          </p:cNvPr>
          <p:cNvSpPr/>
          <p:nvPr/>
        </p:nvSpPr>
        <p:spPr bwMode="gray">
          <a:xfrm>
            <a:off x="7223486" y="3484732"/>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SAP Advisory</a:t>
            </a:r>
          </a:p>
        </p:txBody>
      </p:sp>
      <p:sp>
        <p:nvSpPr>
          <p:cNvPr id="20" name="Rectangle: Rounded Corners 19">
            <a:extLst>
              <a:ext uri="{FF2B5EF4-FFF2-40B4-BE49-F238E27FC236}">
                <a16:creationId xmlns:a16="http://schemas.microsoft.com/office/drawing/2014/main" id="{8CDDFD7C-8E34-F26E-577E-0C029B1D4BB0}"/>
              </a:ext>
            </a:extLst>
          </p:cNvPr>
          <p:cNvSpPr/>
          <p:nvPr/>
        </p:nvSpPr>
        <p:spPr bwMode="gray">
          <a:xfrm>
            <a:off x="7223486" y="4318920"/>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Finance &amp; Performance</a:t>
            </a:r>
          </a:p>
        </p:txBody>
      </p:sp>
      <p:sp>
        <p:nvSpPr>
          <p:cNvPr id="22" name="Text Placeholder 3">
            <a:extLst>
              <a:ext uri="{FF2B5EF4-FFF2-40B4-BE49-F238E27FC236}">
                <a16:creationId xmlns:a16="http://schemas.microsoft.com/office/drawing/2014/main" id="{96A0EAD0-2C14-6112-934F-79C994D8F84F}"/>
              </a:ext>
            </a:extLst>
          </p:cNvPr>
          <p:cNvSpPr txBox="1">
            <a:spLocks/>
          </p:cNvSpPr>
          <p:nvPr/>
        </p:nvSpPr>
        <p:spPr bwMode="gray">
          <a:xfrm>
            <a:off x="706863" y="2015348"/>
            <a:ext cx="1767046" cy="553998"/>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200" spc="300" dirty="0"/>
              <a:t>Customer &amp; Marketing, Human Capital</a:t>
            </a:r>
          </a:p>
        </p:txBody>
      </p:sp>
      <p:sp>
        <p:nvSpPr>
          <p:cNvPr id="23" name="Text Placeholder 3">
            <a:extLst>
              <a:ext uri="{FF2B5EF4-FFF2-40B4-BE49-F238E27FC236}">
                <a16:creationId xmlns:a16="http://schemas.microsoft.com/office/drawing/2014/main" id="{8A03653C-34EB-8A7F-EC65-99D5ADB8B6B8}"/>
              </a:ext>
            </a:extLst>
          </p:cNvPr>
          <p:cNvSpPr txBox="1">
            <a:spLocks/>
          </p:cNvSpPr>
          <p:nvPr/>
        </p:nvSpPr>
        <p:spPr bwMode="gray">
          <a:xfrm>
            <a:off x="2821545" y="2111360"/>
            <a:ext cx="3987370" cy="707886"/>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200" spc="300" dirty="0"/>
              <a:t>Core Business Operations</a:t>
            </a:r>
            <a:r>
              <a:rPr lang="hu-HU" sz="1200" spc="300" dirty="0"/>
              <a:t>, </a:t>
            </a:r>
            <a:r>
              <a:rPr lang="en-US" sz="1200" b="1" spc="300" dirty="0"/>
              <a:t>Strategy, Analytics</a:t>
            </a:r>
            <a:r>
              <a:rPr lang="hu-HU" sz="1200" b="1" spc="300" dirty="0"/>
              <a:t> </a:t>
            </a:r>
            <a:r>
              <a:rPr lang="en-US" sz="1200" b="1" spc="300" dirty="0"/>
              <a:t>and</a:t>
            </a:r>
            <a:r>
              <a:rPr lang="hu-HU" sz="1200" b="1" spc="300" dirty="0"/>
              <a:t> </a:t>
            </a:r>
            <a:r>
              <a:rPr lang="en-US" sz="1200" b="1" spc="300" dirty="0"/>
              <a:t>M&amp;A</a:t>
            </a:r>
          </a:p>
          <a:p>
            <a:pPr lvl="1" algn="ctr"/>
            <a:endParaRPr lang="en-US" sz="1200" spc="300" dirty="0"/>
          </a:p>
        </p:txBody>
      </p:sp>
      <p:sp>
        <p:nvSpPr>
          <p:cNvPr id="24" name="Text Placeholder 3">
            <a:extLst>
              <a:ext uri="{FF2B5EF4-FFF2-40B4-BE49-F238E27FC236}">
                <a16:creationId xmlns:a16="http://schemas.microsoft.com/office/drawing/2014/main" id="{7268DFA1-433C-FF92-363D-63B36B0C1063}"/>
              </a:ext>
            </a:extLst>
          </p:cNvPr>
          <p:cNvSpPr txBox="1">
            <a:spLocks/>
          </p:cNvSpPr>
          <p:nvPr/>
        </p:nvSpPr>
        <p:spPr bwMode="gray">
          <a:xfrm>
            <a:off x="7094408" y="1983978"/>
            <a:ext cx="2296567" cy="553998"/>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200" spc="300" dirty="0"/>
              <a:t>Enterprise Technology &amp; Performance</a:t>
            </a:r>
          </a:p>
        </p:txBody>
      </p:sp>
      <p:grpSp>
        <p:nvGrpSpPr>
          <p:cNvPr id="34" name="Group 33">
            <a:extLst>
              <a:ext uri="{FF2B5EF4-FFF2-40B4-BE49-F238E27FC236}">
                <a16:creationId xmlns:a16="http://schemas.microsoft.com/office/drawing/2014/main" id="{5D8D0587-A8AF-809C-3DA7-DD7DA76D5EC0}"/>
              </a:ext>
            </a:extLst>
          </p:cNvPr>
          <p:cNvGrpSpPr/>
          <p:nvPr/>
        </p:nvGrpSpPr>
        <p:grpSpPr>
          <a:xfrm>
            <a:off x="2207047" y="5493042"/>
            <a:ext cx="351471" cy="341315"/>
            <a:chOff x="1445319" y="3312620"/>
            <a:chExt cx="351471" cy="341315"/>
          </a:xfrm>
        </p:grpSpPr>
        <p:sp>
          <p:nvSpPr>
            <p:cNvPr id="32" name="Flowchart: Connector 31">
              <a:extLst>
                <a:ext uri="{FF2B5EF4-FFF2-40B4-BE49-F238E27FC236}">
                  <a16:creationId xmlns:a16="http://schemas.microsoft.com/office/drawing/2014/main" id="{BAF76F1D-2EF8-522B-24D6-DFDA9FEB00D2}"/>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33" name="Text Placeholder 3">
              <a:extLst>
                <a:ext uri="{FF2B5EF4-FFF2-40B4-BE49-F238E27FC236}">
                  <a16:creationId xmlns:a16="http://schemas.microsoft.com/office/drawing/2014/main" id="{8FCA828B-1BF9-CA21-8DAF-0CBC24407D39}"/>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10</a:t>
              </a:r>
            </a:p>
          </p:txBody>
        </p:sp>
      </p:grpSp>
      <p:grpSp>
        <p:nvGrpSpPr>
          <p:cNvPr id="47" name="Group 46">
            <a:extLst>
              <a:ext uri="{FF2B5EF4-FFF2-40B4-BE49-F238E27FC236}">
                <a16:creationId xmlns:a16="http://schemas.microsoft.com/office/drawing/2014/main" id="{1C21E375-BCD7-A273-C59C-3CD39BE8131C}"/>
              </a:ext>
            </a:extLst>
          </p:cNvPr>
          <p:cNvGrpSpPr/>
          <p:nvPr/>
        </p:nvGrpSpPr>
        <p:grpSpPr>
          <a:xfrm>
            <a:off x="8881917" y="3889062"/>
            <a:ext cx="351471" cy="341315"/>
            <a:chOff x="1445319" y="3312620"/>
            <a:chExt cx="351471" cy="341315"/>
          </a:xfrm>
        </p:grpSpPr>
        <p:sp>
          <p:nvSpPr>
            <p:cNvPr id="48" name="Flowchart: Connector 47">
              <a:extLst>
                <a:ext uri="{FF2B5EF4-FFF2-40B4-BE49-F238E27FC236}">
                  <a16:creationId xmlns:a16="http://schemas.microsoft.com/office/drawing/2014/main" id="{75FF937C-253B-D689-A72B-FA83F6F394BE}"/>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9" name="Text Placeholder 3">
              <a:extLst>
                <a:ext uri="{FF2B5EF4-FFF2-40B4-BE49-F238E27FC236}">
                  <a16:creationId xmlns:a16="http://schemas.microsoft.com/office/drawing/2014/main" id="{3DD249C3-3C6F-681F-7498-A19361D641B2}"/>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20</a:t>
              </a:r>
            </a:p>
          </p:txBody>
        </p:sp>
      </p:grpSp>
      <p:grpSp>
        <p:nvGrpSpPr>
          <p:cNvPr id="52" name="Group 51">
            <a:extLst>
              <a:ext uri="{FF2B5EF4-FFF2-40B4-BE49-F238E27FC236}">
                <a16:creationId xmlns:a16="http://schemas.microsoft.com/office/drawing/2014/main" id="{28F537C2-E2CD-E840-05D5-A0A9B549D194}"/>
              </a:ext>
            </a:extLst>
          </p:cNvPr>
          <p:cNvGrpSpPr/>
          <p:nvPr/>
        </p:nvGrpSpPr>
        <p:grpSpPr>
          <a:xfrm>
            <a:off x="8881917" y="3091923"/>
            <a:ext cx="351471" cy="341315"/>
            <a:chOff x="1445319" y="3312620"/>
            <a:chExt cx="351471" cy="341315"/>
          </a:xfrm>
        </p:grpSpPr>
        <p:sp>
          <p:nvSpPr>
            <p:cNvPr id="53" name="Flowchart: Connector 52">
              <a:extLst>
                <a:ext uri="{FF2B5EF4-FFF2-40B4-BE49-F238E27FC236}">
                  <a16:creationId xmlns:a16="http://schemas.microsoft.com/office/drawing/2014/main" id="{51F74A7F-02C1-F72B-4C78-5B511B49D958}"/>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54" name="Text Placeholder 3">
              <a:extLst>
                <a:ext uri="{FF2B5EF4-FFF2-40B4-BE49-F238E27FC236}">
                  <a16:creationId xmlns:a16="http://schemas.microsoft.com/office/drawing/2014/main" id="{3311C287-0C88-88F1-A059-01096ED37CEF}"/>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20</a:t>
              </a:r>
            </a:p>
          </p:txBody>
        </p:sp>
      </p:grpSp>
      <p:grpSp>
        <p:nvGrpSpPr>
          <p:cNvPr id="58" name="Group 57">
            <a:extLst>
              <a:ext uri="{FF2B5EF4-FFF2-40B4-BE49-F238E27FC236}">
                <a16:creationId xmlns:a16="http://schemas.microsoft.com/office/drawing/2014/main" id="{2B1CD182-C9DB-5391-1817-DAD1A7B011D4}"/>
              </a:ext>
            </a:extLst>
          </p:cNvPr>
          <p:cNvGrpSpPr/>
          <p:nvPr/>
        </p:nvGrpSpPr>
        <p:grpSpPr>
          <a:xfrm>
            <a:off x="2228528" y="3879537"/>
            <a:ext cx="359734" cy="341315"/>
            <a:chOff x="1455475" y="3312620"/>
            <a:chExt cx="359734" cy="341315"/>
          </a:xfrm>
        </p:grpSpPr>
        <p:sp>
          <p:nvSpPr>
            <p:cNvPr id="59" name="Flowchart: Connector 58">
              <a:extLst>
                <a:ext uri="{FF2B5EF4-FFF2-40B4-BE49-F238E27FC236}">
                  <a16:creationId xmlns:a16="http://schemas.microsoft.com/office/drawing/2014/main" id="{419ABE9D-8D85-3925-4B76-DD1975B780F1}"/>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60" name="Text Placeholder 3">
              <a:extLst>
                <a:ext uri="{FF2B5EF4-FFF2-40B4-BE49-F238E27FC236}">
                  <a16:creationId xmlns:a16="http://schemas.microsoft.com/office/drawing/2014/main" id="{E0C1D169-4B75-95E3-DF36-AC010C5D8AC6}"/>
                </a:ext>
              </a:extLst>
            </p:cNvPr>
            <p:cNvSpPr txBox="1">
              <a:spLocks/>
            </p:cNvSpPr>
            <p:nvPr/>
          </p:nvSpPr>
          <p:spPr bwMode="gray">
            <a:xfrm>
              <a:off x="1473894"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5+</a:t>
              </a:r>
            </a:p>
          </p:txBody>
        </p:sp>
      </p:grpSp>
      <p:grpSp>
        <p:nvGrpSpPr>
          <p:cNvPr id="61" name="Group 60">
            <a:extLst>
              <a:ext uri="{FF2B5EF4-FFF2-40B4-BE49-F238E27FC236}">
                <a16:creationId xmlns:a16="http://schemas.microsoft.com/office/drawing/2014/main" id="{AF69A9FE-5480-F24F-CBF9-205824D31826}"/>
              </a:ext>
            </a:extLst>
          </p:cNvPr>
          <p:cNvGrpSpPr/>
          <p:nvPr/>
        </p:nvGrpSpPr>
        <p:grpSpPr>
          <a:xfrm>
            <a:off x="6579634" y="4715317"/>
            <a:ext cx="350209" cy="341315"/>
            <a:chOff x="1455475" y="3312620"/>
            <a:chExt cx="350209" cy="341315"/>
          </a:xfrm>
        </p:grpSpPr>
        <p:sp>
          <p:nvSpPr>
            <p:cNvPr id="62" name="Flowchart: Connector 61">
              <a:extLst>
                <a:ext uri="{FF2B5EF4-FFF2-40B4-BE49-F238E27FC236}">
                  <a16:creationId xmlns:a16="http://schemas.microsoft.com/office/drawing/2014/main" id="{2AC17130-8CEF-387E-7133-73EFBC0B4D29}"/>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63" name="Text Placeholder 3">
              <a:extLst>
                <a:ext uri="{FF2B5EF4-FFF2-40B4-BE49-F238E27FC236}">
                  <a16:creationId xmlns:a16="http://schemas.microsoft.com/office/drawing/2014/main" id="{9F7AB4BD-CC4F-B275-7884-0734734C04AB}"/>
                </a:ext>
              </a:extLst>
            </p:cNvPr>
            <p:cNvSpPr txBox="1">
              <a:spLocks/>
            </p:cNvSpPr>
            <p:nvPr/>
          </p:nvSpPr>
          <p:spPr bwMode="gray">
            <a:xfrm>
              <a:off x="1464369" y="3417688"/>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25+</a:t>
              </a:r>
            </a:p>
          </p:txBody>
        </p:sp>
      </p:grpSp>
      <p:grpSp>
        <p:nvGrpSpPr>
          <p:cNvPr id="451" name="Group 450">
            <a:extLst>
              <a:ext uri="{FF2B5EF4-FFF2-40B4-BE49-F238E27FC236}">
                <a16:creationId xmlns:a16="http://schemas.microsoft.com/office/drawing/2014/main" id="{82FC8403-1F6C-16D2-EF68-9A712822E34B}"/>
              </a:ext>
            </a:extLst>
          </p:cNvPr>
          <p:cNvGrpSpPr/>
          <p:nvPr/>
        </p:nvGrpSpPr>
        <p:grpSpPr>
          <a:xfrm>
            <a:off x="6555609" y="3091923"/>
            <a:ext cx="350209" cy="341315"/>
            <a:chOff x="1455475" y="3312620"/>
            <a:chExt cx="350209" cy="341315"/>
          </a:xfrm>
        </p:grpSpPr>
        <p:sp>
          <p:nvSpPr>
            <p:cNvPr id="452" name="Flowchart: Connector 451">
              <a:extLst>
                <a:ext uri="{FF2B5EF4-FFF2-40B4-BE49-F238E27FC236}">
                  <a16:creationId xmlns:a16="http://schemas.microsoft.com/office/drawing/2014/main" id="{7BB6535D-35EC-3384-4C3A-5CEDCC8EFF7D}"/>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53" name="Text Placeholder 3">
              <a:extLst>
                <a:ext uri="{FF2B5EF4-FFF2-40B4-BE49-F238E27FC236}">
                  <a16:creationId xmlns:a16="http://schemas.microsoft.com/office/drawing/2014/main" id="{85B4ED91-14E4-D324-BB8E-89FA073061A5}"/>
                </a:ext>
              </a:extLst>
            </p:cNvPr>
            <p:cNvSpPr txBox="1">
              <a:spLocks/>
            </p:cNvSpPr>
            <p:nvPr/>
          </p:nvSpPr>
          <p:spPr bwMode="gray">
            <a:xfrm>
              <a:off x="1464369" y="3417688"/>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10+</a:t>
              </a:r>
            </a:p>
          </p:txBody>
        </p:sp>
      </p:grpSp>
      <p:grpSp>
        <p:nvGrpSpPr>
          <p:cNvPr id="454" name="Group 453">
            <a:extLst>
              <a:ext uri="{FF2B5EF4-FFF2-40B4-BE49-F238E27FC236}">
                <a16:creationId xmlns:a16="http://schemas.microsoft.com/office/drawing/2014/main" id="{8B06E8F6-22AE-BDD5-2C9A-E2516F519EE7}"/>
              </a:ext>
            </a:extLst>
          </p:cNvPr>
          <p:cNvGrpSpPr/>
          <p:nvPr/>
        </p:nvGrpSpPr>
        <p:grpSpPr>
          <a:xfrm>
            <a:off x="4473459" y="3088074"/>
            <a:ext cx="351471" cy="341315"/>
            <a:chOff x="1445319" y="3312620"/>
            <a:chExt cx="351471" cy="341315"/>
          </a:xfrm>
        </p:grpSpPr>
        <p:sp>
          <p:nvSpPr>
            <p:cNvPr id="456" name="Flowchart: Connector 455">
              <a:extLst>
                <a:ext uri="{FF2B5EF4-FFF2-40B4-BE49-F238E27FC236}">
                  <a16:creationId xmlns:a16="http://schemas.microsoft.com/office/drawing/2014/main" id="{F3965263-FC7D-3895-A6E9-A97890A7FA91}"/>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57" name="Text Placeholder 3">
              <a:extLst>
                <a:ext uri="{FF2B5EF4-FFF2-40B4-BE49-F238E27FC236}">
                  <a16:creationId xmlns:a16="http://schemas.microsoft.com/office/drawing/2014/main" id="{E833D554-03DD-607C-5046-A179C2A2C7C9}"/>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10</a:t>
              </a:r>
            </a:p>
          </p:txBody>
        </p:sp>
      </p:grpSp>
      <p:grpSp>
        <p:nvGrpSpPr>
          <p:cNvPr id="458" name="Group 457">
            <a:extLst>
              <a:ext uri="{FF2B5EF4-FFF2-40B4-BE49-F238E27FC236}">
                <a16:creationId xmlns:a16="http://schemas.microsoft.com/office/drawing/2014/main" id="{04C0F27D-F36F-91EB-5372-B9E8F3695D18}"/>
              </a:ext>
            </a:extLst>
          </p:cNvPr>
          <p:cNvGrpSpPr/>
          <p:nvPr/>
        </p:nvGrpSpPr>
        <p:grpSpPr>
          <a:xfrm>
            <a:off x="8881917" y="4686201"/>
            <a:ext cx="351471" cy="341315"/>
            <a:chOff x="1445319" y="3312620"/>
            <a:chExt cx="351471" cy="341315"/>
          </a:xfrm>
        </p:grpSpPr>
        <p:sp>
          <p:nvSpPr>
            <p:cNvPr id="459" name="Flowchart: Connector 458">
              <a:extLst>
                <a:ext uri="{FF2B5EF4-FFF2-40B4-BE49-F238E27FC236}">
                  <a16:creationId xmlns:a16="http://schemas.microsoft.com/office/drawing/2014/main" id="{EEEA38A4-2BBC-A314-598D-8275CB1A6F02}"/>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60" name="Text Placeholder 3">
              <a:extLst>
                <a:ext uri="{FF2B5EF4-FFF2-40B4-BE49-F238E27FC236}">
                  <a16:creationId xmlns:a16="http://schemas.microsoft.com/office/drawing/2014/main" id="{313B5445-012A-7757-A736-2D64B507F497}"/>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10</a:t>
              </a:r>
            </a:p>
          </p:txBody>
        </p:sp>
      </p:grpSp>
      <p:grpSp>
        <p:nvGrpSpPr>
          <p:cNvPr id="461" name="Group 460">
            <a:extLst>
              <a:ext uri="{FF2B5EF4-FFF2-40B4-BE49-F238E27FC236}">
                <a16:creationId xmlns:a16="http://schemas.microsoft.com/office/drawing/2014/main" id="{50543C4F-EC4A-4F32-4D00-2B4A1BAAB3A0}"/>
              </a:ext>
            </a:extLst>
          </p:cNvPr>
          <p:cNvGrpSpPr/>
          <p:nvPr/>
        </p:nvGrpSpPr>
        <p:grpSpPr>
          <a:xfrm>
            <a:off x="2218372" y="4717649"/>
            <a:ext cx="351471" cy="341315"/>
            <a:chOff x="1445319" y="3312620"/>
            <a:chExt cx="351471" cy="341315"/>
          </a:xfrm>
        </p:grpSpPr>
        <p:sp>
          <p:nvSpPr>
            <p:cNvPr id="462" name="Flowchart: Connector 461">
              <a:extLst>
                <a:ext uri="{FF2B5EF4-FFF2-40B4-BE49-F238E27FC236}">
                  <a16:creationId xmlns:a16="http://schemas.microsoft.com/office/drawing/2014/main" id="{3CB8CC50-FA54-BDBC-16E1-0235407EBE4F}"/>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63" name="Text Placeholder 3">
              <a:extLst>
                <a:ext uri="{FF2B5EF4-FFF2-40B4-BE49-F238E27FC236}">
                  <a16:creationId xmlns:a16="http://schemas.microsoft.com/office/drawing/2014/main" id="{42957305-690A-B04E-7189-310A4A24F1C9}"/>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10</a:t>
              </a:r>
            </a:p>
          </p:txBody>
        </p:sp>
      </p:grpSp>
      <p:grpSp>
        <p:nvGrpSpPr>
          <p:cNvPr id="467" name="Group 466">
            <a:extLst>
              <a:ext uri="{FF2B5EF4-FFF2-40B4-BE49-F238E27FC236}">
                <a16:creationId xmlns:a16="http://schemas.microsoft.com/office/drawing/2014/main" id="{F7FCF07D-A672-582E-6D1E-C5D202615546}"/>
              </a:ext>
            </a:extLst>
          </p:cNvPr>
          <p:cNvGrpSpPr/>
          <p:nvPr/>
        </p:nvGrpSpPr>
        <p:grpSpPr>
          <a:xfrm>
            <a:off x="6572154" y="3863961"/>
            <a:ext cx="350209" cy="341315"/>
            <a:chOff x="1455475" y="3312620"/>
            <a:chExt cx="350209" cy="341315"/>
          </a:xfrm>
        </p:grpSpPr>
        <p:sp>
          <p:nvSpPr>
            <p:cNvPr id="468" name="Flowchart: Connector 467">
              <a:extLst>
                <a:ext uri="{FF2B5EF4-FFF2-40B4-BE49-F238E27FC236}">
                  <a16:creationId xmlns:a16="http://schemas.microsoft.com/office/drawing/2014/main" id="{F5EF449A-684D-2A87-12BE-6325228669B6}"/>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69" name="Text Placeholder 3">
              <a:extLst>
                <a:ext uri="{FF2B5EF4-FFF2-40B4-BE49-F238E27FC236}">
                  <a16:creationId xmlns:a16="http://schemas.microsoft.com/office/drawing/2014/main" id="{E2112536-0871-B292-6C66-6008705FE9FE}"/>
                </a:ext>
              </a:extLst>
            </p:cNvPr>
            <p:cNvSpPr txBox="1">
              <a:spLocks/>
            </p:cNvSpPr>
            <p:nvPr/>
          </p:nvSpPr>
          <p:spPr bwMode="gray">
            <a:xfrm>
              <a:off x="1464369" y="3417688"/>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hu-HU" sz="1050" dirty="0">
                  <a:solidFill>
                    <a:srgbClr val="00B0F2"/>
                  </a:solidFill>
                </a:rPr>
                <a:t>20</a:t>
              </a:r>
              <a:r>
                <a:rPr lang="en-US" sz="1050" dirty="0">
                  <a:solidFill>
                    <a:srgbClr val="00B0F2"/>
                  </a:solidFill>
                </a:rPr>
                <a:t>+</a:t>
              </a:r>
            </a:p>
          </p:txBody>
        </p:sp>
      </p:grpSp>
      <p:grpSp>
        <p:nvGrpSpPr>
          <p:cNvPr id="473" name="Group 472">
            <a:extLst>
              <a:ext uri="{FF2B5EF4-FFF2-40B4-BE49-F238E27FC236}">
                <a16:creationId xmlns:a16="http://schemas.microsoft.com/office/drawing/2014/main" id="{EFFB7510-C02F-B53A-6990-1944B7B2F9AE}"/>
              </a:ext>
            </a:extLst>
          </p:cNvPr>
          <p:cNvGrpSpPr/>
          <p:nvPr/>
        </p:nvGrpSpPr>
        <p:grpSpPr>
          <a:xfrm>
            <a:off x="4476829" y="3912977"/>
            <a:ext cx="350209" cy="341315"/>
            <a:chOff x="1455475" y="3312620"/>
            <a:chExt cx="350209" cy="341315"/>
          </a:xfrm>
        </p:grpSpPr>
        <p:sp>
          <p:nvSpPr>
            <p:cNvPr id="474" name="Flowchart: Connector 473">
              <a:extLst>
                <a:ext uri="{FF2B5EF4-FFF2-40B4-BE49-F238E27FC236}">
                  <a16:creationId xmlns:a16="http://schemas.microsoft.com/office/drawing/2014/main" id="{34162A32-B126-C54E-D376-C6E9C58F8395}"/>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75" name="Text Placeholder 3">
              <a:extLst>
                <a:ext uri="{FF2B5EF4-FFF2-40B4-BE49-F238E27FC236}">
                  <a16:creationId xmlns:a16="http://schemas.microsoft.com/office/drawing/2014/main" id="{FF68D1C6-3263-96D2-D14D-6D3C57587E32}"/>
                </a:ext>
              </a:extLst>
            </p:cNvPr>
            <p:cNvSpPr txBox="1">
              <a:spLocks/>
            </p:cNvSpPr>
            <p:nvPr/>
          </p:nvSpPr>
          <p:spPr bwMode="gray">
            <a:xfrm>
              <a:off x="1464369" y="3417688"/>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5+</a:t>
              </a:r>
            </a:p>
          </p:txBody>
        </p:sp>
      </p:grpSp>
      <p:grpSp>
        <p:nvGrpSpPr>
          <p:cNvPr id="476" name="Group 475">
            <a:extLst>
              <a:ext uri="{FF2B5EF4-FFF2-40B4-BE49-F238E27FC236}">
                <a16:creationId xmlns:a16="http://schemas.microsoft.com/office/drawing/2014/main" id="{9AA873F7-4FCA-A994-6940-92B4C3EA810A}"/>
              </a:ext>
            </a:extLst>
          </p:cNvPr>
          <p:cNvGrpSpPr/>
          <p:nvPr/>
        </p:nvGrpSpPr>
        <p:grpSpPr>
          <a:xfrm>
            <a:off x="2218372" y="3107121"/>
            <a:ext cx="351471" cy="341315"/>
            <a:chOff x="1445319" y="3312620"/>
            <a:chExt cx="351471" cy="341315"/>
          </a:xfrm>
        </p:grpSpPr>
        <p:sp>
          <p:nvSpPr>
            <p:cNvPr id="477" name="Flowchart: Connector 476">
              <a:extLst>
                <a:ext uri="{FF2B5EF4-FFF2-40B4-BE49-F238E27FC236}">
                  <a16:creationId xmlns:a16="http://schemas.microsoft.com/office/drawing/2014/main" id="{62E1538E-9537-C4FB-40DD-030293ED2758}"/>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78" name="Text Placeholder 3">
              <a:extLst>
                <a:ext uri="{FF2B5EF4-FFF2-40B4-BE49-F238E27FC236}">
                  <a16:creationId xmlns:a16="http://schemas.microsoft.com/office/drawing/2014/main" id="{A2294647-9A15-EC81-7C5F-BF89E327BE58}"/>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rPr>
                <a:t>~15</a:t>
              </a:r>
            </a:p>
          </p:txBody>
        </p:sp>
      </p:grpSp>
      <p:sp>
        <p:nvSpPr>
          <p:cNvPr id="28" name="Rectangle: Rounded Corners 27">
            <a:extLst>
              <a:ext uri="{FF2B5EF4-FFF2-40B4-BE49-F238E27FC236}">
                <a16:creationId xmlns:a16="http://schemas.microsoft.com/office/drawing/2014/main" id="{CD9118AD-3370-648D-3B93-6DA8DE7533C5}"/>
              </a:ext>
            </a:extLst>
          </p:cNvPr>
          <p:cNvSpPr/>
          <p:nvPr/>
        </p:nvSpPr>
        <p:spPr bwMode="gray">
          <a:xfrm>
            <a:off x="9491775" y="2701893"/>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a:ea typeface="Open Sans"/>
                <a:cs typeface="Open Sans"/>
              </a:rPr>
              <a:t>Cyber Risk</a:t>
            </a:r>
          </a:p>
        </p:txBody>
      </p:sp>
      <p:sp>
        <p:nvSpPr>
          <p:cNvPr id="29" name="Rectangle: Rounded Corners 28">
            <a:extLst>
              <a:ext uri="{FF2B5EF4-FFF2-40B4-BE49-F238E27FC236}">
                <a16:creationId xmlns:a16="http://schemas.microsoft.com/office/drawing/2014/main" id="{93EA7CE1-450B-0A65-17C1-C52CEC2D455E}"/>
              </a:ext>
            </a:extLst>
          </p:cNvPr>
          <p:cNvSpPr/>
          <p:nvPr/>
        </p:nvSpPr>
        <p:spPr bwMode="gray">
          <a:xfrm>
            <a:off x="9491775" y="3480797"/>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pPr>
            <a:r>
              <a:rPr lang="en-US" sz="1200" b="1" dirty="0">
                <a:latin typeface="Open Sans"/>
                <a:ea typeface="Open Sans"/>
                <a:cs typeface="Open Sans"/>
              </a:rPr>
              <a:t>Regulatory Risk</a:t>
            </a:r>
            <a:endParaRPr lang="en-US" sz="2000" dirty="0"/>
          </a:p>
        </p:txBody>
      </p:sp>
      <p:sp>
        <p:nvSpPr>
          <p:cNvPr id="30" name="Rectangle: Rounded Corners 29">
            <a:extLst>
              <a:ext uri="{FF2B5EF4-FFF2-40B4-BE49-F238E27FC236}">
                <a16:creationId xmlns:a16="http://schemas.microsoft.com/office/drawing/2014/main" id="{903788E1-AE56-CC55-5713-6D28164C2D57}"/>
              </a:ext>
            </a:extLst>
          </p:cNvPr>
          <p:cNvSpPr/>
          <p:nvPr/>
        </p:nvSpPr>
        <p:spPr bwMode="gray">
          <a:xfrm>
            <a:off x="9491775" y="4314676"/>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200" b="1" dirty="0">
                <a:latin typeface="Open Sans"/>
                <a:ea typeface="Open Sans"/>
                <a:cs typeface="Open Sans"/>
              </a:rPr>
              <a:t>Climate &amp; Sustainability</a:t>
            </a:r>
          </a:p>
        </p:txBody>
      </p:sp>
      <p:grpSp>
        <p:nvGrpSpPr>
          <p:cNvPr id="25" name="Group 24">
            <a:extLst>
              <a:ext uri="{FF2B5EF4-FFF2-40B4-BE49-F238E27FC236}">
                <a16:creationId xmlns:a16="http://schemas.microsoft.com/office/drawing/2014/main" id="{0A24F668-EFAA-BA28-4C7D-4FBDD12D85B2}"/>
              </a:ext>
            </a:extLst>
          </p:cNvPr>
          <p:cNvGrpSpPr/>
          <p:nvPr/>
        </p:nvGrpSpPr>
        <p:grpSpPr>
          <a:xfrm>
            <a:off x="-106164" y="6111994"/>
            <a:ext cx="5124305" cy="536632"/>
            <a:chOff x="-106164" y="5703621"/>
            <a:chExt cx="5124305" cy="536632"/>
          </a:xfrm>
        </p:grpSpPr>
        <p:sp>
          <p:nvSpPr>
            <p:cNvPr id="482" name="Rectangle: Rounded Corners 481">
              <a:extLst>
                <a:ext uri="{FF2B5EF4-FFF2-40B4-BE49-F238E27FC236}">
                  <a16:creationId xmlns:a16="http://schemas.microsoft.com/office/drawing/2014/main" id="{A2A4CF1E-D97E-081F-A18B-0BB18814637D}"/>
                </a:ext>
              </a:extLst>
            </p:cNvPr>
            <p:cNvSpPr/>
            <p:nvPr/>
          </p:nvSpPr>
          <p:spPr bwMode="gray">
            <a:xfrm>
              <a:off x="-106164" y="5703621"/>
              <a:ext cx="5124305" cy="528077"/>
            </a:xfrm>
            <a:prstGeom prst="roundRect">
              <a:avLst>
                <a:gd name="adj" fmla="val 12298"/>
              </a:avLst>
            </a:prstGeom>
            <a:solidFill>
              <a:srgbClr val="D5F4F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8" name="Text Placeholder 3">
              <a:extLst>
                <a:ext uri="{FF2B5EF4-FFF2-40B4-BE49-F238E27FC236}">
                  <a16:creationId xmlns:a16="http://schemas.microsoft.com/office/drawing/2014/main" id="{BE611AAE-06B9-391E-0D39-EF33EFECFA12}"/>
                </a:ext>
              </a:extLst>
            </p:cNvPr>
            <p:cNvSpPr txBox="1">
              <a:spLocks/>
            </p:cNvSpPr>
            <p:nvPr/>
          </p:nvSpPr>
          <p:spPr bwMode="gray">
            <a:xfrm>
              <a:off x="548335" y="5778588"/>
              <a:ext cx="1833449" cy="461665"/>
            </a:xfrm>
            <a:prstGeom prst="rect">
              <a:avLst/>
            </a:prstGeom>
            <a:noFill/>
            <a:ln>
              <a:noFill/>
            </a:ln>
          </p:spPr>
          <p:txBody>
            <a:bodyPr vert="horz" wrap="square" lIns="0" tIns="0" rIns="0" bIns="0" rtlCol="0" anchor="t">
              <a:spAutoFit/>
            </a:bodyPr>
            <a:lstStyle/>
            <a:p>
              <a:pPr marL="0" lvl="1">
                <a:spcBef>
                  <a:spcPts val="1200"/>
                </a:spcBef>
                <a:buSzPct val="100000"/>
                <a:defRPr/>
              </a:pPr>
              <a:r>
                <a:rPr lang="hu-HU" sz="14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25</a:t>
              </a:r>
              <a:r>
                <a:rPr lang="en-US" sz="14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0</a:t>
              </a:r>
              <a:r>
                <a:rPr lang="en-US" sz="12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a:t>
              </a:r>
              <a:r>
                <a:rPr lang="en-US" sz="11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 </a:t>
              </a:r>
              <a:r>
                <a:rPr lang="en-US" sz="800" dirty="0">
                  <a:latin typeface="Open Sans" panose="020B0606030504020204" pitchFamily="34" charset="0"/>
                  <a:ea typeface="Open Sans" panose="020B0606030504020204" pitchFamily="34" charset="0"/>
                  <a:cs typeface="Open Sans" panose="020B0606030504020204" pitchFamily="34" charset="0"/>
                </a:rPr>
                <a:t>professionals</a:t>
              </a:r>
              <a:br>
                <a:rPr lang="en-US" sz="800" dirty="0">
                  <a:latin typeface="Open Sans" panose="020B0606030504020204" pitchFamily="34" charset="0"/>
                  <a:ea typeface="Open Sans" panose="020B0606030504020204" pitchFamily="34" charset="0"/>
                  <a:cs typeface="Open Sans" panose="020B0606030504020204" pitchFamily="34" charset="0"/>
                </a:rPr>
              </a:br>
              <a:r>
                <a:rPr lang="en-US" sz="800" dirty="0">
                  <a:latin typeface="Open Sans" panose="020B0606030504020204" pitchFamily="34" charset="0"/>
                  <a:ea typeface="Open Sans" panose="020B0606030504020204" pitchFamily="34" charset="0"/>
                  <a:cs typeface="Open Sans" panose="020B0606030504020204" pitchFamily="34" charset="0"/>
                </a:rPr>
                <a:t>in Deloitte HU Consulting</a:t>
              </a:r>
              <a:br>
                <a:rPr lang="en-US" sz="800" dirty="0">
                  <a:latin typeface="Open Sans" panose="020B0606030504020204" pitchFamily="34" charset="0"/>
                  <a:ea typeface="Open Sans" panose="020B0606030504020204" pitchFamily="34" charset="0"/>
                  <a:cs typeface="Open Sans" panose="020B0606030504020204" pitchFamily="34" charset="0"/>
                </a:rPr>
              </a:br>
              <a:endParaRPr lang="en-US" sz="8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479" name="Text Placeholder 3">
              <a:extLst>
                <a:ext uri="{FF2B5EF4-FFF2-40B4-BE49-F238E27FC236}">
                  <a16:creationId xmlns:a16="http://schemas.microsoft.com/office/drawing/2014/main" id="{9FAD9D9B-A0C9-88A2-036C-48B8FB1DC426}"/>
                </a:ext>
              </a:extLst>
            </p:cNvPr>
            <p:cNvSpPr txBox="1">
              <a:spLocks/>
            </p:cNvSpPr>
            <p:nvPr/>
          </p:nvSpPr>
          <p:spPr bwMode="gray">
            <a:xfrm>
              <a:off x="2244009" y="5915135"/>
              <a:ext cx="1172715" cy="123111"/>
            </a:xfrm>
            <a:prstGeom prst="rect">
              <a:avLst/>
            </a:prstGeom>
            <a:noFill/>
            <a:ln>
              <a:noFill/>
            </a:ln>
          </p:spPr>
          <p:txBody>
            <a:bodyPr vert="horz" wrap="square" lIns="0" tIns="0" rIns="0" bIns="0" rtlCol="0" anchor="t">
              <a:spAutoFit/>
            </a:bodyPr>
            <a:lstStyle/>
            <a:p>
              <a:pPr marL="0" lvl="1">
                <a:spcBef>
                  <a:spcPts val="1200"/>
                </a:spcBef>
                <a:buSzPct val="100000"/>
                <a:defRPr/>
              </a:pPr>
              <a:r>
                <a:rPr lang="en-US" sz="800" i="1" dirty="0">
                  <a:latin typeface="Open Sans" panose="020B0606030504020204" pitchFamily="34" charset="0"/>
                  <a:ea typeface="Open Sans" panose="020B0606030504020204" pitchFamily="34" charset="0"/>
                  <a:cs typeface="Open Sans" panose="020B0606030504020204" pitchFamily="34" charset="0"/>
                </a:rPr>
                <a:t>of which</a:t>
              </a:r>
              <a:r>
                <a:rPr lang="en-US" sz="800" b="1" dirty="0">
                  <a:latin typeface="Open Sans" panose="020B0606030504020204" pitchFamily="34" charset="0"/>
                  <a:ea typeface="Open Sans" panose="020B0606030504020204" pitchFamily="34" charset="0"/>
                  <a:cs typeface="Open Sans" panose="020B0606030504020204" pitchFamily="34" charset="0"/>
                </a:rPr>
                <a:t> </a:t>
              </a:r>
              <a:endParaRPr lang="en-US" sz="800" dirty="0">
                <a:latin typeface="Open Sans" panose="020B0606030504020204" pitchFamily="34" charset="0"/>
                <a:ea typeface="Open Sans" panose="020B0606030504020204" pitchFamily="34" charset="0"/>
                <a:cs typeface="Open Sans" panose="020B0606030504020204" pitchFamily="34" charset="0"/>
              </a:endParaRPr>
            </a:p>
          </p:txBody>
        </p:sp>
        <p:sp>
          <p:nvSpPr>
            <p:cNvPr id="480" name="Text Placeholder 3">
              <a:extLst>
                <a:ext uri="{FF2B5EF4-FFF2-40B4-BE49-F238E27FC236}">
                  <a16:creationId xmlns:a16="http://schemas.microsoft.com/office/drawing/2014/main" id="{0300301F-C021-3639-B2A4-79CC1A00764C}"/>
                </a:ext>
              </a:extLst>
            </p:cNvPr>
            <p:cNvSpPr txBox="1">
              <a:spLocks/>
            </p:cNvSpPr>
            <p:nvPr/>
          </p:nvSpPr>
          <p:spPr bwMode="gray">
            <a:xfrm>
              <a:off x="3160733" y="5884357"/>
              <a:ext cx="1833449" cy="184666"/>
            </a:xfrm>
            <a:prstGeom prst="rect">
              <a:avLst/>
            </a:prstGeom>
            <a:noFill/>
            <a:ln>
              <a:noFill/>
            </a:ln>
          </p:spPr>
          <p:txBody>
            <a:bodyPr vert="horz" wrap="square" lIns="0" tIns="0" rIns="0" bIns="0" rtlCol="0" anchor="t">
              <a:spAutoFit/>
            </a:bodyPr>
            <a:lstStyle/>
            <a:p>
              <a:pPr marL="0" lvl="1">
                <a:spcBef>
                  <a:spcPts val="1200"/>
                </a:spcBef>
                <a:buSzPct val="100000"/>
                <a:defRPr/>
              </a:pPr>
              <a:r>
                <a:rPr lang="en-US" sz="12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50% </a:t>
              </a:r>
              <a:r>
                <a:rPr lang="en-US" sz="800" dirty="0">
                  <a:latin typeface="Open Sans" panose="020B0606030504020204" pitchFamily="34" charset="0"/>
                  <a:ea typeface="Open Sans" panose="020B0606030504020204" pitchFamily="34" charset="0"/>
                  <a:cs typeface="Open Sans" panose="020B0606030504020204" pitchFamily="34" charset="0"/>
                </a:rPr>
                <a:t>technology experts</a:t>
              </a:r>
            </a:p>
          </p:txBody>
        </p:sp>
      </p:grpSp>
      <p:grpSp>
        <p:nvGrpSpPr>
          <p:cNvPr id="31" name="Group 30">
            <a:extLst>
              <a:ext uri="{FF2B5EF4-FFF2-40B4-BE49-F238E27FC236}">
                <a16:creationId xmlns:a16="http://schemas.microsoft.com/office/drawing/2014/main" id="{E839ABF2-81E9-C2FF-2C0C-1D3AAD476C7D}"/>
              </a:ext>
            </a:extLst>
          </p:cNvPr>
          <p:cNvGrpSpPr/>
          <p:nvPr/>
        </p:nvGrpSpPr>
        <p:grpSpPr>
          <a:xfrm>
            <a:off x="11165186" y="3091923"/>
            <a:ext cx="351471" cy="341315"/>
            <a:chOff x="1445319" y="3312620"/>
            <a:chExt cx="351471" cy="341315"/>
          </a:xfrm>
        </p:grpSpPr>
        <p:sp>
          <p:nvSpPr>
            <p:cNvPr id="50" name="Flowchart: Connector 49">
              <a:extLst>
                <a:ext uri="{FF2B5EF4-FFF2-40B4-BE49-F238E27FC236}">
                  <a16:creationId xmlns:a16="http://schemas.microsoft.com/office/drawing/2014/main" id="{3F1C2B8F-84F4-3384-7FEE-694125CAAE8D}"/>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51" name="Text Placeholder 3">
              <a:extLst>
                <a:ext uri="{FF2B5EF4-FFF2-40B4-BE49-F238E27FC236}">
                  <a16:creationId xmlns:a16="http://schemas.microsoft.com/office/drawing/2014/main" id="{2A39AD4E-78AE-2A90-6C23-5D9C93A921A3}"/>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latin typeface="Open Sans"/>
                  <a:ea typeface="Open Sans"/>
                  <a:cs typeface="Open Sans"/>
                </a:rPr>
                <a:t>60+</a:t>
              </a:r>
              <a:endParaRPr lang="en-US" sz="1050" dirty="0">
                <a:solidFill>
                  <a:srgbClr val="00B0F2"/>
                </a:solidFill>
              </a:endParaRPr>
            </a:p>
          </p:txBody>
        </p:sp>
      </p:grpSp>
      <p:grpSp>
        <p:nvGrpSpPr>
          <p:cNvPr id="55" name="Group 54">
            <a:extLst>
              <a:ext uri="{FF2B5EF4-FFF2-40B4-BE49-F238E27FC236}">
                <a16:creationId xmlns:a16="http://schemas.microsoft.com/office/drawing/2014/main" id="{9DA52FDB-04AB-E700-EC85-CAD11CD3952F}"/>
              </a:ext>
            </a:extLst>
          </p:cNvPr>
          <p:cNvGrpSpPr/>
          <p:nvPr/>
        </p:nvGrpSpPr>
        <p:grpSpPr>
          <a:xfrm>
            <a:off x="11138552" y="3871936"/>
            <a:ext cx="351471" cy="341315"/>
            <a:chOff x="1445319" y="3312620"/>
            <a:chExt cx="351471" cy="341315"/>
          </a:xfrm>
        </p:grpSpPr>
        <p:sp>
          <p:nvSpPr>
            <p:cNvPr id="56" name="Flowchart: Connector 55">
              <a:extLst>
                <a:ext uri="{FF2B5EF4-FFF2-40B4-BE49-F238E27FC236}">
                  <a16:creationId xmlns:a16="http://schemas.microsoft.com/office/drawing/2014/main" id="{2BA8588B-0403-0752-7A68-2816AC8379D6}"/>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57" name="Text Placeholder 3">
              <a:extLst>
                <a:ext uri="{FF2B5EF4-FFF2-40B4-BE49-F238E27FC236}">
                  <a16:creationId xmlns:a16="http://schemas.microsoft.com/office/drawing/2014/main" id="{836D4C8E-CF3E-9F1D-B7EB-8D200FA6C426}"/>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latin typeface="Open Sans"/>
                  <a:ea typeface="Open Sans"/>
                  <a:cs typeface="Open Sans"/>
                </a:rPr>
                <a:t>10+</a:t>
              </a:r>
              <a:endParaRPr lang="en-US" sz="1050" dirty="0">
                <a:solidFill>
                  <a:srgbClr val="00B0F2"/>
                </a:solidFill>
              </a:endParaRPr>
            </a:p>
          </p:txBody>
        </p:sp>
      </p:grpSp>
      <p:grpSp>
        <p:nvGrpSpPr>
          <p:cNvPr id="448" name="Group 447">
            <a:extLst>
              <a:ext uri="{FF2B5EF4-FFF2-40B4-BE49-F238E27FC236}">
                <a16:creationId xmlns:a16="http://schemas.microsoft.com/office/drawing/2014/main" id="{C4BBA587-D17B-1A78-E516-714E30C65FC0}"/>
              </a:ext>
            </a:extLst>
          </p:cNvPr>
          <p:cNvGrpSpPr/>
          <p:nvPr/>
        </p:nvGrpSpPr>
        <p:grpSpPr>
          <a:xfrm>
            <a:off x="11147432" y="4686201"/>
            <a:ext cx="351471" cy="341315"/>
            <a:chOff x="1445319" y="3312620"/>
            <a:chExt cx="351471" cy="341315"/>
          </a:xfrm>
        </p:grpSpPr>
        <p:sp>
          <p:nvSpPr>
            <p:cNvPr id="449" name="Flowchart: Connector 448">
              <a:extLst>
                <a:ext uri="{FF2B5EF4-FFF2-40B4-BE49-F238E27FC236}">
                  <a16:creationId xmlns:a16="http://schemas.microsoft.com/office/drawing/2014/main" id="{0AEA0480-5BA0-254E-A495-575DE6C322C9}"/>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50" name="Text Placeholder 3">
              <a:extLst>
                <a:ext uri="{FF2B5EF4-FFF2-40B4-BE49-F238E27FC236}">
                  <a16:creationId xmlns:a16="http://schemas.microsoft.com/office/drawing/2014/main" id="{7357EF1F-D4D8-069B-BD5B-E976CAE8F068}"/>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latin typeface="Open Sans"/>
                  <a:ea typeface="Open Sans"/>
                  <a:cs typeface="Open Sans"/>
                </a:rPr>
                <a:t>10+</a:t>
              </a:r>
              <a:endParaRPr lang="en-US" sz="1050" dirty="0">
                <a:solidFill>
                  <a:srgbClr val="00B0F2"/>
                </a:solidFill>
              </a:endParaRPr>
            </a:p>
          </p:txBody>
        </p:sp>
      </p:grpSp>
      <p:sp>
        <p:nvSpPr>
          <p:cNvPr id="481" name="Rectangle: Rounded Corners 480">
            <a:extLst>
              <a:ext uri="{FF2B5EF4-FFF2-40B4-BE49-F238E27FC236}">
                <a16:creationId xmlns:a16="http://schemas.microsoft.com/office/drawing/2014/main" id="{E6EA16A4-931D-A1E8-0412-978E3BE2D712}"/>
              </a:ext>
            </a:extLst>
          </p:cNvPr>
          <p:cNvSpPr/>
          <p:nvPr/>
        </p:nvSpPr>
        <p:spPr bwMode="gray">
          <a:xfrm>
            <a:off x="9491775" y="5111657"/>
            <a:ext cx="1962279" cy="676153"/>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pPr>
            <a:r>
              <a:rPr lang="en-US" sz="1200" b="1" dirty="0">
                <a:latin typeface="Open Sans"/>
                <a:ea typeface="Open Sans"/>
                <a:cs typeface="Open Sans"/>
              </a:rPr>
              <a:t>IT &amp; Internal Control Advisory</a:t>
            </a:r>
            <a:endParaRPr lang="en-US" sz="2000">
              <a:ea typeface="Calibri"/>
              <a:cs typeface="Calibri"/>
            </a:endParaRPr>
          </a:p>
        </p:txBody>
      </p:sp>
      <p:grpSp>
        <p:nvGrpSpPr>
          <p:cNvPr id="483" name="Group 482">
            <a:extLst>
              <a:ext uri="{FF2B5EF4-FFF2-40B4-BE49-F238E27FC236}">
                <a16:creationId xmlns:a16="http://schemas.microsoft.com/office/drawing/2014/main" id="{F722FDC9-846A-C688-5068-693284F99718}"/>
              </a:ext>
            </a:extLst>
          </p:cNvPr>
          <p:cNvGrpSpPr/>
          <p:nvPr/>
        </p:nvGrpSpPr>
        <p:grpSpPr>
          <a:xfrm>
            <a:off x="11147432" y="5500039"/>
            <a:ext cx="351471" cy="341315"/>
            <a:chOff x="1445319" y="3312620"/>
            <a:chExt cx="351471" cy="341315"/>
          </a:xfrm>
        </p:grpSpPr>
        <p:sp>
          <p:nvSpPr>
            <p:cNvPr id="484" name="Flowchart: Connector 483">
              <a:extLst>
                <a:ext uri="{FF2B5EF4-FFF2-40B4-BE49-F238E27FC236}">
                  <a16:creationId xmlns:a16="http://schemas.microsoft.com/office/drawing/2014/main" id="{C7450FCA-4089-A5E3-A450-4E8B3AAA800E}"/>
                </a:ext>
              </a:extLst>
            </p:cNvPr>
            <p:cNvSpPr/>
            <p:nvPr/>
          </p:nvSpPr>
          <p:spPr bwMode="gray">
            <a:xfrm>
              <a:off x="1455475" y="3312620"/>
              <a:ext cx="341315" cy="341315"/>
            </a:xfrm>
            <a:prstGeom prst="flowChartConnector">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485" name="Text Placeholder 3">
              <a:extLst>
                <a:ext uri="{FF2B5EF4-FFF2-40B4-BE49-F238E27FC236}">
                  <a16:creationId xmlns:a16="http://schemas.microsoft.com/office/drawing/2014/main" id="{070B8C6F-8C6D-A993-E88E-F3B350049DC9}"/>
                </a:ext>
              </a:extLst>
            </p:cNvPr>
            <p:cNvSpPr txBox="1">
              <a:spLocks/>
            </p:cNvSpPr>
            <p:nvPr/>
          </p:nvSpPr>
          <p:spPr bwMode="gray">
            <a:xfrm>
              <a:off x="1445319" y="3408163"/>
              <a:ext cx="341315" cy="161583"/>
            </a:xfrm>
            <a:prstGeom prst="rect">
              <a:avLst/>
            </a:prstGeom>
            <a:noFill/>
            <a:ln>
              <a:noFill/>
            </a:ln>
          </p:spPr>
          <p:txBody>
            <a:bodyPr vert="horz" wrap="square" lIns="0" tIns="0" rIns="0" bIns="0" rtlCol="0" anchor="t">
              <a:spAutoFit/>
            </a:bodyPr>
            <a:lstStyle>
              <a:defPPr>
                <a:defRPr lang="en-US"/>
              </a:defPPr>
              <a:lvl2pPr marL="0" lvl="1">
                <a:spcBef>
                  <a:spcPts val="1200"/>
                </a:spcBef>
                <a:buSzPct val="100000"/>
                <a:defRPr sz="1300" b="1">
                  <a:latin typeface="Open Sans" panose="020B0606030504020204" pitchFamily="34" charset="0"/>
                  <a:ea typeface="Open Sans" panose="020B0606030504020204" pitchFamily="34" charset="0"/>
                  <a:cs typeface="Open Sans" panose="020B0606030504020204" pitchFamily="34" charset="0"/>
                </a:defRPr>
              </a:lvl2pPr>
            </a:lstStyle>
            <a:p>
              <a:pPr lvl="1" algn="ctr"/>
              <a:r>
                <a:rPr lang="en-US" sz="1050" dirty="0">
                  <a:solidFill>
                    <a:srgbClr val="00B0F2"/>
                  </a:solidFill>
                  <a:latin typeface="Open Sans"/>
                  <a:ea typeface="Open Sans"/>
                  <a:cs typeface="Open Sans"/>
                </a:rPr>
                <a:t>~10</a:t>
              </a:r>
              <a:endParaRPr lang="en-US" sz="1050" dirty="0">
                <a:solidFill>
                  <a:srgbClr val="00B0F2"/>
                </a:solidFill>
              </a:endParaRPr>
            </a:p>
          </p:txBody>
        </p:sp>
      </p:grpSp>
      <p:sp>
        <p:nvSpPr>
          <p:cNvPr id="3" name="Title 2">
            <a:extLst>
              <a:ext uri="{FF2B5EF4-FFF2-40B4-BE49-F238E27FC236}">
                <a16:creationId xmlns:a16="http://schemas.microsoft.com/office/drawing/2014/main" id="{E98AF1A0-BDC9-C1EE-8F0C-0C5F3DAA72FA}"/>
              </a:ext>
            </a:extLst>
          </p:cNvPr>
          <p:cNvSpPr>
            <a:spLocks noGrp="1"/>
          </p:cNvSpPr>
          <p:nvPr>
            <p:ph type="title"/>
          </p:nvPr>
        </p:nvSpPr>
        <p:spPr>
          <a:xfrm>
            <a:off x="463295" y="417911"/>
            <a:ext cx="11074584" cy="334099"/>
          </a:xfrm>
        </p:spPr>
        <p:txBody>
          <a:bodyPr vert="horz"/>
          <a:lstStyle/>
          <a:p>
            <a:r>
              <a:rPr lang="en-US" sz="2000" dirty="0">
                <a:solidFill>
                  <a:prstClr val="black"/>
                </a:solidFill>
              </a:rPr>
              <a:t>Our local Consulting team helps client reimagine their core business functions, their workforce, their customers, their supply chain and many other areas</a:t>
            </a:r>
          </a:p>
        </p:txBody>
      </p:sp>
    </p:spTree>
    <p:extLst>
      <p:ext uri="{BB962C8B-B14F-4D97-AF65-F5344CB8AC3E}">
        <p14:creationId xmlns:p14="http://schemas.microsoft.com/office/powerpoint/2010/main" val="65470923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think-cell data - do not delete" hidden="1">
            <a:extLst>
              <a:ext uri="{FF2B5EF4-FFF2-40B4-BE49-F238E27FC236}">
                <a16:creationId xmlns:a16="http://schemas.microsoft.com/office/drawing/2014/main" id="{B6AF2D76-1859-9D7B-664B-2DC47F27238D}"/>
              </a:ext>
            </a:extLst>
          </p:cNvPr>
          <p:cNvGraphicFramePr>
            <a:graphicFrameLocks noChangeAspect="1"/>
          </p:cNvGraphicFramePr>
          <p:nvPr>
            <p:custDataLst>
              <p:tags r:id="rId1"/>
            </p:custDataLst>
            <p:extLst>
              <p:ext uri="{D42A27DB-BD31-4B8C-83A1-F6EECF244321}">
                <p14:modId xmlns:p14="http://schemas.microsoft.com/office/powerpoint/2010/main" val="165515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89" name="think-cell data - do not delete" hidden="1">
                        <a:extLst>
                          <a:ext uri="{FF2B5EF4-FFF2-40B4-BE49-F238E27FC236}">
                            <a16:creationId xmlns:a16="http://schemas.microsoft.com/office/drawing/2014/main" id="{B6AF2D76-1859-9D7B-664B-2DC47F2723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133CD53-CF92-E31E-D6F7-7046B2284386}"/>
              </a:ext>
            </a:extLst>
          </p:cNvPr>
          <p:cNvSpPr>
            <a:spLocks noGrp="1"/>
          </p:cNvSpPr>
          <p:nvPr>
            <p:ph type="body" sz="quarter" idx="22"/>
          </p:nvPr>
        </p:nvSpPr>
        <p:spPr/>
        <p:txBody>
          <a:bodyPr/>
          <a:lstStyle/>
          <a:p>
            <a:r>
              <a:rPr lang="en-US" dirty="0"/>
              <a:t>Methods to measure the achievement of the objectives set</a:t>
            </a:r>
          </a:p>
        </p:txBody>
      </p:sp>
      <p:sp>
        <p:nvSpPr>
          <p:cNvPr id="3" name="Title 2">
            <a:extLst>
              <a:ext uri="{FF2B5EF4-FFF2-40B4-BE49-F238E27FC236}">
                <a16:creationId xmlns:a16="http://schemas.microsoft.com/office/drawing/2014/main" id="{A2232805-E38A-4D8A-0397-1E231689CBAA}"/>
              </a:ext>
            </a:extLst>
          </p:cNvPr>
          <p:cNvSpPr>
            <a:spLocks noGrp="1"/>
          </p:cNvSpPr>
          <p:nvPr>
            <p:ph type="title"/>
          </p:nvPr>
        </p:nvSpPr>
        <p:spPr/>
        <p:txBody>
          <a:bodyPr vert="horz"/>
          <a:lstStyle/>
          <a:p>
            <a:r>
              <a:rPr lang="en-US" dirty="0"/>
              <a:t>Monitoring</a:t>
            </a:r>
          </a:p>
        </p:txBody>
      </p:sp>
      <p:grpSp>
        <p:nvGrpSpPr>
          <p:cNvPr id="46" name="Group 45">
            <a:extLst>
              <a:ext uri="{FF2B5EF4-FFF2-40B4-BE49-F238E27FC236}">
                <a16:creationId xmlns:a16="http://schemas.microsoft.com/office/drawing/2014/main" id="{19A7A227-010F-C67B-C042-B7B31734FD09}"/>
              </a:ext>
            </a:extLst>
          </p:cNvPr>
          <p:cNvGrpSpPr>
            <a:grpSpLocks noChangeAspect="1"/>
          </p:cNvGrpSpPr>
          <p:nvPr/>
        </p:nvGrpSpPr>
        <p:grpSpPr>
          <a:xfrm>
            <a:off x="497378" y="1314627"/>
            <a:ext cx="11197244" cy="4899723"/>
            <a:chOff x="0" y="1247042"/>
            <a:chExt cx="12081164" cy="5286511"/>
          </a:xfrm>
        </p:grpSpPr>
        <p:sp>
          <p:nvSpPr>
            <p:cNvPr id="4" name="Rectangle 3">
              <a:extLst>
                <a:ext uri="{FF2B5EF4-FFF2-40B4-BE49-F238E27FC236}">
                  <a16:creationId xmlns:a16="http://schemas.microsoft.com/office/drawing/2014/main" id="{5DCFAB2E-AA7D-491C-0E96-2A5A242AE0C7}"/>
                </a:ext>
              </a:extLst>
            </p:cNvPr>
            <p:cNvSpPr/>
            <p:nvPr/>
          </p:nvSpPr>
          <p:spPr bwMode="gray">
            <a:xfrm>
              <a:off x="6595123" y="1459655"/>
              <a:ext cx="5057082" cy="5073898"/>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F9CB427B-A837-74AB-70DF-2B6CA81E2092}"/>
                </a:ext>
              </a:extLst>
            </p:cNvPr>
            <p:cNvSpPr/>
            <p:nvPr/>
          </p:nvSpPr>
          <p:spPr bwMode="gray">
            <a:xfrm>
              <a:off x="3020609" y="2905104"/>
              <a:ext cx="3496402" cy="3628449"/>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535CAAFB-41D2-8074-E50C-7842A36D3B0D}"/>
                </a:ext>
              </a:extLst>
            </p:cNvPr>
            <p:cNvSpPr/>
            <p:nvPr/>
          </p:nvSpPr>
          <p:spPr bwMode="gray">
            <a:xfrm>
              <a:off x="404570" y="3602073"/>
              <a:ext cx="2537927" cy="2931479"/>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Freeform 11">
              <a:extLst>
                <a:ext uri="{FF2B5EF4-FFF2-40B4-BE49-F238E27FC236}">
                  <a16:creationId xmlns:a16="http://schemas.microsoft.com/office/drawing/2014/main" id="{0E773914-71F2-5F2B-4CFE-B9E96C373DFF}"/>
                </a:ext>
              </a:extLst>
            </p:cNvPr>
            <p:cNvSpPr/>
            <p:nvPr>
              <p:custDataLst>
                <p:tags r:id="rId2"/>
              </p:custDataLst>
            </p:nvPr>
          </p:nvSpPr>
          <p:spPr bwMode="auto">
            <a:xfrm>
              <a:off x="0" y="1247042"/>
              <a:ext cx="12081164" cy="5041435"/>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Calibri"/>
                <a:ea typeface="+mn-ea"/>
                <a:cs typeface="Verdana" panose="020B0604030504040204" pitchFamily="34" charset="0"/>
              </a:endParaRPr>
            </a:p>
          </p:txBody>
        </p:sp>
        <p:sp>
          <p:nvSpPr>
            <p:cNvPr id="8" name="Arc 6">
              <a:extLst>
                <a:ext uri="{FF2B5EF4-FFF2-40B4-BE49-F238E27FC236}">
                  <a16:creationId xmlns:a16="http://schemas.microsoft.com/office/drawing/2014/main" id="{E058A396-2014-5601-D5EB-4B5ECC3D0B5E}"/>
                </a:ext>
              </a:extLst>
            </p:cNvPr>
            <p:cNvSpPr>
              <a:spLocks noChangeAspect="1"/>
            </p:cNvSpPr>
            <p:nvPr/>
          </p:nvSpPr>
          <p:spPr bwMode="blackWhite">
            <a:xfrm rot="1863999">
              <a:off x="8597921" y="3822789"/>
              <a:ext cx="2343195" cy="2058619"/>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76200" cap="rnd">
              <a:solidFill>
                <a:srgbClr val="1CABE3"/>
              </a:solidFill>
              <a:round/>
              <a:headEnd type="triangle" w="lg" len="lg"/>
              <a:tailEnd type="none" w="sm" len="sm"/>
            </a:ln>
          </p:spPr>
          <p:txBody>
            <a:bodyPr lIns="0" tIns="0" rIns="0" bIns="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Arial" charset="0"/>
                <a:ea typeface="+mn-ea"/>
                <a:cs typeface="Arial" charset="0"/>
              </a:endParaRPr>
            </a:p>
          </p:txBody>
        </p:sp>
        <p:sp>
          <p:nvSpPr>
            <p:cNvPr id="9" name="Rectangle 8">
              <a:extLst>
                <a:ext uri="{FF2B5EF4-FFF2-40B4-BE49-F238E27FC236}">
                  <a16:creationId xmlns:a16="http://schemas.microsoft.com/office/drawing/2014/main" id="{0786E283-4B56-3D8C-8E3C-BB3D7040D527}"/>
                </a:ext>
              </a:extLst>
            </p:cNvPr>
            <p:cNvSpPr/>
            <p:nvPr/>
          </p:nvSpPr>
          <p:spPr bwMode="gray">
            <a:xfrm>
              <a:off x="1907224" y="1676574"/>
              <a:ext cx="4524886" cy="806013"/>
            </a:xfrm>
            <a:prstGeom prst="rect">
              <a:avLst/>
            </a:prstGeom>
            <a:noFill/>
            <a:ln w="19050" algn="ctr">
              <a:noFill/>
              <a:miter lim="800000"/>
              <a:headEnd/>
              <a:tailEnd/>
            </a:ln>
          </p:spPr>
          <p:txBody>
            <a:bodyPr wrap="square" lIns="88900" tIns="88900" rIns="88900" bIns="88900" rtlCol="0" anchor="ctr"/>
            <a:lstStyle/>
            <a:p>
              <a:pPr marL="0" marR="0" lvl="0" indent="0" algn="l"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rPr>
                <a:t>To what extent have the original objectives been met? Is the operational model effective? If not, how can it be iterated?</a:t>
              </a:r>
            </a:p>
          </p:txBody>
        </p:sp>
        <p:sp>
          <p:nvSpPr>
            <p:cNvPr id="10" name="Oval 9">
              <a:extLst>
                <a:ext uri="{FF2B5EF4-FFF2-40B4-BE49-F238E27FC236}">
                  <a16:creationId xmlns:a16="http://schemas.microsoft.com/office/drawing/2014/main" id="{A1DB6902-48E8-0763-AA2A-35E32443A773}"/>
                </a:ext>
              </a:extLst>
            </p:cNvPr>
            <p:cNvSpPr>
              <a:spLocks noChangeAspect="1"/>
            </p:cNvSpPr>
            <p:nvPr/>
          </p:nvSpPr>
          <p:spPr bwMode="gray">
            <a:xfrm>
              <a:off x="1831567" y="1896233"/>
              <a:ext cx="90352" cy="90352"/>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prstClr val="white"/>
                </a:solidFill>
                <a:effectLst/>
                <a:uLnTx/>
                <a:uFillTx/>
                <a:latin typeface="Calibri"/>
                <a:ea typeface="+mn-ea"/>
                <a:cs typeface="+mn-cs"/>
              </a:endParaRPr>
            </a:p>
          </p:txBody>
        </p:sp>
        <p:cxnSp>
          <p:nvCxnSpPr>
            <p:cNvPr id="11" name="Straight Connector 10">
              <a:extLst>
                <a:ext uri="{FF2B5EF4-FFF2-40B4-BE49-F238E27FC236}">
                  <a16:creationId xmlns:a16="http://schemas.microsoft.com/office/drawing/2014/main" id="{95FB49D2-42CA-9ED6-C4C0-62FED54306E7}"/>
                </a:ext>
              </a:extLst>
            </p:cNvPr>
            <p:cNvCxnSpPr/>
            <p:nvPr/>
          </p:nvCxnSpPr>
          <p:spPr>
            <a:xfrm>
              <a:off x="1282528" y="1941207"/>
              <a:ext cx="543786" cy="202"/>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F2D7883A-250F-CA44-5877-4CE4144A5A47}"/>
                </a:ext>
              </a:extLst>
            </p:cNvPr>
            <p:cNvSpPr/>
            <p:nvPr/>
          </p:nvSpPr>
          <p:spPr bwMode="gray">
            <a:xfrm>
              <a:off x="630928" y="1616542"/>
              <a:ext cx="649224" cy="649224"/>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a:ln>
                  <a:noFill/>
                </a:ln>
                <a:solidFill>
                  <a:prstClr val="black"/>
                </a:solidFill>
                <a:effectLst/>
                <a:uLnTx/>
                <a:uFillTx/>
                <a:latin typeface="Calibri"/>
                <a:ea typeface="+mn-ea"/>
                <a:cs typeface="+mn-cs"/>
              </a:endParaRPr>
            </a:p>
          </p:txBody>
        </p:sp>
        <p:grpSp>
          <p:nvGrpSpPr>
            <p:cNvPr id="13" name="Group 726">
              <a:extLst>
                <a:ext uri="{FF2B5EF4-FFF2-40B4-BE49-F238E27FC236}">
                  <a16:creationId xmlns:a16="http://schemas.microsoft.com/office/drawing/2014/main" id="{A5FF1391-17A4-4514-8E56-AB36E62BBCCC}"/>
                </a:ext>
              </a:extLst>
            </p:cNvPr>
            <p:cNvGrpSpPr>
              <a:grpSpLocks noChangeAspect="1"/>
            </p:cNvGrpSpPr>
            <p:nvPr/>
          </p:nvGrpSpPr>
          <p:grpSpPr bwMode="auto">
            <a:xfrm>
              <a:off x="626518" y="1615089"/>
              <a:ext cx="652236" cy="652236"/>
              <a:chOff x="5022" y="3403"/>
              <a:chExt cx="340" cy="340"/>
            </a:xfrm>
            <a:solidFill>
              <a:schemeClr val="accent3"/>
            </a:solidFill>
          </p:grpSpPr>
          <p:sp>
            <p:nvSpPr>
              <p:cNvPr id="14" name="Freeform 727">
                <a:extLst>
                  <a:ext uri="{FF2B5EF4-FFF2-40B4-BE49-F238E27FC236}">
                    <a16:creationId xmlns:a16="http://schemas.microsoft.com/office/drawing/2014/main" id="{CF018B50-C6B3-0BEA-0090-F64A6C09AB2B}"/>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Calibri"/>
                  <a:ea typeface="+mn-ea"/>
                  <a:cs typeface="+mn-cs"/>
                </a:endParaRPr>
              </a:p>
            </p:txBody>
          </p:sp>
          <p:sp>
            <p:nvSpPr>
              <p:cNvPr id="15" name="Freeform 728">
                <a:extLst>
                  <a:ext uri="{FF2B5EF4-FFF2-40B4-BE49-F238E27FC236}">
                    <a16:creationId xmlns:a16="http://schemas.microsoft.com/office/drawing/2014/main" id="{C8C44D2C-5209-6D61-2198-C8565CDB3B3F}"/>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accent2"/>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Calibri"/>
                  <a:ea typeface="+mn-ea"/>
                  <a:cs typeface="+mn-cs"/>
                </a:endParaRPr>
              </a:p>
            </p:txBody>
          </p:sp>
        </p:grpSp>
        <p:sp>
          <p:nvSpPr>
            <p:cNvPr id="16" name="Oval 15">
              <a:extLst>
                <a:ext uri="{FF2B5EF4-FFF2-40B4-BE49-F238E27FC236}">
                  <a16:creationId xmlns:a16="http://schemas.microsoft.com/office/drawing/2014/main" id="{9D661D11-4E0B-585D-77F7-5567CEBEA00A}"/>
                </a:ext>
              </a:extLst>
            </p:cNvPr>
            <p:cNvSpPr>
              <a:spLocks noChangeAspect="1"/>
            </p:cNvSpPr>
            <p:nvPr/>
          </p:nvSpPr>
          <p:spPr bwMode="gray">
            <a:xfrm>
              <a:off x="454267" y="3736437"/>
              <a:ext cx="483588" cy="483588"/>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800" b="1" i="0" u="none" strike="noStrike" kern="1200" cap="none" spc="0" normalizeH="0" baseline="0" dirty="0">
                  <a:ln>
                    <a:noFill/>
                  </a:ln>
                  <a:solidFill>
                    <a:prstClr val="white"/>
                  </a:solidFill>
                  <a:effectLst/>
                  <a:uLnTx/>
                  <a:uFillTx/>
                  <a:latin typeface="Calibri"/>
                  <a:ea typeface="+mn-ea"/>
                  <a:cs typeface="+mn-cs"/>
                </a:rPr>
                <a:t>1</a:t>
              </a:r>
            </a:p>
          </p:txBody>
        </p:sp>
        <p:sp>
          <p:nvSpPr>
            <p:cNvPr id="17" name="Oval 16">
              <a:extLst>
                <a:ext uri="{FF2B5EF4-FFF2-40B4-BE49-F238E27FC236}">
                  <a16:creationId xmlns:a16="http://schemas.microsoft.com/office/drawing/2014/main" id="{12F3C803-4402-8851-4595-D81682886DD2}"/>
                </a:ext>
              </a:extLst>
            </p:cNvPr>
            <p:cNvSpPr>
              <a:spLocks noChangeAspect="1"/>
            </p:cNvSpPr>
            <p:nvPr/>
          </p:nvSpPr>
          <p:spPr bwMode="gray">
            <a:xfrm>
              <a:off x="3079189" y="3028215"/>
              <a:ext cx="483588" cy="483588"/>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800" b="1" i="0" u="none" strike="noStrike" kern="1200" cap="none" spc="0" normalizeH="0" baseline="0" dirty="0">
                  <a:ln>
                    <a:noFill/>
                  </a:ln>
                  <a:solidFill>
                    <a:prstClr val="white"/>
                  </a:solidFill>
                  <a:effectLst/>
                  <a:uLnTx/>
                  <a:uFillTx/>
                  <a:latin typeface="Calibri"/>
                  <a:ea typeface="+mn-ea"/>
                  <a:cs typeface="+mn-cs"/>
                </a:rPr>
                <a:t>2</a:t>
              </a:r>
            </a:p>
          </p:txBody>
        </p:sp>
        <p:sp>
          <p:nvSpPr>
            <p:cNvPr id="18" name="Oval 17">
              <a:extLst>
                <a:ext uri="{FF2B5EF4-FFF2-40B4-BE49-F238E27FC236}">
                  <a16:creationId xmlns:a16="http://schemas.microsoft.com/office/drawing/2014/main" id="{E6D99EE7-093E-6E69-DC70-424E0931B1EC}"/>
                </a:ext>
              </a:extLst>
            </p:cNvPr>
            <p:cNvSpPr>
              <a:spLocks noChangeAspect="1"/>
            </p:cNvSpPr>
            <p:nvPr/>
          </p:nvSpPr>
          <p:spPr bwMode="gray">
            <a:xfrm>
              <a:off x="6735355" y="1624338"/>
              <a:ext cx="483588" cy="483588"/>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800" b="1" i="0" u="none" strike="noStrike" kern="1200" cap="none" spc="0" normalizeH="0" baseline="0" dirty="0">
                  <a:ln>
                    <a:noFill/>
                  </a:ln>
                  <a:solidFill>
                    <a:prstClr val="white"/>
                  </a:solidFill>
                  <a:effectLst/>
                  <a:uLnTx/>
                  <a:uFillTx/>
                  <a:latin typeface="Calibri"/>
                  <a:ea typeface="+mn-ea"/>
                  <a:cs typeface="+mn-cs"/>
                </a:rPr>
                <a:t>3</a:t>
              </a:r>
            </a:p>
          </p:txBody>
        </p:sp>
        <p:sp>
          <p:nvSpPr>
            <p:cNvPr id="19" name="Freeform 71">
              <a:extLst>
                <a:ext uri="{FF2B5EF4-FFF2-40B4-BE49-F238E27FC236}">
                  <a16:creationId xmlns:a16="http://schemas.microsoft.com/office/drawing/2014/main" id="{75AF3BE7-5120-0ECC-4337-CC07E15C5D65}"/>
                </a:ext>
              </a:extLst>
            </p:cNvPr>
            <p:cNvSpPr>
              <a:spLocks noChangeAspect="1" noEditPoints="1"/>
            </p:cNvSpPr>
            <p:nvPr/>
          </p:nvSpPr>
          <p:spPr bwMode="auto">
            <a:xfrm>
              <a:off x="524434" y="4872502"/>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rgbClr val="1CABE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01B44A03-01AD-0F66-8D4E-A3A45275FF57}"/>
                </a:ext>
              </a:extLst>
            </p:cNvPr>
            <p:cNvSpPr/>
            <p:nvPr/>
          </p:nvSpPr>
          <p:spPr bwMode="gray">
            <a:xfrm>
              <a:off x="897292" y="4851979"/>
              <a:ext cx="1449698" cy="409029"/>
            </a:xfrm>
            <a:prstGeom prst="rect">
              <a:avLst/>
            </a:prstGeom>
            <a:noFill/>
            <a:ln w="19050" algn="ctr">
              <a:noFill/>
              <a:miter lim="800000"/>
              <a:headEnd/>
              <a:tailEnd/>
            </a:ln>
          </p:spPr>
          <p:txBody>
            <a:bodyPr wrap="square" lIns="88900" tIns="88900" rIns="88900" bIns="88900" rtlCol="0" anchor="ctr"/>
            <a:lstStyle/>
            <a:p>
              <a:pPr marL="0" marR="0" lvl="0" indent="0" algn="l"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5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ycle time</a:t>
              </a:r>
            </a:p>
          </p:txBody>
        </p:sp>
        <p:sp>
          <p:nvSpPr>
            <p:cNvPr id="21" name="Freeform 331">
              <a:extLst>
                <a:ext uri="{FF2B5EF4-FFF2-40B4-BE49-F238E27FC236}">
                  <a16:creationId xmlns:a16="http://schemas.microsoft.com/office/drawing/2014/main" id="{91400E22-FF24-C892-2880-FB3173416A97}"/>
                </a:ext>
              </a:extLst>
            </p:cNvPr>
            <p:cNvSpPr>
              <a:spLocks noChangeAspect="1" noEditPoints="1"/>
            </p:cNvSpPr>
            <p:nvPr/>
          </p:nvSpPr>
          <p:spPr bwMode="auto">
            <a:xfrm>
              <a:off x="523587" y="5375258"/>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rgbClr val="1CABE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5CF55C57-4BCD-1EB5-EB04-73846A17811B}"/>
                </a:ext>
              </a:extLst>
            </p:cNvPr>
            <p:cNvSpPr/>
            <p:nvPr/>
          </p:nvSpPr>
          <p:spPr bwMode="gray">
            <a:xfrm>
              <a:off x="897292" y="5352689"/>
              <a:ext cx="1449698" cy="409029"/>
            </a:xfrm>
            <a:prstGeom prst="rect">
              <a:avLst/>
            </a:prstGeom>
            <a:noFill/>
            <a:ln w="19050" algn="ctr">
              <a:noFill/>
              <a:miter lim="800000"/>
              <a:headEnd/>
              <a:tailEnd/>
            </a:ln>
          </p:spPr>
          <p:txBody>
            <a:bodyPr wrap="square" lIns="88900" tIns="88900" rIns="88900" bIns="88900" rtlCol="0" anchor="ctr"/>
            <a:lstStyle/>
            <a:p>
              <a:pPr marL="0" marR="0" lvl="0" indent="0" algn="l"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5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chedule</a:t>
              </a:r>
            </a:p>
          </p:txBody>
        </p:sp>
        <p:sp>
          <p:nvSpPr>
            <p:cNvPr id="23" name="Freeform 575">
              <a:extLst>
                <a:ext uri="{FF2B5EF4-FFF2-40B4-BE49-F238E27FC236}">
                  <a16:creationId xmlns:a16="http://schemas.microsoft.com/office/drawing/2014/main" id="{CFFABBD5-E562-A113-0207-21CA571CFDCC}"/>
                </a:ext>
              </a:extLst>
            </p:cNvPr>
            <p:cNvSpPr>
              <a:spLocks noChangeAspect="1" noEditPoints="1"/>
            </p:cNvSpPr>
            <p:nvPr/>
          </p:nvSpPr>
          <p:spPr bwMode="auto">
            <a:xfrm>
              <a:off x="1648133" y="5155299"/>
              <a:ext cx="36812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rgbClr val="1CABE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CCBCEE78-8FFC-408B-FCE6-71F4FBDC8773}"/>
                </a:ext>
              </a:extLst>
            </p:cNvPr>
            <p:cNvSpPr/>
            <p:nvPr/>
          </p:nvSpPr>
          <p:spPr bwMode="gray">
            <a:xfrm>
              <a:off x="2034165" y="5139654"/>
              <a:ext cx="1053598" cy="565318"/>
            </a:xfrm>
            <a:prstGeom prst="rect">
              <a:avLst/>
            </a:prstGeom>
            <a:noFill/>
            <a:ln w="19050" algn="ctr">
              <a:noFill/>
              <a:miter lim="800000"/>
              <a:headEnd/>
              <a:tailEnd/>
            </a:ln>
          </p:spPr>
          <p:txBody>
            <a:bodyPr wrap="square" lIns="88900" tIns="88900" rIns="88900" bIns="88900" rtlCol="0" anchor="ctr"/>
            <a:lstStyle/>
            <a:p>
              <a:pPr marL="0" marR="0" lvl="0" indent="0" algn="l"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5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a:t>
              </a:r>
            </a:p>
            <a:p>
              <a:pPr marL="0" marR="0" lvl="0" indent="0" algn="l"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5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507">
              <a:extLst>
                <a:ext uri="{FF2B5EF4-FFF2-40B4-BE49-F238E27FC236}">
                  <a16:creationId xmlns:a16="http://schemas.microsoft.com/office/drawing/2014/main" id="{5269D361-1CD3-7186-5615-3A8482C6D6B9}"/>
                </a:ext>
              </a:extLst>
            </p:cNvPr>
            <p:cNvSpPr>
              <a:spLocks noChangeAspect="1" noEditPoints="1"/>
            </p:cNvSpPr>
            <p:nvPr/>
          </p:nvSpPr>
          <p:spPr bwMode="auto">
            <a:xfrm>
              <a:off x="1648202" y="5657114"/>
              <a:ext cx="367982" cy="369064"/>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rgbClr val="1CABE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3A795E3E-85A7-7138-0166-28BE04B0D615}"/>
                </a:ext>
              </a:extLst>
            </p:cNvPr>
            <p:cNvSpPr/>
            <p:nvPr/>
          </p:nvSpPr>
          <p:spPr bwMode="gray">
            <a:xfrm>
              <a:off x="2021060" y="5628613"/>
              <a:ext cx="1449698" cy="409029"/>
            </a:xfrm>
            <a:prstGeom prst="rect">
              <a:avLst/>
            </a:prstGeom>
            <a:noFill/>
            <a:ln w="19050" algn="ctr">
              <a:noFill/>
              <a:miter lim="800000"/>
              <a:headEnd/>
              <a:tailEnd/>
            </a:ln>
          </p:spPr>
          <p:txBody>
            <a:bodyPr wrap="square" lIns="88900" tIns="88900" rIns="88900" bIns="88900" rtlCol="0" anchor="ctr"/>
            <a:lstStyle/>
            <a:p>
              <a:pPr marL="0" marR="0" lvl="0" indent="0" algn="l"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5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rror rate</a:t>
              </a:r>
            </a:p>
          </p:txBody>
        </p:sp>
        <p:sp>
          <p:nvSpPr>
            <p:cNvPr id="27" name="Freeform 584">
              <a:extLst>
                <a:ext uri="{FF2B5EF4-FFF2-40B4-BE49-F238E27FC236}">
                  <a16:creationId xmlns:a16="http://schemas.microsoft.com/office/drawing/2014/main" id="{785A0017-FF4F-33E5-A6B7-AC4D6961425A}"/>
                </a:ext>
              </a:extLst>
            </p:cNvPr>
            <p:cNvSpPr>
              <a:spLocks noChangeAspect="1" noEditPoints="1"/>
            </p:cNvSpPr>
            <p:nvPr/>
          </p:nvSpPr>
          <p:spPr bwMode="auto">
            <a:xfrm>
              <a:off x="524905" y="5912421"/>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1CABE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A648E969-89CF-501C-213D-1C08031D29D6}"/>
                </a:ext>
              </a:extLst>
            </p:cNvPr>
            <p:cNvSpPr/>
            <p:nvPr/>
          </p:nvSpPr>
          <p:spPr bwMode="gray">
            <a:xfrm>
              <a:off x="897292" y="5880795"/>
              <a:ext cx="1449698" cy="409029"/>
            </a:xfrm>
            <a:prstGeom prst="rect">
              <a:avLst/>
            </a:prstGeom>
            <a:noFill/>
            <a:ln w="19050" algn="ctr">
              <a:noFill/>
              <a:miter lim="800000"/>
              <a:headEnd/>
              <a:tailEnd/>
            </a:ln>
          </p:spPr>
          <p:txBody>
            <a:bodyPr wrap="square" lIns="88900" tIns="88900" rIns="88900" bIns="88900" rtlCol="0" anchor="ctr"/>
            <a:lstStyle/>
            <a:p>
              <a:pPr marL="0" marR="0" lvl="0" indent="0" algn="l"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50" b="0" i="0" u="none" strike="noStrike" kern="1200" cap="none" spc="0" normalizeH="0" baseline="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olumens</a:t>
              </a:r>
              <a:endParaRPr kumimoji="0" lang="en-US" sz="105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TextBox 28">
              <a:extLst>
                <a:ext uri="{FF2B5EF4-FFF2-40B4-BE49-F238E27FC236}">
                  <a16:creationId xmlns:a16="http://schemas.microsoft.com/office/drawing/2014/main" id="{1E273D49-774A-B97A-C711-F8B803EBA605}"/>
                </a:ext>
              </a:extLst>
            </p:cNvPr>
            <p:cNvSpPr txBox="1"/>
            <p:nvPr/>
          </p:nvSpPr>
          <p:spPr>
            <a:xfrm>
              <a:off x="3625772" y="3168740"/>
              <a:ext cx="2465828" cy="19924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rocess efficiency </a:t>
              </a:r>
              <a:r>
                <a:rPr kumimoji="0" lang="en-US" sz="1200" b="0"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asurment</a:t>
              </a:r>
              <a:endParaRPr kumimoji="0" lang="en-US" sz="12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BFC6552E-57F7-99D3-69C3-690110C1EDE9}"/>
                </a:ext>
              </a:extLst>
            </p:cNvPr>
            <p:cNvSpPr txBox="1"/>
            <p:nvPr/>
          </p:nvSpPr>
          <p:spPr>
            <a:xfrm>
              <a:off x="1015966" y="3778987"/>
              <a:ext cx="1837424" cy="398487"/>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re the predefined KPIs properly met?</a:t>
              </a:r>
            </a:p>
          </p:txBody>
        </p:sp>
        <p:sp>
          <p:nvSpPr>
            <p:cNvPr id="31" name="TextBox 30">
              <a:extLst>
                <a:ext uri="{FF2B5EF4-FFF2-40B4-BE49-F238E27FC236}">
                  <a16:creationId xmlns:a16="http://schemas.microsoft.com/office/drawing/2014/main" id="{934D0F81-FF5C-6B1A-8F8D-4804FCDF2710}"/>
                </a:ext>
              </a:extLst>
            </p:cNvPr>
            <p:cNvSpPr txBox="1"/>
            <p:nvPr/>
          </p:nvSpPr>
          <p:spPr>
            <a:xfrm>
              <a:off x="3245793" y="3705070"/>
              <a:ext cx="3007033" cy="348676"/>
            </a:xfrm>
            <a:prstGeom prst="rect">
              <a:avLst/>
            </a:prstGeom>
            <a:solidFill>
              <a:srgbClr val="1CABE3">
                <a:alpha val="40000"/>
              </a:srgbClr>
            </a:solid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measure baseline measurements taken during the</a:t>
              </a: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 as-is analysis of the</a:t>
              </a:r>
              <a:r>
                <a:rPr kumimoji="0" lang="en-US" sz="105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project</a:t>
              </a:r>
            </a:p>
          </p:txBody>
        </p:sp>
        <p:sp>
          <p:nvSpPr>
            <p:cNvPr id="32" name="TextBox 31">
              <a:extLst>
                <a:ext uri="{FF2B5EF4-FFF2-40B4-BE49-F238E27FC236}">
                  <a16:creationId xmlns:a16="http://schemas.microsoft.com/office/drawing/2014/main" id="{101AD1AF-252A-14DE-1808-8140237E2986}"/>
                </a:ext>
              </a:extLst>
            </p:cNvPr>
            <p:cNvSpPr txBox="1"/>
            <p:nvPr/>
          </p:nvSpPr>
          <p:spPr>
            <a:xfrm>
              <a:off x="3228823" y="4286784"/>
              <a:ext cx="1499942" cy="182640"/>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1CABE3"/>
                  </a:solidFill>
                  <a:effectLst/>
                  <a:uLnTx/>
                  <a:uFillTx/>
                  <a:latin typeface="Open Sans" panose="020B0606030504020204" pitchFamily="34" charset="0"/>
                  <a:ea typeface="Open Sans" panose="020B0606030504020204" pitchFamily="34" charset="0"/>
                  <a:cs typeface="Open Sans" panose="020B0606030504020204" pitchFamily="34" charset="0"/>
                </a:rPr>
                <a:t>Types of retest:</a:t>
              </a:r>
            </a:p>
          </p:txBody>
        </p:sp>
        <p:sp>
          <p:nvSpPr>
            <p:cNvPr id="33" name="TextBox 32">
              <a:extLst>
                <a:ext uri="{FF2B5EF4-FFF2-40B4-BE49-F238E27FC236}">
                  <a16:creationId xmlns:a16="http://schemas.microsoft.com/office/drawing/2014/main" id="{27C70A2D-1B70-5A78-CA2C-375C3FA4C12E}"/>
                </a:ext>
              </a:extLst>
            </p:cNvPr>
            <p:cNvSpPr txBox="1"/>
            <p:nvPr/>
          </p:nvSpPr>
          <p:spPr>
            <a:xfrm>
              <a:off x="551871" y="4550261"/>
              <a:ext cx="1007587" cy="182640"/>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1CABE3"/>
                  </a:solidFill>
                  <a:effectLst/>
                  <a:uLnTx/>
                  <a:uFillTx/>
                  <a:latin typeface="Open Sans" panose="020B0606030504020204" pitchFamily="34" charset="0"/>
                  <a:ea typeface="Open Sans" panose="020B0606030504020204" pitchFamily="34" charset="0"/>
                  <a:cs typeface="Open Sans" panose="020B0606030504020204" pitchFamily="34" charset="0"/>
                </a:rPr>
                <a:t>KPI example:</a:t>
              </a:r>
            </a:p>
          </p:txBody>
        </p:sp>
        <p:sp>
          <p:nvSpPr>
            <p:cNvPr id="34" name="TextBox 33">
              <a:extLst>
                <a:ext uri="{FF2B5EF4-FFF2-40B4-BE49-F238E27FC236}">
                  <a16:creationId xmlns:a16="http://schemas.microsoft.com/office/drawing/2014/main" id="{CD8CD65B-07AB-6ED2-9C63-20B6899148AF}"/>
                </a:ext>
              </a:extLst>
            </p:cNvPr>
            <p:cNvSpPr txBox="1"/>
            <p:nvPr/>
          </p:nvSpPr>
          <p:spPr>
            <a:xfrm>
              <a:off x="3366103" y="4514700"/>
              <a:ext cx="2937009" cy="1527534"/>
            </a:xfrm>
            <a:prstGeom prst="rect">
              <a:avLst/>
            </a:prstGeom>
            <a:noFill/>
          </p:spPr>
          <p:txBody>
            <a:bodyPr wrap="square" lIns="0" tIns="0" rIns="0" bIns="0" rtlCol="0">
              <a:spAutoFit/>
            </a:bodyPr>
            <a:lstStyle/>
            <a:p>
              <a:pPr marL="203200" marR="0" lvl="0" indent="-114300" algn="l" defTabSz="914400" eaLnBrk="1" fontAlgn="auto" latinLnBrk="0" hangingPunct="1">
                <a:lnSpc>
                  <a:spcPct val="100000"/>
                </a:lnSpc>
                <a:spcBef>
                  <a:spcPts val="600"/>
                </a:spcBef>
                <a:spcAft>
                  <a:spcPts val="0"/>
                </a:spcAft>
                <a:buClr>
                  <a:srgbClr val="1CABE3"/>
                </a:buClr>
                <a:buSzPct val="100000"/>
                <a:buFont typeface="Arial"/>
                <a:buChar char="•"/>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topwatch measurements</a:t>
              </a:r>
            </a:p>
            <a:p>
              <a:pPr marL="203200" marR="0" lvl="0" indent="-114300" algn="l" defTabSz="914400" eaLnBrk="1" fontAlgn="auto" latinLnBrk="0" hangingPunct="1">
                <a:lnSpc>
                  <a:spcPct val="100000"/>
                </a:lnSpc>
                <a:spcBef>
                  <a:spcPts val="600"/>
                </a:spcBef>
                <a:spcAft>
                  <a:spcPts val="0"/>
                </a:spcAft>
                <a:buClr>
                  <a:srgbClr val="1CABE3"/>
                </a:buClr>
                <a:buSzPct val="100000"/>
                <a:buFont typeface="Arial"/>
                <a:buChar char="•"/>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asurement based on data extracted from systems</a:t>
              </a:r>
            </a:p>
            <a:p>
              <a:pPr marL="203200" marR="0" lvl="0" indent="-114300" algn="l" defTabSz="914400" eaLnBrk="1" fontAlgn="auto" latinLnBrk="0" hangingPunct="1">
                <a:lnSpc>
                  <a:spcPct val="100000"/>
                </a:lnSpc>
                <a:spcBef>
                  <a:spcPts val="600"/>
                </a:spcBef>
                <a:spcAft>
                  <a:spcPts val="0"/>
                </a:spcAft>
                <a:buClr>
                  <a:srgbClr val="1CABE3"/>
                </a:buClr>
                <a:buSzPct val="100000"/>
                <a:buFont typeface="Arial"/>
                <a:buChar char="•"/>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asurements with Process Mining Tool (e.g. </a:t>
              </a:r>
              <a:r>
                <a:rPr kumimoji="0" lang="en-US" sz="1050" b="0"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elonis</a:t>
              </a: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Disco)</a:t>
              </a:r>
            </a:p>
            <a:p>
              <a:pPr marL="203200" marR="0" lvl="0" indent="-114300" algn="l" defTabSz="914400" eaLnBrk="1" fontAlgn="auto" latinLnBrk="0" hangingPunct="1">
                <a:lnSpc>
                  <a:spcPct val="100000"/>
                </a:lnSpc>
                <a:spcBef>
                  <a:spcPts val="600"/>
                </a:spcBef>
                <a:spcAft>
                  <a:spcPts val="0"/>
                </a:spcAft>
                <a:buClr>
                  <a:srgbClr val="1CABE3"/>
                </a:buClr>
                <a:buSzPct val="100000"/>
                <a:buFont typeface="Arial"/>
                <a:buChar char="•"/>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an provide a deeper, data-driven assessment of processes. </a:t>
              </a:r>
            </a:p>
          </p:txBody>
        </p:sp>
        <p:sp>
          <p:nvSpPr>
            <p:cNvPr id="35" name="TextBox 34">
              <a:extLst>
                <a:ext uri="{FF2B5EF4-FFF2-40B4-BE49-F238E27FC236}">
                  <a16:creationId xmlns:a16="http://schemas.microsoft.com/office/drawing/2014/main" id="{B40F1B10-D000-A2E4-8691-3CF05D6D59E2}"/>
                </a:ext>
              </a:extLst>
            </p:cNvPr>
            <p:cNvSpPr txBox="1"/>
            <p:nvPr/>
          </p:nvSpPr>
          <p:spPr>
            <a:xfrm>
              <a:off x="7297055" y="1748441"/>
              <a:ext cx="3104987" cy="19924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asurment</a:t>
              </a:r>
              <a:r>
                <a:rPr kumimoji="0" lang="en-US" sz="12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of the operating model</a:t>
              </a:r>
            </a:p>
          </p:txBody>
        </p:sp>
        <p:sp>
          <p:nvSpPr>
            <p:cNvPr id="36" name="TextBox 35">
              <a:extLst>
                <a:ext uri="{FF2B5EF4-FFF2-40B4-BE49-F238E27FC236}">
                  <a16:creationId xmlns:a16="http://schemas.microsoft.com/office/drawing/2014/main" id="{89E24B09-6A8C-A0E5-0512-D28F029C520A}"/>
                </a:ext>
              </a:extLst>
            </p:cNvPr>
            <p:cNvSpPr txBox="1"/>
            <p:nvPr/>
          </p:nvSpPr>
          <p:spPr>
            <a:xfrm>
              <a:off x="7297055" y="2004937"/>
              <a:ext cx="4007960" cy="697353"/>
            </a:xfrm>
            <a:prstGeom prst="rect">
              <a:avLst/>
            </a:prstGeom>
            <a:solidFill>
              <a:srgbClr val="1CABE3">
                <a:alpha val="40000"/>
              </a:srgbClr>
            </a:solidFill>
          </p:spPr>
          <p:txBody>
            <a:bodyPr wrap="square" lIns="0" tIns="0" rIns="0" bIns="0" rtlCol="0">
              <a:spAutoFit/>
            </a:bodyPr>
            <a:lstStyle>
              <a:defPPr>
                <a:defRPr lang="en-US"/>
              </a:defPPr>
              <a:lvl1pPr marR="0" lvl="0" indent="0" fontAlgn="auto">
                <a:lnSpc>
                  <a:spcPct val="100000"/>
                </a:lnSpc>
                <a:spcBef>
                  <a:spcPts val="600"/>
                </a:spcBef>
                <a:spcAft>
                  <a:spcPts val="0"/>
                </a:spcAft>
                <a:buClrTx/>
                <a:buSzPct val="100000"/>
                <a:buFontTx/>
                <a:buNone/>
                <a:tabLst/>
                <a:defRPr kumimoji="0" sz="1050" i="0"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r>
                <a:rPr lang="en-US" dirty="0"/>
                <a:t>In the context of operational and work </a:t>
              </a:r>
              <a:r>
                <a:rPr lang="en-US" dirty="0" err="1"/>
                <a:t>organisation</a:t>
              </a:r>
              <a:r>
                <a:rPr lang="en-US" dirty="0"/>
                <a:t> improvements, it is necessary to check that the introduced structures (e.g. </a:t>
              </a:r>
              <a:r>
                <a:rPr lang="en-US" dirty="0" err="1"/>
                <a:t>organisational</a:t>
              </a:r>
              <a:r>
                <a:rPr lang="en-US" dirty="0"/>
                <a:t> management arrangements) are operating properly.</a:t>
              </a:r>
            </a:p>
          </p:txBody>
        </p:sp>
        <p:sp>
          <p:nvSpPr>
            <p:cNvPr id="37" name="Rectangle 36">
              <a:extLst>
                <a:ext uri="{FF2B5EF4-FFF2-40B4-BE49-F238E27FC236}">
                  <a16:creationId xmlns:a16="http://schemas.microsoft.com/office/drawing/2014/main" id="{066B36E1-7258-075C-2E99-9AAE1C9A225D}"/>
                </a:ext>
              </a:extLst>
            </p:cNvPr>
            <p:cNvSpPr/>
            <p:nvPr/>
          </p:nvSpPr>
          <p:spPr bwMode="gray">
            <a:xfrm>
              <a:off x="9352312" y="3490550"/>
              <a:ext cx="1337540" cy="452266"/>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rational model testing</a:t>
              </a:r>
            </a:p>
          </p:txBody>
        </p:sp>
        <p:sp>
          <p:nvSpPr>
            <p:cNvPr id="38" name="Rectangle 37">
              <a:extLst>
                <a:ext uri="{FF2B5EF4-FFF2-40B4-BE49-F238E27FC236}">
                  <a16:creationId xmlns:a16="http://schemas.microsoft.com/office/drawing/2014/main" id="{24B2C782-F414-5429-D056-69636B98C2E1}"/>
                </a:ext>
              </a:extLst>
            </p:cNvPr>
            <p:cNvSpPr/>
            <p:nvPr/>
          </p:nvSpPr>
          <p:spPr bwMode="gray">
            <a:xfrm>
              <a:off x="8114984" y="4426395"/>
              <a:ext cx="1337540" cy="452266"/>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oots analysis</a:t>
              </a:r>
            </a:p>
          </p:txBody>
        </p:sp>
        <p:sp>
          <p:nvSpPr>
            <p:cNvPr id="39" name="Rectangle 38">
              <a:extLst>
                <a:ext uri="{FF2B5EF4-FFF2-40B4-BE49-F238E27FC236}">
                  <a16:creationId xmlns:a16="http://schemas.microsoft.com/office/drawing/2014/main" id="{87CC32BE-9AF6-B0E2-2D5F-BBE477D6440B}"/>
                </a:ext>
              </a:extLst>
            </p:cNvPr>
            <p:cNvSpPr/>
            <p:nvPr/>
          </p:nvSpPr>
          <p:spPr bwMode="gray">
            <a:xfrm>
              <a:off x="9168140" y="5814686"/>
              <a:ext cx="1706478" cy="553379"/>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e-tuning, identifying new development needs</a:t>
              </a:r>
            </a:p>
          </p:txBody>
        </p:sp>
        <p:cxnSp>
          <p:nvCxnSpPr>
            <p:cNvPr id="40" name="Straight Connector 39">
              <a:extLst>
                <a:ext uri="{FF2B5EF4-FFF2-40B4-BE49-F238E27FC236}">
                  <a16:creationId xmlns:a16="http://schemas.microsoft.com/office/drawing/2014/main" id="{43A49F56-C2FA-F63D-CD12-343110BB188B}"/>
                </a:ext>
              </a:extLst>
            </p:cNvPr>
            <p:cNvCxnSpPr/>
            <p:nvPr/>
          </p:nvCxnSpPr>
          <p:spPr>
            <a:xfrm flipH="1">
              <a:off x="8838244" y="3677663"/>
              <a:ext cx="509653" cy="8657"/>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1C2246E-18D6-E767-2130-F5C03095E25C}"/>
                </a:ext>
              </a:extLst>
            </p:cNvPr>
            <p:cNvCxnSpPr>
              <a:cxnSpLocks/>
            </p:cNvCxnSpPr>
            <p:nvPr/>
          </p:nvCxnSpPr>
          <p:spPr>
            <a:xfrm flipH="1" flipV="1">
              <a:off x="8409286" y="3521578"/>
              <a:ext cx="435088" cy="169553"/>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BDB22C3-F92C-CDFA-FB7C-2F50BCA4EE27}"/>
                </a:ext>
              </a:extLst>
            </p:cNvPr>
            <p:cNvSpPr txBox="1"/>
            <p:nvPr/>
          </p:nvSpPr>
          <p:spPr>
            <a:xfrm>
              <a:off x="7034807" y="2819280"/>
              <a:ext cx="3820054" cy="664145"/>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re the introduced organizational structure working properly? Are processes running according to the new </a:t>
              </a:r>
              <a:r>
                <a:rPr kumimoji="0" lang="en-US" sz="1000" b="0"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guidelined</a:t>
              </a: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Have they achieved the original objective (e.g. simpler operation)?</a:t>
              </a:r>
            </a:p>
          </p:txBody>
        </p:sp>
        <p:cxnSp>
          <p:nvCxnSpPr>
            <p:cNvPr id="43" name="Straight Connector 42">
              <a:extLst>
                <a:ext uri="{FF2B5EF4-FFF2-40B4-BE49-F238E27FC236}">
                  <a16:creationId xmlns:a16="http://schemas.microsoft.com/office/drawing/2014/main" id="{40B474C8-312F-A5F2-D6F9-09666F870338}"/>
                </a:ext>
              </a:extLst>
            </p:cNvPr>
            <p:cNvCxnSpPr/>
            <p:nvPr/>
          </p:nvCxnSpPr>
          <p:spPr>
            <a:xfrm flipV="1">
              <a:off x="7831392" y="4794056"/>
              <a:ext cx="0" cy="238959"/>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D71F5D1-D410-4EA1-69E8-6C5C187779F7}"/>
                </a:ext>
              </a:extLst>
            </p:cNvPr>
            <p:cNvCxnSpPr>
              <a:cxnSpLocks/>
            </p:cNvCxnSpPr>
            <p:nvPr/>
          </p:nvCxnSpPr>
          <p:spPr>
            <a:xfrm flipV="1">
              <a:off x="7831392" y="4647226"/>
              <a:ext cx="283592" cy="151738"/>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3D9199FD-A38B-B8BF-807C-EC93B79819A5}"/>
                </a:ext>
              </a:extLst>
            </p:cNvPr>
            <p:cNvSpPr txBox="1"/>
            <p:nvPr/>
          </p:nvSpPr>
          <p:spPr>
            <a:xfrm>
              <a:off x="7034807" y="5057318"/>
              <a:ext cx="1593171" cy="1394706"/>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f the new operation is inadequate, root causes analysis is needed to find out why processes are not working according to the new rules or not working properly.</a:t>
              </a:r>
            </a:p>
          </p:txBody>
        </p:sp>
      </p:grpSp>
      <p:grpSp>
        <p:nvGrpSpPr>
          <p:cNvPr id="54" name="Group 53">
            <a:extLst>
              <a:ext uri="{FF2B5EF4-FFF2-40B4-BE49-F238E27FC236}">
                <a16:creationId xmlns:a16="http://schemas.microsoft.com/office/drawing/2014/main" id="{29D2F48E-96B4-3014-98F7-DE25AB082C12}"/>
              </a:ext>
            </a:extLst>
          </p:cNvPr>
          <p:cNvGrpSpPr/>
          <p:nvPr/>
        </p:nvGrpSpPr>
        <p:grpSpPr>
          <a:xfrm>
            <a:off x="9378489" y="265140"/>
            <a:ext cx="2568848" cy="411402"/>
            <a:chOff x="9378489" y="265140"/>
            <a:chExt cx="2568848" cy="411402"/>
          </a:xfrm>
        </p:grpSpPr>
        <p:sp>
          <p:nvSpPr>
            <p:cNvPr id="47" name="Arrow: Chevron 46">
              <a:extLst>
                <a:ext uri="{FF2B5EF4-FFF2-40B4-BE49-F238E27FC236}">
                  <a16:creationId xmlns:a16="http://schemas.microsoft.com/office/drawing/2014/main" id="{F0FADD68-8D53-1EF7-520A-EA4ECBC61641}"/>
                </a:ext>
              </a:extLst>
            </p:cNvPr>
            <p:cNvSpPr/>
            <p:nvPr/>
          </p:nvSpPr>
          <p:spPr bwMode="gray">
            <a:xfrm>
              <a:off x="9880765" y="265725"/>
              <a:ext cx="411480"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Arrow: Chevron 47">
              <a:extLst>
                <a:ext uri="{FF2B5EF4-FFF2-40B4-BE49-F238E27FC236}">
                  <a16:creationId xmlns:a16="http://schemas.microsoft.com/office/drawing/2014/main" id="{67AA1FBA-8FBA-65BC-5DFC-A2609E8BC084}"/>
                </a:ext>
              </a:extLst>
            </p:cNvPr>
            <p:cNvSpPr/>
            <p:nvPr/>
          </p:nvSpPr>
          <p:spPr bwMode="gray">
            <a:xfrm>
              <a:off x="9652212" y="265725"/>
              <a:ext cx="411480" cy="406400"/>
            </a:xfrm>
            <a:prstGeom prst="chevron">
              <a:avLst>
                <a:gd name="adj" fmla="val 5577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Arrow: Chevron 48">
              <a:extLst>
                <a:ext uri="{FF2B5EF4-FFF2-40B4-BE49-F238E27FC236}">
                  <a16:creationId xmlns:a16="http://schemas.microsoft.com/office/drawing/2014/main" id="{C4549A2B-5BC5-D136-9E0C-5C7661DE89CC}"/>
                </a:ext>
              </a:extLst>
            </p:cNvPr>
            <p:cNvSpPr/>
            <p:nvPr/>
          </p:nvSpPr>
          <p:spPr bwMode="gray">
            <a:xfrm>
              <a:off x="9423659" y="269048"/>
              <a:ext cx="411480" cy="406400"/>
            </a:xfrm>
            <a:prstGeom prst="chevron">
              <a:avLst>
                <a:gd name="adj" fmla="val 56646"/>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Pentagon 7">
              <a:extLst>
                <a:ext uri="{FF2B5EF4-FFF2-40B4-BE49-F238E27FC236}">
                  <a16:creationId xmlns:a16="http://schemas.microsoft.com/office/drawing/2014/main" id="{E71D56FB-3750-472F-4829-272DCE3BDE0B}"/>
                </a:ext>
              </a:extLst>
            </p:cNvPr>
            <p:cNvSpPr/>
            <p:nvPr/>
          </p:nvSpPr>
          <p:spPr bwMode="gray">
            <a:xfrm>
              <a:off x="9378489" y="270142"/>
              <a:ext cx="228097" cy="406400"/>
            </a:xfrm>
            <a:prstGeom prst="homePlate">
              <a:avLst>
                <a:gd name="adj" fmla="val 100000"/>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51">
              <a:extLst>
                <a:ext uri="{FF2B5EF4-FFF2-40B4-BE49-F238E27FC236}">
                  <a16:creationId xmlns:a16="http://schemas.microsoft.com/office/drawing/2014/main" id="{A7AF6D0A-AA8F-749A-332E-0BF29E0E6B9A}"/>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53" name="Arrow: Chevron 52">
              <a:extLst>
                <a:ext uri="{FF2B5EF4-FFF2-40B4-BE49-F238E27FC236}">
                  <a16:creationId xmlns:a16="http://schemas.microsoft.com/office/drawing/2014/main" id="{6F179EF3-C6FD-F649-6CCB-E594C13E37B9}"/>
                </a:ext>
              </a:extLst>
            </p:cNvPr>
            <p:cNvSpPr/>
            <p:nvPr/>
          </p:nvSpPr>
          <p:spPr bwMode="gray">
            <a:xfrm>
              <a:off x="10109318" y="265140"/>
              <a:ext cx="1633573"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Rectangle 49">
              <a:extLst>
                <a:ext uri="{FF2B5EF4-FFF2-40B4-BE49-F238E27FC236}">
                  <a16:creationId xmlns:a16="http://schemas.microsoft.com/office/drawing/2014/main" id="{41D1946B-7850-F492-C85E-EA6149556F59}"/>
                </a:ext>
              </a:extLst>
            </p:cNvPr>
            <p:cNvSpPr/>
            <p:nvPr/>
          </p:nvSpPr>
          <p:spPr bwMode="gray">
            <a:xfrm>
              <a:off x="9989659" y="273466"/>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Implementation</a:t>
              </a:r>
            </a:p>
          </p:txBody>
        </p:sp>
      </p:grpSp>
    </p:spTree>
    <p:extLst>
      <p:ext uri="{BB962C8B-B14F-4D97-AF65-F5344CB8AC3E}">
        <p14:creationId xmlns:p14="http://schemas.microsoft.com/office/powerpoint/2010/main" val="3962403915"/>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extLst>
              <p:ext uri="{D42A27DB-BD31-4B8C-83A1-F6EECF244321}">
                <p14:modId xmlns:p14="http://schemas.microsoft.com/office/powerpoint/2010/main" val="168784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0" y="2997200"/>
            <a:ext cx="7477760" cy="863600"/>
            <a:chOff x="0" y="2997200"/>
            <a:chExt cx="7477760" cy="86360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0" y="2997200"/>
              <a:ext cx="6695440" cy="863600"/>
            </a:xfrm>
            <a:prstGeom prst="rect">
              <a:avLst/>
            </a:prstGeom>
            <a:grp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Procedure management </a:t>
              </a:r>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98520317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D2A8E7-0B9C-7A50-088C-E7D507356DD9}"/>
              </a:ext>
            </a:extLst>
          </p:cNvPr>
          <p:cNvGraphicFramePr>
            <a:graphicFrameLocks noChangeAspect="1"/>
          </p:cNvGraphicFramePr>
          <p:nvPr>
            <p:custDataLst>
              <p:tags r:id="rId1"/>
            </p:custDataLst>
            <p:extLst>
              <p:ext uri="{D42A27DB-BD31-4B8C-83A1-F6EECF244321}">
                <p14:modId xmlns:p14="http://schemas.microsoft.com/office/powerpoint/2010/main" val="2015457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A9D2A8E7-0B9C-7A50-088C-E7D507356D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FE85095-A375-72CF-961E-D339F6610109}"/>
              </a:ext>
            </a:extLst>
          </p:cNvPr>
          <p:cNvSpPr>
            <a:spLocks noGrp="1"/>
          </p:cNvSpPr>
          <p:nvPr>
            <p:ph type="body" sz="quarter" idx="22"/>
          </p:nvPr>
        </p:nvSpPr>
        <p:spPr/>
        <p:txBody>
          <a:bodyPr vert="horz" lIns="0" tIns="0" rIns="0" bIns="0" rtlCol="0">
            <a:noAutofit/>
          </a:bodyPr>
          <a:lstStyle/>
          <a:p>
            <a:r>
              <a:rPr lang="hu-HU" dirty="0" err="1"/>
              <a:t>Separated</a:t>
            </a:r>
            <a:r>
              <a:rPr lang="hu-HU" dirty="0"/>
              <a:t> </a:t>
            </a:r>
            <a:r>
              <a:rPr lang="hu-HU" dirty="0" err="1"/>
              <a:t>control</a:t>
            </a:r>
            <a:r>
              <a:rPr lang="hu-HU" dirty="0"/>
              <a:t> </a:t>
            </a:r>
            <a:r>
              <a:rPr lang="hu-HU" dirty="0" err="1"/>
              <a:t>levels</a:t>
            </a:r>
            <a:r>
              <a:rPr lang="hu-HU" dirty="0"/>
              <a:t> – </a:t>
            </a:r>
            <a:r>
              <a:rPr lang="hu-HU" dirty="0" err="1"/>
              <a:t>customized</a:t>
            </a:r>
            <a:r>
              <a:rPr lang="hu-HU" dirty="0"/>
              <a:t> </a:t>
            </a:r>
            <a:r>
              <a:rPr lang="hu-HU" dirty="0" err="1"/>
              <a:t>for</a:t>
            </a:r>
            <a:r>
              <a:rPr lang="hu-HU" dirty="0"/>
              <a:t> UNICEF </a:t>
            </a:r>
            <a:r>
              <a:rPr lang="hu-HU" dirty="0" err="1"/>
              <a:t>Operations</a:t>
            </a:r>
            <a:r>
              <a:rPr lang="hu-HU" dirty="0"/>
              <a:t> – </a:t>
            </a:r>
            <a:r>
              <a:rPr lang="hu-HU" dirty="0" err="1"/>
              <a:t>could</a:t>
            </a:r>
            <a:r>
              <a:rPr lang="hu-HU" dirty="0"/>
              <a:t> be a </a:t>
            </a:r>
            <a:r>
              <a:rPr lang="hu-HU" dirty="0" err="1"/>
              <a:t>potential</a:t>
            </a:r>
            <a:r>
              <a:rPr lang="hu-HU" dirty="0"/>
              <a:t> </a:t>
            </a:r>
            <a:r>
              <a:rPr lang="hu-HU" dirty="0" err="1"/>
              <a:t>solution</a:t>
            </a:r>
            <a:r>
              <a:rPr lang="hu-HU" dirty="0"/>
              <a:t> </a:t>
            </a:r>
            <a:r>
              <a:rPr lang="hu-HU" dirty="0" err="1"/>
              <a:t>for</a:t>
            </a:r>
            <a:r>
              <a:rPr lang="hu-HU" dirty="0"/>
              <a:t> </a:t>
            </a:r>
            <a:r>
              <a:rPr lang="hu-HU" dirty="0" err="1"/>
              <a:t>keeping</a:t>
            </a:r>
            <a:r>
              <a:rPr lang="hu-HU" dirty="0"/>
              <a:t> </a:t>
            </a:r>
            <a:r>
              <a:rPr lang="hu-HU" dirty="0" err="1"/>
              <a:t>all</a:t>
            </a:r>
            <a:r>
              <a:rPr lang="hu-HU" dirty="0"/>
              <a:t> </a:t>
            </a:r>
            <a:r>
              <a:rPr lang="hu-HU" dirty="0" err="1"/>
              <a:t>operational</a:t>
            </a:r>
            <a:r>
              <a:rPr lang="hu-HU" dirty="0"/>
              <a:t> </a:t>
            </a:r>
            <a:r>
              <a:rPr lang="hu-HU" dirty="0" err="1"/>
              <a:t>levels</a:t>
            </a:r>
            <a:r>
              <a:rPr lang="hu-HU" dirty="0"/>
              <a:t> </a:t>
            </a:r>
            <a:r>
              <a:rPr lang="hu-HU" dirty="0" err="1"/>
              <a:t>transparently</a:t>
            </a:r>
            <a:r>
              <a:rPr lang="hu-HU" dirty="0"/>
              <a:t> </a:t>
            </a:r>
            <a:r>
              <a:rPr lang="hu-HU" dirty="0" err="1"/>
              <a:t>tracked</a:t>
            </a:r>
            <a:endParaRPr lang="en-US" dirty="0"/>
          </a:p>
        </p:txBody>
      </p:sp>
      <p:sp>
        <p:nvSpPr>
          <p:cNvPr id="3" name="Title 2">
            <a:extLst>
              <a:ext uri="{FF2B5EF4-FFF2-40B4-BE49-F238E27FC236}">
                <a16:creationId xmlns:a16="http://schemas.microsoft.com/office/drawing/2014/main" id="{E97B6A6F-12DB-3B44-5F61-2F3EDB625A33}"/>
              </a:ext>
            </a:extLst>
          </p:cNvPr>
          <p:cNvSpPr>
            <a:spLocks noGrp="1"/>
          </p:cNvSpPr>
          <p:nvPr>
            <p:ph type="title"/>
          </p:nvPr>
        </p:nvSpPr>
        <p:spPr>
          <a:xfrm>
            <a:off x="463295" y="417911"/>
            <a:ext cx="11277600" cy="334099"/>
          </a:xfrm>
        </p:spPr>
        <p:txBody>
          <a:bodyPr vert="horz"/>
          <a:lstStyle/>
          <a:p>
            <a:r>
              <a:rPr lang="hu-HU" dirty="0" err="1">
                <a:latin typeface="Open Sans Light"/>
                <a:ea typeface="Open Sans Light"/>
                <a:cs typeface="Calibri Light"/>
              </a:rPr>
              <a:t>Proposed</a:t>
            </a:r>
            <a:r>
              <a:rPr lang="hu-HU" dirty="0">
                <a:latin typeface="Open Sans Light"/>
                <a:ea typeface="Open Sans Light"/>
                <a:cs typeface="Calibri Light"/>
              </a:rPr>
              <a:t> </a:t>
            </a:r>
            <a:r>
              <a:rPr lang="hu-HU" dirty="0" err="1">
                <a:latin typeface="Open Sans Light"/>
                <a:ea typeface="Open Sans Light"/>
                <a:cs typeface="Calibri Light"/>
              </a:rPr>
              <a:t>customizable</a:t>
            </a:r>
            <a:r>
              <a:rPr lang="hu-HU" dirty="0">
                <a:latin typeface="Open Sans Light"/>
                <a:ea typeface="Open Sans Light"/>
                <a:cs typeface="Calibri Light"/>
              </a:rPr>
              <a:t> p</a:t>
            </a:r>
            <a:r>
              <a:rPr lang="en-US" dirty="0" err="1">
                <a:latin typeface="Open Sans Light"/>
                <a:ea typeface="Open Sans Light"/>
                <a:cs typeface="Calibri Light"/>
              </a:rPr>
              <a:t>rocedure</a:t>
            </a:r>
            <a:r>
              <a:rPr lang="en-US" dirty="0">
                <a:latin typeface="Open Sans Light"/>
                <a:ea typeface="Open Sans Light"/>
                <a:cs typeface="Calibri Light"/>
              </a:rPr>
              <a:t> management framework</a:t>
            </a:r>
          </a:p>
        </p:txBody>
      </p:sp>
      <p:graphicFrame>
        <p:nvGraphicFramePr>
          <p:cNvPr id="8" name="Table 7">
            <a:extLst>
              <a:ext uri="{FF2B5EF4-FFF2-40B4-BE49-F238E27FC236}">
                <a16:creationId xmlns:a16="http://schemas.microsoft.com/office/drawing/2014/main" id="{0C9E3B46-1CBE-5F3B-DF37-465B90902861}"/>
              </a:ext>
            </a:extLst>
          </p:cNvPr>
          <p:cNvGraphicFramePr>
            <a:graphicFrameLocks noGrp="1"/>
          </p:cNvGraphicFramePr>
          <p:nvPr>
            <p:extLst>
              <p:ext uri="{D42A27DB-BD31-4B8C-83A1-F6EECF244321}">
                <p14:modId xmlns:p14="http://schemas.microsoft.com/office/powerpoint/2010/main" val="4294237879"/>
              </p:ext>
            </p:extLst>
          </p:nvPr>
        </p:nvGraphicFramePr>
        <p:xfrm>
          <a:off x="730708" y="1788965"/>
          <a:ext cx="10792491" cy="1828800"/>
        </p:xfrm>
        <a:graphic>
          <a:graphicData uri="http://schemas.openxmlformats.org/drawingml/2006/table">
            <a:tbl>
              <a:tblPr firstRow="1">
                <a:effectLst>
                  <a:outerShdw blurRad="50800" dist="38100" dir="5400000" algn="t" rotWithShape="0">
                    <a:prstClr val="black">
                      <a:alpha val="40000"/>
                    </a:prstClr>
                  </a:outerShdw>
                </a:effectLst>
                <a:tableStyleId>{00A15C55-8517-42AA-B614-E9B94910E393}</a:tableStyleId>
              </a:tblPr>
              <a:tblGrid>
                <a:gridCol w="1755400">
                  <a:extLst>
                    <a:ext uri="{9D8B030D-6E8A-4147-A177-3AD203B41FA5}">
                      <a16:colId xmlns:a16="http://schemas.microsoft.com/office/drawing/2014/main" val="3047465188"/>
                    </a:ext>
                  </a:extLst>
                </a:gridCol>
                <a:gridCol w="2699199">
                  <a:extLst>
                    <a:ext uri="{9D8B030D-6E8A-4147-A177-3AD203B41FA5}">
                      <a16:colId xmlns:a16="http://schemas.microsoft.com/office/drawing/2014/main" val="2150535457"/>
                    </a:ext>
                  </a:extLst>
                </a:gridCol>
                <a:gridCol w="4401145">
                  <a:extLst>
                    <a:ext uri="{9D8B030D-6E8A-4147-A177-3AD203B41FA5}">
                      <a16:colId xmlns:a16="http://schemas.microsoft.com/office/drawing/2014/main" val="560057013"/>
                    </a:ext>
                  </a:extLst>
                </a:gridCol>
                <a:gridCol w="1936747">
                  <a:extLst>
                    <a:ext uri="{9D8B030D-6E8A-4147-A177-3AD203B41FA5}">
                      <a16:colId xmlns:a16="http://schemas.microsoft.com/office/drawing/2014/main" val="607857169"/>
                    </a:ext>
                  </a:extLst>
                </a:gridCol>
              </a:tblGrid>
              <a:tr h="193812">
                <a:tc>
                  <a:txBody>
                    <a:bodyPr/>
                    <a:lstStyle/>
                    <a:p>
                      <a:pPr rtl="0"/>
                      <a:r>
                        <a:rPr lang="en-US" sz="900">
                          <a:latin typeface="Open Sans" panose="020B0606030504020204" pitchFamily="34" charset="0"/>
                          <a:ea typeface="Open Sans" panose="020B0606030504020204" pitchFamily="34" charset="0"/>
                          <a:cs typeface="Open Sans" panose="020B0606030504020204" pitchFamily="34" charset="0"/>
                        </a:rPr>
                        <a:t>Customer lifecycle</a:t>
                      </a:r>
                      <a:endParaRPr lang="en-US" sz="900" dirty="0">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3"/>
                    </a:solidFill>
                  </a:tcPr>
                </a:tc>
                <a:tc>
                  <a:txBody>
                    <a:bodyPr/>
                    <a:lstStyle/>
                    <a:p>
                      <a:pPr rtl="0"/>
                      <a:r>
                        <a:rPr lang="en-US" sz="900">
                          <a:latin typeface="Open Sans" panose="020B0606030504020204" pitchFamily="34" charset="0"/>
                          <a:ea typeface="Open Sans" panose="020B0606030504020204" pitchFamily="34" charset="0"/>
                          <a:cs typeface="Open Sans" panose="020B0606030504020204" pitchFamily="34" charset="0"/>
                        </a:rPr>
                        <a:t>E2E Process</a:t>
                      </a:r>
                      <a:endParaRPr lang="en-US" sz="900" dirty="0">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3"/>
                    </a:solidFill>
                  </a:tcPr>
                </a:tc>
                <a:tc>
                  <a:txBody>
                    <a:bodyPr/>
                    <a:lstStyle/>
                    <a:p>
                      <a:pPr rtl="0"/>
                      <a:r>
                        <a:rPr lang="en-US" sz="900">
                          <a:latin typeface="Open Sans" panose="020B0606030504020204" pitchFamily="34" charset="0"/>
                          <a:ea typeface="Open Sans" panose="020B0606030504020204" pitchFamily="34" charset="0"/>
                          <a:cs typeface="Open Sans" panose="020B0606030504020204" pitchFamily="34" charset="0"/>
                        </a:rPr>
                        <a:t>Sub-process</a:t>
                      </a:r>
                      <a:endParaRPr lang="en-US" sz="900" dirty="0">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3"/>
                    </a:solidFill>
                  </a:tcPr>
                </a:tc>
                <a:tc>
                  <a:txBody>
                    <a:bodyPr/>
                    <a:lstStyle/>
                    <a:p>
                      <a:pPr rtl="0"/>
                      <a:r>
                        <a:rPr lang="en-US" sz="900">
                          <a:latin typeface="Open Sans" panose="020B0606030504020204" pitchFamily="34" charset="0"/>
                          <a:ea typeface="Open Sans" panose="020B0606030504020204" pitchFamily="34" charset="0"/>
                          <a:cs typeface="Open Sans" panose="020B0606030504020204" pitchFamily="34" charset="0"/>
                        </a:rPr>
                        <a:t>Process documentation link</a:t>
                      </a:r>
                      <a:endParaRPr lang="en-US" sz="900" dirty="0">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3"/>
                    </a:solidFill>
                  </a:tcPr>
                </a:tc>
                <a:extLst>
                  <a:ext uri="{0D108BD9-81ED-4DB2-BD59-A6C34878D82A}">
                    <a16:rowId xmlns:a16="http://schemas.microsoft.com/office/drawing/2014/main" val="3791639639"/>
                  </a:ext>
                </a:extLst>
              </a:tr>
              <a:tr h="193812">
                <a:tc rowSpan="7">
                  <a:txBody>
                    <a:bodyPr/>
                    <a:lstStyle/>
                    <a:p>
                      <a:pPr rtl="0"/>
                      <a:r>
                        <a:rPr lang="en-US" sz="900" b="1">
                          <a:solidFill>
                            <a:schemeClr val="tx1"/>
                          </a:solidFill>
                          <a:latin typeface="Open Sans" panose="020B0606030504020204" pitchFamily="34" charset="0"/>
                          <a:ea typeface="Open Sans" panose="020B0606030504020204" pitchFamily="34" charset="0"/>
                          <a:cs typeface="Open Sans" panose="020B0606030504020204" pitchFamily="34" charset="0"/>
                        </a:rPr>
                        <a:t>Function</a:t>
                      </a:r>
                      <a:endParaRPr lang="en-US" sz="9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s 1</a:t>
                      </a:r>
                      <a:endParaRPr lang="en-US" sz="900" b="0" dirty="0">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process 1</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extLst>
                  <a:ext uri="{0D108BD9-81ED-4DB2-BD59-A6C34878D82A}">
                    <a16:rowId xmlns:a16="http://schemas.microsoft.com/office/drawing/2014/main" val="687823357"/>
                  </a:ext>
                </a:extLst>
              </a:tr>
              <a:tr h="193812">
                <a:tc vMerge="1">
                  <a:txBody>
                    <a:bodyPr/>
                    <a:lstStyle/>
                    <a:p>
                      <a:endParaRPr lang="en-US" sz="800" b="1" dirty="0">
                        <a:solidFill>
                          <a:schemeClr val="bg1"/>
                        </a:solidFill>
                        <a:latin typeface="Verdana" panose="020B0604030504040204" pitchFamily="34" charset="0"/>
                        <a:ea typeface="Verdana" panose="020B0604030504040204" pitchFamily="34" charset="0"/>
                      </a:endParaRPr>
                    </a:p>
                  </a:txBody>
                  <a:tcPr anchor="ctr">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1"/>
                    </a:solidFill>
                  </a:tcPr>
                </a:tc>
                <a:tc vMerge="1">
                  <a:txBody>
                    <a:bodyPr/>
                    <a:lstStyle/>
                    <a:p>
                      <a:endParaRPr lang="en-US" sz="800" dirty="0">
                        <a:latin typeface="Verdana" panose="020B0604030504040204" pitchFamily="34" charset="0"/>
                        <a:ea typeface="Verdana" panose="020B060403050404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process 2</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extLst>
                  <a:ext uri="{0D108BD9-81ED-4DB2-BD59-A6C34878D82A}">
                    <a16:rowId xmlns:a16="http://schemas.microsoft.com/office/drawing/2014/main" val="2771574159"/>
                  </a:ext>
                </a:extLst>
              </a:tr>
              <a:tr h="193812">
                <a:tc vMerge="1">
                  <a:txBody>
                    <a:bodyPr/>
                    <a:lstStyle/>
                    <a:p>
                      <a:endParaRPr lang="en-US" sz="800" b="1" dirty="0">
                        <a:solidFill>
                          <a:schemeClr val="bg1"/>
                        </a:solidFill>
                        <a:latin typeface="Verdana" panose="020B0604030504040204" pitchFamily="34" charset="0"/>
                        <a:ea typeface="Verdana" panose="020B0604030504040204" pitchFamily="34" charset="0"/>
                      </a:endParaRPr>
                    </a:p>
                  </a:txBody>
                  <a:tcPr anchor="ctr">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1"/>
                    </a:solidFill>
                  </a:tcPr>
                </a:tc>
                <a:tc vMerge="1">
                  <a:txBody>
                    <a:bodyPr/>
                    <a:lstStyle/>
                    <a:p>
                      <a:endParaRPr lang="en-US" sz="800" dirty="0">
                        <a:latin typeface="Verdana" panose="020B0604030504040204" pitchFamily="34" charset="0"/>
                        <a:ea typeface="Verdana" panose="020B060403050404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process 3</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extLst>
                  <a:ext uri="{0D108BD9-81ED-4DB2-BD59-A6C34878D82A}">
                    <a16:rowId xmlns:a16="http://schemas.microsoft.com/office/drawing/2014/main" val="1834076851"/>
                  </a:ext>
                </a:extLst>
              </a:tr>
              <a:tr h="193812">
                <a:tc vMerge="1">
                  <a:txBody>
                    <a:bodyPr/>
                    <a:lstStyle/>
                    <a:p>
                      <a:endParaRPr lang="en-US" sz="800" b="1" dirty="0">
                        <a:solidFill>
                          <a:schemeClr val="bg1"/>
                        </a:solidFill>
                        <a:latin typeface="Verdana" panose="020B0604030504040204" pitchFamily="34" charset="0"/>
                        <a:ea typeface="Verdana" panose="020B0604030504040204" pitchFamily="34" charset="0"/>
                      </a:endParaRPr>
                    </a:p>
                  </a:txBody>
                  <a:tcPr anchor="ctr">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1"/>
                    </a:solidFill>
                  </a:tcPr>
                </a:tc>
                <a:tc>
                  <a:txBody>
                    <a:bodyPr/>
                    <a:lstStyle/>
                    <a:p>
                      <a:pPr rtl="0"/>
                      <a:r>
                        <a:rPr kumimoji="0" lang="en-US" sz="9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s 2</a:t>
                      </a:r>
                      <a:endParaRPr lang="en-US" sz="900" b="0" dirty="0">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process 1</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extLst>
                  <a:ext uri="{0D108BD9-81ED-4DB2-BD59-A6C34878D82A}">
                    <a16:rowId xmlns:a16="http://schemas.microsoft.com/office/drawing/2014/main" val="3517654683"/>
                  </a:ext>
                </a:extLst>
              </a:tr>
              <a:tr h="193812">
                <a:tc vMerge="1">
                  <a:txBody>
                    <a:bodyPr/>
                    <a:lstStyle/>
                    <a:p>
                      <a:endParaRPr lang="en-US" sz="800" b="1" dirty="0">
                        <a:solidFill>
                          <a:schemeClr val="bg1"/>
                        </a:solidFill>
                        <a:latin typeface="Verdana" panose="020B0604030504040204" pitchFamily="34" charset="0"/>
                        <a:ea typeface="Verdana" panose="020B0604030504040204" pitchFamily="34" charset="0"/>
                      </a:endParaRPr>
                    </a:p>
                  </a:txBody>
                  <a:tcPr anchor="ctr">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1"/>
                    </a:solidFill>
                  </a:tcPr>
                </a:tc>
                <a:tc rowSpan="2">
                  <a:txBody>
                    <a:bodyPr/>
                    <a:lstStyle/>
                    <a:p>
                      <a:pPr rtl="0"/>
                      <a:r>
                        <a:rPr kumimoji="0" lang="en-US" sz="9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s 3</a:t>
                      </a:r>
                      <a:endParaRPr lang="en-US" sz="900" b="0" dirty="0">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process 1</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extLst>
                  <a:ext uri="{0D108BD9-81ED-4DB2-BD59-A6C34878D82A}">
                    <a16:rowId xmlns:a16="http://schemas.microsoft.com/office/drawing/2014/main" val="3707339554"/>
                  </a:ext>
                </a:extLst>
              </a:tr>
              <a:tr h="193812">
                <a:tc vMerge="1">
                  <a:txBody>
                    <a:bodyPr/>
                    <a:lstStyle/>
                    <a:p>
                      <a:endParaRPr lang="en-US" sz="800" b="1" dirty="0">
                        <a:solidFill>
                          <a:schemeClr val="bg1"/>
                        </a:solidFill>
                        <a:latin typeface="Verdana" panose="020B0604030504040204" pitchFamily="34" charset="0"/>
                        <a:ea typeface="Verdana" panose="020B0604030504040204" pitchFamily="34" charset="0"/>
                      </a:endParaRPr>
                    </a:p>
                  </a:txBody>
                  <a:tcPr anchor="ctr">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1"/>
                    </a:solidFill>
                  </a:tcPr>
                </a:tc>
                <a:tc vMerge="1">
                  <a:txBody>
                    <a:bodyPr/>
                    <a:lstStyle/>
                    <a:p>
                      <a:endParaRPr lang="en-US" sz="800" dirty="0">
                        <a:latin typeface="Verdana" panose="020B0604030504040204" pitchFamily="34" charset="0"/>
                        <a:ea typeface="Verdana" panose="020B060403050404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process 2</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extLst>
                  <a:ext uri="{0D108BD9-81ED-4DB2-BD59-A6C34878D82A}">
                    <a16:rowId xmlns:a16="http://schemas.microsoft.com/office/drawing/2014/main" val="425564869"/>
                  </a:ext>
                </a:extLst>
              </a:tr>
              <a:tr h="193812">
                <a:tc vMerge="1">
                  <a:txBody>
                    <a:bodyPr/>
                    <a:lstStyle/>
                    <a:p>
                      <a:endParaRPr lang="en-US" sz="800" b="1" dirty="0">
                        <a:solidFill>
                          <a:schemeClr val="bg1"/>
                        </a:solidFill>
                        <a:latin typeface="Verdana" panose="020B0604030504040204" pitchFamily="34" charset="0"/>
                        <a:ea typeface="Verdana" panose="020B0604030504040204" pitchFamily="34" charset="0"/>
                      </a:endParaRPr>
                    </a:p>
                  </a:txBody>
                  <a:tcPr anchor="ctr">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accent1"/>
                    </a:solidFill>
                  </a:tcPr>
                </a:tc>
                <a:tc>
                  <a:txBody>
                    <a:bodyPr/>
                    <a:lstStyle/>
                    <a:p>
                      <a:pPr rtl="0"/>
                      <a:r>
                        <a:rPr kumimoji="0" lang="en-US" sz="9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s 4</a:t>
                      </a:r>
                      <a:endParaRPr lang="en-US" sz="900" b="0" dirty="0">
                        <a:latin typeface="Open Sans" panose="020B0606030504020204" pitchFamily="34" charset="0"/>
                        <a:ea typeface="Open Sans" panose="020B0606030504020204" pitchFamily="34" charset="0"/>
                        <a:cs typeface="Open Sans" panose="020B0606030504020204" pitchFamily="34" charset="0"/>
                      </a:endParaRPr>
                    </a:p>
                  </a:txBody>
                  <a:tcPr anchor="ctr">
                    <a:lnL w="5715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process 1</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lumMod val="95000"/>
                      </a:schemeClr>
                    </a:solidFill>
                  </a:tcPr>
                </a:tc>
                <a:extLst>
                  <a:ext uri="{0D108BD9-81ED-4DB2-BD59-A6C34878D82A}">
                    <a16:rowId xmlns:a16="http://schemas.microsoft.com/office/drawing/2014/main" val="1977024220"/>
                  </a:ext>
                </a:extLst>
              </a:tr>
            </a:tbl>
          </a:graphicData>
        </a:graphic>
      </p:graphicFrame>
      <p:sp>
        <p:nvSpPr>
          <p:cNvPr id="6" name="TextBox 5">
            <a:extLst>
              <a:ext uri="{FF2B5EF4-FFF2-40B4-BE49-F238E27FC236}">
                <a16:creationId xmlns:a16="http://schemas.microsoft.com/office/drawing/2014/main" id="{64BBB55D-E704-288A-5DC3-5AFA0CCC180C}"/>
              </a:ext>
            </a:extLst>
          </p:cNvPr>
          <p:cNvSpPr txBox="1"/>
          <p:nvPr/>
        </p:nvSpPr>
        <p:spPr>
          <a:xfrm>
            <a:off x="730707" y="3700084"/>
            <a:ext cx="10792491" cy="276999"/>
          </a:xfrm>
          <a:prstGeom prst="rect">
            <a:avLst/>
          </a:prstGeom>
          <a:solidFill>
            <a:schemeClr val="bg1"/>
          </a:solidFill>
          <a:effectLst>
            <a:outerShdw blurRad="63500" sx="102000" sy="102000" algn="ctr" rotWithShape="0">
              <a:prstClr val="black">
                <a:alpha val="40000"/>
              </a:prstClr>
            </a:outerShdw>
          </a:effectLst>
        </p:spPr>
        <p:txBody>
          <a:bodyPr wrap="square">
            <a:spAutoFit/>
          </a:bodyPr>
          <a:lstStyle/>
          <a:p>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hu-HU" sz="1200" b="1" i="0" u="none" strike="noStrike" kern="1200" cap="none" spc="0" normalizeH="0" baseline="0" noProof="0" dirty="0" err="1">
                <a:ln>
                  <a:noFill/>
                </a:ln>
                <a:effectLst/>
                <a:uLnTx/>
                <a:uFillTx/>
                <a:latin typeface="Open Sans" panose="020B0606030504020204" pitchFamily="34" charset="0"/>
                <a:ea typeface="Open Sans" panose="020B0606030504020204" pitchFamily="34" charset="0"/>
                <a:cs typeface="Open Sans" panose="020B0606030504020204" pitchFamily="34" charset="0"/>
              </a:rPr>
              <a:t>Procedure</a:t>
            </a:r>
            <a:r>
              <a:rPr kumimoji="0" lang="hu-HU"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 management </a:t>
            </a:r>
            <a:r>
              <a:rPr kumimoji="0" lang="hu-HU" sz="1200" b="1" i="0" u="none" strike="noStrike" kern="1200" cap="none" spc="0" normalizeH="0" baseline="0" noProof="0" dirty="0" err="1">
                <a:ln>
                  <a:noFill/>
                </a:ln>
                <a:effectLst/>
                <a:uLnTx/>
                <a:uFillTx/>
                <a:latin typeface="Open Sans" panose="020B0606030504020204" pitchFamily="34" charset="0"/>
                <a:ea typeface="Open Sans" panose="020B0606030504020204" pitchFamily="34" charset="0"/>
                <a:cs typeface="Open Sans" panose="020B0606030504020204" pitchFamily="34" charset="0"/>
              </a:rPr>
              <a:t>levels</a:t>
            </a:r>
            <a:endParaRPr lang="en-US" sz="1200" dirty="0"/>
          </a:p>
        </p:txBody>
      </p:sp>
      <p:sp>
        <p:nvSpPr>
          <p:cNvPr id="9" name="Rounded Rectangular Callout 15">
            <a:extLst>
              <a:ext uri="{FF2B5EF4-FFF2-40B4-BE49-F238E27FC236}">
                <a16:creationId xmlns:a16="http://schemas.microsoft.com/office/drawing/2014/main" id="{BA3D93FC-EECF-9849-A227-4F5BD21F0BAB}"/>
              </a:ext>
            </a:extLst>
          </p:cNvPr>
          <p:cNvSpPr/>
          <p:nvPr/>
        </p:nvSpPr>
        <p:spPr>
          <a:xfrm>
            <a:off x="730708" y="4028557"/>
            <a:ext cx="2791642" cy="276999"/>
          </a:xfrm>
          <a:prstGeom prst="wedgeRoundRectCallout">
            <a:avLst>
              <a:gd name="adj1" fmla="val -33809"/>
              <a:gd name="adj2" fmla="val -257918"/>
              <a:gd name="adj3" fmla="val 16667"/>
            </a:avLst>
          </a:prstGeom>
          <a:solidFill>
            <a:srgbClr val="0097A9"/>
          </a:solidFill>
          <a:ln w="222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defRPr/>
            </a:pPr>
            <a:r>
              <a:rPr kumimoji="0" lang="en-US" sz="10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Customer life cycle</a:t>
            </a:r>
            <a:r>
              <a:rPr kumimoji="0" lang="hu-HU" sz="10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ounded Rectangular Callout 17">
            <a:extLst>
              <a:ext uri="{FF2B5EF4-FFF2-40B4-BE49-F238E27FC236}">
                <a16:creationId xmlns:a16="http://schemas.microsoft.com/office/drawing/2014/main" id="{78F1C9BE-CCD9-7505-47F9-8A5480CA5BF7}"/>
              </a:ext>
            </a:extLst>
          </p:cNvPr>
          <p:cNvSpPr/>
          <p:nvPr/>
        </p:nvSpPr>
        <p:spPr>
          <a:xfrm>
            <a:off x="3614734" y="4028557"/>
            <a:ext cx="2793357" cy="276999"/>
          </a:xfrm>
          <a:prstGeom prst="wedgeRoundRectCallout">
            <a:avLst>
              <a:gd name="adj1" fmla="val -47135"/>
              <a:gd name="adj2" fmla="val -244442"/>
              <a:gd name="adj3" fmla="val 16667"/>
            </a:avLst>
          </a:prstGeom>
          <a:solidFill>
            <a:srgbClr val="7F7F7F"/>
          </a:solidFill>
          <a:ln w="222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defRPr/>
            </a:pPr>
            <a:r>
              <a:rPr kumimoji="0" lang="en-US"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hu-HU"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a:t>
            </a:r>
            <a:r>
              <a:rPr kumimoji="0" lang="en-US" sz="1000" b="1" i="0" u="none" strike="noStrike" kern="1200" cap="none" spc="0" normalizeH="0" baseline="0" noProof="0" dirty="0" err="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rk</a:t>
            </a:r>
            <a:r>
              <a:rPr kumimoji="0" lang="en-US"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instructions</a:t>
            </a:r>
          </a:p>
        </p:txBody>
      </p:sp>
      <p:sp>
        <p:nvSpPr>
          <p:cNvPr id="11" name="Rounded Rectangular Callout 18">
            <a:extLst>
              <a:ext uri="{FF2B5EF4-FFF2-40B4-BE49-F238E27FC236}">
                <a16:creationId xmlns:a16="http://schemas.microsoft.com/office/drawing/2014/main" id="{99596D15-CBDE-ACD3-5265-CAE699D70057}"/>
              </a:ext>
            </a:extLst>
          </p:cNvPr>
          <p:cNvSpPr/>
          <p:nvPr/>
        </p:nvSpPr>
        <p:spPr>
          <a:xfrm>
            <a:off x="6500475" y="4028557"/>
            <a:ext cx="2441867" cy="276999"/>
          </a:xfrm>
          <a:prstGeom prst="wedgeRoundRectCallout">
            <a:avLst>
              <a:gd name="adj1" fmla="val -28144"/>
              <a:gd name="adj2" fmla="val -215298"/>
              <a:gd name="adj3" fmla="val 16667"/>
            </a:avLst>
          </a:prstGeom>
          <a:solidFill>
            <a:srgbClr val="70BBB9"/>
          </a:solidFill>
          <a:ln w="222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hu-HU"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a:t>
            </a:r>
            <a:r>
              <a:rPr kumimoji="0" lang="en-US" sz="1000" b="1" i="0" u="none" strike="noStrike" kern="1200" cap="none" spc="0" normalizeH="0" baseline="0" noProof="0" dirty="0" err="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ocedure</a:t>
            </a:r>
            <a:r>
              <a:rPr kumimoji="0" lang="hu-HU"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a:t>
            </a:r>
            <a:endParaRPr kumimoji="0" lang="en-US" sz="10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Rounded Rectangular Callout 19">
            <a:extLst>
              <a:ext uri="{FF2B5EF4-FFF2-40B4-BE49-F238E27FC236}">
                <a16:creationId xmlns:a16="http://schemas.microsoft.com/office/drawing/2014/main" id="{4126770F-E16C-5F3A-2957-F59C86D8D222}"/>
              </a:ext>
            </a:extLst>
          </p:cNvPr>
          <p:cNvSpPr/>
          <p:nvPr/>
        </p:nvSpPr>
        <p:spPr>
          <a:xfrm>
            <a:off x="9034725" y="4028557"/>
            <a:ext cx="2488477" cy="276999"/>
          </a:xfrm>
          <a:prstGeom prst="wedgeRoundRectCallout">
            <a:avLst>
              <a:gd name="adj1" fmla="val -18225"/>
              <a:gd name="adj2" fmla="val -232151"/>
              <a:gd name="adj3" fmla="val 16667"/>
            </a:avLst>
          </a:prstGeom>
          <a:solidFill>
            <a:srgbClr val="008480"/>
          </a:solidFill>
          <a:ln w="222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hu-HU"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a:t>
            </a:r>
            <a:r>
              <a:rPr kumimoji="0" lang="en-US" sz="1000" b="1" i="0" u="none" strike="noStrike" kern="1200" cap="none" spc="0" normalizeH="0" baseline="0" noProof="0" dirty="0" err="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rkflow</a:t>
            </a:r>
            <a:r>
              <a:rPr kumimoji="0" lang="hu-HU"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a:t>
            </a:r>
            <a:endParaRPr kumimoji="0" lang="en-US" sz="1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Table 6">
            <a:extLst>
              <a:ext uri="{FF2B5EF4-FFF2-40B4-BE49-F238E27FC236}">
                <a16:creationId xmlns:a16="http://schemas.microsoft.com/office/drawing/2014/main" id="{854E488D-E6B7-C4A2-A496-960F794B5C8F}"/>
              </a:ext>
            </a:extLst>
          </p:cNvPr>
          <p:cNvGraphicFramePr>
            <a:graphicFrameLocks noGrp="1"/>
          </p:cNvGraphicFramePr>
          <p:nvPr>
            <p:extLst>
              <p:ext uri="{D42A27DB-BD31-4B8C-83A1-F6EECF244321}">
                <p14:modId xmlns:p14="http://schemas.microsoft.com/office/powerpoint/2010/main" val="2856515579"/>
              </p:ext>
            </p:extLst>
          </p:nvPr>
        </p:nvGraphicFramePr>
        <p:xfrm>
          <a:off x="656606" y="4355251"/>
          <a:ext cx="11265408" cy="2174306"/>
        </p:xfrm>
        <a:graphic>
          <a:graphicData uri="http://schemas.openxmlformats.org/drawingml/2006/table">
            <a:tbl>
              <a:tblPr firstRow="1">
                <a:effectLst>
                  <a:outerShdw blurRad="50800" dist="38100" dir="5400000" algn="t" rotWithShape="0">
                    <a:prstClr val="black">
                      <a:alpha val="40000"/>
                    </a:prstClr>
                  </a:outerShdw>
                </a:effectLst>
                <a:tableStyleId>{00A15C55-8517-42AA-B614-E9B94910E393}</a:tableStyleId>
              </a:tblPr>
              <a:tblGrid>
                <a:gridCol w="1373193">
                  <a:extLst>
                    <a:ext uri="{9D8B030D-6E8A-4147-A177-3AD203B41FA5}">
                      <a16:colId xmlns:a16="http://schemas.microsoft.com/office/drawing/2014/main" val="3052442961"/>
                    </a:ext>
                  </a:extLst>
                </a:gridCol>
                <a:gridCol w="3031435">
                  <a:extLst>
                    <a:ext uri="{9D8B030D-6E8A-4147-A177-3AD203B41FA5}">
                      <a16:colId xmlns:a16="http://schemas.microsoft.com/office/drawing/2014/main" val="279142699"/>
                    </a:ext>
                  </a:extLst>
                </a:gridCol>
                <a:gridCol w="2070132">
                  <a:extLst>
                    <a:ext uri="{9D8B030D-6E8A-4147-A177-3AD203B41FA5}">
                      <a16:colId xmlns:a16="http://schemas.microsoft.com/office/drawing/2014/main" val="3317743384"/>
                    </a:ext>
                  </a:extLst>
                </a:gridCol>
                <a:gridCol w="2859677">
                  <a:extLst>
                    <a:ext uri="{9D8B030D-6E8A-4147-A177-3AD203B41FA5}">
                      <a16:colId xmlns:a16="http://schemas.microsoft.com/office/drawing/2014/main" val="3329028792"/>
                    </a:ext>
                  </a:extLst>
                </a:gridCol>
                <a:gridCol w="1930971">
                  <a:extLst>
                    <a:ext uri="{9D8B030D-6E8A-4147-A177-3AD203B41FA5}">
                      <a16:colId xmlns:a16="http://schemas.microsoft.com/office/drawing/2014/main" val="2375322666"/>
                    </a:ext>
                  </a:extLst>
                </a:gridCol>
              </a:tblGrid>
              <a:tr h="274320">
                <a:tc>
                  <a:txBody>
                    <a:bodyPr/>
                    <a:lstStyle/>
                    <a:p>
                      <a:pPr algn="ctr" rtl="0" fontAlgn="b"/>
                      <a:r>
                        <a:rPr lang="en-US" sz="100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Document type</a:t>
                      </a:r>
                    </a:p>
                  </a:txBody>
                  <a:tcPr marL="5085" marR="5085" marT="5085" marB="30508" anchor="ctr">
                    <a:solidFill>
                      <a:schemeClr val="accent3"/>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ocess description</a:t>
                      </a:r>
                    </a:p>
                  </a:txBody>
                  <a:tcPr marL="5085" marR="5085" marT="5085" marB="30508" anchor="ctr">
                    <a:solidFill>
                      <a:schemeClr val="accent3"/>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ork instruction</a:t>
                      </a:r>
                    </a:p>
                  </a:txBody>
                  <a:tcPr marL="5085" marR="5085" marT="5085" marB="30508" anchor="ctr">
                    <a:solidFill>
                      <a:schemeClr val="accent3"/>
                    </a:solidFill>
                  </a:tcPr>
                </a:tc>
                <a:tc>
                  <a:txBody>
                    <a:bodyPr/>
                    <a:lstStyle/>
                    <a:p>
                      <a:pPr algn="ctr" rtl="0" fontAlgn="b"/>
                      <a:r>
                        <a:rPr lang="en-US" sz="1000" b="1" i="0"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ocedure</a:t>
                      </a:r>
                      <a:endParaRPr lang="en-US" sz="100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5085" marR="5085" marT="5085" marB="30508" anchor="ctr">
                    <a:solidFill>
                      <a:schemeClr val="accent3"/>
                    </a:solidFill>
                  </a:tcPr>
                </a:tc>
                <a:tc>
                  <a:txBody>
                    <a:bodyPr/>
                    <a:lstStyle/>
                    <a:p>
                      <a:pPr algn="ctr" rtl="0" fontAlgn="b"/>
                      <a:r>
                        <a:rPr lang="en-US" sz="1000" b="1" i="0"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Workflow</a:t>
                      </a:r>
                      <a:endParaRPr lang="en-US" sz="100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5085" marR="5085" marT="5085" marB="30508" anchor="ctr">
                    <a:solidFill>
                      <a:schemeClr val="accent3"/>
                    </a:solidFill>
                  </a:tcPr>
                </a:tc>
                <a:extLst>
                  <a:ext uri="{0D108BD9-81ED-4DB2-BD59-A6C34878D82A}">
                    <a16:rowId xmlns:a16="http://schemas.microsoft.com/office/drawing/2014/main" val="2916895579"/>
                  </a:ext>
                </a:extLst>
              </a:tr>
              <a:tr h="582356">
                <a:tc>
                  <a:txBody>
                    <a:bodyPr/>
                    <a:lstStyle/>
                    <a:p>
                      <a:pPr algn="ctr" rtl="0" fontAlgn="ctr"/>
                      <a:r>
                        <a:rPr lang="en-US" sz="10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oal</a:t>
                      </a:r>
                    </a:p>
                  </a:txBody>
                  <a:tcPr marL="5085" marR="5085" marT="5085" marB="30508" anchor="ctr">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rtl="0" fontAlgn="ct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High level regulation of a specific main </a:t>
                      </a:r>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ocess. For example Customer Service activities</a:t>
                      </a:r>
                    </a:p>
                  </a:txBody>
                  <a:tcPr marL="5085" marR="5085" marT="5085" marB="30508" anchor="ctr">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rtl="0" fontAlgn="b"/>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algn="ctr" rtl="0" fontAlgn="b"/>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t regulates the activities within the main activity recorded in the process description</a:t>
                      </a:r>
                    </a:p>
                  </a:txBody>
                  <a:tcPr marL="5085" marR="5085" marT="5085" marB="30508" anchor="ctr">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t provides assistance to clerks performing operative work if they are not sure when applying a specific program or process</a:t>
                      </a:r>
                    </a:p>
                  </a:txBody>
                  <a:tcPr marL="5085" marR="5085" marT="5085" marB="30508" anchor="ctr">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rtl="0" fontAlgn="b"/>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ystem specific processes for example case tracking in SAP defining owner, deadline etc.</a:t>
                      </a:r>
                    </a:p>
                  </a:txBody>
                  <a:tcPr marL="5085" marR="5085" marT="5085" marB="30508" anchor="ctr">
                    <a:lnB w="12700" cap="flat" cmpd="sng" algn="ctr">
                      <a:solidFill>
                        <a:schemeClr val="tx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895994"/>
                  </a:ext>
                </a:extLst>
              </a:tr>
              <a:tr h="1080521">
                <a:tc>
                  <a:txBody>
                    <a:bodyPr/>
                    <a:lstStyle/>
                    <a:p>
                      <a:pPr algn="ctr" rtl="0" fontAlgn="ctr"/>
                      <a:r>
                        <a:rPr lang="en-US" sz="10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ntent</a:t>
                      </a:r>
                    </a:p>
                  </a:txBody>
                  <a:tcPr marL="5085" marR="5085" marT="5085" marB="30508"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t regulates the given activity at a high level, defining each process, procedure, and the relevant tasks and responsibilities. Firstly it focuses on each process step’s What? And who? also based on the merit of the step it might answers the questions of How? When? Where? The process description contains the connection and control points of the processes.</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5085" marR="5085" marT="5085" marB="30508"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t describes the individual sub-activities of the processes and the precise, detailed instructions for the execution of the various procedures</a:t>
                      </a:r>
                      <a:endParaRPr lang="en-US" sz="1000" b="0" i="0" u="none" strike="noStrike" dirty="0">
                        <a:solidFill>
                          <a:srgbClr val="000000"/>
                        </a:solidFill>
                        <a:effectLst/>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5085" marR="5085" marT="5085" marB="30508"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rtl="0" fontAlgn="b"/>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uide showing the correct use of different systems and other system-independent activities, with screenshots and detailed explanations. Video help may also be included.</a:t>
                      </a:r>
                      <a:endParaRPr lang="en-US" sz="1000" b="0" i="0" u="none" strike="noStrike" kern="1200" dirty="0">
                        <a:solidFill>
                          <a:srgbClr val="000000"/>
                        </a:solidFill>
                        <a:effectLst/>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5085" marR="5085" marT="5085" marB="30508"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rtl="0" fontAlgn="b"/>
                      <a:r>
                        <a:rPr lang="en-US" sz="10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gulation of the electronic case tracking process implemented in the SAP system.</a:t>
                      </a:r>
                      <a:endParaRPr lang="en-US" sz="1000" b="0" i="0" u="none" strike="noStrike" kern="1200" dirty="0">
                        <a:solidFill>
                          <a:srgbClr val="000000"/>
                        </a:solidFill>
                        <a:effectLst/>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5085" marR="5085" marT="5085" marB="30508"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8556043"/>
                  </a:ext>
                </a:extLst>
              </a:tr>
            </a:tbl>
          </a:graphicData>
        </a:graphic>
      </p:graphicFrame>
    </p:spTree>
    <p:extLst>
      <p:ext uri="{BB962C8B-B14F-4D97-AF65-F5344CB8AC3E}">
        <p14:creationId xmlns:p14="http://schemas.microsoft.com/office/powerpoint/2010/main" val="344015643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1ED2D5-2F1D-F9BF-32D4-9A1331F130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think-cell data - do not delete" hidden="1">
                        <a:extLst>
                          <a:ext uri="{FF2B5EF4-FFF2-40B4-BE49-F238E27FC236}">
                            <a16:creationId xmlns:a16="http://schemas.microsoft.com/office/drawing/2014/main" id="{461ED2D5-2F1D-F9BF-32D4-9A1331F130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86890A1-C936-50E6-A265-28A9B05701ED}"/>
              </a:ext>
            </a:extLst>
          </p:cNvPr>
          <p:cNvSpPr>
            <a:spLocks noGrp="1"/>
          </p:cNvSpPr>
          <p:nvPr>
            <p:ph type="body" sz="quarter" idx="22"/>
          </p:nvPr>
        </p:nvSpPr>
        <p:spPr/>
        <p:txBody>
          <a:bodyPr/>
          <a:lstStyle/>
          <a:p>
            <a:r>
              <a:rPr lang="en-US" dirty="0"/>
              <a:t>During the conceptual phase, the documents to be used uniformly will be finalized and created</a:t>
            </a:r>
          </a:p>
        </p:txBody>
      </p:sp>
      <p:sp>
        <p:nvSpPr>
          <p:cNvPr id="3" name="Title 2">
            <a:extLst>
              <a:ext uri="{FF2B5EF4-FFF2-40B4-BE49-F238E27FC236}">
                <a16:creationId xmlns:a16="http://schemas.microsoft.com/office/drawing/2014/main" id="{CBE7A304-8173-D610-41C6-554BD371CA2F}"/>
              </a:ext>
            </a:extLst>
          </p:cNvPr>
          <p:cNvSpPr>
            <a:spLocks noGrp="1"/>
          </p:cNvSpPr>
          <p:nvPr>
            <p:ph type="title"/>
          </p:nvPr>
        </p:nvSpPr>
        <p:spPr>
          <a:xfrm>
            <a:off x="463294" y="417911"/>
            <a:ext cx="11277599" cy="334099"/>
          </a:xfrm>
        </p:spPr>
        <p:txBody>
          <a:bodyPr vert="horz"/>
          <a:lstStyle/>
          <a:p>
            <a:r>
              <a:rPr lang="en-US" dirty="0">
                <a:latin typeface="Open Sans Light"/>
                <a:ea typeface="Open Sans Light"/>
                <a:cs typeface="Calibri Light"/>
              </a:rPr>
              <a:t>Regulatory documents</a:t>
            </a:r>
          </a:p>
        </p:txBody>
      </p:sp>
      <p:sp>
        <p:nvSpPr>
          <p:cNvPr id="6" name="Rectangle 5">
            <a:extLst>
              <a:ext uri="{FF2B5EF4-FFF2-40B4-BE49-F238E27FC236}">
                <a16:creationId xmlns:a16="http://schemas.microsoft.com/office/drawing/2014/main" id="{5AABA631-3D6A-4BC4-FED5-C736C2E7C09A}"/>
              </a:ext>
            </a:extLst>
          </p:cNvPr>
          <p:cNvSpPr/>
          <p:nvPr/>
        </p:nvSpPr>
        <p:spPr bwMode="gray">
          <a:xfrm>
            <a:off x="475485" y="1693256"/>
            <a:ext cx="11253217" cy="4665980"/>
          </a:xfrm>
          <a:prstGeom prst="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hu-HU" sz="1600" b="1" dirty="0"/>
              <a:t>PLACEHOLDER – Process management process </a:t>
            </a:r>
            <a:r>
              <a:rPr lang="hu-HU" sz="1600" b="1" dirty="0" err="1"/>
              <a:t>sample</a:t>
            </a:r>
            <a:endParaRPr lang="en-US" sz="1600" b="1" dirty="0"/>
          </a:p>
        </p:txBody>
      </p:sp>
    </p:spTree>
    <p:extLst>
      <p:ext uri="{BB962C8B-B14F-4D97-AF65-F5344CB8AC3E}">
        <p14:creationId xmlns:p14="http://schemas.microsoft.com/office/powerpoint/2010/main" val="813033156"/>
      </p:ext>
    </p:extLst>
  </p:cSld>
  <p:clrMapOvr>
    <a:masterClrMapping/>
  </p:clrMapOvr>
  <p:transition>
    <p:fade/>
  </p:transition>
  <p:extLst>
    <p:ext uri="{6950BFC3-D8DA-4A85-94F7-54DA5524770B}">
      <p188:commentRel xmlns:p188="http://schemas.microsoft.com/office/powerpoint/2018/8/main" r:id="rId4"/>
    </p:ext>
  </p:extLs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0" y="2997200"/>
            <a:ext cx="7477760" cy="863600"/>
            <a:chOff x="0" y="2997200"/>
            <a:chExt cx="7477760" cy="86360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0" y="2997200"/>
              <a:ext cx="6695440" cy="863600"/>
            </a:xfrm>
            <a:prstGeom prst="rect">
              <a:avLst/>
            </a:prstGeom>
            <a:grp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hu-HU" sz="2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Robotics</a:t>
              </a: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2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rocess</a:t>
              </a: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2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utomation</a:t>
              </a: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RPA)</a:t>
              </a:r>
              <a:endPar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52030744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A122BC83-9518-42F3-5ADD-D61CCD5C3AFE}"/>
              </a:ext>
            </a:extLst>
          </p:cNvPr>
          <p:cNvGraphicFramePr>
            <a:graphicFrameLocks noChangeAspect="1"/>
          </p:cNvGraphicFramePr>
          <p:nvPr>
            <p:custDataLst>
              <p:tags r:id="rId1"/>
            </p:custDataLst>
            <p:extLst>
              <p:ext uri="{D42A27DB-BD31-4B8C-83A1-F6EECF244321}">
                <p14:modId xmlns:p14="http://schemas.microsoft.com/office/powerpoint/2010/main" val="221361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0" name="think-cell data - do not delete" hidden="1">
                        <a:extLst>
                          <a:ext uri="{FF2B5EF4-FFF2-40B4-BE49-F238E27FC236}">
                            <a16:creationId xmlns:a16="http://schemas.microsoft.com/office/drawing/2014/main" id="{A122BC83-9518-42F3-5ADD-D61CCD5C3A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93C3D1B-5833-DAEF-81B1-22C935CE0F9E}"/>
              </a:ext>
            </a:extLst>
          </p:cNvPr>
          <p:cNvSpPr>
            <a:spLocks noGrp="1"/>
          </p:cNvSpPr>
          <p:nvPr>
            <p:ph type="body" sz="quarter" idx="22"/>
          </p:nvPr>
        </p:nvSpPr>
        <p:spPr/>
        <p:txBody>
          <a:bodyPr/>
          <a:lstStyle/>
          <a:p>
            <a:endParaRPr lang="en-US" dirty="0"/>
          </a:p>
          <a:p>
            <a:r>
              <a:rPr lang="en-US" dirty="0"/>
              <a:t>RPA in the Organizational Environment</a:t>
            </a:r>
          </a:p>
        </p:txBody>
      </p:sp>
      <p:sp>
        <p:nvSpPr>
          <p:cNvPr id="3" name="Title 2">
            <a:extLst>
              <a:ext uri="{FF2B5EF4-FFF2-40B4-BE49-F238E27FC236}">
                <a16:creationId xmlns:a16="http://schemas.microsoft.com/office/drawing/2014/main" id="{0BFDFE43-513E-30F3-DFB9-E1EDC8DE3070}"/>
              </a:ext>
            </a:extLst>
          </p:cNvPr>
          <p:cNvSpPr>
            <a:spLocks noGrp="1"/>
          </p:cNvSpPr>
          <p:nvPr>
            <p:ph type="title"/>
          </p:nvPr>
        </p:nvSpPr>
        <p:spPr>
          <a:xfrm>
            <a:off x="463295" y="417911"/>
            <a:ext cx="11184846" cy="334099"/>
          </a:xfrm>
        </p:spPr>
        <p:txBody>
          <a:bodyPr vert="horz"/>
          <a:lstStyle/>
          <a:p>
            <a:r>
              <a:rPr lang="en-US" dirty="0"/>
              <a:t>RPA is ideal for activities with low specialization and a high amount of manual labor</a:t>
            </a:r>
          </a:p>
        </p:txBody>
      </p:sp>
      <p:grpSp>
        <p:nvGrpSpPr>
          <p:cNvPr id="4" name="Group 3">
            <a:extLst>
              <a:ext uri="{FF2B5EF4-FFF2-40B4-BE49-F238E27FC236}">
                <a16:creationId xmlns:a16="http://schemas.microsoft.com/office/drawing/2014/main" id="{9CDFEC13-BCDD-9CA3-8981-84619FDEDAA0}"/>
              </a:ext>
            </a:extLst>
          </p:cNvPr>
          <p:cNvGrpSpPr/>
          <p:nvPr/>
        </p:nvGrpSpPr>
        <p:grpSpPr>
          <a:xfrm>
            <a:off x="746739" y="1824038"/>
            <a:ext cx="6689439" cy="4338138"/>
            <a:chOff x="486591" y="1881188"/>
            <a:chExt cx="6689439" cy="4338138"/>
          </a:xfrm>
        </p:grpSpPr>
        <p:sp>
          <p:nvSpPr>
            <p:cNvPr id="5" name="TextBox 4">
              <a:extLst>
                <a:ext uri="{FF2B5EF4-FFF2-40B4-BE49-F238E27FC236}">
                  <a16:creationId xmlns:a16="http://schemas.microsoft.com/office/drawing/2014/main" id="{75237B98-6074-EBDF-C487-F684C9221459}"/>
                </a:ext>
              </a:extLst>
            </p:cNvPr>
            <p:cNvSpPr txBox="1"/>
            <p:nvPr/>
          </p:nvSpPr>
          <p:spPr>
            <a:xfrm rot="16200000">
              <a:off x="435723" y="1998917"/>
              <a:ext cx="278708" cy="138499"/>
            </a:xfrm>
            <a:prstGeom prst="rect">
              <a:avLst/>
            </a:prstGeom>
            <a:noFill/>
          </p:spPr>
          <p:txBody>
            <a:bodyPr wrap="square" lIns="0" tIns="0" rIns="0" bIns="0" rtlCol="0">
              <a:spAutoFit/>
            </a:bodyPr>
            <a:lstStyle/>
            <a:p>
              <a:pPr algn="ctr">
                <a:spcBef>
                  <a:spcPts val="900"/>
                </a:spcBef>
              </a:pPr>
              <a:r>
                <a:rPr lang="en-US" sz="900" i="1" dirty="0"/>
                <a:t>High</a:t>
              </a:r>
            </a:p>
          </p:txBody>
        </p:sp>
        <p:sp>
          <p:nvSpPr>
            <p:cNvPr id="6" name="Rectangle 5">
              <a:extLst>
                <a:ext uri="{FF2B5EF4-FFF2-40B4-BE49-F238E27FC236}">
                  <a16:creationId xmlns:a16="http://schemas.microsoft.com/office/drawing/2014/main" id="{21604316-BC50-D1C3-720B-E47E0C1BF21A}"/>
                </a:ext>
              </a:extLst>
            </p:cNvPr>
            <p:cNvSpPr/>
            <p:nvPr/>
          </p:nvSpPr>
          <p:spPr>
            <a:xfrm>
              <a:off x="2483644" y="4648200"/>
              <a:ext cx="3198019" cy="1372660"/>
            </a:xfrm>
            <a:prstGeom prst="rect">
              <a:avLst/>
            </a:prstGeom>
            <a:solidFill>
              <a:schemeClr val="accent3">
                <a:lumMod val="20000"/>
                <a:lumOff val="80000"/>
              </a:scheme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900"/>
                </a:spcBef>
              </a:pPr>
              <a:r>
                <a:rPr lang="en-US" sz="1100" b="1" dirty="0">
                  <a:solidFill>
                    <a:schemeClr val="accent2"/>
                  </a:solidFill>
                </a:rPr>
                <a:t>Processes for RPA</a:t>
              </a:r>
            </a:p>
          </p:txBody>
        </p:sp>
        <p:cxnSp>
          <p:nvCxnSpPr>
            <p:cNvPr id="7" name="Straight Arrow Connector 6">
              <a:extLst>
                <a:ext uri="{FF2B5EF4-FFF2-40B4-BE49-F238E27FC236}">
                  <a16:creationId xmlns:a16="http://schemas.microsoft.com/office/drawing/2014/main" id="{D310DC78-44E2-3306-E47F-D3761A131468}"/>
                </a:ext>
              </a:extLst>
            </p:cNvPr>
            <p:cNvCxnSpPr/>
            <p:nvPr/>
          </p:nvCxnSpPr>
          <p:spPr>
            <a:xfrm flipV="1">
              <a:off x="673132" y="1881188"/>
              <a:ext cx="0" cy="42574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7D56577D-1CEF-7355-5989-307A772EE39B}"/>
                </a:ext>
              </a:extLst>
            </p:cNvPr>
            <p:cNvCxnSpPr/>
            <p:nvPr/>
          </p:nvCxnSpPr>
          <p:spPr>
            <a:xfrm>
              <a:off x="605395" y="6020860"/>
              <a:ext cx="657063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2AC1E05-E0CF-5E81-A0E2-8F0E7EA3BDE1}"/>
                </a:ext>
              </a:extLst>
            </p:cNvPr>
            <p:cNvSpPr txBox="1"/>
            <p:nvPr/>
          </p:nvSpPr>
          <p:spPr>
            <a:xfrm>
              <a:off x="673836" y="6057743"/>
              <a:ext cx="963849" cy="138499"/>
            </a:xfrm>
            <a:prstGeom prst="rect">
              <a:avLst/>
            </a:prstGeom>
            <a:noFill/>
          </p:spPr>
          <p:txBody>
            <a:bodyPr wrap="square" lIns="0" tIns="0" rIns="0" bIns="0" rtlCol="0">
              <a:spAutoFit/>
            </a:bodyPr>
            <a:lstStyle/>
            <a:p>
              <a:pPr algn="ctr">
                <a:spcBef>
                  <a:spcPts val="900"/>
                </a:spcBef>
              </a:pPr>
              <a:r>
                <a:rPr lang="en-US" sz="900" i="1" dirty="0"/>
                <a:t>Highly specialized</a:t>
              </a:r>
            </a:p>
          </p:txBody>
        </p:sp>
        <p:sp>
          <p:nvSpPr>
            <p:cNvPr id="10" name="TextBox 9">
              <a:extLst>
                <a:ext uri="{FF2B5EF4-FFF2-40B4-BE49-F238E27FC236}">
                  <a16:creationId xmlns:a16="http://schemas.microsoft.com/office/drawing/2014/main" id="{AC316E67-0B91-1271-F7A5-1D8FBB12EB1E}"/>
                </a:ext>
              </a:extLst>
            </p:cNvPr>
            <p:cNvSpPr txBox="1"/>
            <p:nvPr/>
          </p:nvSpPr>
          <p:spPr>
            <a:xfrm>
              <a:off x="6631781" y="6057743"/>
              <a:ext cx="451391" cy="138499"/>
            </a:xfrm>
            <a:prstGeom prst="rect">
              <a:avLst/>
            </a:prstGeom>
            <a:noFill/>
          </p:spPr>
          <p:txBody>
            <a:bodyPr wrap="square" lIns="0" tIns="0" rIns="0" bIns="0" rtlCol="0">
              <a:spAutoFit/>
            </a:bodyPr>
            <a:lstStyle/>
            <a:p>
              <a:pPr algn="ctr">
                <a:spcBef>
                  <a:spcPts val="900"/>
                </a:spcBef>
              </a:pPr>
              <a:r>
                <a:rPr lang="en-US" sz="900" i="1" dirty="0"/>
                <a:t>General</a:t>
              </a:r>
            </a:p>
          </p:txBody>
        </p:sp>
        <p:sp>
          <p:nvSpPr>
            <p:cNvPr id="11" name="TextBox 10">
              <a:extLst>
                <a:ext uri="{FF2B5EF4-FFF2-40B4-BE49-F238E27FC236}">
                  <a16:creationId xmlns:a16="http://schemas.microsoft.com/office/drawing/2014/main" id="{F806EA91-7BC3-536A-D24B-04D3E15E86F2}"/>
                </a:ext>
              </a:extLst>
            </p:cNvPr>
            <p:cNvSpPr txBox="1"/>
            <p:nvPr/>
          </p:nvSpPr>
          <p:spPr>
            <a:xfrm>
              <a:off x="2406551" y="6057743"/>
              <a:ext cx="2968322" cy="161583"/>
            </a:xfrm>
            <a:prstGeom prst="rect">
              <a:avLst/>
            </a:prstGeom>
            <a:noFill/>
          </p:spPr>
          <p:txBody>
            <a:bodyPr wrap="square" lIns="0" tIns="0" rIns="0" bIns="0" rtlCol="0">
              <a:spAutoFit/>
            </a:bodyPr>
            <a:lstStyle>
              <a:defPPr>
                <a:defRPr lang="en-US"/>
              </a:defPPr>
              <a:lvl1pPr algn="ctr">
                <a:spcBef>
                  <a:spcPts val="900"/>
                </a:spcBef>
                <a:defRPr sz="1050" b="1">
                  <a:solidFill>
                    <a:schemeClr val="accent4"/>
                  </a:solidFill>
                </a:defRPr>
              </a:lvl1pPr>
            </a:lstStyle>
            <a:p>
              <a:r>
                <a:rPr lang="en-US" dirty="0">
                  <a:solidFill>
                    <a:schemeClr val="tx1"/>
                  </a:solidFill>
                </a:rPr>
                <a:t>Processes in organization</a:t>
              </a:r>
            </a:p>
          </p:txBody>
        </p:sp>
        <p:sp>
          <p:nvSpPr>
            <p:cNvPr id="12" name="TextBox 11">
              <a:extLst>
                <a:ext uri="{FF2B5EF4-FFF2-40B4-BE49-F238E27FC236}">
                  <a16:creationId xmlns:a16="http://schemas.microsoft.com/office/drawing/2014/main" id="{56B34208-B442-D1E8-9B6E-9DF821C26209}"/>
                </a:ext>
              </a:extLst>
            </p:cNvPr>
            <p:cNvSpPr txBox="1"/>
            <p:nvPr/>
          </p:nvSpPr>
          <p:spPr>
            <a:xfrm rot="16200000">
              <a:off x="109608" y="3929122"/>
              <a:ext cx="915549" cy="161583"/>
            </a:xfrm>
            <a:prstGeom prst="rect">
              <a:avLst/>
            </a:prstGeom>
            <a:noFill/>
          </p:spPr>
          <p:txBody>
            <a:bodyPr wrap="square" lIns="0" tIns="0" rIns="0" bIns="0" rtlCol="0">
              <a:spAutoFit/>
            </a:bodyPr>
            <a:lstStyle/>
            <a:p>
              <a:pPr algn="ctr">
                <a:spcBef>
                  <a:spcPts val="900"/>
                </a:spcBef>
              </a:pPr>
              <a:r>
                <a:rPr lang="en-US" sz="1050" b="1" dirty="0"/>
                <a:t>Process value</a:t>
              </a:r>
            </a:p>
          </p:txBody>
        </p:sp>
        <p:sp>
          <p:nvSpPr>
            <p:cNvPr id="13" name="TextBox 12">
              <a:extLst>
                <a:ext uri="{FF2B5EF4-FFF2-40B4-BE49-F238E27FC236}">
                  <a16:creationId xmlns:a16="http://schemas.microsoft.com/office/drawing/2014/main" id="{A7C4F9B5-23C1-A4C1-4FB5-5E4AA51732AE}"/>
                </a:ext>
              </a:extLst>
            </p:cNvPr>
            <p:cNvSpPr txBox="1"/>
            <p:nvPr/>
          </p:nvSpPr>
          <p:spPr>
            <a:xfrm rot="16200000">
              <a:off x="446473" y="5823005"/>
              <a:ext cx="257209" cy="138499"/>
            </a:xfrm>
            <a:prstGeom prst="rect">
              <a:avLst/>
            </a:prstGeom>
            <a:noFill/>
          </p:spPr>
          <p:txBody>
            <a:bodyPr wrap="square" lIns="0" tIns="0" rIns="0" bIns="0" rtlCol="0">
              <a:spAutoFit/>
            </a:bodyPr>
            <a:lstStyle/>
            <a:p>
              <a:pPr algn="ctr">
                <a:spcBef>
                  <a:spcPts val="900"/>
                </a:spcBef>
              </a:pPr>
              <a:r>
                <a:rPr lang="en-US" sz="900" i="1" dirty="0"/>
                <a:t>Low</a:t>
              </a:r>
            </a:p>
          </p:txBody>
        </p:sp>
        <p:sp>
          <p:nvSpPr>
            <p:cNvPr id="14" name="Rounded Rectangle 25">
              <a:extLst>
                <a:ext uri="{FF2B5EF4-FFF2-40B4-BE49-F238E27FC236}">
                  <a16:creationId xmlns:a16="http://schemas.microsoft.com/office/drawing/2014/main" id="{941D3A65-C2E2-DB7D-5A11-A4946EDFE264}"/>
                </a:ext>
              </a:extLst>
            </p:cNvPr>
            <p:cNvSpPr/>
            <p:nvPr/>
          </p:nvSpPr>
          <p:spPr>
            <a:xfrm>
              <a:off x="745045" y="2732501"/>
              <a:ext cx="237085" cy="3231996"/>
            </a:xfrm>
            <a:prstGeom prst="roundRect">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15" name="Rounded Rectangle 26">
              <a:extLst>
                <a:ext uri="{FF2B5EF4-FFF2-40B4-BE49-F238E27FC236}">
                  <a16:creationId xmlns:a16="http://schemas.microsoft.com/office/drawing/2014/main" id="{91DFA724-A99F-DD78-006F-54C97CC820B4}"/>
                </a:ext>
              </a:extLst>
            </p:cNvPr>
            <p:cNvSpPr/>
            <p:nvPr/>
          </p:nvSpPr>
          <p:spPr>
            <a:xfrm>
              <a:off x="1026716" y="3390504"/>
              <a:ext cx="237085" cy="2573995"/>
            </a:xfrm>
            <a:prstGeom prst="roundRect">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16" name="Rounded Rectangle 27">
              <a:extLst>
                <a:ext uri="{FF2B5EF4-FFF2-40B4-BE49-F238E27FC236}">
                  <a16:creationId xmlns:a16="http://schemas.microsoft.com/office/drawing/2014/main" id="{652EA73D-775E-61C5-D926-69FB3514019B}"/>
                </a:ext>
              </a:extLst>
            </p:cNvPr>
            <p:cNvSpPr/>
            <p:nvPr/>
          </p:nvSpPr>
          <p:spPr>
            <a:xfrm>
              <a:off x="1308387" y="3822351"/>
              <a:ext cx="237085" cy="2142146"/>
            </a:xfrm>
            <a:prstGeom prst="roundRect">
              <a:avLst/>
            </a:prstGeom>
            <a:solidFill>
              <a:schemeClr val="accent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17" name="Rounded Rectangle 28">
              <a:extLst>
                <a:ext uri="{FF2B5EF4-FFF2-40B4-BE49-F238E27FC236}">
                  <a16:creationId xmlns:a16="http://schemas.microsoft.com/office/drawing/2014/main" id="{3E4192FF-E611-53F8-68F7-77C02D69E122}"/>
                </a:ext>
              </a:extLst>
            </p:cNvPr>
            <p:cNvSpPr/>
            <p:nvPr/>
          </p:nvSpPr>
          <p:spPr>
            <a:xfrm>
              <a:off x="1590058" y="4371979"/>
              <a:ext cx="237085" cy="1592518"/>
            </a:xfrm>
            <a:prstGeom prst="roundRect">
              <a:avLst/>
            </a:prstGeom>
            <a:solidFill>
              <a:schemeClr val="accent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18" name="Rounded Rectangle 29">
              <a:extLst>
                <a:ext uri="{FF2B5EF4-FFF2-40B4-BE49-F238E27FC236}">
                  <a16:creationId xmlns:a16="http://schemas.microsoft.com/office/drawing/2014/main" id="{5A2DEA0B-EAF3-96F4-5C7D-E8B73F6EC6BF}"/>
                </a:ext>
              </a:extLst>
            </p:cNvPr>
            <p:cNvSpPr/>
            <p:nvPr/>
          </p:nvSpPr>
          <p:spPr>
            <a:xfrm>
              <a:off x="1871729" y="5039384"/>
              <a:ext cx="237085" cy="925115"/>
            </a:xfrm>
            <a:prstGeom prst="roundRect">
              <a:avLst/>
            </a:prstGeom>
            <a:solidFill>
              <a:schemeClr val="accent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19" name="Rounded Rectangle 30">
              <a:extLst>
                <a:ext uri="{FF2B5EF4-FFF2-40B4-BE49-F238E27FC236}">
                  <a16:creationId xmlns:a16="http://schemas.microsoft.com/office/drawing/2014/main" id="{1E5E19E4-A4BF-2F86-2A06-5C470BC66416}"/>
                </a:ext>
              </a:extLst>
            </p:cNvPr>
            <p:cNvSpPr/>
            <p:nvPr/>
          </p:nvSpPr>
          <p:spPr>
            <a:xfrm>
              <a:off x="2153400" y="5196959"/>
              <a:ext cx="72000" cy="768671"/>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0" name="Rounded Rectangle 31">
              <a:extLst>
                <a:ext uri="{FF2B5EF4-FFF2-40B4-BE49-F238E27FC236}">
                  <a16:creationId xmlns:a16="http://schemas.microsoft.com/office/drawing/2014/main" id="{F1DC4E44-5B69-EB7D-0669-F28E9105567B}"/>
                </a:ext>
              </a:extLst>
            </p:cNvPr>
            <p:cNvSpPr/>
            <p:nvPr/>
          </p:nvSpPr>
          <p:spPr>
            <a:xfrm>
              <a:off x="2271770" y="5218111"/>
              <a:ext cx="72000" cy="747518"/>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1" name="Rounded Rectangle 32">
              <a:extLst>
                <a:ext uri="{FF2B5EF4-FFF2-40B4-BE49-F238E27FC236}">
                  <a16:creationId xmlns:a16="http://schemas.microsoft.com/office/drawing/2014/main" id="{66BEDFC2-1CFA-0586-C293-86E9B9C2AB84}"/>
                </a:ext>
              </a:extLst>
            </p:cNvPr>
            <p:cNvSpPr/>
            <p:nvPr/>
          </p:nvSpPr>
          <p:spPr>
            <a:xfrm>
              <a:off x="2390140" y="5233690"/>
              <a:ext cx="72000" cy="731939"/>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2" name="Rounded Rectangle 33">
              <a:extLst>
                <a:ext uri="{FF2B5EF4-FFF2-40B4-BE49-F238E27FC236}">
                  <a16:creationId xmlns:a16="http://schemas.microsoft.com/office/drawing/2014/main" id="{5A293E45-2A79-7BF8-9D44-70342E94CE56}"/>
                </a:ext>
              </a:extLst>
            </p:cNvPr>
            <p:cNvSpPr/>
            <p:nvPr/>
          </p:nvSpPr>
          <p:spPr>
            <a:xfrm>
              <a:off x="2508510" y="5235948"/>
              <a:ext cx="72000" cy="729681"/>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3" name="Rounded Rectangle 34">
              <a:extLst>
                <a:ext uri="{FF2B5EF4-FFF2-40B4-BE49-F238E27FC236}">
                  <a16:creationId xmlns:a16="http://schemas.microsoft.com/office/drawing/2014/main" id="{E776F9CC-B111-9D64-007D-5CBE752700B5}"/>
                </a:ext>
              </a:extLst>
            </p:cNvPr>
            <p:cNvSpPr/>
            <p:nvPr/>
          </p:nvSpPr>
          <p:spPr>
            <a:xfrm>
              <a:off x="2745250" y="5267444"/>
              <a:ext cx="72000" cy="698185"/>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4" name="Rounded Rectangle 35">
              <a:extLst>
                <a:ext uri="{FF2B5EF4-FFF2-40B4-BE49-F238E27FC236}">
                  <a16:creationId xmlns:a16="http://schemas.microsoft.com/office/drawing/2014/main" id="{C6AF064A-73A5-4035-AAC9-821BA8A020F6}"/>
                </a:ext>
              </a:extLst>
            </p:cNvPr>
            <p:cNvSpPr/>
            <p:nvPr/>
          </p:nvSpPr>
          <p:spPr>
            <a:xfrm>
              <a:off x="3100360" y="5332360"/>
              <a:ext cx="72000" cy="633270"/>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5" name="Rounded Rectangle 36">
              <a:extLst>
                <a:ext uri="{FF2B5EF4-FFF2-40B4-BE49-F238E27FC236}">
                  <a16:creationId xmlns:a16="http://schemas.microsoft.com/office/drawing/2014/main" id="{5D55721E-68E0-4DE4-B6D9-1185E8C26F41}"/>
                </a:ext>
              </a:extLst>
            </p:cNvPr>
            <p:cNvSpPr/>
            <p:nvPr/>
          </p:nvSpPr>
          <p:spPr>
            <a:xfrm>
              <a:off x="3455470" y="5381693"/>
              <a:ext cx="72000" cy="583937"/>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6" name="Rounded Rectangle 37">
              <a:extLst>
                <a:ext uri="{FF2B5EF4-FFF2-40B4-BE49-F238E27FC236}">
                  <a16:creationId xmlns:a16="http://schemas.microsoft.com/office/drawing/2014/main" id="{132D8AF0-8778-781C-76DC-F450D0588E5C}"/>
                </a:ext>
              </a:extLst>
            </p:cNvPr>
            <p:cNvSpPr/>
            <p:nvPr/>
          </p:nvSpPr>
          <p:spPr>
            <a:xfrm>
              <a:off x="3810580" y="5436219"/>
              <a:ext cx="72000" cy="529410"/>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7" name="Rounded Rectangle 38">
              <a:extLst>
                <a:ext uri="{FF2B5EF4-FFF2-40B4-BE49-F238E27FC236}">
                  <a16:creationId xmlns:a16="http://schemas.microsoft.com/office/drawing/2014/main" id="{EDF760CD-C73F-D4AF-0ED8-2FF72CD8D7EC}"/>
                </a:ext>
              </a:extLst>
            </p:cNvPr>
            <p:cNvSpPr/>
            <p:nvPr/>
          </p:nvSpPr>
          <p:spPr>
            <a:xfrm>
              <a:off x="4165690" y="5495940"/>
              <a:ext cx="72000" cy="469690"/>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8" name="Rounded Rectangle 39">
              <a:extLst>
                <a:ext uri="{FF2B5EF4-FFF2-40B4-BE49-F238E27FC236}">
                  <a16:creationId xmlns:a16="http://schemas.microsoft.com/office/drawing/2014/main" id="{D07C09C8-DCAF-20BD-FF32-9A763AAAFF3A}"/>
                </a:ext>
              </a:extLst>
            </p:cNvPr>
            <p:cNvSpPr/>
            <p:nvPr/>
          </p:nvSpPr>
          <p:spPr>
            <a:xfrm>
              <a:off x="4520800" y="5555661"/>
              <a:ext cx="72000" cy="409969"/>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29" name="Rounded Rectangle 40">
              <a:extLst>
                <a:ext uri="{FF2B5EF4-FFF2-40B4-BE49-F238E27FC236}">
                  <a16:creationId xmlns:a16="http://schemas.microsoft.com/office/drawing/2014/main" id="{4EEE028B-E74D-83D0-2AD6-767C63058F74}"/>
                </a:ext>
              </a:extLst>
            </p:cNvPr>
            <p:cNvSpPr/>
            <p:nvPr/>
          </p:nvSpPr>
          <p:spPr>
            <a:xfrm>
              <a:off x="4875910" y="5584224"/>
              <a:ext cx="72000" cy="381406"/>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0" name="Rounded Rectangle 41">
              <a:extLst>
                <a:ext uri="{FF2B5EF4-FFF2-40B4-BE49-F238E27FC236}">
                  <a16:creationId xmlns:a16="http://schemas.microsoft.com/office/drawing/2014/main" id="{77F6FE35-92F8-89C6-0603-7C422335F16D}"/>
                </a:ext>
              </a:extLst>
            </p:cNvPr>
            <p:cNvSpPr/>
            <p:nvPr/>
          </p:nvSpPr>
          <p:spPr>
            <a:xfrm>
              <a:off x="5231020" y="5615382"/>
              <a:ext cx="72000" cy="350248"/>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1" name="Rounded Rectangle 42">
              <a:extLst>
                <a:ext uri="{FF2B5EF4-FFF2-40B4-BE49-F238E27FC236}">
                  <a16:creationId xmlns:a16="http://schemas.microsoft.com/office/drawing/2014/main" id="{C53E8016-88DC-D07E-E448-F56547DA50C2}"/>
                </a:ext>
              </a:extLst>
            </p:cNvPr>
            <p:cNvSpPr/>
            <p:nvPr/>
          </p:nvSpPr>
          <p:spPr>
            <a:xfrm>
              <a:off x="5586130" y="5664715"/>
              <a:ext cx="72000" cy="300914"/>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2" name="Rounded Rectangle 43">
              <a:extLst>
                <a:ext uri="{FF2B5EF4-FFF2-40B4-BE49-F238E27FC236}">
                  <a16:creationId xmlns:a16="http://schemas.microsoft.com/office/drawing/2014/main" id="{519E3605-F0F4-90AE-4137-162076F97D67}"/>
                </a:ext>
              </a:extLst>
            </p:cNvPr>
            <p:cNvSpPr/>
            <p:nvPr/>
          </p:nvSpPr>
          <p:spPr>
            <a:xfrm>
              <a:off x="2626880" y="5254462"/>
              <a:ext cx="72000" cy="711167"/>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3" name="Rounded Rectangle 44">
              <a:extLst>
                <a:ext uri="{FF2B5EF4-FFF2-40B4-BE49-F238E27FC236}">
                  <a16:creationId xmlns:a16="http://schemas.microsoft.com/office/drawing/2014/main" id="{672DB592-11F3-B2C1-6D6E-91613F9528A4}"/>
                </a:ext>
              </a:extLst>
            </p:cNvPr>
            <p:cNvSpPr/>
            <p:nvPr/>
          </p:nvSpPr>
          <p:spPr>
            <a:xfrm>
              <a:off x="2981990" y="5311586"/>
              <a:ext cx="72000" cy="654043"/>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4" name="Rounded Rectangle 45">
              <a:extLst>
                <a:ext uri="{FF2B5EF4-FFF2-40B4-BE49-F238E27FC236}">
                  <a16:creationId xmlns:a16="http://schemas.microsoft.com/office/drawing/2014/main" id="{0F4F2A07-869D-B35D-5D9C-C68BDAADBC7B}"/>
                </a:ext>
              </a:extLst>
            </p:cNvPr>
            <p:cNvSpPr/>
            <p:nvPr/>
          </p:nvSpPr>
          <p:spPr>
            <a:xfrm>
              <a:off x="3337100" y="5366114"/>
              <a:ext cx="72000" cy="599516"/>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5" name="Rounded Rectangle 46">
              <a:extLst>
                <a:ext uri="{FF2B5EF4-FFF2-40B4-BE49-F238E27FC236}">
                  <a16:creationId xmlns:a16="http://schemas.microsoft.com/office/drawing/2014/main" id="{29F65297-9562-39C3-A0D3-C1E8A1A664B8}"/>
                </a:ext>
              </a:extLst>
            </p:cNvPr>
            <p:cNvSpPr/>
            <p:nvPr/>
          </p:nvSpPr>
          <p:spPr>
            <a:xfrm>
              <a:off x="3692210" y="5418046"/>
              <a:ext cx="72000" cy="547584"/>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6" name="Rounded Rectangle 47">
              <a:extLst>
                <a:ext uri="{FF2B5EF4-FFF2-40B4-BE49-F238E27FC236}">
                  <a16:creationId xmlns:a16="http://schemas.microsoft.com/office/drawing/2014/main" id="{2C8E9398-2DC0-47A4-6663-AB288C47842A}"/>
                </a:ext>
              </a:extLst>
            </p:cNvPr>
            <p:cNvSpPr/>
            <p:nvPr/>
          </p:nvSpPr>
          <p:spPr>
            <a:xfrm>
              <a:off x="4047320" y="5475168"/>
              <a:ext cx="72000" cy="490462"/>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7" name="Rounded Rectangle 48">
              <a:extLst>
                <a:ext uri="{FF2B5EF4-FFF2-40B4-BE49-F238E27FC236}">
                  <a16:creationId xmlns:a16="http://schemas.microsoft.com/office/drawing/2014/main" id="{6D0F2B0C-A81D-CF22-3B29-B6F2EE941658}"/>
                </a:ext>
              </a:extLst>
            </p:cNvPr>
            <p:cNvSpPr/>
            <p:nvPr/>
          </p:nvSpPr>
          <p:spPr>
            <a:xfrm>
              <a:off x="4402430" y="5534889"/>
              <a:ext cx="72000" cy="430741"/>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8" name="Rounded Rectangle 49">
              <a:extLst>
                <a:ext uri="{FF2B5EF4-FFF2-40B4-BE49-F238E27FC236}">
                  <a16:creationId xmlns:a16="http://schemas.microsoft.com/office/drawing/2014/main" id="{D6E9CF59-96EC-5F6D-EA02-4D9A665237D5}"/>
                </a:ext>
              </a:extLst>
            </p:cNvPr>
            <p:cNvSpPr/>
            <p:nvPr/>
          </p:nvSpPr>
          <p:spPr>
            <a:xfrm>
              <a:off x="4757540" y="5576432"/>
              <a:ext cx="72000" cy="389196"/>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39" name="Rounded Rectangle 50">
              <a:extLst>
                <a:ext uri="{FF2B5EF4-FFF2-40B4-BE49-F238E27FC236}">
                  <a16:creationId xmlns:a16="http://schemas.microsoft.com/office/drawing/2014/main" id="{FD029AD9-F8BF-5E82-B526-0E74A21D196C}"/>
                </a:ext>
              </a:extLst>
            </p:cNvPr>
            <p:cNvSpPr/>
            <p:nvPr/>
          </p:nvSpPr>
          <p:spPr>
            <a:xfrm>
              <a:off x="5112650" y="5599801"/>
              <a:ext cx="72000" cy="365828"/>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0" name="Rounded Rectangle 51">
              <a:extLst>
                <a:ext uri="{FF2B5EF4-FFF2-40B4-BE49-F238E27FC236}">
                  <a16:creationId xmlns:a16="http://schemas.microsoft.com/office/drawing/2014/main" id="{E6EB4268-BDDD-0136-474B-B653AF307BA9}"/>
                </a:ext>
              </a:extLst>
            </p:cNvPr>
            <p:cNvSpPr/>
            <p:nvPr/>
          </p:nvSpPr>
          <p:spPr>
            <a:xfrm>
              <a:off x="5467760" y="5654329"/>
              <a:ext cx="72000" cy="311300"/>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1" name="Rounded Rectangle 52">
              <a:extLst>
                <a:ext uri="{FF2B5EF4-FFF2-40B4-BE49-F238E27FC236}">
                  <a16:creationId xmlns:a16="http://schemas.microsoft.com/office/drawing/2014/main" id="{743B4C97-730A-51B9-8AAD-C8EDCAD48218}"/>
                </a:ext>
              </a:extLst>
            </p:cNvPr>
            <p:cNvSpPr/>
            <p:nvPr/>
          </p:nvSpPr>
          <p:spPr>
            <a:xfrm>
              <a:off x="2863620" y="5290545"/>
              <a:ext cx="72000" cy="675083"/>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2" name="Rounded Rectangle 53">
              <a:extLst>
                <a:ext uri="{FF2B5EF4-FFF2-40B4-BE49-F238E27FC236}">
                  <a16:creationId xmlns:a16="http://schemas.microsoft.com/office/drawing/2014/main" id="{E64A3DEC-ED2A-141A-ED7C-F00D6CE894FF}"/>
                </a:ext>
              </a:extLst>
            </p:cNvPr>
            <p:cNvSpPr/>
            <p:nvPr/>
          </p:nvSpPr>
          <p:spPr>
            <a:xfrm>
              <a:off x="3218730" y="5347668"/>
              <a:ext cx="72000" cy="617961"/>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3" name="Rounded Rectangle 54">
              <a:extLst>
                <a:ext uri="{FF2B5EF4-FFF2-40B4-BE49-F238E27FC236}">
                  <a16:creationId xmlns:a16="http://schemas.microsoft.com/office/drawing/2014/main" id="{4CB69B80-41A5-704A-7459-DA62AD33ED2F}"/>
                </a:ext>
              </a:extLst>
            </p:cNvPr>
            <p:cNvSpPr/>
            <p:nvPr/>
          </p:nvSpPr>
          <p:spPr>
            <a:xfrm>
              <a:off x="3573840" y="5402196"/>
              <a:ext cx="72000" cy="563434"/>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4" name="Rounded Rectangle 55">
              <a:extLst>
                <a:ext uri="{FF2B5EF4-FFF2-40B4-BE49-F238E27FC236}">
                  <a16:creationId xmlns:a16="http://schemas.microsoft.com/office/drawing/2014/main" id="{3A20236F-5F16-766A-5072-9B59492C6B7C}"/>
                </a:ext>
              </a:extLst>
            </p:cNvPr>
            <p:cNvSpPr/>
            <p:nvPr/>
          </p:nvSpPr>
          <p:spPr>
            <a:xfrm>
              <a:off x="3928950" y="5454125"/>
              <a:ext cx="72000" cy="511504"/>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5" name="Rounded Rectangle 56">
              <a:extLst>
                <a:ext uri="{FF2B5EF4-FFF2-40B4-BE49-F238E27FC236}">
                  <a16:creationId xmlns:a16="http://schemas.microsoft.com/office/drawing/2014/main" id="{430B513D-A909-6F54-C33C-3EFA0CC0168E}"/>
                </a:ext>
              </a:extLst>
            </p:cNvPr>
            <p:cNvSpPr/>
            <p:nvPr/>
          </p:nvSpPr>
          <p:spPr>
            <a:xfrm>
              <a:off x="4284060" y="5516443"/>
              <a:ext cx="72000" cy="449186"/>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6" name="Rounded Rectangle 57">
              <a:extLst>
                <a:ext uri="{FF2B5EF4-FFF2-40B4-BE49-F238E27FC236}">
                  <a16:creationId xmlns:a16="http://schemas.microsoft.com/office/drawing/2014/main" id="{0839D8BA-1AFD-8489-A448-18B03BDC18F0}"/>
                </a:ext>
              </a:extLst>
            </p:cNvPr>
            <p:cNvSpPr/>
            <p:nvPr/>
          </p:nvSpPr>
          <p:spPr>
            <a:xfrm>
              <a:off x="4639170" y="5570971"/>
              <a:ext cx="72000" cy="394658"/>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7" name="Rounded Rectangle 58">
              <a:extLst>
                <a:ext uri="{FF2B5EF4-FFF2-40B4-BE49-F238E27FC236}">
                  <a16:creationId xmlns:a16="http://schemas.microsoft.com/office/drawing/2014/main" id="{1C295D14-5030-921E-D70A-5734453500CA}"/>
                </a:ext>
              </a:extLst>
            </p:cNvPr>
            <p:cNvSpPr/>
            <p:nvPr/>
          </p:nvSpPr>
          <p:spPr>
            <a:xfrm>
              <a:off x="4994280" y="5583953"/>
              <a:ext cx="72000" cy="381677"/>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8" name="Rounded Rectangle 59">
              <a:extLst>
                <a:ext uri="{FF2B5EF4-FFF2-40B4-BE49-F238E27FC236}">
                  <a16:creationId xmlns:a16="http://schemas.microsoft.com/office/drawing/2014/main" id="{06D83831-E1BF-39B5-7B0D-8B66BD07D64B}"/>
                </a:ext>
              </a:extLst>
            </p:cNvPr>
            <p:cNvSpPr/>
            <p:nvPr/>
          </p:nvSpPr>
          <p:spPr>
            <a:xfrm>
              <a:off x="5349390" y="5638481"/>
              <a:ext cx="72000" cy="327149"/>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49" name="Rounded Rectangle 60">
              <a:extLst>
                <a:ext uri="{FF2B5EF4-FFF2-40B4-BE49-F238E27FC236}">
                  <a16:creationId xmlns:a16="http://schemas.microsoft.com/office/drawing/2014/main" id="{8F500F15-A62D-155E-8119-B4FB52394A41}"/>
                </a:ext>
              </a:extLst>
            </p:cNvPr>
            <p:cNvSpPr/>
            <p:nvPr/>
          </p:nvSpPr>
          <p:spPr>
            <a:xfrm>
              <a:off x="5704500" y="5674832"/>
              <a:ext cx="72000" cy="290797"/>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0" name="Rounded Rectangle 61">
              <a:extLst>
                <a:ext uri="{FF2B5EF4-FFF2-40B4-BE49-F238E27FC236}">
                  <a16:creationId xmlns:a16="http://schemas.microsoft.com/office/drawing/2014/main" id="{1B1DA2E2-9079-451F-A2B6-3521DD9CBD41}"/>
                </a:ext>
              </a:extLst>
            </p:cNvPr>
            <p:cNvSpPr/>
            <p:nvPr/>
          </p:nvSpPr>
          <p:spPr>
            <a:xfrm>
              <a:off x="6059610" y="5711722"/>
              <a:ext cx="72000" cy="253906"/>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1" name="Rounded Rectangle 62">
              <a:extLst>
                <a:ext uri="{FF2B5EF4-FFF2-40B4-BE49-F238E27FC236}">
                  <a16:creationId xmlns:a16="http://schemas.microsoft.com/office/drawing/2014/main" id="{AF47020E-F7EF-D9EC-131E-11996EEC95F0}"/>
                </a:ext>
              </a:extLst>
            </p:cNvPr>
            <p:cNvSpPr/>
            <p:nvPr/>
          </p:nvSpPr>
          <p:spPr>
            <a:xfrm>
              <a:off x="6414720" y="5737687"/>
              <a:ext cx="72000" cy="227942"/>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2" name="Rounded Rectangle 63">
              <a:extLst>
                <a:ext uri="{FF2B5EF4-FFF2-40B4-BE49-F238E27FC236}">
                  <a16:creationId xmlns:a16="http://schemas.microsoft.com/office/drawing/2014/main" id="{5DB87448-4ACD-EF9C-AC7F-295398435CAE}"/>
                </a:ext>
              </a:extLst>
            </p:cNvPr>
            <p:cNvSpPr/>
            <p:nvPr/>
          </p:nvSpPr>
          <p:spPr>
            <a:xfrm>
              <a:off x="6769830" y="5779233"/>
              <a:ext cx="72000" cy="186397"/>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3" name="Rounded Rectangle 64">
              <a:extLst>
                <a:ext uri="{FF2B5EF4-FFF2-40B4-BE49-F238E27FC236}">
                  <a16:creationId xmlns:a16="http://schemas.microsoft.com/office/drawing/2014/main" id="{8962632A-008E-0371-7316-6E4F5CB360CA}"/>
                </a:ext>
              </a:extLst>
            </p:cNvPr>
            <p:cNvSpPr/>
            <p:nvPr/>
          </p:nvSpPr>
          <p:spPr>
            <a:xfrm>
              <a:off x="5941240" y="5696143"/>
              <a:ext cx="72000" cy="269486"/>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4" name="Rounded Rectangle 65">
              <a:extLst>
                <a:ext uri="{FF2B5EF4-FFF2-40B4-BE49-F238E27FC236}">
                  <a16:creationId xmlns:a16="http://schemas.microsoft.com/office/drawing/2014/main" id="{B432AAF9-A160-A023-A125-A5B895C2545D}"/>
                </a:ext>
              </a:extLst>
            </p:cNvPr>
            <p:cNvSpPr/>
            <p:nvPr/>
          </p:nvSpPr>
          <p:spPr>
            <a:xfrm>
              <a:off x="6296350" y="5737687"/>
              <a:ext cx="72000" cy="227942"/>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5" name="Rounded Rectangle 66">
              <a:extLst>
                <a:ext uri="{FF2B5EF4-FFF2-40B4-BE49-F238E27FC236}">
                  <a16:creationId xmlns:a16="http://schemas.microsoft.com/office/drawing/2014/main" id="{3AF97203-1201-0A61-BB36-23CE4FB84BC4}"/>
                </a:ext>
              </a:extLst>
            </p:cNvPr>
            <p:cNvSpPr/>
            <p:nvPr/>
          </p:nvSpPr>
          <p:spPr>
            <a:xfrm>
              <a:off x="6651460" y="5763651"/>
              <a:ext cx="72000" cy="201977"/>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6" name="Rounded Rectangle 67">
              <a:extLst>
                <a:ext uri="{FF2B5EF4-FFF2-40B4-BE49-F238E27FC236}">
                  <a16:creationId xmlns:a16="http://schemas.microsoft.com/office/drawing/2014/main" id="{AF5A18C7-568F-D26A-B1A5-4AEE09FD9438}"/>
                </a:ext>
              </a:extLst>
            </p:cNvPr>
            <p:cNvSpPr/>
            <p:nvPr/>
          </p:nvSpPr>
          <p:spPr>
            <a:xfrm>
              <a:off x="5822870" y="5685486"/>
              <a:ext cx="72000" cy="280142"/>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7" name="Rounded Rectangle 68">
              <a:extLst>
                <a:ext uri="{FF2B5EF4-FFF2-40B4-BE49-F238E27FC236}">
                  <a16:creationId xmlns:a16="http://schemas.microsoft.com/office/drawing/2014/main" id="{15ACF130-1AAB-42B1-FD80-7B0861F52294}"/>
                </a:ext>
              </a:extLst>
            </p:cNvPr>
            <p:cNvSpPr/>
            <p:nvPr/>
          </p:nvSpPr>
          <p:spPr>
            <a:xfrm>
              <a:off x="6177980" y="5724436"/>
              <a:ext cx="72000" cy="241194"/>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8" name="Rounded Rectangle 69">
              <a:extLst>
                <a:ext uri="{FF2B5EF4-FFF2-40B4-BE49-F238E27FC236}">
                  <a16:creationId xmlns:a16="http://schemas.microsoft.com/office/drawing/2014/main" id="{B317302B-D3BC-F821-5091-C9C7EAF41E4E}"/>
                </a:ext>
              </a:extLst>
            </p:cNvPr>
            <p:cNvSpPr/>
            <p:nvPr/>
          </p:nvSpPr>
          <p:spPr>
            <a:xfrm>
              <a:off x="6533090" y="5746315"/>
              <a:ext cx="72000" cy="219313"/>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59" name="Rounded Rectangle 70">
              <a:extLst>
                <a:ext uri="{FF2B5EF4-FFF2-40B4-BE49-F238E27FC236}">
                  <a16:creationId xmlns:a16="http://schemas.microsoft.com/office/drawing/2014/main" id="{FC9C65FC-4F67-9A14-9061-827C7B594163}"/>
                </a:ext>
              </a:extLst>
            </p:cNvPr>
            <p:cNvSpPr/>
            <p:nvPr/>
          </p:nvSpPr>
          <p:spPr>
            <a:xfrm>
              <a:off x="6888218" y="5784157"/>
              <a:ext cx="72000" cy="181473"/>
            </a:xfrm>
            <a:prstGeom prst="roundRect">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endParaRPr lang="en-US" sz="1425" dirty="0"/>
            </a:p>
          </p:txBody>
        </p:sp>
        <p:sp>
          <p:nvSpPr>
            <p:cNvPr id="60" name="Left Brace 59">
              <a:extLst>
                <a:ext uri="{FF2B5EF4-FFF2-40B4-BE49-F238E27FC236}">
                  <a16:creationId xmlns:a16="http://schemas.microsoft.com/office/drawing/2014/main" id="{03A9FF3B-3539-8F62-A91A-3FDD9456ABAD}"/>
                </a:ext>
              </a:extLst>
            </p:cNvPr>
            <p:cNvSpPr/>
            <p:nvPr/>
          </p:nvSpPr>
          <p:spPr>
            <a:xfrm rot="5400000">
              <a:off x="1412496" y="1935234"/>
              <a:ext cx="98044" cy="1383764"/>
            </a:xfrm>
            <a:prstGeom prst="leftBrace">
              <a:avLst>
                <a:gd name="adj1" fmla="val 56908"/>
                <a:gd name="adj2" fmla="val 50000"/>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61" name="Straight Connector 60">
              <a:extLst>
                <a:ext uri="{FF2B5EF4-FFF2-40B4-BE49-F238E27FC236}">
                  <a16:creationId xmlns:a16="http://schemas.microsoft.com/office/drawing/2014/main" id="{CE84F499-C320-FA46-5D0F-9DD7AE945E1E}"/>
                </a:ext>
              </a:extLst>
            </p:cNvPr>
            <p:cNvCxnSpPr/>
            <p:nvPr/>
          </p:nvCxnSpPr>
          <p:spPr>
            <a:xfrm flipV="1">
              <a:off x="2153400" y="2676137"/>
              <a:ext cx="0" cy="2448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A85B2C2A-584D-059F-4E07-E69D17D229FF}"/>
                </a:ext>
              </a:extLst>
            </p:cNvPr>
            <p:cNvSpPr/>
            <p:nvPr/>
          </p:nvSpPr>
          <p:spPr>
            <a:xfrm>
              <a:off x="841636" y="2122788"/>
              <a:ext cx="1383764" cy="461665"/>
            </a:xfrm>
            <a:prstGeom prst="rect">
              <a:avLst/>
            </a:prstGeom>
          </p:spPr>
          <p:txBody>
            <a:bodyPr wrap="square">
              <a:spAutoFit/>
            </a:bodyPr>
            <a:lstStyle/>
            <a:p>
              <a:pPr algn="ctr">
                <a:spcBef>
                  <a:spcPts val="900"/>
                </a:spcBef>
              </a:pPr>
              <a:r>
                <a:rPr lang="en-US" sz="1200" dirty="0"/>
                <a:t>Processes driven </a:t>
              </a:r>
              <a:br>
                <a:rPr lang="en-US" sz="1200" dirty="0"/>
              </a:br>
              <a:r>
                <a:rPr lang="en-US" sz="1200" dirty="0"/>
                <a:t>by IT</a:t>
              </a:r>
            </a:p>
          </p:txBody>
        </p:sp>
        <p:sp>
          <p:nvSpPr>
            <p:cNvPr id="63" name="Line Callout 1 (Accent Bar) 97">
              <a:extLst>
                <a:ext uri="{FF2B5EF4-FFF2-40B4-BE49-F238E27FC236}">
                  <a16:creationId xmlns:a16="http://schemas.microsoft.com/office/drawing/2014/main" id="{EA991A3D-D30F-9903-FF02-26F2EB18258B}"/>
                </a:ext>
              </a:extLst>
            </p:cNvPr>
            <p:cNvSpPr/>
            <p:nvPr/>
          </p:nvSpPr>
          <p:spPr>
            <a:xfrm>
              <a:off x="1169208" y="2738301"/>
              <a:ext cx="841700" cy="415052"/>
            </a:xfrm>
            <a:prstGeom prst="accentCallout1">
              <a:avLst>
                <a:gd name="adj1" fmla="val 14427"/>
                <a:gd name="adj2" fmla="val 276"/>
                <a:gd name="adj3" fmla="val 29539"/>
                <a:gd name="adj4" fmla="val -24422"/>
              </a:avLst>
            </a:prstGeom>
            <a:solidFill>
              <a:schemeClr val="accent5">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i="1" dirty="0">
                  <a:solidFill>
                    <a:schemeClr val="bg1">
                      <a:lumMod val="50000"/>
                    </a:schemeClr>
                  </a:solidFill>
                </a:rPr>
                <a:t>Highly specialized SW (ERP, CRM,…)</a:t>
              </a:r>
            </a:p>
          </p:txBody>
        </p:sp>
        <p:sp>
          <p:nvSpPr>
            <p:cNvPr id="64" name="Line Callout 1 (Accent Bar) 126">
              <a:extLst>
                <a:ext uri="{FF2B5EF4-FFF2-40B4-BE49-F238E27FC236}">
                  <a16:creationId xmlns:a16="http://schemas.microsoft.com/office/drawing/2014/main" id="{A361FC2F-6FCF-E151-05CF-F2B3117B4E1C}"/>
                </a:ext>
              </a:extLst>
            </p:cNvPr>
            <p:cNvSpPr/>
            <p:nvPr/>
          </p:nvSpPr>
          <p:spPr>
            <a:xfrm>
              <a:off x="1738810" y="3842170"/>
              <a:ext cx="841700" cy="415052"/>
            </a:xfrm>
            <a:prstGeom prst="accentCallout1">
              <a:avLst>
                <a:gd name="adj1" fmla="val 14427"/>
                <a:gd name="adj2" fmla="val 276"/>
                <a:gd name="adj3" fmla="val 29539"/>
                <a:gd name="adj4" fmla="val -24422"/>
              </a:avLst>
            </a:prstGeom>
            <a:solidFill>
              <a:schemeClr val="accent5">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i="1" dirty="0">
                  <a:solidFill>
                    <a:schemeClr val="bg1">
                      <a:lumMod val="50000"/>
                    </a:schemeClr>
                  </a:solidFill>
                </a:rPr>
                <a:t>Process SW (BPMS etc.)</a:t>
              </a:r>
            </a:p>
          </p:txBody>
        </p:sp>
        <p:cxnSp>
          <p:nvCxnSpPr>
            <p:cNvPr id="65" name="Straight Connector 64">
              <a:extLst>
                <a:ext uri="{FF2B5EF4-FFF2-40B4-BE49-F238E27FC236}">
                  <a16:creationId xmlns:a16="http://schemas.microsoft.com/office/drawing/2014/main" id="{7C86C849-56BE-5FD6-CD42-AFA2A1B98415}"/>
                </a:ext>
              </a:extLst>
            </p:cNvPr>
            <p:cNvCxnSpPr/>
            <p:nvPr/>
          </p:nvCxnSpPr>
          <p:spPr>
            <a:xfrm flipV="1">
              <a:off x="6985618" y="2676137"/>
              <a:ext cx="0" cy="3132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66" name="Left Brace 65">
              <a:extLst>
                <a:ext uri="{FF2B5EF4-FFF2-40B4-BE49-F238E27FC236}">
                  <a16:creationId xmlns:a16="http://schemas.microsoft.com/office/drawing/2014/main" id="{341E6185-9AC1-CFCF-41D4-9ACF4CB9E008}"/>
                </a:ext>
              </a:extLst>
            </p:cNvPr>
            <p:cNvSpPr/>
            <p:nvPr/>
          </p:nvSpPr>
          <p:spPr>
            <a:xfrm rot="5400000">
              <a:off x="4520487" y="211007"/>
              <a:ext cx="98044" cy="4832218"/>
            </a:xfrm>
            <a:prstGeom prst="leftBrace">
              <a:avLst>
                <a:gd name="adj1" fmla="val 56908"/>
                <a:gd name="adj2" fmla="val 50000"/>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7" name="Rectangle 66">
              <a:extLst>
                <a:ext uri="{FF2B5EF4-FFF2-40B4-BE49-F238E27FC236}">
                  <a16:creationId xmlns:a16="http://schemas.microsoft.com/office/drawing/2014/main" id="{BA095209-B920-E60A-685E-8A0BC5AD635B}"/>
                </a:ext>
              </a:extLst>
            </p:cNvPr>
            <p:cNvSpPr/>
            <p:nvPr/>
          </p:nvSpPr>
          <p:spPr>
            <a:xfrm>
              <a:off x="3864918" y="2122788"/>
              <a:ext cx="1383764" cy="461665"/>
            </a:xfrm>
            <a:prstGeom prst="rect">
              <a:avLst/>
            </a:prstGeom>
          </p:spPr>
          <p:txBody>
            <a:bodyPr wrap="square">
              <a:spAutoFit/>
            </a:bodyPr>
            <a:lstStyle/>
            <a:p>
              <a:pPr algn="ctr">
                <a:spcBef>
                  <a:spcPts val="900"/>
                </a:spcBef>
              </a:pPr>
              <a:r>
                <a:rPr lang="en-US" sz="1200" dirty="0"/>
                <a:t>Processes driven </a:t>
              </a:r>
              <a:br>
                <a:rPr lang="en-US" sz="1200" dirty="0"/>
              </a:br>
              <a:r>
                <a:rPr lang="en-US" sz="1200" dirty="0"/>
                <a:t>by Business</a:t>
              </a:r>
            </a:p>
          </p:txBody>
        </p:sp>
        <p:sp>
          <p:nvSpPr>
            <p:cNvPr id="68" name="Line Callout 1 (Accent Bar) 139">
              <a:extLst>
                <a:ext uri="{FF2B5EF4-FFF2-40B4-BE49-F238E27FC236}">
                  <a16:creationId xmlns:a16="http://schemas.microsoft.com/office/drawing/2014/main" id="{8D8DB5E2-BD08-2AC1-5A02-096582A919B1}"/>
                </a:ext>
              </a:extLst>
            </p:cNvPr>
            <p:cNvSpPr/>
            <p:nvPr/>
          </p:nvSpPr>
          <p:spPr>
            <a:xfrm>
              <a:off x="3633668" y="2849427"/>
              <a:ext cx="3208162" cy="940607"/>
            </a:xfrm>
            <a:prstGeom prst="accentCallout1">
              <a:avLst>
                <a:gd name="adj1" fmla="val 41397"/>
                <a:gd name="adj2" fmla="val -150"/>
                <a:gd name="adj3" fmla="val 250778"/>
                <a:gd name="adj4" fmla="val -41563"/>
              </a:avLst>
            </a:prstGeom>
            <a:solidFill>
              <a:schemeClr val="accent3">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spcAft>
                  <a:spcPts val="600"/>
                </a:spcAft>
                <a:buClr>
                  <a:schemeClr val="accent2"/>
                </a:buClr>
              </a:pPr>
              <a:r>
                <a:rPr lang="en-US" sz="900" i="1" dirty="0">
                  <a:solidFill>
                    <a:schemeClr val="bg1">
                      <a:lumMod val="50000"/>
                    </a:schemeClr>
                  </a:solidFill>
                </a:rPr>
                <a:t>Improvements are usually of DIY automation at the level of macros in various applications ( MS Excel, Word, Outlook, Lotus Notes, SAP,…). </a:t>
              </a:r>
            </a:p>
            <a:p>
              <a:pPr>
                <a:buClr>
                  <a:schemeClr val="accent2"/>
                </a:buClr>
              </a:pPr>
              <a:r>
                <a:rPr lang="en-US" sz="900" i="1" dirty="0">
                  <a:solidFill>
                    <a:schemeClr val="bg1">
                      <a:lumMod val="50000"/>
                    </a:schemeClr>
                  </a:solidFill>
                </a:rPr>
                <a:t>Creating and running such automations brings non-negligible risk as IT cannot prevent any harmful insert/processing on a system level.</a:t>
              </a:r>
            </a:p>
          </p:txBody>
        </p:sp>
      </p:grpSp>
      <p:cxnSp>
        <p:nvCxnSpPr>
          <p:cNvPr id="69" name="Straight Connector 68">
            <a:extLst>
              <a:ext uri="{FF2B5EF4-FFF2-40B4-BE49-F238E27FC236}">
                <a16:creationId xmlns:a16="http://schemas.microsoft.com/office/drawing/2014/main" id="{173B62B0-C07A-6442-E232-68D13266FB30}"/>
              </a:ext>
            </a:extLst>
          </p:cNvPr>
          <p:cNvCxnSpPr/>
          <p:nvPr/>
        </p:nvCxnSpPr>
        <p:spPr>
          <a:xfrm>
            <a:off x="7534667" y="1871662"/>
            <a:ext cx="0" cy="43150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8" name="Rectangle 257">
            <a:extLst>
              <a:ext uri="{FF2B5EF4-FFF2-40B4-BE49-F238E27FC236}">
                <a16:creationId xmlns:a16="http://schemas.microsoft.com/office/drawing/2014/main" id="{D40F63B2-D24F-6F6F-82D6-397B81F7F1E8}"/>
              </a:ext>
            </a:extLst>
          </p:cNvPr>
          <p:cNvSpPr/>
          <p:nvPr/>
        </p:nvSpPr>
        <p:spPr>
          <a:xfrm>
            <a:off x="7977229" y="2388220"/>
            <a:ext cx="3670912" cy="461665"/>
          </a:xfrm>
          <a:prstGeom prst="rect">
            <a:avLst/>
          </a:prstGeom>
        </p:spPr>
        <p:txBody>
          <a:bodyPr wrap="square" lIns="7200" rIns="7200">
            <a:spAutoFit/>
          </a:bodyPr>
          <a:lstStyle/>
          <a:p>
            <a:pPr marL="171450" indent="-171450">
              <a:spcBef>
                <a:spcPts val="900"/>
              </a:spcBef>
              <a:buClr>
                <a:schemeClr val="accent5"/>
              </a:buClr>
              <a:buFont typeface="Arial" panose="020B0604020202020204" pitchFamily="34" charset="0"/>
              <a:buChar char="•"/>
            </a:pPr>
            <a:r>
              <a:rPr lang="en-US" sz="1200" dirty="0"/>
              <a:t>Create RPA scripts and run them on </a:t>
            </a:r>
            <a:br>
              <a:rPr lang="en-US" sz="1200" dirty="0"/>
            </a:br>
            <a:r>
              <a:rPr lang="en-US" sz="1200" dirty="0"/>
              <a:t>their PCs</a:t>
            </a:r>
          </a:p>
        </p:txBody>
      </p:sp>
      <p:sp>
        <p:nvSpPr>
          <p:cNvPr id="259" name="TextBox 258">
            <a:extLst>
              <a:ext uri="{FF2B5EF4-FFF2-40B4-BE49-F238E27FC236}">
                <a16:creationId xmlns:a16="http://schemas.microsoft.com/office/drawing/2014/main" id="{462CE18D-BC1F-1206-31F1-B0C5D8D373F7}"/>
              </a:ext>
            </a:extLst>
          </p:cNvPr>
          <p:cNvSpPr txBox="1"/>
          <p:nvPr/>
        </p:nvSpPr>
        <p:spPr>
          <a:xfrm>
            <a:off x="7977228" y="2176751"/>
            <a:ext cx="1444898" cy="219291"/>
          </a:xfrm>
          <a:prstGeom prst="rect">
            <a:avLst/>
          </a:prstGeom>
          <a:noFill/>
        </p:spPr>
        <p:txBody>
          <a:bodyPr wrap="square" lIns="0" tIns="0" rIns="0" bIns="0" rtlCol="0">
            <a:spAutoFit/>
          </a:bodyPr>
          <a:lstStyle/>
          <a:p>
            <a:pPr>
              <a:spcBef>
                <a:spcPts val="900"/>
              </a:spcBef>
            </a:pPr>
            <a:r>
              <a:rPr lang="en-US" sz="1425" b="1" dirty="0">
                <a:solidFill>
                  <a:schemeClr val="accent2"/>
                </a:solidFill>
              </a:rPr>
              <a:t>Operations</a:t>
            </a:r>
          </a:p>
        </p:txBody>
      </p:sp>
      <p:sp>
        <p:nvSpPr>
          <p:cNvPr id="260" name="Freeform 747">
            <a:extLst>
              <a:ext uri="{FF2B5EF4-FFF2-40B4-BE49-F238E27FC236}">
                <a16:creationId xmlns:a16="http://schemas.microsoft.com/office/drawing/2014/main" id="{7D79443D-824E-6D13-3CB3-6D021D10231B}"/>
              </a:ext>
            </a:extLst>
          </p:cNvPr>
          <p:cNvSpPr>
            <a:spLocks noChangeAspect="1" noEditPoints="1"/>
          </p:cNvSpPr>
          <p:nvPr/>
        </p:nvSpPr>
        <p:spPr bwMode="auto">
          <a:xfrm>
            <a:off x="7622431" y="2135916"/>
            <a:ext cx="288000" cy="288000"/>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1" name="Freeform 831">
            <a:extLst>
              <a:ext uri="{FF2B5EF4-FFF2-40B4-BE49-F238E27FC236}">
                <a16:creationId xmlns:a16="http://schemas.microsoft.com/office/drawing/2014/main" id="{3D82CB10-0140-1E39-7BA2-9FF94AEA2980}"/>
              </a:ext>
            </a:extLst>
          </p:cNvPr>
          <p:cNvSpPr>
            <a:spLocks noChangeAspect="1" noEditPoints="1"/>
          </p:cNvSpPr>
          <p:nvPr/>
        </p:nvSpPr>
        <p:spPr bwMode="auto">
          <a:xfrm>
            <a:off x="7622737" y="2846585"/>
            <a:ext cx="289319" cy="289319"/>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2" name="Rectangle 261">
            <a:extLst>
              <a:ext uri="{FF2B5EF4-FFF2-40B4-BE49-F238E27FC236}">
                <a16:creationId xmlns:a16="http://schemas.microsoft.com/office/drawing/2014/main" id="{58A24B6D-2C55-B5A5-4283-A8445505D467}"/>
              </a:ext>
            </a:extLst>
          </p:cNvPr>
          <p:cNvSpPr/>
          <p:nvPr/>
        </p:nvSpPr>
        <p:spPr>
          <a:xfrm>
            <a:off x="7977229" y="3084299"/>
            <a:ext cx="3670912" cy="461665"/>
          </a:xfrm>
          <a:prstGeom prst="rect">
            <a:avLst/>
          </a:prstGeom>
        </p:spPr>
        <p:txBody>
          <a:bodyPr wrap="square" lIns="7200" rIns="7200">
            <a:spAutoFit/>
          </a:bodyPr>
          <a:lstStyle/>
          <a:p>
            <a:pPr marL="171450" indent="-171450">
              <a:spcBef>
                <a:spcPts val="900"/>
              </a:spcBef>
              <a:buClr>
                <a:schemeClr val="accent5"/>
              </a:buClr>
              <a:buFont typeface="Arial" panose="020B0604020202020204" pitchFamily="34" charset="0"/>
              <a:buChar char="•"/>
            </a:pPr>
            <a:r>
              <a:rPr lang="en-US" sz="1200" dirty="0"/>
              <a:t>Has a clear overview of what is running, including when and where</a:t>
            </a:r>
          </a:p>
        </p:txBody>
      </p:sp>
      <p:sp>
        <p:nvSpPr>
          <p:cNvPr id="263" name="TextBox 262">
            <a:extLst>
              <a:ext uri="{FF2B5EF4-FFF2-40B4-BE49-F238E27FC236}">
                <a16:creationId xmlns:a16="http://schemas.microsoft.com/office/drawing/2014/main" id="{A60F3A04-FC62-69AD-A363-25BCBB05E221}"/>
              </a:ext>
            </a:extLst>
          </p:cNvPr>
          <p:cNvSpPr txBox="1"/>
          <p:nvPr/>
        </p:nvSpPr>
        <p:spPr>
          <a:xfrm>
            <a:off x="7977228" y="2872830"/>
            <a:ext cx="1444898" cy="219291"/>
          </a:xfrm>
          <a:prstGeom prst="rect">
            <a:avLst/>
          </a:prstGeom>
          <a:noFill/>
        </p:spPr>
        <p:txBody>
          <a:bodyPr wrap="square" lIns="0" tIns="0" rIns="0" bIns="0" rtlCol="0">
            <a:spAutoFit/>
          </a:bodyPr>
          <a:lstStyle/>
          <a:p>
            <a:pPr>
              <a:spcBef>
                <a:spcPts val="900"/>
              </a:spcBef>
            </a:pPr>
            <a:r>
              <a:rPr lang="en-US" sz="1425" b="1" dirty="0">
                <a:solidFill>
                  <a:schemeClr val="accent2"/>
                </a:solidFill>
              </a:rPr>
              <a:t>IT</a:t>
            </a:r>
          </a:p>
        </p:txBody>
      </p:sp>
      <p:grpSp>
        <p:nvGrpSpPr>
          <p:cNvPr id="264" name="Group 263">
            <a:extLst>
              <a:ext uri="{FF2B5EF4-FFF2-40B4-BE49-F238E27FC236}">
                <a16:creationId xmlns:a16="http://schemas.microsoft.com/office/drawing/2014/main" id="{C683CD29-0CB8-667F-EF06-8121C05DDD67}"/>
              </a:ext>
            </a:extLst>
          </p:cNvPr>
          <p:cNvGrpSpPr/>
          <p:nvPr/>
        </p:nvGrpSpPr>
        <p:grpSpPr>
          <a:xfrm>
            <a:off x="7634341" y="3727331"/>
            <a:ext cx="288000" cy="288000"/>
            <a:chOff x="2479958" y="5087165"/>
            <a:chExt cx="916057" cy="917727"/>
          </a:xfrm>
          <a:solidFill>
            <a:schemeClr val="accent2"/>
          </a:solidFill>
        </p:grpSpPr>
        <p:sp>
          <p:nvSpPr>
            <p:cNvPr id="265" name="Freeform 6">
              <a:extLst>
                <a:ext uri="{FF2B5EF4-FFF2-40B4-BE49-F238E27FC236}">
                  <a16:creationId xmlns:a16="http://schemas.microsoft.com/office/drawing/2014/main" id="{06F9B447-5B1C-E140-789B-39FF703893C4}"/>
                </a:ext>
              </a:extLst>
            </p:cNvPr>
            <p:cNvSpPr>
              <a:spLocks/>
            </p:cNvSpPr>
            <p:nvPr/>
          </p:nvSpPr>
          <p:spPr bwMode="auto">
            <a:xfrm>
              <a:off x="2881722" y="5530615"/>
              <a:ext cx="135866" cy="161708"/>
            </a:xfrm>
            <a:custGeom>
              <a:avLst/>
              <a:gdLst>
                <a:gd name="T0" fmla="*/ 52 w 96"/>
                <a:gd name="T1" fmla="*/ 0 h 114"/>
                <a:gd name="T2" fmla="*/ 49 w 96"/>
                <a:gd name="T3" fmla="*/ 0 h 114"/>
                <a:gd name="T4" fmla="*/ 46 w 96"/>
                <a:gd name="T5" fmla="*/ 0 h 114"/>
                <a:gd name="T6" fmla="*/ 26 w 96"/>
                <a:gd name="T7" fmla="*/ 0 h 114"/>
                <a:gd name="T8" fmla="*/ 0 w 96"/>
                <a:gd name="T9" fmla="*/ 114 h 114"/>
                <a:gd name="T10" fmla="*/ 96 w 96"/>
                <a:gd name="T11" fmla="*/ 114 h 114"/>
                <a:gd name="T12" fmla="*/ 74 w 96"/>
                <a:gd name="T13" fmla="*/ 0 h 114"/>
                <a:gd name="T14" fmla="*/ 52 w 96"/>
                <a:gd name="T15" fmla="*/ 0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14">
                  <a:moveTo>
                    <a:pt x="52" y="0"/>
                  </a:moveTo>
                  <a:cubicBezTo>
                    <a:pt x="51" y="0"/>
                    <a:pt x="50" y="0"/>
                    <a:pt x="49" y="0"/>
                  </a:cubicBezTo>
                  <a:cubicBezTo>
                    <a:pt x="48" y="0"/>
                    <a:pt x="47" y="0"/>
                    <a:pt x="46" y="0"/>
                  </a:cubicBezTo>
                  <a:cubicBezTo>
                    <a:pt x="26" y="0"/>
                    <a:pt x="26" y="0"/>
                    <a:pt x="26" y="0"/>
                  </a:cubicBezTo>
                  <a:cubicBezTo>
                    <a:pt x="0" y="114"/>
                    <a:pt x="0" y="114"/>
                    <a:pt x="0" y="114"/>
                  </a:cubicBezTo>
                  <a:cubicBezTo>
                    <a:pt x="96" y="114"/>
                    <a:pt x="96" y="114"/>
                    <a:pt x="96" y="114"/>
                  </a:cubicBezTo>
                  <a:cubicBezTo>
                    <a:pt x="74" y="0"/>
                    <a:pt x="74" y="0"/>
                    <a:pt x="74" y="0"/>
                  </a:cubicBez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7">
              <a:extLst>
                <a:ext uri="{FF2B5EF4-FFF2-40B4-BE49-F238E27FC236}">
                  <a16:creationId xmlns:a16="http://schemas.microsoft.com/office/drawing/2014/main" id="{16A58059-93E5-C9DF-F241-19C320A311C8}"/>
                </a:ext>
              </a:extLst>
            </p:cNvPr>
            <p:cNvSpPr>
              <a:spLocks noEditPoints="1"/>
            </p:cNvSpPr>
            <p:nvPr/>
          </p:nvSpPr>
          <p:spPr bwMode="auto">
            <a:xfrm>
              <a:off x="2479958" y="5087165"/>
              <a:ext cx="916057" cy="917727"/>
            </a:xfrm>
            <a:custGeom>
              <a:avLst/>
              <a:gdLst>
                <a:gd name="T0" fmla="*/ 0 w 646"/>
                <a:gd name="T1" fmla="*/ 323 h 646"/>
                <a:gd name="T2" fmla="*/ 646 w 646"/>
                <a:gd name="T3" fmla="*/ 323 h 646"/>
                <a:gd name="T4" fmla="*/ 544 w 646"/>
                <a:gd name="T5" fmla="*/ 331 h 646"/>
                <a:gd name="T6" fmla="*/ 507 w 646"/>
                <a:gd name="T7" fmla="*/ 320 h 646"/>
                <a:gd name="T8" fmla="*/ 424 w 646"/>
                <a:gd name="T9" fmla="*/ 361 h 646"/>
                <a:gd name="T10" fmla="*/ 385 w 646"/>
                <a:gd name="T11" fmla="*/ 331 h 646"/>
                <a:gd name="T12" fmla="*/ 403 w 646"/>
                <a:gd name="T13" fmla="*/ 446 h 646"/>
                <a:gd name="T14" fmla="*/ 377 w 646"/>
                <a:gd name="T15" fmla="*/ 450 h 646"/>
                <a:gd name="T16" fmla="*/ 416 w 646"/>
                <a:gd name="T17" fmla="*/ 547 h 646"/>
                <a:gd name="T18" fmla="*/ 411 w 646"/>
                <a:gd name="T19" fmla="*/ 570 h 646"/>
                <a:gd name="T20" fmla="*/ 380 w 646"/>
                <a:gd name="T21" fmla="*/ 557 h 646"/>
                <a:gd name="T22" fmla="*/ 353 w 646"/>
                <a:gd name="T23" fmla="*/ 451 h 646"/>
                <a:gd name="T24" fmla="*/ 308 w 646"/>
                <a:gd name="T25" fmla="*/ 450 h 646"/>
                <a:gd name="T26" fmla="*/ 286 w 646"/>
                <a:gd name="T27" fmla="*/ 548 h 646"/>
                <a:gd name="T28" fmla="*/ 255 w 646"/>
                <a:gd name="T29" fmla="*/ 569 h 646"/>
                <a:gd name="T30" fmla="*/ 239 w 646"/>
                <a:gd name="T31" fmla="*/ 563 h 646"/>
                <a:gd name="T32" fmla="*/ 264 w 646"/>
                <a:gd name="T33" fmla="*/ 538 h 646"/>
                <a:gd name="T34" fmla="*/ 268 w 646"/>
                <a:gd name="T35" fmla="*/ 450 h 646"/>
                <a:gd name="T36" fmla="*/ 256 w 646"/>
                <a:gd name="T37" fmla="*/ 436 h 646"/>
                <a:gd name="T38" fmla="*/ 216 w 646"/>
                <a:gd name="T39" fmla="*/ 363 h 646"/>
                <a:gd name="T40" fmla="*/ 202 w 646"/>
                <a:gd name="T41" fmla="*/ 362 h 646"/>
                <a:gd name="T42" fmla="*/ 129 w 646"/>
                <a:gd name="T43" fmla="*/ 334 h 646"/>
                <a:gd name="T44" fmla="*/ 107 w 646"/>
                <a:gd name="T45" fmla="*/ 312 h 646"/>
                <a:gd name="T46" fmla="*/ 144 w 646"/>
                <a:gd name="T47" fmla="*/ 301 h 646"/>
                <a:gd name="T48" fmla="*/ 153 w 646"/>
                <a:gd name="T49" fmla="*/ 258 h 646"/>
                <a:gd name="T50" fmla="*/ 171 w 646"/>
                <a:gd name="T51" fmla="*/ 303 h 646"/>
                <a:gd name="T52" fmla="*/ 293 w 646"/>
                <a:gd name="T53" fmla="*/ 289 h 646"/>
                <a:gd name="T54" fmla="*/ 295 w 646"/>
                <a:gd name="T55" fmla="*/ 288 h 646"/>
                <a:gd name="T56" fmla="*/ 297 w 646"/>
                <a:gd name="T57" fmla="*/ 288 h 646"/>
                <a:gd name="T58" fmla="*/ 299 w 646"/>
                <a:gd name="T59" fmla="*/ 288 h 646"/>
                <a:gd name="T60" fmla="*/ 320 w 646"/>
                <a:gd name="T61" fmla="*/ 256 h 646"/>
                <a:gd name="T62" fmla="*/ 211 w 646"/>
                <a:gd name="T63" fmla="*/ 244 h 646"/>
                <a:gd name="T64" fmla="*/ 223 w 646"/>
                <a:gd name="T65" fmla="*/ 101 h 646"/>
                <a:gd name="T66" fmla="*/ 446 w 646"/>
                <a:gd name="T67" fmla="*/ 113 h 646"/>
                <a:gd name="T68" fmla="*/ 434 w 646"/>
                <a:gd name="T69" fmla="*/ 256 h 646"/>
                <a:gd name="T70" fmla="*/ 344 w 646"/>
                <a:gd name="T71" fmla="*/ 288 h 646"/>
                <a:gd name="T72" fmla="*/ 375 w 646"/>
                <a:gd name="T73" fmla="*/ 291 h 646"/>
                <a:gd name="T74" fmla="*/ 426 w 646"/>
                <a:gd name="T75" fmla="*/ 335 h 646"/>
                <a:gd name="T76" fmla="*/ 503 w 646"/>
                <a:gd name="T77" fmla="*/ 252 h 646"/>
                <a:gd name="T78" fmla="*/ 518 w 646"/>
                <a:gd name="T79" fmla="*/ 270 h 646"/>
                <a:gd name="T80" fmla="*/ 520 w 646"/>
                <a:gd name="T81" fmla="*/ 297 h 646"/>
                <a:gd name="T82" fmla="*/ 540 w 646"/>
                <a:gd name="T83" fmla="*/ 307 h 646"/>
                <a:gd name="T84" fmla="*/ 544 w 646"/>
                <a:gd name="T85" fmla="*/ 33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6" h="646">
                  <a:moveTo>
                    <a:pt x="323" y="0"/>
                  </a:moveTo>
                  <a:cubicBezTo>
                    <a:pt x="145" y="0"/>
                    <a:pt x="0" y="144"/>
                    <a:pt x="0" y="323"/>
                  </a:cubicBezTo>
                  <a:cubicBezTo>
                    <a:pt x="0" y="501"/>
                    <a:pt x="145" y="646"/>
                    <a:pt x="323" y="646"/>
                  </a:cubicBezTo>
                  <a:cubicBezTo>
                    <a:pt x="501" y="646"/>
                    <a:pt x="646" y="501"/>
                    <a:pt x="646" y="323"/>
                  </a:cubicBezTo>
                  <a:cubicBezTo>
                    <a:pt x="646" y="144"/>
                    <a:pt x="501" y="0"/>
                    <a:pt x="323" y="0"/>
                  </a:cubicBezTo>
                  <a:close/>
                  <a:moveTo>
                    <a:pt x="544" y="331"/>
                  </a:moveTo>
                  <a:cubicBezTo>
                    <a:pt x="542" y="331"/>
                    <a:pt x="540" y="331"/>
                    <a:pt x="538" y="331"/>
                  </a:cubicBezTo>
                  <a:cubicBezTo>
                    <a:pt x="529" y="331"/>
                    <a:pt x="517" y="329"/>
                    <a:pt x="507" y="320"/>
                  </a:cubicBezTo>
                  <a:cubicBezTo>
                    <a:pt x="430" y="360"/>
                    <a:pt x="430" y="360"/>
                    <a:pt x="430" y="360"/>
                  </a:cubicBezTo>
                  <a:cubicBezTo>
                    <a:pt x="428" y="361"/>
                    <a:pt x="426" y="361"/>
                    <a:pt x="424" y="361"/>
                  </a:cubicBezTo>
                  <a:cubicBezTo>
                    <a:pt x="422" y="361"/>
                    <a:pt x="419" y="360"/>
                    <a:pt x="417" y="358"/>
                  </a:cubicBezTo>
                  <a:cubicBezTo>
                    <a:pt x="385" y="331"/>
                    <a:pt x="385" y="331"/>
                    <a:pt x="385" y="331"/>
                  </a:cubicBezTo>
                  <a:cubicBezTo>
                    <a:pt x="406" y="436"/>
                    <a:pt x="406" y="436"/>
                    <a:pt x="406" y="436"/>
                  </a:cubicBezTo>
                  <a:cubicBezTo>
                    <a:pt x="406" y="439"/>
                    <a:pt x="405" y="443"/>
                    <a:pt x="403" y="446"/>
                  </a:cubicBezTo>
                  <a:cubicBezTo>
                    <a:pt x="401" y="449"/>
                    <a:pt x="398" y="450"/>
                    <a:pt x="394" y="450"/>
                  </a:cubicBezTo>
                  <a:cubicBezTo>
                    <a:pt x="377" y="450"/>
                    <a:pt x="377" y="450"/>
                    <a:pt x="377" y="450"/>
                  </a:cubicBezTo>
                  <a:cubicBezTo>
                    <a:pt x="396" y="538"/>
                    <a:pt x="396" y="538"/>
                    <a:pt x="396" y="538"/>
                  </a:cubicBezTo>
                  <a:cubicBezTo>
                    <a:pt x="416" y="547"/>
                    <a:pt x="416" y="547"/>
                    <a:pt x="416" y="547"/>
                  </a:cubicBezTo>
                  <a:cubicBezTo>
                    <a:pt x="422" y="550"/>
                    <a:pt x="425" y="558"/>
                    <a:pt x="422" y="563"/>
                  </a:cubicBezTo>
                  <a:cubicBezTo>
                    <a:pt x="420" y="568"/>
                    <a:pt x="415" y="570"/>
                    <a:pt x="411" y="570"/>
                  </a:cubicBezTo>
                  <a:cubicBezTo>
                    <a:pt x="409" y="570"/>
                    <a:pt x="407" y="570"/>
                    <a:pt x="406" y="569"/>
                  </a:cubicBezTo>
                  <a:cubicBezTo>
                    <a:pt x="380" y="557"/>
                    <a:pt x="380" y="557"/>
                    <a:pt x="380" y="557"/>
                  </a:cubicBezTo>
                  <a:cubicBezTo>
                    <a:pt x="377" y="555"/>
                    <a:pt x="375" y="552"/>
                    <a:pt x="374" y="548"/>
                  </a:cubicBezTo>
                  <a:cubicBezTo>
                    <a:pt x="353" y="451"/>
                    <a:pt x="353" y="451"/>
                    <a:pt x="353" y="451"/>
                  </a:cubicBezTo>
                  <a:cubicBezTo>
                    <a:pt x="353" y="450"/>
                    <a:pt x="353" y="450"/>
                    <a:pt x="353" y="450"/>
                  </a:cubicBezTo>
                  <a:cubicBezTo>
                    <a:pt x="308" y="450"/>
                    <a:pt x="308" y="450"/>
                    <a:pt x="308" y="450"/>
                  </a:cubicBezTo>
                  <a:cubicBezTo>
                    <a:pt x="308" y="450"/>
                    <a:pt x="308" y="450"/>
                    <a:pt x="308" y="451"/>
                  </a:cubicBezTo>
                  <a:cubicBezTo>
                    <a:pt x="286" y="548"/>
                    <a:pt x="286" y="548"/>
                    <a:pt x="286" y="548"/>
                  </a:cubicBezTo>
                  <a:cubicBezTo>
                    <a:pt x="286" y="552"/>
                    <a:pt x="283" y="555"/>
                    <a:pt x="280" y="557"/>
                  </a:cubicBezTo>
                  <a:cubicBezTo>
                    <a:pt x="255" y="569"/>
                    <a:pt x="255" y="569"/>
                    <a:pt x="255" y="569"/>
                  </a:cubicBezTo>
                  <a:cubicBezTo>
                    <a:pt x="253" y="570"/>
                    <a:pt x="251" y="570"/>
                    <a:pt x="250" y="570"/>
                  </a:cubicBezTo>
                  <a:cubicBezTo>
                    <a:pt x="245" y="570"/>
                    <a:pt x="241" y="568"/>
                    <a:pt x="239" y="563"/>
                  </a:cubicBezTo>
                  <a:cubicBezTo>
                    <a:pt x="236" y="558"/>
                    <a:pt x="238" y="550"/>
                    <a:pt x="244" y="547"/>
                  </a:cubicBezTo>
                  <a:cubicBezTo>
                    <a:pt x="264" y="538"/>
                    <a:pt x="264" y="538"/>
                    <a:pt x="264" y="538"/>
                  </a:cubicBezTo>
                  <a:cubicBezTo>
                    <a:pt x="283" y="450"/>
                    <a:pt x="283" y="450"/>
                    <a:pt x="283" y="450"/>
                  </a:cubicBezTo>
                  <a:cubicBezTo>
                    <a:pt x="268" y="450"/>
                    <a:pt x="268" y="450"/>
                    <a:pt x="268" y="450"/>
                  </a:cubicBezTo>
                  <a:cubicBezTo>
                    <a:pt x="264" y="450"/>
                    <a:pt x="261" y="449"/>
                    <a:pt x="259" y="446"/>
                  </a:cubicBezTo>
                  <a:cubicBezTo>
                    <a:pt x="256" y="443"/>
                    <a:pt x="256" y="439"/>
                    <a:pt x="256" y="436"/>
                  </a:cubicBezTo>
                  <a:cubicBezTo>
                    <a:pt x="281" y="324"/>
                    <a:pt x="281" y="324"/>
                    <a:pt x="281" y="324"/>
                  </a:cubicBezTo>
                  <a:cubicBezTo>
                    <a:pt x="216" y="363"/>
                    <a:pt x="216" y="363"/>
                    <a:pt x="216" y="363"/>
                  </a:cubicBezTo>
                  <a:cubicBezTo>
                    <a:pt x="214" y="364"/>
                    <a:pt x="212" y="364"/>
                    <a:pt x="210" y="364"/>
                  </a:cubicBezTo>
                  <a:cubicBezTo>
                    <a:pt x="207" y="364"/>
                    <a:pt x="204" y="363"/>
                    <a:pt x="202" y="362"/>
                  </a:cubicBezTo>
                  <a:cubicBezTo>
                    <a:pt x="157" y="323"/>
                    <a:pt x="157" y="323"/>
                    <a:pt x="157" y="323"/>
                  </a:cubicBezTo>
                  <a:cubicBezTo>
                    <a:pt x="147" y="331"/>
                    <a:pt x="137" y="334"/>
                    <a:pt x="129" y="334"/>
                  </a:cubicBezTo>
                  <a:cubicBezTo>
                    <a:pt x="121" y="334"/>
                    <a:pt x="115" y="331"/>
                    <a:pt x="111" y="329"/>
                  </a:cubicBezTo>
                  <a:cubicBezTo>
                    <a:pt x="105" y="325"/>
                    <a:pt x="103" y="318"/>
                    <a:pt x="107" y="312"/>
                  </a:cubicBezTo>
                  <a:cubicBezTo>
                    <a:pt x="111" y="307"/>
                    <a:pt x="118" y="305"/>
                    <a:pt x="123" y="308"/>
                  </a:cubicBezTo>
                  <a:cubicBezTo>
                    <a:pt x="125" y="309"/>
                    <a:pt x="133" y="313"/>
                    <a:pt x="144" y="301"/>
                  </a:cubicBezTo>
                  <a:cubicBezTo>
                    <a:pt x="156" y="288"/>
                    <a:pt x="149" y="275"/>
                    <a:pt x="149" y="274"/>
                  </a:cubicBezTo>
                  <a:cubicBezTo>
                    <a:pt x="145" y="268"/>
                    <a:pt x="147" y="261"/>
                    <a:pt x="153" y="258"/>
                  </a:cubicBezTo>
                  <a:cubicBezTo>
                    <a:pt x="159" y="254"/>
                    <a:pt x="166" y="256"/>
                    <a:pt x="169" y="262"/>
                  </a:cubicBezTo>
                  <a:cubicBezTo>
                    <a:pt x="174" y="270"/>
                    <a:pt x="179" y="286"/>
                    <a:pt x="171" y="303"/>
                  </a:cubicBezTo>
                  <a:cubicBezTo>
                    <a:pt x="211" y="338"/>
                    <a:pt x="211" y="338"/>
                    <a:pt x="211" y="338"/>
                  </a:cubicBezTo>
                  <a:cubicBezTo>
                    <a:pt x="293" y="289"/>
                    <a:pt x="293" y="289"/>
                    <a:pt x="293" y="289"/>
                  </a:cubicBezTo>
                  <a:cubicBezTo>
                    <a:pt x="293" y="289"/>
                    <a:pt x="293" y="289"/>
                    <a:pt x="293" y="289"/>
                  </a:cubicBezTo>
                  <a:cubicBezTo>
                    <a:pt x="294" y="289"/>
                    <a:pt x="294" y="289"/>
                    <a:pt x="295" y="288"/>
                  </a:cubicBezTo>
                  <a:cubicBezTo>
                    <a:pt x="295" y="288"/>
                    <a:pt x="296" y="288"/>
                    <a:pt x="296" y="288"/>
                  </a:cubicBezTo>
                  <a:cubicBezTo>
                    <a:pt x="296" y="288"/>
                    <a:pt x="297" y="288"/>
                    <a:pt x="297" y="288"/>
                  </a:cubicBezTo>
                  <a:cubicBezTo>
                    <a:pt x="298" y="288"/>
                    <a:pt x="298" y="288"/>
                    <a:pt x="298" y="288"/>
                  </a:cubicBezTo>
                  <a:cubicBezTo>
                    <a:pt x="299" y="288"/>
                    <a:pt x="299" y="288"/>
                    <a:pt x="299" y="288"/>
                  </a:cubicBezTo>
                  <a:cubicBezTo>
                    <a:pt x="320" y="288"/>
                    <a:pt x="320" y="288"/>
                    <a:pt x="320" y="288"/>
                  </a:cubicBezTo>
                  <a:cubicBezTo>
                    <a:pt x="320" y="256"/>
                    <a:pt x="320" y="256"/>
                    <a:pt x="320" y="256"/>
                  </a:cubicBezTo>
                  <a:cubicBezTo>
                    <a:pt x="223" y="256"/>
                    <a:pt x="223" y="256"/>
                    <a:pt x="223" y="256"/>
                  </a:cubicBezTo>
                  <a:cubicBezTo>
                    <a:pt x="217" y="256"/>
                    <a:pt x="211" y="251"/>
                    <a:pt x="211" y="244"/>
                  </a:cubicBezTo>
                  <a:cubicBezTo>
                    <a:pt x="211" y="113"/>
                    <a:pt x="211" y="113"/>
                    <a:pt x="211" y="113"/>
                  </a:cubicBezTo>
                  <a:cubicBezTo>
                    <a:pt x="211" y="106"/>
                    <a:pt x="217" y="101"/>
                    <a:pt x="223" y="101"/>
                  </a:cubicBezTo>
                  <a:cubicBezTo>
                    <a:pt x="434" y="101"/>
                    <a:pt x="434" y="101"/>
                    <a:pt x="434" y="101"/>
                  </a:cubicBezTo>
                  <a:cubicBezTo>
                    <a:pt x="440" y="101"/>
                    <a:pt x="446" y="106"/>
                    <a:pt x="446" y="113"/>
                  </a:cubicBezTo>
                  <a:cubicBezTo>
                    <a:pt x="446" y="244"/>
                    <a:pt x="446" y="244"/>
                    <a:pt x="446" y="244"/>
                  </a:cubicBezTo>
                  <a:cubicBezTo>
                    <a:pt x="446" y="251"/>
                    <a:pt x="440" y="256"/>
                    <a:pt x="434" y="256"/>
                  </a:cubicBezTo>
                  <a:cubicBezTo>
                    <a:pt x="344" y="256"/>
                    <a:pt x="344" y="256"/>
                    <a:pt x="344" y="256"/>
                  </a:cubicBezTo>
                  <a:cubicBezTo>
                    <a:pt x="344" y="288"/>
                    <a:pt x="344" y="288"/>
                    <a:pt x="344" y="288"/>
                  </a:cubicBezTo>
                  <a:cubicBezTo>
                    <a:pt x="366" y="288"/>
                    <a:pt x="366" y="288"/>
                    <a:pt x="366" y="288"/>
                  </a:cubicBezTo>
                  <a:cubicBezTo>
                    <a:pt x="370" y="288"/>
                    <a:pt x="373" y="289"/>
                    <a:pt x="375" y="291"/>
                  </a:cubicBezTo>
                  <a:cubicBezTo>
                    <a:pt x="376" y="292"/>
                    <a:pt x="376" y="292"/>
                    <a:pt x="377" y="293"/>
                  </a:cubicBezTo>
                  <a:cubicBezTo>
                    <a:pt x="426" y="335"/>
                    <a:pt x="426" y="335"/>
                    <a:pt x="426" y="335"/>
                  </a:cubicBezTo>
                  <a:cubicBezTo>
                    <a:pt x="493" y="300"/>
                    <a:pt x="493" y="300"/>
                    <a:pt x="493" y="300"/>
                  </a:cubicBezTo>
                  <a:cubicBezTo>
                    <a:pt x="483" y="275"/>
                    <a:pt x="495" y="258"/>
                    <a:pt x="503" y="252"/>
                  </a:cubicBezTo>
                  <a:cubicBezTo>
                    <a:pt x="509" y="248"/>
                    <a:pt x="516" y="249"/>
                    <a:pt x="520" y="255"/>
                  </a:cubicBezTo>
                  <a:cubicBezTo>
                    <a:pt x="524" y="260"/>
                    <a:pt x="523" y="266"/>
                    <a:pt x="518" y="270"/>
                  </a:cubicBezTo>
                  <a:cubicBezTo>
                    <a:pt x="518" y="271"/>
                    <a:pt x="518" y="272"/>
                    <a:pt x="517" y="273"/>
                  </a:cubicBezTo>
                  <a:cubicBezTo>
                    <a:pt x="515" y="275"/>
                    <a:pt x="510" y="284"/>
                    <a:pt x="520" y="297"/>
                  </a:cubicBezTo>
                  <a:cubicBezTo>
                    <a:pt x="521" y="298"/>
                    <a:pt x="521" y="300"/>
                    <a:pt x="522" y="301"/>
                  </a:cubicBezTo>
                  <a:cubicBezTo>
                    <a:pt x="530" y="309"/>
                    <a:pt x="540" y="307"/>
                    <a:pt x="540" y="307"/>
                  </a:cubicBezTo>
                  <a:cubicBezTo>
                    <a:pt x="547" y="306"/>
                    <a:pt x="553" y="311"/>
                    <a:pt x="554" y="317"/>
                  </a:cubicBezTo>
                  <a:cubicBezTo>
                    <a:pt x="555" y="324"/>
                    <a:pt x="550" y="330"/>
                    <a:pt x="544" y="3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8">
              <a:extLst>
                <a:ext uri="{FF2B5EF4-FFF2-40B4-BE49-F238E27FC236}">
                  <a16:creationId xmlns:a16="http://schemas.microsoft.com/office/drawing/2014/main" id="{807F93D9-43AF-4761-097F-CBB74D76B8FC}"/>
                </a:ext>
              </a:extLst>
            </p:cNvPr>
            <p:cNvSpPr>
              <a:spLocks noEditPoints="1"/>
            </p:cNvSpPr>
            <p:nvPr/>
          </p:nvSpPr>
          <p:spPr bwMode="auto">
            <a:xfrm>
              <a:off x="2813374" y="5264697"/>
              <a:ext cx="265065" cy="152537"/>
            </a:xfrm>
            <a:custGeom>
              <a:avLst/>
              <a:gdLst>
                <a:gd name="T0" fmla="*/ 187 w 187"/>
                <a:gd name="T1" fmla="*/ 0 h 107"/>
                <a:gd name="T2" fmla="*/ 0 w 187"/>
                <a:gd name="T3" fmla="*/ 0 h 107"/>
                <a:gd name="T4" fmla="*/ 0 w 187"/>
                <a:gd name="T5" fmla="*/ 107 h 107"/>
                <a:gd name="T6" fmla="*/ 187 w 187"/>
                <a:gd name="T7" fmla="*/ 107 h 107"/>
                <a:gd name="T8" fmla="*/ 187 w 187"/>
                <a:gd name="T9" fmla="*/ 0 h 107"/>
                <a:gd name="T10" fmla="*/ 55 w 187"/>
                <a:gd name="T11" fmla="*/ 63 h 107"/>
                <a:gd name="T12" fmla="*/ 38 w 187"/>
                <a:gd name="T13" fmla="*/ 47 h 107"/>
                <a:gd name="T14" fmla="*/ 55 w 187"/>
                <a:gd name="T15" fmla="*/ 30 h 107"/>
                <a:gd name="T16" fmla="*/ 71 w 187"/>
                <a:gd name="T17" fmla="*/ 47 h 107"/>
                <a:gd name="T18" fmla="*/ 55 w 187"/>
                <a:gd name="T19" fmla="*/ 63 h 107"/>
                <a:gd name="T20" fmla="*/ 136 w 187"/>
                <a:gd name="T21" fmla="*/ 63 h 107"/>
                <a:gd name="T22" fmla="*/ 120 w 187"/>
                <a:gd name="T23" fmla="*/ 47 h 107"/>
                <a:gd name="T24" fmla="*/ 136 w 187"/>
                <a:gd name="T25" fmla="*/ 30 h 107"/>
                <a:gd name="T26" fmla="*/ 153 w 187"/>
                <a:gd name="T27" fmla="*/ 47 h 107"/>
                <a:gd name="T28" fmla="*/ 136 w 187"/>
                <a:gd name="T29" fmla="*/ 6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 h="107">
                  <a:moveTo>
                    <a:pt x="187" y="0"/>
                  </a:moveTo>
                  <a:cubicBezTo>
                    <a:pt x="0" y="0"/>
                    <a:pt x="0" y="0"/>
                    <a:pt x="0" y="0"/>
                  </a:cubicBezTo>
                  <a:cubicBezTo>
                    <a:pt x="0" y="107"/>
                    <a:pt x="0" y="107"/>
                    <a:pt x="0" y="107"/>
                  </a:cubicBezTo>
                  <a:cubicBezTo>
                    <a:pt x="187" y="107"/>
                    <a:pt x="187" y="107"/>
                    <a:pt x="187" y="107"/>
                  </a:cubicBezTo>
                  <a:lnTo>
                    <a:pt x="187" y="0"/>
                  </a:lnTo>
                  <a:close/>
                  <a:moveTo>
                    <a:pt x="55" y="63"/>
                  </a:moveTo>
                  <a:cubicBezTo>
                    <a:pt x="46" y="63"/>
                    <a:pt x="38" y="56"/>
                    <a:pt x="38" y="47"/>
                  </a:cubicBezTo>
                  <a:cubicBezTo>
                    <a:pt x="38" y="38"/>
                    <a:pt x="46" y="30"/>
                    <a:pt x="55" y="30"/>
                  </a:cubicBezTo>
                  <a:cubicBezTo>
                    <a:pt x="64" y="30"/>
                    <a:pt x="71" y="38"/>
                    <a:pt x="71" y="47"/>
                  </a:cubicBezTo>
                  <a:cubicBezTo>
                    <a:pt x="71" y="56"/>
                    <a:pt x="64" y="63"/>
                    <a:pt x="55" y="63"/>
                  </a:cubicBezTo>
                  <a:close/>
                  <a:moveTo>
                    <a:pt x="136" y="63"/>
                  </a:moveTo>
                  <a:cubicBezTo>
                    <a:pt x="127" y="63"/>
                    <a:pt x="120" y="56"/>
                    <a:pt x="120" y="47"/>
                  </a:cubicBezTo>
                  <a:cubicBezTo>
                    <a:pt x="120" y="38"/>
                    <a:pt x="127" y="30"/>
                    <a:pt x="136" y="30"/>
                  </a:cubicBezTo>
                  <a:cubicBezTo>
                    <a:pt x="145" y="30"/>
                    <a:pt x="153" y="38"/>
                    <a:pt x="153" y="47"/>
                  </a:cubicBezTo>
                  <a:cubicBezTo>
                    <a:pt x="153" y="56"/>
                    <a:pt x="145" y="63"/>
                    <a:pt x="136"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8" name="Rectangle 267">
            <a:extLst>
              <a:ext uri="{FF2B5EF4-FFF2-40B4-BE49-F238E27FC236}">
                <a16:creationId xmlns:a16="http://schemas.microsoft.com/office/drawing/2014/main" id="{F2D7BAE2-D244-2549-8F41-C8BC70521EC3}"/>
              </a:ext>
            </a:extLst>
          </p:cNvPr>
          <p:cNvSpPr/>
          <p:nvPr/>
        </p:nvSpPr>
        <p:spPr>
          <a:xfrm>
            <a:off x="7977229" y="3985285"/>
            <a:ext cx="3670912" cy="1615827"/>
          </a:xfrm>
          <a:prstGeom prst="rect">
            <a:avLst/>
          </a:prstGeom>
        </p:spPr>
        <p:txBody>
          <a:bodyPr wrap="square" lIns="7200" rIns="7200">
            <a:spAutoFit/>
          </a:bodyPr>
          <a:lstStyle/>
          <a:p>
            <a:pPr marL="171450" indent="-171450">
              <a:spcAft>
                <a:spcPts val="600"/>
              </a:spcAft>
              <a:buClr>
                <a:schemeClr val="accent5"/>
              </a:buClr>
              <a:buFont typeface="Arial" panose="020B0604020202020204" pitchFamily="34" charset="0"/>
              <a:buChar char="•"/>
            </a:pPr>
            <a:r>
              <a:rPr lang="en-US" sz="1200" dirty="0"/>
              <a:t>Brings an overall governance and method </a:t>
            </a:r>
            <a:br>
              <a:rPr lang="en-US" sz="1200" dirty="0"/>
            </a:br>
            <a:r>
              <a:rPr lang="en-US" sz="1200" dirty="0"/>
              <a:t>for how robots are run.</a:t>
            </a:r>
          </a:p>
          <a:p>
            <a:pPr marL="171450" indent="-171450">
              <a:spcAft>
                <a:spcPts val="600"/>
              </a:spcAft>
              <a:buClr>
                <a:schemeClr val="accent5"/>
              </a:buClr>
              <a:buFont typeface="Arial" panose="020B0604020202020204" pitchFamily="34" charset="0"/>
              <a:buChar char="•"/>
            </a:pPr>
            <a:r>
              <a:rPr lang="en-US" sz="1200" dirty="0"/>
              <a:t>Greatly simplifies the creation of robots by introducing an easy-to-learn interface.</a:t>
            </a:r>
          </a:p>
          <a:p>
            <a:pPr marL="171450" indent="-171450">
              <a:spcAft>
                <a:spcPts val="600"/>
              </a:spcAft>
              <a:buClr>
                <a:schemeClr val="accent5"/>
              </a:buClr>
              <a:buFont typeface="Arial" panose="020B0604020202020204" pitchFamily="34" charset="0"/>
              <a:buChar char="•"/>
            </a:pPr>
            <a:r>
              <a:rPr lang="en-US" sz="1200" dirty="0"/>
              <a:t>Brings no additional risks</a:t>
            </a:r>
          </a:p>
          <a:p>
            <a:pPr marL="171450" indent="-171450">
              <a:spcAft>
                <a:spcPts val="600"/>
              </a:spcAft>
              <a:buClr>
                <a:schemeClr val="accent5"/>
              </a:buClr>
              <a:buFont typeface="Arial" panose="020B0604020202020204" pitchFamily="34" charset="0"/>
              <a:buChar char="•"/>
            </a:pPr>
            <a:r>
              <a:rPr lang="en-US" sz="1200" dirty="0"/>
              <a:t>Does not collide with other IT projects, </a:t>
            </a:r>
            <a:br>
              <a:rPr lang="en-US" sz="1200" dirty="0"/>
            </a:br>
            <a:r>
              <a:rPr lang="en-US" sz="1200" dirty="0"/>
              <a:t>ERP/CRM systems or system integration.</a:t>
            </a:r>
          </a:p>
        </p:txBody>
      </p:sp>
      <p:sp>
        <p:nvSpPr>
          <p:cNvPr id="269" name="TextBox 268">
            <a:extLst>
              <a:ext uri="{FF2B5EF4-FFF2-40B4-BE49-F238E27FC236}">
                <a16:creationId xmlns:a16="http://schemas.microsoft.com/office/drawing/2014/main" id="{E651975B-6EB3-6A71-7A40-2440F852C78D}"/>
              </a:ext>
            </a:extLst>
          </p:cNvPr>
          <p:cNvSpPr txBox="1"/>
          <p:nvPr/>
        </p:nvSpPr>
        <p:spPr>
          <a:xfrm>
            <a:off x="7977228" y="3773816"/>
            <a:ext cx="1444898" cy="219291"/>
          </a:xfrm>
          <a:prstGeom prst="rect">
            <a:avLst/>
          </a:prstGeom>
          <a:noFill/>
        </p:spPr>
        <p:txBody>
          <a:bodyPr wrap="square" lIns="0" tIns="0" rIns="0" bIns="0" rtlCol="0">
            <a:spAutoFit/>
          </a:bodyPr>
          <a:lstStyle/>
          <a:p>
            <a:pPr>
              <a:spcBef>
                <a:spcPts val="900"/>
              </a:spcBef>
            </a:pPr>
            <a:r>
              <a:rPr lang="en-US" sz="1425" b="1" dirty="0">
                <a:solidFill>
                  <a:schemeClr val="accent2"/>
                </a:solidFill>
              </a:rPr>
              <a:t>RPA</a:t>
            </a:r>
          </a:p>
        </p:txBody>
      </p:sp>
    </p:spTree>
    <p:extLst>
      <p:ext uri="{BB962C8B-B14F-4D97-AF65-F5344CB8AC3E}">
        <p14:creationId xmlns:p14="http://schemas.microsoft.com/office/powerpoint/2010/main" val="1161155756"/>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A122BC83-9518-42F3-5ADD-D61CCD5C3AFE}"/>
              </a:ext>
            </a:extLst>
          </p:cNvPr>
          <p:cNvGraphicFramePr>
            <a:graphicFrameLocks noChangeAspect="1"/>
          </p:cNvGraphicFramePr>
          <p:nvPr>
            <p:custDataLst>
              <p:tags r:id="rId1"/>
            </p:custDataLst>
            <p:extLst>
              <p:ext uri="{D42A27DB-BD31-4B8C-83A1-F6EECF244321}">
                <p14:modId xmlns:p14="http://schemas.microsoft.com/office/powerpoint/2010/main" val="2575210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0" name="think-cell data - do not delete" hidden="1">
                        <a:extLst>
                          <a:ext uri="{FF2B5EF4-FFF2-40B4-BE49-F238E27FC236}">
                            <a16:creationId xmlns:a16="http://schemas.microsoft.com/office/drawing/2014/main" id="{A122BC83-9518-42F3-5ADD-D61CCD5C3A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93C3D1B-5833-DAEF-81B1-22C935CE0F9E}"/>
              </a:ext>
            </a:extLst>
          </p:cNvPr>
          <p:cNvSpPr>
            <a:spLocks noGrp="1"/>
          </p:cNvSpPr>
          <p:nvPr>
            <p:ph type="body" sz="quarter" idx="22"/>
          </p:nvPr>
        </p:nvSpPr>
        <p:spPr/>
        <p:txBody>
          <a:bodyPr/>
          <a:lstStyle/>
          <a:p>
            <a:r>
              <a:rPr lang="en-US" dirty="0"/>
              <a:t>Highlighting the level of RPA opportunities of  the Finance Function’s elements based on industry best practices</a:t>
            </a:r>
          </a:p>
        </p:txBody>
      </p:sp>
      <p:sp>
        <p:nvSpPr>
          <p:cNvPr id="3" name="Title 2">
            <a:extLst>
              <a:ext uri="{FF2B5EF4-FFF2-40B4-BE49-F238E27FC236}">
                <a16:creationId xmlns:a16="http://schemas.microsoft.com/office/drawing/2014/main" id="{0BFDFE43-513E-30F3-DFB9-E1EDC8DE3070}"/>
              </a:ext>
            </a:extLst>
          </p:cNvPr>
          <p:cNvSpPr>
            <a:spLocks noGrp="1"/>
          </p:cNvSpPr>
          <p:nvPr>
            <p:ph type="title"/>
          </p:nvPr>
        </p:nvSpPr>
        <p:spPr>
          <a:xfrm>
            <a:off x="463295" y="417911"/>
            <a:ext cx="11184846" cy="334099"/>
          </a:xfrm>
        </p:spPr>
        <p:txBody>
          <a:bodyPr vert="horz"/>
          <a:lstStyle/>
          <a:p>
            <a:r>
              <a:rPr lang="en-US" dirty="0">
                <a:latin typeface="Open Sans Light"/>
                <a:ea typeface="Open Sans Light"/>
                <a:cs typeface="Open Sans Light"/>
              </a:rPr>
              <a:t>RPA opportunities in the </a:t>
            </a:r>
            <a:r>
              <a:rPr lang="hu-HU" dirty="0">
                <a:latin typeface="Open Sans Light"/>
                <a:ea typeface="Open Sans Light"/>
                <a:cs typeface="Open Sans Light"/>
              </a:rPr>
              <a:t>f</a:t>
            </a:r>
            <a:r>
              <a:rPr lang="en-US" dirty="0" err="1">
                <a:latin typeface="Open Sans Light"/>
                <a:ea typeface="Open Sans Light"/>
                <a:cs typeface="Open Sans Light"/>
              </a:rPr>
              <a:t>inance</a:t>
            </a:r>
            <a:r>
              <a:rPr lang="en-US" dirty="0">
                <a:latin typeface="Open Sans Light"/>
                <a:ea typeface="Open Sans Light"/>
                <a:cs typeface="Open Sans Light"/>
              </a:rPr>
              <a:t> function</a:t>
            </a:r>
          </a:p>
        </p:txBody>
      </p:sp>
      <p:pic>
        <p:nvPicPr>
          <p:cNvPr id="4" name="Picture 3">
            <a:extLst>
              <a:ext uri="{FF2B5EF4-FFF2-40B4-BE49-F238E27FC236}">
                <a16:creationId xmlns:a16="http://schemas.microsoft.com/office/drawing/2014/main" id="{9CCA6926-55E3-3C28-B993-7E76D4B4174A}"/>
              </a:ext>
            </a:extLst>
          </p:cNvPr>
          <p:cNvPicPr>
            <a:picLocks noChangeAspect="1"/>
          </p:cNvPicPr>
          <p:nvPr/>
        </p:nvPicPr>
        <p:blipFill>
          <a:blip r:embed="rId6"/>
          <a:stretch>
            <a:fillRect/>
          </a:stretch>
        </p:blipFill>
        <p:spPr>
          <a:xfrm>
            <a:off x="289006" y="1614403"/>
            <a:ext cx="6096851" cy="34294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a:extLst>
              <a:ext uri="{FF2B5EF4-FFF2-40B4-BE49-F238E27FC236}">
                <a16:creationId xmlns:a16="http://schemas.microsoft.com/office/drawing/2014/main" id="{B9C4D8BD-9FA9-70DB-BF71-032E70108711}"/>
              </a:ext>
            </a:extLst>
          </p:cNvPr>
          <p:cNvPicPr>
            <a:picLocks noChangeAspect="1"/>
          </p:cNvPicPr>
          <p:nvPr/>
        </p:nvPicPr>
        <p:blipFill>
          <a:blip r:embed="rId7"/>
          <a:stretch>
            <a:fillRect/>
          </a:stretch>
        </p:blipFill>
        <p:spPr>
          <a:xfrm>
            <a:off x="1218774" y="2843847"/>
            <a:ext cx="6096851" cy="34294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DACBA24B-D3B7-FA4D-02F5-3CC3E5BEABE4}"/>
              </a:ext>
            </a:extLst>
          </p:cNvPr>
          <p:cNvPicPr>
            <a:picLocks noChangeAspect="1"/>
          </p:cNvPicPr>
          <p:nvPr/>
        </p:nvPicPr>
        <p:blipFill>
          <a:blip r:embed="rId8"/>
          <a:stretch>
            <a:fillRect/>
          </a:stretch>
        </p:blipFill>
        <p:spPr>
          <a:xfrm>
            <a:off x="5345100" y="1739867"/>
            <a:ext cx="6096851" cy="34294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EF043743-2044-8B4A-F448-38D54A37B273}"/>
              </a:ext>
            </a:extLst>
          </p:cNvPr>
          <p:cNvPicPr>
            <a:picLocks noChangeAspect="1"/>
          </p:cNvPicPr>
          <p:nvPr/>
        </p:nvPicPr>
        <p:blipFill>
          <a:blip r:embed="rId9"/>
          <a:stretch>
            <a:fillRect/>
          </a:stretch>
        </p:blipFill>
        <p:spPr>
          <a:xfrm>
            <a:off x="5865479" y="3066684"/>
            <a:ext cx="6096851" cy="34294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01653021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47541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cs-CZ" sz="3600">
              <a:latin typeface="Chronicle Display Black" pitchFamily="50" charset="0"/>
              <a:sym typeface="Chronicle Display Black" pitchFamily="50" charset="0"/>
            </a:endParaRPr>
          </a:p>
        </p:txBody>
      </p:sp>
      <p:sp>
        <p:nvSpPr>
          <p:cNvPr id="2" name="Title 1"/>
          <p:cNvSpPr>
            <a:spLocks noGrp="1"/>
          </p:cNvSpPr>
          <p:nvPr>
            <p:ph type="title"/>
          </p:nvPr>
        </p:nvSpPr>
        <p:spPr>
          <a:xfrm>
            <a:off x="598047" y="645837"/>
            <a:ext cx="10362688" cy="562155"/>
          </a:xfrm>
        </p:spPr>
        <p:txBody>
          <a:bodyPr vert="horz"/>
          <a:lstStyle/>
          <a:p>
            <a:r>
              <a:rPr lang="en-GB" sz="2800" dirty="0">
                <a:latin typeface="Open Sans Light"/>
                <a:ea typeface="Open Sans Light"/>
                <a:cs typeface="Open Sans Light"/>
              </a:rPr>
              <a:t>High</a:t>
            </a:r>
            <a:r>
              <a:rPr lang="hu-HU" sz="2800" dirty="0">
                <a:latin typeface="Open Sans Light"/>
                <a:ea typeface="Open Sans Light"/>
                <a:cs typeface="Open Sans Light"/>
              </a:rPr>
              <a:t>-</a:t>
            </a:r>
            <a:r>
              <a:rPr lang="en-GB" sz="2800" dirty="0">
                <a:latin typeface="Open Sans Light"/>
                <a:ea typeface="Open Sans Light"/>
                <a:cs typeface="Open Sans Light"/>
              </a:rPr>
              <a:t>level Process Assessment approach</a:t>
            </a:r>
            <a:endParaRPr lang="cs-CZ" sz="2800" dirty="0">
              <a:latin typeface="Open Sans Light"/>
              <a:ea typeface="Open Sans Light"/>
              <a:cs typeface="Open Sans Light"/>
            </a:endParaRPr>
          </a:p>
        </p:txBody>
      </p:sp>
      <p:sp>
        <p:nvSpPr>
          <p:cNvPr id="30" name="Text Placeholder 29">
            <a:extLst>
              <a:ext uri="{FF2B5EF4-FFF2-40B4-BE49-F238E27FC236}">
                <a16:creationId xmlns:a16="http://schemas.microsoft.com/office/drawing/2014/main" id="{F1BD011A-69C4-F8C4-6D10-76B7FEB21206}"/>
              </a:ext>
            </a:extLst>
          </p:cNvPr>
          <p:cNvSpPr>
            <a:spLocks noGrp="1"/>
          </p:cNvSpPr>
          <p:nvPr>
            <p:ph type="body" sz="quarter" idx="14"/>
          </p:nvPr>
        </p:nvSpPr>
        <p:spPr>
          <a:xfrm>
            <a:off x="597856" y="1280886"/>
            <a:ext cx="10362880" cy="475488"/>
          </a:xfrm>
        </p:spPr>
        <p:txBody>
          <a:bodyPr/>
          <a:lstStyle/>
          <a:p>
            <a:r>
              <a:rPr lang="en-US" sz="1800" dirty="0">
                <a:solidFill>
                  <a:schemeClr val="tx2"/>
                </a:solidFill>
                <a:latin typeface="Open Sans" panose="020B0606030504020204" pitchFamily="34" charset="0"/>
                <a:ea typeface="Open Sans" panose="020B0606030504020204" pitchFamily="34" charset="0"/>
                <a:cs typeface="Open Sans" panose="020B0606030504020204" pitchFamily="34" charset="0"/>
              </a:rPr>
              <a:t>The following steps screen for RPA candidates and qualify the top initiatives, which are prioritized and added to the automation pipeline</a:t>
            </a:r>
          </a:p>
          <a:p>
            <a:endParaRPr lang="en-US" dirty="0"/>
          </a:p>
        </p:txBody>
      </p:sp>
      <p:sp>
        <p:nvSpPr>
          <p:cNvPr id="32" name="Rectangle 31">
            <a:extLst>
              <a:ext uri="{FF2B5EF4-FFF2-40B4-BE49-F238E27FC236}">
                <a16:creationId xmlns:a16="http://schemas.microsoft.com/office/drawing/2014/main" id="{9965F28E-A1C8-46BC-F9C7-8DD243E7CE9C}"/>
              </a:ext>
            </a:extLst>
          </p:cNvPr>
          <p:cNvSpPr/>
          <p:nvPr/>
        </p:nvSpPr>
        <p:spPr bwMode="gray">
          <a:xfrm>
            <a:off x="2292690" y="3027896"/>
            <a:ext cx="2163229" cy="1033945"/>
          </a:xfrm>
          <a:prstGeom prst="rect">
            <a:avLst/>
          </a:prstGeom>
          <a:solidFill>
            <a:srgbClr val="E9EAEA"/>
          </a:solidFill>
          <a:ln w="19050" algn="ctr">
            <a:noFill/>
            <a:miter lim="800000"/>
            <a:headEnd/>
            <a:tailEnd/>
          </a:ln>
        </p:spPr>
        <p:txBody>
          <a:bodyPr wrap="square" lIns="108000" tIns="36000" rIns="108000" bIns="36000" rtlCol="0" anchor="ctr" anchorCtr="0">
            <a:noAutofit/>
          </a:bodyPr>
          <a:lstStyle/>
          <a:p>
            <a:pPr marL="0" marR="0" lvl="0" indent="0" algn="l" defTabSz="673454" rtl="0" eaLnBrk="1" fontAlgn="auto" latinLnBrk="0" hangingPunct="1">
              <a:lnSpc>
                <a:spcPct val="100000"/>
              </a:lnSpc>
              <a:spcBef>
                <a:spcPts val="0"/>
              </a:spcBef>
              <a:spcAft>
                <a:spcPts val="300"/>
              </a:spcAft>
              <a:buClr>
                <a:srgbClr val="939598"/>
              </a:buClr>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SABIC Typeface Text Light"/>
              </a:rPr>
              <a:t>Apply the assessment model to the RPA opportunities and select the right process for further automation</a:t>
            </a:r>
          </a:p>
        </p:txBody>
      </p:sp>
      <p:sp>
        <p:nvSpPr>
          <p:cNvPr id="68" name="Isosceles Triangle 67">
            <a:extLst>
              <a:ext uri="{FF2B5EF4-FFF2-40B4-BE49-F238E27FC236}">
                <a16:creationId xmlns:a16="http://schemas.microsoft.com/office/drawing/2014/main" id="{93F5593A-A9EC-DE05-A858-551072AF6690}"/>
              </a:ext>
            </a:extLst>
          </p:cNvPr>
          <p:cNvSpPr/>
          <p:nvPr/>
        </p:nvSpPr>
        <p:spPr>
          <a:xfrm rot="16200000" flipV="1">
            <a:off x="9226360" y="3465550"/>
            <a:ext cx="914714" cy="21170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3454" rtl="0" eaLnBrk="1" fontAlgn="auto"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FFFFFF"/>
              </a:solidFill>
              <a:effectLst/>
              <a:uLnTx/>
              <a:uFillTx/>
              <a:ea typeface="+mn-ea"/>
              <a:cs typeface="SABIC Typeface Text Light"/>
            </a:endParaRPr>
          </a:p>
        </p:txBody>
      </p:sp>
      <p:sp>
        <p:nvSpPr>
          <p:cNvPr id="69" name="Pentagon 96">
            <a:extLst>
              <a:ext uri="{FF2B5EF4-FFF2-40B4-BE49-F238E27FC236}">
                <a16:creationId xmlns:a16="http://schemas.microsoft.com/office/drawing/2014/main" id="{C42C4889-77F0-810D-043B-6C8B11C362B3}"/>
              </a:ext>
            </a:extLst>
          </p:cNvPr>
          <p:cNvSpPr/>
          <p:nvPr/>
        </p:nvSpPr>
        <p:spPr bwMode="gray">
          <a:xfrm>
            <a:off x="586357" y="3027026"/>
            <a:ext cx="1626489" cy="1034542"/>
          </a:xfrm>
          <a:prstGeom prst="homePlate">
            <a:avLst>
              <a:gd name="adj" fmla="val 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mn-ea"/>
                <a:cs typeface="Arial" charset="0"/>
              </a:rPr>
              <a:t>Select</a:t>
            </a:r>
          </a:p>
        </p:txBody>
      </p:sp>
      <p:sp>
        <p:nvSpPr>
          <p:cNvPr id="70" name="Oval 69">
            <a:extLst>
              <a:ext uri="{FF2B5EF4-FFF2-40B4-BE49-F238E27FC236}">
                <a16:creationId xmlns:a16="http://schemas.microsoft.com/office/drawing/2014/main" id="{EB898493-FB29-C1FB-408D-C6B46DD0CD75}"/>
              </a:ext>
            </a:extLst>
          </p:cNvPr>
          <p:cNvSpPr>
            <a:spLocks/>
          </p:cNvSpPr>
          <p:nvPr/>
        </p:nvSpPr>
        <p:spPr bwMode="gray">
          <a:xfrm>
            <a:off x="327774" y="2962132"/>
            <a:ext cx="468000" cy="468000"/>
          </a:xfrm>
          <a:prstGeom prst="ellipse">
            <a:avLst/>
          </a:prstGeom>
          <a:solidFill>
            <a:schemeClr val="accent3"/>
          </a:solidFill>
          <a:ln w="19050" algn="ctr">
            <a:solidFill>
              <a:schemeClr val="bg1"/>
            </a:solidFill>
            <a:miter lim="800000"/>
            <a:headEnd/>
            <a:tailEnd/>
          </a:ln>
        </p:spPr>
        <p:txBody>
          <a:bodyPr wrap="square" lIns="83809" tIns="83809" rIns="83809" bIns="83809" rtlCol="0" anchor="ct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100" b="1" i="0" u="none" strike="noStrike" kern="1200" cap="none" spc="0" normalizeH="0" baseline="0" noProof="0" dirty="0">
                <a:ln>
                  <a:noFill/>
                </a:ln>
                <a:solidFill>
                  <a:prstClr val="white"/>
                </a:solidFill>
                <a:effectLst/>
                <a:uLnTx/>
                <a:uFillTx/>
                <a:ea typeface="+mn-ea"/>
                <a:cs typeface="SABIC Typeface Text Light"/>
              </a:rPr>
              <a:t>2</a:t>
            </a:r>
          </a:p>
        </p:txBody>
      </p:sp>
      <p:sp>
        <p:nvSpPr>
          <p:cNvPr id="71" name="Rectangle 70">
            <a:extLst>
              <a:ext uri="{FF2B5EF4-FFF2-40B4-BE49-F238E27FC236}">
                <a16:creationId xmlns:a16="http://schemas.microsoft.com/office/drawing/2014/main" id="{0F24B8BE-0D8C-FE42-E26F-A4549C977EBD}"/>
              </a:ext>
            </a:extLst>
          </p:cNvPr>
          <p:cNvSpPr/>
          <p:nvPr/>
        </p:nvSpPr>
        <p:spPr bwMode="gray">
          <a:xfrm>
            <a:off x="9909183" y="3027026"/>
            <a:ext cx="1885273" cy="1034942"/>
          </a:xfrm>
          <a:prstGeom prst="rect">
            <a:avLst/>
          </a:prstGeom>
          <a:solidFill>
            <a:schemeClr val="accent2">
              <a:lumMod val="50000"/>
            </a:schemeClr>
          </a:solidFill>
          <a:ln w="19050" algn="ctr">
            <a:noFill/>
            <a:miter lim="800000"/>
            <a:headEnd/>
            <a:tailEnd/>
          </a:ln>
        </p:spPr>
        <p:txBody>
          <a:bodyPr wrap="square" lIns="108000" tIns="36000" rIns="108000" bIns="72000" rtlCol="0" anchor="ctr" anchorCtr="0">
            <a:noAutofit/>
          </a:bodyP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0" normalizeH="0" baseline="0" noProof="0" dirty="0">
                <a:ln>
                  <a:noFill/>
                </a:ln>
                <a:solidFill>
                  <a:srgbClr val="FFFFFF"/>
                </a:solidFill>
                <a:effectLst/>
                <a:uLnTx/>
                <a:uFillTx/>
                <a:ea typeface="+mn-ea"/>
                <a:cs typeface="SABIC Typeface Text Light"/>
              </a:rPr>
              <a:t>List of selected process</a:t>
            </a:r>
            <a:r>
              <a:rPr kumimoji="0" lang="cs-CZ" sz="1200" b="1" i="0" u="none" strike="noStrike" kern="1200" cap="none" spc="0" normalizeH="0" baseline="0" noProof="0" dirty="0">
                <a:ln>
                  <a:noFill/>
                </a:ln>
                <a:solidFill>
                  <a:srgbClr val="FFFFFF"/>
                </a:solidFill>
                <a:effectLst/>
                <a:uLnTx/>
                <a:uFillTx/>
                <a:ea typeface="+mn-ea"/>
                <a:cs typeface="SABIC Typeface Text Light"/>
              </a:rPr>
              <a:t>es</a:t>
            </a:r>
            <a:r>
              <a:rPr kumimoji="0" lang="en-GB" sz="1200" b="1" i="0" u="none" strike="noStrike" kern="1200" cap="none" spc="0" normalizeH="0" baseline="0" noProof="0" dirty="0">
                <a:ln>
                  <a:noFill/>
                </a:ln>
                <a:solidFill>
                  <a:srgbClr val="FFFFFF"/>
                </a:solidFill>
                <a:effectLst/>
                <a:uLnTx/>
                <a:uFillTx/>
                <a:ea typeface="+mn-ea"/>
                <a:cs typeface="SABIC Typeface Text Light"/>
              </a:rPr>
              <a:t> to be qualified</a:t>
            </a:r>
          </a:p>
        </p:txBody>
      </p:sp>
      <p:sp>
        <p:nvSpPr>
          <p:cNvPr id="72" name="Rectangle 71">
            <a:extLst>
              <a:ext uri="{FF2B5EF4-FFF2-40B4-BE49-F238E27FC236}">
                <a16:creationId xmlns:a16="http://schemas.microsoft.com/office/drawing/2014/main" id="{106E9918-345E-5F83-0109-FC867AB85CDF}"/>
              </a:ext>
            </a:extLst>
          </p:cNvPr>
          <p:cNvSpPr/>
          <p:nvPr/>
        </p:nvSpPr>
        <p:spPr bwMode="gray">
          <a:xfrm>
            <a:off x="4530446" y="3027025"/>
            <a:ext cx="4965658" cy="1028436"/>
          </a:xfrm>
          <a:prstGeom prst="rect">
            <a:avLst/>
          </a:prstGeom>
          <a:noFill/>
          <a:ln w="19050" algn="ctr">
            <a:solidFill>
              <a:srgbClr val="D9D9D9"/>
            </a:solidFill>
            <a:miter lim="800000"/>
            <a:headEnd/>
            <a:tailEnd/>
          </a:ln>
        </p:spPr>
        <p:txBody>
          <a:bodyPr wrap="square" lIns="108000" tIns="36000" rIns="108000" bIns="36000" rtlCol="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000" b="0" i="0" u="none" strike="noStrike" kern="1200" cap="none" spc="0" normalizeH="0" baseline="0" noProof="0" dirty="0">
              <a:ln>
                <a:noFill/>
              </a:ln>
              <a:solidFill>
                <a:srgbClr val="4D4D4D"/>
              </a:solidFill>
              <a:effectLst/>
              <a:uLnTx/>
              <a:uFillTx/>
              <a:ea typeface="+mn-ea"/>
              <a:cs typeface="SABIC Typeface Text Light"/>
            </a:endParaRPr>
          </a:p>
        </p:txBody>
      </p:sp>
      <p:sp>
        <p:nvSpPr>
          <p:cNvPr id="73" name="Rectangle 72">
            <a:extLst>
              <a:ext uri="{FF2B5EF4-FFF2-40B4-BE49-F238E27FC236}">
                <a16:creationId xmlns:a16="http://schemas.microsoft.com/office/drawing/2014/main" id="{CDB76C65-4EE0-59CE-6BB2-A7E24806B606}"/>
              </a:ext>
            </a:extLst>
          </p:cNvPr>
          <p:cNvSpPr/>
          <p:nvPr/>
        </p:nvSpPr>
        <p:spPr bwMode="gray">
          <a:xfrm>
            <a:off x="2292691" y="4145320"/>
            <a:ext cx="2163229" cy="1040839"/>
          </a:xfrm>
          <a:prstGeom prst="rect">
            <a:avLst/>
          </a:prstGeom>
          <a:solidFill>
            <a:srgbClr val="E9EAEA"/>
          </a:solidFill>
          <a:ln w="19050" algn="ctr">
            <a:noFill/>
            <a:miter lim="800000"/>
            <a:headEnd/>
            <a:tailEnd/>
          </a:ln>
        </p:spPr>
        <p:txBody>
          <a:bodyPr wrap="square" lIns="108000" tIns="36000" rIns="108000" bIns="36000" rtlCol="0" anchor="ctr" anchorCtr="0">
            <a:noAutofit/>
          </a:bodyPr>
          <a:lstStyle/>
          <a:p>
            <a:pPr defTabSz="673454">
              <a:spcAft>
                <a:spcPts val="300"/>
              </a:spcAft>
              <a:buClr>
                <a:srgbClr val="939598"/>
              </a:buClr>
            </a:pPr>
            <a:r>
              <a:rPr lang="en-GB" sz="1050" dirty="0">
                <a:solidFill>
                  <a:srgbClr val="000000"/>
                </a:solidFill>
              </a:rPr>
              <a:t>Deep dive into the short-listed processes and create qualification documentation</a:t>
            </a:r>
          </a:p>
        </p:txBody>
      </p:sp>
      <p:sp>
        <p:nvSpPr>
          <p:cNvPr id="74" name="Isosceles Triangle 73">
            <a:extLst>
              <a:ext uri="{FF2B5EF4-FFF2-40B4-BE49-F238E27FC236}">
                <a16:creationId xmlns:a16="http://schemas.microsoft.com/office/drawing/2014/main" id="{859B5713-192C-7049-BBCE-A33C2B70F8C7}"/>
              </a:ext>
            </a:extLst>
          </p:cNvPr>
          <p:cNvSpPr/>
          <p:nvPr/>
        </p:nvSpPr>
        <p:spPr>
          <a:xfrm rot="16200000" flipV="1">
            <a:off x="9245489" y="4588747"/>
            <a:ext cx="914313" cy="21170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3454" rtl="0" eaLnBrk="1" fontAlgn="auto"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FFFFFF"/>
              </a:solidFill>
              <a:effectLst/>
              <a:uLnTx/>
              <a:uFillTx/>
              <a:ea typeface="+mn-ea"/>
              <a:cs typeface="SABIC Typeface Text Light"/>
            </a:endParaRPr>
          </a:p>
        </p:txBody>
      </p:sp>
      <p:sp>
        <p:nvSpPr>
          <p:cNvPr id="75" name="Rectangle 74">
            <a:extLst>
              <a:ext uri="{FF2B5EF4-FFF2-40B4-BE49-F238E27FC236}">
                <a16:creationId xmlns:a16="http://schemas.microsoft.com/office/drawing/2014/main" id="{7A5A1A7F-EABF-90FE-AFD6-0C26D2230974}"/>
              </a:ext>
            </a:extLst>
          </p:cNvPr>
          <p:cNvSpPr/>
          <p:nvPr/>
        </p:nvSpPr>
        <p:spPr bwMode="gray">
          <a:xfrm>
            <a:off x="2292690" y="5266656"/>
            <a:ext cx="2163229" cy="1033945"/>
          </a:xfrm>
          <a:prstGeom prst="rect">
            <a:avLst/>
          </a:prstGeom>
          <a:solidFill>
            <a:srgbClr val="E9EAEA"/>
          </a:solidFill>
          <a:ln w="19050" algn="ctr">
            <a:noFill/>
            <a:miter lim="800000"/>
            <a:headEnd/>
            <a:tailEnd/>
          </a:ln>
        </p:spPr>
        <p:txBody>
          <a:bodyPr wrap="square" lIns="108000" tIns="36000" rIns="108000" bIns="36000" rtlCol="0" anchor="ctr" anchorCtr="0">
            <a:noAutofit/>
          </a:bodyPr>
          <a:lstStyle/>
          <a:p>
            <a:pPr marL="0" marR="0" lvl="0" indent="0" algn="l" defTabSz="673454" rtl="0" eaLnBrk="1" fontAlgn="auto" latinLnBrk="0" hangingPunct="1">
              <a:lnSpc>
                <a:spcPct val="100000"/>
              </a:lnSpc>
              <a:spcBef>
                <a:spcPts val="0"/>
              </a:spcBef>
              <a:spcAft>
                <a:spcPts val="300"/>
              </a:spcAft>
              <a:buClr>
                <a:srgbClr val="939598"/>
              </a:buClr>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SABIC Typeface Text Light"/>
              </a:rPr>
              <a:t>Apply the prioritisation model based on the agreed criteria, add the process to the pipeline, and prepare the detail definition document</a:t>
            </a:r>
          </a:p>
        </p:txBody>
      </p:sp>
      <p:sp>
        <p:nvSpPr>
          <p:cNvPr id="76" name="Isosceles Triangle 75">
            <a:extLst>
              <a:ext uri="{FF2B5EF4-FFF2-40B4-BE49-F238E27FC236}">
                <a16:creationId xmlns:a16="http://schemas.microsoft.com/office/drawing/2014/main" id="{409ADB21-CE6B-F466-ADD5-F78EA95E48A1}"/>
              </a:ext>
            </a:extLst>
          </p:cNvPr>
          <p:cNvSpPr/>
          <p:nvPr/>
        </p:nvSpPr>
        <p:spPr>
          <a:xfrm rot="16200000" flipV="1">
            <a:off x="9226360" y="5704310"/>
            <a:ext cx="914714" cy="21170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3454" rtl="0" eaLnBrk="1" fontAlgn="auto"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FFFFFF"/>
              </a:solidFill>
              <a:effectLst/>
              <a:uLnTx/>
              <a:uFillTx/>
              <a:ea typeface="+mn-ea"/>
              <a:cs typeface="SABIC Typeface Text Light"/>
            </a:endParaRPr>
          </a:p>
        </p:txBody>
      </p:sp>
      <p:sp>
        <p:nvSpPr>
          <p:cNvPr id="77" name="Pentagon 67">
            <a:extLst>
              <a:ext uri="{FF2B5EF4-FFF2-40B4-BE49-F238E27FC236}">
                <a16:creationId xmlns:a16="http://schemas.microsoft.com/office/drawing/2014/main" id="{2A64B06F-633E-2B51-AA85-853E75945E02}"/>
              </a:ext>
            </a:extLst>
          </p:cNvPr>
          <p:cNvSpPr/>
          <p:nvPr/>
        </p:nvSpPr>
        <p:spPr bwMode="gray">
          <a:xfrm>
            <a:off x="586357" y="4150454"/>
            <a:ext cx="1626490" cy="1033403"/>
          </a:xfrm>
          <a:prstGeom prst="homePlate">
            <a:avLst>
              <a:gd name="adj" fmla="val 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mn-ea"/>
                <a:cs typeface="Arial" charset="0"/>
              </a:rPr>
              <a:t>Qualify</a:t>
            </a:r>
          </a:p>
        </p:txBody>
      </p:sp>
      <p:sp>
        <p:nvSpPr>
          <p:cNvPr id="78" name="Oval 77">
            <a:extLst>
              <a:ext uri="{FF2B5EF4-FFF2-40B4-BE49-F238E27FC236}">
                <a16:creationId xmlns:a16="http://schemas.microsoft.com/office/drawing/2014/main" id="{987D5B3C-AC99-2540-2CFB-7B4E5FDF4970}"/>
              </a:ext>
            </a:extLst>
          </p:cNvPr>
          <p:cNvSpPr>
            <a:spLocks/>
          </p:cNvSpPr>
          <p:nvPr/>
        </p:nvSpPr>
        <p:spPr bwMode="gray">
          <a:xfrm>
            <a:off x="327775" y="4072565"/>
            <a:ext cx="468000" cy="468000"/>
          </a:xfrm>
          <a:prstGeom prst="ellipse">
            <a:avLst/>
          </a:prstGeom>
          <a:solidFill>
            <a:schemeClr val="accent3"/>
          </a:solidFill>
          <a:ln w="19050" algn="ctr">
            <a:solidFill>
              <a:schemeClr val="bg1"/>
            </a:solidFill>
            <a:miter lim="800000"/>
            <a:headEnd/>
            <a:tailEnd/>
          </a:ln>
        </p:spPr>
        <p:txBody>
          <a:bodyPr wrap="square" lIns="83809" tIns="83809" rIns="83809" bIns="83809" rtlCol="0" anchor="ct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100" b="1" i="0" u="none" strike="noStrike" kern="1200" cap="none" spc="0" normalizeH="0" baseline="0" noProof="0" dirty="0">
                <a:ln>
                  <a:noFill/>
                </a:ln>
                <a:solidFill>
                  <a:prstClr val="white"/>
                </a:solidFill>
                <a:effectLst/>
                <a:uLnTx/>
                <a:uFillTx/>
                <a:ea typeface="+mn-ea"/>
                <a:cs typeface="SABIC Typeface Text Light"/>
              </a:rPr>
              <a:t>3</a:t>
            </a:r>
          </a:p>
        </p:txBody>
      </p:sp>
      <p:sp>
        <p:nvSpPr>
          <p:cNvPr id="79" name="Pentagon 69">
            <a:extLst>
              <a:ext uri="{FF2B5EF4-FFF2-40B4-BE49-F238E27FC236}">
                <a16:creationId xmlns:a16="http://schemas.microsoft.com/office/drawing/2014/main" id="{0969ECCB-A1DD-051E-F7AC-639BC1792C5F}"/>
              </a:ext>
            </a:extLst>
          </p:cNvPr>
          <p:cNvSpPr/>
          <p:nvPr/>
        </p:nvSpPr>
        <p:spPr bwMode="gray">
          <a:xfrm>
            <a:off x="586357" y="5265786"/>
            <a:ext cx="1626489" cy="1034542"/>
          </a:xfrm>
          <a:prstGeom prst="homePlate">
            <a:avLst>
              <a:gd name="adj" fmla="val 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mn-ea"/>
                <a:cs typeface="Arial" charset="0"/>
              </a:rPr>
              <a:t>Prioritize </a:t>
            </a:r>
          </a:p>
        </p:txBody>
      </p:sp>
      <p:sp>
        <p:nvSpPr>
          <p:cNvPr id="80" name="Oval 79">
            <a:extLst>
              <a:ext uri="{FF2B5EF4-FFF2-40B4-BE49-F238E27FC236}">
                <a16:creationId xmlns:a16="http://schemas.microsoft.com/office/drawing/2014/main" id="{56F8E4A2-458E-24D9-9E10-800C2AA063A3}"/>
              </a:ext>
            </a:extLst>
          </p:cNvPr>
          <p:cNvSpPr>
            <a:spLocks/>
          </p:cNvSpPr>
          <p:nvPr/>
        </p:nvSpPr>
        <p:spPr bwMode="gray">
          <a:xfrm>
            <a:off x="327774" y="5200892"/>
            <a:ext cx="468000" cy="468000"/>
          </a:xfrm>
          <a:prstGeom prst="ellipse">
            <a:avLst/>
          </a:prstGeom>
          <a:solidFill>
            <a:schemeClr val="accent3"/>
          </a:solidFill>
          <a:ln w="19050" algn="ctr">
            <a:solidFill>
              <a:schemeClr val="bg1"/>
            </a:solidFill>
            <a:miter lim="800000"/>
            <a:headEnd/>
            <a:tailEnd/>
          </a:ln>
        </p:spPr>
        <p:txBody>
          <a:bodyPr wrap="square" lIns="83809" tIns="83809" rIns="83809" bIns="83809" rtlCol="0" anchor="ct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100" b="1" i="0" u="none" strike="noStrike" kern="1200" cap="none" spc="0" normalizeH="0" baseline="0" noProof="0" dirty="0">
                <a:ln>
                  <a:noFill/>
                </a:ln>
                <a:solidFill>
                  <a:prstClr val="white"/>
                </a:solidFill>
                <a:effectLst/>
                <a:uLnTx/>
                <a:uFillTx/>
                <a:ea typeface="+mn-ea"/>
                <a:cs typeface="SABIC Typeface Text Light"/>
              </a:rPr>
              <a:t>4</a:t>
            </a:r>
          </a:p>
        </p:txBody>
      </p:sp>
      <p:sp>
        <p:nvSpPr>
          <p:cNvPr id="81" name="Rectangle 80">
            <a:extLst>
              <a:ext uri="{FF2B5EF4-FFF2-40B4-BE49-F238E27FC236}">
                <a16:creationId xmlns:a16="http://schemas.microsoft.com/office/drawing/2014/main" id="{C22AA9FB-8AD9-F669-F507-7CBA3EB719B7}"/>
              </a:ext>
            </a:extLst>
          </p:cNvPr>
          <p:cNvSpPr/>
          <p:nvPr/>
        </p:nvSpPr>
        <p:spPr bwMode="gray">
          <a:xfrm>
            <a:off x="9909184" y="4158710"/>
            <a:ext cx="1885273" cy="1028436"/>
          </a:xfrm>
          <a:prstGeom prst="rect">
            <a:avLst/>
          </a:prstGeom>
          <a:solidFill>
            <a:schemeClr val="accent2">
              <a:lumMod val="50000"/>
            </a:schemeClr>
          </a:solidFill>
          <a:ln w="19050" algn="ctr">
            <a:noFill/>
            <a:miter lim="800000"/>
            <a:headEnd/>
            <a:tailEnd/>
          </a:ln>
        </p:spPr>
        <p:txBody>
          <a:bodyPr wrap="square" lIns="108000" tIns="36000" rIns="108000" bIns="72000" rtlCol="0" anchor="ctr" anchorCtr="0">
            <a:noAutofit/>
          </a:bodyP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0" normalizeH="0" baseline="0" noProof="0" dirty="0">
                <a:ln>
                  <a:noFill/>
                </a:ln>
                <a:solidFill>
                  <a:srgbClr val="FFFFFF"/>
                </a:solidFill>
                <a:effectLst/>
                <a:uLnTx/>
                <a:uFillTx/>
                <a:ea typeface="+mn-ea"/>
                <a:cs typeface="SABIC Typeface Text Light"/>
              </a:rPr>
              <a:t>Processes qualified and documented</a:t>
            </a:r>
          </a:p>
        </p:txBody>
      </p:sp>
      <p:sp>
        <p:nvSpPr>
          <p:cNvPr id="82" name="Rectangle 81">
            <a:extLst>
              <a:ext uri="{FF2B5EF4-FFF2-40B4-BE49-F238E27FC236}">
                <a16:creationId xmlns:a16="http://schemas.microsoft.com/office/drawing/2014/main" id="{7BD61869-B327-475C-2046-D131630AF4C7}"/>
              </a:ext>
            </a:extLst>
          </p:cNvPr>
          <p:cNvSpPr/>
          <p:nvPr/>
        </p:nvSpPr>
        <p:spPr bwMode="gray">
          <a:xfrm>
            <a:off x="9909183" y="5265786"/>
            <a:ext cx="1885273" cy="1034942"/>
          </a:xfrm>
          <a:prstGeom prst="rect">
            <a:avLst/>
          </a:prstGeom>
          <a:solidFill>
            <a:schemeClr val="accent2">
              <a:lumMod val="50000"/>
            </a:schemeClr>
          </a:solidFill>
          <a:ln w="19050" algn="ctr">
            <a:noFill/>
            <a:miter lim="800000"/>
            <a:headEnd/>
            <a:tailEnd/>
          </a:ln>
        </p:spPr>
        <p:txBody>
          <a:bodyPr wrap="square" lIns="108000" tIns="36000" rIns="108000" bIns="72000" rtlCol="0" anchor="ctr" anchorCtr="0">
            <a:noAutofit/>
          </a:bodyP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0" normalizeH="0" baseline="0" noProof="0" dirty="0">
                <a:ln>
                  <a:noFill/>
                </a:ln>
                <a:solidFill>
                  <a:srgbClr val="FFFFFF"/>
                </a:solidFill>
                <a:effectLst/>
                <a:uLnTx/>
                <a:uFillTx/>
                <a:ea typeface="+mn-ea"/>
                <a:cs typeface="SABIC Typeface Text Light"/>
              </a:rPr>
              <a:t>Pipeline of automation agreed and process details documented</a:t>
            </a:r>
          </a:p>
        </p:txBody>
      </p:sp>
      <p:sp>
        <p:nvSpPr>
          <p:cNvPr id="83" name="Rectangle 82">
            <a:extLst>
              <a:ext uri="{FF2B5EF4-FFF2-40B4-BE49-F238E27FC236}">
                <a16:creationId xmlns:a16="http://schemas.microsoft.com/office/drawing/2014/main" id="{4277042E-A1A1-7BD8-8D19-FECFB924D55E}"/>
              </a:ext>
            </a:extLst>
          </p:cNvPr>
          <p:cNvSpPr/>
          <p:nvPr/>
        </p:nvSpPr>
        <p:spPr bwMode="gray">
          <a:xfrm>
            <a:off x="4530447" y="4158710"/>
            <a:ext cx="4965658" cy="1028436"/>
          </a:xfrm>
          <a:prstGeom prst="rect">
            <a:avLst/>
          </a:prstGeom>
          <a:noFill/>
          <a:ln w="19050" algn="ctr">
            <a:solidFill>
              <a:srgbClr val="D9D9D9"/>
            </a:solidFill>
            <a:miter lim="800000"/>
            <a:headEnd/>
            <a:tailEnd/>
          </a:ln>
        </p:spPr>
        <p:txBody>
          <a:bodyPr wrap="square" lIns="108000" tIns="36000" rIns="108000" bIns="36000" rtlCol="0" anchor="t" anchorCtr="0">
            <a:noAutofit/>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575A5C"/>
                </a:solidFill>
                <a:effectLst/>
                <a:uLnTx/>
                <a:uFillTx/>
                <a:ea typeface="+mn-ea"/>
                <a:cs typeface="SABIC Typeface Text Light"/>
              </a:rPr>
              <a:t>Conduct detailed Deep dives into the processes with SMEs and check </a:t>
            </a:r>
            <a:br>
              <a:rPr kumimoji="0" lang="en-US" sz="1000" b="0" i="0" u="none" strike="noStrike" kern="1200" cap="none" spc="0" normalizeH="0" baseline="0" noProof="0" dirty="0">
                <a:ln>
                  <a:noFill/>
                </a:ln>
                <a:solidFill>
                  <a:srgbClr val="575A5C"/>
                </a:solidFill>
                <a:effectLst/>
                <a:uLnTx/>
                <a:uFillTx/>
                <a:ea typeface="+mn-ea"/>
                <a:cs typeface="SABIC Typeface Text Light"/>
              </a:rPr>
            </a:br>
            <a:r>
              <a:rPr kumimoji="0" lang="en-US" sz="1000" b="0" i="0" u="none" strike="noStrike" kern="1200" cap="none" spc="0" normalizeH="0" baseline="0" noProof="0" dirty="0">
                <a:ln>
                  <a:noFill/>
                </a:ln>
                <a:solidFill>
                  <a:srgbClr val="575A5C"/>
                </a:solidFill>
                <a:effectLst/>
                <a:uLnTx/>
                <a:uFillTx/>
                <a:ea typeface="+mn-ea"/>
                <a:cs typeface="SABIC Typeface Text Light"/>
              </a:rPr>
              <a:t>feasibility with design documentation of the to-be solution</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GB" sz="1000" b="0" i="0" u="none" strike="noStrike" kern="1200" cap="none" spc="0" normalizeH="0" baseline="0" noProof="0" dirty="0">
                <a:ln>
                  <a:noFill/>
                </a:ln>
                <a:solidFill>
                  <a:srgbClr val="575A5C"/>
                </a:solidFill>
                <a:effectLst/>
                <a:uLnTx/>
                <a:uFillTx/>
                <a:ea typeface="+mn-ea"/>
                <a:cs typeface="SABIC Typeface Text Light"/>
              </a:rPr>
              <a:t>Create to-be processes (as needed ) based on SME discussion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575A5C"/>
                </a:solidFill>
                <a:effectLst/>
                <a:uLnTx/>
                <a:uFillTx/>
                <a:ea typeface="+mn-ea"/>
                <a:cs typeface="SABIC Typeface Text Light"/>
              </a:rPr>
              <a:t>Prepare Process qualification document (PQD) which describes the high-level process, benefits and business operational constraint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575A5C"/>
                </a:solidFill>
                <a:effectLst/>
                <a:uLnTx/>
                <a:uFillTx/>
                <a:ea typeface="+mn-ea"/>
                <a:cs typeface="SABIC Typeface Text Light"/>
              </a:rPr>
              <a:t>Sign off on PQD from business subject matter exper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kumimoji="0" lang="en-US" sz="1000" b="0" i="0" u="none" strike="noStrike" kern="1200" cap="none" spc="0" normalizeH="0" baseline="0" noProof="0" dirty="0">
              <a:ln>
                <a:noFill/>
              </a:ln>
              <a:solidFill>
                <a:srgbClr val="575A5C"/>
              </a:solidFill>
              <a:effectLst/>
              <a:uLnTx/>
              <a:uFillTx/>
              <a:ea typeface="+mn-ea"/>
              <a:cs typeface="SABIC Typeface Text Light"/>
            </a:endParaRPr>
          </a:p>
        </p:txBody>
      </p:sp>
      <p:sp>
        <p:nvSpPr>
          <p:cNvPr id="84" name="Rectangle 83">
            <a:extLst>
              <a:ext uri="{FF2B5EF4-FFF2-40B4-BE49-F238E27FC236}">
                <a16:creationId xmlns:a16="http://schemas.microsoft.com/office/drawing/2014/main" id="{F9A5642C-DE8C-1DCB-2F64-BFAEC5208E07}"/>
              </a:ext>
            </a:extLst>
          </p:cNvPr>
          <p:cNvSpPr/>
          <p:nvPr/>
        </p:nvSpPr>
        <p:spPr bwMode="gray">
          <a:xfrm>
            <a:off x="4530446" y="5265785"/>
            <a:ext cx="4965658" cy="1028436"/>
          </a:xfrm>
          <a:prstGeom prst="rect">
            <a:avLst/>
          </a:prstGeom>
          <a:noFill/>
          <a:ln w="19050" algn="ctr">
            <a:solidFill>
              <a:srgbClr val="D9D9D9"/>
            </a:solidFill>
            <a:miter lim="800000"/>
            <a:headEnd/>
            <a:tailEnd/>
          </a:ln>
        </p:spPr>
        <p:txBody>
          <a:bodyPr wrap="square" lIns="108000" tIns="36000" rIns="108000" bIns="36000" rtlCol="0" anchor="t" anchorCtr="0">
            <a:noAutofit/>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GB" sz="1000" b="0" i="0" u="none" strike="noStrike" kern="1200" cap="none" spc="0" normalizeH="0" baseline="0" noProof="0" dirty="0">
                <a:ln>
                  <a:noFill/>
                </a:ln>
                <a:solidFill>
                  <a:srgbClr val="575A5C"/>
                </a:solidFill>
                <a:effectLst/>
                <a:uLnTx/>
                <a:uFillTx/>
                <a:ea typeface="+mn-ea"/>
                <a:cs typeface="SABIC Typeface Text Light"/>
              </a:rPr>
              <a:t>Add process to the pipeline with prioritized processes based on agreed criteria and outcome from deep dive sessions and created PQD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GB" sz="1000" b="0" i="0" u="none" strike="noStrike" kern="1200" cap="none" spc="0" normalizeH="0" baseline="0" noProof="0" dirty="0">
                <a:ln>
                  <a:noFill/>
                </a:ln>
                <a:solidFill>
                  <a:srgbClr val="575A5C"/>
                </a:solidFill>
                <a:effectLst/>
                <a:uLnTx/>
                <a:uFillTx/>
                <a:ea typeface="+mn-ea"/>
                <a:cs typeface="SABIC Typeface Text Light"/>
              </a:rPr>
              <a:t>Align with business SME on implementation start date or provisioning of the reason for cancellation of the automation opportunity</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GB" sz="1000" b="0" i="0" u="none" strike="noStrike" kern="1200" cap="none" spc="0" normalizeH="0" baseline="0" noProof="0" dirty="0">
                <a:ln>
                  <a:noFill/>
                </a:ln>
                <a:solidFill>
                  <a:srgbClr val="575A5C"/>
                </a:solidFill>
                <a:effectLst/>
                <a:uLnTx/>
                <a:uFillTx/>
                <a:ea typeface="+mn-ea"/>
                <a:cs typeface="SABIC Typeface Text Light"/>
              </a:rPr>
              <a:t>Prepare Process definition document (PDD) which defines the process in detail and obtain sign off on PDD from business subject matter expert </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kumimoji="0" lang="en-GB" sz="1000" b="0" i="0" u="none" strike="noStrike" kern="1200" cap="none" spc="0" normalizeH="0" baseline="0" noProof="0" dirty="0">
              <a:ln>
                <a:noFill/>
              </a:ln>
              <a:solidFill>
                <a:srgbClr val="575A5C"/>
              </a:solidFill>
              <a:effectLst/>
              <a:uLnTx/>
              <a:uFillTx/>
              <a:ea typeface="+mn-ea"/>
              <a:cs typeface="SABIC Typeface Text Ligh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kumimoji="0" lang="en-GB" sz="1000" b="0" i="0" u="none" strike="noStrike" kern="1200" cap="none" spc="0" normalizeH="0" baseline="0" noProof="0" dirty="0">
              <a:ln>
                <a:noFill/>
              </a:ln>
              <a:solidFill>
                <a:srgbClr val="575A5C"/>
              </a:solidFill>
              <a:effectLst/>
              <a:uLnTx/>
              <a:uFillTx/>
              <a:ea typeface="+mn-ea"/>
              <a:cs typeface="SABIC Typeface Text Light"/>
            </a:endParaRPr>
          </a:p>
        </p:txBody>
      </p:sp>
      <p:sp>
        <p:nvSpPr>
          <p:cNvPr id="85" name="Rectangle 84">
            <a:extLst>
              <a:ext uri="{FF2B5EF4-FFF2-40B4-BE49-F238E27FC236}">
                <a16:creationId xmlns:a16="http://schemas.microsoft.com/office/drawing/2014/main" id="{B691510E-3C29-1444-C1E3-64448C6E6F63}"/>
              </a:ext>
            </a:extLst>
          </p:cNvPr>
          <p:cNvSpPr/>
          <p:nvPr/>
        </p:nvSpPr>
        <p:spPr>
          <a:xfrm>
            <a:off x="4542475" y="3042449"/>
            <a:ext cx="4965658" cy="1015663"/>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GB" sz="1000" b="0" i="0" u="none" strike="noStrike" kern="1200" cap="none" spc="0" normalizeH="0" baseline="0" noProof="0" dirty="0">
                <a:ln>
                  <a:noFill/>
                </a:ln>
                <a:solidFill>
                  <a:srgbClr val="575A5C"/>
                </a:solidFill>
                <a:effectLst/>
                <a:uLnTx/>
                <a:uFillTx/>
                <a:ea typeface="+mn-ea"/>
                <a:cs typeface="SABIC Typeface Text Light"/>
              </a:rPr>
              <a:t>Conduct a short walk-through meeting with business SME to finalize the model and get a basic understanding of the proces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575A5C"/>
                </a:solidFill>
                <a:effectLst/>
                <a:uLnTx/>
                <a:uFillTx/>
                <a:ea typeface="+mn-ea"/>
                <a:cs typeface="SABIC Typeface Text Light"/>
              </a:rPr>
              <a:t>Assess RPA feasibility at a detailed level based on the agreed model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4D4D4D"/>
                </a:solidFill>
                <a:effectLst/>
                <a:uLnTx/>
                <a:uFillTx/>
                <a:ea typeface="+mn-ea"/>
                <a:cs typeface="SABIC Typeface Text Light"/>
              </a:rPr>
              <a:t>Apply agreed shortlisting criteria to create a short list from the long-listed process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4D4D4D"/>
                </a:solidFill>
                <a:effectLst/>
                <a:uLnTx/>
                <a:uFillTx/>
                <a:ea typeface="+mn-ea"/>
                <a:cs typeface="SABIC Typeface Text Light"/>
              </a:rPr>
              <a:t>Backlog of process candidates for qualification</a:t>
            </a:r>
          </a:p>
        </p:txBody>
      </p:sp>
      <p:sp>
        <p:nvSpPr>
          <p:cNvPr id="86" name="Rectangle 85">
            <a:extLst>
              <a:ext uri="{FF2B5EF4-FFF2-40B4-BE49-F238E27FC236}">
                <a16:creationId xmlns:a16="http://schemas.microsoft.com/office/drawing/2014/main" id="{258C71BD-CD81-0865-53FF-B9BA044FC587}"/>
              </a:ext>
            </a:extLst>
          </p:cNvPr>
          <p:cNvSpPr/>
          <p:nvPr/>
        </p:nvSpPr>
        <p:spPr bwMode="gray">
          <a:xfrm>
            <a:off x="2292690" y="1931350"/>
            <a:ext cx="2163229" cy="1033945"/>
          </a:xfrm>
          <a:prstGeom prst="rect">
            <a:avLst/>
          </a:prstGeom>
          <a:solidFill>
            <a:srgbClr val="E9EAEA"/>
          </a:solidFill>
          <a:ln w="19050" algn="ctr">
            <a:noFill/>
            <a:miter lim="800000"/>
            <a:headEnd/>
            <a:tailEnd/>
          </a:ln>
        </p:spPr>
        <p:txBody>
          <a:bodyPr wrap="square" lIns="108000" tIns="36000" rIns="108000" bIns="36000" rtlCol="0" anchor="ctr" anchorCtr="0">
            <a:noAutofit/>
          </a:bodyPr>
          <a:lstStyle/>
          <a:p>
            <a:pPr marL="0" marR="0" lvl="0" indent="0" algn="l" defTabSz="673454" rtl="0" eaLnBrk="1" fontAlgn="auto" latinLnBrk="0" hangingPunct="1">
              <a:lnSpc>
                <a:spcPct val="100000"/>
              </a:lnSpc>
              <a:spcBef>
                <a:spcPts val="0"/>
              </a:spcBef>
              <a:spcAft>
                <a:spcPts val="300"/>
              </a:spcAft>
              <a:buClr>
                <a:srgbClr val="939598"/>
              </a:buClr>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SABIC Typeface Text Light"/>
              </a:rPr>
              <a:t>Automation opportunities are provided by business SMEs and added to the assessment model</a:t>
            </a:r>
          </a:p>
        </p:txBody>
      </p:sp>
      <p:sp>
        <p:nvSpPr>
          <p:cNvPr id="87" name="Isosceles Triangle 86">
            <a:extLst>
              <a:ext uri="{FF2B5EF4-FFF2-40B4-BE49-F238E27FC236}">
                <a16:creationId xmlns:a16="http://schemas.microsoft.com/office/drawing/2014/main" id="{6A12CCBE-2805-A3BD-B8A3-2E0D82236C03}"/>
              </a:ext>
            </a:extLst>
          </p:cNvPr>
          <p:cNvSpPr/>
          <p:nvPr/>
        </p:nvSpPr>
        <p:spPr>
          <a:xfrm rot="16200000" flipV="1">
            <a:off x="9226360" y="2369004"/>
            <a:ext cx="914714" cy="21170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3454" rtl="0" eaLnBrk="1" fontAlgn="auto"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FFFFFF"/>
              </a:solidFill>
              <a:effectLst/>
              <a:uLnTx/>
              <a:uFillTx/>
              <a:ea typeface="+mn-ea"/>
              <a:cs typeface="SABIC Typeface Text Light"/>
            </a:endParaRPr>
          </a:p>
        </p:txBody>
      </p:sp>
      <p:sp>
        <p:nvSpPr>
          <p:cNvPr id="88" name="Pentagon 130">
            <a:extLst>
              <a:ext uri="{FF2B5EF4-FFF2-40B4-BE49-F238E27FC236}">
                <a16:creationId xmlns:a16="http://schemas.microsoft.com/office/drawing/2014/main" id="{DEBB642F-87D9-9EBC-FB5F-4C267F6303DC}"/>
              </a:ext>
            </a:extLst>
          </p:cNvPr>
          <p:cNvSpPr/>
          <p:nvPr/>
        </p:nvSpPr>
        <p:spPr bwMode="gray">
          <a:xfrm>
            <a:off x="586357" y="1930480"/>
            <a:ext cx="1626489" cy="1034542"/>
          </a:xfrm>
          <a:prstGeom prst="homePlate">
            <a:avLst>
              <a:gd name="adj" fmla="val 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mn-ea"/>
                <a:cs typeface="Arial" charset="0"/>
              </a:rPr>
              <a:t>Identify</a:t>
            </a:r>
          </a:p>
        </p:txBody>
      </p:sp>
      <p:sp>
        <p:nvSpPr>
          <p:cNvPr id="89" name="Oval 88">
            <a:extLst>
              <a:ext uri="{FF2B5EF4-FFF2-40B4-BE49-F238E27FC236}">
                <a16:creationId xmlns:a16="http://schemas.microsoft.com/office/drawing/2014/main" id="{A26E2784-7B88-C844-F32C-97B22001618F}"/>
              </a:ext>
            </a:extLst>
          </p:cNvPr>
          <p:cNvSpPr>
            <a:spLocks/>
          </p:cNvSpPr>
          <p:nvPr/>
        </p:nvSpPr>
        <p:spPr bwMode="gray">
          <a:xfrm>
            <a:off x="327774" y="1865586"/>
            <a:ext cx="468000" cy="468000"/>
          </a:xfrm>
          <a:prstGeom prst="ellipse">
            <a:avLst/>
          </a:prstGeom>
          <a:solidFill>
            <a:schemeClr val="accent3"/>
          </a:solidFill>
          <a:ln w="19050" algn="ctr">
            <a:solidFill>
              <a:schemeClr val="bg1"/>
            </a:solidFill>
            <a:miter lim="800000"/>
            <a:headEnd/>
            <a:tailEnd/>
          </a:ln>
        </p:spPr>
        <p:txBody>
          <a:bodyPr wrap="square" lIns="83809" tIns="83809" rIns="83809" bIns="83809" rtlCol="0" anchor="ct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100" b="1" i="0" u="none" strike="noStrike" kern="1200" cap="none" spc="0" normalizeH="0" baseline="0" noProof="0" dirty="0">
                <a:ln>
                  <a:noFill/>
                </a:ln>
                <a:solidFill>
                  <a:prstClr val="white"/>
                </a:solidFill>
                <a:effectLst/>
                <a:uLnTx/>
                <a:uFillTx/>
                <a:ea typeface="+mn-ea"/>
                <a:cs typeface="SABIC Typeface Text Light"/>
              </a:rPr>
              <a:t>1</a:t>
            </a:r>
          </a:p>
        </p:txBody>
      </p:sp>
      <p:sp>
        <p:nvSpPr>
          <p:cNvPr id="90" name="Rectangle 89">
            <a:extLst>
              <a:ext uri="{FF2B5EF4-FFF2-40B4-BE49-F238E27FC236}">
                <a16:creationId xmlns:a16="http://schemas.microsoft.com/office/drawing/2014/main" id="{9546D716-8C6A-D866-DB50-59B63B3E285C}"/>
              </a:ext>
            </a:extLst>
          </p:cNvPr>
          <p:cNvSpPr/>
          <p:nvPr/>
        </p:nvSpPr>
        <p:spPr bwMode="gray">
          <a:xfrm>
            <a:off x="9909183" y="1930480"/>
            <a:ext cx="1885273" cy="1034942"/>
          </a:xfrm>
          <a:prstGeom prst="rect">
            <a:avLst/>
          </a:prstGeom>
          <a:solidFill>
            <a:schemeClr val="accent2">
              <a:lumMod val="50000"/>
            </a:schemeClr>
          </a:solidFill>
          <a:ln w="19050" algn="ctr">
            <a:noFill/>
            <a:miter lim="800000"/>
            <a:headEnd/>
            <a:tailEnd/>
          </a:ln>
        </p:spPr>
        <p:txBody>
          <a:bodyPr wrap="square" lIns="108000" tIns="36000" rIns="108000" bIns="72000" rtlCol="0" anchor="ctr" anchorCtr="0">
            <a:noAutofit/>
          </a:bodyPr>
          <a:lstStyle/>
          <a:p>
            <a:pPr marL="0" marR="0" lvl="0" indent="0" algn="ctr" defTabSz="673454"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0" normalizeH="0" baseline="0" noProof="0" dirty="0">
                <a:ln>
                  <a:noFill/>
                </a:ln>
                <a:solidFill>
                  <a:srgbClr val="FFFFFF"/>
                </a:solidFill>
                <a:effectLst/>
                <a:uLnTx/>
                <a:uFillTx/>
                <a:ea typeface="+mn-ea"/>
                <a:cs typeface="SABIC Typeface Text Light"/>
              </a:rPr>
              <a:t>List of all automation opportunities</a:t>
            </a:r>
          </a:p>
        </p:txBody>
      </p:sp>
      <p:sp>
        <p:nvSpPr>
          <p:cNvPr id="91" name="Rectangle 90">
            <a:extLst>
              <a:ext uri="{FF2B5EF4-FFF2-40B4-BE49-F238E27FC236}">
                <a16:creationId xmlns:a16="http://schemas.microsoft.com/office/drawing/2014/main" id="{CB14AD9B-63BF-72E4-E5ED-69A85E592536}"/>
              </a:ext>
            </a:extLst>
          </p:cNvPr>
          <p:cNvSpPr/>
          <p:nvPr/>
        </p:nvSpPr>
        <p:spPr bwMode="gray">
          <a:xfrm>
            <a:off x="4530446" y="1930479"/>
            <a:ext cx="4965658" cy="1028436"/>
          </a:xfrm>
          <a:prstGeom prst="rect">
            <a:avLst/>
          </a:prstGeom>
          <a:noFill/>
          <a:ln w="19050" algn="ctr">
            <a:solidFill>
              <a:srgbClr val="D9D9D9"/>
            </a:solidFill>
            <a:miter lim="800000"/>
            <a:headEnd/>
            <a:tailEnd/>
          </a:ln>
        </p:spPr>
        <p:txBody>
          <a:bodyPr wrap="square" lIns="108000" tIns="36000" rIns="108000" bIns="36000" rtlCol="0" anchor="t" anchorCtr="0">
            <a:noAutofit/>
          </a:bodyPr>
          <a:lstStyle/>
          <a:p>
            <a:pPr marL="171450" marR="0" lvl="0" indent="-171450" algn="l" defTabSz="914400" rtl="0" eaLnBrk="1" fontAlgn="auto" latinLnBrk="0" hangingPunct="1">
              <a:lnSpc>
                <a:spcPct val="100000"/>
              </a:lnSpc>
              <a:spcBef>
                <a:spcPts val="0"/>
              </a:spcBef>
              <a:spcAft>
                <a:spcPts val="300"/>
              </a:spcAft>
              <a:buClr>
                <a:schemeClr val="accent1"/>
              </a:buClr>
              <a:buSzTx/>
              <a:buFont typeface="Wingdings" panose="05000000000000000000" pitchFamily="2" charset="2"/>
              <a:buChar char="§"/>
              <a:tabLst/>
              <a:defRPr/>
            </a:pPr>
            <a:endParaRPr kumimoji="0" lang="en-US" sz="1000" b="0" i="0" u="none" strike="noStrike" kern="1200" cap="none" spc="0" normalizeH="0" baseline="0" noProof="0" dirty="0">
              <a:ln>
                <a:noFill/>
              </a:ln>
              <a:solidFill>
                <a:srgbClr val="4D4D4D"/>
              </a:solidFill>
              <a:effectLst/>
              <a:uLnTx/>
              <a:uFillTx/>
              <a:ea typeface="+mn-ea"/>
              <a:cs typeface="SABIC Typeface Text Light"/>
            </a:endParaRPr>
          </a:p>
        </p:txBody>
      </p:sp>
      <p:sp>
        <p:nvSpPr>
          <p:cNvPr id="92" name="Rectangle 91">
            <a:extLst>
              <a:ext uri="{FF2B5EF4-FFF2-40B4-BE49-F238E27FC236}">
                <a16:creationId xmlns:a16="http://schemas.microsoft.com/office/drawing/2014/main" id="{3A373AC4-A35F-44DB-D48B-4353ADE1982E}"/>
              </a:ext>
            </a:extLst>
          </p:cNvPr>
          <p:cNvSpPr/>
          <p:nvPr/>
        </p:nvSpPr>
        <p:spPr>
          <a:xfrm>
            <a:off x="4542475" y="1946825"/>
            <a:ext cx="4965658" cy="1018469"/>
          </a:xfrm>
          <a:prstGeom prst="rect">
            <a:avLst/>
          </a:prstGeom>
        </p:spPr>
        <p:txBody>
          <a:bodyPr wrap="square">
            <a:noAutofit/>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GB" sz="1000" b="0" i="0" u="none" strike="noStrike" kern="1200" cap="none" spc="0" normalizeH="0" baseline="0" noProof="0" dirty="0">
                <a:ln>
                  <a:noFill/>
                </a:ln>
                <a:solidFill>
                  <a:srgbClr val="575A5C"/>
                </a:solidFill>
                <a:effectLst/>
                <a:uLnTx/>
                <a:uFillTx/>
                <a:ea typeface="+mn-ea"/>
                <a:cs typeface="SABIC Typeface Text Light"/>
              </a:rPr>
              <a:t>Each request for automation is added as an opportunity to the Long lis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575A5C"/>
                </a:solidFill>
                <a:effectLst/>
                <a:uLnTx/>
                <a:uFillTx/>
                <a:ea typeface="+mn-ea"/>
                <a:cs typeface="SABIC Typeface Text Light"/>
              </a:rPr>
              <a:t>Formal confirmation that process is logged is sent back to requestor (Business SME – subject matter exper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4D4D4D"/>
                </a:solidFill>
                <a:effectLst/>
                <a:uLnTx/>
                <a:uFillTx/>
                <a:ea typeface="+mn-ea"/>
                <a:cs typeface="SABIC Typeface Text Light"/>
              </a:rPr>
              <a:t>Alignment with Business  SME on the overall assessment process and date for initial walk-though process</a:t>
            </a:r>
          </a:p>
        </p:txBody>
      </p:sp>
    </p:spTree>
    <p:extLst>
      <p:ext uri="{BB962C8B-B14F-4D97-AF65-F5344CB8AC3E}">
        <p14:creationId xmlns:p14="http://schemas.microsoft.com/office/powerpoint/2010/main" val="2151427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A122BC83-9518-42F3-5ADD-D61CCD5C3A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0" name="think-cell data - do not delete" hidden="1">
                        <a:extLst>
                          <a:ext uri="{FF2B5EF4-FFF2-40B4-BE49-F238E27FC236}">
                            <a16:creationId xmlns:a16="http://schemas.microsoft.com/office/drawing/2014/main" id="{A122BC83-9518-42F3-5ADD-D61CCD5C3A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93C3D1B-5833-DAEF-81B1-22C935CE0F9E}"/>
              </a:ext>
            </a:extLst>
          </p:cNvPr>
          <p:cNvSpPr>
            <a:spLocks noGrp="1"/>
          </p:cNvSpPr>
          <p:nvPr>
            <p:ph type="body" sz="quarter" idx="22"/>
          </p:nvPr>
        </p:nvSpPr>
        <p:spPr/>
        <p:txBody>
          <a:bodyPr/>
          <a:lstStyle/>
          <a:p>
            <a:r>
              <a:rPr lang="en-GB" sz="1800" dirty="0"/>
              <a:t>Once identified, we will work with your functional business teams to rate the complexity against value for specific processes to qualify and the opportunities.</a:t>
            </a:r>
          </a:p>
        </p:txBody>
      </p:sp>
      <p:sp>
        <p:nvSpPr>
          <p:cNvPr id="3" name="Title 2">
            <a:extLst>
              <a:ext uri="{FF2B5EF4-FFF2-40B4-BE49-F238E27FC236}">
                <a16:creationId xmlns:a16="http://schemas.microsoft.com/office/drawing/2014/main" id="{0BFDFE43-513E-30F3-DFB9-E1EDC8DE3070}"/>
              </a:ext>
            </a:extLst>
          </p:cNvPr>
          <p:cNvSpPr>
            <a:spLocks noGrp="1"/>
          </p:cNvSpPr>
          <p:nvPr>
            <p:ph type="title"/>
          </p:nvPr>
        </p:nvSpPr>
        <p:spPr>
          <a:xfrm>
            <a:off x="463295" y="417911"/>
            <a:ext cx="11184846" cy="334099"/>
          </a:xfrm>
        </p:spPr>
        <p:txBody>
          <a:bodyPr vert="horz"/>
          <a:lstStyle/>
          <a:p>
            <a:r>
              <a:rPr lang="en-US" dirty="0">
                <a:latin typeface="Open Sans Light"/>
                <a:ea typeface="Open Sans Light"/>
                <a:cs typeface="Open Sans Light"/>
              </a:rPr>
              <a:t>Processes assessment methodology</a:t>
            </a:r>
          </a:p>
        </p:txBody>
      </p:sp>
      <p:sp>
        <p:nvSpPr>
          <p:cNvPr id="7" name="TextBox 6">
            <a:extLst>
              <a:ext uri="{FF2B5EF4-FFF2-40B4-BE49-F238E27FC236}">
                <a16:creationId xmlns:a16="http://schemas.microsoft.com/office/drawing/2014/main" id="{D00CA3F3-68C2-2013-6C85-4188C2AEA3EA}"/>
              </a:ext>
            </a:extLst>
          </p:cNvPr>
          <p:cNvSpPr txBox="1"/>
          <p:nvPr/>
        </p:nvSpPr>
        <p:spPr>
          <a:xfrm>
            <a:off x="464312" y="2095304"/>
            <a:ext cx="1494582" cy="184666"/>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200"/>
              </a:spcBef>
              <a:spcAft>
                <a:spcPct val="0"/>
              </a:spcAft>
              <a:buClrTx/>
              <a:buSzPct val="100000"/>
              <a:buFontTx/>
              <a:buNone/>
              <a:tabLst/>
              <a:defRPr/>
            </a:pPr>
            <a:r>
              <a:rPr kumimoji="0" lang="en-US" sz="1200" b="1" u="sng"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lue Measures</a:t>
            </a:r>
          </a:p>
        </p:txBody>
      </p:sp>
      <p:sp>
        <p:nvSpPr>
          <p:cNvPr id="8" name="TextBox 7">
            <a:extLst>
              <a:ext uri="{FF2B5EF4-FFF2-40B4-BE49-F238E27FC236}">
                <a16:creationId xmlns:a16="http://schemas.microsoft.com/office/drawing/2014/main" id="{CDB34CCC-AC63-7A17-939F-764E8965ECCC}"/>
              </a:ext>
            </a:extLst>
          </p:cNvPr>
          <p:cNvSpPr txBox="1"/>
          <p:nvPr/>
        </p:nvSpPr>
        <p:spPr>
          <a:xfrm>
            <a:off x="2895600" y="2095304"/>
            <a:ext cx="2609510" cy="184666"/>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200"/>
              </a:spcBef>
              <a:spcAft>
                <a:spcPct val="0"/>
              </a:spcAft>
              <a:buClrTx/>
              <a:buSzPct val="100000"/>
              <a:buFontTx/>
              <a:buNone/>
              <a:tabLst/>
              <a:defRPr/>
            </a:pPr>
            <a:r>
              <a:rPr kumimoji="0" lang="en-US" sz="1200" b="1" u="sng"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ase of Automation Measures</a:t>
            </a:r>
          </a:p>
        </p:txBody>
      </p:sp>
      <p:grpSp>
        <p:nvGrpSpPr>
          <p:cNvPr id="66" name="Group 65">
            <a:extLst>
              <a:ext uri="{FF2B5EF4-FFF2-40B4-BE49-F238E27FC236}">
                <a16:creationId xmlns:a16="http://schemas.microsoft.com/office/drawing/2014/main" id="{0DEAD868-062F-0A63-8EC0-8CD0F8F0FAB6}"/>
              </a:ext>
            </a:extLst>
          </p:cNvPr>
          <p:cNvGrpSpPr/>
          <p:nvPr/>
        </p:nvGrpSpPr>
        <p:grpSpPr>
          <a:xfrm>
            <a:off x="464312" y="2425723"/>
            <a:ext cx="4736548" cy="1198198"/>
            <a:chOff x="464312" y="2425723"/>
            <a:chExt cx="4736548" cy="1198198"/>
          </a:xfrm>
        </p:grpSpPr>
        <p:sp>
          <p:nvSpPr>
            <p:cNvPr id="5" name="TextBox 4">
              <a:extLst>
                <a:ext uri="{FF2B5EF4-FFF2-40B4-BE49-F238E27FC236}">
                  <a16:creationId xmlns:a16="http://schemas.microsoft.com/office/drawing/2014/main" id="{8C56F9F9-6398-B655-79C0-D031562348E1}"/>
                </a:ext>
              </a:extLst>
            </p:cNvPr>
            <p:cNvSpPr txBox="1">
              <a:spLocks/>
            </p:cNvSpPr>
            <p:nvPr/>
          </p:nvSpPr>
          <p:spPr>
            <a:xfrm>
              <a:off x="464312" y="2432018"/>
              <a:ext cx="2305260" cy="28945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rPr>
                <a:t>Time Savings / Capacity Enhancements</a:t>
              </a:r>
              <a:endParaRPr kumimoji="0" lang="cs-CZ"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27B12A47-1871-21D7-7F05-A89356410F17}"/>
                </a:ext>
              </a:extLst>
            </p:cNvPr>
            <p:cNvSpPr txBox="1">
              <a:spLocks/>
            </p:cNvSpPr>
            <p:nvPr/>
          </p:nvSpPr>
          <p:spPr>
            <a:xfrm>
              <a:off x="464312" y="2777535"/>
              <a:ext cx="2245179" cy="846386"/>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200"/>
                </a:spcBef>
                <a:spcAft>
                  <a:spcPct val="0"/>
                </a:spcAft>
                <a:buClrTx/>
                <a:buSzPct val="100000"/>
                <a:buFontTx/>
                <a:buNone/>
                <a:tabLst/>
                <a:defRPr/>
              </a:pPr>
              <a:r>
                <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ounts for the potential savings in time by freeing resources to handle more complex tasks or adding capacity through incremental run time</a:t>
              </a:r>
            </a:p>
          </p:txBody>
        </p:sp>
        <p:sp>
          <p:nvSpPr>
            <p:cNvPr id="13" name="TextBox 12">
              <a:extLst>
                <a:ext uri="{FF2B5EF4-FFF2-40B4-BE49-F238E27FC236}">
                  <a16:creationId xmlns:a16="http://schemas.microsoft.com/office/drawing/2014/main" id="{B504743B-5E62-E3DB-634A-29D806801467}"/>
                </a:ext>
              </a:extLst>
            </p:cNvPr>
            <p:cNvSpPr txBox="1">
              <a:spLocks/>
            </p:cNvSpPr>
            <p:nvPr/>
          </p:nvSpPr>
          <p:spPr>
            <a:xfrm>
              <a:off x="2895600" y="2425723"/>
              <a:ext cx="2305260" cy="280911"/>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rPr>
                <a:t>Scope</a:t>
              </a:r>
              <a:endParaRPr kumimoji="0" lang="cs-CZ"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019136ED-4886-6113-EEE8-31204D2801CD}"/>
                </a:ext>
              </a:extLst>
            </p:cNvPr>
            <p:cNvSpPr txBox="1"/>
            <p:nvPr/>
          </p:nvSpPr>
          <p:spPr>
            <a:xfrm>
              <a:off x="2895600" y="2777535"/>
              <a:ext cx="2245179" cy="677108"/>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200"/>
                </a:spcBef>
                <a:spcAft>
                  <a:spcPct val="0"/>
                </a:spcAft>
                <a:buClrTx/>
                <a:buSzPct val="100000"/>
                <a:buFontTx/>
                <a:buNone/>
                <a:tabLst/>
                <a:defRPr/>
              </a:pPr>
              <a:r>
                <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ounts for the breadth of input to a process across the organization, including people and systems </a:t>
              </a:r>
              <a:endParaRPr kumimoji="0" lang="cs-CZ"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5" name="Group 64">
            <a:extLst>
              <a:ext uri="{FF2B5EF4-FFF2-40B4-BE49-F238E27FC236}">
                <a16:creationId xmlns:a16="http://schemas.microsoft.com/office/drawing/2014/main" id="{BF0A6DFA-B871-C43A-9D6C-AE2836709E23}"/>
              </a:ext>
            </a:extLst>
          </p:cNvPr>
          <p:cNvGrpSpPr/>
          <p:nvPr/>
        </p:nvGrpSpPr>
        <p:grpSpPr>
          <a:xfrm>
            <a:off x="464312" y="3877040"/>
            <a:ext cx="4736548" cy="933173"/>
            <a:chOff x="464312" y="3715381"/>
            <a:chExt cx="4736548" cy="933173"/>
          </a:xfrm>
        </p:grpSpPr>
        <p:sp>
          <p:nvSpPr>
            <p:cNvPr id="9" name="TextBox 8">
              <a:extLst>
                <a:ext uri="{FF2B5EF4-FFF2-40B4-BE49-F238E27FC236}">
                  <a16:creationId xmlns:a16="http://schemas.microsoft.com/office/drawing/2014/main" id="{3E2D7F92-A2C1-851B-AF33-09F5A27DA3AD}"/>
                </a:ext>
              </a:extLst>
            </p:cNvPr>
            <p:cNvSpPr txBox="1">
              <a:spLocks/>
            </p:cNvSpPr>
            <p:nvPr/>
          </p:nvSpPr>
          <p:spPr>
            <a:xfrm>
              <a:off x="464312" y="3715381"/>
              <a:ext cx="2305260" cy="28945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rPr>
                <a:t>Error Resolution</a:t>
              </a:r>
              <a:endParaRPr kumimoji="0" lang="cs-CZ"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8F4E7EED-D4A2-552C-EFF5-B2E5E0DA46A9}"/>
                </a:ext>
              </a:extLst>
            </p:cNvPr>
            <p:cNvSpPr txBox="1">
              <a:spLocks/>
            </p:cNvSpPr>
            <p:nvPr/>
          </p:nvSpPr>
          <p:spPr>
            <a:xfrm>
              <a:off x="464312" y="3971446"/>
              <a:ext cx="2245179" cy="677108"/>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200"/>
                </a:spcBef>
                <a:spcAft>
                  <a:spcPct val="0"/>
                </a:spcAft>
                <a:buClrTx/>
                <a:buSzPct val="100000"/>
                <a:buFontTx/>
                <a:buNone/>
                <a:tabLst/>
                <a:defRPr/>
              </a:pPr>
              <a:r>
                <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ounts for the reduced cost, and increased revenue, other than time related, as a result of error reduction</a:t>
              </a:r>
            </a:p>
          </p:txBody>
        </p:sp>
        <p:sp>
          <p:nvSpPr>
            <p:cNvPr id="15" name="TextBox 14">
              <a:extLst>
                <a:ext uri="{FF2B5EF4-FFF2-40B4-BE49-F238E27FC236}">
                  <a16:creationId xmlns:a16="http://schemas.microsoft.com/office/drawing/2014/main" id="{F0E06C56-463A-7C43-DDA8-C81FEA5A0D7E}"/>
                </a:ext>
              </a:extLst>
            </p:cNvPr>
            <p:cNvSpPr txBox="1">
              <a:spLocks/>
            </p:cNvSpPr>
            <p:nvPr/>
          </p:nvSpPr>
          <p:spPr>
            <a:xfrm>
              <a:off x="2895600" y="3715381"/>
              <a:ext cx="2305260" cy="28945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rPr>
                <a:t>Size</a:t>
              </a:r>
              <a:endParaRPr kumimoji="0" lang="cs-CZ"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6869C075-B740-E037-0664-5DBA1CB10958}"/>
                </a:ext>
              </a:extLst>
            </p:cNvPr>
            <p:cNvSpPr txBox="1">
              <a:spLocks/>
            </p:cNvSpPr>
            <p:nvPr/>
          </p:nvSpPr>
          <p:spPr>
            <a:xfrm>
              <a:off x="2895600" y="3971446"/>
              <a:ext cx="2245179" cy="507831"/>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200"/>
                </a:spcBef>
                <a:spcAft>
                  <a:spcPct val="0"/>
                </a:spcAft>
                <a:buClrTx/>
                <a:buSzPct val="100000"/>
                <a:buFontTx/>
                <a:buNone/>
                <a:tabLst/>
                <a:defRPr/>
              </a:pPr>
              <a:r>
                <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ounts for the number of process steps and the amount of data</a:t>
              </a:r>
              <a:endParaRPr kumimoji="0" lang="cs-CZ"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4" name="Group 63">
            <a:extLst>
              <a:ext uri="{FF2B5EF4-FFF2-40B4-BE49-F238E27FC236}">
                <a16:creationId xmlns:a16="http://schemas.microsoft.com/office/drawing/2014/main" id="{B684F241-0851-226E-DCD3-5981E01DE389}"/>
              </a:ext>
            </a:extLst>
          </p:cNvPr>
          <p:cNvGrpSpPr/>
          <p:nvPr/>
        </p:nvGrpSpPr>
        <p:grpSpPr>
          <a:xfrm>
            <a:off x="464312" y="5063332"/>
            <a:ext cx="4736548" cy="758154"/>
            <a:chOff x="464312" y="4898232"/>
            <a:chExt cx="4736548" cy="758154"/>
          </a:xfrm>
        </p:grpSpPr>
        <p:sp>
          <p:nvSpPr>
            <p:cNvPr id="11" name="TextBox 10">
              <a:extLst>
                <a:ext uri="{FF2B5EF4-FFF2-40B4-BE49-F238E27FC236}">
                  <a16:creationId xmlns:a16="http://schemas.microsoft.com/office/drawing/2014/main" id="{00FCFD0F-8251-5D40-493F-414571AE8E11}"/>
                </a:ext>
              </a:extLst>
            </p:cNvPr>
            <p:cNvSpPr txBox="1">
              <a:spLocks/>
            </p:cNvSpPr>
            <p:nvPr/>
          </p:nvSpPr>
          <p:spPr>
            <a:xfrm>
              <a:off x="464312" y="4898232"/>
              <a:ext cx="2305260" cy="28945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rPr>
                <a:t>Data Availability</a:t>
              </a:r>
              <a:endParaRPr kumimoji="0" lang="cs-CZ"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C224553E-0F52-EEDF-EDE9-1D3E8FFEC926}"/>
                </a:ext>
              </a:extLst>
            </p:cNvPr>
            <p:cNvSpPr txBox="1">
              <a:spLocks/>
            </p:cNvSpPr>
            <p:nvPr/>
          </p:nvSpPr>
          <p:spPr>
            <a:xfrm>
              <a:off x="464312" y="5148555"/>
              <a:ext cx="2245179" cy="507831"/>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200"/>
                </a:spcBef>
                <a:spcAft>
                  <a:spcPct val="0"/>
                </a:spcAft>
                <a:buClrTx/>
                <a:buSzPct val="100000"/>
                <a:buFontTx/>
                <a:buNone/>
                <a:tabLst/>
                <a:defRPr/>
              </a:pPr>
              <a:r>
                <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ounts for the benefit generated by easier access to accurate and consistent data</a:t>
              </a:r>
            </a:p>
          </p:txBody>
        </p:sp>
        <p:sp>
          <p:nvSpPr>
            <p:cNvPr id="17" name="TextBox 16">
              <a:extLst>
                <a:ext uri="{FF2B5EF4-FFF2-40B4-BE49-F238E27FC236}">
                  <a16:creationId xmlns:a16="http://schemas.microsoft.com/office/drawing/2014/main" id="{B3E7521C-F28F-B782-9B97-86D9FEA4FF2B}"/>
                </a:ext>
              </a:extLst>
            </p:cNvPr>
            <p:cNvSpPr txBox="1">
              <a:spLocks/>
            </p:cNvSpPr>
            <p:nvPr/>
          </p:nvSpPr>
          <p:spPr>
            <a:xfrm>
              <a:off x="2895600" y="4898232"/>
              <a:ext cx="2305260" cy="307880"/>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rPr>
                <a:t>Variability</a:t>
              </a:r>
              <a:endParaRPr kumimoji="0" lang="cs-CZ" sz="1100" b="1" i="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TextBox 17">
              <a:extLst>
                <a:ext uri="{FF2B5EF4-FFF2-40B4-BE49-F238E27FC236}">
                  <a16:creationId xmlns:a16="http://schemas.microsoft.com/office/drawing/2014/main" id="{CEE74D80-CE59-B5C5-AB55-FD1A361EFF30}"/>
                </a:ext>
              </a:extLst>
            </p:cNvPr>
            <p:cNvSpPr txBox="1"/>
            <p:nvPr/>
          </p:nvSpPr>
          <p:spPr>
            <a:xfrm>
              <a:off x="2895600" y="5148555"/>
              <a:ext cx="2245179" cy="507831"/>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200"/>
                </a:spcBef>
                <a:spcAft>
                  <a:spcPct val="0"/>
                </a:spcAft>
                <a:buClrTx/>
                <a:buSzPct val="100000"/>
                <a:buFontTx/>
                <a:buNone/>
                <a:tabLst/>
                <a:defRPr/>
              </a:pPr>
              <a:r>
                <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ounts for the potential paths a process might take, and the difference in inputs and outputs</a:t>
              </a:r>
              <a:endParaRPr kumimoji="0" lang="cs-CZ"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9" name="Rectangle 18">
            <a:extLst>
              <a:ext uri="{FF2B5EF4-FFF2-40B4-BE49-F238E27FC236}">
                <a16:creationId xmlns:a16="http://schemas.microsoft.com/office/drawing/2014/main" id="{60ADDDDC-D017-72F9-7C7D-BB49904F7007}"/>
              </a:ext>
            </a:extLst>
          </p:cNvPr>
          <p:cNvSpPr/>
          <p:nvPr/>
        </p:nvSpPr>
        <p:spPr>
          <a:xfrm>
            <a:off x="386336" y="1581619"/>
            <a:ext cx="2135521"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s Selection Criteria</a:t>
            </a:r>
          </a:p>
        </p:txBody>
      </p:sp>
      <p:sp>
        <p:nvSpPr>
          <p:cNvPr id="20" name="Rectangle 19">
            <a:extLst>
              <a:ext uri="{FF2B5EF4-FFF2-40B4-BE49-F238E27FC236}">
                <a16:creationId xmlns:a16="http://schemas.microsoft.com/office/drawing/2014/main" id="{9E2FE7FA-FBC5-08E5-F7B2-BA952D0ED532}"/>
              </a:ext>
            </a:extLst>
          </p:cNvPr>
          <p:cNvSpPr/>
          <p:nvPr/>
        </p:nvSpPr>
        <p:spPr>
          <a:xfrm>
            <a:off x="477857" y="1834238"/>
            <a:ext cx="4937760" cy="54864"/>
          </a:xfrm>
          <a:prstGeom prst="rect">
            <a:avLst/>
          </a:prstGeom>
          <a:solidFill>
            <a:schemeClr val="accent3"/>
          </a:solidFill>
          <a:ln w="25400" cap="flat" cmpd="sng" algn="ctr">
            <a:solidFill>
              <a:schemeClr val="accent3"/>
            </a:solidFill>
            <a:prstDash val="solid"/>
          </a:ln>
          <a:effectLst/>
        </p:spPr>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67"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1" name="Group 20">
            <a:extLst>
              <a:ext uri="{FF2B5EF4-FFF2-40B4-BE49-F238E27FC236}">
                <a16:creationId xmlns:a16="http://schemas.microsoft.com/office/drawing/2014/main" id="{CE82C62B-B18B-2623-1D5E-40CD121C08AB}"/>
              </a:ext>
            </a:extLst>
          </p:cNvPr>
          <p:cNvGrpSpPr/>
          <p:nvPr/>
        </p:nvGrpSpPr>
        <p:grpSpPr>
          <a:xfrm>
            <a:off x="5824494" y="2033424"/>
            <a:ext cx="5863370" cy="4423602"/>
            <a:chOff x="4938718" y="2289180"/>
            <a:chExt cx="3517895" cy="3805950"/>
          </a:xfrm>
        </p:grpSpPr>
        <p:sp>
          <p:nvSpPr>
            <p:cNvPr id="22" name="Rectangle 2">
              <a:extLst>
                <a:ext uri="{FF2B5EF4-FFF2-40B4-BE49-F238E27FC236}">
                  <a16:creationId xmlns:a16="http://schemas.microsoft.com/office/drawing/2014/main" id="{26537DB4-58D5-BAB8-F90D-9D2C46EF49A3}"/>
                </a:ext>
              </a:extLst>
            </p:cNvPr>
            <p:cNvSpPr>
              <a:spLocks noChangeArrowheads="1"/>
            </p:cNvSpPr>
            <p:nvPr/>
          </p:nvSpPr>
          <p:spPr bwMode="auto">
            <a:xfrm>
              <a:off x="4938718" y="2289180"/>
              <a:ext cx="320205" cy="236071"/>
            </a:xfrm>
            <a:prstGeom prst="rect">
              <a:avLst/>
            </a:prstGeom>
            <a:noFill/>
            <a:ln w="9525">
              <a:noFill/>
              <a:miter lim="800000"/>
              <a:headEnd/>
              <a:tailEnd/>
            </a:ln>
            <a:effectLst/>
          </p:spPr>
          <p:txBody>
            <a:bodyPr wrap="none" lIns="90435" tIns="44424" rIns="90435" bIns="44424">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gh</a:t>
              </a:r>
            </a:p>
          </p:txBody>
        </p:sp>
        <p:sp>
          <p:nvSpPr>
            <p:cNvPr id="23" name="Rectangle 3">
              <a:extLst>
                <a:ext uri="{FF2B5EF4-FFF2-40B4-BE49-F238E27FC236}">
                  <a16:creationId xmlns:a16="http://schemas.microsoft.com/office/drawing/2014/main" id="{F3EC30B2-2249-FBDD-479F-D2B6D183FF98}"/>
                </a:ext>
              </a:extLst>
            </p:cNvPr>
            <p:cNvSpPr>
              <a:spLocks noChangeArrowheads="1"/>
            </p:cNvSpPr>
            <p:nvPr/>
          </p:nvSpPr>
          <p:spPr bwMode="auto">
            <a:xfrm>
              <a:off x="4965701" y="5541968"/>
              <a:ext cx="297123" cy="236071"/>
            </a:xfrm>
            <a:prstGeom prst="rect">
              <a:avLst/>
            </a:prstGeom>
            <a:noFill/>
            <a:ln w="9525">
              <a:noFill/>
              <a:miter lim="800000"/>
              <a:headEnd/>
              <a:tailEnd/>
            </a:ln>
            <a:effectLst/>
          </p:spPr>
          <p:txBody>
            <a:bodyPr wrap="none" lIns="90435" tIns="44424" rIns="90435" bIns="44424">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w</a:t>
              </a:r>
            </a:p>
          </p:txBody>
        </p:sp>
        <p:sp>
          <p:nvSpPr>
            <p:cNvPr id="24" name="Rectangle 4">
              <a:extLst>
                <a:ext uri="{FF2B5EF4-FFF2-40B4-BE49-F238E27FC236}">
                  <a16:creationId xmlns:a16="http://schemas.microsoft.com/office/drawing/2014/main" id="{81FF19F2-4E90-60B0-8B5D-34ACA4BC58D5}"/>
                </a:ext>
              </a:extLst>
            </p:cNvPr>
            <p:cNvSpPr>
              <a:spLocks noChangeArrowheads="1"/>
            </p:cNvSpPr>
            <p:nvPr/>
          </p:nvSpPr>
          <p:spPr bwMode="auto">
            <a:xfrm>
              <a:off x="5280029" y="5713418"/>
              <a:ext cx="297123" cy="236071"/>
            </a:xfrm>
            <a:prstGeom prst="rect">
              <a:avLst/>
            </a:prstGeom>
            <a:noFill/>
            <a:ln w="9525">
              <a:noFill/>
              <a:miter lim="800000"/>
              <a:headEnd/>
              <a:tailEnd/>
            </a:ln>
            <a:effectLst/>
          </p:spPr>
          <p:txBody>
            <a:bodyPr wrap="none" lIns="90435" tIns="44424" rIns="90435" bIns="44424">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w</a:t>
              </a:r>
            </a:p>
          </p:txBody>
        </p:sp>
        <p:sp>
          <p:nvSpPr>
            <p:cNvPr id="25" name="Rectangle 5">
              <a:extLst>
                <a:ext uri="{FF2B5EF4-FFF2-40B4-BE49-F238E27FC236}">
                  <a16:creationId xmlns:a16="http://schemas.microsoft.com/office/drawing/2014/main" id="{4455B614-BEE5-9FC0-C0F0-C1DC491D0864}"/>
                </a:ext>
              </a:extLst>
            </p:cNvPr>
            <p:cNvSpPr>
              <a:spLocks noChangeArrowheads="1"/>
            </p:cNvSpPr>
            <p:nvPr/>
          </p:nvSpPr>
          <p:spPr bwMode="auto">
            <a:xfrm>
              <a:off x="8080379" y="5713418"/>
              <a:ext cx="320205" cy="236071"/>
            </a:xfrm>
            <a:prstGeom prst="rect">
              <a:avLst/>
            </a:prstGeom>
            <a:noFill/>
            <a:ln w="9525">
              <a:noFill/>
              <a:miter lim="800000"/>
              <a:headEnd/>
              <a:tailEnd/>
            </a:ln>
            <a:effectLst/>
          </p:spPr>
          <p:txBody>
            <a:bodyPr wrap="none" lIns="90435" tIns="44424" rIns="90435" bIns="44424">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gh</a:t>
              </a:r>
            </a:p>
          </p:txBody>
        </p:sp>
        <p:sp>
          <p:nvSpPr>
            <p:cNvPr id="26" name="Rectangle 6">
              <a:extLst>
                <a:ext uri="{FF2B5EF4-FFF2-40B4-BE49-F238E27FC236}">
                  <a16:creationId xmlns:a16="http://schemas.microsoft.com/office/drawing/2014/main" id="{240874C2-F8E0-2CC0-E669-C72CEC03C2E0}"/>
                </a:ext>
              </a:extLst>
            </p:cNvPr>
            <p:cNvSpPr>
              <a:spLocks noChangeArrowheads="1"/>
            </p:cNvSpPr>
            <p:nvPr/>
          </p:nvSpPr>
          <p:spPr bwMode="auto">
            <a:xfrm>
              <a:off x="6464700" y="5936248"/>
              <a:ext cx="902139" cy="158882"/>
            </a:xfrm>
            <a:prstGeom prst="rect">
              <a:avLst/>
            </a:prstGeom>
            <a:noFill/>
            <a:ln w="9525">
              <a:noFill/>
              <a:miter lim="800000"/>
              <a:headEnd/>
              <a:tailEnd/>
            </a:ln>
            <a:effectLst/>
          </p:spPr>
          <p:txBody>
            <a:bodyPr wrap="none" lIns="0" tIns="0" rIns="0" bIns="0">
              <a:spAutoFit/>
            </a:bodyPr>
            <a:lstStyle/>
            <a:p>
              <a:pPr marL="134859" marR="0" lvl="0" indent="-134859" algn="l" defTabSz="914400" rtl="0" eaLnBrk="0" fontAlgn="base" latinLnBrk="0" hangingPunct="0">
                <a:lnSpc>
                  <a:spcPct val="100000"/>
                </a:lnSpc>
                <a:spcBef>
                  <a:spcPct val="0"/>
                </a:spcBef>
                <a:spcAft>
                  <a:spcPct val="20000"/>
                </a:spcAft>
                <a:buClr>
                  <a:srgbClr val="000000"/>
                </a:buClr>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ase of Automation</a:t>
              </a:r>
            </a:p>
          </p:txBody>
        </p:sp>
        <p:sp>
          <p:nvSpPr>
            <p:cNvPr id="27" name="Rectangle 7">
              <a:extLst>
                <a:ext uri="{FF2B5EF4-FFF2-40B4-BE49-F238E27FC236}">
                  <a16:creationId xmlns:a16="http://schemas.microsoft.com/office/drawing/2014/main" id="{AAB72A9A-1B17-8C1E-00AD-C6E94CDDDD8F}"/>
                </a:ext>
              </a:extLst>
            </p:cNvPr>
            <p:cNvSpPr>
              <a:spLocks noChangeArrowheads="1"/>
            </p:cNvSpPr>
            <p:nvPr/>
          </p:nvSpPr>
          <p:spPr bwMode="auto">
            <a:xfrm rot="16200000">
              <a:off x="4271010" y="3987965"/>
              <a:ext cx="1446212" cy="110796"/>
            </a:xfrm>
            <a:prstGeom prst="rect">
              <a:avLst/>
            </a:prstGeom>
            <a:noFill/>
            <a:ln w="9525">
              <a:noFill/>
              <a:miter lim="800000"/>
              <a:headEnd/>
              <a:tailEnd/>
            </a:ln>
            <a:effectLst/>
          </p:spPr>
          <p:txBody>
            <a:bodyPr lIns="0" tIns="0" rIns="0" bIns="0">
              <a:spAutoFit/>
            </a:bodyPr>
            <a:lstStyle/>
            <a:p>
              <a:pPr marL="0" marR="0" lvl="0" indent="0" algn="ctr" defTabSz="914400" rtl="0" eaLnBrk="0" fontAlgn="base" latinLnBrk="0" hangingPunct="0">
                <a:lnSpc>
                  <a:spcPct val="100000"/>
                </a:lnSpc>
                <a:spcBef>
                  <a:spcPct val="20000"/>
                </a:spcBef>
                <a:spcAft>
                  <a:spcPct val="20000"/>
                </a:spcAft>
                <a:buClr>
                  <a:srgbClr val="000000"/>
                </a:buClr>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vel of Value</a:t>
              </a:r>
            </a:p>
          </p:txBody>
        </p:sp>
        <p:sp>
          <p:nvSpPr>
            <p:cNvPr id="28" name="Line 8">
              <a:extLst>
                <a:ext uri="{FF2B5EF4-FFF2-40B4-BE49-F238E27FC236}">
                  <a16:creationId xmlns:a16="http://schemas.microsoft.com/office/drawing/2014/main" id="{47E138D5-870D-FD19-5233-FA75B0F6E78D}"/>
                </a:ext>
              </a:extLst>
            </p:cNvPr>
            <p:cNvSpPr>
              <a:spLocks noChangeShapeType="1"/>
            </p:cNvSpPr>
            <p:nvPr/>
          </p:nvSpPr>
          <p:spPr bwMode="auto">
            <a:xfrm flipV="1">
              <a:off x="5178425" y="2543180"/>
              <a:ext cx="1588" cy="3000375"/>
            </a:xfrm>
            <a:prstGeom prst="line">
              <a:avLst/>
            </a:prstGeom>
            <a:noFill/>
            <a:ln w="12700">
              <a:solidFill>
                <a:sysClr val="windowText" lastClr="000000"/>
              </a:solidFill>
              <a:round/>
              <a:headEnd type="none" w="sm" len="sm"/>
              <a:tailEnd type="stealth" w="med" len="med"/>
            </a:ln>
            <a:effectLst/>
          </p:spPr>
          <p:txBody>
            <a:bodyPr wrap="none" lIns="91387" tIns="45693" rIns="91387" bIns="45693"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u="none" strike="noStrike" kern="0" cap="none" spc="0" normalizeH="0" baseline="0" noProof="0" dirty="0">
                <a:ln>
                  <a:noFill/>
                </a:ln>
                <a:solidFill>
                  <a:srgbClr val="FFFFFF"/>
                </a:solidFill>
                <a:effectLst/>
                <a:uLnTx/>
                <a:uFillTx/>
                <a:latin typeface="Open Sans" panose="020B0606030504020204" pitchFamily="34" charset="0"/>
                <a:ea typeface="+mn-ea"/>
                <a:cs typeface="Times New Roman" pitchFamily="18" charset="0"/>
              </a:endParaRPr>
            </a:p>
          </p:txBody>
        </p:sp>
        <p:sp>
          <p:nvSpPr>
            <p:cNvPr id="29" name="Line 9">
              <a:extLst>
                <a:ext uri="{FF2B5EF4-FFF2-40B4-BE49-F238E27FC236}">
                  <a16:creationId xmlns:a16="http://schemas.microsoft.com/office/drawing/2014/main" id="{79CE3EA0-8D6B-5B6D-BEFE-328347617EDA}"/>
                </a:ext>
              </a:extLst>
            </p:cNvPr>
            <p:cNvSpPr>
              <a:spLocks noChangeShapeType="1"/>
            </p:cNvSpPr>
            <p:nvPr/>
          </p:nvSpPr>
          <p:spPr bwMode="auto">
            <a:xfrm flipV="1">
              <a:off x="5614554" y="5819478"/>
              <a:ext cx="2465826" cy="14873"/>
            </a:xfrm>
            <a:prstGeom prst="line">
              <a:avLst/>
            </a:prstGeom>
            <a:noFill/>
            <a:ln w="12700">
              <a:solidFill>
                <a:sysClr val="windowText" lastClr="000000"/>
              </a:solidFill>
              <a:round/>
              <a:headEnd type="none" w="sm" len="sm"/>
              <a:tailEnd type="stealth" w="med" len="med"/>
            </a:ln>
            <a:effectLst/>
          </p:spPr>
          <p:txBody>
            <a:bodyPr wrap="none" lIns="91387" tIns="45693" rIns="91387" bIns="45693"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u="none" strike="noStrike" kern="0" cap="none" spc="0" normalizeH="0" baseline="0" noProof="0" dirty="0">
                <a:ln>
                  <a:noFill/>
                </a:ln>
                <a:solidFill>
                  <a:srgbClr val="FFFFFF"/>
                </a:solidFill>
                <a:effectLst/>
                <a:uLnTx/>
                <a:uFillTx/>
                <a:latin typeface="Open Sans" panose="020B0606030504020204" pitchFamily="34" charset="0"/>
                <a:ea typeface="+mn-ea"/>
                <a:cs typeface="Times New Roman" pitchFamily="18" charset="0"/>
              </a:endParaRPr>
            </a:p>
          </p:txBody>
        </p:sp>
        <p:sp>
          <p:nvSpPr>
            <p:cNvPr id="30" name="Rectangle 10">
              <a:extLst>
                <a:ext uri="{FF2B5EF4-FFF2-40B4-BE49-F238E27FC236}">
                  <a16:creationId xmlns:a16="http://schemas.microsoft.com/office/drawing/2014/main" id="{DB1B605D-3E0D-2FFF-FDF9-72615DEC6BF4}"/>
                </a:ext>
              </a:extLst>
            </p:cNvPr>
            <p:cNvSpPr>
              <a:spLocks noChangeArrowheads="1"/>
            </p:cNvSpPr>
            <p:nvPr/>
          </p:nvSpPr>
          <p:spPr bwMode="gray">
            <a:xfrm>
              <a:off x="5391150" y="2382838"/>
              <a:ext cx="1533525" cy="1660525"/>
            </a:xfrm>
            <a:prstGeom prst="rect">
              <a:avLst/>
            </a:prstGeom>
            <a:solidFill>
              <a:sysClr val="window" lastClr="FFFFFF">
                <a:alpha val="45000"/>
              </a:sysClr>
            </a:solidFill>
            <a:ln w="12700">
              <a:solidFill>
                <a:sysClr val="windowText" lastClr="000000"/>
              </a:solidFill>
              <a:miter lim="800000"/>
              <a:headEnd/>
              <a:tailEnd/>
            </a:ln>
            <a:effectLst/>
          </p:spPr>
          <p:txBody>
            <a:bodyPr wrap="none" lIns="90435" tIns="44424" rIns="90435" bIns="44424"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1" u="none" strike="noStrike" kern="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It depends</a:t>
              </a:r>
            </a:p>
          </p:txBody>
        </p:sp>
        <p:sp>
          <p:nvSpPr>
            <p:cNvPr id="60" name="Rectangle 11">
              <a:extLst>
                <a:ext uri="{FF2B5EF4-FFF2-40B4-BE49-F238E27FC236}">
                  <a16:creationId xmlns:a16="http://schemas.microsoft.com/office/drawing/2014/main" id="{B25F7484-217B-BF50-7A7A-F2748BF2C6B2}"/>
                </a:ext>
              </a:extLst>
            </p:cNvPr>
            <p:cNvSpPr>
              <a:spLocks noChangeArrowheads="1"/>
            </p:cNvSpPr>
            <p:nvPr/>
          </p:nvSpPr>
          <p:spPr bwMode="gray">
            <a:xfrm>
              <a:off x="6924675" y="2382838"/>
              <a:ext cx="1531938" cy="1660525"/>
            </a:xfrm>
            <a:prstGeom prst="rect">
              <a:avLst/>
            </a:prstGeom>
            <a:solidFill>
              <a:schemeClr val="accent3"/>
            </a:solidFill>
            <a:ln w="12700">
              <a:solidFill>
                <a:sysClr val="windowText" lastClr="000000"/>
              </a:solidFill>
              <a:miter lim="800000"/>
              <a:headEnd/>
              <a:tailEnd/>
            </a:ln>
            <a:effectLst/>
          </p:spPr>
          <p:txBody>
            <a:bodyPr lIns="90435" tIns="44424" rIns="90435" bIns="44424"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kely Candidates </a:t>
              </a:r>
              <a:br>
                <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r Automation</a:t>
              </a:r>
            </a:p>
          </p:txBody>
        </p:sp>
        <p:sp>
          <p:nvSpPr>
            <p:cNvPr id="61" name="Rectangle 12">
              <a:extLst>
                <a:ext uri="{FF2B5EF4-FFF2-40B4-BE49-F238E27FC236}">
                  <a16:creationId xmlns:a16="http://schemas.microsoft.com/office/drawing/2014/main" id="{F2831F0B-09F9-D43A-DD00-A690A2A41641}"/>
                </a:ext>
              </a:extLst>
            </p:cNvPr>
            <p:cNvSpPr>
              <a:spLocks noChangeArrowheads="1"/>
            </p:cNvSpPr>
            <p:nvPr/>
          </p:nvSpPr>
          <p:spPr bwMode="gray">
            <a:xfrm>
              <a:off x="5391150" y="4043365"/>
              <a:ext cx="1533525" cy="1660525"/>
            </a:xfrm>
            <a:prstGeom prst="rect">
              <a:avLst/>
            </a:prstGeom>
            <a:solidFill>
              <a:srgbClr val="75787B">
                <a:lumMod val="20000"/>
                <a:lumOff val="80000"/>
              </a:srgbClr>
            </a:solidFill>
            <a:ln w="12700">
              <a:solidFill>
                <a:sysClr val="windowText" lastClr="000000"/>
              </a:solidFill>
              <a:miter lim="800000"/>
              <a:headEnd/>
              <a:tailEnd/>
            </a:ln>
            <a:effectLst/>
          </p:spPr>
          <p:txBody>
            <a:bodyPr lIns="90435" tIns="44424" rIns="90435" bIns="44424"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nlikely Candidates</a:t>
              </a:r>
              <a:br>
                <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r Automation</a:t>
              </a:r>
            </a:p>
          </p:txBody>
        </p:sp>
        <p:sp>
          <p:nvSpPr>
            <p:cNvPr id="62" name="Rectangle 13">
              <a:extLst>
                <a:ext uri="{FF2B5EF4-FFF2-40B4-BE49-F238E27FC236}">
                  <a16:creationId xmlns:a16="http://schemas.microsoft.com/office/drawing/2014/main" id="{38F11625-492F-A070-387D-0DF1EDE324C5}"/>
                </a:ext>
              </a:extLst>
            </p:cNvPr>
            <p:cNvSpPr>
              <a:spLocks noChangeArrowheads="1"/>
            </p:cNvSpPr>
            <p:nvPr/>
          </p:nvSpPr>
          <p:spPr bwMode="gray">
            <a:xfrm>
              <a:off x="6924675" y="4043365"/>
              <a:ext cx="1531938" cy="1660525"/>
            </a:xfrm>
            <a:prstGeom prst="rect">
              <a:avLst/>
            </a:prstGeom>
            <a:noFill/>
            <a:ln w="12700">
              <a:solidFill>
                <a:sysClr val="windowText" lastClr="000000"/>
              </a:solidFill>
              <a:miter lim="800000"/>
              <a:headEnd/>
              <a:tailEnd/>
            </a:ln>
            <a:effectLst/>
          </p:spPr>
          <p:txBody>
            <a:bodyPr lIns="90435" tIns="44424" rIns="90435" bIns="44424"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1" u="none" strike="noStrike" kern="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It depends</a:t>
              </a:r>
              <a:endPar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63" name="Rectangle 62">
            <a:extLst>
              <a:ext uri="{FF2B5EF4-FFF2-40B4-BE49-F238E27FC236}">
                <a16:creationId xmlns:a16="http://schemas.microsoft.com/office/drawing/2014/main" id="{E3412ECF-BB6E-23FA-42B7-334C203B5728}"/>
              </a:ext>
            </a:extLst>
          </p:cNvPr>
          <p:cNvSpPr/>
          <p:nvPr/>
        </p:nvSpPr>
        <p:spPr>
          <a:xfrm>
            <a:off x="5855451" y="1834238"/>
            <a:ext cx="5852160" cy="54864"/>
          </a:xfrm>
          <a:prstGeom prst="rect">
            <a:avLst/>
          </a:prstGeom>
          <a:solidFill>
            <a:schemeClr val="accent3"/>
          </a:solidFill>
          <a:ln w="25400" cap="flat" cmpd="sng" algn="ctr">
            <a:solidFill>
              <a:schemeClr val="accent3"/>
            </a:solidFill>
            <a:prstDash val="solid"/>
          </a:ln>
          <a:effectLst/>
        </p:spPr>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67" b="1" i="0" u="none" strike="noStrike" kern="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40544242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A122BC83-9518-42F3-5ADD-D61CCD5C3A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0" name="think-cell data - do not delete" hidden="1">
                        <a:extLst>
                          <a:ext uri="{FF2B5EF4-FFF2-40B4-BE49-F238E27FC236}">
                            <a16:creationId xmlns:a16="http://schemas.microsoft.com/office/drawing/2014/main" id="{A122BC83-9518-42F3-5ADD-D61CCD5C3A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93C3D1B-5833-DAEF-81B1-22C935CE0F9E}"/>
              </a:ext>
            </a:extLst>
          </p:cNvPr>
          <p:cNvSpPr>
            <a:spLocks noGrp="1"/>
          </p:cNvSpPr>
          <p:nvPr>
            <p:ph type="body" sz="quarter" idx="22"/>
          </p:nvPr>
        </p:nvSpPr>
        <p:spPr/>
        <p:txBody>
          <a:bodyPr/>
          <a:lstStyle/>
          <a:p>
            <a:r>
              <a:rPr lang="en-US" sz="1800" dirty="0"/>
              <a:t>We will help </a:t>
            </a:r>
            <a:r>
              <a:rPr lang="hu-HU" sz="1800" dirty="0"/>
              <a:t>UNICEF</a:t>
            </a:r>
            <a:r>
              <a:rPr lang="en-US" sz="1800" dirty="0"/>
              <a:t> develop a business case to support automation at both the Program level and for the individual prioritized processes.</a:t>
            </a:r>
          </a:p>
        </p:txBody>
      </p:sp>
      <p:sp>
        <p:nvSpPr>
          <p:cNvPr id="3" name="Title 2">
            <a:extLst>
              <a:ext uri="{FF2B5EF4-FFF2-40B4-BE49-F238E27FC236}">
                <a16:creationId xmlns:a16="http://schemas.microsoft.com/office/drawing/2014/main" id="{0BFDFE43-513E-30F3-DFB9-E1EDC8DE3070}"/>
              </a:ext>
            </a:extLst>
          </p:cNvPr>
          <p:cNvSpPr>
            <a:spLocks noGrp="1"/>
          </p:cNvSpPr>
          <p:nvPr>
            <p:ph type="title"/>
          </p:nvPr>
        </p:nvSpPr>
        <p:spPr>
          <a:xfrm>
            <a:off x="463295" y="417911"/>
            <a:ext cx="11184846" cy="334099"/>
          </a:xfrm>
        </p:spPr>
        <p:txBody>
          <a:bodyPr vert="horz"/>
          <a:lstStyle/>
          <a:p>
            <a:r>
              <a:rPr lang="en-US" dirty="0"/>
              <a:t>Business Case development methodology</a:t>
            </a:r>
          </a:p>
        </p:txBody>
      </p:sp>
      <p:sp>
        <p:nvSpPr>
          <p:cNvPr id="4" name="AutoShape 3">
            <a:extLst>
              <a:ext uri="{FF2B5EF4-FFF2-40B4-BE49-F238E27FC236}">
                <a16:creationId xmlns:a16="http://schemas.microsoft.com/office/drawing/2014/main" id="{15FA5F18-C85F-3410-AF1C-843DAAC2D069}"/>
              </a:ext>
            </a:extLst>
          </p:cNvPr>
          <p:cNvSpPr>
            <a:spLocks noChangeArrowheads="1"/>
          </p:cNvSpPr>
          <p:nvPr/>
        </p:nvSpPr>
        <p:spPr bwMode="auto">
          <a:xfrm flipV="1">
            <a:off x="2549871" y="3045804"/>
            <a:ext cx="628212" cy="30897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accent3">
              <a:lumMod val="40000"/>
              <a:lumOff val="60000"/>
            </a:schemeClr>
          </a:solidFill>
          <a:ln w="12700">
            <a:solidFill>
              <a:schemeClr val="bg1"/>
            </a:solidFill>
            <a:miter lim="800000"/>
            <a:headEnd/>
            <a:tailEnd/>
          </a:ln>
        </p:spPr>
        <p:txBody>
          <a:bodyPr rot="10800000" wrap="none" lIns="36000" tIns="36000" rIns="36000" bIns="36000" anchor="ctr"/>
          <a:lstStyle/>
          <a:p>
            <a:pPr algn="ctr">
              <a:defRPr/>
            </a:pPr>
            <a:endPar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1" name="Group 6">
            <a:extLst>
              <a:ext uri="{FF2B5EF4-FFF2-40B4-BE49-F238E27FC236}">
                <a16:creationId xmlns:a16="http://schemas.microsoft.com/office/drawing/2014/main" id="{BC402361-1738-197E-98EE-FFF2F2C03FD6}"/>
              </a:ext>
            </a:extLst>
          </p:cNvPr>
          <p:cNvGrpSpPr>
            <a:grpSpLocks/>
          </p:cNvGrpSpPr>
          <p:nvPr/>
        </p:nvGrpSpPr>
        <p:grpSpPr bwMode="auto">
          <a:xfrm>
            <a:off x="1332993" y="2794723"/>
            <a:ext cx="3030546" cy="396489"/>
            <a:chOff x="1390" y="3234"/>
            <a:chExt cx="2929" cy="463"/>
          </a:xfrm>
        </p:grpSpPr>
        <p:sp>
          <p:nvSpPr>
            <p:cNvPr id="32" name="Freeform 7">
              <a:extLst>
                <a:ext uri="{FF2B5EF4-FFF2-40B4-BE49-F238E27FC236}">
                  <a16:creationId xmlns:a16="http://schemas.microsoft.com/office/drawing/2014/main" id="{C10F382F-C283-B8C6-1140-9FAB43FFF28D}"/>
                </a:ext>
              </a:extLst>
            </p:cNvPr>
            <p:cNvSpPr>
              <a:spLocks/>
            </p:cNvSpPr>
            <p:nvPr/>
          </p:nvSpPr>
          <p:spPr bwMode="auto">
            <a:xfrm>
              <a:off x="1390" y="3265"/>
              <a:ext cx="2929" cy="432"/>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chemeClr val="accent3">
                  <a:lumMod val="40000"/>
                  <a:lumOff val="60000"/>
                </a:schemeClr>
              </a:solidFill>
              <a:round/>
              <a:headEnd type="none" w="sm" len="sm"/>
              <a:tailEnd type="none" w="sm" len="sm"/>
            </a:ln>
          </p:spPr>
          <p:txBody>
            <a:bodyPr lIns="36000" tIns="36000" rIns="36000" bIns="36000"/>
            <a:lstStyle/>
            <a:p>
              <a:pPr>
                <a:defRPr/>
              </a:pPr>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Line 8">
              <a:extLst>
                <a:ext uri="{FF2B5EF4-FFF2-40B4-BE49-F238E27FC236}">
                  <a16:creationId xmlns:a16="http://schemas.microsoft.com/office/drawing/2014/main" id="{B8C88CCA-18C0-5EB6-A4AF-82614AA362D5}"/>
                </a:ext>
              </a:extLst>
            </p:cNvPr>
            <p:cNvSpPr>
              <a:spLocks noChangeShapeType="1"/>
            </p:cNvSpPr>
            <p:nvPr/>
          </p:nvSpPr>
          <p:spPr bwMode="auto">
            <a:xfrm rot="20993914" flipV="1">
              <a:off x="2829" y="3234"/>
              <a:ext cx="40" cy="411"/>
            </a:xfrm>
            <a:prstGeom prst="line">
              <a:avLst/>
            </a:prstGeom>
            <a:noFill/>
            <a:ln w="57150">
              <a:solidFill>
                <a:schemeClr val="accent3">
                  <a:lumMod val="40000"/>
                  <a:lumOff val="60000"/>
                </a:schemeClr>
              </a:solidFill>
              <a:round/>
              <a:headEnd/>
              <a:tailEnd type="triangle" w="med" len="med"/>
            </a:ln>
          </p:spPr>
          <p:txBody>
            <a:bodyPr wrap="none" lIns="36000" tIns="36000" rIns="36000" bIns="36000" anchor="ctr"/>
            <a:lstStyle/>
            <a:p>
              <a:pPr>
                <a:defRPr/>
              </a:pPr>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4" name="Text Box 10">
            <a:extLst>
              <a:ext uri="{FF2B5EF4-FFF2-40B4-BE49-F238E27FC236}">
                <a16:creationId xmlns:a16="http://schemas.microsoft.com/office/drawing/2014/main" id="{4B5CAF40-0B1E-8E62-8658-1466188B55F4}"/>
              </a:ext>
            </a:extLst>
          </p:cNvPr>
          <p:cNvSpPr txBox="1">
            <a:spLocks noChangeArrowheads="1"/>
          </p:cNvSpPr>
          <p:nvPr/>
        </p:nvSpPr>
        <p:spPr bwMode="auto">
          <a:xfrm>
            <a:off x="374988" y="2180196"/>
            <a:ext cx="2078145" cy="225623"/>
          </a:xfrm>
          <a:prstGeom prst="rect">
            <a:avLst/>
          </a:prstGeom>
          <a:solidFill>
            <a:schemeClr val="accent3"/>
          </a:solidFill>
          <a:ln w="12700" algn="ctr">
            <a:noFill/>
            <a:miter lim="800000"/>
            <a:headEnd/>
            <a:tailEnd type="none" w="sm" len="med"/>
          </a:ln>
        </p:spPr>
        <p:txBody>
          <a:bodyPr lIns="91440" tIns="91440" rIns="91440" bIns="91440" anchor="ctr" anchorCtr="0"/>
          <a:lstStyle/>
          <a:p>
            <a:pPr algn="ctr" defTabSz="957263"/>
            <a:r>
              <a:rPr lang="en-US" sz="1100" dirty="0">
                <a:solidFill>
                  <a:prstClr val="white"/>
                </a:solidFill>
                <a:latin typeface="Open Sans" panose="020B0606030504020204" pitchFamily="34" charset="0"/>
                <a:ea typeface="Open Sans" panose="020B0606030504020204" pitchFamily="34" charset="0"/>
                <a:cs typeface="Open Sans" panose="020B0606030504020204" pitchFamily="34" charset="0"/>
              </a:rPr>
              <a:t>Value</a:t>
            </a:r>
          </a:p>
        </p:txBody>
      </p:sp>
      <p:sp>
        <p:nvSpPr>
          <p:cNvPr id="35" name="Text Box 10">
            <a:extLst>
              <a:ext uri="{FF2B5EF4-FFF2-40B4-BE49-F238E27FC236}">
                <a16:creationId xmlns:a16="http://schemas.microsoft.com/office/drawing/2014/main" id="{B75B775E-0402-27DF-6F81-E2D7C65D41A9}"/>
              </a:ext>
            </a:extLst>
          </p:cNvPr>
          <p:cNvSpPr txBox="1">
            <a:spLocks noChangeArrowheads="1"/>
          </p:cNvSpPr>
          <p:nvPr/>
        </p:nvSpPr>
        <p:spPr bwMode="auto">
          <a:xfrm>
            <a:off x="3181647" y="1959611"/>
            <a:ext cx="2078145" cy="216910"/>
          </a:xfrm>
          <a:prstGeom prst="rect">
            <a:avLst/>
          </a:prstGeom>
          <a:solidFill>
            <a:schemeClr val="accent3"/>
          </a:solidFill>
          <a:ln w="12700" algn="ctr">
            <a:noFill/>
            <a:miter lim="800000"/>
            <a:headEnd/>
            <a:tailEnd type="none" w="sm" len="med"/>
          </a:ln>
        </p:spPr>
        <p:txBody>
          <a:bodyPr lIns="91440" tIns="91440" rIns="91440" bIns="91440" anchor="ctr" anchorCtr="0"/>
          <a:lstStyle/>
          <a:p>
            <a:pPr algn="ctr" defTabSz="957263"/>
            <a:r>
              <a:rPr lang="en-US" sz="1100" dirty="0">
                <a:solidFill>
                  <a:prstClr val="white"/>
                </a:solidFill>
                <a:latin typeface="Open Sans" panose="020B0606030504020204" pitchFamily="34" charset="0"/>
                <a:ea typeface="Open Sans" panose="020B0606030504020204" pitchFamily="34" charset="0"/>
                <a:cs typeface="Open Sans" panose="020B0606030504020204" pitchFamily="34" charset="0"/>
              </a:rPr>
              <a:t>Complexity and Cost</a:t>
            </a:r>
          </a:p>
        </p:txBody>
      </p:sp>
      <p:sp>
        <p:nvSpPr>
          <p:cNvPr id="36" name="Line 4">
            <a:extLst>
              <a:ext uri="{FF2B5EF4-FFF2-40B4-BE49-F238E27FC236}">
                <a16:creationId xmlns:a16="http://schemas.microsoft.com/office/drawing/2014/main" id="{FF11E1BC-051C-3175-7881-6197855DA9E2}"/>
              </a:ext>
            </a:extLst>
          </p:cNvPr>
          <p:cNvSpPr>
            <a:spLocks noChangeShapeType="1"/>
          </p:cNvSpPr>
          <p:nvPr/>
        </p:nvSpPr>
        <p:spPr bwMode="auto">
          <a:xfrm>
            <a:off x="374988" y="2999759"/>
            <a:ext cx="2078145" cy="0"/>
          </a:xfrm>
          <a:prstGeom prst="line">
            <a:avLst/>
          </a:prstGeom>
          <a:noFill/>
          <a:ln w="57150">
            <a:solidFill>
              <a:schemeClr val="accent3"/>
            </a:solidFill>
            <a:round/>
            <a:headEnd type="none" w="sm" len="sm"/>
            <a:tailEnd type="none" w="sm" len="sm"/>
          </a:ln>
        </p:spPr>
        <p:txBody>
          <a:bodyPr wrap="none" lIns="36000" tIns="36000" rIns="36000" bIns="36000" anchor="ctr"/>
          <a:lstStyle/>
          <a:p>
            <a:pPr>
              <a:defRPr/>
            </a:pPr>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Line 5">
            <a:extLst>
              <a:ext uri="{FF2B5EF4-FFF2-40B4-BE49-F238E27FC236}">
                <a16:creationId xmlns:a16="http://schemas.microsoft.com/office/drawing/2014/main" id="{47B4E0CA-A3DE-52B2-61F6-B07BFE2B74BC}"/>
              </a:ext>
            </a:extLst>
          </p:cNvPr>
          <p:cNvSpPr>
            <a:spLocks noChangeShapeType="1"/>
          </p:cNvSpPr>
          <p:nvPr/>
        </p:nvSpPr>
        <p:spPr bwMode="auto">
          <a:xfrm>
            <a:off x="3181647" y="2750598"/>
            <a:ext cx="2078145" cy="0"/>
          </a:xfrm>
          <a:prstGeom prst="line">
            <a:avLst/>
          </a:prstGeom>
          <a:noFill/>
          <a:ln w="57150">
            <a:solidFill>
              <a:schemeClr val="accent3"/>
            </a:solidFill>
            <a:round/>
            <a:headEnd type="none" w="sm" len="sm"/>
            <a:tailEnd type="none" w="sm" len="sm"/>
          </a:ln>
        </p:spPr>
        <p:txBody>
          <a:bodyPr wrap="none" lIns="36000" tIns="36000" rIns="36000" bIns="36000" anchor="ctr"/>
          <a:lstStyle/>
          <a:p>
            <a:pPr>
              <a:defRPr/>
            </a:pPr>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a:extLst>
              <a:ext uri="{FF2B5EF4-FFF2-40B4-BE49-F238E27FC236}">
                <a16:creationId xmlns:a16="http://schemas.microsoft.com/office/drawing/2014/main" id="{4819A4EE-A0E2-7339-F698-EF45E7CE7440}"/>
              </a:ext>
            </a:extLst>
          </p:cNvPr>
          <p:cNvSpPr/>
          <p:nvPr/>
        </p:nvSpPr>
        <p:spPr>
          <a:xfrm>
            <a:off x="1463445" y="1575069"/>
            <a:ext cx="2175853" cy="276999"/>
          </a:xfrm>
          <a:prstGeom prst="rect">
            <a:avLst/>
          </a:prstGeom>
        </p:spPr>
        <p:txBody>
          <a:bodyPr wrap="none">
            <a:spAutoFit/>
          </a:bodyPr>
          <a:lstStyle/>
          <a:p>
            <a:pPr algn="ct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Business Case Framework</a:t>
            </a:r>
          </a:p>
        </p:txBody>
      </p:sp>
      <p:sp>
        <p:nvSpPr>
          <p:cNvPr id="39" name="Rectangle 38">
            <a:extLst>
              <a:ext uri="{FF2B5EF4-FFF2-40B4-BE49-F238E27FC236}">
                <a16:creationId xmlns:a16="http://schemas.microsoft.com/office/drawing/2014/main" id="{F3254D8A-946F-3761-68A5-FA03E7B07945}"/>
              </a:ext>
            </a:extLst>
          </p:cNvPr>
          <p:cNvSpPr/>
          <p:nvPr/>
        </p:nvSpPr>
        <p:spPr>
          <a:xfrm>
            <a:off x="399882" y="1840973"/>
            <a:ext cx="4877779" cy="47664"/>
          </a:xfrm>
          <a:prstGeom prst="rect">
            <a:avLst/>
          </a:prstGeom>
          <a:solidFill>
            <a:schemeClr val="accent3"/>
          </a:solidFill>
          <a:ln w="25400" cap="flat" cmpd="sng" algn="ctr">
            <a:solidFill>
              <a:schemeClr val="accent3"/>
            </a:solidFill>
            <a:prstDash val="solid"/>
          </a:ln>
          <a:effectLst/>
        </p:spPr>
        <p:txBody>
          <a:bodyPr rtlCol="0" anchor="t"/>
          <a:lstStyle/>
          <a:p>
            <a:pPr algn="ctr">
              <a:defRPr/>
            </a:pPr>
            <a:endParaRPr lang="en-US" sz="1467"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19E82CDA-74CD-6490-718C-083EE69E4895}"/>
              </a:ext>
            </a:extLst>
          </p:cNvPr>
          <p:cNvSpPr/>
          <p:nvPr/>
        </p:nvSpPr>
        <p:spPr bwMode="gray">
          <a:xfrm>
            <a:off x="3181647" y="2207008"/>
            <a:ext cx="2078145" cy="225623"/>
          </a:xfrm>
          <a:prstGeom prst="rect">
            <a:avLst/>
          </a:prstGeom>
          <a:solidFill>
            <a:schemeClr val="bg1">
              <a:lumMod val="85000"/>
            </a:schemeClr>
          </a:solidFill>
          <a:ln w="9525" algn="ctr">
            <a:noFill/>
            <a:miter lim="800000"/>
            <a:headEnd/>
            <a:tailEnd/>
          </a:ln>
        </p:spPr>
        <p:txBody>
          <a:bodyPr lIns="45720" rIns="45720" rtlCol="0" anchor="t"/>
          <a:lstStyle/>
          <a:p>
            <a:pPr algn="ct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cellence Cost</a:t>
            </a:r>
            <a:endParaRPr lang="en-US" sz="10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lgn="ctr"/>
            <a:endPar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Rectangle 40">
            <a:extLst>
              <a:ext uri="{FF2B5EF4-FFF2-40B4-BE49-F238E27FC236}">
                <a16:creationId xmlns:a16="http://schemas.microsoft.com/office/drawing/2014/main" id="{55010E57-94BF-7ABA-85E0-556B2F6EABE6}"/>
              </a:ext>
            </a:extLst>
          </p:cNvPr>
          <p:cNvSpPr/>
          <p:nvPr/>
        </p:nvSpPr>
        <p:spPr bwMode="gray">
          <a:xfrm>
            <a:off x="349454" y="5229032"/>
            <a:ext cx="4877779" cy="1021907"/>
          </a:xfrm>
          <a:prstGeom prst="rect">
            <a:avLst/>
          </a:prstGeom>
          <a:noFill/>
          <a:ln w="9525" algn="ctr">
            <a:noFill/>
            <a:miter lim="800000"/>
            <a:headEnd/>
            <a:tailEnd/>
          </a:ln>
        </p:spPr>
        <p:txBody>
          <a:bodyPr lIns="45720" rIns="45720" numCol="2" rtlCol="0" anchor="t"/>
          <a:lstStyle/>
          <a:p>
            <a:pPr>
              <a:spcBef>
                <a:spcPts val="600"/>
              </a:spcBef>
            </a:pPr>
            <a:r>
              <a:rPr lang="en-US" sz="1000" u="sng" dirty="0">
                <a:solidFill>
                  <a:prstClr val="black"/>
                </a:solidFill>
                <a:latin typeface="Open Sans" panose="020B0606030504020204" pitchFamily="34" charset="0"/>
                <a:cs typeface="Open Sans" panose="020B0606030504020204" pitchFamily="34" charset="0"/>
              </a:rPr>
              <a:t>Quantitative Factors:</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cs typeface="Open Sans" panose="020B0606030504020204" pitchFamily="34" charset="0"/>
              </a:rPr>
              <a:t>Volume</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cs typeface="Open Sans" panose="020B0606030504020204" pitchFamily="34" charset="0"/>
              </a:rPr>
              <a:t>Handoffs</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cs typeface="Open Sans" panose="020B0606030504020204" pitchFamily="34" charset="0"/>
              </a:rPr>
              <a:t>Departments / Systems</a:t>
            </a:r>
          </a:p>
          <a:p>
            <a:pPr>
              <a:spcBef>
                <a:spcPts val="600"/>
              </a:spcBef>
            </a:pPr>
            <a:endParaRPr lang="en-US" sz="1000" dirty="0">
              <a:solidFill>
                <a:prstClr val="black"/>
              </a:solidFill>
              <a:latin typeface="Open Sans" panose="020B0606030504020204" pitchFamily="34" charset="0"/>
              <a:cs typeface="Open Sans" panose="020B0606030504020204" pitchFamily="34" charset="0"/>
            </a:endParaRPr>
          </a:p>
          <a:p>
            <a:pPr>
              <a:spcBef>
                <a:spcPts val="600"/>
              </a:spcBef>
            </a:pPr>
            <a:r>
              <a:rPr lang="en-US" sz="1000" u="sng" dirty="0">
                <a:solidFill>
                  <a:prstClr val="black"/>
                </a:solidFill>
                <a:latin typeface="Open Sans" panose="020B0606030504020204" pitchFamily="34" charset="0"/>
                <a:cs typeface="Open Sans" panose="020B0606030504020204" pitchFamily="34" charset="0"/>
              </a:rPr>
              <a:t>Qualitative Factors:</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cs typeface="Open Sans" panose="020B0606030504020204" pitchFamily="34" charset="0"/>
              </a:rPr>
              <a:t>Complex Decisions</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cs typeface="Open Sans" panose="020B0606030504020204" pitchFamily="34" charset="0"/>
              </a:rPr>
              <a:t>Environment Mirroring</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cs typeface="Open Sans" panose="020B0606030504020204" pitchFamily="34" charset="0"/>
              </a:rPr>
              <a:t>Test Data Availability </a:t>
            </a:r>
          </a:p>
          <a:p>
            <a:pPr marL="171450" indent="-171450">
              <a:spcBef>
                <a:spcPts val="600"/>
              </a:spcBef>
              <a:buFont typeface="Arial" panose="020B0604020202020204" pitchFamily="34" charset="0"/>
              <a:buChar char="•"/>
            </a:pPr>
            <a:endParaRPr lang="en-US" sz="1000" dirty="0">
              <a:solidFill>
                <a:prstClr val="black"/>
              </a:solidFill>
              <a:latin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C693EB09-9066-A909-6E1A-FEF8DBDA7183}"/>
              </a:ext>
            </a:extLst>
          </p:cNvPr>
          <p:cNvSpPr/>
          <p:nvPr/>
        </p:nvSpPr>
        <p:spPr>
          <a:xfrm>
            <a:off x="233214" y="4925988"/>
            <a:ext cx="1553759" cy="276999"/>
          </a:xfrm>
          <a:prstGeom prst="rect">
            <a:avLst/>
          </a:prstGeom>
        </p:spPr>
        <p:txBody>
          <a:bodyPr wrap="none">
            <a:spAutoFit/>
          </a:bodyPr>
          <a:lstStyle/>
          <a:p>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Complexity Metrics</a:t>
            </a:r>
            <a:endPar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42">
            <a:extLst>
              <a:ext uri="{FF2B5EF4-FFF2-40B4-BE49-F238E27FC236}">
                <a16:creationId xmlns:a16="http://schemas.microsoft.com/office/drawing/2014/main" id="{F5D72AA6-5E1A-22A0-9CEC-C1457380EA8C}"/>
              </a:ext>
            </a:extLst>
          </p:cNvPr>
          <p:cNvSpPr/>
          <p:nvPr/>
        </p:nvSpPr>
        <p:spPr>
          <a:xfrm>
            <a:off x="349454" y="5168353"/>
            <a:ext cx="4877779" cy="47664"/>
          </a:xfrm>
          <a:prstGeom prst="rect">
            <a:avLst/>
          </a:prstGeom>
          <a:solidFill>
            <a:schemeClr val="accent3"/>
          </a:solidFill>
          <a:ln w="25400" cap="flat" cmpd="sng" algn="ctr">
            <a:solidFill>
              <a:schemeClr val="accent3"/>
            </a:solidFill>
            <a:prstDash val="solid"/>
          </a:ln>
          <a:effectLst/>
        </p:spPr>
        <p:txBody>
          <a:bodyPr rtlCol="0" anchor="t"/>
          <a:lstStyle/>
          <a:p>
            <a:pPr algn="ctr">
              <a:defRPr/>
            </a:pPr>
            <a:endParaRPr lang="en-US" sz="1467"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C9A2718B-4415-C619-5B0C-B6A885365A0B}"/>
              </a:ext>
            </a:extLst>
          </p:cNvPr>
          <p:cNvSpPr/>
          <p:nvPr/>
        </p:nvSpPr>
        <p:spPr bwMode="gray">
          <a:xfrm>
            <a:off x="374988" y="2447127"/>
            <a:ext cx="2078145" cy="225623"/>
          </a:xfrm>
          <a:prstGeom prst="rect">
            <a:avLst/>
          </a:prstGeom>
          <a:solidFill>
            <a:schemeClr val="bg1">
              <a:lumMod val="85000"/>
            </a:schemeClr>
          </a:solidFill>
          <a:ln w="9525" algn="ctr">
            <a:noFill/>
            <a:miter lim="800000"/>
            <a:headEnd/>
            <a:tailEnd/>
          </a:ln>
        </p:spPr>
        <p:txBody>
          <a:bodyPr lIns="0" tIns="0" rIns="0" bIns="0" rtlCol="0" anchor="ctr"/>
          <a:lstStyle/>
          <a:p>
            <a:pPr algn="ct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Time Saving Cost Reduction</a:t>
            </a:r>
            <a:endParaRPr lang="en-US" sz="10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03F6D1C9-5B63-68E1-6F48-332494B35CEB}"/>
              </a:ext>
            </a:extLst>
          </p:cNvPr>
          <p:cNvSpPr/>
          <p:nvPr/>
        </p:nvSpPr>
        <p:spPr bwMode="gray">
          <a:xfrm>
            <a:off x="374988" y="2709792"/>
            <a:ext cx="2078145" cy="225623"/>
          </a:xfrm>
          <a:prstGeom prst="rect">
            <a:avLst/>
          </a:prstGeom>
          <a:solidFill>
            <a:schemeClr val="bg1">
              <a:lumMod val="85000"/>
            </a:schemeClr>
          </a:solidFill>
          <a:ln w="9525" algn="ctr">
            <a:noFill/>
            <a:miter lim="800000"/>
            <a:headEnd/>
            <a:tailEnd/>
          </a:ln>
        </p:spPr>
        <p:txBody>
          <a:bodyPr lIns="45720" rIns="45720" rtlCol="0" anchor="t"/>
          <a:lstStyle/>
          <a:p>
            <a:pPr algn="ct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rror Cost Reduction</a:t>
            </a:r>
          </a:p>
        </p:txBody>
      </p:sp>
      <p:sp>
        <p:nvSpPr>
          <p:cNvPr id="46" name="Rectangle 45">
            <a:extLst>
              <a:ext uri="{FF2B5EF4-FFF2-40B4-BE49-F238E27FC236}">
                <a16:creationId xmlns:a16="http://schemas.microsoft.com/office/drawing/2014/main" id="{BD08153C-8AC4-8999-329E-966248AC82CC}"/>
              </a:ext>
            </a:extLst>
          </p:cNvPr>
          <p:cNvSpPr/>
          <p:nvPr/>
        </p:nvSpPr>
        <p:spPr>
          <a:xfrm>
            <a:off x="301030" y="3389523"/>
            <a:ext cx="1146596" cy="276999"/>
          </a:xfrm>
          <a:prstGeom prst="rect">
            <a:avLst/>
          </a:prstGeom>
        </p:spPr>
        <p:txBody>
          <a:bodyPr wrap="none">
            <a:spAutoFit/>
          </a:bodyPr>
          <a:lstStyle/>
          <a:p>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Value Metrics</a:t>
            </a:r>
            <a:endPar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a:extLst>
              <a:ext uri="{FF2B5EF4-FFF2-40B4-BE49-F238E27FC236}">
                <a16:creationId xmlns:a16="http://schemas.microsoft.com/office/drawing/2014/main" id="{FE98046F-F5FD-4DAD-3719-B4BD85DBEAF4}"/>
              </a:ext>
            </a:extLst>
          </p:cNvPr>
          <p:cNvSpPr/>
          <p:nvPr/>
        </p:nvSpPr>
        <p:spPr>
          <a:xfrm>
            <a:off x="369513" y="3626395"/>
            <a:ext cx="4877779" cy="47664"/>
          </a:xfrm>
          <a:prstGeom prst="rect">
            <a:avLst/>
          </a:prstGeom>
          <a:solidFill>
            <a:schemeClr val="accent3"/>
          </a:solidFill>
          <a:ln w="25400" cap="flat" cmpd="sng" algn="ctr">
            <a:solidFill>
              <a:schemeClr val="accent3"/>
            </a:solidFill>
            <a:prstDash val="solid"/>
          </a:ln>
          <a:effectLst/>
        </p:spPr>
        <p:txBody>
          <a:bodyPr rtlCol="0" anchor="t"/>
          <a:lstStyle/>
          <a:p>
            <a:pPr algn="ctr">
              <a:defRPr/>
            </a:pPr>
            <a:endParaRPr lang="en-US" sz="1467"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a:extLst>
              <a:ext uri="{FF2B5EF4-FFF2-40B4-BE49-F238E27FC236}">
                <a16:creationId xmlns:a16="http://schemas.microsoft.com/office/drawing/2014/main" id="{39FF07F4-E78E-9A4C-D84E-6CF8CFE4C27B}"/>
              </a:ext>
            </a:extLst>
          </p:cNvPr>
          <p:cNvSpPr/>
          <p:nvPr/>
        </p:nvSpPr>
        <p:spPr bwMode="gray">
          <a:xfrm>
            <a:off x="3181647" y="2463117"/>
            <a:ext cx="2078145" cy="225623"/>
          </a:xfrm>
          <a:prstGeom prst="rect">
            <a:avLst/>
          </a:prstGeom>
          <a:solidFill>
            <a:schemeClr val="bg1">
              <a:lumMod val="85000"/>
            </a:schemeClr>
          </a:solidFill>
          <a:ln w="9525" algn="ctr">
            <a:noFill/>
            <a:miter lim="800000"/>
            <a:headEnd/>
            <a:tailEnd/>
          </a:ln>
        </p:spPr>
        <p:txBody>
          <a:bodyPr lIns="45720" rIns="45720" rtlCol="0" anchor="t"/>
          <a:lstStyle/>
          <a:p>
            <a:pPr algn="ct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nnual Maintenance Cost</a:t>
            </a:r>
            <a:endParaRPr lang="en-US" sz="10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lgn="ctr"/>
            <a:endPar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Rectangle 48">
            <a:extLst>
              <a:ext uri="{FF2B5EF4-FFF2-40B4-BE49-F238E27FC236}">
                <a16:creationId xmlns:a16="http://schemas.microsoft.com/office/drawing/2014/main" id="{A120DE58-CF3C-2859-1AD7-10BE4E5546E4}"/>
              </a:ext>
            </a:extLst>
          </p:cNvPr>
          <p:cNvSpPr/>
          <p:nvPr/>
        </p:nvSpPr>
        <p:spPr bwMode="gray">
          <a:xfrm>
            <a:off x="349454" y="3649205"/>
            <a:ext cx="4877779" cy="1279273"/>
          </a:xfrm>
          <a:prstGeom prst="rect">
            <a:avLst/>
          </a:prstGeom>
          <a:noFill/>
          <a:ln w="9525" algn="ctr">
            <a:noFill/>
            <a:miter lim="800000"/>
            <a:headEnd/>
            <a:tailEnd/>
          </a:ln>
        </p:spPr>
        <p:txBody>
          <a:bodyPr lIns="45720" rIns="45720" numCol="2" rtlCol="0" anchor="t"/>
          <a:lstStyle/>
          <a:p>
            <a:pPr>
              <a:spcBef>
                <a:spcPts val="600"/>
              </a:spcBef>
            </a:pPr>
            <a:r>
              <a:rPr lang="en-US" sz="1000" b="1" u="sng" dirty="0">
                <a:solidFill>
                  <a:prstClr val="black"/>
                </a:solidFill>
                <a:latin typeface="Open Sans" panose="020B0606030504020204" pitchFamily="34" charset="0"/>
                <a:ea typeface="Open Sans" panose="020B0606030504020204" pitchFamily="34" charset="0"/>
                <a:cs typeface="Open Sans" panose="020B0606030504020204" pitchFamily="34" charset="0"/>
              </a:rPr>
              <a:t>Quantitative Factors:</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FTEs</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FTE Cost</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Error Frequency</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Error Impact</a:t>
            </a:r>
          </a:p>
          <a:p>
            <a:pPr>
              <a:spcBef>
                <a:spcPts val="600"/>
              </a:spcBef>
            </a:pPr>
            <a:r>
              <a:rPr lang="en-US" sz="1000" b="1" u="sng" dirty="0">
                <a:solidFill>
                  <a:prstClr val="black"/>
                </a:solidFill>
                <a:latin typeface="Open Sans" panose="020B0606030504020204" pitchFamily="34" charset="0"/>
                <a:ea typeface="Open Sans" panose="020B0606030504020204" pitchFamily="34" charset="0"/>
                <a:cs typeface="Open Sans" panose="020B0606030504020204" pitchFamily="34" charset="0"/>
              </a:rPr>
              <a:t>Qualitative Factors:</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Customer Facing</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ssociate Pain Point</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Compliance Process</a:t>
            </a:r>
          </a:p>
          <a:p>
            <a:pPr marL="171450" indent="-171450">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Volume Variability</a:t>
            </a:r>
          </a:p>
        </p:txBody>
      </p:sp>
      <p:pic>
        <p:nvPicPr>
          <p:cNvPr id="50" name="Picture 49">
            <a:extLst>
              <a:ext uri="{FF2B5EF4-FFF2-40B4-BE49-F238E27FC236}">
                <a16:creationId xmlns:a16="http://schemas.microsoft.com/office/drawing/2014/main" id="{2B786F12-30A7-FE50-094B-58B9FAA9EF9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12053" y="1959611"/>
            <a:ext cx="6204033" cy="4135975"/>
          </a:xfrm>
          <a:prstGeom prst="rect">
            <a:avLst/>
          </a:prstGeom>
        </p:spPr>
      </p:pic>
      <p:sp>
        <p:nvSpPr>
          <p:cNvPr id="51" name="TextBox 50">
            <a:extLst>
              <a:ext uri="{FF2B5EF4-FFF2-40B4-BE49-F238E27FC236}">
                <a16:creationId xmlns:a16="http://schemas.microsoft.com/office/drawing/2014/main" id="{0BA79AB8-72AE-14F5-025D-D2902A4C0CA8}"/>
              </a:ext>
            </a:extLst>
          </p:cNvPr>
          <p:cNvSpPr txBox="1"/>
          <p:nvPr/>
        </p:nvSpPr>
        <p:spPr>
          <a:xfrm>
            <a:off x="6567559" y="1638967"/>
            <a:ext cx="4701565" cy="382349"/>
          </a:xfrm>
          <a:prstGeom prst="rect">
            <a:avLst/>
          </a:prstGeom>
          <a:noFill/>
        </p:spPr>
        <p:txBody>
          <a:bodyPr vert="horz" wrap="square" lIns="0" tIns="0" rIns="0" bIns="0" rtlCol="0">
            <a:spAutoFit/>
          </a:bodyPr>
          <a:lstStyle/>
          <a:p>
            <a:pPr algn="ctr">
              <a:lnSpc>
                <a:spcPct val="106000"/>
              </a:lnSpc>
              <a:spcBef>
                <a:spcPct val="80000"/>
              </a:spcBef>
              <a:buClr>
                <a:srgbClr val="000000"/>
              </a:buClr>
              <a:defRPr/>
            </a:pP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Example Output: Corporate or Functional Business Case Model </a:t>
            </a:r>
          </a:p>
        </p:txBody>
      </p:sp>
      <p:sp>
        <p:nvSpPr>
          <p:cNvPr id="52" name="Isosceles Triangle 51">
            <a:extLst>
              <a:ext uri="{FF2B5EF4-FFF2-40B4-BE49-F238E27FC236}">
                <a16:creationId xmlns:a16="http://schemas.microsoft.com/office/drawing/2014/main" id="{2E850F24-4F13-3D5E-A1F8-3F658F93C4C4}"/>
              </a:ext>
            </a:extLst>
          </p:cNvPr>
          <p:cNvSpPr/>
          <p:nvPr/>
        </p:nvSpPr>
        <p:spPr bwMode="auto">
          <a:xfrm rot="5400000">
            <a:off x="3314604" y="3913111"/>
            <a:ext cx="4398872" cy="276787"/>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fontAlgn="base">
              <a:lnSpc>
                <a:spcPct val="120000"/>
              </a:lnSpc>
              <a:spcBef>
                <a:spcPct val="20000"/>
              </a:spcBef>
              <a:spcAft>
                <a:spcPct val="0"/>
              </a:spcAft>
            </a:pPr>
            <a:endParaRPr lang="en-US" sz="1400" b="1" dirty="0">
              <a:solidFill>
                <a:prstClr val="white"/>
              </a:solidFill>
            </a:endParaRPr>
          </a:p>
        </p:txBody>
      </p:sp>
    </p:spTree>
    <p:extLst>
      <p:ext uri="{BB962C8B-B14F-4D97-AF65-F5344CB8AC3E}">
        <p14:creationId xmlns:p14="http://schemas.microsoft.com/office/powerpoint/2010/main" val="16473279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7503F8-A04E-63CC-D80C-9D63D49785A4}"/>
              </a:ext>
            </a:extLst>
          </p:cNvPr>
          <p:cNvGraphicFramePr>
            <a:graphicFrameLocks noChangeAspect="1"/>
          </p:cNvGraphicFramePr>
          <p:nvPr>
            <p:custDataLst>
              <p:tags r:id="rId1"/>
            </p:custDataLst>
            <p:extLst>
              <p:ext uri="{D42A27DB-BD31-4B8C-83A1-F6EECF244321}">
                <p14:modId xmlns:p14="http://schemas.microsoft.com/office/powerpoint/2010/main" val="231627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7D7503F8-A04E-63CC-D80C-9D63D49785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960C9063-8D2B-B56B-E57D-CB4EFECAB83A}"/>
              </a:ext>
            </a:extLst>
          </p:cNvPr>
          <p:cNvSpPr>
            <a:spLocks noGrp="1"/>
          </p:cNvSpPr>
          <p:nvPr>
            <p:ph type="body" sz="quarter" idx="12"/>
          </p:nvPr>
        </p:nvSpPr>
        <p:spPr>
          <a:xfrm>
            <a:off x="6864964" y="2759090"/>
            <a:ext cx="4524376" cy="1431193"/>
          </a:xfrm>
        </p:spPr>
        <p:txBody>
          <a:bodyPr/>
          <a:lstStyle/>
          <a:p>
            <a:r>
              <a:rPr lang="en-US" dirty="0"/>
              <a:t>Our Shared Values</a:t>
            </a:r>
            <a:endParaRPr lang="en-US"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24F4CC36-248A-BADB-AC2E-93252F0676D1}"/>
              </a:ext>
            </a:extLst>
          </p:cNvPr>
          <p:cNvSpPr>
            <a:spLocks noGrp="1"/>
          </p:cNvSpPr>
          <p:nvPr>
            <p:ph type="body" sz="quarter" idx="14"/>
          </p:nvPr>
        </p:nvSpPr>
        <p:spPr>
          <a:xfrm>
            <a:off x="6864964" y="1447838"/>
            <a:ext cx="1638299" cy="900720"/>
          </a:xfrm>
        </p:spPr>
        <p:txBody>
          <a:bodyPr/>
          <a:lstStyle/>
          <a:p>
            <a:r>
              <a:rPr lang="en-US"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02</a:t>
            </a:r>
          </a:p>
        </p:txBody>
      </p:sp>
      <p:sp>
        <p:nvSpPr>
          <p:cNvPr id="8" name="Text Placeholder 7">
            <a:extLst>
              <a:ext uri="{FF2B5EF4-FFF2-40B4-BE49-F238E27FC236}">
                <a16:creationId xmlns:a16="http://schemas.microsoft.com/office/drawing/2014/main" id="{3459877A-FB34-E0EF-0D77-535711160A1A}"/>
              </a:ext>
            </a:extLst>
          </p:cNvPr>
          <p:cNvSpPr>
            <a:spLocks noGrp="1"/>
          </p:cNvSpPr>
          <p:nvPr>
            <p:ph type="body" sz="quarter" idx="15"/>
          </p:nvPr>
        </p:nvSpPr>
        <p:spPr>
          <a:xfrm>
            <a:off x="6864964" y="3781425"/>
            <a:ext cx="4156075" cy="1508647"/>
          </a:xfrm>
        </p:spPr>
        <p:txBody>
          <a:bodyPr/>
          <a:lstStyle/>
          <a:p>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a:p>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 name="Picture Placeholder 7">
            <a:extLst>
              <a:ext uri="{FF2B5EF4-FFF2-40B4-BE49-F238E27FC236}">
                <a16:creationId xmlns:a16="http://schemas.microsoft.com/office/drawing/2014/main" id="{5F1C4394-8B2F-0A69-337C-DD25900E6EF0}"/>
              </a:ext>
            </a:extLst>
          </p:cNvPr>
          <p:cNvPicPr>
            <a:picLocks noGrp="1" noChangeAspect="1"/>
          </p:cNvPicPr>
          <p:nvPr>
            <p:ph type="pic" sz="quarter" idx="16"/>
          </p:nvPr>
        </p:nvPicPr>
        <p:blipFill rotWithShape="1">
          <a:blip r:embed="rId6" cstate="email">
            <a:extLst>
              <a:ext uri="{28A0092B-C50C-407E-A947-70E740481C1C}">
                <a14:useLocalDpi xmlns:a14="http://schemas.microsoft.com/office/drawing/2010/main"/>
              </a:ext>
            </a:extLst>
          </a:blip>
          <a:srcRect l="-11570" t="-61794" r="-5285" b="-47955"/>
          <a:stretch/>
        </p:blipFill>
        <p:spPr>
          <a:xfrm>
            <a:off x="-1" y="0"/>
            <a:ext cx="6384759" cy="6858000"/>
          </a:xfrm>
        </p:spPr>
      </p:pic>
    </p:spTree>
    <p:extLst>
      <p:ext uri="{BB962C8B-B14F-4D97-AF65-F5344CB8AC3E}">
        <p14:creationId xmlns:p14="http://schemas.microsoft.com/office/powerpoint/2010/main" val="2699706146"/>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A122BC83-9518-42F3-5ADD-D61CCD5C3A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0" name="think-cell data - do not delete" hidden="1">
                        <a:extLst>
                          <a:ext uri="{FF2B5EF4-FFF2-40B4-BE49-F238E27FC236}">
                            <a16:creationId xmlns:a16="http://schemas.microsoft.com/office/drawing/2014/main" id="{A122BC83-9518-42F3-5ADD-D61CCD5C3A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93C3D1B-5833-DAEF-81B1-22C935CE0F9E}"/>
              </a:ext>
            </a:extLst>
          </p:cNvPr>
          <p:cNvSpPr>
            <a:spLocks noGrp="1"/>
          </p:cNvSpPr>
          <p:nvPr>
            <p:ph type="body" sz="quarter" idx="22"/>
          </p:nvPr>
        </p:nvSpPr>
        <p:spPr/>
        <p:txBody>
          <a:bodyPr/>
          <a:lstStyle/>
          <a:p>
            <a:r>
              <a:rPr lang="en-US" sz="1800" dirty="0"/>
              <a:t>Once we have identified an initial list of processes that fit the criteria for automation, we will begin to dive deep with the business owners to further qualify and prioritize the processes for automation.</a:t>
            </a:r>
          </a:p>
        </p:txBody>
      </p:sp>
      <p:sp>
        <p:nvSpPr>
          <p:cNvPr id="3" name="Title 2">
            <a:extLst>
              <a:ext uri="{FF2B5EF4-FFF2-40B4-BE49-F238E27FC236}">
                <a16:creationId xmlns:a16="http://schemas.microsoft.com/office/drawing/2014/main" id="{0BFDFE43-513E-30F3-DFB9-E1EDC8DE3070}"/>
              </a:ext>
            </a:extLst>
          </p:cNvPr>
          <p:cNvSpPr>
            <a:spLocks noGrp="1"/>
          </p:cNvSpPr>
          <p:nvPr>
            <p:ph type="title"/>
          </p:nvPr>
        </p:nvSpPr>
        <p:spPr>
          <a:xfrm>
            <a:off x="463295" y="417911"/>
            <a:ext cx="11184846" cy="334099"/>
          </a:xfrm>
        </p:spPr>
        <p:txBody>
          <a:bodyPr vert="horz"/>
          <a:lstStyle/>
          <a:p>
            <a:r>
              <a:rPr lang="en-US" dirty="0"/>
              <a:t>Short listing methodology</a:t>
            </a:r>
          </a:p>
        </p:txBody>
      </p:sp>
      <p:sp>
        <p:nvSpPr>
          <p:cNvPr id="7" name="Rectangle 6">
            <a:extLst>
              <a:ext uri="{FF2B5EF4-FFF2-40B4-BE49-F238E27FC236}">
                <a16:creationId xmlns:a16="http://schemas.microsoft.com/office/drawing/2014/main" id="{662C3E60-C4A6-619A-1436-F51B3A77167D}"/>
              </a:ext>
            </a:extLst>
          </p:cNvPr>
          <p:cNvSpPr/>
          <p:nvPr/>
        </p:nvSpPr>
        <p:spPr bwMode="gray">
          <a:xfrm>
            <a:off x="469900" y="1753745"/>
            <a:ext cx="5047322" cy="1030858"/>
          </a:xfrm>
          <a:prstGeom prst="rect">
            <a:avLst/>
          </a:prstGeom>
          <a:solidFill>
            <a:schemeClr val="bg1">
              <a:lumMod val="95000"/>
            </a:schemeClr>
          </a:solidFill>
          <a:ln w="19050" algn="ctr">
            <a:noFill/>
            <a:miter lim="800000"/>
            <a:headEnd/>
            <a:tailEnd/>
          </a:ln>
        </p:spPr>
        <p:txBody>
          <a:bodyPr wrap="square" lIns="83809" tIns="83809" rIns="83809" bIns="83809" rtlCol="0" anchor="t"/>
          <a:lstStyle/>
          <a:p>
            <a:r>
              <a:rPr lang="en-GB" sz="11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Soft qualification criteria:</a:t>
            </a:r>
          </a:p>
          <a:p>
            <a:pPr marL="146624" indent="-146624">
              <a:lnSpc>
                <a:spcPct val="106000"/>
              </a:lnSpc>
              <a:buFont typeface="Arial" panose="020B0604020202020204" pitchFamily="34" charset="0"/>
              <a:buChar char="•"/>
            </a:pPr>
            <a:r>
              <a:rPr lang="en-GB"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Volume/repetition</a:t>
            </a:r>
          </a:p>
          <a:p>
            <a:pPr marL="146624" indent="-146624">
              <a:lnSpc>
                <a:spcPct val="106000"/>
              </a:lnSpc>
              <a:buFont typeface="Arial" panose="020B0604020202020204" pitchFamily="34" charset="0"/>
              <a:buChar char="•"/>
            </a:pPr>
            <a:r>
              <a:rPr lang="en-GB"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Number of systems/applications</a:t>
            </a:r>
          </a:p>
          <a:p>
            <a:pPr marL="146624" indent="-146624">
              <a:lnSpc>
                <a:spcPct val="106000"/>
              </a:lnSpc>
              <a:buFont typeface="Arial" panose="020B0604020202020204" pitchFamily="34" charset="0"/>
              <a:buChar char="•"/>
            </a:pPr>
            <a:r>
              <a:rPr lang="en-GB"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Number of business rules</a:t>
            </a:r>
          </a:p>
          <a:p>
            <a:pPr marL="146624" indent="-146624">
              <a:lnSpc>
                <a:spcPct val="106000"/>
              </a:lnSpc>
              <a:buFont typeface="Arial" panose="020B0604020202020204" pitchFamily="34" charset="0"/>
              <a:buChar char="•"/>
            </a:pPr>
            <a:r>
              <a:rPr lang="en-GB"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Lifecycle of underlying applications</a:t>
            </a:r>
          </a:p>
        </p:txBody>
      </p:sp>
      <p:sp>
        <p:nvSpPr>
          <p:cNvPr id="8" name="Text Placeholder 3">
            <a:extLst>
              <a:ext uri="{FF2B5EF4-FFF2-40B4-BE49-F238E27FC236}">
                <a16:creationId xmlns:a16="http://schemas.microsoft.com/office/drawing/2014/main" id="{D2250C9F-3BF5-479F-CD41-3537681D7E8D}"/>
              </a:ext>
            </a:extLst>
          </p:cNvPr>
          <p:cNvSpPr txBox="1">
            <a:spLocks/>
          </p:cNvSpPr>
          <p:nvPr/>
        </p:nvSpPr>
        <p:spPr bwMode="gray">
          <a:xfrm>
            <a:off x="469899" y="2784603"/>
            <a:ext cx="5047323" cy="629063"/>
          </a:xfrm>
          <a:prstGeom prst="rect">
            <a:avLst/>
          </a:prstGeom>
          <a:solidFill>
            <a:schemeClr val="bg1">
              <a:lumMod val="75000"/>
            </a:schemeClr>
          </a:solidFill>
          <a:ln>
            <a:noFill/>
          </a:ln>
        </p:spPr>
        <p:txBody>
          <a:bodyPr vert="horz" lIns="135754" tIns="67877" rIns="0" bIns="0" rtlCol="0">
            <a:noAutofit/>
          </a:bodyPr>
          <a:lstStyle>
            <a:defPPr>
              <a:defRPr lang="en-US"/>
            </a:defPPr>
            <a:lvl1pPr defTabSz="1033795" fontAlgn="base">
              <a:spcBef>
                <a:spcPct val="0"/>
              </a:spcBef>
              <a:spcAft>
                <a:spcPts val="300"/>
              </a:spcAft>
              <a:buSzPct val="80000"/>
              <a:defRPr sz="1050">
                <a:solidFill>
                  <a:prstClr val="black"/>
                </a:solidFill>
                <a:cs typeface="Arial" pitchFamily="34" charset="0"/>
              </a:defRPr>
            </a:lvl1pPr>
          </a:lstStyle>
          <a:p>
            <a:pPr defTabSz="974545">
              <a:spcAft>
                <a:spcPts val="283"/>
              </a:spcAft>
            </a:pPr>
            <a:r>
              <a:rPr lang="en-GB" sz="1100" b="1" dirty="0">
                <a:latin typeface="Open Sans" panose="020B0606030504020204" pitchFamily="34" charset="0"/>
                <a:ea typeface="Open Sans" panose="020B0606030504020204" pitchFamily="34" charset="0"/>
                <a:cs typeface="Open Sans" panose="020B0606030504020204" pitchFamily="34" charset="0"/>
              </a:rPr>
              <a:t>Process candidates are reviewed to identify “red-flags” </a:t>
            </a:r>
            <a:r>
              <a:rPr lang="en-GB" sz="1100" dirty="0">
                <a:latin typeface="Open Sans" panose="020B0606030504020204" pitchFamily="34" charset="0"/>
                <a:ea typeface="Open Sans" panose="020B0606030504020204" pitchFamily="34" charset="0"/>
                <a:cs typeface="Open Sans" panose="020B0606030504020204" pitchFamily="34" charset="0"/>
              </a:rPr>
              <a:t>that could make implementation or benefit realization unfeasible</a:t>
            </a:r>
          </a:p>
        </p:txBody>
      </p:sp>
      <p:sp>
        <p:nvSpPr>
          <p:cNvPr id="9" name="Isosceles Triangle 8">
            <a:extLst>
              <a:ext uri="{FF2B5EF4-FFF2-40B4-BE49-F238E27FC236}">
                <a16:creationId xmlns:a16="http://schemas.microsoft.com/office/drawing/2014/main" id="{04DA11D1-1E77-F549-6940-2070B0ED8D4A}"/>
              </a:ext>
            </a:extLst>
          </p:cNvPr>
          <p:cNvSpPr/>
          <p:nvPr/>
        </p:nvSpPr>
        <p:spPr>
          <a:xfrm flipV="1">
            <a:off x="1444877" y="3408974"/>
            <a:ext cx="3097366" cy="299207"/>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28" dirty="0">
              <a:solidFill>
                <a:srgbClr val="FFFFFF"/>
              </a:solidFill>
              <a:latin typeface="+mj-lt"/>
            </a:endParaRPr>
          </a:p>
        </p:txBody>
      </p:sp>
      <p:sp>
        <p:nvSpPr>
          <p:cNvPr id="11" name="Rectangle 10">
            <a:extLst>
              <a:ext uri="{FF2B5EF4-FFF2-40B4-BE49-F238E27FC236}">
                <a16:creationId xmlns:a16="http://schemas.microsoft.com/office/drawing/2014/main" id="{EAE89B37-86B7-ADE8-CAE9-FE7D958FF4EE}"/>
              </a:ext>
            </a:extLst>
          </p:cNvPr>
          <p:cNvSpPr/>
          <p:nvPr/>
        </p:nvSpPr>
        <p:spPr bwMode="gray">
          <a:xfrm>
            <a:off x="476372" y="3708182"/>
            <a:ext cx="5040850" cy="2795984"/>
          </a:xfrm>
          <a:prstGeom prst="rect">
            <a:avLst/>
          </a:prstGeom>
          <a:solidFill>
            <a:schemeClr val="bg1">
              <a:lumMod val="95000"/>
            </a:schemeClr>
          </a:solidFill>
          <a:ln w="19050" algn="ctr">
            <a:noFill/>
            <a:miter lim="800000"/>
            <a:headEnd/>
            <a:tailEnd/>
          </a:ln>
        </p:spPr>
        <p:txBody>
          <a:bodyPr wrap="square" lIns="83809" tIns="83809" rIns="83809" bIns="83809" rtlCol="0" anchor="t"/>
          <a:lstStyle/>
          <a:p>
            <a:pPr>
              <a:lnSpc>
                <a:spcPct val="106000"/>
              </a:lnSpc>
              <a:buFont typeface="Wingdings 2" pitchFamily="18" charset="2"/>
              <a:buNone/>
            </a:pPr>
            <a:r>
              <a:rPr lang="en-GB" sz="1100" b="1" dirty="0">
                <a:solidFill>
                  <a:srgbClr val="000000"/>
                </a:solidFill>
                <a:latin typeface="+mj-lt"/>
              </a:rPr>
              <a:t>Implementation portfolio</a:t>
            </a:r>
          </a:p>
        </p:txBody>
      </p:sp>
      <p:pic>
        <p:nvPicPr>
          <p:cNvPr id="12" name="Picture 11">
            <a:extLst>
              <a:ext uri="{FF2B5EF4-FFF2-40B4-BE49-F238E27FC236}">
                <a16:creationId xmlns:a16="http://schemas.microsoft.com/office/drawing/2014/main" id="{38D8D2D2-C097-B2D4-E2D0-6A9935E5379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5991" y="3945375"/>
            <a:ext cx="4838846" cy="2487230"/>
          </a:xfrm>
          <a:prstGeom prst="rect">
            <a:avLst/>
          </a:prstGeom>
        </p:spPr>
      </p:pic>
      <p:sp>
        <p:nvSpPr>
          <p:cNvPr id="13" name="Down Arrow 46">
            <a:extLst>
              <a:ext uri="{FF2B5EF4-FFF2-40B4-BE49-F238E27FC236}">
                <a16:creationId xmlns:a16="http://schemas.microsoft.com/office/drawing/2014/main" id="{4364B11A-9CBE-E461-2E01-A72AEC00D7C1}"/>
              </a:ext>
            </a:extLst>
          </p:cNvPr>
          <p:cNvSpPr/>
          <p:nvPr/>
        </p:nvSpPr>
        <p:spPr bwMode="gray">
          <a:xfrm rot="16200000">
            <a:off x="3576614" y="3500746"/>
            <a:ext cx="4717087" cy="585094"/>
          </a:xfrm>
          <a:prstGeom prst="downArrow">
            <a:avLst/>
          </a:prstGeom>
          <a:solidFill>
            <a:schemeClr val="accent3"/>
          </a:soli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GB" sz="1368" b="1" dirty="0">
              <a:solidFill>
                <a:srgbClr val="FFFFFF"/>
              </a:solidFill>
              <a:latin typeface="+mj-lt"/>
            </a:endParaRPr>
          </a:p>
        </p:txBody>
      </p:sp>
      <p:sp>
        <p:nvSpPr>
          <p:cNvPr id="15" name="Rectangle 14">
            <a:extLst>
              <a:ext uri="{FF2B5EF4-FFF2-40B4-BE49-F238E27FC236}">
                <a16:creationId xmlns:a16="http://schemas.microsoft.com/office/drawing/2014/main" id="{C779C287-81B5-401E-846D-9608B484FE1C}"/>
              </a:ext>
            </a:extLst>
          </p:cNvPr>
          <p:cNvSpPr/>
          <p:nvPr/>
        </p:nvSpPr>
        <p:spPr bwMode="gray">
          <a:xfrm>
            <a:off x="6353092" y="1751784"/>
            <a:ext cx="5325457" cy="1015334"/>
          </a:xfrm>
          <a:prstGeom prst="rect">
            <a:avLst/>
          </a:prstGeom>
          <a:solidFill>
            <a:schemeClr val="bg1">
              <a:lumMod val="95000"/>
            </a:schemeClr>
          </a:solidFill>
          <a:ln w="19050" algn="ctr">
            <a:noFill/>
            <a:miter lim="800000"/>
            <a:headEnd/>
            <a:tailEnd/>
          </a:ln>
        </p:spPr>
        <p:txBody>
          <a:bodyPr wrap="square" lIns="83809" tIns="83809" rIns="83809" bIns="83809" rtlCol="0" anchor="t"/>
          <a:lstStyle/>
          <a:p>
            <a:pPr>
              <a:lnSpc>
                <a:spcPct val="106000"/>
              </a:lnSpc>
              <a:buFont typeface="Wingdings 2" pitchFamily="18" charset="2"/>
              <a:buNone/>
            </a:pPr>
            <a:r>
              <a:rPr lang="en-GB" sz="11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rioritization parameters:</a:t>
            </a:r>
            <a:endParaRPr lang="en-GB" sz="11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46624" indent="-146624">
              <a:lnSpc>
                <a:spcPct val="106000"/>
              </a:lnSpc>
              <a:buFont typeface="Arial" panose="020B0604020202020204" pitchFamily="34" charset="0"/>
              <a:buChar char="•"/>
            </a:pPr>
            <a:r>
              <a:rPr lang="en-GB"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Benefits: Savings, Capacity, Performance, Control</a:t>
            </a:r>
          </a:p>
          <a:p>
            <a:pPr marL="146624" indent="-146624">
              <a:lnSpc>
                <a:spcPct val="106000"/>
              </a:lnSpc>
              <a:buFont typeface="Arial" panose="020B0604020202020204" pitchFamily="34" charset="0"/>
              <a:buChar char="•"/>
            </a:pPr>
            <a:r>
              <a:rPr lang="en-GB"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Business &amp; Architectural Readiness: Delivery, Behavioural Alignment</a:t>
            </a:r>
          </a:p>
          <a:p>
            <a:pPr marL="146624" indent="-146624">
              <a:lnSpc>
                <a:spcPct val="106000"/>
              </a:lnSpc>
              <a:buFont typeface="Arial" panose="020B0604020202020204" pitchFamily="34" charset="0"/>
              <a:buChar char="•"/>
            </a:pPr>
            <a:r>
              <a:rPr lang="en-GB"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Scalability and re-usability</a:t>
            </a:r>
          </a:p>
        </p:txBody>
      </p:sp>
      <p:sp>
        <p:nvSpPr>
          <p:cNvPr id="19" name="Rectangle 18">
            <a:extLst>
              <a:ext uri="{FF2B5EF4-FFF2-40B4-BE49-F238E27FC236}">
                <a16:creationId xmlns:a16="http://schemas.microsoft.com/office/drawing/2014/main" id="{513441DA-9B0B-7D25-1B2F-DBE7C4E40BFD}"/>
              </a:ext>
            </a:extLst>
          </p:cNvPr>
          <p:cNvSpPr/>
          <p:nvPr/>
        </p:nvSpPr>
        <p:spPr bwMode="gray">
          <a:xfrm>
            <a:off x="6353092" y="3681555"/>
            <a:ext cx="5325457" cy="2822612"/>
          </a:xfrm>
          <a:prstGeom prst="rect">
            <a:avLst/>
          </a:prstGeom>
          <a:solidFill>
            <a:schemeClr val="bg1">
              <a:lumMod val="95000"/>
            </a:schemeClr>
          </a:solidFill>
          <a:ln w="19050" algn="ctr">
            <a:noFill/>
            <a:miter lim="800000"/>
            <a:headEnd/>
            <a:tailEnd/>
          </a:ln>
        </p:spPr>
        <p:txBody>
          <a:bodyPr wrap="square" lIns="83809" tIns="83809" rIns="83809" bIns="83809" rtlCol="0" anchor="t"/>
          <a:lstStyle/>
          <a:p>
            <a:pPr>
              <a:lnSpc>
                <a:spcPct val="106000"/>
              </a:lnSpc>
              <a:buFont typeface="Wingdings 2" pitchFamily="18" charset="2"/>
              <a:buNone/>
            </a:pPr>
            <a:r>
              <a:rPr lang="en-GB" sz="1100" b="1" dirty="0">
                <a:solidFill>
                  <a:srgbClr val="000000"/>
                </a:solidFill>
                <a:latin typeface="+mj-lt"/>
              </a:rPr>
              <a:t>Implementation priorities</a:t>
            </a:r>
          </a:p>
        </p:txBody>
      </p:sp>
      <p:pic>
        <p:nvPicPr>
          <p:cNvPr id="20" name="Picture 19">
            <a:extLst>
              <a:ext uri="{FF2B5EF4-FFF2-40B4-BE49-F238E27FC236}">
                <a16:creationId xmlns:a16="http://schemas.microsoft.com/office/drawing/2014/main" id="{8678EB73-1D0D-C918-CB09-AD9588A61DBB}"/>
              </a:ext>
            </a:extLst>
          </p:cNvPr>
          <p:cNvPicPr>
            <a:picLocks noChangeAspect="1"/>
          </p:cNvPicPr>
          <p:nvPr/>
        </p:nvPicPr>
        <p:blipFill>
          <a:blip r:embed="rId7"/>
          <a:stretch>
            <a:fillRect/>
          </a:stretch>
        </p:blipFill>
        <p:spPr>
          <a:xfrm>
            <a:off x="6441048" y="3980285"/>
            <a:ext cx="5170749" cy="2452320"/>
          </a:xfrm>
          <a:prstGeom prst="rect">
            <a:avLst/>
          </a:prstGeom>
        </p:spPr>
      </p:pic>
      <p:sp>
        <p:nvSpPr>
          <p:cNvPr id="17" name="Text Placeholder 3">
            <a:extLst>
              <a:ext uri="{FF2B5EF4-FFF2-40B4-BE49-F238E27FC236}">
                <a16:creationId xmlns:a16="http://schemas.microsoft.com/office/drawing/2014/main" id="{D41B1B52-A278-1058-48AF-56A528DC1043}"/>
              </a:ext>
            </a:extLst>
          </p:cNvPr>
          <p:cNvSpPr txBox="1">
            <a:spLocks/>
          </p:cNvSpPr>
          <p:nvPr/>
        </p:nvSpPr>
        <p:spPr bwMode="gray">
          <a:xfrm>
            <a:off x="6353092" y="2767556"/>
            <a:ext cx="5325457" cy="621471"/>
          </a:xfrm>
          <a:prstGeom prst="rect">
            <a:avLst/>
          </a:prstGeom>
          <a:solidFill>
            <a:schemeClr val="bg1">
              <a:lumMod val="75000"/>
            </a:schemeClr>
          </a:solidFill>
          <a:ln>
            <a:noFill/>
          </a:ln>
        </p:spPr>
        <p:txBody>
          <a:bodyPr vert="horz" lIns="135754" tIns="67877" rIns="0" bIns="0" rtlCol="0" anchor="t">
            <a:noAutofit/>
          </a:bodyPr>
          <a:lstStyle>
            <a:defPPr>
              <a:defRPr lang="en-US"/>
            </a:defPPr>
            <a:lvl1pPr defTabSz="1033795" fontAlgn="base">
              <a:spcBef>
                <a:spcPct val="0"/>
              </a:spcBef>
              <a:spcAft>
                <a:spcPts val="300"/>
              </a:spcAft>
              <a:buSzPct val="80000"/>
              <a:defRPr sz="1050">
                <a:solidFill>
                  <a:prstClr val="black"/>
                </a:solidFill>
                <a:cs typeface="Arial" pitchFamily="34" charset="0"/>
              </a:defRPr>
            </a:lvl1pPr>
          </a:lstStyle>
          <a:p>
            <a:pPr defTabSz="974545">
              <a:spcAft>
                <a:spcPts val="283"/>
              </a:spcAft>
            </a:pPr>
            <a:r>
              <a:rPr lang="en-GB" sz="1100" b="1" dirty="0">
                <a:latin typeface="Open Sans" panose="020B0606030504020204" pitchFamily="34" charset="0"/>
                <a:ea typeface="Open Sans" panose="020B0606030504020204" pitchFamily="34" charset="0"/>
                <a:cs typeface="Open Sans" panose="020B0606030504020204" pitchFamily="34" charset="0"/>
              </a:rPr>
              <a:t>Processes are then prioritized with the business</a:t>
            </a:r>
            <a:r>
              <a:rPr lang="en-GB" sz="1100" dirty="0">
                <a:latin typeface="Open Sans" panose="020B0606030504020204" pitchFamily="34" charset="0"/>
                <a:ea typeface="Open Sans" panose="020B0606030504020204" pitchFamily="34" charset="0"/>
                <a:cs typeface="Open Sans" panose="020B0606030504020204" pitchFamily="34" charset="0"/>
              </a:rPr>
              <a:t> using key performance parameters</a:t>
            </a:r>
          </a:p>
        </p:txBody>
      </p:sp>
      <p:sp>
        <p:nvSpPr>
          <p:cNvPr id="18" name="Isosceles Triangle 17">
            <a:extLst>
              <a:ext uri="{FF2B5EF4-FFF2-40B4-BE49-F238E27FC236}">
                <a16:creationId xmlns:a16="http://schemas.microsoft.com/office/drawing/2014/main" id="{A9247CC7-8AA8-FEDC-7D59-56676A145E9D}"/>
              </a:ext>
            </a:extLst>
          </p:cNvPr>
          <p:cNvSpPr/>
          <p:nvPr/>
        </p:nvSpPr>
        <p:spPr>
          <a:xfrm flipV="1">
            <a:off x="7358687" y="3386452"/>
            <a:ext cx="3268047" cy="295104"/>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28" dirty="0">
              <a:solidFill>
                <a:srgbClr val="FFFFFF"/>
              </a:solidFill>
              <a:latin typeface="+mj-lt"/>
            </a:endParaRPr>
          </a:p>
        </p:txBody>
      </p:sp>
    </p:spTree>
    <p:extLst>
      <p:ext uri="{BB962C8B-B14F-4D97-AF65-F5344CB8AC3E}">
        <p14:creationId xmlns:p14="http://schemas.microsoft.com/office/powerpoint/2010/main" val="69365829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F216DC-D17F-D7A1-5CE6-5057623D26D0}"/>
              </a:ext>
            </a:extLst>
          </p:cNvPr>
          <p:cNvGraphicFramePr>
            <a:graphicFrameLocks noChangeAspect="1"/>
          </p:cNvGraphicFramePr>
          <p:nvPr>
            <p:custDataLst>
              <p:tags r:id="rId1"/>
            </p:custDataLst>
            <p:extLst>
              <p:ext uri="{D42A27DB-BD31-4B8C-83A1-F6EECF244321}">
                <p14:modId xmlns:p14="http://schemas.microsoft.com/office/powerpoint/2010/main" val="240380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think-cell data - do not delete" hidden="1">
                        <a:extLst>
                          <a:ext uri="{FF2B5EF4-FFF2-40B4-BE49-F238E27FC236}">
                            <a16:creationId xmlns:a16="http://schemas.microsoft.com/office/drawing/2014/main" id="{9CF216DC-D17F-D7A1-5CE6-5057623D26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80A8593-CB64-1DF1-E621-D855E55E2F5E}"/>
              </a:ext>
            </a:extLst>
          </p:cNvPr>
          <p:cNvSpPr>
            <a:spLocks noGrp="1"/>
          </p:cNvSpPr>
          <p:nvPr>
            <p:ph type="body" sz="quarter" idx="22"/>
          </p:nvPr>
        </p:nvSpPr>
        <p:spPr/>
        <p:txBody>
          <a:bodyPr vert="horz" lIns="0" tIns="0" rIns="0" bIns="0" rtlCol="0">
            <a:noAutofit/>
          </a:bodyPr>
          <a:lstStyle/>
          <a:p>
            <a:r>
              <a:rPr lang="en-US" dirty="0"/>
              <a:t>Deliverables provided by Deloitte will be delivered in excel and PDF format</a:t>
            </a:r>
          </a:p>
        </p:txBody>
      </p:sp>
      <p:sp>
        <p:nvSpPr>
          <p:cNvPr id="3" name="Title 2">
            <a:extLst>
              <a:ext uri="{FF2B5EF4-FFF2-40B4-BE49-F238E27FC236}">
                <a16:creationId xmlns:a16="http://schemas.microsoft.com/office/drawing/2014/main" id="{397BCA5A-DE4B-3172-8BFA-0690828E967D}"/>
              </a:ext>
            </a:extLst>
          </p:cNvPr>
          <p:cNvSpPr>
            <a:spLocks noGrp="1"/>
          </p:cNvSpPr>
          <p:nvPr>
            <p:ph type="title"/>
          </p:nvPr>
        </p:nvSpPr>
        <p:spPr/>
        <p:txBody>
          <a:bodyPr vert="horz"/>
          <a:lstStyle/>
          <a:p>
            <a:r>
              <a:rPr lang="en-US" dirty="0">
                <a:latin typeface="Open Sans Light"/>
                <a:ea typeface="Open Sans Light"/>
                <a:cs typeface="Open Sans Light"/>
              </a:rPr>
              <a:t>Assessment deliverables</a:t>
            </a:r>
            <a:endParaRPr lang="en-US" dirty="0"/>
          </a:p>
        </p:txBody>
      </p:sp>
      <p:graphicFrame>
        <p:nvGraphicFramePr>
          <p:cNvPr id="5" name="Table 4">
            <a:extLst>
              <a:ext uri="{FF2B5EF4-FFF2-40B4-BE49-F238E27FC236}">
                <a16:creationId xmlns:a16="http://schemas.microsoft.com/office/drawing/2014/main" id="{8A9719F5-B521-2641-42A6-B8F833A812B0}"/>
              </a:ext>
            </a:extLst>
          </p:cNvPr>
          <p:cNvGraphicFramePr>
            <a:graphicFrameLocks noGrp="1"/>
          </p:cNvGraphicFramePr>
          <p:nvPr>
            <p:extLst>
              <p:ext uri="{D42A27DB-BD31-4B8C-83A1-F6EECF244321}">
                <p14:modId xmlns:p14="http://schemas.microsoft.com/office/powerpoint/2010/main" val="779971899"/>
              </p:ext>
            </p:extLst>
          </p:nvPr>
        </p:nvGraphicFramePr>
        <p:xfrm>
          <a:off x="463295" y="1647715"/>
          <a:ext cx="11265410" cy="4273836"/>
        </p:xfrm>
        <a:graphic>
          <a:graphicData uri="http://schemas.openxmlformats.org/drawingml/2006/table">
            <a:tbl>
              <a:tblPr firstRow="1" bandRow="1">
                <a:effectLst>
                  <a:outerShdw blurRad="50800" dist="38100" dir="5400000" algn="t" rotWithShape="0">
                    <a:prstClr val="black">
                      <a:alpha val="40000"/>
                    </a:prstClr>
                  </a:outerShdw>
                </a:effectLst>
                <a:tableStyleId>{F5AB1C69-6EDB-4FF4-983F-18BD219EF322}</a:tableStyleId>
              </a:tblPr>
              <a:tblGrid>
                <a:gridCol w="2563386">
                  <a:extLst>
                    <a:ext uri="{9D8B030D-6E8A-4147-A177-3AD203B41FA5}">
                      <a16:colId xmlns:a16="http://schemas.microsoft.com/office/drawing/2014/main" val="2055385429"/>
                    </a:ext>
                  </a:extLst>
                </a:gridCol>
                <a:gridCol w="3397238">
                  <a:extLst>
                    <a:ext uri="{9D8B030D-6E8A-4147-A177-3AD203B41FA5}">
                      <a16:colId xmlns:a16="http://schemas.microsoft.com/office/drawing/2014/main" val="1146799222"/>
                    </a:ext>
                  </a:extLst>
                </a:gridCol>
                <a:gridCol w="1587127">
                  <a:extLst>
                    <a:ext uri="{9D8B030D-6E8A-4147-A177-3AD203B41FA5}">
                      <a16:colId xmlns:a16="http://schemas.microsoft.com/office/drawing/2014/main" val="2403940886"/>
                    </a:ext>
                  </a:extLst>
                </a:gridCol>
                <a:gridCol w="1462439">
                  <a:extLst>
                    <a:ext uri="{9D8B030D-6E8A-4147-A177-3AD203B41FA5}">
                      <a16:colId xmlns:a16="http://schemas.microsoft.com/office/drawing/2014/main" val="3501247342"/>
                    </a:ext>
                  </a:extLst>
                </a:gridCol>
                <a:gridCol w="2255220">
                  <a:extLst>
                    <a:ext uri="{9D8B030D-6E8A-4147-A177-3AD203B41FA5}">
                      <a16:colId xmlns:a16="http://schemas.microsoft.com/office/drawing/2014/main" val="1744674313"/>
                    </a:ext>
                  </a:extLst>
                </a:gridCol>
              </a:tblGrid>
              <a:tr h="332607">
                <a:tc>
                  <a:txBody>
                    <a:bodyPr/>
                    <a:lstStyle/>
                    <a:p>
                      <a:pPr algn="l" rtl="0"/>
                      <a:r>
                        <a:rPr lang="en-US" sz="1400" b="1" u="none" strike="noStrike" kern="1200">
                          <a:solidFill>
                            <a:schemeClr val="bg1"/>
                          </a:solidFill>
                          <a:effectLst/>
                        </a:rPr>
                        <a:t>Deliverable</a:t>
                      </a:r>
                      <a:endParaRPr lang="en-US" sz="1400" b="1" u="none" strike="noStrike" kern="1200" dirty="0">
                        <a:solidFill>
                          <a:schemeClr val="bg1"/>
                        </a:solidFill>
                        <a:effectLst/>
                        <a:latin typeface="+mn-lt"/>
                        <a:ea typeface="+mn-ea"/>
                        <a:cs typeface="+mn-cs"/>
                      </a:endParaRPr>
                    </a:p>
                  </a:txBody>
                  <a:tcPr/>
                </a:tc>
                <a:tc>
                  <a:txBody>
                    <a:bodyPr/>
                    <a:lstStyle/>
                    <a:p>
                      <a:pPr algn="l" rtl="0"/>
                      <a:r>
                        <a:rPr lang="en-US" sz="1400" b="1" u="none" strike="noStrike" kern="1200">
                          <a:solidFill>
                            <a:schemeClr val="bg1"/>
                          </a:solidFill>
                          <a:effectLst/>
                        </a:rPr>
                        <a:t>Description</a:t>
                      </a:r>
                      <a:endParaRPr lang="en-US" sz="1400" b="1" u="none" strike="noStrike" kern="1200" dirty="0">
                        <a:solidFill>
                          <a:schemeClr val="bg1"/>
                        </a:solidFill>
                        <a:effectLst/>
                        <a:latin typeface="+mn-lt"/>
                        <a:ea typeface="+mn-ea"/>
                        <a:cs typeface="+mn-cs"/>
                      </a:endParaRPr>
                    </a:p>
                  </a:txBody>
                  <a:tcPr/>
                </a:tc>
                <a:tc>
                  <a:txBody>
                    <a:bodyPr/>
                    <a:lstStyle/>
                    <a:p>
                      <a:pPr algn="l" rtl="0"/>
                      <a:r>
                        <a:rPr lang="en-US" sz="1400" b="1" u="none" strike="noStrike" kern="1200">
                          <a:solidFill>
                            <a:schemeClr val="bg1"/>
                          </a:solidFill>
                          <a:effectLst/>
                        </a:rPr>
                        <a:t>Format</a:t>
                      </a:r>
                      <a:endParaRPr lang="en-US" sz="1400" b="1" u="none" strike="noStrike" kern="1200" dirty="0">
                        <a:solidFill>
                          <a:schemeClr val="bg1"/>
                        </a:solidFill>
                        <a:effectLst/>
                        <a:latin typeface="+mn-lt"/>
                        <a:ea typeface="+mn-ea"/>
                        <a:cs typeface="+mn-cs"/>
                      </a:endParaRPr>
                    </a:p>
                  </a:txBody>
                  <a:tcPr/>
                </a:tc>
                <a:tc>
                  <a:txBody>
                    <a:bodyPr/>
                    <a:lstStyle/>
                    <a:p>
                      <a:pPr algn="l" rtl="0"/>
                      <a:r>
                        <a:rPr lang="en-US" sz="1400" b="1" u="none" strike="noStrike" kern="1200">
                          <a:solidFill>
                            <a:schemeClr val="bg1"/>
                          </a:solidFill>
                          <a:effectLst/>
                        </a:rPr>
                        <a:t>Responsible</a:t>
                      </a:r>
                      <a:endParaRPr lang="en-US" sz="1400" b="1" u="none" strike="noStrike" kern="1200" dirty="0">
                        <a:solidFill>
                          <a:schemeClr val="bg1"/>
                        </a:solidFill>
                        <a:effectLst/>
                        <a:latin typeface="+mn-lt"/>
                        <a:ea typeface="+mn-ea"/>
                        <a:cs typeface="+mn-cs"/>
                      </a:endParaRPr>
                    </a:p>
                  </a:txBody>
                  <a:tcPr/>
                </a:tc>
                <a:tc>
                  <a:txBody>
                    <a:bodyPr/>
                    <a:lstStyle/>
                    <a:p>
                      <a:pPr algn="l" rtl="0"/>
                      <a:r>
                        <a:rPr lang="en-US" sz="1400" b="1" u="none" strike="noStrike" kern="1200">
                          <a:solidFill>
                            <a:schemeClr val="bg1"/>
                          </a:solidFill>
                          <a:effectLst/>
                        </a:rPr>
                        <a:t>#</a:t>
                      </a:r>
                      <a:r>
                        <a:rPr lang="en-US" sz="1400" b="1" u="none" strike="noStrike" kern="1200" baseline="0">
                          <a:solidFill>
                            <a:schemeClr val="bg1"/>
                          </a:solidFill>
                          <a:effectLst/>
                        </a:rPr>
                        <a:t> of deliverables</a:t>
                      </a:r>
                      <a:endParaRPr lang="en-US" sz="1400" b="1" u="none" strike="noStrike" kern="1200" dirty="0">
                        <a:solidFill>
                          <a:schemeClr val="bg1"/>
                        </a:solidFill>
                        <a:effectLst/>
                        <a:latin typeface="+mn-lt"/>
                        <a:ea typeface="+mn-ea"/>
                        <a:cs typeface="+mn-cs"/>
                      </a:endParaRPr>
                    </a:p>
                  </a:txBody>
                  <a:tcPr/>
                </a:tc>
                <a:extLst>
                  <a:ext uri="{0D108BD9-81ED-4DB2-BD59-A6C34878D82A}">
                    <a16:rowId xmlns:a16="http://schemas.microsoft.com/office/drawing/2014/main" val="2309631466"/>
                  </a:ext>
                </a:extLst>
              </a:tr>
              <a:tr h="798256">
                <a:tc>
                  <a:txBody>
                    <a:bodyPr/>
                    <a:lstStyle/>
                    <a:p>
                      <a:pPr marL="0" algn="l" defTabSz="914400" rtl="0" eaLnBrk="1" latinLnBrk="0" hangingPunct="1"/>
                      <a:r>
                        <a:rPr lang="en-US" sz="1200" b="1" kern="1200" dirty="0">
                          <a:solidFill>
                            <a:schemeClr val="tx1"/>
                          </a:solidFill>
                        </a:rPr>
                        <a:t>Long list</a:t>
                      </a:r>
                      <a:endParaRPr lang="en-US" sz="1200" b="1" kern="1200" dirty="0">
                        <a:solidFill>
                          <a:schemeClr val="tx1"/>
                        </a:solidFill>
                        <a:latin typeface="+mn-lt"/>
                        <a:ea typeface="+mn-ea"/>
                        <a:cs typeface="+mn-cs"/>
                      </a:endParaRPr>
                    </a:p>
                  </a:txBody>
                  <a:tcPr marR="36000" marT="0" marB="0">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200" kern="1200" baseline="0" noProof="0">
                          <a:solidFill>
                            <a:schemeClr val="tx1"/>
                          </a:solidFill>
                        </a:rPr>
                        <a:t>Current use cases as received from process owners or identified by other projects</a:t>
                      </a:r>
                      <a:endParaRPr lang="en-US" sz="1200" kern="1200" baseline="0" noProof="0" dirty="0">
                        <a:solidFill>
                          <a:schemeClr val="tx1"/>
                        </a:solidFill>
                        <a:latin typeface="+mn-lt"/>
                        <a:ea typeface="+mn-ea"/>
                        <a:cs typeface="+mn-cs"/>
                      </a:endParaRPr>
                    </a:p>
                  </a:txBody>
                  <a:tcPr marR="36000" marT="0" marB="0">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noProof="0" dirty="0">
                          <a:solidFill>
                            <a:schemeClr val="tx1"/>
                          </a:solidFill>
                        </a:rPr>
                        <a:t>Excel</a:t>
                      </a:r>
                      <a:endParaRPr lang="en-US" sz="1200" kern="1200" noProof="0" dirty="0">
                        <a:solidFill>
                          <a:schemeClr val="tx1"/>
                        </a:solidFill>
                        <a:latin typeface="+mn-lt"/>
                        <a:ea typeface="+mn-ea"/>
                        <a:cs typeface="+mn-cs"/>
                      </a:endParaRPr>
                    </a:p>
                  </a:txBody>
                  <a:tcPr marR="36000" marT="0" marB="0">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Client process owners with the support of Deloitte</a:t>
                      </a:r>
                      <a:endParaRPr lang="en-US" sz="1200" kern="1200" noProof="0" dirty="0">
                        <a:solidFill>
                          <a:schemeClr val="tx1"/>
                        </a:solidFill>
                        <a:latin typeface="+mn-lt"/>
                        <a:ea typeface="+mn-ea"/>
                        <a:cs typeface="+mn-cs"/>
                      </a:endParaRPr>
                    </a:p>
                  </a:txBody>
                  <a:tcPr marR="36000" marT="0" marB="0">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rtl="0"/>
                      <a:r>
                        <a:rPr lang="en-US" sz="1200" kern="1200" noProof="0">
                          <a:solidFill>
                            <a:schemeClr val="tx1"/>
                          </a:solidFill>
                        </a:rPr>
                        <a:t>1</a:t>
                      </a:r>
                      <a:r>
                        <a:rPr lang="en-US" sz="1200" kern="1200" baseline="0" noProof="0">
                          <a:solidFill>
                            <a:schemeClr val="tx1"/>
                          </a:solidFill>
                        </a:rPr>
                        <a:t> per entire process assessment phase</a:t>
                      </a:r>
                      <a:endParaRPr lang="en-US" sz="1200" kern="1200" noProof="0" dirty="0">
                        <a:solidFill>
                          <a:schemeClr val="tx1"/>
                        </a:solidFill>
                        <a:latin typeface="+mn-lt"/>
                        <a:ea typeface="+mn-ea"/>
                        <a:cs typeface="+mn-cs"/>
                      </a:endParaRPr>
                    </a:p>
                  </a:txBody>
                  <a:tcPr marR="36000" marT="0" marB="0">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3647637"/>
                  </a:ext>
                </a:extLst>
              </a:tr>
              <a:tr h="997821">
                <a:tc>
                  <a:txBody>
                    <a:bodyPr/>
                    <a:lstStyle/>
                    <a:p>
                      <a:pPr marL="0" algn="l" defTabSz="914400" rtl="0" eaLnBrk="1" latinLnBrk="0" hangingPunct="1"/>
                      <a:r>
                        <a:rPr lang="en-US" sz="1200" b="1" kern="1200" dirty="0">
                          <a:solidFill>
                            <a:schemeClr val="tx1"/>
                          </a:solidFill>
                        </a:rPr>
                        <a:t>Short List</a:t>
                      </a:r>
                      <a:endParaRPr lang="en-US" sz="1200" b="1" kern="120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200" kern="1200" noProof="0" dirty="0">
                          <a:solidFill>
                            <a:schemeClr val="tx1"/>
                          </a:solidFill>
                        </a:rPr>
                        <a:t>The short list is</a:t>
                      </a:r>
                      <a:r>
                        <a:rPr lang="en-US" sz="1200" kern="1200" baseline="0" noProof="0" dirty="0">
                          <a:solidFill>
                            <a:schemeClr val="tx1"/>
                          </a:solidFill>
                        </a:rPr>
                        <a:t> a document created from the Long list by applying agreed prioritization criteria such as FTE threshold, process importance, frequency, volume or business needs</a:t>
                      </a:r>
                      <a:endParaRPr lang="en-US" sz="1200" kern="1200" baseline="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noProof="0" dirty="0">
                          <a:solidFill>
                            <a:schemeClr val="tx1"/>
                          </a:solidFill>
                        </a:rPr>
                        <a:t> Excel</a:t>
                      </a:r>
                      <a:endParaRPr lang="en-US" sz="1200" kern="1200" noProof="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Deloitte</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1</a:t>
                      </a:r>
                      <a:r>
                        <a:rPr lang="en-US" sz="1200" kern="1200" baseline="0" noProof="0" dirty="0">
                          <a:solidFill>
                            <a:schemeClr val="tx1"/>
                          </a:solidFill>
                        </a:rPr>
                        <a:t> per entire process assessment phase</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2523355"/>
                  </a:ext>
                </a:extLst>
              </a:tr>
              <a:tr h="798256">
                <a:tc>
                  <a:txBody>
                    <a:bodyPr/>
                    <a:lstStyle/>
                    <a:p>
                      <a:pPr marL="0" algn="l" defTabSz="914400" rtl="0" eaLnBrk="1" latinLnBrk="0" hangingPunct="1"/>
                      <a:r>
                        <a:rPr lang="en-US" sz="1200" b="1" kern="1200" dirty="0">
                          <a:solidFill>
                            <a:schemeClr val="tx1"/>
                          </a:solidFill>
                        </a:rPr>
                        <a:t>Process Qualification Document (PQD)</a:t>
                      </a:r>
                      <a:endParaRPr lang="en-US" sz="1200" b="1" kern="120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200" kern="1200" noProof="0" dirty="0">
                          <a:solidFill>
                            <a:schemeClr val="tx1"/>
                          </a:solidFill>
                        </a:rPr>
                        <a:t>One or two pages with a summary of the manual process and metrics such as volumes, handling times and FTE. It may include a process map</a:t>
                      </a:r>
                      <a:endParaRPr lang="en-US" sz="1200" kern="1200" baseline="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PDF</a:t>
                      </a:r>
                      <a:r>
                        <a:rPr lang="en-US" sz="1200" kern="1200" baseline="0" noProof="0" dirty="0">
                          <a:solidFill>
                            <a:schemeClr val="tx1"/>
                          </a:solidFill>
                        </a:rPr>
                        <a:t> </a:t>
                      </a:r>
                      <a:endParaRPr lang="en-US" sz="1200" kern="1200" noProof="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Deloitte </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1 per process</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13988742"/>
                  </a:ext>
                </a:extLst>
              </a:tr>
              <a:tr h="399128">
                <a:tc>
                  <a:txBody>
                    <a:bodyPr/>
                    <a:lstStyle/>
                    <a:p>
                      <a:pPr algn="l" rtl="0"/>
                      <a:r>
                        <a:rPr lang="en-US" sz="1200" b="1">
                          <a:solidFill>
                            <a:schemeClr val="tx1"/>
                          </a:solidFill>
                        </a:rPr>
                        <a:t>Process Definition Document (PDD)</a:t>
                      </a:r>
                      <a:endParaRPr lang="en-US" sz="1200" b="1" dirty="0">
                        <a:solidFill>
                          <a:schemeClr val="tx1"/>
                        </a:solidFill>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200" kern="1200" noProof="0">
                          <a:solidFill>
                            <a:schemeClr val="tx1"/>
                          </a:solidFill>
                        </a:rPr>
                        <a:t>Detailed analysis and documentation for</a:t>
                      </a:r>
                      <a:r>
                        <a:rPr lang="en-US" sz="1200" kern="1200" baseline="0" noProof="0">
                          <a:solidFill>
                            <a:schemeClr val="tx1"/>
                          </a:solidFill>
                        </a:rPr>
                        <a:t> each automated process in pipeline</a:t>
                      </a:r>
                    </a:p>
                    <a:p>
                      <a:pPr marL="171450" marR="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indent="0" algn="l" rtl="0">
                        <a:buClr>
                          <a:schemeClr val="accent5"/>
                        </a:buClr>
                        <a:buFont typeface="Wingdings" panose="05000000000000000000" pitchFamily="2" charset="2"/>
                        <a:buNone/>
                      </a:pPr>
                      <a:r>
                        <a:rPr lang="en-US" sz="1200" kern="1200" noProof="0">
                          <a:solidFill>
                            <a:schemeClr val="tx1"/>
                          </a:solidFill>
                        </a:rPr>
                        <a:t>PDF</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rtl="0"/>
                      <a:r>
                        <a:rPr lang="en-US" sz="1200" kern="1200" noProof="0">
                          <a:solidFill>
                            <a:schemeClr val="tx1"/>
                          </a:solidFill>
                        </a:rPr>
                        <a:t>Deloitte</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rtl="0"/>
                      <a:r>
                        <a:rPr lang="en-US" sz="1200" kern="1200" noProof="0">
                          <a:solidFill>
                            <a:schemeClr val="tx1"/>
                          </a:solidFill>
                        </a:rPr>
                        <a:t>1 per process</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2547573"/>
                  </a:ext>
                </a:extLst>
              </a:tr>
              <a:tr h="798256">
                <a:tc>
                  <a:txBody>
                    <a:bodyPr/>
                    <a:lstStyle/>
                    <a:p>
                      <a:pPr algn="l" rtl="0"/>
                      <a:r>
                        <a:rPr lang="en-US" sz="1200" b="1">
                          <a:solidFill>
                            <a:schemeClr val="tx1"/>
                          </a:solidFill>
                        </a:rPr>
                        <a:t>Pipeline</a:t>
                      </a:r>
                      <a:endParaRPr lang="en-US" sz="1200" b="1" dirty="0">
                        <a:solidFill>
                          <a:schemeClr val="tx1"/>
                        </a:solidFill>
                      </a:endParaRPr>
                    </a:p>
                  </a:txBody>
                  <a:tcPr marR="36000" marT="0" marB="0">
                    <a:lnT w="12700" cap="flat" cmpd="sng" algn="ctr">
                      <a:solidFill>
                        <a:schemeClr val="bg2">
                          <a:lumMod val="75000"/>
                        </a:schemeClr>
                      </a:solidFill>
                      <a:prstDash val="solid"/>
                      <a:round/>
                      <a:headEnd type="none" w="med" len="med"/>
                      <a:tailEnd type="none" w="med" len="med"/>
                    </a:lnT>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200" kern="1200" noProof="0" dirty="0">
                          <a:solidFill>
                            <a:schemeClr val="tx1"/>
                          </a:solidFill>
                        </a:rPr>
                        <a:t>Implementation</a:t>
                      </a:r>
                      <a:r>
                        <a:rPr lang="en-US" sz="1200" kern="1200" baseline="0" noProof="0" dirty="0">
                          <a:solidFill>
                            <a:schemeClr val="tx1"/>
                          </a:solidFill>
                        </a:rPr>
                        <a:t> pipeline with prioritized processes based on criticality, business benefits and complexity</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solidFill>
                      <a:schemeClr val="bg1"/>
                    </a:solidFill>
                  </a:tcPr>
                </a:tc>
                <a:tc>
                  <a:txBody>
                    <a:bodyPr/>
                    <a:lstStyle/>
                    <a:p>
                      <a:pPr algn="l" rtl="0"/>
                      <a:r>
                        <a:rPr lang="en-US" sz="1200">
                          <a:solidFill>
                            <a:schemeClr val="tx1"/>
                          </a:solidFill>
                        </a:rPr>
                        <a:t>MS Excel</a:t>
                      </a:r>
                      <a:endParaRPr lang="en-US" sz="1200" dirty="0">
                        <a:solidFill>
                          <a:schemeClr val="tx1"/>
                        </a:solidFill>
                      </a:endParaRPr>
                    </a:p>
                  </a:txBody>
                  <a:tcPr marR="36000" marT="0" marB="0">
                    <a:lnT w="12700" cap="flat" cmpd="sng" algn="ctr">
                      <a:solidFill>
                        <a:schemeClr val="bg2">
                          <a:lumMod val="75000"/>
                        </a:schemeClr>
                      </a:solidFill>
                      <a:prstDash val="solid"/>
                      <a:round/>
                      <a:headEnd type="none" w="med" len="med"/>
                      <a:tailEnd type="none" w="med" len="med"/>
                    </a:lnT>
                    <a:solidFill>
                      <a:schemeClr val="bg1"/>
                    </a:solidFill>
                  </a:tcPr>
                </a:tc>
                <a:tc>
                  <a:txBody>
                    <a:bodyPr/>
                    <a:lstStyle/>
                    <a:p>
                      <a:pPr algn="l" rtl="0"/>
                      <a:r>
                        <a:rPr lang="en-US" sz="1200" kern="1200" noProof="0">
                          <a:solidFill>
                            <a:schemeClr val="tx1"/>
                          </a:solidFill>
                        </a:rPr>
                        <a:t>Deloitte</a:t>
                      </a:r>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a:solidFill>
                            <a:schemeClr val="tx1"/>
                          </a:solidFill>
                        </a:rPr>
                        <a:t>1</a:t>
                      </a:r>
                      <a:r>
                        <a:rPr lang="en-US" sz="1200" kern="1200" baseline="0" noProof="0">
                          <a:solidFill>
                            <a:schemeClr val="tx1"/>
                          </a:solidFill>
                        </a:rPr>
                        <a:t> per entire process assessment phase</a:t>
                      </a:r>
                      <a:endParaRPr lang="en-US" sz="1200" kern="1200" noProof="0">
                        <a:solidFill>
                          <a:schemeClr val="tx1"/>
                        </a:solidFill>
                      </a:endParaRPr>
                    </a:p>
                    <a:p>
                      <a:pPr algn="l" rtl="0"/>
                      <a:endParaRPr lang="en-US" sz="1200" kern="1200" noProof="0" dirty="0">
                        <a:solidFill>
                          <a:schemeClr val="tx1"/>
                        </a:solidFill>
                        <a:latin typeface="+mn-lt"/>
                        <a:ea typeface="+mn-ea"/>
                        <a:cs typeface="+mn-cs"/>
                      </a:endParaRPr>
                    </a:p>
                  </a:txBody>
                  <a:tcPr marR="36000" marT="0" marB="0">
                    <a:lnT w="12700" cap="flat" cmpd="sng" algn="ctr">
                      <a:solidFill>
                        <a:schemeClr val="bg2">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3558862899"/>
                  </a:ext>
                </a:extLst>
              </a:tr>
            </a:tbl>
          </a:graphicData>
        </a:graphic>
      </p:graphicFrame>
    </p:spTree>
    <p:extLst>
      <p:ext uri="{BB962C8B-B14F-4D97-AF65-F5344CB8AC3E}">
        <p14:creationId xmlns:p14="http://schemas.microsoft.com/office/powerpoint/2010/main" val="2987023261"/>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5CB112-4A72-4F91-9F65-31BCDAA73258}"/>
              </a:ext>
            </a:extLst>
          </p:cNvPr>
          <p:cNvGraphicFramePr>
            <a:graphicFrameLocks noChangeAspect="1"/>
          </p:cNvGraphicFramePr>
          <p:nvPr>
            <p:custDataLst>
              <p:tags r:id="rId1"/>
            </p:custDataLst>
            <p:extLst>
              <p:ext uri="{D42A27DB-BD31-4B8C-83A1-F6EECF244321}">
                <p14:modId xmlns:p14="http://schemas.microsoft.com/office/powerpoint/2010/main" val="747001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E45CB112-4A72-4F91-9F65-31BCDAA732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3FD3299-5D5A-FD3C-E36D-A2FAC6C4BC15}"/>
              </a:ext>
            </a:extLst>
          </p:cNvPr>
          <p:cNvSpPr>
            <a:spLocks noGrp="1"/>
          </p:cNvSpPr>
          <p:nvPr>
            <p:ph type="body" sz="quarter" idx="22"/>
          </p:nvPr>
        </p:nvSpPr>
        <p:spPr/>
        <p:txBody>
          <a:bodyPr/>
          <a:lstStyle/>
          <a:p>
            <a:endParaRPr lang="en-US" dirty="0"/>
          </a:p>
          <a:p>
            <a:r>
              <a:rPr lang="en-US" dirty="0"/>
              <a:t>Robot development approach</a:t>
            </a:r>
          </a:p>
        </p:txBody>
      </p:sp>
      <p:sp>
        <p:nvSpPr>
          <p:cNvPr id="3" name="Title 2">
            <a:extLst>
              <a:ext uri="{FF2B5EF4-FFF2-40B4-BE49-F238E27FC236}">
                <a16:creationId xmlns:a16="http://schemas.microsoft.com/office/drawing/2014/main" id="{CD0724CC-4D57-7BBC-5DF3-A1B7A047C782}"/>
              </a:ext>
            </a:extLst>
          </p:cNvPr>
          <p:cNvSpPr>
            <a:spLocks noGrp="1"/>
          </p:cNvSpPr>
          <p:nvPr>
            <p:ph type="title"/>
          </p:nvPr>
        </p:nvSpPr>
        <p:spPr>
          <a:xfrm>
            <a:off x="463295" y="417911"/>
            <a:ext cx="11277600" cy="334099"/>
          </a:xfrm>
        </p:spPr>
        <p:txBody>
          <a:bodyPr vert="horz"/>
          <a:lstStyle/>
          <a:p>
            <a:r>
              <a:rPr lang="en-US" dirty="0"/>
              <a:t>Agile development process leads to highly interactive and iterative rollouts that build momentum and capability</a:t>
            </a:r>
          </a:p>
        </p:txBody>
      </p:sp>
      <p:sp>
        <p:nvSpPr>
          <p:cNvPr id="8" name="Rectangle 7">
            <a:extLst>
              <a:ext uri="{FF2B5EF4-FFF2-40B4-BE49-F238E27FC236}">
                <a16:creationId xmlns:a16="http://schemas.microsoft.com/office/drawing/2014/main" id="{0ABACA29-74A3-A567-7C31-466299D245F0}"/>
              </a:ext>
            </a:extLst>
          </p:cNvPr>
          <p:cNvSpPr/>
          <p:nvPr/>
        </p:nvSpPr>
        <p:spPr bwMode="gray">
          <a:xfrm>
            <a:off x="463295" y="1619834"/>
            <a:ext cx="11265410" cy="4612798"/>
          </a:xfrm>
          <a:prstGeom prst="rect">
            <a:avLst/>
          </a:prstGeom>
          <a:solidFill>
            <a:schemeClr val="bg1"/>
          </a:solidFill>
          <a:ln w="19050" algn="ctr">
            <a:noFill/>
            <a:miter lim="800000"/>
            <a:headEnd/>
            <a:tailEnd/>
          </a:ln>
          <a:effectLst>
            <a:outerShdw blurRad="50800" dist="38100" dir="5400000" algn="t" rotWithShape="0">
              <a:prstClr val="black">
                <a:alpha val="40000"/>
              </a:prstClr>
            </a:outerShdw>
          </a:effectLst>
        </p:spPr>
        <p:txBody>
          <a:bodyPr wrap="square" lIns="0" tIns="0" rIns="0" bIns="0" rtlCol="0" anchor="ctr"/>
          <a:lstStyle/>
          <a:p>
            <a:pPr algn="ctr"/>
            <a:endParaRPr lang="en-US"/>
          </a:p>
        </p:txBody>
      </p:sp>
      <p:grpSp>
        <p:nvGrpSpPr>
          <p:cNvPr id="9" name="Group 8">
            <a:extLst>
              <a:ext uri="{FF2B5EF4-FFF2-40B4-BE49-F238E27FC236}">
                <a16:creationId xmlns:a16="http://schemas.microsoft.com/office/drawing/2014/main" id="{EB7B4CA5-F217-3012-0113-A0E04346F520}"/>
              </a:ext>
            </a:extLst>
          </p:cNvPr>
          <p:cNvGrpSpPr/>
          <p:nvPr/>
        </p:nvGrpSpPr>
        <p:grpSpPr>
          <a:xfrm>
            <a:off x="914656" y="1651558"/>
            <a:ext cx="10362690" cy="4527087"/>
            <a:chOff x="479425" y="1898263"/>
            <a:chExt cx="11234738" cy="4527087"/>
          </a:xfrm>
        </p:grpSpPr>
        <p:sp>
          <p:nvSpPr>
            <p:cNvPr id="10" name="Line Callout 1 (Accent Bar) 47">
              <a:extLst>
                <a:ext uri="{FF2B5EF4-FFF2-40B4-BE49-F238E27FC236}">
                  <a16:creationId xmlns:a16="http://schemas.microsoft.com/office/drawing/2014/main" id="{FE340275-205E-DA9D-AB4D-4D918870339F}"/>
                </a:ext>
              </a:extLst>
            </p:cNvPr>
            <p:cNvSpPr/>
            <p:nvPr/>
          </p:nvSpPr>
          <p:spPr>
            <a:xfrm>
              <a:off x="480319" y="4422917"/>
              <a:ext cx="1530002" cy="1727998"/>
            </a:xfrm>
            <a:prstGeom prst="accentCallout1">
              <a:avLst>
                <a:gd name="adj1" fmla="val 15633"/>
                <a:gd name="adj2" fmla="val 99966"/>
                <a:gd name="adj3" fmla="val 15826"/>
                <a:gd name="adj4" fmla="val 130201"/>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defTabSz="1219170">
                <a:spcAft>
                  <a:spcPts val="600"/>
                </a:spcAft>
                <a:buClr>
                  <a:schemeClr val="accent5"/>
                </a:buClr>
                <a:buSzPct val="100000"/>
              </a:pPr>
              <a:r>
                <a:rPr lang="en-US" sz="1100" b="1" dirty="0">
                  <a:solidFill>
                    <a:srgbClr val="000000"/>
                  </a:solidFill>
                </a:rPr>
                <a:t>PDD defines:</a:t>
              </a:r>
            </a:p>
            <a:p>
              <a:pPr marL="171450" indent="-171450" defTabSz="1219170">
                <a:spcAft>
                  <a:spcPts val="600"/>
                </a:spcAft>
                <a:buClr>
                  <a:schemeClr val="accent5"/>
                </a:buClr>
                <a:buSzPct val="100000"/>
                <a:buFont typeface="Arial" panose="020B0604020202020204" pitchFamily="34" charset="0"/>
                <a:buChar char="•"/>
              </a:pPr>
              <a:r>
                <a:rPr lang="en-US" sz="1100" dirty="0">
                  <a:solidFill>
                    <a:schemeClr val="tx1"/>
                  </a:solidFill>
                </a:rPr>
                <a:t>Input data validations</a:t>
              </a:r>
            </a:p>
            <a:p>
              <a:pPr marL="171450" indent="-171450" defTabSz="1219170">
                <a:spcAft>
                  <a:spcPts val="600"/>
                </a:spcAft>
                <a:buClr>
                  <a:schemeClr val="accent5"/>
                </a:buClr>
                <a:buSzPct val="100000"/>
                <a:buFont typeface="Arial" panose="020B0604020202020204" pitchFamily="34" charset="0"/>
                <a:buChar char="•"/>
              </a:pPr>
              <a:r>
                <a:rPr lang="en-US" sz="1100" dirty="0">
                  <a:solidFill>
                    <a:schemeClr val="tx1"/>
                  </a:solidFill>
                </a:rPr>
                <a:t>Output data validations</a:t>
              </a:r>
            </a:p>
            <a:p>
              <a:pPr marL="171450" indent="-171450" defTabSz="1219170">
                <a:spcAft>
                  <a:spcPts val="600"/>
                </a:spcAft>
                <a:buClr>
                  <a:schemeClr val="accent5"/>
                </a:buClr>
                <a:buSzPct val="100000"/>
                <a:buFont typeface="Arial" panose="020B0604020202020204" pitchFamily="34" charset="0"/>
                <a:buChar char="•"/>
              </a:pPr>
              <a:r>
                <a:rPr lang="en-US" sz="1100" dirty="0">
                  <a:solidFill>
                    <a:schemeClr val="tx1"/>
                  </a:solidFill>
                </a:rPr>
                <a:t>Exact step by step as-is process description </a:t>
              </a:r>
            </a:p>
            <a:p>
              <a:pPr marL="171450" indent="-171450" defTabSz="1219170">
                <a:spcAft>
                  <a:spcPts val="600"/>
                </a:spcAft>
                <a:buClr>
                  <a:schemeClr val="accent5"/>
                </a:buClr>
                <a:buSzPct val="100000"/>
                <a:buFont typeface="Arial" panose="020B0604020202020204" pitchFamily="34" charset="0"/>
                <a:buChar char="•"/>
              </a:pPr>
              <a:r>
                <a:rPr lang="en-US" sz="1100" dirty="0">
                  <a:solidFill>
                    <a:schemeClr val="tx1"/>
                  </a:solidFill>
                </a:rPr>
                <a:t>KPI’s and matrix</a:t>
              </a:r>
            </a:p>
          </p:txBody>
        </p:sp>
        <p:sp>
          <p:nvSpPr>
            <p:cNvPr id="11" name="Rectangle 10">
              <a:extLst>
                <a:ext uri="{FF2B5EF4-FFF2-40B4-BE49-F238E27FC236}">
                  <a16:creationId xmlns:a16="http://schemas.microsoft.com/office/drawing/2014/main" id="{23C46A14-6EF7-08A0-3F14-6C4ABF4DB2B5}"/>
                </a:ext>
              </a:extLst>
            </p:cNvPr>
            <p:cNvSpPr/>
            <p:nvPr/>
          </p:nvSpPr>
          <p:spPr>
            <a:xfrm>
              <a:off x="1737453" y="2366255"/>
              <a:ext cx="1152000" cy="468000"/>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200" dirty="0">
                  <a:solidFill>
                    <a:prstClr val="white"/>
                  </a:solidFill>
                  <a:cs typeface="Open Sans" panose="020B0606030504020204" pitchFamily="34" charset="0"/>
                </a:rPr>
                <a:t>Business Analysis</a:t>
              </a:r>
            </a:p>
          </p:txBody>
        </p:sp>
        <p:sp>
          <p:nvSpPr>
            <p:cNvPr id="12" name="Rectangle 11">
              <a:extLst>
                <a:ext uri="{FF2B5EF4-FFF2-40B4-BE49-F238E27FC236}">
                  <a16:creationId xmlns:a16="http://schemas.microsoft.com/office/drawing/2014/main" id="{F8824EAC-325B-998F-EEDB-7FAB4922A64C}"/>
                </a:ext>
              </a:extLst>
            </p:cNvPr>
            <p:cNvSpPr/>
            <p:nvPr/>
          </p:nvSpPr>
          <p:spPr>
            <a:xfrm>
              <a:off x="2995481" y="3051809"/>
              <a:ext cx="1152000"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defRPr/>
              </a:pPr>
              <a:r>
                <a:rPr lang="en-US" sz="1200" dirty="0">
                  <a:solidFill>
                    <a:prstClr val="white"/>
                  </a:solidFill>
                  <a:cs typeface="Open Sans" panose="020B0606030504020204" pitchFamily="34" charset="0"/>
                </a:rPr>
                <a:t>Solution Specification</a:t>
              </a:r>
            </a:p>
          </p:txBody>
        </p:sp>
        <p:sp>
          <p:nvSpPr>
            <p:cNvPr id="13" name="Rectangle 12">
              <a:extLst>
                <a:ext uri="{FF2B5EF4-FFF2-40B4-BE49-F238E27FC236}">
                  <a16:creationId xmlns:a16="http://schemas.microsoft.com/office/drawing/2014/main" id="{7165ABC9-2A97-596C-6523-EFC9F4ACB4CA}"/>
                </a:ext>
              </a:extLst>
            </p:cNvPr>
            <p:cNvSpPr/>
            <p:nvPr/>
          </p:nvSpPr>
          <p:spPr>
            <a:xfrm>
              <a:off x="479425" y="2366255"/>
              <a:ext cx="1152000" cy="468000"/>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200" dirty="0">
                  <a:solidFill>
                    <a:prstClr val="white"/>
                  </a:solidFill>
                  <a:cs typeface="Open Sans" panose="020B0606030504020204" pitchFamily="34" charset="0"/>
                </a:rPr>
                <a:t>Opportunity Analysis</a:t>
              </a:r>
            </a:p>
          </p:txBody>
        </p:sp>
        <p:sp>
          <p:nvSpPr>
            <p:cNvPr id="14" name="Rectangle 13">
              <a:extLst>
                <a:ext uri="{FF2B5EF4-FFF2-40B4-BE49-F238E27FC236}">
                  <a16:creationId xmlns:a16="http://schemas.microsoft.com/office/drawing/2014/main" id="{45E91FB0-81F5-5B2F-3F56-BDBB0149EFF2}"/>
                </a:ext>
              </a:extLst>
            </p:cNvPr>
            <p:cNvSpPr/>
            <p:nvPr/>
          </p:nvSpPr>
          <p:spPr>
            <a:xfrm>
              <a:off x="4253509" y="3737363"/>
              <a:ext cx="1152000"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200" dirty="0">
                  <a:solidFill>
                    <a:prstClr val="white"/>
                  </a:solidFill>
                  <a:cs typeface="Open Sans" panose="020B0606030504020204" pitchFamily="34" charset="0"/>
                </a:rPr>
                <a:t>Development</a:t>
              </a:r>
            </a:p>
          </p:txBody>
        </p:sp>
        <p:sp>
          <p:nvSpPr>
            <p:cNvPr id="15" name="Rectangle 14">
              <a:extLst>
                <a:ext uri="{FF2B5EF4-FFF2-40B4-BE49-F238E27FC236}">
                  <a16:creationId xmlns:a16="http://schemas.microsoft.com/office/drawing/2014/main" id="{1CBACE8A-E91D-1681-E522-1419CEFEBC95}"/>
                </a:ext>
              </a:extLst>
            </p:cNvPr>
            <p:cNvSpPr/>
            <p:nvPr/>
          </p:nvSpPr>
          <p:spPr>
            <a:xfrm>
              <a:off x="5511537" y="3737363"/>
              <a:ext cx="1152000"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200" dirty="0">
                  <a:solidFill>
                    <a:prstClr val="white"/>
                  </a:solidFill>
                  <a:cs typeface="Open Sans" panose="020B0606030504020204" pitchFamily="34" charset="0"/>
                </a:rPr>
                <a:t>Unit </a:t>
              </a:r>
            </a:p>
            <a:p>
              <a:pPr algn="ctr" defTabSz="684243"/>
              <a:r>
                <a:rPr lang="en-US" sz="1200" dirty="0">
                  <a:solidFill>
                    <a:prstClr val="white"/>
                  </a:solidFill>
                  <a:cs typeface="Open Sans" panose="020B0606030504020204" pitchFamily="34" charset="0"/>
                </a:rPr>
                <a:t>Testing</a:t>
              </a:r>
            </a:p>
          </p:txBody>
        </p:sp>
        <p:sp>
          <p:nvSpPr>
            <p:cNvPr id="16" name="Rectangle 15">
              <a:extLst>
                <a:ext uri="{FF2B5EF4-FFF2-40B4-BE49-F238E27FC236}">
                  <a16:creationId xmlns:a16="http://schemas.microsoft.com/office/drawing/2014/main" id="{C49FDD97-62F0-4F90-726B-F5104690A9F1}"/>
                </a:ext>
              </a:extLst>
            </p:cNvPr>
            <p:cNvSpPr/>
            <p:nvPr/>
          </p:nvSpPr>
          <p:spPr>
            <a:xfrm>
              <a:off x="6769565" y="3051809"/>
              <a:ext cx="1152000"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200" dirty="0">
                  <a:solidFill>
                    <a:srgbClr val="FFFFFF"/>
                  </a:solidFill>
                  <a:cs typeface="Open Sans" panose="020B0606030504020204" pitchFamily="34" charset="0"/>
                </a:rPr>
                <a:t>Integration</a:t>
              </a:r>
            </a:p>
            <a:p>
              <a:pPr algn="ctr" defTabSz="684243"/>
              <a:r>
                <a:rPr lang="en-US" sz="1200" dirty="0">
                  <a:solidFill>
                    <a:srgbClr val="FFFFFF"/>
                  </a:solidFill>
                  <a:cs typeface="Open Sans" panose="020B0606030504020204" pitchFamily="34" charset="0"/>
                </a:rPr>
                <a:t>Testing</a:t>
              </a:r>
            </a:p>
          </p:txBody>
        </p:sp>
        <p:sp>
          <p:nvSpPr>
            <p:cNvPr id="17" name="Rectangle 16">
              <a:extLst>
                <a:ext uri="{FF2B5EF4-FFF2-40B4-BE49-F238E27FC236}">
                  <a16:creationId xmlns:a16="http://schemas.microsoft.com/office/drawing/2014/main" id="{77A24761-640C-DF96-DAD5-5CAD73711B9F}"/>
                </a:ext>
              </a:extLst>
            </p:cNvPr>
            <p:cNvSpPr/>
            <p:nvPr/>
          </p:nvSpPr>
          <p:spPr>
            <a:xfrm>
              <a:off x="8027593" y="2366255"/>
              <a:ext cx="1152000" cy="468000"/>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200" dirty="0">
                  <a:solidFill>
                    <a:prstClr val="white"/>
                  </a:solidFill>
                  <a:cs typeface="Open Sans" panose="020B0606030504020204" pitchFamily="34" charset="0"/>
                </a:rPr>
                <a:t>UA</a:t>
              </a:r>
            </a:p>
            <a:p>
              <a:pPr algn="ctr" defTabSz="684243"/>
              <a:r>
                <a:rPr lang="en-US" sz="1200" dirty="0">
                  <a:solidFill>
                    <a:prstClr val="white"/>
                  </a:solidFill>
                  <a:cs typeface="Open Sans" panose="020B0606030504020204" pitchFamily="34" charset="0"/>
                </a:rPr>
                <a:t>Testing</a:t>
              </a:r>
            </a:p>
          </p:txBody>
        </p:sp>
        <p:sp>
          <p:nvSpPr>
            <p:cNvPr id="18" name="Rectangle 17">
              <a:extLst>
                <a:ext uri="{FF2B5EF4-FFF2-40B4-BE49-F238E27FC236}">
                  <a16:creationId xmlns:a16="http://schemas.microsoft.com/office/drawing/2014/main" id="{D20CC9DE-74F9-87C5-D087-8342F2E2B6AC}"/>
                </a:ext>
              </a:extLst>
            </p:cNvPr>
            <p:cNvSpPr/>
            <p:nvPr/>
          </p:nvSpPr>
          <p:spPr>
            <a:xfrm>
              <a:off x="10543647" y="2366255"/>
              <a:ext cx="1152000" cy="468000"/>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200" dirty="0">
                  <a:solidFill>
                    <a:prstClr val="white"/>
                  </a:solidFill>
                  <a:cs typeface="Open Sans" panose="020B0606030504020204" pitchFamily="34" charset="0"/>
                </a:rPr>
                <a:t>Deployment</a:t>
              </a:r>
            </a:p>
          </p:txBody>
        </p:sp>
        <p:sp>
          <p:nvSpPr>
            <p:cNvPr id="19" name="Rectangle 18">
              <a:extLst>
                <a:ext uri="{FF2B5EF4-FFF2-40B4-BE49-F238E27FC236}">
                  <a16:creationId xmlns:a16="http://schemas.microsoft.com/office/drawing/2014/main" id="{44A5B6C8-0179-E877-C743-68DD83B8C1F5}"/>
                </a:ext>
              </a:extLst>
            </p:cNvPr>
            <p:cNvSpPr/>
            <p:nvPr/>
          </p:nvSpPr>
          <p:spPr>
            <a:xfrm>
              <a:off x="9285621" y="2366255"/>
              <a:ext cx="1152000" cy="468000"/>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200" dirty="0">
                  <a:solidFill>
                    <a:prstClr val="white"/>
                  </a:solidFill>
                  <a:cs typeface="Open Sans" panose="020B0606030504020204" pitchFamily="34" charset="0"/>
                </a:rPr>
                <a:t>User</a:t>
              </a:r>
              <a:br>
                <a:rPr lang="en-US" sz="1200" dirty="0">
                  <a:solidFill>
                    <a:prstClr val="white"/>
                  </a:solidFill>
                  <a:cs typeface="Open Sans" panose="020B0606030504020204" pitchFamily="34" charset="0"/>
                </a:rPr>
              </a:br>
              <a:r>
                <a:rPr lang="en-US" sz="1200" dirty="0">
                  <a:solidFill>
                    <a:prstClr val="white"/>
                  </a:solidFill>
                  <a:cs typeface="Open Sans" panose="020B0606030504020204" pitchFamily="34" charset="0"/>
                </a:rPr>
                <a:t>Training</a:t>
              </a:r>
              <a:endParaRPr lang="en-US" sz="1200" baseline="30000" dirty="0">
                <a:solidFill>
                  <a:prstClr val="white"/>
                </a:solidFill>
                <a:cs typeface="Open Sans" panose="020B0606030504020204" pitchFamily="34" charset="0"/>
              </a:endParaRPr>
            </a:p>
          </p:txBody>
        </p:sp>
        <p:sp>
          <p:nvSpPr>
            <p:cNvPr id="20" name="Flowchart: Document 19">
              <a:extLst>
                <a:ext uri="{FF2B5EF4-FFF2-40B4-BE49-F238E27FC236}">
                  <a16:creationId xmlns:a16="http://schemas.microsoft.com/office/drawing/2014/main" id="{BC8DD4AA-D9D2-C717-27CA-52AD6EDA346F}"/>
                </a:ext>
              </a:extLst>
            </p:cNvPr>
            <p:cNvSpPr/>
            <p:nvPr/>
          </p:nvSpPr>
          <p:spPr>
            <a:xfrm>
              <a:off x="2397345" y="4422917"/>
              <a:ext cx="828000" cy="648000"/>
            </a:xfrm>
            <a:prstGeom prst="flowChartDocumen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000" dirty="0">
                  <a:solidFill>
                    <a:schemeClr val="tx1"/>
                  </a:solidFill>
                  <a:cs typeface="Open Sans" panose="020B0606030504020204" pitchFamily="34" charset="0"/>
                </a:rPr>
                <a:t>PDD</a:t>
              </a:r>
            </a:p>
          </p:txBody>
        </p:sp>
        <p:sp>
          <p:nvSpPr>
            <p:cNvPr id="21" name="Flowchart: Document 20">
              <a:extLst>
                <a:ext uri="{FF2B5EF4-FFF2-40B4-BE49-F238E27FC236}">
                  <a16:creationId xmlns:a16="http://schemas.microsoft.com/office/drawing/2014/main" id="{82B8EEDB-BE17-F0C0-6A1C-9217BB04FA27}"/>
                </a:ext>
              </a:extLst>
            </p:cNvPr>
            <p:cNvSpPr/>
            <p:nvPr/>
          </p:nvSpPr>
          <p:spPr>
            <a:xfrm>
              <a:off x="7421840" y="5092026"/>
              <a:ext cx="828000" cy="648000"/>
            </a:xfrm>
            <a:prstGeom prst="flowChartDocumen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1219170"/>
              <a:r>
                <a:rPr lang="en-US" sz="1000" i="1" dirty="0">
                  <a:solidFill>
                    <a:schemeClr val="tx1"/>
                  </a:solidFill>
                </a:rPr>
                <a:t>SDD (Solution</a:t>
              </a:r>
              <a:br>
                <a:rPr lang="en-US" sz="1000" i="1" dirty="0">
                  <a:solidFill>
                    <a:schemeClr val="tx1"/>
                  </a:solidFill>
                </a:rPr>
              </a:br>
              <a:r>
                <a:rPr lang="en-US" sz="1000" i="1" dirty="0">
                  <a:solidFill>
                    <a:schemeClr val="tx1"/>
                  </a:solidFill>
                </a:rPr>
                <a:t>Specific.)</a:t>
              </a:r>
            </a:p>
          </p:txBody>
        </p:sp>
        <p:cxnSp>
          <p:nvCxnSpPr>
            <p:cNvPr id="22" name="Straight Arrow Connector 21">
              <a:extLst>
                <a:ext uri="{FF2B5EF4-FFF2-40B4-BE49-F238E27FC236}">
                  <a16:creationId xmlns:a16="http://schemas.microsoft.com/office/drawing/2014/main" id="{C4554346-D826-0B5A-FEFE-8BB1A3ABF7C2}"/>
                </a:ext>
              </a:extLst>
            </p:cNvPr>
            <p:cNvCxnSpPr>
              <a:endCxn id="20" idx="0"/>
            </p:cNvCxnSpPr>
            <p:nvPr/>
          </p:nvCxnSpPr>
          <p:spPr>
            <a:xfrm>
              <a:off x="2811345" y="2834255"/>
              <a:ext cx="0" cy="1588662"/>
            </a:xfrm>
            <a:prstGeom prst="straightConnector1">
              <a:avLst/>
            </a:prstGeom>
            <a:ln w="12700">
              <a:solidFill>
                <a:schemeClr val="tx2"/>
              </a:solidFill>
              <a:prstDash val="solid"/>
              <a:headEnd w="lg" len="lg"/>
              <a:tailEnd type="triangle" w="med" len="lg"/>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4D95599-CDCA-C589-EAC3-783F72F1927C}"/>
                </a:ext>
              </a:extLst>
            </p:cNvPr>
            <p:cNvCxnSpPr/>
            <p:nvPr/>
          </p:nvCxnSpPr>
          <p:spPr>
            <a:xfrm>
              <a:off x="4147481" y="3271316"/>
              <a:ext cx="2622084" cy="0"/>
            </a:xfrm>
            <a:prstGeom prst="straightConnector1">
              <a:avLst/>
            </a:prstGeom>
            <a:ln w="1270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A624139-2A77-353D-77D1-4466913C13D0}"/>
                </a:ext>
              </a:extLst>
            </p:cNvPr>
            <p:cNvSpPr txBox="1"/>
            <p:nvPr/>
          </p:nvSpPr>
          <p:spPr>
            <a:xfrm>
              <a:off x="4580440" y="3107819"/>
              <a:ext cx="1756166" cy="153888"/>
            </a:xfrm>
            <a:prstGeom prst="rect">
              <a:avLst/>
            </a:prstGeom>
            <a:noFill/>
          </p:spPr>
          <p:txBody>
            <a:bodyPr wrap="square" lIns="0" tIns="0" rIns="0" bIns="0" rtlCol="0">
              <a:noAutofit/>
            </a:bodyPr>
            <a:lstStyle>
              <a:defPPr>
                <a:defRPr lang="en-US"/>
              </a:defPPr>
              <a:lvl1pPr algn="ctr" defTabSz="1219170">
                <a:spcAft>
                  <a:spcPts val="204"/>
                </a:spcAft>
                <a:defRPr sz="1000"/>
              </a:lvl1pPr>
            </a:lstStyle>
            <a:p>
              <a:r>
                <a:rPr lang="en-US" b="1" dirty="0"/>
                <a:t>Integration Test Cases</a:t>
              </a:r>
            </a:p>
          </p:txBody>
        </p:sp>
        <p:cxnSp>
          <p:nvCxnSpPr>
            <p:cNvPr id="25" name="Straight Arrow Connector 24">
              <a:extLst>
                <a:ext uri="{FF2B5EF4-FFF2-40B4-BE49-F238E27FC236}">
                  <a16:creationId xmlns:a16="http://schemas.microsoft.com/office/drawing/2014/main" id="{4C57291F-D045-A262-4455-0018B820E1A1}"/>
                </a:ext>
              </a:extLst>
            </p:cNvPr>
            <p:cNvCxnSpPr>
              <a:stCxn id="20" idx="2"/>
              <a:endCxn id="32" idx="0"/>
            </p:cNvCxnSpPr>
            <p:nvPr/>
          </p:nvCxnSpPr>
          <p:spPr>
            <a:xfrm>
              <a:off x="2811345" y="5028077"/>
              <a:ext cx="2395" cy="456794"/>
            </a:xfrm>
            <a:prstGeom prst="straightConnector1">
              <a:avLst/>
            </a:prstGeom>
            <a:ln w="1270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D156186-CCAA-218D-F808-DAE4D37050B3}"/>
                </a:ext>
              </a:extLst>
            </p:cNvPr>
            <p:cNvCxnSpPr>
              <a:stCxn id="21" idx="2"/>
              <a:endCxn id="33" idx="0"/>
            </p:cNvCxnSpPr>
            <p:nvPr/>
          </p:nvCxnSpPr>
          <p:spPr>
            <a:xfrm>
              <a:off x="7835840" y="5697186"/>
              <a:ext cx="3923" cy="260164"/>
            </a:xfrm>
            <a:prstGeom prst="straightConnector1">
              <a:avLst/>
            </a:prstGeom>
            <a:ln w="1270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EDAF87D-DBE0-42C0-C407-A2E9917697E2}"/>
                </a:ext>
              </a:extLst>
            </p:cNvPr>
            <p:cNvCxnSpPr/>
            <p:nvPr/>
          </p:nvCxnSpPr>
          <p:spPr>
            <a:xfrm>
              <a:off x="526847" y="2060263"/>
              <a:ext cx="2362606" cy="0"/>
            </a:xfrm>
            <a:prstGeom prst="line">
              <a:avLst/>
            </a:prstGeom>
            <a:noFill/>
            <a:ln w="19050" algn="ctr">
              <a:solidFill>
                <a:schemeClr val="tx1"/>
              </a:solidFill>
              <a:miter lim="800000"/>
              <a:headEnd type="oval" w="med" len="med"/>
              <a:tailEnd type="oval" w="med" len="med"/>
            </a:ln>
          </p:spPr>
        </p:cxnSp>
        <p:sp>
          <p:nvSpPr>
            <p:cNvPr id="28" name="TextBox 27">
              <a:extLst>
                <a:ext uri="{FF2B5EF4-FFF2-40B4-BE49-F238E27FC236}">
                  <a16:creationId xmlns:a16="http://schemas.microsoft.com/office/drawing/2014/main" id="{CF1EA07F-8567-D83A-98BE-B865E5A3D66F}"/>
                </a:ext>
              </a:extLst>
            </p:cNvPr>
            <p:cNvSpPr txBox="1"/>
            <p:nvPr/>
          </p:nvSpPr>
          <p:spPr>
            <a:xfrm>
              <a:off x="1235711" y="1898263"/>
              <a:ext cx="944879" cy="324000"/>
            </a:xfrm>
            <a:prstGeom prst="rect">
              <a:avLst/>
            </a:prstGeom>
            <a:solidFill>
              <a:schemeClr val="bg1"/>
            </a:solidFill>
          </p:spPr>
          <p:txBody>
            <a:bodyPr wrap="square" lIns="0" tIns="0" rIns="0" bIns="0" rtlCol="0" anchor="ctr">
              <a:noAutofit/>
            </a:bodyPr>
            <a:lstStyle/>
            <a:p>
              <a:pPr algn="ctr" defTabSz="1219170">
                <a:spcBef>
                  <a:spcPts val="817"/>
                </a:spcBef>
                <a:buSzPct val="25000"/>
                <a:buFont typeface="Arial" panose="020B0604020202020204" pitchFamily="34" charset="0"/>
                <a:buChar char="‏"/>
              </a:pPr>
              <a:r>
                <a:rPr lang="en-US" sz="1000" b="1" i="1" dirty="0"/>
                <a:t>RPA Assessment</a:t>
              </a:r>
            </a:p>
          </p:txBody>
        </p:sp>
        <p:cxnSp>
          <p:nvCxnSpPr>
            <p:cNvPr id="29" name="Straight Arrow Connector 28">
              <a:extLst>
                <a:ext uri="{FF2B5EF4-FFF2-40B4-BE49-F238E27FC236}">
                  <a16:creationId xmlns:a16="http://schemas.microsoft.com/office/drawing/2014/main" id="{5EA1AB31-BF16-9A13-809A-47AFF945E63D}"/>
                </a:ext>
              </a:extLst>
            </p:cNvPr>
            <p:cNvCxnSpPr/>
            <p:nvPr/>
          </p:nvCxnSpPr>
          <p:spPr>
            <a:xfrm>
              <a:off x="2889453" y="2600255"/>
              <a:ext cx="5138140" cy="0"/>
            </a:xfrm>
            <a:prstGeom prst="straightConnector1">
              <a:avLst/>
            </a:prstGeom>
            <a:ln w="1270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3EB70B6-E2B4-FAC6-7AAD-A54528F7779C}"/>
                </a:ext>
              </a:extLst>
            </p:cNvPr>
            <p:cNvSpPr txBox="1"/>
            <p:nvPr/>
          </p:nvSpPr>
          <p:spPr>
            <a:xfrm>
              <a:off x="4295855" y="2433324"/>
              <a:ext cx="2325337" cy="153888"/>
            </a:xfrm>
            <a:prstGeom prst="rect">
              <a:avLst/>
            </a:prstGeom>
            <a:noFill/>
          </p:spPr>
          <p:txBody>
            <a:bodyPr wrap="square" lIns="0" tIns="0" rIns="0" bIns="0" rtlCol="0">
              <a:noAutofit/>
            </a:bodyPr>
            <a:lstStyle/>
            <a:p>
              <a:pPr algn="ctr" defTabSz="1219170">
                <a:spcAft>
                  <a:spcPts val="204"/>
                </a:spcAft>
              </a:pPr>
              <a:r>
                <a:rPr lang="en-US" sz="1000" b="1" dirty="0"/>
                <a:t>User Acceptance Test Cases</a:t>
              </a:r>
            </a:p>
          </p:txBody>
        </p:sp>
        <p:cxnSp>
          <p:nvCxnSpPr>
            <p:cNvPr id="31" name="Straight Arrow Connector 30">
              <a:extLst>
                <a:ext uri="{FF2B5EF4-FFF2-40B4-BE49-F238E27FC236}">
                  <a16:creationId xmlns:a16="http://schemas.microsoft.com/office/drawing/2014/main" id="{19892AE7-63BC-3377-FD89-EF76340DF69E}"/>
                </a:ext>
              </a:extLst>
            </p:cNvPr>
            <p:cNvCxnSpPr>
              <a:stCxn id="43" idx="2"/>
              <a:endCxn id="34" idx="0"/>
            </p:cNvCxnSpPr>
            <p:nvPr/>
          </p:nvCxnSpPr>
          <p:spPr>
            <a:xfrm>
              <a:off x="9105447" y="5028077"/>
              <a:ext cx="0" cy="45679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Flowchart: Alternate Process 31">
              <a:extLst>
                <a:ext uri="{FF2B5EF4-FFF2-40B4-BE49-F238E27FC236}">
                  <a16:creationId xmlns:a16="http://schemas.microsoft.com/office/drawing/2014/main" id="{AD5F2CCB-F653-1F34-B288-248083009BAC}"/>
                </a:ext>
              </a:extLst>
            </p:cNvPr>
            <p:cNvSpPr/>
            <p:nvPr/>
          </p:nvSpPr>
          <p:spPr>
            <a:xfrm>
              <a:off x="2237740" y="5484871"/>
              <a:ext cx="1152000" cy="468000"/>
            </a:xfrm>
            <a:prstGeom prst="flowChartAlternateProcess">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000" dirty="0">
                  <a:solidFill>
                    <a:schemeClr val="tx1"/>
                  </a:solidFill>
                  <a:cs typeface="Open Sans" panose="020B0606030504020204" pitchFamily="34" charset="0"/>
                </a:rPr>
                <a:t>Acknowledgement</a:t>
              </a:r>
            </a:p>
          </p:txBody>
        </p:sp>
        <p:sp>
          <p:nvSpPr>
            <p:cNvPr id="33" name="Flowchart: Alternate Process 32">
              <a:extLst>
                <a:ext uri="{FF2B5EF4-FFF2-40B4-BE49-F238E27FC236}">
                  <a16:creationId xmlns:a16="http://schemas.microsoft.com/office/drawing/2014/main" id="{7385AD52-3309-B015-2364-E515557A2237}"/>
                </a:ext>
              </a:extLst>
            </p:cNvPr>
            <p:cNvSpPr/>
            <p:nvPr/>
          </p:nvSpPr>
          <p:spPr>
            <a:xfrm>
              <a:off x="7263763" y="5957350"/>
              <a:ext cx="1152000" cy="468000"/>
            </a:xfrm>
            <a:prstGeom prst="flowChartAlternateProcess">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1219170"/>
              <a:r>
                <a:rPr lang="en-US" sz="1000" i="1" dirty="0">
                  <a:solidFill>
                    <a:schemeClr val="tx1"/>
                  </a:solidFill>
                </a:rPr>
                <a:t>Process Owner Approval</a:t>
              </a:r>
            </a:p>
          </p:txBody>
        </p:sp>
        <p:sp>
          <p:nvSpPr>
            <p:cNvPr id="34" name="Flowchart: Alternate Process 33">
              <a:extLst>
                <a:ext uri="{FF2B5EF4-FFF2-40B4-BE49-F238E27FC236}">
                  <a16:creationId xmlns:a16="http://schemas.microsoft.com/office/drawing/2014/main" id="{DA037591-AE3B-8D49-372E-C20F469F659F}"/>
                </a:ext>
              </a:extLst>
            </p:cNvPr>
            <p:cNvSpPr/>
            <p:nvPr/>
          </p:nvSpPr>
          <p:spPr>
            <a:xfrm>
              <a:off x="8529447" y="5484871"/>
              <a:ext cx="1152000" cy="468000"/>
            </a:xfrm>
            <a:prstGeom prst="flowChartAlternateProcess">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000" dirty="0">
                  <a:solidFill>
                    <a:schemeClr val="tx1"/>
                  </a:solidFill>
                  <a:cs typeface="Open Sans" panose="020B0606030504020204" pitchFamily="34" charset="0"/>
                </a:rPr>
                <a:t>Process Owner Approval</a:t>
              </a:r>
            </a:p>
          </p:txBody>
        </p:sp>
        <p:cxnSp>
          <p:nvCxnSpPr>
            <p:cNvPr id="35" name="Straight Connector 34">
              <a:extLst>
                <a:ext uri="{FF2B5EF4-FFF2-40B4-BE49-F238E27FC236}">
                  <a16:creationId xmlns:a16="http://schemas.microsoft.com/office/drawing/2014/main" id="{CBB9BE13-99C5-A340-82D0-ECFF8ADDD37A}"/>
                </a:ext>
              </a:extLst>
            </p:cNvPr>
            <p:cNvCxnSpPr/>
            <p:nvPr/>
          </p:nvCxnSpPr>
          <p:spPr>
            <a:xfrm>
              <a:off x="2889453" y="2060263"/>
              <a:ext cx="5138140" cy="0"/>
            </a:xfrm>
            <a:prstGeom prst="line">
              <a:avLst/>
            </a:prstGeom>
            <a:noFill/>
            <a:ln w="19050" algn="ctr">
              <a:solidFill>
                <a:schemeClr val="tx1"/>
              </a:solidFill>
              <a:miter lim="800000"/>
              <a:headEnd type="oval" w="med" len="med"/>
              <a:tailEnd type="oval" w="med" len="med"/>
            </a:ln>
          </p:spPr>
        </p:cxnSp>
        <p:sp>
          <p:nvSpPr>
            <p:cNvPr id="36" name="TextBox 35">
              <a:extLst>
                <a:ext uri="{FF2B5EF4-FFF2-40B4-BE49-F238E27FC236}">
                  <a16:creationId xmlns:a16="http://schemas.microsoft.com/office/drawing/2014/main" id="{3F075244-65DE-8F69-F39B-6095F7DEEB0F}"/>
                </a:ext>
              </a:extLst>
            </p:cNvPr>
            <p:cNvSpPr txBox="1"/>
            <p:nvPr/>
          </p:nvSpPr>
          <p:spPr>
            <a:xfrm>
              <a:off x="4828303" y="1898263"/>
              <a:ext cx="1260441" cy="324000"/>
            </a:xfrm>
            <a:prstGeom prst="rect">
              <a:avLst/>
            </a:prstGeom>
            <a:solidFill>
              <a:schemeClr val="bg1"/>
            </a:solidFill>
          </p:spPr>
          <p:txBody>
            <a:bodyPr wrap="square" lIns="0" tIns="0" rIns="0" bIns="0" rtlCol="0" anchor="ctr">
              <a:noAutofit/>
            </a:bodyPr>
            <a:lstStyle/>
            <a:p>
              <a:pPr algn="ctr" defTabSz="1219170">
                <a:spcBef>
                  <a:spcPts val="817"/>
                </a:spcBef>
                <a:buSzPct val="25000"/>
                <a:buFont typeface="Arial" panose="020B0604020202020204" pitchFamily="34" charset="0"/>
                <a:buChar char="‏"/>
              </a:pPr>
              <a:r>
                <a:rPr lang="en-US" sz="1000" b="1" i="1" dirty="0"/>
                <a:t>RPA Hybrid Agile Development</a:t>
              </a:r>
            </a:p>
          </p:txBody>
        </p:sp>
        <p:cxnSp>
          <p:nvCxnSpPr>
            <p:cNvPr id="37" name="Straight Connector 36">
              <a:extLst>
                <a:ext uri="{FF2B5EF4-FFF2-40B4-BE49-F238E27FC236}">
                  <a16:creationId xmlns:a16="http://schemas.microsoft.com/office/drawing/2014/main" id="{48D9796D-7514-3F5F-00E0-BB33BF7FB482}"/>
                </a:ext>
              </a:extLst>
            </p:cNvPr>
            <p:cNvCxnSpPr/>
            <p:nvPr/>
          </p:nvCxnSpPr>
          <p:spPr>
            <a:xfrm>
              <a:off x="8027593" y="2060263"/>
              <a:ext cx="3686570" cy="0"/>
            </a:xfrm>
            <a:prstGeom prst="line">
              <a:avLst/>
            </a:prstGeom>
            <a:noFill/>
            <a:ln w="19050" algn="ctr">
              <a:solidFill>
                <a:schemeClr val="tx1"/>
              </a:solidFill>
              <a:miter lim="800000"/>
              <a:headEnd type="oval" w="med" len="med"/>
              <a:tailEnd type="oval" w="med" len="med"/>
            </a:ln>
          </p:spPr>
        </p:cxnSp>
        <p:sp>
          <p:nvSpPr>
            <p:cNvPr id="38" name="TextBox 37">
              <a:extLst>
                <a:ext uri="{FF2B5EF4-FFF2-40B4-BE49-F238E27FC236}">
                  <a16:creationId xmlns:a16="http://schemas.microsoft.com/office/drawing/2014/main" id="{28FB61A7-B6D8-B9AB-3925-36A440E72AFF}"/>
                </a:ext>
              </a:extLst>
            </p:cNvPr>
            <p:cNvSpPr txBox="1"/>
            <p:nvPr/>
          </p:nvSpPr>
          <p:spPr>
            <a:xfrm>
              <a:off x="9202737" y="1898263"/>
              <a:ext cx="1336283" cy="324000"/>
            </a:xfrm>
            <a:prstGeom prst="rect">
              <a:avLst/>
            </a:prstGeom>
            <a:solidFill>
              <a:schemeClr val="bg1"/>
            </a:solidFill>
          </p:spPr>
          <p:txBody>
            <a:bodyPr wrap="square" lIns="0" tIns="0" rIns="0" bIns="0" rtlCol="0" anchor="ctr">
              <a:noAutofit/>
            </a:bodyPr>
            <a:lstStyle/>
            <a:p>
              <a:pPr algn="ctr" defTabSz="1219170">
                <a:spcBef>
                  <a:spcPts val="817"/>
                </a:spcBef>
                <a:buSzPct val="25000"/>
                <a:buFont typeface="Arial" panose="020B0604020202020204" pitchFamily="34" charset="0"/>
                <a:buChar char="‏"/>
              </a:pPr>
              <a:r>
                <a:rPr lang="en-US" sz="1000" b="1" i="1" dirty="0"/>
                <a:t>User testing and deployment</a:t>
              </a:r>
            </a:p>
          </p:txBody>
        </p:sp>
        <p:grpSp>
          <p:nvGrpSpPr>
            <p:cNvPr id="39" name="Group 38">
              <a:extLst>
                <a:ext uri="{FF2B5EF4-FFF2-40B4-BE49-F238E27FC236}">
                  <a16:creationId xmlns:a16="http://schemas.microsoft.com/office/drawing/2014/main" id="{A44692A8-190C-8860-32D6-356BCA1372F8}"/>
                </a:ext>
              </a:extLst>
            </p:cNvPr>
            <p:cNvGrpSpPr/>
            <p:nvPr/>
          </p:nvGrpSpPr>
          <p:grpSpPr>
            <a:xfrm>
              <a:off x="3175619" y="4853317"/>
              <a:ext cx="204324" cy="184361"/>
              <a:chOff x="3853667" y="5241934"/>
              <a:chExt cx="204324" cy="184361"/>
            </a:xfrm>
          </p:grpSpPr>
          <p:sp>
            <p:nvSpPr>
              <p:cNvPr id="50" name="AutoShape 129">
                <a:extLst>
                  <a:ext uri="{FF2B5EF4-FFF2-40B4-BE49-F238E27FC236}">
                    <a16:creationId xmlns:a16="http://schemas.microsoft.com/office/drawing/2014/main" id="{CFAF5629-5FE9-C2EC-3771-AC1F1E2E1811}"/>
                  </a:ext>
                </a:extLst>
              </p:cNvPr>
              <p:cNvSpPr>
                <a:spLocks noChangeArrowheads="1"/>
              </p:cNvSpPr>
              <p:nvPr/>
            </p:nvSpPr>
            <p:spPr bwMode="gray">
              <a:xfrm>
                <a:off x="3853667" y="5241934"/>
                <a:ext cx="180000" cy="1800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55 w 21600"/>
                  <a:gd name="T19" fmla="*/ 3173 h 21600"/>
                  <a:gd name="T20" fmla="*/ 18445 w 21600"/>
                  <a:gd name="T21" fmla="*/ 1842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1">
                  <a:lumMod val="50000"/>
                </a:schemeClr>
              </a:solidFill>
              <a:ln w="12700" algn="ctr">
                <a:solidFill>
                  <a:schemeClr val="tx1"/>
                </a:solidFill>
                <a:miter lim="800000"/>
                <a:headEnd/>
                <a:tailEnd/>
              </a:ln>
            </p:spPr>
            <p:txBody>
              <a:bodyPr wrap="none" lIns="0" tIns="0" rIns="0" bIns="0" anchor="ctr">
                <a:noAutofit/>
              </a:bodyPr>
              <a:lstStyle/>
              <a:p>
                <a:pPr defTabSz="684243">
                  <a:defRPr/>
                </a:pPr>
                <a:endParaRPr lang="en-US" sz="900" i="1" dirty="0">
                  <a:solidFill>
                    <a:prstClr val="black"/>
                  </a:solidFill>
                </a:endParaRPr>
              </a:p>
            </p:txBody>
          </p:sp>
          <p:sp>
            <p:nvSpPr>
              <p:cNvPr id="51" name="AutoShape 129">
                <a:extLst>
                  <a:ext uri="{FF2B5EF4-FFF2-40B4-BE49-F238E27FC236}">
                    <a16:creationId xmlns:a16="http://schemas.microsoft.com/office/drawing/2014/main" id="{9F4C4AD9-54B1-CE0B-5C90-02D6ECFA7813}"/>
                  </a:ext>
                </a:extLst>
              </p:cNvPr>
              <p:cNvSpPr>
                <a:spLocks noChangeArrowheads="1"/>
              </p:cNvSpPr>
              <p:nvPr/>
            </p:nvSpPr>
            <p:spPr bwMode="gray">
              <a:xfrm rot="10800000">
                <a:off x="3853668" y="5246295"/>
                <a:ext cx="180000" cy="1800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55 w 21600"/>
                  <a:gd name="T19" fmla="*/ 3173 h 21600"/>
                  <a:gd name="T20" fmla="*/ 18445 w 21600"/>
                  <a:gd name="T21" fmla="*/ 1842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1">
                  <a:lumMod val="50000"/>
                </a:schemeClr>
              </a:solidFill>
              <a:ln w="12700" algn="ctr">
                <a:solidFill>
                  <a:schemeClr val="tx1"/>
                </a:solidFill>
                <a:miter lim="800000"/>
                <a:headEnd/>
                <a:tailEnd/>
              </a:ln>
            </p:spPr>
            <p:txBody>
              <a:bodyPr wrap="none" lIns="0" tIns="0" rIns="0" bIns="0" anchor="ctr">
                <a:noAutofit/>
              </a:bodyPr>
              <a:lstStyle/>
              <a:p>
                <a:pPr defTabSz="684243">
                  <a:defRPr/>
                </a:pPr>
                <a:endParaRPr lang="en-US" sz="900" i="1" dirty="0">
                  <a:solidFill>
                    <a:prstClr val="black"/>
                  </a:solidFill>
                </a:endParaRPr>
              </a:p>
            </p:txBody>
          </p:sp>
          <p:sp>
            <p:nvSpPr>
              <p:cNvPr id="52" name="Isosceles Triangle 51">
                <a:extLst>
                  <a:ext uri="{FF2B5EF4-FFF2-40B4-BE49-F238E27FC236}">
                    <a16:creationId xmlns:a16="http://schemas.microsoft.com/office/drawing/2014/main" id="{1ACBA6E5-CE49-B5F7-0292-FED14DDD41E1}"/>
                  </a:ext>
                </a:extLst>
              </p:cNvPr>
              <p:cNvSpPr/>
              <p:nvPr/>
            </p:nvSpPr>
            <p:spPr>
              <a:xfrm flipV="1">
                <a:off x="3960371" y="5330936"/>
                <a:ext cx="97620" cy="45719"/>
              </a:xfrm>
              <a:prstGeom prst="triangl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i="1" dirty="0"/>
              </a:p>
            </p:txBody>
          </p:sp>
          <p:sp>
            <p:nvSpPr>
              <p:cNvPr id="53" name="Rectangle 52">
                <a:extLst>
                  <a:ext uri="{FF2B5EF4-FFF2-40B4-BE49-F238E27FC236}">
                    <a16:creationId xmlns:a16="http://schemas.microsoft.com/office/drawing/2014/main" id="{7756CF32-73E1-D3C6-3C9E-9472C5445728}"/>
                  </a:ext>
                </a:extLst>
              </p:cNvPr>
              <p:cNvSpPr/>
              <p:nvPr/>
            </p:nvSpPr>
            <p:spPr>
              <a:xfrm>
                <a:off x="3995737" y="5321748"/>
                <a:ext cx="32400" cy="1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i="1" dirty="0"/>
              </a:p>
            </p:txBody>
          </p:sp>
        </p:grpSp>
        <p:grpSp>
          <p:nvGrpSpPr>
            <p:cNvPr id="40" name="Group 39">
              <a:extLst>
                <a:ext uri="{FF2B5EF4-FFF2-40B4-BE49-F238E27FC236}">
                  <a16:creationId xmlns:a16="http://schemas.microsoft.com/office/drawing/2014/main" id="{C82667DB-93DB-03ED-D555-F17C57EAE39D}"/>
                </a:ext>
              </a:extLst>
            </p:cNvPr>
            <p:cNvGrpSpPr/>
            <p:nvPr/>
          </p:nvGrpSpPr>
          <p:grpSpPr>
            <a:xfrm>
              <a:off x="8152013" y="5481809"/>
              <a:ext cx="204324" cy="184361"/>
              <a:chOff x="3853667" y="5241934"/>
              <a:chExt cx="204324" cy="184361"/>
            </a:xfrm>
          </p:grpSpPr>
          <p:sp>
            <p:nvSpPr>
              <p:cNvPr id="46" name="AutoShape 129">
                <a:extLst>
                  <a:ext uri="{FF2B5EF4-FFF2-40B4-BE49-F238E27FC236}">
                    <a16:creationId xmlns:a16="http://schemas.microsoft.com/office/drawing/2014/main" id="{5A75A26C-CB79-7422-764C-CDB61B3DE786}"/>
                  </a:ext>
                </a:extLst>
              </p:cNvPr>
              <p:cNvSpPr>
                <a:spLocks noChangeArrowheads="1"/>
              </p:cNvSpPr>
              <p:nvPr/>
            </p:nvSpPr>
            <p:spPr bwMode="gray">
              <a:xfrm>
                <a:off x="3853667" y="5241934"/>
                <a:ext cx="180000" cy="1800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55 w 21600"/>
                  <a:gd name="T19" fmla="*/ 3173 h 21600"/>
                  <a:gd name="T20" fmla="*/ 18445 w 21600"/>
                  <a:gd name="T21" fmla="*/ 1842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1">
                  <a:lumMod val="50000"/>
                </a:schemeClr>
              </a:solidFill>
              <a:ln w="12700" algn="ctr">
                <a:solidFill>
                  <a:schemeClr val="tx1"/>
                </a:solidFill>
                <a:miter lim="800000"/>
                <a:headEnd/>
                <a:tailEnd/>
              </a:ln>
            </p:spPr>
            <p:txBody>
              <a:bodyPr wrap="none" lIns="0" tIns="0" rIns="0" bIns="0" anchor="ctr">
                <a:noAutofit/>
              </a:bodyPr>
              <a:lstStyle/>
              <a:p>
                <a:pPr defTabSz="684243">
                  <a:defRPr/>
                </a:pPr>
                <a:endParaRPr lang="en-US" sz="900" i="1" dirty="0">
                  <a:solidFill>
                    <a:prstClr val="black"/>
                  </a:solidFill>
                </a:endParaRPr>
              </a:p>
            </p:txBody>
          </p:sp>
          <p:sp>
            <p:nvSpPr>
              <p:cNvPr id="47" name="AutoShape 129">
                <a:extLst>
                  <a:ext uri="{FF2B5EF4-FFF2-40B4-BE49-F238E27FC236}">
                    <a16:creationId xmlns:a16="http://schemas.microsoft.com/office/drawing/2014/main" id="{81771266-DA8E-A23F-383B-57DA56B50AA8}"/>
                  </a:ext>
                </a:extLst>
              </p:cNvPr>
              <p:cNvSpPr>
                <a:spLocks noChangeArrowheads="1"/>
              </p:cNvSpPr>
              <p:nvPr/>
            </p:nvSpPr>
            <p:spPr bwMode="gray">
              <a:xfrm rot="10800000">
                <a:off x="3853668" y="5246295"/>
                <a:ext cx="180000" cy="1800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55 w 21600"/>
                  <a:gd name="T19" fmla="*/ 3173 h 21600"/>
                  <a:gd name="T20" fmla="*/ 18445 w 21600"/>
                  <a:gd name="T21" fmla="*/ 1842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bg1">
                  <a:lumMod val="50000"/>
                </a:schemeClr>
              </a:solidFill>
              <a:ln w="12700" algn="ctr">
                <a:solidFill>
                  <a:schemeClr val="tx1"/>
                </a:solidFill>
                <a:miter lim="800000"/>
                <a:headEnd/>
                <a:tailEnd/>
              </a:ln>
            </p:spPr>
            <p:txBody>
              <a:bodyPr wrap="none" lIns="0" tIns="0" rIns="0" bIns="0" anchor="ctr">
                <a:noAutofit/>
              </a:bodyPr>
              <a:lstStyle/>
              <a:p>
                <a:pPr defTabSz="684243">
                  <a:defRPr/>
                </a:pPr>
                <a:endParaRPr lang="en-US" sz="900" i="1" dirty="0">
                  <a:solidFill>
                    <a:prstClr val="black"/>
                  </a:solidFill>
                </a:endParaRPr>
              </a:p>
            </p:txBody>
          </p:sp>
          <p:sp>
            <p:nvSpPr>
              <p:cNvPr id="48" name="Isosceles Triangle 47">
                <a:extLst>
                  <a:ext uri="{FF2B5EF4-FFF2-40B4-BE49-F238E27FC236}">
                    <a16:creationId xmlns:a16="http://schemas.microsoft.com/office/drawing/2014/main" id="{AFA0314E-6EA2-D803-2645-94E386B1ACFA}"/>
                  </a:ext>
                </a:extLst>
              </p:cNvPr>
              <p:cNvSpPr/>
              <p:nvPr/>
            </p:nvSpPr>
            <p:spPr>
              <a:xfrm flipV="1">
                <a:off x="3960371" y="5330936"/>
                <a:ext cx="97620" cy="45719"/>
              </a:xfrm>
              <a:prstGeom prst="triangl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i="1" dirty="0"/>
              </a:p>
            </p:txBody>
          </p:sp>
          <p:sp>
            <p:nvSpPr>
              <p:cNvPr id="49" name="Rectangle 48">
                <a:extLst>
                  <a:ext uri="{FF2B5EF4-FFF2-40B4-BE49-F238E27FC236}">
                    <a16:creationId xmlns:a16="http://schemas.microsoft.com/office/drawing/2014/main" id="{17997832-CBBF-6441-13C8-48524580CAA1}"/>
                  </a:ext>
                </a:extLst>
              </p:cNvPr>
              <p:cNvSpPr/>
              <p:nvPr/>
            </p:nvSpPr>
            <p:spPr>
              <a:xfrm>
                <a:off x="3995737" y="5321748"/>
                <a:ext cx="32400" cy="1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i="1" dirty="0"/>
              </a:p>
            </p:txBody>
          </p:sp>
        </p:grpSp>
        <p:sp>
          <p:nvSpPr>
            <p:cNvPr id="41" name="Flowchart: Document 40">
              <a:extLst>
                <a:ext uri="{FF2B5EF4-FFF2-40B4-BE49-F238E27FC236}">
                  <a16:creationId xmlns:a16="http://schemas.microsoft.com/office/drawing/2014/main" id="{1B71A3A0-C6B3-4503-0661-773AB61CDC3B}"/>
                </a:ext>
              </a:extLst>
            </p:cNvPr>
            <p:cNvSpPr/>
            <p:nvPr/>
          </p:nvSpPr>
          <p:spPr>
            <a:xfrm>
              <a:off x="7421840" y="4422917"/>
              <a:ext cx="828000" cy="648000"/>
            </a:xfrm>
            <a:prstGeom prst="flowChartDocumen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1219170"/>
              <a:r>
                <a:rPr lang="en-US" sz="1000" i="1" dirty="0">
                  <a:solidFill>
                    <a:schemeClr val="tx1"/>
                  </a:solidFill>
                </a:rPr>
                <a:t>IT</a:t>
              </a:r>
              <a:br>
                <a:rPr lang="en-US" sz="1000" i="1" dirty="0">
                  <a:solidFill>
                    <a:schemeClr val="tx1"/>
                  </a:solidFill>
                </a:rPr>
              </a:br>
              <a:r>
                <a:rPr lang="en-US" sz="1000" i="1" dirty="0">
                  <a:solidFill>
                    <a:schemeClr val="tx1"/>
                  </a:solidFill>
                </a:rPr>
                <a:t>Test</a:t>
              </a:r>
              <a:br>
                <a:rPr lang="en-US" sz="1000" i="1" dirty="0">
                  <a:solidFill>
                    <a:schemeClr val="tx1"/>
                  </a:solidFill>
                </a:rPr>
              </a:br>
              <a:r>
                <a:rPr lang="en-US" sz="1000" i="1" dirty="0">
                  <a:solidFill>
                    <a:schemeClr val="tx1"/>
                  </a:solidFill>
                </a:rPr>
                <a:t>Report</a:t>
              </a:r>
            </a:p>
          </p:txBody>
        </p:sp>
        <p:cxnSp>
          <p:nvCxnSpPr>
            <p:cNvPr id="42" name="Straight Arrow Connector 41">
              <a:extLst>
                <a:ext uri="{FF2B5EF4-FFF2-40B4-BE49-F238E27FC236}">
                  <a16:creationId xmlns:a16="http://schemas.microsoft.com/office/drawing/2014/main" id="{814461B9-069F-C50A-12D0-C6AB1F8749E3}"/>
                </a:ext>
              </a:extLst>
            </p:cNvPr>
            <p:cNvCxnSpPr>
              <a:endCxn id="41" idx="0"/>
            </p:cNvCxnSpPr>
            <p:nvPr/>
          </p:nvCxnSpPr>
          <p:spPr>
            <a:xfrm>
              <a:off x="7835840" y="3519809"/>
              <a:ext cx="0" cy="903108"/>
            </a:xfrm>
            <a:prstGeom prst="straightConnector1">
              <a:avLst/>
            </a:prstGeom>
            <a:ln w="12700">
              <a:solidFill>
                <a:schemeClr val="tx2"/>
              </a:solidFill>
              <a:prstDash val="solid"/>
              <a:headEnd w="lg" len="lg"/>
              <a:tailEnd type="triangle" w="med" len="lg"/>
            </a:ln>
          </p:spPr>
          <p:style>
            <a:lnRef idx="1">
              <a:schemeClr val="accent1"/>
            </a:lnRef>
            <a:fillRef idx="0">
              <a:schemeClr val="accent1"/>
            </a:fillRef>
            <a:effectRef idx="0">
              <a:schemeClr val="accent1"/>
            </a:effectRef>
            <a:fontRef idx="minor">
              <a:schemeClr val="tx1"/>
            </a:fontRef>
          </p:style>
        </p:cxnSp>
        <p:sp>
          <p:nvSpPr>
            <p:cNvPr id="43" name="Flowchart: Document 42">
              <a:extLst>
                <a:ext uri="{FF2B5EF4-FFF2-40B4-BE49-F238E27FC236}">
                  <a16:creationId xmlns:a16="http://schemas.microsoft.com/office/drawing/2014/main" id="{1E714987-0194-FC4C-B777-98EFB847BAEA}"/>
                </a:ext>
              </a:extLst>
            </p:cNvPr>
            <p:cNvSpPr/>
            <p:nvPr/>
          </p:nvSpPr>
          <p:spPr>
            <a:xfrm>
              <a:off x="8691447" y="4422917"/>
              <a:ext cx="828000" cy="648000"/>
            </a:xfrm>
            <a:prstGeom prst="flowChartDocumen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684243"/>
              <a:r>
                <a:rPr lang="en-US" sz="1000" dirty="0">
                  <a:solidFill>
                    <a:schemeClr val="tx1"/>
                  </a:solidFill>
                  <a:cs typeface="Open Sans" panose="020B0606030504020204" pitchFamily="34" charset="0"/>
                </a:rPr>
                <a:t>User</a:t>
              </a:r>
              <a:br>
                <a:rPr lang="en-US" sz="1000" dirty="0">
                  <a:solidFill>
                    <a:schemeClr val="tx1"/>
                  </a:solidFill>
                  <a:cs typeface="Open Sans" panose="020B0606030504020204" pitchFamily="34" charset="0"/>
                </a:rPr>
              </a:br>
              <a:r>
                <a:rPr lang="en-US" sz="1000" dirty="0">
                  <a:solidFill>
                    <a:schemeClr val="tx1"/>
                  </a:solidFill>
                  <a:cs typeface="Open Sans" panose="020B0606030504020204" pitchFamily="34" charset="0"/>
                </a:rPr>
                <a:t>Accept.</a:t>
              </a:r>
            </a:p>
          </p:txBody>
        </p:sp>
        <p:cxnSp>
          <p:nvCxnSpPr>
            <p:cNvPr id="44" name="Straight Arrow Connector 43">
              <a:extLst>
                <a:ext uri="{FF2B5EF4-FFF2-40B4-BE49-F238E27FC236}">
                  <a16:creationId xmlns:a16="http://schemas.microsoft.com/office/drawing/2014/main" id="{5EC1D8C9-C0C3-C4CB-0D7B-613F77544FD9}"/>
                </a:ext>
              </a:extLst>
            </p:cNvPr>
            <p:cNvCxnSpPr>
              <a:endCxn id="43" idx="0"/>
            </p:cNvCxnSpPr>
            <p:nvPr/>
          </p:nvCxnSpPr>
          <p:spPr>
            <a:xfrm>
              <a:off x="9105447" y="2834255"/>
              <a:ext cx="0" cy="1588662"/>
            </a:xfrm>
            <a:prstGeom prst="straightConnector1">
              <a:avLst/>
            </a:prstGeom>
            <a:ln w="12700">
              <a:solidFill>
                <a:schemeClr val="tx2"/>
              </a:solidFill>
              <a:prstDash val="solid"/>
              <a:headEnd w="lg" len="lg"/>
              <a:tailEnd type="triangle" w="med" len="lg"/>
            </a:ln>
          </p:spPr>
          <p:style>
            <a:lnRef idx="1">
              <a:schemeClr val="accent1"/>
            </a:lnRef>
            <a:fillRef idx="0">
              <a:schemeClr val="accent1"/>
            </a:fillRef>
            <a:effectRef idx="0">
              <a:schemeClr val="accent1"/>
            </a:effectRef>
            <a:fontRef idx="minor">
              <a:schemeClr val="tx1"/>
            </a:fontRef>
          </p:style>
        </p:cxnSp>
        <p:sp>
          <p:nvSpPr>
            <p:cNvPr id="45" name="Line Callout 1 (Accent Bar) 49">
              <a:extLst>
                <a:ext uri="{FF2B5EF4-FFF2-40B4-BE49-F238E27FC236}">
                  <a16:creationId xmlns:a16="http://schemas.microsoft.com/office/drawing/2014/main" id="{B994D6F7-7227-32DC-BCF8-054C230022F4}"/>
                </a:ext>
              </a:extLst>
            </p:cNvPr>
            <p:cNvSpPr/>
            <p:nvPr/>
          </p:nvSpPr>
          <p:spPr>
            <a:xfrm flipH="1">
              <a:off x="4888632" y="4422917"/>
              <a:ext cx="1563865" cy="1727998"/>
            </a:xfrm>
            <a:prstGeom prst="accentCallout1">
              <a:avLst>
                <a:gd name="adj1" fmla="val 15884"/>
                <a:gd name="adj2" fmla="val -1134"/>
                <a:gd name="adj3" fmla="val 55393"/>
                <a:gd name="adj4" fmla="val -61844"/>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defTabSz="1219170">
                <a:spcAft>
                  <a:spcPts val="600"/>
                </a:spcAft>
                <a:buClr>
                  <a:schemeClr val="accent5"/>
                </a:buClr>
                <a:buSzPct val="100000"/>
              </a:pPr>
              <a:r>
                <a:rPr lang="en-US" sz="1100" b="1" dirty="0">
                  <a:solidFill>
                    <a:srgbClr val="000000"/>
                  </a:solidFill>
                </a:rPr>
                <a:t>SDD defines:</a:t>
              </a:r>
            </a:p>
            <a:p>
              <a:pPr marL="171450" indent="-171450" defTabSz="1219170">
                <a:spcAft>
                  <a:spcPts val="600"/>
                </a:spcAft>
                <a:buClr>
                  <a:schemeClr val="accent5"/>
                </a:buClr>
                <a:buSzPct val="100000"/>
                <a:buFont typeface="Arial" panose="020B0604020202020204" pitchFamily="34" charset="0"/>
                <a:buChar char="•"/>
              </a:pPr>
              <a:r>
                <a:rPr lang="en-US" sz="1100" dirty="0">
                  <a:solidFill>
                    <a:schemeClr val="tx1"/>
                  </a:solidFill>
                </a:rPr>
                <a:t>Real implementation</a:t>
              </a:r>
            </a:p>
            <a:p>
              <a:pPr marL="171450" indent="-171450" defTabSz="1219170">
                <a:spcAft>
                  <a:spcPts val="600"/>
                </a:spcAft>
                <a:buClr>
                  <a:schemeClr val="accent5"/>
                </a:buClr>
                <a:buSzPct val="100000"/>
                <a:buFont typeface="Arial" panose="020B0604020202020204" pitchFamily="34" charset="0"/>
                <a:buChar char="•"/>
              </a:pPr>
              <a:r>
                <a:rPr lang="en-US" sz="1100" dirty="0">
                  <a:solidFill>
                    <a:schemeClr val="tx1"/>
                  </a:solidFill>
                </a:rPr>
                <a:t>List of errors and its resolutions</a:t>
              </a:r>
            </a:p>
            <a:p>
              <a:pPr marL="171450" indent="-171450" defTabSz="1219170">
                <a:spcAft>
                  <a:spcPts val="600"/>
                </a:spcAft>
                <a:buClr>
                  <a:schemeClr val="accent5"/>
                </a:buClr>
                <a:buSzPct val="100000"/>
                <a:buFont typeface="Arial" panose="020B0604020202020204" pitchFamily="34" charset="0"/>
                <a:buChar char="•"/>
              </a:pPr>
              <a:r>
                <a:rPr lang="en-US" sz="1100" dirty="0">
                  <a:solidFill>
                    <a:schemeClr val="tx1"/>
                  </a:solidFill>
                </a:rPr>
                <a:t>Exact step by step  to-be process description</a:t>
              </a:r>
            </a:p>
          </p:txBody>
        </p:sp>
      </p:grpSp>
    </p:spTree>
    <p:extLst>
      <p:ext uri="{BB962C8B-B14F-4D97-AF65-F5344CB8AC3E}">
        <p14:creationId xmlns:p14="http://schemas.microsoft.com/office/powerpoint/2010/main" val="4007780599"/>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FD130D-F2C6-E8DC-C6FE-B50E699AF1B9}"/>
              </a:ext>
            </a:extLst>
          </p:cNvPr>
          <p:cNvGraphicFramePr>
            <a:graphicFrameLocks noChangeAspect="1"/>
          </p:cNvGraphicFramePr>
          <p:nvPr>
            <p:custDataLst>
              <p:tags r:id="rId1"/>
            </p:custDataLst>
            <p:extLst>
              <p:ext uri="{D42A27DB-BD31-4B8C-83A1-F6EECF244321}">
                <p14:modId xmlns:p14="http://schemas.microsoft.com/office/powerpoint/2010/main" val="266583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9EFD130D-F2C6-E8DC-C6FE-B50E699AF1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0CBE75E-5B7A-D917-F5FC-0A25187A48D2}"/>
              </a:ext>
            </a:extLst>
          </p:cNvPr>
          <p:cNvSpPr>
            <a:spLocks noGrp="1"/>
          </p:cNvSpPr>
          <p:nvPr>
            <p:ph type="body" sz="quarter" idx="22"/>
          </p:nvPr>
        </p:nvSpPr>
        <p:spPr/>
        <p:txBody>
          <a:bodyPr/>
          <a:lstStyle/>
          <a:p>
            <a:r>
              <a:rPr lang="en-US" dirty="0"/>
              <a:t>Project deliverables</a:t>
            </a:r>
          </a:p>
        </p:txBody>
      </p:sp>
      <p:sp>
        <p:nvSpPr>
          <p:cNvPr id="3" name="Title 2">
            <a:extLst>
              <a:ext uri="{FF2B5EF4-FFF2-40B4-BE49-F238E27FC236}">
                <a16:creationId xmlns:a16="http://schemas.microsoft.com/office/drawing/2014/main" id="{351EDA30-7EBB-E675-A38A-AAB1DC4FA7CC}"/>
              </a:ext>
            </a:extLst>
          </p:cNvPr>
          <p:cNvSpPr>
            <a:spLocks noGrp="1"/>
          </p:cNvSpPr>
          <p:nvPr>
            <p:ph type="title"/>
          </p:nvPr>
        </p:nvSpPr>
        <p:spPr>
          <a:xfrm>
            <a:off x="463294" y="417911"/>
            <a:ext cx="11277599" cy="334099"/>
          </a:xfrm>
        </p:spPr>
        <p:txBody>
          <a:bodyPr vert="horz"/>
          <a:lstStyle/>
          <a:p>
            <a:r>
              <a:rPr lang="en-US" dirty="0"/>
              <a:t>Development deliverables</a:t>
            </a:r>
          </a:p>
        </p:txBody>
      </p:sp>
      <p:graphicFrame>
        <p:nvGraphicFramePr>
          <p:cNvPr id="6" name="Table 5">
            <a:extLst>
              <a:ext uri="{FF2B5EF4-FFF2-40B4-BE49-F238E27FC236}">
                <a16:creationId xmlns:a16="http://schemas.microsoft.com/office/drawing/2014/main" id="{CAE549C7-C104-F43F-FC99-8CE122E09389}"/>
              </a:ext>
            </a:extLst>
          </p:cNvPr>
          <p:cNvGraphicFramePr>
            <a:graphicFrameLocks noGrp="1"/>
          </p:cNvGraphicFramePr>
          <p:nvPr>
            <p:extLst>
              <p:ext uri="{D42A27DB-BD31-4B8C-83A1-F6EECF244321}">
                <p14:modId xmlns:p14="http://schemas.microsoft.com/office/powerpoint/2010/main" val="3399426221"/>
              </p:ext>
            </p:extLst>
          </p:nvPr>
        </p:nvGraphicFramePr>
        <p:xfrm>
          <a:off x="463296" y="1832028"/>
          <a:ext cx="11277599" cy="3962400"/>
        </p:xfrm>
        <a:graphic>
          <a:graphicData uri="http://schemas.openxmlformats.org/drawingml/2006/table">
            <a:tbl>
              <a:tblPr firstRow="1" bandRow="1">
                <a:effectLst>
                  <a:outerShdw blurRad="50800" dist="38100" dir="5400000" algn="t" rotWithShape="0">
                    <a:prstClr val="black">
                      <a:alpha val="40000"/>
                    </a:prstClr>
                  </a:outerShdw>
                </a:effectLst>
                <a:tableStyleId>{F5AB1C69-6EDB-4FF4-983F-18BD219EF322}</a:tableStyleId>
              </a:tblPr>
              <a:tblGrid>
                <a:gridCol w="2706624">
                  <a:extLst>
                    <a:ext uri="{9D8B030D-6E8A-4147-A177-3AD203B41FA5}">
                      <a16:colId xmlns:a16="http://schemas.microsoft.com/office/drawing/2014/main" val="20000"/>
                    </a:ext>
                  </a:extLst>
                </a:gridCol>
                <a:gridCol w="3434080">
                  <a:extLst>
                    <a:ext uri="{9D8B030D-6E8A-4147-A177-3AD203B41FA5}">
                      <a16:colId xmlns:a16="http://schemas.microsoft.com/office/drawing/2014/main" val="20001"/>
                    </a:ext>
                  </a:extLst>
                </a:gridCol>
                <a:gridCol w="1415214">
                  <a:extLst>
                    <a:ext uri="{9D8B030D-6E8A-4147-A177-3AD203B41FA5}">
                      <a16:colId xmlns:a16="http://schemas.microsoft.com/office/drawing/2014/main" val="20002"/>
                    </a:ext>
                  </a:extLst>
                </a:gridCol>
                <a:gridCol w="1464021">
                  <a:extLst>
                    <a:ext uri="{9D8B030D-6E8A-4147-A177-3AD203B41FA5}">
                      <a16:colId xmlns:a16="http://schemas.microsoft.com/office/drawing/2014/main" val="20003"/>
                    </a:ext>
                  </a:extLst>
                </a:gridCol>
                <a:gridCol w="2257660">
                  <a:extLst>
                    <a:ext uri="{9D8B030D-6E8A-4147-A177-3AD203B41FA5}">
                      <a16:colId xmlns:a16="http://schemas.microsoft.com/office/drawing/2014/main" val="20004"/>
                    </a:ext>
                  </a:extLst>
                </a:gridCol>
              </a:tblGrid>
              <a:tr h="147090">
                <a:tc>
                  <a:txBody>
                    <a:bodyPr/>
                    <a:lstStyle/>
                    <a:p>
                      <a:pPr algn="l"/>
                      <a:r>
                        <a:rPr lang="en-US" sz="1400" b="1" u="none" strike="noStrike" kern="1200" dirty="0">
                          <a:solidFill>
                            <a:schemeClr val="bg1"/>
                          </a:solidFill>
                          <a:effectLst/>
                        </a:rPr>
                        <a:t>Deliverable</a:t>
                      </a:r>
                      <a:endParaRPr lang="cs-CZ" sz="1400" b="1" u="none" strike="noStrike" kern="1200" dirty="0">
                        <a:solidFill>
                          <a:schemeClr val="bg1"/>
                        </a:solidFill>
                        <a:effectLst/>
                        <a:latin typeface="+mn-lt"/>
                        <a:ea typeface="+mn-ea"/>
                        <a:cs typeface="+mn-cs"/>
                      </a:endParaRPr>
                    </a:p>
                  </a:txBody>
                  <a:tcPr/>
                </a:tc>
                <a:tc>
                  <a:txBody>
                    <a:bodyPr/>
                    <a:lstStyle/>
                    <a:p>
                      <a:pPr algn="l"/>
                      <a:r>
                        <a:rPr lang="en-US" sz="1400" b="1" u="none" strike="noStrike" kern="1200" dirty="0">
                          <a:solidFill>
                            <a:schemeClr val="bg1"/>
                          </a:solidFill>
                          <a:effectLst/>
                        </a:rPr>
                        <a:t>Description</a:t>
                      </a:r>
                      <a:endParaRPr lang="cs-CZ" sz="1400" b="1" u="none" strike="noStrike" kern="1200" dirty="0">
                        <a:solidFill>
                          <a:schemeClr val="bg1"/>
                        </a:solidFill>
                        <a:effectLst/>
                        <a:latin typeface="+mn-lt"/>
                        <a:ea typeface="+mn-ea"/>
                        <a:cs typeface="+mn-cs"/>
                      </a:endParaRPr>
                    </a:p>
                  </a:txBody>
                  <a:tcPr/>
                </a:tc>
                <a:tc>
                  <a:txBody>
                    <a:bodyPr/>
                    <a:lstStyle/>
                    <a:p>
                      <a:pPr algn="l"/>
                      <a:r>
                        <a:rPr lang="en-US" sz="1400" b="1" u="none" strike="noStrike" kern="1200" dirty="0">
                          <a:solidFill>
                            <a:schemeClr val="bg1"/>
                          </a:solidFill>
                          <a:effectLst/>
                        </a:rPr>
                        <a:t>Format</a:t>
                      </a:r>
                      <a:endParaRPr lang="cs-CZ" sz="1400" b="1" u="none" strike="noStrike" kern="1200" dirty="0">
                        <a:solidFill>
                          <a:schemeClr val="bg1"/>
                        </a:solidFill>
                        <a:effectLst/>
                        <a:latin typeface="+mn-lt"/>
                        <a:ea typeface="+mn-ea"/>
                        <a:cs typeface="+mn-cs"/>
                      </a:endParaRPr>
                    </a:p>
                  </a:txBody>
                  <a:tcPr/>
                </a:tc>
                <a:tc>
                  <a:txBody>
                    <a:bodyPr/>
                    <a:lstStyle/>
                    <a:p>
                      <a:pPr algn="l"/>
                      <a:r>
                        <a:rPr lang="en-US" sz="1400" b="1" u="none" strike="noStrike" kern="1200" dirty="0">
                          <a:solidFill>
                            <a:schemeClr val="bg1"/>
                          </a:solidFill>
                          <a:effectLst/>
                        </a:rPr>
                        <a:t>Responsible</a:t>
                      </a:r>
                      <a:endParaRPr lang="cs-CZ" sz="1400" b="1" u="none" strike="noStrike" kern="1200" dirty="0">
                        <a:solidFill>
                          <a:schemeClr val="bg1"/>
                        </a:solidFill>
                        <a:effectLst/>
                        <a:latin typeface="+mn-lt"/>
                        <a:ea typeface="+mn-ea"/>
                        <a:cs typeface="+mn-cs"/>
                      </a:endParaRPr>
                    </a:p>
                  </a:txBody>
                  <a:tcPr/>
                </a:tc>
                <a:tc>
                  <a:txBody>
                    <a:bodyPr/>
                    <a:lstStyle/>
                    <a:p>
                      <a:pPr algn="l"/>
                      <a:r>
                        <a:rPr lang="en-US" sz="1400" b="1" u="none" strike="noStrike" kern="1200" dirty="0">
                          <a:solidFill>
                            <a:schemeClr val="bg1"/>
                          </a:solidFill>
                          <a:effectLst/>
                        </a:rPr>
                        <a:t>#</a:t>
                      </a:r>
                      <a:r>
                        <a:rPr lang="en-US" sz="1400" b="1" u="none" strike="noStrike" kern="1200" baseline="0" dirty="0">
                          <a:solidFill>
                            <a:schemeClr val="bg1"/>
                          </a:solidFill>
                          <a:effectLst/>
                        </a:rPr>
                        <a:t> of deliverables</a:t>
                      </a:r>
                      <a:endParaRPr lang="cs-CZ" sz="1400" b="1" u="none" strike="noStrike" kern="1200" dirty="0">
                        <a:solidFill>
                          <a:schemeClr val="bg1"/>
                        </a:solidFill>
                        <a:effectLst/>
                        <a:latin typeface="+mn-lt"/>
                        <a:ea typeface="+mn-ea"/>
                        <a:cs typeface="+mn-cs"/>
                      </a:endParaRPr>
                    </a:p>
                  </a:txBody>
                  <a:tcPr/>
                </a:tc>
                <a:extLst>
                  <a:ext uri="{0D108BD9-81ED-4DB2-BD59-A6C34878D82A}">
                    <a16:rowId xmlns:a16="http://schemas.microsoft.com/office/drawing/2014/main" val="10000"/>
                  </a:ext>
                </a:extLst>
              </a:tr>
              <a:tr h="914400">
                <a:tc>
                  <a:txBody>
                    <a:bodyPr/>
                    <a:lstStyle/>
                    <a:p>
                      <a:pPr algn="l"/>
                      <a:r>
                        <a:rPr lang="en-US" sz="1200" b="1" dirty="0">
                          <a:solidFill>
                            <a:schemeClr val="tx1"/>
                          </a:solidFill>
                        </a:rPr>
                        <a:t>Automated process</a:t>
                      </a:r>
                      <a:r>
                        <a:rPr lang="en-US" sz="1200" b="1" baseline="0" dirty="0">
                          <a:solidFill>
                            <a:schemeClr val="tx1"/>
                          </a:solidFill>
                        </a:rPr>
                        <a:t> = BOT</a:t>
                      </a:r>
                      <a:endParaRPr lang="cs-CZ" sz="1200" b="1" dirty="0">
                        <a:solidFill>
                          <a:schemeClr val="tx1"/>
                        </a:solidFill>
                      </a:endParaRPr>
                    </a:p>
                  </a:txBody>
                  <a:tcPr marR="36000" marT="0" marB="0" anchor="ctr">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200" kern="1200" baseline="0" noProof="0" dirty="0">
                          <a:solidFill>
                            <a:schemeClr val="tx1"/>
                          </a:solidFill>
                        </a:rPr>
                        <a:t>Release of the code </a:t>
                      </a:r>
                      <a:r>
                        <a:rPr lang="en-US" sz="1200" kern="1200" noProof="0" dirty="0">
                          <a:solidFill>
                            <a:schemeClr val="tx1"/>
                          </a:solidFill>
                        </a:rPr>
                        <a:t>for</a:t>
                      </a:r>
                      <a:r>
                        <a:rPr lang="en-US" sz="1200" kern="1200" baseline="0" noProof="0" dirty="0">
                          <a:solidFill>
                            <a:schemeClr val="tx1"/>
                          </a:solidFill>
                        </a:rPr>
                        <a:t> each automated process in pipeline</a:t>
                      </a:r>
                      <a:endParaRPr lang="en-US" sz="1200" kern="1200" noProof="0" dirty="0">
                        <a:solidFill>
                          <a:schemeClr val="tx1"/>
                        </a:solidFill>
                        <a:latin typeface="+mn-lt"/>
                        <a:ea typeface="+mn-ea"/>
                        <a:cs typeface="+mn-cs"/>
                      </a:endParaRPr>
                    </a:p>
                  </a:txBody>
                  <a:tcPr marR="36000" marT="0" marB="0" anchor="ctr">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a:r>
                        <a:rPr lang="en-US" sz="1200" kern="1200" noProof="0" dirty="0">
                          <a:solidFill>
                            <a:schemeClr val="tx1"/>
                          </a:solidFill>
                        </a:rPr>
                        <a:t>Based on RPA SW</a:t>
                      </a:r>
                      <a:endParaRPr lang="en-US" sz="1200" kern="1200" noProof="0" dirty="0">
                        <a:solidFill>
                          <a:schemeClr val="tx1"/>
                        </a:solidFill>
                        <a:latin typeface="+mn-lt"/>
                        <a:ea typeface="+mn-ea"/>
                        <a:cs typeface="+mn-cs"/>
                      </a:endParaRPr>
                    </a:p>
                  </a:txBody>
                  <a:tcPr marR="36000" marT="0" marB="0" anchor="ctr">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a:r>
                        <a:rPr lang="en-US" sz="1200" kern="1200" noProof="0" dirty="0">
                          <a:solidFill>
                            <a:schemeClr val="tx1"/>
                          </a:solidFill>
                        </a:rPr>
                        <a:t>Deloitte</a:t>
                      </a:r>
                      <a:endParaRPr lang="en-US" sz="1200" kern="1200" noProof="0" dirty="0">
                        <a:solidFill>
                          <a:schemeClr val="tx1"/>
                        </a:solidFill>
                        <a:latin typeface="+mn-lt"/>
                        <a:ea typeface="+mn-ea"/>
                        <a:cs typeface="+mn-cs"/>
                      </a:endParaRPr>
                    </a:p>
                  </a:txBody>
                  <a:tcPr marR="36000" marT="0" marB="0" anchor="ctr">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a:r>
                        <a:rPr lang="en-US" sz="1200" kern="1200" noProof="0" dirty="0">
                          <a:solidFill>
                            <a:schemeClr val="tx1"/>
                          </a:solidFill>
                        </a:rPr>
                        <a:t>1</a:t>
                      </a:r>
                      <a:r>
                        <a:rPr lang="en-US" sz="1200" kern="1200" baseline="0" noProof="0" dirty="0">
                          <a:solidFill>
                            <a:schemeClr val="tx1"/>
                          </a:solidFill>
                        </a:rPr>
                        <a:t> per process</a:t>
                      </a:r>
                      <a:endParaRPr lang="en-US" sz="1200" kern="1200" noProof="0" dirty="0">
                        <a:solidFill>
                          <a:schemeClr val="tx1"/>
                        </a:solidFill>
                        <a:latin typeface="+mn-lt"/>
                        <a:ea typeface="+mn-ea"/>
                        <a:cs typeface="+mn-cs"/>
                      </a:endParaRPr>
                    </a:p>
                  </a:txBody>
                  <a:tcPr marR="36000" marT="0" marB="0" anchor="ct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914400">
                <a:tc>
                  <a:txBody>
                    <a:bodyPr/>
                    <a:lstStyle/>
                    <a:p>
                      <a:pPr algn="l"/>
                      <a:r>
                        <a:rPr kumimoji="0" lang="en-US" sz="1200" b="1" u="none" strike="noStrike" kern="1200" cap="none" spc="0" normalizeH="0" baseline="0" noProof="0" dirty="0">
                          <a:ln>
                            <a:noFill/>
                          </a:ln>
                          <a:solidFill>
                            <a:schemeClr val="tx1"/>
                          </a:solidFill>
                          <a:effectLst/>
                          <a:uLnTx/>
                          <a:uFillTx/>
                        </a:rPr>
                        <a:t>Solution Design Document (SDD)</a:t>
                      </a:r>
                      <a:endParaRPr lang="cs-CZ" sz="1200" b="1" dirty="0">
                        <a:solidFill>
                          <a:schemeClr val="tx1"/>
                        </a:solidFill>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200" kern="1200" noProof="0" dirty="0">
                          <a:solidFill>
                            <a:schemeClr val="tx1"/>
                          </a:solidFill>
                        </a:rPr>
                        <a:t>Technical documentation of solution design for</a:t>
                      </a:r>
                      <a:r>
                        <a:rPr lang="en-US" sz="1200" kern="1200" baseline="0" noProof="0" dirty="0">
                          <a:solidFill>
                            <a:schemeClr val="tx1"/>
                          </a:solidFill>
                        </a:rPr>
                        <a:t> each automated process in pipeline</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a:r>
                        <a:rPr lang="en-US" sz="1200" dirty="0">
                          <a:solidFill>
                            <a:schemeClr val="tx1"/>
                          </a:solidFill>
                        </a:rPr>
                        <a:t>PDF</a:t>
                      </a:r>
                      <a:endParaRPr lang="cs-CZ" sz="1200" dirty="0">
                        <a:solidFill>
                          <a:schemeClr val="tx1"/>
                        </a:solidFill>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a:r>
                        <a:rPr lang="en-US" sz="1200" kern="1200" noProof="0" dirty="0">
                          <a:solidFill>
                            <a:schemeClr val="tx1"/>
                          </a:solidFill>
                        </a:rPr>
                        <a:t>Deloitte</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algn="l"/>
                      <a:r>
                        <a:rPr lang="en-US" sz="1200" kern="1200" noProof="0" dirty="0">
                          <a:solidFill>
                            <a:schemeClr val="tx1"/>
                          </a:solidFill>
                        </a:rPr>
                        <a:t>1 per process</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914400">
                <a:tc>
                  <a:txBody>
                    <a:bodyPr/>
                    <a:lstStyle/>
                    <a:p>
                      <a:pPr algn="l"/>
                      <a:r>
                        <a:rPr kumimoji="0" lang="en-US" sz="1200" b="1" u="none" strike="noStrike" kern="1200" cap="none" spc="0" normalizeH="0" baseline="0" noProof="0" dirty="0">
                          <a:ln>
                            <a:noFill/>
                          </a:ln>
                          <a:solidFill>
                            <a:schemeClr val="tx1"/>
                          </a:solidFill>
                          <a:effectLst/>
                          <a:uLnTx/>
                          <a:uFillTx/>
                        </a:rPr>
                        <a:t>Final report of Phase</a:t>
                      </a:r>
                      <a:endParaRPr lang="cs-CZ" sz="1200" b="1" dirty="0">
                        <a:solidFill>
                          <a:schemeClr val="tx1"/>
                        </a:solidFill>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200" kern="1200" noProof="0" dirty="0">
                          <a:solidFill>
                            <a:schemeClr val="tx1"/>
                          </a:solidFill>
                        </a:rPr>
                        <a:t>Final business</a:t>
                      </a:r>
                      <a:r>
                        <a:rPr lang="en-US" sz="1200" kern="1200" baseline="0" noProof="0" dirty="0">
                          <a:solidFill>
                            <a:schemeClr val="tx1"/>
                          </a:solidFill>
                        </a:rPr>
                        <a:t> report delivered at the end of the phase</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PDF</a:t>
                      </a:r>
                      <a:r>
                        <a:rPr lang="en-US" sz="1200" kern="1200" baseline="0" noProof="0" dirty="0">
                          <a:solidFill>
                            <a:schemeClr val="tx1"/>
                          </a:solidFill>
                        </a:rPr>
                        <a:t> / Excel</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Deloitte</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1 per project</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914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noProof="0" dirty="0">
                          <a:ln>
                            <a:noFill/>
                          </a:ln>
                          <a:solidFill>
                            <a:schemeClr val="tx1"/>
                          </a:solidFill>
                          <a:effectLst/>
                          <a:uLnTx/>
                          <a:uFillTx/>
                        </a:rPr>
                        <a:t>Project</a:t>
                      </a:r>
                      <a:r>
                        <a:rPr kumimoji="0" lang="en-US" sz="1200" b="1" u="none" strike="noStrike" kern="1200" cap="none" spc="0" normalizeH="0" baseline="0" noProof="0" dirty="0">
                          <a:ln>
                            <a:noFill/>
                          </a:ln>
                          <a:solidFill>
                            <a:schemeClr val="tx1"/>
                          </a:solidFill>
                          <a:effectLst/>
                          <a:uLnTx/>
                          <a:uFillTx/>
                        </a:rPr>
                        <a:t> final report</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solidFill>
                      <a:schemeClr val="bg1"/>
                    </a:solidFill>
                  </a:tcPr>
                </a:tc>
                <a:tc>
                  <a:txBody>
                    <a:bodyPr/>
                    <a:lstStyle/>
                    <a:p>
                      <a:pPr marL="171450" indent="-171450">
                        <a:buClr>
                          <a:schemeClr val="accent5"/>
                        </a:buClr>
                        <a:buFont typeface="Arial" panose="020B0604020202020204" pitchFamily="34" charset="0"/>
                        <a:buChar char="•"/>
                      </a:pPr>
                      <a:r>
                        <a:rPr lang="en-US" sz="1200" kern="1200" noProof="0" dirty="0">
                          <a:solidFill>
                            <a:schemeClr val="tx1"/>
                          </a:solidFill>
                        </a:rPr>
                        <a:t>Project final report with description of project status, deliverables</a:t>
                      </a:r>
                      <a:r>
                        <a:rPr lang="en-US" sz="1200" kern="1200" baseline="0" noProof="0" dirty="0">
                          <a:solidFill>
                            <a:schemeClr val="tx1"/>
                          </a:solidFill>
                        </a:rPr>
                        <a:t> and business aspects</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PDF</a:t>
                      </a:r>
                      <a:r>
                        <a:rPr lang="en-US" sz="1200" kern="1200" baseline="0" noProof="0" dirty="0">
                          <a:solidFill>
                            <a:schemeClr val="tx1"/>
                          </a:solidFill>
                        </a:rPr>
                        <a:t> / Excel / </a:t>
                      </a:r>
                      <a:r>
                        <a:rPr lang="en-US" sz="1200" kern="1200" baseline="0" noProof="0" dirty="0" err="1">
                          <a:solidFill>
                            <a:schemeClr val="tx1"/>
                          </a:solidFill>
                        </a:rPr>
                        <a:t>pptx</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solidFill>
                      <a:schemeClr val="bg1"/>
                    </a:solidFill>
                  </a:tcPr>
                </a:tc>
                <a:tc>
                  <a:txBody>
                    <a:bodyPr/>
                    <a:lstStyle/>
                    <a:p>
                      <a:pPr algn="l"/>
                      <a:r>
                        <a:rPr lang="en-US" sz="1200" kern="1200" noProof="0" dirty="0">
                          <a:solidFill>
                            <a:schemeClr val="tx1"/>
                          </a:solidFill>
                        </a:rPr>
                        <a:t>Deloitte</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solidFill>
                      <a:schemeClr val="bg1"/>
                    </a:solidFill>
                  </a:tcPr>
                </a:tc>
                <a:tc>
                  <a:txBody>
                    <a:bodyPr/>
                    <a:lstStyle/>
                    <a:p>
                      <a:pPr algn="l"/>
                      <a:r>
                        <a:rPr lang="en-US" sz="1200" kern="1200" noProof="0" dirty="0">
                          <a:solidFill>
                            <a:schemeClr val="tx1"/>
                          </a:solidFill>
                        </a:rPr>
                        <a:t>1 per</a:t>
                      </a:r>
                      <a:r>
                        <a:rPr lang="en-US" sz="1200" kern="1200" baseline="0" noProof="0" dirty="0">
                          <a:solidFill>
                            <a:schemeClr val="tx1"/>
                          </a:solidFill>
                        </a:rPr>
                        <a:t> project</a:t>
                      </a:r>
                      <a:endParaRPr lang="en-US" sz="1200" kern="1200" noProof="0" dirty="0">
                        <a:solidFill>
                          <a:schemeClr val="tx1"/>
                        </a:solidFill>
                        <a:latin typeface="+mn-lt"/>
                        <a:ea typeface="+mn-ea"/>
                        <a:cs typeface="+mn-cs"/>
                      </a:endParaRPr>
                    </a:p>
                  </a:txBody>
                  <a:tcPr marR="36000" marT="0" marB="0" anchor="ctr">
                    <a:lnT w="12700" cap="flat" cmpd="sng" algn="ctr">
                      <a:solidFill>
                        <a:schemeClr val="bg2">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58170586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B3C1B5-EC67-2A9B-F57C-23AC0136163F}"/>
              </a:ext>
            </a:extLst>
          </p:cNvPr>
          <p:cNvGraphicFramePr>
            <a:graphicFrameLocks noChangeAspect="1"/>
          </p:cNvGraphicFramePr>
          <p:nvPr>
            <p:custDataLst>
              <p:tags r:id="rId1"/>
            </p:custDataLst>
            <p:extLst>
              <p:ext uri="{D42A27DB-BD31-4B8C-83A1-F6EECF244321}">
                <p14:modId xmlns:p14="http://schemas.microsoft.com/office/powerpoint/2010/main" val="332800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92B3C1B5-EC67-2A9B-F57C-23AC013616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1D6A029-BC57-5121-6D07-43096307B2B5}"/>
              </a:ext>
            </a:extLst>
          </p:cNvPr>
          <p:cNvSpPr>
            <a:spLocks noGrp="1"/>
          </p:cNvSpPr>
          <p:nvPr>
            <p:ph type="body" sz="quarter" idx="22"/>
          </p:nvPr>
        </p:nvSpPr>
        <p:spPr/>
        <p:txBody>
          <a:bodyPr/>
          <a:lstStyle/>
          <a:p>
            <a:r>
              <a:rPr lang="en-US" dirty="0"/>
              <a:t>Deloitte’s approach on finding the right vendor for UNICEF’s custom needs</a:t>
            </a:r>
          </a:p>
        </p:txBody>
      </p:sp>
      <p:sp>
        <p:nvSpPr>
          <p:cNvPr id="3" name="Title 2">
            <a:extLst>
              <a:ext uri="{FF2B5EF4-FFF2-40B4-BE49-F238E27FC236}">
                <a16:creationId xmlns:a16="http://schemas.microsoft.com/office/drawing/2014/main" id="{ECE35A47-DA4D-0F3C-8DCE-76A5EA175246}"/>
              </a:ext>
            </a:extLst>
          </p:cNvPr>
          <p:cNvSpPr>
            <a:spLocks noGrp="1"/>
          </p:cNvSpPr>
          <p:nvPr>
            <p:ph type="title"/>
          </p:nvPr>
        </p:nvSpPr>
        <p:spPr/>
        <p:txBody>
          <a:bodyPr vert="horz"/>
          <a:lstStyle/>
          <a:p>
            <a:r>
              <a:rPr lang="en-US" sz="2800" dirty="0">
                <a:latin typeface="Open Sans Light"/>
                <a:ea typeface="Open Sans Light"/>
                <a:cs typeface="Open Sans Light"/>
              </a:rPr>
              <a:t>RPA </a:t>
            </a:r>
            <a:r>
              <a:rPr lang="en-US" dirty="0">
                <a:latin typeface="Open Sans Light"/>
                <a:ea typeface="Open Sans Light"/>
                <a:cs typeface="Open Sans Light"/>
              </a:rPr>
              <a:t>vendor</a:t>
            </a:r>
            <a:r>
              <a:rPr lang="en-US" sz="2800" dirty="0">
                <a:latin typeface="Open Sans Light"/>
                <a:ea typeface="Open Sans Light"/>
                <a:cs typeface="Open Sans Light"/>
              </a:rPr>
              <a:t> </a:t>
            </a:r>
            <a:r>
              <a:rPr lang="en-US" dirty="0">
                <a:latin typeface="Open Sans Light"/>
                <a:ea typeface="Open Sans Light"/>
                <a:cs typeface="Open Sans Light"/>
              </a:rPr>
              <a:t>selection</a:t>
            </a:r>
            <a:r>
              <a:rPr lang="en-US" sz="2800" dirty="0">
                <a:latin typeface="Open Sans Light"/>
                <a:ea typeface="Open Sans Light"/>
                <a:cs typeface="Open Sans Light"/>
              </a:rPr>
              <a:t> </a:t>
            </a:r>
            <a:r>
              <a:rPr lang="en-US" dirty="0">
                <a:latin typeface="Open Sans Light"/>
                <a:ea typeface="Open Sans Light"/>
                <a:cs typeface="Open Sans Light"/>
              </a:rPr>
              <a:t>overview</a:t>
            </a:r>
          </a:p>
        </p:txBody>
      </p:sp>
      <p:cxnSp>
        <p:nvCxnSpPr>
          <p:cNvPr id="6" name="Straight Connector 5">
            <a:extLst>
              <a:ext uri="{FF2B5EF4-FFF2-40B4-BE49-F238E27FC236}">
                <a16:creationId xmlns:a16="http://schemas.microsoft.com/office/drawing/2014/main" id="{FD53DBC1-66E0-8E55-4CBE-BB02F85F8169}"/>
              </a:ext>
            </a:extLst>
          </p:cNvPr>
          <p:cNvCxnSpPr>
            <a:cxnSpLocks/>
          </p:cNvCxnSpPr>
          <p:nvPr/>
        </p:nvCxnSpPr>
        <p:spPr>
          <a:xfrm>
            <a:off x="1243013" y="1967972"/>
            <a:ext cx="9767064" cy="0"/>
          </a:xfrm>
          <a:prstGeom prst="line">
            <a:avLst/>
          </a:prstGeom>
          <a:noFill/>
          <a:ln w="38100" cap="flat" cmpd="sng" algn="ctr">
            <a:solidFill>
              <a:schemeClr val="tx2"/>
            </a:solidFill>
            <a:prstDash val="solid"/>
            <a:miter lim="800000"/>
          </a:ln>
          <a:effectLst/>
        </p:spPr>
      </p:cxnSp>
      <p:cxnSp>
        <p:nvCxnSpPr>
          <p:cNvPr id="7" name="Straight Connector 6">
            <a:extLst>
              <a:ext uri="{FF2B5EF4-FFF2-40B4-BE49-F238E27FC236}">
                <a16:creationId xmlns:a16="http://schemas.microsoft.com/office/drawing/2014/main" id="{AB4D67E4-0AC2-CCBE-A620-7FBD30ACA06E}"/>
              </a:ext>
            </a:extLst>
          </p:cNvPr>
          <p:cNvCxnSpPr>
            <a:cxnSpLocks/>
          </p:cNvCxnSpPr>
          <p:nvPr/>
        </p:nvCxnSpPr>
        <p:spPr>
          <a:xfrm>
            <a:off x="1243013" y="2118375"/>
            <a:ext cx="9767064" cy="0"/>
          </a:xfrm>
          <a:prstGeom prst="line">
            <a:avLst/>
          </a:prstGeom>
          <a:noFill/>
          <a:ln w="38100" cap="flat" cmpd="sng" algn="ctr">
            <a:solidFill>
              <a:schemeClr val="accent6">
                <a:lumMod val="20000"/>
                <a:lumOff val="80000"/>
              </a:schemeClr>
            </a:solidFill>
            <a:prstDash val="solid"/>
            <a:miter lim="800000"/>
          </a:ln>
          <a:effectLst/>
        </p:spPr>
      </p:cxnSp>
      <p:cxnSp>
        <p:nvCxnSpPr>
          <p:cNvPr id="8" name="Straight Connector 7">
            <a:extLst>
              <a:ext uri="{FF2B5EF4-FFF2-40B4-BE49-F238E27FC236}">
                <a16:creationId xmlns:a16="http://schemas.microsoft.com/office/drawing/2014/main" id="{7E830580-0C13-856F-13E0-B96F484765C8}"/>
              </a:ext>
            </a:extLst>
          </p:cNvPr>
          <p:cNvCxnSpPr>
            <a:cxnSpLocks/>
          </p:cNvCxnSpPr>
          <p:nvPr/>
        </p:nvCxnSpPr>
        <p:spPr>
          <a:xfrm>
            <a:off x="1243013" y="2043174"/>
            <a:ext cx="9767064" cy="0"/>
          </a:xfrm>
          <a:prstGeom prst="line">
            <a:avLst/>
          </a:prstGeom>
          <a:noFill/>
          <a:ln w="38100" cap="flat" cmpd="sng" algn="ctr">
            <a:solidFill>
              <a:schemeClr val="accent3"/>
            </a:solidFill>
            <a:prstDash val="solid"/>
            <a:miter lim="800000"/>
          </a:ln>
          <a:effectLst/>
        </p:spPr>
      </p:cxnSp>
      <p:graphicFrame>
        <p:nvGraphicFramePr>
          <p:cNvPr id="9" name="Table 8">
            <a:extLst>
              <a:ext uri="{FF2B5EF4-FFF2-40B4-BE49-F238E27FC236}">
                <a16:creationId xmlns:a16="http://schemas.microsoft.com/office/drawing/2014/main" id="{78737EC6-E14E-9672-55DB-7F6FE8B20672}"/>
              </a:ext>
            </a:extLst>
          </p:cNvPr>
          <p:cNvGraphicFramePr>
            <a:graphicFrameLocks noGrp="1"/>
          </p:cNvGraphicFramePr>
          <p:nvPr>
            <p:extLst>
              <p:ext uri="{D42A27DB-BD31-4B8C-83A1-F6EECF244321}">
                <p14:modId xmlns:p14="http://schemas.microsoft.com/office/powerpoint/2010/main" val="2663102920"/>
              </p:ext>
            </p:extLst>
          </p:nvPr>
        </p:nvGraphicFramePr>
        <p:xfrm>
          <a:off x="1423163" y="2302839"/>
          <a:ext cx="9406764" cy="2699618"/>
        </p:xfrm>
        <a:graphic>
          <a:graphicData uri="http://schemas.openxmlformats.org/drawingml/2006/table">
            <a:tbl>
              <a:tblPr firstRow="1" bandRow="1">
                <a:tableStyleId>{5940675A-B579-460E-94D1-54222C63F5DA}</a:tableStyleId>
              </a:tblPr>
              <a:tblGrid>
                <a:gridCol w="1567794">
                  <a:extLst>
                    <a:ext uri="{9D8B030D-6E8A-4147-A177-3AD203B41FA5}">
                      <a16:colId xmlns:a16="http://schemas.microsoft.com/office/drawing/2014/main" val="1040821723"/>
                    </a:ext>
                  </a:extLst>
                </a:gridCol>
                <a:gridCol w="1567794">
                  <a:extLst>
                    <a:ext uri="{9D8B030D-6E8A-4147-A177-3AD203B41FA5}">
                      <a16:colId xmlns:a16="http://schemas.microsoft.com/office/drawing/2014/main" val="1795523250"/>
                    </a:ext>
                  </a:extLst>
                </a:gridCol>
                <a:gridCol w="1567794">
                  <a:extLst>
                    <a:ext uri="{9D8B030D-6E8A-4147-A177-3AD203B41FA5}">
                      <a16:colId xmlns:a16="http://schemas.microsoft.com/office/drawing/2014/main" val="2300389847"/>
                    </a:ext>
                  </a:extLst>
                </a:gridCol>
                <a:gridCol w="1567794">
                  <a:extLst>
                    <a:ext uri="{9D8B030D-6E8A-4147-A177-3AD203B41FA5}">
                      <a16:colId xmlns:a16="http://schemas.microsoft.com/office/drawing/2014/main" val="1161517295"/>
                    </a:ext>
                  </a:extLst>
                </a:gridCol>
                <a:gridCol w="1567794">
                  <a:extLst>
                    <a:ext uri="{9D8B030D-6E8A-4147-A177-3AD203B41FA5}">
                      <a16:colId xmlns:a16="http://schemas.microsoft.com/office/drawing/2014/main" val="1136408609"/>
                    </a:ext>
                  </a:extLst>
                </a:gridCol>
                <a:gridCol w="1567794">
                  <a:extLst>
                    <a:ext uri="{9D8B030D-6E8A-4147-A177-3AD203B41FA5}">
                      <a16:colId xmlns:a16="http://schemas.microsoft.com/office/drawing/2014/main" val="3551540976"/>
                    </a:ext>
                  </a:extLst>
                </a:gridCol>
              </a:tblGrid>
              <a:tr h="2699618">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noProof="0">
                          <a:solidFill>
                            <a:schemeClr val="tx1"/>
                          </a:solidFill>
                          <a:latin typeface="Open Sans" panose="020B0606030504020204" pitchFamily="34" charset="0"/>
                          <a:ea typeface="Open Sans" panose="020B0606030504020204" pitchFamily="34" charset="0"/>
                          <a:cs typeface="Open Sans" panose="020B0606030504020204" pitchFamily="34" charset="0"/>
                        </a:rPr>
                        <a:t>Confirm in-scope RPA vendo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noProof="0">
                          <a:solidFill>
                            <a:schemeClr val="tx1"/>
                          </a:solidFill>
                          <a:latin typeface="Open Sans" panose="020B0606030504020204" pitchFamily="34" charset="0"/>
                          <a:ea typeface="Open Sans" panose="020B0606030504020204" pitchFamily="34" charset="0"/>
                          <a:cs typeface="Open Sans" panose="020B0606030504020204" pitchFamily="34" charset="0"/>
                        </a:rPr>
                        <a:t>Research of client environme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noProof="0">
                          <a:solidFill>
                            <a:schemeClr val="tx1"/>
                          </a:solidFill>
                          <a:latin typeface="Open Sans" panose="020B0606030504020204" pitchFamily="34" charset="0"/>
                          <a:ea typeface="Open Sans" panose="020B0606030504020204" pitchFamily="34" charset="0"/>
                          <a:cs typeface="Open Sans" panose="020B0606030504020204" pitchFamily="34" charset="0"/>
                        </a:rPr>
                        <a:t>Discussions with business, architecture and IT teams to clarify planned and future use cas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baseline="0" noProof="0">
                          <a:solidFill>
                            <a:schemeClr val="tx1"/>
                          </a:solidFill>
                          <a:latin typeface="Open Sans" panose="020B0606030504020204" pitchFamily="34" charset="0"/>
                          <a:ea typeface="Open Sans" panose="020B0606030504020204" pitchFamily="34" charset="0"/>
                          <a:cs typeface="Open Sans" panose="020B0606030504020204" pitchFamily="34" charset="0"/>
                        </a:rPr>
                        <a:t>Review outputs of other project streams</a:t>
                      </a:r>
                      <a:endParaRPr lang="en-US" sz="110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205740" marB="34290">
                    <a:lnL w="12700" cmpd="sng">
                      <a:noFill/>
                    </a:lnL>
                    <a:lnR w="635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Translate identified use cases and requirements into detailed selection criteria according to Deloitte best practices and your need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Validate selection criteria with business, architecture and IT teams</a:t>
                      </a:r>
                      <a:endParaRPr lang="en-US" sz="11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205740" marB="3429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Suggest criteria and criteria group weigh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Validate weights with business, architecture and IT teams</a:t>
                      </a:r>
                      <a:endParaRPr lang="en-US" sz="11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205740" marB="3429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Define demo cas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Draft technical questionnaire &amp; expert discussion with technical team</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Demo of RPA tools</a:t>
                      </a:r>
                      <a:endParaRPr lang="en-US" sz="11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205740" marB="3429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Consolidate insights collected during discussion workshops and vendor present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Assign scores based on available information, together with clie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Calculate weighted results</a:t>
                      </a:r>
                      <a:endParaRPr lang="en-US" sz="11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205740" marB="3429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Consolidate scor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Summarize finding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Provide recommendation</a:t>
                      </a:r>
                      <a:endParaRPr lang="en-US" sz="11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205740" marB="34290">
                    <a:lnL w="6350" cap="flat" cmpd="sng" algn="ctr">
                      <a:solidFill>
                        <a:schemeClr val="tx1">
                          <a:lumMod val="50000"/>
                          <a:lumOff val="50000"/>
                        </a:schemeClr>
                      </a:solid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134258"/>
                  </a:ext>
                </a:extLst>
              </a:tr>
            </a:tbl>
          </a:graphicData>
        </a:graphic>
      </p:graphicFrame>
      <p:sp>
        <p:nvSpPr>
          <p:cNvPr id="10" name="TextBox 9">
            <a:extLst>
              <a:ext uri="{FF2B5EF4-FFF2-40B4-BE49-F238E27FC236}">
                <a16:creationId xmlns:a16="http://schemas.microsoft.com/office/drawing/2014/main" id="{989DE20F-DA8F-ADFF-5C8D-B3A1BD539C91}"/>
              </a:ext>
            </a:extLst>
          </p:cNvPr>
          <p:cNvSpPr txBox="1"/>
          <p:nvPr/>
        </p:nvSpPr>
        <p:spPr>
          <a:xfrm rot="16200000">
            <a:off x="516810" y="3198002"/>
            <a:ext cx="1147337" cy="1692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u="none" strike="noStrike" kern="0" cap="none" spc="0" normalizeH="0" baseline="0" noProof="0" dirty="0">
                <a:ln>
                  <a:noFill/>
                </a:ln>
                <a:solidFill>
                  <a:srgbClr val="000000"/>
                </a:solidFill>
                <a:effectLst/>
                <a:uLnTx/>
                <a:uFillTx/>
                <a:latin typeface="Open Sans"/>
                <a:ea typeface="+mn-ea"/>
                <a:cs typeface="Open Sans SemiBold" panose="020B0606030504020204" pitchFamily="34" charset="0"/>
              </a:rPr>
              <a:t>Activities</a:t>
            </a:r>
          </a:p>
        </p:txBody>
      </p:sp>
      <p:sp>
        <p:nvSpPr>
          <p:cNvPr id="11" name="Oval 10">
            <a:extLst>
              <a:ext uri="{FF2B5EF4-FFF2-40B4-BE49-F238E27FC236}">
                <a16:creationId xmlns:a16="http://schemas.microsoft.com/office/drawing/2014/main" id="{6683D819-DD2F-AD46-82D1-A3B79EADDF69}"/>
              </a:ext>
            </a:extLst>
          </p:cNvPr>
          <p:cNvSpPr/>
          <p:nvPr/>
        </p:nvSpPr>
        <p:spPr>
          <a:xfrm>
            <a:off x="2032763" y="1846721"/>
            <a:ext cx="379355" cy="379355"/>
          </a:xfrm>
          <a:prstGeom prst="ellipse">
            <a:avLst/>
          </a:prstGeom>
          <a:solidFill>
            <a:sysClr val="window" lastClr="FFFFFF"/>
          </a:solidFill>
          <a:ln w="19050" cap="flat" cmpd="sng" algn="ctr">
            <a:solidFill>
              <a:schemeClr val="bg2">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62BE9659-D5E1-6845-5664-21A5D353C8AA}"/>
              </a:ext>
            </a:extLst>
          </p:cNvPr>
          <p:cNvSpPr txBox="1"/>
          <p:nvPr/>
        </p:nvSpPr>
        <p:spPr>
          <a:xfrm>
            <a:off x="1535763" y="1368204"/>
            <a:ext cx="1394190"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rgbClr val="000000"/>
                </a:solidFill>
                <a:effectLst/>
                <a:uLnTx/>
                <a:uFillTx/>
                <a:latin typeface="Open Sans"/>
                <a:ea typeface="+mn-ea"/>
                <a:cs typeface="Open Sans SemiBold" panose="020B0606030504020204" pitchFamily="34" charset="0"/>
              </a:rPr>
              <a:t>Understand use cases and needs</a:t>
            </a:r>
          </a:p>
        </p:txBody>
      </p:sp>
      <p:grpSp>
        <p:nvGrpSpPr>
          <p:cNvPr id="13" name="Group 12">
            <a:extLst>
              <a:ext uri="{FF2B5EF4-FFF2-40B4-BE49-F238E27FC236}">
                <a16:creationId xmlns:a16="http://schemas.microsoft.com/office/drawing/2014/main" id="{A7B09722-12A5-88B4-9BFA-9A544D94A7FE}"/>
              </a:ext>
            </a:extLst>
          </p:cNvPr>
          <p:cNvGrpSpPr/>
          <p:nvPr/>
        </p:nvGrpSpPr>
        <p:grpSpPr>
          <a:xfrm>
            <a:off x="2100806" y="1894708"/>
            <a:ext cx="227383" cy="259567"/>
            <a:chOff x="9547225" y="3155950"/>
            <a:chExt cx="515938" cy="588963"/>
          </a:xfrm>
        </p:grpSpPr>
        <p:sp>
          <p:nvSpPr>
            <p:cNvPr id="14" name="Freeform 430">
              <a:extLst>
                <a:ext uri="{FF2B5EF4-FFF2-40B4-BE49-F238E27FC236}">
                  <a16:creationId xmlns:a16="http://schemas.microsoft.com/office/drawing/2014/main" id="{7B78B966-9947-FE2C-2577-78B4BE604F2B}"/>
                </a:ext>
              </a:extLst>
            </p:cNvPr>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5" name="Freeform 431">
              <a:extLst>
                <a:ext uri="{FF2B5EF4-FFF2-40B4-BE49-F238E27FC236}">
                  <a16:creationId xmlns:a16="http://schemas.microsoft.com/office/drawing/2014/main" id="{FB8A269A-AB01-C7B2-8240-5E1ED52813E3}"/>
                </a:ext>
              </a:extLst>
            </p:cNvPr>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6" name="Oval 15">
            <a:extLst>
              <a:ext uri="{FF2B5EF4-FFF2-40B4-BE49-F238E27FC236}">
                <a16:creationId xmlns:a16="http://schemas.microsoft.com/office/drawing/2014/main" id="{58D56AE9-4090-6F80-AB2E-554560F56BA9}"/>
              </a:ext>
            </a:extLst>
          </p:cNvPr>
          <p:cNvSpPr/>
          <p:nvPr/>
        </p:nvSpPr>
        <p:spPr>
          <a:xfrm>
            <a:off x="8334817" y="1862703"/>
            <a:ext cx="347390" cy="347390"/>
          </a:xfrm>
          <a:prstGeom prst="ellipse">
            <a:avLst/>
          </a:prstGeom>
          <a:solidFill>
            <a:srgbClr val="FFFFFF"/>
          </a:solidFill>
          <a:ln w="19050" cap="flat" cmpd="sng" algn="ctr">
            <a:solidFill>
              <a:schemeClr val="bg2">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17" name="TextBox 16">
            <a:extLst>
              <a:ext uri="{FF2B5EF4-FFF2-40B4-BE49-F238E27FC236}">
                <a16:creationId xmlns:a16="http://schemas.microsoft.com/office/drawing/2014/main" id="{ED7170E0-6D50-1DAD-F346-B0059FE8681A}"/>
              </a:ext>
            </a:extLst>
          </p:cNvPr>
          <p:cNvSpPr txBox="1"/>
          <p:nvPr/>
        </p:nvSpPr>
        <p:spPr>
          <a:xfrm>
            <a:off x="7970924" y="1368204"/>
            <a:ext cx="1073756"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rgbClr val="000000"/>
                </a:solidFill>
                <a:effectLst/>
                <a:uLnTx/>
                <a:uFillTx/>
                <a:latin typeface="Open Sans"/>
                <a:ea typeface="+mn-ea"/>
                <a:cs typeface="Open Sans SemiBold" panose="020B0606030504020204" pitchFamily="34" charset="0"/>
              </a:rPr>
              <a:t>Score</a:t>
            </a:r>
            <a:endParaRPr kumimoji="0" lang="en-US" sz="1200" b="1" u="none" strike="noStrike" kern="0" cap="none" spc="0" normalizeH="0" baseline="30000" noProof="0" dirty="0">
              <a:ln>
                <a:noFill/>
              </a:ln>
              <a:solidFill>
                <a:srgbClr val="FFFFFF">
                  <a:lumMod val="50000"/>
                </a:srgbClr>
              </a:solidFill>
              <a:effectLst/>
              <a:uLnTx/>
              <a:uFillTx/>
              <a:latin typeface="Open Sans"/>
              <a:ea typeface="+mn-ea"/>
              <a:cs typeface="Open Sans SemiBold" panose="020B0606030504020204" pitchFamily="34" charset="0"/>
            </a:endParaRPr>
          </a:p>
        </p:txBody>
      </p:sp>
      <p:grpSp>
        <p:nvGrpSpPr>
          <p:cNvPr id="18" name="Group 17">
            <a:extLst>
              <a:ext uri="{FF2B5EF4-FFF2-40B4-BE49-F238E27FC236}">
                <a16:creationId xmlns:a16="http://schemas.microsoft.com/office/drawing/2014/main" id="{4928CEF6-B423-2422-D9E1-AB23C7A5C214}"/>
              </a:ext>
            </a:extLst>
          </p:cNvPr>
          <p:cNvGrpSpPr/>
          <p:nvPr/>
        </p:nvGrpSpPr>
        <p:grpSpPr>
          <a:xfrm>
            <a:off x="8403810" y="1907956"/>
            <a:ext cx="211827" cy="223028"/>
            <a:chOff x="1311275" y="6561138"/>
            <a:chExt cx="539750" cy="568325"/>
          </a:xfrm>
        </p:grpSpPr>
        <p:sp>
          <p:nvSpPr>
            <p:cNvPr id="19" name="Freeform 58">
              <a:extLst>
                <a:ext uri="{FF2B5EF4-FFF2-40B4-BE49-F238E27FC236}">
                  <a16:creationId xmlns:a16="http://schemas.microsoft.com/office/drawing/2014/main" id="{66498804-59E4-A670-287B-69772DBCFDD8}"/>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0" name="Freeform 59">
              <a:extLst>
                <a:ext uri="{FF2B5EF4-FFF2-40B4-BE49-F238E27FC236}">
                  <a16:creationId xmlns:a16="http://schemas.microsoft.com/office/drawing/2014/main" id="{BE7DCCE0-FCE0-F781-2656-F4800B81F54A}"/>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1" name="Freeform 60">
              <a:extLst>
                <a:ext uri="{FF2B5EF4-FFF2-40B4-BE49-F238E27FC236}">
                  <a16:creationId xmlns:a16="http://schemas.microsoft.com/office/drawing/2014/main" id="{DA7D7ABA-F199-C83D-9B69-217AAE5B9EDF}"/>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2" name="Freeform 61">
              <a:extLst>
                <a:ext uri="{FF2B5EF4-FFF2-40B4-BE49-F238E27FC236}">
                  <a16:creationId xmlns:a16="http://schemas.microsoft.com/office/drawing/2014/main" id="{FEF2A88F-257E-9BE8-2460-812FC8B45D4D}"/>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3" name="Freeform 62">
              <a:extLst>
                <a:ext uri="{FF2B5EF4-FFF2-40B4-BE49-F238E27FC236}">
                  <a16:creationId xmlns:a16="http://schemas.microsoft.com/office/drawing/2014/main" id="{5C07EF9E-29F6-65E8-9FEE-03811277C1BF}"/>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4" name="Freeform 63">
              <a:extLst>
                <a:ext uri="{FF2B5EF4-FFF2-40B4-BE49-F238E27FC236}">
                  <a16:creationId xmlns:a16="http://schemas.microsoft.com/office/drawing/2014/main" id="{2A45401B-C119-4485-C25D-A2246A1A1131}"/>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25" name="Oval 24">
            <a:extLst>
              <a:ext uri="{FF2B5EF4-FFF2-40B4-BE49-F238E27FC236}">
                <a16:creationId xmlns:a16="http://schemas.microsoft.com/office/drawing/2014/main" id="{DD2F882C-BCE9-F537-E330-BC1F1C4B9507}"/>
              </a:ext>
            </a:extLst>
          </p:cNvPr>
          <p:cNvSpPr/>
          <p:nvPr/>
        </p:nvSpPr>
        <p:spPr>
          <a:xfrm>
            <a:off x="5160789" y="1846721"/>
            <a:ext cx="379355" cy="379355"/>
          </a:xfrm>
          <a:prstGeom prst="ellipse">
            <a:avLst/>
          </a:prstGeom>
          <a:solidFill>
            <a:srgbClr val="FFFFFF"/>
          </a:solidFill>
          <a:ln w="19050" cap="flat" cmpd="sng" algn="ctr">
            <a:solidFill>
              <a:schemeClr val="bg2">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2F413D0D-9531-23B2-0124-F061C44E3579}"/>
              </a:ext>
            </a:extLst>
          </p:cNvPr>
          <p:cNvSpPr txBox="1"/>
          <p:nvPr/>
        </p:nvSpPr>
        <p:spPr>
          <a:xfrm>
            <a:off x="4833452" y="1368204"/>
            <a:ext cx="1073756"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rgbClr val="000000"/>
                </a:solidFill>
                <a:effectLst/>
                <a:uLnTx/>
                <a:uFillTx/>
                <a:latin typeface="Open Sans"/>
                <a:ea typeface="+mn-ea"/>
                <a:cs typeface="Open Sans SemiBold" panose="020B0606030504020204" pitchFamily="34" charset="0"/>
              </a:rPr>
              <a:t>Assign weights</a:t>
            </a:r>
          </a:p>
        </p:txBody>
      </p:sp>
      <p:sp>
        <p:nvSpPr>
          <p:cNvPr id="27" name="Freeform 78">
            <a:extLst>
              <a:ext uri="{FF2B5EF4-FFF2-40B4-BE49-F238E27FC236}">
                <a16:creationId xmlns:a16="http://schemas.microsoft.com/office/drawing/2014/main" id="{ED3FDE5F-8C07-6EB5-2183-A0B7A3B9A2F3}"/>
              </a:ext>
            </a:extLst>
          </p:cNvPr>
          <p:cNvSpPr>
            <a:spLocks noEditPoints="1"/>
          </p:cNvSpPr>
          <p:nvPr/>
        </p:nvSpPr>
        <p:spPr bwMode="auto">
          <a:xfrm>
            <a:off x="5216682" y="1934144"/>
            <a:ext cx="263618" cy="17486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8" name="Oval 27">
            <a:extLst>
              <a:ext uri="{FF2B5EF4-FFF2-40B4-BE49-F238E27FC236}">
                <a16:creationId xmlns:a16="http://schemas.microsoft.com/office/drawing/2014/main" id="{DDB80F4A-CC52-40A8-723D-9CEFA19BC5F3}"/>
              </a:ext>
            </a:extLst>
          </p:cNvPr>
          <p:cNvSpPr/>
          <p:nvPr/>
        </p:nvSpPr>
        <p:spPr>
          <a:xfrm>
            <a:off x="6719594" y="1846721"/>
            <a:ext cx="379355" cy="379355"/>
          </a:xfrm>
          <a:prstGeom prst="ellipse">
            <a:avLst/>
          </a:prstGeom>
          <a:solidFill>
            <a:sysClr val="window" lastClr="FFFFFF"/>
          </a:solidFill>
          <a:ln w="19050" cap="flat" cmpd="sng" algn="ctr">
            <a:solidFill>
              <a:schemeClr val="bg2">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60CD4A5D-7070-9980-EB2A-87692C89D168}"/>
              </a:ext>
            </a:extLst>
          </p:cNvPr>
          <p:cNvSpPr txBox="1"/>
          <p:nvPr/>
        </p:nvSpPr>
        <p:spPr>
          <a:xfrm>
            <a:off x="6402188" y="1368204"/>
            <a:ext cx="1073756"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srgbClr val="000000"/>
                </a:solidFill>
                <a:latin typeface="Open Sans"/>
                <a:cs typeface="Open Sans SemiBold" panose="020B0606030504020204" pitchFamily="34" charset="0"/>
              </a:rPr>
              <a:t>Vendor presentation</a:t>
            </a:r>
            <a:endParaRPr kumimoji="0" lang="en-US" sz="1200" b="1" u="none" strike="noStrike" kern="0" cap="none" spc="0" normalizeH="0" baseline="0" noProof="0" dirty="0">
              <a:ln>
                <a:noFill/>
              </a:ln>
              <a:solidFill>
                <a:srgbClr val="000000"/>
              </a:solidFill>
              <a:effectLst/>
              <a:uLnTx/>
              <a:uFillTx/>
              <a:latin typeface="Open Sans"/>
              <a:ea typeface="+mn-ea"/>
              <a:cs typeface="Open Sans SemiBold" panose="020B0606030504020204" pitchFamily="34" charset="0"/>
            </a:endParaRPr>
          </a:p>
        </p:txBody>
      </p:sp>
      <p:grpSp>
        <p:nvGrpSpPr>
          <p:cNvPr id="30" name="Group 29">
            <a:extLst>
              <a:ext uri="{FF2B5EF4-FFF2-40B4-BE49-F238E27FC236}">
                <a16:creationId xmlns:a16="http://schemas.microsoft.com/office/drawing/2014/main" id="{45F3B9CC-30CC-9DF3-66FD-6F00215743BB}"/>
              </a:ext>
            </a:extLst>
          </p:cNvPr>
          <p:cNvGrpSpPr/>
          <p:nvPr/>
        </p:nvGrpSpPr>
        <p:grpSpPr>
          <a:xfrm>
            <a:off x="6778463" y="1907012"/>
            <a:ext cx="275753" cy="201204"/>
            <a:chOff x="6526213" y="1036638"/>
            <a:chExt cx="546100" cy="398463"/>
          </a:xfrm>
        </p:grpSpPr>
        <p:sp>
          <p:nvSpPr>
            <p:cNvPr id="31" name="Freeform 369">
              <a:extLst>
                <a:ext uri="{FF2B5EF4-FFF2-40B4-BE49-F238E27FC236}">
                  <a16:creationId xmlns:a16="http://schemas.microsoft.com/office/drawing/2014/main" id="{4E871E57-A0E3-9A8D-9243-03D56B803584}"/>
                </a:ext>
              </a:extLst>
            </p:cNvPr>
            <p:cNvSpPr>
              <a:spLocks noEditPoints="1"/>
            </p:cNvSpPr>
            <p:nvPr/>
          </p:nvSpPr>
          <p:spPr bwMode="auto">
            <a:xfrm>
              <a:off x="6526213" y="1036638"/>
              <a:ext cx="400050"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2" name="Freeform 370">
              <a:extLst>
                <a:ext uri="{FF2B5EF4-FFF2-40B4-BE49-F238E27FC236}">
                  <a16:creationId xmlns:a16="http://schemas.microsoft.com/office/drawing/2014/main" id="{2D840769-05C0-D761-9C66-0F8D4478CA5F}"/>
                </a:ext>
              </a:extLst>
            </p:cNvPr>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3" name="Oval 32">
            <a:extLst>
              <a:ext uri="{FF2B5EF4-FFF2-40B4-BE49-F238E27FC236}">
                <a16:creationId xmlns:a16="http://schemas.microsoft.com/office/drawing/2014/main" id="{1D685AFC-401B-77AE-E318-5C294C98F59E}"/>
              </a:ext>
            </a:extLst>
          </p:cNvPr>
          <p:cNvSpPr/>
          <p:nvPr/>
        </p:nvSpPr>
        <p:spPr>
          <a:xfrm>
            <a:off x="3601985" y="1846721"/>
            <a:ext cx="379355" cy="379355"/>
          </a:xfrm>
          <a:prstGeom prst="ellipse">
            <a:avLst/>
          </a:prstGeom>
          <a:solidFill>
            <a:sysClr val="window" lastClr="FFFFFF"/>
          </a:solidFill>
          <a:ln w="19050" cap="flat" cmpd="sng" algn="ctr">
            <a:solidFill>
              <a:schemeClr val="bg2">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34" name="TextBox 33">
            <a:extLst>
              <a:ext uri="{FF2B5EF4-FFF2-40B4-BE49-F238E27FC236}">
                <a16:creationId xmlns:a16="http://schemas.microsoft.com/office/drawing/2014/main" id="{DE2DC8B9-466F-A813-69EB-3797E1236707}"/>
              </a:ext>
            </a:extLst>
          </p:cNvPr>
          <p:cNvSpPr txBox="1"/>
          <p:nvPr/>
        </p:nvSpPr>
        <p:spPr>
          <a:xfrm>
            <a:off x="3135963" y="1368204"/>
            <a:ext cx="1331262"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rgbClr val="000000"/>
                </a:solidFill>
                <a:effectLst/>
                <a:uLnTx/>
                <a:uFillTx/>
                <a:latin typeface="Open Sans"/>
                <a:ea typeface="+mn-ea"/>
                <a:cs typeface="Open Sans SemiBold" panose="020B0606030504020204" pitchFamily="34" charset="0"/>
              </a:rPr>
              <a:t>Develop custom selection criteria</a:t>
            </a:r>
          </a:p>
        </p:txBody>
      </p:sp>
      <p:grpSp>
        <p:nvGrpSpPr>
          <p:cNvPr id="35" name="Group 34">
            <a:extLst>
              <a:ext uri="{FF2B5EF4-FFF2-40B4-BE49-F238E27FC236}">
                <a16:creationId xmlns:a16="http://schemas.microsoft.com/office/drawing/2014/main" id="{6E0D84DE-7243-BB06-296B-0A635508F86C}"/>
              </a:ext>
            </a:extLst>
          </p:cNvPr>
          <p:cNvGrpSpPr/>
          <p:nvPr/>
        </p:nvGrpSpPr>
        <p:grpSpPr>
          <a:xfrm>
            <a:off x="3669276" y="1926983"/>
            <a:ext cx="244948" cy="202950"/>
            <a:chOff x="12530138" y="6573838"/>
            <a:chExt cx="444500" cy="368301"/>
          </a:xfrm>
        </p:grpSpPr>
        <p:sp>
          <p:nvSpPr>
            <p:cNvPr id="36" name="Freeform 595">
              <a:extLst>
                <a:ext uri="{FF2B5EF4-FFF2-40B4-BE49-F238E27FC236}">
                  <a16:creationId xmlns:a16="http://schemas.microsoft.com/office/drawing/2014/main" id="{14C7796C-674A-2FE8-F895-92AA0F2B76EB}"/>
                </a:ext>
              </a:extLst>
            </p:cNvPr>
            <p:cNvSpPr>
              <a:spLocks/>
            </p:cNvSpPr>
            <p:nvPr/>
          </p:nvSpPr>
          <p:spPr bwMode="auto">
            <a:xfrm>
              <a:off x="12666663" y="6899276"/>
              <a:ext cx="307975" cy="22225"/>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2" y="0"/>
                    <a:pt x="0" y="3"/>
                    <a:pt x="0" y="5"/>
                  </a:cubicBezTo>
                  <a:cubicBezTo>
                    <a:pt x="0" y="8"/>
                    <a:pt x="2" y="10"/>
                    <a:pt x="5" y="10"/>
                  </a:cubicBezTo>
                  <a:cubicBezTo>
                    <a:pt x="130" y="10"/>
                    <a:pt x="130" y="10"/>
                    <a:pt x="130" y="10"/>
                  </a:cubicBezTo>
                  <a:cubicBezTo>
                    <a:pt x="133" y="10"/>
                    <a:pt x="135" y="8"/>
                    <a:pt x="135" y="5"/>
                  </a:cubicBezTo>
                  <a:cubicBezTo>
                    <a:pt x="135" y="3"/>
                    <a:pt x="133" y="0"/>
                    <a:pt x="130"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7" name="Freeform 596">
              <a:extLst>
                <a:ext uri="{FF2B5EF4-FFF2-40B4-BE49-F238E27FC236}">
                  <a16:creationId xmlns:a16="http://schemas.microsoft.com/office/drawing/2014/main" id="{E8A88059-3F13-C184-9EB6-B749C232639B}"/>
                </a:ext>
              </a:extLst>
            </p:cNvPr>
            <p:cNvSpPr>
              <a:spLocks/>
            </p:cNvSpPr>
            <p:nvPr/>
          </p:nvSpPr>
          <p:spPr bwMode="auto">
            <a:xfrm>
              <a:off x="12666663" y="6748463"/>
              <a:ext cx="307975" cy="22225"/>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2" y="0"/>
                    <a:pt x="0" y="2"/>
                    <a:pt x="0" y="5"/>
                  </a:cubicBezTo>
                  <a:cubicBezTo>
                    <a:pt x="0" y="7"/>
                    <a:pt x="2" y="10"/>
                    <a:pt x="5" y="10"/>
                  </a:cubicBezTo>
                  <a:cubicBezTo>
                    <a:pt x="130" y="10"/>
                    <a:pt x="130" y="10"/>
                    <a:pt x="130" y="10"/>
                  </a:cubicBezTo>
                  <a:cubicBezTo>
                    <a:pt x="133" y="10"/>
                    <a:pt x="135" y="7"/>
                    <a:pt x="135" y="5"/>
                  </a:cubicBezTo>
                  <a:cubicBezTo>
                    <a:pt x="135" y="2"/>
                    <a:pt x="133" y="0"/>
                    <a:pt x="130"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8" name="Freeform 597">
              <a:extLst>
                <a:ext uri="{FF2B5EF4-FFF2-40B4-BE49-F238E27FC236}">
                  <a16:creationId xmlns:a16="http://schemas.microsoft.com/office/drawing/2014/main" id="{1FCADDBD-5088-8F79-893D-9C51951EB2E9}"/>
                </a:ext>
              </a:extLst>
            </p:cNvPr>
            <p:cNvSpPr>
              <a:spLocks/>
            </p:cNvSpPr>
            <p:nvPr/>
          </p:nvSpPr>
          <p:spPr bwMode="auto">
            <a:xfrm>
              <a:off x="12666663" y="6594476"/>
              <a:ext cx="30797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3" y="10"/>
                    <a:pt x="135" y="8"/>
                    <a:pt x="135" y="5"/>
                  </a:cubicBezTo>
                  <a:cubicBezTo>
                    <a:pt x="135" y="2"/>
                    <a:pt x="133" y="0"/>
                    <a:pt x="130"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9" name="Freeform 598">
              <a:extLst>
                <a:ext uri="{FF2B5EF4-FFF2-40B4-BE49-F238E27FC236}">
                  <a16:creationId xmlns:a16="http://schemas.microsoft.com/office/drawing/2014/main" id="{464F790E-3223-9206-C805-98CF24563004}"/>
                </a:ext>
              </a:extLst>
            </p:cNvPr>
            <p:cNvSpPr>
              <a:spLocks/>
            </p:cNvSpPr>
            <p:nvPr/>
          </p:nvSpPr>
          <p:spPr bwMode="auto">
            <a:xfrm>
              <a:off x="12530138" y="6573838"/>
              <a:ext cx="61913" cy="61913"/>
            </a:xfrm>
            <a:custGeom>
              <a:avLst/>
              <a:gdLst>
                <a:gd name="T0" fmla="*/ 23 w 27"/>
                <a:gd name="T1" fmla="*/ 0 h 27"/>
                <a:gd name="T2" fmla="*/ 5 w 27"/>
                <a:gd name="T3" fmla="*/ 0 h 27"/>
                <a:gd name="T4" fmla="*/ 0 w 27"/>
                <a:gd name="T5" fmla="*/ 5 h 27"/>
                <a:gd name="T6" fmla="*/ 0 w 27"/>
                <a:gd name="T7" fmla="*/ 23 h 27"/>
                <a:gd name="T8" fmla="*/ 5 w 27"/>
                <a:gd name="T9" fmla="*/ 27 h 27"/>
                <a:gd name="T10" fmla="*/ 23 w 27"/>
                <a:gd name="T11" fmla="*/ 27 h 27"/>
                <a:gd name="T12" fmla="*/ 27 w 27"/>
                <a:gd name="T13" fmla="*/ 23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3"/>
                    <a:pt x="0" y="5"/>
                  </a:cubicBezTo>
                  <a:cubicBezTo>
                    <a:pt x="0" y="23"/>
                    <a:pt x="0" y="23"/>
                    <a:pt x="0" y="23"/>
                  </a:cubicBezTo>
                  <a:cubicBezTo>
                    <a:pt x="0" y="25"/>
                    <a:pt x="3" y="27"/>
                    <a:pt x="5" y="27"/>
                  </a:cubicBezTo>
                  <a:cubicBezTo>
                    <a:pt x="23" y="27"/>
                    <a:pt x="23" y="27"/>
                    <a:pt x="23" y="27"/>
                  </a:cubicBezTo>
                  <a:cubicBezTo>
                    <a:pt x="25" y="27"/>
                    <a:pt x="27" y="25"/>
                    <a:pt x="27" y="23"/>
                  </a:cubicBezTo>
                  <a:cubicBezTo>
                    <a:pt x="27" y="5"/>
                    <a:pt x="27" y="5"/>
                    <a:pt x="27" y="5"/>
                  </a:cubicBezTo>
                  <a:cubicBezTo>
                    <a:pt x="27" y="3"/>
                    <a:pt x="25" y="0"/>
                    <a:pt x="23"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0" name="Freeform 599">
              <a:extLst>
                <a:ext uri="{FF2B5EF4-FFF2-40B4-BE49-F238E27FC236}">
                  <a16:creationId xmlns:a16="http://schemas.microsoft.com/office/drawing/2014/main" id="{72D25DA9-34B0-9FCF-A3F8-6B5334A641CE}"/>
                </a:ext>
              </a:extLst>
            </p:cNvPr>
            <p:cNvSpPr>
              <a:spLocks/>
            </p:cNvSpPr>
            <p:nvPr/>
          </p:nvSpPr>
          <p:spPr bwMode="auto">
            <a:xfrm>
              <a:off x="12530138" y="6727826"/>
              <a:ext cx="61913" cy="60325"/>
            </a:xfrm>
            <a:custGeom>
              <a:avLst/>
              <a:gdLst>
                <a:gd name="T0" fmla="*/ 23 w 27"/>
                <a:gd name="T1" fmla="*/ 0 h 27"/>
                <a:gd name="T2" fmla="*/ 5 w 27"/>
                <a:gd name="T3" fmla="*/ 0 h 27"/>
                <a:gd name="T4" fmla="*/ 0 w 27"/>
                <a:gd name="T5" fmla="*/ 5 h 27"/>
                <a:gd name="T6" fmla="*/ 0 w 27"/>
                <a:gd name="T7" fmla="*/ 22 h 27"/>
                <a:gd name="T8" fmla="*/ 5 w 27"/>
                <a:gd name="T9" fmla="*/ 27 h 27"/>
                <a:gd name="T10" fmla="*/ 23 w 27"/>
                <a:gd name="T11" fmla="*/ 27 h 27"/>
                <a:gd name="T12" fmla="*/ 27 w 27"/>
                <a:gd name="T13" fmla="*/ 22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2"/>
                    <a:pt x="0" y="5"/>
                  </a:cubicBezTo>
                  <a:cubicBezTo>
                    <a:pt x="0" y="22"/>
                    <a:pt x="0" y="22"/>
                    <a:pt x="0" y="22"/>
                  </a:cubicBezTo>
                  <a:cubicBezTo>
                    <a:pt x="0" y="25"/>
                    <a:pt x="3" y="27"/>
                    <a:pt x="5" y="27"/>
                  </a:cubicBezTo>
                  <a:cubicBezTo>
                    <a:pt x="23" y="27"/>
                    <a:pt x="23" y="27"/>
                    <a:pt x="23" y="27"/>
                  </a:cubicBezTo>
                  <a:cubicBezTo>
                    <a:pt x="25" y="27"/>
                    <a:pt x="27" y="25"/>
                    <a:pt x="27" y="22"/>
                  </a:cubicBezTo>
                  <a:cubicBezTo>
                    <a:pt x="27" y="5"/>
                    <a:pt x="27" y="5"/>
                    <a:pt x="27" y="5"/>
                  </a:cubicBezTo>
                  <a:cubicBezTo>
                    <a:pt x="27" y="2"/>
                    <a:pt x="25" y="0"/>
                    <a:pt x="23"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1" name="Freeform 600">
              <a:extLst>
                <a:ext uri="{FF2B5EF4-FFF2-40B4-BE49-F238E27FC236}">
                  <a16:creationId xmlns:a16="http://schemas.microsoft.com/office/drawing/2014/main" id="{CEEA64E7-B23C-A207-7A57-129E35AC6296}"/>
                </a:ext>
              </a:extLst>
            </p:cNvPr>
            <p:cNvSpPr>
              <a:spLocks/>
            </p:cNvSpPr>
            <p:nvPr/>
          </p:nvSpPr>
          <p:spPr bwMode="auto">
            <a:xfrm>
              <a:off x="12530138" y="6880226"/>
              <a:ext cx="61913" cy="61913"/>
            </a:xfrm>
            <a:custGeom>
              <a:avLst/>
              <a:gdLst>
                <a:gd name="T0" fmla="*/ 23 w 27"/>
                <a:gd name="T1" fmla="*/ 0 h 27"/>
                <a:gd name="T2" fmla="*/ 5 w 27"/>
                <a:gd name="T3" fmla="*/ 0 h 27"/>
                <a:gd name="T4" fmla="*/ 0 w 27"/>
                <a:gd name="T5" fmla="*/ 5 h 27"/>
                <a:gd name="T6" fmla="*/ 0 w 27"/>
                <a:gd name="T7" fmla="*/ 22 h 27"/>
                <a:gd name="T8" fmla="*/ 5 w 27"/>
                <a:gd name="T9" fmla="*/ 27 h 27"/>
                <a:gd name="T10" fmla="*/ 23 w 27"/>
                <a:gd name="T11" fmla="*/ 27 h 27"/>
                <a:gd name="T12" fmla="*/ 27 w 27"/>
                <a:gd name="T13" fmla="*/ 22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2"/>
                    <a:pt x="0" y="5"/>
                  </a:cubicBezTo>
                  <a:cubicBezTo>
                    <a:pt x="0" y="22"/>
                    <a:pt x="0" y="22"/>
                    <a:pt x="0" y="22"/>
                  </a:cubicBezTo>
                  <a:cubicBezTo>
                    <a:pt x="0" y="25"/>
                    <a:pt x="3" y="27"/>
                    <a:pt x="5" y="27"/>
                  </a:cubicBezTo>
                  <a:cubicBezTo>
                    <a:pt x="23" y="27"/>
                    <a:pt x="23" y="27"/>
                    <a:pt x="23" y="27"/>
                  </a:cubicBezTo>
                  <a:cubicBezTo>
                    <a:pt x="25" y="27"/>
                    <a:pt x="27" y="25"/>
                    <a:pt x="27" y="22"/>
                  </a:cubicBezTo>
                  <a:cubicBezTo>
                    <a:pt x="27" y="5"/>
                    <a:pt x="27" y="5"/>
                    <a:pt x="27" y="5"/>
                  </a:cubicBezTo>
                  <a:cubicBezTo>
                    <a:pt x="27" y="2"/>
                    <a:pt x="25" y="0"/>
                    <a:pt x="23"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42" name="Oval 41">
            <a:extLst>
              <a:ext uri="{FF2B5EF4-FFF2-40B4-BE49-F238E27FC236}">
                <a16:creationId xmlns:a16="http://schemas.microsoft.com/office/drawing/2014/main" id="{C6EA1AF1-8357-4D87-07C1-C135E01CFA45}"/>
              </a:ext>
            </a:extLst>
          </p:cNvPr>
          <p:cNvSpPr/>
          <p:nvPr/>
        </p:nvSpPr>
        <p:spPr>
          <a:xfrm>
            <a:off x="9881124" y="1846721"/>
            <a:ext cx="379355" cy="379355"/>
          </a:xfrm>
          <a:prstGeom prst="ellipse">
            <a:avLst/>
          </a:prstGeom>
          <a:solidFill>
            <a:srgbClr val="FFFFFF"/>
          </a:solidFill>
          <a:ln w="1905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43" name="TextBox 42">
            <a:extLst>
              <a:ext uri="{FF2B5EF4-FFF2-40B4-BE49-F238E27FC236}">
                <a16:creationId xmlns:a16="http://schemas.microsoft.com/office/drawing/2014/main" id="{BF78EDA3-A29E-EAFC-1523-15C7D8B42174}"/>
              </a:ext>
            </a:extLst>
          </p:cNvPr>
          <p:cNvSpPr txBox="1"/>
          <p:nvPr/>
        </p:nvSpPr>
        <p:spPr>
          <a:xfrm>
            <a:off x="9539659" y="1368204"/>
            <a:ext cx="1073756"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srgbClr val="000000"/>
                </a:solidFill>
                <a:latin typeface="Open Sans"/>
                <a:cs typeface="Open Sans SemiBold" panose="020B0606030504020204" pitchFamily="34" charset="0"/>
              </a:rPr>
              <a:t>Recommend RPA vendor</a:t>
            </a:r>
            <a:endParaRPr kumimoji="0" lang="en-US" sz="1200" b="1" u="none" strike="noStrike" kern="0" cap="none" spc="0" normalizeH="0" baseline="0" noProof="0" dirty="0">
              <a:ln>
                <a:noFill/>
              </a:ln>
              <a:solidFill>
                <a:srgbClr val="000000"/>
              </a:solidFill>
              <a:effectLst/>
              <a:uLnTx/>
              <a:uFillTx/>
              <a:latin typeface="Open Sans"/>
              <a:ea typeface="+mn-ea"/>
              <a:cs typeface="Open Sans SemiBold" panose="020B0606030504020204" pitchFamily="34" charset="0"/>
            </a:endParaRPr>
          </a:p>
        </p:txBody>
      </p:sp>
      <p:grpSp>
        <p:nvGrpSpPr>
          <p:cNvPr id="44" name="Group 43">
            <a:extLst>
              <a:ext uri="{FF2B5EF4-FFF2-40B4-BE49-F238E27FC236}">
                <a16:creationId xmlns:a16="http://schemas.microsoft.com/office/drawing/2014/main" id="{38BBCEF7-6C75-5C29-8AB6-900EF58A2E80}"/>
              </a:ext>
            </a:extLst>
          </p:cNvPr>
          <p:cNvGrpSpPr/>
          <p:nvPr/>
        </p:nvGrpSpPr>
        <p:grpSpPr>
          <a:xfrm>
            <a:off x="9954536" y="1917075"/>
            <a:ext cx="232530" cy="231884"/>
            <a:chOff x="1738313" y="7102475"/>
            <a:chExt cx="568325" cy="566738"/>
          </a:xfrm>
        </p:grpSpPr>
        <p:sp>
          <p:nvSpPr>
            <p:cNvPr id="45" name="Freeform 182">
              <a:extLst>
                <a:ext uri="{FF2B5EF4-FFF2-40B4-BE49-F238E27FC236}">
                  <a16:creationId xmlns:a16="http://schemas.microsoft.com/office/drawing/2014/main" id="{86DFDFC2-EF99-251D-231A-0840293304CD}"/>
                </a:ext>
              </a:extLst>
            </p:cNvPr>
            <p:cNvSpPr>
              <a:spLocks/>
            </p:cNvSpPr>
            <p:nvPr/>
          </p:nvSpPr>
          <p:spPr bwMode="auto">
            <a:xfrm>
              <a:off x="1885950" y="7559675"/>
              <a:ext cx="42862" cy="109538"/>
            </a:xfrm>
            <a:custGeom>
              <a:avLst/>
              <a:gdLst>
                <a:gd name="T0" fmla="*/ 14 w 18"/>
                <a:gd name="T1" fmla="*/ 0 h 47"/>
                <a:gd name="T2" fmla="*/ 8 w 18"/>
                <a:gd name="T3" fmla="*/ 4 h 47"/>
                <a:gd name="T4" fmla="*/ 1 w 18"/>
                <a:gd name="T5" fmla="*/ 41 h 47"/>
                <a:gd name="T6" fmla="*/ 5 w 18"/>
                <a:gd name="T7" fmla="*/ 47 h 47"/>
                <a:gd name="T8" fmla="*/ 6 w 18"/>
                <a:gd name="T9" fmla="*/ 47 h 47"/>
                <a:gd name="T10" fmla="*/ 11 w 18"/>
                <a:gd name="T11" fmla="*/ 43 h 47"/>
                <a:gd name="T12" fmla="*/ 18 w 18"/>
                <a:gd name="T13" fmla="*/ 6 h 47"/>
                <a:gd name="T14" fmla="*/ 14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14" y="0"/>
                  </a:moveTo>
                  <a:cubicBezTo>
                    <a:pt x="11" y="0"/>
                    <a:pt x="9" y="1"/>
                    <a:pt x="8" y="4"/>
                  </a:cubicBezTo>
                  <a:cubicBezTo>
                    <a:pt x="1" y="41"/>
                    <a:pt x="1" y="41"/>
                    <a:pt x="1" y="41"/>
                  </a:cubicBezTo>
                  <a:cubicBezTo>
                    <a:pt x="0" y="44"/>
                    <a:pt x="2" y="46"/>
                    <a:pt x="5" y="47"/>
                  </a:cubicBezTo>
                  <a:cubicBezTo>
                    <a:pt x="5" y="47"/>
                    <a:pt x="5" y="47"/>
                    <a:pt x="6" y="47"/>
                  </a:cubicBezTo>
                  <a:cubicBezTo>
                    <a:pt x="8" y="47"/>
                    <a:pt x="10" y="45"/>
                    <a:pt x="11" y="43"/>
                  </a:cubicBezTo>
                  <a:cubicBezTo>
                    <a:pt x="18" y="6"/>
                    <a:pt x="18" y="6"/>
                    <a:pt x="18" y="6"/>
                  </a:cubicBezTo>
                  <a:cubicBezTo>
                    <a:pt x="18" y="3"/>
                    <a:pt x="16" y="1"/>
                    <a:pt x="14"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6" name="Freeform 183">
              <a:extLst>
                <a:ext uri="{FF2B5EF4-FFF2-40B4-BE49-F238E27FC236}">
                  <a16:creationId xmlns:a16="http://schemas.microsoft.com/office/drawing/2014/main" id="{B5779AA8-E145-232C-1C65-C14E5959EA8E}"/>
                </a:ext>
              </a:extLst>
            </p:cNvPr>
            <p:cNvSpPr>
              <a:spLocks/>
            </p:cNvSpPr>
            <p:nvPr/>
          </p:nvSpPr>
          <p:spPr bwMode="auto">
            <a:xfrm>
              <a:off x="2116138" y="7559675"/>
              <a:ext cx="41275" cy="109538"/>
            </a:xfrm>
            <a:custGeom>
              <a:avLst/>
              <a:gdLst>
                <a:gd name="T0" fmla="*/ 4 w 18"/>
                <a:gd name="T1" fmla="*/ 0 h 47"/>
                <a:gd name="T2" fmla="*/ 0 w 18"/>
                <a:gd name="T3" fmla="*/ 6 h 47"/>
                <a:gd name="T4" fmla="*/ 8 w 18"/>
                <a:gd name="T5" fmla="*/ 43 h 47"/>
                <a:gd name="T6" fmla="*/ 12 w 18"/>
                <a:gd name="T7" fmla="*/ 47 h 47"/>
                <a:gd name="T8" fmla="*/ 13 w 18"/>
                <a:gd name="T9" fmla="*/ 47 h 47"/>
                <a:gd name="T10" fmla="*/ 17 w 18"/>
                <a:gd name="T11" fmla="*/ 41 h 47"/>
                <a:gd name="T12" fmla="*/ 10 w 18"/>
                <a:gd name="T13" fmla="*/ 4 h 47"/>
                <a:gd name="T14" fmla="*/ 4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4" y="0"/>
                  </a:moveTo>
                  <a:cubicBezTo>
                    <a:pt x="2" y="1"/>
                    <a:pt x="0" y="3"/>
                    <a:pt x="0" y="6"/>
                  </a:cubicBezTo>
                  <a:cubicBezTo>
                    <a:pt x="8" y="43"/>
                    <a:pt x="8" y="43"/>
                    <a:pt x="8" y="43"/>
                  </a:cubicBezTo>
                  <a:cubicBezTo>
                    <a:pt x="8" y="45"/>
                    <a:pt x="10" y="47"/>
                    <a:pt x="12" y="47"/>
                  </a:cubicBezTo>
                  <a:cubicBezTo>
                    <a:pt x="13" y="47"/>
                    <a:pt x="13" y="47"/>
                    <a:pt x="13" y="47"/>
                  </a:cubicBezTo>
                  <a:cubicBezTo>
                    <a:pt x="16" y="46"/>
                    <a:pt x="18" y="44"/>
                    <a:pt x="17" y="41"/>
                  </a:cubicBezTo>
                  <a:cubicBezTo>
                    <a:pt x="10" y="4"/>
                    <a:pt x="10" y="4"/>
                    <a:pt x="10" y="4"/>
                  </a:cubicBezTo>
                  <a:cubicBezTo>
                    <a:pt x="10" y="1"/>
                    <a:pt x="7" y="0"/>
                    <a:pt x="4"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7" name="Freeform 184">
              <a:extLst>
                <a:ext uri="{FF2B5EF4-FFF2-40B4-BE49-F238E27FC236}">
                  <a16:creationId xmlns:a16="http://schemas.microsoft.com/office/drawing/2014/main" id="{87E8A792-33FD-BF93-31D9-95D7D82E561C}"/>
                </a:ext>
              </a:extLst>
            </p:cNvPr>
            <p:cNvSpPr>
              <a:spLocks noEditPoints="1"/>
            </p:cNvSpPr>
            <p:nvPr/>
          </p:nvSpPr>
          <p:spPr bwMode="auto">
            <a:xfrm>
              <a:off x="1738313" y="7102475"/>
              <a:ext cx="568325" cy="434975"/>
            </a:xfrm>
            <a:custGeom>
              <a:avLst/>
              <a:gdLst>
                <a:gd name="T0" fmla="*/ 240 w 245"/>
                <a:gd name="T1" fmla="*/ 18 h 187"/>
                <a:gd name="T2" fmla="*/ 160 w 245"/>
                <a:gd name="T3" fmla="*/ 18 h 187"/>
                <a:gd name="T4" fmla="*/ 160 w 245"/>
                <a:gd name="T5" fmla="*/ 5 h 187"/>
                <a:gd name="T6" fmla="*/ 155 w 245"/>
                <a:gd name="T7" fmla="*/ 0 h 187"/>
                <a:gd name="T8" fmla="*/ 150 w 245"/>
                <a:gd name="T9" fmla="*/ 5 h 187"/>
                <a:gd name="T10" fmla="*/ 150 w 245"/>
                <a:gd name="T11" fmla="*/ 18 h 187"/>
                <a:gd name="T12" fmla="*/ 93 w 245"/>
                <a:gd name="T13" fmla="*/ 18 h 187"/>
                <a:gd name="T14" fmla="*/ 93 w 245"/>
                <a:gd name="T15" fmla="*/ 5 h 187"/>
                <a:gd name="T16" fmla="*/ 88 w 245"/>
                <a:gd name="T17" fmla="*/ 0 h 187"/>
                <a:gd name="T18" fmla="*/ 83 w 245"/>
                <a:gd name="T19" fmla="*/ 5 h 187"/>
                <a:gd name="T20" fmla="*/ 83 w 245"/>
                <a:gd name="T21" fmla="*/ 18 h 187"/>
                <a:gd name="T22" fmla="*/ 5 w 245"/>
                <a:gd name="T23" fmla="*/ 18 h 187"/>
                <a:gd name="T24" fmla="*/ 0 w 245"/>
                <a:gd name="T25" fmla="*/ 23 h 187"/>
                <a:gd name="T26" fmla="*/ 0 w 245"/>
                <a:gd name="T27" fmla="*/ 182 h 187"/>
                <a:gd name="T28" fmla="*/ 5 w 245"/>
                <a:gd name="T29" fmla="*/ 187 h 187"/>
                <a:gd name="T30" fmla="*/ 240 w 245"/>
                <a:gd name="T31" fmla="*/ 187 h 187"/>
                <a:gd name="T32" fmla="*/ 245 w 245"/>
                <a:gd name="T33" fmla="*/ 182 h 187"/>
                <a:gd name="T34" fmla="*/ 245 w 245"/>
                <a:gd name="T35" fmla="*/ 23 h 187"/>
                <a:gd name="T36" fmla="*/ 240 w 245"/>
                <a:gd name="T37" fmla="*/ 18 h 187"/>
                <a:gd name="T38" fmla="*/ 235 w 245"/>
                <a:gd name="T39" fmla="*/ 177 h 187"/>
                <a:gd name="T40" fmla="*/ 10 w 245"/>
                <a:gd name="T41" fmla="*/ 177 h 187"/>
                <a:gd name="T42" fmla="*/ 10 w 245"/>
                <a:gd name="T43" fmla="*/ 27 h 187"/>
                <a:gd name="T44" fmla="*/ 235 w 245"/>
                <a:gd name="T45" fmla="*/ 27 h 187"/>
                <a:gd name="T46" fmla="*/ 235 w 245"/>
                <a:gd name="T4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87">
                  <a:moveTo>
                    <a:pt x="240" y="18"/>
                  </a:moveTo>
                  <a:cubicBezTo>
                    <a:pt x="160" y="18"/>
                    <a:pt x="160" y="18"/>
                    <a:pt x="160" y="18"/>
                  </a:cubicBezTo>
                  <a:cubicBezTo>
                    <a:pt x="160" y="5"/>
                    <a:pt x="160" y="5"/>
                    <a:pt x="160" y="5"/>
                  </a:cubicBezTo>
                  <a:cubicBezTo>
                    <a:pt x="160" y="2"/>
                    <a:pt x="158" y="0"/>
                    <a:pt x="155" y="0"/>
                  </a:cubicBezTo>
                  <a:cubicBezTo>
                    <a:pt x="153" y="0"/>
                    <a:pt x="150" y="2"/>
                    <a:pt x="150" y="5"/>
                  </a:cubicBezTo>
                  <a:cubicBezTo>
                    <a:pt x="150" y="18"/>
                    <a:pt x="150" y="18"/>
                    <a:pt x="150" y="18"/>
                  </a:cubicBezTo>
                  <a:cubicBezTo>
                    <a:pt x="93" y="18"/>
                    <a:pt x="93" y="18"/>
                    <a:pt x="93" y="18"/>
                  </a:cubicBezTo>
                  <a:cubicBezTo>
                    <a:pt x="93" y="5"/>
                    <a:pt x="93" y="5"/>
                    <a:pt x="93" y="5"/>
                  </a:cubicBezTo>
                  <a:cubicBezTo>
                    <a:pt x="93" y="2"/>
                    <a:pt x="91" y="0"/>
                    <a:pt x="88" y="0"/>
                  </a:cubicBezTo>
                  <a:cubicBezTo>
                    <a:pt x="85" y="0"/>
                    <a:pt x="83" y="2"/>
                    <a:pt x="83" y="5"/>
                  </a:cubicBezTo>
                  <a:cubicBezTo>
                    <a:pt x="83" y="18"/>
                    <a:pt x="83" y="18"/>
                    <a:pt x="83" y="18"/>
                  </a:cubicBezTo>
                  <a:cubicBezTo>
                    <a:pt x="5" y="18"/>
                    <a:pt x="5" y="18"/>
                    <a:pt x="5" y="18"/>
                  </a:cubicBezTo>
                  <a:cubicBezTo>
                    <a:pt x="2" y="18"/>
                    <a:pt x="0" y="20"/>
                    <a:pt x="0" y="23"/>
                  </a:cubicBezTo>
                  <a:cubicBezTo>
                    <a:pt x="0" y="182"/>
                    <a:pt x="0" y="182"/>
                    <a:pt x="0" y="182"/>
                  </a:cubicBezTo>
                  <a:cubicBezTo>
                    <a:pt x="0" y="185"/>
                    <a:pt x="2" y="187"/>
                    <a:pt x="5" y="187"/>
                  </a:cubicBezTo>
                  <a:cubicBezTo>
                    <a:pt x="240" y="187"/>
                    <a:pt x="240" y="187"/>
                    <a:pt x="240" y="187"/>
                  </a:cubicBezTo>
                  <a:cubicBezTo>
                    <a:pt x="243" y="187"/>
                    <a:pt x="245" y="185"/>
                    <a:pt x="245" y="182"/>
                  </a:cubicBezTo>
                  <a:cubicBezTo>
                    <a:pt x="245" y="23"/>
                    <a:pt x="245" y="23"/>
                    <a:pt x="245" y="23"/>
                  </a:cubicBezTo>
                  <a:cubicBezTo>
                    <a:pt x="245" y="20"/>
                    <a:pt x="243" y="18"/>
                    <a:pt x="240" y="18"/>
                  </a:cubicBezTo>
                  <a:close/>
                  <a:moveTo>
                    <a:pt x="235" y="177"/>
                  </a:moveTo>
                  <a:cubicBezTo>
                    <a:pt x="10" y="177"/>
                    <a:pt x="10" y="177"/>
                    <a:pt x="10" y="177"/>
                  </a:cubicBezTo>
                  <a:cubicBezTo>
                    <a:pt x="10" y="27"/>
                    <a:pt x="10" y="27"/>
                    <a:pt x="10" y="27"/>
                  </a:cubicBezTo>
                  <a:cubicBezTo>
                    <a:pt x="235" y="27"/>
                    <a:pt x="235" y="27"/>
                    <a:pt x="235" y="27"/>
                  </a:cubicBezTo>
                  <a:lnTo>
                    <a:pt x="235"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8" name="Freeform 185">
              <a:extLst>
                <a:ext uri="{FF2B5EF4-FFF2-40B4-BE49-F238E27FC236}">
                  <a16:creationId xmlns:a16="http://schemas.microsoft.com/office/drawing/2014/main" id="{2A61EBD1-1C7C-0EBC-22C6-0D1E7742C185}"/>
                </a:ext>
              </a:extLst>
            </p:cNvPr>
            <p:cNvSpPr>
              <a:spLocks noEditPoints="1"/>
            </p:cNvSpPr>
            <p:nvPr/>
          </p:nvSpPr>
          <p:spPr bwMode="auto">
            <a:xfrm>
              <a:off x="1803400" y="7212013"/>
              <a:ext cx="438150" cy="257175"/>
            </a:xfrm>
            <a:custGeom>
              <a:avLst/>
              <a:gdLst>
                <a:gd name="T0" fmla="*/ 14 w 189"/>
                <a:gd name="T1" fmla="*/ 62 h 111"/>
                <a:gd name="T2" fmla="*/ 28 w 189"/>
                <a:gd name="T3" fmla="*/ 48 h 111"/>
                <a:gd name="T4" fmla="*/ 28 w 189"/>
                <a:gd name="T5" fmla="*/ 45 h 111"/>
                <a:gd name="T6" fmla="*/ 59 w 189"/>
                <a:gd name="T7" fmla="*/ 25 h 111"/>
                <a:gd name="T8" fmla="*/ 68 w 189"/>
                <a:gd name="T9" fmla="*/ 28 h 111"/>
                <a:gd name="T10" fmla="*/ 68 w 189"/>
                <a:gd name="T11" fmla="*/ 28 h 111"/>
                <a:gd name="T12" fmla="*/ 71 w 189"/>
                <a:gd name="T13" fmla="*/ 28 h 111"/>
                <a:gd name="T14" fmla="*/ 110 w 189"/>
                <a:gd name="T15" fmla="*/ 88 h 111"/>
                <a:gd name="T16" fmla="*/ 107 w 189"/>
                <a:gd name="T17" fmla="*/ 97 h 111"/>
                <a:gd name="T18" fmla="*/ 121 w 189"/>
                <a:gd name="T19" fmla="*/ 111 h 111"/>
                <a:gd name="T20" fmla="*/ 121 w 189"/>
                <a:gd name="T21" fmla="*/ 111 h 111"/>
                <a:gd name="T22" fmla="*/ 135 w 189"/>
                <a:gd name="T23" fmla="*/ 97 h 111"/>
                <a:gd name="T24" fmla="*/ 134 w 189"/>
                <a:gd name="T25" fmla="*/ 90 h 111"/>
                <a:gd name="T26" fmla="*/ 170 w 189"/>
                <a:gd name="T27" fmla="*/ 51 h 111"/>
                <a:gd name="T28" fmla="*/ 175 w 189"/>
                <a:gd name="T29" fmla="*/ 52 h 111"/>
                <a:gd name="T30" fmla="*/ 175 w 189"/>
                <a:gd name="T31" fmla="*/ 52 h 111"/>
                <a:gd name="T32" fmla="*/ 189 w 189"/>
                <a:gd name="T33" fmla="*/ 38 h 111"/>
                <a:gd name="T34" fmla="*/ 175 w 189"/>
                <a:gd name="T35" fmla="*/ 24 h 111"/>
                <a:gd name="T36" fmla="*/ 161 w 189"/>
                <a:gd name="T37" fmla="*/ 38 h 111"/>
                <a:gd name="T38" fmla="*/ 162 w 189"/>
                <a:gd name="T39" fmla="*/ 45 h 111"/>
                <a:gd name="T40" fmla="*/ 127 w 189"/>
                <a:gd name="T41" fmla="*/ 84 h 111"/>
                <a:gd name="T42" fmla="*/ 121 w 189"/>
                <a:gd name="T43" fmla="*/ 83 h 111"/>
                <a:gd name="T44" fmla="*/ 118 w 189"/>
                <a:gd name="T45" fmla="*/ 83 h 111"/>
                <a:gd name="T46" fmla="*/ 79 w 189"/>
                <a:gd name="T47" fmla="*/ 22 h 111"/>
                <a:gd name="T48" fmla="*/ 82 w 189"/>
                <a:gd name="T49" fmla="*/ 14 h 111"/>
                <a:gd name="T50" fmla="*/ 68 w 189"/>
                <a:gd name="T51" fmla="*/ 0 h 111"/>
                <a:gd name="T52" fmla="*/ 54 w 189"/>
                <a:gd name="T53" fmla="*/ 14 h 111"/>
                <a:gd name="T54" fmla="*/ 54 w 189"/>
                <a:gd name="T55" fmla="*/ 17 h 111"/>
                <a:gd name="T56" fmla="*/ 23 w 189"/>
                <a:gd name="T57" fmla="*/ 37 h 111"/>
                <a:gd name="T58" fmla="*/ 14 w 189"/>
                <a:gd name="T59" fmla="*/ 34 h 111"/>
                <a:gd name="T60" fmla="*/ 0 w 189"/>
                <a:gd name="T61" fmla="*/ 48 h 111"/>
                <a:gd name="T62" fmla="*/ 14 w 189"/>
                <a:gd name="T63" fmla="*/ 62 h 111"/>
                <a:gd name="T64" fmla="*/ 175 w 189"/>
                <a:gd name="T65" fmla="*/ 34 h 111"/>
                <a:gd name="T66" fmla="*/ 179 w 189"/>
                <a:gd name="T67" fmla="*/ 38 h 111"/>
                <a:gd name="T68" fmla="*/ 175 w 189"/>
                <a:gd name="T69" fmla="*/ 42 h 111"/>
                <a:gd name="T70" fmla="*/ 171 w 189"/>
                <a:gd name="T71" fmla="*/ 38 h 111"/>
                <a:gd name="T72" fmla="*/ 175 w 189"/>
                <a:gd name="T73" fmla="*/ 34 h 111"/>
                <a:gd name="T74" fmla="*/ 121 w 189"/>
                <a:gd name="T75" fmla="*/ 93 h 111"/>
                <a:gd name="T76" fmla="*/ 126 w 189"/>
                <a:gd name="T77" fmla="*/ 97 h 111"/>
                <a:gd name="T78" fmla="*/ 121 w 189"/>
                <a:gd name="T79" fmla="*/ 101 h 111"/>
                <a:gd name="T80" fmla="*/ 117 w 189"/>
                <a:gd name="T81" fmla="*/ 97 h 111"/>
                <a:gd name="T82" fmla="*/ 118 w 189"/>
                <a:gd name="T83" fmla="*/ 94 h 111"/>
                <a:gd name="T84" fmla="*/ 121 w 189"/>
                <a:gd name="T85" fmla="*/ 93 h 111"/>
                <a:gd name="T86" fmla="*/ 65 w 189"/>
                <a:gd name="T87" fmla="*/ 11 h 111"/>
                <a:gd name="T88" fmla="*/ 68 w 189"/>
                <a:gd name="T89" fmla="*/ 10 h 111"/>
                <a:gd name="T90" fmla="*/ 72 w 189"/>
                <a:gd name="T91" fmla="*/ 14 h 111"/>
                <a:gd name="T92" fmla="*/ 68 w 189"/>
                <a:gd name="T93" fmla="*/ 18 h 111"/>
                <a:gd name="T94" fmla="*/ 64 w 189"/>
                <a:gd name="T95" fmla="*/ 14 h 111"/>
                <a:gd name="T96" fmla="*/ 65 w 189"/>
                <a:gd name="T97" fmla="*/ 11 h 111"/>
                <a:gd name="T98" fmla="*/ 14 w 189"/>
                <a:gd name="T99" fmla="*/ 44 h 111"/>
                <a:gd name="T100" fmla="*/ 18 w 189"/>
                <a:gd name="T101" fmla="*/ 48 h 111"/>
                <a:gd name="T102" fmla="*/ 14 w 189"/>
                <a:gd name="T103" fmla="*/ 52 h 111"/>
                <a:gd name="T104" fmla="*/ 10 w 189"/>
                <a:gd name="T105" fmla="*/ 48 h 111"/>
                <a:gd name="T106" fmla="*/ 14 w 189"/>
                <a:gd name="T107" fmla="*/ 4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11">
                  <a:moveTo>
                    <a:pt x="14" y="62"/>
                  </a:moveTo>
                  <a:cubicBezTo>
                    <a:pt x="22" y="62"/>
                    <a:pt x="28" y="56"/>
                    <a:pt x="28" y="48"/>
                  </a:cubicBezTo>
                  <a:cubicBezTo>
                    <a:pt x="28" y="47"/>
                    <a:pt x="28" y="46"/>
                    <a:pt x="28" y="45"/>
                  </a:cubicBezTo>
                  <a:cubicBezTo>
                    <a:pt x="59" y="25"/>
                    <a:pt x="59" y="25"/>
                    <a:pt x="59" y="25"/>
                  </a:cubicBezTo>
                  <a:cubicBezTo>
                    <a:pt x="62" y="27"/>
                    <a:pt x="65" y="28"/>
                    <a:pt x="68" y="28"/>
                  </a:cubicBezTo>
                  <a:cubicBezTo>
                    <a:pt x="68" y="28"/>
                    <a:pt x="68" y="28"/>
                    <a:pt x="68" y="28"/>
                  </a:cubicBezTo>
                  <a:cubicBezTo>
                    <a:pt x="69" y="28"/>
                    <a:pt x="70" y="28"/>
                    <a:pt x="71" y="28"/>
                  </a:cubicBezTo>
                  <a:cubicBezTo>
                    <a:pt x="110" y="88"/>
                    <a:pt x="110" y="88"/>
                    <a:pt x="110" y="88"/>
                  </a:cubicBezTo>
                  <a:cubicBezTo>
                    <a:pt x="108" y="91"/>
                    <a:pt x="107" y="94"/>
                    <a:pt x="107" y="97"/>
                  </a:cubicBezTo>
                  <a:cubicBezTo>
                    <a:pt x="107" y="104"/>
                    <a:pt x="114" y="111"/>
                    <a:pt x="121" y="111"/>
                  </a:cubicBezTo>
                  <a:cubicBezTo>
                    <a:pt x="121" y="111"/>
                    <a:pt x="121" y="111"/>
                    <a:pt x="121" y="111"/>
                  </a:cubicBezTo>
                  <a:cubicBezTo>
                    <a:pt x="129" y="111"/>
                    <a:pt x="135" y="104"/>
                    <a:pt x="135" y="97"/>
                  </a:cubicBezTo>
                  <a:cubicBezTo>
                    <a:pt x="135" y="94"/>
                    <a:pt x="135" y="92"/>
                    <a:pt x="134" y="90"/>
                  </a:cubicBezTo>
                  <a:cubicBezTo>
                    <a:pt x="170" y="51"/>
                    <a:pt x="170" y="51"/>
                    <a:pt x="170" y="51"/>
                  </a:cubicBezTo>
                  <a:cubicBezTo>
                    <a:pt x="171" y="52"/>
                    <a:pt x="173" y="52"/>
                    <a:pt x="175" y="52"/>
                  </a:cubicBezTo>
                  <a:cubicBezTo>
                    <a:pt x="175" y="52"/>
                    <a:pt x="175" y="52"/>
                    <a:pt x="175" y="52"/>
                  </a:cubicBezTo>
                  <a:cubicBezTo>
                    <a:pt x="183" y="52"/>
                    <a:pt x="189" y="46"/>
                    <a:pt x="189" y="38"/>
                  </a:cubicBezTo>
                  <a:cubicBezTo>
                    <a:pt x="189" y="30"/>
                    <a:pt x="183" y="24"/>
                    <a:pt x="175" y="24"/>
                  </a:cubicBezTo>
                  <a:cubicBezTo>
                    <a:pt x="167" y="24"/>
                    <a:pt x="161" y="30"/>
                    <a:pt x="161" y="38"/>
                  </a:cubicBezTo>
                  <a:cubicBezTo>
                    <a:pt x="161" y="41"/>
                    <a:pt x="162" y="43"/>
                    <a:pt x="162" y="45"/>
                  </a:cubicBezTo>
                  <a:cubicBezTo>
                    <a:pt x="127" y="84"/>
                    <a:pt x="127" y="84"/>
                    <a:pt x="127" y="84"/>
                  </a:cubicBezTo>
                  <a:cubicBezTo>
                    <a:pt x="125" y="83"/>
                    <a:pt x="123" y="83"/>
                    <a:pt x="121" y="83"/>
                  </a:cubicBezTo>
                  <a:cubicBezTo>
                    <a:pt x="120" y="83"/>
                    <a:pt x="119" y="83"/>
                    <a:pt x="118" y="83"/>
                  </a:cubicBezTo>
                  <a:cubicBezTo>
                    <a:pt x="79" y="22"/>
                    <a:pt x="79" y="22"/>
                    <a:pt x="79" y="22"/>
                  </a:cubicBezTo>
                  <a:cubicBezTo>
                    <a:pt x="81" y="20"/>
                    <a:pt x="82" y="17"/>
                    <a:pt x="82" y="14"/>
                  </a:cubicBezTo>
                  <a:cubicBezTo>
                    <a:pt x="82" y="6"/>
                    <a:pt x="76" y="0"/>
                    <a:pt x="68" y="0"/>
                  </a:cubicBezTo>
                  <a:cubicBezTo>
                    <a:pt x="60" y="0"/>
                    <a:pt x="54" y="6"/>
                    <a:pt x="54" y="14"/>
                  </a:cubicBezTo>
                  <a:cubicBezTo>
                    <a:pt x="54" y="15"/>
                    <a:pt x="54" y="16"/>
                    <a:pt x="54" y="17"/>
                  </a:cubicBezTo>
                  <a:cubicBezTo>
                    <a:pt x="23" y="37"/>
                    <a:pt x="23" y="37"/>
                    <a:pt x="23" y="37"/>
                  </a:cubicBezTo>
                  <a:cubicBezTo>
                    <a:pt x="20" y="35"/>
                    <a:pt x="17" y="34"/>
                    <a:pt x="14" y="34"/>
                  </a:cubicBezTo>
                  <a:cubicBezTo>
                    <a:pt x="6" y="34"/>
                    <a:pt x="0" y="40"/>
                    <a:pt x="0" y="48"/>
                  </a:cubicBezTo>
                  <a:cubicBezTo>
                    <a:pt x="0" y="56"/>
                    <a:pt x="6" y="62"/>
                    <a:pt x="14" y="62"/>
                  </a:cubicBezTo>
                  <a:close/>
                  <a:moveTo>
                    <a:pt x="175" y="34"/>
                  </a:moveTo>
                  <a:cubicBezTo>
                    <a:pt x="177" y="34"/>
                    <a:pt x="179" y="36"/>
                    <a:pt x="179" y="38"/>
                  </a:cubicBezTo>
                  <a:cubicBezTo>
                    <a:pt x="179" y="41"/>
                    <a:pt x="177" y="42"/>
                    <a:pt x="175" y="42"/>
                  </a:cubicBezTo>
                  <a:cubicBezTo>
                    <a:pt x="173" y="42"/>
                    <a:pt x="171" y="41"/>
                    <a:pt x="171" y="38"/>
                  </a:cubicBezTo>
                  <a:cubicBezTo>
                    <a:pt x="171" y="36"/>
                    <a:pt x="173" y="34"/>
                    <a:pt x="175" y="34"/>
                  </a:cubicBezTo>
                  <a:close/>
                  <a:moveTo>
                    <a:pt x="121" y="93"/>
                  </a:moveTo>
                  <a:cubicBezTo>
                    <a:pt x="124" y="93"/>
                    <a:pt x="126" y="94"/>
                    <a:pt x="126" y="97"/>
                  </a:cubicBezTo>
                  <a:cubicBezTo>
                    <a:pt x="126" y="99"/>
                    <a:pt x="124" y="101"/>
                    <a:pt x="121" y="101"/>
                  </a:cubicBezTo>
                  <a:cubicBezTo>
                    <a:pt x="119" y="101"/>
                    <a:pt x="117" y="99"/>
                    <a:pt x="117" y="97"/>
                  </a:cubicBezTo>
                  <a:cubicBezTo>
                    <a:pt x="117" y="96"/>
                    <a:pt x="118" y="95"/>
                    <a:pt x="118" y="94"/>
                  </a:cubicBezTo>
                  <a:cubicBezTo>
                    <a:pt x="119" y="93"/>
                    <a:pt x="120" y="93"/>
                    <a:pt x="121" y="93"/>
                  </a:cubicBezTo>
                  <a:close/>
                  <a:moveTo>
                    <a:pt x="65" y="11"/>
                  </a:moveTo>
                  <a:cubicBezTo>
                    <a:pt x="66" y="10"/>
                    <a:pt x="67" y="10"/>
                    <a:pt x="68" y="10"/>
                  </a:cubicBezTo>
                  <a:cubicBezTo>
                    <a:pt x="70" y="10"/>
                    <a:pt x="72" y="12"/>
                    <a:pt x="72" y="14"/>
                  </a:cubicBezTo>
                  <a:cubicBezTo>
                    <a:pt x="72" y="16"/>
                    <a:pt x="70" y="18"/>
                    <a:pt x="68" y="18"/>
                  </a:cubicBezTo>
                  <a:cubicBezTo>
                    <a:pt x="65" y="18"/>
                    <a:pt x="64" y="16"/>
                    <a:pt x="64" y="14"/>
                  </a:cubicBezTo>
                  <a:cubicBezTo>
                    <a:pt x="64" y="13"/>
                    <a:pt x="64" y="12"/>
                    <a:pt x="65" y="11"/>
                  </a:cubicBezTo>
                  <a:close/>
                  <a:moveTo>
                    <a:pt x="14" y="44"/>
                  </a:moveTo>
                  <a:cubicBezTo>
                    <a:pt x="17" y="44"/>
                    <a:pt x="18" y="46"/>
                    <a:pt x="18" y="48"/>
                  </a:cubicBezTo>
                  <a:cubicBezTo>
                    <a:pt x="18" y="50"/>
                    <a:pt x="17" y="52"/>
                    <a:pt x="14" y="52"/>
                  </a:cubicBezTo>
                  <a:cubicBezTo>
                    <a:pt x="12" y="52"/>
                    <a:pt x="10" y="50"/>
                    <a:pt x="10" y="48"/>
                  </a:cubicBezTo>
                  <a:cubicBezTo>
                    <a:pt x="10" y="46"/>
                    <a:pt x="12" y="44"/>
                    <a:pt x="14" y="4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53" name="Rectangle: Top Corners Rounded 52">
            <a:extLst>
              <a:ext uri="{FF2B5EF4-FFF2-40B4-BE49-F238E27FC236}">
                <a16:creationId xmlns:a16="http://schemas.microsoft.com/office/drawing/2014/main" id="{43DC4EF5-6963-E5DE-C0CC-1471F8D02093}"/>
              </a:ext>
            </a:extLst>
          </p:cNvPr>
          <p:cNvSpPr/>
          <p:nvPr/>
        </p:nvSpPr>
        <p:spPr bwMode="gray">
          <a:xfrm>
            <a:off x="914399" y="5200111"/>
            <a:ext cx="10271761" cy="1239978"/>
          </a:xfrm>
          <a:prstGeom prst="round2SameRect">
            <a:avLst>
              <a:gd name="adj1" fmla="val 0"/>
              <a:gd name="adj2" fmla="val 18026"/>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TextBox 53">
            <a:extLst>
              <a:ext uri="{FF2B5EF4-FFF2-40B4-BE49-F238E27FC236}">
                <a16:creationId xmlns:a16="http://schemas.microsoft.com/office/drawing/2014/main" id="{8E77852C-3475-7CF5-0611-2316C510A018}"/>
              </a:ext>
            </a:extLst>
          </p:cNvPr>
          <p:cNvSpPr txBox="1"/>
          <p:nvPr/>
        </p:nvSpPr>
        <p:spPr>
          <a:xfrm rot="16200000">
            <a:off x="516810" y="5739157"/>
            <a:ext cx="1147337" cy="1692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100" b="1" u="none" strike="noStrike" kern="0" cap="none" spc="0" normalizeH="0" baseline="0" noProof="0" dirty="0" err="1">
                <a:ln>
                  <a:noFill/>
                </a:ln>
                <a:solidFill>
                  <a:srgbClr val="000000"/>
                </a:solidFill>
                <a:effectLst/>
                <a:uLnTx/>
                <a:uFillTx/>
                <a:latin typeface="Open Sans"/>
                <a:ea typeface="+mn-ea"/>
                <a:cs typeface="Open Sans SemiBold" panose="020B0606030504020204" pitchFamily="34" charset="0"/>
              </a:rPr>
              <a:t>Deliverables</a:t>
            </a:r>
            <a:endParaRPr kumimoji="0" lang="en-US" sz="1100" b="1" u="none" strike="noStrike" kern="0" cap="none" spc="0" normalizeH="0" baseline="0" noProof="0" dirty="0">
              <a:ln>
                <a:noFill/>
              </a:ln>
              <a:solidFill>
                <a:srgbClr val="000000"/>
              </a:solidFill>
              <a:effectLst/>
              <a:uLnTx/>
              <a:uFillTx/>
              <a:latin typeface="Open Sans"/>
              <a:ea typeface="+mn-ea"/>
              <a:cs typeface="Open Sans SemiBold" panose="020B0606030504020204" pitchFamily="34" charset="0"/>
            </a:endParaRPr>
          </a:p>
        </p:txBody>
      </p:sp>
      <p:graphicFrame>
        <p:nvGraphicFramePr>
          <p:cNvPr id="55" name="Table 54">
            <a:extLst>
              <a:ext uri="{FF2B5EF4-FFF2-40B4-BE49-F238E27FC236}">
                <a16:creationId xmlns:a16="http://schemas.microsoft.com/office/drawing/2014/main" id="{3B6CF3AA-9BE8-C187-C714-BE6EBCF3CE69}"/>
              </a:ext>
            </a:extLst>
          </p:cNvPr>
          <p:cNvGraphicFramePr>
            <a:graphicFrameLocks noGrp="1"/>
          </p:cNvGraphicFramePr>
          <p:nvPr>
            <p:extLst>
              <p:ext uri="{D42A27DB-BD31-4B8C-83A1-F6EECF244321}">
                <p14:modId xmlns:p14="http://schemas.microsoft.com/office/powerpoint/2010/main" val="3175715955"/>
              </p:ext>
            </p:extLst>
          </p:nvPr>
        </p:nvGraphicFramePr>
        <p:xfrm>
          <a:off x="1427224" y="5272961"/>
          <a:ext cx="9657336" cy="1063797"/>
        </p:xfrm>
        <a:graphic>
          <a:graphicData uri="http://schemas.openxmlformats.org/drawingml/2006/table">
            <a:tbl>
              <a:tblPr firstRow="1" bandRow="1">
                <a:effectLst>
                  <a:outerShdw blurRad="50800" dist="38100" dir="5400000" algn="t" rotWithShape="0">
                    <a:prstClr val="black">
                      <a:alpha val="40000"/>
                    </a:prstClr>
                  </a:outerShdw>
                </a:effectLst>
                <a:tableStyleId>{00A15C55-8517-42AA-B614-E9B94910E393}</a:tableStyleId>
              </a:tblPr>
              <a:tblGrid>
                <a:gridCol w="2897889">
                  <a:extLst>
                    <a:ext uri="{9D8B030D-6E8A-4147-A177-3AD203B41FA5}">
                      <a16:colId xmlns:a16="http://schemas.microsoft.com/office/drawing/2014/main" val="20000"/>
                    </a:ext>
                  </a:extLst>
                </a:gridCol>
                <a:gridCol w="3676751">
                  <a:extLst>
                    <a:ext uri="{9D8B030D-6E8A-4147-A177-3AD203B41FA5}">
                      <a16:colId xmlns:a16="http://schemas.microsoft.com/office/drawing/2014/main" val="20001"/>
                    </a:ext>
                  </a:extLst>
                </a:gridCol>
                <a:gridCol w="1515220">
                  <a:extLst>
                    <a:ext uri="{9D8B030D-6E8A-4147-A177-3AD203B41FA5}">
                      <a16:colId xmlns:a16="http://schemas.microsoft.com/office/drawing/2014/main" val="20002"/>
                    </a:ext>
                  </a:extLst>
                </a:gridCol>
                <a:gridCol w="1567476">
                  <a:extLst>
                    <a:ext uri="{9D8B030D-6E8A-4147-A177-3AD203B41FA5}">
                      <a16:colId xmlns:a16="http://schemas.microsoft.com/office/drawing/2014/main" val="20003"/>
                    </a:ext>
                  </a:extLst>
                </a:gridCol>
              </a:tblGrid>
              <a:tr h="214111">
                <a:tc>
                  <a:txBody>
                    <a:bodyPr/>
                    <a:lstStyle/>
                    <a:p>
                      <a:pPr algn="l"/>
                      <a:r>
                        <a:rPr lang="en-US" sz="1050" b="1"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Deliverable</a:t>
                      </a:r>
                      <a:endParaRPr lang="cs-CZ" sz="1050" b="1"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3"/>
                    </a:solidFill>
                  </a:tcPr>
                </a:tc>
                <a:tc>
                  <a:txBody>
                    <a:bodyPr/>
                    <a:lstStyle/>
                    <a:p>
                      <a:pPr algn="l"/>
                      <a:r>
                        <a:rPr lang="en-US" sz="1050" b="1"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Description</a:t>
                      </a:r>
                      <a:endParaRPr lang="cs-CZ" sz="1050" b="1"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3"/>
                    </a:solidFill>
                  </a:tcPr>
                </a:tc>
                <a:tc>
                  <a:txBody>
                    <a:bodyPr/>
                    <a:lstStyle/>
                    <a:p>
                      <a:pPr algn="l"/>
                      <a:r>
                        <a:rPr lang="en-US" sz="1050" b="1"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Format</a:t>
                      </a:r>
                      <a:endParaRPr lang="cs-CZ" sz="1050" b="1"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3"/>
                    </a:solidFill>
                  </a:tcPr>
                </a:tc>
                <a:tc>
                  <a:txBody>
                    <a:bodyPr/>
                    <a:lstStyle/>
                    <a:p>
                      <a:pPr algn="l"/>
                      <a:r>
                        <a:rPr lang="en-US" sz="1050" b="1"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sponsible</a:t>
                      </a:r>
                      <a:endParaRPr lang="cs-CZ" sz="1050" b="1" u="none" strike="noStrike" kern="1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solidFill>
                      <a:schemeClr val="accent3"/>
                    </a:solidFill>
                  </a:tcPr>
                </a:tc>
                <a:extLst>
                  <a:ext uri="{0D108BD9-81ED-4DB2-BD59-A6C34878D82A}">
                    <a16:rowId xmlns:a16="http://schemas.microsoft.com/office/drawing/2014/main" val="10000"/>
                  </a:ext>
                </a:extLst>
              </a:tr>
              <a:tr h="355137">
                <a:tc>
                  <a:txBody>
                    <a:bodyPr/>
                    <a:lstStyle/>
                    <a:p>
                      <a:pPr algn="l"/>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cored assessment spreadsheet</a:t>
                      </a:r>
                      <a:endParaRPr lang="cs-CZ"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R="36000" marT="0" marB="0" anchor="ctr">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marL="171450" indent="-171450" algn="l">
                        <a:buClr>
                          <a:schemeClr val="accent5"/>
                        </a:buClr>
                        <a:buFont typeface="Arial" panose="020B0604020202020204" pitchFamily="34" charset="0"/>
                        <a:buChar char="•"/>
                      </a:pPr>
                      <a:r>
                        <a:rPr lang="en-US" sz="10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Scored detailed assessment sheet, based on workshop outcomes</a:t>
                      </a:r>
                    </a:p>
                  </a:txBody>
                  <a:tcPr marR="36000" marT="0" marB="0" anchor="ctr">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marL="0" indent="0" algn="l">
                        <a:buClr>
                          <a:schemeClr val="accent5"/>
                        </a:buClr>
                        <a:buFont typeface="Wingdings" panose="05000000000000000000" pitchFamily="2" charset="2"/>
                        <a:buNone/>
                      </a:pPr>
                      <a:r>
                        <a:rPr lang="en-US" sz="10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cel</a:t>
                      </a:r>
                    </a:p>
                  </a:txBody>
                  <a:tcPr marR="36000" marT="0" marB="0" anchor="ctr">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0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a:t>
                      </a:r>
                    </a:p>
                  </a:txBody>
                  <a:tcPr marR="36000" marT="0" marB="0" anchor="ctr">
                    <a:lnB w="12700" cap="flat" cmpd="sng" algn="ctr">
                      <a:solidFill>
                        <a:schemeClr val="tx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85400">
                <a:tc>
                  <a:txBody>
                    <a:bodyPr/>
                    <a:lstStyle/>
                    <a:p>
                      <a:pPr algn="l"/>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Vendor Assessment Final Report</a:t>
                      </a:r>
                      <a:endParaRPr lang="cs-CZ"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R="36000" marT="0" marB="0"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0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Summary of activities performed</a:t>
                      </a:r>
                    </a:p>
                    <a:p>
                      <a:pPr marL="171450" marR="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0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Summary of capabilities of examined RPA vendors</a:t>
                      </a:r>
                    </a:p>
                    <a:p>
                      <a:pPr marL="171450" marR="0" indent="-171450" algn="l" defTabSz="9144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0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Summary of final score</a:t>
                      </a:r>
                    </a:p>
                  </a:txBody>
                  <a:tcPr marR="36000" marT="0" marB="0"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marL="0" indent="0" algn="l">
                        <a:buClr>
                          <a:schemeClr val="accent5"/>
                        </a:buClr>
                        <a:buFont typeface="Wingdings" panose="05000000000000000000" pitchFamily="2" charset="2"/>
                        <a:buNone/>
                      </a:pPr>
                      <a:r>
                        <a:rPr lang="en-US" sz="10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PPTX / PDF</a:t>
                      </a:r>
                    </a:p>
                  </a:txBody>
                  <a:tcPr marR="36000" marT="0" marB="0"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0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a:t>
                      </a:r>
                    </a:p>
                  </a:txBody>
                  <a:tcPr marR="36000" marT="0" marB="0" anchor="ct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74663776"/>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0" y="2997200"/>
            <a:ext cx="7477760" cy="863600"/>
            <a:chOff x="0" y="2997200"/>
            <a:chExt cx="7477760" cy="86360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0" y="2997200"/>
              <a:ext cx="6695440" cy="863600"/>
            </a:xfrm>
            <a:prstGeom prst="rect">
              <a:avLst/>
            </a:prstGeom>
            <a:grp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hu-HU" sz="2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gile</a:t>
              </a: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Service Management</a:t>
              </a:r>
              <a:endPar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 name="Rectangle 1">
            <a:extLst>
              <a:ext uri="{FF2B5EF4-FFF2-40B4-BE49-F238E27FC236}">
                <a16:creationId xmlns:a16="http://schemas.microsoft.com/office/drawing/2014/main" id="{915C79CE-741D-702C-C5C2-9CE4239F3225}"/>
              </a:ext>
            </a:extLst>
          </p:cNvPr>
          <p:cNvSpPr/>
          <p:nvPr/>
        </p:nvSpPr>
        <p:spPr bwMode="gray">
          <a:xfrm>
            <a:off x="9270749" y="1004935"/>
            <a:ext cx="2697932" cy="83291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hu-HU" sz="1600" b="1" dirty="0">
                <a:solidFill>
                  <a:schemeClr val="bg1"/>
                </a:solidFill>
              </a:rPr>
              <a:t>In </a:t>
            </a:r>
            <a:r>
              <a:rPr lang="hu-HU" sz="1600" b="1" dirty="0" err="1">
                <a:solidFill>
                  <a:schemeClr val="bg1"/>
                </a:solidFill>
              </a:rPr>
              <a:t>progress</a:t>
            </a:r>
            <a:endParaRPr lang="en-US" sz="1600" b="1" dirty="0">
              <a:solidFill>
                <a:schemeClr val="bg1"/>
              </a:solidFill>
            </a:endParaRPr>
          </a:p>
        </p:txBody>
      </p:sp>
    </p:spTree>
    <p:extLst>
      <p:ext uri="{BB962C8B-B14F-4D97-AF65-F5344CB8AC3E}">
        <p14:creationId xmlns:p14="http://schemas.microsoft.com/office/powerpoint/2010/main" val="91740788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Design and User Experience 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4.</a:t>
            </a:r>
            <a:endParaRPr lang="en-GB" dirty="0"/>
          </a:p>
        </p:txBody>
      </p:sp>
    </p:spTree>
    <p:extLst>
      <p:ext uri="{BB962C8B-B14F-4D97-AF65-F5344CB8AC3E}">
        <p14:creationId xmlns:p14="http://schemas.microsoft.com/office/powerpoint/2010/main" val="1021230646"/>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2320359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1226" y="-84277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28" name="Rectangle 27">
            <a:extLst>
              <a:ext uri="{FF2B5EF4-FFF2-40B4-BE49-F238E27FC236}">
                <a16:creationId xmlns:a16="http://schemas.microsoft.com/office/drawing/2014/main" id="{5E35D33A-6811-BC69-383E-8FAB16E98661}"/>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615938" y="-86928"/>
            <a:ext cx="1725898" cy="1484272"/>
          </a:xfrm>
          <a:prstGeom prst="rect">
            <a:avLst/>
          </a:prstGeom>
        </p:spPr>
      </p:pic>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dirty="0">
                <a:latin typeface="+mn-lt"/>
              </a:rPr>
              <a:t>Design and User Experience </a:t>
            </a:r>
          </a:p>
        </p:txBody>
      </p:sp>
      <p:sp>
        <p:nvSpPr>
          <p:cNvPr id="15" name="Rectangle 14">
            <a:extLst>
              <a:ext uri="{FF2B5EF4-FFF2-40B4-BE49-F238E27FC236}">
                <a16:creationId xmlns:a16="http://schemas.microsoft.com/office/drawing/2014/main" id="{3EB57B1D-83EB-0D0B-449F-EC60EBAFDE32}"/>
              </a:ext>
            </a:extLst>
          </p:cNvPr>
          <p:cNvSpPr/>
          <p:nvPr/>
        </p:nvSpPr>
        <p:spPr>
          <a:xfrm>
            <a:off x="9292664" y="2012605"/>
            <a:ext cx="1277027"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a:solidFill>
                  <a:srgbClr val="000000"/>
                </a:solidFill>
                <a:latin typeface="Open Sans"/>
                <a:ea typeface="Open Sans"/>
                <a:cs typeface="Open Sans"/>
              </a:rPr>
              <a:t>Tóth Levent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mj-lt"/>
                <a:ea typeface="Open Sans"/>
                <a:cs typeface="Open Sans"/>
              </a:rPr>
              <a:t>Manager</a:t>
            </a:r>
            <a:endParaRPr lang="en-US" sz="1200" b="0" i="0" u="none" strike="noStrike" kern="1200" cap="none" spc="0" normalizeH="0" baseline="0" dirty="0">
              <a:ln>
                <a:noFill/>
              </a:ln>
              <a:solidFill>
                <a:srgbClr val="000000"/>
              </a:solidFill>
              <a:effectLst/>
              <a:uLnTx/>
              <a:uFillTx/>
              <a:latin typeface="+mj-lt"/>
              <a:ea typeface="Open Sans"/>
              <a:cs typeface="Open Sans"/>
            </a:endParaRPr>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a:rPr>
              <a:t>CHAPTER LEAD EXPERT</a:t>
            </a:r>
            <a:endParaRPr kumimoji="0" lang="en-US" sz="1200" b="0" i="1" u="none" strike="noStrike" kern="1200" cap="none" spc="300" normalizeH="0" baseline="0" dirty="0">
              <a:ln>
                <a:noFill/>
              </a:ln>
              <a:solidFill>
                <a:srgbClr val="38B6FF"/>
              </a:solidFill>
              <a:effectLst/>
              <a:uLnTx/>
              <a:uFillTx/>
              <a:latin typeface="Open Sans"/>
            </a:endParaRPr>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i="1" spc="300" dirty="0">
                <a:solidFill>
                  <a:schemeClr val="bg1"/>
                </a:solidFill>
                <a:latin typeface="Open Sans"/>
              </a:rPr>
              <a:t>EXPERTS IN HUNGARY</a:t>
            </a:r>
            <a:endParaRPr kumimoji="0" lang="en-US" sz="900" i="1" u="none" strike="noStrike" kern="1200" cap="none" spc="300" normalizeH="0" baseline="0" dirty="0">
              <a:ln>
                <a:noFill/>
              </a:ln>
              <a:solidFill>
                <a:schemeClr val="bg1"/>
              </a:solidFill>
              <a:effectLst/>
              <a:uLnTx/>
              <a:uFillTx/>
              <a:latin typeface="Open Sans"/>
            </a:endParaRP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800" b="1" i="1" spc="300" dirty="0">
                <a:solidFill>
                  <a:schemeClr val="bg1"/>
                </a:solidFill>
                <a:latin typeface="Open Sans"/>
              </a:rPr>
              <a:t>6</a:t>
            </a:r>
            <a:endParaRPr kumimoji="0" lang="en-US" sz="2800" b="1" i="1" u="none" strike="noStrike" kern="1200" cap="none" spc="300" normalizeH="0" baseline="0" dirty="0">
              <a:ln>
                <a:noFill/>
              </a:ln>
              <a:solidFill>
                <a:schemeClr val="bg1"/>
              </a:solidFill>
              <a:effectLst/>
              <a:uLnTx/>
              <a:uFillTx/>
              <a:latin typeface="Open Sans"/>
            </a:endParaRPr>
          </a:p>
        </p:txBody>
      </p:sp>
      <p:pic>
        <p:nvPicPr>
          <p:cNvPr id="5" name="Picture 4">
            <a:extLst>
              <a:ext uri="{FF2B5EF4-FFF2-40B4-BE49-F238E27FC236}">
                <a16:creationId xmlns:a16="http://schemas.microsoft.com/office/drawing/2014/main" id="{E8A39CEE-0CD5-9C9E-50CB-320EB23707A3}"/>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402026" y="496140"/>
            <a:ext cx="1292400" cy="1292400"/>
          </a:xfrm>
          <a:prstGeom prst="rect">
            <a:avLst/>
          </a:prstGeom>
          <a:effectLst>
            <a:outerShdw blurRad="50800" dist="38100" dir="2700000" algn="tl" rotWithShape="0">
              <a:prstClr val="black">
                <a:alpha val="40000"/>
              </a:prstClr>
            </a:outerShdw>
          </a:effectLst>
        </p:spPr>
      </p:pic>
      <p:pic>
        <p:nvPicPr>
          <p:cNvPr id="1036" name="Picture 4" descr="Linkedin logo png - greorder">
            <a:hlinkClick r:id="rId8"/>
            <a:extLst>
              <a:ext uri="{FF2B5EF4-FFF2-40B4-BE49-F238E27FC236}">
                <a16:creationId xmlns:a16="http://schemas.microsoft.com/office/drawing/2014/main" id="{1D1F8576-08B0-C2D3-E711-0C4E6C0D89E1}"/>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430059" y="2069899"/>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108" name="Freeform: Shape 1107">
            <a:extLst>
              <a:ext uri="{FF2B5EF4-FFF2-40B4-BE49-F238E27FC236}">
                <a16:creationId xmlns:a16="http://schemas.microsoft.com/office/drawing/2014/main" id="{AD5D1342-2F33-36A0-EF26-97B4BB7DBC70}"/>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1111" name="Rectangle 1110">
            <a:extLst>
              <a:ext uri="{FF2B5EF4-FFF2-40B4-BE49-F238E27FC236}">
                <a16:creationId xmlns:a16="http://schemas.microsoft.com/office/drawing/2014/main" id="{C3A7529B-FB76-569F-0DC1-C22DA82217DC}"/>
              </a:ext>
            </a:extLst>
          </p:cNvPr>
          <p:cNvSpPr/>
          <p:nvPr/>
        </p:nvSpPr>
        <p:spPr>
          <a:xfrm>
            <a:off x="11315684" y="4321416"/>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T</a:t>
            </a: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a:p>
        </p:txBody>
      </p:sp>
      <p:sp>
        <p:nvSpPr>
          <p:cNvPr id="38" name="Rectangle 37">
            <a:extLst>
              <a:ext uri="{FF2B5EF4-FFF2-40B4-BE49-F238E27FC236}">
                <a16:creationId xmlns:a16="http://schemas.microsoft.com/office/drawing/2014/main" id="{D7615059-6B4F-F222-38A4-7C7D4098B526}"/>
              </a:ext>
            </a:extLst>
          </p:cNvPr>
          <p:cNvSpPr/>
          <p:nvPr/>
        </p:nvSpPr>
        <p:spPr>
          <a:xfrm>
            <a:off x="11255382" y="5548953"/>
            <a:ext cx="74599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i="1" spc="300" dirty="0">
                <a:solidFill>
                  <a:schemeClr val="bg1">
                    <a:lumMod val="50000"/>
                  </a:schemeClr>
                </a:solidFill>
                <a:latin typeface="Open Sans"/>
              </a:rPr>
              <a:t>+28</a:t>
            </a:r>
            <a:endParaRPr kumimoji="0" lang="en-US" b="1" i="1" u="none" strike="noStrike" kern="1200" cap="none" spc="300" normalizeH="0" baseline="0" dirty="0">
              <a:ln>
                <a:noFill/>
              </a:ln>
              <a:solidFill>
                <a:schemeClr val="bg1">
                  <a:lumMod val="50000"/>
                </a:schemeClr>
              </a:solidFill>
              <a:effectLst/>
              <a:uLnTx/>
              <a:uFillTx/>
              <a:latin typeface="Open Sans"/>
            </a:endParaRPr>
          </a:p>
        </p:txBody>
      </p:sp>
      <p:sp>
        <p:nvSpPr>
          <p:cNvPr id="34" name="Rectangle 33">
            <a:extLst>
              <a:ext uri="{FF2B5EF4-FFF2-40B4-BE49-F238E27FC236}">
                <a16:creationId xmlns:a16="http://schemas.microsoft.com/office/drawing/2014/main" id="{02DE62AF-4526-6392-D4BC-A7AE7B1DEFD9}"/>
              </a:ext>
            </a:extLst>
          </p:cNvPr>
          <p:cNvSpPr/>
          <p:nvPr/>
        </p:nvSpPr>
        <p:spPr>
          <a:xfrm>
            <a:off x="11144184" y="5859436"/>
            <a:ext cx="122723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800" i="1" spc="300" dirty="0">
                <a:solidFill>
                  <a:schemeClr val="bg1">
                    <a:lumMod val="50000"/>
                  </a:schemeClr>
                </a:solidFill>
                <a:latin typeface="Open Sans"/>
              </a:rPr>
              <a:t>EXPERTS IN CE REGION</a:t>
            </a:r>
            <a:endParaRPr kumimoji="0" lang="en-US" sz="800" i="1" u="none" strike="noStrike" kern="1200" cap="none" spc="300" normalizeH="0" baseline="0" dirty="0">
              <a:ln>
                <a:noFill/>
              </a:ln>
              <a:solidFill>
                <a:schemeClr val="bg1">
                  <a:lumMod val="50000"/>
                </a:schemeClr>
              </a:solidFill>
              <a:effectLst/>
              <a:uLnTx/>
              <a:uFillTx/>
              <a:latin typeface="Open Sans"/>
            </a:endParaRPr>
          </a:p>
        </p:txBody>
      </p:sp>
      <p:sp>
        <p:nvSpPr>
          <p:cNvPr id="4" name="Rectangle 3">
            <a:extLst>
              <a:ext uri="{FF2B5EF4-FFF2-40B4-BE49-F238E27FC236}">
                <a16:creationId xmlns:a16="http://schemas.microsoft.com/office/drawing/2014/main" id="{B88C12BF-C83A-D83A-08A4-81D19DD4007B}"/>
              </a:ext>
            </a:extLst>
          </p:cNvPr>
          <p:cNvSpPr/>
          <p:nvPr/>
        </p:nvSpPr>
        <p:spPr>
          <a:xfrm>
            <a:off x="9302967" y="2939202"/>
            <a:ext cx="2889029" cy="954107"/>
          </a:xfrm>
          <a:prstGeom prst="rect">
            <a:avLst/>
          </a:prstGeom>
          <a:noFill/>
        </p:spPr>
        <p:txBody>
          <a:bodyPr wrap="square">
            <a:spAutoFit/>
          </a:bodyPr>
          <a:lstStyle/>
          <a:p>
            <a:pPr>
              <a:defRPr/>
            </a:pPr>
            <a:r>
              <a:rPr lang="en-US" sz="800" dirty="0">
                <a:latin typeface="Open Sans Light" panose="020B0306030504020204" pitchFamily="34" charset="0"/>
                <a:ea typeface="Open Sans Light" panose="020B0306030504020204" pitchFamily="34" charset="0"/>
                <a:cs typeface="Open Sans Light" panose="020B0306030504020204" pitchFamily="34" charset="0"/>
              </a:rPr>
              <a:t>Levente is a designer with a background in economics. He has more than 9 years of experience in a leading Telco company, the last 3 of which were as a Creative Design Lead. He has worked with clients all over the world, from the US to Asia and Europe. He has experience in project management, UI design, design thinking, digital publishing,</a:t>
            </a:r>
            <a:br>
              <a:rPr lang="en-US" sz="800" dirty="0">
                <a:latin typeface="Open Sans Light" panose="020B0306030504020204" pitchFamily="34" charset="0"/>
                <a:ea typeface="Open Sans Light" panose="020B0306030504020204" pitchFamily="34" charset="0"/>
                <a:cs typeface="Open Sans Light" panose="020B0306030504020204" pitchFamily="34" charset="0"/>
              </a:rPr>
            </a:br>
            <a:r>
              <a:rPr lang="en-US" sz="800" dirty="0">
                <a:latin typeface="Open Sans Light" panose="020B0306030504020204" pitchFamily="34" charset="0"/>
                <a:ea typeface="Open Sans Light" panose="020B0306030504020204" pitchFamily="34" charset="0"/>
                <a:cs typeface="Open Sans Light" panose="020B0306030504020204" pitchFamily="34" charset="0"/>
              </a:rPr>
              <a:t>video editing and basic HTML coding.</a:t>
            </a:r>
            <a:endParaRPr lang="en-US" sz="800" dirty="0"/>
          </a:p>
        </p:txBody>
      </p:sp>
      <p:sp>
        <p:nvSpPr>
          <p:cNvPr id="11" name="Rectangle 10">
            <a:extLst>
              <a:ext uri="{FF2B5EF4-FFF2-40B4-BE49-F238E27FC236}">
                <a16:creationId xmlns:a16="http://schemas.microsoft.com/office/drawing/2014/main" id="{C695A72C-7C27-F987-2688-131C85183D2B}"/>
              </a:ext>
            </a:extLst>
          </p:cNvPr>
          <p:cNvSpPr/>
          <p:nvPr/>
        </p:nvSpPr>
        <p:spPr>
          <a:xfrm>
            <a:off x="9292664" y="2375150"/>
            <a:ext cx="2697252" cy="6463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b="1" i="1" dirty="0"/>
              <a:t>“User-friendly solutions are the bridges that connect UNICEF’s mission to the world, making it easier for everybody to access the resources and opportunities they need to thrive</a:t>
            </a:r>
            <a:r>
              <a:rPr lang="hu-HU" sz="900" b="1" i="1" dirty="0"/>
              <a:t>.</a:t>
            </a:r>
            <a:r>
              <a:rPr lang="en-US" sz="900" b="1" i="1" dirty="0"/>
              <a:t>”</a:t>
            </a:r>
            <a:endParaRPr kumimoji="0" lang="en-US" sz="900" b="1" i="1" u="none" strike="noStrike" kern="1200" cap="none" normalizeH="0" baseline="0" dirty="0">
              <a:ln>
                <a:noFill/>
              </a:ln>
              <a:effectLst/>
              <a:uLnTx/>
              <a:uFillTx/>
            </a:endParaRPr>
          </a:p>
        </p:txBody>
      </p:sp>
      <p:sp>
        <p:nvSpPr>
          <p:cNvPr id="7" name="TextBox 6">
            <a:extLst>
              <a:ext uri="{FF2B5EF4-FFF2-40B4-BE49-F238E27FC236}">
                <a16:creationId xmlns:a16="http://schemas.microsoft.com/office/drawing/2014/main" id="{EC7AF3E8-480A-A3C9-2783-D8F2156D61B3}"/>
              </a:ext>
            </a:extLst>
          </p:cNvPr>
          <p:cNvSpPr txBox="1"/>
          <p:nvPr/>
        </p:nvSpPr>
        <p:spPr>
          <a:xfrm>
            <a:off x="4825143" y="4700120"/>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3" name="TextBox 12">
            <a:extLst>
              <a:ext uri="{FF2B5EF4-FFF2-40B4-BE49-F238E27FC236}">
                <a16:creationId xmlns:a16="http://schemas.microsoft.com/office/drawing/2014/main" id="{CEE469B6-81E4-02A3-499E-CE1F7B5CBD75}"/>
              </a:ext>
            </a:extLst>
          </p:cNvPr>
          <p:cNvSpPr txBox="1"/>
          <p:nvPr/>
        </p:nvSpPr>
        <p:spPr>
          <a:xfrm>
            <a:off x="6485373" y="5030666"/>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4" name="Rectangle 13">
            <a:extLst>
              <a:ext uri="{FF2B5EF4-FFF2-40B4-BE49-F238E27FC236}">
                <a16:creationId xmlns:a16="http://schemas.microsoft.com/office/drawing/2014/main" id="{D5EA6DB8-D181-0AC1-98FA-153DD5A8D655}"/>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16" name="Rectangle: Rounded Corners 81">
            <a:extLst>
              <a:ext uri="{FF2B5EF4-FFF2-40B4-BE49-F238E27FC236}">
                <a16:creationId xmlns:a16="http://schemas.microsoft.com/office/drawing/2014/main" id="{CE5CA47B-7C42-4B74-0F95-74C5A04B931C}"/>
              </a:ext>
            </a:extLst>
          </p:cNvPr>
          <p:cNvSpPr/>
          <p:nvPr/>
        </p:nvSpPr>
        <p:spPr bwMode="gray">
          <a:xfrm>
            <a:off x="1047205" y="237780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 name="Rectangle: Rounded Corners 40">
            <a:extLst>
              <a:ext uri="{FF2B5EF4-FFF2-40B4-BE49-F238E27FC236}">
                <a16:creationId xmlns:a16="http://schemas.microsoft.com/office/drawing/2014/main" id="{40AE6E8D-49BE-39AA-E810-E38E138F8ED1}"/>
              </a:ext>
            </a:extLst>
          </p:cNvPr>
          <p:cNvSpPr/>
          <p:nvPr/>
        </p:nvSpPr>
        <p:spPr bwMode="gray">
          <a:xfrm>
            <a:off x="4141468" y="2466748"/>
            <a:ext cx="2122174" cy="1111722"/>
          </a:xfrm>
          <a:prstGeom prst="roundRect">
            <a:avLst>
              <a:gd name="adj" fmla="val 9889"/>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 name="TextBox 18">
            <a:extLst>
              <a:ext uri="{FF2B5EF4-FFF2-40B4-BE49-F238E27FC236}">
                <a16:creationId xmlns:a16="http://schemas.microsoft.com/office/drawing/2014/main" id="{7399E1AE-90F9-AC51-3ED6-CE8FD1699321}"/>
              </a:ext>
            </a:extLst>
          </p:cNvPr>
          <p:cNvSpPr txBox="1"/>
          <p:nvPr/>
        </p:nvSpPr>
        <p:spPr>
          <a:xfrm>
            <a:off x="1109960" y="2430662"/>
            <a:ext cx="1932004" cy="246222"/>
          </a:xfrm>
          <a:prstGeom prst="rect">
            <a:avLst/>
          </a:prstGeom>
          <a:noFill/>
        </p:spPr>
        <p:txBody>
          <a:bodyPr wrap="square" lIns="0" tIns="0" rIns="0" bIns="0" rtlCol="0" anchor="ctr">
            <a:noAutofit/>
          </a:bodyPr>
          <a:lstStyle/>
          <a:p>
            <a:pPr>
              <a:spcAft>
                <a:spcPts val="1000"/>
              </a:spcAft>
            </a:pPr>
            <a:r>
              <a:rPr lang="en-US" sz="900" b="1" dirty="0">
                <a:ea typeface="Open Sans Light" panose="020B0306030504020204" pitchFamily="34" charset="0"/>
                <a:cs typeface="Open Sans Light" panose="020B0306030504020204" pitchFamily="34" charset="0"/>
              </a:rPr>
              <a:t>UX/UI services</a:t>
            </a:r>
            <a:endParaRPr lang="en-US" sz="900" b="1" dirty="0">
              <a:latin typeface="+mj-lt"/>
              <a:ea typeface="Open Sans Light" panose="020B0306030504020204" pitchFamily="34" charset="0"/>
              <a:cs typeface="Open Sans Light" panose="020B0306030504020204" pitchFamily="34" charset="0"/>
            </a:endParaRPr>
          </a:p>
        </p:txBody>
      </p:sp>
      <p:sp>
        <p:nvSpPr>
          <p:cNvPr id="21" name="TextBox 20">
            <a:extLst>
              <a:ext uri="{FF2B5EF4-FFF2-40B4-BE49-F238E27FC236}">
                <a16:creationId xmlns:a16="http://schemas.microsoft.com/office/drawing/2014/main" id="{EE9DD4FE-701C-9BC7-A16F-65B30B7D31E7}"/>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chemeClr val="bg1"/>
                </a:solidFill>
                <a:latin typeface="Open Sans"/>
              </a:rPr>
              <a:t>SUBCHAPTERS</a:t>
            </a:r>
            <a:endParaRPr kumimoji="0" lang="en-US" sz="1200" b="1" i="0" u="none" strike="noStrike" kern="1200" cap="none" spc="300" normalizeH="0" baseline="0" dirty="0">
              <a:ln>
                <a:noFill/>
              </a:ln>
              <a:solidFill>
                <a:schemeClr val="bg1"/>
              </a:solidFill>
              <a:effectLst/>
              <a:uLnTx/>
              <a:uFillTx/>
              <a:latin typeface="Open Sans"/>
            </a:endParaRPr>
          </a:p>
        </p:txBody>
      </p:sp>
      <p:sp>
        <p:nvSpPr>
          <p:cNvPr id="22" name="Rectangle 21">
            <a:extLst>
              <a:ext uri="{FF2B5EF4-FFF2-40B4-BE49-F238E27FC236}">
                <a16:creationId xmlns:a16="http://schemas.microsoft.com/office/drawing/2014/main" id="{654CF07F-8F30-10F9-5353-6A3B110E826A}"/>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dirty="0">
                <a:latin typeface="Open Sans"/>
              </a:rPr>
              <a:t>METHODOLOGIES</a:t>
            </a:r>
            <a:endParaRPr kumimoji="0" lang="en-US" sz="1200" b="0" i="1" u="none" strike="noStrike" kern="1200" cap="none" spc="600" normalizeH="0" baseline="0" dirty="0">
              <a:ln>
                <a:noFill/>
              </a:ln>
              <a:effectLst/>
              <a:uLnTx/>
              <a:uFillTx/>
              <a:latin typeface="Open Sans"/>
            </a:endParaRPr>
          </a:p>
        </p:txBody>
      </p:sp>
      <p:cxnSp>
        <p:nvCxnSpPr>
          <p:cNvPr id="24" name="Straight Connector 23">
            <a:extLst>
              <a:ext uri="{FF2B5EF4-FFF2-40B4-BE49-F238E27FC236}">
                <a16:creationId xmlns:a16="http://schemas.microsoft.com/office/drawing/2014/main" id="{0C00C97B-88AC-AC50-2EC6-22448F0674E7}"/>
              </a:ext>
            </a:extLst>
          </p:cNvPr>
          <p:cNvCxnSpPr>
            <a:cxnSpLocks/>
          </p:cNvCxnSpPr>
          <p:nvPr/>
        </p:nvCxnSpPr>
        <p:spPr>
          <a:xfrm>
            <a:off x="922093" y="2299048"/>
            <a:ext cx="0" cy="26063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D04679E9-DD76-4416-F4DB-BE8375B101D9}"/>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grpSp>
        <p:nvGrpSpPr>
          <p:cNvPr id="31" name="Graphic 4">
            <a:extLst>
              <a:ext uri="{FF2B5EF4-FFF2-40B4-BE49-F238E27FC236}">
                <a16:creationId xmlns:a16="http://schemas.microsoft.com/office/drawing/2014/main" id="{58CA8FA4-2079-4500-2E78-3CBBFE440253}"/>
              </a:ext>
            </a:extLst>
          </p:cNvPr>
          <p:cNvGrpSpPr>
            <a:grpSpLocks noChangeAspect="1"/>
          </p:cNvGrpSpPr>
          <p:nvPr/>
        </p:nvGrpSpPr>
        <p:grpSpPr>
          <a:xfrm>
            <a:off x="4091486" y="1840423"/>
            <a:ext cx="278631" cy="278367"/>
            <a:chOff x="1952125" y="2855717"/>
            <a:chExt cx="362313" cy="361971"/>
          </a:xfrm>
          <a:solidFill>
            <a:srgbClr val="00B0F2"/>
          </a:solidFill>
        </p:grpSpPr>
        <p:sp>
          <p:nvSpPr>
            <p:cNvPr id="33" name="Graphic 4">
              <a:extLst>
                <a:ext uri="{FF2B5EF4-FFF2-40B4-BE49-F238E27FC236}">
                  <a16:creationId xmlns:a16="http://schemas.microsoft.com/office/drawing/2014/main" id="{69893E60-1DDF-7989-0FAA-8AFCAB659D1F}"/>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dirty="0"/>
            </a:p>
          </p:txBody>
        </p:sp>
        <p:sp>
          <p:nvSpPr>
            <p:cNvPr id="35" name="Graphic 4">
              <a:extLst>
                <a:ext uri="{FF2B5EF4-FFF2-40B4-BE49-F238E27FC236}">
                  <a16:creationId xmlns:a16="http://schemas.microsoft.com/office/drawing/2014/main" id="{B85DD08E-F1C4-3DB7-617C-F18B99668F04}"/>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dirty="0"/>
            </a:p>
          </p:txBody>
        </p:sp>
        <p:sp>
          <p:nvSpPr>
            <p:cNvPr id="36" name="Graphic 4">
              <a:extLst>
                <a:ext uri="{FF2B5EF4-FFF2-40B4-BE49-F238E27FC236}">
                  <a16:creationId xmlns:a16="http://schemas.microsoft.com/office/drawing/2014/main" id="{9794FFC5-BB6E-707F-71B3-DF358FBF75E5}"/>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dirty="0"/>
            </a:p>
          </p:txBody>
        </p:sp>
        <p:sp>
          <p:nvSpPr>
            <p:cNvPr id="37" name="Graphic 4">
              <a:extLst>
                <a:ext uri="{FF2B5EF4-FFF2-40B4-BE49-F238E27FC236}">
                  <a16:creationId xmlns:a16="http://schemas.microsoft.com/office/drawing/2014/main" id="{0C58841C-6C1B-5ABF-901A-98E20B168CEA}"/>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dirty="0"/>
            </a:p>
          </p:txBody>
        </p:sp>
        <p:sp>
          <p:nvSpPr>
            <p:cNvPr id="40" name="Graphic 4">
              <a:extLst>
                <a:ext uri="{FF2B5EF4-FFF2-40B4-BE49-F238E27FC236}">
                  <a16:creationId xmlns:a16="http://schemas.microsoft.com/office/drawing/2014/main" id="{05FC4D08-30DF-2866-4D75-8A967E7DB7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dirty="0"/>
            </a:p>
          </p:txBody>
        </p:sp>
        <p:sp>
          <p:nvSpPr>
            <p:cNvPr id="42" name="Graphic 4">
              <a:extLst>
                <a:ext uri="{FF2B5EF4-FFF2-40B4-BE49-F238E27FC236}">
                  <a16:creationId xmlns:a16="http://schemas.microsoft.com/office/drawing/2014/main" id="{ABF28A61-6B0A-9388-059D-275F6B8D032D}"/>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dirty="0"/>
            </a:p>
          </p:txBody>
        </p:sp>
        <p:sp>
          <p:nvSpPr>
            <p:cNvPr id="43" name="Graphic 4">
              <a:extLst>
                <a:ext uri="{FF2B5EF4-FFF2-40B4-BE49-F238E27FC236}">
                  <a16:creationId xmlns:a16="http://schemas.microsoft.com/office/drawing/2014/main" id="{41F88B8E-F817-BFD1-ABC2-3011D2762E2D}"/>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dirty="0"/>
            </a:p>
          </p:txBody>
        </p:sp>
      </p:grpSp>
      <p:sp>
        <p:nvSpPr>
          <p:cNvPr id="44" name="TextBox 43">
            <a:extLst>
              <a:ext uri="{FF2B5EF4-FFF2-40B4-BE49-F238E27FC236}">
                <a16:creationId xmlns:a16="http://schemas.microsoft.com/office/drawing/2014/main" id="{FEB2428D-8BB4-7608-2505-CF124F6AE71C}"/>
              </a:ext>
            </a:extLst>
          </p:cNvPr>
          <p:cNvSpPr txBox="1"/>
          <p:nvPr/>
        </p:nvSpPr>
        <p:spPr>
          <a:xfrm>
            <a:off x="6102626" y="490402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45" name="TextBox 44">
            <a:extLst>
              <a:ext uri="{FF2B5EF4-FFF2-40B4-BE49-F238E27FC236}">
                <a16:creationId xmlns:a16="http://schemas.microsoft.com/office/drawing/2014/main" id="{32BBCE6B-8B87-9D7C-5700-867DDB0F9007}"/>
              </a:ext>
            </a:extLst>
          </p:cNvPr>
          <p:cNvSpPr txBox="1"/>
          <p:nvPr/>
        </p:nvSpPr>
        <p:spPr>
          <a:xfrm>
            <a:off x="3924223" y="484884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46" name="TextBox 45">
            <a:extLst>
              <a:ext uri="{FF2B5EF4-FFF2-40B4-BE49-F238E27FC236}">
                <a16:creationId xmlns:a16="http://schemas.microsoft.com/office/drawing/2014/main" id="{442B0049-64F6-0A2F-CC60-024892CA5A88}"/>
              </a:ext>
            </a:extLst>
          </p:cNvPr>
          <p:cNvSpPr txBox="1"/>
          <p:nvPr/>
        </p:nvSpPr>
        <p:spPr>
          <a:xfrm>
            <a:off x="4189845" y="2507046"/>
            <a:ext cx="2184971"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UX/UI ACCELERATORS &amp; TOOLS</a:t>
            </a:r>
          </a:p>
        </p:txBody>
      </p:sp>
      <p:sp>
        <p:nvSpPr>
          <p:cNvPr id="47" name="Rectangle: Rounded Corners 57">
            <a:extLst>
              <a:ext uri="{FF2B5EF4-FFF2-40B4-BE49-F238E27FC236}">
                <a16:creationId xmlns:a16="http://schemas.microsoft.com/office/drawing/2014/main" id="{14AE405C-C9D8-97B5-8E08-D2C97092BD39}"/>
              </a:ext>
            </a:extLst>
          </p:cNvPr>
          <p:cNvSpPr/>
          <p:nvPr/>
        </p:nvSpPr>
        <p:spPr bwMode="gray">
          <a:xfrm>
            <a:off x="1047205" y="4686091"/>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50" name="Oval 49">
            <a:extLst>
              <a:ext uri="{FF2B5EF4-FFF2-40B4-BE49-F238E27FC236}">
                <a16:creationId xmlns:a16="http://schemas.microsoft.com/office/drawing/2014/main" id="{51D9D85D-A7B4-FF5B-077E-71F776987620}"/>
              </a:ext>
            </a:extLst>
          </p:cNvPr>
          <p:cNvSpPr/>
          <p:nvPr/>
        </p:nvSpPr>
        <p:spPr bwMode="gray">
          <a:xfrm>
            <a:off x="875786" y="4811393"/>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51" name="TextBox 50">
            <a:extLst>
              <a:ext uri="{FF2B5EF4-FFF2-40B4-BE49-F238E27FC236}">
                <a16:creationId xmlns:a16="http://schemas.microsoft.com/office/drawing/2014/main" id="{4C2BE266-2A46-0832-D7C4-64730A172A66}"/>
              </a:ext>
            </a:extLst>
          </p:cNvPr>
          <p:cNvSpPr txBox="1"/>
          <p:nvPr/>
        </p:nvSpPr>
        <p:spPr>
          <a:xfrm>
            <a:off x="1109961" y="4738949"/>
            <a:ext cx="1443116" cy="246222"/>
          </a:xfrm>
          <a:prstGeom prst="rect">
            <a:avLst/>
          </a:prstGeom>
          <a:noFill/>
        </p:spPr>
        <p:txBody>
          <a:bodyPr wrap="square" lIns="0" tIns="0" rIns="0" bIns="0" rtlCol="0" anchor="ctr">
            <a:noAutofit/>
          </a:bodyPr>
          <a:lstStyle/>
          <a:p>
            <a:pPr>
              <a:spcAft>
                <a:spcPts val="1000"/>
              </a:spcAft>
            </a:pPr>
            <a:r>
              <a:rPr lang="en-US" sz="900" b="1" dirty="0">
                <a:ea typeface="Open Sans Light" panose="020B0306030504020204" pitchFamily="34" charset="0"/>
                <a:cs typeface="Open Sans Light" panose="020B0306030504020204" pitchFamily="34" charset="0"/>
              </a:rPr>
              <a:t>Web designing and development services</a:t>
            </a:r>
            <a:endParaRPr lang="en-US" sz="900" b="1" dirty="0">
              <a:latin typeface="+mj-lt"/>
              <a:ea typeface="Open Sans Light" panose="020B0306030504020204" pitchFamily="34" charset="0"/>
              <a:cs typeface="Open Sans Light" panose="020B0306030504020204" pitchFamily="34" charset="0"/>
            </a:endParaRPr>
          </a:p>
        </p:txBody>
      </p:sp>
      <p:sp>
        <p:nvSpPr>
          <p:cNvPr id="52" name="Rectangle: Rounded Corners 105">
            <a:extLst>
              <a:ext uri="{FF2B5EF4-FFF2-40B4-BE49-F238E27FC236}">
                <a16:creationId xmlns:a16="http://schemas.microsoft.com/office/drawing/2014/main" id="{E86A4F9B-C734-8656-2FC2-E9693EE0E939}"/>
              </a:ext>
            </a:extLst>
          </p:cNvPr>
          <p:cNvSpPr/>
          <p:nvPr/>
        </p:nvSpPr>
        <p:spPr bwMode="gray">
          <a:xfrm>
            <a:off x="6872353" y="2466747"/>
            <a:ext cx="2122174" cy="1111722"/>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53" name="TextBox 52">
            <a:extLst>
              <a:ext uri="{FF2B5EF4-FFF2-40B4-BE49-F238E27FC236}">
                <a16:creationId xmlns:a16="http://schemas.microsoft.com/office/drawing/2014/main" id="{88B0EFAE-8A6B-0374-3D69-B0B71420BF71}"/>
              </a:ext>
            </a:extLst>
          </p:cNvPr>
          <p:cNvSpPr txBox="1"/>
          <p:nvPr/>
        </p:nvSpPr>
        <p:spPr>
          <a:xfrm>
            <a:off x="6914510" y="2512738"/>
            <a:ext cx="2117669"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STRATEGY BY DESIGN</a:t>
            </a:r>
          </a:p>
        </p:txBody>
      </p:sp>
      <p:sp>
        <p:nvSpPr>
          <p:cNvPr id="54" name="TextBox 53">
            <a:extLst>
              <a:ext uri="{FF2B5EF4-FFF2-40B4-BE49-F238E27FC236}">
                <a16:creationId xmlns:a16="http://schemas.microsoft.com/office/drawing/2014/main" id="{01D7C551-D395-E979-DB17-2811E6E98226}"/>
              </a:ext>
            </a:extLst>
          </p:cNvPr>
          <p:cNvSpPr txBox="1"/>
          <p:nvPr/>
        </p:nvSpPr>
        <p:spPr>
          <a:xfrm>
            <a:off x="6914510" y="2660821"/>
            <a:ext cx="2031171" cy="123111"/>
          </a:xfrm>
          <a:prstGeom prst="rect">
            <a:avLst/>
          </a:prstGeom>
          <a:noFill/>
        </p:spPr>
        <p:txBody>
          <a:bodyPr wrap="square" lIns="0" tIns="0" rIns="0" bIns="0" rtlCol="0" anchor="t">
            <a:spAutoFit/>
          </a:bodyPr>
          <a:lstStyle/>
          <a:p>
            <a:pPr lvl="0">
              <a:spcBef>
                <a:spcPts val="300"/>
              </a:spcBef>
              <a:buClr>
                <a:srgbClr val="FFFFFF">
                  <a:lumMod val="50000"/>
                </a:srgbClr>
              </a:buClr>
              <a:defRPr/>
            </a:pPr>
            <a:endParaRPr lang="en-US" sz="800" dirty="0">
              <a:solidFill>
                <a:srgbClr val="000000"/>
              </a:solidFill>
            </a:endParaRPr>
          </a:p>
        </p:txBody>
      </p:sp>
      <p:sp>
        <p:nvSpPr>
          <p:cNvPr id="55" name="Rectangle: Rounded Corners 123">
            <a:extLst>
              <a:ext uri="{FF2B5EF4-FFF2-40B4-BE49-F238E27FC236}">
                <a16:creationId xmlns:a16="http://schemas.microsoft.com/office/drawing/2014/main" id="{4873ADD4-B1F6-433E-DB88-DF7338ED6699}"/>
              </a:ext>
            </a:extLst>
          </p:cNvPr>
          <p:cNvSpPr/>
          <p:nvPr/>
        </p:nvSpPr>
        <p:spPr bwMode="gray">
          <a:xfrm>
            <a:off x="4141468" y="4846303"/>
            <a:ext cx="2122174"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56" name="TextBox 55">
            <a:extLst>
              <a:ext uri="{FF2B5EF4-FFF2-40B4-BE49-F238E27FC236}">
                <a16:creationId xmlns:a16="http://schemas.microsoft.com/office/drawing/2014/main" id="{79C66BA0-E80E-C620-74D7-678DD3D446DD}"/>
              </a:ext>
            </a:extLst>
          </p:cNvPr>
          <p:cNvSpPr txBox="1"/>
          <p:nvPr/>
        </p:nvSpPr>
        <p:spPr>
          <a:xfrm>
            <a:off x="4189845" y="4886600"/>
            <a:ext cx="2073797"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Principles for Digital development</a:t>
            </a:r>
          </a:p>
        </p:txBody>
      </p:sp>
      <p:sp>
        <p:nvSpPr>
          <p:cNvPr id="57" name="TextBox 56">
            <a:extLst>
              <a:ext uri="{FF2B5EF4-FFF2-40B4-BE49-F238E27FC236}">
                <a16:creationId xmlns:a16="http://schemas.microsoft.com/office/drawing/2014/main" id="{47034A3D-7AED-6E69-F63B-CC89A95CFFC1}"/>
              </a:ext>
            </a:extLst>
          </p:cNvPr>
          <p:cNvSpPr txBox="1"/>
          <p:nvPr/>
        </p:nvSpPr>
        <p:spPr>
          <a:xfrm>
            <a:off x="4189844" y="5034684"/>
            <a:ext cx="2039505" cy="369332"/>
          </a:xfrm>
          <a:prstGeom prst="rect">
            <a:avLst/>
          </a:prstGeom>
          <a:noFill/>
        </p:spPr>
        <p:txBody>
          <a:bodyPr wrap="square" lIns="0" tIns="0" rIns="0" bIns="0" rtlCol="0" anchor="t">
            <a:spAutoFit/>
          </a:bodyPr>
          <a:lstStyle/>
          <a:p>
            <a:pPr>
              <a:spcBef>
                <a:spcPts val="1000"/>
              </a:spcBef>
              <a:defRPr/>
            </a:pPr>
            <a:r>
              <a:rPr lang="en-US" sz="800" dirty="0"/>
              <a:t>Using Design Thinking and Agile methodologies to design and develop user-cent</a:t>
            </a:r>
            <a:r>
              <a:rPr lang="hu-HU" sz="800" dirty="0" err="1"/>
              <a:t>ric</a:t>
            </a:r>
            <a:r>
              <a:rPr lang="en-US" sz="800" dirty="0"/>
              <a:t> web solutions.</a:t>
            </a:r>
            <a:endParaRPr lang="en-US" sz="800" dirty="0">
              <a:solidFill>
                <a:srgbClr val="000000"/>
              </a:solidFill>
            </a:endParaRPr>
          </a:p>
        </p:txBody>
      </p:sp>
      <p:grpSp>
        <p:nvGrpSpPr>
          <p:cNvPr id="59" name="Group 58">
            <a:extLst>
              <a:ext uri="{FF2B5EF4-FFF2-40B4-BE49-F238E27FC236}">
                <a16:creationId xmlns:a16="http://schemas.microsoft.com/office/drawing/2014/main" id="{0745544C-8353-818A-AAB9-A2D4C9FCEDFF}"/>
              </a:ext>
            </a:extLst>
          </p:cNvPr>
          <p:cNvGrpSpPr/>
          <p:nvPr/>
        </p:nvGrpSpPr>
        <p:grpSpPr>
          <a:xfrm>
            <a:off x="2740358" y="4719921"/>
            <a:ext cx="3508042" cy="108000"/>
            <a:chOff x="2740358" y="3290138"/>
            <a:chExt cx="3508042" cy="108000"/>
          </a:xfrm>
        </p:grpSpPr>
        <p:cxnSp>
          <p:nvCxnSpPr>
            <p:cNvPr id="60" name="Straight Connector 59">
              <a:extLst>
                <a:ext uri="{FF2B5EF4-FFF2-40B4-BE49-F238E27FC236}">
                  <a16:creationId xmlns:a16="http://schemas.microsoft.com/office/drawing/2014/main" id="{892FF00C-AEC4-2162-957A-5487D9E296A3}"/>
                </a:ext>
              </a:extLst>
            </p:cNvPr>
            <p:cNvCxnSpPr>
              <a:cxnSpLocks/>
            </p:cNvCxnSpPr>
            <p:nvPr/>
          </p:nvCxnSpPr>
          <p:spPr>
            <a:xfrm>
              <a:off x="3648455" y="3337206"/>
              <a:ext cx="2599945"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FFFBF76C-44BB-E2E5-3774-8F29488A8E51}"/>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65" name="Straight Connector 64">
              <a:extLst>
                <a:ext uri="{FF2B5EF4-FFF2-40B4-BE49-F238E27FC236}">
                  <a16:creationId xmlns:a16="http://schemas.microsoft.com/office/drawing/2014/main" id="{F4E853C2-E9B8-D95F-0C42-DE842707F5E3}"/>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FBAED041-3C4F-42D5-9634-B023CFAF712C}"/>
              </a:ext>
            </a:extLst>
          </p:cNvPr>
          <p:cNvGrpSpPr/>
          <p:nvPr/>
        </p:nvGrpSpPr>
        <p:grpSpPr>
          <a:xfrm>
            <a:off x="2643598" y="2366507"/>
            <a:ext cx="6337440" cy="108000"/>
            <a:chOff x="2643598" y="3290138"/>
            <a:chExt cx="6337440" cy="108000"/>
          </a:xfrm>
        </p:grpSpPr>
        <p:cxnSp>
          <p:nvCxnSpPr>
            <p:cNvPr id="68" name="Straight Connector 67">
              <a:extLst>
                <a:ext uri="{FF2B5EF4-FFF2-40B4-BE49-F238E27FC236}">
                  <a16:creationId xmlns:a16="http://schemas.microsoft.com/office/drawing/2014/main" id="{2B7A27B2-3430-B132-B5CC-D192FEFA4BAB}"/>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CA3EEEAB-C332-269F-07FE-882387C91F61}"/>
                </a:ext>
              </a:extLst>
            </p:cNvPr>
            <p:cNvSpPr/>
            <p:nvPr/>
          </p:nvSpPr>
          <p:spPr bwMode="gray">
            <a:xfrm>
              <a:off x="687419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71" name="Oval 70">
              <a:extLst>
                <a:ext uri="{FF2B5EF4-FFF2-40B4-BE49-F238E27FC236}">
                  <a16:creationId xmlns:a16="http://schemas.microsoft.com/office/drawing/2014/main" id="{905D5BF9-411B-3B5A-42C7-3E8875CCF243}"/>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72" name="Straight Connector 71">
              <a:extLst>
                <a:ext uri="{FF2B5EF4-FFF2-40B4-BE49-F238E27FC236}">
                  <a16:creationId xmlns:a16="http://schemas.microsoft.com/office/drawing/2014/main" id="{2B5295FD-C343-F4BA-B2DF-F43530D10F21}"/>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73" name="TextBox 72">
            <a:extLst>
              <a:ext uri="{FF2B5EF4-FFF2-40B4-BE49-F238E27FC236}">
                <a16:creationId xmlns:a16="http://schemas.microsoft.com/office/drawing/2014/main" id="{13535F54-7D31-BE54-9201-A465CF372399}"/>
              </a:ext>
            </a:extLst>
          </p:cNvPr>
          <p:cNvSpPr txBox="1"/>
          <p:nvPr/>
        </p:nvSpPr>
        <p:spPr>
          <a:xfrm>
            <a:off x="4197138" y="2745200"/>
            <a:ext cx="2066504" cy="49244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When designing the new solution for data gathering, we will leverage multiple accelerators and standard UX methodologies to boost co-creation and design related activities.</a:t>
            </a:r>
          </a:p>
        </p:txBody>
      </p:sp>
      <p:sp>
        <p:nvSpPr>
          <p:cNvPr id="8" name="TextBox 7">
            <a:extLst>
              <a:ext uri="{FF2B5EF4-FFF2-40B4-BE49-F238E27FC236}">
                <a16:creationId xmlns:a16="http://schemas.microsoft.com/office/drawing/2014/main" id="{1FAD325B-E502-E78A-739D-1D2AE223FAD9}"/>
              </a:ext>
            </a:extLst>
          </p:cNvPr>
          <p:cNvSpPr txBox="1"/>
          <p:nvPr/>
        </p:nvSpPr>
        <p:spPr>
          <a:xfrm>
            <a:off x="6913961" y="2745200"/>
            <a:ext cx="2066504" cy="738664"/>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We apply the principles of design thinking to the structure of a business strategy to meet user needs in a way that ultimately improves a business. With this systematic and deliberate approach, we will create solutions that meet your specific objectives.</a:t>
            </a:r>
          </a:p>
        </p:txBody>
      </p:sp>
    </p:spTree>
    <p:extLst>
      <p:ext uri="{BB962C8B-B14F-4D97-AF65-F5344CB8AC3E}">
        <p14:creationId xmlns:p14="http://schemas.microsoft.com/office/powerpoint/2010/main" val="3816788527"/>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63822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5" name="Title 4">
            <a:extLst>
              <a:ext uri="{FF2B5EF4-FFF2-40B4-BE49-F238E27FC236}">
                <a16:creationId xmlns:a16="http://schemas.microsoft.com/office/drawing/2014/main" id="{78BAA032-30C2-4FF6-8262-3E741A18D755}"/>
              </a:ext>
            </a:extLst>
          </p:cNvPr>
          <p:cNvSpPr>
            <a:spLocks noGrp="1"/>
          </p:cNvSpPr>
          <p:nvPr>
            <p:ph type="title"/>
          </p:nvPr>
        </p:nvSpPr>
        <p:spPr>
          <a:xfrm>
            <a:off x="463295" y="417911"/>
            <a:ext cx="11053296" cy="334099"/>
          </a:xfrm>
        </p:spPr>
        <p:txBody>
          <a:bodyPr vert="horz"/>
          <a:lstStyle/>
          <a:p>
            <a:r>
              <a:rPr lang="en-US" sz="2800" dirty="0"/>
              <a:t>We apply a proven methodology across the UX/UI design process</a:t>
            </a:r>
          </a:p>
        </p:txBody>
      </p:sp>
      <p:sp>
        <p:nvSpPr>
          <p:cNvPr id="83" name="Rounded Rectangle 30">
            <a:extLst>
              <a:ext uri="{FF2B5EF4-FFF2-40B4-BE49-F238E27FC236}">
                <a16:creationId xmlns:a16="http://schemas.microsoft.com/office/drawing/2014/main" id="{714BEBAD-DA9E-4974-9950-F8849C06E5D4}"/>
              </a:ext>
            </a:extLst>
          </p:cNvPr>
          <p:cNvSpPr/>
          <p:nvPr/>
        </p:nvSpPr>
        <p:spPr>
          <a:xfrm>
            <a:off x="5096568" y="1300472"/>
            <a:ext cx="6420023" cy="4986028"/>
          </a:xfrm>
          <a:prstGeom prst="roundRect">
            <a:avLst>
              <a:gd name="adj" fmla="val 2824"/>
            </a:avLst>
          </a:prstGeom>
          <a:solidFill>
            <a:schemeClr val="bg1"/>
          </a:solidFill>
          <a:ln>
            <a:noFill/>
          </a:ln>
          <a:effectLst>
            <a:outerShdw blurRad="698500" dist="50800" dir="54000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ounded Rectangle 30">
            <a:extLst>
              <a:ext uri="{FF2B5EF4-FFF2-40B4-BE49-F238E27FC236}">
                <a16:creationId xmlns:a16="http://schemas.microsoft.com/office/drawing/2014/main" id="{2482F57A-CA4C-42E1-B2F6-B8B04769B96C}"/>
              </a:ext>
            </a:extLst>
          </p:cNvPr>
          <p:cNvSpPr/>
          <p:nvPr/>
        </p:nvSpPr>
        <p:spPr>
          <a:xfrm>
            <a:off x="5245779" y="1901452"/>
            <a:ext cx="6125136" cy="2405501"/>
          </a:xfrm>
          <a:prstGeom prst="roundRect">
            <a:avLst>
              <a:gd name="adj" fmla="val 2824"/>
            </a:avLst>
          </a:prstGeom>
          <a:solidFill>
            <a:schemeClr val="bg1"/>
          </a:solidFill>
          <a:ln>
            <a:noFill/>
          </a:ln>
          <a:effectLst>
            <a:outerShdw blurRad="698500" dist="50800" dir="54000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grpSp>
        <p:nvGrpSpPr>
          <p:cNvPr id="8" name="Group 7">
            <a:extLst>
              <a:ext uri="{FF2B5EF4-FFF2-40B4-BE49-F238E27FC236}">
                <a16:creationId xmlns:a16="http://schemas.microsoft.com/office/drawing/2014/main" id="{4B48CA8B-AB86-4C11-A9BB-5B65198D7222}"/>
              </a:ext>
            </a:extLst>
          </p:cNvPr>
          <p:cNvGrpSpPr/>
          <p:nvPr/>
        </p:nvGrpSpPr>
        <p:grpSpPr>
          <a:xfrm>
            <a:off x="5786301" y="1973091"/>
            <a:ext cx="5131493" cy="2190694"/>
            <a:chOff x="2951367" y="2209696"/>
            <a:chExt cx="5754482" cy="2422102"/>
          </a:xfrm>
        </p:grpSpPr>
        <p:sp>
          <p:nvSpPr>
            <p:cNvPr id="84" name="Abgerundetes Rechteck 115">
              <a:extLst>
                <a:ext uri="{FF2B5EF4-FFF2-40B4-BE49-F238E27FC236}">
                  <a16:creationId xmlns:a16="http://schemas.microsoft.com/office/drawing/2014/main" id="{6F13B684-BC90-B942-BC9B-A5E8A0DBFD46}"/>
                </a:ext>
              </a:extLst>
            </p:cNvPr>
            <p:cNvSpPr/>
            <p:nvPr/>
          </p:nvSpPr>
          <p:spPr>
            <a:xfrm rot="2700000">
              <a:off x="5149195" y="2656582"/>
              <a:ext cx="1401906" cy="1414535"/>
            </a:xfrm>
            <a:prstGeom prst="roundRect">
              <a:avLst>
                <a:gd name="adj" fmla="val 9744"/>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Abgerundetes Rechteck 116">
              <a:extLst>
                <a:ext uri="{FF2B5EF4-FFF2-40B4-BE49-F238E27FC236}">
                  <a16:creationId xmlns:a16="http://schemas.microsoft.com/office/drawing/2014/main" id="{7F4BE9AF-6756-D442-B577-0D1FB15618F0}"/>
                </a:ext>
              </a:extLst>
            </p:cNvPr>
            <p:cNvSpPr/>
            <p:nvPr/>
          </p:nvSpPr>
          <p:spPr>
            <a:xfrm rot="2700000">
              <a:off x="3180357" y="2656582"/>
              <a:ext cx="1401906" cy="1414535"/>
            </a:xfrm>
            <a:prstGeom prst="roundRect">
              <a:avLst>
                <a:gd name="adj" fmla="val 10630"/>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feld 7">
              <a:extLst>
                <a:ext uri="{FF2B5EF4-FFF2-40B4-BE49-F238E27FC236}">
                  <a16:creationId xmlns:a16="http://schemas.microsoft.com/office/drawing/2014/main" id="{BE340A16-F17F-2F47-9D7A-56188DE19162}"/>
                </a:ext>
              </a:extLst>
            </p:cNvPr>
            <p:cNvSpPr txBox="1"/>
            <p:nvPr/>
          </p:nvSpPr>
          <p:spPr>
            <a:xfrm rot="2700000">
              <a:off x="2620172" y="3827664"/>
              <a:ext cx="1368964" cy="239304"/>
            </a:xfrm>
            <a:prstGeom prst="rect">
              <a:avLst/>
            </a:prstGeom>
            <a:noFill/>
          </p:spPr>
          <p:txBody>
            <a:bodyPr wrap="none" lIns="0" tIns="0" rIns="0" bIns="0" rtlCol="0" anchor="ctr" anchorCtr="0">
              <a:noAutofit/>
            </a:bodyPr>
            <a:lstStyle/>
            <a:p>
              <a:pPr algn="ctr"/>
              <a:r>
                <a:rPr lang="en-US" sz="1000" i="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iverge</a:t>
              </a:r>
            </a:p>
          </p:txBody>
        </p:sp>
        <p:sp>
          <p:nvSpPr>
            <p:cNvPr id="88" name="Textfeld 6">
              <a:extLst>
                <a:ext uri="{FF2B5EF4-FFF2-40B4-BE49-F238E27FC236}">
                  <a16:creationId xmlns:a16="http://schemas.microsoft.com/office/drawing/2014/main" id="{5621679E-E6C0-5440-B995-3C86DFC6060C}"/>
                </a:ext>
              </a:extLst>
            </p:cNvPr>
            <p:cNvSpPr txBox="1"/>
            <p:nvPr/>
          </p:nvSpPr>
          <p:spPr>
            <a:xfrm rot="18900000">
              <a:off x="3795557" y="3811933"/>
              <a:ext cx="1356212" cy="240576"/>
            </a:xfrm>
            <a:prstGeom prst="rect">
              <a:avLst/>
            </a:prstGeom>
            <a:noFill/>
          </p:spPr>
          <p:txBody>
            <a:bodyPr wrap="none" lIns="0" tIns="0" rIns="0" bIns="0" rtlCol="0" anchor="ctr" anchorCtr="0">
              <a:noAutofit/>
            </a:bodyPr>
            <a:lstStyle/>
            <a:p>
              <a:pPr algn="ctr"/>
              <a:r>
                <a:rPr lang="en-US" sz="1000" i="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nverge</a:t>
              </a:r>
            </a:p>
          </p:txBody>
        </p:sp>
        <p:cxnSp>
          <p:nvCxnSpPr>
            <p:cNvPr id="90" name="Straight Connector 165">
              <a:extLst>
                <a:ext uri="{FF2B5EF4-FFF2-40B4-BE49-F238E27FC236}">
                  <a16:creationId xmlns:a16="http://schemas.microsoft.com/office/drawing/2014/main" id="{5E5AAF0F-D508-8744-9D78-01C1DC4CF593}"/>
                </a:ext>
              </a:extLst>
            </p:cNvPr>
            <p:cNvCxnSpPr>
              <a:cxnSpLocks/>
            </p:cNvCxnSpPr>
            <p:nvPr/>
          </p:nvCxnSpPr>
          <p:spPr>
            <a:xfrm>
              <a:off x="3879373" y="2515330"/>
              <a:ext cx="0" cy="169274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1" name="Group 177">
              <a:extLst>
                <a:ext uri="{FF2B5EF4-FFF2-40B4-BE49-F238E27FC236}">
                  <a16:creationId xmlns:a16="http://schemas.microsoft.com/office/drawing/2014/main" id="{87F293BA-C183-3845-BC93-105ADC3E61AE}"/>
                </a:ext>
              </a:extLst>
            </p:cNvPr>
            <p:cNvGrpSpPr/>
            <p:nvPr/>
          </p:nvGrpSpPr>
          <p:grpSpPr>
            <a:xfrm>
              <a:off x="3946534" y="2661783"/>
              <a:ext cx="667419" cy="1419287"/>
              <a:chOff x="1008222" y="2751763"/>
              <a:chExt cx="1041150" cy="2214041"/>
            </a:xfrm>
          </p:grpSpPr>
          <p:cxnSp>
            <p:nvCxnSpPr>
              <p:cNvPr id="103" name="Straight Connector 178">
                <a:extLst>
                  <a:ext uri="{FF2B5EF4-FFF2-40B4-BE49-F238E27FC236}">
                    <a16:creationId xmlns:a16="http://schemas.microsoft.com/office/drawing/2014/main" id="{32DBD914-8BCE-2F4B-88EF-DB3C74A29919}"/>
                  </a:ext>
                </a:extLst>
              </p:cNvPr>
              <p:cNvCxnSpPr>
                <a:cxnSpLocks/>
              </p:cNvCxnSpPr>
              <p:nvPr/>
            </p:nvCxnSpPr>
            <p:spPr>
              <a:xfrm flipH="1" flipV="1">
                <a:off x="1008222" y="2751763"/>
                <a:ext cx="1041150" cy="885275"/>
              </a:xfrm>
              <a:prstGeom prst="line">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104" name="Straight Connector 179">
                <a:extLst>
                  <a:ext uri="{FF2B5EF4-FFF2-40B4-BE49-F238E27FC236}">
                    <a16:creationId xmlns:a16="http://schemas.microsoft.com/office/drawing/2014/main" id="{2050F7BC-A4CA-1D45-A4ED-E0BD85028040}"/>
                  </a:ext>
                </a:extLst>
              </p:cNvPr>
              <p:cNvCxnSpPr>
                <a:cxnSpLocks/>
              </p:cNvCxnSpPr>
              <p:nvPr/>
            </p:nvCxnSpPr>
            <p:spPr>
              <a:xfrm flipH="1" flipV="1">
                <a:off x="1008222" y="3489777"/>
                <a:ext cx="1015374" cy="287929"/>
              </a:xfrm>
              <a:prstGeom prst="line">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80">
                <a:extLst>
                  <a:ext uri="{FF2B5EF4-FFF2-40B4-BE49-F238E27FC236}">
                    <a16:creationId xmlns:a16="http://schemas.microsoft.com/office/drawing/2014/main" id="{8426BE8A-24E4-0B48-8487-951BC234AF7E}"/>
                  </a:ext>
                </a:extLst>
              </p:cNvPr>
              <p:cNvCxnSpPr>
                <a:cxnSpLocks/>
              </p:cNvCxnSpPr>
              <p:nvPr/>
            </p:nvCxnSpPr>
            <p:spPr>
              <a:xfrm flipH="1">
                <a:off x="1008222" y="3918373"/>
                <a:ext cx="1015374" cy="309418"/>
              </a:xfrm>
              <a:prstGeom prst="line">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106" name="Straight Connector 181">
                <a:extLst>
                  <a:ext uri="{FF2B5EF4-FFF2-40B4-BE49-F238E27FC236}">
                    <a16:creationId xmlns:a16="http://schemas.microsoft.com/office/drawing/2014/main" id="{202BCB6F-1158-F248-BAED-A8ACEA796382}"/>
                  </a:ext>
                </a:extLst>
              </p:cNvPr>
              <p:cNvCxnSpPr>
                <a:cxnSpLocks/>
              </p:cNvCxnSpPr>
              <p:nvPr/>
            </p:nvCxnSpPr>
            <p:spPr>
              <a:xfrm flipH="1">
                <a:off x="1008222" y="4059041"/>
                <a:ext cx="1041150" cy="906763"/>
              </a:xfrm>
              <a:prstGeom prst="line">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cxnSp>
        </p:grpSp>
        <p:grpSp>
          <p:nvGrpSpPr>
            <p:cNvPr id="92" name="Group 184">
              <a:extLst>
                <a:ext uri="{FF2B5EF4-FFF2-40B4-BE49-F238E27FC236}">
                  <a16:creationId xmlns:a16="http://schemas.microsoft.com/office/drawing/2014/main" id="{88DDB1CD-CB84-D442-9260-073F52C10002}"/>
                </a:ext>
              </a:extLst>
            </p:cNvPr>
            <p:cNvGrpSpPr/>
            <p:nvPr/>
          </p:nvGrpSpPr>
          <p:grpSpPr>
            <a:xfrm flipH="1">
              <a:off x="3143293" y="2661783"/>
              <a:ext cx="667419" cy="1419287"/>
              <a:chOff x="1008222" y="2751763"/>
              <a:chExt cx="1041150" cy="2214041"/>
            </a:xfrm>
          </p:grpSpPr>
          <p:cxnSp>
            <p:nvCxnSpPr>
              <p:cNvPr id="99" name="Straight Connector 185">
                <a:extLst>
                  <a:ext uri="{FF2B5EF4-FFF2-40B4-BE49-F238E27FC236}">
                    <a16:creationId xmlns:a16="http://schemas.microsoft.com/office/drawing/2014/main" id="{032A0AF5-65E3-624D-9D40-2A8918D3F03A}"/>
                  </a:ext>
                </a:extLst>
              </p:cNvPr>
              <p:cNvCxnSpPr>
                <a:cxnSpLocks/>
              </p:cNvCxnSpPr>
              <p:nvPr/>
            </p:nvCxnSpPr>
            <p:spPr>
              <a:xfrm flipH="1" flipV="1">
                <a:off x="1008222" y="2751763"/>
                <a:ext cx="1041150" cy="885275"/>
              </a:xfrm>
              <a:prstGeom prst="line">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Connector 186">
                <a:extLst>
                  <a:ext uri="{FF2B5EF4-FFF2-40B4-BE49-F238E27FC236}">
                    <a16:creationId xmlns:a16="http://schemas.microsoft.com/office/drawing/2014/main" id="{80E198F2-2072-FD47-A649-4BBAB72F7531}"/>
                  </a:ext>
                </a:extLst>
              </p:cNvPr>
              <p:cNvCxnSpPr>
                <a:cxnSpLocks/>
              </p:cNvCxnSpPr>
              <p:nvPr/>
            </p:nvCxnSpPr>
            <p:spPr>
              <a:xfrm flipH="1" flipV="1">
                <a:off x="1008222" y="3489777"/>
                <a:ext cx="1015374" cy="287929"/>
              </a:xfrm>
              <a:prstGeom prst="line">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87">
                <a:extLst>
                  <a:ext uri="{FF2B5EF4-FFF2-40B4-BE49-F238E27FC236}">
                    <a16:creationId xmlns:a16="http://schemas.microsoft.com/office/drawing/2014/main" id="{CA62A6F8-639A-CB43-B0E9-105FE93838B5}"/>
                  </a:ext>
                </a:extLst>
              </p:cNvPr>
              <p:cNvCxnSpPr>
                <a:cxnSpLocks/>
              </p:cNvCxnSpPr>
              <p:nvPr/>
            </p:nvCxnSpPr>
            <p:spPr>
              <a:xfrm flipH="1">
                <a:off x="1008222" y="3918373"/>
                <a:ext cx="1015374" cy="309418"/>
              </a:xfrm>
              <a:prstGeom prst="line">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Connector 188">
                <a:extLst>
                  <a:ext uri="{FF2B5EF4-FFF2-40B4-BE49-F238E27FC236}">
                    <a16:creationId xmlns:a16="http://schemas.microsoft.com/office/drawing/2014/main" id="{773F0008-A15B-B249-AD54-876A6452BC68}"/>
                  </a:ext>
                </a:extLst>
              </p:cNvPr>
              <p:cNvCxnSpPr>
                <a:cxnSpLocks/>
              </p:cNvCxnSpPr>
              <p:nvPr/>
            </p:nvCxnSpPr>
            <p:spPr>
              <a:xfrm flipH="1">
                <a:off x="1008222" y="4059041"/>
                <a:ext cx="1041150" cy="906763"/>
              </a:xfrm>
              <a:prstGeom prst="line">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93" name="Oval 210">
              <a:extLst>
                <a:ext uri="{FF2B5EF4-FFF2-40B4-BE49-F238E27FC236}">
                  <a16:creationId xmlns:a16="http://schemas.microsoft.com/office/drawing/2014/main" id="{D2091925-065C-2B48-97B6-7E9E8EBD572C}"/>
                </a:ext>
              </a:extLst>
            </p:cNvPr>
            <p:cNvSpPr/>
            <p:nvPr/>
          </p:nvSpPr>
          <p:spPr>
            <a:xfrm>
              <a:off x="3528940" y="3141325"/>
              <a:ext cx="122140" cy="122140"/>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Oval 211">
              <a:extLst>
                <a:ext uri="{FF2B5EF4-FFF2-40B4-BE49-F238E27FC236}">
                  <a16:creationId xmlns:a16="http://schemas.microsoft.com/office/drawing/2014/main" id="{27CEA719-30A6-444A-B852-AE59102EFC23}"/>
                </a:ext>
              </a:extLst>
            </p:cNvPr>
            <p:cNvSpPr/>
            <p:nvPr/>
          </p:nvSpPr>
          <p:spPr>
            <a:xfrm>
              <a:off x="3579725" y="3855081"/>
              <a:ext cx="122140" cy="122140"/>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Oval 212">
              <a:extLst>
                <a:ext uri="{FF2B5EF4-FFF2-40B4-BE49-F238E27FC236}">
                  <a16:creationId xmlns:a16="http://schemas.microsoft.com/office/drawing/2014/main" id="{9AB53660-F7B4-6A45-844A-F17A5B8A745C}"/>
                </a:ext>
              </a:extLst>
            </p:cNvPr>
            <p:cNvSpPr/>
            <p:nvPr/>
          </p:nvSpPr>
          <p:spPr>
            <a:xfrm>
              <a:off x="3343786" y="3435024"/>
              <a:ext cx="122140" cy="122140"/>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Oval 213">
              <a:extLst>
                <a:ext uri="{FF2B5EF4-FFF2-40B4-BE49-F238E27FC236}">
                  <a16:creationId xmlns:a16="http://schemas.microsoft.com/office/drawing/2014/main" id="{7626AEE8-D91E-E048-B866-33B3206DE77B}"/>
                </a:ext>
              </a:extLst>
            </p:cNvPr>
            <p:cNvSpPr/>
            <p:nvPr/>
          </p:nvSpPr>
          <p:spPr>
            <a:xfrm>
              <a:off x="3590211" y="2751397"/>
              <a:ext cx="122140" cy="122140"/>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Oval 221">
              <a:extLst>
                <a:ext uri="{FF2B5EF4-FFF2-40B4-BE49-F238E27FC236}">
                  <a16:creationId xmlns:a16="http://schemas.microsoft.com/office/drawing/2014/main" id="{13C7FAC6-4B64-A648-88A0-224C32E80B1D}"/>
                </a:ext>
              </a:extLst>
            </p:cNvPr>
            <p:cNvSpPr/>
            <p:nvPr/>
          </p:nvSpPr>
          <p:spPr>
            <a:xfrm>
              <a:off x="4052804" y="2751397"/>
              <a:ext cx="122140" cy="122140"/>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222">
              <a:extLst>
                <a:ext uri="{FF2B5EF4-FFF2-40B4-BE49-F238E27FC236}">
                  <a16:creationId xmlns:a16="http://schemas.microsoft.com/office/drawing/2014/main" id="{85F0CB72-0BDE-734B-9932-0489058D5717}"/>
                </a:ext>
              </a:extLst>
            </p:cNvPr>
            <p:cNvSpPr/>
            <p:nvPr/>
          </p:nvSpPr>
          <p:spPr>
            <a:xfrm>
              <a:off x="4311916" y="3417325"/>
              <a:ext cx="122140" cy="122140"/>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1" name="Straight Connector 166">
              <a:extLst>
                <a:ext uri="{FF2B5EF4-FFF2-40B4-BE49-F238E27FC236}">
                  <a16:creationId xmlns:a16="http://schemas.microsoft.com/office/drawing/2014/main" id="{AD1C3BCB-23C4-5747-BD05-E2582353EC62}"/>
                </a:ext>
              </a:extLst>
            </p:cNvPr>
            <p:cNvCxnSpPr>
              <a:cxnSpLocks/>
            </p:cNvCxnSpPr>
            <p:nvPr/>
          </p:nvCxnSpPr>
          <p:spPr>
            <a:xfrm>
              <a:off x="5839988" y="2515330"/>
              <a:ext cx="0" cy="169274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12" name="Group 172">
              <a:extLst>
                <a:ext uri="{FF2B5EF4-FFF2-40B4-BE49-F238E27FC236}">
                  <a16:creationId xmlns:a16="http://schemas.microsoft.com/office/drawing/2014/main" id="{2B032F8B-1125-1140-9FA1-655E8B6F33D5}"/>
                </a:ext>
              </a:extLst>
            </p:cNvPr>
            <p:cNvGrpSpPr/>
            <p:nvPr/>
          </p:nvGrpSpPr>
          <p:grpSpPr>
            <a:xfrm>
              <a:off x="5913877" y="2661783"/>
              <a:ext cx="667419" cy="1419287"/>
              <a:chOff x="1008222" y="2751763"/>
              <a:chExt cx="1041150" cy="2214041"/>
            </a:xfrm>
          </p:grpSpPr>
          <p:cxnSp>
            <p:nvCxnSpPr>
              <p:cNvPr id="124" name="Straight Connector 173">
                <a:extLst>
                  <a:ext uri="{FF2B5EF4-FFF2-40B4-BE49-F238E27FC236}">
                    <a16:creationId xmlns:a16="http://schemas.microsoft.com/office/drawing/2014/main" id="{5E824959-087B-434C-B0EF-FBB36F518F1C}"/>
                  </a:ext>
                </a:extLst>
              </p:cNvPr>
              <p:cNvCxnSpPr>
                <a:cxnSpLocks/>
              </p:cNvCxnSpPr>
              <p:nvPr/>
            </p:nvCxnSpPr>
            <p:spPr>
              <a:xfrm flipH="1" flipV="1">
                <a:off x="1008222" y="2751763"/>
                <a:ext cx="1041150" cy="885275"/>
              </a:xfrm>
              <a:prstGeom prst="line">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125" name="Straight Connector 174">
                <a:extLst>
                  <a:ext uri="{FF2B5EF4-FFF2-40B4-BE49-F238E27FC236}">
                    <a16:creationId xmlns:a16="http://schemas.microsoft.com/office/drawing/2014/main" id="{2D43FE60-D33F-3443-A146-A07838B5A12D}"/>
                  </a:ext>
                </a:extLst>
              </p:cNvPr>
              <p:cNvCxnSpPr>
                <a:cxnSpLocks/>
              </p:cNvCxnSpPr>
              <p:nvPr/>
            </p:nvCxnSpPr>
            <p:spPr>
              <a:xfrm flipH="1" flipV="1">
                <a:off x="1008222" y="3489777"/>
                <a:ext cx="1015374" cy="287929"/>
              </a:xfrm>
              <a:prstGeom prst="line">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126" name="Straight Connector 175">
                <a:extLst>
                  <a:ext uri="{FF2B5EF4-FFF2-40B4-BE49-F238E27FC236}">
                    <a16:creationId xmlns:a16="http://schemas.microsoft.com/office/drawing/2014/main" id="{962FD8E5-21C5-5B46-8857-55F6DCF6B058}"/>
                  </a:ext>
                </a:extLst>
              </p:cNvPr>
              <p:cNvCxnSpPr>
                <a:cxnSpLocks/>
              </p:cNvCxnSpPr>
              <p:nvPr/>
            </p:nvCxnSpPr>
            <p:spPr>
              <a:xfrm flipH="1">
                <a:off x="1008222" y="3918373"/>
                <a:ext cx="1015374" cy="309418"/>
              </a:xfrm>
              <a:prstGeom prst="line">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127" name="Straight Connector 176">
                <a:extLst>
                  <a:ext uri="{FF2B5EF4-FFF2-40B4-BE49-F238E27FC236}">
                    <a16:creationId xmlns:a16="http://schemas.microsoft.com/office/drawing/2014/main" id="{CA62929D-6354-AB4B-8DCE-1A71A964968A}"/>
                  </a:ext>
                </a:extLst>
              </p:cNvPr>
              <p:cNvCxnSpPr>
                <a:cxnSpLocks/>
              </p:cNvCxnSpPr>
              <p:nvPr/>
            </p:nvCxnSpPr>
            <p:spPr>
              <a:xfrm flipH="1">
                <a:off x="1008222" y="4059041"/>
                <a:ext cx="1041150" cy="906763"/>
              </a:xfrm>
              <a:prstGeom prst="line">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cxnSp>
        </p:grpSp>
        <p:grpSp>
          <p:nvGrpSpPr>
            <p:cNvPr id="113" name="Group 189">
              <a:extLst>
                <a:ext uri="{FF2B5EF4-FFF2-40B4-BE49-F238E27FC236}">
                  <a16:creationId xmlns:a16="http://schemas.microsoft.com/office/drawing/2014/main" id="{68A360F0-0786-A34C-99E3-C580A5E0AC95}"/>
                </a:ext>
              </a:extLst>
            </p:cNvPr>
            <p:cNvGrpSpPr/>
            <p:nvPr/>
          </p:nvGrpSpPr>
          <p:grpSpPr>
            <a:xfrm flipH="1">
              <a:off x="5099519" y="2661783"/>
              <a:ext cx="667419" cy="1419287"/>
              <a:chOff x="1008222" y="2751763"/>
              <a:chExt cx="1041150" cy="2214041"/>
            </a:xfrm>
          </p:grpSpPr>
          <p:cxnSp>
            <p:nvCxnSpPr>
              <p:cNvPr id="120" name="Straight Connector 190">
                <a:extLst>
                  <a:ext uri="{FF2B5EF4-FFF2-40B4-BE49-F238E27FC236}">
                    <a16:creationId xmlns:a16="http://schemas.microsoft.com/office/drawing/2014/main" id="{3AE8C847-EED5-0543-919E-2F09A961B062}"/>
                  </a:ext>
                </a:extLst>
              </p:cNvPr>
              <p:cNvCxnSpPr>
                <a:cxnSpLocks/>
              </p:cNvCxnSpPr>
              <p:nvPr/>
            </p:nvCxnSpPr>
            <p:spPr>
              <a:xfrm flipH="1" flipV="1">
                <a:off x="1008222" y="2751763"/>
                <a:ext cx="1041150" cy="885275"/>
              </a:xfrm>
              <a:prstGeom prst="line">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Connector 191">
                <a:extLst>
                  <a:ext uri="{FF2B5EF4-FFF2-40B4-BE49-F238E27FC236}">
                    <a16:creationId xmlns:a16="http://schemas.microsoft.com/office/drawing/2014/main" id="{BC114643-0F53-8F47-8296-5730FA41D132}"/>
                  </a:ext>
                </a:extLst>
              </p:cNvPr>
              <p:cNvCxnSpPr>
                <a:cxnSpLocks/>
              </p:cNvCxnSpPr>
              <p:nvPr/>
            </p:nvCxnSpPr>
            <p:spPr>
              <a:xfrm flipH="1" flipV="1">
                <a:off x="1008222" y="3489777"/>
                <a:ext cx="1015374" cy="287929"/>
              </a:xfrm>
              <a:prstGeom prst="line">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Connector 192">
                <a:extLst>
                  <a:ext uri="{FF2B5EF4-FFF2-40B4-BE49-F238E27FC236}">
                    <a16:creationId xmlns:a16="http://schemas.microsoft.com/office/drawing/2014/main" id="{E900981A-FFCB-AB47-A0E5-157D7A5A1DDC}"/>
                  </a:ext>
                </a:extLst>
              </p:cNvPr>
              <p:cNvCxnSpPr>
                <a:cxnSpLocks/>
              </p:cNvCxnSpPr>
              <p:nvPr/>
            </p:nvCxnSpPr>
            <p:spPr>
              <a:xfrm flipH="1">
                <a:off x="1008222" y="3918373"/>
                <a:ext cx="1015374" cy="309418"/>
              </a:xfrm>
              <a:prstGeom prst="line">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Connector 193">
                <a:extLst>
                  <a:ext uri="{FF2B5EF4-FFF2-40B4-BE49-F238E27FC236}">
                    <a16:creationId xmlns:a16="http://schemas.microsoft.com/office/drawing/2014/main" id="{FF036CE4-AA63-174F-A13D-48700E4A7719}"/>
                  </a:ext>
                </a:extLst>
              </p:cNvPr>
              <p:cNvCxnSpPr>
                <a:cxnSpLocks/>
              </p:cNvCxnSpPr>
              <p:nvPr/>
            </p:nvCxnSpPr>
            <p:spPr>
              <a:xfrm flipH="1">
                <a:off x="1008222" y="4059041"/>
                <a:ext cx="1041150" cy="906763"/>
              </a:xfrm>
              <a:prstGeom prst="line">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14" name="Oval 215">
              <a:extLst>
                <a:ext uri="{FF2B5EF4-FFF2-40B4-BE49-F238E27FC236}">
                  <a16:creationId xmlns:a16="http://schemas.microsoft.com/office/drawing/2014/main" id="{71D80CB0-99B4-A34F-BE8A-7934ACA77071}"/>
                </a:ext>
              </a:extLst>
            </p:cNvPr>
            <p:cNvSpPr/>
            <p:nvPr/>
          </p:nvSpPr>
          <p:spPr>
            <a:xfrm>
              <a:off x="5450809" y="3138515"/>
              <a:ext cx="117962" cy="117961"/>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Oval 216">
              <a:extLst>
                <a:ext uri="{FF2B5EF4-FFF2-40B4-BE49-F238E27FC236}">
                  <a16:creationId xmlns:a16="http://schemas.microsoft.com/office/drawing/2014/main" id="{AB6D261A-DA61-F44C-8C54-D6C5D89A9323}"/>
                </a:ext>
              </a:extLst>
            </p:cNvPr>
            <p:cNvSpPr/>
            <p:nvPr/>
          </p:nvSpPr>
          <p:spPr>
            <a:xfrm>
              <a:off x="5378507" y="3742950"/>
              <a:ext cx="117962" cy="117961"/>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Oval 217">
              <a:extLst>
                <a:ext uri="{FF2B5EF4-FFF2-40B4-BE49-F238E27FC236}">
                  <a16:creationId xmlns:a16="http://schemas.microsoft.com/office/drawing/2014/main" id="{60C69410-23A1-5E43-A54E-3F7A2964F70D}"/>
                </a:ext>
              </a:extLst>
            </p:cNvPr>
            <p:cNvSpPr/>
            <p:nvPr/>
          </p:nvSpPr>
          <p:spPr>
            <a:xfrm>
              <a:off x="5506097" y="3489110"/>
              <a:ext cx="117962" cy="117961"/>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218">
              <a:extLst>
                <a:ext uri="{FF2B5EF4-FFF2-40B4-BE49-F238E27FC236}">
                  <a16:creationId xmlns:a16="http://schemas.microsoft.com/office/drawing/2014/main" id="{9CE66952-DF75-8445-9AE8-9110E985B44B}"/>
                </a:ext>
              </a:extLst>
            </p:cNvPr>
            <p:cNvSpPr/>
            <p:nvPr/>
          </p:nvSpPr>
          <p:spPr>
            <a:xfrm>
              <a:off x="5483364" y="2800865"/>
              <a:ext cx="117962" cy="117961"/>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219">
              <a:extLst>
                <a:ext uri="{FF2B5EF4-FFF2-40B4-BE49-F238E27FC236}">
                  <a16:creationId xmlns:a16="http://schemas.microsoft.com/office/drawing/2014/main" id="{A31C31E2-0FF7-294A-B494-3921946B49F7}"/>
                </a:ext>
              </a:extLst>
            </p:cNvPr>
            <p:cNvSpPr/>
            <p:nvPr/>
          </p:nvSpPr>
          <p:spPr>
            <a:xfrm>
              <a:off x="6022299" y="3128275"/>
              <a:ext cx="117962" cy="117961"/>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220">
              <a:extLst>
                <a:ext uri="{FF2B5EF4-FFF2-40B4-BE49-F238E27FC236}">
                  <a16:creationId xmlns:a16="http://schemas.microsoft.com/office/drawing/2014/main" id="{FBDF0599-E89D-FE4C-B6AA-2E417589E7F6}"/>
                </a:ext>
              </a:extLst>
            </p:cNvPr>
            <p:cNvSpPr/>
            <p:nvPr/>
          </p:nvSpPr>
          <p:spPr>
            <a:xfrm>
              <a:off x="6197660" y="3731570"/>
              <a:ext cx="117962" cy="117961"/>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Textfeld 7">
              <a:extLst>
                <a:ext uri="{FF2B5EF4-FFF2-40B4-BE49-F238E27FC236}">
                  <a16:creationId xmlns:a16="http://schemas.microsoft.com/office/drawing/2014/main" id="{619F446F-8A13-B34B-8B2D-08993DB5D720}"/>
                </a:ext>
              </a:extLst>
            </p:cNvPr>
            <p:cNvSpPr txBox="1"/>
            <p:nvPr/>
          </p:nvSpPr>
          <p:spPr>
            <a:xfrm rot="2700000">
              <a:off x="4716391" y="3824154"/>
              <a:ext cx="1094742" cy="240576"/>
            </a:xfrm>
            <a:prstGeom prst="rect">
              <a:avLst/>
            </a:prstGeom>
            <a:noFill/>
          </p:spPr>
          <p:txBody>
            <a:bodyPr wrap="none" lIns="0" tIns="0" rIns="0" bIns="0" rtlCol="0" anchor="ctr" anchorCtr="0">
              <a:noAutofit/>
            </a:bodyPr>
            <a:lstStyle/>
            <a:p>
              <a:pPr algn="ctr"/>
              <a:r>
                <a:rPr lang="en-US" sz="1000" i="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iverge</a:t>
              </a:r>
            </a:p>
          </p:txBody>
        </p:sp>
        <p:sp>
          <p:nvSpPr>
            <p:cNvPr id="110" name="Textfeld 6">
              <a:extLst>
                <a:ext uri="{FF2B5EF4-FFF2-40B4-BE49-F238E27FC236}">
                  <a16:creationId xmlns:a16="http://schemas.microsoft.com/office/drawing/2014/main" id="{90F37BB4-0BCD-954A-BE31-867933764336}"/>
                </a:ext>
              </a:extLst>
            </p:cNvPr>
            <p:cNvSpPr txBox="1"/>
            <p:nvPr/>
          </p:nvSpPr>
          <p:spPr>
            <a:xfrm rot="18900000">
              <a:off x="5814880" y="3836378"/>
              <a:ext cx="1198576" cy="240576"/>
            </a:xfrm>
            <a:prstGeom prst="rect">
              <a:avLst/>
            </a:prstGeom>
            <a:noFill/>
          </p:spPr>
          <p:txBody>
            <a:bodyPr wrap="none" lIns="0" tIns="0" rIns="0" bIns="0" rtlCol="0" anchor="ctr" anchorCtr="0">
              <a:noAutofit/>
            </a:bodyPr>
            <a:lstStyle/>
            <a:p>
              <a:pPr algn="ctr"/>
              <a:r>
                <a:rPr lang="en-US" sz="1000" i="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nverge</a:t>
              </a:r>
            </a:p>
          </p:txBody>
        </p:sp>
        <p:sp>
          <p:nvSpPr>
            <p:cNvPr id="135" name="Oval 20">
              <a:extLst>
                <a:ext uri="{FF2B5EF4-FFF2-40B4-BE49-F238E27FC236}">
                  <a16:creationId xmlns:a16="http://schemas.microsoft.com/office/drawing/2014/main" id="{6DD07B94-1C18-7E44-BB8D-FF953F8449CD}"/>
                </a:ext>
              </a:extLst>
            </p:cNvPr>
            <p:cNvSpPr/>
            <p:nvPr/>
          </p:nvSpPr>
          <p:spPr>
            <a:xfrm rot="20469614">
              <a:off x="6911163" y="2481562"/>
              <a:ext cx="1794686" cy="180015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0" name="Rectangle 145">
              <a:extLst>
                <a:ext uri="{FF2B5EF4-FFF2-40B4-BE49-F238E27FC236}">
                  <a16:creationId xmlns:a16="http://schemas.microsoft.com/office/drawing/2014/main" id="{70E9866F-0424-BD47-B6C1-67F431310DEE}"/>
                </a:ext>
              </a:extLst>
            </p:cNvPr>
            <p:cNvSpPr/>
            <p:nvPr/>
          </p:nvSpPr>
          <p:spPr>
            <a:xfrm>
              <a:off x="7102901" y="3277204"/>
              <a:ext cx="1411212" cy="209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velopment Space</a:t>
              </a:r>
            </a:p>
          </p:txBody>
        </p:sp>
        <p:sp>
          <p:nvSpPr>
            <p:cNvPr id="154" name="Rechteck 204">
              <a:extLst>
                <a:ext uri="{FF2B5EF4-FFF2-40B4-BE49-F238E27FC236}">
                  <a16:creationId xmlns:a16="http://schemas.microsoft.com/office/drawing/2014/main" id="{62FB96A5-3E47-B246-A370-A8485C652CF5}"/>
                </a:ext>
              </a:extLst>
            </p:cNvPr>
            <p:cNvSpPr/>
            <p:nvPr/>
          </p:nvSpPr>
          <p:spPr>
            <a:xfrm>
              <a:off x="3793608" y="3297962"/>
              <a:ext cx="171471" cy="1714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ectangle 9">
              <a:extLst>
                <a:ext uri="{FF2B5EF4-FFF2-40B4-BE49-F238E27FC236}">
                  <a16:creationId xmlns:a16="http://schemas.microsoft.com/office/drawing/2014/main" id="{75A3E397-556C-7245-B541-72FC34E70F62}"/>
                </a:ext>
              </a:extLst>
            </p:cNvPr>
            <p:cNvSpPr/>
            <p:nvPr/>
          </p:nvSpPr>
          <p:spPr>
            <a:xfrm>
              <a:off x="3238744" y="3256447"/>
              <a:ext cx="1277148" cy="21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blem Space</a:t>
              </a:r>
            </a:p>
          </p:txBody>
        </p:sp>
        <p:sp>
          <p:nvSpPr>
            <p:cNvPr id="156" name="Rechteck 206">
              <a:extLst>
                <a:ext uri="{FF2B5EF4-FFF2-40B4-BE49-F238E27FC236}">
                  <a16:creationId xmlns:a16="http://schemas.microsoft.com/office/drawing/2014/main" id="{99B75AEF-42EE-A24E-AAE4-E087DE59F767}"/>
                </a:ext>
              </a:extLst>
            </p:cNvPr>
            <p:cNvSpPr/>
            <p:nvPr/>
          </p:nvSpPr>
          <p:spPr>
            <a:xfrm>
              <a:off x="5768129" y="3300556"/>
              <a:ext cx="171471" cy="1714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ectangle 110">
              <a:extLst>
                <a:ext uri="{FF2B5EF4-FFF2-40B4-BE49-F238E27FC236}">
                  <a16:creationId xmlns:a16="http://schemas.microsoft.com/office/drawing/2014/main" id="{92EE8B18-8956-FD41-9889-D7FC55B48C57}"/>
                </a:ext>
              </a:extLst>
            </p:cNvPr>
            <p:cNvSpPr/>
            <p:nvPr/>
          </p:nvSpPr>
          <p:spPr>
            <a:xfrm>
              <a:off x="5201912" y="3256447"/>
              <a:ext cx="1277148" cy="21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olution Space</a:t>
              </a:r>
            </a:p>
          </p:txBody>
        </p:sp>
        <p:sp>
          <p:nvSpPr>
            <p:cNvPr id="158" name="Oval 125">
              <a:extLst>
                <a:ext uri="{FF2B5EF4-FFF2-40B4-BE49-F238E27FC236}">
                  <a16:creationId xmlns:a16="http://schemas.microsoft.com/office/drawing/2014/main" id="{A7B7A3B4-1490-FF41-9E58-6E6EF0BEE774}"/>
                </a:ext>
              </a:extLst>
            </p:cNvPr>
            <p:cNvSpPr/>
            <p:nvPr/>
          </p:nvSpPr>
          <p:spPr>
            <a:xfrm>
              <a:off x="4756190" y="3246745"/>
              <a:ext cx="201483" cy="201483"/>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9" name="Oval 125">
              <a:extLst>
                <a:ext uri="{FF2B5EF4-FFF2-40B4-BE49-F238E27FC236}">
                  <a16:creationId xmlns:a16="http://schemas.microsoft.com/office/drawing/2014/main" id="{D3D4E55A-8036-D045-89CF-07E6565F4444}"/>
                </a:ext>
              </a:extLst>
            </p:cNvPr>
            <p:cNvSpPr/>
            <p:nvPr/>
          </p:nvSpPr>
          <p:spPr>
            <a:xfrm>
              <a:off x="6731716" y="3246745"/>
              <a:ext cx="201483" cy="20148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Arc 12">
              <a:extLst>
                <a:ext uri="{FF2B5EF4-FFF2-40B4-BE49-F238E27FC236}">
                  <a16:creationId xmlns:a16="http://schemas.microsoft.com/office/drawing/2014/main" id="{2EA59425-9EB9-FD41-82BD-2212B4889FF8}"/>
                </a:ext>
              </a:extLst>
            </p:cNvPr>
            <p:cNvSpPr/>
            <p:nvPr/>
          </p:nvSpPr>
          <p:spPr>
            <a:xfrm rot="20982157" flipH="1">
              <a:off x="7089363" y="2662494"/>
              <a:ext cx="1438287" cy="1438286"/>
            </a:xfrm>
            <a:prstGeom prst="arc">
              <a:avLst>
                <a:gd name="adj1" fmla="val 18772370"/>
                <a:gd name="adj2" fmla="val 2406395"/>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1" name="Arc 150">
              <a:extLst>
                <a:ext uri="{FF2B5EF4-FFF2-40B4-BE49-F238E27FC236}">
                  <a16:creationId xmlns:a16="http://schemas.microsoft.com/office/drawing/2014/main" id="{EA6F2678-15DE-3C49-AB4A-536517CE247F}"/>
                </a:ext>
              </a:extLst>
            </p:cNvPr>
            <p:cNvSpPr/>
            <p:nvPr/>
          </p:nvSpPr>
          <p:spPr>
            <a:xfrm rot="6804448" flipH="1">
              <a:off x="7089363" y="2662494"/>
              <a:ext cx="1438286" cy="1438287"/>
            </a:xfrm>
            <a:prstGeom prst="arc">
              <a:avLst>
                <a:gd name="adj1" fmla="val 18772370"/>
                <a:gd name="adj2" fmla="val 2406395"/>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2" name="Arc 151">
              <a:extLst>
                <a:ext uri="{FF2B5EF4-FFF2-40B4-BE49-F238E27FC236}">
                  <a16:creationId xmlns:a16="http://schemas.microsoft.com/office/drawing/2014/main" id="{1AFECEBA-E6D8-F643-A1A9-AA6F97F89721}"/>
                </a:ext>
              </a:extLst>
            </p:cNvPr>
            <p:cNvSpPr/>
            <p:nvPr/>
          </p:nvSpPr>
          <p:spPr>
            <a:xfrm rot="14225009" flipH="1">
              <a:off x="7089363" y="2662494"/>
              <a:ext cx="1438286" cy="1438287"/>
            </a:xfrm>
            <a:prstGeom prst="arc">
              <a:avLst>
                <a:gd name="adj1" fmla="val 18772370"/>
                <a:gd name="adj2" fmla="val 2406395"/>
              </a:avLst>
            </a:prstGeom>
            <a:ln w="28575">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3" name="Oval 219">
              <a:extLst>
                <a:ext uri="{FF2B5EF4-FFF2-40B4-BE49-F238E27FC236}">
                  <a16:creationId xmlns:a16="http://schemas.microsoft.com/office/drawing/2014/main" id="{EAF86EBF-43EF-2F49-818B-24D5F457E176}"/>
                </a:ext>
              </a:extLst>
            </p:cNvPr>
            <p:cNvSpPr/>
            <p:nvPr/>
          </p:nvSpPr>
          <p:spPr>
            <a:xfrm>
              <a:off x="7327477" y="2770354"/>
              <a:ext cx="117962" cy="117961"/>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Oval 219">
              <a:extLst>
                <a:ext uri="{FF2B5EF4-FFF2-40B4-BE49-F238E27FC236}">
                  <a16:creationId xmlns:a16="http://schemas.microsoft.com/office/drawing/2014/main" id="{2621DA0E-33AA-6444-A613-63638C0BB8D9}"/>
                </a:ext>
              </a:extLst>
            </p:cNvPr>
            <p:cNvSpPr/>
            <p:nvPr/>
          </p:nvSpPr>
          <p:spPr>
            <a:xfrm>
              <a:off x="8438218" y="3305371"/>
              <a:ext cx="117962" cy="117961"/>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Oval 219">
              <a:extLst>
                <a:ext uri="{FF2B5EF4-FFF2-40B4-BE49-F238E27FC236}">
                  <a16:creationId xmlns:a16="http://schemas.microsoft.com/office/drawing/2014/main" id="{4871868B-09B4-E241-88F5-B7F17B11A6B3}"/>
                </a:ext>
              </a:extLst>
            </p:cNvPr>
            <p:cNvSpPr/>
            <p:nvPr/>
          </p:nvSpPr>
          <p:spPr>
            <a:xfrm>
              <a:off x="7432155" y="3968325"/>
              <a:ext cx="117962" cy="117961"/>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2" name="Text Placeholder 2">
              <a:extLst>
                <a:ext uri="{FF2B5EF4-FFF2-40B4-BE49-F238E27FC236}">
                  <a16:creationId xmlns:a16="http://schemas.microsoft.com/office/drawing/2014/main" id="{356DED3A-40A5-DC47-A88A-0BD2446680BA}"/>
                </a:ext>
              </a:extLst>
            </p:cNvPr>
            <p:cNvSpPr txBox="1">
              <a:spLocks/>
            </p:cNvSpPr>
            <p:nvPr/>
          </p:nvSpPr>
          <p:spPr>
            <a:xfrm>
              <a:off x="2951367" y="2209696"/>
              <a:ext cx="917664" cy="181025"/>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i="1" dirty="0">
                  <a:latin typeface="Open Sans Light" panose="020B0306030504020204" pitchFamily="34" charset="0"/>
                  <a:ea typeface="Open Sans Light" panose="020B0306030504020204" pitchFamily="34" charset="0"/>
                  <a:cs typeface="Open Sans Light" panose="020B0306030504020204" pitchFamily="34" charset="0"/>
                </a:rPr>
                <a:t>Discover</a:t>
              </a:r>
            </a:p>
          </p:txBody>
        </p:sp>
        <p:sp>
          <p:nvSpPr>
            <p:cNvPr id="243" name="Text Placeholder 2">
              <a:extLst>
                <a:ext uri="{FF2B5EF4-FFF2-40B4-BE49-F238E27FC236}">
                  <a16:creationId xmlns:a16="http://schemas.microsoft.com/office/drawing/2014/main" id="{6B064FD8-A265-B443-B157-5F537139E448}"/>
                </a:ext>
              </a:extLst>
            </p:cNvPr>
            <p:cNvSpPr txBox="1">
              <a:spLocks/>
            </p:cNvSpPr>
            <p:nvPr/>
          </p:nvSpPr>
          <p:spPr>
            <a:xfrm>
              <a:off x="3907754" y="2209696"/>
              <a:ext cx="917664" cy="181025"/>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i="1" dirty="0">
                  <a:latin typeface="Open Sans Light" panose="020B0306030504020204" pitchFamily="34" charset="0"/>
                  <a:ea typeface="Open Sans Light" panose="020B0306030504020204" pitchFamily="34" charset="0"/>
                  <a:cs typeface="Open Sans Light" panose="020B0306030504020204" pitchFamily="34" charset="0"/>
                </a:rPr>
                <a:t>Envision</a:t>
              </a:r>
            </a:p>
          </p:txBody>
        </p:sp>
        <p:sp>
          <p:nvSpPr>
            <p:cNvPr id="244" name="Text Placeholder 2">
              <a:extLst>
                <a:ext uri="{FF2B5EF4-FFF2-40B4-BE49-F238E27FC236}">
                  <a16:creationId xmlns:a16="http://schemas.microsoft.com/office/drawing/2014/main" id="{14F5FA47-0693-4648-825D-36B53BB2214B}"/>
                </a:ext>
              </a:extLst>
            </p:cNvPr>
            <p:cNvSpPr txBox="1">
              <a:spLocks/>
            </p:cNvSpPr>
            <p:nvPr/>
          </p:nvSpPr>
          <p:spPr>
            <a:xfrm>
              <a:off x="5371940" y="2209696"/>
              <a:ext cx="917664" cy="181025"/>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i="1" dirty="0">
                  <a:latin typeface="Open Sans Light" panose="020B0306030504020204" pitchFamily="34" charset="0"/>
                  <a:ea typeface="Open Sans Light" panose="020B0306030504020204" pitchFamily="34" charset="0"/>
                  <a:cs typeface="Open Sans Light" panose="020B0306030504020204" pitchFamily="34" charset="0"/>
                </a:rPr>
                <a:t>Design</a:t>
              </a:r>
            </a:p>
          </p:txBody>
        </p:sp>
        <p:sp>
          <p:nvSpPr>
            <p:cNvPr id="245" name="Text Placeholder 2">
              <a:extLst>
                <a:ext uri="{FF2B5EF4-FFF2-40B4-BE49-F238E27FC236}">
                  <a16:creationId xmlns:a16="http://schemas.microsoft.com/office/drawing/2014/main" id="{9E11E71E-F569-4742-8235-5D183413257B}"/>
                </a:ext>
              </a:extLst>
            </p:cNvPr>
            <p:cNvSpPr txBox="1">
              <a:spLocks/>
            </p:cNvSpPr>
            <p:nvPr/>
          </p:nvSpPr>
          <p:spPr>
            <a:xfrm>
              <a:off x="7349584" y="2209696"/>
              <a:ext cx="917664" cy="181025"/>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i="1" dirty="0">
                  <a:latin typeface="Open Sans Light" panose="020B0306030504020204" pitchFamily="34" charset="0"/>
                  <a:ea typeface="Open Sans Light" panose="020B0306030504020204" pitchFamily="34" charset="0"/>
                  <a:cs typeface="Open Sans Light" panose="020B0306030504020204" pitchFamily="34" charset="0"/>
                </a:rPr>
                <a:t>Deliver</a:t>
              </a:r>
            </a:p>
          </p:txBody>
        </p:sp>
      </p:grpSp>
      <p:cxnSp>
        <p:nvCxnSpPr>
          <p:cNvPr id="89" name="Straight Connector 165">
            <a:extLst>
              <a:ext uri="{FF2B5EF4-FFF2-40B4-BE49-F238E27FC236}">
                <a16:creationId xmlns:a16="http://schemas.microsoft.com/office/drawing/2014/main" id="{1512C3C1-9CFF-4592-8313-5DB7CD2BA467}"/>
              </a:ext>
            </a:extLst>
          </p:cNvPr>
          <p:cNvCxnSpPr>
            <a:cxnSpLocks/>
          </p:cNvCxnSpPr>
          <p:nvPr/>
        </p:nvCxnSpPr>
        <p:spPr>
          <a:xfrm>
            <a:off x="6613840" y="1973091"/>
            <a:ext cx="1" cy="16373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31" name="Rounded Rectangle 30">
            <a:extLst>
              <a:ext uri="{FF2B5EF4-FFF2-40B4-BE49-F238E27FC236}">
                <a16:creationId xmlns:a16="http://schemas.microsoft.com/office/drawing/2014/main" id="{5EB24FDD-55CB-4E60-A9B4-4440D20A9FCE}"/>
              </a:ext>
            </a:extLst>
          </p:cNvPr>
          <p:cNvSpPr/>
          <p:nvPr/>
        </p:nvSpPr>
        <p:spPr>
          <a:xfrm>
            <a:off x="5245779" y="4972903"/>
            <a:ext cx="6125136" cy="1180768"/>
          </a:xfrm>
          <a:prstGeom prst="roundRect">
            <a:avLst>
              <a:gd name="adj" fmla="val 2824"/>
            </a:avLst>
          </a:prstGeom>
          <a:solidFill>
            <a:schemeClr val="bg1"/>
          </a:solidFill>
          <a:ln>
            <a:noFill/>
          </a:ln>
          <a:effectLst>
            <a:outerShdw blurRad="698500" dist="50800" dir="54000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 </a:t>
            </a:r>
          </a:p>
        </p:txBody>
      </p:sp>
      <p:cxnSp>
        <p:nvCxnSpPr>
          <p:cNvPr id="107" name="Straight Connector 165">
            <a:extLst>
              <a:ext uri="{FF2B5EF4-FFF2-40B4-BE49-F238E27FC236}">
                <a16:creationId xmlns:a16="http://schemas.microsoft.com/office/drawing/2014/main" id="{5C345BC4-FA6F-45B2-AF0A-8EAD67B5AD44}"/>
              </a:ext>
            </a:extLst>
          </p:cNvPr>
          <p:cNvCxnSpPr>
            <a:cxnSpLocks/>
          </p:cNvCxnSpPr>
          <p:nvPr/>
        </p:nvCxnSpPr>
        <p:spPr>
          <a:xfrm flipH="1">
            <a:off x="7485567" y="1976438"/>
            <a:ext cx="1949" cy="93462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8" name="Straight Connector 165">
            <a:extLst>
              <a:ext uri="{FF2B5EF4-FFF2-40B4-BE49-F238E27FC236}">
                <a16:creationId xmlns:a16="http://schemas.microsoft.com/office/drawing/2014/main" id="{A2BC2718-7703-4E0D-9B9F-0636D31FE0D3}"/>
              </a:ext>
            </a:extLst>
          </p:cNvPr>
          <p:cNvCxnSpPr>
            <a:cxnSpLocks/>
          </p:cNvCxnSpPr>
          <p:nvPr/>
        </p:nvCxnSpPr>
        <p:spPr>
          <a:xfrm>
            <a:off x="9247220" y="1973091"/>
            <a:ext cx="0" cy="937969"/>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132" name="Picture 131">
            <a:extLst>
              <a:ext uri="{FF2B5EF4-FFF2-40B4-BE49-F238E27FC236}">
                <a16:creationId xmlns:a16="http://schemas.microsoft.com/office/drawing/2014/main" id="{7E62FF4F-4F4E-46C5-9BE3-FB652706F4D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315431" y="5356835"/>
            <a:ext cx="1444709" cy="392433"/>
          </a:xfrm>
          <a:prstGeom prst="rect">
            <a:avLst/>
          </a:prstGeom>
        </p:spPr>
      </p:pic>
      <p:pic>
        <p:nvPicPr>
          <p:cNvPr id="133" name="Picture 132">
            <a:extLst>
              <a:ext uri="{FF2B5EF4-FFF2-40B4-BE49-F238E27FC236}">
                <a16:creationId xmlns:a16="http://schemas.microsoft.com/office/drawing/2014/main" id="{FB9BC9DD-4385-4F86-951A-DBD6E7B9F7F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515334" y="5293882"/>
            <a:ext cx="1401781" cy="425576"/>
          </a:xfrm>
          <a:prstGeom prst="rect">
            <a:avLst/>
          </a:prstGeom>
        </p:spPr>
      </p:pic>
      <p:sp>
        <p:nvSpPr>
          <p:cNvPr id="129" name="Rectangle 128">
            <a:extLst>
              <a:ext uri="{FF2B5EF4-FFF2-40B4-BE49-F238E27FC236}">
                <a16:creationId xmlns:a16="http://schemas.microsoft.com/office/drawing/2014/main" id="{9CC98DC8-47EB-4144-A627-F4D4139E6C6C}"/>
              </a:ext>
            </a:extLst>
          </p:cNvPr>
          <p:cNvSpPr/>
          <p:nvPr/>
        </p:nvSpPr>
        <p:spPr>
          <a:xfrm>
            <a:off x="900175" y="1471107"/>
            <a:ext cx="3965414" cy="4442498"/>
          </a:xfrm>
          <a:prstGeom prst="rect">
            <a:avLst/>
          </a:prstGeom>
        </p:spPr>
        <p:txBody>
          <a:bodyPr wrap="square" lIns="0" tIns="45720" rIns="91440" bIns="45720" anchor="t">
            <a:spAutoFit/>
          </a:bodyPr>
          <a:lstStyle/>
          <a:p>
            <a:pPr defTabSz="913905">
              <a:lnSpc>
                <a:spcPct val="130000"/>
              </a:lnSpc>
              <a:spcAft>
                <a:spcPts val="1199"/>
              </a:spcAft>
            </a:pP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How we contribute to shaping your digital product</a:t>
            </a:r>
          </a:p>
          <a:p>
            <a:pPr defTabSz="913905">
              <a:lnSpc>
                <a:spcPct val="130000"/>
              </a:lnSpc>
              <a:spcAft>
                <a:spcPts val="1199"/>
              </a:spcAft>
            </a:pPr>
            <a:r>
              <a:rPr lang="en-US" sz="1200" dirty="0">
                <a:solidFill>
                  <a:srgbClr val="000000"/>
                </a:solidFill>
                <a:latin typeface="Open Sans Light"/>
              </a:rPr>
              <a:t>In the problem space under </a:t>
            </a:r>
            <a:r>
              <a:rPr lang="en-US" sz="1200" b="1" dirty="0">
                <a:solidFill>
                  <a:srgbClr val="000000"/>
                </a:solidFill>
                <a:latin typeface="Open Sans SemiBold" panose="020B0606030504020204" pitchFamily="34" charset="0"/>
                <a:ea typeface="Open Sans SemiBold" panose="020B0606030504020204" pitchFamily="34" charset="0"/>
                <a:cs typeface="Open Sans SemiBold" panose="020B0606030504020204" pitchFamily="34" charset="0"/>
              </a:rPr>
              <a:t>discover </a:t>
            </a:r>
            <a:r>
              <a:rPr lang="en-US" sz="1200" dirty="0">
                <a:solidFill>
                  <a:srgbClr val="000000"/>
                </a:solidFill>
                <a:latin typeface="Open Sans Light"/>
              </a:rPr>
              <a:t>we are defining end-user's needs and research critical technical and organizational requirements, assuring that the systemic approach is applied. </a:t>
            </a:r>
          </a:p>
          <a:p>
            <a:pPr defTabSz="913905">
              <a:lnSpc>
                <a:spcPct val="130000"/>
              </a:lnSpc>
              <a:spcAft>
                <a:spcPts val="1199"/>
              </a:spcAft>
            </a:pPr>
            <a:r>
              <a:rPr lang="en-US" sz="1200" dirty="0">
                <a:solidFill>
                  <a:srgbClr val="000000"/>
                </a:solidFill>
                <a:latin typeface="Open Sans Light"/>
              </a:rPr>
              <a:t>During the </a:t>
            </a:r>
            <a:r>
              <a:rPr lang="en-US" sz="1200" b="1" dirty="0">
                <a:solidFill>
                  <a:srgbClr val="000000"/>
                </a:solidFill>
                <a:latin typeface="Open Sans SemiBold" panose="020B0606030504020204" pitchFamily="34" charset="0"/>
                <a:ea typeface="Open Sans SemiBold" panose="020B0606030504020204" pitchFamily="34" charset="0"/>
                <a:cs typeface="Open Sans SemiBold" panose="020B0606030504020204" pitchFamily="34" charset="0"/>
              </a:rPr>
              <a:t>envision </a:t>
            </a:r>
            <a:r>
              <a:rPr lang="en-US" sz="1200" dirty="0">
                <a:solidFill>
                  <a:srgbClr val="000000"/>
                </a:solidFill>
                <a:latin typeface="Open Sans Light"/>
              </a:rPr>
              <a:t>phase we plan to identify the best solutions and plan out a product development roadmap.</a:t>
            </a:r>
          </a:p>
          <a:p>
            <a:pPr defTabSz="913905">
              <a:lnSpc>
                <a:spcPct val="130000"/>
              </a:lnSpc>
              <a:spcAft>
                <a:spcPts val="1199"/>
              </a:spcAft>
            </a:pP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Translating your vision to first tangible output</a:t>
            </a:r>
          </a:p>
          <a:p>
            <a:pPr defTabSz="913905">
              <a:lnSpc>
                <a:spcPct val="130000"/>
              </a:lnSpc>
              <a:spcAft>
                <a:spcPts val="1199"/>
              </a:spcAft>
            </a:pPr>
            <a:r>
              <a:rPr lang="en-US" sz="1200" dirty="0">
                <a:solidFill>
                  <a:srgbClr val="000000"/>
                </a:solidFill>
                <a:latin typeface="Open Sans Light"/>
              </a:rPr>
              <a:t>During the </a:t>
            </a:r>
            <a:r>
              <a:rPr lang="en-US" sz="1200" b="1" dirty="0">
                <a:solidFill>
                  <a:srgbClr val="000000"/>
                </a:solidFill>
                <a:latin typeface="Open Sans SemiBold" panose="020B0606030504020204" pitchFamily="34" charset="0"/>
                <a:ea typeface="Open Sans SemiBold" panose="020B0606030504020204" pitchFamily="34" charset="0"/>
                <a:cs typeface="Open Sans SemiBold" panose="020B0606030504020204" pitchFamily="34" charset="0"/>
              </a:rPr>
              <a:t>design</a:t>
            </a:r>
            <a:r>
              <a:rPr lang="en-US" sz="1200" dirty="0">
                <a:solidFill>
                  <a:srgbClr val="000000"/>
                </a:solidFill>
                <a:latin typeface="Open Sans Light"/>
              </a:rPr>
              <a:t> and </a:t>
            </a:r>
            <a:r>
              <a:rPr lang="en-US" sz="1200" b="1" dirty="0">
                <a:solidFill>
                  <a:srgbClr val="000000"/>
                </a:solidFill>
                <a:latin typeface="Open Sans SemiBold" panose="020B0606030504020204" pitchFamily="34" charset="0"/>
                <a:ea typeface="Open Sans SemiBold" panose="020B0606030504020204" pitchFamily="34" charset="0"/>
                <a:cs typeface="Open Sans SemiBold" panose="020B0606030504020204" pitchFamily="34" charset="0"/>
              </a:rPr>
              <a:t>deliver </a:t>
            </a:r>
            <a:r>
              <a:rPr lang="en-US" sz="1200" dirty="0">
                <a:solidFill>
                  <a:srgbClr val="000000"/>
                </a:solidFill>
                <a:latin typeface="Open Sans Light"/>
              </a:rPr>
              <a:t>phases, our team will make the your vision tangible and setting the direction for further design activities through rapid concept prototyping and testing of UX/UI mockups </a:t>
            </a:r>
            <a:r>
              <a:rPr lang="en-US" sz="1200">
                <a:solidFill>
                  <a:srgbClr val="000000"/>
                </a:solidFill>
                <a:latin typeface="Open Sans Light"/>
              </a:rPr>
              <a:t>with </a:t>
            </a:r>
            <a:r>
              <a:rPr lang="en-US" sz="1200" dirty="0">
                <a:solidFill>
                  <a:srgbClr val="000000"/>
                </a:solidFill>
                <a:latin typeface="Open Sans Light"/>
              </a:rPr>
              <a:t>users and key stakeholders.</a:t>
            </a:r>
          </a:p>
          <a:p>
            <a:pPr defTabSz="913905">
              <a:lnSpc>
                <a:spcPct val="130000"/>
              </a:lnSpc>
              <a:spcAft>
                <a:spcPts val="1199"/>
              </a:spcAft>
            </a:pPr>
            <a:r>
              <a:rPr lang="en-US" sz="1200" dirty="0">
                <a:solidFill>
                  <a:srgbClr val="000000"/>
                </a:solidFill>
                <a:latin typeface="Open Sans Light"/>
                <a:ea typeface="Open Sans Light" panose="020B0306030504020204" pitchFamily="34" charset="0"/>
                <a:cs typeface="Open Sans Light" panose="020B0306030504020204" pitchFamily="34" charset="0"/>
              </a:rPr>
              <a:t>A final product is verified against business constrains, user needs and technological capacities.</a:t>
            </a:r>
          </a:p>
        </p:txBody>
      </p:sp>
      <p:pic>
        <p:nvPicPr>
          <p:cNvPr id="134" name="Picture 133">
            <a:extLst>
              <a:ext uri="{FF2B5EF4-FFF2-40B4-BE49-F238E27FC236}">
                <a16:creationId xmlns:a16="http://schemas.microsoft.com/office/drawing/2014/main" id="{4571BB37-2B7A-42B3-8A48-0F71A30208E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815003" y="5142289"/>
            <a:ext cx="1396726" cy="843290"/>
          </a:xfrm>
          <a:prstGeom prst="rect">
            <a:avLst/>
          </a:prstGeom>
        </p:spPr>
      </p:pic>
      <p:grpSp>
        <p:nvGrpSpPr>
          <p:cNvPr id="9" name="Group 8">
            <a:extLst>
              <a:ext uri="{FF2B5EF4-FFF2-40B4-BE49-F238E27FC236}">
                <a16:creationId xmlns:a16="http://schemas.microsoft.com/office/drawing/2014/main" id="{BA25623D-73BD-4A3E-A692-AA57018492B2}"/>
              </a:ext>
            </a:extLst>
          </p:cNvPr>
          <p:cNvGrpSpPr/>
          <p:nvPr/>
        </p:nvGrpSpPr>
        <p:grpSpPr>
          <a:xfrm>
            <a:off x="9958051" y="5163693"/>
            <a:ext cx="1275706" cy="859509"/>
            <a:chOff x="9690138" y="5284662"/>
            <a:chExt cx="1275706" cy="859509"/>
          </a:xfrm>
        </p:grpSpPr>
        <p:pic>
          <p:nvPicPr>
            <p:cNvPr id="138" name="Picture 137">
              <a:extLst>
                <a:ext uri="{FF2B5EF4-FFF2-40B4-BE49-F238E27FC236}">
                  <a16:creationId xmlns:a16="http://schemas.microsoft.com/office/drawing/2014/main" id="{4BAF6A33-BF44-4EDF-BCCE-AD26B4D54DB4}"/>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9908387" y="5284662"/>
              <a:ext cx="839209" cy="446964"/>
            </a:xfrm>
            <a:prstGeom prst="rect">
              <a:avLst/>
            </a:prstGeom>
          </p:spPr>
        </p:pic>
        <p:pic>
          <p:nvPicPr>
            <p:cNvPr id="139" name="Picture 138">
              <a:extLst>
                <a:ext uri="{FF2B5EF4-FFF2-40B4-BE49-F238E27FC236}">
                  <a16:creationId xmlns:a16="http://schemas.microsoft.com/office/drawing/2014/main" id="{3FFE423A-5B26-4692-8CDA-074F6F874CB6}"/>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9690138" y="5725148"/>
              <a:ext cx="1275706" cy="419023"/>
            </a:xfrm>
            <a:prstGeom prst="rect">
              <a:avLst/>
            </a:prstGeom>
          </p:spPr>
        </p:pic>
      </p:grpSp>
      <p:sp>
        <p:nvSpPr>
          <p:cNvPr id="86" name="Rectangle 85">
            <a:extLst>
              <a:ext uri="{FF2B5EF4-FFF2-40B4-BE49-F238E27FC236}">
                <a16:creationId xmlns:a16="http://schemas.microsoft.com/office/drawing/2014/main" id="{1ACCF252-354A-400B-A430-6220D32D24D6}"/>
              </a:ext>
            </a:extLst>
          </p:cNvPr>
          <p:cNvSpPr/>
          <p:nvPr/>
        </p:nvSpPr>
        <p:spPr>
          <a:xfrm>
            <a:off x="5110608" y="1304636"/>
            <a:ext cx="6482882" cy="525337"/>
          </a:xfrm>
          <a:prstGeom prst="rect">
            <a:avLst/>
          </a:prstGeom>
        </p:spPr>
        <p:txBody>
          <a:bodyPr wrap="square" lIns="0">
            <a:spAutoFit/>
          </a:bodyPr>
          <a:lstStyle/>
          <a:p>
            <a:pPr marL="0" indent="0" algn="ctr">
              <a:lnSpc>
                <a:spcPct val="150000"/>
              </a:lnSpc>
              <a:buNone/>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We combine deep industry focus with our strong capabilities and proven methodologies to </a:t>
            </a:r>
            <a:br>
              <a:rPr lang="en-US" sz="1000" dirty="0">
                <a:latin typeface="Open Sans Light" panose="020B0306030504020204" pitchFamily="34" charset="0"/>
                <a:ea typeface="Open Sans Light" panose="020B0306030504020204" pitchFamily="34" charset="0"/>
                <a:cs typeface="Open Sans Light" panose="020B0306030504020204" pitchFamily="34" charset="0"/>
              </a:rPr>
            </a:b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discover</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envision</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design</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deliver</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and run comprehensive and best of breed digital solutions. </a:t>
            </a:r>
          </a:p>
        </p:txBody>
      </p:sp>
      <p:sp>
        <p:nvSpPr>
          <p:cNvPr id="81" name="Rectangle 80">
            <a:extLst>
              <a:ext uri="{FF2B5EF4-FFF2-40B4-BE49-F238E27FC236}">
                <a16:creationId xmlns:a16="http://schemas.microsoft.com/office/drawing/2014/main" id="{E084F98F-FB33-4B8B-AB08-DBEB48E362FD}"/>
              </a:ext>
            </a:extLst>
          </p:cNvPr>
          <p:cNvSpPr/>
          <p:nvPr/>
        </p:nvSpPr>
        <p:spPr>
          <a:xfrm>
            <a:off x="5088280" y="4255301"/>
            <a:ext cx="6482882" cy="525337"/>
          </a:xfrm>
          <a:prstGeom prst="rect">
            <a:avLst/>
          </a:prstGeom>
        </p:spPr>
        <p:txBody>
          <a:bodyPr wrap="square" lIns="0">
            <a:spAutoFit/>
          </a:bodyPr>
          <a:lstStyle/>
          <a:p>
            <a:pPr algn="ctr">
              <a:lnSpc>
                <a:spcPct val="150000"/>
              </a:lnSpc>
            </a:pPr>
            <a:r>
              <a:rPr lang="en-US" sz="1000">
                <a:latin typeface="Open Sans Light" panose="020B0306030504020204" pitchFamily="34" charset="0"/>
                <a:ea typeface="Open Sans Light" panose="020B0306030504020204" pitchFamily="34" charset="0"/>
                <a:cs typeface="Open Sans Light" panose="020B0306030504020204" pitchFamily="34" charset="0"/>
              </a:rPr>
              <a:t>Our approach is based on </a:t>
            </a:r>
            <a:r>
              <a:rPr lang="en-US" sz="1000" b="1">
                <a:latin typeface="Open Sans Light" panose="020B0306030504020204" pitchFamily="34" charset="0"/>
                <a:ea typeface="Open Sans Light" panose="020B0306030504020204" pitchFamily="34" charset="0"/>
                <a:cs typeface="Open Sans Light" panose="020B0306030504020204" pitchFamily="34" charset="0"/>
              </a:rPr>
              <a:t>industry best practices </a:t>
            </a:r>
            <a:r>
              <a:rPr lang="en-US" sz="1000">
                <a:latin typeface="Open Sans Light" panose="020B0306030504020204" pitchFamily="34" charset="0"/>
                <a:ea typeface="Open Sans Light" panose="020B0306030504020204" pitchFamily="34" charset="0"/>
                <a:cs typeface="Open Sans Light" panose="020B0306030504020204" pitchFamily="34" charset="0"/>
              </a:rPr>
              <a:t>and </a:t>
            </a:r>
            <a:r>
              <a:rPr lang="en-US" sz="1000" b="1">
                <a:latin typeface="Open Sans Light" panose="020B0306030504020204" pitchFamily="34" charset="0"/>
                <a:ea typeface="Open Sans Light" panose="020B0306030504020204" pitchFamily="34" charset="0"/>
                <a:cs typeface="Open Sans Light" panose="020B0306030504020204" pitchFamily="34" charset="0"/>
              </a:rPr>
              <a:t>proven methodologies </a:t>
            </a:r>
            <a:r>
              <a:rPr lang="en-US" sz="1000">
                <a:latin typeface="Open Sans Light" panose="020B0306030504020204" pitchFamily="34" charset="0"/>
                <a:ea typeface="Open Sans Light" panose="020B0306030504020204" pitchFamily="34" charset="0"/>
                <a:cs typeface="Open Sans Light" panose="020B0306030504020204" pitchFamily="34" charset="0"/>
              </a:rPr>
              <a:t>that involve end-users early </a:t>
            </a:r>
            <a:br>
              <a:rPr lang="en-US" sz="1000" dirty="0">
                <a:latin typeface="Open Sans Light" panose="020B0306030504020204" pitchFamily="34" charset="0"/>
                <a:ea typeface="Open Sans Light" panose="020B0306030504020204" pitchFamily="34" charset="0"/>
                <a:cs typeface="Open Sans Light" panose="020B0306030504020204" pitchFamily="34" charset="0"/>
              </a:rPr>
            </a:br>
            <a:r>
              <a:rPr lang="en-US" sz="1000">
                <a:latin typeface="Open Sans Light" panose="020B0306030504020204" pitchFamily="34" charset="0"/>
                <a:ea typeface="Open Sans Light" panose="020B0306030504020204" pitchFamily="34" charset="0"/>
                <a:cs typeface="Open Sans Light" panose="020B0306030504020204" pitchFamily="34" charset="0"/>
              </a:rPr>
              <a:t>and keep them engaged throughout the entire process. </a:t>
            </a:r>
            <a:r>
              <a:rPr lang="en-US" sz="1000" b="1">
                <a:latin typeface="Open Sans Light" panose="020B0306030504020204" pitchFamily="34" charset="0"/>
                <a:ea typeface="Open Sans Light" panose="020B0306030504020204" pitchFamily="34" charset="0"/>
                <a:cs typeface="Open Sans Light" panose="020B0306030504020204" pitchFamily="34" charset="0"/>
              </a:rPr>
              <a:t>Critical principles </a:t>
            </a:r>
            <a:r>
              <a:rPr lang="en-US" sz="1000">
                <a:latin typeface="Open Sans Light" panose="020B0306030504020204" pitchFamily="34" charset="0"/>
                <a:ea typeface="Open Sans Light" panose="020B0306030504020204" pitchFamily="34" charset="0"/>
                <a:cs typeface="Open Sans Light" panose="020B0306030504020204" pitchFamily="34" charset="0"/>
              </a:rPr>
              <a:t>that we always keep in mind are:</a:t>
            </a:r>
          </a:p>
        </p:txBody>
      </p:sp>
      <p:sp>
        <p:nvSpPr>
          <p:cNvPr id="82" name="Isosceles Triangle 81">
            <a:extLst>
              <a:ext uri="{FF2B5EF4-FFF2-40B4-BE49-F238E27FC236}">
                <a16:creationId xmlns:a16="http://schemas.microsoft.com/office/drawing/2014/main" id="{0D94D64A-AE06-4972-8E80-DB0F67438E21}"/>
              </a:ext>
            </a:extLst>
          </p:cNvPr>
          <p:cNvSpPr/>
          <p:nvPr/>
        </p:nvSpPr>
        <p:spPr bwMode="gray">
          <a:xfrm>
            <a:off x="7052328" y="4782677"/>
            <a:ext cx="2491858" cy="120201"/>
          </a:xfrm>
          <a:prstGeom prst="triangle">
            <a:avLst/>
          </a:prstGeom>
          <a:solidFill>
            <a:schemeClr val="tx2"/>
          </a:solidFill>
          <a:ln w="19050" algn="ctr">
            <a:noFill/>
            <a:miter lim="800000"/>
            <a:headEnd/>
            <a:tailEnd/>
          </a:ln>
        </p:spPr>
        <p:txBody>
          <a:bodyPr wrap="square" lIns="0" tIns="0" rIns="0" bIns="0" rtlCol="0" anchor="ctr"/>
          <a:lstStyle/>
          <a:p>
            <a:pPr algn="ctr"/>
            <a:endParaRPr lang="en-US" dirty="0"/>
          </a:p>
        </p:txBody>
      </p:sp>
      <p:sp>
        <p:nvSpPr>
          <p:cNvPr id="137" name="Rectangle 136">
            <a:extLst>
              <a:ext uri="{FF2B5EF4-FFF2-40B4-BE49-F238E27FC236}">
                <a16:creationId xmlns:a16="http://schemas.microsoft.com/office/drawing/2014/main" id="{1C1E4EDD-A0BF-4858-B90B-F8C4E576758F}"/>
              </a:ext>
            </a:extLst>
          </p:cNvPr>
          <p:cNvSpPr/>
          <p:nvPr/>
        </p:nvSpPr>
        <p:spPr bwMode="gray">
          <a:xfrm>
            <a:off x="5786302" y="3920179"/>
            <a:ext cx="5178207" cy="322572"/>
          </a:xfrm>
          <a:prstGeom prst="rect">
            <a:avLst/>
          </a:prstGeom>
          <a:noFill/>
          <a:ln w="19050" algn="ctr">
            <a:solidFill>
              <a:srgbClr val="92D050"/>
            </a:solidFill>
            <a:prstDash val="dash"/>
            <a:miter lim="800000"/>
            <a:headEnd/>
            <a:tailEnd/>
          </a:ln>
        </p:spPr>
        <p:txBody>
          <a:bodyPr wrap="square" lIns="0" tIns="0" rIns="0" bIns="0" rtlCol="0" anchor="ctr"/>
          <a:lstStyle/>
          <a:p>
            <a:pPr algn="ctr"/>
            <a:r>
              <a:rPr lang="en-US" sz="1200" b="1" dirty="0"/>
              <a:t>Sustainable Project Management</a:t>
            </a:r>
          </a:p>
        </p:txBody>
      </p:sp>
    </p:spTree>
    <p:extLst>
      <p:ext uri="{BB962C8B-B14F-4D97-AF65-F5344CB8AC3E}">
        <p14:creationId xmlns:p14="http://schemas.microsoft.com/office/powerpoint/2010/main" val="3767410782"/>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AFE2FA7-3E90-4CA9-9AE5-6479B5BD1560}"/>
              </a:ext>
            </a:extLst>
          </p:cNvPr>
          <p:cNvGraphicFramePr>
            <a:graphicFrameLocks noChangeAspect="1"/>
          </p:cNvGraphicFramePr>
          <p:nvPr>
            <p:custDataLst>
              <p:tags r:id="rId1"/>
            </p:custDataLst>
            <p:extLst>
              <p:ext uri="{D42A27DB-BD31-4B8C-83A1-F6EECF244321}">
                <p14:modId xmlns:p14="http://schemas.microsoft.com/office/powerpoint/2010/main" val="555513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5" name="think-cell data - do not delete" hidden="1">
                        <a:extLst>
                          <a:ext uri="{FF2B5EF4-FFF2-40B4-BE49-F238E27FC236}">
                            <a16:creationId xmlns:a16="http://schemas.microsoft.com/office/drawing/2014/main" id="{AAFE2FA7-3E90-4CA9-9AE5-6479B5BD15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3DBAD6F1-779F-7A5F-6F1D-111469AD9C41}"/>
              </a:ext>
            </a:extLst>
          </p:cNvPr>
          <p:cNvGrpSpPr/>
          <p:nvPr/>
        </p:nvGrpSpPr>
        <p:grpSpPr>
          <a:xfrm>
            <a:off x="8915570" y="1304036"/>
            <a:ext cx="2484000" cy="4769593"/>
            <a:chOff x="8915570" y="1304036"/>
            <a:chExt cx="2484000" cy="4769593"/>
          </a:xfrm>
        </p:grpSpPr>
        <p:sp>
          <p:nvSpPr>
            <p:cNvPr id="54" name="Rounded Rectangle 53">
              <a:extLst>
                <a:ext uri="{FF2B5EF4-FFF2-40B4-BE49-F238E27FC236}">
                  <a16:creationId xmlns:a16="http://schemas.microsoft.com/office/drawing/2014/main" id="{669CC16A-A542-2465-7FCE-C84C90BD9A37}"/>
                </a:ext>
              </a:extLst>
            </p:cNvPr>
            <p:cNvSpPr/>
            <p:nvPr/>
          </p:nvSpPr>
          <p:spPr>
            <a:xfrm>
              <a:off x="8993092" y="1627612"/>
              <a:ext cx="2328957" cy="1015306"/>
            </a:xfrm>
            <a:prstGeom prst="roundRect">
              <a:avLst>
                <a:gd name="adj" fmla="val 9231"/>
              </a:avLst>
            </a:prstGeom>
            <a:solidFill>
              <a:srgbClr val="1CABE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algn="ctr">
                <a:spcAft>
                  <a:spcPts val="400"/>
                </a:spcAft>
              </a:pPr>
              <a:r>
                <a:rPr lang="en-US" sz="1000" b="1" spc="120" dirty="0">
                  <a:solidFill>
                    <a:schemeClr val="tx1">
                      <a:lumMod val="95000"/>
                      <a:lumOff val="5000"/>
                    </a:schemeClr>
                  </a:solidFill>
                </a:rPr>
                <a:t>PREPARATION</a:t>
              </a:r>
              <a:endParaRPr lang="en-US" dirty="0">
                <a:solidFill>
                  <a:schemeClr val="tx1">
                    <a:lumMod val="95000"/>
                    <a:lumOff val="5000"/>
                  </a:schemeClr>
                </a:solidFill>
              </a:endParaRPr>
            </a:p>
            <a:p>
              <a:pPr marL="171450" indent="-171450">
                <a:buFont typeface="Arial" panose="020B0604020202020204" pitchFamily="34" charset="0"/>
                <a:buChar char="•"/>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Setting up hosting and all required environments</a:t>
              </a:r>
            </a:p>
            <a:p>
              <a:pPr marL="171450" indent="-171450">
                <a:buFont typeface="Arial" panose="020B0604020202020204" pitchFamily="34" charset="0"/>
                <a:buChar char="•"/>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Features definition based on outputs from previous phases</a:t>
              </a:r>
            </a:p>
          </p:txBody>
        </p:sp>
        <p:sp>
          <p:nvSpPr>
            <p:cNvPr id="58" name="Rounded Rectangle 57">
              <a:extLst>
                <a:ext uri="{FF2B5EF4-FFF2-40B4-BE49-F238E27FC236}">
                  <a16:creationId xmlns:a16="http://schemas.microsoft.com/office/drawing/2014/main" id="{39F64145-BE16-BDCE-1EB5-096F088A8584}"/>
                </a:ext>
              </a:extLst>
            </p:cNvPr>
            <p:cNvSpPr/>
            <p:nvPr/>
          </p:nvSpPr>
          <p:spPr>
            <a:xfrm>
              <a:off x="8987570" y="4838686"/>
              <a:ext cx="2340000" cy="842401"/>
            </a:xfrm>
            <a:prstGeom prst="roundRect">
              <a:avLst>
                <a:gd name="adj" fmla="val 7704"/>
              </a:avLst>
            </a:prstGeom>
            <a:solidFill>
              <a:srgbClr val="1CABE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algn="ctr">
                <a:spcAft>
                  <a:spcPts val="400"/>
                </a:spcAft>
              </a:pPr>
              <a:r>
                <a:rPr lang="en-US" sz="1000" b="1" spc="120" dirty="0">
                  <a:solidFill>
                    <a:schemeClr val="tx1">
                      <a:lumMod val="95000"/>
                      <a:lumOff val="5000"/>
                    </a:schemeClr>
                  </a:solidFill>
                </a:rPr>
                <a:t>HAND-OVER</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sym typeface="Open Sans"/>
                </a:rPr>
                <a:t>Hand-over workshops</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Transition to maintenance</a:t>
              </a:r>
              <a:endPar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sym typeface="Open Sans"/>
              </a:endParaRPr>
            </a:p>
            <a:p>
              <a:pPr algn="ctr">
                <a:spcAft>
                  <a:spcPts val="400"/>
                </a:spcAft>
              </a:pPr>
              <a:endParaRPr lang="en-US" sz="1000" b="1" spc="12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endParaRPr kumimoji="0" lang="en-US" sz="1000" b="0" i="0" u="none" strike="noStrike" cap="none" spc="0" normalizeH="0" baseline="0" dirty="0">
                <a:ln>
                  <a:noFill/>
                </a:ln>
                <a:solidFill>
                  <a:schemeClr val="tx1">
                    <a:lumMod val="95000"/>
                    <a:lumOff val="5000"/>
                  </a:schemeClr>
                </a:solidFill>
                <a:effectLst/>
                <a:uFillTx/>
                <a:latin typeface="Open Sans"/>
                <a:ea typeface="Open Sans"/>
                <a:cs typeface="Open Sans"/>
                <a:sym typeface="Open Sans"/>
              </a:endParaRPr>
            </a:p>
          </p:txBody>
        </p:sp>
        <p:sp>
          <p:nvSpPr>
            <p:cNvPr id="146" name="Rounded Rectangle 145">
              <a:extLst>
                <a:ext uri="{FF2B5EF4-FFF2-40B4-BE49-F238E27FC236}">
                  <a16:creationId xmlns:a16="http://schemas.microsoft.com/office/drawing/2014/main" id="{0A78DA55-71A6-9CA0-77FA-01509A0279A4}"/>
                </a:ext>
              </a:extLst>
            </p:cNvPr>
            <p:cNvSpPr/>
            <p:nvPr/>
          </p:nvSpPr>
          <p:spPr>
            <a:xfrm>
              <a:off x="8993092" y="2708864"/>
              <a:ext cx="2328957" cy="1320890"/>
            </a:xfrm>
            <a:prstGeom prst="roundRect">
              <a:avLst>
                <a:gd name="adj" fmla="val 5870"/>
              </a:avLst>
            </a:prstGeom>
            <a:solidFill>
              <a:srgbClr val="1CABE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algn="ctr">
                <a:spcAft>
                  <a:spcPts val="400"/>
                </a:spcAft>
              </a:pPr>
              <a:r>
                <a:rPr lang="en-US" sz="1000" b="1" spc="120" dirty="0">
                  <a:solidFill>
                    <a:schemeClr val="tx1">
                      <a:lumMod val="95000"/>
                      <a:lumOff val="5000"/>
                    </a:schemeClr>
                  </a:solidFill>
                </a:rPr>
                <a:t>DEVELOPMENT &amp; TESTING</a:t>
              </a:r>
              <a:endParaRPr lang="en-US" sz="1000" b="1" spc="12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Application development</a:t>
              </a:r>
            </a:p>
            <a:p>
              <a:pPr marL="171450" indent="-171450">
                <a:buFont typeface="Arial" panose="020B0604020202020204" pitchFamily="34" charset="0"/>
                <a:buChar char="•"/>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Integration with 3rd parties (e.g. CRM, payment gateway)</a:t>
              </a:r>
            </a:p>
            <a:p>
              <a:pPr marL="171450" marR="0" indent="-171450" defTabSz="91440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sym typeface="Open Sans"/>
                </a:rPr>
                <a:t>Transactional email coding</a:t>
              </a:r>
              <a:endPar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indent="-171450" defTabSz="914400" fontAlgn="auto" latinLnBrk="0" hangingPunct="0">
                <a:lnSpc>
                  <a:spcPct val="100000"/>
                </a:lnSpc>
                <a:spcBef>
                  <a:spcPts val="0"/>
                </a:spcBef>
                <a:spcAft>
                  <a:spcPts val="0"/>
                </a:spcAft>
                <a:buClrTx/>
                <a:buSzTx/>
                <a:buFont typeface="Arial,Sans-Serif"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Testing</a:t>
              </a:r>
            </a:p>
          </p:txBody>
        </p:sp>
        <p:sp>
          <p:nvSpPr>
            <p:cNvPr id="183" name="Rounded Rectangle 182">
              <a:extLst>
                <a:ext uri="{FF2B5EF4-FFF2-40B4-BE49-F238E27FC236}">
                  <a16:creationId xmlns:a16="http://schemas.microsoft.com/office/drawing/2014/main" id="{78D97BCC-0085-EDC8-141E-DAB6E0F2927F}"/>
                </a:ext>
              </a:extLst>
            </p:cNvPr>
            <p:cNvSpPr/>
            <p:nvPr/>
          </p:nvSpPr>
          <p:spPr>
            <a:xfrm>
              <a:off x="8987570" y="4093435"/>
              <a:ext cx="2340000" cy="684000"/>
            </a:xfrm>
            <a:prstGeom prst="roundRect">
              <a:avLst>
                <a:gd name="adj" fmla="val 16667"/>
              </a:avLst>
            </a:prstGeom>
            <a:solidFill>
              <a:srgbClr val="1CABE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algn="ctr">
                <a:spcAft>
                  <a:spcPts val="400"/>
                </a:spcAft>
              </a:pPr>
              <a:r>
                <a:rPr lang="en-US" sz="1000" b="1" spc="12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CONTENT UPDATES</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sym typeface="Open Sans"/>
                </a:rPr>
                <a:t>Content migration</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Text updates</a:t>
              </a:r>
              <a:endPar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86" name="Rounded Rectangle 185">
              <a:extLst>
                <a:ext uri="{FF2B5EF4-FFF2-40B4-BE49-F238E27FC236}">
                  <a16:creationId xmlns:a16="http://schemas.microsoft.com/office/drawing/2014/main" id="{BEE08E21-A1B4-4FAC-A23A-728F6F260CBE}"/>
                </a:ext>
              </a:extLst>
            </p:cNvPr>
            <p:cNvSpPr/>
            <p:nvPr/>
          </p:nvSpPr>
          <p:spPr>
            <a:xfrm>
              <a:off x="8915570" y="1436166"/>
              <a:ext cx="2484000" cy="4637463"/>
            </a:xfrm>
            <a:prstGeom prst="roundRect">
              <a:avLst>
                <a:gd name="adj" fmla="val 3803"/>
              </a:avLst>
            </a:prstGeom>
            <a:noFill/>
            <a:ln w="12700" cap="flat">
              <a:solidFill>
                <a:schemeClr val="tx2">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91440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Open Sans"/>
                <a:ea typeface="Open Sans"/>
                <a:cs typeface="Open Sans"/>
                <a:sym typeface="Open Sans"/>
              </a:endParaRPr>
            </a:p>
          </p:txBody>
        </p:sp>
        <p:sp>
          <p:nvSpPr>
            <p:cNvPr id="61" name="TextBox 60">
              <a:extLst>
                <a:ext uri="{FF2B5EF4-FFF2-40B4-BE49-F238E27FC236}">
                  <a16:creationId xmlns:a16="http://schemas.microsoft.com/office/drawing/2014/main" id="{0A759EE8-E06C-1075-AFE7-9E243418B5FA}"/>
                </a:ext>
              </a:extLst>
            </p:cNvPr>
            <p:cNvSpPr txBox="1"/>
            <p:nvPr/>
          </p:nvSpPr>
          <p:spPr>
            <a:xfrm>
              <a:off x="9239794" y="1304036"/>
              <a:ext cx="1835552" cy="2769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lIns="0" rIns="0">
              <a:spAutoFit/>
            </a:bodyPr>
            <a:lstStyle/>
            <a:p>
              <a:pPr algn="ctr"/>
              <a:r>
                <a:rPr lang="en-US" sz="1200" b="1" i="1" dirty="0">
                  <a:solidFill>
                    <a:srgbClr val="004F59"/>
                  </a:solidFill>
                  <a:latin typeface="Open Sans" panose="020B0606030504020204" pitchFamily="34" charset="0"/>
                  <a:ea typeface="Open Sans" panose="020B0606030504020204" pitchFamily="34" charset="0"/>
                  <a:cs typeface="Open Sans" panose="020B0606030504020204" pitchFamily="34" charset="0"/>
                </a:rPr>
                <a:t>Delivery phase</a:t>
              </a:r>
            </a:p>
          </p:txBody>
        </p:sp>
      </p:grpSp>
      <p:grpSp>
        <p:nvGrpSpPr>
          <p:cNvPr id="2" name="Group 1">
            <a:extLst>
              <a:ext uri="{FF2B5EF4-FFF2-40B4-BE49-F238E27FC236}">
                <a16:creationId xmlns:a16="http://schemas.microsoft.com/office/drawing/2014/main" id="{81318260-8451-0DEB-99B8-5FEC5A6DCEEC}"/>
              </a:ext>
            </a:extLst>
          </p:cNvPr>
          <p:cNvGrpSpPr/>
          <p:nvPr/>
        </p:nvGrpSpPr>
        <p:grpSpPr>
          <a:xfrm>
            <a:off x="612025" y="1304036"/>
            <a:ext cx="2484000" cy="4769593"/>
            <a:chOff x="612025" y="1304036"/>
            <a:chExt cx="2484000" cy="4769593"/>
          </a:xfrm>
        </p:grpSpPr>
        <p:sp>
          <p:nvSpPr>
            <p:cNvPr id="165" name="Rounded Rectangle 164">
              <a:extLst>
                <a:ext uri="{FF2B5EF4-FFF2-40B4-BE49-F238E27FC236}">
                  <a16:creationId xmlns:a16="http://schemas.microsoft.com/office/drawing/2014/main" id="{78FB0132-29F6-DFB8-CEC5-921669F5ABBF}"/>
                </a:ext>
              </a:extLst>
            </p:cNvPr>
            <p:cNvSpPr/>
            <p:nvPr/>
          </p:nvSpPr>
          <p:spPr>
            <a:xfrm>
              <a:off x="612025" y="1436166"/>
              <a:ext cx="2484000" cy="4637463"/>
            </a:xfrm>
            <a:prstGeom prst="roundRect">
              <a:avLst>
                <a:gd name="adj" fmla="val 4039"/>
              </a:avLst>
            </a:prstGeom>
            <a:noFill/>
            <a:ln w="12700" cap="flat">
              <a:solidFill>
                <a:schemeClr val="tx2">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91440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Open Sans"/>
                <a:ea typeface="Open Sans"/>
                <a:cs typeface="Open Sans"/>
                <a:sym typeface="Open Sans"/>
              </a:endParaRPr>
            </a:p>
          </p:txBody>
        </p:sp>
        <p:sp>
          <p:nvSpPr>
            <p:cNvPr id="9" name="Rounded Rectangle 8">
              <a:extLst>
                <a:ext uri="{FF2B5EF4-FFF2-40B4-BE49-F238E27FC236}">
                  <a16:creationId xmlns:a16="http://schemas.microsoft.com/office/drawing/2014/main" id="{4DAE5B67-40E0-BAAE-3BFD-8864780329F2}"/>
                </a:ext>
              </a:extLst>
            </p:cNvPr>
            <p:cNvSpPr/>
            <p:nvPr/>
          </p:nvSpPr>
          <p:spPr>
            <a:xfrm>
              <a:off x="684025" y="2399000"/>
              <a:ext cx="2340000" cy="518499"/>
            </a:xfrm>
            <a:prstGeom prst="roundRect">
              <a:avLst/>
            </a:prstGeom>
            <a:solidFill>
              <a:srgbClr val="F6FAF7"/>
            </a:solidFill>
            <a:ln w="25400" cap="flat">
              <a:noFill/>
              <a:prstDash val="solid"/>
              <a:round/>
            </a:ln>
            <a:effectLst>
              <a:outerShdw blurRad="127000" dist="63500" dir="2700000" algn="tl" rotWithShape="0">
                <a:prstClr val="black">
                  <a:alpha val="1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marL="0" marR="0" indent="0" algn="ctr" defTabSz="914400" fontAlgn="auto" latinLnBrk="0" hangingPunct="0">
                <a:lnSpc>
                  <a:spcPct val="100000"/>
                </a:lnSpc>
                <a:spcBef>
                  <a:spcPts val="0"/>
                </a:spcBef>
                <a:spcAft>
                  <a:spcPts val="400"/>
                </a:spcAft>
                <a:buClrTx/>
                <a:buSzTx/>
                <a:buFontTx/>
                <a:buNone/>
                <a:tabLst/>
              </a:pPr>
              <a:r>
                <a:rPr lang="en-US" sz="1000" b="1" spc="120" dirty="0">
                  <a:latin typeface="Open Sans" panose="020B0606030504020204" pitchFamily="34" charset="0"/>
                  <a:ea typeface="Open Sans" panose="020B0606030504020204" pitchFamily="34" charset="0"/>
                  <a:cs typeface="Open Sans" panose="020B0606030504020204" pitchFamily="34" charset="0"/>
                </a:rPr>
                <a:t>DATA ANALYSIS</a:t>
              </a:r>
              <a:endParaRPr lang="en-US" sz="1000" b="1" dirty="0">
                <a:latin typeface="Open Sans" panose="020B0606030504020204" pitchFamily="34" charset="0"/>
                <a:ea typeface="Open Sans" panose="020B0606030504020204" pitchFamily="34" charset="0"/>
                <a:cs typeface="Open Sans" panose="020B0606030504020204" pitchFamily="34" charset="0"/>
              </a:endParaRPr>
            </a:p>
            <a:p>
              <a:pPr marL="171450" marR="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Open Sans" panose="020B0606030504020204" pitchFamily="34" charset="0"/>
                  <a:ea typeface="Open Sans" panose="020B0606030504020204" pitchFamily="34" charset="0"/>
                  <a:cs typeface="Open Sans" panose="020B0606030504020204" pitchFamily="34" charset="0"/>
                </a:rPr>
                <a:t>Data request and analysis</a:t>
              </a:r>
            </a:p>
          </p:txBody>
        </p:sp>
        <p:sp>
          <p:nvSpPr>
            <p:cNvPr id="32" name="Rounded Rectangle 31">
              <a:extLst>
                <a:ext uri="{FF2B5EF4-FFF2-40B4-BE49-F238E27FC236}">
                  <a16:creationId xmlns:a16="http://schemas.microsoft.com/office/drawing/2014/main" id="{08622330-6374-FA58-29A2-AA182C6C9C09}"/>
                </a:ext>
              </a:extLst>
            </p:cNvPr>
            <p:cNvSpPr/>
            <p:nvPr/>
          </p:nvSpPr>
          <p:spPr>
            <a:xfrm>
              <a:off x="684025" y="1627612"/>
              <a:ext cx="2340000" cy="705937"/>
            </a:xfrm>
            <a:prstGeom prst="roundRect">
              <a:avLst/>
            </a:prstGeom>
            <a:solidFill>
              <a:srgbClr val="F6FAF7"/>
            </a:solidFill>
            <a:ln w="25400" cap="flat">
              <a:noFill/>
              <a:prstDash val="solid"/>
              <a:round/>
            </a:ln>
            <a:effectLst>
              <a:outerShdw blurRad="127000" dist="63500" dir="2700000" algn="tl" rotWithShape="0">
                <a:prstClr val="black">
                  <a:alpha val="1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marL="0" marR="0" indent="0" algn="ctr" defTabSz="914400" fontAlgn="auto" latinLnBrk="0" hangingPunct="0">
                <a:lnSpc>
                  <a:spcPct val="100000"/>
                </a:lnSpc>
                <a:spcBef>
                  <a:spcPts val="0"/>
                </a:spcBef>
                <a:spcAft>
                  <a:spcPts val="400"/>
                </a:spcAft>
                <a:buClrTx/>
                <a:buSzTx/>
                <a:buFontTx/>
                <a:buNone/>
                <a:tabLst/>
              </a:pPr>
              <a:r>
                <a:rPr lang="en-US" sz="1000" b="1" spc="120" dirty="0">
                  <a:latin typeface="Open Sans" panose="020B0606030504020204" pitchFamily="34" charset="0"/>
                  <a:ea typeface="Open Sans" panose="020B0606030504020204" pitchFamily="34" charset="0"/>
                  <a:cs typeface="Open Sans" panose="020B0606030504020204" pitchFamily="34" charset="0"/>
                </a:rPr>
                <a:t>MOBILISATION</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kumimoji="0" lang="en-US" sz="1000" b="0" i="0" u="none" strike="noStrike" cap="none" spc="0" normalizeH="0" baseline="0" dirty="0">
                  <a:ln>
                    <a:noFill/>
                  </a:ln>
                  <a:effectLst/>
                  <a:uFillTx/>
                  <a:latin typeface="Open Sans" panose="020B0606030504020204" pitchFamily="34" charset="0"/>
                  <a:ea typeface="Open Sans" panose="020B0606030504020204" pitchFamily="34" charset="0"/>
                  <a:cs typeface="Open Sans" panose="020B0606030504020204" pitchFamily="34" charset="0"/>
                  <a:sym typeface="Open Sans"/>
                </a:rPr>
                <a:t>Project planning and team mobilization</a:t>
              </a:r>
            </a:p>
            <a:p>
              <a:pPr marR="0" defTabSz="914400" fontAlgn="auto" latinLnBrk="0" hangingPunct="0">
                <a:lnSpc>
                  <a:spcPct val="100000"/>
                </a:lnSpc>
                <a:spcBef>
                  <a:spcPts val="0"/>
                </a:spcBef>
                <a:spcAft>
                  <a:spcPts val="0"/>
                </a:spcAft>
                <a:buClrTx/>
                <a:buSzTx/>
                <a:tabLst/>
              </a:pPr>
              <a:endParaRPr kumimoji="0" lang="en-US" sz="1000" b="0" i="0" u="none" strike="noStrike" cap="none" spc="0" normalizeH="0" baseline="0" dirty="0">
                <a:ln>
                  <a:noFill/>
                </a:ln>
                <a:effectLst/>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 name="TextBox 3">
              <a:extLst>
                <a:ext uri="{FF2B5EF4-FFF2-40B4-BE49-F238E27FC236}">
                  <a16:creationId xmlns:a16="http://schemas.microsoft.com/office/drawing/2014/main" id="{68ECF3F7-F35B-C81F-C109-CD25E04E5DD6}"/>
                </a:ext>
              </a:extLst>
            </p:cNvPr>
            <p:cNvSpPr txBox="1"/>
            <p:nvPr/>
          </p:nvSpPr>
          <p:spPr>
            <a:xfrm>
              <a:off x="1061590" y="1304036"/>
              <a:ext cx="1584870" cy="2769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sz="1200" b="1" i="1" dirty="0">
                  <a:solidFill>
                    <a:srgbClr val="004F59"/>
                  </a:solidFill>
                  <a:latin typeface="Open Sans" panose="020B0606030504020204" pitchFamily="34" charset="0"/>
                  <a:ea typeface="Open Sans" panose="020B0606030504020204" pitchFamily="34" charset="0"/>
                  <a:cs typeface="Open Sans" panose="020B0606030504020204" pitchFamily="34" charset="0"/>
                </a:rPr>
                <a:t>Discovery phase</a:t>
              </a:r>
            </a:p>
          </p:txBody>
        </p:sp>
        <p:sp>
          <p:nvSpPr>
            <p:cNvPr id="5" name="Rounded Rectangle 4">
              <a:extLst>
                <a:ext uri="{FF2B5EF4-FFF2-40B4-BE49-F238E27FC236}">
                  <a16:creationId xmlns:a16="http://schemas.microsoft.com/office/drawing/2014/main" id="{4192CD1E-017F-1862-6032-15217BC20EE0}"/>
                </a:ext>
              </a:extLst>
            </p:cNvPr>
            <p:cNvSpPr/>
            <p:nvPr/>
          </p:nvSpPr>
          <p:spPr>
            <a:xfrm>
              <a:off x="684025" y="4715194"/>
              <a:ext cx="2340000" cy="1240989"/>
            </a:xfrm>
            <a:prstGeom prst="roundRect">
              <a:avLst>
                <a:gd name="adj" fmla="val 10583"/>
              </a:avLst>
            </a:prstGeom>
            <a:solidFill>
              <a:srgbClr val="F6FAF7"/>
            </a:solidFill>
            <a:ln w="25400" cap="flat">
              <a:noFill/>
              <a:prstDash val="solid"/>
              <a:round/>
            </a:ln>
            <a:effectLst>
              <a:outerShdw blurRad="127000" dist="63500" dir="2700000" algn="tl" rotWithShape="0">
                <a:prstClr val="black">
                  <a:alpha val="1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marL="0" marR="0" indent="0" algn="ctr" defTabSz="914400" fontAlgn="auto" latinLnBrk="0" hangingPunct="0">
                <a:lnSpc>
                  <a:spcPct val="100000"/>
                </a:lnSpc>
                <a:spcBef>
                  <a:spcPts val="0"/>
                </a:spcBef>
                <a:spcAft>
                  <a:spcPts val="400"/>
                </a:spcAft>
                <a:buClrTx/>
                <a:buSzTx/>
                <a:buFontTx/>
                <a:buNone/>
                <a:tabLst/>
              </a:pPr>
              <a:r>
                <a:rPr lang="en-US" sz="1000" b="1" dirty="0">
                  <a:latin typeface="Open Sans" panose="020B0606030504020204" pitchFamily="34" charset="0"/>
                  <a:ea typeface="Open Sans" panose="020B0606030504020204" pitchFamily="34" charset="0"/>
                  <a:cs typeface="Open Sans" panose="020B0606030504020204" pitchFamily="34" charset="0"/>
                </a:rPr>
                <a:t>DESK RESEARCH</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latin typeface="Open Sans" panose="020B0606030504020204" pitchFamily="34" charset="0"/>
                  <a:ea typeface="Open Sans" panose="020B0606030504020204" pitchFamily="34" charset="0"/>
                  <a:cs typeface="Open Sans" panose="020B0606030504020204" pitchFamily="34" charset="0"/>
                  <a:sym typeface="Open Sans"/>
                </a:rPr>
                <a:t>Analysis of best practices and existing solution </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latin typeface="Open Sans" panose="020B0606030504020204" pitchFamily="34" charset="0"/>
                  <a:ea typeface="Open Sans" panose="020B0606030504020204" pitchFamily="34" charset="0"/>
                  <a:cs typeface="Open Sans" panose="020B0606030504020204" pitchFamily="34" charset="0"/>
                  <a:sym typeface="Open Sans"/>
                </a:rPr>
                <a:t>Mapping of the ecosystem around the solution and organization </a:t>
              </a:r>
            </a:p>
            <a:p>
              <a:pPr marR="0" defTabSz="914400" fontAlgn="auto" latinLnBrk="0" hangingPunct="0">
                <a:lnSpc>
                  <a:spcPct val="100000"/>
                </a:lnSpc>
                <a:spcBef>
                  <a:spcPts val="0"/>
                </a:spcBef>
                <a:spcAft>
                  <a:spcPts val="0"/>
                </a:spcAft>
                <a:buClrTx/>
                <a:buSzTx/>
                <a:tabLst/>
              </a:pPr>
              <a:endParaRPr lang="en-US" sz="1000" dirty="0">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7" name="Rounded Rectangle 16">
              <a:extLst>
                <a:ext uri="{FF2B5EF4-FFF2-40B4-BE49-F238E27FC236}">
                  <a16:creationId xmlns:a16="http://schemas.microsoft.com/office/drawing/2014/main" id="{317CD189-FFE1-3373-592A-B2BAE92E3DD7}"/>
                </a:ext>
              </a:extLst>
            </p:cNvPr>
            <p:cNvSpPr/>
            <p:nvPr/>
          </p:nvSpPr>
          <p:spPr>
            <a:xfrm>
              <a:off x="684025" y="3849072"/>
              <a:ext cx="2340000" cy="800671"/>
            </a:xfrm>
            <a:prstGeom prst="roundRect">
              <a:avLst/>
            </a:prstGeom>
            <a:solidFill>
              <a:srgbClr val="F6FAF7"/>
            </a:solidFill>
            <a:ln w="25400" cap="flat">
              <a:noFill/>
              <a:prstDash val="solid"/>
              <a:round/>
            </a:ln>
            <a:effectLst>
              <a:outerShdw blurRad="127000" dist="63500" dir="2700000" algn="tl" rotWithShape="0">
                <a:prstClr val="black">
                  <a:alpha val="1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marR="0" algn="ctr" defTabSz="914400" fontAlgn="auto" latinLnBrk="0" hangingPunct="0">
                <a:lnSpc>
                  <a:spcPct val="100000"/>
                </a:lnSpc>
                <a:spcBef>
                  <a:spcPts val="0"/>
                </a:spcBef>
                <a:spcAft>
                  <a:spcPts val="0"/>
                </a:spcAft>
                <a:buClrTx/>
                <a:buSzTx/>
                <a:tabLst/>
              </a:pPr>
              <a:r>
                <a:rPr lang="en-US" sz="1000" b="1" spc="120" dirty="0">
                  <a:latin typeface="Open Sans" panose="020B0606030504020204" pitchFamily="34" charset="0"/>
                  <a:ea typeface="Open Sans" panose="020B0606030504020204" pitchFamily="34" charset="0"/>
                  <a:cs typeface="Open Sans" panose="020B0606030504020204" pitchFamily="34" charset="0"/>
                </a:rPr>
                <a:t>USER INTERVIEWS </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latin typeface="Open Sans" panose="020B0606030504020204" pitchFamily="34" charset="0"/>
                  <a:ea typeface="Open Sans" panose="020B0606030504020204" pitchFamily="34" charset="0"/>
                  <a:cs typeface="Open Sans" panose="020B0606030504020204" pitchFamily="34" charset="0"/>
                </a:rPr>
                <a:t>IDI interviews with clients to understand their needs, motivations and challenges</a:t>
              </a:r>
              <a:endParaRPr lang="en-US" sz="1000" dirty="0">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20" name="Rounded Rectangle 19">
              <a:extLst>
                <a:ext uri="{FF2B5EF4-FFF2-40B4-BE49-F238E27FC236}">
                  <a16:creationId xmlns:a16="http://schemas.microsoft.com/office/drawing/2014/main" id="{088658DC-1064-51D6-ECAC-D7CB6CE984D3}"/>
                </a:ext>
              </a:extLst>
            </p:cNvPr>
            <p:cNvSpPr/>
            <p:nvPr/>
          </p:nvSpPr>
          <p:spPr>
            <a:xfrm>
              <a:off x="684025" y="2982950"/>
              <a:ext cx="2340000" cy="800671"/>
            </a:xfrm>
            <a:prstGeom prst="roundRect">
              <a:avLst/>
            </a:prstGeom>
            <a:solidFill>
              <a:srgbClr val="F6FAF7"/>
            </a:solidFill>
            <a:ln w="25400" cap="flat">
              <a:noFill/>
              <a:prstDash val="solid"/>
              <a:round/>
            </a:ln>
            <a:effectLst>
              <a:outerShdw blurRad="127000" dist="63500" dir="2700000" algn="tl" rotWithShape="0">
                <a:prstClr val="black">
                  <a:alpha val="1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marR="0" algn="ctr" defTabSz="914400" eaLnBrk="1" fontAlgn="auto" latinLnBrk="0" hangingPunct="1">
                <a:lnSpc>
                  <a:spcPct val="100000"/>
                </a:lnSpc>
                <a:spcBef>
                  <a:spcPts val="0"/>
                </a:spcBef>
                <a:spcAft>
                  <a:spcPts val="0"/>
                </a:spcAft>
                <a:buClrTx/>
                <a:buSzTx/>
                <a:tabLst/>
                <a:defRPr/>
              </a:pPr>
              <a:r>
                <a:rPr lang="en-US" sz="1000" b="1" spc="120" dirty="0">
                  <a:latin typeface="Open Sans" panose="020B0606030504020204" pitchFamily="34" charset="0"/>
                  <a:ea typeface="Open Sans" panose="020B0606030504020204" pitchFamily="34" charset="0"/>
                  <a:cs typeface="Open Sans" panose="020B0606030504020204" pitchFamily="34" charset="0"/>
                </a:rPr>
                <a:t>USABILITY ASSESMENT</a:t>
              </a:r>
            </a:p>
            <a:p>
              <a:pPr marL="171450" marR="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spc="120" dirty="0">
                  <a:latin typeface="Open Sans" panose="020B0606030504020204" pitchFamily="34" charset="0"/>
                  <a:ea typeface="Open Sans" panose="020B0606030504020204" pitchFamily="34" charset="0"/>
                  <a:cs typeface="Open Sans" panose="020B0606030504020204" pitchFamily="34" charset="0"/>
                </a:rPr>
                <a:t>In-d</a:t>
              </a:r>
              <a:r>
                <a:rPr lang="en-US" sz="1000" dirty="0">
                  <a:latin typeface="Open Sans" panose="020B0606030504020204" pitchFamily="34" charset="0"/>
                  <a:ea typeface="Open Sans" panose="020B0606030504020204" pitchFamily="34" charset="0"/>
                  <a:cs typeface="Open Sans" panose="020B0606030504020204" pitchFamily="34" charset="0"/>
                </a:rPr>
                <a:t>epth interviews with key team members to understand relevant history, objectives </a:t>
              </a:r>
            </a:p>
          </p:txBody>
        </p:sp>
      </p:grpSp>
      <p:grpSp>
        <p:nvGrpSpPr>
          <p:cNvPr id="6" name="Group 5">
            <a:extLst>
              <a:ext uri="{FF2B5EF4-FFF2-40B4-BE49-F238E27FC236}">
                <a16:creationId xmlns:a16="http://schemas.microsoft.com/office/drawing/2014/main" id="{839F81D8-1ABC-289C-E37F-494B548F6E90}"/>
              </a:ext>
            </a:extLst>
          </p:cNvPr>
          <p:cNvGrpSpPr/>
          <p:nvPr/>
        </p:nvGrpSpPr>
        <p:grpSpPr>
          <a:xfrm>
            <a:off x="3379873" y="1304036"/>
            <a:ext cx="2484000" cy="4769593"/>
            <a:chOff x="3421313" y="1304036"/>
            <a:chExt cx="2484000" cy="4769593"/>
          </a:xfrm>
        </p:grpSpPr>
        <p:sp>
          <p:nvSpPr>
            <p:cNvPr id="179" name="Rounded Rectangle 178">
              <a:extLst>
                <a:ext uri="{FF2B5EF4-FFF2-40B4-BE49-F238E27FC236}">
                  <a16:creationId xmlns:a16="http://schemas.microsoft.com/office/drawing/2014/main" id="{E811C9D4-B38D-F5C5-69C7-FC04A2BEF450}"/>
                </a:ext>
              </a:extLst>
            </p:cNvPr>
            <p:cNvSpPr/>
            <p:nvPr/>
          </p:nvSpPr>
          <p:spPr>
            <a:xfrm>
              <a:off x="3421313" y="1436166"/>
              <a:ext cx="2484000" cy="4637463"/>
            </a:xfrm>
            <a:prstGeom prst="roundRect">
              <a:avLst>
                <a:gd name="adj" fmla="val 4039"/>
              </a:avLst>
            </a:prstGeom>
            <a:noFill/>
            <a:ln w="12700" cap="flat">
              <a:solidFill>
                <a:schemeClr val="tx2">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91440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Open Sans"/>
                <a:ea typeface="Open Sans"/>
                <a:cs typeface="Open Sans"/>
                <a:sym typeface="Open Sans"/>
              </a:endParaRPr>
            </a:p>
          </p:txBody>
        </p:sp>
        <p:sp>
          <p:nvSpPr>
            <p:cNvPr id="181" name="TextBox 180">
              <a:extLst>
                <a:ext uri="{FF2B5EF4-FFF2-40B4-BE49-F238E27FC236}">
                  <a16:creationId xmlns:a16="http://schemas.microsoft.com/office/drawing/2014/main" id="{6ADCEA1C-FB1A-6D21-39EE-48257C8EDD99}"/>
                </a:ext>
              </a:extLst>
            </p:cNvPr>
            <p:cNvSpPr txBox="1"/>
            <p:nvPr/>
          </p:nvSpPr>
          <p:spPr>
            <a:xfrm>
              <a:off x="4663281" y="4613807"/>
              <a:ext cx="65"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0" indent="0" algn="l" defTabSz="91440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Open Sans"/>
                <a:ea typeface="Open Sans"/>
                <a:cs typeface="Open Sans"/>
                <a:sym typeface="Open Sans"/>
              </a:endParaRPr>
            </a:p>
          </p:txBody>
        </p:sp>
        <p:sp>
          <p:nvSpPr>
            <p:cNvPr id="30" name="Rounded Rectangle 29">
              <a:extLst>
                <a:ext uri="{FF2B5EF4-FFF2-40B4-BE49-F238E27FC236}">
                  <a16:creationId xmlns:a16="http://schemas.microsoft.com/office/drawing/2014/main" id="{5BE453D1-83AF-0B85-7C17-9845EE54EDB3}"/>
                </a:ext>
              </a:extLst>
            </p:cNvPr>
            <p:cNvSpPr/>
            <p:nvPr/>
          </p:nvSpPr>
          <p:spPr>
            <a:xfrm>
              <a:off x="3493313" y="1627612"/>
              <a:ext cx="2340000" cy="1083931"/>
            </a:xfrm>
            <a:prstGeom prst="roundRect">
              <a:avLst>
                <a:gd name="adj" fmla="val 8154"/>
              </a:avLst>
            </a:prstGeom>
            <a:solidFill>
              <a:srgbClr val="C7F0F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marL="0" marR="0" indent="0" algn="ctr" defTabSz="914400" fontAlgn="auto" latinLnBrk="0" hangingPunct="0">
                <a:lnSpc>
                  <a:spcPct val="100000"/>
                </a:lnSpc>
                <a:spcBef>
                  <a:spcPts val="0"/>
                </a:spcBef>
                <a:spcAft>
                  <a:spcPts val="400"/>
                </a:spcAft>
                <a:buClrTx/>
                <a:buSzTx/>
                <a:buFontTx/>
                <a:buNone/>
                <a:tabLst/>
              </a:pPr>
              <a:r>
                <a:rPr lang="en-US" sz="1000" b="1" spc="120" dirty="0">
                  <a:latin typeface="Open Sans" panose="020B0606030504020204" pitchFamily="34" charset="0"/>
                  <a:ea typeface="Open Sans" panose="020B0606030504020204" pitchFamily="34" charset="0"/>
                  <a:cs typeface="Open Sans" panose="020B0606030504020204" pitchFamily="34" charset="0"/>
                </a:rPr>
                <a:t>STRATEGY WORKSHOP</a:t>
              </a:r>
            </a:p>
            <a:p>
              <a:pPr marL="171450" marR="0" indent="-171450" defTabSz="914400" fontAlgn="auto" latinLnBrk="0" hangingPunct="0">
                <a:lnSpc>
                  <a:spcPct val="100000"/>
                </a:lnSpc>
                <a:spcBef>
                  <a:spcPts val="0"/>
                </a:spcBef>
                <a:spcAft>
                  <a:spcPts val="400"/>
                </a:spcAft>
                <a:buClrTx/>
                <a:buSzTx/>
                <a:buFont typeface="Arial" panose="020B0604020202020204" pitchFamily="34" charset="0"/>
                <a:buChar char="•"/>
                <a:tabLst/>
              </a:pPr>
              <a:r>
                <a:rPr lang="en-US" sz="1000" dirty="0">
                  <a:latin typeface="Open Sans" panose="020B0606030504020204" pitchFamily="34" charset="0"/>
                  <a:ea typeface="Open Sans" panose="020B0606030504020204" pitchFamily="34" charset="0"/>
                  <a:cs typeface="Open Sans" panose="020B0606030504020204" pitchFamily="34" charset="0"/>
                </a:rPr>
                <a:t>Workshop to define organization, customer and technology perspective on goals and aspiration</a:t>
              </a:r>
            </a:p>
          </p:txBody>
        </p:sp>
        <p:sp>
          <p:nvSpPr>
            <p:cNvPr id="47" name="TextBox 46">
              <a:extLst>
                <a:ext uri="{FF2B5EF4-FFF2-40B4-BE49-F238E27FC236}">
                  <a16:creationId xmlns:a16="http://schemas.microsoft.com/office/drawing/2014/main" id="{C035791F-DBE0-BAAB-DAAA-80EDB35D7A99}"/>
                </a:ext>
              </a:extLst>
            </p:cNvPr>
            <p:cNvSpPr txBox="1"/>
            <p:nvPr/>
          </p:nvSpPr>
          <p:spPr>
            <a:xfrm>
              <a:off x="3870878" y="1304036"/>
              <a:ext cx="1584870" cy="2769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sz="1200" b="1" i="1" dirty="0">
                  <a:solidFill>
                    <a:srgbClr val="004F59"/>
                  </a:solidFill>
                  <a:latin typeface="Open Sans" panose="020B0606030504020204" pitchFamily="34" charset="0"/>
                  <a:ea typeface="Open Sans" panose="020B0606030504020204" pitchFamily="34" charset="0"/>
                  <a:cs typeface="Open Sans" panose="020B0606030504020204" pitchFamily="34" charset="0"/>
                </a:rPr>
                <a:t>Envision phase </a:t>
              </a:r>
            </a:p>
          </p:txBody>
        </p:sp>
        <p:sp>
          <p:nvSpPr>
            <p:cNvPr id="36" name="Rounded Rectangle 35">
              <a:extLst>
                <a:ext uri="{FF2B5EF4-FFF2-40B4-BE49-F238E27FC236}">
                  <a16:creationId xmlns:a16="http://schemas.microsoft.com/office/drawing/2014/main" id="{48C8FCD7-3B31-18CC-AC62-A5EC4FD3EC06}"/>
                </a:ext>
              </a:extLst>
            </p:cNvPr>
            <p:cNvSpPr/>
            <p:nvPr/>
          </p:nvSpPr>
          <p:spPr>
            <a:xfrm>
              <a:off x="3493313" y="3873262"/>
              <a:ext cx="2340000" cy="1027020"/>
            </a:xfrm>
            <a:prstGeom prst="roundRect">
              <a:avLst>
                <a:gd name="adj" fmla="val 10132"/>
              </a:avLst>
            </a:prstGeom>
            <a:solidFill>
              <a:srgbClr val="C7F0F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algn="ctr">
                <a:spcAft>
                  <a:spcPts val="400"/>
                </a:spcAft>
              </a:pPr>
              <a:r>
                <a:rPr lang="en-US" sz="1000" b="1" spc="120" dirty="0">
                  <a:latin typeface="Open Sans" panose="020B0606030504020204" pitchFamily="34" charset="0"/>
                  <a:ea typeface="Open Sans" panose="020B0606030504020204" pitchFamily="34" charset="0"/>
                  <a:cs typeface="Open Sans" panose="020B0606030504020204" pitchFamily="34" charset="0"/>
                </a:rPr>
                <a:t>CO-CREATION</a:t>
              </a:r>
            </a:p>
            <a:p>
              <a:pPr marL="171450" indent="-17145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Workshops where a high-level concept of the digital product will be developed</a:t>
              </a:r>
              <a:r>
                <a:rPr lang="en-US" sz="1000" dirty="0"/>
                <a:t>. </a:t>
              </a:r>
            </a:p>
          </p:txBody>
        </p:sp>
        <p:sp>
          <p:nvSpPr>
            <p:cNvPr id="22" name="Rounded Rectangle 21">
              <a:extLst>
                <a:ext uri="{FF2B5EF4-FFF2-40B4-BE49-F238E27FC236}">
                  <a16:creationId xmlns:a16="http://schemas.microsoft.com/office/drawing/2014/main" id="{5BD5BB27-F5E8-6BBE-C801-2297C3AC4783}"/>
                </a:ext>
              </a:extLst>
            </p:cNvPr>
            <p:cNvSpPr/>
            <p:nvPr/>
          </p:nvSpPr>
          <p:spPr>
            <a:xfrm>
              <a:off x="3493313" y="2778462"/>
              <a:ext cx="2340000" cy="1027021"/>
            </a:xfrm>
            <a:prstGeom prst="roundRect">
              <a:avLst>
                <a:gd name="adj" fmla="val 8499"/>
              </a:avLst>
            </a:prstGeom>
            <a:solidFill>
              <a:srgbClr val="C7F0F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marL="0" lvl="1" algn="ctr" defTabSz="1219170">
                <a:lnSpc>
                  <a:spcPct val="120000"/>
                </a:lnSpc>
                <a:spcAft>
                  <a:spcPts val="300"/>
                </a:spcAft>
                <a:defRPr/>
              </a:pPr>
              <a:r>
                <a:rPr lang="en-US" sz="1000" b="1" dirty="0">
                  <a:latin typeface="Open Sans" panose="020B0606030504020204" pitchFamily="34" charset="0"/>
                  <a:ea typeface="Open Sans" panose="020B0606030504020204" pitchFamily="34" charset="0"/>
                  <a:cs typeface="Open Sans" panose="020B0606030504020204" pitchFamily="34" charset="0"/>
                </a:rPr>
                <a:t>FEASIBILTY STUDY</a:t>
              </a:r>
            </a:p>
            <a:p>
              <a:pPr marL="171450" lvl="1" indent="-171450" defTabSz="1219170">
                <a:lnSpc>
                  <a:spcPct val="120000"/>
                </a:lnSpc>
                <a:spcAft>
                  <a:spcPts val="300"/>
                </a:spcAft>
                <a:buFont typeface="Arial" panose="020B0604020202020204" pitchFamily="34" charset="0"/>
                <a:buChar char="•"/>
                <a:defRPr/>
              </a:pPr>
              <a:r>
                <a:rPr lang="en-US" sz="1000" spc="0" dirty="0">
                  <a:solidFill>
                    <a:schemeClr val="dk1"/>
                  </a:solidFill>
                  <a:latin typeface="Open Sans" panose="020B0606030504020204" pitchFamily="34" charset="0"/>
                  <a:ea typeface="Open Sans"/>
                  <a:cs typeface="Open Sans"/>
                </a:rPr>
                <a:t>Review of the available systems</a:t>
              </a:r>
            </a:p>
            <a:p>
              <a:pPr marL="171450" lvl="1" indent="-171450" defTabSz="1219170">
                <a:lnSpc>
                  <a:spcPct val="120000"/>
                </a:lnSpc>
                <a:spcAft>
                  <a:spcPts val="300"/>
                </a:spcAft>
                <a:buFont typeface="Arial" panose="020B0604020202020204" pitchFamily="34" charset="0"/>
                <a:buChar char="•"/>
                <a:defRPr/>
              </a:pPr>
              <a:r>
                <a:rPr lang="en-US" sz="1000" dirty="0">
                  <a:solidFill>
                    <a:schemeClr val="dk1"/>
                  </a:solidFill>
                  <a:latin typeface="Open Sans" panose="020B0606030504020204" pitchFamily="34" charset="0"/>
                  <a:ea typeface="Open Sans"/>
                  <a:cs typeface="Open Sans"/>
                </a:rPr>
                <a:t>Choosing the right open source solution and technology stack </a:t>
              </a:r>
              <a:endParaRPr lang="en-US" sz="1000" spc="0" dirty="0">
                <a:solidFill>
                  <a:schemeClr val="dk1"/>
                </a:solidFill>
                <a:latin typeface="Open Sans" panose="020B0606030504020204" pitchFamily="34" charset="0"/>
                <a:ea typeface="Open Sans"/>
                <a:cs typeface="Open Sans"/>
              </a:endParaRPr>
            </a:p>
          </p:txBody>
        </p:sp>
        <p:sp>
          <p:nvSpPr>
            <p:cNvPr id="23" name="Rounded Rectangle 22">
              <a:extLst>
                <a:ext uri="{FF2B5EF4-FFF2-40B4-BE49-F238E27FC236}">
                  <a16:creationId xmlns:a16="http://schemas.microsoft.com/office/drawing/2014/main" id="{52C503CE-684D-92D1-D7D7-BCDCDF72C9E4}"/>
                </a:ext>
              </a:extLst>
            </p:cNvPr>
            <p:cNvSpPr/>
            <p:nvPr/>
          </p:nvSpPr>
          <p:spPr>
            <a:xfrm>
              <a:off x="3493313" y="4968061"/>
              <a:ext cx="2340000" cy="687859"/>
            </a:xfrm>
            <a:prstGeom prst="roundRect">
              <a:avLst/>
            </a:prstGeom>
            <a:solidFill>
              <a:srgbClr val="C7F0F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marL="0" marR="0" indent="0" algn="ctr" defTabSz="914400" fontAlgn="auto" latinLnBrk="0" hangingPunct="0">
                <a:lnSpc>
                  <a:spcPct val="100000"/>
                </a:lnSpc>
                <a:spcBef>
                  <a:spcPts val="0"/>
                </a:spcBef>
                <a:spcAft>
                  <a:spcPts val="400"/>
                </a:spcAft>
                <a:buClrTx/>
                <a:buSzTx/>
                <a:buFontTx/>
                <a:buNone/>
                <a:tabLst/>
              </a:pPr>
              <a:r>
                <a:rPr lang="en-US" sz="1000" b="1" dirty="0">
                  <a:latin typeface="Open Sans" panose="020B0606030504020204" pitchFamily="34" charset="0"/>
                  <a:ea typeface="Open Sans" panose="020B0606030504020204" pitchFamily="34" charset="0"/>
                  <a:cs typeface="Open Sans" panose="020B0606030504020204" pitchFamily="34" charset="0"/>
                </a:rPr>
                <a:t>ROADMAP</a:t>
              </a:r>
            </a:p>
            <a:p>
              <a:pPr marL="171450" marR="0" indent="-171450" defTabSz="914400" fontAlgn="auto" latinLnBrk="0" hangingPunct="0">
                <a:lnSpc>
                  <a:spcPct val="100000"/>
                </a:lnSpc>
                <a:spcBef>
                  <a:spcPts val="0"/>
                </a:spcBef>
                <a:spcAft>
                  <a:spcPts val="400"/>
                </a:spcAft>
                <a:buClrTx/>
                <a:buSzTx/>
                <a:buFont typeface="Arial" panose="020B0604020202020204" pitchFamily="34" charset="0"/>
                <a:buChar char="•"/>
                <a:tabLst/>
              </a:pPr>
              <a:r>
                <a:rPr lang="en-US" sz="1000" dirty="0">
                  <a:latin typeface="Open Sans" panose="020B0606030504020204" pitchFamily="34" charset="0"/>
                  <a:ea typeface="Open Sans" panose="020B0606030504020204" pitchFamily="34" charset="0"/>
                  <a:cs typeface="Open Sans" panose="020B0606030504020204" pitchFamily="34" charset="0"/>
                </a:rPr>
                <a:t>Delivery of a high-level roadmap and initial backlog </a:t>
              </a:r>
            </a:p>
          </p:txBody>
        </p:sp>
      </p:grpSp>
      <p:grpSp>
        <p:nvGrpSpPr>
          <p:cNvPr id="7" name="Group 6">
            <a:extLst>
              <a:ext uri="{FF2B5EF4-FFF2-40B4-BE49-F238E27FC236}">
                <a16:creationId xmlns:a16="http://schemas.microsoft.com/office/drawing/2014/main" id="{04E47451-B571-FAB5-4B9A-33E59ACC19DA}"/>
              </a:ext>
            </a:extLst>
          </p:cNvPr>
          <p:cNvGrpSpPr/>
          <p:nvPr/>
        </p:nvGrpSpPr>
        <p:grpSpPr>
          <a:xfrm>
            <a:off x="6147721" y="1304036"/>
            <a:ext cx="2484000" cy="4769593"/>
            <a:chOff x="6129641" y="1304036"/>
            <a:chExt cx="2484000" cy="4769593"/>
          </a:xfrm>
        </p:grpSpPr>
        <p:sp>
          <p:nvSpPr>
            <p:cNvPr id="180" name="Rounded Rectangle 179">
              <a:extLst>
                <a:ext uri="{FF2B5EF4-FFF2-40B4-BE49-F238E27FC236}">
                  <a16:creationId xmlns:a16="http://schemas.microsoft.com/office/drawing/2014/main" id="{B9118638-BFD2-A737-0A97-35BAF4CE6490}"/>
                </a:ext>
              </a:extLst>
            </p:cNvPr>
            <p:cNvSpPr/>
            <p:nvPr/>
          </p:nvSpPr>
          <p:spPr>
            <a:xfrm>
              <a:off x="6129641" y="1436166"/>
              <a:ext cx="2484000" cy="4637463"/>
            </a:xfrm>
            <a:prstGeom prst="roundRect">
              <a:avLst>
                <a:gd name="adj" fmla="val 4039"/>
              </a:avLst>
            </a:prstGeom>
            <a:noFill/>
            <a:ln w="12700" cap="flat">
              <a:solidFill>
                <a:schemeClr val="tx2">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91440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Open Sans"/>
                <a:ea typeface="Open Sans"/>
                <a:cs typeface="Open Sans"/>
                <a:sym typeface="Open Sans"/>
              </a:endParaRPr>
            </a:p>
          </p:txBody>
        </p:sp>
        <p:sp>
          <p:nvSpPr>
            <p:cNvPr id="37" name="Rounded Rectangle 36">
              <a:extLst>
                <a:ext uri="{FF2B5EF4-FFF2-40B4-BE49-F238E27FC236}">
                  <a16:creationId xmlns:a16="http://schemas.microsoft.com/office/drawing/2014/main" id="{CF914552-3C24-BF0D-F8D4-C3A901F5975C}"/>
                </a:ext>
              </a:extLst>
            </p:cNvPr>
            <p:cNvSpPr/>
            <p:nvPr/>
          </p:nvSpPr>
          <p:spPr>
            <a:xfrm>
              <a:off x="6201641" y="1627612"/>
              <a:ext cx="2340000" cy="1441032"/>
            </a:xfrm>
            <a:prstGeom prst="roundRect">
              <a:avLst>
                <a:gd name="adj" fmla="val 7935"/>
              </a:avLst>
            </a:prstGeom>
            <a:solidFill>
              <a:srgbClr val="6FC9EB"/>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algn="ctr">
                <a:spcAft>
                  <a:spcPts val="400"/>
                </a:spcAft>
              </a:pPr>
              <a:r>
                <a:rPr lang="en-US" sz="1000" b="1" spc="12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PROTOTYPE AND TEST </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UX/UI design of the key flows </a:t>
              </a:r>
              <a:endPar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sym typeface="Open Sans"/>
              </a:endParaRP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Prototype design</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Usability testing </a:t>
              </a:r>
            </a:p>
            <a:p>
              <a:pPr marL="171450" marR="0" indent="-171450" defTabSz="914400" fontAlgn="auto" latinLnBrk="0" hangingPunct="0">
                <a:lnSpc>
                  <a:spcPct val="100000"/>
                </a:lnSpc>
                <a:spcBef>
                  <a:spcPts val="0"/>
                </a:spcBef>
                <a:spcAft>
                  <a:spcPts val="0"/>
                </a:spcAft>
                <a:buClrTx/>
                <a:buSzTx/>
                <a:buFont typeface="Arial" panose="020B0604020202020204" pitchFamily="34" charset="0"/>
                <a:buChar char="•"/>
                <a:tabLst/>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Feedback collection and iteration to make necessary improvements and refinements </a:t>
              </a:r>
              <a:endPar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sym typeface="Open Sans"/>
              </a:endParaRPr>
            </a:p>
            <a:p>
              <a:pPr marL="171450" lvl="4" indent="-171450">
                <a:buFont typeface="Arial" panose="020B0604020202020204" pitchFamily="34" charset="0"/>
                <a:buChar char="•"/>
              </a:pPr>
              <a:endParaRPr kumimoji="0" lang="en-US" sz="1000" b="0" i="0" u="none" strike="noStrike" cap="none" spc="0" normalizeH="0" baseline="0" dirty="0">
                <a:ln>
                  <a:noFill/>
                </a:ln>
                <a:solidFill>
                  <a:schemeClr val="tx1">
                    <a:lumMod val="95000"/>
                    <a:lumOff val="5000"/>
                  </a:schemeClr>
                </a:solidFill>
                <a:effectLst/>
                <a:uFillTx/>
                <a:latin typeface="Open Sans"/>
                <a:ea typeface="Open Sans"/>
                <a:cs typeface="Open Sans"/>
                <a:sym typeface="Open Sans"/>
              </a:endParaRPr>
            </a:p>
          </p:txBody>
        </p:sp>
        <p:sp>
          <p:nvSpPr>
            <p:cNvPr id="57" name="TextBox 56">
              <a:extLst>
                <a:ext uri="{FF2B5EF4-FFF2-40B4-BE49-F238E27FC236}">
                  <a16:creationId xmlns:a16="http://schemas.microsoft.com/office/drawing/2014/main" id="{9C3E41EB-43D5-D290-757B-C18612DFC710}"/>
                </a:ext>
              </a:extLst>
            </p:cNvPr>
            <p:cNvSpPr txBox="1"/>
            <p:nvPr/>
          </p:nvSpPr>
          <p:spPr>
            <a:xfrm>
              <a:off x="6503570" y="1304036"/>
              <a:ext cx="1736143" cy="2769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sz="1200" b="1" i="1" dirty="0">
                  <a:solidFill>
                    <a:srgbClr val="004F59"/>
                  </a:solidFill>
                  <a:latin typeface="Open Sans" panose="020B0606030504020204" pitchFamily="34" charset="0"/>
                  <a:ea typeface="Open Sans" panose="020B0606030504020204" pitchFamily="34" charset="0"/>
                  <a:cs typeface="Open Sans" panose="020B0606030504020204" pitchFamily="34" charset="0"/>
                </a:rPr>
                <a:t>Design phase</a:t>
              </a:r>
            </a:p>
          </p:txBody>
        </p:sp>
        <p:sp>
          <p:nvSpPr>
            <p:cNvPr id="21" name="Rounded Rectangle 20">
              <a:extLst>
                <a:ext uri="{FF2B5EF4-FFF2-40B4-BE49-F238E27FC236}">
                  <a16:creationId xmlns:a16="http://schemas.microsoft.com/office/drawing/2014/main" id="{240FA2D1-AED5-92A1-24A2-BC5195FF7EF7}"/>
                </a:ext>
              </a:extLst>
            </p:cNvPr>
            <p:cNvSpPr/>
            <p:nvPr/>
          </p:nvSpPr>
          <p:spPr>
            <a:xfrm>
              <a:off x="6201641" y="4126991"/>
              <a:ext cx="2340000" cy="1587652"/>
            </a:xfrm>
            <a:prstGeom prst="roundRect">
              <a:avLst>
                <a:gd name="adj" fmla="val 5571"/>
              </a:avLst>
            </a:prstGeom>
            <a:solidFill>
              <a:srgbClr val="6FC9EB"/>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algn="ctr"/>
              <a:r>
                <a:rPr lang="en-US" sz="1000" b="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UI KIT DESIGN</a:t>
              </a:r>
              <a:br>
                <a:rPr lang="en-US" sz="1000" b="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br>
              <a:endPar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Design of all required elements, such as: buttons, navigation elements, tables</a:t>
              </a:r>
            </a:p>
            <a:p>
              <a:pPr marL="171450" indent="-171450">
                <a:buFont typeface="Arial" panose="020B0604020202020204" pitchFamily="34" charset="0"/>
                <a:buChar char="•"/>
              </a:pPr>
              <a:r>
                <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Development of consistent responsive templates for websites and mobile applications</a:t>
              </a:r>
            </a:p>
            <a:p>
              <a:pPr marL="171450" lvl="4" indent="-171450">
                <a:buFont typeface="Arial" panose="020B0604020202020204" pitchFamily="34" charset="0"/>
                <a:buChar char="•"/>
              </a:pPr>
              <a:endParaRPr kumimoji="0" lang="en-US" sz="1000" b="0" i="0" u="none" strike="noStrike" cap="none" spc="0" normalizeH="0" baseline="0" dirty="0">
                <a:ln>
                  <a:noFill/>
                </a:ln>
                <a:solidFill>
                  <a:schemeClr val="tx1">
                    <a:lumMod val="95000"/>
                    <a:lumOff val="5000"/>
                  </a:schemeClr>
                </a:solidFill>
                <a:effectLst/>
                <a:uFillTx/>
                <a:latin typeface="Open Sans"/>
                <a:ea typeface="Open Sans"/>
                <a:cs typeface="Open Sans"/>
                <a:sym typeface="Open Sans"/>
              </a:endParaRPr>
            </a:p>
          </p:txBody>
        </p:sp>
        <p:sp>
          <p:nvSpPr>
            <p:cNvPr id="24" name="Rounded Rectangle 23">
              <a:extLst>
                <a:ext uri="{FF2B5EF4-FFF2-40B4-BE49-F238E27FC236}">
                  <a16:creationId xmlns:a16="http://schemas.microsoft.com/office/drawing/2014/main" id="{2FA3C02C-1836-4754-C1B8-FFF2A47D3D57}"/>
                </a:ext>
              </a:extLst>
            </p:cNvPr>
            <p:cNvSpPr/>
            <p:nvPr/>
          </p:nvSpPr>
          <p:spPr>
            <a:xfrm>
              <a:off x="6201641" y="3138857"/>
              <a:ext cx="2340000" cy="924453"/>
            </a:xfrm>
            <a:prstGeom prst="roundRect">
              <a:avLst>
                <a:gd name="adj" fmla="val 10315"/>
              </a:avLst>
            </a:prstGeom>
            <a:solidFill>
              <a:srgbClr val="6FC9EB"/>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36000" numCol="1" spcCol="38100" rtlCol="0" anchor="t">
              <a:noAutofit/>
            </a:bodyPr>
            <a:lstStyle/>
            <a:p>
              <a:pPr algn="ctr"/>
              <a:r>
                <a:rPr lang="en-US" sz="1000" b="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INFORMATION ARCHITECTURE </a:t>
              </a:r>
              <a:endParaRPr lang="en-US" sz="10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p>
              <a:pPr marL="171450" lvl="4" indent="-171450">
                <a:buFont typeface="Arial" panose="020B0604020202020204" pitchFamily="34" charset="0"/>
                <a:buChar char="•"/>
              </a:pPr>
              <a:r>
                <a:rPr lang="en-US" sz="1000" dirty="0">
                  <a:solidFill>
                    <a:schemeClr val="tx1">
                      <a:lumMod val="95000"/>
                      <a:lumOff val="5000"/>
                    </a:schemeClr>
                  </a:solidFill>
                  <a:latin typeface="Open Sans" panose="020B0606030504020204" pitchFamily="34" charset="0"/>
                  <a:ea typeface="Open Sans"/>
                  <a:cs typeface="Open Sans"/>
                </a:rPr>
                <a:t>Define navigation, content structure and connection between its elements, nomenclature, search</a:t>
              </a:r>
            </a:p>
            <a:p>
              <a:pPr marL="0" lvl="4"/>
              <a:endParaRPr kumimoji="0" lang="en-US" sz="1000" b="0" i="0" u="none" strike="noStrike" cap="none" spc="0" normalizeH="0" baseline="0" dirty="0">
                <a:ln>
                  <a:noFill/>
                </a:ln>
                <a:solidFill>
                  <a:schemeClr val="tx1">
                    <a:lumMod val="95000"/>
                    <a:lumOff val="5000"/>
                  </a:schemeClr>
                </a:solidFill>
                <a:effectLst/>
                <a:uFillTx/>
                <a:latin typeface="Open Sans"/>
                <a:ea typeface="Open Sans"/>
                <a:cs typeface="Open Sans"/>
                <a:sym typeface="Open Sans"/>
              </a:endParaRPr>
            </a:p>
          </p:txBody>
        </p:sp>
      </p:grpSp>
      <p:sp>
        <p:nvSpPr>
          <p:cNvPr id="27" name="Title 26">
            <a:extLst>
              <a:ext uri="{FF2B5EF4-FFF2-40B4-BE49-F238E27FC236}">
                <a16:creationId xmlns:a16="http://schemas.microsoft.com/office/drawing/2014/main" id="{BF4BF996-911D-53BF-2B38-C2DF64D8D5F4}"/>
              </a:ext>
            </a:extLst>
          </p:cNvPr>
          <p:cNvSpPr>
            <a:spLocks noGrp="1"/>
          </p:cNvSpPr>
          <p:nvPr>
            <p:ph type="title"/>
          </p:nvPr>
        </p:nvSpPr>
        <p:spPr>
          <a:xfrm>
            <a:off x="463294" y="417911"/>
            <a:ext cx="10877187" cy="334099"/>
          </a:xfrm>
        </p:spPr>
        <p:txBody>
          <a:bodyPr vert="horz"/>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High-level overview of typical project activities &amp; deliverables</a:t>
            </a:r>
            <a:br>
              <a:rPr lang="en-US" dirty="0">
                <a:latin typeface="Open Sans Light" panose="020B0306030504020204" pitchFamily="34" charset="0"/>
                <a:ea typeface="Open Sans Light" panose="020B0306030504020204" pitchFamily="34" charset="0"/>
                <a:cs typeface="Open Sans Light" panose="020B0306030504020204" pitchFamily="34" charset="0"/>
              </a:rPr>
            </a:br>
            <a:endParaRPr lang="en-US" dirty="0"/>
          </a:p>
        </p:txBody>
      </p:sp>
    </p:spTree>
    <p:extLst>
      <p:ext uri="{BB962C8B-B14F-4D97-AF65-F5344CB8AC3E}">
        <p14:creationId xmlns:p14="http://schemas.microsoft.com/office/powerpoint/2010/main" val="363344457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1F129BC4-671B-A7A5-D56A-1F9B031AC533}"/>
              </a:ext>
            </a:extLst>
          </p:cNvPr>
          <p:cNvGraphicFramePr>
            <a:graphicFrameLocks noChangeAspect="1"/>
          </p:cNvGraphicFramePr>
          <p:nvPr>
            <p:custDataLst>
              <p:tags r:id="rId1"/>
            </p:custDataLst>
            <p:extLst>
              <p:ext uri="{D42A27DB-BD31-4B8C-83A1-F6EECF244321}">
                <p14:modId xmlns:p14="http://schemas.microsoft.com/office/powerpoint/2010/main" val="175742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0" name="think-cell data - do not delete" hidden="1">
                        <a:extLst>
                          <a:ext uri="{FF2B5EF4-FFF2-40B4-BE49-F238E27FC236}">
                            <a16:creationId xmlns:a16="http://schemas.microsoft.com/office/drawing/2014/main" id="{1F129BC4-671B-A7A5-D56A-1F9B031AC5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2" name="Straight Connector 51">
            <a:extLst>
              <a:ext uri="{FF2B5EF4-FFF2-40B4-BE49-F238E27FC236}">
                <a16:creationId xmlns:a16="http://schemas.microsoft.com/office/drawing/2014/main" id="{6B31A58F-9FB9-46EB-FC03-B4F393DE1B94}"/>
              </a:ext>
            </a:extLst>
          </p:cNvPr>
          <p:cNvCxnSpPr>
            <a:cxnSpLocks/>
          </p:cNvCxnSpPr>
          <p:nvPr/>
        </p:nvCxnSpPr>
        <p:spPr>
          <a:xfrm>
            <a:off x="3240014" y="4089212"/>
            <a:ext cx="0" cy="189267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Flowchart: Connector 4">
            <a:extLst>
              <a:ext uri="{FF2B5EF4-FFF2-40B4-BE49-F238E27FC236}">
                <a16:creationId xmlns:a16="http://schemas.microsoft.com/office/drawing/2014/main" id="{D5421972-AB11-4731-865D-A5722A2FE680}"/>
              </a:ext>
            </a:extLst>
          </p:cNvPr>
          <p:cNvSpPr>
            <a:spLocks/>
          </p:cNvSpPr>
          <p:nvPr/>
        </p:nvSpPr>
        <p:spPr bwMode="gray">
          <a:xfrm>
            <a:off x="3895355" y="1558551"/>
            <a:ext cx="2164526" cy="2164525"/>
          </a:xfrm>
          <a:prstGeom prst="flowChartConnector">
            <a:avLst/>
          </a:prstGeom>
          <a:solidFill>
            <a:srgbClr val="00B0F2">
              <a:alpha val="24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Flowchart: Connector 6">
            <a:extLst>
              <a:ext uri="{FF2B5EF4-FFF2-40B4-BE49-F238E27FC236}">
                <a16:creationId xmlns:a16="http://schemas.microsoft.com/office/drawing/2014/main" id="{F981DBF1-30C0-93C7-36AF-ED95846C6E3F}"/>
              </a:ext>
            </a:extLst>
          </p:cNvPr>
          <p:cNvSpPr>
            <a:spLocks/>
          </p:cNvSpPr>
          <p:nvPr/>
        </p:nvSpPr>
        <p:spPr bwMode="gray">
          <a:xfrm>
            <a:off x="5482327" y="1521955"/>
            <a:ext cx="2162416" cy="2166411"/>
          </a:xfrm>
          <a:prstGeom prst="flowChartConnector">
            <a:avLst/>
          </a:prstGeom>
          <a:solidFill>
            <a:srgbClr val="9CD33E">
              <a:alpha val="28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8" name="Picture 4" descr="Circle&#10;&#10;Description automatically generated">
            <a:extLst>
              <a:ext uri="{FF2B5EF4-FFF2-40B4-BE49-F238E27FC236}">
                <a16:creationId xmlns:a16="http://schemas.microsoft.com/office/drawing/2014/main" id="{E85CB16A-124A-C1EC-0DF3-92EC6F6B7C6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82801" y="2504174"/>
            <a:ext cx="1548000" cy="273279"/>
          </a:xfrm>
          <a:prstGeom prst="rect">
            <a:avLst/>
          </a:prstGeom>
        </p:spPr>
      </p:pic>
      <p:pic>
        <p:nvPicPr>
          <p:cNvPr id="11" name="Picture 2" descr="UNICEF Logo and symbol, meaning, history, PNG, brand">
            <a:extLst>
              <a:ext uri="{FF2B5EF4-FFF2-40B4-BE49-F238E27FC236}">
                <a16:creationId xmlns:a16="http://schemas.microsoft.com/office/drawing/2014/main" id="{F48D4C79-D617-A2C9-38B5-AA46676811A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949490" y="2205440"/>
            <a:ext cx="1548000" cy="87074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2411E12-A4DF-762D-3B93-F4FB59D230DD}"/>
              </a:ext>
            </a:extLst>
          </p:cNvPr>
          <p:cNvSpPr>
            <a:spLocks/>
          </p:cNvSpPr>
          <p:nvPr/>
        </p:nvSpPr>
        <p:spPr bwMode="gray">
          <a:xfrm>
            <a:off x="8363321" y="2033750"/>
            <a:ext cx="3400844" cy="973305"/>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Open Sans"/>
                <a:cs typeface="Open Sans"/>
              </a:rPr>
              <a:t>“</a:t>
            </a:r>
            <a:r>
              <a:rPr lang="en-US" sz="1100" b="1" dirty="0">
                <a:solidFill>
                  <a:prstClr val="black"/>
                </a:solidFill>
                <a:latin typeface="Open Sans"/>
                <a:ea typeface="Open Sans"/>
                <a:cs typeface="Open Sans"/>
              </a:rPr>
              <a:t>M</a:t>
            </a:r>
            <a:r>
              <a:rPr kumimoji="0" lang="en-US" sz="1100" b="1" i="0" u="none" strike="noStrike" kern="1200" cap="none" spc="0" normalizeH="0" baseline="0" noProof="0" dirty="0" err="1">
                <a:ln>
                  <a:noFill/>
                </a:ln>
                <a:solidFill>
                  <a:prstClr val="black"/>
                </a:solidFill>
                <a:effectLst/>
                <a:uLnTx/>
                <a:uFillTx/>
                <a:latin typeface="Open Sans"/>
                <a:ea typeface="Open Sans"/>
                <a:cs typeface="Open Sans"/>
              </a:rPr>
              <a:t>ake</a:t>
            </a:r>
            <a:r>
              <a:rPr kumimoji="0" lang="en-US" sz="1100" b="1" i="0" u="none" strike="noStrike" kern="1200" cap="none" spc="0" normalizeH="0" baseline="0" noProof="0" dirty="0">
                <a:ln>
                  <a:noFill/>
                </a:ln>
                <a:solidFill>
                  <a:prstClr val="black"/>
                </a:solidFill>
                <a:effectLst/>
                <a:uLnTx/>
                <a:uFillTx/>
                <a:latin typeface="Open Sans"/>
                <a:ea typeface="Open Sans"/>
                <a:cs typeface="Open Sans"/>
              </a:rPr>
              <a:t> an impact that matters...The role of business in helping respond to society's biggest challenges has never been more important”</a:t>
            </a:r>
            <a:endParaRPr kumimoji="0" lang="en-US" sz="1050" b="1" i="0" u="none" strike="noStrike" kern="1200" cap="none" spc="0" normalizeH="0" baseline="0" noProof="0" dirty="0">
              <a:ln>
                <a:noFill/>
              </a:ln>
              <a:solidFill>
                <a:prstClr val="black"/>
              </a:solidFill>
              <a:effectLst/>
              <a:uLnTx/>
              <a:uFillTx/>
              <a:latin typeface="Open Sans"/>
              <a:ea typeface="Open Sans"/>
              <a:cs typeface="Open Sans"/>
            </a:endParaRPr>
          </a:p>
        </p:txBody>
      </p:sp>
      <p:sp>
        <p:nvSpPr>
          <p:cNvPr id="14" name="Rectangle 13">
            <a:extLst>
              <a:ext uri="{FF2B5EF4-FFF2-40B4-BE49-F238E27FC236}">
                <a16:creationId xmlns:a16="http://schemas.microsoft.com/office/drawing/2014/main" id="{07970CB8-F238-9E6C-107A-0CC05C138666}"/>
              </a:ext>
            </a:extLst>
          </p:cNvPr>
          <p:cNvSpPr>
            <a:spLocks/>
          </p:cNvSpPr>
          <p:nvPr/>
        </p:nvSpPr>
        <p:spPr bwMode="gray">
          <a:xfrm>
            <a:off x="301974" y="3056415"/>
            <a:ext cx="3008404" cy="482726"/>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F2"/>
                </a:solidFill>
                <a:effectLst/>
                <a:uLnTx/>
                <a:uFillTx/>
                <a:latin typeface="Open Sans"/>
                <a:ea typeface="Open Sans"/>
                <a:cs typeface="Open Sans"/>
              </a:rPr>
              <a:t>For every child, every opportunity</a:t>
            </a:r>
            <a:endParaRPr kumimoji="0" lang="en-US" sz="1200" b="1" i="0" u="none" strike="noStrike" kern="1200" cap="none" spc="0" normalizeH="0" baseline="0" noProof="0" dirty="0">
              <a:ln>
                <a:noFill/>
              </a:ln>
              <a:solidFill>
                <a:srgbClr val="00B0F2"/>
              </a:solidFill>
              <a:effectLst/>
              <a:uLnTx/>
              <a:uFillTx/>
              <a:latin typeface="Open Sans"/>
              <a:ea typeface="Open Sans"/>
              <a:cs typeface="Open Sans"/>
            </a:endParaRPr>
          </a:p>
        </p:txBody>
      </p:sp>
      <p:sp>
        <p:nvSpPr>
          <p:cNvPr id="15" name="Rectangle 14">
            <a:extLst>
              <a:ext uri="{FF2B5EF4-FFF2-40B4-BE49-F238E27FC236}">
                <a16:creationId xmlns:a16="http://schemas.microsoft.com/office/drawing/2014/main" id="{6A787EF5-DF64-88D5-B2D9-736C4E3B7967}"/>
              </a:ext>
            </a:extLst>
          </p:cNvPr>
          <p:cNvSpPr>
            <a:spLocks/>
          </p:cNvSpPr>
          <p:nvPr/>
        </p:nvSpPr>
        <p:spPr bwMode="gray">
          <a:xfrm>
            <a:off x="532780" y="2180608"/>
            <a:ext cx="2777597" cy="779587"/>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lvl="0" algn="r">
              <a:defRPr/>
            </a:pPr>
            <a:r>
              <a:rPr lang="en-US" sz="1100" b="1" i="1" dirty="0">
                <a:solidFill>
                  <a:prstClr val="black"/>
                </a:solidFill>
                <a:latin typeface="Open Sans"/>
                <a:ea typeface="Open Sans"/>
                <a:cs typeface="Open Sans"/>
              </a:rPr>
              <a:t>“Advocate for the protection of children's rights, to help meet their basic needs and to expand their opportunities to reach their full potential”</a:t>
            </a:r>
            <a:endParaRPr kumimoji="0" lang="en-US" sz="1050" b="1" i="1" u="none" strike="noStrike" kern="1200" cap="none" spc="0" normalizeH="0" baseline="0" noProof="0" dirty="0">
              <a:ln>
                <a:noFill/>
              </a:ln>
              <a:solidFill>
                <a:prstClr val="black"/>
              </a:solidFill>
              <a:effectLst/>
              <a:uLnTx/>
              <a:uFillTx/>
              <a:latin typeface="Open Sans"/>
              <a:ea typeface="Open Sans"/>
              <a:cs typeface="Open Sans"/>
            </a:endParaRPr>
          </a:p>
        </p:txBody>
      </p:sp>
      <p:sp>
        <p:nvSpPr>
          <p:cNvPr id="16" name="Rectangle 15">
            <a:extLst>
              <a:ext uri="{FF2B5EF4-FFF2-40B4-BE49-F238E27FC236}">
                <a16:creationId xmlns:a16="http://schemas.microsoft.com/office/drawing/2014/main" id="{5343DD03-98B4-E9C5-9DCD-1A98B69154F8}"/>
              </a:ext>
            </a:extLst>
          </p:cNvPr>
          <p:cNvSpPr>
            <a:spLocks/>
          </p:cNvSpPr>
          <p:nvPr/>
        </p:nvSpPr>
        <p:spPr bwMode="gray">
          <a:xfrm>
            <a:off x="1762418" y="1654612"/>
            <a:ext cx="2459277" cy="482726"/>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F2"/>
                </a:solidFill>
                <a:effectLst/>
                <a:uLnTx/>
                <a:uFillTx/>
                <a:latin typeface="Open Sans"/>
                <a:ea typeface="Open Sans"/>
                <a:cs typeface="Open Sans"/>
              </a:rPr>
              <a:t>On a mission to</a:t>
            </a:r>
            <a:endParaRPr kumimoji="0" lang="en-US" sz="1400" b="1" i="0" u="none" strike="noStrike" kern="1200" cap="none" spc="0" normalizeH="0" baseline="0" noProof="0" dirty="0">
              <a:ln>
                <a:noFill/>
              </a:ln>
              <a:solidFill>
                <a:srgbClr val="00B0F2"/>
              </a:solidFill>
              <a:effectLst/>
              <a:uLnTx/>
              <a:uFillTx/>
              <a:latin typeface="Open Sans"/>
              <a:ea typeface="Open Sans"/>
              <a:cs typeface="Open Sans"/>
            </a:endParaRPr>
          </a:p>
        </p:txBody>
      </p:sp>
      <p:sp>
        <p:nvSpPr>
          <p:cNvPr id="17" name="Rectangle 16">
            <a:extLst>
              <a:ext uri="{FF2B5EF4-FFF2-40B4-BE49-F238E27FC236}">
                <a16:creationId xmlns:a16="http://schemas.microsoft.com/office/drawing/2014/main" id="{458F99A7-B8F1-E947-19F2-5EFAAE66D423}"/>
              </a:ext>
            </a:extLst>
          </p:cNvPr>
          <p:cNvSpPr>
            <a:spLocks/>
          </p:cNvSpPr>
          <p:nvPr/>
        </p:nvSpPr>
        <p:spPr bwMode="gray">
          <a:xfrm>
            <a:off x="8368994" y="1654612"/>
            <a:ext cx="2459277" cy="482726"/>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9CD33E"/>
                </a:solidFill>
                <a:effectLst/>
                <a:uLnTx/>
                <a:uFillTx/>
                <a:latin typeface="Open Sans"/>
                <a:ea typeface="Open Sans"/>
                <a:cs typeface="Open Sans"/>
              </a:rPr>
              <a:t>On a mission to</a:t>
            </a:r>
            <a:endParaRPr kumimoji="0" lang="en-US" sz="1400" b="1" i="0" u="none" strike="noStrike" kern="1200" cap="none" spc="0" normalizeH="0" baseline="0" noProof="0" dirty="0">
              <a:ln>
                <a:noFill/>
              </a:ln>
              <a:solidFill>
                <a:srgbClr val="9CD33E"/>
              </a:solidFill>
              <a:effectLst/>
              <a:uLnTx/>
              <a:uFillTx/>
              <a:latin typeface="Open Sans"/>
              <a:ea typeface="Open Sans"/>
              <a:cs typeface="Open Sans"/>
            </a:endParaRPr>
          </a:p>
        </p:txBody>
      </p:sp>
      <p:sp>
        <p:nvSpPr>
          <p:cNvPr id="19" name="TextBox 18">
            <a:extLst>
              <a:ext uri="{FF2B5EF4-FFF2-40B4-BE49-F238E27FC236}">
                <a16:creationId xmlns:a16="http://schemas.microsoft.com/office/drawing/2014/main" id="{63DF11A9-2FAC-7040-4864-CD58AF603904}"/>
              </a:ext>
            </a:extLst>
          </p:cNvPr>
          <p:cNvSpPr txBox="1"/>
          <p:nvPr/>
        </p:nvSpPr>
        <p:spPr>
          <a:xfrm>
            <a:off x="8545731" y="3981870"/>
            <a:ext cx="2078670" cy="236793"/>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algn="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Open Sans"/>
                <a:ea typeface="Open Sans"/>
                <a:cs typeface="Open Sans"/>
              </a:defRPr>
            </a:lvl1pPr>
          </a:lstStyle>
          <a:p>
            <a:pPr algn="l"/>
            <a:r>
              <a:rPr lang="en-US" sz="1200" b="0" dirty="0"/>
              <a:t>TAKE CARE OF EACH OTHER</a:t>
            </a:r>
          </a:p>
        </p:txBody>
      </p:sp>
      <p:sp>
        <p:nvSpPr>
          <p:cNvPr id="22" name="TextBox 21">
            <a:extLst>
              <a:ext uri="{FF2B5EF4-FFF2-40B4-BE49-F238E27FC236}">
                <a16:creationId xmlns:a16="http://schemas.microsoft.com/office/drawing/2014/main" id="{F7EF5028-7691-AE74-E200-2B8228633550}"/>
              </a:ext>
            </a:extLst>
          </p:cNvPr>
          <p:cNvSpPr txBox="1"/>
          <p:nvPr/>
        </p:nvSpPr>
        <p:spPr>
          <a:xfrm>
            <a:off x="8545731" y="4355907"/>
            <a:ext cx="2848393" cy="369332"/>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algn="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Open Sans"/>
                <a:ea typeface="Open Sans"/>
                <a:cs typeface="Open Sans"/>
              </a:defRPr>
            </a:lvl1pPr>
          </a:lstStyle>
          <a:p>
            <a:pPr algn="l"/>
            <a:r>
              <a:rPr lang="en-US" sz="1200" b="0" dirty="0"/>
              <a:t>SERVE WITH INTEGRITY</a:t>
            </a:r>
          </a:p>
        </p:txBody>
      </p:sp>
      <p:sp>
        <p:nvSpPr>
          <p:cNvPr id="24" name="TextBox 23">
            <a:extLst>
              <a:ext uri="{FF2B5EF4-FFF2-40B4-BE49-F238E27FC236}">
                <a16:creationId xmlns:a16="http://schemas.microsoft.com/office/drawing/2014/main" id="{0F5655EA-1FCA-B958-3015-F3F18372E4FA}"/>
              </a:ext>
            </a:extLst>
          </p:cNvPr>
          <p:cNvSpPr txBox="1"/>
          <p:nvPr/>
        </p:nvSpPr>
        <p:spPr>
          <a:xfrm>
            <a:off x="8545731" y="4831828"/>
            <a:ext cx="3400844" cy="253916"/>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fontAlgn="auto">
              <a:lnSpc>
                <a:spcPct val="100000"/>
              </a:lnSpc>
              <a:spcBef>
                <a:spcPts val="0"/>
              </a:spcBef>
              <a:spcAft>
                <a:spcPts val="0"/>
              </a:spcAft>
              <a:buClrTx/>
              <a:buSzTx/>
              <a:buFontTx/>
              <a:buNone/>
              <a:tabLst/>
              <a:defRPr kumimoji="0" sz="1050" b="0" i="0" u="none" strike="noStrike" cap="none" spc="0" normalizeH="0" baseline="0">
                <a:ln>
                  <a:noFill/>
                </a:ln>
                <a:solidFill>
                  <a:prstClr val="black"/>
                </a:solidFill>
                <a:effectLst/>
                <a:uLnTx/>
                <a:uFillTx/>
                <a:latin typeface="Open Sans"/>
                <a:ea typeface="Open Sans"/>
                <a:cs typeface="Open Sans"/>
              </a:defRPr>
            </a:lvl1pPr>
          </a:lstStyle>
          <a:p>
            <a:r>
              <a:rPr lang="en-US" sz="1200" dirty="0"/>
              <a:t>COLLABORATE FOR MEASURABLE IMPACT</a:t>
            </a:r>
          </a:p>
        </p:txBody>
      </p:sp>
      <p:sp>
        <p:nvSpPr>
          <p:cNvPr id="26" name="TextBox 25">
            <a:extLst>
              <a:ext uri="{FF2B5EF4-FFF2-40B4-BE49-F238E27FC236}">
                <a16:creationId xmlns:a16="http://schemas.microsoft.com/office/drawing/2014/main" id="{DB04CC30-9D4D-146D-A8B5-98C8E473DA19}"/>
              </a:ext>
            </a:extLst>
          </p:cNvPr>
          <p:cNvSpPr txBox="1"/>
          <p:nvPr/>
        </p:nvSpPr>
        <p:spPr>
          <a:xfrm>
            <a:off x="8545731" y="5284931"/>
            <a:ext cx="2266950" cy="253916"/>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fontAlgn="auto">
              <a:lnSpc>
                <a:spcPct val="100000"/>
              </a:lnSpc>
              <a:spcBef>
                <a:spcPts val="0"/>
              </a:spcBef>
              <a:spcAft>
                <a:spcPts val="0"/>
              </a:spcAft>
              <a:buClrTx/>
              <a:buSzTx/>
              <a:buFontTx/>
              <a:buNone/>
              <a:tabLst/>
              <a:defRPr kumimoji="0" sz="1050" b="0" i="0" u="none" strike="noStrike" cap="none" spc="0" normalizeH="0" baseline="0">
                <a:ln>
                  <a:noFill/>
                </a:ln>
                <a:solidFill>
                  <a:prstClr val="black"/>
                </a:solidFill>
                <a:effectLst/>
                <a:uLnTx/>
                <a:uFillTx/>
                <a:latin typeface="Open Sans"/>
                <a:ea typeface="Open Sans"/>
                <a:cs typeface="Open Sans"/>
              </a:defRPr>
            </a:lvl1pPr>
          </a:lstStyle>
          <a:p>
            <a:r>
              <a:rPr lang="en-US" sz="1200" dirty="0"/>
              <a:t>FOSTER INCLUSION</a:t>
            </a:r>
          </a:p>
        </p:txBody>
      </p:sp>
      <p:sp>
        <p:nvSpPr>
          <p:cNvPr id="31" name="Flowchart: Connector 30">
            <a:extLst>
              <a:ext uri="{FF2B5EF4-FFF2-40B4-BE49-F238E27FC236}">
                <a16:creationId xmlns:a16="http://schemas.microsoft.com/office/drawing/2014/main" id="{B5D94DA8-482B-2E15-EDF7-1307D9BA9325}"/>
              </a:ext>
            </a:extLst>
          </p:cNvPr>
          <p:cNvSpPr/>
          <p:nvPr/>
        </p:nvSpPr>
        <p:spPr bwMode="gray">
          <a:xfrm>
            <a:off x="3203819" y="4087183"/>
            <a:ext cx="91440" cy="91440"/>
          </a:xfrm>
          <a:prstGeom prst="flowChartConnector">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Graphic 4">
            <a:extLst>
              <a:ext uri="{FF2B5EF4-FFF2-40B4-BE49-F238E27FC236}">
                <a16:creationId xmlns:a16="http://schemas.microsoft.com/office/drawing/2014/main" id="{75B0F5B2-4B35-6548-2CD9-3486882A7503}"/>
              </a:ext>
            </a:extLst>
          </p:cNvPr>
          <p:cNvSpPr/>
          <p:nvPr/>
        </p:nvSpPr>
        <p:spPr>
          <a:xfrm rot="5400000">
            <a:off x="5532600" y="3930767"/>
            <a:ext cx="392511" cy="234320"/>
          </a:xfrm>
          <a:custGeom>
            <a:avLst/>
            <a:gdLst>
              <a:gd name="connsiteX0" fmla="*/ 219814 w 220293"/>
              <a:gd name="connsiteY0" fmla="*/ 63201 h 131510"/>
              <a:gd name="connsiteX1" fmla="*/ 218536 w 220293"/>
              <a:gd name="connsiteY1" fmla="*/ 61286 h 131510"/>
              <a:gd name="connsiteX2" fmla="*/ 159110 w 220293"/>
              <a:gd name="connsiteY2" fmla="*/ 1915 h 131510"/>
              <a:gd name="connsiteX3" fmla="*/ 150164 w 220293"/>
              <a:gd name="connsiteY3" fmla="*/ 1915 h 131510"/>
              <a:gd name="connsiteX4" fmla="*/ 150164 w 220293"/>
              <a:gd name="connsiteY4" fmla="*/ 10853 h 131510"/>
              <a:gd name="connsiteX5" fmla="*/ 150164 w 220293"/>
              <a:gd name="connsiteY5" fmla="*/ 10853 h 131510"/>
              <a:gd name="connsiteX6" fmla="*/ 198727 w 220293"/>
              <a:gd name="connsiteY6" fmla="*/ 59371 h 131510"/>
              <a:gd name="connsiteX7" fmla="*/ 6390 w 220293"/>
              <a:gd name="connsiteY7" fmla="*/ 59371 h 131510"/>
              <a:gd name="connsiteX8" fmla="*/ 0 w 220293"/>
              <a:gd name="connsiteY8" fmla="*/ 65755 h 131510"/>
              <a:gd name="connsiteX9" fmla="*/ 6390 w 220293"/>
              <a:gd name="connsiteY9" fmla="*/ 72139 h 131510"/>
              <a:gd name="connsiteX10" fmla="*/ 198727 w 220293"/>
              <a:gd name="connsiteY10" fmla="*/ 72139 h 131510"/>
              <a:gd name="connsiteX11" fmla="*/ 150164 w 220293"/>
              <a:gd name="connsiteY11" fmla="*/ 120657 h 131510"/>
              <a:gd name="connsiteX12" fmla="*/ 150164 w 220293"/>
              <a:gd name="connsiteY12" fmla="*/ 129595 h 131510"/>
              <a:gd name="connsiteX13" fmla="*/ 150164 w 220293"/>
              <a:gd name="connsiteY13" fmla="*/ 129595 h 131510"/>
              <a:gd name="connsiteX14" fmla="*/ 154637 w 220293"/>
              <a:gd name="connsiteY14" fmla="*/ 131510 h 131510"/>
              <a:gd name="connsiteX15" fmla="*/ 159110 w 220293"/>
              <a:gd name="connsiteY15" fmla="*/ 129595 h 131510"/>
              <a:gd name="connsiteX16" fmla="*/ 218536 w 220293"/>
              <a:gd name="connsiteY16" fmla="*/ 70224 h 131510"/>
              <a:gd name="connsiteX17" fmla="*/ 219814 w 220293"/>
              <a:gd name="connsiteY17" fmla="*/ 68309 h 131510"/>
              <a:gd name="connsiteX18" fmla="*/ 219814 w 220293"/>
              <a:gd name="connsiteY18" fmla="*/ 63201 h 13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293" h="131510">
                <a:moveTo>
                  <a:pt x="219814" y="63201"/>
                </a:moveTo>
                <a:cubicBezTo>
                  <a:pt x="219814" y="62563"/>
                  <a:pt x="219175" y="61925"/>
                  <a:pt x="218536" y="61286"/>
                </a:cubicBezTo>
                <a:lnTo>
                  <a:pt x="159110" y="1915"/>
                </a:lnTo>
                <a:cubicBezTo>
                  <a:pt x="156553" y="-638"/>
                  <a:pt x="152720" y="-638"/>
                  <a:pt x="150164" y="1915"/>
                </a:cubicBezTo>
                <a:cubicBezTo>
                  <a:pt x="147607" y="4469"/>
                  <a:pt x="147607" y="8299"/>
                  <a:pt x="150164" y="10853"/>
                </a:cubicBezTo>
                <a:cubicBezTo>
                  <a:pt x="150164" y="10853"/>
                  <a:pt x="150164" y="10853"/>
                  <a:pt x="150164" y="10853"/>
                </a:cubicBezTo>
                <a:lnTo>
                  <a:pt x="198727" y="59371"/>
                </a:lnTo>
                <a:lnTo>
                  <a:pt x="6390" y="59371"/>
                </a:lnTo>
                <a:cubicBezTo>
                  <a:pt x="2556" y="59371"/>
                  <a:pt x="0" y="61925"/>
                  <a:pt x="0" y="65755"/>
                </a:cubicBezTo>
                <a:cubicBezTo>
                  <a:pt x="0" y="69585"/>
                  <a:pt x="2556" y="72139"/>
                  <a:pt x="6390" y="72139"/>
                </a:cubicBezTo>
                <a:lnTo>
                  <a:pt x="198727" y="72139"/>
                </a:lnTo>
                <a:lnTo>
                  <a:pt x="150164" y="120657"/>
                </a:lnTo>
                <a:cubicBezTo>
                  <a:pt x="147607" y="123211"/>
                  <a:pt x="147607" y="127041"/>
                  <a:pt x="150164" y="129595"/>
                </a:cubicBezTo>
                <a:cubicBezTo>
                  <a:pt x="150164" y="129595"/>
                  <a:pt x="150164" y="129595"/>
                  <a:pt x="150164" y="129595"/>
                </a:cubicBezTo>
                <a:cubicBezTo>
                  <a:pt x="151442" y="130872"/>
                  <a:pt x="152720" y="131510"/>
                  <a:pt x="154637" y="131510"/>
                </a:cubicBezTo>
                <a:cubicBezTo>
                  <a:pt x="156553" y="131510"/>
                  <a:pt x="157832" y="130872"/>
                  <a:pt x="159110" y="129595"/>
                </a:cubicBezTo>
                <a:lnTo>
                  <a:pt x="218536" y="70224"/>
                </a:lnTo>
                <a:cubicBezTo>
                  <a:pt x="219175" y="69585"/>
                  <a:pt x="219814" y="68947"/>
                  <a:pt x="219814" y="68309"/>
                </a:cubicBezTo>
                <a:cubicBezTo>
                  <a:pt x="220453" y="67032"/>
                  <a:pt x="220453" y="65117"/>
                  <a:pt x="219814" y="63201"/>
                </a:cubicBezTo>
                <a:close/>
              </a:path>
            </a:pathLst>
          </a:custGeom>
          <a:solidFill>
            <a:schemeClr val="bg1">
              <a:lumMod val="75000"/>
            </a:schemeClr>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cxnSp>
        <p:nvCxnSpPr>
          <p:cNvPr id="35" name="Straight Connector 34">
            <a:extLst>
              <a:ext uri="{FF2B5EF4-FFF2-40B4-BE49-F238E27FC236}">
                <a16:creationId xmlns:a16="http://schemas.microsoft.com/office/drawing/2014/main" id="{453D9C1F-68AC-D4CD-0B68-64908E968E9B}"/>
              </a:ext>
            </a:extLst>
          </p:cNvPr>
          <p:cNvCxnSpPr>
            <a:cxnSpLocks/>
          </p:cNvCxnSpPr>
          <p:nvPr/>
        </p:nvCxnSpPr>
        <p:spPr>
          <a:xfrm flipH="1">
            <a:off x="3622766" y="3968573"/>
            <a:ext cx="185276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2815D18-1A7E-8DF9-1ED4-51BCBBDEA850}"/>
              </a:ext>
            </a:extLst>
          </p:cNvPr>
          <p:cNvCxnSpPr>
            <a:cxnSpLocks/>
          </p:cNvCxnSpPr>
          <p:nvPr/>
        </p:nvCxnSpPr>
        <p:spPr>
          <a:xfrm flipH="1">
            <a:off x="5928883" y="3968573"/>
            <a:ext cx="185276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6C275D7-D01B-903C-A48D-8FFF08AE45B4}"/>
              </a:ext>
            </a:extLst>
          </p:cNvPr>
          <p:cNvSpPr>
            <a:spLocks/>
          </p:cNvSpPr>
          <p:nvPr/>
        </p:nvSpPr>
        <p:spPr bwMode="gray">
          <a:xfrm>
            <a:off x="8353796" y="3056415"/>
            <a:ext cx="3276229" cy="482726"/>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9CD33E"/>
                </a:solidFill>
                <a:effectLst/>
                <a:uLnTx/>
                <a:uFillTx/>
                <a:latin typeface="Open Sans"/>
                <a:ea typeface="Open Sans"/>
                <a:cs typeface="Open Sans"/>
              </a:rPr>
              <a:t>For our clients, people and society</a:t>
            </a:r>
          </a:p>
        </p:txBody>
      </p:sp>
      <p:cxnSp>
        <p:nvCxnSpPr>
          <p:cNvPr id="44" name="Straight Connector 43">
            <a:extLst>
              <a:ext uri="{FF2B5EF4-FFF2-40B4-BE49-F238E27FC236}">
                <a16:creationId xmlns:a16="http://schemas.microsoft.com/office/drawing/2014/main" id="{5E403A1D-3555-B4D3-2442-115FB39EE861}"/>
              </a:ext>
            </a:extLst>
          </p:cNvPr>
          <p:cNvCxnSpPr>
            <a:cxnSpLocks/>
          </p:cNvCxnSpPr>
          <p:nvPr/>
        </p:nvCxnSpPr>
        <p:spPr>
          <a:xfrm>
            <a:off x="8396773" y="4089212"/>
            <a:ext cx="0" cy="189267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Flowchart: Connector 39">
            <a:extLst>
              <a:ext uri="{FF2B5EF4-FFF2-40B4-BE49-F238E27FC236}">
                <a16:creationId xmlns:a16="http://schemas.microsoft.com/office/drawing/2014/main" id="{AA905B75-E2F4-F9DA-A7BB-176F1DFE0EB7}"/>
              </a:ext>
            </a:extLst>
          </p:cNvPr>
          <p:cNvSpPr/>
          <p:nvPr/>
        </p:nvSpPr>
        <p:spPr bwMode="gray">
          <a:xfrm>
            <a:off x="8362759" y="4037688"/>
            <a:ext cx="91440" cy="91440"/>
          </a:xfrm>
          <a:prstGeom prst="flowChartConnector">
            <a:avLst/>
          </a:prstGeom>
          <a:solidFill>
            <a:srgbClr val="9CD33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lowchart: Connector 45">
            <a:extLst>
              <a:ext uri="{FF2B5EF4-FFF2-40B4-BE49-F238E27FC236}">
                <a16:creationId xmlns:a16="http://schemas.microsoft.com/office/drawing/2014/main" id="{35C096C6-2E77-B49B-7F13-E18D363675E0}"/>
              </a:ext>
            </a:extLst>
          </p:cNvPr>
          <p:cNvSpPr/>
          <p:nvPr/>
        </p:nvSpPr>
        <p:spPr bwMode="gray">
          <a:xfrm>
            <a:off x="8362759" y="4486564"/>
            <a:ext cx="91440" cy="91440"/>
          </a:xfrm>
          <a:prstGeom prst="flowChartConnector">
            <a:avLst/>
          </a:prstGeom>
          <a:solidFill>
            <a:srgbClr val="9CD33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Flowchart: Connector 46">
            <a:extLst>
              <a:ext uri="{FF2B5EF4-FFF2-40B4-BE49-F238E27FC236}">
                <a16:creationId xmlns:a16="http://schemas.microsoft.com/office/drawing/2014/main" id="{DAC6F158-8894-287F-A664-2490A719C22A}"/>
              </a:ext>
            </a:extLst>
          </p:cNvPr>
          <p:cNvSpPr/>
          <p:nvPr/>
        </p:nvSpPr>
        <p:spPr bwMode="gray">
          <a:xfrm>
            <a:off x="8362759" y="4913066"/>
            <a:ext cx="91440" cy="91440"/>
          </a:xfrm>
          <a:prstGeom prst="flowChartConnector">
            <a:avLst/>
          </a:prstGeom>
          <a:solidFill>
            <a:srgbClr val="9CD33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Flowchart: Connector 47">
            <a:extLst>
              <a:ext uri="{FF2B5EF4-FFF2-40B4-BE49-F238E27FC236}">
                <a16:creationId xmlns:a16="http://schemas.microsoft.com/office/drawing/2014/main" id="{D0A580EC-2CC8-5DFD-DFCB-AE325648EAE5}"/>
              </a:ext>
            </a:extLst>
          </p:cNvPr>
          <p:cNvSpPr/>
          <p:nvPr/>
        </p:nvSpPr>
        <p:spPr bwMode="gray">
          <a:xfrm>
            <a:off x="8362759" y="5373711"/>
            <a:ext cx="91440" cy="91440"/>
          </a:xfrm>
          <a:prstGeom prst="flowChartConnector">
            <a:avLst/>
          </a:prstGeom>
          <a:solidFill>
            <a:srgbClr val="9CD33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Rectangle 49">
            <a:extLst>
              <a:ext uri="{FF2B5EF4-FFF2-40B4-BE49-F238E27FC236}">
                <a16:creationId xmlns:a16="http://schemas.microsoft.com/office/drawing/2014/main" id="{03A28E0D-DA83-1F5B-04AD-D9FE412B642A}"/>
              </a:ext>
            </a:extLst>
          </p:cNvPr>
          <p:cNvSpPr>
            <a:spLocks/>
          </p:cNvSpPr>
          <p:nvPr/>
        </p:nvSpPr>
        <p:spPr bwMode="gray">
          <a:xfrm>
            <a:off x="8368994" y="5981882"/>
            <a:ext cx="1664641" cy="296473"/>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i="1" dirty="0">
                <a:solidFill>
                  <a:schemeClr val="bg1">
                    <a:lumMod val="75000"/>
                  </a:schemeClr>
                </a:solidFill>
                <a:latin typeface="Open Sans"/>
                <a:ea typeface="Open Sans"/>
                <a:cs typeface="Open Sans"/>
              </a:rPr>
              <a:t>Fundamental values</a:t>
            </a:r>
            <a:endParaRPr kumimoji="0" lang="en-US" sz="1050" b="1" i="1" u="none" strike="noStrike" kern="1200" cap="none" spc="0" normalizeH="0" baseline="0" noProof="0" dirty="0">
              <a:ln>
                <a:noFill/>
              </a:ln>
              <a:solidFill>
                <a:schemeClr val="bg1">
                  <a:lumMod val="75000"/>
                </a:schemeClr>
              </a:solidFill>
              <a:effectLst/>
              <a:uLnTx/>
              <a:uFillTx/>
              <a:latin typeface="Open Sans"/>
              <a:ea typeface="Open Sans"/>
              <a:cs typeface="Open Sans"/>
            </a:endParaRPr>
          </a:p>
        </p:txBody>
      </p:sp>
      <p:sp>
        <p:nvSpPr>
          <p:cNvPr id="51" name="Rectangle 50">
            <a:extLst>
              <a:ext uri="{FF2B5EF4-FFF2-40B4-BE49-F238E27FC236}">
                <a16:creationId xmlns:a16="http://schemas.microsoft.com/office/drawing/2014/main" id="{DD1F24F5-05DF-2A90-A45B-D48AF8698E61}"/>
              </a:ext>
            </a:extLst>
          </p:cNvPr>
          <p:cNvSpPr>
            <a:spLocks/>
          </p:cNvSpPr>
          <p:nvPr/>
        </p:nvSpPr>
        <p:spPr bwMode="gray">
          <a:xfrm>
            <a:off x="1610018" y="5981882"/>
            <a:ext cx="1664641" cy="296473"/>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100" b="1" i="1" dirty="0">
                <a:solidFill>
                  <a:schemeClr val="bg1">
                    <a:lumMod val="75000"/>
                  </a:schemeClr>
                </a:solidFill>
                <a:latin typeface="Open Sans"/>
                <a:ea typeface="Open Sans"/>
                <a:cs typeface="Open Sans"/>
              </a:rPr>
              <a:t>Fundamental values</a:t>
            </a:r>
            <a:endParaRPr kumimoji="0" lang="en-US" sz="1050" b="1" i="1" u="none" strike="noStrike" kern="1200" cap="none" spc="0" normalizeH="0" baseline="0" noProof="0" dirty="0">
              <a:ln>
                <a:noFill/>
              </a:ln>
              <a:solidFill>
                <a:schemeClr val="bg1">
                  <a:lumMod val="75000"/>
                </a:schemeClr>
              </a:solidFill>
              <a:effectLst/>
              <a:uLnTx/>
              <a:uFillTx/>
              <a:latin typeface="Open Sans"/>
              <a:ea typeface="Open Sans"/>
              <a:cs typeface="Open Sans"/>
            </a:endParaRPr>
          </a:p>
        </p:txBody>
      </p:sp>
      <p:sp>
        <p:nvSpPr>
          <p:cNvPr id="53" name="Flowchart: Connector 52">
            <a:extLst>
              <a:ext uri="{FF2B5EF4-FFF2-40B4-BE49-F238E27FC236}">
                <a16:creationId xmlns:a16="http://schemas.microsoft.com/office/drawing/2014/main" id="{09493248-8AA9-0E38-66ED-F56D5357481A}"/>
              </a:ext>
            </a:extLst>
          </p:cNvPr>
          <p:cNvSpPr/>
          <p:nvPr/>
        </p:nvSpPr>
        <p:spPr bwMode="gray">
          <a:xfrm>
            <a:off x="3203819" y="4481409"/>
            <a:ext cx="91440" cy="91440"/>
          </a:xfrm>
          <a:prstGeom prst="flowChartConnector">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Flowchart: Connector 53">
            <a:extLst>
              <a:ext uri="{FF2B5EF4-FFF2-40B4-BE49-F238E27FC236}">
                <a16:creationId xmlns:a16="http://schemas.microsoft.com/office/drawing/2014/main" id="{9FB3042F-69BB-CB8B-382E-947C2E5A8D63}"/>
              </a:ext>
            </a:extLst>
          </p:cNvPr>
          <p:cNvSpPr/>
          <p:nvPr/>
        </p:nvSpPr>
        <p:spPr bwMode="gray">
          <a:xfrm>
            <a:off x="3203819" y="4873950"/>
            <a:ext cx="91440" cy="91440"/>
          </a:xfrm>
          <a:prstGeom prst="flowChartConnector">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5" name="Flowchart: Connector 54">
            <a:extLst>
              <a:ext uri="{FF2B5EF4-FFF2-40B4-BE49-F238E27FC236}">
                <a16:creationId xmlns:a16="http://schemas.microsoft.com/office/drawing/2014/main" id="{E793483F-E591-503A-DD4A-31E29A053EB3}"/>
              </a:ext>
            </a:extLst>
          </p:cNvPr>
          <p:cNvSpPr/>
          <p:nvPr/>
        </p:nvSpPr>
        <p:spPr bwMode="gray">
          <a:xfrm>
            <a:off x="3203819" y="5330252"/>
            <a:ext cx="91440" cy="91440"/>
          </a:xfrm>
          <a:prstGeom prst="flowChartConnector">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TextBox 56">
            <a:extLst>
              <a:ext uri="{FF2B5EF4-FFF2-40B4-BE49-F238E27FC236}">
                <a16:creationId xmlns:a16="http://schemas.microsoft.com/office/drawing/2014/main" id="{7120E35A-7F5B-1074-51F3-6C6E96B6398B}"/>
              </a:ext>
            </a:extLst>
          </p:cNvPr>
          <p:cNvSpPr txBox="1"/>
          <p:nvPr/>
        </p:nvSpPr>
        <p:spPr>
          <a:xfrm>
            <a:off x="2082421" y="4375556"/>
            <a:ext cx="1005579" cy="263509"/>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algn="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Open Sans"/>
                <a:ea typeface="Open Sans"/>
                <a:cs typeface="Open Sans"/>
              </a:defRPr>
            </a:lvl1pPr>
          </a:lstStyle>
          <a:p>
            <a:r>
              <a:rPr lang="en-US" sz="1200" b="0" dirty="0"/>
              <a:t>INTEGRITY</a:t>
            </a:r>
          </a:p>
        </p:txBody>
      </p:sp>
      <p:sp>
        <p:nvSpPr>
          <p:cNvPr id="58" name="TextBox 57">
            <a:extLst>
              <a:ext uri="{FF2B5EF4-FFF2-40B4-BE49-F238E27FC236}">
                <a16:creationId xmlns:a16="http://schemas.microsoft.com/office/drawing/2014/main" id="{E8631FC0-DFE1-7E6D-5940-CABB024BE1D1}"/>
              </a:ext>
            </a:extLst>
          </p:cNvPr>
          <p:cNvSpPr txBox="1"/>
          <p:nvPr/>
        </p:nvSpPr>
        <p:spPr>
          <a:xfrm>
            <a:off x="2082421" y="5645812"/>
            <a:ext cx="1005579" cy="263509"/>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algn="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Open Sans"/>
                <a:ea typeface="Open Sans"/>
                <a:cs typeface="Open Sans"/>
              </a:defRPr>
            </a:lvl1pPr>
          </a:lstStyle>
          <a:p>
            <a:r>
              <a:rPr lang="en-US" sz="1200" b="0" dirty="0"/>
              <a:t>TRUST</a:t>
            </a:r>
          </a:p>
        </p:txBody>
      </p:sp>
      <p:sp>
        <p:nvSpPr>
          <p:cNvPr id="59" name="TextBox 58">
            <a:extLst>
              <a:ext uri="{FF2B5EF4-FFF2-40B4-BE49-F238E27FC236}">
                <a16:creationId xmlns:a16="http://schemas.microsoft.com/office/drawing/2014/main" id="{600D7A3C-39DE-6BC0-439A-416BC0CAF6A0}"/>
              </a:ext>
            </a:extLst>
          </p:cNvPr>
          <p:cNvSpPr txBox="1"/>
          <p:nvPr/>
        </p:nvSpPr>
        <p:spPr>
          <a:xfrm>
            <a:off x="1701461" y="4787915"/>
            <a:ext cx="1386540" cy="263509"/>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algn="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Open Sans"/>
                <a:ea typeface="Open Sans"/>
                <a:cs typeface="Open Sans"/>
              </a:defRPr>
            </a:lvl1pPr>
          </a:lstStyle>
          <a:p>
            <a:r>
              <a:rPr lang="en-US" sz="1200" b="0" dirty="0"/>
              <a:t>ACCOUNTABILITY</a:t>
            </a:r>
          </a:p>
        </p:txBody>
      </p:sp>
      <p:sp>
        <p:nvSpPr>
          <p:cNvPr id="60" name="TextBox 59">
            <a:extLst>
              <a:ext uri="{FF2B5EF4-FFF2-40B4-BE49-F238E27FC236}">
                <a16:creationId xmlns:a16="http://schemas.microsoft.com/office/drawing/2014/main" id="{96395016-1F4A-294F-C7BE-E8D805BD1F0C}"/>
              </a:ext>
            </a:extLst>
          </p:cNvPr>
          <p:cNvSpPr txBox="1"/>
          <p:nvPr/>
        </p:nvSpPr>
        <p:spPr>
          <a:xfrm>
            <a:off x="2082421" y="5215893"/>
            <a:ext cx="1005579" cy="263509"/>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algn="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Open Sans"/>
                <a:ea typeface="Open Sans"/>
                <a:cs typeface="Open Sans"/>
              </a:defRPr>
            </a:lvl1pPr>
          </a:lstStyle>
          <a:p>
            <a:r>
              <a:rPr lang="en-US" sz="1200" b="0" dirty="0"/>
              <a:t>RESPECT</a:t>
            </a:r>
          </a:p>
        </p:txBody>
      </p:sp>
      <p:sp>
        <p:nvSpPr>
          <p:cNvPr id="61" name="TextBox 60">
            <a:extLst>
              <a:ext uri="{FF2B5EF4-FFF2-40B4-BE49-F238E27FC236}">
                <a16:creationId xmlns:a16="http://schemas.microsoft.com/office/drawing/2014/main" id="{811C2CDD-DA09-607B-1FE2-3737880F5B72}"/>
              </a:ext>
            </a:extLst>
          </p:cNvPr>
          <p:cNvSpPr txBox="1"/>
          <p:nvPr/>
        </p:nvSpPr>
        <p:spPr>
          <a:xfrm>
            <a:off x="2082421" y="3986891"/>
            <a:ext cx="1005579" cy="263509"/>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algn="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Open Sans"/>
                <a:ea typeface="Open Sans"/>
                <a:cs typeface="Open Sans"/>
              </a:defRPr>
            </a:lvl1pPr>
          </a:lstStyle>
          <a:p>
            <a:r>
              <a:rPr lang="en-US" sz="1200" b="0" dirty="0"/>
              <a:t>CARE</a:t>
            </a:r>
          </a:p>
        </p:txBody>
      </p:sp>
      <p:sp>
        <p:nvSpPr>
          <p:cNvPr id="62" name="Flowchart: Connector 61">
            <a:extLst>
              <a:ext uri="{FF2B5EF4-FFF2-40B4-BE49-F238E27FC236}">
                <a16:creationId xmlns:a16="http://schemas.microsoft.com/office/drawing/2014/main" id="{1974BAB5-FF50-6A00-DACB-F0E748117D45}"/>
              </a:ext>
            </a:extLst>
          </p:cNvPr>
          <p:cNvSpPr/>
          <p:nvPr/>
        </p:nvSpPr>
        <p:spPr bwMode="gray">
          <a:xfrm>
            <a:off x="3203819" y="5749325"/>
            <a:ext cx="91440" cy="91440"/>
          </a:xfrm>
          <a:prstGeom prst="flowChartConnector">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Rectangle 65">
            <a:extLst>
              <a:ext uri="{FF2B5EF4-FFF2-40B4-BE49-F238E27FC236}">
                <a16:creationId xmlns:a16="http://schemas.microsoft.com/office/drawing/2014/main" id="{2719A661-4767-B4B5-D5F4-BE97A2D4DD68}"/>
              </a:ext>
            </a:extLst>
          </p:cNvPr>
          <p:cNvSpPr>
            <a:spLocks/>
          </p:cNvSpPr>
          <p:nvPr/>
        </p:nvSpPr>
        <p:spPr bwMode="gray">
          <a:xfrm>
            <a:off x="4141881" y="4778959"/>
            <a:ext cx="3408269" cy="613570"/>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prstClr val="black"/>
                </a:solidFill>
                <a:effectLst/>
                <a:uLnTx/>
                <a:uFillTx/>
                <a:latin typeface="Open Sans"/>
                <a:ea typeface="Open Sans"/>
                <a:cs typeface="Open Sans"/>
              </a:rPr>
              <a:t>We know that UNICEF cares about </a:t>
            </a:r>
            <a:r>
              <a:rPr kumimoji="0" lang="hu-HU" sz="1400" i="0" u="none" strike="noStrike" kern="1200" cap="none" spc="0" normalizeH="0" baseline="0" noProof="0" dirty="0" err="1">
                <a:ln>
                  <a:noFill/>
                </a:ln>
                <a:solidFill>
                  <a:prstClr val="black"/>
                </a:solidFill>
                <a:effectLst/>
                <a:uLnTx/>
                <a:uFillTx/>
                <a:latin typeface="Open Sans"/>
                <a:ea typeface="Open Sans"/>
                <a:cs typeface="Open Sans"/>
              </a:rPr>
              <a:t>Care</a:t>
            </a:r>
            <a:r>
              <a:rPr kumimoji="0" lang="hu-HU" sz="1400" i="0" u="none" strike="noStrike" kern="1200" cap="none" spc="0" normalizeH="0" baseline="0" noProof="0" dirty="0">
                <a:ln>
                  <a:noFill/>
                </a:ln>
                <a:solidFill>
                  <a:prstClr val="black"/>
                </a:solidFill>
                <a:effectLst/>
                <a:uLnTx/>
                <a:uFillTx/>
                <a:latin typeface="Open Sans"/>
                <a:ea typeface="Open Sans"/>
                <a:cs typeface="Open Sans"/>
              </a:rPr>
              <a:t> </a:t>
            </a:r>
            <a:r>
              <a:rPr kumimoji="0" lang="en-US" sz="1400" i="0" u="none" strike="noStrike" kern="1200" cap="none" spc="0" normalizeH="0" baseline="0" noProof="0" dirty="0">
                <a:ln>
                  <a:noFill/>
                </a:ln>
                <a:solidFill>
                  <a:prstClr val="black"/>
                </a:solidFill>
                <a:effectLst/>
                <a:uLnTx/>
                <a:uFillTx/>
                <a:latin typeface="Open Sans"/>
                <a:ea typeface="Open Sans"/>
                <a:cs typeface="Open Sans"/>
              </a:rPr>
              <a:t>Integrity, Trust, </a:t>
            </a:r>
            <a:r>
              <a:rPr lang="en-US" sz="1400" dirty="0">
                <a:solidFill>
                  <a:prstClr val="black"/>
                </a:solidFill>
                <a:latin typeface="Open Sans"/>
                <a:ea typeface="Open Sans"/>
                <a:cs typeface="Open Sans"/>
              </a:rPr>
              <a:t>A</a:t>
            </a:r>
            <a:r>
              <a:rPr kumimoji="0" lang="en-US" sz="1400" i="0" u="none" strike="noStrike" kern="1200" cap="none" spc="0" normalizeH="0" baseline="0" noProof="0" dirty="0" err="1">
                <a:ln>
                  <a:noFill/>
                </a:ln>
                <a:solidFill>
                  <a:prstClr val="black"/>
                </a:solidFill>
                <a:effectLst/>
                <a:uLnTx/>
                <a:uFillTx/>
                <a:latin typeface="Open Sans"/>
                <a:ea typeface="Open Sans"/>
                <a:cs typeface="Open Sans"/>
              </a:rPr>
              <a:t>ccountability</a:t>
            </a:r>
            <a:r>
              <a:rPr kumimoji="0" lang="en-US" sz="1400" i="0" u="none" strike="noStrike" kern="1200" cap="none" spc="0" normalizeH="0" baseline="0" noProof="0" dirty="0">
                <a:ln>
                  <a:noFill/>
                </a:ln>
                <a:solidFill>
                  <a:prstClr val="black"/>
                </a:solidFill>
                <a:effectLst/>
                <a:uLnTx/>
                <a:uFillTx/>
                <a:latin typeface="Open Sans"/>
                <a:ea typeface="Open Sans"/>
                <a:cs typeface="Open Sans"/>
              </a:rPr>
              <a:t>,</a:t>
            </a:r>
            <a:r>
              <a:rPr lang="en-US" sz="1400" dirty="0">
                <a:solidFill>
                  <a:prstClr val="black"/>
                </a:solidFill>
                <a:latin typeface="Open Sans"/>
                <a:ea typeface="Open Sans"/>
                <a:cs typeface="Open Sans"/>
              </a:rPr>
              <a:t> Respect</a:t>
            </a:r>
            <a:r>
              <a:rPr kumimoji="0" lang="en-US" sz="1400" i="0" u="none" strike="noStrike" kern="1200" cap="none" spc="0" normalizeH="0" baseline="0" noProof="0" dirty="0">
                <a:ln>
                  <a:noFill/>
                </a:ln>
                <a:solidFill>
                  <a:prstClr val="black"/>
                </a:solidFill>
                <a:effectLst/>
                <a:uLnTx/>
                <a:uFillTx/>
                <a:latin typeface="Open Sans"/>
                <a:ea typeface="Open Sans"/>
                <a:cs typeface="Open Sans"/>
              </a:rPr>
              <a:t> – and so do we.</a:t>
            </a:r>
          </a:p>
        </p:txBody>
      </p:sp>
      <p:sp>
        <p:nvSpPr>
          <p:cNvPr id="68" name="TextBox 67">
            <a:extLst>
              <a:ext uri="{FF2B5EF4-FFF2-40B4-BE49-F238E27FC236}">
                <a16:creationId xmlns:a16="http://schemas.microsoft.com/office/drawing/2014/main" id="{84557550-B2BD-F0C8-281F-3A81F726CD66}"/>
              </a:ext>
            </a:extLst>
          </p:cNvPr>
          <p:cNvSpPr txBox="1"/>
          <p:nvPr/>
        </p:nvSpPr>
        <p:spPr>
          <a:xfrm>
            <a:off x="8545731" y="5668087"/>
            <a:ext cx="2266950" cy="253916"/>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defPPr>
              <a:defRPr lang="en-US"/>
            </a:defPPr>
            <a:lvl1pPr marR="0" lvl="0" indent="0" fontAlgn="auto">
              <a:lnSpc>
                <a:spcPct val="100000"/>
              </a:lnSpc>
              <a:spcBef>
                <a:spcPts val="0"/>
              </a:spcBef>
              <a:spcAft>
                <a:spcPts val="0"/>
              </a:spcAft>
              <a:buClrTx/>
              <a:buSzTx/>
              <a:buFontTx/>
              <a:buNone/>
              <a:tabLst/>
              <a:defRPr kumimoji="0" sz="1050" b="0" i="0" u="none" strike="noStrike" cap="none" spc="0" normalizeH="0" baseline="0">
                <a:ln>
                  <a:noFill/>
                </a:ln>
                <a:solidFill>
                  <a:prstClr val="black"/>
                </a:solidFill>
                <a:effectLst/>
                <a:uLnTx/>
                <a:uFillTx/>
                <a:latin typeface="Open Sans"/>
                <a:ea typeface="Open Sans"/>
                <a:cs typeface="Open Sans"/>
              </a:defRPr>
            </a:lvl1pPr>
          </a:lstStyle>
          <a:p>
            <a:r>
              <a:rPr lang="en-US" sz="1200" dirty="0"/>
              <a:t>LEAD THE WAY</a:t>
            </a:r>
          </a:p>
        </p:txBody>
      </p:sp>
      <p:sp>
        <p:nvSpPr>
          <p:cNvPr id="69" name="Flowchart: Connector 68">
            <a:extLst>
              <a:ext uri="{FF2B5EF4-FFF2-40B4-BE49-F238E27FC236}">
                <a16:creationId xmlns:a16="http://schemas.microsoft.com/office/drawing/2014/main" id="{F6E06975-7C20-1ECE-32A0-DD61646333EC}"/>
              </a:ext>
            </a:extLst>
          </p:cNvPr>
          <p:cNvSpPr/>
          <p:nvPr/>
        </p:nvSpPr>
        <p:spPr bwMode="gray">
          <a:xfrm>
            <a:off x="8362759" y="5746761"/>
            <a:ext cx="91440" cy="91440"/>
          </a:xfrm>
          <a:prstGeom prst="flowChartConnector">
            <a:avLst/>
          </a:prstGeom>
          <a:solidFill>
            <a:srgbClr val="9CD33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Arc 1">
            <a:extLst>
              <a:ext uri="{FF2B5EF4-FFF2-40B4-BE49-F238E27FC236}">
                <a16:creationId xmlns:a16="http://schemas.microsoft.com/office/drawing/2014/main" id="{B996926F-151D-55F7-5967-C82B4487CEF3}"/>
              </a:ext>
            </a:extLst>
          </p:cNvPr>
          <p:cNvSpPr>
            <a:spLocks/>
          </p:cNvSpPr>
          <p:nvPr/>
        </p:nvSpPr>
        <p:spPr>
          <a:xfrm rot="18981168">
            <a:off x="3845388" y="1527370"/>
            <a:ext cx="2259233" cy="2259233"/>
          </a:xfrm>
          <a:prstGeom prst="arc">
            <a:avLst>
              <a:gd name="adj1" fmla="val 4188388"/>
              <a:gd name="adj2" fmla="val 882010"/>
            </a:avLst>
          </a:prstGeom>
          <a:ln w="28575">
            <a:solidFill>
              <a:srgbClr val="00B0F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Arc 2">
            <a:extLst>
              <a:ext uri="{FF2B5EF4-FFF2-40B4-BE49-F238E27FC236}">
                <a16:creationId xmlns:a16="http://schemas.microsoft.com/office/drawing/2014/main" id="{A44B740B-BF39-5022-9E7D-C8D395EC77FB}"/>
              </a:ext>
            </a:extLst>
          </p:cNvPr>
          <p:cNvSpPr>
            <a:spLocks/>
          </p:cNvSpPr>
          <p:nvPr/>
        </p:nvSpPr>
        <p:spPr>
          <a:xfrm rot="8310654">
            <a:off x="5440917" y="1491940"/>
            <a:ext cx="2249266" cy="2245757"/>
          </a:xfrm>
          <a:prstGeom prst="arc">
            <a:avLst>
              <a:gd name="adj1" fmla="val 4079328"/>
              <a:gd name="adj2" fmla="val 756263"/>
            </a:avLst>
          </a:prstGeom>
          <a:ln w="28575">
            <a:solidFill>
              <a:srgbClr val="9CD33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7" name="Title 1">
            <a:extLst>
              <a:ext uri="{FF2B5EF4-FFF2-40B4-BE49-F238E27FC236}">
                <a16:creationId xmlns:a16="http://schemas.microsoft.com/office/drawing/2014/main" id="{DDBFC5C5-68FD-344E-073E-A552B641572B}"/>
              </a:ext>
            </a:extLst>
          </p:cNvPr>
          <p:cNvSpPr txBox="1">
            <a:spLocks/>
          </p:cNvSpPr>
          <p:nvPr/>
        </p:nvSpPr>
        <p:spPr bwMode="gray">
          <a:xfrm>
            <a:off x="463295" y="417911"/>
            <a:ext cx="11277600" cy="586123"/>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2000" dirty="0"/>
              <a:t>We identify ourselves with UNICEF's core mission and fundamental values in which we want to make an impact that matters - for our clients, our people and society as a whole</a:t>
            </a:r>
            <a:endParaRPr lang="hu-HU" sz="2000" dirty="0">
              <a:highlight>
                <a:srgbClr val="FFFF00"/>
              </a:highlight>
            </a:endParaRPr>
          </a:p>
        </p:txBody>
      </p:sp>
    </p:spTree>
    <p:extLst>
      <p:ext uri="{BB962C8B-B14F-4D97-AF65-F5344CB8AC3E}">
        <p14:creationId xmlns:p14="http://schemas.microsoft.com/office/powerpoint/2010/main" val="1712875529"/>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F0AE17-7192-E81E-CD02-6DCB5F1359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30F0AE17-7192-E81E-CD02-6DCB5F135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DA430E9-37F4-6882-5EC6-84279F62B422}"/>
              </a:ext>
            </a:extLst>
          </p:cNvPr>
          <p:cNvSpPr>
            <a:spLocks noGrp="1"/>
          </p:cNvSpPr>
          <p:nvPr>
            <p:ph type="body" sz="quarter" idx="22"/>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en designing the new solution for data gathering, we will leverage multiple accelerators and standard UX methodologies to boost co-creation and design related activities.</a:t>
            </a:r>
          </a:p>
          <a:p>
            <a:endParaRPr lang="en-PL"/>
          </a:p>
        </p:txBody>
      </p:sp>
      <p:sp>
        <p:nvSpPr>
          <p:cNvPr id="9" name="Title 1">
            <a:extLst>
              <a:ext uri="{FF2B5EF4-FFF2-40B4-BE49-F238E27FC236}">
                <a16:creationId xmlns:a16="http://schemas.microsoft.com/office/drawing/2014/main" id="{3697FB3E-C9EE-9A8B-6E31-3114AEFA4A6D}"/>
              </a:ext>
            </a:extLst>
          </p:cNvPr>
          <p:cNvSpPr>
            <a:spLocks noGrp="1"/>
          </p:cNvSpPr>
          <p:nvPr>
            <p:ph type="title"/>
          </p:nvPr>
        </p:nvSpPr>
        <p:spPr/>
        <p:txBody>
          <a:bodyPr vert="horz"/>
          <a:lstStyle/>
          <a:p>
            <a:r>
              <a:rPr lang="en-US" sz="2800" spc="300">
                <a:ea typeface="Open Sans SemiBold"/>
                <a:cs typeface="Open Sans SemiBold"/>
              </a:rPr>
              <a:t>UX/UI </a:t>
            </a:r>
            <a:r>
              <a:rPr lang="en-US" sz="2800" spc="300" dirty="0">
                <a:ea typeface="Open Sans SemiBold"/>
                <a:cs typeface="Open Sans SemiBold"/>
              </a:rPr>
              <a:t>accelerators &amp; tools </a:t>
            </a:r>
            <a:endParaRPr lang="en-US" sz="2800" i="0" spc="300" dirty="0">
              <a:ea typeface="Open Sans SemiBold" panose="020B0606030504020204" pitchFamily="34" charset="0"/>
              <a:cs typeface="Open Sans SemiBold" panose="020B0606030504020204" pitchFamily="34" charset="0"/>
            </a:endParaRPr>
          </a:p>
        </p:txBody>
      </p:sp>
      <p:grpSp>
        <p:nvGrpSpPr>
          <p:cNvPr id="25" name="Group 24">
            <a:extLst>
              <a:ext uri="{FF2B5EF4-FFF2-40B4-BE49-F238E27FC236}">
                <a16:creationId xmlns:a16="http://schemas.microsoft.com/office/drawing/2014/main" id="{79A1AA62-2B59-1867-77DD-AFE5C2AA6722}"/>
              </a:ext>
            </a:extLst>
          </p:cNvPr>
          <p:cNvGrpSpPr/>
          <p:nvPr/>
        </p:nvGrpSpPr>
        <p:grpSpPr>
          <a:xfrm>
            <a:off x="1574191" y="1677764"/>
            <a:ext cx="2520000" cy="2340000"/>
            <a:chOff x="988387" y="1666988"/>
            <a:chExt cx="2520000" cy="2340000"/>
          </a:xfrm>
        </p:grpSpPr>
        <p:sp>
          <p:nvSpPr>
            <p:cNvPr id="37" name="Rounded Rectangle 59">
              <a:extLst>
                <a:ext uri="{FF2B5EF4-FFF2-40B4-BE49-F238E27FC236}">
                  <a16:creationId xmlns:a16="http://schemas.microsoft.com/office/drawing/2014/main" id="{A9586AD0-EB43-E4FF-7BD1-7CEA952EDF6C}"/>
                </a:ext>
              </a:extLst>
            </p:cNvPr>
            <p:cNvSpPr/>
            <p:nvPr/>
          </p:nvSpPr>
          <p:spPr>
            <a:xfrm>
              <a:off x="988387" y="1666988"/>
              <a:ext cx="2520000" cy="2340000"/>
            </a:xfrm>
            <a:prstGeom prst="roundRect">
              <a:avLst>
                <a:gd name="adj" fmla="val 2824"/>
              </a:avLst>
            </a:prstGeom>
            <a:solidFill>
              <a:schemeClr val="bg1"/>
            </a:solidFill>
            <a:ln>
              <a:noFill/>
            </a:ln>
            <a:effectLst>
              <a:outerShdw blurRad="389308" dist="38100" dir="2700000" sx="101158" sy="101158"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4A3AF3A7-131A-D0E0-5423-9407E883412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294625" y="1849633"/>
              <a:ext cx="1641635" cy="1075281"/>
            </a:xfrm>
            <a:prstGeom prst="rect">
              <a:avLst/>
            </a:prstGeom>
            <a:effectLst>
              <a:outerShdw blurRad="1028700" dist="38100" dir="5400000" algn="t" rotWithShape="0">
                <a:prstClr val="black">
                  <a:alpha val="8000"/>
                </a:prstClr>
              </a:outerShdw>
            </a:effectLst>
          </p:spPr>
        </p:pic>
        <p:sp>
          <p:nvSpPr>
            <p:cNvPr id="10" name="Text Placeholder 2">
              <a:extLst>
                <a:ext uri="{FF2B5EF4-FFF2-40B4-BE49-F238E27FC236}">
                  <a16:creationId xmlns:a16="http://schemas.microsoft.com/office/drawing/2014/main" id="{23F0D0A7-4597-C4F8-01C4-D9839D776BEB}"/>
                </a:ext>
              </a:extLst>
            </p:cNvPr>
            <p:cNvSpPr txBox="1">
              <a:spLocks/>
            </p:cNvSpPr>
            <p:nvPr/>
          </p:nvSpPr>
          <p:spPr>
            <a:xfrm>
              <a:off x="1215634" y="3148829"/>
              <a:ext cx="2148918" cy="584920"/>
            </a:xfrm>
            <a:prstGeom prst="rect">
              <a:avLst/>
            </a:prstGeom>
          </p:spPr>
          <p:txBody>
            <a:bodyPr lIns="0" tIns="0" rIns="0" bIns="0" anchor="t"/>
            <a:lstStyle>
              <a:defPPr>
                <a:defRPr lang="en-US"/>
              </a:defPPr>
              <a:lvl1pPr indent="0">
                <a:lnSpc>
                  <a:spcPct val="80000"/>
                </a:lnSpc>
                <a:spcBef>
                  <a:spcPts val="0"/>
                </a:spcBef>
                <a:buClr>
                  <a:schemeClr val="accent5"/>
                </a:buClr>
                <a:buSzPct val="75000"/>
                <a:buFont typeface="Arial" panose="020B0604020202020204" pitchFamily="34" charset="0"/>
                <a:buNone/>
                <a:defRPr sz="700" spc="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20000"/>
                </a:lnSpc>
                <a:spcBef>
                  <a:spcPts val="600"/>
                </a:spcBef>
              </a:pPr>
              <a:r>
                <a:rPr lang="en-US" sz="1000" b="1" spc="-30">
                  <a:solidFill>
                    <a:srgbClr val="000000"/>
                  </a:solidFill>
                  <a:latin typeface="Open Sans"/>
                  <a:ea typeface="Open Sans"/>
                  <a:cs typeface="Open Sans"/>
                </a:rPr>
                <a:t>Design System Platform</a:t>
              </a:r>
            </a:p>
            <a:p>
              <a:pPr>
                <a:lnSpc>
                  <a:spcPct val="120000"/>
                </a:lnSpc>
                <a:spcBef>
                  <a:spcPts val="600"/>
                </a:spcBef>
              </a:pPr>
              <a:r>
                <a:rPr lang="en-US" sz="800">
                  <a:solidFill>
                    <a:srgbClr val="000000"/>
                  </a:solidFill>
                  <a:latin typeface="Open Sans Light"/>
                  <a:ea typeface="Open Sans Light"/>
                  <a:cs typeface="Open Sans Light"/>
                </a:rPr>
                <a:t>We have design system with basic patterns ready to be utilized by designers and developers.</a:t>
              </a:r>
            </a:p>
          </p:txBody>
        </p:sp>
        <p:pic>
          <p:nvPicPr>
            <p:cNvPr id="14" name="Picture 6" descr="Figma | LinkedIn">
              <a:extLst>
                <a:ext uri="{FF2B5EF4-FFF2-40B4-BE49-F238E27FC236}">
                  <a16:creationId xmlns:a16="http://schemas.microsoft.com/office/drawing/2014/main" id="{0B25462E-0DAD-BDB7-D084-3E95482254B0}"/>
                </a:ext>
              </a:extLst>
            </p:cNvPr>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35182" y="1780258"/>
              <a:ext cx="455931" cy="45593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Storybook (@storybookjs) | Twitter">
              <a:extLst>
                <a:ext uri="{FF2B5EF4-FFF2-40B4-BE49-F238E27FC236}">
                  <a16:creationId xmlns:a16="http://schemas.microsoft.com/office/drawing/2014/main" id="{44A0C5E4-483D-9690-3085-B2B85529BA8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007040" y="2210013"/>
              <a:ext cx="312213" cy="31221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Eine kleine Einführung in React und React Native">
              <a:extLst>
                <a:ext uri="{FF2B5EF4-FFF2-40B4-BE49-F238E27FC236}">
                  <a16:creationId xmlns:a16="http://schemas.microsoft.com/office/drawing/2014/main" id="{27141125-BE7E-3783-427E-3098C0F2CB2D}"/>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923000" y="2563587"/>
              <a:ext cx="466307" cy="2578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E3DAD6EA-55F9-9FA1-BA4A-893A6306376F}"/>
              </a:ext>
            </a:extLst>
          </p:cNvPr>
          <p:cNvGrpSpPr/>
          <p:nvPr/>
        </p:nvGrpSpPr>
        <p:grpSpPr>
          <a:xfrm>
            <a:off x="7839697" y="4219171"/>
            <a:ext cx="2520000" cy="2340000"/>
            <a:chOff x="8002050" y="4212857"/>
            <a:chExt cx="2520000" cy="2340000"/>
          </a:xfrm>
        </p:grpSpPr>
        <p:sp>
          <p:nvSpPr>
            <p:cNvPr id="30" name="Rounded Rectangle 59">
              <a:extLst>
                <a:ext uri="{FF2B5EF4-FFF2-40B4-BE49-F238E27FC236}">
                  <a16:creationId xmlns:a16="http://schemas.microsoft.com/office/drawing/2014/main" id="{CA272597-3752-51F7-79C3-688ADF7E4A41}"/>
                </a:ext>
              </a:extLst>
            </p:cNvPr>
            <p:cNvSpPr/>
            <p:nvPr/>
          </p:nvSpPr>
          <p:spPr>
            <a:xfrm>
              <a:off x="8002050" y="4212857"/>
              <a:ext cx="2520000" cy="2340000"/>
            </a:xfrm>
            <a:prstGeom prst="roundRect">
              <a:avLst>
                <a:gd name="adj" fmla="val 2824"/>
              </a:avLst>
            </a:prstGeom>
            <a:solidFill>
              <a:schemeClr val="bg1"/>
            </a:solidFill>
            <a:ln>
              <a:noFill/>
            </a:ln>
            <a:effectLst>
              <a:outerShdw blurRad="389308" dist="38100" dir="2700000" sx="101158" sy="101158"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7" name="Picture 66">
              <a:extLst>
                <a:ext uri="{FF2B5EF4-FFF2-40B4-BE49-F238E27FC236}">
                  <a16:creationId xmlns:a16="http://schemas.microsoft.com/office/drawing/2014/main" id="{16C77243-1452-0643-9EA6-BF47ED925572}"/>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7076" t="26209" r="5887" b="17138"/>
            <a:stretch/>
          </p:blipFill>
          <p:spPr>
            <a:xfrm>
              <a:off x="8352644" y="4426173"/>
              <a:ext cx="2016017" cy="728027"/>
            </a:xfrm>
            <a:prstGeom prst="rect">
              <a:avLst/>
            </a:prstGeom>
          </p:spPr>
        </p:pic>
        <p:sp>
          <p:nvSpPr>
            <p:cNvPr id="73" name="Text Placeholder 2">
              <a:extLst>
                <a:ext uri="{FF2B5EF4-FFF2-40B4-BE49-F238E27FC236}">
                  <a16:creationId xmlns:a16="http://schemas.microsoft.com/office/drawing/2014/main" id="{30A13886-AD21-A02E-3587-DD344E90DEC5}"/>
                </a:ext>
              </a:extLst>
            </p:cNvPr>
            <p:cNvSpPr txBox="1">
              <a:spLocks/>
            </p:cNvSpPr>
            <p:nvPr/>
          </p:nvSpPr>
          <p:spPr>
            <a:xfrm>
              <a:off x="8247138" y="5382154"/>
              <a:ext cx="2121523" cy="589623"/>
            </a:xfrm>
            <a:prstGeom prst="rect">
              <a:avLst/>
            </a:prstGeom>
          </p:spPr>
          <p:txBody>
            <a:bodyPr lIns="0" tIns="0" rIns="0" bIns="0" anchor="t"/>
            <a:lstStyle>
              <a:defPPr>
                <a:defRPr lang="en-US"/>
              </a:defPPr>
              <a:lvl1pPr indent="0">
                <a:lnSpc>
                  <a:spcPct val="80000"/>
                </a:lnSpc>
                <a:spcBef>
                  <a:spcPts val="0"/>
                </a:spcBef>
                <a:buClr>
                  <a:schemeClr val="accent5"/>
                </a:buClr>
                <a:buSzPct val="75000"/>
                <a:buFont typeface="Arial" panose="020B0604020202020204" pitchFamily="34" charset="0"/>
                <a:buNone/>
                <a:defRPr sz="700" spc="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20000"/>
                </a:lnSpc>
                <a:spcBef>
                  <a:spcPts val="600"/>
                </a:spcBef>
              </a:pPr>
              <a:r>
                <a:rPr lang="en-US" sz="1000" b="1" spc="-30" dirty="0">
                  <a:solidFill>
                    <a:srgbClr val="000000"/>
                  </a:solidFill>
                  <a:latin typeface="Open Sans"/>
                  <a:ea typeface="Open Sans" panose="020B0606030504020204" pitchFamily="34" charset="0"/>
                  <a:cs typeface="Open Sans" panose="020B0606030504020204" pitchFamily="34" charset="0"/>
                </a:rPr>
                <a:t>Atomic Design Framework</a:t>
              </a:r>
            </a:p>
            <a:p>
              <a:pPr>
                <a:lnSpc>
                  <a:spcPct val="120000"/>
                </a:lnSpc>
                <a:spcBef>
                  <a:spcPts val="600"/>
                </a:spcBef>
              </a:pPr>
              <a:r>
                <a:rPr lang="en-US" sz="800" dirty="0">
                  <a:solidFill>
                    <a:srgbClr val="000000"/>
                  </a:solidFill>
                  <a:latin typeface="Open Sans Light"/>
                </a:rPr>
                <a:t>The Atomic Design System methodology allows to create scalable solutions and unlock autonomy within teams, maintain the UX&amp;UI consistency and increase efficiency of the development process.</a:t>
              </a:r>
            </a:p>
          </p:txBody>
        </p:sp>
      </p:grpSp>
      <p:grpSp>
        <p:nvGrpSpPr>
          <p:cNvPr id="12" name="Group 11">
            <a:extLst>
              <a:ext uri="{FF2B5EF4-FFF2-40B4-BE49-F238E27FC236}">
                <a16:creationId xmlns:a16="http://schemas.microsoft.com/office/drawing/2014/main" id="{A07ADB6C-6874-0E8C-2372-DE16BB30BD92}"/>
              </a:ext>
            </a:extLst>
          </p:cNvPr>
          <p:cNvGrpSpPr/>
          <p:nvPr/>
        </p:nvGrpSpPr>
        <p:grpSpPr>
          <a:xfrm>
            <a:off x="5074609" y="4219171"/>
            <a:ext cx="2524823" cy="2340000"/>
            <a:chOff x="4777013" y="4212154"/>
            <a:chExt cx="2524823" cy="2340000"/>
          </a:xfrm>
        </p:grpSpPr>
        <p:sp>
          <p:nvSpPr>
            <p:cNvPr id="4" name="Rounded Rectangle 59">
              <a:extLst>
                <a:ext uri="{FF2B5EF4-FFF2-40B4-BE49-F238E27FC236}">
                  <a16:creationId xmlns:a16="http://schemas.microsoft.com/office/drawing/2014/main" id="{D78AA497-F013-1CA4-87D6-87C7C556241C}"/>
                </a:ext>
              </a:extLst>
            </p:cNvPr>
            <p:cNvSpPr/>
            <p:nvPr/>
          </p:nvSpPr>
          <p:spPr>
            <a:xfrm>
              <a:off x="4777013" y="4212154"/>
              <a:ext cx="2520000" cy="2340000"/>
            </a:xfrm>
            <a:prstGeom prst="roundRect">
              <a:avLst>
                <a:gd name="adj" fmla="val 2824"/>
              </a:avLst>
            </a:prstGeom>
            <a:solidFill>
              <a:schemeClr val="bg1"/>
            </a:solidFill>
            <a:ln>
              <a:noFill/>
            </a:ln>
            <a:effectLst>
              <a:outerShdw blurRad="389308" dist="38100" dir="2700000" sx="101158" sy="101158"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742ADCBC-8893-8EA9-5CE2-2E1939806C1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005851" y="4238829"/>
              <a:ext cx="2011063" cy="1129460"/>
            </a:xfrm>
            <a:prstGeom prst="rect">
              <a:avLst/>
            </a:prstGeom>
          </p:spPr>
        </p:pic>
        <p:sp>
          <p:nvSpPr>
            <p:cNvPr id="8" name="Text Placeholder 2">
              <a:extLst>
                <a:ext uri="{FF2B5EF4-FFF2-40B4-BE49-F238E27FC236}">
                  <a16:creationId xmlns:a16="http://schemas.microsoft.com/office/drawing/2014/main" id="{F3372410-2B66-CFB9-84EA-F069EE23F7EE}"/>
                </a:ext>
              </a:extLst>
            </p:cNvPr>
            <p:cNvSpPr txBox="1">
              <a:spLocks/>
            </p:cNvSpPr>
            <p:nvPr/>
          </p:nvSpPr>
          <p:spPr>
            <a:xfrm>
              <a:off x="5039203" y="5500752"/>
              <a:ext cx="2262633" cy="589623"/>
            </a:xfrm>
            <a:prstGeom prst="rect">
              <a:avLst/>
            </a:prstGeom>
          </p:spPr>
          <p:txBody>
            <a:bodyPr lIns="0" tIns="0" rIns="0" bIns="0"/>
            <a:lstStyle>
              <a:defPPr>
                <a:defRPr lang="en-US"/>
              </a:defPPr>
              <a:lvl1pPr indent="0">
                <a:lnSpc>
                  <a:spcPct val="80000"/>
                </a:lnSpc>
                <a:spcBef>
                  <a:spcPts val="0"/>
                </a:spcBef>
                <a:buClr>
                  <a:schemeClr val="accent5"/>
                </a:buClr>
                <a:buSzPct val="75000"/>
                <a:buFont typeface="Arial" panose="020B0604020202020204" pitchFamily="34" charset="0"/>
                <a:buNone/>
                <a:defRPr sz="700" spc="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20000"/>
                </a:lnSpc>
                <a:spcBef>
                  <a:spcPts val="600"/>
                </a:spcBef>
              </a:pPr>
              <a:r>
                <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Rapid Concept Development</a:t>
              </a:r>
            </a:p>
            <a:p>
              <a:pPr>
                <a:lnSpc>
                  <a:spcPct val="120000"/>
                </a:lnSpc>
                <a:spcBef>
                  <a:spcPts val="600"/>
                </a:spcBef>
              </a:pPr>
              <a:r>
                <a:rPr lang="en-US" sz="800" dirty="0">
                  <a:solidFill>
                    <a:srgbClr val="000000"/>
                  </a:solidFill>
                  <a:latin typeface="Open Sans Light"/>
                </a:rPr>
                <a:t>A concept design approach for co-creation sessions and a fast-tracked decision-making process – from a flash analysis through value definition to rapid prototyping and testing.</a:t>
              </a:r>
            </a:p>
            <a:p>
              <a:pPr>
                <a:lnSpc>
                  <a:spcPct val="120000"/>
                </a:lnSpc>
                <a:spcBef>
                  <a:spcPts val="600"/>
                </a:spcBef>
              </a:pPr>
              <a:endParaRPr lang="en-US" sz="1000" dirty="0">
                <a:solidFill>
                  <a:srgbClr val="000000"/>
                </a:solidFill>
              </a:endParaRPr>
            </a:p>
          </p:txBody>
        </p:sp>
      </p:grpSp>
      <p:grpSp>
        <p:nvGrpSpPr>
          <p:cNvPr id="3" name="Group 2">
            <a:extLst>
              <a:ext uri="{FF2B5EF4-FFF2-40B4-BE49-F238E27FC236}">
                <a16:creationId xmlns:a16="http://schemas.microsoft.com/office/drawing/2014/main" id="{763DFB12-6C26-7CE7-6979-B10C958303EE}"/>
              </a:ext>
            </a:extLst>
          </p:cNvPr>
          <p:cNvGrpSpPr/>
          <p:nvPr/>
        </p:nvGrpSpPr>
        <p:grpSpPr>
          <a:xfrm>
            <a:off x="2309521" y="4219171"/>
            <a:ext cx="2520000" cy="2340000"/>
            <a:chOff x="1513479" y="4226189"/>
            <a:chExt cx="2520000" cy="2340000"/>
          </a:xfrm>
        </p:grpSpPr>
        <p:sp>
          <p:nvSpPr>
            <p:cNvPr id="11" name="Rounded Rectangle 59">
              <a:extLst>
                <a:ext uri="{FF2B5EF4-FFF2-40B4-BE49-F238E27FC236}">
                  <a16:creationId xmlns:a16="http://schemas.microsoft.com/office/drawing/2014/main" id="{C46F5F22-0D01-AC30-1F6D-7AAE24C20C19}"/>
                </a:ext>
              </a:extLst>
            </p:cNvPr>
            <p:cNvSpPr/>
            <p:nvPr/>
          </p:nvSpPr>
          <p:spPr>
            <a:xfrm>
              <a:off x="1513479" y="4226189"/>
              <a:ext cx="2520000" cy="2340000"/>
            </a:xfrm>
            <a:prstGeom prst="roundRect">
              <a:avLst>
                <a:gd name="adj" fmla="val 2824"/>
              </a:avLst>
            </a:prstGeom>
            <a:solidFill>
              <a:schemeClr val="bg1"/>
            </a:solidFill>
            <a:ln>
              <a:noFill/>
            </a:ln>
            <a:effectLst>
              <a:outerShdw blurRad="389308" dist="38100" dir="2700000" sx="101158" sy="101158"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E625EF8D-0830-EFB6-1DFB-30ACCFF7E911}"/>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t="17547" b="6877"/>
            <a:stretch/>
          </p:blipFill>
          <p:spPr>
            <a:xfrm>
              <a:off x="1713380" y="4423406"/>
              <a:ext cx="2134540" cy="900065"/>
            </a:xfrm>
            <a:prstGeom prst="rect">
              <a:avLst/>
            </a:prstGeom>
            <a:noFill/>
            <a:ln w="3175">
              <a:noFill/>
            </a:ln>
          </p:spPr>
        </p:pic>
        <p:sp>
          <p:nvSpPr>
            <p:cNvPr id="15" name="Text Placeholder 2">
              <a:extLst>
                <a:ext uri="{FF2B5EF4-FFF2-40B4-BE49-F238E27FC236}">
                  <a16:creationId xmlns:a16="http://schemas.microsoft.com/office/drawing/2014/main" id="{C46C4FC0-03BE-AEA5-6C4E-ABD59A6F057B}"/>
                </a:ext>
              </a:extLst>
            </p:cNvPr>
            <p:cNvSpPr txBox="1">
              <a:spLocks/>
            </p:cNvSpPr>
            <p:nvPr/>
          </p:nvSpPr>
          <p:spPr>
            <a:xfrm>
              <a:off x="1713380" y="5520688"/>
              <a:ext cx="2241773" cy="900065"/>
            </a:xfrm>
            <a:prstGeom prst="rect">
              <a:avLst/>
            </a:prstGeom>
          </p:spPr>
          <p:txBody>
            <a:bodyPr lIns="0" tIns="0" rIns="0" bIns="0" anchor="t"/>
            <a:lstStyle>
              <a:defPPr>
                <a:defRPr lang="en-US"/>
              </a:defPPr>
              <a:lvl1pPr indent="0">
                <a:lnSpc>
                  <a:spcPct val="80000"/>
                </a:lnSpc>
                <a:spcBef>
                  <a:spcPts val="0"/>
                </a:spcBef>
                <a:buClr>
                  <a:schemeClr val="accent5"/>
                </a:buClr>
                <a:buSzPct val="75000"/>
                <a:buFont typeface="Arial" panose="020B0604020202020204" pitchFamily="34" charset="0"/>
                <a:buNone/>
                <a:defRPr sz="700" spc="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20000"/>
                </a:lnSpc>
                <a:spcBef>
                  <a:spcPts val="600"/>
                </a:spcBef>
              </a:pPr>
              <a:r>
                <a:rPr lang="en-US" sz="1000" b="1" spc="-30" dirty="0">
                  <a:solidFill>
                    <a:srgbClr val="000000"/>
                  </a:solidFill>
                  <a:latin typeface="Open Sans" panose="020B0606030504020204" pitchFamily="34" charset="0"/>
                  <a:ea typeface="Open Sans" panose="020B0606030504020204" pitchFamily="34" charset="0"/>
                  <a:cs typeface="Open Sans" panose="020B0606030504020204" pitchFamily="34" charset="0"/>
                </a:rPr>
                <a:t>Rapid Iterative Testing &amp; Evaluation</a:t>
              </a:r>
            </a:p>
            <a:p>
              <a:pPr>
                <a:lnSpc>
                  <a:spcPct val="120000"/>
                </a:lnSpc>
                <a:spcBef>
                  <a:spcPts val="600"/>
                </a:spcBef>
              </a:pPr>
              <a:r>
                <a:rPr lang="en-US" sz="800" dirty="0">
                  <a:solidFill>
                    <a:srgbClr val="000000"/>
                  </a:solidFill>
                  <a:latin typeface="Open Sans Light"/>
                </a:rPr>
                <a:t>RITE facilitates validation of multiple use cases and scenarios, allowing user feedback to be incorporated within 5 days.</a:t>
              </a:r>
              <a:endParaRPr lang="en-US" sz="800" dirty="0">
                <a:solidFill>
                  <a:srgbClr val="000000"/>
                </a:solidFill>
              </a:endParaRPr>
            </a:p>
          </p:txBody>
        </p:sp>
      </p:grpSp>
      <p:grpSp>
        <p:nvGrpSpPr>
          <p:cNvPr id="22" name="Group 21">
            <a:extLst>
              <a:ext uri="{FF2B5EF4-FFF2-40B4-BE49-F238E27FC236}">
                <a16:creationId xmlns:a16="http://schemas.microsoft.com/office/drawing/2014/main" id="{11B3EB0A-F439-2D1B-70D7-1473ACFD1174}"/>
              </a:ext>
            </a:extLst>
          </p:cNvPr>
          <p:cNvGrpSpPr/>
          <p:nvPr/>
        </p:nvGrpSpPr>
        <p:grpSpPr>
          <a:xfrm>
            <a:off x="7136164" y="1677764"/>
            <a:ext cx="2520000" cy="2340000"/>
            <a:chOff x="7258084" y="1693254"/>
            <a:chExt cx="2520000" cy="2340000"/>
          </a:xfrm>
        </p:grpSpPr>
        <p:sp>
          <p:nvSpPr>
            <p:cNvPr id="16" name="Rounded Rectangle 59">
              <a:extLst>
                <a:ext uri="{FF2B5EF4-FFF2-40B4-BE49-F238E27FC236}">
                  <a16:creationId xmlns:a16="http://schemas.microsoft.com/office/drawing/2014/main" id="{86BE136A-45BE-DBDF-A118-A646C3A3051C}"/>
                </a:ext>
              </a:extLst>
            </p:cNvPr>
            <p:cNvSpPr/>
            <p:nvPr/>
          </p:nvSpPr>
          <p:spPr>
            <a:xfrm>
              <a:off x="7258084" y="1693254"/>
              <a:ext cx="2520000" cy="2340000"/>
            </a:xfrm>
            <a:prstGeom prst="roundRect">
              <a:avLst>
                <a:gd name="adj" fmla="val 2824"/>
              </a:avLst>
            </a:prstGeom>
            <a:solidFill>
              <a:schemeClr val="bg1"/>
            </a:solidFill>
            <a:ln>
              <a:noFill/>
            </a:ln>
            <a:effectLst>
              <a:outerShdw blurRad="389308" dist="38100" dir="2700000" sx="101158" sy="101158"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7">
              <a:extLst>
                <a:ext uri="{FF2B5EF4-FFF2-40B4-BE49-F238E27FC236}">
                  <a16:creationId xmlns:a16="http://schemas.microsoft.com/office/drawing/2014/main" id="{2729DC50-F6A4-13F0-B36C-9403B8551030}"/>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7447194" y="1853073"/>
              <a:ext cx="1757248" cy="1083392"/>
            </a:xfrm>
            <a:prstGeom prst="rect">
              <a:avLst/>
            </a:prstGeom>
          </p:spPr>
        </p:pic>
        <p:sp>
          <p:nvSpPr>
            <p:cNvPr id="19" name="Text Placeholder 2">
              <a:extLst>
                <a:ext uri="{FF2B5EF4-FFF2-40B4-BE49-F238E27FC236}">
                  <a16:creationId xmlns:a16="http://schemas.microsoft.com/office/drawing/2014/main" id="{48C168DC-A046-934E-E14D-C1528FAECA4D}"/>
                </a:ext>
              </a:extLst>
            </p:cNvPr>
            <p:cNvSpPr txBox="1">
              <a:spLocks/>
            </p:cNvSpPr>
            <p:nvPr/>
          </p:nvSpPr>
          <p:spPr>
            <a:xfrm>
              <a:off x="7509063" y="3096283"/>
              <a:ext cx="2152302" cy="589623"/>
            </a:xfrm>
            <a:prstGeom prst="rect">
              <a:avLst/>
            </a:prstGeom>
          </p:spPr>
          <p:txBody>
            <a:bodyPr lIns="0" tIns="0" rIns="0" bIns="0" anchor="t"/>
            <a:lstStyle>
              <a:defPPr>
                <a:defRPr lang="en-US"/>
              </a:defPPr>
              <a:lvl1pPr indent="0">
                <a:lnSpc>
                  <a:spcPct val="80000"/>
                </a:lnSpc>
                <a:spcBef>
                  <a:spcPts val="0"/>
                </a:spcBef>
                <a:buClr>
                  <a:schemeClr val="accent5"/>
                </a:buClr>
                <a:buSzPct val="75000"/>
                <a:buFont typeface="Arial" panose="020B0604020202020204" pitchFamily="34" charset="0"/>
                <a:buNone/>
                <a:defRPr sz="700" spc="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20000"/>
                </a:lnSpc>
                <a:spcBef>
                  <a:spcPts val="600"/>
                </a:spcBef>
              </a:pPr>
              <a:r>
                <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UX Principles Catalogue</a:t>
              </a:r>
            </a:p>
            <a:p>
              <a:pPr>
                <a:lnSpc>
                  <a:spcPct val="120000"/>
                </a:lnSpc>
                <a:spcBef>
                  <a:spcPts val="600"/>
                </a:spcBef>
              </a:pPr>
              <a:r>
                <a:rPr lang="en-US" sz="800" dirty="0">
                  <a:solidFill>
                    <a:srgbClr val="000000"/>
                  </a:solidFill>
                  <a:latin typeface="Open Sans Light"/>
                </a:rPr>
                <a:t>A continuously updated catalogue of UX principles nurtured by our global practice that can support the creation of your UX rules.</a:t>
              </a:r>
            </a:p>
            <a:p>
              <a:pPr>
                <a:lnSpc>
                  <a:spcPct val="120000"/>
                </a:lnSpc>
                <a:spcBef>
                  <a:spcPts val="600"/>
                </a:spcBef>
              </a:pPr>
              <a:endParaRPr lang="en-US" sz="1000" dirty="0">
                <a:solidFill>
                  <a:srgbClr val="000000"/>
                </a:solidFill>
              </a:endParaRPr>
            </a:p>
          </p:txBody>
        </p:sp>
      </p:grpSp>
      <p:grpSp>
        <p:nvGrpSpPr>
          <p:cNvPr id="24" name="Group 23">
            <a:extLst>
              <a:ext uri="{FF2B5EF4-FFF2-40B4-BE49-F238E27FC236}">
                <a16:creationId xmlns:a16="http://schemas.microsoft.com/office/drawing/2014/main" id="{7055C2E9-CB6C-4569-45D7-A8BA422213E6}"/>
              </a:ext>
            </a:extLst>
          </p:cNvPr>
          <p:cNvGrpSpPr/>
          <p:nvPr/>
        </p:nvGrpSpPr>
        <p:grpSpPr>
          <a:xfrm>
            <a:off x="4355177" y="1677764"/>
            <a:ext cx="2520000" cy="2340000"/>
            <a:chOff x="4033479" y="1662274"/>
            <a:chExt cx="2520000" cy="2340000"/>
          </a:xfrm>
        </p:grpSpPr>
        <p:sp>
          <p:nvSpPr>
            <p:cNvPr id="21" name="Rounded Rectangle 59">
              <a:extLst>
                <a:ext uri="{FF2B5EF4-FFF2-40B4-BE49-F238E27FC236}">
                  <a16:creationId xmlns:a16="http://schemas.microsoft.com/office/drawing/2014/main" id="{E0498B4C-A9B7-63FB-7B1B-00BAD2D6271F}"/>
                </a:ext>
              </a:extLst>
            </p:cNvPr>
            <p:cNvSpPr/>
            <p:nvPr/>
          </p:nvSpPr>
          <p:spPr>
            <a:xfrm>
              <a:off x="4033479" y="1662274"/>
              <a:ext cx="2520000" cy="2340000"/>
            </a:xfrm>
            <a:prstGeom prst="roundRect">
              <a:avLst>
                <a:gd name="adj" fmla="val 2824"/>
              </a:avLst>
            </a:prstGeom>
            <a:solidFill>
              <a:schemeClr val="bg1"/>
            </a:solidFill>
            <a:ln>
              <a:noFill/>
            </a:ln>
            <a:effectLst>
              <a:outerShdw blurRad="389308" dist="38100" dir="2700000" sx="101158" sy="101158"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 name="Picture 31" descr="A picture containing text, electronics, display&#10;&#10;Description automatically generated">
              <a:extLst>
                <a:ext uri="{FF2B5EF4-FFF2-40B4-BE49-F238E27FC236}">
                  <a16:creationId xmlns:a16="http://schemas.microsoft.com/office/drawing/2014/main" id="{2AA5D571-AC54-7CD1-FA2D-9E433A7C9869}"/>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4235333" y="1802664"/>
              <a:ext cx="1801680" cy="1122316"/>
            </a:xfrm>
            <a:prstGeom prst="rect">
              <a:avLst/>
            </a:prstGeom>
            <a:effectLst>
              <a:outerShdw blurRad="1028700" dist="38100" dir="5400000" algn="t" rotWithShape="0">
                <a:prstClr val="black">
                  <a:alpha val="8000"/>
                </a:prstClr>
              </a:outerShdw>
            </a:effectLst>
          </p:spPr>
        </p:pic>
        <p:sp>
          <p:nvSpPr>
            <p:cNvPr id="33" name="Text Placeholder 2">
              <a:extLst>
                <a:ext uri="{FF2B5EF4-FFF2-40B4-BE49-F238E27FC236}">
                  <a16:creationId xmlns:a16="http://schemas.microsoft.com/office/drawing/2014/main" id="{6A946CA2-5024-2FF5-C4BA-2F5C8C98E577}"/>
                </a:ext>
              </a:extLst>
            </p:cNvPr>
            <p:cNvSpPr txBox="1">
              <a:spLocks/>
            </p:cNvSpPr>
            <p:nvPr/>
          </p:nvSpPr>
          <p:spPr>
            <a:xfrm>
              <a:off x="4279755" y="3145803"/>
              <a:ext cx="2027448" cy="659733"/>
            </a:xfrm>
            <a:prstGeom prst="rect">
              <a:avLst/>
            </a:prstGeom>
          </p:spPr>
          <p:txBody>
            <a:bodyPr lIns="0" tIns="0" rIns="0" bIns="0" anchor="t"/>
            <a:lstStyle>
              <a:defPPr>
                <a:defRPr lang="en-US"/>
              </a:defPPr>
              <a:lvl1pPr indent="0">
                <a:lnSpc>
                  <a:spcPct val="80000"/>
                </a:lnSpc>
                <a:spcBef>
                  <a:spcPts val="0"/>
                </a:spcBef>
                <a:buClr>
                  <a:schemeClr val="accent5"/>
                </a:buClr>
                <a:buSzPct val="75000"/>
                <a:buFont typeface="Arial" panose="020B0604020202020204" pitchFamily="34" charset="0"/>
                <a:buNone/>
                <a:defRPr sz="700" spc="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20000"/>
                </a:lnSpc>
                <a:spcBef>
                  <a:spcPts val="600"/>
                </a:spcBef>
              </a:pPr>
              <a:r>
                <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UI Pattern Prototyping Library</a:t>
              </a:r>
            </a:p>
            <a:p>
              <a:pPr>
                <a:lnSpc>
                  <a:spcPct val="120000"/>
                </a:lnSpc>
                <a:spcBef>
                  <a:spcPts val="600"/>
                </a:spcBef>
              </a:pPr>
              <a:r>
                <a:rPr lang="en-US" sz="800" dirty="0">
                  <a:solidFill>
                    <a:srgbClr val="000000"/>
                  </a:solidFill>
                  <a:latin typeface="Open Sans Light"/>
                </a:rPr>
                <a:t>We have created a library of visual elements based on material design to allow real-time rapid prototyping and co-creation.</a:t>
              </a:r>
            </a:p>
          </p:txBody>
        </p:sp>
        <p:pic>
          <p:nvPicPr>
            <p:cNvPr id="34" name="Picture 16" descr="Adobe XD – Wikipedia">
              <a:extLst>
                <a:ext uri="{FF2B5EF4-FFF2-40B4-BE49-F238E27FC236}">
                  <a16:creationId xmlns:a16="http://schemas.microsoft.com/office/drawing/2014/main" id="{472C62A3-28C5-51BE-855C-5375D696D3E2}"/>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096000" y="1853073"/>
              <a:ext cx="207946" cy="206853"/>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Material Design (@materialdesign) | Twitter">
              <a:extLst>
                <a:ext uri="{FF2B5EF4-FFF2-40B4-BE49-F238E27FC236}">
                  <a16:creationId xmlns:a16="http://schemas.microsoft.com/office/drawing/2014/main" id="{27CDF804-C77F-E836-B91B-2C063BA89273}"/>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6037013" y="2149403"/>
              <a:ext cx="270126" cy="27012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41386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1F1239-939D-8D5A-1779-9F3223334E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EF1F1239-939D-8D5A-1779-9F3223334E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758906-63F1-C247-8DE8-AA23459682C5}"/>
              </a:ext>
            </a:extLst>
          </p:cNvPr>
          <p:cNvSpPr>
            <a:spLocks noGrp="1"/>
          </p:cNvSpPr>
          <p:nvPr>
            <p:ph type="title"/>
          </p:nvPr>
        </p:nvSpPr>
        <p:spPr>
          <a:xfrm>
            <a:off x="463294" y="417911"/>
            <a:ext cx="11383265" cy="334099"/>
          </a:xfrm>
        </p:spPr>
        <p:txBody>
          <a:bodyPr vert="horz"/>
          <a:lstStyle/>
          <a:p>
            <a:r>
              <a:rPr lang="en" sz="2400" dirty="0">
                <a:ea typeface="+mj-lt"/>
                <a:cs typeface="+mj-lt"/>
              </a:rPr>
              <a:t>Getting to know your customers' perspectives will allow us to identify their needs </a:t>
            </a:r>
            <a:endParaRPr lang="pl-PL" sz="2400" dirty="0"/>
          </a:p>
        </p:txBody>
      </p:sp>
      <p:sp>
        <p:nvSpPr>
          <p:cNvPr id="52" name="Text Placeholder 2">
            <a:extLst>
              <a:ext uri="{FF2B5EF4-FFF2-40B4-BE49-F238E27FC236}">
                <a16:creationId xmlns:a16="http://schemas.microsoft.com/office/drawing/2014/main" id="{C776A3C4-C8E9-5AA7-3E42-E74586E043AD}"/>
              </a:ext>
            </a:extLst>
          </p:cNvPr>
          <p:cNvSpPr txBox="1">
            <a:spLocks/>
          </p:cNvSpPr>
          <p:nvPr/>
        </p:nvSpPr>
        <p:spPr>
          <a:xfrm>
            <a:off x="475008" y="2338515"/>
            <a:ext cx="3314818" cy="3537850"/>
          </a:xfrm>
          <a:prstGeom prst="rect">
            <a:avLst/>
          </a:prstGeom>
        </p:spPr>
        <p:txBody>
          <a:bodyPr lIns="0" tIns="0" rIns="72000" b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520"/>
              </a:lnSpc>
              <a:spcAft>
                <a:spcPts val="300"/>
              </a:spcAft>
              <a:buClr>
                <a:srgbClr val="6FC2B4"/>
              </a:buClr>
              <a:buNone/>
              <a:defRPr/>
            </a:pPr>
            <a:r>
              <a:rPr lang="en" sz="1050" dirty="0">
                <a:solidFill>
                  <a:srgbClr val="000000"/>
                </a:solidFill>
                <a:latin typeface="Open Sans"/>
                <a:ea typeface="Open Sans"/>
                <a:cs typeface="Open Sans"/>
              </a:rPr>
              <a:t>User In-depth research </a:t>
            </a:r>
            <a:r>
              <a:rPr lang="pl-PL" sz="1050" dirty="0" err="1">
                <a:solidFill>
                  <a:srgbClr val="000000"/>
                </a:solidFill>
                <a:latin typeface="Open Sans"/>
                <a:ea typeface="Open Sans"/>
                <a:cs typeface="Open Sans"/>
              </a:rPr>
              <a:t>is</a:t>
            </a:r>
            <a:r>
              <a:rPr lang="pl-PL" sz="1050" dirty="0">
                <a:solidFill>
                  <a:srgbClr val="000000"/>
                </a:solidFill>
                <a:latin typeface="Open Sans"/>
                <a:ea typeface="Open Sans"/>
                <a:cs typeface="Open Sans"/>
              </a:rPr>
              <a:t> </a:t>
            </a:r>
            <a:r>
              <a:rPr lang="en" sz="1050" dirty="0">
                <a:solidFill>
                  <a:srgbClr val="000000"/>
                </a:solidFill>
                <a:latin typeface="Open Sans"/>
                <a:ea typeface="Open Sans"/>
                <a:cs typeface="Open Sans"/>
              </a:rPr>
              <a:t>designed to get to know and understand the users’ behaviors</a:t>
            </a:r>
            <a:r>
              <a:rPr lang="en" sz="1050">
                <a:solidFill>
                  <a:srgbClr val="000000"/>
                </a:solidFill>
                <a:latin typeface="Open Sans"/>
                <a:ea typeface="Open Sans"/>
                <a:cs typeface="Open Sans"/>
              </a:rPr>
              <a:t>, mindsets</a:t>
            </a:r>
            <a:r>
              <a:rPr lang="en" sz="1050" dirty="0">
                <a:solidFill>
                  <a:srgbClr val="000000"/>
                </a:solidFill>
                <a:latin typeface="Open Sans"/>
                <a:ea typeface="Open Sans"/>
                <a:cs typeface="Open Sans"/>
              </a:rPr>
              <a:t> and </a:t>
            </a:r>
            <a:r>
              <a:rPr lang="en" sz="1050">
                <a:solidFill>
                  <a:srgbClr val="000000"/>
                </a:solidFill>
                <a:latin typeface="Open Sans"/>
                <a:ea typeface="Open Sans"/>
                <a:cs typeface="Open Sans"/>
              </a:rPr>
              <a:t>needs</a:t>
            </a:r>
            <a:r>
              <a:rPr lang="en" sz="1050" dirty="0">
                <a:solidFill>
                  <a:srgbClr val="000000"/>
                </a:solidFill>
                <a:latin typeface="Open Sans"/>
                <a:ea typeface="Open Sans"/>
                <a:cs typeface="Open Sans"/>
              </a:rPr>
              <a:t>. </a:t>
            </a:r>
          </a:p>
          <a:p>
            <a:pPr marL="0" indent="0">
              <a:lnSpc>
                <a:spcPts val="1520"/>
              </a:lnSpc>
              <a:spcAft>
                <a:spcPts val="300"/>
              </a:spcAft>
              <a:buClr>
                <a:srgbClr val="6FC2B4"/>
              </a:buClr>
              <a:buNone/>
              <a:defRPr/>
            </a:pPr>
            <a:r>
              <a:rPr lang="en" sz="1050" dirty="0">
                <a:solidFill>
                  <a:srgbClr val="000000"/>
                </a:solidFill>
                <a:latin typeface="Open Sans"/>
                <a:ea typeface="Open Sans"/>
                <a:cs typeface="Open Sans"/>
              </a:rPr>
              <a:t>Depending on the scope of work, our experienced research team will select a range of methods </a:t>
            </a:r>
            <a:br>
              <a:rPr lang="en" sz="1050">
                <a:solidFill>
                  <a:srgbClr val="000000"/>
                </a:solidFill>
                <a:latin typeface="Open Sans"/>
                <a:ea typeface="Open Sans"/>
                <a:cs typeface="Open Sans"/>
              </a:rPr>
            </a:br>
            <a:r>
              <a:rPr lang="en" sz="1050" dirty="0">
                <a:solidFill>
                  <a:srgbClr val="000000"/>
                </a:solidFill>
                <a:latin typeface="Open Sans"/>
                <a:ea typeface="Open Sans"/>
                <a:cs typeface="Open Sans"/>
              </a:rPr>
              <a:t>(</a:t>
            </a:r>
            <a:r>
              <a:rPr lang="en" sz="1050">
                <a:solidFill>
                  <a:srgbClr val="000000"/>
                </a:solidFill>
                <a:latin typeface="Open Sans"/>
                <a:ea typeface="Open Sans"/>
                <a:cs typeface="Open Sans"/>
              </a:rPr>
              <a:t>e.g.</a:t>
            </a:r>
            <a:r>
              <a:rPr lang="en" sz="1050" dirty="0">
                <a:solidFill>
                  <a:srgbClr val="000000"/>
                </a:solidFill>
                <a:latin typeface="Open Sans"/>
                <a:ea typeface="Open Sans"/>
                <a:cs typeface="Open Sans"/>
              </a:rPr>
              <a:t> </a:t>
            </a:r>
            <a:r>
              <a:rPr lang="en" sz="1050">
                <a:solidFill>
                  <a:srgbClr val="000000"/>
                </a:solidFill>
                <a:latin typeface="Open Sans"/>
                <a:ea typeface="Open Sans"/>
                <a:cs typeface="Open Sans"/>
              </a:rPr>
              <a:t>in-depth user </a:t>
            </a:r>
            <a:r>
              <a:rPr lang="en" sz="1050" dirty="0">
                <a:solidFill>
                  <a:srgbClr val="000000"/>
                </a:solidFill>
                <a:latin typeface="Open Sans"/>
                <a:ea typeface="Open Sans"/>
                <a:cs typeface="Open Sans"/>
              </a:rPr>
              <a:t>interviews, service safari</a:t>
            </a:r>
            <a:r>
              <a:rPr lang="en" sz="1050">
                <a:solidFill>
                  <a:srgbClr val="000000"/>
                </a:solidFill>
                <a:latin typeface="Open Sans"/>
                <a:ea typeface="Open Sans"/>
                <a:cs typeface="Open Sans"/>
              </a:rPr>
              <a:t>, </a:t>
            </a:r>
            <a:r>
              <a:rPr lang="en" sz="1050" dirty="0">
                <a:solidFill>
                  <a:srgbClr val="000000"/>
                </a:solidFill>
                <a:latin typeface="Open Sans"/>
                <a:ea typeface="Open Sans"/>
                <a:cs typeface="Open Sans"/>
              </a:rPr>
              <a:t>diary study, observations</a:t>
            </a:r>
            <a:r>
              <a:rPr lang="en" sz="1050">
                <a:solidFill>
                  <a:srgbClr val="000000"/>
                </a:solidFill>
                <a:latin typeface="Open Sans"/>
                <a:ea typeface="Open Sans"/>
                <a:cs typeface="Open Sans"/>
              </a:rPr>
              <a:t>, focus </a:t>
            </a:r>
            <a:r>
              <a:rPr lang="en" sz="1050" dirty="0">
                <a:solidFill>
                  <a:srgbClr val="000000"/>
                </a:solidFill>
                <a:latin typeface="Open Sans"/>
                <a:ea typeface="Open Sans"/>
                <a:cs typeface="Open Sans"/>
              </a:rPr>
              <a:t>groups) to </a:t>
            </a:r>
            <a:r>
              <a:rPr lang="en" sz="1050">
                <a:solidFill>
                  <a:srgbClr val="000000"/>
                </a:solidFill>
                <a:latin typeface="Open Sans"/>
                <a:ea typeface="Open Sans"/>
                <a:cs typeface="Open Sans"/>
              </a:rPr>
              <a:t>gather insights </a:t>
            </a:r>
            <a:r>
              <a:rPr lang="en" sz="1050" dirty="0">
                <a:solidFill>
                  <a:srgbClr val="000000"/>
                </a:solidFill>
                <a:latin typeface="Open Sans"/>
                <a:ea typeface="Open Sans"/>
                <a:cs typeface="Open Sans"/>
              </a:rPr>
              <a:t>and</a:t>
            </a:r>
            <a:r>
              <a:rPr lang="en" sz="1050">
                <a:solidFill>
                  <a:srgbClr val="000000"/>
                </a:solidFill>
                <a:latin typeface="Open Sans"/>
                <a:ea typeface="Open Sans"/>
                <a:cs typeface="Open Sans"/>
              </a:rPr>
              <a:t>,</a:t>
            </a:r>
            <a:r>
              <a:rPr lang="en" sz="1050" dirty="0">
                <a:solidFill>
                  <a:srgbClr val="000000"/>
                </a:solidFill>
                <a:latin typeface="Open Sans"/>
                <a:ea typeface="Open Sans"/>
                <a:cs typeface="Open Sans"/>
              </a:rPr>
              <a:t> if necessary train </a:t>
            </a:r>
            <a:r>
              <a:rPr lang="hu-HU" sz="1050" dirty="0">
                <a:solidFill>
                  <a:srgbClr val="000000"/>
                </a:solidFill>
                <a:latin typeface="Open Sans"/>
                <a:ea typeface="Open Sans"/>
                <a:cs typeface="Open Sans"/>
              </a:rPr>
              <a:t>UNICEF</a:t>
            </a:r>
            <a:r>
              <a:rPr lang="en" sz="1050" dirty="0">
                <a:solidFill>
                  <a:srgbClr val="000000"/>
                </a:solidFill>
                <a:latin typeface="Open Sans"/>
                <a:ea typeface="Open Sans"/>
                <a:cs typeface="Open Sans"/>
              </a:rPr>
              <a:t> </a:t>
            </a:r>
            <a:r>
              <a:rPr lang="en" sz="1050">
                <a:solidFill>
                  <a:srgbClr val="000000"/>
                </a:solidFill>
                <a:latin typeface="Open Sans"/>
                <a:ea typeface="Open Sans"/>
                <a:cs typeface="Open Sans"/>
              </a:rPr>
              <a:t>team members on</a:t>
            </a:r>
            <a:r>
              <a:rPr lang="en" sz="1050" dirty="0">
                <a:solidFill>
                  <a:srgbClr val="000000"/>
                </a:solidFill>
                <a:latin typeface="Open Sans"/>
                <a:ea typeface="Open Sans"/>
                <a:cs typeface="Open Sans"/>
              </a:rPr>
              <a:t> conducing interviews.</a:t>
            </a:r>
            <a:r>
              <a:rPr lang="en" sz="1050">
                <a:solidFill>
                  <a:srgbClr val="000000"/>
                </a:solidFill>
                <a:latin typeface="Open Sans"/>
                <a:ea typeface="Open Sans"/>
                <a:cs typeface="Open Sans"/>
              </a:rPr>
              <a:t> </a:t>
            </a:r>
            <a:r>
              <a:rPr lang="en" sz="1050" dirty="0">
                <a:solidFill>
                  <a:srgbClr val="000000"/>
                </a:solidFill>
                <a:latin typeface="Open Sans"/>
                <a:ea typeface="Open Sans"/>
                <a:cs typeface="Open Sans"/>
              </a:rPr>
              <a:t>The scope of </a:t>
            </a:r>
            <a:r>
              <a:rPr lang="en" sz="1050">
                <a:solidFill>
                  <a:srgbClr val="000000"/>
                </a:solidFill>
                <a:latin typeface="Open Sans"/>
                <a:ea typeface="Open Sans"/>
                <a:cs typeface="Open Sans"/>
              </a:rPr>
              <a:t>work </a:t>
            </a:r>
            <a:r>
              <a:rPr lang="en" sz="1050" dirty="0">
                <a:solidFill>
                  <a:srgbClr val="000000"/>
                </a:solidFill>
                <a:latin typeface="Open Sans"/>
                <a:ea typeface="Open Sans"/>
                <a:cs typeface="Open Sans"/>
              </a:rPr>
              <a:t>covers: </a:t>
            </a:r>
          </a:p>
          <a:p>
            <a:pPr marL="228600" lvl="2" defTabSz="1219170">
              <a:lnSpc>
                <a:spcPct val="120000"/>
              </a:lnSpc>
              <a:spcBef>
                <a:spcPts val="0"/>
              </a:spcBef>
              <a:spcAft>
                <a:spcPts val="300"/>
              </a:spcAft>
              <a:buClrTx/>
              <a:buSzTx/>
              <a:defRPr/>
            </a:pPr>
            <a:r>
              <a:rPr lang="en-US" sz="1050" dirty="0">
                <a:solidFill>
                  <a:srgbClr val="000000"/>
                </a:solidFill>
                <a:latin typeface="Open Sans"/>
                <a:ea typeface="Open Sans"/>
                <a:cs typeface="Open Sans"/>
              </a:rPr>
              <a:t>Definition of the recruitment criteria of research participants and preparation of research scenario with questions</a:t>
            </a:r>
          </a:p>
          <a:p>
            <a:pPr marL="228600" lvl="2" defTabSz="1219170">
              <a:lnSpc>
                <a:spcPct val="120000"/>
              </a:lnSpc>
              <a:spcBef>
                <a:spcPts val="0"/>
              </a:spcBef>
              <a:spcAft>
                <a:spcPts val="300"/>
              </a:spcAft>
              <a:buClrTx/>
              <a:buSzTx/>
              <a:defRPr/>
            </a:pPr>
            <a:r>
              <a:rPr lang="en-US" sz="1050" dirty="0">
                <a:solidFill>
                  <a:srgbClr val="000000"/>
                </a:solidFill>
                <a:latin typeface="Open Sans"/>
                <a:ea typeface="Open Sans"/>
                <a:cs typeface="Open Sans"/>
              </a:rPr>
              <a:t>Training and briefing of research moderators (Optional)*</a:t>
            </a:r>
          </a:p>
          <a:p>
            <a:pPr marL="228600" lvl="2" defTabSz="1219170">
              <a:lnSpc>
                <a:spcPct val="120000"/>
              </a:lnSpc>
              <a:spcBef>
                <a:spcPts val="0"/>
              </a:spcBef>
              <a:spcAft>
                <a:spcPts val="300"/>
              </a:spcAft>
              <a:buClrTx/>
              <a:buSzTx/>
              <a:defRPr/>
            </a:pPr>
            <a:r>
              <a:rPr lang="en-US" sz="1050" dirty="0">
                <a:solidFill>
                  <a:srgbClr val="000000"/>
                </a:solidFill>
                <a:latin typeface="Open Sans"/>
                <a:ea typeface="Open Sans"/>
                <a:cs typeface="Open Sans"/>
              </a:rPr>
              <a:t>Advisory or conducting individual in-depth interviews via remote tools</a:t>
            </a:r>
            <a:r>
              <a:rPr lang="en-US" sz="1050">
                <a:solidFill>
                  <a:srgbClr val="000000"/>
                </a:solidFill>
                <a:latin typeface="Open Sans"/>
                <a:ea typeface="Open Sans"/>
                <a:cs typeface="Open Sans"/>
              </a:rPr>
              <a:t> </a:t>
            </a:r>
            <a:r>
              <a:rPr lang="en-US" sz="1050" dirty="0">
                <a:solidFill>
                  <a:srgbClr val="000000"/>
                </a:solidFill>
                <a:latin typeface="Open Sans"/>
                <a:ea typeface="Open Sans"/>
                <a:cs typeface="Open Sans"/>
              </a:rPr>
              <a:t>or on-site </a:t>
            </a:r>
          </a:p>
          <a:p>
            <a:pPr marL="228600" lvl="2" defTabSz="1219170">
              <a:lnSpc>
                <a:spcPct val="120000"/>
              </a:lnSpc>
              <a:spcBef>
                <a:spcPts val="0"/>
              </a:spcBef>
              <a:spcAft>
                <a:spcPts val="300"/>
              </a:spcAft>
              <a:buClrTx/>
              <a:buSzTx/>
              <a:defRPr/>
            </a:pPr>
            <a:r>
              <a:rPr lang="en-US" sz="1050" dirty="0">
                <a:solidFill>
                  <a:srgbClr val="000000"/>
                </a:solidFill>
                <a:latin typeface="Open Sans"/>
                <a:ea typeface="Open Sans"/>
                <a:cs typeface="Open Sans"/>
              </a:rPr>
              <a:t>Analysis of key research insights and preparation of the summary of findings</a:t>
            </a:r>
          </a:p>
          <a:p>
            <a:pPr marL="0" indent="0">
              <a:lnSpc>
                <a:spcPts val="1520"/>
              </a:lnSpc>
              <a:spcAft>
                <a:spcPts val="300"/>
              </a:spcAft>
              <a:buClr>
                <a:srgbClr val="6FC2B4"/>
              </a:buClr>
              <a:buNone/>
              <a:defRPr/>
            </a:pPr>
            <a:r>
              <a:rPr lang="en" sz="1050" dirty="0">
                <a:solidFill>
                  <a:srgbClr val="000000"/>
                </a:solidFill>
                <a:latin typeface="Open Sans"/>
                <a:ea typeface="Open Sans"/>
                <a:cs typeface="Open Sans"/>
              </a:rPr>
              <a:t>.</a:t>
            </a:r>
          </a:p>
          <a:p>
            <a:pPr marL="0" indent="0">
              <a:lnSpc>
                <a:spcPts val="1520"/>
              </a:lnSpc>
              <a:spcAft>
                <a:spcPts val="300"/>
              </a:spcAft>
              <a:buNone/>
              <a:defRPr/>
            </a:pPr>
            <a:endParaRPr lang="pl-PL" sz="1050" dirty="0"/>
          </a:p>
        </p:txBody>
      </p:sp>
      <p:sp>
        <p:nvSpPr>
          <p:cNvPr id="53" name="Rectangle 52">
            <a:extLst>
              <a:ext uri="{FF2B5EF4-FFF2-40B4-BE49-F238E27FC236}">
                <a16:creationId xmlns:a16="http://schemas.microsoft.com/office/drawing/2014/main" id="{7D834138-5556-B814-479D-E8C724212E89}"/>
              </a:ext>
            </a:extLst>
          </p:cNvPr>
          <p:cNvSpPr/>
          <p:nvPr/>
        </p:nvSpPr>
        <p:spPr>
          <a:xfrm>
            <a:off x="941877" y="1871473"/>
            <a:ext cx="2531825"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 sz="1200" b="0" i="0" u="none" strike="noStrike" kern="1200" cap="none" spc="300" normalizeH="0" baseline="0" noProof="0">
                <a:ln>
                  <a:noFill/>
                </a:ln>
                <a:solidFill>
                  <a:prstClr val="black"/>
                </a:solidFill>
                <a:effectLst/>
                <a:uLnTx/>
                <a:uFillTx/>
                <a:latin typeface="Open Sans"/>
                <a:ea typeface="Open Sans Semibold" panose="020B0606030504020204" pitchFamily="34" charset="0"/>
                <a:cs typeface="Open Sans Semibold" panose="020B0606030504020204" pitchFamily="34" charset="0"/>
              </a:rPr>
              <a:t>SCOPE</a:t>
            </a:r>
            <a:endParaRPr kumimoji="0" lang="pl-PL" sz="1200" b="0" i="0" u="none" strike="noStrike" kern="1200" cap="none" spc="300" normalizeH="0" baseline="0" noProof="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endParaRPr>
          </a:p>
        </p:txBody>
      </p:sp>
      <p:sp>
        <p:nvSpPr>
          <p:cNvPr id="54" name="Freeform 723">
            <a:extLst>
              <a:ext uri="{FF2B5EF4-FFF2-40B4-BE49-F238E27FC236}">
                <a16:creationId xmlns:a16="http://schemas.microsoft.com/office/drawing/2014/main" id="{ED0221C0-106E-0AD4-53A3-F07E544DB8A1}"/>
              </a:ext>
            </a:extLst>
          </p:cNvPr>
          <p:cNvSpPr>
            <a:spLocks noChangeAspect="1" noEditPoints="1"/>
          </p:cNvSpPr>
          <p:nvPr/>
        </p:nvSpPr>
        <p:spPr bwMode="auto">
          <a:xfrm>
            <a:off x="475008" y="1811346"/>
            <a:ext cx="304920" cy="30492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C7F0F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5" name="Rounded Rectangle 236">
            <a:extLst>
              <a:ext uri="{FF2B5EF4-FFF2-40B4-BE49-F238E27FC236}">
                <a16:creationId xmlns:a16="http://schemas.microsoft.com/office/drawing/2014/main" id="{01C91862-FAE2-5B77-D918-4ED6F7E01340}"/>
              </a:ext>
            </a:extLst>
          </p:cNvPr>
          <p:cNvSpPr/>
          <p:nvPr/>
        </p:nvSpPr>
        <p:spPr bwMode="gray">
          <a:xfrm>
            <a:off x="475008" y="2200343"/>
            <a:ext cx="3314818" cy="54095"/>
          </a:xfrm>
          <a:prstGeom prst="roundRect">
            <a:avLst>
              <a:gd name="adj" fmla="val 50000"/>
            </a:avLst>
          </a:prstGeom>
          <a:solidFill>
            <a:srgbClr val="C7F0F3"/>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pl-PL" sz="1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56" name="Rectangle 55">
            <a:extLst>
              <a:ext uri="{FF2B5EF4-FFF2-40B4-BE49-F238E27FC236}">
                <a16:creationId xmlns:a16="http://schemas.microsoft.com/office/drawing/2014/main" id="{73D73761-E791-EBF9-C29C-A8F24F4BC5F5}"/>
              </a:ext>
            </a:extLst>
          </p:cNvPr>
          <p:cNvSpPr/>
          <p:nvPr/>
        </p:nvSpPr>
        <p:spPr>
          <a:xfrm>
            <a:off x="4708008" y="1871473"/>
            <a:ext cx="1985196"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 sz="1200" b="0" i="0" u="none" strike="noStrike" kern="1200" cap="none" spc="300" normalizeH="0" baseline="0" noProof="0">
                <a:ln>
                  <a:noFill/>
                </a:ln>
                <a:solidFill>
                  <a:prstClr val="black"/>
                </a:solidFill>
                <a:effectLst/>
                <a:uLnTx/>
                <a:uFillTx/>
                <a:latin typeface="Open Sans"/>
                <a:ea typeface="Open Sans Semibold" panose="020B0606030504020204" pitchFamily="34" charset="0"/>
                <a:cs typeface="Open Sans Semibold" panose="020B0606030504020204" pitchFamily="34" charset="0"/>
              </a:rPr>
              <a:t>WORK PRODUCTS</a:t>
            </a:r>
            <a:endParaRPr kumimoji="0" lang="pl-PL" sz="1200" b="0" i="0" u="none" strike="noStrike" kern="1200" cap="none" spc="300" normalizeH="0" baseline="0" noProof="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endParaRPr>
          </a:p>
        </p:txBody>
      </p:sp>
      <p:sp>
        <p:nvSpPr>
          <p:cNvPr id="57" name="Freeform 768">
            <a:extLst>
              <a:ext uri="{FF2B5EF4-FFF2-40B4-BE49-F238E27FC236}">
                <a16:creationId xmlns:a16="http://schemas.microsoft.com/office/drawing/2014/main" id="{1A746AE5-4BF7-0B1D-6106-AE5135DA8AB3}"/>
              </a:ext>
            </a:extLst>
          </p:cNvPr>
          <p:cNvSpPr>
            <a:spLocks noChangeAspect="1" noEditPoints="1"/>
          </p:cNvSpPr>
          <p:nvPr/>
        </p:nvSpPr>
        <p:spPr bwMode="auto">
          <a:xfrm>
            <a:off x="4286604" y="1811346"/>
            <a:ext cx="304920" cy="30492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rgbClr val="C7F0F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8" name="Rounded Rectangle 236">
            <a:extLst>
              <a:ext uri="{FF2B5EF4-FFF2-40B4-BE49-F238E27FC236}">
                <a16:creationId xmlns:a16="http://schemas.microsoft.com/office/drawing/2014/main" id="{7F2A3541-DEB7-6953-C22D-B51EEE375B8D}"/>
              </a:ext>
            </a:extLst>
          </p:cNvPr>
          <p:cNvSpPr/>
          <p:nvPr/>
        </p:nvSpPr>
        <p:spPr bwMode="gray">
          <a:xfrm>
            <a:off x="4241138" y="2200343"/>
            <a:ext cx="3314818" cy="54095"/>
          </a:xfrm>
          <a:prstGeom prst="roundRect">
            <a:avLst>
              <a:gd name="adj" fmla="val 50000"/>
            </a:avLst>
          </a:prstGeom>
          <a:solidFill>
            <a:srgbClr val="C7F0F3"/>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pl-PL" sz="1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59" name="Rectangle 58">
            <a:extLst>
              <a:ext uri="{FF2B5EF4-FFF2-40B4-BE49-F238E27FC236}">
                <a16:creationId xmlns:a16="http://schemas.microsoft.com/office/drawing/2014/main" id="{08E74109-0B72-31F6-674D-79DCB3D76036}"/>
              </a:ext>
            </a:extLst>
          </p:cNvPr>
          <p:cNvSpPr/>
          <p:nvPr/>
        </p:nvSpPr>
        <p:spPr>
          <a:xfrm>
            <a:off x="8432252" y="1871473"/>
            <a:ext cx="2562849"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 sz="1200" spc="300" dirty="0">
                <a:solidFill>
                  <a:prstClr val="black"/>
                </a:solidFill>
                <a:latin typeface="Open Sans"/>
                <a:ea typeface="Open Sans Semibold" panose="020B0606030504020204" pitchFamily="34" charset="0"/>
                <a:cs typeface="Open Sans Semibold" panose="020B0606030504020204" pitchFamily="34" charset="0"/>
              </a:rPr>
              <a:t>CLIENT ENGAGEMENT</a:t>
            </a:r>
            <a:endParaRPr kumimoji="0" lang="pl-PL" sz="1200" b="0" i="0" u="none" strike="noStrike" kern="1200" cap="none" spc="300" normalizeH="0" baseline="0" noProof="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endParaRPr>
          </a:p>
        </p:txBody>
      </p:sp>
      <p:sp>
        <p:nvSpPr>
          <p:cNvPr id="60" name="Freeform 772">
            <a:extLst>
              <a:ext uri="{FF2B5EF4-FFF2-40B4-BE49-F238E27FC236}">
                <a16:creationId xmlns:a16="http://schemas.microsoft.com/office/drawing/2014/main" id="{8BA8EE43-B384-41F1-CBB9-4AED22C36DC5}"/>
              </a:ext>
            </a:extLst>
          </p:cNvPr>
          <p:cNvSpPr>
            <a:spLocks noChangeAspect="1" noEditPoints="1"/>
          </p:cNvSpPr>
          <p:nvPr/>
        </p:nvSpPr>
        <p:spPr bwMode="auto">
          <a:xfrm>
            <a:off x="8010849" y="1811346"/>
            <a:ext cx="304920" cy="304920"/>
          </a:xfrm>
          <a:custGeom>
            <a:avLst/>
            <a:gdLst>
              <a:gd name="T0" fmla="*/ 256 w 512"/>
              <a:gd name="T1" fmla="*/ 138 h 512"/>
              <a:gd name="T2" fmla="*/ 208 w 512"/>
              <a:gd name="T3" fmla="*/ 186 h 512"/>
              <a:gd name="T4" fmla="*/ 256 w 512"/>
              <a:gd name="T5" fmla="*/ 234 h 512"/>
              <a:gd name="T6" fmla="*/ 304 w 512"/>
              <a:gd name="T7" fmla="*/ 186 h 512"/>
              <a:gd name="T8" fmla="*/ 256 w 512"/>
              <a:gd name="T9" fmla="*/ 138 h 512"/>
              <a:gd name="T10" fmla="*/ 256 w 512"/>
              <a:gd name="T11" fmla="*/ 176 h 512"/>
              <a:gd name="T12" fmla="*/ 245 w 512"/>
              <a:gd name="T13" fmla="*/ 186 h 512"/>
              <a:gd name="T14" fmla="*/ 234 w 512"/>
              <a:gd name="T15" fmla="*/ 197 h 512"/>
              <a:gd name="T16" fmla="*/ 224 w 512"/>
              <a:gd name="T17" fmla="*/ 186 h 512"/>
              <a:gd name="T18" fmla="*/ 256 w 512"/>
              <a:gd name="T19" fmla="*/ 154 h 512"/>
              <a:gd name="T20" fmla="*/ 266 w 512"/>
              <a:gd name="T21" fmla="*/ 165 h 512"/>
              <a:gd name="T22" fmla="*/ 256 w 512"/>
              <a:gd name="T23" fmla="*/ 176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266 w 512"/>
              <a:gd name="T35" fmla="*/ 255 h 512"/>
              <a:gd name="T36" fmla="*/ 266 w 512"/>
              <a:gd name="T37" fmla="*/ 384 h 512"/>
              <a:gd name="T38" fmla="*/ 256 w 512"/>
              <a:gd name="T39" fmla="*/ 394 h 512"/>
              <a:gd name="T40" fmla="*/ 245 w 512"/>
              <a:gd name="T41" fmla="*/ 384 h 512"/>
              <a:gd name="T42" fmla="*/ 245 w 512"/>
              <a:gd name="T43" fmla="*/ 255 h 512"/>
              <a:gd name="T44" fmla="*/ 186 w 512"/>
              <a:gd name="T45" fmla="*/ 186 h 512"/>
              <a:gd name="T46" fmla="*/ 256 w 512"/>
              <a:gd name="T47" fmla="*/ 117 h 512"/>
              <a:gd name="T48" fmla="*/ 325 w 512"/>
              <a:gd name="T49" fmla="*/ 186 h 512"/>
              <a:gd name="T50" fmla="*/ 266 w 512"/>
              <a:gd name="T51"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138"/>
                </a:moveTo>
                <a:cubicBezTo>
                  <a:pt x="229" y="138"/>
                  <a:pt x="208" y="160"/>
                  <a:pt x="208" y="186"/>
                </a:cubicBezTo>
                <a:cubicBezTo>
                  <a:pt x="208" y="213"/>
                  <a:pt x="229" y="234"/>
                  <a:pt x="256" y="234"/>
                </a:cubicBezTo>
                <a:cubicBezTo>
                  <a:pt x="282" y="234"/>
                  <a:pt x="304" y="213"/>
                  <a:pt x="304" y="186"/>
                </a:cubicBezTo>
                <a:cubicBezTo>
                  <a:pt x="304" y="160"/>
                  <a:pt x="282" y="138"/>
                  <a:pt x="256" y="138"/>
                </a:cubicBezTo>
                <a:close/>
                <a:moveTo>
                  <a:pt x="256" y="176"/>
                </a:moveTo>
                <a:cubicBezTo>
                  <a:pt x="250" y="176"/>
                  <a:pt x="245" y="180"/>
                  <a:pt x="245" y="186"/>
                </a:cubicBezTo>
                <a:cubicBezTo>
                  <a:pt x="245" y="192"/>
                  <a:pt x="240" y="197"/>
                  <a:pt x="234" y="197"/>
                </a:cubicBezTo>
                <a:cubicBezTo>
                  <a:pt x="228" y="197"/>
                  <a:pt x="224" y="192"/>
                  <a:pt x="224" y="186"/>
                </a:cubicBezTo>
                <a:cubicBezTo>
                  <a:pt x="224" y="169"/>
                  <a:pt x="238" y="154"/>
                  <a:pt x="256" y="154"/>
                </a:cubicBezTo>
                <a:cubicBezTo>
                  <a:pt x="262" y="154"/>
                  <a:pt x="266" y="159"/>
                  <a:pt x="266" y="165"/>
                </a:cubicBezTo>
                <a:cubicBezTo>
                  <a:pt x="266" y="171"/>
                  <a:pt x="262" y="176"/>
                  <a:pt x="256" y="17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255"/>
                </a:moveTo>
                <a:cubicBezTo>
                  <a:pt x="266" y="384"/>
                  <a:pt x="266" y="384"/>
                  <a:pt x="266" y="384"/>
                </a:cubicBezTo>
                <a:cubicBezTo>
                  <a:pt x="266" y="390"/>
                  <a:pt x="262" y="394"/>
                  <a:pt x="256" y="394"/>
                </a:cubicBezTo>
                <a:cubicBezTo>
                  <a:pt x="250" y="394"/>
                  <a:pt x="245" y="390"/>
                  <a:pt x="245" y="384"/>
                </a:cubicBezTo>
                <a:cubicBezTo>
                  <a:pt x="245" y="255"/>
                  <a:pt x="245" y="255"/>
                  <a:pt x="245" y="255"/>
                </a:cubicBezTo>
                <a:cubicBezTo>
                  <a:pt x="212" y="250"/>
                  <a:pt x="186" y="221"/>
                  <a:pt x="186" y="186"/>
                </a:cubicBezTo>
                <a:cubicBezTo>
                  <a:pt x="186" y="148"/>
                  <a:pt x="217" y="117"/>
                  <a:pt x="256" y="117"/>
                </a:cubicBezTo>
                <a:cubicBezTo>
                  <a:pt x="294" y="117"/>
                  <a:pt x="325" y="148"/>
                  <a:pt x="325" y="186"/>
                </a:cubicBezTo>
                <a:cubicBezTo>
                  <a:pt x="325" y="221"/>
                  <a:pt x="300" y="250"/>
                  <a:pt x="266" y="255"/>
                </a:cubicBezTo>
                <a:close/>
              </a:path>
            </a:pathLst>
          </a:custGeom>
          <a:solidFill>
            <a:srgbClr val="C7F0F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1" name="Rounded Rectangle 236">
            <a:extLst>
              <a:ext uri="{FF2B5EF4-FFF2-40B4-BE49-F238E27FC236}">
                <a16:creationId xmlns:a16="http://schemas.microsoft.com/office/drawing/2014/main" id="{55825313-84EC-632F-1300-ED8738D528B3}"/>
              </a:ext>
            </a:extLst>
          </p:cNvPr>
          <p:cNvSpPr/>
          <p:nvPr/>
        </p:nvSpPr>
        <p:spPr bwMode="gray">
          <a:xfrm>
            <a:off x="7965383" y="2200343"/>
            <a:ext cx="3314818" cy="54095"/>
          </a:xfrm>
          <a:prstGeom prst="roundRect">
            <a:avLst>
              <a:gd name="adj" fmla="val 50000"/>
            </a:avLst>
          </a:prstGeom>
          <a:solidFill>
            <a:srgbClr val="C7F0F3"/>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pl-PL" sz="1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62" name="Rectangle 61">
            <a:extLst>
              <a:ext uri="{FF2B5EF4-FFF2-40B4-BE49-F238E27FC236}">
                <a16:creationId xmlns:a16="http://schemas.microsoft.com/office/drawing/2014/main" id="{15E2C115-2BE8-996F-FB40-3358B68036D0}"/>
              </a:ext>
            </a:extLst>
          </p:cNvPr>
          <p:cNvSpPr/>
          <p:nvPr/>
        </p:nvSpPr>
        <p:spPr>
          <a:xfrm>
            <a:off x="4883955" y="4228932"/>
            <a:ext cx="2847948"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 sz="1200" b="0" i="0" u="none" strike="noStrike" kern="1200" cap="none" spc="300" normalizeH="0" baseline="0" noProof="0">
                <a:ln>
                  <a:noFill/>
                </a:ln>
                <a:solidFill>
                  <a:prstClr val="black"/>
                </a:solidFill>
                <a:effectLst/>
                <a:uLnTx/>
                <a:uFillTx/>
                <a:latin typeface="Open Sans"/>
                <a:ea typeface="Open Sans Semibold" panose="020B0606030504020204" pitchFamily="34" charset="0"/>
                <a:cs typeface="Open Sans Semibold" panose="020B0606030504020204" pitchFamily="34" charset="0"/>
              </a:rPr>
              <a:t>SAMPLE PRODUCTS</a:t>
            </a:r>
            <a:endParaRPr kumimoji="0" lang="pl-PL" sz="1200" b="0" i="0" u="none" strike="noStrike" kern="1200" cap="none" spc="300" normalizeH="0" baseline="0" noProof="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endParaRPr>
          </a:p>
        </p:txBody>
      </p:sp>
      <p:sp>
        <p:nvSpPr>
          <p:cNvPr id="63" name="Freeform 240">
            <a:extLst>
              <a:ext uri="{FF2B5EF4-FFF2-40B4-BE49-F238E27FC236}">
                <a16:creationId xmlns:a16="http://schemas.microsoft.com/office/drawing/2014/main" id="{6E8A1309-A60C-C6FF-833B-0CAFAF559C2D}"/>
              </a:ext>
            </a:extLst>
          </p:cNvPr>
          <p:cNvSpPr>
            <a:spLocks noChangeAspect="1" noEditPoints="1"/>
          </p:cNvSpPr>
          <p:nvPr/>
        </p:nvSpPr>
        <p:spPr bwMode="auto">
          <a:xfrm>
            <a:off x="4462551" y="4168805"/>
            <a:ext cx="304920" cy="30492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rgbClr val="C7F0F3"/>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6" name="Rounded Rectangle 236">
            <a:extLst>
              <a:ext uri="{FF2B5EF4-FFF2-40B4-BE49-F238E27FC236}">
                <a16:creationId xmlns:a16="http://schemas.microsoft.com/office/drawing/2014/main" id="{9F385B94-5E4E-AA92-A864-FF92AA8BDAF3}"/>
              </a:ext>
            </a:extLst>
          </p:cNvPr>
          <p:cNvSpPr/>
          <p:nvPr/>
        </p:nvSpPr>
        <p:spPr bwMode="gray">
          <a:xfrm>
            <a:off x="4426863" y="4557802"/>
            <a:ext cx="6732000" cy="54095"/>
          </a:xfrm>
          <a:prstGeom prst="roundRect">
            <a:avLst>
              <a:gd name="adj" fmla="val 50000"/>
            </a:avLst>
          </a:prstGeom>
          <a:solidFill>
            <a:srgbClr val="C7F0F3"/>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pl-PL" sz="1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67" name="Text Placeholder 2">
            <a:extLst>
              <a:ext uri="{FF2B5EF4-FFF2-40B4-BE49-F238E27FC236}">
                <a16:creationId xmlns:a16="http://schemas.microsoft.com/office/drawing/2014/main" id="{E7B028BC-BB09-DD6B-075B-0475616BFDAE}"/>
              </a:ext>
            </a:extLst>
          </p:cNvPr>
          <p:cNvSpPr txBox="1">
            <a:spLocks/>
          </p:cNvSpPr>
          <p:nvPr/>
        </p:nvSpPr>
        <p:spPr>
          <a:xfrm>
            <a:off x="4241138" y="2338515"/>
            <a:ext cx="3314818" cy="1665835"/>
          </a:xfrm>
          <a:prstGeom prst="rect">
            <a:avLst/>
          </a:prstGeom>
        </p:spPr>
        <p:txBody>
          <a:bodyPr lIns="0" tIns="0" rIns="72000" bIns="0" anchor="t"/>
          <a:lstStyle>
            <a:defPPr>
              <a:defRPr lang="en-US"/>
            </a:defPPr>
            <a:lvl1pPr marL="228600" indent="-228600" defTabSz="1219170">
              <a:lnSpc>
                <a:spcPct val="120000"/>
              </a:lnSpc>
              <a:spcBef>
                <a:spcPts val="0"/>
              </a:spcBef>
              <a:spcAft>
                <a:spcPts val="300"/>
              </a:spcAft>
              <a:buClrTx/>
              <a:buSzTx/>
              <a:buFont typeface="Arial" panose="020B0604020202020204" pitchFamily="34" charset="0"/>
              <a:buChar char="•"/>
              <a:defRPr sz="1100" spc="0">
                <a:solidFill>
                  <a:srgbClr val="000000"/>
                </a:solidFill>
                <a:latin typeface="Open Sans"/>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buNone/>
              <a:defRPr/>
            </a:pPr>
            <a:r>
              <a:rPr kumimoji="0" lang="en" sz="1050" b="1" i="0" u="none" strike="noStrike" kern="1200" cap="none" spc="0" normalizeH="0" baseline="0" noProof="0" dirty="0">
                <a:ln>
                  <a:noFill/>
                </a:ln>
                <a:solidFill>
                  <a:srgbClr val="000000"/>
                </a:solidFill>
                <a:effectLst/>
                <a:uLnTx/>
                <a:uFillTx/>
                <a:latin typeface="Open Sans"/>
                <a:ea typeface="+mn-ea"/>
                <a:cs typeface="Open Sans"/>
              </a:rPr>
              <a:t>Customer Voice Report </a:t>
            </a:r>
            <a:br>
              <a:rPr kumimoji="0" lang="pl-PL" sz="1050" b="0" i="0" u="none" strike="noStrike" kern="1200" cap="none" spc="0" normalizeH="0" baseline="0" noProof="0" dirty="0">
                <a:ln>
                  <a:noFill/>
                </a:ln>
                <a:solidFill>
                  <a:srgbClr val="000000"/>
                </a:solidFill>
                <a:effectLst/>
                <a:uLnTx/>
                <a:uFillTx/>
                <a:latin typeface="Open Sans"/>
                <a:ea typeface="+mn-ea"/>
                <a:cs typeface="Open Sans"/>
              </a:rPr>
            </a:br>
            <a:r>
              <a:rPr kumimoji="0" lang="en" sz="1050" b="0" i="0" u="none" strike="noStrike" kern="1200" cap="none" spc="0" normalizeH="0" baseline="0" noProof="0" dirty="0">
                <a:ln>
                  <a:noFill/>
                </a:ln>
                <a:solidFill>
                  <a:srgbClr val="000000"/>
                </a:solidFill>
                <a:effectLst/>
                <a:uLnTx/>
                <a:uFillTx/>
                <a:latin typeface="Open Sans"/>
                <a:ea typeface="+mn-ea"/>
                <a:cs typeface="Open Sans"/>
              </a:rPr>
              <a:t>– Key Findings from </a:t>
            </a:r>
            <a:r>
              <a:rPr lang="en" sz="1050" dirty="0">
                <a:cs typeface="Open Sans"/>
              </a:rPr>
              <a:t>In-depth User Research</a:t>
            </a:r>
            <a:r>
              <a:rPr kumimoji="0" lang="en" sz="1050" b="0" i="0" u="none" strike="noStrike" kern="1200" cap="none" spc="0" normalizeH="0" baseline="0" noProof="0" dirty="0">
                <a:ln>
                  <a:noFill/>
                </a:ln>
                <a:solidFill>
                  <a:srgbClr val="000000"/>
                </a:solidFill>
                <a:effectLst/>
                <a:uLnTx/>
                <a:uFillTx/>
                <a:latin typeface="Open Sans"/>
                <a:ea typeface="+mn-ea"/>
                <a:cs typeface="Open Sans"/>
              </a:rPr>
              <a:t> (PPTX). The report will include an analysis of customers' current experiences, their needs, motivations, pain points, and key moments in the user journey. </a:t>
            </a:r>
          </a:p>
          <a:p>
            <a:pPr marL="179705" indent="-179705">
              <a:lnSpc>
                <a:spcPct val="100000"/>
              </a:lnSpc>
              <a:defRPr/>
            </a:pPr>
            <a:endParaRPr kumimoji="0" lang="pl-PL" sz="1050" b="0" i="0" u="none" strike="noStrike" kern="1200" cap="none" spc="0" normalizeH="0" baseline="0" noProof="0" dirty="0">
              <a:ln>
                <a:noFill/>
              </a:ln>
              <a:solidFill>
                <a:srgbClr val="000000"/>
              </a:solidFill>
              <a:effectLst/>
              <a:uLnTx/>
              <a:uFillTx/>
              <a:latin typeface="Open Sans"/>
              <a:ea typeface="+mn-ea"/>
              <a:cs typeface="Open Sans"/>
            </a:endParaRPr>
          </a:p>
          <a:p>
            <a:pPr marL="179705" indent="-179705">
              <a:lnSpc>
                <a:spcPct val="100000"/>
              </a:lnSpc>
              <a:defRPr/>
            </a:pPr>
            <a:endParaRPr kumimoji="0" lang="pl-PL" sz="105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68" name="Text Placeholder 2">
            <a:extLst>
              <a:ext uri="{FF2B5EF4-FFF2-40B4-BE49-F238E27FC236}">
                <a16:creationId xmlns:a16="http://schemas.microsoft.com/office/drawing/2014/main" id="{F109E11C-67FC-81C1-2DAA-6AEB4E549EA6}"/>
              </a:ext>
            </a:extLst>
          </p:cNvPr>
          <p:cNvSpPr txBox="1">
            <a:spLocks/>
          </p:cNvSpPr>
          <p:nvPr/>
        </p:nvSpPr>
        <p:spPr>
          <a:xfrm>
            <a:off x="7965383" y="2338515"/>
            <a:ext cx="3314818" cy="1665835"/>
          </a:xfrm>
          <a:prstGeom prst="rect">
            <a:avLst/>
          </a:prstGeom>
        </p:spPr>
        <p:txBody>
          <a:bodyPr lIns="0" tIns="0" rIns="72000" bIns="0" anchor="t"/>
          <a:lstStyle>
            <a:defPPr>
              <a:defRPr lang="en-US"/>
            </a:defPPr>
            <a:lvl1pPr marL="228600" indent="-228600" defTabSz="1219170">
              <a:lnSpc>
                <a:spcPct val="120000"/>
              </a:lnSpc>
              <a:spcBef>
                <a:spcPts val="0"/>
              </a:spcBef>
              <a:spcAft>
                <a:spcPts val="300"/>
              </a:spcAft>
              <a:buClrTx/>
              <a:buSzTx/>
              <a:buFont typeface="Arial" panose="020B0604020202020204" pitchFamily="34" charset="0"/>
              <a:buChar char="•"/>
              <a:defRPr sz="1100" spc="0">
                <a:solidFill>
                  <a:srgbClr val="000000"/>
                </a:solidFill>
                <a:latin typeface="Open Sans"/>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indent="-171450">
              <a:spcAft>
                <a:spcPts val="400"/>
              </a:spcAft>
              <a:defRPr/>
            </a:pPr>
            <a:r>
              <a:rPr lang="en" sz="1050" dirty="0">
                <a:cs typeface="Open Sans"/>
              </a:rPr>
              <a:t>Acceptance </a:t>
            </a:r>
            <a:r>
              <a:rPr lang="en" sz="1050" b="1">
                <a:cs typeface="Open Sans"/>
              </a:rPr>
              <a:t>of research scenarios</a:t>
            </a:r>
            <a:endParaRPr lang="pl-PL" sz="1050" b="0" i="0" u="none" strike="noStrike" kern="1200" cap="none" spc="0" normalizeH="0" baseline="0" noProof="0">
              <a:ln>
                <a:noFill/>
              </a:ln>
              <a:effectLst/>
              <a:uLnTx/>
              <a:uFillTx/>
              <a:latin typeface="Open Sans"/>
              <a:ea typeface="Open Sans"/>
            </a:endParaRPr>
          </a:p>
          <a:p>
            <a:pPr marL="171450" indent="-171450">
              <a:spcAft>
                <a:spcPts val="400"/>
              </a:spcAft>
              <a:defRPr/>
            </a:pPr>
            <a:r>
              <a:rPr lang="en" sz="1050" b="1">
                <a:solidFill>
                  <a:schemeClr val="tx1">
                    <a:lumMod val="95000"/>
                    <a:lumOff val="5000"/>
                  </a:schemeClr>
                </a:solidFill>
              </a:rPr>
              <a:t>Recruitment of respondents </a:t>
            </a:r>
            <a:r>
              <a:rPr lang="en" sz="1050" u="none" strike="noStrike" spc="0" baseline="0" dirty="0">
                <a:solidFill>
                  <a:schemeClr val="tx1">
                    <a:lumMod val="95000"/>
                    <a:lumOff val="5000"/>
                  </a:schemeClr>
                </a:solidFill>
                <a:effectLst/>
              </a:rPr>
              <a:t>for IDI interviews from </a:t>
            </a:r>
            <a:r>
              <a:rPr lang="en" sz="1050" dirty="0">
                <a:solidFill>
                  <a:schemeClr val="tx1">
                    <a:lumMod val="95000"/>
                    <a:lumOff val="5000"/>
                  </a:schemeClr>
                </a:solidFill>
              </a:rPr>
              <a:t>UNCEF </a:t>
            </a:r>
            <a:r>
              <a:rPr lang="en" sz="1050" u="none" strike="noStrike" spc="0" baseline="0" dirty="0">
                <a:solidFill>
                  <a:schemeClr val="tx1">
                    <a:lumMod val="95000"/>
                    <a:lumOff val="5000"/>
                  </a:schemeClr>
                </a:solidFill>
                <a:effectLst/>
              </a:rPr>
              <a:t>internal database based on criteria prepared by the Deloitte project team </a:t>
            </a:r>
          </a:p>
          <a:p>
            <a:pPr marL="171450" indent="-171450">
              <a:spcAft>
                <a:spcPts val="400"/>
              </a:spcAft>
              <a:defRPr/>
            </a:pPr>
            <a:r>
              <a:rPr lang="en" sz="1050" b="1" dirty="0">
                <a:ea typeface="Open Sans"/>
                <a:cs typeface="Open Sans"/>
              </a:rPr>
              <a:t>Optional (recommended): </a:t>
            </a:r>
            <a:r>
              <a:rPr lang="en" sz="1050" dirty="0">
                <a:ea typeface="Open Sans"/>
                <a:cs typeface="Open Sans"/>
              </a:rPr>
              <a:t>participation </a:t>
            </a:r>
            <a:br>
              <a:rPr lang="pl-PL" sz="1050" dirty="0">
                <a:ea typeface="Open Sans"/>
                <a:cs typeface="Open Sans"/>
              </a:rPr>
            </a:br>
            <a:r>
              <a:rPr kumimoji="0" lang="en" sz="1050" b="0" i="0" u="none" strike="noStrike" kern="1200" cap="none" spc="0" normalizeH="0" baseline="0" noProof="0" dirty="0">
                <a:ln>
                  <a:noFill/>
                </a:ln>
                <a:effectLst/>
                <a:uLnTx/>
                <a:uFillTx/>
                <a:latin typeface="Open Sans"/>
                <a:ea typeface="Open Sans"/>
                <a:cs typeface="Open Sans"/>
              </a:rPr>
              <a:t>in </a:t>
            </a:r>
            <a:r>
              <a:rPr lang="en" sz="1050" dirty="0">
                <a:ea typeface="Open Sans"/>
                <a:cs typeface="Open Sans"/>
              </a:rPr>
              <a:t>research sessions – IDIs</a:t>
            </a:r>
          </a:p>
          <a:p>
            <a:pPr marL="0" marR="0" lvl="0" indent="0" algn="l" defTabSz="1219170">
              <a:lnSpc>
                <a:spcPct val="120000"/>
              </a:lnSpc>
              <a:spcBef>
                <a:spcPts val="0"/>
              </a:spcBef>
              <a:buClrTx/>
              <a:buSzTx/>
              <a:buNone/>
              <a:tabLst/>
              <a:defRPr/>
            </a:pPr>
            <a:endParaRPr lang="pl-PL" sz="1050" b="0" i="0" u="none" strike="noStrike" kern="1200" cap="none" spc="0" normalizeH="0" baseline="0" noProof="0" dirty="0">
              <a:ln>
                <a:noFill/>
              </a:ln>
              <a:effectLst/>
              <a:uLnTx/>
              <a:uFillTx/>
              <a:latin typeface="Open Sans"/>
              <a:ea typeface="Open Sans"/>
              <a:cs typeface="Open Sans"/>
            </a:endParaRPr>
          </a:p>
          <a:p>
            <a:pPr marL="171450" marR="0" lvl="0" indent="-171450" algn="l" defTabSz="1219170">
              <a:lnSpc>
                <a:spcPct val="120000"/>
              </a:lnSpc>
              <a:spcBef>
                <a:spcPts val="0"/>
              </a:spcBef>
              <a:spcAft>
                <a:spcPts val="400"/>
              </a:spcAft>
              <a:buClrTx/>
              <a:buSzTx/>
              <a:buFont typeface="Arial" panose="020B0604020202020204" pitchFamily="34" charset="0"/>
              <a:buChar char="•"/>
              <a:tabLst/>
              <a:defRPr/>
            </a:pPr>
            <a:endParaRPr lang="pl-PL" sz="1050" b="0" u="none" strike="noStrike" kern="1200" cap="none" spc="0" normalizeH="0" baseline="0" noProof="0" dirty="0">
              <a:ln>
                <a:noFill/>
              </a:ln>
              <a:solidFill>
                <a:srgbClr val="FF0000"/>
              </a:solidFill>
              <a:effectLst/>
              <a:uLnTx/>
              <a:uFillTx/>
              <a:latin typeface="Open Sans"/>
              <a:ea typeface="Open Sans"/>
              <a:cs typeface="Open Sans" charset="0"/>
            </a:endParaRPr>
          </a:p>
        </p:txBody>
      </p:sp>
      <p:sp>
        <p:nvSpPr>
          <p:cNvPr id="4" name="Rectangle 3">
            <a:extLst>
              <a:ext uri="{FF2B5EF4-FFF2-40B4-BE49-F238E27FC236}">
                <a16:creationId xmlns:a16="http://schemas.microsoft.com/office/drawing/2014/main" id="{56BD66AC-258C-5805-2B08-09253CFFA6FF}"/>
              </a:ext>
            </a:extLst>
          </p:cNvPr>
          <p:cNvSpPr/>
          <p:nvPr/>
        </p:nvSpPr>
        <p:spPr>
          <a:xfrm>
            <a:off x="451105" y="960968"/>
            <a:ext cx="4316366" cy="184667"/>
          </a:xfrm>
          <a:prstGeom prst="rect">
            <a:avLst/>
          </a:prstGeom>
          <a:solidFill>
            <a:srgbClr val="C7F0F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000" b="0" i="0" u="none" strike="noStrike" kern="1200" cap="none" spc="300" normalizeH="0" baseline="0" noProof="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DISCOVERY DEEP DIVE – USER INTERVIEWS </a:t>
            </a:r>
            <a:endParaRPr kumimoji="0" lang="pl-PL" sz="1000" b="0" i="0" u="none" strike="noStrike" kern="1200" cap="none" spc="300" normalizeH="0" baseline="0" noProof="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endParaRPr>
          </a:p>
        </p:txBody>
      </p:sp>
      <p:sp>
        <p:nvSpPr>
          <p:cNvPr id="5" name="Rectangle 4">
            <a:extLst>
              <a:ext uri="{FF2B5EF4-FFF2-40B4-BE49-F238E27FC236}">
                <a16:creationId xmlns:a16="http://schemas.microsoft.com/office/drawing/2014/main" id="{DBEBA501-CEB2-6992-8B8D-4286F5E305B7}"/>
              </a:ext>
            </a:extLst>
          </p:cNvPr>
          <p:cNvSpPr/>
          <p:nvPr/>
        </p:nvSpPr>
        <p:spPr bwMode="gray">
          <a:xfrm>
            <a:off x="4767471" y="5876365"/>
            <a:ext cx="1743380"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GB" sz="800" b="0" i="1" u="none" strike="noStrike" kern="1200" cap="none" spc="0" normalizeH="0" baseline="0">
                <a:ln>
                  <a:noFill/>
                </a:ln>
                <a:solidFill>
                  <a:prstClr val="black"/>
                </a:solidFill>
                <a:effectLst/>
                <a:uLnTx/>
                <a:uFillTx/>
                <a:latin typeface="+mj-lt"/>
                <a:ea typeface="Verdana" panose="020B0604030504040204" pitchFamily="34" charset="0"/>
                <a:cs typeface="Verdana" panose="020B0604030504040204" pitchFamily="34" charset="0"/>
              </a:rPr>
              <a:t>Report of the user needs </a:t>
            </a:r>
            <a:endParaRPr kumimoji="0" lang="en-GB" sz="800" b="1" i="1" u="none" strike="noStrike" kern="1200" cap="none" spc="0" normalizeH="0" baseline="0">
              <a:ln>
                <a:noFill/>
              </a:ln>
              <a:solidFill>
                <a:prstClr val="black"/>
              </a:solidFill>
              <a:effectLst/>
              <a:uLnTx/>
              <a:uFillTx/>
              <a:latin typeface="+mj-lt"/>
              <a:ea typeface="Verdana" panose="020B0604030504040204" pitchFamily="34" charset="0"/>
              <a:cs typeface="Verdana" panose="020B0604030504040204" pitchFamily="34" charset="0"/>
            </a:endParaRPr>
          </a:p>
        </p:txBody>
      </p:sp>
      <p:pic>
        <p:nvPicPr>
          <p:cNvPr id="6" name="Picture 5" descr="A picture containing text&#10;&#10;Description automatically generated">
            <a:extLst>
              <a:ext uri="{FF2B5EF4-FFF2-40B4-BE49-F238E27FC236}">
                <a16:creationId xmlns:a16="http://schemas.microsoft.com/office/drawing/2014/main" id="{72AABDE1-F35D-EAF2-E462-B65A8FE53933}"/>
              </a:ext>
            </a:extLst>
          </p:cNvPr>
          <p:cNvPicPr>
            <a:picLocks/>
          </p:cNvPicPr>
          <p:nvPr/>
        </p:nvPicPr>
        <p:blipFill>
          <a:blip r:embed="rId6" cstate="email">
            <a:grayscl/>
            <a:extLst>
              <a:ext uri="{28A0092B-C50C-407E-A947-70E740481C1C}">
                <a14:useLocalDpi xmlns:a14="http://schemas.microsoft.com/office/drawing/2010/main"/>
              </a:ext>
            </a:extLst>
          </a:blip>
          <a:stretch>
            <a:fillRect/>
          </a:stretch>
        </p:blipFill>
        <p:spPr>
          <a:xfrm>
            <a:off x="4813462" y="4817036"/>
            <a:ext cx="1706895" cy="958025"/>
          </a:xfrm>
          <a:prstGeom prst="rect">
            <a:avLst/>
          </a:prstGeom>
          <a:ln w="6350">
            <a:noFill/>
          </a:ln>
          <a:effectLst>
            <a:outerShdw blurRad="50800" dist="38100" dir="2700000" algn="tl" rotWithShape="0">
              <a:prstClr val="black">
                <a:alpha val="40000"/>
              </a:prstClr>
            </a:outerShdw>
          </a:effectLst>
        </p:spPr>
      </p:pic>
      <p:pic>
        <p:nvPicPr>
          <p:cNvPr id="7" name="Picture 8" descr="Graphical user interface, text, application&#10;&#10;Description automatically generated">
            <a:extLst>
              <a:ext uri="{FF2B5EF4-FFF2-40B4-BE49-F238E27FC236}">
                <a16:creationId xmlns:a16="http://schemas.microsoft.com/office/drawing/2014/main" id="{21F37982-C9CA-5F25-381A-0C4733E61E1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08225" y="4756101"/>
            <a:ext cx="1754982" cy="1054691"/>
          </a:xfrm>
          <a:prstGeom prst="rect">
            <a:avLst/>
          </a:prstGeom>
        </p:spPr>
      </p:pic>
      <p:sp>
        <p:nvSpPr>
          <p:cNvPr id="9" name="Rectangle 8">
            <a:extLst>
              <a:ext uri="{FF2B5EF4-FFF2-40B4-BE49-F238E27FC236}">
                <a16:creationId xmlns:a16="http://schemas.microsoft.com/office/drawing/2014/main" id="{F4BDA6B5-3ED5-B576-869A-CE40F32B57DF}"/>
              </a:ext>
            </a:extLst>
          </p:cNvPr>
          <p:cNvSpPr/>
          <p:nvPr/>
        </p:nvSpPr>
        <p:spPr bwMode="gray">
          <a:xfrm>
            <a:off x="6663846" y="5876365"/>
            <a:ext cx="1743380"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06000"/>
              </a:lnSpc>
              <a:defRPr/>
            </a:pPr>
            <a:r>
              <a:rPr lang="en-GB" sz="800" i="1" dirty="0">
                <a:latin typeface="+mj-lt"/>
                <a:ea typeface="Verdana"/>
              </a:rPr>
              <a:t>10 digital commandments</a:t>
            </a:r>
            <a:endParaRPr lang="en-US" dirty="0"/>
          </a:p>
        </p:txBody>
      </p:sp>
      <p:sp>
        <p:nvSpPr>
          <p:cNvPr id="10" name="Rectangle 9">
            <a:extLst>
              <a:ext uri="{FF2B5EF4-FFF2-40B4-BE49-F238E27FC236}">
                <a16:creationId xmlns:a16="http://schemas.microsoft.com/office/drawing/2014/main" id="{3576F125-5C9D-F034-B1AA-FFFDD10DEABF}"/>
              </a:ext>
            </a:extLst>
          </p:cNvPr>
          <p:cNvSpPr/>
          <p:nvPr/>
        </p:nvSpPr>
        <p:spPr bwMode="gray">
          <a:xfrm>
            <a:off x="8559686" y="5876365"/>
            <a:ext cx="1743871" cy="284799"/>
          </a:xfrm>
          <a:prstGeom prst="rect">
            <a:avLst/>
          </a:prstGeom>
          <a:noFill/>
          <a:ln w="19050" algn="ctr">
            <a:noFill/>
            <a:miter lim="800000"/>
            <a:headEnd/>
            <a:tailEn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prstClr val="black"/>
                </a:solidFill>
                <a:miter lim="800000"/>
                <a:headEnd/>
                <a:tailEnd/>
              </a14:hiddenLine>
            </a:ext>
          </a:extLst>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Tx/>
              <a:buNone/>
              <a:tabLst/>
              <a:defRPr/>
            </a:pPr>
            <a:r>
              <a:rPr lang="en-GB" sz="800" i="1">
                <a:solidFill>
                  <a:schemeClr val="dk1"/>
                </a:solidFill>
                <a:latin typeface="+mj-lt"/>
                <a:ea typeface="Verdana" panose="020B0604030504040204" pitchFamily="34" charset="0"/>
                <a:cs typeface="Verdana" panose="020B0604030504040204" pitchFamily="34" charset="0"/>
              </a:rPr>
              <a:t>User r</a:t>
            </a:r>
            <a:r>
              <a:rPr kumimoji="0" lang="en-GB" sz="800" i="1" u="none" strike="noStrike" kern="1200" cap="none" spc="0" normalizeH="0" baseline="0">
                <a:ln>
                  <a:noFill/>
                </a:ln>
                <a:solidFill>
                  <a:schemeClr val="dk1"/>
                </a:solidFill>
                <a:effectLst/>
                <a:uLnTx/>
                <a:uFillTx/>
                <a:latin typeface="+mj-lt"/>
                <a:ea typeface="Verdana" panose="020B0604030504040204" pitchFamily="34" charset="0"/>
                <a:cs typeface="Verdana" panose="020B0604030504040204" pitchFamily="34" charset="0"/>
              </a:rPr>
              <a:t>esearch materials </a:t>
            </a:r>
          </a:p>
        </p:txBody>
      </p:sp>
      <p:pic>
        <p:nvPicPr>
          <p:cNvPr id="11" name="Picture 10" descr="A picture containing table&#10;&#10;Description automatically generated">
            <a:extLst>
              <a:ext uri="{FF2B5EF4-FFF2-40B4-BE49-F238E27FC236}">
                <a16:creationId xmlns:a16="http://schemas.microsoft.com/office/drawing/2014/main" id="{5E226AC0-5D19-8F7E-BF40-47EBEB98831C}"/>
              </a:ext>
            </a:extLst>
          </p:cNvPr>
          <p:cNvPicPr>
            <a:picLocks/>
          </p:cNvPicPr>
          <p:nvPr/>
        </p:nvPicPr>
        <p:blipFill>
          <a:blip r:embed="rId8" cstate="email">
            <a:graysc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8706885" y="4756101"/>
            <a:ext cx="2070621" cy="101896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50972413"/>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1F1239-939D-8D5A-1779-9F3223334E8C}"/>
              </a:ext>
            </a:extLst>
          </p:cNvPr>
          <p:cNvGraphicFramePr>
            <a:graphicFrameLocks noChangeAspect="1"/>
          </p:cNvGraphicFramePr>
          <p:nvPr>
            <p:custDataLst>
              <p:tags r:id="rId1"/>
            </p:custDataLst>
            <p:extLst>
              <p:ext uri="{D42A27DB-BD31-4B8C-83A1-F6EECF244321}">
                <p14:modId xmlns:p14="http://schemas.microsoft.com/office/powerpoint/2010/main" val="75722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EF1F1239-939D-8D5A-1779-9F3223334E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758906-63F1-C247-8DE8-AA23459682C5}"/>
              </a:ext>
            </a:extLst>
          </p:cNvPr>
          <p:cNvSpPr>
            <a:spLocks noGrp="1"/>
          </p:cNvSpPr>
          <p:nvPr>
            <p:ph type="title"/>
          </p:nvPr>
        </p:nvSpPr>
        <p:spPr>
          <a:xfrm>
            <a:off x="463295" y="417911"/>
            <a:ext cx="11039592" cy="334099"/>
          </a:xfrm>
        </p:spPr>
        <p:txBody>
          <a:bodyPr vert="horz"/>
          <a:lstStyle/>
          <a:p>
            <a:r>
              <a:rPr lang="en-US" sz="2400" dirty="0">
                <a:ea typeface="+mj-lt"/>
                <a:cs typeface="+mj-lt"/>
              </a:rPr>
              <a:t>During a co-creation workshops, we will set goals together and generate a vision of the digital product </a:t>
            </a:r>
            <a:endParaRPr lang="en-US" sz="2400" dirty="0"/>
          </a:p>
        </p:txBody>
      </p:sp>
      <p:sp>
        <p:nvSpPr>
          <p:cNvPr id="4" name="Rectangle 3">
            <a:extLst>
              <a:ext uri="{FF2B5EF4-FFF2-40B4-BE49-F238E27FC236}">
                <a16:creationId xmlns:a16="http://schemas.microsoft.com/office/drawing/2014/main" id="{56BD66AC-258C-5805-2B08-09253CFFA6FF}"/>
              </a:ext>
            </a:extLst>
          </p:cNvPr>
          <p:cNvSpPr/>
          <p:nvPr/>
        </p:nvSpPr>
        <p:spPr>
          <a:xfrm>
            <a:off x="463295" y="1232453"/>
            <a:ext cx="4730495" cy="178226"/>
          </a:xfrm>
          <a:prstGeom prst="rect">
            <a:avLst/>
          </a:prstGeom>
          <a:solidFill>
            <a:srgbClr val="6FC9EB"/>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DISCOVERY DEEP DIVE - USABILITY ASSESSMENT</a:t>
            </a:r>
          </a:p>
        </p:txBody>
      </p:sp>
      <p:sp>
        <p:nvSpPr>
          <p:cNvPr id="12" name="Rectangle 11">
            <a:extLst>
              <a:ext uri="{FF2B5EF4-FFF2-40B4-BE49-F238E27FC236}">
                <a16:creationId xmlns:a16="http://schemas.microsoft.com/office/drawing/2014/main" id="{77546626-9E91-633F-4A9A-1E96294BC519}"/>
              </a:ext>
            </a:extLst>
          </p:cNvPr>
          <p:cNvSpPr/>
          <p:nvPr/>
        </p:nvSpPr>
        <p:spPr>
          <a:xfrm>
            <a:off x="941877" y="1871473"/>
            <a:ext cx="2531825"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SCOPE</a:t>
            </a:r>
          </a:p>
        </p:txBody>
      </p:sp>
      <p:sp>
        <p:nvSpPr>
          <p:cNvPr id="13" name="Freeform 723">
            <a:extLst>
              <a:ext uri="{FF2B5EF4-FFF2-40B4-BE49-F238E27FC236}">
                <a16:creationId xmlns:a16="http://schemas.microsoft.com/office/drawing/2014/main" id="{0F8758F1-E740-308A-A4CB-34F20AEDA102}"/>
              </a:ext>
            </a:extLst>
          </p:cNvPr>
          <p:cNvSpPr>
            <a:spLocks noChangeAspect="1" noEditPoints="1"/>
          </p:cNvSpPr>
          <p:nvPr/>
        </p:nvSpPr>
        <p:spPr bwMode="auto">
          <a:xfrm>
            <a:off x="475008" y="1811346"/>
            <a:ext cx="304920" cy="30492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6FC9EB"/>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4" name="Rounded Rectangle 236">
            <a:extLst>
              <a:ext uri="{FF2B5EF4-FFF2-40B4-BE49-F238E27FC236}">
                <a16:creationId xmlns:a16="http://schemas.microsoft.com/office/drawing/2014/main" id="{6FFA2440-ED09-5173-7504-5F61B4226F7B}"/>
              </a:ext>
            </a:extLst>
          </p:cNvPr>
          <p:cNvSpPr/>
          <p:nvPr/>
        </p:nvSpPr>
        <p:spPr bwMode="gray">
          <a:xfrm>
            <a:off x="475008" y="2200343"/>
            <a:ext cx="3314818" cy="54095"/>
          </a:xfrm>
          <a:prstGeom prst="roundRect">
            <a:avLst>
              <a:gd name="adj" fmla="val 50000"/>
            </a:avLst>
          </a:prstGeom>
          <a:solidFill>
            <a:srgbClr val="6FC9EB"/>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15" name="Text Placeholder 2">
            <a:extLst>
              <a:ext uri="{FF2B5EF4-FFF2-40B4-BE49-F238E27FC236}">
                <a16:creationId xmlns:a16="http://schemas.microsoft.com/office/drawing/2014/main" id="{F798ABE9-B37A-DA79-6105-A9805204DABC}"/>
              </a:ext>
            </a:extLst>
          </p:cNvPr>
          <p:cNvSpPr txBox="1">
            <a:spLocks/>
          </p:cNvSpPr>
          <p:nvPr/>
        </p:nvSpPr>
        <p:spPr>
          <a:xfrm>
            <a:off x="463295" y="2398642"/>
            <a:ext cx="3314818" cy="3122071"/>
          </a:xfrm>
          <a:prstGeom prst="rect">
            <a:avLst/>
          </a:prstGeom>
        </p:spPr>
        <p:txBody>
          <a:bodyPr lIns="0" tIns="0" rIns="72000" b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520"/>
              </a:lnSpc>
              <a:spcAft>
                <a:spcPts val="300"/>
              </a:spcAft>
              <a:buClr>
                <a:srgbClr val="6FC2B4"/>
              </a:buClr>
              <a:buNone/>
              <a:defRPr/>
            </a:pPr>
            <a:r>
              <a:rPr kumimoji="0" lang="en-US" sz="1050" b="0" i="0" u="none" strike="noStrike" kern="1200" cap="none" spc="-3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The assessment of the usability existing websites and applications is carried out </a:t>
            </a:r>
            <a:r>
              <a:rPr lang="en-US" sz="1050" dirty="0">
                <a:latin typeface="Open Sans" panose="020B0606030504020204" pitchFamily="34" charset="0"/>
                <a:ea typeface="Open Sans" panose="020B0606030504020204" pitchFamily="34" charset="0"/>
                <a:cs typeface="Open Sans" panose="020B0606030504020204" pitchFamily="34" charset="0"/>
              </a:rPr>
              <a:t>based on Deloitte's</a:t>
            </a:r>
            <a:r>
              <a:rPr lang="en-US" sz="1050" b="1" dirty="0">
                <a:latin typeface="Open Sans" panose="020B0606030504020204" pitchFamily="34" charset="0"/>
                <a:ea typeface="Open Sans" panose="020B0606030504020204" pitchFamily="34" charset="0"/>
                <a:cs typeface="Open Sans" panose="020B0606030504020204" pitchFamily="34" charset="0"/>
              </a:rPr>
              <a:t> developed and proven methodology</a:t>
            </a:r>
            <a:r>
              <a:rPr lang="en-US" sz="1050" dirty="0">
                <a:latin typeface="Open Sans" panose="020B0606030504020204" pitchFamily="34" charset="0"/>
                <a:ea typeface="Open Sans" panose="020B0606030504020204" pitchFamily="34" charset="0"/>
                <a:cs typeface="Open Sans" panose="020B0606030504020204" pitchFamily="34" charset="0"/>
              </a:rPr>
              <a:t>, which includes</a:t>
            </a:r>
            <a:r>
              <a:rPr lang="en-US" sz="1050" b="1" dirty="0">
                <a:latin typeface="Open Sans" panose="020B0606030504020204" pitchFamily="34" charset="0"/>
                <a:ea typeface="Open Sans" panose="020B0606030504020204" pitchFamily="34" charset="0"/>
                <a:cs typeface="Open Sans" panose="020B0606030504020204" pitchFamily="34" charset="0"/>
              </a:rPr>
              <a:t>:</a:t>
            </a:r>
          </a:p>
          <a:p>
            <a:pPr>
              <a:lnSpc>
                <a:spcPts val="1520"/>
              </a:lnSpc>
              <a:spcAft>
                <a:spcPts val="300"/>
              </a:spcAft>
              <a:buClr>
                <a:srgbClr val="6FC2B4"/>
              </a:buClr>
              <a:defRPr/>
            </a:pPr>
            <a:r>
              <a:rPr lang="en-US" sz="1050" dirty="0">
                <a:solidFill>
                  <a:srgbClr val="000000"/>
                </a:solidFill>
                <a:latin typeface="Open Sans" panose="020B0606030504020204" pitchFamily="34" charset="0"/>
                <a:ea typeface="Open Sans" panose="020B0606030504020204" pitchFamily="34" charset="0"/>
                <a:cs typeface="Open Sans" panose="020B0606030504020204" pitchFamily="34" charset="0"/>
              </a:rPr>
              <a:t>A</a:t>
            </a:r>
            <a:r>
              <a:rPr kumimoji="0" lang="en-US" sz="1050" b="0" i="0" u="none" strike="noStrike" kern="1200" cap="none" spc="-3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alysis of User Interfaces compliance with a list of several hundred UX guidelines, divided into thematic areas (accessibility, content, UX navigation, product offer, etc.)</a:t>
            </a:r>
            <a:endParaRPr lang="en-US" dirty="0">
              <a:latin typeface="Open Sans" panose="020B0606030504020204" pitchFamily="34" charset="0"/>
              <a:ea typeface="Open Sans" panose="020B0606030504020204" pitchFamily="34" charset="0"/>
              <a:cs typeface="Open Sans" panose="020B0606030504020204" pitchFamily="34" charset="0"/>
            </a:endParaRPr>
          </a:p>
          <a:p>
            <a:pPr>
              <a:buClr>
                <a:srgbClr val="6FC2B4"/>
              </a:buClr>
              <a:defRPr/>
            </a:pPr>
            <a:r>
              <a:rPr lang="en-US" sz="1050" dirty="0">
                <a:solidFill>
                  <a:srgbClr val="000000"/>
                </a:solidFill>
                <a:latin typeface="Open Sans" panose="020B0606030504020204" pitchFamily="34" charset="0"/>
                <a:ea typeface="Open Sans" panose="020B0606030504020204" pitchFamily="34" charset="0"/>
                <a:cs typeface="Open Sans" panose="020B0606030504020204" pitchFamily="34" charset="0"/>
              </a:rPr>
              <a:t>Mapping of the user flows, in which a UX expert takes on the role of a persona and performs specific tasks in order to identify challenges in the user path </a:t>
            </a:r>
            <a:r>
              <a:rPr kumimoji="0" lang="en-US" sz="1050" b="0" i="0" u="none" strike="noStrike" kern="1200" cap="none" spc="-3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aying attention to the process, goals, the number of steps, etc.)</a:t>
            </a:r>
          </a:p>
          <a:p>
            <a:pPr>
              <a:buClr>
                <a:srgbClr val="6FC2B4"/>
              </a:buClr>
              <a:defRPr/>
            </a:pPr>
            <a:r>
              <a:rPr kumimoji="0" lang="en-US" sz="1050" b="0" i="0" u="none" strike="noStrike" kern="1200" cap="none" spc="-3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nchmarking digital products against other solution </a:t>
            </a:r>
            <a:r>
              <a:rPr lang="en-US" sz="1050" dirty="0">
                <a:solidFill>
                  <a:srgbClr val="000000"/>
                </a:solidFill>
                <a:latin typeface="Open Sans" panose="020B0606030504020204" pitchFamily="34" charset="0"/>
                <a:ea typeface="Open Sans" panose="020B0606030504020204" pitchFamily="34" charset="0"/>
                <a:cs typeface="Open Sans" panose="020B0606030504020204" pitchFamily="34" charset="0"/>
              </a:rPr>
              <a:t>in the same sector</a:t>
            </a:r>
            <a:endParaRPr kumimoji="0" lang="en-US" sz="1050" b="0" i="0" u="none" strike="noStrike" kern="1200" cap="none" spc="-30" normalizeH="0" baseline="0" dirty="0">
              <a:ln>
                <a:noFill/>
              </a:ln>
              <a:solidFill>
                <a:prstClr val="black">
                  <a:lumMod val="95000"/>
                  <a:lumOff val="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ts val="1520"/>
              </a:lnSpc>
              <a:spcBef>
                <a:spcPts val="1000"/>
              </a:spcBef>
              <a:spcAft>
                <a:spcPts val="300"/>
              </a:spcAft>
              <a:buClr>
                <a:srgbClr val="6FC2B4"/>
              </a:buClr>
              <a:buSzPct val="75000"/>
              <a:buFont typeface="Arial" panose="020B0604020202020204" pitchFamily="34" charset="0"/>
              <a:buNone/>
              <a:tabLst/>
              <a:defRPr/>
            </a:pPr>
            <a:r>
              <a:rPr kumimoji="0" lang="en-US" sz="1050" b="0" i="0" u="none" strike="noStrike" kern="1200" cap="none" spc="-3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The UX assessment is aimed at identifying the strengths of existing services and </a:t>
            </a:r>
            <a:r>
              <a:rPr kumimoji="0" lang="en-US" sz="1050" b="1" i="0" u="none" strike="noStrike" kern="1200" cap="none" spc="-3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areas for improvement. </a:t>
            </a:r>
            <a:endParaRPr lang="en-US" sz="1050" b="0" i="0" u="none" strike="noStrike" kern="1200" cap="none" spc="-3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69DC880F-EC01-A9C4-199A-38DCE48D59AB}"/>
              </a:ext>
            </a:extLst>
          </p:cNvPr>
          <p:cNvSpPr/>
          <p:nvPr/>
        </p:nvSpPr>
        <p:spPr>
          <a:xfrm>
            <a:off x="4687065" y="1871473"/>
            <a:ext cx="1985196"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WORK PRODUCTS</a:t>
            </a:r>
          </a:p>
        </p:txBody>
      </p:sp>
      <p:sp>
        <p:nvSpPr>
          <p:cNvPr id="17" name="Freeform 768">
            <a:extLst>
              <a:ext uri="{FF2B5EF4-FFF2-40B4-BE49-F238E27FC236}">
                <a16:creationId xmlns:a16="http://schemas.microsoft.com/office/drawing/2014/main" id="{194972A0-9B1E-2838-7246-DDE037DA0714}"/>
              </a:ext>
            </a:extLst>
          </p:cNvPr>
          <p:cNvSpPr>
            <a:spLocks noChangeAspect="1" noEditPoints="1"/>
          </p:cNvSpPr>
          <p:nvPr/>
        </p:nvSpPr>
        <p:spPr bwMode="auto">
          <a:xfrm>
            <a:off x="4265661" y="1811346"/>
            <a:ext cx="304920" cy="30492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rgbClr val="6FC9EB"/>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8" name="Rounded Rectangle 236">
            <a:extLst>
              <a:ext uri="{FF2B5EF4-FFF2-40B4-BE49-F238E27FC236}">
                <a16:creationId xmlns:a16="http://schemas.microsoft.com/office/drawing/2014/main" id="{3F92832E-83C7-D138-CB30-DBAE9B55C68F}"/>
              </a:ext>
            </a:extLst>
          </p:cNvPr>
          <p:cNvSpPr/>
          <p:nvPr/>
        </p:nvSpPr>
        <p:spPr bwMode="gray">
          <a:xfrm>
            <a:off x="4220195" y="2200343"/>
            <a:ext cx="3314818" cy="54095"/>
          </a:xfrm>
          <a:prstGeom prst="roundRect">
            <a:avLst>
              <a:gd name="adj" fmla="val 50000"/>
            </a:avLst>
          </a:prstGeom>
          <a:solidFill>
            <a:srgbClr val="6FC9EB"/>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9DF1C5EF-B3B3-CD1B-E48B-113C78A9CC68}"/>
              </a:ext>
            </a:extLst>
          </p:cNvPr>
          <p:cNvSpPr/>
          <p:nvPr/>
        </p:nvSpPr>
        <p:spPr>
          <a:xfrm>
            <a:off x="8432252" y="1871473"/>
            <a:ext cx="2562849"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CLIENT ENGAGEMENT</a:t>
            </a:r>
          </a:p>
        </p:txBody>
      </p:sp>
      <p:sp>
        <p:nvSpPr>
          <p:cNvPr id="20" name="Freeform 772">
            <a:extLst>
              <a:ext uri="{FF2B5EF4-FFF2-40B4-BE49-F238E27FC236}">
                <a16:creationId xmlns:a16="http://schemas.microsoft.com/office/drawing/2014/main" id="{1939DFB3-17FD-AA89-3B4A-9F0A3105CF7F}"/>
              </a:ext>
            </a:extLst>
          </p:cNvPr>
          <p:cNvSpPr>
            <a:spLocks noChangeAspect="1" noEditPoints="1"/>
          </p:cNvSpPr>
          <p:nvPr/>
        </p:nvSpPr>
        <p:spPr bwMode="auto">
          <a:xfrm>
            <a:off x="8010849" y="1811346"/>
            <a:ext cx="304920" cy="304920"/>
          </a:xfrm>
          <a:custGeom>
            <a:avLst/>
            <a:gdLst>
              <a:gd name="T0" fmla="*/ 256 w 512"/>
              <a:gd name="T1" fmla="*/ 138 h 512"/>
              <a:gd name="T2" fmla="*/ 208 w 512"/>
              <a:gd name="T3" fmla="*/ 186 h 512"/>
              <a:gd name="T4" fmla="*/ 256 w 512"/>
              <a:gd name="T5" fmla="*/ 234 h 512"/>
              <a:gd name="T6" fmla="*/ 304 w 512"/>
              <a:gd name="T7" fmla="*/ 186 h 512"/>
              <a:gd name="T8" fmla="*/ 256 w 512"/>
              <a:gd name="T9" fmla="*/ 138 h 512"/>
              <a:gd name="T10" fmla="*/ 256 w 512"/>
              <a:gd name="T11" fmla="*/ 176 h 512"/>
              <a:gd name="T12" fmla="*/ 245 w 512"/>
              <a:gd name="T13" fmla="*/ 186 h 512"/>
              <a:gd name="T14" fmla="*/ 234 w 512"/>
              <a:gd name="T15" fmla="*/ 197 h 512"/>
              <a:gd name="T16" fmla="*/ 224 w 512"/>
              <a:gd name="T17" fmla="*/ 186 h 512"/>
              <a:gd name="T18" fmla="*/ 256 w 512"/>
              <a:gd name="T19" fmla="*/ 154 h 512"/>
              <a:gd name="T20" fmla="*/ 266 w 512"/>
              <a:gd name="T21" fmla="*/ 165 h 512"/>
              <a:gd name="T22" fmla="*/ 256 w 512"/>
              <a:gd name="T23" fmla="*/ 176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266 w 512"/>
              <a:gd name="T35" fmla="*/ 255 h 512"/>
              <a:gd name="T36" fmla="*/ 266 w 512"/>
              <a:gd name="T37" fmla="*/ 384 h 512"/>
              <a:gd name="T38" fmla="*/ 256 w 512"/>
              <a:gd name="T39" fmla="*/ 394 h 512"/>
              <a:gd name="T40" fmla="*/ 245 w 512"/>
              <a:gd name="T41" fmla="*/ 384 h 512"/>
              <a:gd name="T42" fmla="*/ 245 w 512"/>
              <a:gd name="T43" fmla="*/ 255 h 512"/>
              <a:gd name="T44" fmla="*/ 186 w 512"/>
              <a:gd name="T45" fmla="*/ 186 h 512"/>
              <a:gd name="T46" fmla="*/ 256 w 512"/>
              <a:gd name="T47" fmla="*/ 117 h 512"/>
              <a:gd name="T48" fmla="*/ 325 w 512"/>
              <a:gd name="T49" fmla="*/ 186 h 512"/>
              <a:gd name="T50" fmla="*/ 266 w 512"/>
              <a:gd name="T51"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138"/>
                </a:moveTo>
                <a:cubicBezTo>
                  <a:pt x="229" y="138"/>
                  <a:pt x="208" y="160"/>
                  <a:pt x="208" y="186"/>
                </a:cubicBezTo>
                <a:cubicBezTo>
                  <a:pt x="208" y="213"/>
                  <a:pt x="229" y="234"/>
                  <a:pt x="256" y="234"/>
                </a:cubicBezTo>
                <a:cubicBezTo>
                  <a:pt x="282" y="234"/>
                  <a:pt x="304" y="213"/>
                  <a:pt x="304" y="186"/>
                </a:cubicBezTo>
                <a:cubicBezTo>
                  <a:pt x="304" y="160"/>
                  <a:pt x="282" y="138"/>
                  <a:pt x="256" y="138"/>
                </a:cubicBezTo>
                <a:close/>
                <a:moveTo>
                  <a:pt x="256" y="176"/>
                </a:moveTo>
                <a:cubicBezTo>
                  <a:pt x="250" y="176"/>
                  <a:pt x="245" y="180"/>
                  <a:pt x="245" y="186"/>
                </a:cubicBezTo>
                <a:cubicBezTo>
                  <a:pt x="245" y="192"/>
                  <a:pt x="240" y="197"/>
                  <a:pt x="234" y="197"/>
                </a:cubicBezTo>
                <a:cubicBezTo>
                  <a:pt x="228" y="197"/>
                  <a:pt x="224" y="192"/>
                  <a:pt x="224" y="186"/>
                </a:cubicBezTo>
                <a:cubicBezTo>
                  <a:pt x="224" y="169"/>
                  <a:pt x="238" y="154"/>
                  <a:pt x="256" y="154"/>
                </a:cubicBezTo>
                <a:cubicBezTo>
                  <a:pt x="262" y="154"/>
                  <a:pt x="266" y="159"/>
                  <a:pt x="266" y="165"/>
                </a:cubicBezTo>
                <a:cubicBezTo>
                  <a:pt x="266" y="171"/>
                  <a:pt x="262" y="176"/>
                  <a:pt x="256" y="17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255"/>
                </a:moveTo>
                <a:cubicBezTo>
                  <a:pt x="266" y="384"/>
                  <a:pt x="266" y="384"/>
                  <a:pt x="266" y="384"/>
                </a:cubicBezTo>
                <a:cubicBezTo>
                  <a:pt x="266" y="390"/>
                  <a:pt x="262" y="394"/>
                  <a:pt x="256" y="394"/>
                </a:cubicBezTo>
                <a:cubicBezTo>
                  <a:pt x="250" y="394"/>
                  <a:pt x="245" y="390"/>
                  <a:pt x="245" y="384"/>
                </a:cubicBezTo>
                <a:cubicBezTo>
                  <a:pt x="245" y="255"/>
                  <a:pt x="245" y="255"/>
                  <a:pt x="245" y="255"/>
                </a:cubicBezTo>
                <a:cubicBezTo>
                  <a:pt x="212" y="250"/>
                  <a:pt x="186" y="221"/>
                  <a:pt x="186" y="186"/>
                </a:cubicBezTo>
                <a:cubicBezTo>
                  <a:pt x="186" y="148"/>
                  <a:pt x="217" y="117"/>
                  <a:pt x="256" y="117"/>
                </a:cubicBezTo>
                <a:cubicBezTo>
                  <a:pt x="294" y="117"/>
                  <a:pt x="325" y="148"/>
                  <a:pt x="325" y="186"/>
                </a:cubicBezTo>
                <a:cubicBezTo>
                  <a:pt x="325" y="221"/>
                  <a:pt x="300" y="250"/>
                  <a:pt x="266" y="255"/>
                </a:cubicBezTo>
                <a:close/>
              </a:path>
            </a:pathLst>
          </a:custGeom>
          <a:solidFill>
            <a:srgbClr val="6FC9EB"/>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21" name="Rounded Rectangle 236">
            <a:extLst>
              <a:ext uri="{FF2B5EF4-FFF2-40B4-BE49-F238E27FC236}">
                <a16:creationId xmlns:a16="http://schemas.microsoft.com/office/drawing/2014/main" id="{E2F29B70-6ED5-C12F-0445-FD7D6D19FA0E}"/>
              </a:ext>
            </a:extLst>
          </p:cNvPr>
          <p:cNvSpPr/>
          <p:nvPr/>
        </p:nvSpPr>
        <p:spPr bwMode="gray">
          <a:xfrm>
            <a:off x="7965383" y="2200343"/>
            <a:ext cx="3314818" cy="54095"/>
          </a:xfrm>
          <a:prstGeom prst="roundRect">
            <a:avLst>
              <a:gd name="adj" fmla="val 50000"/>
            </a:avLst>
          </a:prstGeom>
          <a:solidFill>
            <a:srgbClr val="6FC9EB"/>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B87994CA-C9D8-93EA-3FE0-A9E58EFC5074}"/>
              </a:ext>
            </a:extLst>
          </p:cNvPr>
          <p:cNvSpPr/>
          <p:nvPr/>
        </p:nvSpPr>
        <p:spPr>
          <a:xfrm>
            <a:off x="4883955" y="4228932"/>
            <a:ext cx="2847948"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SAMPLE PRODUCTS</a:t>
            </a:r>
          </a:p>
        </p:txBody>
      </p:sp>
      <p:sp>
        <p:nvSpPr>
          <p:cNvPr id="23" name="Freeform 240">
            <a:extLst>
              <a:ext uri="{FF2B5EF4-FFF2-40B4-BE49-F238E27FC236}">
                <a16:creationId xmlns:a16="http://schemas.microsoft.com/office/drawing/2014/main" id="{3168B35F-8F2A-F208-4B5D-1C786E57994F}"/>
              </a:ext>
            </a:extLst>
          </p:cNvPr>
          <p:cNvSpPr>
            <a:spLocks noChangeAspect="1" noEditPoints="1"/>
          </p:cNvSpPr>
          <p:nvPr/>
        </p:nvSpPr>
        <p:spPr bwMode="auto">
          <a:xfrm>
            <a:off x="4462551" y="4168805"/>
            <a:ext cx="304920" cy="30492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rgbClr val="6FC9EB"/>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25" name="Rounded Rectangle 236">
            <a:extLst>
              <a:ext uri="{FF2B5EF4-FFF2-40B4-BE49-F238E27FC236}">
                <a16:creationId xmlns:a16="http://schemas.microsoft.com/office/drawing/2014/main" id="{1E18057D-01A9-B1C3-C8BD-7BA5B0F03AB7}"/>
              </a:ext>
            </a:extLst>
          </p:cNvPr>
          <p:cNvSpPr/>
          <p:nvPr/>
        </p:nvSpPr>
        <p:spPr bwMode="gray">
          <a:xfrm>
            <a:off x="4417085" y="4557802"/>
            <a:ext cx="6732000" cy="54095"/>
          </a:xfrm>
          <a:prstGeom prst="roundRect">
            <a:avLst>
              <a:gd name="adj" fmla="val 50000"/>
            </a:avLst>
          </a:prstGeom>
          <a:solidFill>
            <a:srgbClr val="6FC9EB"/>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27" name="Text Placeholder 2">
            <a:extLst>
              <a:ext uri="{FF2B5EF4-FFF2-40B4-BE49-F238E27FC236}">
                <a16:creationId xmlns:a16="http://schemas.microsoft.com/office/drawing/2014/main" id="{9B4BFE5F-908C-4F57-863E-40E134A209D6}"/>
              </a:ext>
            </a:extLst>
          </p:cNvPr>
          <p:cNvSpPr txBox="1">
            <a:spLocks/>
          </p:cNvSpPr>
          <p:nvPr/>
        </p:nvSpPr>
        <p:spPr>
          <a:xfrm>
            <a:off x="4214339" y="2402811"/>
            <a:ext cx="3314818" cy="1665835"/>
          </a:xfrm>
          <a:prstGeom prst="rect">
            <a:avLst/>
          </a:prstGeom>
        </p:spPr>
        <p:txBody>
          <a:bodyPr lIns="0" tIns="0" rIns="72000" bIns="0" anchor="t"/>
          <a:lstStyle>
            <a:defPPr>
              <a:defRPr lang="en-US"/>
            </a:defPPr>
            <a:lvl1pPr marL="228600" indent="-228600" defTabSz="1219170">
              <a:lnSpc>
                <a:spcPct val="120000"/>
              </a:lnSpc>
              <a:spcBef>
                <a:spcPts val="0"/>
              </a:spcBef>
              <a:spcAft>
                <a:spcPts val="300"/>
              </a:spcAft>
              <a:buClrTx/>
              <a:buSzTx/>
              <a:buFont typeface="Arial" panose="020B0604020202020204" pitchFamily="34" charset="0"/>
              <a:buChar char="•"/>
              <a:defRPr sz="1100" spc="0">
                <a:solidFill>
                  <a:srgbClr val="000000"/>
                </a:solidFill>
                <a:latin typeface="Open Sans"/>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9705" indent="-179705">
              <a:lnSpc>
                <a:spcPct val="100000"/>
              </a:lnSpc>
              <a:defRPr/>
            </a:pPr>
            <a:r>
              <a:rPr kumimoji="0" lang="en-US" sz="1050" b="1" i="0" u="none" strike="noStrike" kern="1200" cap="none" spc="0" normalizeH="0" baseline="0" dirty="0">
                <a:ln>
                  <a:noFill/>
                </a:ln>
                <a:solidFill>
                  <a:srgbClr val="000000"/>
                </a:solidFill>
                <a:effectLst/>
                <a:uLnTx/>
                <a:uFillTx/>
                <a:latin typeface="Open Sans"/>
                <a:ea typeface="+mn-ea"/>
                <a:cs typeface="Open Sans"/>
              </a:rPr>
              <a:t>Usability assessment report </a:t>
            </a:r>
            <a:r>
              <a:rPr kumimoji="0" lang="en-US" sz="1050" i="0" u="none" strike="noStrike" kern="1200" cap="none" spc="0" normalizeH="0" baseline="0" dirty="0">
                <a:ln>
                  <a:noFill/>
                </a:ln>
                <a:solidFill>
                  <a:srgbClr val="000000"/>
                </a:solidFill>
                <a:effectLst/>
                <a:uLnTx/>
                <a:uFillTx/>
                <a:latin typeface="Open Sans"/>
                <a:ea typeface="+mn-ea"/>
                <a:cs typeface="Open Sans"/>
              </a:rPr>
              <a:t>(PPTX) presenting the results of expert assessment of selected customer journeys along with an indication</a:t>
            </a:r>
            <a:r>
              <a:rPr kumimoji="0" lang="en-US" sz="1050" b="1" i="0" u="none" strike="noStrike" kern="1200" cap="none" spc="0" normalizeH="0" baseline="0" dirty="0">
                <a:ln>
                  <a:noFill/>
                </a:ln>
                <a:solidFill>
                  <a:srgbClr val="000000"/>
                </a:solidFill>
                <a:effectLst/>
                <a:uLnTx/>
                <a:uFillTx/>
                <a:latin typeface="Open Sans"/>
                <a:ea typeface="+mn-ea"/>
                <a:cs typeface="Open Sans"/>
              </a:rPr>
              <a:t> of good practices and recommendations for changes</a:t>
            </a:r>
          </a:p>
        </p:txBody>
      </p:sp>
      <p:sp>
        <p:nvSpPr>
          <p:cNvPr id="28" name="Text Placeholder 2">
            <a:extLst>
              <a:ext uri="{FF2B5EF4-FFF2-40B4-BE49-F238E27FC236}">
                <a16:creationId xmlns:a16="http://schemas.microsoft.com/office/drawing/2014/main" id="{A503BF7A-7D9C-DC21-200C-0D33AF778714}"/>
              </a:ext>
            </a:extLst>
          </p:cNvPr>
          <p:cNvSpPr txBox="1">
            <a:spLocks/>
          </p:cNvSpPr>
          <p:nvPr/>
        </p:nvSpPr>
        <p:spPr>
          <a:xfrm>
            <a:off x="7956342" y="2370323"/>
            <a:ext cx="3314818" cy="1665835"/>
          </a:xfrm>
          <a:prstGeom prst="rect">
            <a:avLst/>
          </a:prstGeom>
        </p:spPr>
        <p:txBody>
          <a:bodyPr lIns="0" tIns="0" rIns="72000" bIns="0"/>
          <a:lstStyle>
            <a:defPPr>
              <a:defRPr lang="en-US"/>
            </a:defPPr>
            <a:lvl1pPr marL="228600" indent="-228600" defTabSz="1219170">
              <a:lnSpc>
                <a:spcPct val="120000"/>
              </a:lnSpc>
              <a:spcBef>
                <a:spcPts val="0"/>
              </a:spcBef>
              <a:spcAft>
                <a:spcPts val="300"/>
              </a:spcAft>
              <a:buClrTx/>
              <a:buSzTx/>
              <a:buFont typeface="Arial" panose="020B0604020202020204" pitchFamily="34" charset="0"/>
              <a:buChar char="•"/>
              <a:defRPr sz="1100" spc="0">
                <a:solidFill>
                  <a:srgbClr val="000000"/>
                </a:solidFill>
                <a:latin typeface="Open Sans"/>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marR="0" lvl="0" indent="-171450" algn="l" defTabSz="1219170" eaLnBrk="1" fontAlgn="auto" latinLnBrk="0" hangingPunct="1">
              <a:lnSpc>
                <a:spcPct val="12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dirty="0">
                <a:ln>
                  <a:noFill/>
                </a:ln>
                <a:solidFill>
                  <a:srgbClr val="000000"/>
                </a:solidFill>
                <a:effectLst/>
                <a:uLnTx/>
                <a:uFillTx/>
                <a:latin typeface="Open Sans"/>
                <a:ea typeface="+mn-ea"/>
                <a:cs typeface="Open Sans" charset="0"/>
              </a:rPr>
              <a:t>Planning for </a:t>
            </a:r>
            <a:r>
              <a:rPr kumimoji="0" lang="en-US" sz="1050" b="1" i="0" u="none" strike="noStrike" kern="1200" cap="none" spc="0" normalizeH="0" baseline="0" dirty="0">
                <a:ln>
                  <a:noFill/>
                </a:ln>
                <a:solidFill>
                  <a:srgbClr val="000000"/>
                </a:solidFill>
                <a:effectLst/>
                <a:uLnTx/>
                <a:uFillTx/>
                <a:latin typeface="Open Sans"/>
                <a:ea typeface="+mn-ea"/>
                <a:cs typeface="Open Sans" charset="0"/>
              </a:rPr>
              <a:t>availability</a:t>
            </a:r>
            <a:r>
              <a:rPr kumimoji="0" lang="en-US" sz="1050" b="0" i="0" u="none" strike="noStrike" kern="1200" cap="none" spc="0" normalizeH="0" baseline="0" dirty="0">
                <a:ln>
                  <a:noFill/>
                </a:ln>
                <a:solidFill>
                  <a:srgbClr val="000000"/>
                </a:solidFill>
                <a:effectLst/>
                <a:uLnTx/>
                <a:uFillTx/>
                <a:latin typeface="Open Sans"/>
                <a:ea typeface="+mn-ea"/>
                <a:cs typeface="Open Sans" charset="0"/>
              </a:rPr>
              <a:t> of key </a:t>
            </a:r>
            <a:r>
              <a:rPr kumimoji="0" lang="en-US" sz="1050" b="1" i="0" u="none" strike="noStrike" kern="1200" cap="none" spc="0" normalizeH="0" baseline="0" dirty="0">
                <a:ln>
                  <a:noFill/>
                </a:ln>
                <a:solidFill>
                  <a:srgbClr val="000000"/>
                </a:solidFill>
                <a:effectLst/>
                <a:uLnTx/>
                <a:uFillTx/>
                <a:latin typeface="Open Sans"/>
                <a:ea typeface="+mn-ea"/>
                <a:cs typeface="Open Sans" charset="0"/>
              </a:rPr>
              <a:t>members of </a:t>
            </a:r>
            <a:br>
              <a:rPr kumimoji="0" lang="en-US" sz="1050" b="0" i="0" u="none" strike="noStrike" kern="1200" cap="none" spc="0" normalizeH="0" baseline="0" dirty="0">
                <a:ln>
                  <a:noFill/>
                </a:ln>
                <a:solidFill>
                  <a:srgbClr val="000000"/>
                </a:solidFill>
                <a:effectLst/>
                <a:uLnTx/>
                <a:uFillTx/>
                <a:latin typeface="Open Sans"/>
                <a:ea typeface="+mn-ea"/>
                <a:cs typeface="Open Sans" charset="0"/>
              </a:rPr>
            </a:br>
            <a:r>
              <a:rPr kumimoji="0" lang="en-US" sz="1050" b="0" i="0" u="none" strike="noStrike" kern="1200" cap="none" spc="0" normalizeH="0" baseline="0" dirty="0">
                <a:ln>
                  <a:noFill/>
                </a:ln>
                <a:solidFill>
                  <a:srgbClr val="000000"/>
                </a:solidFill>
                <a:effectLst/>
                <a:uLnTx/>
                <a:uFillTx/>
                <a:latin typeface="Open Sans"/>
                <a:ea typeface="+mn-ea"/>
                <a:cs typeface="Open Sans" charset="0"/>
              </a:rPr>
              <a:t>the project team on </a:t>
            </a:r>
            <a:r>
              <a:rPr lang="en-US" sz="1050" dirty="0"/>
              <a:t>UNICEF side</a:t>
            </a:r>
            <a:r>
              <a:rPr kumimoji="0" lang="en-US" sz="1050" b="0" i="0" u="none" strike="noStrike" kern="1200" cap="none" spc="0" normalizeH="0" baseline="0" dirty="0">
                <a:ln>
                  <a:noFill/>
                </a:ln>
                <a:solidFill>
                  <a:srgbClr val="000000"/>
                </a:solidFill>
                <a:effectLst/>
                <a:uLnTx/>
                <a:uFillTx/>
                <a:latin typeface="Open Sans"/>
                <a:ea typeface="+mn-ea"/>
                <a:cs typeface="Open Sans" charset="0"/>
              </a:rPr>
              <a:t> during the report presentation </a:t>
            </a:r>
          </a:p>
          <a:p>
            <a:pPr marL="171450" marR="0" lvl="0" indent="-171450" algn="l" defTabSz="1219170" eaLnBrk="1" fontAlgn="auto" latinLnBrk="0" hangingPunct="1">
              <a:lnSpc>
                <a:spcPct val="12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dirty="0">
                <a:ln>
                  <a:noFill/>
                </a:ln>
                <a:solidFill>
                  <a:srgbClr val="000000"/>
                </a:solidFill>
                <a:effectLst/>
                <a:uLnTx/>
                <a:uFillTx/>
                <a:latin typeface="Open Sans"/>
                <a:ea typeface="Open Sans"/>
                <a:cs typeface="Open Sans"/>
              </a:rPr>
              <a:t>Providing </a:t>
            </a:r>
            <a:r>
              <a:rPr kumimoji="0" lang="en-US" sz="1050" b="1" i="0" u="none" strike="noStrike" kern="1200" cap="none" spc="0" normalizeH="0" baseline="0" dirty="0">
                <a:ln>
                  <a:noFill/>
                </a:ln>
                <a:solidFill>
                  <a:srgbClr val="000000"/>
                </a:solidFill>
                <a:effectLst/>
                <a:uLnTx/>
                <a:uFillTx/>
                <a:latin typeface="Open Sans"/>
                <a:ea typeface="Open Sans"/>
                <a:cs typeface="Open Sans"/>
              </a:rPr>
              <a:t>access data </a:t>
            </a:r>
            <a:r>
              <a:rPr kumimoji="0" lang="en-US" sz="1050" b="0" i="0" u="none" strike="noStrike" kern="1200" cap="none" spc="0" normalizeH="0" baseline="0" dirty="0">
                <a:ln>
                  <a:noFill/>
                </a:ln>
                <a:solidFill>
                  <a:srgbClr val="000000"/>
                </a:solidFill>
                <a:effectLst/>
                <a:uLnTx/>
                <a:uFillTx/>
                <a:latin typeface="Open Sans"/>
                <a:ea typeface="Open Sans"/>
                <a:cs typeface="Open Sans"/>
              </a:rPr>
              <a:t>to services that require logging in or are currently being implemented</a:t>
            </a:r>
          </a:p>
          <a:p>
            <a:pPr marL="228600" marR="0" lvl="0" indent="-228600" algn="l" defTabSz="1219170" eaLnBrk="1" fontAlgn="auto" latinLnBrk="0" hangingPunct="1">
              <a:lnSpc>
                <a:spcPct val="120000"/>
              </a:lnSpc>
              <a:spcBef>
                <a:spcPts val="0"/>
              </a:spcBef>
              <a:spcAft>
                <a:spcPts val="300"/>
              </a:spcAft>
              <a:buClrTx/>
              <a:buSzTx/>
              <a:buFont typeface="Arial" panose="020B0604020202020204" pitchFamily="34" charset="0"/>
              <a:buChar char="•"/>
              <a:tabLst/>
              <a:defRPr/>
            </a:pPr>
            <a:endParaRPr kumimoji="0" lang="en-US" sz="1050" b="0" i="1" u="none" strike="noStrike" kern="1200" cap="none" spc="0" normalizeH="0" baseline="0" dirty="0">
              <a:ln>
                <a:noFill/>
              </a:ln>
              <a:solidFill>
                <a:srgbClr val="000000"/>
              </a:solidFill>
              <a:effectLst/>
              <a:uLnTx/>
              <a:uFillTx/>
              <a:latin typeface="Open Sans"/>
              <a:ea typeface="+mn-ea"/>
              <a:cs typeface="Open Sans" charset="0"/>
            </a:endParaRPr>
          </a:p>
        </p:txBody>
      </p:sp>
      <p:sp>
        <p:nvSpPr>
          <p:cNvPr id="29" name="Rectangle 28">
            <a:extLst>
              <a:ext uri="{FF2B5EF4-FFF2-40B4-BE49-F238E27FC236}">
                <a16:creationId xmlns:a16="http://schemas.microsoft.com/office/drawing/2014/main" id="{88883D44-DE61-760A-5603-F1DFDDD4E0E5}"/>
              </a:ext>
            </a:extLst>
          </p:cNvPr>
          <p:cNvSpPr/>
          <p:nvPr/>
        </p:nvSpPr>
        <p:spPr bwMode="gray">
          <a:xfrm>
            <a:off x="4767471" y="6011582"/>
            <a:ext cx="1719756"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06000"/>
              </a:lnSpc>
              <a:defRPr/>
            </a:pPr>
            <a:r>
              <a:rPr lang="en-US" sz="800" i="1" dirty="0">
                <a:latin typeface="Open Sans Light"/>
                <a:ea typeface="Open Sans"/>
                <a:cs typeface="Open Sans"/>
              </a:rPr>
              <a:t>Usability Assessment report </a:t>
            </a:r>
          </a:p>
        </p:txBody>
      </p:sp>
      <p:pic>
        <p:nvPicPr>
          <p:cNvPr id="30" name="Picture 14" descr="Graphical user interface, text, application&#10;&#10;Description automatically generated">
            <a:extLst>
              <a:ext uri="{FF2B5EF4-FFF2-40B4-BE49-F238E27FC236}">
                <a16:creationId xmlns:a16="http://schemas.microsoft.com/office/drawing/2014/main" id="{8FA42FC9-FEB7-7A05-76EF-80ACE43C7F70}"/>
              </a:ext>
            </a:extLst>
          </p:cNvPr>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4561810" y="4727782"/>
            <a:ext cx="2202061" cy="1283800"/>
          </a:xfrm>
          <a:prstGeom prst="rect">
            <a:avLst/>
          </a:prstGeom>
          <a:noFill/>
          <a:effectLst>
            <a:outerShdw blurRad="50800" dist="38100" dir="2700000" algn="tl" rotWithShape="0">
              <a:prstClr val="black">
                <a:alpha val="40000"/>
              </a:prstClr>
            </a:outerShdw>
          </a:effectLst>
        </p:spPr>
      </p:pic>
      <p:pic>
        <p:nvPicPr>
          <p:cNvPr id="31" name="Picture 13" descr="Timeline&#10;&#10;Description automatically generated">
            <a:extLst>
              <a:ext uri="{FF2B5EF4-FFF2-40B4-BE49-F238E27FC236}">
                <a16:creationId xmlns:a16="http://schemas.microsoft.com/office/drawing/2014/main" id="{9734467C-EC53-442B-CD28-D0CC4CDDFB54}"/>
              </a:ext>
            </a:extLst>
          </p:cNvPr>
          <p:cNvPicPr>
            <a:picLocks noChangeAspect="1"/>
          </p:cNvPicPr>
          <p:nvPr/>
        </p:nvPicPr>
        <p:blipFill>
          <a:blip r:embed="rId7" cstate="email">
            <a:grayscl/>
            <a:extLst>
              <a:ext uri="{28A0092B-C50C-407E-A947-70E740481C1C}">
                <a14:useLocalDpi xmlns:a14="http://schemas.microsoft.com/office/drawing/2010/main"/>
              </a:ext>
            </a:extLst>
          </a:blip>
          <a:stretch>
            <a:fillRect/>
          </a:stretch>
        </p:blipFill>
        <p:spPr>
          <a:xfrm>
            <a:off x="6854411" y="4727782"/>
            <a:ext cx="2263487" cy="1283800"/>
          </a:xfrm>
          <a:prstGeom prst="rect">
            <a:avLst/>
          </a:prstGeom>
          <a:noFill/>
          <a:effectLst>
            <a:outerShdw blurRad="50800" dist="38100" dir="2700000" algn="tl" rotWithShape="0">
              <a:prstClr val="black">
                <a:alpha val="40000"/>
              </a:prstClr>
            </a:outerShdw>
          </a:effectLst>
        </p:spPr>
      </p:pic>
      <p:sp>
        <p:nvSpPr>
          <p:cNvPr id="32" name="Rectangle 31">
            <a:extLst>
              <a:ext uri="{FF2B5EF4-FFF2-40B4-BE49-F238E27FC236}">
                <a16:creationId xmlns:a16="http://schemas.microsoft.com/office/drawing/2014/main" id="{82ADE16E-005D-0384-2915-AAD9E462DFEF}"/>
              </a:ext>
            </a:extLst>
          </p:cNvPr>
          <p:cNvSpPr/>
          <p:nvPr/>
        </p:nvSpPr>
        <p:spPr bwMode="gray">
          <a:xfrm>
            <a:off x="7096464" y="6011581"/>
            <a:ext cx="1719756"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06000"/>
              </a:lnSpc>
              <a:defRPr/>
            </a:pPr>
            <a:r>
              <a:rPr lang="en-US" sz="800" i="1" dirty="0">
                <a:latin typeface="Open Sans Light"/>
                <a:ea typeface="Open Sans"/>
                <a:cs typeface="Open Sans"/>
              </a:rPr>
              <a:t>Benchmarking report </a:t>
            </a:r>
          </a:p>
        </p:txBody>
      </p:sp>
    </p:spTree>
    <p:extLst>
      <p:ext uri="{BB962C8B-B14F-4D97-AF65-F5344CB8AC3E}">
        <p14:creationId xmlns:p14="http://schemas.microsoft.com/office/powerpoint/2010/main" val="116602989"/>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1F1239-939D-8D5A-1779-9F3223334E8C}"/>
              </a:ext>
            </a:extLst>
          </p:cNvPr>
          <p:cNvGraphicFramePr>
            <a:graphicFrameLocks noChangeAspect="1"/>
          </p:cNvGraphicFramePr>
          <p:nvPr>
            <p:custDataLst>
              <p:tags r:id="rId1"/>
            </p:custDataLst>
            <p:extLst>
              <p:ext uri="{D42A27DB-BD31-4B8C-83A1-F6EECF244321}">
                <p14:modId xmlns:p14="http://schemas.microsoft.com/office/powerpoint/2010/main" val="345737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EF1F1239-939D-8D5A-1779-9F3223334E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758906-63F1-C247-8DE8-AA23459682C5}"/>
              </a:ext>
            </a:extLst>
          </p:cNvPr>
          <p:cNvSpPr>
            <a:spLocks noGrp="1"/>
          </p:cNvSpPr>
          <p:nvPr>
            <p:ph type="title"/>
          </p:nvPr>
        </p:nvSpPr>
        <p:spPr>
          <a:xfrm>
            <a:off x="463295" y="417911"/>
            <a:ext cx="11277600" cy="334099"/>
          </a:xfrm>
        </p:spPr>
        <p:txBody>
          <a:bodyPr vert="horz"/>
          <a:lstStyle/>
          <a:p>
            <a:r>
              <a:rPr lang="en-US" sz="2400" dirty="0">
                <a:ea typeface="+mj-lt"/>
                <a:cs typeface="+mj-lt"/>
              </a:rPr>
              <a:t>Assessing the usability of websites and applications enables identifying strengths and areas of improvement</a:t>
            </a:r>
            <a:endParaRPr lang="en-US" sz="2400" dirty="0"/>
          </a:p>
        </p:txBody>
      </p:sp>
      <p:sp>
        <p:nvSpPr>
          <p:cNvPr id="4" name="Rectangle 3">
            <a:extLst>
              <a:ext uri="{FF2B5EF4-FFF2-40B4-BE49-F238E27FC236}">
                <a16:creationId xmlns:a16="http://schemas.microsoft.com/office/drawing/2014/main" id="{56BD66AC-258C-5805-2B08-09253CFFA6FF}"/>
              </a:ext>
            </a:extLst>
          </p:cNvPr>
          <p:cNvSpPr/>
          <p:nvPr/>
        </p:nvSpPr>
        <p:spPr>
          <a:xfrm>
            <a:off x="463296" y="1232453"/>
            <a:ext cx="3802366" cy="178226"/>
          </a:xfrm>
          <a:prstGeom prst="rect">
            <a:avLst/>
          </a:prstGeom>
          <a:solidFill>
            <a:srgbClr val="44B9E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ENVISION DEEP DIVE – CO-CREATION</a:t>
            </a:r>
          </a:p>
        </p:txBody>
      </p:sp>
      <p:sp>
        <p:nvSpPr>
          <p:cNvPr id="12" name="Rectangle 11">
            <a:extLst>
              <a:ext uri="{FF2B5EF4-FFF2-40B4-BE49-F238E27FC236}">
                <a16:creationId xmlns:a16="http://schemas.microsoft.com/office/drawing/2014/main" id="{77546626-9E91-633F-4A9A-1E96294BC519}"/>
              </a:ext>
            </a:extLst>
          </p:cNvPr>
          <p:cNvSpPr/>
          <p:nvPr/>
        </p:nvSpPr>
        <p:spPr>
          <a:xfrm>
            <a:off x="941877" y="1871473"/>
            <a:ext cx="2531825"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SCOPE</a:t>
            </a:r>
          </a:p>
        </p:txBody>
      </p:sp>
      <p:sp>
        <p:nvSpPr>
          <p:cNvPr id="13" name="Freeform 723">
            <a:extLst>
              <a:ext uri="{FF2B5EF4-FFF2-40B4-BE49-F238E27FC236}">
                <a16:creationId xmlns:a16="http://schemas.microsoft.com/office/drawing/2014/main" id="{0F8758F1-E740-308A-A4CB-34F20AEDA102}"/>
              </a:ext>
            </a:extLst>
          </p:cNvPr>
          <p:cNvSpPr>
            <a:spLocks noChangeAspect="1" noEditPoints="1"/>
          </p:cNvSpPr>
          <p:nvPr/>
        </p:nvSpPr>
        <p:spPr bwMode="auto">
          <a:xfrm>
            <a:off x="475008" y="1811346"/>
            <a:ext cx="304920" cy="30492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44B9E6"/>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4" name="Rounded Rectangle 236">
            <a:extLst>
              <a:ext uri="{FF2B5EF4-FFF2-40B4-BE49-F238E27FC236}">
                <a16:creationId xmlns:a16="http://schemas.microsoft.com/office/drawing/2014/main" id="{6FFA2440-ED09-5173-7504-5F61B4226F7B}"/>
              </a:ext>
            </a:extLst>
          </p:cNvPr>
          <p:cNvSpPr/>
          <p:nvPr/>
        </p:nvSpPr>
        <p:spPr bwMode="gray">
          <a:xfrm>
            <a:off x="475008" y="2200343"/>
            <a:ext cx="3314818" cy="54095"/>
          </a:xfrm>
          <a:prstGeom prst="roundRect">
            <a:avLst>
              <a:gd name="adj" fmla="val 50000"/>
            </a:avLst>
          </a:prstGeom>
          <a:solidFill>
            <a:srgbClr val="44B9E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9DC880F-EC01-A9C4-199A-38DCE48D59AB}"/>
              </a:ext>
            </a:extLst>
          </p:cNvPr>
          <p:cNvSpPr/>
          <p:nvPr/>
        </p:nvSpPr>
        <p:spPr>
          <a:xfrm>
            <a:off x="4687065" y="1871473"/>
            <a:ext cx="1985196"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WORK PRODUCTS</a:t>
            </a:r>
          </a:p>
        </p:txBody>
      </p:sp>
      <p:sp>
        <p:nvSpPr>
          <p:cNvPr id="17" name="Freeform 768">
            <a:extLst>
              <a:ext uri="{FF2B5EF4-FFF2-40B4-BE49-F238E27FC236}">
                <a16:creationId xmlns:a16="http://schemas.microsoft.com/office/drawing/2014/main" id="{194972A0-9B1E-2838-7246-DDE037DA0714}"/>
              </a:ext>
            </a:extLst>
          </p:cNvPr>
          <p:cNvSpPr>
            <a:spLocks noChangeAspect="1" noEditPoints="1"/>
          </p:cNvSpPr>
          <p:nvPr/>
        </p:nvSpPr>
        <p:spPr bwMode="auto">
          <a:xfrm>
            <a:off x="4265661" y="1811346"/>
            <a:ext cx="304920" cy="30492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rgbClr val="44B9E6"/>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8" name="Rounded Rectangle 236">
            <a:extLst>
              <a:ext uri="{FF2B5EF4-FFF2-40B4-BE49-F238E27FC236}">
                <a16:creationId xmlns:a16="http://schemas.microsoft.com/office/drawing/2014/main" id="{3F92832E-83C7-D138-CB30-DBAE9B55C68F}"/>
              </a:ext>
            </a:extLst>
          </p:cNvPr>
          <p:cNvSpPr/>
          <p:nvPr/>
        </p:nvSpPr>
        <p:spPr bwMode="gray">
          <a:xfrm>
            <a:off x="4220195" y="2200343"/>
            <a:ext cx="3314818" cy="54095"/>
          </a:xfrm>
          <a:prstGeom prst="roundRect">
            <a:avLst>
              <a:gd name="adj" fmla="val 50000"/>
            </a:avLst>
          </a:prstGeom>
          <a:solidFill>
            <a:srgbClr val="44B9E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9DF1C5EF-B3B3-CD1B-E48B-113C78A9CC68}"/>
              </a:ext>
            </a:extLst>
          </p:cNvPr>
          <p:cNvSpPr/>
          <p:nvPr/>
        </p:nvSpPr>
        <p:spPr>
          <a:xfrm>
            <a:off x="8432252" y="1871473"/>
            <a:ext cx="2562849"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CLIENT ENGAGEMENT</a:t>
            </a:r>
          </a:p>
        </p:txBody>
      </p:sp>
      <p:sp>
        <p:nvSpPr>
          <p:cNvPr id="20" name="Freeform 772">
            <a:extLst>
              <a:ext uri="{FF2B5EF4-FFF2-40B4-BE49-F238E27FC236}">
                <a16:creationId xmlns:a16="http://schemas.microsoft.com/office/drawing/2014/main" id="{1939DFB3-17FD-AA89-3B4A-9F0A3105CF7F}"/>
              </a:ext>
            </a:extLst>
          </p:cNvPr>
          <p:cNvSpPr>
            <a:spLocks noChangeAspect="1" noEditPoints="1"/>
          </p:cNvSpPr>
          <p:nvPr/>
        </p:nvSpPr>
        <p:spPr bwMode="auto">
          <a:xfrm>
            <a:off x="8010849" y="1811346"/>
            <a:ext cx="304920" cy="304920"/>
          </a:xfrm>
          <a:custGeom>
            <a:avLst/>
            <a:gdLst>
              <a:gd name="T0" fmla="*/ 256 w 512"/>
              <a:gd name="T1" fmla="*/ 138 h 512"/>
              <a:gd name="T2" fmla="*/ 208 w 512"/>
              <a:gd name="T3" fmla="*/ 186 h 512"/>
              <a:gd name="T4" fmla="*/ 256 w 512"/>
              <a:gd name="T5" fmla="*/ 234 h 512"/>
              <a:gd name="T6" fmla="*/ 304 w 512"/>
              <a:gd name="T7" fmla="*/ 186 h 512"/>
              <a:gd name="T8" fmla="*/ 256 w 512"/>
              <a:gd name="T9" fmla="*/ 138 h 512"/>
              <a:gd name="T10" fmla="*/ 256 w 512"/>
              <a:gd name="T11" fmla="*/ 176 h 512"/>
              <a:gd name="T12" fmla="*/ 245 w 512"/>
              <a:gd name="T13" fmla="*/ 186 h 512"/>
              <a:gd name="T14" fmla="*/ 234 w 512"/>
              <a:gd name="T15" fmla="*/ 197 h 512"/>
              <a:gd name="T16" fmla="*/ 224 w 512"/>
              <a:gd name="T17" fmla="*/ 186 h 512"/>
              <a:gd name="T18" fmla="*/ 256 w 512"/>
              <a:gd name="T19" fmla="*/ 154 h 512"/>
              <a:gd name="T20" fmla="*/ 266 w 512"/>
              <a:gd name="T21" fmla="*/ 165 h 512"/>
              <a:gd name="T22" fmla="*/ 256 w 512"/>
              <a:gd name="T23" fmla="*/ 176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266 w 512"/>
              <a:gd name="T35" fmla="*/ 255 h 512"/>
              <a:gd name="T36" fmla="*/ 266 w 512"/>
              <a:gd name="T37" fmla="*/ 384 h 512"/>
              <a:gd name="T38" fmla="*/ 256 w 512"/>
              <a:gd name="T39" fmla="*/ 394 h 512"/>
              <a:gd name="T40" fmla="*/ 245 w 512"/>
              <a:gd name="T41" fmla="*/ 384 h 512"/>
              <a:gd name="T42" fmla="*/ 245 w 512"/>
              <a:gd name="T43" fmla="*/ 255 h 512"/>
              <a:gd name="T44" fmla="*/ 186 w 512"/>
              <a:gd name="T45" fmla="*/ 186 h 512"/>
              <a:gd name="T46" fmla="*/ 256 w 512"/>
              <a:gd name="T47" fmla="*/ 117 h 512"/>
              <a:gd name="T48" fmla="*/ 325 w 512"/>
              <a:gd name="T49" fmla="*/ 186 h 512"/>
              <a:gd name="T50" fmla="*/ 266 w 512"/>
              <a:gd name="T51"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138"/>
                </a:moveTo>
                <a:cubicBezTo>
                  <a:pt x="229" y="138"/>
                  <a:pt x="208" y="160"/>
                  <a:pt x="208" y="186"/>
                </a:cubicBezTo>
                <a:cubicBezTo>
                  <a:pt x="208" y="213"/>
                  <a:pt x="229" y="234"/>
                  <a:pt x="256" y="234"/>
                </a:cubicBezTo>
                <a:cubicBezTo>
                  <a:pt x="282" y="234"/>
                  <a:pt x="304" y="213"/>
                  <a:pt x="304" y="186"/>
                </a:cubicBezTo>
                <a:cubicBezTo>
                  <a:pt x="304" y="160"/>
                  <a:pt x="282" y="138"/>
                  <a:pt x="256" y="138"/>
                </a:cubicBezTo>
                <a:close/>
                <a:moveTo>
                  <a:pt x="256" y="176"/>
                </a:moveTo>
                <a:cubicBezTo>
                  <a:pt x="250" y="176"/>
                  <a:pt x="245" y="180"/>
                  <a:pt x="245" y="186"/>
                </a:cubicBezTo>
                <a:cubicBezTo>
                  <a:pt x="245" y="192"/>
                  <a:pt x="240" y="197"/>
                  <a:pt x="234" y="197"/>
                </a:cubicBezTo>
                <a:cubicBezTo>
                  <a:pt x="228" y="197"/>
                  <a:pt x="224" y="192"/>
                  <a:pt x="224" y="186"/>
                </a:cubicBezTo>
                <a:cubicBezTo>
                  <a:pt x="224" y="169"/>
                  <a:pt x="238" y="154"/>
                  <a:pt x="256" y="154"/>
                </a:cubicBezTo>
                <a:cubicBezTo>
                  <a:pt x="262" y="154"/>
                  <a:pt x="266" y="159"/>
                  <a:pt x="266" y="165"/>
                </a:cubicBezTo>
                <a:cubicBezTo>
                  <a:pt x="266" y="171"/>
                  <a:pt x="262" y="176"/>
                  <a:pt x="256" y="17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255"/>
                </a:moveTo>
                <a:cubicBezTo>
                  <a:pt x="266" y="384"/>
                  <a:pt x="266" y="384"/>
                  <a:pt x="266" y="384"/>
                </a:cubicBezTo>
                <a:cubicBezTo>
                  <a:pt x="266" y="390"/>
                  <a:pt x="262" y="394"/>
                  <a:pt x="256" y="394"/>
                </a:cubicBezTo>
                <a:cubicBezTo>
                  <a:pt x="250" y="394"/>
                  <a:pt x="245" y="390"/>
                  <a:pt x="245" y="384"/>
                </a:cubicBezTo>
                <a:cubicBezTo>
                  <a:pt x="245" y="255"/>
                  <a:pt x="245" y="255"/>
                  <a:pt x="245" y="255"/>
                </a:cubicBezTo>
                <a:cubicBezTo>
                  <a:pt x="212" y="250"/>
                  <a:pt x="186" y="221"/>
                  <a:pt x="186" y="186"/>
                </a:cubicBezTo>
                <a:cubicBezTo>
                  <a:pt x="186" y="148"/>
                  <a:pt x="217" y="117"/>
                  <a:pt x="256" y="117"/>
                </a:cubicBezTo>
                <a:cubicBezTo>
                  <a:pt x="294" y="117"/>
                  <a:pt x="325" y="148"/>
                  <a:pt x="325" y="186"/>
                </a:cubicBezTo>
                <a:cubicBezTo>
                  <a:pt x="325" y="221"/>
                  <a:pt x="300" y="250"/>
                  <a:pt x="266" y="255"/>
                </a:cubicBezTo>
                <a:close/>
              </a:path>
            </a:pathLst>
          </a:custGeom>
          <a:solidFill>
            <a:srgbClr val="44B9E6"/>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21" name="Rounded Rectangle 236">
            <a:extLst>
              <a:ext uri="{FF2B5EF4-FFF2-40B4-BE49-F238E27FC236}">
                <a16:creationId xmlns:a16="http://schemas.microsoft.com/office/drawing/2014/main" id="{E2F29B70-6ED5-C12F-0445-FD7D6D19FA0E}"/>
              </a:ext>
            </a:extLst>
          </p:cNvPr>
          <p:cNvSpPr/>
          <p:nvPr/>
        </p:nvSpPr>
        <p:spPr bwMode="gray">
          <a:xfrm>
            <a:off x="7965383" y="2200343"/>
            <a:ext cx="3314818" cy="54095"/>
          </a:xfrm>
          <a:prstGeom prst="roundRect">
            <a:avLst>
              <a:gd name="adj" fmla="val 50000"/>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B87994CA-C9D8-93EA-3FE0-A9E58EFC5074}"/>
              </a:ext>
            </a:extLst>
          </p:cNvPr>
          <p:cNvSpPr/>
          <p:nvPr/>
        </p:nvSpPr>
        <p:spPr>
          <a:xfrm>
            <a:off x="4883955" y="4228932"/>
            <a:ext cx="2847948"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SAMPLE PRODUCTS</a:t>
            </a:r>
          </a:p>
        </p:txBody>
      </p:sp>
      <p:sp>
        <p:nvSpPr>
          <p:cNvPr id="23" name="Freeform 240">
            <a:extLst>
              <a:ext uri="{FF2B5EF4-FFF2-40B4-BE49-F238E27FC236}">
                <a16:creationId xmlns:a16="http://schemas.microsoft.com/office/drawing/2014/main" id="{3168B35F-8F2A-F208-4B5D-1C786E57994F}"/>
              </a:ext>
            </a:extLst>
          </p:cNvPr>
          <p:cNvSpPr>
            <a:spLocks noChangeAspect="1" noEditPoints="1"/>
          </p:cNvSpPr>
          <p:nvPr/>
        </p:nvSpPr>
        <p:spPr bwMode="auto">
          <a:xfrm>
            <a:off x="4462551" y="4168805"/>
            <a:ext cx="304920" cy="30492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rgbClr val="44B9E6"/>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25" name="Rounded Rectangle 236">
            <a:extLst>
              <a:ext uri="{FF2B5EF4-FFF2-40B4-BE49-F238E27FC236}">
                <a16:creationId xmlns:a16="http://schemas.microsoft.com/office/drawing/2014/main" id="{1E18057D-01A9-B1C3-C8BD-7BA5B0F03AB7}"/>
              </a:ext>
            </a:extLst>
          </p:cNvPr>
          <p:cNvSpPr/>
          <p:nvPr/>
        </p:nvSpPr>
        <p:spPr bwMode="gray">
          <a:xfrm>
            <a:off x="4417085" y="4557802"/>
            <a:ext cx="6732000" cy="54095"/>
          </a:xfrm>
          <a:prstGeom prst="roundRect">
            <a:avLst>
              <a:gd name="adj" fmla="val 50000"/>
            </a:avLst>
          </a:prstGeom>
          <a:solidFill>
            <a:srgbClr val="44B9E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469F3EE2-AE7A-AFB5-9FDD-2EFF68A189EF}"/>
              </a:ext>
            </a:extLst>
          </p:cNvPr>
          <p:cNvSpPr txBox="1">
            <a:spLocks/>
          </p:cNvSpPr>
          <p:nvPr/>
        </p:nvSpPr>
        <p:spPr>
          <a:xfrm>
            <a:off x="460694" y="2398642"/>
            <a:ext cx="3347154" cy="3919267"/>
          </a:xfrm>
          <a:prstGeom prst="rect">
            <a:avLst/>
          </a:prstGeom>
        </p:spPr>
        <p:txBody>
          <a:bodyPr lIns="0" tIns="0" rIns="72000" b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520"/>
              </a:lnSpc>
              <a:spcAft>
                <a:spcPts val="300"/>
              </a:spcAft>
              <a:buNone/>
              <a:defRPr/>
            </a:pPr>
            <a:r>
              <a:rPr lang="en-US" sz="105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Two workshops (ideation and co-creation) with the participation of an interdisciplinary team (UNICEF + Deloitte), during which a vision of the digital product. </a:t>
            </a:r>
          </a:p>
          <a:p>
            <a:pPr marL="0" indent="0">
              <a:lnSpc>
                <a:spcPts val="1520"/>
              </a:lnSpc>
              <a:spcAft>
                <a:spcPts val="300"/>
              </a:spcAft>
              <a:buNone/>
              <a:defRPr/>
            </a:pPr>
            <a:r>
              <a:rPr lang="en-US" sz="105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In this process, we carry out two types of workshops: </a:t>
            </a:r>
          </a:p>
          <a:p>
            <a:pPr marL="0" indent="0">
              <a:lnSpc>
                <a:spcPts val="1520"/>
              </a:lnSpc>
              <a:spcAft>
                <a:spcPts val="300"/>
              </a:spcAft>
              <a:buNone/>
              <a:defRPr/>
            </a:pPr>
            <a:r>
              <a:rPr lang="en-US" sz="1050" b="1" dirty="0">
                <a:latin typeface="Open Sans" panose="020B0606030504020204" pitchFamily="34" charset="0"/>
                <a:ea typeface="Open Sans" panose="020B0606030504020204" pitchFamily="34" charset="0"/>
                <a:cs typeface="Open Sans" panose="020B0606030504020204" pitchFamily="34" charset="0"/>
              </a:rPr>
              <a:t>Strategic workshops, </a:t>
            </a:r>
            <a:r>
              <a:rPr lang="en-US" sz="1050" dirty="0">
                <a:latin typeface="Open Sans" panose="020B0606030504020204" pitchFamily="34" charset="0"/>
                <a:ea typeface="Open Sans" panose="020B0606030504020204" pitchFamily="34" charset="0"/>
                <a:cs typeface="Open Sans" panose="020B0606030504020204" pitchFamily="34" charset="0"/>
              </a:rPr>
              <a:t>during which we will share insights, define requirements for the project and  define overall vision for the digital product. </a:t>
            </a:r>
          </a:p>
          <a:p>
            <a:pPr marL="0" indent="0">
              <a:lnSpc>
                <a:spcPts val="1520"/>
              </a:lnSpc>
              <a:spcAft>
                <a:spcPts val="300"/>
              </a:spcAft>
              <a:buNone/>
              <a:defRPr/>
            </a:pPr>
            <a:r>
              <a:rPr lang="en-US" sz="1050" b="1" dirty="0">
                <a:latin typeface="Open Sans" panose="020B0606030504020204" pitchFamily="34" charset="0"/>
                <a:ea typeface="Open Sans" panose="020B0606030504020204" pitchFamily="34" charset="0"/>
                <a:cs typeface="Open Sans" panose="020B0606030504020204" pitchFamily="34" charset="0"/>
              </a:rPr>
              <a:t>A co-creation workshop </a:t>
            </a:r>
            <a:r>
              <a:rPr lang="en-US" sz="1050" dirty="0">
                <a:latin typeface="Open Sans" panose="020B0606030504020204" pitchFamily="34" charset="0"/>
                <a:ea typeface="Open Sans" panose="020B0606030504020204" pitchFamily="34" charset="0"/>
                <a:cs typeface="Open Sans" panose="020B0606030504020204" pitchFamily="34" charset="0"/>
              </a:rPr>
              <a:t>aimed at jointly developing a high-level concept. Depending on the scope we may be working on a specific output such as mapping a customer journey or information architecture, based on the knowledge gained in the previous phases </a:t>
            </a:r>
            <a:br>
              <a:rPr lang="en-US" sz="1050" dirty="0">
                <a:latin typeface="Open Sans" panose="020B0606030504020204" pitchFamily="34" charset="0"/>
                <a:ea typeface="Open Sans" panose="020B0606030504020204" pitchFamily="34" charset="0"/>
                <a:cs typeface="Open Sans" panose="020B0606030504020204" pitchFamily="34" charset="0"/>
              </a:rPr>
            </a:br>
            <a:r>
              <a:rPr lang="en-US" sz="1050" dirty="0">
                <a:latin typeface="Open Sans" panose="020B0606030504020204" pitchFamily="34" charset="0"/>
                <a:ea typeface="Open Sans" panose="020B0606030504020204" pitchFamily="34" charset="0"/>
                <a:cs typeface="Open Sans" panose="020B0606030504020204" pitchFamily="34" charset="0"/>
              </a:rPr>
              <a:t>and ideas developed during the ideation workshops.</a:t>
            </a:r>
          </a:p>
          <a:p>
            <a:pPr marL="0" indent="0">
              <a:lnSpc>
                <a:spcPts val="1520"/>
              </a:lnSpc>
              <a:spcAft>
                <a:spcPts val="300"/>
              </a:spcAft>
              <a:buNone/>
              <a:defRPr/>
            </a:pPr>
            <a:r>
              <a:rPr lang="en-US" sz="1050" dirty="0">
                <a:latin typeface="Open Sans" panose="020B0606030504020204" pitchFamily="34" charset="0"/>
                <a:ea typeface="Open Sans" panose="020B0606030504020204" pitchFamily="34" charset="0"/>
                <a:cs typeface="Open Sans" panose="020B0606030504020204" pitchFamily="34" charset="0"/>
              </a:rPr>
              <a:t>The workshops can be carried out online or in-person. </a:t>
            </a:r>
          </a:p>
          <a:p>
            <a:pPr>
              <a:lnSpc>
                <a:spcPts val="1520"/>
              </a:lnSpc>
              <a:spcAft>
                <a:spcPts val="300"/>
              </a:spcAft>
              <a:buFont typeface="Arial"/>
              <a:buChar char="•"/>
              <a:defRPr/>
            </a:pPr>
            <a:endParaRPr lang="en-US" sz="1050" dirty="0">
              <a:latin typeface="Open Sans" panose="020B0606030504020204" pitchFamily="34" charset="0"/>
              <a:ea typeface="Open Sans" panose="020B0606030504020204" pitchFamily="34" charset="0"/>
              <a:cs typeface="Open Sans" panose="020B0606030504020204" pitchFamily="34" charset="0"/>
            </a:endParaRPr>
          </a:p>
          <a:p>
            <a:pPr>
              <a:lnSpc>
                <a:spcPts val="1520"/>
              </a:lnSpc>
              <a:spcAft>
                <a:spcPts val="300"/>
              </a:spcAft>
              <a:buFont typeface="Arial,Sans-Serif"/>
              <a:buChar char="•"/>
              <a:defRPr/>
            </a:pPr>
            <a:endParaRPr lang="en-US" sz="1050" dirty="0">
              <a:latin typeface="Open Sans" panose="020B0606030504020204" pitchFamily="34" charset="0"/>
              <a:ea typeface="Open Sans" panose="020B0606030504020204" pitchFamily="34" charset="0"/>
              <a:cs typeface="Open Sans" panose="020B0606030504020204" pitchFamily="34" charset="0"/>
            </a:endParaRPr>
          </a:p>
          <a:p>
            <a:pPr marL="0" indent="0">
              <a:lnSpc>
                <a:spcPts val="1520"/>
              </a:lnSpc>
              <a:spcAft>
                <a:spcPts val="300"/>
              </a:spcAft>
              <a:buNone/>
              <a:defRPr/>
            </a:pPr>
            <a:endParaRPr lang="en-US" sz="1050"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2">
            <a:extLst>
              <a:ext uri="{FF2B5EF4-FFF2-40B4-BE49-F238E27FC236}">
                <a16:creationId xmlns:a16="http://schemas.microsoft.com/office/drawing/2014/main" id="{41DBC0B5-A0C5-BADB-9435-11890F6F5121}"/>
              </a:ext>
            </a:extLst>
          </p:cNvPr>
          <p:cNvSpPr txBox="1">
            <a:spLocks/>
          </p:cNvSpPr>
          <p:nvPr/>
        </p:nvSpPr>
        <p:spPr>
          <a:xfrm>
            <a:off x="4220195" y="2402811"/>
            <a:ext cx="3314818" cy="1665835"/>
          </a:xfrm>
          <a:prstGeom prst="rect">
            <a:avLst/>
          </a:prstGeom>
        </p:spPr>
        <p:txBody>
          <a:bodyPr lIns="0" tIns="0" rIns="72000" bIns="0" anchor="t"/>
          <a:lstStyle>
            <a:defPPr>
              <a:defRPr lang="en-US"/>
            </a:defPPr>
            <a:lvl1pPr marL="228600" indent="-228600" defTabSz="1219170">
              <a:lnSpc>
                <a:spcPct val="120000"/>
              </a:lnSpc>
              <a:spcBef>
                <a:spcPts val="0"/>
              </a:spcBef>
              <a:spcAft>
                <a:spcPts val="300"/>
              </a:spcAft>
              <a:buClrTx/>
              <a:buSzTx/>
              <a:buFont typeface="Arial" panose="020B0604020202020204" pitchFamily="34" charset="0"/>
              <a:buChar char="•"/>
              <a:defRPr sz="1100" spc="0">
                <a:solidFill>
                  <a:srgbClr val="000000"/>
                </a:solidFill>
                <a:latin typeface="Open Sans"/>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9705" indent="-179705">
              <a:lnSpc>
                <a:spcPct val="100000"/>
              </a:lnSpc>
              <a:defRPr/>
            </a:pPr>
            <a:r>
              <a:rPr kumimoji="0" lang="en-US" sz="1050" i="0" u="none" strike="noStrike" kern="1200" cap="none" spc="0" normalizeH="0" baseline="0" dirty="0">
                <a:ln>
                  <a:noFill/>
                </a:ln>
                <a:solidFill>
                  <a:srgbClr val="000000"/>
                </a:solidFill>
                <a:effectLst/>
                <a:uLnTx/>
                <a:uFillTx/>
                <a:latin typeface="Open Sans"/>
                <a:ea typeface="+mn-ea"/>
                <a:cs typeface="Open Sans"/>
              </a:rPr>
              <a:t>A high-level vision of </a:t>
            </a:r>
            <a:r>
              <a:rPr lang="en-US" sz="1050" dirty="0">
                <a:cs typeface="Open Sans"/>
              </a:rPr>
              <a:t>the product </a:t>
            </a:r>
            <a:r>
              <a:rPr kumimoji="0" lang="en-US" sz="1050" i="0" u="none" strike="noStrike" kern="1200" cap="none" spc="0" normalizeH="0" baseline="0" dirty="0">
                <a:ln>
                  <a:noFill/>
                </a:ln>
                <a:solidFill>
                  <a:srgbClr val="000000"/>
                </a:solidFill>
                <a:effectLst/>
                <a:uLnTx/>
                <a:uFillTx/>
                <a:latin typeface="Open Sans"/>
                <a:ea typeface="+mn-ea"/>
                <a:cs typeface="Open Sans"/>
              </a:rPr>
              <a:t>which will be the starting point for further development. </a:t>
            </a:r>
          </a:p>
          <a:p>
            <a:pPr marL="179705" indent="-179705">
              <a:lnSpc>
                <a:spcPct val="100000"/>
              </a:lnSpc>
              <a:defRPr/>
            </a:pPr>
            <a:endParaRPr kumimoji="0" lang="en-US" sz="1050" i="0" u="none" strike="noStrike" kern="1200" cap="none" spc="0" normalizeH="0" baseline="0" dirty="0">
              <a:ln>
                <a:noFill/>
              </a:ln>
              <a:solidFill>
                <a:srgbClr val="000000"/>
              </a:solidFill>
              <a:effectLst/>
              <a:uLnTx/>
              <a:uFillTx/>
              <a:latin typeface="Open Sans"/>
              <a:ea typeface="+mn-ea"/>
              <a:cs typeface="Open Sans"/>
            </a:endParaRPr>
          </a:p>
          <a:p>
            <a:pPr marL="179705" indent="-179705">
              <a:lnSpc>
                <a:spcPct val="100000"/>
              </a:lnSpc>
              <a:defRPr/>
            </a:pPr>
            <a:endParaRPr kumimoji="0" lang="en-US" sz="1050" i="0" u="none" strike="noStrike" kern="1200" cap="none" spc="0" normalizeH="0" baseline="0" dirty="0">
              <a:ln>
                <a:noFill/>
              </a:ln>
              <a:solidFill>
                <a:srgbClr val="000000"/>
              </a:solidFill>
              <a:effectLst/>
              <a:uLnTx/>
              <a:uFillTx/>
              <a:latin typeface="Open Sans"/>
              <a:ea typeface="+mn-ea"/>
              <a:cs typeface="Open Sans"/>
            </a:endParaRPr>
          </a:p>
        </p:txBody>
      </p:sp>
      <p:sp>
        <p:nvSpPr>
          <p:cNvPr id="6" name="Text Placeholder 2">
            <a:extLst>
              <a:ext uri="{FF2B5EF4-FFF2-40B4-BE49-F238E27FC236}">
                <a16:creationId xmlns:a16="http://schemas.microsoft.com/office/drawing/2014/main" id="{F5CCB25F-D075-0042-A29F-BE94A3097023}"/>
              </a:ext>
            </a:extLst>
          </p:cNvPr>
          <p:cNvSpPr txBox="1">
            <a:spLocks/>
          </p:cNvSpPr>
          <p:nvPr/>
        </p:nvSpPr>
        <p:spPr>
          <a:xfrm>
            <a:off x="7965383" y="2338515"/>
            <a:ext cx="3314818" cy="1665835"/>
          </a:xfrm>
          <a:prstGeom prst="rect">
            <a:avLst/>
          </a:prstGeom>
        </p:spPr>
        <p:txBody>
          <a:bodyPr lIns="0" tIns="0" rIns="72000" bIns="0" anchor="t"/>
          <a:lstStyle>
            <a:defPPr>
              <a:defRPr lang="en-US"/>
            </a:defPPr>
            <a:lvl1pPr marL="228600" indent="-228600" defTabSz="1219170">
              <a:lnSpc>
                <a:spcPct val="120000"/>
              </a:lnSpc>
              <a:spcBef>
                <a:spcPts val="0"/>
              </a:spcBef>
              <a:spcAft>
                <a:spcPts val="300"/>
              </a:spcAft>
              <a:buClrTx/>
              <a:buSzTx/>
              <a:buFont typeface="Arial" panose="020B0604020202020204" pitchFamily="34" charset="0"/>
              <a:buChar char="•"/>
              <a:defRPr sz="1100" spc="0">
                <a:solidFill>
                  <a:srgbClr val="000000"/>
                </a:solidFill>
                <a:latin typeface="Open Sans"/>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indent="-171450">
              <a:spcAft>
                <a:spcPts val="400"/>
              </a:spcAft>
              <a:defRPr/>
            </a:pPr>
            <a:r>
              <a:rPr lang="en-US" sz="1050" b="1" dirty="0">
                <a:cs typeface="Open Sans"/>
              </a:rPr>
              <a:t>Availability and participation in workshops </a:t>
            </a:r>
            <a:r>
              <a:rPr lang="en-US" sz="1050" dirty="0">
                <a:cs typeface="Open Sans"/>
              </a:rPr>
              <a:t>conducted by Deloitte experts</a:t>
            </a:r>
            <a:endParaRPr lang="en-US" sz="1050" b="0" u="none" strike="noStrike" kern="1200" cap="none" spc="0" normalizeH="0" baseline="0" dirty="0">
              <a:ln>
                <a:noFill/>
              </a:ln>
              <a:solidFill>
                <a:srgbClr val="000000"/>
              </a:solidFill>
              <a:effectLst/>
              <a:uLnTx/>
              <a:uFillTx/>
              <a:latin typeface="Open Sans"/>
              <a:ea typeface="Open Sans"/>
            </a:endParaRPr>
          </a:p>
        </p:txBody>
      </p:sp>
      <p:pic>
        <p:nvPicPr>
          <p:cNvPr id="7" name="Picture 6" descr="A picture containing table&#10;&#10;Description automatically generated">
            <a:extLst>
              <a:ext uri="{FF2B5EF4-FFF2-40B4-BE49-F238E27FC236}">
                <a16:creationId xmlns:a16="http://schemas.microsoft.com/office/drawing/2014/main" id="{AD6595A3-86FC-E373-C8E7-4E8F8B551B8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17085" y="4772241"/>
            <a:ext cx="2190750" cy="1228725"/>
          </a:xfrm>
          <a:prstGeom prst="rect">
            <a:avLst/>
          </a:prstGeom>
        </p:spPr>
      </p:pic>
      <p:pic>
        <p:nvPicPr>
          <p:cNvPr id="9" name="Picture 10" descr="Calendar&#10;&#10;Description automatically generated">
            <a:extLst>
              <a:ext uri="{FF2B5EF4-FFF2-40B4-BE49-F238E27FC236}">
                <a16:creationId xmlns:a16="http://schemas.microsoft.com/office/drawing/2014/main" id="{C551203C-F937-C24F-F62A-39AE40EC30E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55178" y="4803870"/>
            <a:ext cx="2190878" cy="1156544"/>
          </a:xfrm>
          <a:prstGeom prst="rect">
            <a:avLst/>
          </a:prstGeom>
          <a:effectLst>
            <a:outerShdw blurRad="174342" dist="38100" dir="2700000" algn="tl" rotWithShape="0">
              <a:schemeClr val="bg2">
                <a:lumMod val="60000"/>
                <a:lumOff val="40000"/>
                <a:alpha val="38000"/>
              </a:schemeClr>
            </a:outerShdw>
          </a:effectLst>
        </p:spPr>
      </p:pic>
      <p:sp>
        <p:nvSpPr>
          <p:cNvPr id="10" name="Rectangle 9">
            <a:extLst>
              <a:ext uri="{FF2B5EF4-FFF2-40B4-BE49-F238E27FC236}">
                <a16:creationId xmlns:a16="http://schemas.microsoft.com/office/drawing/2014/main" id="{BBA47C51-815E-8BFB-265E-59C3037F9131}"/>
              </a:ext>
            </a:extLst>
          </p:cNvPr>
          <p:cNvSpPr/>
          <p:nvPr/>
        </p:nvSpPr>
        <p:spPr bwMode="gray">
          <a:xfrm>
            <a:off x="4647918" y="5969984"/>
            <a:ext cx="1719756"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06000"/>
              </a:lnSpc>
              <a:defRPr/>
            </a:pPr>
            <a:r>
              <a:rPr lang="en-US" sz="800" i="1" dirty="0">
                <a:latin typeface="Open Sans Light"/>
                <a:ea typeface="Open Sans"/>
                <a:cs typeface="Open Sans"/>
              </a:rPr>
              <a:t>In-person Workshop exercises </a:t>
            </a:r>
          </a:p>
        </p:txBody>
      </p:sp>
      <p:sp>
        <p:nvSpPr>
          <p:cNvPr id="11" name="Rectangle 10">
            <a:extLst>
              <a:ext uri="{FF2B5EF4-FFF2-40B4-BE49-F238E27FC236}">
                <a16:creationId xmlns:a16="http://schemas.microsoft.com/office/drawing/2014/main" id="{47DDB976-44B2-D718-85A2-F2670627A38B}"/>
              </a:ext>
            </a:extLst>
          </p:cNvPr>
          <p:cNvSpPr/>
          <p:nvPr/>
        </p:nvSpPr>
        <p:spPr bwMode="gray">
          <a:xfrm>
            <a:off x="6990739" y="6022915"/>
            <a:ext cx="1719756"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06000"/>
              </a:lnSpc>
              <a:defRPr/>
            </a:pPr>
            <a:r>
              <a:rPr lang="en-US" sz="800" i="1" dirty="0">
                <a:latin typeface="Open Sans Light"/>
                <a:ea typeface="Open Sans"/>
                <a:cs typeface="Open Sans"/>
              </a:rPr>
              <a:t>Digital Workshop exercises </a:t>
            </a:r>
          </a:p>
        </p:txBody>
      </p:sp>
    </p:spTree>
    <p:extLst>
      <p:ext uri="{BB962C8B-B14F-4D97-AF65-F5344CB8AC3E}">
        <p14:creationId xmlns:p14="http://schemas.microsoft.com/office/powerpoint/2010/main" val="2147033559"/>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1F1239-939D-8D5A-1779-9F3223334E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EF1F1239-939D-8D5A-1779-9F3223334E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758906-63F1-C247-8DE8-AA23459682C5}"/>
              </a:ext>
            </a:extLst>
          </p:cNvPr>
          <p:cNvSpPr>
            <a:spLocks noGrp="1"/>
          </p:cNvSpPr>
          <p:nvPr>
            <p:ph type="title"/>
          </p:nvPr>
        </p:nvSpPr>
        <p:spPr>
          <a:xfrm>
            <a:off x="463295" y="417911"/>
            <a:ext cx="10270966" cy="334099"/>
          </a:xfrm>
        </p:spPr>
        <p:txBody>
          <a:bodyPr vert="horz"/>
          <a:lstStyle/>
          <a:p>
            <a:r>
              <a:rPr lang="en-US" sz="2400" dirty="0"/>
              <a:t>We will use our battle-tested framework for rapid prototyping to make sure the </a:t>
            </a:r>
            <a:r>
              <a:rPr lang="en-US" sz="2400"/>
              <a:t>end-user</a:t>
            </a:r>
            <a:r>
              <a:rPr lang="en-US" sz="2400" dirty="0"/>
              <a:t> feedback is incorporated into the solution</a:t>
            </a:r>
            <a:endParaRPr lang="en-US" sz="1800" dirty="0"/>
          </a:p>
        </p:txBody>
      </p:sp>
      <p:sp>
        <p:nvSpPr>
          <p:cNvPr id="15" name="Rectangle 14">
            <a:extLst>
              <a:ext uri="{FF2B5EF4-FFF2-40B4-BE49-F238E27FC236}">
                <a16:creationId xmlns:a16="http://schemas.microsoft.com/office/drawing/2014/main" id="{C698AF86-4129-C1B6-03B3-43D54CBF3390}"/>
              </a:ext>
            </a:extLst>
          </p:cNvPr>
          <p:cNvSpPr/>
          <p:nvPr/>
        </p:nvSpPr>
        <p:spPr>
          <a:xfrm>
            <a:off x="463295" y="1336868"/>
            <a:ext cx="4703608" cy="215408"/>
          </a:xfrm>
          <a:prstGeom prst="rect">
            <a:avLst/>
          </a:prstGeom>
          <a:solidFill>
            <a:srgbClr val="1CABE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000" b="0" i="0" u="none" strike="noStrike" kern="1200" cap="none" spc="3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SIGN DEEP DIVE – PROTOTYPE AND TEST </a:t>
            </a:r>
            <a:endParaRPr kumimoji="0" lang="pl-PL" sz="1000" b="0" i="0" u="none" strike="noStrike" kern="1200" cap="none" spc="3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Rectangle 30">
            <a:extLst>
              <a:ext uri="{FF2B5EF4-FFF2-40B4-BE49-F238E27FC236}">
                <a16:creationId xmlns:a16="http://schemas.microsoft.com/office/drawing/2014/main" id="{5E83115D-B1CE-B4EF-990D-BB85FD2CCC56}"/>
              </a:ext>
            </a:extLst>
          </p:cNvPr>
          <p:cNvSpPr/>
          <p:nvPr/>
        </p:nvSpPr>
        <p:spPr>
          <a:xfrm>
            <a:off x="180556" y="2775750"/>
            <a:ext cx="1279493" cy="246221"/>
          </a:xfrm>
          <a:prstGeom prst="rect">
            <a:avLst/>
          </a:prstGeom>
        </p:spPr>
        <p:txBody>
          <a:bodyPr wrap="square">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Analysis</a:t>
            </a:r>
          </a:p>
        </p:txBody>
      </p:sp>
      <p:sp>
        <p:nvSpPr>
          <p:cNvPr id="32" name="Rectangle 31">
            <a:extLst>
              <a:ext uri="{FF2B5EF4-FFF2-40B4-BE49-F238E27FC236}">
                <a16:creationId xmlns:a16="http://schemas.microsoft.com/office/drawing/2014/main" id="{BDA20713-8B01-90CA-679B-808B221C8BF5}"/>
              </a:ext>
            </a:extLst>
          </p:cNvPr>
          <p:cNvSpPr/>
          <p:nvPr/>
        </p:nvSpPr>
        <p:spPr>
          <a:xfrm>
            <a:off x="2527728" y="2775750"/>
            <a:ext cx="785793" cy="246221"/>
          </a:xfrm>
          <a:prstGeom prst="rect">
            <a:avLst/>
          </a:prstGeom>
        </p:spPr>
        <p:txBody>
          <a:bodyPr wrap="square">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Design</a:t>
            </a:r>
          </a:p>
        </p:txBody>
      </p:sp>
      <p:sp>
        <p:nvSpPr>
          <p:cNvPr id="33" name="Rectangle 32">
            <a:extLst>
              <a:ext uri="{FF2B5EF4-FFF2-40B4-BE49-F238E27FC236}">
                <a16:creationId xmlns:a16="http://schemas.microsoft.com/office/drawing/2014/main" id="{250C4FE3-7658-EE85-C4FA-45FFFF0D0CDF}"/>
              </a:ext>
            </a:extLst>
          </p:cNvPr>
          <p:cNvSpPr/>
          <p:nvPr/>
        </p:nvSpPr>
        <p:spPr>
          <a:xfrm>
            <a:off x="1206741" y="2775750"/>
            <a:ext cx="1279493" cy="400110"/>
          </a:xfrm>
          <a:prstGeom prst="rect">
            <a:avLst/>
          </a:prstGeom>
        </p:spPr>
        <p:txBody>
          <a:bodyPr wrap="square">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Ideate user scenarios</a:t>
            </a:r>
          </a:p>
        </p:txBody>
      </p:sp>
      <p:sp>
        <p:nvSpPr>
          <p:cNvPr id="34" name="Rectangle 33">
            <a:extLst>
              <a:ext uri="{FF2B5EF4-FFF2-40B4-BE49-F238E27FC236}">
                <a16:creationId xmlns:a16="http://schemas.microsoft.com/office/drawing/2014/main" id="{1141224A-F966-7F6E-DF55-BB6379B5BB32}"/>
              </a:ext>
            </a:extLst>
          </p:cNvPr>
          <p:cNvSpPr/>
          <p:nvPr/>
        </p:nvSpPr>
        <p:spPr>
          <a:xfrm>
            <a:off x="3098529" y="2775750"/>
            <a:ext cx="1279493" cy="246221"/>
          </a:xfrm>
          <a:prstGeom prst="rect">
            <a:avLst/>
          </a:prstGeom>
        </p:spPr>
        <p:txBody>
          <a:bodyPr wrap="square">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Preparation</a:t>
            </a:r>
          </a:p>
        </p:txBody>
      </p:sp>
      <p:sp>
        <p:nvSpPr>
          <p:cNvPr id="35" name="Rectangle 34">
            <a:extLst>
              <a:ext uri="{FF2B5EF4-FFF2-40B4-BE49-F238E27FC236}">
                <a16:creationId xmlns:a16="http://schemas.microsoft.com/office/drawing/2014/main" id="{015650CC-C98F-1997-7337-AA5BD61D1D8A}"/>
              </a:ext>
            </a:extLst>
          </p:cNvPr>
          <p:cNvSpPr/>
          <p:nvPr/>
        </p:nvSpPr>
        <p:spPr>
          <a:xfrm>
            <a:off x="4469384" y="2775750"/>
            <a:ext cx="682831" cy="400110"/>
          </a:xfrm>
          <a:prstGeom prst="rect">
            <a:avLst/>
          </a:prstGeom>
        </p:spPr>
        <p:txBody>
          <a:bodyPr wrap="square" lIns="91440" tIns="45720" rIns="91440" bIns="45720" anchor="t">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User testing</a:t>
            </a:r>
          </a:p>
        </p:txBody>
      </p:sp>
      <p:sp>
        <p:nvSpPr>
          <p:cNvPr id="36" name="Rectangle 35">
            <a:extLst>
              <a:ext uri="{FF2B5EF4-FFF2-40B4-BE49-F238E27FC236}">
                <a16:creationId xmlns:a16="http://schemas.microsoft.com/office/drawing/2014/main" id="{791708EC-9670-69B1-17A0-DB6B70EEB834}"/>
              </a:ext>
            </a:extLst>
          </p:cNvPr>
          <p:cNvSpPr/>
          <p:nvPr/>
        </p:nvSpPr>
        <p:spPr>
          <a:xfrm>
            <a:off x="5500551" y="2775750"/>
            <a:ext cx="785793" cy="246221"/>
          </a:xfrm>
          <a:prstGeom prst="rect">
            <a:avLst/>
          </a:prstGeom>
        </p:spPr>
        <p:txBody>
          <a:bodyPr wrap="square">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Re-design</a:t>
            </a:r>
          </a:p>
        </p:txBody>
      </p:sp>
      <p:sp>
        <p:nvSpPr>
          <p:cNvPr id="37" name="Rectangle 36">
            <a:extLst>
              <a:ext uri="{FF2B5EF4-FFF2-40B4-BE49-F238E27FC236}">
                <a16:creationId xmlns:a16="http://schemas.microsoft.com/office/drawing/2014/main" id="{59D4E869-187F-30D4-8F20-7937DF162580}"/>
              </a:ext>
            </a:extLst>
          </p:cNvPr>
          <p:cNvSpPr/>
          <p:nvPr/>
        </p:nvSpPr>
        <p:spPr>
          <a:xfrm>
            <a:off x="6558886" y="2775750"/>
            <a:ext cx="693269" cy="553998"/>
          </a:xfrm>
          <a:prstGeom prst="rect">
            <a:avLst/>
          </a:prstGeom>
        </p:spPr>
        <p:txBody>
          <a:bodyPr wrap="square" lIns="91440" tIns="45720" rIns="91440" bIns="45720" anchor="t">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User </a:t>
            </a:r>
            <a:br>
              <a:rPr lang="en-US" sz="1000">
                <a:latin typeface="Open Sans" panose="020B0606030504020204" pitchFamily="34" charset="0"/>
                <a:ea typeface="Open Sans" panose="020B0606030504020204" pitchFamily="34" charset="0"/>
                <a:cs typeface="Open Sans" panose="020B0606030504020204" pitchFamily="34" charset="0"/>
              </a:rPr>
            </a:br>
            <a:r>
              <a:rPr lang="en-US" sz="1000">
                <a:latin typeface="Open Sans" panose="020B0606030504020204" pitchFamily="34" charset="0"/>
                <a:ea typeface="Open Sans" panose="020B0606030504020204" pitchFamily="34" charset="0"/>
                <a:cs typeface="Open Sans" panose="020B0606030504020204" pitchFamily="34" charset="0"/>
              </a:rPr>
              <a:t>testing</a:t>
            </a:r>
          </a:p>
          <a:p>
            <a:pPr algn="ct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a:extLst>
              <a:ext uri="{FF2B5EF4-FFF2-40B4-BE49-F238E27FC236}">
                <a16:creationId xmlns:a16="http://schemas.microsoft.com/office/drawing/2014/main" id="{D03F8DC1-EE4D-1AEB-2328-58C4400EDAF5}"/>
              </a:ext>
            </a:extLst>
          </p:cNvPr>
          <p:cNvSpPr/>
          <p:nvPr/>
        </p:nvSpPr>
        <p:spPr>
          <a:xfrm>
            <a:off x="7546643" y="2775750"/>
            <a:ext cx="785793" cy="246221"/>
          </a:xfrm>
          <a:prstGeom prst="rect">
            <a:avLst/>
          </a:prstGeom>
        </p:spPr>
        <p:txBody>
          <a:bodyPr wrap="square">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Re-design</a:t>
            </a:r>
          </a:p>
        </p:txBody>
      </p:sp>
      <p:sp>
        <p:nvSpPr>
          <p:cNvPr id="39" name="Rectangle 38">
            <a:extLst>
              <a:ext uri="{FF2B5EF4-FFF2-40B4-BE49-F238E27FC236}">
                <a16:creationId xmlns:a16="http://schemas.microsoft.com/office/drawing/2014/main" id="{5D2C4F2D-29D3-B436-8A10-1E78EF27340D}"/>
              </a:ext>
            </a:extLst>
          </p:cNvPr>
          <p:cNvSpPr/>
          <p:nvPr/>
        </p:nvSpPr>
        <p:spPr>
          <a:xfrm>
            <a:off x="8509011" y="2775750"/>
            <a:ext cx="785793" cy="400110"/>
          </a:xfrm>
          <a:prstGeom prst="rect">
            <a:avLst/>
          </a:prstGeom>
        </p:spPr>
        <p:txBody>
          <a:bodyPr wrap="square">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Final design</a:t>
            </a:r>
          </a:p>
        </p:txBody>
      </p:sp>
      <p:grpSp>
        <p:nvGrpSpPr>
          <p:cNvPr id="40" name="Group 39">
            <a:extLst>
              <a:ext uri="{FF2B5EF4-FFF2-40B4-BE49-F238E27FC236}">
                <a16:creationId xmlns:a16="http://schemas.microsoft.com/office/drawing/2014/main" id="{019B29F3-E15B-060E-E54E-2FCC99B9753F}"/>
              </a:ext>
            </a:extLst>
          </p:cNvPr>
          <p:cNvGrpSpPr/>
          <p:nvPr/>
        </p:nvGrpSpPr>
        <p:grpSpPr>
          <a:xfrm>
            <a:off x="639943" y="2341661"/>
            <a:ext cx="9436141" cy="377645"/>
            <a:chOff x="1003135" y="2688150"/>
            <a:chExt cx="9436141" cy="377645"/>
          </a:xfrm>
          <a:solidFill>
            <a:srgbClr val="1CABE3"/>
          </a:solidFill>
        </p:grpSpPr>
        <p:grpSp>
          <p:nvGrpSpPr>
            <p:cNvPr id="41" name="Group 40">
              <a:extLst>
                <a:ext uri="{FF2B5EF4-FFF2-40B4-BE49-F238E27FC236}">
                  <a16:creationId xmlns:a16="http://schemas.microsoft.com/office/drawing/2014/main" id="{97791CD8-CB3E-903E-334A-9456E7F1E2B5}"/>
                </a:ext>
              </a:extLst>
            </p:cNvPr>
            <p:cNvGrpSpPr>
              <a:grpSpLocks noChangeAspect="1"/>
            </p:cNvGrpSpPr>
            <p:nvPr/>
          </p:nvGrpSpPr>
          <p:grpSpPr>
            <a:xfrm>
              <a:off x="1003135" y="2703980"/>
              <a:ext cx="360719" cy="361815"/>
              <a:chOff x="11115676" y="4182110"/>
              <a:chExt cx="522288" cy="523875"/>
            </a:xfrm>
            <a:grpFill/>
          </p:grpSpPr>
          <p:sp>
            <p:nvSpPr>
              <p:cNvPr id="112" name="Freeform 45">
                <a:extLst>
                  <a:ext uri="{FF2B5EF4-FFF2-40B4-BE49-F238E27FC236}">
                    <a16:creationId xmlns:a16="http://schemas.microsoft.com/office/drawing/2014/main" id="{791F37FC-5687-6936-A83C-74A60707E923}"/>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327">
                <a:extLst>
                  <a:ext uri="{FF2B5EF4-FFF2-40B4-BE49-F238E27FC236}">
                    <a16:creationId xmlns:a16="http://schemas.microsoft.com/office/drawing/2014/main" id="{021B7035-E276-BCA5-C696-A325E24FDC68}"/>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328">
                <a:extLst>
                  <a:ext uri="{FF2B5EF4-FFF2-40B4-BE49-F238E27FC236}">
                    <a16:creationId xmlns:a16="http://schemas.microsoft.com/office/drawing/2014/main" id="{D3CECBFA-88E6-FD7E-68A4-13340108A2A4}"/>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01A77B69-6235-7128-43DC-23B7074444F2}"/>
                </a:ext>
              </a:extLst>
            </p:cNvPr>
            <p:cNvGrpSpPr>
              <a:grpSpLocks/>
            </p:cNvGrpSpPr>
            <p:nvPr/>
          </p:nvGrpSpPr>
          <p:grpSpPr>
            <a:xfrm>
              <a:off x="3103457" y="2703980"/>
              <a:ext cx="360719" cy="361815"/>
              <a:chOff x="563563" y="1674813"/>
              <a:chExt cx="522288" cy="522288"/>
            </a:xfrm>
            <a:grpFill/>
          </p:grpSpPr>
          <p:sp>
            <p:nvSpPr>
              <p:cNvPr id="106" name="Freeform 14">
                <a:extLst>
                  <a:ext uri="{FF2B5EF4-FFF2-40B4-BE49-F238E27FC236}">
                    <a16:creationId xmlns:a16="http://schemas.microsoft.com/office/drawing/2014/main" id="{D79CAADB-1B39-922D-5A90-9EEB2272C92D}"/>
                  </a:ext>
                </a:extLst>
              </p:cNvPr>
              <p:cNvSpPr>
                <a:spLocks noEditPoints="1"/>
              </p:cNvSpPr>
              <p:nvPr/>
            </p:nvSpPr>
            <p:spPr bwMode="auto">
              <a:xfrm>
                <a:off x="563563" y="1674813"/>
                <a:ext cx="522288" cy="522288"/>
              </a:xfrm>
              <a:custGeom>
                <a:avLst/>
                <a:gdLst>
                  <a:gd name="T0" fmla="*/ 313 w 658"/>
                  <a:gd name="T1" fmla="*/ 657 h 657"/>
                  <a:gd name="T2" fmla="*/ 263 w 658"/>
                  <a:gd name="T3" fmla="*/ 650 h 657"/>
                  <a:gd name="T4" fmla="*/ 201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8 w 658"/>
                  <a:gd name="T45" fmla="*/ 312 h 657"/>
                  <a:gd name="T46" fmla="*/ 658 w 658"/>
                  <a:gd name="T47" fmla="*/ 346 h 657"/>
                  <a:gd name="T48" fmla="*/ 651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4 w 658"/>
                  <a:gd name="T91" fmla="*/ 535 h 657"/>
                  <a:gd name="T92" fmla="*/ 585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8"/>
                    </a:lnTo>
                    <a:lnTo>
                      <a:pt x="232" y="642"/>
                    </a:lnTo>
                    <a:lnTo>
                      <a:pt x="201" y="632"/>
                    </a:lnTo>
                    <a:lnTo>
                      <a:pt x="173" y="618"/>
                    </a:lnTo>
                    <a:lnTo>
                      <a:pt x="145" y="601"/>
                    </a:lnTo>
                    <a:lnTo>
                      <a:pt x="121" y="582"/>
                    </a:lnTo>
                    <a:lnTo>
                      <a:pt x="97" y="560"/>
                    </a:lnTo>
                    <a:lnTo>
                      <a:pt x="75" y="538"/>
                    </a:lnTo>
                    <a:lnTo>
                      <a:pt x="56" y="512"/>
                    </a:lnTo>
                    <a:lnTo>
                      <a:pt x="40" y="485"/>
                    </a:lnTo>
                    <a:lnTo>
                      <a:pt x="27" y="457"/>
                    </a:lnTo>
                    <a:lnTo>
                      <a:pt x="15" y="426"/>
                    </a:lnTo>
                    <a:lnTo>
                      <a:pt x="11" y="411"/>
                    </a:lnTo>
                    <a:lnTo>
                      <a:pt x="7" y="395"/>
                    </a:lnTo>
                    <a:lnTo>
                      <a:pt x="4" y="379"/>
                    </a:lnTo>
                    <a:lnTo>
                      <a:pt x="3" y="362"/>
                    </a:lnTo>
                    <a:lnTo>
                      <a:pt x="1" y="346"/>
                    </a:lnTo>
                    <a:lnTo>
                      <a:pt x="0" y="328"/>
                    </a:lnTo>
                    <a:lnTo>
                      <a:pt x="0" y="328"/>
                    </a:lnTo>
                    <a:lnTo>
                      <a:pt x="1" y="312"/>
                    </a:lnTo>
                    <a:lnTo>
                      <a:pt x="3" y="294"/>
                    </a:lnTo>
                    <a:lnTo>
                      <a:pt x="4" y="278"/>
                    </a:lnTo>
                    <a:lnTo>
                      <a:pt x="7" y="262"/>
                    </a:lnTo>
                    <a:lnTo>
                      <a:pt x="11" y="246"/>
                    </a:lnTo>
                    <a:lnTo>
                      <a:pt x="15" y="231"/>
                    </a:lnTo>
                    <a:lnTo>
                      <a:pt x="27" y="200"/>
                    </a:lnTo>
                    <a:lnTo>
                      <a:pt x="40" y="172"/>
                    </a:lnTo>
                    <a:lnTo>
                      <a:pt x="56" y="145"/>
                    </a:lnTo>
                    <a:lnTo>
                      <a:pt x="75" y="120"/>
                    </a:lnTo>
                    <a:lnTo>
                      <a:pt x="97" y="96"/>
                    </a:lnTo>
                    <a:lnTo>
                      <a:pt x="121" y="76"/>
                    </a:lnTo>
                    <a:lnTo>
                      <a:pt x="145" y="57"/>
                    </a:lnTo>
                    <a:lnTo>
                      <a:pt x="173" y="39"/>
                    </a:lnTo>
                    <a:lnTo>
                      <a:pt x="201" y="26"/>
                    </a:lnTo>
                    <a:lnTo>
                      <a:pt x="232" y="15"/>
                    </a:lnTo>
                    <a:lnTo>
                      <a:pt x="247" y="10"/>
                    </a:lnTo>
                    <a:lnTo>
                      <a:pt x="263" y="7"/>
                    </a:lnTo>
                    <a:lnTo>
                      <a:pt x="279" y="4"/>
                    </a:lnTo>
                    <a:lnTo>
                      <a:pt x="295" y="2"/>
                    </a:lnTo>
                    <a:lnTo>
                      <a:pt x="313" y="0"/>
                    </a:lnTo>
                    <a:lnTo>
                      <a:pt x="329" y="0"/>
                    </a:lnTo>
                    <a:lnTo>
                      <a:pt x="329" y="0"/>
                    </a:lnTo>
                    <a:lnTo>
                      <a:pt x="346" y="0"/>
                    </a:lnTo>
                    <a:lnTo>
                      <a:pt x="363" y="2"/>
                    </a:lnTo>
                    <a:lnTo>
                      <a:pt x="379" y="4"/>
                    </a:lnTo>
                    <a:lnTo>
                      <a:pt x="396" y="7"/>
                    </a:lnTo>
                    <a:lnTo>
                      <a:pt x="411" y="10"/>
                    </a:lnTo>
                    <a:lnTo>
                      <a:pt x="427" y="15"/>
                    </a:lnTo>
                    <a:lnTo>
                      <a:pt x="457" y="26"/>
                    </a:lnTo>
                    <a:lnTo>
                      <a:pt x="486" y="39"/>
                    </a:lnTo>
                    <a:lnTo>
                      <a:pt x="513" y="57"/>
                    </a:lnTo>
                    <a:lnTo>
                      <a:pt x="539" y="76"/>
                    </a:lnTo>
                    <a:lnTo>
                      <a:pt x="561" y="96"/>
                    </a:lnTo>
                    <a:lnTo>
                      <a:pt x="583" y="120"/>
                    </a:lnTo>
                    <a:lnTo>
                      <a:pt x="602" y="145"/>
                    </a:lnTo>
                    <a:lnTo>
                      <a:pt x="618" y="172"/>
                    </a:lnTo>
                    <a:lnTo>
                      <a:pt x="632"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2"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6" y="650"/>
                    </a:lnTo>
                    <a:lnTo>
                      <a:pt x="379" y="653"/>
                    </a:lnTo>
                    <a:lnTo>
                      <a:pt x="363" y="656"/>
                    </a:lnTo>
                    <a:lnTo>
                      <a:pt x="346"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8"/>
                    </a:lnTo>
                    <a:lnTo>
                      <a:pt x="38" y="328"/>
                    </a:lnTo>
                    <a:lnTo>
                      <a:pt x="38" y="328"/>
                    </a:lnTo>
                    <a:lnTo>
                      <a:pt x="40" y="359"/>
                    </a:lnTo>
                    <a:lnTo>
                      <a:pt x="44" y="387"/>
                    </a:lnTo>
                    <a:lnTo>
                      <a:pt x="51" y="415"/>
                    </a:lnTo>
                    <a:lnTo>
                      <a:pt x="62" y="442"/>
                    </a:lnTo>
                    <a:lnTo>
                      <a:pt x="74" y="468"/>
                    </a:lnTo>
                    <a:lnTo>
                      <a:pt x="89"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3" y="597"/>
                    </a:lnTo>
                    <a:lnTo>
                      <a:pt x="467" y="585"/>
                    </a:lnTo>
                    <a:lnTo>
                      <a:pt x="492" y="570"/>
                    </a:lnTo>
                    <a:lnTo>
                      <a:pt x="514" y="554"/>
                    </a:lnTo>
                    <a:lnTo>
                      <a:pt x="534" y="535"/>
                    </a:lnTo>
                    <a:lnTo>
                      <a:pt x="553" y="513"/>
                    </a:lnTo>
                    <a:lnTo>
                      <a:pt x="571" y="492"/>
                    </a:lnTo>
                    <a:lnTo>
                      <a:pt x="585"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5" y="190"/>
                    </a:lnTo>
                    <a:lnTo>
                      <a:pt x="571" y="166"/>
                    </a:lnTo>
                    <a:lnTo>
                      <a:pt x="553" y="144"/>
                    </a:lnTo>
                    <a:lnTo>
                      <a:pt x="534" y="123"/>
                    </a:lnTo>
                    <a:lnTo>
                      <a:pt x="514" y="104"/>
                    </a:lnTo>
                    <a:lnTo>
                      <a:pt x="492" y="88"/>
                    </a:lnTo>
                    <a:lnTo>
                      <a:pt x="467" y="73"/>
                    </a:lnTo>
                    <a:lnTo>
                      <a:pt x="443"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265">
                <a:extLst>
                  <a:ext uri="{FF2B5EF4-FFF2-40B4-BE49-F238E27FC236}">
                    <a16:creationId xmlns:a16="http://schemas.microsoft.com/office/drawing/2014/main" id="{F8536D7C-EEA6-9497-8C3C-18FC0C5AD928}"/>
                  </a:ext>
                </a:extLst>
              </p:cNvPr>
              <p:cNvSpPr>
                <a:spLocks/>
              </p:cNvSpPr>
              <p:nvPr/>
            </p:nvSpPr>
            <p:spPr bwMode="auto">
              <a:xfrm>
                <a:off x="890588" y="1998663"/>
                <a:ext cx="57150" cy="57150"/>
              </a:xfrm>
              <a:custGeom>
                <a:avLst/>
                <a:gdLst>
                  <a:gd name="T0" fmla="*/ 61 w 71"/>
                  <a:gd name="T1" fmla="*/ 0 h 71"/>
                  <a:gd name="T2" fmla="*/ 0 w 71"/>
                  <a:gd name="T3" fmla="*/ 60 h 71"/>
                  <a:gd name="T4" fmla="*/ 65 w 71"/>
                  <a:gd name="T5" fmla="*/ 71 h 71"/>
                  <a:gd name="T6" fmla="*/ 65 w 71"/>
                  <a:gd name="T7" fmla="*/ 71 h 71"/>
                  <a:gd name="T8" fmla="*/ 66 w 71"/>
                  <a:gd name="T9" fmla="*/ 71 h 71"/>
                  <a:gd name="T10" fmla="*/ 66 w 71"/>
                  <a:gd name="T11" fmla="*/ 71 h 71"/>
                  <a:gd name="T12" fmla="*/ 66 w 71"/>
                  <a:gd name="T13" fmla="*/ 71 h 71"/>
                  <a:gd name="T14" fmla="*/ 66 w 71"/>
                  <a:gd name="T15" fmla="*/ 71 h 71"/>
                  <a:gd name="T16" fmla="*/ 67 w 71"/>
                  <a:gd name="T17" fmla="*/ 71 h 71"/>
                  <a:gd name="T18" fmla="*/ 70 w 71"/>
                  <a:gd name="T19" fmla="*/ 69 h 71"/>
                  <a:gd name="T20" fmla="*/ 71 w 71"/>
                  <a:gd name="T21" fmla="*/ 67 h 71"/>
                  <a:gd name="T22" fmla="*/ 71 w 71"/>
                  <a:gd name="T23" fmla="*/ 65 h 71"/>
                  <a:gd name="T24" fmla="*/ 71 w 71"/>
                  <a:gd name="T25" fmla="*/ 65 h 71"/>
                  <a:gd name="T26" fmla="*/ 71 w 71"/>
                  <a:gd name="T27" fmla="*/ 63 h 71"/>
                  <a:gd name="T28" fmla="*/ 61 w 71"/>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1">
                    <a:moveTo>
                      <a:pt x="61" y="0"/>
                    </a:moveTo>
                    <a:lnTo>
                      <a:pt x="0" y="60"/>
                    </a:lnTo>
                    <a:lnTo>
                      <a:pt x="65" y="71"/>
                    </a:lnTo>
                    <a:lnTo>
                      <a:pt x="65" y="71"/>
                    </a:lnTo>
                    <a:lnTo>
                      <a:pt x="66" y="71"/>
                    </a:lnTo>
                    <a:lnTo>
                      <a:pt x="66" y="71"/>
                    </a:lnTo>
                    <a:lnTo>
                      <a:pt x="66" y="71"/>
                    </a:lnTo>
                    <a:lnTo>
                      <a:pt x="66" y="71"/>
                    </a:lnTo>
                    <a:lnTo>
                      <a:pt x="67" y="71"/>
                    </a:lnTo>
                    <a:lnTo>
                      <a:pt x="70" y="69"/>
                    </a:lnTo>
                    <a:lnTo>
                      <a:pt x="71" y="67"/>
                    </a:lnTo>
                    <a:lnTo>
                      <a:pt x="71" y="65"/>
                    </a:lnTo>
                    <a:lnTo>
                      <a:pt x="71" y="65"/>
                    </a:lnTo>
                    <a:lnTo>
                      <a:pt x="71" y="63"/>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266">
                <a:extLst>
                  <a:ext uri="{FF2B5EF4-FFF2-40B4-BE49-F238E27FC236}">
                    <a16:creationId xmlns:a16="http://schemas.microsoft.com/office/drawing/2014/main" id="{4A061D0C-96A3-ACCE-5909-C790BA9B54B3}"/>
                  </a:ext>
                </a:extLst>
              </p:cNvPr>
              <p:cNvSpPr>
                <a:spLocks/>
              </p:cNvSpPr>
              <p:nvPr/>
            </p:nvSpPr>
            <p:spPr bwMode="auto">
              <a:xfrm>
                <a:off x="688976" y="1797050"/>
                <a:ext cx="74613" cy="74613"/>
              </a:xfrm>
              <a:custGeom>
                <a:avLst/>
                <a:gdLst>
                  <a:gd name="T0" fmla="*/ 96 w 96"/>
                  <a:gd name="T1" fmla="*/ 31 h 96"/>
                  <a:gd name="T2" fmla="*/ 66 w 96"/>
                  <a:gd name="T3" fmla="*/ 2 h 96"/>
                  <a:gd name="T4" fmla="*/ 66 w 96"/>
                  <a:gd name="T5" fmla="*/ 2 h 96"/>
                  <a:gd name="T6" fmla="*/ 63 w 96"/>
                  <a:gd name="T7" fmla="*/ 0 h 96"/>
                  <a:gd name="T8" fmla="*/ 62 w 96"/>
                  <a:gd name="T9" fmla="*/ 0 h 96"/>
                  <a:gd name="T10" fmla="*/ 59 w 96"/>
                  <a:gd name="T11" fmla="*/ 0 h 96"/>
                  <a:gd name="T12" fmla="*/ 58 w 96"/>
                  <a:gd name="T13" fmla="*/ 2 h 96"/>
                  <a:gd name="T14" fmla="*/ 2 w 96"/>
                  <a:gd name="T15" fmla="*/ 58 h 96"/>
                  <a:gd name="T16" fmla="*/ 2 w 96"/>
                  <a:gd name="T17" fmla="*/ 58 h 96"/>
                  <a:gd name="T18" fmla="*/ 0 w 96"/>
                  <a:gd name="T19" fmla="*/ 60 h 96"/>
                  <a:gd name="T20" fmla="*/ 0 w 96"/>
                  <a:gd name="T21" fmla="*/ 62 h 96"/>
                  <a:gd name="T22" fmla="*/ 0 w 96"/>
                  <a:gd name="T23" fmla="*/ 65 h 96"/>
                  <a:gd name="T24" fmla="*/ 2 w 96"/>
                  <a:gd name="T25" fmla="*/ 66 h 96"/>
                  <a:gd name="T26" fmla="*/ 31 w 96"/>
                  <a:gd name="T27" fmla="*/ 96 h 96"/>
                  <a:gd name="T28" fmla="*/ 96 w 96"/>
                  <a:gd name="T29"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96" y="31"/>
                    </a:moveTo>
                    <a:lnTo>
                      <a:pt x="66" y="2"/>
                    </a:lnTo>
                    <a:lnTo>
                      <a:pt x="66" y="2"/>
                    </a:lnTo>
                    <a:lnTo>
                      <a:pt x="63" y="0"/>
                    </a:lnTo>
                    <a:lnTo>
                      <a:pt x="62" y="0"/>
                    </a:lnTo>
                    <a:lnTo>
                      <a:pt x="59" y="0"/>
                    </a:lnTo>
                    <a:lnTo>
                      <a:pt x="58" y="2"/>
                    </a:lnTo>
                    <a:lnTo>
                      <a:pt x="2" y="58"/>
                    </a:lnTo>
                    <a:lnTo>
                      <a:pt x="2" y="58"/>
                    </a:lnTo>
                    <a:lnTo>
                      <a:pt x="0" y="60"/>
                    </a:lnTo>
                    <a:lnTo>
                      <a:pt x="0" y="62"/>
                    </a:lnTo>
                    <a:lnTo>
                      <a:pt x="0" y="65"/>
                    </a:lnTo>
                    <a:lnTo>
                      <a:pt x="2" y="66"/>
                    </a:lnTo>
                    <a:lnTo>
                      <a:pt x="31" y="96"/>
                    </a:lnTo>
                    <a:lnTo>
                      <a:pt x="9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267">
                <a:extLst>
                  <a:ext uri="{FF2B5EF4-FFF2-40B4-BE49-F238E27FC236}">
                    <a16:creationId xmlns:a16="http://schemas.microsoft.com/office/drawing/2014/main" id="{212874A8-FE01-8813-2814-B567641BBAB6}"/>
                  </a:ext>
                </a:extLst>
              </p:cNvPr>
              <p:cNvSpPr>
                <a:spLocks noEditPoints="1"/>
              </p:cNvSpPr>
              <p:nvPr/>
            </p:nvSpPr>
            <p:spPr bwMode="auto">
              <a:xfrm>
                <a:off x="688976" y="1797050"/>
                <a:ext cx="258763" cy="258763"/>
              </a:xfrm>
              <a:custGeom>
                <a:avLst/>
                <a:gdLst>
                  <a:gd name="T0" fmla="*/ 257 w 326"/>
                  <a:gd name="T1" fmla="*/ 2 h 327"/>
                  <a:gd name="T2" fmla="*/ 255 w 326"/>
                  <a:gd name="T3" fmla="*/ 0 h 327"/>
                  <a:gd name="T4" fmla="*/ 251 w 326"/>
                  <a:gd name="T5" fmla="*/ 0 h 327"/>
                  <a:gd name="T6" fmla="*/ 198 w 326"/>
                  <a:gd name="T7" fmla="*/ 54 h 327"/>
                  <a:gd name="T8" fmla="*/ 218 w 326"/>
                  <a:gd name="T9" fmla="*/ 76 h 327"/>
                  <a:gd name="T10" fmla="*/ 219 w 326"/>
                  <a:gd name="T11" fmla="*/ 80 h 327"/>
                  <a:gd name="T12" fmla="*/ 218 w 326"/>
                  <a:gd name="T13" fmla="*/ 82 h 327"/>
                  <a:gd name="T14" fmla="*/ 216 w 326"/>
                  <a:gd name="T15" fmla="*/ 84 h 327"/>
                  <a:gd name="T16" fmla="*/ 212 w 326"/>
                  <a:gd name="T17" fmla="*/ 84 h 327"/>
                  <a:gd name="T18" fmla="*/ 189 w 326"/>
                  <a:gd name="T19" fmla="*/ 62 h 327"/>
                  <a:gd name="T20" fmla="*/ 173 w 326"/>
                  <a:gd name="T21" fmla="*/ 97 h 327"/>
                  <a:gd name="T22" fmla="*/ 173 w 326"/>
                  <a:gd name="T23" fmla="*/ 100 h 327"/>
                  <a:gd name="T24" fmla="*/ 173 w 326"/>
                  <a:gd name="T25" fmla="*/ 104 h 327"/>
                  <a:gd name="T26" fmla="*/ 173 w 326"/>
                  <a:gd name="T27" fmla="*/ 105 h 327"/>
                  <a:gd name="T28" fmla="*/ 169 w 326"/>
                  <a:gd name="T29" fmla="*/ 107 h 327"/>
                  <a:gd name="T30" fmla="*/ 165 w 326"/>
                  <a:gd name="T31" fmla="*/ 105 h 327"/>
                  <a:gd name="T32" fmla="*/ 129 w 326"/>
                  <a:gd name="T33" fmla="*/ 121 h 327"/>
                  <a:gd name="T34" fmla="*/ 151 w 326"/>
                  <a:gd name="T35" fmla="*/ 143 h 327"/>
                  <a:gd name="T36" fmla="*/ 152 w 326"/>
                  <a:gd name="T37" fmla="*/ 147 h 327"/>
                  <a:gd name="T38" fmla="*/ 151 w 326"/>
                  <a:gd name="T39" fmla="*/ 151 h 327"/>
                  <a:gd name="T40" fmla="*/ 148 w 326"/>
                  <a:gd name="T41" fmla="*/ 152 h 327"/>
                  <a:gd name="T42" fmla="*/ 144 w 326"/>
                  <a:gd name="T43" fmla="*/ 152 h 327"/>
                  <a:gd name="T44" fmla="*/ 121 w 326"/>
                  <a:gd name="T45" fmla="*/ 129 h 327"/>
                  <a:gd name="T46" fmla="*/ 105 w 326"/>
                  <a:gd name="T47" fmla="*/ 166 h 327"/>
                  <a:gd name="T48" fmla="*/ 106 w 326"/>
                  <a:gd name="T49" fmla="*/ 167 h 327"/>
                  <a:gd name="T50" fmla="*/ 106 w 326"/>
                  <a:gd name="T51" fmla="*/ 171 h 327"/>
                  <a:gd name="T52" fmla="*/ 105 w 326"/>
                  <a:gd name="T53" fmla="*/ 174 h 327"/>
                  <a:gd name="T54" fmla="*/ 101 w 326"/>
                  <a:gd name="T55" fmla="*/ 175 h 327"/>
                  <a:gd name="T56" fmla="*/ 97 w 326"/>
                  <a:gd name="T57" fmla="*/ 174 h 327"/>
                  <a:gd name="T58" fmla="*/ 62 w 326"/>
                  <a:gd name="T59" fmla="*/ 190 h 327"/>
                  <a:gd name="T60" fmla="*/ 82 w 326"/>
                  <a:gd name="T61" fmla="*/ 210 h 327"/>
                  <a:gd name="T62" fmla="*/ 85 w 326"/>
                  <a:gd name="T63" fmla="*/ 214 h 327"/>
                  <a:gd name="T64" fmla="*/ 82 w 326"/>
                  <a:gd name="T65" fmla="*/ 218 h 327"/>
                  <a:gd name="T66" fmla="*/ 81 w 326"/>
                  <a:gd name="T67" fmla="*/ 219 h 327"/>
                  <a:gd name="T68" fmla="*/ 77 w 326"/>
                  <a:gd name="T69" fmla="*/ 219 h 327"/>
                  <a:gd name="T70" fmla="*/ 54 w 326"/>
                  <a:gd name="T71" fmla="*/ 198 h 327"/>
                  <a:gd name="T72" fmla="*/ 2 w 326"/>
                  <a:gd name="T73" fmla="*/ 250 h 327"/>
                  <a:gd name="T74" fmla="*/ 0 w 326"/>
                  <a:gd name="T75" fmla="*/ 254 h 327"/>
                  <a:gd name="T76" fmla="*/ 2 w 326"/>
                  <a:gd name="T77" fmla="*/ 257 h 327"/>
                  <a:gd name="T78" fmla="*/ 69 w 326"/>
                  <a:gd name="T79" fmla="*/ 325 h 327"/>
                  <a:gd name="T80" fmla="*/ 73 w 326"/>
                  <a:gd name="T81" fmla="*/ 327 h 327"/>
                  <a:gd name="T82" fmla="*/ 75 w 326"/>
                  <a:gd name="T83" fmla="*/ 327 h 327"/>
                  <a:gd name="T84" fmla="*/ 325 w 326"/>
                  <a:gd name="T85" fmla="*/ 77 h 327"/>
                  <a:gd name="T86" fmla="*/ 326 w 326"/>
                  <a:gd name="T87" fmla="*/ 76 h 327"/>
                  <a:gd name="T88" fmla="*/ 326 w 326"/>
                  <a:gd name="T89" fmla="*/ 72 h 327"/>
                  <a:gd name="T90" fmla="*/ 325 w 326"/>
                  <a:gd name="T91" fmla="*/ 69 h 327"/>
                  <a:gd name="T92" fmla="*/ 267 w 326"/>
                  <a:gd name="T93" fmla="*/ 96 h 327"/>
                  <a:gd name="T94" fmla="*/ 258 w 326"/>
                  <a:gd name="T95" fmla="*/ 92 h 327"/>
                  <a:gd name="T96" fmla="*/ 253 w 326"/>
                  <a:gd name="T97" fmla="*/ 82 h 327"/>
                  <a:gd name="T98" fmla="*/ 254 w 326"/>
                  <a:gd name="T99" fmla="*/ 77 h 327"/>
                  <a:gd name="T100" fmla="*/ 262 w 326"/>
                  <a:gd name="T101" fmla="*/ 69 h 327"/>
                  <a:gd name="T102" fmla="*/ 267 w 326"/>
                  <a:gd name="T103" fmla="*/ 68 h 327"/>
                  <a:gd name="T104" fmla="*/ 277 w 326"/>
                  <a:gd name="T105" fmla="*/ 72 h 327"/>
                  <a:gd name="T106" fmla="*/ 281 w 326"/>
                  <a:gd name="T107" fmla="*/ 82 h 327"/>
                  <a:gd name="T108" fmla="*/ 281 w 326"/>
                  <a:gd name="T109" fmla="*/ 88 h 327"/>
                  <a:gd name="T110" fmla="*/ 273 w 326"/>
                  <a:gd name="T111" fmla="*/ 94 h 327"/>
                  <a:gd name="T112" fmla="*/ 267 w 326"/>
                  <a:gd name="T113" fmla="*/ 9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7">
                    <a:moveTo>
                      <a:pt x="325" y="69"/>
                    </a:moveTo>
                    <a:lnTo>
                      <a:pt x="257" y="2"/>
                    </a:lnTo>
                    <a:lnTo>
                      <a:pt x="257" y="2"/>
                    </a:lnTo>
                    <a:lnTo>
                      <a:pt x="255" y="0"/>
                    </a:lnTo>
                    <a:lnTo>
                      <a:pt x="253" y="0"/>
                    </a:lnTo>
                    <a:lnTo>
                      <a:pt x="251" y="0"/>
                    </a:lnTo>
                    <a:lnTo>
                      <a:pt x="249" y="2"/>
                    </a:lnTo>
                    <a:lnTo>
                      <a:pt x="198" y="54"/>
                    </a:lnTo>
                    <a:lnTo>
                      <a:pt x="218" y="76"/>
                    </a:lnTo>
                    <a:lnTo>
                      <a:pt x="218" y="76"/>
                    </a:lnTo>
                    <a:lnTo>
                      <a:pt x="219" y="77"/>
                    </a:lnTo>
                    <a:lnTo>
                      <a:pt x="219" y="80"/>
                    </a:lnTo>
                    <a:lnTo>
                      <a:pt x="219" y="81"/>
                    </a:lnTo>
                    <a:lnTo>
                      <a:pt x="218" y="82"/>
                    </a:lnTo>
                    <a:lnTo>
                      <a:pt x="218" y="82"/>
                    </a:lnTo>
                    <a:lnTo>
                      <a:pt x="216" y="84"/>
                    </a:lnTo>
                    <a:lnTo>
                      <a:pt x="214" y="85"/>
                    </a:lnTo>
                    <a:lnTo>
                      <a:pt x="212" y="84"/>
                    </a:lnTo>
                    <a:lnTo>
                      <a:pt x="210" y="82"/>
                    </a:lnTo>
                    <a:lnTo>
                      <a:pt x="189" y="62"/>
                    </a:lnTo>
                    <a:lnTo>
                      <a:pt x="163" y="88"/>
                    </a:lnTo>
                    <a:lnTo>
                      <a:pt x="173" y="97"/>
                    </a:lnTo>
                    <a:lnTo>
                      <a:pt x="173" y="97"/>
                    </a:lnTo>
                    <a:lnTo>
                      <a:pt x="173" y="100"/>
                    </a:lnTo>
                    <a:lnTo>
                      <a:pt x="175" y="101"/>
                    </a:lnTo>
                    <a:lnTo>
                      <a:pt x="173" y="104"/>
                    </a:lnTo>
                    <a:lnTo>
                      <a:pt x="173" y="105"/>
                    </a:lnTo>
                    <a:lnTo>
                      <a:pt x="173" y="105"/>
                    </a:lnTo>
                    <a:lnTo>
                      <a:pt x="171" y="107"/>
                    </a:lnTo>
                    <a:lnTo>
                      <a:pt x="169" y="107"/>
                    </a:lnTo>
                    <a:lnTo>
                      <a:pt x="167" y="107"/>
                    </a:lnTo>
                    <a:lnTo>
                      <a:pt x="165" y="105"/>
                    </a:lnTo>
                    <a:lnTo>
                      <a:pt x="155" y="96"/>
                    </a:lnTo>
                    <a:lnTo>
                      <a:pt x="129" y="121"/>
                    </a:lnTo>
                    <a:lnTo>
                      <a:pt x="151" y="143"/>
                    </a:lnTo>
                    <a:lnTo>
                      <a:pt x="151" y="143"/>
                    </a:lnTo>
                    <a:lnTo>
                      <a:pt x="152" y="144"/>
                    </a:lnTo>
                    <a:lnTo>
                      <a:pt x="152" y="147"/>
                    </a:lnTo>
                    <a:lnTo>
                      <a:pt x="152" y="148"/>
                    </a:lnTo>
                    <a:lnTo>
                      <a:pt x="151" y="151"/>
                    </a:lnTo>
                    <a:lnTo>
                      <a:pt x="151" y="151"/>
                    </a:lnTo>
                    <a:lnTo>
                      <a:pt x="148" y="152"/>
                    </a:lnTo>
                    <a:lnTo>
                      <a:pt x="147" y="152"/>
                    </a:lnTo>
                    <a:lnTo>
                      <a:pt x="144" y="152"/>
                    </a:lnTo>
                    <a:lnTo>
                      <a:pt x="143" y="151"/>
                    </a:lnTo>
                    <a:lnTo>
                      <a:pt x="121" y="129"/>
                    </a:lnTo>
                    <a:lnTo>
                      <a:pt x="96" y="155"/>
                    </a:lnTo>
                    <a:lnTo>
                      <a:pt x="105" y="166"/>
                    </a:lnTo>
                    <a:lnTo>
                      <a:pt x="105" y="166"/>
                    </a:lnTo>
                    <a:lnTo>
                      <a:pt x="106" y="167"/>
                    </a:lnTo>
                    <a:lnTo>
                      <a:pt x="106" y="170"/>
                    </a:lnTo>
                    <a:lnTo>
                      <a:pt x="106" y="171"/>
                    </a:lnTo>
                    <a:lnTo>
                      <a:pt x="105" y="174"/>
                    </a:lnTo>
                    <a:lnTo>
                      <a:pt x="105" y="174"/>
                    </a:lnTo>
                    <a:lnTo>
                      <a:pt x="104" y="174"/>
                    </a:lnTo>
                    <a:lnTo>
                      <a:pt x="101" y="175"/>
                    </a:lnTo>
                    <a:lnTo>
                      <a:pt x="100" y="174"/>
                    </a:lnTo>
                    <a:lnTo>
                      <a:pt x="97" y="174"/>
                    </a:lnTo>
                    <a:lnTo>
                      <a:pt x="87" y="163"/>
                    </a:lnTo>
                    <a:lnTo>
                      <a:pt x="62" y="190"/>
                    </a:lnTo>
                    <a:lnTo>
                      <a:pt x="82" y="210"/>
                    </a:lnTo>
                    <a:lnTo>
                      <a:pt x="82" y="210"/>
                    </a:lnTo>
                    <a:lnTo>
                      <a:pt x="83" y="213"/>
                    </a:lnTo>
                    <a:lnTo>
                      <a:pt x="85" y="214"/>
                    </a:lnTo>
                    <a:lnTo>
                      <a:pt x="83" y="217"/>
                    </a:lnTo>
                    <a:lnTo>
                      <a:pt x="82" y="218"/>
                    </a:lnTo>
                    <a:lnTo>
                      <a:pt x="82" y="218"/>
                    </a:lnTo>
                    <a:lnTo>
                      <a:pt x="81" y="219"/>
                    </a:lnTo>
                    <a:lnTo>
                      <a:pt x="78" y="219"/>
                    </a:lnTo>
                    <a:lnTo>
                      <a:pt x="77" y="219"/>
                    </a:lnTo>
                    <a:lnTo>
                      <a:pt x="75" y="218"/>
                    </a:lnTo>
                    <a:lnTo>
                      <a:pt x="54" y="198"/>
                    </a:lnTo>
                    <a:lnTo>
                      <a:pt x="2" y="250"/>
                    </a:lnTo>
                    <a:lnTo>
                      <a:pt x="2" y="250"/>
                    </a:lnTo>
                    <a:lnTo>
                      <a:pt x="0" y="252"/>
                    </a:lnTo>
                    <a:lnTo>
                      <a:pt x="0" y="254"/>
                    </a:lnTo>
                    <a:lnTo>
                      <a:pt x="0" y="256"/>
                    </a:lnTo>
                    <a:lnTo>
                      <a:pt x="2" y="257"/>
                    </a:lnTo>
                    <a:lnTo>
                      <a:pt x="69" y="325"/>
                    </a:lnTo>
                    <a:lnTo>
                      <a:pt x="69" y="325"/>
                    </a:lnTo>
                    <a:lnTo>
                      <a:pt x="71" y="327"/>
                    </a:lnTo>
                    <a:lnTo>
                      <a:pt x="73" y="327"/>
                    </a:lnTo>
                    <a:lnTo>
                      <a:pt x="73" y="327"/>
                    </a:lnTo>
                    <a:lnTo>
                      <a:pt x="75" y="327"/>
                    </a:lnTo>
                    <a:lnTo>
                      <a:pt x="77" y="325"/>
                    </a:lnTo>
                    <a:lnTo>
                      <a:pt x="325" y="77"/>
                    </a:lnTo>
                    <a:lnTo>
                      <a:pt x="325" y="77"/>
                    </a:lnTo>
                    <a:lnTo>
                      <a:pt x="326" y="76"/>
                    </a:lnTo>
                    <a:lnTo>
                      <a:pt x="326" y="73"/>
                    </a:lnTo>
                    <a:lnTo>
                      <a:pt x="326" y="72"/>
                    </a:lnTo>
                    <a:lnTo>
                      <a:pt x="325" y="69"/>
                    </a:lnTo>
                    <a:lnTo>
                      <a:pt x="325" y="69"/>
                    </a:lnTo>
                    <a:close/>
                    <a:moveTo>
                      <a:pt x="267" y="96"/>
                    </a:moveTo>
                    <a:lnTo>
                      <a:pt x="267" y="96"/>
                    </a:lnTo>
                    <a:lnTo>
                      <a:pt x="262" y="94"/>
                    </a:lnTo>
                    <a:lnTo>
                      <a:pt x="258" y="92"/>
                    </a:lnTo>
                    <a:lnTo>
                      <a:pt x="254" y="88"/>
                    </a:lnTo>
                    <a:lnTo>
                      <a:pt x="253" y="82"/>
                    </a:lnTo>
                    <a:lnTo>
                      <a:pt x="253" y="82"/>
                    </a:lnTo>
                    <a:lnTo>
                      <a:pt x="254" y="77"/>
                    </a:lnTo>
                    <a:lnTo>
                      <a:pt x="258" y="72"/>
                    </a:lnTo>
                    <a:lnTo>
                      <a:pt x="262" y="69"/>
                    </a:lnTo>
                    <a:lnTo>
                      <a:pt x="267" y="68"/>
                    </a:lnTo>
                    <a:lnTo>
                      <a:pt x="267" y="68"/>
                    </a:lnTo>
                    <a:lnTo>
                      <a:pt x="273" y="69"/>
                    </a:lnTo>
                    <a:lnTo>
                      <a:pt x="277" y="72"/>
                    </a:lnTo>
                    <a:lnTo>
                      <a:pt x="281" y="77"/>
                    </a:lnTo>
                    <a:lnTo>
                      <a:pt x="281" y="82"/>
                    </a:lnTo>
                    <a:lnTo>
                      <a:pt x="281" y="82"/>
                    </a:lnTo>
                    <a:lnTo>
                      <a:pt x="281" y="88"/>
                    </a:lnTo>
                    <a:lnTo>
                      <a:pt x="277" y="92"/>
                    </a:lnTo>
                    <a:lnTo>
                      <a:pt x="273" y="94"/>
                    </a:lnTo>
                    <a:lnTo>
                      <a:pt x="267" y="96"/>
                    </a:lnTo>
                    <a:lnTo>
                      <a:pt x="26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268">
                <a:extLst>
                  <a:ext uri="{FF2B5EF4-FFF2-40B4-BE49-F238E27FC236}">
                    <a16:creationId xmlns:a16="http://schemas.microsoft.com/office/drawing/2014/main" id="{F83A2567-08D2-13F7-22A2-2AAC5C336EBE}"/>
                  </a:ext>
                </a:extLst>
              </p:cNvPr>
              <p:cNvSpPr>
                <a:spLocks/>
              </p:cNvSpPr>
              <p:nvPr/>
            </p:nvSpPr>
            <p:spPr bwMode="auto">
              <a:xfrm>
                <a:off x="828676" y="1936750"/>
                <a:ext cx="104775" cy="104775"/>
              </a:xfrm>
              <a:custGeom>
                <a:avLst/>
                <a:gdLst>
                  <a:gd name="T0" fmla="*/ 0 w 133"/>
                  <a:gd name="T1" fmla="*/ 63 h 131"/>
                  <a:gd name="T2" fmla="*/ 65 w 133"/>
                  <a:gd name="T3" fmla="*/ 0 h 131"/>
                  <a:gd name="T4" fmla="*/ 133 w 133"/>
                  <a:gd name="T5" fmla="*/ 68 h 131"/>
                  <a:gd name="T6" fmla="*/ 69 w 133"/>
                  <a:gd name="T7" fmla="*/ 131 h 131"/>
                  <a:gd name="T8" fmla="*/ 0 w 133"/>
                  <a:gd name="T9" fmla="*/ 63 h 131"/>
                </a:gdLst>
                <a:ahLst/>
                <a:cxnLst>
                  <a:cxn ang="0">
                    <a:pos x="T0" y="T1"/>
                  </a:cxn>
                  <a:cxn ang="0">
                    <a:pos x="T2" y="T3"/>
                  </a:cxn>
                  <a:cxn ang="0">
                    <a:pos x="T4" y="T5"/>
                  </a:cxn>
                  <a:cxn ang="0">
                    <a:pos x="T6" y="T7"/>
                  </a:cxn>
                  <a:cxn ang="0">
                    <a:pos x="T8" y="T9"/>
                  </a:cxn>
                </a:cxnLst>
                <a:rect l="0" t="0" r="r" b="b"/>
                <a:pathLst>
                  <a:path w="133" h="131">
                    <a:moveTo>
                      <a:pt x="0" y="63"/>
                    </a:moveTo>
                    <a:lnTo>
                      <a:pt x="65" y="0"/>
                    </a:lnTo>
                    <a:lnTo>
                      <a:pt x="133" y="68"/>
                    </a:lnTo>
                    <a:lnTo>
                      <a:pt x="69" y="131"/>
                    </a:lnTo>
                    <a:lnTo>
                      <a:pt x="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269">
                <a:extLst>
                  <a:ext uri="{FF2B5EF4-FFF2-40B4-BE49-F238E27FC236}">
                    <a16:creationId xmlns:a16="http://schemas.microsoft.com/office/drawing/2014/main" id="{1AD9E52B-0A67-3374-1D80-E335CBB37B4E}"/>
                  </a:ext>
                </a:extLst>
              </p:cNvPr>
              <p:cNvSpPr>
                <a:spLocks/>
              </p:cNvSpPr>
              <p:nvPr/>
            </p:nvSpPr>
            <p:spPr bwMode="auto">
              <a:xfrm>
                <a:off x="719138" y="1827213"/>
                <a:ext cx="87313" cy="87313"/>
              </a:xfrm>
              <a:custGeom>
                <a:avLst/>
                <a:gdLst>
                  <a:gd name="T0" fmla="*/ 0 w 110"/>
                  <a:gd name="T1" fmla="*/ 65 h 111"/>
                  <a:gd name="T2" fmla="*/ 65 w 110"/>
                  <a:gd name="T3" fmla="*/ 0 h 111"/>
                  <a:gd name="T4" fmla="*/ 110 w 110"/>
                  <a:gd name="T5" fmla="*/ 46 h 111"/>
                  <a:gd name="T6" fmla="*/ 46 w 110"/>
                  <a:gd name="T7" fmla="*/ 111 h 111"/>
                  <a:gd name="T8" fmla="*/ 0 w 110"/>
                  <a:gd name="T9" fmla="*/ 65 h 111"/>
                </a:gdLst>
                <a:ahLst/>
                <a:cxnLst>
                  <a:cxn ang="0">
                    <a:pos x="T0" y="T1"/>
                  </a:cxn>
                  <a:cxn ang="0">
                    <a:pos x="T2" y="T3"/>
                  </a:cxn>
                  <a:cxn ang="0">
                    <a:pos x="T4" y="T5"/>
                  </a:cxn>
                  <a:cxn ang="0">
                    <a:pos x="T6" y="T7"/>
                  </a:cxn>
                  <a:cxn ang="0">
                    <a:pos x="T8" y="T9"/>
                  </a:cxn>
                </a:cxnLst>
                <a:rect l="0" t="0" r="r" b="b"/>
                <a:pathLst>
                  <a:path w="110" h="111">
                    <a:moveTo>
                      <a:pt x="0" y="65"/>
                    </a:moveTo>
                    <a:lnTo>
                      <a:pt x="65" y="0"/>
                    </a:lnTo>
                    <a:lnTo>
                      <a:pt x="110" y="46"/>
                    </a:lnTo>
                    <a:lnTo>
                      <a:pt x="46" y="111"/>
                    </a:lnTo>
                    <a:lnTo>
                      <a:pt x="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3" name="Straight Connector 42">
              <a:extLst>
                <a:ext uri="{FF2B5EF4-FFF2-40B4-BE49-F238E27FC236}">
                  <a16:creationId xmlns:a16="http://schemas.microsoft.com/office/drawing/2014/main" id="{7F2C4E0C-5D74-B903-B280-F926EE6CBB49}"/>
                </a:ext>
              </a:extLst>
            </p:cNvPr>
            <p:cNvCxnSpPr/>
            <p:nvPr/>
          </p:nvCxnSpPr>
          <p:spPr>
            <a:xfrm>
              <a:off x="2590604" y="2884887"/>
              <a:ext cx="468719" cy="0"/>
            </a:xfrm>
            <a:prstGeom prst="line">
              <a:avLst/>
            </a:prstGeom>
            <a:grpFill/>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55284E7B-3C76-E097-55FF-49FF1086E0E5}"/>
                </a:ext>
              </a:extLst>
            </p:cNvPr>
            <p:cNvGrpSpPr>
              <a:grpSpLocks/>
            </p:cNvGrpSpPr>
            <p:nvPr/>
          </p:nvGrpSpPr>
          <p:grpSpPr>
            <a:xfrm>
              <a:off x="2029320" y="2703980"/>
              <a:ext cx="360719" cy="361815"/>
              <a:chOff x="2316163" y="4175125"/>
              <a:chExt cx="522288" cy="522288"/>
            </a:xfrm>
            <a:grpFill/>
          </p:grpSpPr>
          <p:sp>
            <p:nvSpPr>
              <p:cNvPr id="97" name="Freeform 38">
                <a:extLst>
                  <a:ext uri="{FF2B5EF4-FFF2-40B4-BE49-F238E27FC236}">
                    <a16:creationId xmlns:a16="http://schemas.microsoft.com/office/drawing/2014/main" id="{DBCB97A7-94E8-BAE1-F3D8-3A501F0137B2}"/>
                  </a:ext>
                </a:extLst>
              </p:cNvPr>
              <p:cNvSpPr>
                <a:spLocks noEditPoints="1"/>
              </p:cNvSpPr>
              <p:nvPr/>
            </p:nvSpPr>
            <p:spPr bwMode="auto">
              <a:xfrm>
                <a:off x="2316163" y="4175125"/>
                <a:ext cx="522288" cy="522288"/>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9 h 657"/>
                  <a:gd name="T16" fmla="*/ 2 w 657"/>
                  <a:gd name="T17" fmla="*/ 296 h 657"/>
                  <a:gd name="T18" fmla="*/ 10 w 657"/>
                  <a:gd name="T19" fmla="*/ 246 h 657"/>
                  <a:gd name="T20" fmla="*/ 39 w 657"/>
                  <a:gd name="T21" fmla="*/ 172 h 657"/>
                  <a:gd name="T22" fmla="*/ 96 w 657"/>
                  <a:gd name="T23" fmla="*/ 97 h 657"/>
                  <a:gd name="T24" fmla="*/ 172 w 657"/>
                  <a:gd name="T25" fmla="*/ 39 h 657"/>
                  <a:gd name="T26" fmla="*/ 246 w 657"/>
                  <a:gd name="T27" fmla="*/ 10 h 657"/>
                  <a:gd name="T28" fmla="*/ 294 w 657"/>
                  <a:gd name="T29" fmla="*/ 2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8 w 657"/>
                  <a:gd name="T61" fmla="*/ 657 h 657"/>
                  <a:gd name="T62" fmla="*/ 328 w 657"/>
                  <a:gd name="T63" fmla="*/ 38 h 657"/>
                  <a:gd name="T64" fmla="*/ 242 w 657"/>
                  <a:gd name="T65" fmla="*/ 51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7 h 657"/>
                  <a:gd name="T84" fmla="*/ 328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9 h 657"/>
                  <a:gd name="T98" fmla="*/ 606 w 657"/>
                  <a:gd name="T99" fmla="*/ 242 h 657"/>
                  <a:gd name="T100" fmla="*/ 570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8"/>
                    </a:lnTo>
                    <a:lnTo>
                      <a:pt x="231" y="642"/>
                    </a:lnTo>
                    <a:lnTo>
                      <a:pt x="200" y="632"/>
                    </a:lnTo>
                    <a:lnTo>
                      <a:pt x="172" y="618"/>
                    </a:lnTo>
                    <a:lnTo>
                      <a:pt x="145" y="601"/>
                    </a:lnTo>
                    <a:lnTo>
                      <a:pt x="120" y="582"/>
                    </a:lnTo>
                    <a:lnTo>
                      <a:pt x="96" y="562"/>
                    </a:lnTo>
                    <a:lnTo>
                      <a:pt x="76" y="538"/>
                    </a:lnTo>
                    <a:lnTo>
                      <a:pt x="55" y="512"/>
                    </a:lnTo>
                    <a:lnTo>
                      <a:pt x="39" y="485"/>
                    </a:lnTo>
                    <a:lnTo>
                      <a:pt x="26" y="457"/>
                    </a:lnTo>
                    <a:lnTo>
                      <a:pt x="15" y="426"/>
                    </a:lnTo>
                    <a:lnTo>
                      <a:pt x="10" y="411"/>
                    </a:lnTo>
                    <a:lnTo>
                      <a:pt x="7" y="395"/>
                    </a:lnTo>
                    <a:lnTo>
                      <a:pt x="3" y="379"/>
                    </a:lnTo>
                    <a:lnTo>
                      <a:pt x="2" y="362"/>
                    </a:lnTo>
                    <a:lnTo>
                      <a:pt x="0" y="346"/>
                    </a:lnTo>
                    <a:lnTo>
                      <a:pt x="0" y="329"/>
                    </a:lnTo>
                    <a:lnTo>
                      <a:pt x="0" y="329"/>
                    </a:lnTo>
                    <a:lnTo>
                      <a:pt x="0" y="312"/>
                    </a:lnTo>
                    <a:lnTo>
                      <a:pt x="2" y="296"/>
                    </a:lnTo>
                    <a:lnTo>
                      <a:pt x="3" y="278"/>
                    </a:lnTo>
                    <a:lnTo>
                      <a:pt x="7" y="262"/>
                    </a:lnTo>
                    <a:lnTo>
                      <a:pt x="10" y="246"/>
                    </a:lnTo>
                    <a:lnTo>
                      <a:pt x="15" y="231"/>
                    </a:lnTo>
                    <a:lnTo>
                      <a:pt x="26" y="200"/>
                    </a:lnTo>
                    <a:lnTo>
                      <a:pt x="39" y="172"/>
                    </a:lnTo>
                    <a:lnTo>
                      <a:pt x="55" y="145"/>
                    </a:lnTo>
                    <a:lnTo>
                      <a:pt x="76" y="120"/>
                    </a:lnTo>
                    <a:lnTo>
                      <a:pt x="96" y="97"/>
                    </a:lnTo>
                    <a:lnTo>
                      <a:pt x="120" y="76"/>
                    </a:lnTo>
                    <a:lnTo>
                      <a:pt x="145" y="57"/>
                    </a:lnTo>
                    <a:lnTo>
                      <a:pt x="172" y="39"/>
                    </a:lnTo>
                    <a:lnTo>
                      <a:pt x="200" y="26"/>
                    </a:lnTo>
                    <a:lnTo>
                      <a:pt x="231" y="15"/>
                    </a:lnTo>
                    <a:lnTo>
                      <a:pt x="246" y="10"/>
                    </a:lnTo>
                    <a:lnTo>
                      <a:pt x="262" y="7"/>
                    </a:lnTo>
                    <a:lnTo>
                      <a:pt x="278" y="4"/>
                    </a:lnTo>
                    <a:lnTo>
                      <a:pt x="294" y="2"/>
                    </a:lnTo>
                    <a:lnTo>
                      <a:pt x="312" y="0"/>
                    </a:lnTo>
                    <a:lnTo>
                      <a:pt x="328" y="0"/>
                    </a:lnTo>
                    <a:lnTo>
                      <a:pt x="328" y="0"/>
                    </a:lnTo>
                    <a:lnTo>
                      <a:pt x="346" y="0"/>
                    </a:lnTo>
                    <a:lnTo>
                      <a:pt x="362" y="2"/>
                    </a:lnTo>
                    <a:lnTo>
                      <a:pt x="379" y="4"/>
                    </a:lnTo>
                    <a:lnTo>
                      <a:pt x="395" y="7"/>
                    </a:lnTo>
                    <a:lnTo>
                      <a:pt x="410" y="10"/>
                    </a:lnTo>
                    <a:lnTo>
                      <a:pt x="426" y="15"/>
                    </a:lnTo>
                    <a:lnTo>
                      <a:pt x="457" y="26"/>
                    </a:lnTo>
                    <a:lnTo>
                      <a:pt x="485" y="39"/>
                    </a:lnTo>
                    <a:lnTo>
                      <a:pt x="512" y="57"/>
                    </a:lnTo>
                    <a:lnTo>
                      <a:pt x="538" y="76"/>
                    </a:lnTo>
                    <a:lnTo>
                      <a:pt x="560" y="97"/>
                    </a:lnTo>
                    <a:lnTo>
                      <a:pt x="582" y="120"/>
                    </a:lnTo>
                    <a:lnTo>
                      <a:pt x="601" y="145"/>
                    </a:lnTo>
                    <a:lnTo>
                      <a:pt x="618" y="172"/>
                    </a:lnTo>
                    <a:lnTo>
                      <a:pt x="632" y="200"/>
                    </a:lnTo>
                    <a:lnTo>
                      <a:pt x="642" y="231"/>
                    </a:lnTo>
                    <a:lnTo>
                      <a:pt x="646" y="246"/>
                    </a:lnTo>
                    <a:lnTo>
                      <a:pt x="650" y="262"/>
                    </a:lnTo>
                    <a:lnTo>
                      <a:pt x="653" y="278"/>
                    </a:lnTo>
                    <a:lnTo>
                      <a:pt x="656" y="296"/>
                    </a:lnTo>
                    <a:lnTo>
                      <a:pt x="657" y="312"/>
                    </a:lnTo>
                    <a:lnTo>
                      <a:pt x="657" y="329"/>
                    </a:lnTo>
                    <a:lnTo>
                      <a:pt x="657" y="329"/>
                    </a:lnTo>
                    <a:lnTo>
                      <a:pt x="657" y="346"/>
                    </a:lnTo>
                    <a:lnTo>
                      <a:pt x="656" y="362"/>
                    </a:lnTo>
                    <a:lnTo>
                      <a:pt x="653" y="379"/>
                    </a:lnTo>
                    <a:lnTo>
                      <a:pt x="650" y="395"/>
                    </a:lnTo>
                    <a:lnTo>
                      <a:pt x="646" y="411"/>
                    </a:lnTo>
                    <a:lnTo>
                      <a:pt x="642" y="426"/>
                    </a:lnTo>
                    <a:lnTo>
                      <a:pt x="632" y="457"/>
                    </a:lnTo>
                    <a:lnTo>
                      <a:pt x="618" y="485"/>
                    </a:lnTo>
                    <a:lnTo>
                      <a:pt x="601" y="512"/>
                    </a:lnTo>
                    <a:lnTo>
                      <a:pt x="582" y="538"/>
                    </a:lnTo>
                    <a:lnTo>
                      <a:pt x="560" y="562"/>
                    </a:lnTo>
                    <a:lnTo>
                      <a:pt x="538" y="582"/>
                    </a:lnTo>
                    <a:lnTo>
                      <a:pt x="512" y="601"/>
                    </a:lnTo>
                    <a:lnTo>
                      <a:pt x="485" y="618"/>
                    </a:lnTo>
                    <a:lnTo>
                      <a:pt x="457" y="632"/>
                    </a:lnTo>
                    <a:lnTo>
                      <a:pt x="426" y="642"/>
                    </a:lnTo>
                    <a:lnTo>
                      <a:pt x="410" y="648"/>
                    </a:lnTo>
                    <a:lnTo>
                      <a:pt x="395" y="650"/>
                    </a:lnTo>
                    <a:lnTo>
                      <a:pt x="379" y="653"/>
                    </a:lnTo>
                    <a:lnTo>
                      <a:pt x="362" y="656"/>
                    </a:lnTo>
                    <a:lnTo>
                      <a:pt x="346" y="657"/>
                    </a:lnTo>
                    <a:lnTo>
                      <a:pt x="328" y="657"/>
                    </a:lnTo>
                    <a:lnTo>
                      <a:pt x="328" y="657"/>
                    </a:lnTo>
                    <a:close/>
                    <a:moveTo>
                      <a:pt x="328" y="38"/>
                    </a:moveTo>
                    <a:lnTo>
                      <a:pt x="328" y="38"/>
                    </a:lnTo>
                    <a:lnTo>
                      <a:pt x="299" y="39"/>
                    </a:lnTo>
                    <a:lnTo>
                      <a:pt x="270" y="43"/>
                    </a:lnTo>
                    <a:lnTo>
                      <a:pt x="242" y="51"/>
                    </a:lnTo>
                    <a:lnTo>
                      <a:pt x="215" y="61"/>
                    </a:lnTo>
                    <a:lnTo>
                      <a:pt x="190" y="73"/>
                    </a:lnTo>
                    <a:lnTo>
                      <a:pt x="166" y="88"/>
                    </a:lnTo>
                    <a:lnTo>
                      <a:pt x="144" y="104"/>
                    </a:lnTo>
                    <a:lnTo>
                      <a:pt x="123" y="123"/>
                    </a:lnTo>
                    <a:lnTo>
                      <a:pt x="104" y="144"/>
                    </a:lnTo>
                    <a:lnTo>
                      <a:pt x="88" y="166"/>
                    </a:lnTo>
                    <a:lnTo>
                      <a:pt x="73" y="190"/>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7"/>
                    </a:lnTo>
                    <a:lnTo>
                      <a:pt x="270" y="614"/>
                    </a:lnTo>
                    <a:lnTo>
                      <a:pt x="299" y="618"/>
                    </a:lnTo>
                    <a:lnTo>
                      <a:pt x="328" y="620"/>
                    </a:lnTo>
                    <a:lnTo>
                      <a:pt x="328" y="620"/>
                    </a:lnTo>
                    <a:lnTo>
                      <a:pt x="358" y="618"/>
                    </a:lnTo>
                    <a:lnTo>
                      <a:pt x="387" y="614"/>
                    </a:lnTo>
                    <a:lnTo>
                      <a:pt x="415" y="607"/>
                    </a:lnTo>
                    <a:lnTo>
                      <a:pt x="442" y="597"/>
                    </a:lnTo>
                    <a:lnTo>
                      <a:pt x="468" y="585"/>
                    </a:lnTo>
                    <a:lnTo>
                      <a:pt x="491" y="570"/>
                    </a:lnTo>
                    <a:lnTo>
                      <a:pt x="513" y="554"/>
                    </a:lnTo>
                    <a:lnTo>
                      <a:pt x="535" y="535"/>
                    </a:lnTo>
                    <a:lnTo>
                      <a:pt x="554" y="513"/>
                    </a:lnTo>
                    <a:lnTo>
                      <a:pt x="570" y="492"/>
                    </a:lnTo>
                    <a:lnTo>
                      <a:pt x="585" y="468"/>
                    </a:lnTo>
                    <a:lnTo>
                      <a:pt x="597" y="442"/>
                    </a:lnTo>
                    <a:lnTo>
                      <a:pt x="606" y="415"/>
                    </a:lnTo>
                    <a:lnTo>
                      <a:pt x="614" y="387"/>
                    </a:lnTo>
                    <a:lnTo>
                      <a:pt x="618" y="359"/>
                    </a:lnTo>
                    <a:lnTo>
                      <a:pt x="620" y="329"/>
                    </a:lnTo>
                    <a:lnTo>
                      <a:pt x="620" y="329"/>
                    </a:lnTo>
                    <a:lnTo>
                      <a:pt x="618" y="298"/>
                    </a:lnTo>
                    <a:lnTo>
                      <a:pt x="614" y="270"/>
                    </a:lnTo>
                    <a:lnTo>
                      <a:pt x="606" y="242"/>
                    </a:lnTo>
                    <a:lnTo>
                      <a:pt x="597" y="215"/>
                    </a:lnTo>
                    <a:lnTo>
                      <a:pt x="585" y="190"/>
                    </a:lnTo>
                    <a:lnTo>
                      <a:pt x="570" y="166"/>
                    </a:lnTo>
                    <a:lnTo>
                      <a:pt x="554" y="144"/>
                    </a:lnTo>
                    <a:lnTo>
                      <a:pt x="535" y="123"/>
                    </a:lnTo>
                    <a:lnTo>
                      <a:pt x="513" y="104"/>
                    </a:lnTo>
                    <a:lnTo>
                      <a:pt x="491" y="88"/>
                    </a:lnTo>
                    <a:lnTo>
                      <a:pt x="468" y="73"/>
                    </a:lnTo>
                    <a:lnTo>
                      <a:pt x="442" y="61"/>
                    </a:lnTo>
                    <a:lnTo>
                      <a:pt x="415" y="51"/>
                    </a:lnTo>
                    <a:lnTo>
                      <a:pt x="387" y="43"/>
                    </a:lnTo>
                    <a:lnTo>
                      <a:pt x="358"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161">
                <a:extLst>
                  <a:ext uri="{FF2B5EF4-FFF2-40B4-BE49-F238E27FC236}">
                    <a16:creationId xmlns:a16="http://schemas.microsoft.com/office/drawing/2014/main" id="{6A208911-CE7B-E066-FF38-9DAF7F0B14AD}"/>
                  </a:ext>
                </a:extLst>
              </p:cNvPr>
              <p:cNvSpPr>
                <a:spLocks/>
              </p:cNvSpPr>
              <p:nvPr/>
            </p:nvSpPr>
            <p:spPr bwMode="auto">
              <a:xfrm>
                <a:off x="2447926" y="4430713"/>
                <a:ext cx="33338" cy="14288"/>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162">
                <a:extLst>
                  <a:ext uri="{FF2B5EF4-FFF2-40B4-BE49-F238E27FC236}">
                    <a16:creationId xmlns:a16="http://schemas.microsoft.com/office/drawing/2014/main" id="{B47CD000-4A15-73A7-3D23-07725D73EB8D}"/>
                  </a:ext>
                </a:extLst>
              </p:cNvPr>
              <p:cNvSpPr>
                <a:spLocks/>
              </p:cNvSpPr>
              <p:nvPr/>
            </p:nvSpPr>
            <p:spPr bwMode="auto">
              <a:xfrm>
                <a:off x="2484438" y="4344988"/>
                <a:ext cx="26988" cy="26988"/>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163">
                <a:extLst>
                  <a:ext uri="{FF2B5EF4-FFF2-40B4-BE49-F238E27FC236}">
                    <a16:creationId xmlns:a16="http://schemas.microsoft.com/office/drawing/2014/main" id="{0505F567-42FE-ACFE-CCF5-D0D7953638DC}"/>
                  </a:ext>
                </a:extLst>
              </p:cNvPr>
              <p:cNvSpPr>
                <a:spLocks/>
              </p:cNvSpPr>
              <p:nvPr/>
            </p:nvSpPr>
            <p:spPr bwMode="auto">
              <a:xfrm>
                <a:off x="2568576" y="4310063"/>
                <a:ext cx="15875" cy="31750"/>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64">
                <a:extLst>
                  <a:ext uri="{FF2B5EF4-FFF2-40B4-BE49-F238E27FC236}">
                    <a16:creationId xmlns:a16="http://schemas.microsoft.com/office/drawing/2014/main" id="{D7E6EA17-3E21-14E9-3DE0-2069D9C2DD6F}"/>
                  </a:ext>
                </a:extLst>
              </p:cNvPr>
              <p:cNvSpPr>
                <a:spLocks/>
              </p:cNvSpPr>
              <p:nvPr/>
            </p:nvSpPr>
            <p:spPr bwMode="auto">
              <a:xfrm>
                <a:off x="2643188" y="4344988"/>
                <a:ext cx="25400" cy="26988"/>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165">
                <a:extLst>
                  <a:ext uri="{FF2B5EF4-FFF2-40B4-BE49-F238E27FC236}">
                    <a16:creationId xmlns:a16="http://schemas.microsoft.com/office/drawing/2014/main" id="{12482396-2B83-9716-35B6-6975E53A9139}"/>
                  </a:ext>
                </a:extLst>
              </p:cNvPr>
              <p:cNvSpPr>
                <a:spLocks/>
              </p:cNvSpPr>
              <p:nvPr/>
            </p:nvSpPr>
            <p:spPr bwMode="auto">
              <a:xfrm>
                <a:off x="2671763" y="4430713"/>
                <a:ext cx="33338" cy="14288"/>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66">
                <a:extLst>
                  <a:ext uri="{FF2B5EF4-FFF2-40B4-BE49-F238E27FC236}">
                    <a16:creationId xmlns:a16="http://schemas.microsoft.com/office/drawing/2014/main" id="{9129D151-A258-F7B1-0C55-F14D73C71D9E}"/>
                  </a:ext>
                </a:extLst>
              </p:cNvPr>
              <p:cNvSpPr>
                <a:spLocks/>
              </p:cNvSpPr>
              <p:nvPr/>
            </p:nvSpPr>
            <p:spPr bwMode="auto">
              <a:xfrm>
                <a:off x="2503488" y="4364038"/>
                <a:ext cx="146050" cy="153988"/>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67">
                <a:extLst>
                  <a:ext uri="{FF2B5EF4-FFF2-40B4-BE49-F238E27FC236}">
                    <a16:creationId xmlns:a16="http://schemas.microsoft.com/office/drawing/2014/main" id="{3E7BF65D-D2ED-37E9-F638-CD123A756428}"/>
                  </a:ext>
                </a:extLst>
              </p:cNvPr>
              <p:cNvSpPr>
                <a:spLocks/>
              </p:cNvSpPr>
              <p:nvPr/>
            </p:nvSpPr>
            <p:spPr bwMode="auto">
              <a:xfrm>
                <a:off x="2546351" y="4533900"/>
                <a:ext cx="61913" cy="9525"/>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68">
                <a:extLst>
                  <a:ext uri="{FF2B5EF4-FFF2-40B4-BE49-F238E27FC236}">
                    <a16:creationId xmlns:a16="http://schemas.microsoft.com/office/drawing/2014/main" id="{0EF35BB0-AFBC-248D-EE49-40E6519B9414}"/>
                  </a:ext>
                </a:extLst>
              </p:cNvPr>
              <p:cNvSpPr>
                <a:spLocks/>
              </p:cNvSpPr>
              <p:nvPr/>
            </p:nvSpPr>
            <p:spPr bwMode="auto">
              <a:xfrm>
                <a:off x="2563813" y="4554538"/>
                <a:ext cx="25400" cy="7938"/>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5" name="Straight Connector 44">
              <a:extLst>
                <a:ext uri="{FF2B5EF4-FFF2-40B4-BE49-F238E27FC236}">
                  <a16:creationId xmlns:a16="http://schemas.microsoft.com/office/drawing/2014/main" id="{D3358071-E65E-29F0-397C-3A3880B45025}"/>
                </a:ext>
              </a:extLst>
            </p:cNvPr>
            <p:cNvCxnSpPr/>
            <p:nvPr/>
          </p:nvCxnSpPr>
          <p:spPr>
            <a:xfrm>
              <a:off x="1529484" y="2884887"/>
              <a:ext cx="468719" cy="0"/>
            </a:xfrm>
            <a:prstGeom prst="line">
              <a:avLst/>
            </a:prstGeom>
            <a:grpFill/>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CB3DEB54-2071-AB1A-88B1-F4C4B573465C}"/>
                </a:ext>
              </a:extLst>
            </p:cNvPr>
            <p:cNvGrpSpPr>
              <a:grpSpLocks/>
            </p:cNvGrpSpPr>
            <p:nvPr/>
          </p:nvGrpSpPr>
          <p:grpSpPr>
            <a:xfrm>
              <a:off x="3921108" y="2703980"/>
              <a:ext cx="360719" cy="361815"/>
              <a:chOff x="11115676" y="4182110"/>
              <a:chExt cx="522288" cy="523875"/>
            </a:xfrm>
            <a:grpFill/>
          </p:grpSpPr>
          <p:sp>
            <p:nvSpPr>
              <p:cNvPr id="94" name="Freeform 45">
                <a:extLst>
                  <a:ext uri="{FF2B5EF4-FFF2-40B4-BE49-F238E27FC236}">
                    <a16:creationId xmlns:a16="http://schemas.microsoft.com/office/drawing/2014/main" id="{909054F1-43DF-76C2-5CCD-6E728F3E812C}"/>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327">
                <a:extLst>
                  <a:ext uri="{FF2B5EF4-FFF2-40B4-BE49-F238E27FC236}">
                    <a16:creationId xmlns:a16="http://schemas.microsoft.com/office/drawing/2014/main" id="{2817DAB8-1B51-A57F-5F5F-B1AAB9B81B1C}"/>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328">
                <a:extLst>
                  <a:ext uri="{FF2B5EF4-FFF2-40B4-BE49-F238E27FC236}">
                    <a16:creationId xmlns:a16="http://schemas.microsoft.com/office/drawing/2014/main" id="{044A5210-33D7-4976-193C-7AAC7D1C336E}"/>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46">
              <a:extLst>
                <a:ext uri="{FF2B5EF4-FFF2-40B4-BE49-F238E27FC236}">
                  <a16:creationId xmlns:a16="http://schemas.microsoft.com/office/drawing/2014/main" id="{C36DDD59-5EDE-9BA1-6DD5-60A7DCEA2410}"/>
                </a:ext>
              </a:extLst>
            </p:cNvPr>
            <p:cNvGrpSpPr>
              <a:grpSpLocks/>
            </p:cNvGrpSpPr>
            <p:nvPr/>
          </p:nvGrpSpPr>
          <p:grpSpPr>
            <a:xfrm>
              <a:off x="4993632" y="2703980"/>
              <a:ext cx="360719" cy="361815"/>
              <a:chOff x="6724651" y="823913"/>
              <a:chExt cx="520700" cy="522288"/>
            </a:xfrm>
            <a:grpFill/>
          </p:grpSpPr>
          <p:sp>
            <p:nvSpPr>
              <p:cNvPr id="87" name="Freeform 5">
                <a:extLst>
                  <a:ext uri="{FF2B5EF4-FFF2-40B4-BE49-F238E27FC236}">
                    <a16:creationId xmlns:a16="http://schemas.microsoft.com/office/drawing/2014/main" id="{EC36046E-9EA9-8DD8-AEFC-45759B32059E}"/>
                  </a:ext>
                </a:extLst>
              </p:cNvPr>
              <p:cNvSpPr>
                <a:spLocks noEditPoints="1"/>
              </p:cNvSpPr>
              <p:nvPr/>
            </p:nvSpPr>
            <p:spPr bwMode="auto">
              <a:xfrm>
                <a:off x="6724651" y="823913"/>
                <a:ext cx="520700" cy="522288"/>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09">
                <a:extLst>
                  <a:ext uri="{FF2B5EF4-FFF2-40B4-BE49-F238E27FC236}">
                    <a16:creationId xmlns:a16="http://schemas.microsoft.com/office/drawing/2014/main" id="{D44FF1F8-2C75-86FF-0DEF-443A42F23588}"/>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10">
                <a:extLst>
                  <a:ext uri="{FF2B5EF4-FFF2-40B4-BE49-F238E27FC236}">
                    <a16:creationId xmlns:a16="http://schemas.microsoft.com/office/drawing/2014/main" id="{A23725D7-22F6-440E-B9A8-7E47CA751B50}"/>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111">
                <a:extLst>
                  <a:ext uri="{FF2B5EF4-FFF2-40B4-BE49-F238E27FC236}">
                    <a16:creationId xmlns:a16="http://schemas.microsoft.com/office/drawing/2014/main" id="{D911FC37-C791-A6BE-11E7-59AE761FC2B0}"/>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112">
                <a:extLst>
                  <a:ext uri="{FF2B5EF4-FFF2-40B4-BE49-F238E27FC236}">
                    <a16:creationId xmlns:a16="http://schemas.microsoft.com/office/drawing/2014/main" id="{F5428068-89CB-4119-B73F-E8D0C541026F}"/>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113">
                <a:extLst>
                  <a:ext uri="{FF2B5EF4-FFF2-40B4-BE49-F238E27FC236}">
                    <a16:creationId xmlns:a16="http://schemas.microsoft.com/office/drawing/2014/main" id="{5941647A-EE9B-591A-9B63-E468E04F48FC}"/>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114">
                <a:extLst>
                  <a:ext uri="{FF2B5EF4-FFF2-40B4-BE49-F238E27FC236}">
                    <a16:creationId xmlns:a16="http://schemas.microsoft.com/office/drawing/2014/main" id="{8FFA2101-EE96-63C4-B961-343DC6FB368D}"/>
                  </a:ext>
                </a:extLst>
              </p:cNvPr>
              <p:cNvSpPr>
                <a:spLocks/>
              </p:cNvSpPr>
              <p:nvPr/>
            </p:nvSpPr>
            <p:spPr bwMode="auto">
              <a:xfrm>
                <a:off x="6916738" y="1000125"/>
                <a:ext cx="146050" cy="20320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47">
              <a:extLst>
                <a:ext uri="{FF2B5EF4-FFF2-40B4-BE49-F238E27FC236}">
                  <a16:creationId xmlns:a16="http://schemas.microsoft.com/office/drawing/2014/main" id="{54561D8E-53C2-96A0-9E03-C47E20749A52}"/>
                </a:ext>
              </a:extLst>
            </p:cNvPr>
            <p:cNvGrpSpPr>
              <a:grpSpLocks/>
            </p:cNvGrpSpPr>
            <p:nvPr/>
          </p:nvGrpSpPr>
          <p:grpSpPr>
            <a:xfrm>
              <a:off x="6076280" y="2703980"/>
              <a:ext cx="360719" cy="361815"/>
              <a:chOff x="563563" y="1674813"/>
              <a:chExt cx="522288" cy="522288"/>
            </a:xfrm>
            <a:grpFill/>
          </p:grpSpPr>
          <p:sp>
            <p:nvSpPr>
              <p:cNvPr id="81" name="Freeform 14">
                <a:extLst>
                  <a:ext uri="{FF2B5EF4-FFF2-40B4-BE49-F238E27FC236}">
                    <a16:creationId xmlns:a16="http://schemas.microsoft.com/office/drawing/2014/main" id="{3FFFB369-BBB6-C286-CB6F-C6EF0297C770}"/>
                  </a:ext>
                </a:extLst>
              </p:cNvPr>
              <p:cNvSpPr>
                <a:spLocks noEditPoints="1"/>
              </p:cNvSpPr>
              <p:nvPr/>
            </p:nvSpPr>
            <p:spPr bwMode="auto">
              <a:xfrm>
                <a:off x="563563" y="1674813"/>
                <a:ext cx="522288" cy="522288"/>
              </a:xfrm>
              <a:custGeom>
                <a:avLst/>
                <a:gdLst>
                  <a:gd name="T0" fmla="*/ 313 w 658"/>
                  <a:gd name="T1" fmla="*/ 657 h 657"/>
                  <a:gd name="T2" fmla="*/ 263 w 658"/>
                  <a:gd name="T3" fmla="*/ 650 h 657"/>
                  <a:gd name="T4" fmla="*/ 201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8 w 658"/>
                  <a:gd name="T45" fmla="*/ 312 h 657"/>
                  <a:gd name="T46" fmla="*/ 658 w 658"/>
                  <a:gd name="T47" fmla="*/ 346 h 657"/>
                  <a:gd name="T48" fmla="*/ 651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4 w 658"/>
                  <a:gd name="T91" fmla="*/ 535 h 657"/>
                  <a:gd name="T92" fmla="*/ 585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8"/>
                    </a:lnTo>
                    <a:lnTo>
                      <a:pt x="232" y="642"/>
                    </a:lnTo>
                    <a:lnTo>
                      <a:pt x="201" y="632"/>
                    </a:lnTo>
                    <a:lnTo>
                      <a:pt x="173" y="618"/>
                    </a:lnTo>
                    <a:lnTo>
                      <a:pt x="145" y="601"/>
                    </a:lnTo>
                    <a:lnTo>
                      <a:pt x="121" y="582"/>
                    </a:lnTo>
                    <a:lnTo>
                      <a:pt x="97" y="560"/>
                    </a:lnTo>
                    <a:lnTo>
                      <a:pt x="75" y="538"/>
                    </a:lnTo>
                    <a:lnTo>
                      <a:pt x="56" y="512"/>
                    </a:lnTo>
                    <a:lnTo>
                      <a:pt x="40" y="485"/>
                    </a:lnTo>
                    <a:lnTo>
                      <a:pt x="27" y="457"/>
                    </a:lnTo>
                    <a:lnTo>
                      <a:pt x="15" y="426"/>
                    </a:lnTo>
                    <a:lnTo>
                      <a:pt x="11" y="411"/>
                    </a:lnTo>
                    <a:lnTo>
                      <a:pt x="7" y="395"/>
                    </a:lnTo>
                    <a:lnTo>
                      <a:pt x="4" y="379"/>
                    </a:lnTo>
                    <a:lnTo>
                      <a:pt x="3" y="362"/>
                    </a:lnTo>
                    <a:lnTo>
                      <a:pt x="1" y="346"/>
                    </a:lnTo>
                    <a:lnTo>
                      <a:pt x="0" y="328"/>
                    </a:lnTo>
                    <a:lnTo>
                      <a:pt x="0" y="328"/>
                    </a:lnTo>
                    <a:lnTo>
                      <a:pt x="1" y="312"/>
                    </a:lnTo>
                    <a:lnTo>
                      <a:pt x="3" y="294"/>
                    </a:lnTo>
                    <a:lnTo>
                      <a:pt x="4" y="278"/>
                    </a:lnTo>
                    <a:lnTo>
                      <a:pt x="7" y="262"/>
                    </a:lnTo>
                    <a:lnTo>
                      <a:pt x="11" y="246"/>
                    </a:lnTo>
                    <a:lnTo>
                      <a:pt x="15" y="231"/>
                    </a:lnTo>
                    <a:lnTo>
                      <a:pt x="27" y="200"/>
                    </a:lnTo>
                    <a:lnTo>
                      <a:pt x="40" y="172"/>
                    </a:lnTo>
                    <a:lnTo>
                      <a:pt x="56" y="145"/>
                    </a:lnTo>
                    <a:lnTo>
                      <a:pt x="75" y="120"/>
                    </a:lnTo>
                    <a:lnTo>
                      <a:pt x="97" y="96"/>
                    </a:lnTo>
                    <a:lnTo>
                      <a:pt x="121" y="76"/>
                    </a:lnTo>
                    <a:lnTo>
                      <a:pt x="145" y="57"/>
                    </a:lnTo>
                    <a:lnTo>
                      <a:pt x="173" y="39"/>
                    </a:lnTo>
                    <a:lnTo>
                      <a:pt x="201" y="26"/>
                    </a:lnTo>
                    <a:lnTo>
                      <a:pt x="232" y="15"/>
                    </a:lnTo>
                    <a:lnTo>
                      <a:pt x="247" y="10"/>
                    </a:lnTo>
                    <a:lnTo>
                      <a:pt x="263" y="7"/>
                    </a:lnTo>
                    <a:lnTo>
                      <a:pt x="279" y="4"/>
                    </a:lnTo>
                    <a:lnTo>
                      <a:pt x="295" y="2"/>
                    </a:lnTo>
                    <a:lnTo>
                      <a:pt x="313" y="0"/>
                    </a:lnTo>
                    <a:lnTo>
                      <a:pt x="329" y="0"/>
                    </a:lnTo>
                    <a:lnTo>
                      <a:pt x="329" y="0"/>
                    </a:lnTo>
                    <a:lnTo>
                      <a:pt x="346" y="0"/>
                    </a:lnTo>
                    <a:lnTo>
                      <a:pt x="363" y="2"/>
                    </a:lnTo>
                    <a:lnTo>
                      <a:pt x="379" y="4"/>
                    </a:lnTo>
                    <a:lnTo>
                      <a:pt x="396" y="7"/>
                    </a:lnTo>
                    <a:lnTo>
                      <a:pt x="411" y="10"/>
                    </a:lnTo>
                    <a:lnTo>
                      <a:pt x="427" y="15"/>
                    </a:lnTo>
                    <a:lnTo>
                      <a:pt x="457" y="26"/>
                    </a:lnTo>
                    <a:lnTo>
                      <a:pt x="486" y="39"/>
                    </a:lnTo>
                    <a:lnTo>
                      <a:pt x="513" y="57"/>
                    </a:lnTo>
                    <a:lnTo>
                      <a:pt x="539" y="76"/>
                    </a:lnTo>
                    <a:lnTo>
                      <a:pt x="561" y="96"/>
                    </a:lnTo>
                    <a:lnTo>
                      <a:pt x="583" y="120"/>
                    </a:lnTo>
                    <a:lnTo>
                      <a:pt x="602" y="145"/>
                    </a:lnTo>
                    <a:lnTo>
                      <a:pt x="618" y="172"/>
                    </a:lnTo>
                    <a:lnTo>
                      <a:pt x="632"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2"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6" y="650"/>
                    </a:lnTo>
                    <a:lnTo>
                      <a:pt x="379" y="653"/>
                    </a:lnTo>
                    <a:lnTo>
                      <a:pt x="363" y="656"/>
                    </a:lnTo>
                    <a:lnTo>
                      <a:pt x="346"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8"/>
                    </a:lnTo>
                    <a:lnTo>
                      <a:pt x="38" y="328"/>
                    </a:lnTo>
                    <a:lnTo>
                      <a:pt x="38" y="328"/>
                    </a:lnTo>
                    <a:lnTo>
                      <a:pt x="40" y="359"/>
                    </a:lnTo>
                    <a:lnTo>
                      <a:pt x="44" y="387"/>
                    </a:lnTo>
                    <a:lnTo>
                      <a:pt x="51" y="415"/>
                    </a:lnTo>
                    <a:lnTo>
                      <a:pt x="62" y="442"/>
                    </a:lnTo>
                    <a:lnTo>
                      <a:pt x="74" y="468"/>
                    </a:lnTo>
                    <a:lnTo>
                      <a:pt x="89"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3" y="597"/>
                    </a:lnTo>
                    <a:lnTo>
                      <a:pt x="467" y="585"/>
                    </a:lnTo>
                    <a:lnTo>
                      <a:pt x="492" y="570"/>
                    </a:lnTo>
                    <a:lnTo>
                      <a:pt x="514" y="554"/>
                    </a:lnTo>
                    <a:lnTo>
                      <a:pt x="534" y="535"/>
                    </a:lnTo>
                    <a:lnTo>
                      <a:pt x="553" y="513"/>
                    </a:lnTo>
                    <a:lnTo>
                      <a:pt x="571" y="492"/>
                    </a:lnTo>
                    <a:lnTo>
                      <a:pt x="585"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5" y="190"/>
                    </a:lnTo>
                    <a:lnTo>
                      <a:pt x="571" y="166"/>
                    </a:lnTo>
                    <a:lnTo>
                      <a:pt x="553" y="144"/>
                    </a:lnTo>
                    <a:lnTo>
                      <a:pt x="534" y="123"/>
                    </a:lnTo>
                    <a:lnTo>
                      <a:pt x="514" y="104"/>
                    </a:lnTo>
                    <a:lnTo>
                      <a:pt x="492" y="88"/>
                    </a:lnTo>
                    <a:lnTo>
                      <a:pt x="467" y="73"/>
                    </a:lnTo>
                    <a:lnTo>
                      <a:pt x="443"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265">
                <a:extLst>
                  <a:ext uri="{FF2B5EF4-FFF2-40B4-BE49-F238E27FC236}">
                    <a16:creationId xmlns:a16="http://schemas.microsoft.com/office/drawing/2014/main" id="{1578793E-9F5D-02DB-32A8-B0AF263DBBAA}"/>
                  </a:ext>
                </a:extLst>
              </p:cNvPr>
              <p:cNvSpPr>
                <a:spLocks/>
              </p:cNvSpPr>
              <p:nvPr/>
            </p:nvSpPr>
            <p:spPr bwMode="auto">
              <a:xfrm>
                <a:off x="890588" y="1998663"/>
                <a:ext cx="57150" cy="57150"/>
              </a:xfrm>
              <a:custGeom>
                <a:avLst/>
                <a:gdLst>
                  <a:gd name="T0" fmla="*/ 61 w 71"/>
                  <a:gd name="T1" fmla="*/ 0 h 71"/>
                  <a:gd name="T2" fmla="*/ 0 w 71"/>
                  <a:gd name="T3" fmla="*/ 60 h 71"/>
                  <a:gd name="T4" fmla="*/ 65 w 71"/>
                  <a:gd name="T5" fmla="*/ 71 h 71"/>
                  <a:gd name="T6" fmla="*/ 65 w 71"/>
                  <a:gd name="T7" fmla="*/ 71 h 71"/>
                  <a:gd name="T8" fmla="*/ 66 w 71"/>
                  <a:gd name="T9" fmla="*/ 71 h 71"/>
                  <a:gd name="T10" fmla="*/ 66 w 71"/>
                  <a:gd name="T11" fmla="*/ 71 h 71"/>
                  <a:gd name="T12" fmla="*/ 66 w 71"/>
                  <a:gd name="T13" fmla="*/ 71 h 71"/>
                  <a:gd name="T14" fmla="*/ 66 w 71"/>
                  <a:gd name="T15" fmla="*/ 71 h 71"/>
                  <a:gd name="T16" fmla="*/ 67 w 71"/>
                  <a:gd name="T17" fmla="*/ 71 h 71"/>
                  <a:gd name="T18" fmla="*/ 70 w 71"/>
                  <a:gd name="T19" fmla="*/ 69 h 71"/>
                  <a:gd name="T20" fmla="*/ 71 w 71"/>
                  <a:gd name="T21" fmla="*/ 67 h 71"/>
                  <a:gd name="T22" fmla="*/ 71 w 71"/>
                  <a:gd name="T23" fmla="*/ 65 h 71"/>
                  <a:gd name="T24" fmla="*/ 71 w 71"/>
                  <a:gd name="T25" fmla="*/ 65 h 71"/>
                  <a:gd name="T26" fmla="*/ 71 w 71"/>
                  <a:gd name="T27" fmla="*/ 63 h 71"/>
                  <a:gd name="T28" fmla="*/ 61 w 71"/>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1">
                    <a:moveTo>
                      <a:pt x="61" y="0"/>
                    </a:moveTo>
                    <a:lnTo>
                      <a:pt x="0" y="60"/>
                    </a:lnTo>
                    <a:lnTo>
                      <a:pt x="65" y="71"/>
                    </a:lnTo>
                    <a:lnTo>
                      <a:pt x="65" y="71"/>
                    </a:lnTo>
                    <a:lnTo>
                      <a:pt x="66" y="71"/>
                    </a:lnTo>
                    <a:lnTo>
                      <a:pt x="66" y="71"/>
                    </a:lnTo>
                    <a:lnTo>
                      <a:pt x="66" y="71"/>
                    </a:lnTo>
                    <a:lnTo>
                      <a:pt x="66" y="71"/>
                    </a:lnTo>
                    <a:lnTo>
                      <a:pt x="67" y="71"/>
                    </a:lnTo>
                    <a:lnTo>
                      <a:pt x="70" y="69"/>
                    </a:lnTo>
                    <a:lnTo>
                      <a:pt x="71" y="67"/>
                    </a:lnTo>
                    <a:lnTo>
                      <a:pt x="71" y="65"/>
                    </a:lnTo>
                    <a:lnTo>
                      <a:pt x="71" y="65"/>
                    </a:lnTo>
                    <a:lnTo>
                      <a:pt x="71" y="63"/>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266">
                <a:extLst>
                  <a:ext uri="{FF2B5EF4-FFF2-40B4-BE49-F238E27FC236}">
                    <a16:creationId xmlns:a16="http://schemas.microsoft.com/office/drawing/2014/main" id="{D081ACA7-9FCD-0DD2-2282-2E472D25FBCB}"/>
                  </a:ext>
                </a:extLst>
              </p:cNvPr>
              <p:cNvSpPr>
                <a:spLocks/>
              </p:cNvSpPr>
              <p:nvPr/>
            </p:nvSpPr>
            <p:spPr bwMode="auto">
              <a:xfrm>
                <a:off x="688976" y="1797050"/>
                <a:ext cx="74613" cy="74613"/>
              </a:xfrm>
              <a:custGeom>
                <a:avLst/>
                <a:gdLst>
                  <a:gd name="T0" fmla="*/ 96 w 96"/>
                  <a:gd name="T1" fmla="*/ 31 h 96"/>
                  <a:gd name="T2" fmla="*/ 66 w 96"/>
                  <a:gd name="T3" fmla="*/ 2 h 96"/>
                  <a:gd name="T4" fmla="*/ 66 w 96"/>
                  <a:gd name="T5" fmla="*/ 2 h 96"/>
                  <a:gd name="T6" fmla="*/ 63 w 96"/>
                  <a:gd name="T7" fmla="*/ 0 h 96"/>
                  <a:gd name="T8" fmla="*/ 62 w 96"/>
                  <a:gd name="T9" fmla="*/ 0 h 96"/>
                  <a:gd name="T10" fmla="*/ 59 w 96"/>
                  <a:gd name="T11" fmla="*/ 0 h 96"/>
                  <a:gd name="T12" fmla="*/ 58 w 96"/>
                  <a:gd name="T13" fmla="*/ 2 h 96"/>
                  <a:gd name="T14" fmla="*/ 2 w 96"/>
                  <a:gd name="T15" fmla="*/ 58 h 96"/>
                  <a:gd name="T16" fmla="*/ 2 w 96"/>
                  <a:gd name="T17" fmla="*/ 58 h 96"/>
                  <a:gd name="T18" fmla="*/ 0 w 96"/>
                  <a:gd name="T19" fmla="*/ 60 h 96"/>
                  <a:gd name="T20" fmla="*/ 0 w 96"/>
                  <a:gd name="T21" fmla="*/ 62 h 96"/>
                  <a:gd name="T22" fmla="*/ 0 w 96"/>
                  <a:gd name="T23" fmla="*/ 65 h 96"/>
                  <a:gd name="T24" fmla="*/ 2 w 96"/>
                  <a:gd name="T25" fmla="*/ 66 h 96"/>
                  <a:gd name="T26" fmla="*/ 31 w 96"/>
                  <a:gd name="T27" fmla="*/ 96 h 96"/>
                  <a:gd name="T28" fmla="*/ 96 w 96"/>
                  <a:gd name="T29"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96" y="31"/>
                    </a:moveTo>
                    <a:lnTo>
                      <a:pt x="66" y="2"/>
                    </a:lnTo>
                    <a:lnTo>
                      <a:pt x="66" y="2"/>
                    </a:lnTo>
                    <a:lnTo>
                      <a:pt x="63" y="0"/>
                    </a:lnTo>
                    <a:lnTo>
                      <a:pt x="62" y="0"/>
                    </a:lnTo>
                    <a:lnTo>
                      <a:pt x="59" y="0"/>
                    </a:lnTo>
                    <a:lnTo>
                      <a:pt x="58" y="2"/>
                    </a:lnTo>
                    <a:lnTo>
                      <a:pt x="2" y="58"/>
                    </a:lnTo>
                    <a:lnTo>
                      <a:pt x="2" y="58"/>
                    </a:lnTo>
                    <a:lnTo>
                      <a:pt x="0" y="60"/>
                    </a:lnTo>
                    <a:lnTo>
                      <a:pt x="0" y="62"/>
                    </a:lnTo>
                    <a:lnTo>
                      <a:pt x="0" y="65"/>
                    </a:lnTo>
                    <a:lnTo>
                      <a:pt x="2" y="66"/>
                    </a:lnTo>
                    <a:lnTo>
                      <a:pt x="31" y="96"/>
                    </a:lnTo>
                    <a:lnTo>
                      <a:pt x="9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267">
                <a:extLst>
                  <a:ext uri="{FF2B5EF4-FFF2-40B4-BE49-F238E27FC236}">
                    <a16:creationId xmlns:a16="http://schemas.microsoft.com/office/drawing/2014/main" id="{9EF14778-EEF6-B0AC-C1CB-4DB442627F82}"/>
                  </a:ext>
                </a:extLst>
              </p:cNvPr>
              <p:cNvSpPr>
                <a:spLocks noEditPoints="1"/>
              </p:cNvSpPr>
              <p:nvPr/>
            </p:nvSpPr>
            <p:spPr bwMode="auto">
              <a:xfrm>
                <a:off x="688976" y="1797050"/>
                <a:ext cx="258763" cy="258763"/>
              </a:xfrm>
              <a:custGeom>
                <a:avLst/>
                <a:gdLst>
                  <a:gd name="T0" fmla="*/ 257 w 326"/>
                  <a:gd name="T1" fmla="*/ 2 h 327"/>
                  <a:gd name="T2" fmla="*/ 255 w 326"/>
                  <a:gd name="T3" fmla="*/ 0 h 327"/>
                  <a:gd name="T4" fmla="*/ 251 w 326"/>
                  <a:gd name="T5" fmla="*/ 0 h 327"/>
                  <a:gd name="T6" fmla="*/ 198 w 326"/>
                  <a:gd name="T7" fmla="*/ 54 h 327"/>
                  <a:gd name="T8" fmla="*/ 218 w 326"/>
                  <a:gd name="T9" fmla="*/ 76 h 327"/>
                  <a:gd name="T10" fmla="*/ 219 w 326"/>
                  <a:gd name="T11" fmla="*/ 80 h 327"/>
                  <a:gd name="T12" fmla="*/ 218 w 326"/>
                  <a:gd name="T13" fmla="*/ 82 h 327"/>
                  <a:gd name="T14" fmla="*/ 216 w 326"/>
                  <a:gd name="T15" fmla="*/ 84 h 327"/>
                  <a:gd name="T16" fmla="*/ 212 w 326"/>
                  <a:gd name="T17" fmla="*/ 84 h 327"/>
                  <a:gd name="T18" fmla="*/ 189 w 326"/>
                  <a:gd name="T19" fmla="*/ 62 h 327"/>
                  <a:gd name="T20" fmla="*/ 173 w 326"/>
                  <a:gd name="T21" fmla="*/ 97 h 327"/>
                  <a:gd name="T22" fmla="*/ 173 w 326"/>
                  <a:gd name="T23" fmla="*/ 100 h 327"/>
                  <a:gd name="T24" fmla="*/ 173 w 326"/>
                  <a:gd name="T25" fmla="*/ 104 h 327"/>
                  <a:gd name="T26" fmla="*/ 173 w 326"/>
                  <a:gd name="T27" fmla="*/ 105 h 327"/>
                  <a:gd name="T28" fmla="*/ 169 w 326"/>
                  <a:gd name="T29" fmla="*/ 107 h 327"/>
                  <a:gd name="T30" fmla="*/ 165 w 326"/>
                  <a:gd name="T31" fmla="*/ 105 h 327"/>
                  <a:gd name="T32" fmla="*/ 129 w 326"/>
                  <a:gd name="T33" fmla="*/ 121 h 327"/>
                  <a:gd name="T34" fmla="*/ 151 w 326"/>
                  <a:gd name="T35" fmla="*/ 143 h 327"/>
                  <a:gd name="T36" fmla="*/ 152 w 326"/>
                  <a:gd name="T37" fmla="*/ 147 h 327"/>
                  <a:gd name="T38" fmla="*/ 151 w 326"/>
                  <a:gd name="T39" fmla="*/ 151 h 327"/>
                  <a:gd name="T40" fmla="*/ 148 w 326"/>
                  <a:gd name="T41" fmla="*/ 152 h 327"/>
                  <a:gd name="T42" fmla="*/ 144 w 326"/>
                  <a:gd name="T43" fmla="*/ 152 h 327"/>
                  <a:gd name="T44" fmla="*/ 121 w 326"/>
                  <a:gd name="T45" fmla="*/ 129 h 327"/>
                  <a:gd name="T46" fmla="*/ 105 w 326"/>
                  <a:gd name="T47" fmla="*/ 166 h 327"/>
                  <a:gd name="T48" fmla="*/ 106 w 326"/>
                  <a:gd name="T49" fmla="*/ 167 h 327"/>
                  <a:gd name="T50" fmla="*/ 106 w 326"/>
                  <a:gd name="T51" fmla="*/ 171 h 327"/>
                  <a:gd name="T52" fmla="*/ 105 w 326"/>
                  <a:gd name="T53" fmla="*/ 174 h 327"/>
                  <a:gd name="T54" fmla="*/ 101 w 326"/>
                  <a:gd name="T55" fmla="*/ 175 h 327"/>
                  <a:gd name="T56" fmla="*/ 97 w 326"/>
                  <a:gd name="T57" fmla="*/ 174 h 327"/>
                  <a:gd name="T58" fmla="*/ 62 w 326"/>
                  <a:gd name="T59" fmla="*/ 190 h 327"/>
                  <a:gd name="T60" fmla="*/ 82 w 326"/>
                  <a:gd name="T61" fmla="*/ 210 h 327"/>
                  <a:gd name="T62" fmla="*/ 85 w 326"/>
                  <a:gd name="T63" fmla="*/ 214 h 327"/>
                  <a:gd name="T64" fmla="*/ 82 w 326"/>
                  <a:gd name="T65" fmla="*/ 218 h 327"/>
                  <a:gd name="T66" fmla="*/ 81 w 326"/>
                  <a:gd name="T67" fmla="*/ 219 h 327"/>
                  <a:gd name="T68" fmla="*/ 77 w 326"/>
                  <a:gd name="T69" fmla="*/ 219 h 327"/>
                  <a:gd name="T70" fmla="*/ 54 w 326"/>
                  <a:gd name="T71" fmla="*/ 198 h 327"/>
                  <a:gd name="T72" fmla="*/ 2 w 326"/>
                  <a:gd name="T73" fmla="*/ 250 h 327"/>
                  <a:gd name="T74" fmla="*/ 0 w 326"/>
                  <a:gd name="T75" fmla="*/ 254 h 327"/>
                  <a:gd name="T76" fmla="*/ 2 w 326"/>
                  <a:gd name="T77" fmla="*/ 257 h 327"/>
                  <a:gd name="T78" fmla="*/ 69 w 326"/>
                  <a:gd name="T79" fmla="*/ 325 h 327"/>
                  <a:gd name="T80" fmla="*/ 73 w 326"/>
                  <a:gd name="T81" fmla="*/ 327 h 327"/>
                  <a:gd name="T82" fmla="*/ 75 w 326"/>
                  <a:gd name="T83" fmla="*/ 327 h 327"/>
                  <a:gd name="T84" fmla="*/ 325 w 326"/>
                  <a:gd name="T85" fmla="*/ 77 h 327"/>
                  <a:gd name="T86" fmla="*/ 326 w 326"/>
                  <a:gd name="T87" fmla="*/ 76 h 327"/>
                  <a:gd name="T88" fmla="*/ 326 w 326"/>
                  <a:gd name="T89" fmla="*/ 72 h 327"/>
                  <a:gd name="T90" fmla="*/ 325 w 326"/>
                  <a:gd name="T91" fmla="*/ 69 h 327"/>
                  <a:gd name="T92" fmla="*/ 267 w 326"/>
                  <a:gd name="T93" fmla="*/ 96 h 327"/>
                  <a:gd name="T94" fmla="*/ 258 w 326"/>
                  <a:gd name="T95" fmla="*/ 92 h 327"/>
                  <a:gd name="T96" fmla="*/ 253 w 326"/>
                  <a:gd name="T97" fmla="*/ 82 h 327"/>
                  <a:gd name="T98" fmla="*/ 254 w 326"/>
                  <a:gd name="T99" fmla="*/ 77 h 327"/>
                  <a:gd name="T100" fmla="*/ 262 w 326"/>
                  <a:gd name="T101" fmla="*/ 69 h 327"/>
                  <a:gd name="T102" fmla="*/ 267 w 326"/>
                  <a:gd name="T103" fmla="*/ 68 h 327"/>
                  <a:gd name="T104" fmla="*/ 277 w 326"/>
                  <a:gd name="T105" fmla="*/ 72 h 327"/>
                  <a:gd name="T106" fmla="*/ 281 w 326"/>
                  <a:gd name="T107" fmla="*/ 82 h 327"/>
                  <a:gd name="T108" fmla="*/ 281 w 326"/>
                  <a:gd name="T109" fmla="*/ 88 h 327"/>
                  <a:gd name="T110" fmla="*/ 273 w 326"/>
                  <a:gd name="T111" fmla="*/ 94 h 327"/>
                  <a:gd name="T112" fmla="*/ 267 w 326"/>
                  <a:gd name="T113" fmla="*/ 9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7">
                    <a:moveTo>
                      <a:pt x="325" y="69"/>
                    </a:moveTo>
                    <a:lnTo>
                      <a:pt x="257" y="2"/>
                    </a:lnTo>
                    <a:lnTo>
                      <a:pt x="257" y="2"/>
                    </a:lnTo>
                    <a:lnTo>
                      <a:pt x="255" y="0"/>
                    </a:lnTo>
                    <a:lnTo>
                      <a:pt x="253" y="0"/>
                    </a:lnTo>
                    <a:lnTo>
                      <a:pt x="251" y="0"/>
                    </a:lnTo>
                    <a:lnTo>
                      <a:pt x="249" y="2"/>
                    </a:lnTo>
                    <a:lnTo>
                      <a:pt x="198" y="54"/>
                    </a:lnTo>
                    <a:lnTo>
                      <a:pt x="218" y="76"/>
                    </a:lnTo>
                    <a:lnTo>
                      <a:pt x="218" y="76"/>
                    </a:lnTo>
                    <a:lnTo>
                      <a:pt x="219" y="77"/>
                    </a:lnTo>
                    <a:lnTo>
                      <a:pt x="219" y="80"/>
                    </a:lnTo>
                    <a:lnTo>
                      <a:pt x="219" y="81"/>
                    </a:lnTo>
                    <a:lnTo>
                      <a:pt x="218" y="82"/>
                    </a:lnTo>
                    <a:lnTo>
                      <a:pt x="218" y="82"/>
                    </a:lnTo>
                    <a:lnTo>
                      <a:pt x="216" y="84"/>
                    </a:lnTo>
                    <a:lnTo>
                      <a:pt x="214" y="85"/>
                    </a:lnTo>
                    <a:lnTo>
                      <a:pt x="212" y="84"/>
                    </a:lnTo>
                    <a:lnTo>
                      <a:pt x="210" y="82"/>
                    </a:lnTo>
                    <a:lnTo>
                      <a:pt x="189" y="62"/>
                    </a:lnTo>
                    <a:lnTo>
                      <a:pt x="163" y="88"/>
                    </a:lnTo>
                    <a:lnTo>
                      <a:pt x="173" y="97"/>
                    </a:lnTo>
                    <a:lnTo>
                      <a:pt x="173" y="97"/>
                    </a:lnTo>
                    <a:lnTo>
                      <a:pt x="173" y="100"/>
                    </a:lnTo>
                    <a:lnTo>
                      <a:pt x="175" y="101"/>
                    </a:lnTo>
                    <a:lnTo>
                      <a:pt x="173" y="104"/>
                    </a:lnTo>
                    <a:lnTo>
                      <a:pt x="173" y="105"/>
                    </a:lnTo>
                    <a:lnTo>
                      <a:pt x="173" y="105"/>
                    </a:lnTo>
                    <a:lnTo>
                      <a:pt x="171" y="107"/>
                    </a:lnTo>
                    <a:lnTo>
                      <a:pt x="169" y="107"/>
                    </a:lnTo>
                    <a:lnTo>
                      <a:pt x="167" y="107"/>
                    </a:lnTo>
                    <a:lnTo>
                      <a:pt x="165" y="105"/>
                    </a:lnTo>
                    <a:lnTo>
                      <a:pt x="155" y="96"/>
                    </a:lnTo>
                    <a:lnTo>
                      <a:pt x="129" y="121"/>
                    </a:lnTo>
                    <a:lnTo>
                      <a:pt x="151" y="143"/>
                    </a:lnTo>
                    <a:lnTo>
                      <a:pt x="151" y="143"/>
                    </a:lnTo>
                    <a:lnTo>
                      <a:pt x="152" y="144"/>
                    </a:lnTo>
                    <a:lnTo>
                      <a:pt x="152" y="147"/>
                    </a:lnTo>
                    <a:lnTo>
                      <a:pt x="152" y="148"/>
                    </a:lnTo>
                    <a:lnTo>
                      <a:pt x="151" y="151"/>
                    </a:lnTo>
                    <a:lnTo>
                      <a:pt x="151" y="151"/>
                    </a:lnTo>
                    <a:lnTo>
                      <a:pt x="148" y="152"/>
                    </a:lnTo>
                    <a:lnTo>
                      <a:pt x="147" y="152"/>
                    </a:lnTo>
                    <a:lnTo>
                      <a:pt x="144" y="152"/>
                    </a:lnTo>
                    <a:lnTo>
                      <a:pt x="143" y="151"/>
                    </a:lnTo>
                    <a:lnTo>
                      <a:pt x="121" y="129"/>
                    </a:lnTo>
                    <a:lnTo>
                      <a:pt x="96" y="155"/>
                    </a:lnTo>
                    <a:lnTo>
                      <a:pt x="105" y="166"/>
                    </a:lnTo>
                    <a:lnTo>
                      <a:pt x="105" y="166"/>
                    </a:lnTo>
                    <a:lnTo>
                      <a:pt x="106" y="167"/>
                    </a:lnTo>
                    <a:lnTo>
                      <a:pt x="106" y="170"/>
                    </a:lnTo>
                    <a:lnTo>
                      <a:pt x="106" y="171"/>
                    </a:lnTo>
                    <a:lnTo>
                      <a:pt x="105" y="174"/>
                    </a:lnTo>
                    <a:lnTo>
                      <a:pt x="105" y="174"/>
                    </a:lnTo>
                    <a:lnTo>
                      <a:pt x="104" y="174"/>
                    </a:lnTo>
                    <a:lnTo>
                      <a:pt x="101" y="175"/>
                    </a:lnTo>
                    <a:lnTo>
                      <a:pt x="100" y="174"/>
                    </a:lnTo>
                    <a:lnTo>
                      <a:pt x="97" y="174"/>
                    </a:lnTo>
                    <a:lnTo>
                      <a:pt x="87" y="163"/>
                    </a:lnTo>
                    <a:lnTo>
                      <a:pt x="62" y="190"/>
                    </a:lnTo>
                    <a:lnTo>
                      <a:pt x="82" y="210"/>
                    </a:lnTo>
                    <a:lnTo>
                      <a:pt x="82" y="210"/>
                    </a:lnTo>
                    <a:lnTo>
                      <a:pt x="83" y="213"/>
                    </a:lnTo>
                    <a:lnTo>
                      <a:pt x="85" y="214"/>
                    </a:lnTo>
                    <a:lnTo>
                      <a:pt x="83" y="217"/>
                    </a:lnTo>
                    <a:lnTo>
                      <a:pt x="82" y="218"/>
                    </a:lnTo>
                    <a:lnTo>
                      <a:pt x="82" y="218"/>
                    </a:lnTo>
                    <a:lnTo>
                      <a:pt x="81" y="219"/>
                    </a:lnTo>
                    <a:lnTo>
                      <a:pt x="78" y="219"/>
                    </a:lnTo>
                    <a:lnTo>
                      <a:pt x="77" y="219"/>
                    </a:lnTo>
                    <a:lnTo>
                      <a:pt x="75" y="218"/>
                    </a:lnTo>
                    <a:lnTo>
                      <a:pt x="54" y="198"/>
                    </a:lnTo>
                    <a:lnTo>
                      <a:pt x="2" y="250"/>
                    </a:lnTo>
                    <a:lnTo>
                      <a:pt x="2" y="250"/>
                    </a:lnTo>
                    <a:lnTo>
                      <a:pt x="0" y="252"/>
                    </a:lnTo>
                    <a:lnTo>
                      <a:pt x="0" y="254"/>
                    </a:lnTo>
                    <a:lnTo>
                      <a:pt x="0" y="256"/>
                    </a:lnTo>
                    <a:lnTo>
                      <a:pt x="2" y="257"/>
                    </a:lnTo>
                    <a:lnTo>
                      <a:pt x="69" y="325"/>
                    </a:lnTo>
                    <a:lnTo>
                      <a:pt x="69" y="325"/>
                    </a:lnTo>
                    <a:lnTo>
                      <a:pt x="71" y="327"/>
                    </a:lnTo>
                    <a:lnTo>
                      <a:pt x="73" y="327"/>
                    </a:lnTo>
                    <a:lnTo>
                      <a:pt x="73" y="327"/>
                    </a:lnTo>
                    <a:lnTo>
                      <a:pt x="75" y="327"/>
                    </a:lnTo>
                    <a:lnTo>
                      <a:pt x="77" y="325"/>
                    </a:lnTo>
                    <a:lnTo>
                      <a:pt x="325" y="77"/>
                    </a:lnTo>
                    <a:lnTo>
                      <a:pt x="325" y="77"/>
                    </a:lnTo>
                    <a:lnTo>
                      <a:pt x="326" y="76"/>
                    </a:lnTo>
                    <a:lnTo>
                      <a:pt x="326" y="73"/>
                    </a:lnTo>
                    <a:lnTo>
                      <a:pt x="326" y="72"/>
                    </a:lnTo>
                    <a:lnTo>
                      <a:pt x="325" y="69"/>
                    </a:lnTo>
                    <a:lnTo>
                      <a:pt x="325" y="69"/>
                    </a:lnTo>
                    <a:close/>
                    <a:moveTo>
                      <a:pt x="267" y="96"/>
                    </a:moveTo>
                    <a:lnTo>
                      <a:pt x="267" y="96"/>
                    </a:lnTo>
                    <a:lnTo>
                      <a:pt x="262" y="94"/>
                    </a:lnTo>
                    <a:lnTo>
                      <a:pt x="258" y="92"/>
                    </a:lnTo>
                    <a:lnTo>
                      <a:pt x="254" y="88"/>
                    </a:lnTo>
                    <a:lnTo>
                      <a:pt x="253" y="82"/>
                    </a:lnTo>
                    <a:lnTo>
                      <a:pt x="253" y="82"/>
                    </a:lnTo>
                    <a:lnTo>
                      <a:pt x="254" y="77"/>
                    </a:lnTo>
                    <a:lnTo>
                      <a:pt x="258" y="72"/>
                    </a:lnTo>
                    <a:lnTo>
                      <a:pt x="262" y="69"/>
                    </a:lnTo>
                    <a:lnTo>
                      <a:pt x="267" y="68"/>
                    </a:lnTo>
                    <a:lnTo>
                      <a:pt x="267" y="68"/>
                    </a:lnTo>
                    <a:lnTo>
                      <a:pt x="273" y="69"/>
                    </a:lnTo>
                    <a:lnTo>
                      <a:pt x="277" y="72"/>
                    </a:lnTo>
                    <a:lnTo>
                      <a:pt x="281" y="77"/>
                    </a:lnTo>
                    <a:lnTo>
                      <a:pt x="281" y="82"/>
                    </a:lnTo>
                    <a:lnTo>
                      <a:pt x="281" y="82"/>
                    </a:lnTo>
                    <a:lnTo>
                      <a:pt x="281" y="88"/>
                    </a:lnTo>
                    <a:lnTo>
                      <a:pt x="277" y="92"/>
                    </a:lnTo>
                    <a:lnTo>
                      <a:pt x="273" y="94"/>
                    </a:lnTo>
                    <a:lnTo>
                      <a:pt x="267" y="96"/>
                    </a:lnTo>
                    <a:lnTo>
                      <a:pt x="26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268">
                <a:extLst>
                  <a:ext uri="{FF2B5EF4-FFF2-40B4-BE49-F238E27FC236}">
                    <a16:creationId xmlns:a16="http://schemas.microsoft.com/office/drawing/2014/main" id="{7CE9968C-90A1-3BA2-D4FD-F84A51C4827C}"/>
                  </a:ext>
                </a:extLst>
              </p:cNvPr>
              <p:cNvSpPr>
                <a:spLocks/>
              </p:cNvSpPr>
              <p:nvPr/>
            </p:nvSpPr>
            <p:spPr bwMode="auto">
              <a:xfrm>
                <a:off x="828676" y="1936750"/>
                <a:ext cx="104775" cy="104775"/>
              </a:xfrm>
              <a:custGeom>
                <a:avLst/>
                <a:gdLst>
                  <a:gd name="T0" fmla="*/ 0 w 133"/>
                  <a:gd name="T1" fmla="*/ 63 h 131"/>
                  <a:gd name="T2" fmla="*/ 65 w 133"/>
                  <a:gd name="T3" fmla="*/ 0 h 131"/>
                  <a:gd name="T4" fmla="*/ 133 w 133"/>
                  <a:gd name="T5" fmla="*/ 68 h 131"/>
                  <a:gd name="T6" fmla="*/ 69 w 133"/>
                  <a:gd name="T7" fmla="*/ 131 h 131"/>
                  <a:gd name="T8" fmla="*/ 0 w 133"/>
                  <a:gd name="T9" fmla="*/ 63 h 131"/>
                </a:gdLst>
                <a:ahLst/>
                <a:cxnLst>
                  <a:cxn ang="0">
                    <a:pos x="T0" y="T1"/>
                  </a:cxn>
                  <a:cxn ang="0">
                    <a:pos x="T2" y="T3"/>
                  </a:cxn>
                  <a:cxn ang="0">
                    <a:pos x="T4" y="T5"/>
                  </a:cxn>
                  <a:cxn ang="0">
                    <a:pos x="T6" y="T7"/>
                  </a:cxn>
                  <a:cxn ang="0">
                    <a:pos x="T8" y="T9"/>
                  </a:cxn>
                </a:cxnLst>
                <a:rect l="0" t="0" r="r" b="b"/>
                <a:pathLst>
                  <a:path w="133" h="131">
                    <a:moveTo>
                      <a:pt x="0" y="63"/>
                    </a:moveTo>
                    <a:lnTo>
                      <a:pt x="65" y="0"/>
                    </a:lnTo>
                    <a:lnTo>
                      <a:pt x="133" y="68"/>
                    </a:lnTo>
                    <a:lnTo>
                      <a:pt x="69" y="131"/>
                    </a:lnTo>
                    <a:lnTo>
                      <a:pt x="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269">
                <a:extLst>
                  <a:ext uri="{FF2B5EF4-FFF2-40B4-BE49-F238E27FC236}">
                    <a16:creationId xmlns:a16="http://schemas.microsoft.com/office/drawing/2014/main" id="{1F3B3CFD-4DAE-5249-44F2-B1DC9A7C8C58}"/>
                  </a:ext>
                </a:extLst>
              </p:cNvPr>
              <p:cNvSpPr>
                <a:spLocks/>
              </p:cNvSpPr>
              <p:nvPr/>
            </p:nvSpPr>
            <p:spPr bwMode="auto">
              <a:xfrm>
                <a:off x="719138" y="1827213"/>
                <a:ext cx="87313" cy="87313"/>
              </a:xfrm>
              <a:custGeom>
                <a:avLst/>
                <a:gdLst>
                  <a:gd name="T0" fmla="*/ 0 w 110"/>
                  <a:gd name="T1" fmla="*/ 65 h 111"/>
                  <a:gd name="T2" fmla="*/ 65 w 110"/>
                  <a:gd name="T3" fmla="*/ 0 h 111"/>
                  <a:gd name="T4" fmla="*/ 110 w 110"/>
                  <a:gd name="T5" fmla="*/ 46 h 111"/>
                  <a:gd name="T6" fmla="*/ 46 w 110"/>
                  <a:gd name="T7" fmla="*/ 111 h 111"/>
                  <a:gd name="T8" fmla="*/ 0 w 110"/>
                  <a:gd name="T9" fmla="*/ 65 h 111"/>
                </a:gdLst>
                <a:ahLst/>
                <a:cxnLst>
                  <a:cxn ang="0">
                    <a:pos x="T0" y="T1"/>
                  </a:cxn>
                  <a:cxn ang="0">
                    <a:pos x="T2" y="T3"/>
                  </a:cxn>
                  <a:cxn ang="0">
                    <a:pos x="T4" y="T5"/>
                  </a:cxn>
                  <a:cxn ang="0">
                    <a:pos x="T6" y="T7"/>
                  </a:cxn>
                  <a:cxn ang="0">
                    <a:pos x="T8" y="T9"/>
                  </a:cxn>
                </a:cxnLst>
                <a:rect l="0" t="0" r="r" b="b"/>
                <a:pathLst>
                  <a:path w="110" h="111">
                    <a:moveTo>
                      <a:pt x="0" y="65"/>
                    </a:moveTo>
                    <a:lnTo>
                      <a:pt x="65" y="0"/>
                    </a:lnTo>
                    <a:lnTo>
                      <a:pt x="110" y="46"/>
                    </a:lnTo>
                    <a:lnTo>
                      <a:pt x="46" y="111"/>
                    </a:lnTo>
                    <a:lnTo>
                      <a:pt x="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 name="Group 48">
              <a:extLst>
                <a:ext uri="{FF2B5EF4-FFF2-40B4-BE49-F238E27FC236}">
                  <a16:creationId xmlns:a16="http://schemas.microsoft.com/office/drawing/2014/main" id="{A494D39C-BBA7-1E9F-FF28-B21638342548}"/>
                </a:ext>
              </a:extLst>
            </p:cNvPr>
            <p:cNvGrpSpPr>
              <a:grpSpLocks/>
            </p:cNvGrpSpPr>
            <p:nvPr/>
          </p:nvGrpSpPr>
          <p:grpSpPr>
            <a:xfrm>
              <a:off x="7088353" y="2703980"/>
              <a:ext cx="360719" cy="361815"/>
              <a:chOff x="6724651" y="823913"/>
              <a:chExt cx="520700" cy="522288"/>
            </a:xfrm>
            <a:grpFill/>
          </p:grpSpPr>
          <p:sp>
            <p:nvSpPr>
              <p:cNvPr id="74" name="Freeform 5">
                <a:extLst>
                  <a:ext uri="{FF2B5EF4-FFF2-40B4-BE49-F238E27FC236}">
                    <a16:creationId xmlns:a16="http://schemas.microsoft.com/office/drawing/2014/main" id="{4C3E3F37-6CBB-2D91-9B99-7556F7C45ECC}"/>
                  </a:ext>
                </a:extLst>
              </p:cNvPr>
              <p:cNvSpPr>
                <a:spLocks noEditPoints="1"/>
              </p:cNvSpPr>
              <p:nvPr/>
            </p:nvSpPr>
            <p:spPr bwMode="auto">
              <a:xfrm>
                <a:off x="6724651" y="823913"/>
                <a:ext cx="520700" cy="522288"/>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09">
                <a:extLst>
                  <a:ext uri="{FF2B5EF4-FFF2-40B4-BE49-F238E27FC236}">
                    <a16:creationId xmlns:a16="http://schemas.microsoft.com/office/drawing/2014/main" id="{842EC795-5AB0-B7A2-F46A-D249EE09B4C6}"/>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10">
                <a:extLst>
                  <a:ext uri="{FF2B5EF4-FFF2-40B4-BE49-F238E27FC236}">
                    <a16:creationId xmlns:a16="http://schemas.microsoft.com/office/drawing/2014/main" id="{4318F812-B631-D923-D201-68CA26FD7DD2}"/>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11">
                <a:extLst>
                  <a:ext uri="{FF2B5EF4-FFF2-40B4-BE49-F238E27FC236}">
                    <a16:creationId xmlns:a16="http://schemas.microsoft.com/office/drawing/2014/main" id="{72F048EC-5E77-CF81-15A4-AF160CF7CE71}"/>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12">
                <a:extLst>
                  <a:ext uri="{FF2B5EF4-FFF2-40B4-BE49-F238E27FC236}">
                    <a16:creationId xmlns:a16="http://schemas.microsoft.com/office/drawing/2014/main" id="{B9733B05-8EF3-2AC0-46D6-51228ACF9053}"/>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13">
                <a:extLst>
                  <a:ext uri="{FF2B5EF4-FFF2-40B4-BE49-F238E27FC236}">
                    <a16:creationId xmlns:a16="http://schemas.microsoft.com/office/drawing/2014/main" id="{37BD64BA-7357-E77C-C37C-77C5F617A1EC}"/>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14">
                <a:extLst>
                  <a:ext uri="{FF2B5EF4-FFF2-40B4-BE49-F238E27FC236}">
                    <a16:creationId xmlns:a16="http://schemas.microsoft.com/office/drawing/2014/main" id="{EA2CA6CA-FC97-8CCF-C337-0E16C491405E}"/>
                  </a:ext>
                </a:extLst>
              </p:cNvPr>
              <p:cNvSpPr>
                <a:spLocks/>
              </p:cNvSpPr>
              <p:nvPr/>
            </p:nvSpPr>
            <p:spPr bwMode="auto">
              <a:xfrm>
                <a:off x="6916738" y="1000125"/>
                <a:ext cx="146050" cy="20320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50" name="Straight Connector 49">
              <a:extLst>
                <a:ext uri="{FF2B5EF4-FFF2-40B4-BE49-F238E27FC236}">
                  <a16:creationId xmlns:a16="http://schemas.microsoft.com/office/drawing/2014/main" id="{3315347D-61E6-F10B-7B73-5B14B7479B27}"/>
                </a:ext>
              </a:extLst>
            </p:cNvPr>
            <p:cNvCxnSpPr/>
            <p:nvPr/>
          </p:nvCxnSpPr>
          <p:spPr>
            <a:xfrm>
              <a:off x="4470792" y="2884887"/>
              <a:ext cx="468719" cy="0"/>
            </a:xfrm>
            <a:prstGeom prst="line">
              <a:avLst/>
            </a:prstGeom>
            <a:grpFill/>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0B18574-9FCE-4AFD-4046-83C83E8DBE9A}"/>
                </a:ext>
              </a:extLst>
            </p:cNvPr>
            <p:cNvCxnSpPr/>
            <p:nvPr/>
          </p:nvCxnSpPr>
          <p:spPr>
            <a:xfrm>
              <a:off x="6568207" y="2884887"/>
              <a:ext cx="468719" cy="0"/>
            </a:xfrm>
            <a:prstGeom prst="line">
              <a:avLst/>
            </a:prstGeom>
            <a:grpFill/>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7A19935-30E7-B00A-24A1-64B2256E6542}"/>
                </a:ext>
              </a:extLst>
            </p:cNvPr>
            <p:cNvCxnSpPr/>
            <p:nvPr/>
          </p:nvCxnSpPr>
          <p:spPr>
            <a:xfrm>
              <a:off x="7582783" y="2884887"/>
              <a:ext cx="468719" cy="0"/>
            </a:xfrm>
            <a:prstGeom prst="line">
              <a:avLst/>
            </a:prstGeom>
            <a:grpFill/>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D7B10FB9-05DA-F7F0-FA6E-946CB3B99630}"/>
                </a:ext>
              </a:extLst>
            </p:cNvPr>
            <p:cNvGrpSpPr>
              <a:grpSpLocks/>
            </p:cNvGrpSpPr>
            <p:nvPr/>
          </p:nvGrpSpPr>
          <p:grpSpPr>
            <a:xfrm>
              <a:off x="8078372" y="2688150"/>
              <a:ext cx="360719" cy="361815"/>
              <a:chOff x="563563" y="1674813"/>
              <a:chExt cx="522288" cy="522288"/>
            </a:xfrm>
            <a:grpFill/>
          </p:grpSpPr>
          <p:sp>
            <p:nvSpPr>
              <p:cNvPr id="68" name="Freeform 14">
                <a:extLst>
                  <a:ext uri="{FF2B5EF4-FFF2-40B4-BE49-F238E27FC236}">
                    <a16:creationId xmlns:a16="http://schemas.microsoft.com/office/drawing/2014/main" id="{402C486C-9013-EE4E-EE81-F7832A229040}"/>
                  </a:ext>
                </a:extLst>
              </p:cNvPr>
              <p:cNvSpPr>
                <a:spLocks noEditPoints="1"/>
              </p:cNvSpPr>
              <p:nvPr/>
            </p:nvSpPr>
            <p:spPr bwMode="auto">
              <a:xfrm>
                <a:off x="563563" y="1674813"/>
                <a:ext cx="522288" cy="522288"/>
              </a:xfrm>
              <a:custGeom>
                <a:avLst/>
                <a:gdLst>
                  <a:gd name="T0" fmla="*/ 313 w 658"/>
                  <a:gd name="T1" fmla="*/ 657 h 657"/>
                  <a:gd name="T2" fmla="*/ 263 w 658"/>
                  <a:gd name="T3" fmla="*/ 650 h 657"/>
                  <a:gd name="T4" fmla="*/ 201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8 w 658"/>
                  <a:gd name="T45" fmla="*/ 312 h 657"/>
                  <a:gd name="T46" fmla="*/ 658 w 658"/>
                  <a:gd name="T47" fmla="*/ 346 h 657"/>
                  <a:gd name="T48" fmla="*/ 651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4 w 658"/>
                  <a:gd name="T91" fmla="*/ 535 h 657"/>
                  <a:gd name="T92" fmla="*/ 585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8"/>
                    </a:lnTo>
                    <a:lnTo>
                      <a:pt x="232" y="642"/>
                    </a:lnTo>
                    <a:lnTo>
                      <a:pt x="201" y="632"/>
                    </a:lnTo>
                    <a:lnTo>
                      <a:pt x="173" y="618"/>
                    </a:lnTo>
                    <a:lnTo>
                      <a:pt x="145" y="601"/>
                    </a:lnTo>
                    <a:lnTo>
                      <a:pt x="121" y="582"/>
                    </a:lnTo>
                    <a:lnTo>
                      <a:pt x="97" y="560"/>
                    </a:lnTo>
                    <a:lnTo>
                      <a:pt x="75" y="538"/>
                    </a:lnTo>
                    <a:lnTo>
                      <a:pt x="56" y="512"/>
                    </a:lnTo>
                    <a:lnTo>
                      <a:pt x="40" y="485"/>
                    </a:lnTo>
                    <a:lnTo>
                      <a:pt x="27" y="457"/>
                    </a:lnTo>
                    <a:lnTo>
                      <a:pt x="15" y="426"/>
                    </a:lnTo>
                    <a:lnTo>
                      <a:pt x="11" y="411"/>
                    </a:lnTo>
                    <a:lnTo>
                      <a:pt x="7" y="395"/>
                    </a:lnTo>
                    <a:lnTo>
                      <a:pt x="4" y="379"/>
                    </a:lnTo>
                    <a:lnTo>
                      <a:pt x="3" y="362"/>
                    </a:lnTo>
                    <a:lnTo>
                      <a:pt x="1" y="346"/>
                    </a:lnTo>
                    <a:lnTo>
                      <a:pt x="0" y="328"/>
                    </a:lnTo>
                    <a:lnTo>
                      <a:pt x="0" y="328"/>
                    </a:lnTo>
                    <a:lnTo>
                      <a:pt x="1" y="312"/>
                    </a:lnTo>
                    <a:lnTo>
                      <a:pt x="3" y="294"/>
                    </a:lnTo>
                    <a:lnTo>
                      <a:pt x="4" y="278"/>
                    </a:lnTo>
                    <a:lnTo>
                      <a:pt x="7" y="262"/>
                    </a:lnTo>
                    <a:lnTo>
                      <a:pt x="11" y="246"/>
                    </a:lnTo>
                    <a:lnTo>
                      <a:pt x="15" y="231"/>
                    </a:lnTo>
                    <a:lnTo>
                      <a:pt x="27" y="200"/>
                    </a:lnTo>
                    <a:lnTo>
                      <a:pt x="40" y="172"/>
                    </a:lnTo>
                    <a:lnTo>
                      <a:pt x="56" y="145"/>
                    </a:lnTo>
                    <a:lnTo>
                      <a:pt x="75" y="120"/>
                    </a:lnTo>
                    <a:lnTo>
                      <a:pt x="97" y="96"/>
                    </a:lnTo>
                    <a:lnTo>
                      <a:pt x="121" y="76"/>
                    </a:lnTo>
                    <a:lnTo>
                      <a:pt x="145" y="57"/>
                    </a:lnTo>
                    <a:lnTo>
                      <a:pt x="173" y="39"/>
                    </a:lnTo>
                    <a:lnTo>
                      <a:pt x="201" y="26"/>
                    </a:lnTo>
                    <a:lnTo>
                      <a:pt x="232" y="15"/>
                    </a:lnTo>
                    <a:lnTo>
                      <a:pt x="247" y="10"/>
                    </a:lnTo>
                    <a:lnTo>
                      <a:pt x="263" y="7"/>
                    </a:lnTo>
                    <a:lnTo>
                      <a:pt x="279" y="4"/>
                    </a:lnTo>
                    <a:lnTo>
                      <a:pt x="295" y="2"/>
                    </a:lnTo>
                    <a:lnTo>
                      <a:pt x="313" y="0"/>
                    </a:lnTo>
                    <a:lnTo>
                      <a:pt x="329" y="0"/>
                    </a:lnTo>
                    <a:lnTo>
                      <a:pt x="329" y="0"/>
                    </a:lnTo>
                    <a:lnTo>
                      <a:pt x="346" y="0"/>
                    </a:lnTo>
                    <a:lnTo>
                      <a:pt x="363" y="2"/>
                    </a:lnTo>
                    <a:lnTo>
                      <a:pt x="379" y="4"/>
                    </a:lnTo>
                    <a:lnTo>
                      <a:pt x="396" y="7"/>
                    </a:lnTo>
                    <a:lnTo>
                      <a:pt x="411" y="10"/>
                    </a:lnTo>
                    <a:lnTo>
                      <a:pt x="427" y="15"/>
                    </a:lnTo>
                    <a:lnTo>
                      <a:pt x="457" y="26"/>
                    </a:lnTo>
                    <a:lnTo>
                      <a:pt x="486" y="39"/>
                    </a:lnTo>
                    <a:lnTo>
                      <a:pt x="513" y="57"/>
                    </a:lnTo>
                    <a:lnTo>
                      <a:pt x="539" y="76"/>
                    </a:lnTo>
                    <a:lnTo>
                      <a:pt x="561" y="96"/>
                    </a:lnTo>
                    <a:lnTo>
                      <a:pt x="583" y="120"/>
                    </a:lnTo>
                    <a:lnTo>
                      <a:pt x="602" y="145"/>
                    </a:lnTo>
                    <a:lnTo>
                      <a:pt x="618" y="172"/>
                    </a:lnTo>
                    <a:lnTo>
                      <a:pt x="632"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2"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6" y="650"/>
                    </a:lnTo>
                    <a:lnTo>
                      <a:pt x="379" y="653"/>
                    </a:lnTo>
                    <a:lnTo>
                      <a:pt x="363" y="656"/>
                    </a:lnTo>
                    <a:lnTo>
                      <a:pt x="346"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8"/>
                    </a:lnTo>
                    <a:lnTo>
                      <a:pt x="38" y="328"/>
                    </a:lnTo>
                    <a:lnTo>
                      <a:pt x="38" y="328"/>
                    </a:lnTo>
                    <a:lnTo>
                      <a:pt x="40" y="359"/>
                    </a:lnTo>
                    <a:lnTo>
                      <a:pt x="44" y="387"/>
                    </a:lnTo>
                    <a:lnTo>
                      <a:pt x="51" y="415"/>
                    </a:lnTo>
                    <a:lnTo>
                      <a:pt x="62" y="442"/>
                    </a:lnTo>
                    <a:lnTo>
                      <a:pt x="74" y="468"/>
                    </a:lnTo>
                    <a:lnTo>
                      <a:pt x="89"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3" y="597"/>
                    </a:lnTo>
                    <a:lnTo>
                      <a:pt x="467" y="585"/>
                    </a:lnTo>
                    <a:lnTo>
                      <a:pt x="492" y="570"/>
                    </a:lnTo>
                    <a:lnTo>
                      <a:pt x="514" y="554"/>
                    </a:lnTo>
                    <a:lnTo>
                      <a:pt x="534" y="535"/>
                    </a:lnTo>
                    <a:lnTo>
                      <a:pt x="553" y="513"/>
                    </a:lnTo>
                    <a:lnTo>
                      <a:pt x="571" y="492"/>
                    </a:lnTo>
                    <a:lnTo>
                      <a:pt x="585"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5" y="190"/>
                    </a:lnTo>
                    <a:lnTo>
                      <a:pt x="571" y="166"/>
                    </a:lnTo>
                    <a:lnTo>
                      <a:pt x="553" y="144"/>
                    </a:lnTo>
                    <a:lnTo>
                      <a:pt x="534" y="123"/>
                    </a:lnTo>
                    <a:lnTo>
                      <a:pt x="514" y="104"/>
                    </a:lnTo>
                    <a:lnTo>
                      <a:pt x="492" y="88"/>
                    </a:lnTo>
                    <a:lnTo>
                      <a:pt x="467" y="73"/>
                    </a:lnTo>
                    <a:lnTo>
                      <a:pt x="443"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265">
                <a:extLst>
                  <a:ext uri="{FF2B5EF4-FFF2-40B4-BE49-F238E27FC236}">
                    <a16:creationId xmlns:a16="http://schemas.microsoft.com/office/drawing/2014/main" id="{97417390-56AE-59BE-B6A6-C1BAB792F76F}"/>
                  </a:ext>
                </a:extLst>
              </p:cNvPr>
              <p:cNvSpPr>
                <a:spLocks/>
              </p:cNvSpPr>
              <p:nvPr/>
            </p:nvSpPr>
            <p:spPr bwMode="auto">
              <a:xfrm>
                <a:off x="890588" y="1998663"/>
                <a:ext cx="57150" cy="57150"/>
              </a:xfrm>
              <a:custGeom>
                <a:avLst/>
                <a:gdLst>
                  <a:gd name="T0" fmla="*/ 61 w 71"/>
                  <a:gd name="T1" fmla="*/ 0 h 71"/>
                  <a:gd name="T2" fmla="*/ 0 w 71"/>
                  <a:gd name="T3" fmla="*/ 60 h 71"/>
                  <a:gd name="T4" fmla="*/ 65 w 71"/>
                  <a:gd name="T5" fmla="*/ 71 h 71"/>
                  <a:gd name="T6" fmla="*/ 65 w 71"/>
                  <a:gd name="T7" fmla="*/ 71 h 71"/>
                  <a:gd name="T8" fmla="*/ 66 w 71"/>
                  <a:gd name="T9" fmla="*/ 71 h 71"/>
                  <a:gd name="T10" fmla="*/ 66 w 71"/>
                  <a:gd name="T11" fmla="*/ 71 h 71"/>
                  <a:gd name="T12" fmla="*/ 66 w 71"/>
                  <a:gd name="T13" fmla="*/ 71 h 71"/>
                  <a:gd name="T14" fmla="*/ 66 w 71"/>
                  <a:gd name="T15" fmla="*/ 71 h 71"/>
                  <a:gd name="T16" fmla="*/ 67 w 71"/>
                  <a:gd name="T17" fmla="*/ 71 h 71"/>
                  <a:gd name="T18" fmla="*/ 70 w 71"/>
                  <a:gd name="T19" fmla="*/ 69 h 71"/>
                  <a:gd name="T20" fmla="*/ 71 w 71"/>
                  <a:gd name="T21" fmla="*/ 67 h 71"/>
                  <a:gd name="T22" fmla="*/ 71 w 71"/>
                  <a:gd name="T23" fmla="*/ 65 h 71"/>
                  <a:gd name="T24" fmla="*/ 71 w 71"/>
                  <a:gd name="T25" fmla="*/ 65 h 71"/>
                  <a:gd name="T26" fmla="*/ 71 w 71"/>
                  <a:gd name="T27" fmla="*/ 63 h 71"/>
                  <a:gd name="T28" fmla="*/ 61 w 71"/>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1">
                    <a:moveTo>
                      <a:pt x="61" y="0"/>
                    </a:moveTo>
                    <a:lnTo>
                      <a:pt x="0" y="60"/>
                    </a:lnTo>
                    <a:lnTo>
                      <a:pt x="65" y="71"/>
                    </a:lnTo>
                    <a:lnTo>
                      <a:pt x="65" y="71"/>
                    </a:lnTo>
                    <a:lnTo>
                      <a:pt x="66" y="71"/>
                    </a:lnTo>
                    <a:lnTo>
                      <a:pt x="66" y="71"/>
                    </a:lnTo>
                    <a:lnTo>
                      <a:pt x="66" y="71"/>
                    </a:lnTo>
                    <a:lnTo>
                      <a:pt x="66" y="71"/>
                    </a:lnTo>
                    <a:lnTo>
                      <a:pt x="67" y="71"/>
                    </a:lnTo>
                    <a:lnTo>
                      <a:pt x="70" y="69"/>
                    </a:lnTo>
                    <a:lnTo>
                      <a:pt x="71" y="67"/>
                    </a:lnTo>
                    <a:lnTo>
                      <a:pt x="71" y="65"/>
                    </a:lnTo>
                    <a:lnTo>
                      <a:pt x="71" y="65"/>
                    </a:lnTo>
                    <a:lnTo>
                      <a:pt x="71" y="63"/>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266">
                <a:extLst>
                  <a:ext uri="{FF2B5EF4-FFF2-40B4-BE49-F238E27FC236}">
                    <a16:creationId xmlns:a16="http://schemas.microsoft.com/office/drawing/2014/main" id="{6F671FF8-08AB-BA1C-5D4C-B05CDA55343D}"/>
                  </a:ext>
                </a:extLst>
              </p:cNvPr>
              <p:cNvSpPr>
                <a:spLocks/>
              </p:cNvSpPr>
              <p:nvPr/>
            </p:nvSpPr>
            <p:spPr bwMode="auto">
              <a:xfrm>
                <a:off x="688976" y="1797050"/>
                <a:ext cx="74613" cy="74613"/>
              </a:xfrm>
              <a:custGeom>
                <a:avLst/>
                <a:gdLst>
                  <a:gd name="T0" fmla="*/ 96 w 96"/>
                  <a:gd name="T1" fmla="*/ 31 h 96"/>
                  <a:gd name="T2" fmla="*/ 66 w 96"/>
                  <a:gd name="T3" fmla="*/ 2 h 96"/>
                  <a:gd name="T4" fmla="*/ 66 w 96"/>
                  <a:gd name="T5" fmla="*/ 2 h 96"/>
                  <a:gd name="T6" fmla="*/ 63 w 96"/>
                  <a:gd name="T7" fmla="*/ 0 h 96"/>
                  <a:gd name="T8" fmla="*/ 62 w 96"/>
                  <a:gd name="T9" fmla="*/ 0 h 96"/>
                  <a:gd name="T10" fmla="*/ 59 w 96"/>
                  <a:gd name="T11" fmla="*/ 0 h 96"/>
                  <a:gd name="T12" fmla="*/ 58 w 96"/>
                  <a:gd name="T13" fmla="*/ 2 h 96"/>
                  <a:gd name="T14" fmla="*/ 2 w 96"/>
                  <a:gd name="T15" fmla="*/ 58 h 96"/>
                  <a:gd name="T16" fmla="*/ 2 w 96"/>
                  <a:gd name="T17" fmla="*/ 58 h 96"/>
                  <a:gd name="T18" fmla="*/ 0 w 96"/>
                  <a:gd name="T19" fmla="*/ 60 h 96"/>
                  <a:gd name="T20" fmla="*/ 0 w 96"/>
                  <a:gd name="T21" fmla="*/ 62 h 96"/>
                  <a:gd name="T22" fmla="*/ 0 w 96"/>
                  <a:gd name="T23" fmla="*/ 65 h 96"/>
                  <a:gd name="T24" fmla="*/ 2 w 96"/>
                  <a:gd name="T25" fmla="*/ 66 h 96"/>
                  <a:gd name="T26" fmla="*/ 31 w 96"/>
                  <a:gd name="T27" fmla="*/ 96 h 96"/>
                  <a:gd name="T28" fmla="*/ 96 w 96"/>
                  <a:gd name="T29"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96" y="31"/>
                    </a:moveTo>
                    <a:lnTo>
                      <a:pt x="66" y="2"/>
                    </a:lnTo>
                    <a:lnTo>
                      <a:pt x="66" y="2"/>
                    </a:lnTo>
                    <a:lnTo>
                      <a:pt x="63" y="0"/>
                    </a:lnTo>
                    <a:lnTo>
                      <a:pt x="62" y="0"/>
                    </a:lnTo>
                    <a:lnTo>
                      <a:pt x="59" y="0"/>
                    </a:lnTo>
                    <a:lnTo>
                      <a:pt x="58" y="2"/>
                    </a:lnTo>
                    <a:lnTo>
                      <a:pt x="2" y="58"/>
                    </a:lnTo>
                    <a:lnTo>
                      <a:pt x="2" y="58"/>
                    </a:lnTo>
                    <a:lnTo>
                      <a:pt x="0" y="60"/>
                    </a:lnTo>
                    <a:lnTo>
                      <a:pt x="0" y="62"/>
                    </a:lnTo>
                    <a:lnTo>
                      <a:pt x="0" y="65"/>
                    </a:lnTo>
                    <a:lnTo>
                      <a:pt x="2" y="66"/>
                    </a:lnTo>
                    <a:lnTo>
                      <a:pt x="31" y="96"/>
                    </a:lnTo>
                    <a:lnTo>
                      <a:pt x="9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267">
                <a:extLst>
                  <a:ext uri="{FF2B5EF4-FFF2-40B4-BE49-F238E27FC236}">
                    <a16:creationId xmlns:a16="http://schemas.microsoft.com/office/drawing/2014/main" id="{F1D8E3F3-CFE9-4E2D-90EB-4F49C519E09F}"/>
                  </a:ext>
                </a:extLst>
              </p:cNvPr>
              <p:cNvSpPr>
                <a:spLocks noEditPoints="1"/>
              </p:cNvSpPr>
              <p:nvPr/>
            </p:nvSpPr>
            <p:spPr bwMode="auto">
              <a:xfrm>
                <a:off x="688976" y="1797050"/>
                <a:ext cx="258763" cy="258763"/>
              </a:xfrm>
              <a:custGeom>
                <a:avLst/>
                <a:gdLst>
                  <a:gd name="T0" fmla="*/ 257 w 326"/>
                  <a:gd name="T1" fmla="*/ 2 h 327"/>
                  <a:gd name="T2" fmla="*/ 255 w 326"/>
                  <a:gd name="T3" fmla="*/ 0 h 327"/>
                  <a:gd name="T4" fmla="*/ 251 w 326"/>
                  <a:gd name="T5" fmla="*/ 0 h 327"/>
                  <a:gd name="T6" fmla="*/ 198 w 326"/>
                  <a:gd name="T7" fmla="*/ 54 h 327"/>
                  <a:gd name="T8" fmla="*/ 218 w 326"/>
                  <a:gd name="T9" fmla="*/ 76 h 327"/>
                  <a:gd name="T10" fmla="*/ 219 w 326"/>
                  <a:gd name="T11" fmla="*/ 80 h 327"/>
                  <a:gd name="T12" fmla="*/ 218 w 326"/>
                  <a:gd name="T13" fmla="*/ 82 h 327"/>
                  <a:gd name="T14" fmla="*/ 216 w 326"/>
                  <a:gd name="T15" fmla="*/ 84 h 327"/>
                  <a:gd name="T16" fmla="*/ 212 w 326"/>
                  <a:gd name="T17" fmla="*/ 84 h 327"/>
                  <a:gd name="T18" fmla="*/ 189 w 326"/>
                  <a:gd name="T19" fmla="*/ 62 h 327"/>
                  <a:gd name="T20" fmla="*/ 173 w 326"/>
                  <a:gd name="T21" fmla="*/ 97 h 327"/>
                  <a:gd name="T22" fmla="*/ 173 w 326"/>
                  <a:gd name="T23" fmla="*/ 100 h 327"/>
                  <a:gd name="T24" fmla="*/ 173 w 326"/>
                  <a:gd name="T25" fmla="*/ 104 h 327"/>
                  <a:gd name="T26" fmla="*/ 173 w 326"/>
                  <a:gd name="T27" fmla="*/ 105 h 327"/>
                  <a:gd name="T28" fmla="*/ 169 w 326"/>
                  <a:gd name="T29" fmla="*/ 107 h 327"/>
                  <a:gd name="T30" fmla="*/ 165 w 326"/>
                  <a:gd name="T31" fmla="*/ 105 h 327"/>
                  <a:gd name="T32" fmla="*/ 129 w 326"/>
                  <a:gd name="T33" fmla="*/ 121 h 327"/>
                  <a:gd name="T34" fmla="*/ 151 w 326"/>
                  <a:gd name="T35" fmla="*/ 143 h 327"/>
                  <a:gd name="T36" fmla="*/ 152 w 326"/>
                  <a:gd name="T37" fmla="*/ 147 h 327"/>
                  <a:gd name="T38" fmla="*/ 151 w 326"/>
                  <a:gd name="T39" fmla="*/ 151 h 327"/>
                  <a:gd name="T40" fmla="*/ 148 w 326"/>
                  <a:gd name="T41" fmla="*/ 152 h 327"/>
                  <a:gd name="T42" fmla="*/ 144 w 326"/>
                  <a:gd name="T43" fmla="*/ 152 h 327"/>
                  <a:gd name="T44" fmla="*/ 121 w 326"/>
                  <a:gd name="T45" fmla="*/ 129 h 327"/>
                  <a:gd name="T46" fmla="*/ 105 w 326"/>
                  <a:gd name="T47" fmla="*/ 166 h 327"/>
                  <a:gd name="T48" fmla="*/ 106 w 326"/>
                  <a:gd name="T49" fmla="*/ 167 h 327"/>
                  <a:gd name="T50" fmla="*/ 106 w 326"/>
                  <a:gd name="T51" fmla="*/ 171 h 327"/>
                  <a:gd name="T52" fmla="*/ 105 w 326"/>
                  <a:gd name="T53" fmla="*/ 174 h 327"/>
                  <a:gd name="T54" fmla="*/ 101 w 326"/>
                  <a:gd name="T55" fmla="*/ 175 h 327"/>
                  <a:gd name="T56" fmla="*/ 97 w 326"/>
                  <a:gd name="T57" fmla="*/ 174 h 327"/>
                  <a:gd name="T58" fmla="*/ 62 w 326"/>
                  <a:gd name="T59" fmla="*/ 190 h 327"/>
                  <a:gd name="T60" fmla="*/ 82 w 326"/>
                  <a:gd name="T61" fmla="*/ 210 h 327"/>
                  <a:gd name="T62" fmla="*/ 85 w 326"/>
                  <a:gd name="T63" fmla="*/ 214 h 327"/>
                  <a:gd name="T64" fmla="*/ 82 w 326"/>
                  <a:gd name="T65" fmla="*/ 218 h 327"/>
                  <a:gd name="T66" fmla="*/ 81 w 326"/>
                  <a:gd name="T67" fmla="*/ 219 h 327"/>
                  <a:gd name="T68" fmla="*/ 77 w 326"/>
                  <a:gd name="T69" fmla="*/ 219 h 327"/>
                  <a:gd name="T70" fmla="*/ 54 w 326"/>
                  <a:gd name="T71" fmla="*/ 198 h 327"/>
                  <a:gd name="T72" fmla="*/ 2 w 326"/>
                  <a:gd name="T73" fmla="*/ 250 h 327"/>
                  <a:gd name="T74" fmla="*/ 0 w 326"/>
                  <a:gd name="T75" fmla="*/ 254 h 327"/>
                  <a:gd name="T76" fmla="*/ 2 w 326"/>
                  <a:gd name="T77" fmla="*/ 257 h 327"/>
                  <a:gd name="T78" fmla="*/ 69 w 326"/>
                  <a:gd name="T79" fmla="*/ 325 h 327"/>
                  <a:gd name="T80" fmla="*/ 73 w 326"/>
                  <a:gd name="T81" fmla="*/ 327 h 327"/>
                  <a:gd name="T82" fmla="*/ 75 w 326"/>
                  <a:gd name="T83" fmla="*/ 327 h 327"/>
                  <a:gd name="T84" fmla="*/ 325 w 326"/>
                  <a:gd name="T85" fmla="*/ 77 h 327"/>
                  <a:gd name="T86" fmla="*/ 326 w 326"/>
                  <a:gd name="T87" fmla="*/ 76 h 327"/>
                  <a:gd name="T88" fmla="*/ 326 w 326"/>
                  <a:gd name="T89" fmla="*/ 72 h 327"/>
                  <a:gd name="T90" fmla="*/ 325 w 326"/>
                  <a:gd name="T91" fmla="*/ 69 h 327"/>
                  <a:gd name="T92" fmla="*/ 267 w 326"/>
                  <a:gd name="T93" fmla="*/ 96 h 327"/>
                  <a:gd name="T94" fmla="*/ 258 w 326"/>
                  <a:gd name="T95" fmla="*/ 92 h 327"/>
                  <a:gd name="T96" fmla="*/ 253 w 326"/>
                  <a:gd name="T97" fmla="*/ 82 h 327"/>
                  <a:gd name="T98" fmla="*/ 254 w 326"/>
                  <a:gd name="T99" fmla="*/ 77 h 327"/>
                  <a:gd name="T100" fmla="*/ 262 w 326"/>
                  <a:gd name="T101" fmla="*/ 69 h 327"/>
                  <a:gd name="T102" fmla="*/ 267 w 326"/>
                  <a:gd name="T103" fmla="*/ 68 h 327"/>
                  <a:gd name="T104" fmla="*/ 277 w 326"/>
                  <a:gd name="T105" fmla="*/ 72 h 327"/>
                  <a:gd name="T106" fmla="*/ 281 w 326"/>
                  <a:gd name="T107" fmla="*/ 82 h 327"/>
                  <a:gd name="T108" fmla="*/ 281 w 326"/>
                  <a:gd name="T109" fmla="*/ 88 h 327"/>
                  <a:gd name="T110" fmla="*/ 273 w 326"/>
                  <a:gd name="T111" fmla="*/ 94 h 327"/>
                  <a:gd name="T112" fmla="*/ 267 w 326"/>
                  <a:gd name="T113" fmla="*/ 9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7">
                    <a:moveTo>
                      <a:pt x="325" y="69"/>
                    </a:moveTo>
                    <a:lnTo>
                      <a:pt x="257" y="2"/>
                    </a:lnTo>
                    <a:lnTo>
                      <a:pt x="257" y="2"/>
                    </a:lnTo>
                    <a:lnTo>
                      <a:pt x="255" y="0"/>
                    </a:lnTo>
                    <a:lnTo>
                      <a:pt x="253" y="0"/>
                    </a:lnTo>
                    <a:lnTo>
                      <a:pt x="251" y="0"/>
                    </a:lnTo>
                    <a:lnTo>
                      <a:pt x="249" y="2"/>
                    </a:lnTo>
                    <a:lnTo>
                      <a:pt x="198" y="54"/>
                    </a:lnTo>
                    <a:lnTo>
                      <a:pt x="218" y="76"/>
                    </a:lnTo>
                    <a:lnTo>
                      <a:pt x="218" y="76"/>
                    </a:lnTo>
                    <a:lnTo>
                      <a:pt x="219" y="77"/>
                    </a:lnTo>
                    <a:lnTo>
                      <a:pt x="219" y="80"/>
                    </a:lnTo>
                    <a:lnTo>
                      <a:pt x="219" y="81"/>
                    </a:lnTo>
                    <a:lnTo>
                      <a:pt x="218" y="82"/>
                    </a:lnTo>
                    <a:lnTo>
                      <a:pt x="218" y="82"/>
                    </a:lnTo>
                    <a:lnTo>
                      <a:pt x="216" y="84"/>
                    </a:lnTo>
                    <a:lnTo>
                      <a:pt x="214" y="85"/>
                    </a:lnTo>
                    <a:lnTo>
                      <a:pt x="212" y="84"/>
                    </a:lnTo>
                    <a:lnTo>
                      <a:pt x="210" y="82"/>
                    </a:lnTo>
                    <a:lnTo>
                      <a:pt x="189" y="62"/>
                    </a:lnTo>
                    <a:lnTo>
                      <a:pt x="163" y="88"/>
                    </a:lnTo>
                    <a:lnTo>
                      <a:pt x="173" y="97"/>
                    </a:lnTo>
                    <a:lnTo>
                      <a:pt x="173" y="97"/>
                    </a:lnTo>
                    <a:lnTo>
                      <a:pt x="173" y="100"/>
                    </a:lnTo>
                    <a:lnTo>
                      <a:pt x="175" y="101"/>
                    </a:lnTo>
                    <a:lnTo>
                      <a:pt x="173" y="104"/>
                    </a:lnTo>
                    <a:lnTo>
                      <a:pt x="173" y="105"/>
                    </a:lnTo>
                    <a:lnTo>
                      <a:pt x="173" y="105"/>
                    </a:lnTo>
                    <a:lnTo>
                      <a:pt x="171" y="107"/>
                    </a:lnTo>
                    <a:lnTo>
                      <a:pt x="169" y="107"/>
                    </a:lnTo>
                    <a:lnTo>
                      <a:pt x="167" y="107"/>
                    </a:lnTo>
                    <a:lnTo>
                      <a:pt x="165" y="105"/>
                    </a:lnTo>
                    <a:lnTo>
                      <a:pt x="155" y="96"/>
                    </a:lnTo>
                    <a:lnTo>
                      <a:pt x="129" y="121"/>
                    </a:lnTo>
                    <a:lnTo>
                      <a:pt x="151" y="143"/>
                    </a:lnTo>
                    <a:lnTo>
                      <a:pt x="151" y="143"/>
                    </a:lnTo>
                    <a:lnTo>
                      <a:pt x="152" y="144"/>
                    </a:lnTo>
                    <a:lnTo>
                      <a:pt x="152" y="147"/>
                    </a:lnTo>
                    <a:lnTo>
                      <a:pt x="152" y="148"/>
                    </a:lnTo>
                    <a:lnTo>
                      <a:pt x="151" y="151"/>
                    </a:lnTo>
                    <a:lnTo>
                      <a:pt x="151" y="151"/>
                    </a:lnTo>
                    <a:lnTo>
                      <a:pt x="148" y="152"/>
                    </a:lnTo>
                    <a:lnTo>
                      <a:pt x="147" y="152"/>
                    </a:lnTo>
                    <a:lnTo>
                      <a:pt x="144" y="152"/>
                    </a:lnTo>
                    <a:lnTo>
                      <a:pt x="143" y="151"/>
                    </a:lnTo>
                    <a:lnTo>
                      <a:pt x="121" y="129"/>
                    </a:lnTo>
                    <a:lnTo>
                      <a:pt x="96" y="155"/>
                    </a:lnTo>
                    <a:lnTo>
                      <a:pt x="105" y="166"/>
                    </a:lnTo>
                    <a:lnTo>
                      <a:pt x="105" y="166"/>
                    </a:lnTo>
                    <a:lnTo>
                      <a:pt x="106" y="167"/>
                    </a:lnTo>
                    <a:lnTo>
                      <a:pt x="106" y="170"/>
                    </a:lnTo>
                    <a:lnTo>
                      <a:pt x="106" y="171"/>
                    </a:lnTo>
                    <a:lnTo>
                      <a:pt x="105" y="174"/>
                    </a:lnTo>
                    <a:lnTo>
                      <a:pt x="105" y="174"/>
                    </a:lnTo>
                    <a:lnTo>
                      <a:pt x="104" y="174"/>
                    </a:lnTo>
                    <a:lnTo>
                      <a:pt x="101" y="175"/>
                    </a:lnTo>
                    <a:lnTo>
                      <a:pt x="100" y="174"/>
                    </a:lnTo>
                    <a:lnTo>
                      <a:pt x="97" y="174"/>
                    </a:lnTo>
                    <a:lnTo>
                      <a:pt x="87" y="163"/>
                    </a:lnTo>
                    <a:lnTo>
                      <a:pt x="62" y="190"/>
                    </a:lnTo>
                    <a:lnTo>
                      <a:pt x="82" y="210"/>
                    </a:lnTo>
                    <a:lnTo>
                      <a:pt x="82" y="210"/>
                    </a:lnTo>
                    <a:lnTo>
                      <a:pt x="83" y="213"/>
                    </a:lnTo>
                    <a:lnTo>
                      <a:pt x="85" y="214"/>
                    </a:lnTo>
                    <a:lnTo>
                      <a:pt x="83" y="217"/>
                    </a:lnTo>
                    <a:lnTo>
                      <a:pt x="82" y="218"/>
                    </a:lnTo>
                    <a:lnTo>
                      <a:pt x="82" y="218"/>
                    </a:lnTo>
                    <a:lnTo>
                      <a:pt x="81" y="219"/>
                    </a:lnTo>
                    <a:lnTo>
                      <a:pt x="78" y="219"/>
                    </a:lnTo>
                    <a:lnTo>
                      <a:pt x="77" y="219"/>
                    </a:lnTo>
                    <a:lnTo>
                      <a:pt x="75" y="218"/>
                    </a:lnTo>
                    <a:lnTo>
                      <a:pt x="54" y="198"/>
                    </a:lnTo>
                    <a:lnTo>
                      <a:pt x="2" y="250"/>
                    </a:lnTo>
                    <a:lnTo>
                      <a:pt x="2" y="250"/>
                    </a:lnTo>
                    <a:lnTo>
                      <a:pt x="0" y="252"/>
                    </a:lnTo>
                    <a:lnTo>
                      <a:pt x="0" y="254"/>
                    </a:lnTo>
                    <a:lnTo>
                      <a:pt x="0" y="256"/>
                    </a:lnTo>
                    <a:lnTo>
                      <a:pt x="2" y="257"/>
                    </a:lnTo>
                    <a:lnTo>
                      <a:pt x="69" y="325"/>
                    </a:lnTo>
                    <a:lnTo>
                      <a:pt x="69" y="325"/>
                    </a:lnTo>
                    <a:lnTo>
                      <a:pt x="71" y="327"/>
                    </a:lnTo>
                    <a:lnTo>
                      <a:pt x="73" y="327"/>
                    </a:lnTo>
                    <a:lnTo>
                      <a:pt x="73" y="327"/>
                    </a:lnTo>
                    <a:lnTo>
                      <a:pt x="75" y="327"/>
                    </a:lnTo>
                    <a:lnTo>
                      <a:pt x="77" y="325"/>
                    </a:lnTo>
                    <a:lnTo>
                      <a:pt x="325" y="77"/>
                    </a:lnTo>
                    <a:lnTo>
                      <a:pt x="325" y="77"/>
                    </a:lnTo>
                    <a:lnTo>
                      <a:pt x="326" y="76"/>
                    </a:lnTo>
                    <a:lnTo>
                      <a:pt x="326" y="73"/>
                    </a:lnTo>
                    <a:lnTo>
                      <a:pt x="326" y="72"/>
                    </a:lnTo>
                    <a:lnTo>
                      <a:pt x="325" y="69"/>
                    </a:lnTo>
                    <a:lnTo>
                      <a:pt x="325" y="69"/>
                    </a:lnTo>
                    <a:close/>
                    <a:moveTo>
                      <a:pt x="267" y="96"/>
                    </a:moveTo>
                    <a:lnTo>
                      <a:pt x="267" y="96"/>
                    </a:lnTo>
                    <a:lnTo>
                      <a:pt x="262" y="94"/>
                    </a:lnTo>
                    <a:lnTo>
                      <a:pt x="258" y="92"/>
                    </a:lnTo>
                    <a:lnTo>
                      <a:pt x="254" y="88"/>
                    </a:lnTo>
                    <a:lnTo>
                      <a:pt x="253" y="82"/>
                    </a:lnTo>
                    <a:lnTo>
                      <a:pt x="253" y="82"/>
                    </a:lnTo>
                    <a:lnTo>
                      <a:pt x="254" y="77"/>
                    </a:lnTo>
                    <a:lnTo>
                      <a:pt x="258" y="72"/>
                    </a:lnTo>
                    <a:lnTo>
                      <a:pt x="262" y="69"/>
                    </a:lnTo>
                    <a:lnTo>
                      <a:pt x="267" y="68"/>
                    </a:lnTo>
                    <a:lnTo>
                      <a:pt x="267" y="68"/>
                    </a:lnTo>
                    <a:lnTo>
                      <a:pt x="273" y="69"/>
                    </a:lnTo>
                    <a:lnTo>
                      <a:pt x="277" y="72"/>
                    </a:lnTo>
                    <a:lnTo>
                      <a:pt x="281" y="77"/>
                    </a:lnTo>
                    <a:lnTo>
                      <a:pt x="281" y="82"/>
                    </a:lnTo>
                    <a:lnTo>
                      <a:pt x="281" y="82"/>
                    </a:lnTo>
                    <a:lnTo>
                      <a:pt x="281" y="88"/>
                    </a:lnTo>
                    <a:lnTo>
                      <a:pt x="277" y="92"/>
                    </a:lnTo>
                    <a:lnTo>
                      <a:pt x="273" y="94"/>
                    </a:lnTo>
                    <a:lnTo>
                      <a:pt x="267" y="96"/>
                    </a:lnTo>
                    <a:lnTo>
                      <a:pt x="26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268">
                <a:extLst>
                  <a:ext uri="{FF2B5EF4-FFF2-40B4-BE49-F238E27FC236}">
                    <a16:creationId xmlns:a16="http://schemas.microsoft.com/office/drawing/2014/main" id="{248684D3-AB0A-2CDC-A5DB-DC71E6EF3287}"/>
                  </a:ext>
                </a:extLst>
              </p:cNvPr>
              <p:cNvSpPr>
                <a:spLocks/>
              </p:cNvSpPr>
              <p:nvPr/>
            </p:nvSpPr>
            <p:spPr bwMode="auto">
              <a:xfrm>
                <a:off x="828676" y="1936750"/>
                <a:ext cx="104775" cy="104775"/>
              </a:xfrm>
              <a:custGeom>
                <a:avLst/>
                <a:gdLst>
                  <a:gd name="T0" fmla="*/ 0 w 133"/>
                  <a:gd name="T1" fmla="*/ 63 h 131"/>
                  <a:gd name="T2" fmla="*/ 65 w 133"/>
                  <a:gd name="T3" fmla="*/ 0 h 131"/>
                  <a:gd name="T4" fmla="*/ 133 w 133"/>
                  <a:gd name="T5" fmla="*/ 68 h 131"/>
                  <a:gd name="T6" fmla="*/ 69 w 133"/>
                  <a:gd name="T7" fmla="*/ 131 h 131"/>
                  <a:gd name="T8" fmla="*/ 0 w 133"/>
                  <a:gd name="T9" fmla="*/ 63 h 131"/>
                </a:gdLst>
                <a:ahLst/>
                <a:cxnLst>
                  <a:cxn ang="0">
                    <a:pos x="T0" y="T1"/>
                  </a:cxn>
                  <a:cxn ang="0">
                    <a:pos x="T2" y="T3"/>
                  </a:cxn>
                  <a:cxn ang="0">
                    <a:pos x="T4" y="T5"/>
                  </a:cxn>
                  <a:cxn ang="0">
                    <a:pos x="T6" y="T7"/>
                  </a:cxn>
                  <a:cxn ang="0">
                    <a:pos x="T8" y="T9"/>
                  </a:cxn>
                </a:cxnLst>
                <a:rect l="0" t="0" r="r" b="b"/>
                <a:pathLst>
                  <a:path w="133" h="131">
                    <a:moveTo>
                      <a:pt x="0" y="63"/>
                    </a:moveTo>
                    <a:lnTo>
                      <a:pt x="65" y="0"/>
                    </a:lnTo>
                    <a:lnTo>
                      <a:pt x="133" y="68"/>
                    </a:lnTo>
                    <a:lnTo>
                      <a:pt x="69" y="131"/>
                    </a:lnTo>
                    <a:lnTo>
                      <a:pt x="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269">
                <a:extLst>
                  <a:ext uri="{FF2B5EF4-FFF2-40B4-BE49-F238E27FC236}">
                    <a16:creationId xmlns:a16="http://schemas.microsoft.com/office/drawing/2014/main" id="{93E94BB2-110A-C959-9217-B3C3DD53DAE8}"/>
                  </a:ext>
                </a:extLst>
              </p:cNvPr>
              <p:cNvSpPr>
                <a:spLocks/>
              </p:cNvSpPr>
              <p:nvPr/>
            </p:nvSpPr>
            <p:spPr bwMode="auto">
              <a:xfrm>
                <a:off x="719138" y="1827213"/>
                <a:ext cx="87313" cy="87313"/>
              </a:xfrm>
              <a:custGeom>
                <a:avLst/>
                <a:gdLst>
                  <a:gd name="T0" fmla="*/ 0 w 110"/>
                  <a:gd name="T1" fmla="*/ 65 h 111"/>
                  <a:gd name="T2" fmla="*/ 65 w 110"/>
                  <a:gd name="T3" fmla="*/ 0 h 111"/>
                  <a:gd name="T4" fmla="*/ 110 w 110"/>
                  <a:gd name="T5" fmla="*/ 46 h 111"/>
                  <a:gd name="T6" fmla="*/ 46 w 110"/>
                  <a:gd name="T7" fmla="*/ 111 h 111"/>
                  <a:gd name="T8" fmla="*/ 0 w 110"/>
                  <a:gd name="T9" fmla="*/ 65 h 111"/>
                </a:gdLst>
                <a:ahLst/>
                <a:cxnLst>
                  <a:cxn ang="0">
                    <a:pos x="T0" y="T1"/>
                  </a:cxn>
                  <a:cxn ang="0">
                    <a:pos x="T2" y="T3"/>
                  </a:cxn>
                  <a:cxn ang="0">
                    <a:pos x="T4" y="T5"/>
                  </a:cxn>
                  <a:cxn ang="0">
                    <a:pos x="T6" y="T7"/>
                  </a:cxn>
                  <a:cxn ang="0">
                    <a:pos x="T8" y="T9"/>
                  </a:cxn>
                </a:cxnLst>
                <a:rect l="0" t="0" r="r" b="b"/>
                <a:pathLst>
                  <a:path w="110" h="111">
                    <a:moveTo>
                      <a:pt x="0" y="65"/>
                    </a:moveTo>
                    <a:lnTo>
                      <a:pt x="65" y="0"/>
                    </a:lnTo>
                    <a:lnTo>
                      <a:pt x="110" y="46"/>
                    </a:lnTo>
                    <a:lnTo>
                      <a:pt x="46" y="111"/>
                    </a:lnTo>
                    <a:lnTo>
                      <a:pt x="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54" name="Straight Connector 53">
              <a:extLst>
                <a:ext uri="{FF2B5EF4-FFF2-40B4-BE49-F238E27FC236}">
                  <a16:creationId xmlns:a16="http://schemas.microsoft.com/office/drawing/2014/main" id="{96DEF463-53E2-D2DA-FAC1-2E874ABA3C21}"/>
                </a:ext>
              </a:extLst>
            </p:cNvPr>
            <p:cNvCxnSpPr/>
            <p:nvPr/>
          </p:nvCxnSpPr>
          <p:spPr>
            <a:xfrm>
              <a:off x="5561568" y="2884887"/>
              <a:ext cx="468719" cy="0"/>
            </a:xfrm>
            <a:prstGeom prst="line">
              <a:avLst/>
            </a:prstGeom>
            <a:grpFill/>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D2B0CE9B-F510-0588-B373-7E3FCBC918A7}"/>
                </a:ext>
              </a:extLst>
            </p:cNvPr>
            <p:cNvGrpSpPr>
              <a:grpSpLocks/>
            </p:cNvGrpSpPr>
            <p:nvPr/>
          </p:nvGrpSpPr>
          <p:grpSpPr>
            <a:xfrm>
              <a:off x="9084740" y="2703980"/>
              <a:ext cx="360719" cy="361815"/>
              <a:chOff x="563563" y="1674813"/>
              <a:chExt cx="522288" cy="522288"/>
            </a:xfrm>
            <a:grpFill/>
          </p:grpSpPr>
          <p:sp>
            <p:nvSpPr>
              <p:cNvPr id="62" name="Freeform 14">
                <a:extLst>
                  <a:ext uri="{FF2B5EF4-FFF2-40B4-BE49-F238E27FC236}">
                    <a16:creationId xmlns:a16="http://schemas.microsoft.com/office/drawing/2014/main" id="{8BBD0C33-ABD3-1895-31C4-9EFB4B03DEFA}"/>
                  </a:ext>
                </a:extLst>
              </p:cNvPr>
              <p:cNvSpPr>
                <a:spLocks noEditPoints="1"/>
              </p:cNvSpPr>
              <p:nvPr/>
            </p:nvSpPr>
            <p:spPr bwMode="auto">
              <a:xfrm>
                <a:off x="563563" y="1674813"/>
                <a:ext cx="522288" cy="522288"/>
              </a:xfrm>
              <a:custGeom>
                <a:avLst/>
                <a:gdLst>
                  <a:gd name="T0" fmla="*/ 313 w 658"/>
                  <a:gd name="T1" fmla="*/ 657 h 657"/>
                  <a:gd name="T2" fmla="*/ 263 w 658"/>
                  <a:gd name="T3" fmla="*/ 650 h 657"/>
                  <a:gd name="T4" fmla="*/ 201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8 w 658"/>
                  <a:gd name="T45" fmla="*/ 312 h 657"/>
                  <a:gd name="T46" fmla="*/ 658 w 658"/>
                  <a:gd name="T47" fmla="*/ 346 h 657"/>
                  <a:gd name="T48" fmla="*/ 651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4 w 658"/>
                  <a:gd name="T91" fmla="*/ 535 h 657"/>
                  <a:gd name="T92" fmla="*/ 585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8"/>
                    </a:lnTo>
                    <a:lnTo>
                      <a:pt x="232" y="642"/>
                    </a:lnTo>
                    <a:lnTo>
                      <a:pt x="201" y="632"/>
                    </a:lnTo>
                    <a:lnTo>
                      <a:pt x="173" y="618"/>
                    </a:lnTo>
                    <a:lnTo>
                      <a:pt x="145" y="601"/>
                    </a:lnTo>
                    <a:lnTo>
                      <a:pt x="121" y="582"/>
                    </a:lnTo>
                    <a:lnTo>
                      <a:pt x="97" y="560"/>
                    </a:lnTo>
                    <a:lnTo>
                      <a:pt x="75" y="538"/>
                    </a:lnTo>
                    <a:lnTo>
                      <a:pt x="56" y="512"/>
                    </a:lnTo>
                    <a:lnTo>
                      <a:pt x="40" y="485"/>
                    </a:lnTo>
                    <a:lnTo>
                      <a:pt x="27" y="457"/>
                    </a:lnTo>
                    <a:lnTo>
                      <a:pt x="15" y="426"/>
                    </a:lnTo>
                    <a:lnTo>
                      <a:pt x="11" y="411"/>
                    </a:lnTo>
                    <a:lnTo>
                      <a:pt x="7" y="395"/>
                    </a:lnTo>
                    <a:lnTo>
                      <a:pt x="4" y="379"/>
                    </a:lnTo>
                    <a:lnTo>
                      <a:pt x="3" y="362"/>
                    </a:lnTo>
                    <a:lnTo>
                      <a:pt x="1" y="346"/>
                    </a:lnTo>
                    <a:lnTo>
                      <a:pt x="0" y="328"/>
                    </a:lnTo>
                    <a:lnTo>
                      <a:pt x="0" y="328"/>
                    </a:lnTo>
                    <a:lnTo>
                      <a:pt x="1" y="312"/>
                    </a:lnTo>
                    <a:lnTo>
                      <a:pt x="3" y="294"/>
                    </a:lnTo>
                    <a:lnTo>
                      <a:pt x="4" y="278"/>
                    </a:lnTo>
                    <a:lnTo>
                      <a:pt x="7" y="262"/>
                    </a:lnTo>
                    <a:lnTo>
                      <a:pt x="11" y="246"/>
                    </a:lnTo>
                    <a:lnTo>
                      <a:pt x="15" y="231"/>
                    </a:lnTo>
                    <a:lnTo>
                      <a:pt x="27" y="200"/>
                    </a:lnTo>
                    <a:lnTo>
                      <a:pt x="40" y="172"/>
                    </a:lnTo>
                    <a:lnTo>
                      <a:pt x="56" y="145"/>
                    </a:lnTo>
                    <a:lnTo>
                      <a:pt x="75" y="120"/>
                    </a:lnTo>
                    <a:lnTo>
                      <a:pt x="97" y="96"/>
                    </a:lnTo>
                    <a:lnTo>
                      <a:pt x="121" y="76"/>
                    </a:lnTo>
                    <a:lnTo>
                      <a:pt x="145" y="57"/>
                    </a:lnTo>
                    <a:lnTo>
                      <a:pt x="173" y="39"/>
                    </a:lnTo>
                    <a:lnTo>
                      <a:pt x="201" y="26"/>
                    </a:lnTo>
                    <a:lnTo>
                      <a:pt x="232" y="15"/>
                    </a:lnTo>
                    <a:lnTo>
                      <a:pt x="247" y="10"/>
                    </a:lnTo>
                    <a:lnTo>
                      <a:pt x="263" y="7"/>
                    </a:lnTo>
                    <a:lnTo>
                      <a:pt x="279" y="4"/>
                    </a:lnTo>
                    <a:lnTo>
                      <a:pt x="295" y="2"/>
                    </a:lnTo>
                    <a:lnTo>
                      <a:pt x="313" y="0"/>
                    </a:lnTo>
                    <a:lnTo>
                      <a:pt x="329" y="0"/>
                    </a:lnTo>
                    <a:lnTo>
                      <a:pt x="329" y="0"/>
                    </a:lnTo>
                    <a:lnTo>
                      <a:pt x="346" y="0"/>
                    </a:lnTo>
                    <a:lnTo>
                      <a:pt x="363" y="2"/>
                    </a:lnTo>
                    <a:lnTo>
                      <a:pt x="379" y="4"/>
                    </a:lnTo>
                    <a:lnTo>
                      <a:pt x="396" y="7"/>
                    </a:lnTo>
                    <a:lnTo>
                      <a:pt x="411" y="10"/>
                    </a:lnTo>
                    <a:lnTo>
                      <a:pt x="427" y="15"/>
                    </a:lnTo>
                    <a:lnTo>
                      <a:pt x="457" y="26"/>
                    </a:lnTo>
                    <a:lnTo>
                      <a:pt x="486" y="39"/>
                    </a:lnTo>
                    <a:lnTo>
                      <a:pt x="513" y="57"/>
                    </a:lnTo>
                    <a:lnTo>
                      <a:pt x="539" y="76"/>
                    </a:lnTo>
                    <a:lnTo>
                      <a:pt x="561" y="96"/>
                    </a:lnTo>
                    <a:lnTo>
                      <a:pt x="583" y="120"/>
                    </a:lnTo>
                    <a:lnTo>
                      <a:pt x="602" y="145"/>
                    </a:lnTo>
                    <a:lnTo>
                      <a:pt x="618" y="172"/>
                    </a:lnTo>
                    <a:lnTo>
                      <a:pt x="632"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2"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6" y="650"/>
                    </a:lnTo>
                    <a:lnTo>
                      <a:pt x="379" y="653"/>
                    </a:lnTo>
                    <a:lnTo>
                      <a:pt x="363" y="656"/>
                    </a:lnTo>
                    <a:lnTo>
                      <a:pt x="346"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8"/>
                    </a:lnTo>
                    <a:lnTo>
                      <a:pt x="38" y="328"/>
                    </a:lnTo>
                    <a:lnTo>
                      <a:pt x="38" y="328"/>
                    </a:lnTo>
                    <a:lnTo>
                      <a:pt x="40" y="359"/>
                    </a:lnTo>
                    <a:lnTo>
                      <a:pt x="44" y="387"/>
                    </a:lnTo>
                    <a:lnTo>
                      <a:pt x="51" y="415"/>
                    </a:lnTo>
                    <a:lnTo>
                      <a:pt x="62" y="442"/>
                    </a:lnTo>
                    <a:lnTo>
                      <a:pt x="74" y="468"/>
                    </a:lnTo>
                    <a:lnTo>
                      <a:pt x="89"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3" y="597"/>
                    </a:lnTo>
                    <a:lnTo>
                      <a:pt x="467" y="585"/>
                    </a:lnTo>
                    <a:lnTo>
                      <a:pt x="492" y="570"/>
                    </a:lnTo>
                    <a:lnTo>
                      <a:pt x="514" y="554"/>
                    </a:lnTo>
                    <a:lnTo>
                      <a:pt x="534" y="535"/>
                    </a:lnTo>
                    <a:lnTo>
                      <a:pt x="553" y="513"/>
                    </a:lnTo>
                    <a:lnTo>
                      <a:pt x="571" y="492"/>
                    </a:lnTo>
                    <a:lnTo>
                      <a:pt x="585"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5" y="190"/>
                    </a:lnTo>
                    <a:lnTo>
                      <a:pt x="571" y="166"/>
                    </a:lnTo>
                    <a:lnTo>
                      <a:pt x="553" y="144"/>
                    </a:lnTo>
                    <a:lnTo>
                      <a:pt x="534" y="123"/>
                    </a:lnTo>
                    <a:lnTo>
                      <a:pt x="514" y="104"/>
                    </a:lnTo>
                    <a:lnTo>
                      <a:pt x="492" y="88"/>
                    </a:lnTo>
                    <a:lnTo>
                      <a:pt x="467" y="73"/>
                    </a:lnTo>
                    <a:lnTo>
                      <a:pt x="443"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265">
                <a:extLst>
                  <a:ext uri="{FF2B5EF4-FFF2-40B4-BE49-F238E27FC236}">
                    <a16:creationId xmlns:a16="http://schemas.microsoft.com/office/drawing/2014/main" id="{F00C4067-3E3A-DE79-5D90-827BBF6410A0}"/>
                  </a:ext>
                </a:extLst>
              </p:cNvPr>
              <p:cNvSpPr>
                <a:spLocks/>
              </p:cNvSpPr>
              <p:nvPr/>
            </p:nvSpPr>
            <p:spPr bwMode="auto">
              <a:xfrm>
                <a:off x="890588" y="1998663"/>
                <a:ext cx="57150" cy="57150"/>
              </a:xfrm>
              <a:custGeom>
                <a:avLst/>
                <a:gdLst>
                  <a:gd name="T0" fmla="*/ 61 w 71"/>
                  <a:gd name="T1" fmla="*/ 0 h 71"/>
                  <a:gd name="T2" fmla="*/ 0 w 71"/>
                  <a:gd name="T3" fmla="*/ 60 h 71"/>
                  <a:gd name="T4" fmla="*/ 65 w 71"/>
                  <a:gd name="T5" fmla="*/ 71 h 71"/>
                  <a:gd name="T6" fmla="*/ 65 w 71"/>
                  <a:gd name="T7" fmla="*/ 71 h 71"/>
                  <a:gd name="T8" fmla="*/ 66 w 71"/>
                  <a:gd name="T9" fmla="*/ 71 h 71"/>
                  <a:gd name="T10" fmla="*/ 66 w 71"/>
                  <a:gd name="T11" fmla="*/ 71 h 71"/>
                  <a:gd name="T12" fmla="*/ 66 w 71"/>
                  <a:gd name="T13" fmla="*/ 71 h 71"/>
                  <a:gd name="T14" fmla="*/ 66 w 71"/>
                  <a:gd name="T15" fmla="*/ 71 h 71"/>
                  <a:gd name="T16" fmla="*/ 67 w 71"/>
                  <a:gd name="T17" fmla="*/ 71 h 71"/>
                  <a:gd name="T18" fmla="*/ 70 w 71"/>
                  <a:gd name="T19" fmla="*/ 69 h 71"/>
                  <a:gd name="T20" fmla="*/ 71 w 71"/>
                  <a:gd name="T21" fmla="*/ 67 h 71"/>
                  <a:gd name="T22" fmla="*/ 71 w 71"/>
                  <a:gd name="T23" fmla="*/ 65 h 71"/>
                  <a:gd name="T24" fmla="*/ 71 w 71"/>
                  <a:gd name="T25" fmla="*/ 65 h 71"/>
                  <a:gd name="T26" fmla="*/ 71 w 71"/>
                  <a:gd name="T27" fmla="*/ 63 h 71"/>
                  <a:gd name="T28" fmla="*/ 61 w 71"/>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1">
                    <a:moveTo>
                      <a:pt x="61" y="0"/>
                    </a:moveTo>
                    <a:lnTo>
                      <a:pt x="0" y="60"/>
                    </a:lnTo>
                    <a:lnTo>
                      <a:pt x="65" y="71"/>
                    </a:lnTo>
                    <a:lnTo>
                      <a:pt x="65" y="71"/>
                    </a:lnTo>
                    <a:lnTo>
                      <a:pt x="66" y="71"/>
                    </a:lnTo>
                    <a:lnTo>
                      <a:pt x="66" y="71"/>
                    </a:lnTo>
                    <a:lnTo>
                      <a:pt x="66" y="71"/>
                    </a:lnTo>
                    <a:lnTo>
                      <a:pt x="66" y="71"/>
                    </a:lnTo>
                    <a:lnTo>
                      <a:pt x="67" y="71"/>
                    </a:lnTo>
                    <a:lnTo>
                      <a:pt x="70" y="69"/>
                    </a:lnTo>
                    <a:lnTo>
                      <a:pt x="71" y="67"/>
                    </a:lnTo>
                    <a:lnTo>
                      <a:pt x="71" y="65"/>
                    </a:lnTo>
                    <a:lnTo>
                      <a:pt x="71" y="65"/>
                    </a:lnTo>
                    <a:lnTo>
                      <a:pt x="71" y="63"/>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266">
                <a:extLst>
                  <a:ext uri="{FF2B5EF4-FFF2-40B4-BE49-F238E27FC236}">
                    <a16:creationId xmlns:a16="http://schemas.microsoft.com/office/drawing/2014/main" id="{BDFAE7F0-4812-C669-E73A-B8D25C9ADC61}"/>
                  </a:ext>
                </a:extLst>
              </p:cNvPr>
              <p:cNvSpPr>
                <a:spLocks/>
              </p:cNvSpPr>
              <p:nvPr/>
            </p:nvSpPr>
            <p:spPr bwMode="auto">
              <a:xfrm>
                <a:off x="688976" y="1797050"/>
                <a:ext cx="74613" cy="74613"/>
              </a:xfrm>
              <a:custGeom>
                <a:avLst/>
                <a:gdLst>
                  <a:gd name="T0" fmla="*/ 96 w 96"/>
                  <a:gd name="T1" fmla="*/ 31 h 96"/>
                  <a:gd name="T2" fmla="*/ 66 w 96"/>
                  <a:gd name="T3" fmla="*/ 2 h 96"/>
                  <a:gd name="T4" fmla="*/ 66 w 96"/>
                  <a:gd name="T5" fmla="*/ 2 h 96"/>
                  <a:gd name="T6" fmla="*/ 63 w 96"/>
                  <a:gd name="T7" fmla="*/ 0 h 96"/>
                  <a:gd name="T8" fmla="*/ 62 w 96"/>
                  <a:gd name="T9" fmla="*/ 0 h 96"/>
                  <a:gd name="T10" fmla="*/ 59 w 96"/>
                  <a:gd name="T11" fmla="*/ 0 h 96"/>
                  <a:gd name="T12" fmla="*/ 58 w 96"/>
                  <a:gd name="T13" fmla="*/ 2 h 96"/>
                  <a:gd name="T14" fmla="*/ 2 w 96"/>
                  <a:gd name="T15" fmla="*/ 58 h 96"/>
                  <a:gd name="T16" fmla="*/ 2 w 96"/>
                  <a:gd name="T17" fmla="*/ 58 h 96"/>
                  <a:gd name="T18" fmla="*/ 0 w 96"/>
                  <a:gd name="T19" fmla="*/ 60 h 96"/>
                  <a:gd name="T20" fmla="*/ 0 w 96"/>
                  <a:gd name="T21" fmla="*/ 62 h 96"/>
                  <a:gd name="T22" fmla="*/ 0 w 96"/>
                  <a:gd name="T23" fmla="*/ 65 h 96"/>
                  <a:gd name="T24" fmla="*/ 2 w 96"/>
                  <a:gd name="T25" fmla="*/ 66 h 96"/>
                  <a:gd name="T26" fmla="*/ 31 w 96"/>
                  <a:gd name="T27" fmla="*/ 96 h 96"/>
                  <a:gd name="T28" fmla="*/ 96 w 96"/>
                  <a:gd name="T29"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96" y="31"/>
                    </a:moveTo>
                    <a:lnTo>
                      <a:pt x="66" y="2"/>
                    </a:lnTo>
                    <a:lnTo>
                      <a:pt x="66" y="2"/>
                    </a:lnTo>
                    <a:lnTo>
                      <a:pt x="63" y="0"/>
                    </a:lnTo>
                    <a:lnTo>
                      <a:pt x="62" y="0"/>
                    </a:lnTo>
                    <a:lnTo>
                      <a:pt x="59" y="0"/>
                    </a:lnTo>
                    <a:lnTo>
                      <a:pt x="58" y="2"/>
                    </a:lnTo>
                    <a:lnTo>
                      <a:pt x="2" y="58"/>
                    </a:lnTo>
                    <a:lnTo>
                      <a:pt x="2" y="58"/>
                    </a:lnTo>
                    <a:lnTo>
                      <a:pt x="0" y="60"/>
                    </a:lnTo>
                    <a:lnTo>
                      <a:pt x="0" y="62"/>
                    </a:lnTo>
                    <a:lnTo>
                      <a:pt x="0" y="65"/>
                    </a:lnTo>
                    <a:lnTo>
                      <a:pt x="2" y="66"/>
                    </a:lnTo>
                    <a:lnTo>
                      <a:pt x="31" y="96"/>
                    </a:lnTo>
                    <a:lnTo>
                      <a:pt x="9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267">
                <a:extLst>
                  <a:ext uri="{FF2B5EF4-FFF2-40B4-BE49-F238E27FC236}">
                    <a16:creationId xmlns:a16="http://schemas.microsoft.com/office/drawing/2014/main" id="{B394E6B1-1325-D77C-6EAB-CD2B12691767}"/>
                  </a:ext>
                </a:extLst>
              </p:cNvPr>
              <p:cNvSpPr>
                <a:spLocks noEditPoints="1"/>
              </p:cNvSpPr>
              <p:nvPr/>
            </p:nvSpPr>
            <p:spPr bwMode="auto">
              <a:xfrm>
                <a:off x="688976" y="1797050"/>
                <a:ext cx="258763" cy="258763"/>
              </a:xfrm>
              <a:custGeom>
                <a:avLst/>
                <a:gdLst>
                  <a:gd name="T0" fmla="*/ 257 w 326"/>
                  <a:gd name="T1" fmla="*/ 2 h 327"/>
                  <a:gd name="T2" fmla="*/ 255 w 326"/>
                  <a:gd name="T3" fmla="*/ 0 h 327"/>
                  <a:gd name="T4" fmla="*/ 251 w 326"/>
                  <a:gd name="T5" fmla="*/ 0 h 327"/>
                  <a:gd name="T6" fmla="*/ 198 w 326"/>
                  <a:gd name="T7" fmla="*/ 54 h 327"/>
                  <a:gd name="T8" fmla="*/ 218 w 326"/>
                  <a:gd name="T9" fmla="*/ 76 h 327"/>
                  <a:gd name="T10" fmla="*/ 219 w 326"/>
                  <a:gd name="T11" fmla="*/ 80 h 327"/>
                  <a:gd name="T12" fmla="*/ 218 w 326"/>
                  <a:gd name="T13" fmla="*/ 82 h 327"/>
                  <a:gd name="T14" fmla="*/ 216 w 326"/>
                  <a:gd name="T15" fmla="*/ 84 h 327"/>
                  <a:gd name="T16" fmla="*/ 212 w 326"/>
                  <a:gd name="T17" fmla="*/ 84 h 327"/>
                  <a:gd name="T18" fmla="*/ 189 w 326"/>
                  <a:gd name="T19" fmla="*/ 62 h 327"/>
                  <a:gd name="T20" fmla="*/ 173 w 326"/>
                  <a:gd name="T21" fmla="*/ 97 h 327"/>
                  <a:gd name="T22" fmla="*/ 173 w 326"/>
                  <a:gd name="T23" fmla="*/ 100 h 327"/>
                  <a:gd name="T24" fmla="*/ 173 w 326"/>
                  <a:gd name="T25" fmla="*/ 104 h 327"/>
                  <a:gd name="T26" fmla="*/ 173 w 326"/>
                  <a:gd name="T27" fmla="*/ 105 h 327"/>
                  <a:gd name="T28" fmla="*/ 169 w 326"/>
                  <a:gd name="T29" fmla="*/ 107 h 327"/>
                  <a:gd name="T30" fmla="*/ 165 w 326"/>
                  <a:gd name="T31" fmla="*/ 105 h 327"/>
                  <a:gd name="T32" fmla="*/ 129 w 326"/>
                  <a:gd name="T33" fmla="*/ 121 h 327"/>
                  <a:gd name="T34" fmla="*/ 151 w 326"/>
                  <a:gd name="T35" fmla="*/ 143 h 327"/>
                  <a:gd name="T36" fmla="*/ 152 w 326"/>
                  <a:gd name="T37" fmla="*/ 147 h 327"/>
                  <a:gd name="T38" fmla="*/ 151 w 326"/>
                  <a:gd name="T39" fmla="*/ 151 h 327"/>
                  <a:gd name="T40" fmla="*/ 148 w 326"/>
                  <a:gd name="T41" fmla="*/ 152 h 327"/>
                  <a:gd name="T42" fmla="*/ 144 w 326"/>
                  <a:gd name="T43" fmla="*/ 152 h 327"/>
                  <a:gd name="T44" fmla="*/ 121 w 326"/>
                  <a:gd name="T45" fmla="*/ 129 h 327"/>
                  <a:gd name="T46" fmla="*/ 105 w 326"/>
                  <a:gd name="T47" fmla="*/ 166 h 327"/>
                  <a:gd name="T48" fmla="*/ 106 w 326"/>
                  <a:gd name="T49" fmla="*/ 167 h 327"/>
                  <a:gd name="T50" fmla="*/ 106 w 326"/>
                  <a:gd name="T51" fmla="*/ 171 h 327"/>
                  <a:gd name="T52" fmla="*/ 105 w 326"/>
                  <a:gd name="T53" fmla="*/ 174 h 327"/>
                  <a:gd name="T54" fmla="*/ 101 w 326"/>
                  <a:gd name="T55" fmla="*/ 175 h 327"/>
                  <a:gd name="T56" fmla="*/ 97 w 326"/>
                  <a:gd name="T57" fmla="*/ 174 h 327"/>
                  <a:gd name="T58" fmla="*/ 62 w 326"/>
                  <a:gd name="T59" fmla="*/ 190 h 327"/>
                  <a:gd name="T60" fmla="*/ 82 w 326"/>
                  <a:gd name="T61" fmla="*/ 210 h 327"/>
                  <a:gd name="T62" fmla="*/ 85 w 326"/>
                  <a:gd name="T63" fmla="*/ 214 h 327"/>
                  <a:gd name="T64" fmla="*/ 82 w 326"/>
                  <a:gd name="T65" fmla="*/ 218 h 327"/>
                  <a:gd name="T66" fmla="*/ 81 w 326"/>
                  <a:gd name="T67" fmla="*/ 219 h 327"/>
                  <a:gd name="T68" fmla="*/ 77 w 326"/>
                  <a:gd name="T69" fmla="*/ 219 h 327"/>
                  <a:gd name="T70" fmla="*/ 54 w 326"/>
                  <a:gd name="T71" fmla="*/ 198 h 327"/>
                  <a:gd name="T72" fmla="*/ 2 w 326"/>
                  <a:gd name="T73" fmla="*/ 250 h 327"/>
                  <a:gd name="T74" fmla="*/ 0 w 326"/>
                  <a:gd name="T75" fmla="*/ 254 h 327"/>
                  <a:gd name="T76" fmla="*/ 2 w 326"/>
                  <a:gd name="T77" fmla="*/ 257 h 327"/>
                  <a:gd name="T78" fmla="*/ 69 w 326"/>
                  <a:gd name="T79" fmla="*/ 325 h 327"/>
                  <a:gd name="T80" fmla="*/ 73 w 326"/>
                  <a:gd name="T81" fmla="*/ 327 h 327"/>
                  <a:gd name="T82" fmla="*/ 75 w 326"/>
                  <a:gd name="T83" fmla="*/ 327 h 327"/>
                  <a:gd name="T84" fmla="*/ 325 w 326"/>
                  <a:gd name="T85" fmla="*/ 77 h 327"/>
                  <a:gd name="T86" fmla="*/ 326 w 326"/>
                  <a:gd name="T87" fmla="*/ 76 h 327"/>
                  <a:gd name="T88" fmla="*/ 326 w 326"/>
                  <a:gd name="T89" fmla="*/ 72 h 327"/>
                  <a:gd name="T90" fmla="*/ 325 w 326"/>
                  <a:gd name="T91" fmla="*/ 69 h 327"/>
                  <a:gd name="T92" fmla="*/ 267 w 326"/>
                  <a:gd name="T93" fmla="*/ 96 h 327"/>
                  <a:gd name="T94" fmla="*/ 258 w 326"/>
                  <a:gd name="T95" fmla="*/ 92 h 327"/>
                  <a:gd name="T96" fmla="*/ 253 w 326"/>
                  <a:gd name="T97" fmla="*/ 82 h 327"/>
                  <a:gd name="T98" fmla="*/ 254 w 326"/>
                  <a:gd name="T99" fmla="*/ 77 h 327"/>
                  <a:gd name="T100" fmla="*/ 262 w 326"/>
                  <a:gd name="T101" fmla="*/ 69 h 327"/>
                  <a:gd name="T102" fmla="*/ 267 w 326"/>
                  <a:gd name="T103" fmla="*/ 68 h 327"/>
                  <a:gd name="T104" fmla="*/ 277 w 326"/>
                  <a:gd name="T105" fmla="*/ 72 h 327"/>
                  <a:gd name="T106" fmla="*/ 281 w 326"/>
                  <a:gd name="T107" fmla="*/ 82 h 327"/>
                  <a:gd name="T108" fmla="*/ 281 w 326"/>
                  <a:gd name="T109" fmla="*/ 88 h 327"/>
                  <a:gd name="T110" fmla="*/ 273 w 326"/>
                  <a:gd name="T111" fmla="*/ 94 h 327"/>
                  <a:gd name="T112" fmla="*/ 267 w 326"/>
                  <a:gd name="T113" fmla="*/ 9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7">
                    <a:moveTo>
                      <a:pt x="325" y="69"/>
                    </a:moveTo>
                    <a:lnTo>
                      <a:pt x="257" y="2"/>
                    </a:lnTo>
                    <a:lnTo>
                      <a:pt x="257" y="2"/>
                    </a:lnTo>
                    <a:lnTo>
                      <a:pt x="255" y="0"/>
                    </a:lnTo>
                    <a:lnTo>
                      <a:pt x="253" y="0"/>
                    </a:lnTo>
                    <a:lnTo>
                      <a:pt x="251" y="0"/>
                    </a:lnTo>
                    <a:lnTo>
                      <a:pt x="249" y="2"/>
                    </a:lnTo>
                    <a:lnTo>
                      <a:pt x="198" y="54"/>
                    </a:lnTo>
                    <a:lnTo>
                      <a:pt x="218" y="76"/>
                    </a:lnTo>
                    <a:lnTo>
                      <a:pt x="218" y="76"/>
                    </a:lnTo>
                    <a:lnTo>
                      <a:pt x="219" y="77"/>
                    </a:lnTo>
                    <a:lnTo>
                      <a:pt x="219" y="80"/>
                    </a:lnTo>
                    <a:lnTo>
                      <a:pt x="219" y="81"/>
                    </a:lnTo>
                    <a:lnTo>
                      <a:pt x="218" y="82"/>
                    </a:lnTo>
                    <a:lnTo>
                      <a:pt x="218" y="82"/>
                    </a:lnTo>
                    <a:lnTo>
                      <a:pt x="216" y="84"/>
                    </a:lnTo>
                    <a:lnTo>
                      <a:pt x="214" y="85"/>
                    </a:lnTo>
                    <a:lnTo>
                      <a:pt x="212" y="84"/>
                    </a:lnTo>
                    <a:lnTo>
                      <a:pt x="210" y="82"/>
                    </a:lnTo>
                    <a:lnTo>
                      <a:pt x="189" y="62"/>
                    </a:lnTo>
                    <a:lnTo>
                      <a:pt x="163" y="88"/>
                    </a:lnTo>
                    <a:lnTo>
                      <a:pt x="173" y="97"/>
                    </a:lnTo>
                    <a:lnTo>
                      <a:pt x="173" y="97"/>
                    </a:lnTo>
                    <a:lnTo>
                      <a:pt x="173" y="100"/>
                    </a:lnTo>
                    <a:lnTo>
                      <a:pt x="175" y="101"/>
                    </a:lnTo>
                    <a:lnTo>
                      <a:pt x="173" y="104"/>
                    </a:lnTo>
                    <a:lnTo>
                      <a:pt x="173" y="105"/>
                    </a:lnTo>
                    <a:lnTo>
                      <a:pt x="173" y="105"/>
                    </a:lnTo>
                    <a:lnTo>
                      <a:pt x="171" y="107"/>
                    </a:lnTo>
                    <a:lnTo>
                      <a:pt x="169" y="107"/>
                    </a:lnTo>
                    <a:lnTo>
                      <a:pt x="167" y="107"/>
                    </a:lnTo>
                    <a:lnTo>
                      <a:pt x="165" y="105"/>
                    </a:lnTo>
                    <a:lnTo>
                      <a:pt x="155" y="96"/>
                    </a:lnTo>
                    <a:lnTo>
                      <a:pt x="129" y="121"/>
                    </a:lnTo>
                    <a:lnTo>
                      <a:pt x="151" y="143"/>
                    </a:lnTo>
                    <a:lnTo>
                      <a:pt x="151" y="143"/>
                    </a:lnTo>
                    <a:lnTo>
                      <a:pt x="152" y="144"/>
                    </a:lnTo>
                    <a:lnTo>
                      <a:pt x="152" y="147"/>
                    </a:lnTo>
                    <a:lnTo>
                      <a:pt x="152" y="148"/>
                    </a:lnTo>
                    <a:lnTo>
                      <a:pt x="151" y="151"/>
                    </a:lnTo>
                    <a:lnTo>
                      <a:pt x="151" y="151"/>
                    </a:lnTo>
                    <a:lnTo>
                      <a:pt x="148" y="152"/>
                    </a:lnTo>
                    <a:lnTo>
                      <a:pt x="147" y="152"/>
                    </a:lnTo>
                    <a:lnTo>
                      <a:pt x="144" y="152"/>
                    </a:lnTo>
                    <a:lnTo>
                      <a:pt x="143" y="151"/>
                    </a:lnTo>
                    <a:lnTo>
                      <a:pt x="121" y="129"/>
                    </a:lnTo>
                    <a:lnTo>
                      <a:pt x="96" y="155"/>
                    </a:lnTo>
                    <a:lnTo>
                      <a:pt x="105" y="166"/>
                    </a:lnTo>
                    <a:lnTo>
                      <a:pt x="105" y="166"/>
                    </a:lnTo>
                    <a:lnTo>
                      <a:pt x="106" y="167"/>
                    </a:lnTo>
                    <a:lnTo>
                      <a:pt x="106" y="170"/>
                    </a:lnTo>
                    <a:lnTo>
                      <a:pt x="106" y="171"/>
                    </a:lnTo>
                    <a:lnTo>
                      <a:pt x="105" y="174"/>
                    </a:lnTo>
                    <a:lnTo>
                      <a:pt x="105" y="174"/>
                    </a:lnTo>
                    <a:lnTo>
                      <a:pt x="104" y="174"/>
                    </a:lnTo>
                    <a:lnTo>
                      <a:pt x="101" y="175"/>
                    </a:lnTo>
                    <a:lnTo>
                      <a:pt x="100" y="174"/>
                    </a:lnTo>
                    <a:lnTo>
                      <a:pt x="97" y="174"/>
                    </a:lnTo>
                    <a:lnTo>
                      <a:pt x="87" y="163"/>
                    </a:lnTo>
                    <a:lnTo>
                      <a:pt x="62" y="190"/>
                    </a:lnTo>
                    <a:lnTo>
                      <a:pt x="82" y="210"/>
                    </a:lnTo>
                    <a:lnTo>
                      <a:pt x="82" y="210"/>
                    </a:lnTo>
                    <a:lnTo>
                      <a:pt x="83" y="213"/>
                    </a:lnTo>
                    <a:lnTo>
                      <a:pt x="85" y="214"/>
                    </a:lnTo>
                    <a:lnTo>
                      <a:pt x="83" y="217"/>
                    </a:lnTo>
                    <a:lnTo>
                      <a:pt x="82" y="218"/>
                    </a:lnTo>
                    <a:lnTo>
                      <a:pt x="82" y="218"/>
                    </a:lnTo>
                    <a:lnTo>
                      <a:pt x="81" y="219"/>
                    </a:lnTo>
                    <a:lnTo>
                      <a:pt x="78" y="219"/>
                    </a:lnTo>
                    <a:lnTo>
                      <a:pt x="77" y="219"/>
                    </a:lnTo>
                    <a:lnTo>
                      <a:pt x="75" y="218"/>
                    </a:lnTo>
                    <a:lnTo>
                      <a:pt x="54" y="198"/>
                    </a:lnTo>
                    <a:lnTo>
                      <a:pt x="2" y="250"/>
                    </a:lnTo>
                    <a:lnTo>
                      <a:pt x="2" y="250"/>
                    </a:lnTo>
                    <a:lnTo>
                      <a:pt x="0" y="252"/>
                    </a:lnTo>
                    <a:lnTo>
                      <a:pt x="0" y="254"/>
                    </a:lnTo>
                    <a:lnTo>
                      <a:pt x="0" y="256"/>
                    </a:lnTo>
                    <a:lnTo>
                      <a:pt x="2" y="257"/>
                    </a:lnTo>
                    <a:lnTo>
                      <a:pt x="69" y="325"/>
                    </a:lnTo>
                    <a:lnTo>
                      <a:pt x="69" y="325"/>
                    </a:lnTo>
                    <a:lnTo>
                      <a:pt x="71" y="327"/>
                    </a:lnTo>
                    <a:lnTo>
                      <a:pt x="73" y="327"/>
                    </a:lnTo>
                    <a:lnTo>
                      <a:pt x="73" y="327"/>
                    </a:lnTo>
                    <a:lnTo>
                      <a:pt x="75" y="327"/>
                    </a:lnTo>
                    <a:lnTo>
                      <a:pt x="77" y="325"/>
                    </a:lnTo>
                    <a:lnTo>
                      <a:pt x="325" y="77"/>
                    </a:lnTo>
                    <a:lnTo>
                      <a:pt x="325" y="77"/>
                    </a:lnTo>
                    <a:lnTo>
                      <a:pt x="326" y="76"/>
                    </a:lnTo>
                    <a:lnTo>
                      <a:pt x="326" y="73"/>
                    </a:lnTo>
                    <a:lnTo>
                      <a:pt x="326" y="72"/>
                    </a:lnTo>
                    <a:lnTo>
                      <a:pt x="325" y="69"/>
                    </a:lnTo>
                    <a:lnTo>
                      <a:pt x="325" y="69"/>
                    </a:lnTo>
                    <a:close/>
                    <a:moveTo>
                      <a:pt x="267" y="96"/>
                    </a:moveTo>
                    <a:lnTo>
                      <a:pt x="267" y="96"/>
                    </a:lnTo>
                    <a:lnTo>
                      <a:pt x="262" y="94"/>
                    </a:lnTo>
                    <a:lnTo>
                      <a:pt x="258" y="92"/>
                    </a:lnTo>
                    <a:lnTo>
                      <a:pt x="254" y="88"/>
                    </a:lnTo>
                    <a:lnTo>
                      <a:pt x="253" y="82"/>
                    </a:lnTo>
                    <a:lnTo>
                      <a:pt x="253" y="82"/>
                    </a:lnTo>
                    <a:lnTo>
                      <a:pt x="254" y="77"/>
                    </a:lnTo>
                    <a:lnTo>
                      <a:pt x="258" y="72"/>
                    </a:lnTo>
                    <a:lnTo>
                      <a:pt x="262" y="69"/>
                    </a:lnTo>
                    <a:lnTo>
                      <a:pt x="267" y="68"/>
                    </a:lnTo>
                    <a:lnTo>
                      <a:pt x="267" y="68"/>
                    </a:lnTo>
                    <a:lnTo>
                      <a:pt x="273" y="69"/>
                    </a:lnTo>
                    <a:lnTo>
                      <a:pt x="277" y="72"/>
                    </a:lnTo>
                    <a:lnTo>
                      <a:pt x="281" y="77"/>
                    </a:lnTo>
                    <a:lnTo>
                      <a:pt x="281" y="82"/>
                    </a:lnTo>
                    <a:lnTo>
                      <a:pt x="281" y="82"/>
                    </a:lnTo>
                    <a:lnTo>
                      <a:pt x="281" y="88"/>
                    </a:lnTo>
                    <a:lnTo>
                      <a:pt x="277" y="92"/>
                    </a:lnTo>
                    <a:lnTo>
                      <a:pt x="273" y="94"/>
                    </a:lnTo>
                    <a:lnTo>
                      <a:pt x="267" y="96"/>
                    </a:lnTo>
                    <a:lnTo>
                      <a:pt x="26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268">
                <a:extLst>
                  <a:ext uri="{FF2B5EF4-FFF2-40B4-BE49-F238E27FC236}">
                    <a16:creationId xmlns:a16="http://schemas.microsoft.com/office/drawing/2014/main" id="{94FAAFFF-7EE0-AA3A-DB5C-94443EE79A2B}"/>
                  </a:ext>
                </a:extLst>
              </p:cNvPr>
              <p:cNvSpPr>
                <a:spLocks/>
              </p:cNvSpPr>
              <p:nvPr/>
            </p:nvSpPr>
            <p:spPr bwMode="auto">
              <a:xfrm>
                <a:off x="828676" y="1936750"/>
                <a:ext cx="104775" cy="104775"/>
              </a:xfrm>
              <a:custGeom>
                <a:avLst/>
                <a:gdLst>
                  <a:gd name="T0" fmla="*/ 0 w 133"/>
                  <a:gd name="T1" fmla="*/ 63 h 131"/>
                  <a:gd name="T2" fmla="*/ 65 w 133"/>
                  <a:gd name="T3" fmla="*/ 0 h 131"/>
                  <a:gd name="T4" fmla="*/ 133 w 133"/>
                  <a:gd name="T5" fmla="*/ 68 h 131"/>
                  <a:gd name="T6" fmla="*/ 69 w 133"/>
                  <a:gd name="T7" fmla="*/ 131 h 131"/>
                  <a:gd name="T8" fmla="*/ 0 w 133"/>
                  <a:gd name="T9" fmla="*/ 63 h 131"/>
                </a:gdLst>
                <a:ahLst/>
                <a:cxnLst>
                  <a:cxn ang="0">
                    <a:pos x="T0" y="T1"/>
                  </a:cxn>
                  <a:cxn ang="0">
                    <a:pos x="T2" y="T3"/>
                  </a:cxn>
                  <a:cxn ang="0">
                    <a:pos x="T4" y="T5"/>
                  </a:cxn>
                  <a:cxn ang="0">
                    <a:pos x="T6" y="T7"/>
                  </a:cxn>
                  <a:cxn ang="0">
                    <a:pos x="T8" y="T9"/>
                  </a:cxn>
                </a:cxnLst>
                <a:rect l="0" t="0" r="r" b="b"/>
                <a:pathLst>
                  <a:path w="133" h="131">
                    <a:moveTo>
                      <a:pt x="0" y="63"/>
                    </a:moveTo>
                    <a:lnTo>
                      <a:pt x="65" y="0"/>
                    </a:lnTo>
                    <a:lnTo>
                      <a:pt x="133" y="68"/>
                    </a:lnTo>
                    <a:lnTo>
                      <a:pt x="69" y="131"/>
                    </a:lnTo>
                    <a:lnTo>
                      <a:pt x="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269">
                <a:extLst>
                  <a:ext uri="{FF2B5EF4-FFF2-40B4-BE49-F238E27FC236}">
                    <a16:creationId xmlns:a16="http://schemas.microsoft.com/office/drawing/2014/main" id="{D7FE6D40-DDE2-4CFA-D27C-098FAF204678}"/>
                  </a:ext>
                </a:extLst>
              </p:cNvPr>
              <p:cNvSpPr>
                <a:spLocks/>
              </p:cNvSpPr>
              <p:nvPr/>
            </p:nvSpPr>
            <p:spPr bwMode="auto">
              <a:xfrm>
                <a:off x="719138" y="1827213"/>
                <a:ext cx="87313" cy="87313"/>
              </a:xfrm>
              <a:custGeom>
                <a:avLst/>
                <a:gdLst>
                  <a:gd name="T0" fmla="*/ 0 w 110"/>
                  <a:gd name="T1" fmla="*/ 65 h 111"/>
                  <a:gd name="T2" fmla="*/ 65 w 110"/>
                  <a:gd name="T3" fmla="*/ 0 h 111"/>
                  <a:gd name="T4" fmla="*/ 110 w 110"/>
                  <a:gd name="T5" fmla="*/ 46 h 111"/>
                  <a:gd name="T6" fmla="*/ 46 w 110"/>
                  <a:gd name="T7" fmla="*/ 111 h 111"/>
                  <a:gd name="T8" fmla="*/ 0 w 110"/>
                  <a:gd name="T9" fmla="*/ 65 h 111"/>
                </a:gdLst>
                <a:ahLst/>
                <a:cxnLst>
                  <a:cxn ang="0">
                    <a:pos x="T0" y="T1"/>
                  </a:cxn>
                  <a:cxn ang="0">
                    <a:pos x="T2" y="T3"/>
                  </a:cxn>
                  <a:cxn ang="0">
                    <a:pos x="T4" y="T5"/>
                  </a:cxn>
                  <a:cxn ang="0">
                    <a:pos x="T6" y="T7"/>
                  </a:cxn>
                  <a:cxn ang="0">
                    <a:pos x="T8" y="T9"/>
                  </a:cxn>
                </a:cxnLst>
                <a:rect l="0" t="0" r="r" b="b"/>
                <a:pathLst>
                  <a:path w="110" h="111">
                    <a:moveTo>
                      <a:pt x="0" y="65"/>
                    </a:moveTo>
                    <a:lnTo>
                      <a:pt x="65" y="0"/>
                    </a:lnTo>
                    <a:lnTo>
                      <a:pt x="110" y="46"/>
                    </a:lnTo>
                    <a:lnTo>
                      <a:pt x="46" y="111"/>
                    </a:lnTo>
                    <a:lnTo>
                      <a:pt x="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6" name="Group 55">
              <a:extLst>
                <a:ext uri="{FF2B5EF4-FFF2-40B4-BE49-F238E27FC236}">
                  <a16:creationId xmlns:a16="http://schemas.microsoft.com/office/drawing/2014/main" id="{997CC6B1-C9F4-1B9E-D8FE-B6CC36D9E97B}"/>
                </a:ext>
              </a:extLst>
            </p:cNvPr>
            <p:cNvGrpSpPr>
              <a:grpSpLocks/>
            </p:cNvGrpSpPr>
            <p:nvPr/>
          </p:nvGrpSpPr>
          <p:grpSpPr>
            <a:xfrm>
              <a:off x="10078557" y="2703980"/>
              <a:ext cx="360719" cy="361815"/>
              <a:chOff x="7597776" y="2497138"/>
              <a:chExt cx="520700" cy="522288"/>
            </a:xfrm>
            <a:grpFill/>
          </p:grpSpPr>
          <p:sp>
            <p:nvSpPr>
              <p:cNvPr id="57" name="Freeform 50">
                <a:extLst>
                  <a:ext uri="{FF2B5EF4-FFF2-40B4-BE49-F238E27FC236}">
                    <a16:creationId xmlns:a16="http://schemas.microsoft.com/office/drawing/2014/main" id="{F03CC45D-9297-F0ED-C1A7-D576C317E58A}"/>
                  </a:ext>
                </a:extLst>
              </p:cNvPr>
              <p:cNvSpPr>
                <a:spLocks noEditPoints="1"/>
              </p:cNvSpPr>
              <p:nvPr/>
            </p:nvSpPr>
            <p:spPr bwMode="auto">
              <a:xfrm>
                <a:off x="7597776" y="2497138"/>
                <a:ext cx="520700" cy="522288"/>
              </a:xfrm>
              <a:custGeom>
                <a:avLst/>
                <a:gdLst>
                  <a:gd name="T0" fmla="*/ 312 w 657"/>
                  <a:gd name="T1" fmla="*/ 657 h 658"/>
                  <a:gd name="T2" fmla="*/ 262 w 657"/>
                  <a:gd name="T3" fmla="*/ 652 h 658"/>
                  <a:gd name="T4" fmla="*/ 200 w 657"/>
                  <a:gd name="T5" fmla="*/ 631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2 h 658"/>
                  <a:gd name="T22" fmla="*/ 96 w 657"/>
                  <a:gd name="T23" fmla="*/ 97 h 658"/>
                  <a:gd name="T24" fmla="*/ 172 w 657"/>
                  <a:gd name="T25" fmla="*/ 40 h 658"/>
                  <a:gd name="T26" fmla="*/ 246 w 657"/>
                  <a:gd name="T27" fmla="*/ 11 h 658"/>
                  <a:gd name="T28" fmla="*/ 294 w 657"/>
                  <a:gd name="T29" fmla="*/ 1 h 658"/>
                  <a:gd name="T30" fmla="*/ 328 w 657"/>
                  <a:gd name="T31" fmla="*/ 0 h 658"/>
                  <a:gd name="T32" fmla="*/ 378 w 657"/>
                  <a:gd name="T33" fmla="*/ 4 h 658"/>
                  <a:gd name="T34" fmla="*/ 426 w 657"/>
                  <a:gd name="T35" fmla="*/ 15 h 658"/>
                  <a:gd name="T36" fmla="*/ 512 w 657"/>
                  <a:gd name="T37" fmla="*/ 57 h 658"/>
                  <a:gd name="T38" fmla="*/ 582 w 657"/>
                  <a:gd name="T39" fmla="*/ 120 h 658"/>
                  <a:gd name="T40" fmla="*/ 632 w 657"/>
                  <a:gd name="T41" fmla="*/ 202 h 658"/>
                  <a:gd name="T42" fmla="*/ 650 w 657"/>
                  <a:gd name="T43" fmla="*/ 263 h 658"/>
                  <a:gd name="T44" fmla="*/ 657 w 657"/>
                  <a:gd name="T45" fmla="*/ 312 h 658"/>
                  <a:gd name="T46" fmla="*/ 657 w 657"/>
                  <a:gd name="T47" fmla="*/ 347 h 658"/>
                  <a:gd name="T48" fmla="*/ 650 w 657"/>
                  <a:gd name="T49" fmla="*/ 395 h 658"/>
                  <a:gd name="T50" fmla="*/ 632 w 657"/>
                  <a:gd name="T51" fmla="*/ 457 h 658"/>
                  <a:gd name="T52" fmla="*/ 582 w 657"/>
                  <a:gd name="T53" fmla="*/ 539 h 658"/>
                  <a:gd name="T54" fmla="*/ 512 w 657"/>
                  <a:gd name="T55" fmla="*/ 602 h 658"/>
                  <a:gd name="T56" fmla="*/ 426 w 657"/>
                  <a:gd name="T57" fmla="*/ 644 h 658"/>
                  <a:gd name="T58" fmla="*/ 378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5 w 657"/>
                  <a:gd name="T81" fmla="*/ 571 h 658"/>
                  <a:gd name="T82" fmla="*/ 242 w 657"/>
                  <a:gd name="T83" fmla="*/ 607 h 658"/>
                  <a:gd name="T84" fmla="*/ 328 w 657"/>
                  <a:gd name="T85" fmla="*/ 621 h 658"/>
                  <a:gd name="T86" fmla="*/ 387 w 657"/>
                  <a:gd name="T87" fmla="*/ 614 h 658"/>
                  <a:gd name="T88" fmla="*/ 468 w 657"/>
                  <a:gd name="T89" fmla="*/ 586 h 658"/>
                  <a:gd name="T90" fmla="*/ 533 w 657"/>
                  <a:gd name="T91" fmla="*/ 535 h 658"/>
                  <a:gd name="T92" fmla="*/ 585 w 657"/>
                  <a:gd name="T93" fmla="*/ 468 h 658"/>
                  <a:gd name="T94" fmla="*/ 614 w 657"/>
                  <a:gd name="T95" fmla="*/ 388 h 658"/>
                  <a:gd name="T96" fmla="*/ 619 w 657"/>
                  <a:gd name="T97" fmla="*/ 329 h 658"/>
                  <a:gd name="T98" fmla="*/ 606 w 657"/>
                  <a:gd name="T99" fmla="*/ 243 h 658"/>
                  <a:gd name="T100" fmla="*/ 570 w 657"/>
                  <a:gd name="T101" fmla="*/ 167 h 658"/>
                  <a:gd name="T102" fmla="*/ 513 w 657"/>
                  <a:gd name="T103" fmla="*/ 105 h 658"/>
                  <a:gd name="T104" fmla="*/ 442 w 657"/>
                  <a:gd name="T105" fmla="*/ 61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7"/>
                    </a:lnTo>
                    <a:lnTo>
                      <a:pt x="294" y="656"/>
                    </a:lnTo>
                    <a:lnTo>
                      <a:pt x="278" y="654"/>
                    </a:lnTo>
                    <a:lnTo>
                      <a:pt x="262" y="652"/>
                    </a:lnTo>
                    <a:lnTo>
                      <a:pt x="246" y="648"/>
                    </a:lnTo>
                    <a:lnTo>
                      <a:pt x="231" y="644"/>
                    </a:lnTo>
                    <a:lnTo>
                      <a:pt x="200" y="631"/>
                    </a:lnTo>
                    <a:lnTo>
                      <a:pt x="172" y="618"/>
                    </a:lnTo>
                    <a:lnTo>
                      <a:pt x="145" y="602"/>
                    </a:lnTo>
                    <a:lnTo>
                      <a:pt x="120" y="583"/>
                    </a:lnTo>
                    <a:lnTo>
                      <a:pt x="96" y="562"/>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2"/>
                    </a:lnTo>
                    <a:lnTo>
                      <a:pt x="2" y="296"/>
                    </a:lnTo>
                    <a:lnTo>
                      <a:pt x="3" y="280"/>
                    </a:lnTo>
                    <a:lnTo>
                      <a:pt x="6" y="263"/>
                    </a:lnTo>
                    <a:lnTo>
                      <a:pt x="10" y="247"/>
                    </a:lnTo>
                    <a:lnTo>
                      <a:pt x="15" y="231"/>
                    </a:lnTo>
                    <a:lnTo>
                      <a:pt x="26" y="202"/>
                    </a:lnTo>
                    <a:lnTo>
                      <a:pt x="39" y="172"/>
                    </a:lnTo>
                    <a:lnTo>
                      <a:pt x="55" y="145"/>
                    </a:lnTo>
                    <a:lnTo>
                      <a:pt x="74" y="120"/>
                    </a:lnTo>
                    <a:lnTo>
                      <a:pt x="96" y="97"/>
                    </a:lnTo>
                    <a:lnTo>
                      <a:pt x="120" y="75"/>
                    </a:lnTo>
                    <a:lnTo>
                      <a:pt x="145" y="57"/>
                    </a:lnTo>
                    <a:lnTo>
                      <a:pt x="172" y="40"/>
                    </a:lnTo>
                    <a:lnTo>
                      <a:pt x="200" y="26"/>
                    </a:lnTo>
                    <a:lnTo>
                      <a:pt x="231" y="15"/>
                    </a:lnTo>
                    <a:lnTo>
                      <a:pt x="246" y="11"/>
                    </a:lnTo>
                    <a:lnTo>
                      <a:pt x="262" y="7"/>
                    </a:lnTo>
                    <a:lnTo>
                      <a:pt x="278" y="4"/>
                    </a:lnTo>
                    <a:lnTo>
                      <a:pt x="294" y="1"/>
                    </a:lnTo>
                    <a:lnTo>
                      <a:pt x="312" y="1"/>
                    </a:lnTo>
                    <a:lnTo>
                      <a:pt x="328" y="0"/>
                    </a:lnTo>
                    <a:lnTo>
                      <a:pt x="328" y="0"/>
                    </a:lnTo>
                    <a:lnTo>
                      <a:pt x="345" y="1"/>
                    </a:lnTo>
                    <a:lnTo>
                      <a:pt x="362" y="1"/>
                    </a:lnTo>
                    <a:lnTo>
                      <a:pt x="378" y="4"/>
                    </a:lnTo>
                    <a:lnTo>
                      <a:pt x="395" y="7"/>
                    </a:lnTo>
                    <a:lnTo>
                      <a:pt x="410" y="11"/>
                    </a:lnTo>
                    <a:lnTo>
                      <a:pt x="426" y="15"/>
                    </a:lnTo>
                    <a:lnTo>
                      <a:pt x="456" y="26"/>
                    </a:lnTo>
                    <a:lnTo>
                      <a:pt x="485" y="40"/>
                    </a:lnTo>
                    <a:lnTo>
                      <a:pt x="512" y="57"/>
                    </a:lnTo>
                    <a:lnTo>
                      <a:pt x="538" y="75"/>
                    </a:lnTo>
                    <a:lnTo>
                      <a:pt x="560" y="97"/>
                    </a:lnTo>
                    <a:lnTo>
                      <a:pt x="582" y="120"/>
                    </a:lnTo>
                    <a:lnTo>
                      <a:pt x="601" y="145"/>
                    </a:lnTo>
                    <a:lnTo>
                      <a:pt x="617" y="172"/>
                    </a:lnTo>
                    <a:lnTo>
                      <a:pt x="632" y="202"/>
                    </a:lnTo>
                    <a:lnTo>
                      <a:pt x="642" y="231"/>
                    </a:lnTo>
                    <a:lnTo>
                      <a:pt x="646" y="247"/>
                    </a:lnTo>
                    <a:lnTo>
                      <a:pt x="650" y="263"/>
                    </a:lnTo>
                    <a:lnTo>
                      <a:pt x="653" y="280"/>
                    </a:lnTo>
                    <a:lnTo>
                      <a:pt x="656" y="296"/>
                    </a:lnTo>
                    <a:lnTo>
                      <a:pt x="657" y="312"/>
                    </a:lnTo>
                    <a:lnTo>
                      <a:pt x="657" y="329"/>
                    </a:lnTo>
                    <a:lnTo>
                      <a:pt x="657" y="329"/>
                    </a:lnTo>
                    <a:lnTo>
                      <a:pt x="657" y="347"/>
                    </a:lnTo>
                    <a:lnTo>
                      <a:pt x="656" y="363"/>
                    </a:lnTo>
                    <a:lnTo>
                      <a:pt x="653" y="379"/>
                    </a:lnTo>
                    <a:lnTo>
                      <a:pt x="650" y="395"/>
                    </a:lnTo>
                    <a:lnTo>
                      <a:pt x="646" y="411"/>
                    </a:lnTo>
                    <a:lnTo>
                      <a:pt x="642" y="427"/>
                    </a:lnTo>
                    <a:lnTo>
                      <a:pt x="632" y="457"/>
                    </a:lnTo>
                    <a:lnTo>
                      <a:pt x="617" y="486"/>
                    </a:lnTo>
                    <a:lnTo>
                      <a:pt x="601" y="513"/>
                    </a:lnTo>
                    <a:lnTo>
                      <a:pt x="582" y="539"/>
                    </a:lnTo>
                    <a:lnTo>
                      <a:pt x="560" y="562"/>
                    </a:lnTo>
                    <a:lnTo>
                      <a:pt x="538" y="583"/>
                    </a:lnTo>
                    <a:lnTo>
                      <a:pt x="512" y="602"/>
                    </a:lnTo>
                    <a:lnTo>
                      <a:pt x="485" y="618"/>
                    </a:lnTo>
                    <a:lnTo>
                      <a:pt x="456" y="631"/>
                    </a:lnTo>
                    <a:lnTo>
                      <a:pt x="426" y="644"/>
                    </a:lnTo>
                    <a:lnTo>
                      <a:pt x="410" y="648"/>
                    </a:lnTo>
                    <a:lnTo>
                      <a:pt x="395" y="652"/>
                    </a:lnTo>
                    <a:lnTo>
                      <a:pt x="378" y="654"/>
                    </a:lnTo>
                    <a:lnTo>
                      <a:pt x="362" y="656"/>
                    </a:lnTo>
                    <a:lnTo>
                      <a:pt x="345" y="657"/>
                    </a:lnTo>
                    <a:lnTo>
                      <a:pt x="328" y="658"/>
                    </a:lnTo>
                    <a:lnTo>
                      <a:pt x="328" y="658"/>
                    </a:lnTo>
                    <a:close/>
                    <a:moveTo>
                      <a:pt x="328" y="38"/>
                    </a:moveTo>
                    <a:lnTo>
                      <a:pt x="328" y="38"/>
                    </a:lnTo>
                    <a:lnTo>
                      <a:pt x="298" y="39"/>
                    </a:lnTo>
                    <a:lnTo>
                      <a:pt x="270" y="44"/>
                    </a:lnTo>
                    <a:lnTo>
                      <a:pt x="242" y="51"/>
                    </a:lnTo>
                    <a:lnTo>
                      <a:pt x="215" y="61"/>
                    </a:lnTo>
                    <a:lnTo>
                      <a:pt x="190" y="73"/>
                    </a:lnTo>
                    <a:lnTo>
                      <a:pt x="165" y="87"/>
                    </a:lnTo>
                    <a:lnTo>
                      <a:pt x="143" y="105"/>
                    </a:lnTo>
                    <a:lnTo>
                      <a:pt x="122" y="124"/>
                    </a:lnTo>
                    <a:lnTo>
                      <a:pt x="104" y="144"/>
                    </a:lnTo>
                    <a:lnTo>
                      <a:pt x="88"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8"/>
                    </a:lnTo>
                    <a:lnTo>
                      <a:pt x="88" y="492"/>
                    </a:lnTo>
                    <a:lnTo>
                      <a:pt x="104" y="515"/>
                    </a:lnTo>
                    <a:lnTo>
                      <a:pt x="122" y="535"/>
                    </a:lnTo>
                    <a:lnTo>
                      <a:pt x="143" y="554"/>
                    </a:lnTo>
                    <a:lnTo>
                      <a:pt x="165" y="571"/>
                    </a:lnTo>
                    <a:lnTo>
                      <a:pt x="190" y="586"/>
                    </a:lnTo>
                    <a:lnTo>
                      <a:pt x="215" y="598"/>
                    </a:lnTo>
                    <a:lnTo>
                      <a:pt x="242" y="607"/>
                    </a:lnTo>
                    <a:lnTo>
                      <a:pt x="270" y="614"/>
                    </a:lnTo>
                    <a:lnTo>
                      <a:pt x="298" y="619"/>
                    </a:lnTo>
                    <a:lnTo>
                      <a:pt x="328" y="621"/>
                    </a:lnTo>
                    <a:lnTo>
                      <a:pt x="328" y="621"/>
                    </a:lnTo>
                    <a:lnTo>
                      <a:pt x="358" y="619"/>
                    </a:lnTo>
                    <a:lnTo>
                      <a:pt x="387" y="614"/>
                    </a:lnTo>
                    <a:lnTo>
                      <a:pt x="415" y="607"/>
                    </a:lnTo>
                    <a:lnTo>
                      <a:pt x="442" y="598"/>
                    </a:lnTo>
                    <a:lnTo>
                      <a:pt x="468" y="586"/>
                    </a:lnTo>
                    <a:lnTo>
                      <a:pt x="491" y="571"/>
                    </a:lnTo>
                    <a:lnTo>
                      <a:pt x="513" y="554"/>
                    </a:lnTo>
                    <a:lnTo>
                      <a:pt x="533" y="535"/>
                    </a:lnTo>
                    <a:lnTo>
                      <a:pt x="552" y="515"/>
                    </a:lnTo>
                    <a:lnTo>
                      <a:pt x="570" y="492"/>
                    </a:lnTo>
                    <a:lnTo>
                      <a:pt x="585" y="468"/>
                    </a:lnTo>
                    <a:lnTo>
                      <a:pt x="597" y="442"/>
                    </a:lnTo>
                    <a:lnTo>
                      <a:pt x="606" y="415"/>
                    </a:lnTo>
                    <a:lnTo>
                      <a:pt x="614" y="388"/>
                    </a:lnTo>
                    <a:lnTo>
                      <a:pt x="618" y="359"/>
                    </a:lnTo>
                    <a:lnTo>
                      <a:pt x="619" y="329"/>
                    </a:lnTo>
                    <a:lnTo>
                      <a:pt x="619" y="329"/>
                    </a:lnTo>
                    <a:lnTo>
                      <a:pt x="618" y="300"/>
                    </a:lnTo>
                    <a:lnTo>
                      <a:pt x="614" y="270"/>
                    </a:lnTo>
                    <a:lnTo>
                      <a:pt x="606" y="243"/>
                    </a:lnTo>
                    <a:lnTo>
                      <a:pt x="597" y="216"/>
                    </a:lnTo>
                    <a:lnTo>
                      <a:pt x="585" y="191"/>
                    </a:lnTo>
                    <a:lnTo>
                      <a:pt x="570" y="167"/>
                    </a:lnTo>
                    <a:lnTo>
                      <a:pt x="552" y="144"/>
                    </a:lnTo>
                    <a:lnTo>
                      <a:pt x="533" y="124"/>
                    </a:lnTo>
                    <a:lnTo>
                      <a:pt x="513" y="105"/>
                    </a:lnTo>
                    <a:lnTo>
                      <a:pt x="491" y="87"/>
                    </a:lnTo>
                    <a:lnTo>
                      <a:pt x="468" y="73"/>
                    </a:lnTo>
                    <a:lnTo>
                      <a:pt x="442" y="61"/>
                    </a:lnTo>
                    <a:lnTo>
                      <a:pt x="415" y="51"/>
                    </a:lnTo>
                    <a:lnTo>
                      <a:pt x="387" y="44"/>
                    </a:lnTo>
                    <a:lnTo>
                      <a:pt x="358"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350">
                <a:extLst>
                  <a:ext uri="{FF2B5EF4-FFF2-40B4-BE49-F238E27FC236}">
                    <a16:creationId xmlns:a16="http://schemas.microsoft.com/office/drawing/2014/main" id="{5C18E1B5-FDE2-4D7C-3F9C-5AA004AD147C}"/>
                  </a:ext>
                </a:extLst>
              </p:cNvPr>
              <p:cNvSpPr>
                <a:spLocks noEditPoints="1"/>
              </p:cNvSpPr>
              <p:nvPr/>
            </p:nvSpPr>
            <p:spPr bwMode="auto">
              <a:xfrm>
                <a:off x="7750176" y="2638425"/>
                <a:ext cx="214313" cy="239713"/>
              </a:xfrm>
              <a:custGeom>
                <a:avLst/>
                <a:gdLst>
                  <a:gd name="T0" fmla="*/ 266 w 272"/>
                  <a:gd name="T1" fmla="*/ 0 h 304"/>
                  <a:gd name="T2" fmla="*/ 207 w 272"/>
                  <a:gd name="T3" fmla="*/ 0 h 304"/>
                  <a:gd name="T4" fmla="*/ 207 w 272"/>
                  <a:gd name="T5" fmla="*/ 15 h 304"/>
                  <a:gd name="T6" fmla="*/ 251 w 272"/>
                  <a:gd name="T7" fmla="*/ 15 h 304"/>
                  <a:gd name="T8" fmla="*/ 251 w 272"/>
                  <a:gd name="T9" fmla="*/ 15 h 304"/>
                  <a:gd name="T10" fmla="*/ 253 w 272"/>
                  <a:gd name="T11" fmla="*/ 15 h 304"/>
                  <a:gd name="T12" fmla="*/ 256 w 272"/>
                  <a:gd name="T13" fmla="*/ 17 h 304"/>
                  <a:gd name="T14" fmla="*/ 256 w 272"/>
                  <a:gd name="T15" fmla="*/ 19 h 304"/>
                  <a:gd name="T16" fmla="*/ 257 w 272"/>
                  <a:gd name="T17" fmla="*/ 21 h 304"/>
                  <a:gd name="T18" fmla="*/ 257 w 272"/>
                  <a:gd name="T19" fmla="*/ 222 h 304"/>
                  <a:gd name="T20" fmla="*/ 198 w 272"/>
                  <a:gd name="T21" fmla="*/ 222 h 304"/>
                  <a:gd name="T22" fmla="*/ 198 w 272"/>
                  <a:gd name="T23" fmla="*/ 222 h 304"/>
                  <a:gd name="T24" fmla="*/ 196 w 272"/>
                  <a:gd name="T25" fmla="*/ 222 h 304"/>
                  <a:gd name="T26" fmla="*/ 194 w 272"/>
                  <a:gd name="T27" fmla="*/ 223 h 304"/>
                  <a:gd name="T28" fmla="*/ 194 w 272"/>
                  <a:gd name="T29" fmla="*/ 225 h 304"/>
                  <a:gd name="T30" fmla="*/ 192 w 272"/>
                  <a:gd name="T31" fmla="*/ 227 h 304"/>
                  <a:gd name="T32" fmla="*/ 192 w 272"/>
                  <a:gd name="T33" fmla="*/ 287 h 304"/>
                  <a:gd name="T34" fmla="*/ 22 w 272"/>
                  <a:gd name="T35" fmla="*/ 287 h 304"/>
                  <a:gd name="T36" fmla="*/ 22 w 272"/>
                  <a:gd name="T37" fmla="*/ 287 h 304"/>
                  <a:gd name="T38" fmla="*/ 19 w 272"/>
                  <a:gd name="T39" fmla="*/ 287 h 304"/>
                  <a:gd name="T40" fmla="*/ 18 w 272"/>
                  <a:gd name="T41" fmla="*/ 285 h 304"/>
                  <a:gd name="T42" fmla="*/ 16 w 272"/>
                  <a:gd name="T43" fmla="*/ 284 h 304"/>
                  <a:gd name="T44" fmla="*/ 16 w 272"/>
                  <a:gd name="T45" fmla="*/ 281 h 304"/>
                  <a:gd name="T46" fmla="*/ 16 w 272"/>
                  <a:gd name="T47" fmla="*/ 21 h 304"/>
                  <a:gd name="T48" fmla="*/ 16 w 272"/>
                  <a:gd name="T49" fmla="*/ 21 h 304"/>
                  <a:gd name="T50" fmla="*/ 16 w 272"/>
                  <a:gd name="T51" fmla="*/ 19 h 304"/>
                  <a:gd name="T52" fmla="*/ 18 w 272"/>
                  <a:gd name="T53" fmla="*/ 17 h 304"/>
                  <a:gd name="T54" fmla="*/ 19 w 272"/>
                  <a:gd name="T55" fmla="*/ 15 h 304"/>
                  <a:gd name="T56" fmla="*/ 22 w 272"/>
                  <a:gd name="T57" fmla="*/ 15 h 304"/>
                  <a:gd name="T58" fmla="*/ 66 w 272"/>
                  <a:gd name="T59" fmla="*/ 15 h 304"/>
                  <a:gd name="T60" fmla="*/ 66 w 272"/>
                  <a:gd name="T61" fmla="*/ 0 h 304"/>
                  <a:gd name="T62" fmla="*/ 7 w 272"/>
                  <a:gd name="T63" fmla="*/ 0 h 304"/>
                  <a:gd name="T64" fmla="*/ 7 w 272"/>
                  <a:gd name="T65" fmla="*/ 0 h 304"/>
                  <a:gd name="T66" fmla="*/ 4 w 272"/>
                  <a:gd name="T67" fmla="*/ 0 h 304"/>
                  <a:gd name="T68" fmla="*/ 3 w 272"/>
                  <a:gd name="T69" fmla="*/ 2 h 304"/>
                  <a:gd name="T70" fmla="*/ 2 w 272"/>
                  <a:gd name="T71" fmla="*/ 3 h 304"/>
                  <a:gd name="T72" fmla="*/ 0 w 272"/>
                  <a:gd name="T73" fmla="*/ 6 h 304"/>
                  <a:gd name="T74" fmla="*/ 0 w 272"/>
                  <a:gd name="T75" fmla="*/ 299 h 304"/>
                  <a:gd name="T76" fmla="*/ 0 w 272"/>
                  <a:gd name="T77" fmla="*/ 299 h 304"/>
                  <a:gd name="T78" fmla="*/ 2 w 272"/>
                  <a:gd name="T79" fmla="*/ 300 h 304"/>
                  <a:gd name="T80" fmla="*/ 3 w 272"/>
                  <a:gd name="T81" fmla="*/ 301 h 304"/>
                  <a:gd name="T82" fmla="*/ 4 w 272"/>
                  <a:gd name="T83" fmla="*/ 303 h 304"/>
                  <a:gd name="T84" fmla="*/ 7 w 272"/>
                  <a:gd name="T85" fmla="*/ 304 h 304"/>
                  <a:gd name="T86" fmla="*/ 266 w 272"/>
                  <a:gd name="T87" fmla="*/ 304 h 304"/>
                  <a:gd name="T88" fmla="*/ 266 w 272"/>
                  <a:gd name="T89" fmla="*/ 304 h 304"/>
                  <a:gd name="T90" fmla="*/ 269 w 272"/>
                  <a:gd name="T91" fmla="*/ 303 h 304"/>
                  <a:gd name="T92" fmla="*/ 270 w 272"/>
                  <a:gd name="T93" fmla="*/ 301 h 304"/>
                  <a:gd name="T94" fmla="*/ 272 w 272"/>
                  <a:gd name="T95" fmla="*/ 300 h 304"/>
                  <a:gd name="T96" fmla="*/ 272 w 272"/>
                  <a:gd name="T97" fmla="*/ 299 h 304"/>
                  <a:gd name="T98" fmla="*/ 272 w 272"/>
                  <a:gd name="T99" fmla="*/ 6 h 304"/>
                  <a:gd name="T100" fmla="*/ 272 w 272"/>
                  <a:gd name="T101" fmla="*/ 6 h 304"/>
                  <a:gd name="T102" fmla="*/ 272 w 272"/>
                  <a:gd name="T103" fmla="*/ 3 h 304"/>
                  <a:gd name="T104" fmla="*/ 270 w 272"/>
                  <a:gd name="T105" fmla="*/ 2 h 304"/>
                  <a:gd name="T106" fmla="*/ 269 w 272"/>
                  <a:gd name="T107" fmla="*/ 0 h 304"/>
                  <a:gd name="T108" fmla="*/ 266 w 272"/>
                  <a:gd name="T109" fmla="*/ 0 h 304"/>
                  <a:gd name="T110" fmla="*/ 266 w 272"/>
                  <a:gd name="T111" fmla="*/ 0 h 304"/>
                  <a:gd name="T112" fmla="*/ 203 w 272"/>
                  <a:gd name="T113" fmla="*/ 284 h 304"/>
                  <a:gd name="T114" fmla="*/ 203 w 272"/>
                  <a:gd name="T115" fmla="*/ 233 h 304"/>
                  <a:gd name="T116" fmla="*/ 254 w 272"/>
                  <a:gd name="T117" fmla="*/ 233 h 304"/>
                  <a:gd name="T118" fmla="*/ 203 w 272"/>
                  <a:gd name="T119" fmla="*/ 28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304">
                    <a:moveTo>
                      <a:pt x="266" y="0"/>
                    </a:moveTo>
                    <a:lnTo>
                      <a:pt x="207" y="0"/>
                    </a:lnTo>
                    <a:lnTo>
                      <a:pt x="207" y="15"/>
                    </a:lnTo>
                    <a:lnTo>
                      <a:pt x="251" y="15"/>
                    </a:lnTo>
                    <a:lnTo>
                      <a:pt x="251" y="15"/>
                    </a:lnTo>
                    <a:lnTo>
                      <a:pt x="253" y="15"/>
                    </a:lnTo>
                    <a:lnTo>
                      <a:pt x="256" y="17"/>
                    </a:lnTo>
                    <a:lnTo>
                      <a:pt x="256" y="19"/>
                    </a:lnTo>
                    <a:lnTo>
                      <a:pt x="257" y="21"/>
                    </a:lnTo>
                    <a:lnTo>
                      <a:pt x="257" y="222"/>
                    </a:lnTo>
                    <a:lnTo>
                      <a:pt x="198" y="222"/>
                    </a:lnTo>
                    <a:lnTo>
                      <a:pt x="198" y="222"/>
                    </a:lnTo>
                    <a:lnTo>
                      <a:pt x="196" y="222"/>
                    </a:lnTo>
                    <a:lnTo>
                      <a:pt x="194" y="223"/>
                    </a:lnTo>
                    <a:lnTo>
                      <a:pt x="194" y="225"/>
                    </a:lnTo>
                    <a:lnTo>
                      <a:pt x="192" y="227"/>
                    </a:lnTo>
                    <a:lnTo>
                      <a:pt x="192" y="287"/>
                    </a:lnTo>
                    <a:lnTo>
                      <a:pt x="22" y="287"/>
                    </a:lnTo>
                    <a:lnTo>
                      <a:pt x="22" y="287"/>
                    </a:lnTo>
                    <a:lnTo>
                      <a:pt x="19" y="287"/>
                    </a:lnTo>
                    <a:lnTo>
                      <a:pt x="18" y="285"/>
                    </a:lnTo>
                    <a:lnTo>
                      <a:pt x="16" y="284"/>
                    </a:lnTo>
                    <a:lnTo>
                      <a:pt x="16" y="281"/>
                    </a:lnTo>
                    <a:lnTo>
                      <a:pt x="16" y="21"/>
                    </a:lnTo>
                    <a:lnTo>
                      <a:pt x="16" y="21"/>
                    </a:lnTo>
                    <a:lnTo>
                      <a:pt x="16" y="19"/>
                    </a:lnTo>
                    <a:lnTo>
                      <a:pt x="18" y="17"/>
                    </a:lnTo>
                    <a:lnTo>
                      <a:pt x="19" y="15"/>
                    </a:lnTo>
                    <a:lnTo>
                      <a:pt x="22" y="15"/>
                    </a:lnTo>
                    <a:lnTo>
                      <a:pt x="66" y="15"/>
                    </a:lnTo>
                    <a:lnTo>
                      <a:pt x="66" y="0"/>
                    </a:lnTo>
                    <a:lnTo>
                      <a:pt x="7" y="0"/>
                    </a:lnTo>
                    <a:lnTo>
                      <a:pt x="7" y="0"/>
                    </a:lnTo>
                    <a:lnTo>
                      <a:pt x="4" y="0"/>
                    </a:lnTo>
                    <a:lnTo>
                      <a:pt x="3" y="2"/>
                    </a:lnTo>
                    <a:lnTo>
                      <a:pt x="2" y="3"/>
                    </a:lnTo>
                    <a:lnTo>
                      <a:pt x="0" y="6"/>
                    </a:lnTo>
                    <a:lnTo>
                      <a:pt x="0" y="299"/>
                    </a:lnTo>
                    <a:lnTo>
                      <a:pt x="0" y="299"/>
                    </a:lnTo>
                    <a:lnTo>
                      <a:pt x="2" y="300"/>
                    </a:lnTo>
                    <a:lnTo>
                      <a:pt x="3" y="301"/>
                    </a:lnTo>
                    <a:lnTo>
                      <a:pt x="4" y="303"/>
                    </a:lnTo>
                    <a:lnTo>
                      <a:pt x="7" y="304"/>
                    </a:lnTo>
                    <a:lnTo>
                      <a:pt x="266" y="304"/>
                    </a:lnTo>
                    <a:lnTo>
                      <a:pt x="266" y="304"/>
                    </a:lnTo>
                    <a:lnTo>
                      <a:pt x="269" y="303"/>
                    </a:lnTo>
                    <a:lnTo>
                      <a:pt x="270" y="301"/>
                    </a:lnTo>
                    <a:lnTo>
                      <a:pt x="272" y="300"/>
                    </a:lnTo>
                    <a:lnTo>
                      <a:pt x="272" y="299"/>
                    </a:lnTo>
                    <a:lnTo>
                      <a:pt x="272" y="6"/>
                    </a:lnTo>
                    <a:lnTo>
                      <a:pt x="272" y="6"/>
                    </a:lnTo>
                    <a:lnTo>
                      <a:pt x="272" y="3"/>
                    </a:lnTo>
                    <a:lnTo>
                      <a:pt x="270" y="2"/>
                    </a:lnTo>
                    <a:lnTo>
                      <a:pt x="269" y="0"/>
                    </a:lnTo>
                    <a:lnTo>
                      <a:pt x="266" y="0"/>
                    </a:lnTo>
                    <a:lnTo>
                      <a:pt x="266" y="0"/>
                    </a:lnTo>
                    <a:close/>
                    <a:moveTo>
                      <a:pt x="203" y="284"/>
                    </a:moveTo>
                    <a:lnTo>
                      <a:pt x="203" y="233"/>
                    </a:lnTo>
                    <a:lnTo>
                      <a:pt x="254" y="233"/>
                    </a:lnTo>
                    <a:lnTo>
                      <a:pt x="203"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351">
                <a:extLst>
                  <a:ext uri="{FF2B5EF4-FFF2-40B4-BE49-F238E27FC236}">
                    <a16:creationId xmlns:a16="http://schemas.microsoft.com/office/drawing/2014/main" id="{3A578FB4-6374-7D2F-2BDD-8F83C5A414F5}"/>
                  </a:ext>
                </a:extLst>
              </p:cNvPr>
              <p:cNvSpPr>
                <a:spLocks/>
              </p:cNvSpPr>
              <p:nvPr/>
            </p:nvSpPr>
            <p:spPr bwMode="auto">
              <a:xfrm>
                <a:off x="7810501" y="2613025"/>
                <a:ext cx="95250" cy="58738"/>
              </a:xfrm>
              <a:custGeom>
                <a:avLst/>
                <a:gdLst>
                  <a:gd name="T0" fmla="*/ 5 w 119"/>
                  <a:gd name="T1" fmla="*/ 75 h 75"/>
                  <a:gd name="T2" fmla="*/ 114 w 119"/>
                  <a:gd name="T3" fmla="*/ 75 h 75"/>
                  <a:gd name="T4" fmla="*/ 114 w 119"/>
                  <a:gd name="T5" fmla="*/ 75 h 75"/>
                  <a:gd name="T6" fmla="*/ 115 w 119"/>
                  <a:gd name="T7" fmla="*/ 75 h 75"/>
                  <a:gd name="T8" fmla="*/ 117 w 119"/>
                  <a:gd name="T9" fmla="*/ 74 h 75"/>
                  <a:gd name="T10" fmla="*/ 118 w 119"/>
                  <a:gd name="T11" fmla="*/ 73 h 75"/>
                  <a:gd name="T12" fmla="*/ 119 w 119"/>
                  <a:gd name="T13" fmla="*/ 70 h 75"/>
                  <a:gd name="T14" fmla="*/ 119 w 119"/>
                  <a:gd name="T15" fmla="*/ 27 h 75"/>
                  <a:gd name="T16" fmla="*/ 119 w 119"/>
                  <a:gd name="T17" fmla="*/ 27 h 75"/>
                  <a:gd name="T18" fmla="*/ 118 w 119"/>
                  <a:gd name="T19" fmla="*/ 24 h 75"/>
                  <a:gd name="T20" fmla="*/ 117 w 119"/>
                  <a:gd name="T21" fmla="*/ 23 h 75"/>
                  <a:gd name="T22" fmla="*/ 115 w 119"/>
                  <a:gd name="T23" fmla="*/ 22 h 75"/>
                  <a:gd name="T24" fmla="*/ 114 w 119"/>
                  <a:gd name="T25" fmla="*/ 22 h 75"/>
                  <a:gd name="T26" fmla="*/ 86 w 119"/>
                  <a:gd name="T27" fmla="*/ 22 h 75"/>
                  <a:gd name="T28" fmla="*/ 86 w 119"/>
                  <a:gd name="T29" fmla="*/ 22 h 75"/>
                  <a:gd name="T30" fmla="*/ 85 w 119"/>
                  <a:gd name="T31" fmla="*/ 16 h 75"/>
                  <a:gd name="T32" fmla="*/ 83 w 119"/>
                  <a:gd name="T33" fmla="*/ 12 h 75"/>
                  <a:gd name="T34" fmla="*/ 76 w 119"/>
                  <a:gd name="T35" fmla="*/ 6 h 75"/>
                  <a:gd name="T36" fmla="*/ 68 w 119"/>
                  <a:gd name="T37" fmla="*/ 2 h 75"/>
                  <a:gd name="T38" fmla="*/ 64 w 119"/>
                  <a:gd name="T39" fmla="*/ 0 h 75"/>
                  <a:gd name="T40" fmla="*/ 59 w 119"/>
                  <a:gd name="T41" fmla="*/ 0 h 75"/>
                  <a:gd name="T42" fmla="*/ 59 w 119"/>
                  <a:gd name="T43" fmla="*/ 0 h 75"/>
                  <a:gd name="T44" fmla="*/ 55 w 119"/>
                  <a:gd name="T45" fmla="*/ 0 h 75"/>
                  <a:gd name="T46" fmla="*/ 50 w 119"/>
                  <a:gd name="T47" fmla="*/ 2 h 75"/>
                  <a:gd name="T48" fmla="*/ 42 w 119"/>
                  <a:gd name="T49" fmla="*/ 6 h 75"/>
                  <a:gd name="T50" fmla="*/ 36 w 119"/>
                  <a:gd name="T51" fmla="*/ 12 h 75"/>
                  <a:gd name="T52" fmla="*/ 35 w 119"/>
                  <a:gd name="T53" fmla="*/ 16 h 75"/>
                  <a:gd name="T54" fmla="*/ 33 w 119"/>
                  <a:gd name="T55" fmla="*/ 22 h 75"/>
                  <a:gd name="T56" fmla="*/ 5 w 119"/>
                  <a:gd name="T57" fmla="*/ 22 h 75"/>
                  <a:gd name="T58" fmla="*/ 5 w 119"/>
                  <a:gd name="T59" fmla="*/ 22 h 75"/>
                  <a:gd name="T60" fmla="*/ 3 w 119"/>
                  <a:gd name="T61" fmla="*/ 22 h 75"/>
                  <a:gd name="T62" fmla="*/ 1 w 119"/>
                  <a:gd name="T63" fmla="*/ 23 h 75"/>
                  <a:gd name="T64" fmla="*/ 0 w 119"/>
                  <a:gd name="T65" fmla="*/ 24 h 75"/>
                  <a:gd name="T66" fmla="*/ 0 w 119"/>
                  <a:gd name="T67" fmla="*/ 27 h 75"/>
                  <a:gd name="T68" fmla="*/ 0 w 119"/>
                  <a:gd name="T69" fmla="*/ 70 h 75"/>
                  <a:gd name="T70" fmla="*/ 0 w 119"/>
                  <a:gd name="T71" fmla="*/ 70 h 75"/>
                  <a:gd name="T72" fmla="*/ 0 w 119"/>
                  <a:gd name="T73" fmla="*/ 73 h 75"/>
                  <a:gd name="T74" fmla="*/ 1 w 119"/>
                  <a:gd name="T75" fmla="*/ 74 h 75"/>
                  <a:gd name="T76" fmla="*/ 3 w 119"/>
                  <a:gd name="T77" fmla="*/ 75 h 75"/>
                  <a:gd name="T78" fmla="*/ 5 w 119"/>
                  <a:gd name="T79" fmla="*/ 75 h 75"/>
                  <a:gd name="T80" fmla="*/ 5 w 119"/>
                  <a:gd name="T8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75">
                    <a:moveTo>
                      <a:pt x="5" y="75"/>
                    </a:moveTo>
                    <a:lnTo>
                      <a:pt x="114" y="75"/>
                    </a:lnTo>
                    <a:lnTo>
                      <a:pt x="114" y="75"/>
                    </a:lnTo>
                    <a:lnTo>
                      <a:pt x="115" y="75"/>
                    </a:lnTo>
                    <a:lnTo>
                      <a:pt x="117" y="74"/>
                    </a:lnTo>
                    <a:lnTo>
                      <a:pt x="118" y="73"/>
                    </a:lnTo>
                    <a:lnTo>
                      <a:pt x="119" y="70"/>
                    </a:lnTo>
                    <a:lnTo>
                      <a:pt x="119" y="27"/>
                    </a:lnTo>
                    <a:lnTo>
                      <a:pt x="119" y="27"/>
                    </a:lnTo>
                    <a:lnTo>
                      <a:pt x="118" y="24"/>
                    </a:lnTo>
                    <a:lnTo>
                      <a:pt x="117" y="23"/>
                    </a:lnTo>
                    <a:lnTo>
                      <a:pt x="115" y="22"/>
                    </a:lnTo>
                    <a:lnTo>
                      <a:pt x="114" y="22"/>
                    </a:lnTo>
                    <a:lnTo>
                      <a:pt x="86" y="22"/>
                    </a:lnTo>
                    <a:lnTo>
                      <a:pt x="86" y="22"/>
                    </a:lnTo>
                    <a:lnTo>
                      <a:pt x="85" y="16"/>
                    </a:lnTo>
                    <a:lnTo>
                      <a:pt x="83" y="12"/>
                    </a:lnTo>
                    <a:lnTo>
                      <a:pt x="76" y="6"/>
                    </a:lnTo>
                    <a:lnTo>
                      <a:pt x="68" y="2"/>
                    </a:lnTo>
                    <a:lnTo>
                      <a:pt x="64" y="0"/>
                    </a:lnTo>
                    <a:lnTo>
                      <a:pt x="59" y="0"/>
                    </a:lnTo>
                    <a:lnTo>
                      <a:pt x="59" y="0"/>
                    </a:lnTo>
                    <a:lnTo>
                      <a:pt x="55" y="0"/>
                    </a:lnTo>
                    <a:lnTo>
                      <a:pt x="50" y="2"/>
                    </a:lnTo>
                    <a:lnTo>
                      <a:pt x="42" y="6"/>
                    </a:lnTo>
                    <a:lnTo>
                      <a:pt x="36" y="12"/>
                    </a:lnTo>
                    <a:lnTo>
                      <a:pt x="35" y="16"/>
                    </a:lnTo>
                    <a:lnTo>
                      <a:pt x="33" y="22"/>
                    </a:lnTo>
                    <a:lnTo>
                      <a:pt x="5" y="22"/>
                    </a:lnTo>
                    <a:lnTo>
                      <a:pt x="5" y="22"/>
                    </a:lnTo>
                    <a:lnTo>
                      <a:pt x="3" y="22"/>
                    </a:lnTo>
                    <a:lnTo>
                      <a:pt x="1" y="23"/>
                    </a:lnTo>
                    <a:lnTo>
                      <a:pt x="0" y="24"/>
                    </a:lnTo>
                    <a:lnTo>
                      <a:pt x="0" y="27"/>
                    </a:lnTo>
                    <a:lnTo>
                      <a:pt x="0" y="70"/>
                    </a:lnTo>
                    <a:lnTo>
                      <a:pt x="0" y="70"/>
                    </a:lnTo>
                    <a:lnTo>
                      <a:pt x="0" y="73"/>
                    </a:lnTo>
                    <a:lnTo>
                      <a:pt x="1" y="74"/>
                    </a:lnTo>
                    <a:lnTo>
                      <a:pt x="3" y="75"/>
                    </a:lnTo>
                    <a:lnTo>
                      <a:pt x="5" y="75"/>
                    </a:lnTo>
                    <a:lnTo>
                      <a:pt x="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352">
                <a:extLst>
                  <a:ext uri="{FF2B5EF4-FFF2-40B4-BE49-F238E27FC236}">
                    <a16:creationId xmlns:a16="http://schemas.microsoft.com/office/drawing/2014/main" id="{110BC597-C468-0870-E703-17FF694356F5}"/>
                  </a:ext>
                </a:extLst>
              </p:cNvPr>
              <p:cNvSpPr>
                <a:spLocks/>
              </p:cNvSpPr>
              <p:nvPr/>
            </p:nvSpPr>
            <p:spPr bwMode="auto">
              <a:xfrm>
                <a:off x="7796213" y="2703513"/>
                <a:ext cx="122238" cy="14288"/>
              </a:xfrm>
              <a:custGeom>
                <a:avLst/>
                <a:gdLst>
                  <a:gd name="T0" fmla="*/ 0 w 156"/>
                  <a:gd name="T1" fmla="*/ 10 h 19"/>
                  <a:gd name="T2" fmla="*/ 0 w 156"/>
                  <a:gd name="T3" fmla="*/ 10 h 19"/>
                  <a:gd name="T4" fmla="*/ 1 w 156"/>
                  <a:gd name="T5" fmla="*/ 14 h 19"/>
                  <a:gd name="T6" fmla="*/ 3 w 156"/>
                  <a:gd name="T7" fmla="*/ 16 h 19"/>
                  <a:gd name="T8" fmla="*/ 7 w 156"/>
                  <a:gd name="T9" fmla="*/ 19 h 19"/>
                  <a:gd name="T10" fmla="*/ 9 w 156"/>
                  <a:gd name="T11" fmla="*/ 19 h 19"/>
                  <a:gd name="T12" fmla="*/ 146 w 156"/>
                  <a:gd name="T13" fmla="*/ 19 h 19"/>
                  <a:gd name="T14" fmla="*/ 146 w 156"/>
                  <a:gd name="T15" fmla="*/ 19 h 19"/>
                  <a:gd name="T16" fmla="*/ 151 w 156"/>
                  <a:gd name="T17" fmla="*/ 19 h 19"/>
                  <a:gd name="T18" fmla="*/ 153 w 156"/>
                  <a:gd name="T19" fmla="*/ 16 h 19"/>
                  <a:gd name="T20" fmla="*/ 156 w 156"/>
                  <a:gd name="T21" fmla="*/ 14 h 19"/>
                  <a:gd name="T22" fmla="*/ 156 w 156"/>
                  <a:gd name="T23" fmla="*/ 10 h 19"/>
                  <a:gd name="T24" fmla="*/ 156 w 156"/>
                  <a:gd name="T25" fmla="*/ 10 h 19"/>
                  <a:gd name="T26" fmla="*/ 156 w 156"/>
                  <a:gd name="T27" fmla="*/ 7 h 19"/>
                  <a:gd name="T28" fmla="*/ 153 w 156"/>
                  <a:gd name="T29" fmla="*/ 3 h 19"/>
                  <a:gd name="T30" fmla="*/ 151 w 156"/>
                  <a:gd name="T31" fmla="*/ 2 h 19"/>
                  <a:gd name="T32" fmla="*/ 146 w 156"/>
                  <a:gd name="T33" fmla="*/ 0 h 19"/>
                  <a:gd name="T34" fmla="*/ 9 w 156"/>
                  <a:gd name="T35" fmla="*/ 0 h 19"/>
                  <a:gd name="T36" fmla="*/ 9 w 156"/>
                  <a:gd name="T37" fmla="*/ 0 h 19"/>
                  <a:gd name="T38" fmla="*/ 7 w 156"/>
                  <a:gd name="T39" fmla="*/ 2 h 19"/>
                  <a:gd name="T40" fmla="*/ 3 w 156"/>
                  <a:gd name="T41" fmla="*/ 3 h 19"/>
                  <a:gd name="T42" fmla="*/ 1 w 156"/>
                  <a:gd name="T43" fmla="*/ 7 h 19"/>
                  <a:gd name="T44" fmla="*/ 0 w 156"/>
                  <a:gd name="T45" fmla="*/ 10 h 19"/>
                  <a:gd name="T46" fmla="*/ 0 w 156"/>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9">
                    <a:moveTo>
                      <a:pt x="0" y="10"/>
                    </a:moveTo>
                    <a:lnTo>
                      <a:pt x="0" y="10"/>
                    </a:lnTo>
                    <a:lnTo>
                      <a:pt x="1" y="14"/>
                    </a:lnTo>
                    <a:lnTo>
                      <a:pt x="3" y="16"/>
                    </a:lnTo>
                    <a:lnTo>
                      <a:pt x="7" y="19"/>
                    </a:lnTo>
                    <a:lnTo>
                      <a:pt x="9" y="19"/>
                    </a:lnTo>
                    <a:lnTo>
                      <a:pt x="146" y="19"/>
                    </a:lnTo>
                    <a:lnTo>
                      <a:pt x="146" y="19"/>
                    </a:lnTo>
                    <a:lnTo>
                      <a:pt x="151" y="19"/>
                    </a:lnTo>
                    <a:lnTo>
                      <a:pt x="153" y="16"/>
                    </a:lnTo>
                    <a:lnTo>
                      <a:pt x="156" y="14"/>
                    </a:lnTo>
                    <a:lnTo>
                      <a:pt x="156" y="10"/>
                    </a:lnTo>
                    <a:lnTo>
                      <a:pt x="156" y="10"/>
                    </a:lnTo>
                    <a:lnTo>
                      <a:pt x="156" y="7"/>
                    </a:lnTo>
                    <a:lnTo>
                      <a:pt x="153" y="3"/>
                    </a:lnTo>
                    <a:lnTo>
                      <a:pt x="151" y="2"/>
                    </a:lnTo>
                    <a:lnTo>
                      <a:pt x="146" y="0"/>
                    </a:lnTo>
                    <a:lnTo>
                      <a:pt x="9" y="0"/>
                    </a:lnTo>
                    <a:lnTo>
                      <a:pt x="9" y="0"/>
                    </a:lnTo>
                    <a:lnTo>
                      <a:pt x="7" y="2"/>
                    </a:lnTo>
                    <a:lnTo>
                      <a:pt x="3" y="3"/>
                    </a:lnTo>
                    <a:lnTo>
                      <a:pt x="1" y="7"/>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354">
                <a:extLst>
                  <a:ext uri="{FF2B5EF4-FFF2-40B4-BE49-F238E27FC236}">
                    <a16:creationId xmlns:a16="http://schemas.microsoft.com/office/drawing/2014/main" id="{883EA176-D2AF-64AF-4467-A1CD7668AFE0}"/>
                  </a:ext>
                </a:extLst>
              </p:cNvPr>
              <p:cNvSpPr>
                <a:spLocks/>
              </p:cNvSpPr>
              <p:nvPr/>
            </p:nvSpPr>
            <p:spPr bwMode="auto">
              <a:xfrm>
                <a:off x="7796213" y="2787650"/>
                <a:ext cx="68263" cy="15875"/>
              </a:xfrm>
              <a:custGeom>
                <a:avLst/>
                <a:gdLst>
                  <a:gd name="T0" fmla="*/ 9 w 87"/>
                  <a:gd name="T1" fmla="*/ 0 h 19"/>
                  <a:gd name="T2" fmla="*/ 9 w 87"/>
                  <a:gd name="T3" fmla="*/ 0 h 19"/>
                  <a:gd name="T4" fmla="*/ 7 w 87"/>
                  <a:gd name="T5" fmla="*/ 0 h 19"/>
                  <a:gd name="T6" fmla="*/ 3 w 87"/>
                  <a:gd name="T7" fmla="*/ 3 h 19"/>
                  <a:gd name="T8" fmla="*/ 1 w 87"/>
                  <a:gd name="T9" fmla="*/ 5 h 19"/>
                  <a:gd name="T10" fmla="*/ 0 w 87"/>
                  <a:gd name="T11" fmla="*/ 9 h 19"/>
                  <a:gd name="T12" fmla="*/ 0 w 87"/>
                  <a:gd name="T13" fmla="*/ 9 h 19"/>
                  <a:gd name="T14" fmla="*/ 1 w 87"/>
                  <a:gd name="T15" fmla="*/ 12 h 19"/>
                  <a:gd name="T16" fmla="*/ 3 w 87"/>
                  <a:gd name="T17" fmla="*/ 16 h 19"/>
                  <a:gd name="T18" fmla="*/ 7 w 87"/>
                  <a:gd name="T19" fmla="*/ 17 h 19"/>
                  <a:gd name="T20" fmla="*/ 9 w 87"/>
                  <a:gd name="T21" fmla="*/ 19 h 19"/>
                  <a:gd name="T22" fmla="*/ 78 w 87"/>
                  <a:gd name="T23" fmla="*/ 19 h 19"/>
                  <a:gd name="T24" fmla="*/ 78 w 87"/>
                  <a:gd name="T25" fmla="*/ 19 h 19"/>
                  <a:gd name="T26" fmla="*/ 82 w 87"/>
                  <a:gd name="T27" fmla="*/ 17 h 19"/>
                  <a:gd name="T28" fmla="*/ 85 w 87"/>
                  <a:gd name="T29" fmla="*/ 16 h 19"/>
                  <a:gd name="T30" fmla="*/ 87 w 87"/>
                  <a:gd name="T31" fmla="*/ 12 h 19"/>
                  <a:gd name="T32" fmla="*/ 87 w 87"/>
                  <a:gd name="T33" fmla="*/ 9 h 19"/>
                  <a:gd name="T34" fmla="*/ 87 w 87"/>
                  <a:gd name="T35" fmla="*/ 9 h 19"/>
                  <a:gd name="T36" fmla="*/ 87 w 87"/>
                  <a:gd name="T37" fmla="*/ 5 h 19"/>
                  <a:gd name="T38" fmla="*/ 85 w 87"/>
                  <a:gd name="T39" fmla="*/ 3 h 19"/>
                  <a:gd name="T40" fmla="*/ 82 w 87"/>
                  <a:gd name="T41" fmla="*/ 0 h 19"/>
                  <a:gd name="T42" fmla="*/ 78 w 87"/>
                  <a:gd name="T43" fmla="*/ 0 h 19"/>
                  <a:gd name="T44" fmla="*/ 9 w 87"/>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19">
                    <a:moveTo>
                      <a:pt x="9" y="0"/>
                    </a:moveTo>
                    <a:lnTo>
                      <a:pt x="9" y="0"/>
                    </a:lnTo>
                    <a:lnTo>
                      <a:pt x="7" y="0"/>
                    </a:lnTo>
                    <a:lnTo>
                      <a:pt x="3" y="3"/>
                    </a:lnTo>
                    <a:lnTo>
                      <a:pt x="1" y="5"/>
                    </a:lnTo>
                    <a:lnTo>
                      <a:pt x="0" y="9"/>
                    </a:lnTo>
                    <a:lnTo>
                      <a:pt x="0" y="9"/>
                    </a:lnTo>
                    <a:lnTo>
                      <a:pt x="1" y="12"/>
                    </a:lnTo>
                    <a:lnTo>
                      <a:pt x="3" y="16"/>
                    </a:lnTo>
                    <a:lnTo>
                      <a:pt x="7" y="17"/>
                    </a:lnTo>
                    <a:lnTo>
                      <a:pt x="9" y="19"/>
                    </a:lnTo>
                    <a:lnTo>
                      <a:pt x="78" y="19"/>
                    </a:lnTo>
                    <a:lnTo>
                      <a:pt x="78" y="19"/>
                    </a:lnTo>
                    <a:lnTo>
                      <a:pt x="82" y="17"/>
                    </a:lnTo>
                    <a:lnTo>
                      <a:pt x="85" y="16"/>
                    </a:lnTo>
                    <a:lnTo>
                      <a:pt x="87" y="12"/>
                    </a:lnTo>
                    <a:lnTo>
                      <a:pt x="87" y="9"/>
                    </a:lnTo>
                    <a:lnTo>
                      <a:pt x="87" y="9"/>
                    </a:lnTo>
                    <a:lnTo>
                      <a:pt x="87" y="5"/>
                    </a:lnTo>
                    <a:lnTo>
                      <a:pt x="85" y="3"/>
                    </a:lnTo>
                    <a:lnTo>
                      <a:pt x="82" y="0"/>
                    </a:lnTo>
                    <a:lnTo>
                      <a:pt x="78"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15" name="Rectangle 114">
            <a:extLst>
              <a:ext uri="{FF2B5EF4-FFF2-40B4-BE49-F238E27FC236}">
                <a16:creationId xmlns:a16="http://schemas.microsoft.com/office/drawing/2014/main" id="{776AC5F3-BD3B-2462-5CF6-5EDDCFE67822}"/>
              </a:ext>
            </a:extLst>
          </p:cNvPr>
          <p:cNvSpPr/>
          <p:nvPr/>
        </p:nvSpPr>
        <p:spPr>
          <a:xfrm>
            <a:off x="9287545" y="2775750"/>
            <a:ext cx="1216358" cy="400110"/>
          </a:xfrm>
          <a:prstGeom prst="rect">
            <a:avLst/>
          </a:prstGeom>
        </p:spPr>
        <p:txBody>
          <a:bodyPr wrap="square">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Summary and documentation</a:t>
            </a:r>
          </a:p>
        </p:txBody>
      </p:sp>
      <p:sp>
        <p:nvSpPr>
          <p:cNvPr id="116" name="object 26">
            <a:extLst>
              <a:ext uri="{FF2B5EF4-FFF2-40B4-BE49-F238E27FC236}">
                <a16:creationId xmlns:a16="http://schemas.microsoft.com/office/drawing/2014/main" id="{63D44065-2E46-741F-8B54-61F24F8FE2D8}"/>
              </a:ext>
            </a:extLst>
          </p:cNvPr>
          <p:cNvSpPr txBox="1"/>
          <p:nvPr/>
        </p:nvSpPr>
        <p:spPr>
          <a:xfrm>
            <a:off x="612425" y="4172321"/>
            <a:ext cx="2542288" cy="692497"/>
          </a:xfrm>
          <a:prstGeom prst="rect">
            <a:avLst/>
          </a:prstGeom>
        </p:spPr>
        <p:txBody>
          <a:bodyPr vert="horz" wrap="square" lIns="0" tIns="0" rIns="0" bIns="0" rtlCol="0">
            <a:spAutoFit/>
          </a:bodyPr>
          <a:lstStyle/>
          <a:p>
            <a:pPr marL="15875" lvl="5" defTabSz="844550" hangingPunct="0">
              <a:spcBef>
                <a:spcPts val="300"/>
              </a:spcBef>
              <a:buClr>
                <a:schemeClr val="tx1"/>
              </a:buClr>
            </a:pPr>
            <a:r>
              <a:rPr lang="en-US" sz="1000" kern="0" dirty="0">
                <a:latin typeface="Open Sans" panose="020B0606030504020204" pitchFamily="34" charset="0"/>
                <a:ea typeface="Open Sans" panose="020B0606030504020204" pitchFamily="34" charset="0"/>
                <a:cs typeface="Open Sans" panose="020B0606030504020204" pitchFamily="34" charset="0"/>
                <a:sym typeface="Calibri"/>
              </a:rPr>
              <a:t>Information Architecture design (IA)</a:t>
            </a:r>
          </a:p>
          <a:p>
            <a:pPr marL="15875" lvl="5" defTabSz="844550" hangingPunct="0">
              <a:spcBef>
                <a:spcPts val="300"/>
              </a:spcBef>
              <a:buClr>
                <a:schemeClr val="tx1"/>
              </a:buClr>
            </a:pPr>
            <a:r>
              <a:rPr lang="en-US" sz="1000" kern="0" dirty="0">
                <a:latin typeface="Open Sans" panose="020B0606030504020204" pitchFamily="34" charset="0"/>
                <a:ea typeface="Open Sans" panose="020B0606030504020204" pitchFamily="34" charset="0"/>
                <a:cs typeface="Open Sans" panose="020B0606030504020204" pitchFamily="34" charset="0"/>
                <a:sym typeface="Calibri"/>
              </a:rPr>
              <a:t>Prepare user testing scenarios</a:t>
            </a:r>
          </a:p>
          <a:p>
            <a:pPr marL="15875" lvl="5" defTabSz="844550" hangingPunct="0">
              <a:spcBef>
                <a:spcPts val="300"/>
              </a:spcBef>
              <a:buClr>
                <a:schemeClr val="tx1"/>
              </a:buClr>
            </a:pPr>
            <a:r>
              <a:rPr lang="en-US" sz="1000" kern="0" dirty="0">
                <a:latin typeface="Open Sans" panose="020B0606030504020204" pitchFamily="34" charset="0"/>
                <a:ea typeface="Open Sans" panose="020B0606030504020204" pitchFamily="34" charset="0"/>
                <a:cs typeface="Open Sans" panose="020B0606030504020204" pitchFamily="34" charset="0"/>
                <a:sym typeface="Calibri"/>
              </a:rPr>
              <a:t>Design clickable prototype for user scenarios</a:t>
            </a:r>
            <a:endParaRPr lang="en-US" sz="10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117" name="object 4">
            <a:extLst>
              <a:ext uri="{FF2B5EF4-FFF2-40B4-BE49-F238E27FC236}">
                <a16:creationId xmlns:a16="http://schemas.microsoft.com/office/drawing/2014/main" id="{0FC5B196-1AA7-5988-3C58-AAB1420C653E}"/>
              </a:ext>
            </a:extLst>
          </p:cNvPr>
          <p:cNvSpPr txBox="1"/>
          <p:nvPr/>
        </p:nvSpPr>
        <p:spPr>
          <a:xfrm>
            <a:off x="634337" y="3486764"/>
            <a:ext cx="2542288" cy="307777"/>
          </a:xfrm>
          <a:prstGeom prst="rect">
            <a:avLst/>
          </a:prstGeom>
        </p:spPr>
        <p:txBody>
          <a:bodyPr vert="horz" wrap="square" lIns="0" tIns="0" rIns="0" bIns="0" rtlCol="0">
            <a:spAutoFit/>
          </a:bodyPr>
          <a:lstStyle/>
          <a:p>
            <a:pPr marL="0" lvl="4" defTabSz="844550" hangingPunct="0">
              <a:spcBef>
                <a:spcPts val="300"/>
              </a:spcBef>
              <a:buClr>
                <a:srgbClr val="92D400"/>
              </a:buClr>
            </a:pPr>
            <a:r>
              <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rPr>
              <a:t>Designing a clickable prototype feasible within Salesforce communities </a:t>
            </a:r>
          </a:p>
        </p:txBody>
      </p:sp>
      <p:sp>
        <p:nvSpPr>
          <p:cNvPr id="118" name="object 26">
            <a:extLst>
              <a:ext uri="{FF2B5EF4-FFF2-40B4-BE49-F238E27FC236}">
                <a16:creationId xmlns:a16="http://schemas.microsoft.com/office/drawing/2014/main" id="{0B6D2000-ACF6-1AA0-FFDB-7CAAD0107BEC}"/>
              </a:ext>
            </a:extLst>
          </p:cNvPr>
          <p:cNvSpPr txBox="1"/>
          <p:nvPr/>
        </p:nvSpPr>
        <p:spPr>
          <a:xfrm>
            <a:off x="634335" y="5503351"/>
            <a:ext cx="2542287" cy="730969"/>
          </a:xfrm>
          <a:prstGeom prst="rect">
            <a:avLst/>
          </a:prstGeom>
        </p:spPr>
        <p:txBody>
          <a:bodyPr vert="horz" wrap="square" lIns="0" tIns="0" rIns="0" bIns="0" rtlCol="0">
            <a:spAutoFit/>
          </a:bodyPr>
          <a:lstStyle/>
          <a:p>
            <a:pPr marL="0" lvl="4" defTabSz="844550" hangingPunct="0">
              <a:spcBef>
                <a:spcPts val="300"/>
              </a:spcBef>
              <a:buClr>
                <a:srgbClr val="92D400"/>
              </a:buClr>
            </a:pPr>
            <a:endPar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5875" marR="5080" lvl="5" defTabSz="844550" hangingPunct="0">
              <a:spcBef>
                <a:spcPts val="300"/>
              </a:spcBef>
              <a:buClr>
                <a:schemeClr val="tx1"/>
              </a:buClr>
              <a:tabLst>
                <a:tab pos="142240" algn="l"/>
              </a:tabLst>
            </a:pPr>
            <a:r>
              <a:rPr lang="en-US" sz="1000" kern="0" dirty="0">
                <a:latin typeface="Open Sans" panose="020B0606030504020204" pitchFamily="34" charset="0"/>
                <a:ea typeface="Open Sans" panose="020B0606030504020204" pitchFamily="34" charset="0"/>
                <a:cs typeface="Open Sans" panose="020B0606030504020204" pitchFamily="34" charset="0"/>
              </a:rPr>
              <a:t>Clickable prototype ready for testing </a:t>
            </a:r>
          </a:p>
          <a:p>
            <a:pPr marL="15875" marR="5080" lvl="5" defTabSz="844550" hangingPunct="0">
              <a:spcBef>
                <a:spcPts val="300"/>
              </a:spcBef>
              <a:buClr>
                <a:schemeClr val="tx1"/>
              </a:buClr>
              <a:tabLst>
                <a:tab pos="142240" algn="l"/>
              </a:tabLst>
            </a:pPr>
            <a:r>
              <a:rPr lang="en-US" sz="1000" kern="0" dirty="0">
                <a:latin typeface="Open Sans" panose="020B0606030504020204" pitchFamily="34" charset="0"/>
                <a:ea typeface="Open Sans" panose="020B0606030504020204" pitchFamily="34" charset="0"/>
                <a:cs typeface="Open Sans" panose="020B0606030504020204" pitchFamily="34" charset="0"/>
              </a:rPr>
              <a:t>User scenarios for testing</a:t>
            </a:r>
          </a:p>
          <a:p>
            <a:pPr marL="15875" marR="5080" lvl="5" defTabSz="844550" hangingPunct="0">
              <a:spcBef>
                <a:spcPts val="300"/>
              </a:spcBef>
              <a:buClr>
                <a:schemeClr val="tx1"/>
              </a:buClr>
              <a:tabLst>
                <a:tab pos="142240" algn="l"/>
              </a:tabLst>
            </a:pPr>
            <a:r>
              <a:rPr lang="en-US" sz="1000" kern="0" dirty="0">
                <a:latin typeface="Open Sans" panose="020B0606030504020204" pitchFamily="34" charset="0"/>
                <a:ea typeface="Open Sans" panose="020B0606030504020204" pitchFamily="34" charset="0"/>
                <a:cs typeface="Open Sans" panose="020B0606030504020204" pitchFamily="34" charset="0"/>
              </a:rPr>
              <a:t>Basic design guidelines </a:t>
            </a:r>
          </a:p>
        </p:txBody>
      </p:sp>
      <p:sp>
        <p:nvSpPr>
          <p:cNvPr id="119" name="object 4">
            <a:extLst>
              <a:ext uri="{FF2B5EF4-FFF2-40B4-BE49-F238E27FC236}">
                <a16:creationId xmlns:a16="http://schemas.microsoft.com/office/drawing/2014/main" id="{02E8420E-D0EB-409F-C9F1-86DA022D0DB6}"/>
              </a:ext>
            </a:extLst>
          </p:cNvPr>
          <p:cNvSpPr txBox="1"/>
          <p:nvPr/>
        </p:nvSpPr>
        <p:spPr>
          <a:xfrm>
            <a:off x="3413071" y="3503715"/>
            <a:ext cx="4753211" cy="153888"/>
          </a:xfrm>
          <a:prstGeom prst="rect">
            <a:avLst/>
          </a:prstGeom>
        </p:spPr>
        <p:txBody>
          <a:bodyPr vert="horz" wrap="square" lIns="0" tIns="0" rIns="0" bIns="0" rtlCol="0">
            <a:spAutoFit/>
          </a:bodyPr>
          <a:lstStyle/>
          <a:p>
            <a:pPr marL="0" lvl="4" defTabSz="844550" hangingPunct="0">
              <a:spcBef>
                <a:spcPts val="300"/>
              </a:spcBef>
              <a:buClr>
                <a:srgbClr val="92D400"/>
              </a:buClr>
            </a:pPr>
            <a:r>
              <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rPr>
              <a:t>Validating the solution prototype over selected user scenarios with end users</a:t>
            </a:r>
          </a:p>
        </p:txBody>
      </p:sp>
      <p:sp>
        <p:nvSpPr>
          <p:cNvPr id="121" name="object 26">
            <a:extLst>
              <a:ext uri="{FF2B5EF4-FFF2-40B4-BE49-F238E27FC236}">
                <a16:creationId xmlns:a16="http://schemas.microsoft.com/office/drawing/2014/main" id="{3998D7D7-9A77-0E5B-98B6-3069A2E98CC2}"/>
              </a:ext>
            </a:extLst>
          </p:cNvPr>
          <p:cNvSpPr txBox="1"/>
          <p:nvPr/>
        </p:nvSpPr>
        <p:spPr>
          <a:xfrm>
            <a:off x="3402002" y="5503351"/>
            <a:ext cx="4804794" cy="346249"/>
          </a:xfrm>
          <a:prstGeom prst="rect">
            <a:avLst/>
          </a:prstGeom>
        </p:spPr>
        <p:txBody>
          <a:bodyPr vert="horz" wrap="square" lIns="0" tIns="0" rIns="0" bIns="0" rtlCol="0">
            <a:spAutoFit/>
          </a:bodyPr>
          <a:lstStyle/>
          <a:p>
            <a:pPr marL="0" lvl="4" defTabSz="844550" hangingPunct="0">
              <a:spcBef>
                <a:spcPts val="300"/>
              </a:spcBef>
              <a:buClr>
                <a:srgbClr val="92D400"/>
              </a:buClr>
            </a:pPr>
            <a:endPar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5875" marR="5080" lvl="5" defTabSz="844550" hangingPunct="0">
              <a:spcBef>
                <a:spcPts val="300"/>
              </a:spcBef>
              <a:buClr>
                <a:schemeClr val="tx1"/>
              </a:buClr>
              <a:tabLst>
                <a:tab pos="142240" algn="l"/>
              </a:tabLst>
            </a:pPr>
            <a:r>
              <a:rPr lang="en-US" sz="1000" kern="0" dirty="0">
                <a:latin typeface="Open Sans" panose="020B0606030504020204" pitchFamily="34" charset="0"/>
                <a:ea typeface="Open Sans" panose="020B0606030504020204" pitchFamily="34" charset="0"/>
                <a:cs typeface="Open Sans" panose="020B0606030504020204" pitchFamily="34" charset="0"/>
              </a:rPr>
              <a:t>Clickable prototype validated with end users</a:t>
            </a:r>
          </a:p>
        </p:txBody>
      </p:sp>
      <p:sp>
        <p:nvSpPr>
          <p:cNvPr id="122" name="object 26">
            <a:extLst>
              <a:ext uri="{FF2B5EF4-FFF2-40B4-BE49-F238E27FC236}">
                <a16:creationId xmlns:a16="http://schemas.microsoft.com/office/drawing/2014/main" id="{A270CCDA-EA0E-44F8-45C2-84AA0CF138BB}"/>
              </a:ext>
            </a:extLst>
          </p:cNvPr>
          <p:cNvSpPr txBox="1"/>
          <p:nvPr/>
        </p:nvSpPr>
        <p:spPr>
          <a:xfrm>
            <a:off x="8355076" y="4156756"/>
            <a:ext cx="2233152" cy="692497"/>
          </a:xfrm>
          <a:prstGeom prst="rect">
            <a:avLst/>
          </a:prstGeom>
        </p:spPr>
        <p:txBody>
          <a:bodyPr vert="horz" wrap="square" lIns="0" tIns="0" rIns="0" bIns="0" rtlCol="0">
            <a:spAutoFit/>
          </a:bodyPr>
          <a:lstStyle/>
          <a:p>
            <a:pPr marL="15875" lvl="5" defTabSz="844550" hangingPunct="0">
              <a:spcBef>
                <a:spcPts val="300"/>
              </a:spcBef>
              <a:buClr>
                <a:schemeClr val="tx1"/>
              </a:buClr>
            </a:pPr>
            <a:r>
              <a:rPr lang="en-US" sz="1000" kern="0">
                <a:latin typeface="Open Sans" panose="020B0606030504020204" pitchFamily="34" charset="0"/>
                <a:ea typeface="Open Sans" panose="020B0606030504020204" pitchFamily="34" charset="0"/>
                <a:cs typeface="Open Sans" panose="020B0606030504020204" pitchFamily="34" charset="0"/>
                <a:sym typeface="Calibri"/>
              </a:rPr>
              <a:t>Final amendments to the prototype</a:t>
            </a:r>
          </a:p>
          <a:p>
            <a:pPr marL="15875" lvl="5" defTabSz="844550" hangingPunct="0">
              <a:spcBef>
                <a:spcPts val="300"/>
              </a:spcBef>
              <a:buClr>
                <a:schemeClr val="tx1"/>
              </a:buClr>
            </a:pPr>
            <a:r>
              <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Developing guides and documentation and UX patterns</a:t>
            </a:r>
          </a:p>
          <a:p>
            <a:pPr marL="15875" lvl="5" defTabSz="844550" hangingPunct="0">
              <a:spcBef>
                <a:spcPts val="300"/>
              </a:spcBef>
              <a:buClr>
                <a:schemeClr val="tx1"/>
              </a:buClr>
            </a:pPr>
            <a:r>
              <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Design system development</a:t>
            </a:r>
          </a:p>
        </p:txBody>
      </p:sp>
      <p:sp>
        <p:nvSpPr>
          <p:cNvPr id="123" name="object 4">
            <a:extLst>
              <a:ext uri="{FF2B5EF4-FFF2-40B4-BE49-F238E27FC236}">
                <a16:creationId xmlns:a16="http://schemas.microsoft.com/office/drawing/2014/main" id="{87424692-7483-85ED-1741-34B476A6BC8F}"/>
              </a:ext>
            </a:extLst>
          </p:cNvPr>
          <p:cNvSpPr txBox="1"/>
          <p:nvPr/>
        </p:nvSpPr>
        <p:spPr>
          <a:xfrm>
            <a:off x="8380496" y="3472443"/>
            <a:ext cx="2121308" cy="307777"/>
          </a:xfrm>
          <a:prstGeom prst="rect">
            <a:avLst/>
          </a:prstGeom>
        </p:spPr>
        <p:txBody>
          <a:bodyPr vert="horz" wrap="square" lIns="0" tIns="0" rIns="0" bIns="0" rtlCol="0">
            <a:spAutoFit/>
          </a:bodyPr>
          <a:lstStyle/>
          <a:p>
            <a:pPr marL="0" lvl="4" defTabSz="844550" hangingPunct="0">
              <a:spcBef>
                <a:spcPts val="300"/>
              </a:spcBef>
              <a:buClr>
                <a:srgbClr val="92D400"/>
              </a:buClr>
            </a:pPr>
            <a:r>
              <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rPr>
              <a:t>Finalize the prototype and documentation </a:t>
            </a:r>
          </a:p>
        </p:txBody>
      </p:sp>
      <p:sp>
        <p:nvSpPr>
          <p:cNvPr id="124" name="object 26">
            <a:extLst>
              <a:ext uri="{FF2B5EF4-FFF2-40B4-BE49-F238E27FC236}">
                <a16:creationId xmlns:a16="http://schemas.microsoft.com/office/drawing/2014/main" id="{EF18AAEB-CF08-FA7D-BB0F-30B86F3176C7}"/>
              </a:ext>
            </a:extLst>
          </p:cNvPr>
          <p:cNvSpPr txBox="1"/>
          <p:nvPr/>
        </p:nvSpPr>
        <p:spPr>
          <a:xfrm>
            <a:off x="8432176" y="5695710"/>
            <a:ext cx="2542287" cy="346249"/>
          </a:xfrm>
          <a:prstGeom prst="rect">
            <a:avLst/>
          </a:prstGeom>
        </p:spPr>
        <p:txBody>
          <a:bodyPr vert="horz" wrap="square" lIns="0" tIns="0" rIns="0" bIns="0" rtlCol="0">
            <a:spAutoFit/>
          </a:bodyPr>
          <a:lstStyle/>
          <a:p>
            <a:pPr marL="15875" marR="5080" lvl="5" defTabSz="844550" hangingPunct="0">
              <a:spcBef>
                <a:spcPts val="300"/>
              </a:spcBef>
              <a:buClr>
                <a:schemeClr val="tx1"/>
              </a:buClr>
              <a:tabLst>
                <a:tab pos="142240" algn="l"/>
              </a:tabLst>
            </a:pPr>
            <a:r>
              <a:rPr lang="en-US" sz="1000" kern="0" dirty="0">
                <a:latin typeface="Open Sans" panose="020B0606030504020204" pitchFamily="34" charset="0"/>
                <a:ea typeface="Open Sans" panose="020B0606030504020204" pitchFamily="34" charset="0"/>
                <a:cs typeface="Open Sans" panose="020B0606030504020204" pitchFamily="34" charset="0"/>
              </a:rPr>
              <a:t>Final prototype </a:t>
            </a:r>
          </a:p>
          <a:p>
            <a:pPr marL="15875" marR="5080" lvl="5" defTabSz="844550" hangingPunct="0">
              <a:spcBef>
                <a:spcPts val="300"/>
              </a:spcBef>
              <a:buClr>
                <a:schemeClr val="tx1"/>
              </a:buClr>
              <a:tabLst>
                <a:tab pos="142240" algn="l"/>
              </a:tabLst>
            </a:pPr>
            <a:r>
              <a:rPr lang="en-US" sz="1000" kern="0" dirty="0">
                <a:latin typeface="Open Sans" panose="020B0606030504020204" pitchFamily="34" charset="0"/>
                <a:ea typeface="Open Sans" panose="020B0606030504020204" pitchFamily="34" charset="0"/>
                <a:cs typeface="Open Sans" panose="020B0606030504020204" pitchFamily="34" charset="0"/>
              </a:rPr>
              <a:t>Final requirements and documentation</a:t>
            </a:r>
          </a:p>
        </p:txBody>
      </p:sp>
      <p:cxnSp>
        <p:nvCxnSpPr>
          <p:cNvPr id="125" name="Straight Connector 124">
            <a:extLst>
              <a:ext uri="{FF2B5EF4-FFF2-40B4-BE49-F238E27FC236}">
                <a16:creationId xmlns:a16="http://schemas.microsoft.com/office/drawing/2014/main" id="{287D650C-E0E4-4010-6C6A-BAE8C0618F2D}"/>
              </a:ext>
            </a:extLst>
          </p:cNvPr>
          <p:cNvCxnSpPr/>
          <p:nvPr/>
        </p:nvCxnSpPr>
        <p:spPr>
          <a:xfrm>
            <a:off x="634338" y="3986299"/>
            <a:ext cx="256234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E49D0E92-B486-983F-FB19-8AA4C0F685AD}"/>
              </a:ext>
            </a:extLst>
          </p:cNvPr>
          <p:cNvCxnSpPr>
            <a:cxnSpLocks/>
          </p:cNvCxnSpPr>
          <p:nvPr/>
        </p:nvCxnSpPr>
        <p:spPr>
          <a:xfrm>
            <a:off x="634338" y="3243845"/>
            <a:ext cx="256234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A7C4E35D-2411-B829-00F7-A7B814D628BD}"/>
              </a:ext>
            </a:extLst>
          </p:cNvPr>
          <p:cNvCxnSpPr/>
          <p:nvPr/>
        </p:nvCxnSpPr>
        <p:spPr>
          <a:xfrm>
            <a:off x="617053" y="5435843"/>
            <a:ext cx="256234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FD5EBE2-29F9-7139-9222-2C83B58BC8F3}"/>
              </a:ext>
            </a:extLst>
          </p:cNvPr>
          <p:cNvCxnSpPr/>
          <p:nvPr/>
        </p:nvCxnSpPr>
        <p:spPr>
          <a:xfrm>
            <a:off x="3392613" y="3986299"/>
            <a:ext cx="48141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E31D36D-CC98-FB75-B6D7-4CFE29760E5D}"/>
              </a:ext>
            </a:extLst>
          </p:cNvPr>
          <p:cNvCxnSpPr>
            <a:cxnSpLocks/>
          </p:cNvCxnSpPr>
          <p:nvPr/>
        </p:nvCxnSpPr>
        <p:spPr>
          <a:xfrm>
            <a:off x="3392613" y="3243845"/>
            <a:ext cx="48141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EB9AEBCB-4FEF-247D-10DC-14C9A11F5C43}"/>
              </a:ext>
            </a:extLst>
          </p:cNvPr>
          <p:cNvCxnSpPr/>
          <p:nvPr/>
        </p:nvCxnSpPr>
        <p:spPr>
          <a:xfrm>
            <a:off x="3375328" y="5435843"/>
            <a:ext cx="48141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5FEA7A7-F4FD-BB39-72CE-ACA79915317D}"/>
              </a:ext>
            </a:extLst>
          </p:cNvPr>
          <p:cNvCxnSpPr/>
          <p:nvPr/>
        </p:nvCxnSpPr>
        <p:spPr>
          <a:xfrm>
            <a:off x="8380496" y="3986299"/>
            <a:ext cx="223315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D33AB4D-6AA5-04B4-D0E5-1DC4109A1E05}"/>
              </a:ext>
            </a:extLst>
          </p:cNvPr>
          <p:cNvCxnSpPr>
            <a:cxnSpLocks/>
          </p:cNvCxnSpPr>
          <p:nvPr/>
        </p:nvCxnSpPr>
        <p:spPr>
          <a:xfrm>
            <a:off x="8380496" y="3243845"/>
            <a:ext cx="223315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8B11A76-D739-309E-3AB6-B422113126E6}"/>
              </a:ext>
            </a:extLst>
          </p:cNvPr>
          <p:cNvCxnSpPr/>
          <p:nvPr/>
        </p:nvCxnSpPr>
        <p:spPr>
          <a:xfrm>
            <a:off x="8363211" y="5435843"/>
            <a:ext cx="223315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34" name="Rectangle: Rounded Corners 144">
            <a:extLst>
              <a:ext uri="{FF2B5EF4-FFF2-40B4-BE49-F238E27FC236}">
                <a16:creationId xmlns:a16="http://schemas.microsoft.com/office/drawing/2014/main" id="{4A3E6DA8-CAD7-644C-A54C-6CF52D7D7D9A}"/>
              </a:ext>
            </a:extLst>
          </p:cNvPr>
          <p:cNvSpPr/>
          <p:nvPr/>
        </p:nvSpPr>
        <p:spPr bwMode="gray">
          <a:xfrm>
            <a:off x="8819477" y="1287990"/>
            <a:ext cx="1590865" cy="386568"/>
          </a:xfrm>
          <a:prstGeom prst="roundRect">
            <a:avLst/>
          </a:prstGeom>
          <a:solidFill>
            <a:schemeClr val="bg1"/>
          </a:solidFill>
          <a:ln w="19050" algn="ctr">
            <a:solidFill>
              <a:srgbClr val="1CABE3"/>
            </a:solidFill>
            <a:miter lim="800000"/>
            <a:headEnd/>
            <a:tailEnd/>
          </a:ln>
        </p:spPr>
        <p:txBody>
          <a:bodyPr wrap="square" lIns="0" tIns="0" rIns="0" bIns="0" rtlCol="0" anchor="ctr"/>
          <a:lstStyle/>
          <a:p>
            <a:pPr algn="ctr"/>
            <a:r>
              <a:rPr lang="en-GB" sz="1050" b="1" i="1">
                <a:latin typeface="Open Sans" panose="020B0606030504020204" pitchFamily="34" charset="0"/>
                <a:ea typeface="Open Sans" panose="020B0606030504020204" pitchFamily="34" charset="0"/>
                <a:cs typeface="Open Sans" panose="020B0606030504020204" pitchFamily="34" charset="0"/>
              </a:rPr>
              <a:t>Exemplary approach</a:t>
            </a:r>
            <a:endParaRPr lang="en-US" sz="1050" b="1" i="1">
              <a:latin typeface="Open Sans" panose="020B0606030504020204" pitchFamily="34" charset="0"/>
              <a:ea typeface="Open Sans" panose="020B0606030504020204" pitchFamily="34" charset="0"/>
              <a:cs typeface="Open Sans" panose="020B0606030504020204" pitchFamily="34" charset="0"/>
            </a:endParaRPr>
          </a:p>
        </p:txBody>
      </p:sp>
      <p:sp>
        <p:nvSpPr>
          <p:cNvPr id="135" name="Arc 134">
            <a:extLst>
              <a:ext uri="{FF2B5EF4-FFF2-40B4-BE49-F238E27FC236}">
                <a16:creationId xmlns:a16="http://schemas.microsoft.com/office/drawing/2014/main" id="{F600C4B2-7C30-EC56-4EFA-F9076F562125}"/>
              </a:ext>
            </a:extLst>
          </p:cNvPr>
          <p:cNvSpPr/>
          <p:nvPr/>
        </p:nvSpPr>
        <p:spPr>
          <a:xfrm>
            <a:off x="731221" y="2142382"/>
            <a:ext cx="2321534" cy="1573060"/>
          </a:xfrm>
          <a:prstGeom prst="arc">
            <a:avLst>
              <a:gd name="adj1" fmla="val 13278009"/>
              <a:gd name="adj2" fmla="val 19035908"/>
            </a:avLst>
          </a:prstGeom>
          <a:ln w="127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6" name="object 4">
            <a:extLst>
              <a:ext uri="{FF2B5EF4-FFF2-40B4-BE49-F238E27FC236}">
                <a16:creationId xmlns:a16="http://schemas.microsoft.com/office/drawing/2014/main" id="{8428C974-5EDF-6E48-60A5-39BB40FB84AE}"/>
              </a:ext>
            </a:extLst>
          </p:cNvPr>
          <p:cNvSpPr txBox="1"/>
          <p:nvPr/>
        </p:nvSpPr>
        <p:spPr>
          <a:xfrm>
            <a:off x="3395581" y="4164267"/>
            <a:ext cx="1348109" cy="500137"/>
          </a:xfrm>
          <a:prstGeom prst="rect">
            <a:avLst/>
          </a:prstGeom>
        </p:spPr>
        <p:txBody>
          <a:bodyPr vert="horz" wrap="square" lIns="0" tIns="0" rIns="0" bIns="0" rtlCol="0">
            <a:spAutoFit/>
          </a:bodyPr>
          <a:lstStyle/>
          <a:p>
            <a:pPr marL="0" lvl="4" defTabSz="844550" hangingPunct="0">
              <a:spcBef>
                <a:spcPts val="300"/>
              </a:spcBef>
              <a:buClr>
                <a:srgbClr val="92D400"/>
              </a:buClr>
            </a:pPr>
            <a:r>
              <a:rPr lang="en-US" sz="1000" b="1" kern="0">
                <a:solidFill>
                  <a:srgbClr val="000000"/>
                </a:solidFill>
                <a:latin typeface="Open Sans" panose="020B0606030504020204" pitchFamily="34" charset="0"/>
                <a:ea typeface="Open Sans" panose="020B0606030504020204" pitchFamily="34" charset="0"/>
                <a:cs typeface="Open Sans" panose="020B0606030504020204" pitchFamily="34" charset="0"/>
              </a:rPr>
              <a:t>Preparation</a:t>
            </a:r>
          </a:p>
          <a:p>
            <a:pPr marL="0" lvl="4" defTabSz="844550" hangingPunct="0">
              <a:spcBef>
                <a:spcPts val="300"/>
              </a:spcBef>
              <a:buClr>
                <a:srgbClr val="92D400"/>
              </a:buClr>
            </a:pPr>
            <a:r>
              <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rPr>
              <a:t>Interaction design over chosen scenarios</a:t>
            </a:r>
          </a:p>
        </p:txBody>
      </p:sp>
      <p:sp>
        <p:nvSpPr>
          <p:cNvPr id="137" name="object 4">
            <a:extLst>
              <a:ext uri="{FF2B5EF4-FFF2-40B4-BE49-F238E27FC236}">
                <a16:creationId xmlns:a16="http://schemas.microsoft.com/office/drawing/2014/main" id="{1F03288A-645A-9294-A2F8-0A2446B65A72}"/>
              </a:ext>
            </a:extLst>
          </p:cNvPr>
          <p:cNvSpPr txBox="1"/>
          <p:nvPr/>
        </p:nvSpPr>
        <p:spPr>
          <a:xfrm>
            <a:off x="4958625" y="4164267"/>
            <a:ext cx="3200521" cy="1038746"/>
          </a:xfrm>
          <a:prstGeom prst="rect">
            <a:avLst/>
          </a:prstGeom>
        </p:spPr>
        <p:txBody>
          <a:bodyPr vert="horz" wrap="square" lIns="0" tIns="0" rIns="0" bIns="0" rtlCol="0">
            <a:spAutoFit/>
          </a:bodyPr>
          <a:lstStyle/>
          <a:p>
            <a:pPr marL="0" lvl="4" defTabSz="844550" hangingPunct="0">
              <a:spcBef>
                <a:spcPts val="300"/>
              </a:spcBef>
              <a:buClr>
                <a:srgbClr val="92D400"/>
              </a:buClr>
            </a:pPr>
            <a:r>
              <a:rPr lang="en-US" sz="1000" b="1" kern="0">
                <a:solidFill>
                  <a:srgbClr val="000000"/>
                </a:solidFill>
                <a:latin typeface="Open Sans" panose="020B0606030504020204" pitchFamily="34" charset="0"/>
                <a:ea typeface="Open Sans" panose="020B0606030504020204" pitchFamily="34" charset="0"/>
                <a:cs typeface="Open Sans" panose="020B0606030504020204" pitchFamily="34" charset="0"/>
              </a:rPr>
              <a:t>Test </a:t>
            </a:r>
            <a:endParaRPr lang="pl-PL" sz="1000" b="1" kern="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lvl="4" defTabSz="844550" hangingPunct="0">
              <a:spcBef>
                <a:spcPts val="300"/>
              </a:spcBef>
              <a:buClr>
                <a:srgbClr val="92D400"/>
              </a:buClr>
            </a:pPr>
            <a:r>
              <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rPr>
              <a:t>User testing. Results immediately translated into summary and project recommendations</a:t>
            </a:r>
          </a:p>
          <a:p>
            <a:pPr marL="0" lvl="4" defTabSz="844550" hangingPunct="0">
              <a:spcBef>
                <a:spcPts val="300"/>
              </a:spcBef>
              <a:buClr>
                <a:srgbClr val="92D400"/>
              </a:buClr>
            </a:pPr>
            <a:r>
              <a:rPr lang="en-US" sz="1000" b="1" kern="0">
                <a:solidFill>
                  <a:srgbClr val="000000"/>
                </a:solidFill>
                <a:latin typeface="Open Sans" panose="020B0606030504020204" pitchFamily="34" charset="0"/>
                <a:ea typeface="Open Sans" panose="020B0606030504020204" pitchFamily="34" charset="0"/>
                <a:cs typeface="Open Sans" panose="020B0606030504020204" pitchFamily="34" charset="0"/>
              </a:rPr>
              <a:t>Redesign </a:t>
            </a:r>
            <a:endParaRPr lang="pl-PL" sz="1000" b="1" kern="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lvl="4" defTabSz="844550" hangingPunct="0">
              <a:spcBef>
                <a:spcPts val="300"/>
              </a:spcBef>
              <a:buClr>
                <a:srgbClr val="92D400"/>
              </a:buClr>
            </a:pPr>
            <a:r>
              <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rPr>
              <a:t>Implementing user feedback into the prototype with parallel feasibility study</a:t>
            </a:r>
          </a:p>
        </p:txBody>
      </p:sp>
      <p:sp>
        <p:nvSpPr>
          <p:cNvPr id="139" name="TextBox 138">
            <a:extLst>
              <a:ext uri="{FF2B5EF4-FFF2-40B4-BE49-F238E27FC236}">
                <a16:creationId xmlns:a16="http://schemas.microsoft.com/office/drawing/2014/main" id="{D14C0EB9-4BCA-D95B-57CC-2595671A5AE4}"/>
              </a:ext>
            </a:extLst>
          </p:cNvPr>
          <p:cNvSpPr txBox="1"/>
          <p:nvPr/>
        </p:nvSpPr>
        <p:spPr>
          <a:xfrm rot="16200000">
            <a:off x="-226132" y="4581470"/>
            <a:ext cx="1059600" cy="246221"/>
          </a:xfrm>
          <a:prstGeom prst="rect">
            <a:avLst/>
          </a:prstGeom>
          <a:noFill/>
        </p:spPr>
        <p:txBody>
          <a:bodyPr wrap="square">
            <a:spAutoFit/>
          </a:bodyPr>
          <a:lstStyle/>
          <a:p>
            <a:pPr algn="ctr">
              <a:spcBef>
                <a:spcPts val="300"/>
              </a:spcBef>
            </a:pPr>
            <a:r>
              <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ACTIVITIES</a:t>
            </a:r>
          </a:p>
        </p:txBody>
      </p:sp>
      <p:sp>
        <p:nvSpPr>
          <p:cNvPr id="140" name="TextBox 139">
            <a:extLst>
              <a:ext uri="{FF2B5EF4-FFF2-40B4-BE49-F238E27FC236}">
                <a16:creationId xmlns:a16="http://schemas.microsoft.com/office/drawing/2014/main" id="{59DB2A8D-A120-229F-7CAD-42A6DC45E9C3}"/>
              </a:ext>
            </a:extLst>
          </p:cNvPr>
          <p:cNvSpPr txBox="1"/>
          <p:nvPr/>
        </p:nvSpPr>
        <p:spPr>
          <a:xfrm rot="16200000">
            <a:off x="-352082" y="5849322"/>
            <a:ext cx="1325515" cy="246221"/>
          </a:xfrm>
          <a:prstGeom prst="rect">
            <a:avLst/>
          </a:prstGeom>
          <a:noFill/>
        </p:spPr>
        <p:txBody>
          <a:bodyPr wrap="square">
            <a:spAutoFit/>
          </a:bodyPr>
          <a:lstStyle/>
          <a:p>
            <a:pPr algn="ctr">
              <a:spcBef>
                <a:spcPts val="300"/>
              </a:spcBef>
            </a:pPr>
            <a:r>
              <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DELIVERABLES</a:t>
            </a:r>
          </a:p>
        </p:txBody>
      </p:sp>
      <p:sp>
        <p:nvSpPr>
          <p:cNvPr id="141" name="TextBox 140">
            <a:extLst>
              <a:ext uri="{FF2B5EF4-FFF2-40B4-BE49-F238E27FC236}">
                <a16:creationId xmlns:a16="http://schemas.microsoft.com/office/drawing/2014/main" id="{A42F7198-2625-5DC4-AF3F-8434AB99A6D6}"/>
              </a:ext>
            </a:extLst>
          </p:cNvPr>
          <p:cNvSpPr txBox="1"/>
          <p:nvPr/>
        </p:nvSpPr>
        <p:spPr>
          <a:xfrm rot="16200000">
            <a:off x="-27070" y="3475266"/>
            <a:ext cx="709063" cy="246219"/>
          </a:xfrm>
          <a:prstGeom prst="rect">
            <a:avLst/>
          </a:prstGeom>
          <a:noFill/>
        </p:spPr>
        <p:txBody>
          <a:bodyPr wrap="square">
            <a:spAutoFit/>
          </a:bodyPr>
          <a:lstStyle/>
          <a:p>
            <a:pPr algn="ctr">
              <a:spcBef>
                <a:spcPts val="300"/>
              </a:spcBef>
            </a:pPr>
            <a:r>
              <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GOALS</a:t>
            </a:r>
          </a:p>
        </p:txBody>
      </p:sp>
    </p:spTree>
    <p:extLst>
      <p:ext uri="{BB962C8B-B14F-4D97-AF65-F5344CB8AC3E}">
        <p14:creationId xmlns:p14="http://schemas.microsoft.com/office/powerpoint/2010/main" val="4201745773"/>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1F1239-939D-8D5A-1779-9F3223334E8C}"/>
              </a:ext>
            </a:extLst>
          </p:cNvPr>
          <p:cNvGraphicFramePr>
            <a:graphicFrameLocks noChangeAspect="1"/>
          </p:cNvGraphicFramePr>
          <p:nvPr>
            <p:custDataLst>
              <p:tags r:id="rId1"/>
            </p:custDataLst>
            <p:extLst>
              <p:ext uri="{D42A27DB-BD31-4B8C-83A1-F6EECF244321}">
                <p14:modId xmlns:p14="http://schemas.microsoft.com/office/powerpoint/2010/main" val="100236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EF1F1239-939D-8D5A-1779-9F3223334E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758906-63F1-C247-8DE8-AA23459682C5}"/>
              </a:ext>
            </a:extLst>
          </p:cNvPr>
          <p:cNvSpPr>
            <a:spLocks noGrp="1"/>
          </p:cNvSpPr>
          <p:nvPr>
            <p:ph type="title"/>
          </p:nvPr>
        </p:nvSpPr>
        <p:spPr>
          <a:xfrm>
            <a:off x="463295" y="417911"/>
            <a:ext cx="11277600" cy="334099"/>
          </a:xfrm>
        </p:spPr>
        <p:txBody>
          <a:bodyPr vert="horz"/>
          <a:lstStyle/>
          <a:p>
            <a:r>
              <a:rPr lang="en-US" sz="2400" dirty="0">
                <a:ea typeface="+mj-lt"/>
                <a:cs typeface="+mj-lt"/>
              </a:rPr>
              <a:t>Preparing a package of UI components will allow us to improve the </a:t>
            </a:r>
            <a:br>
              <a:rPr lang="en-US" sz="2400" dirty="0">
                <a:ea typeface="+mj-lt"/>
                <a:cs typeface="+mj-lt"/>
              </a:rPr>
            </a:br>
            <a:r>
              <a:rPr lang="en-US" sz="2400" dirty="0">
                <a:ea typeface="+mj-lt"/>
                <a:cs typeface="+mj-lt"/>
              </a:rPr>
              <a:t>development of the digital product </a:t>
            </a:r>
            <a:endParaRPr lang="en-US" sz="2400" dirty="0"/>
          </a:p>
        </p:txBody>
      </p:sp>
      <p:sp>
        <p:nvSpPr>
          <p:cNvPr id="3" name="Rectangle 2">
            <a:extLst>
              <a:ext uri="{FF2B5EF4-FFF2-40B4-BE49-F238E27FC236}">
                <a16:creationId xmlns:a16="http://schemas.microsoft.com/office/drawing/2014/main" id="{17B292A7-175F-B831-A763-EC90239AAC28}"/>
              </a:ext>
            </a:extLst>
          </p:cNvPr>
          <p:cNvSpPr/>
          <p:nvPr/>
        </p:nvSpPr>
        <p:spPr>
          <a:xfrm>
            <a:off x="463295" y="1270104"/>
            <a:ext cx="2798100" cy="228078"/>
          </a:xfrm>
          <a:prstGeom prst="rect">
            <a:avLst/>
          </a:prstGeom>
          <a:solidFill>
            <a:srgbClr val="1FA5D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DESIGN DEEP DIVE – UI KIT </a:t>
            </a:r>
          </a:p>
        </p:txBody>
      </p:sp>
      <p:sp>
        <p:nvSpPr>
          <p:cNvPr id="4" name="Rectangle 3">
            <a:extLst>
              <a:ext uri="{FF2B5EF4-FFF2-40B4-BE49-F238E27FC236}">
                <a16:creationId xmlns:a16="http://schemas.microsoft.com/office/drawing/2014/main" id="{C36BF11D-C18D-FB0D-91A6-471E1FEBE816}"/>
              </a:ext>
            </a:extLst>
          </p:cNvPr>
          <p:cNvSpPr/>
          <p:nvPr/>
        </p:nvSpPr>
        <p:spPr>
          <a:xfrm>
            <a:off x="941877" y="1871473"/>
            <a:ext cx="2531825"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SCOPE</a:t>
            </a:r>
          </a:p>
        </p:txBody>
      </p:sp>
      <p:sp>
        <p:nvSpPr>
          <p:cNvPr id="5" name="Freeform 723">
            <a:extLst>
              <a:ext uri="{FF2B5EF4-FFF2-40B4-BE49-F238E27FC236}">
                <a16:creationId xmlns:a16="http://schemas.microsoft.com/office/drawing/2014/main" id="{B051CAC9-D4AD-EB8C-70C5-67C5D87180CA}"/>
              </a:ext>
            </a:extLst>
          </p:cNvPr>
          <p:cNvSpPr>
            <a:spLocks noChangeAspect="1" noEditPoints="1"/>
          </p:cNvSpPr>
          <p:nvPr/>
        </p:nvSpPr>
        <p:spPr bwMode="auto">
          <a:xfrm>
            <a:off x="475008" y="1811346"/>
            <a:ext cx="304920" cy="30492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1FA5D9"/>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6" name="Rounded Rectangle 236">
            <a:extLst>
              <a:ext uri="{FF2B5EF4-FFF2-40B4-BE49-F238E27FC236}">
                <a16:creationId xmlns:a16="http://schemas.microsoft.com/office/drawing/2014/main" id="{2EF9AA8B-2F1F-628D-DF98-F30A2FB272C1}"/>
              </a:ext>
            </a:extLst>
          </p:cNvPr>
          <p:cNvSpPr/>
          <p:nvPr/>
        </p:nvSpPr>
        <p:spPr bwMode="gray">
          <a:xfrm>
            <a:off x="475008" y="2200343"/>
            <a:ext cx="3314818" cy="54095"/>
          </a:xfrm>
          <a:prstGeom prst="roundRect">
            <a:avLst>
              <a:gd name="adj" fmla="val 50000"/>
            </a:avLst>
          </a:prstGeom>
          <a:solidFill>
            <a:srgbClr val="1FA5D9"/>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9" name="Text Placeholder 2">
            <a:extLst>
              <a:ext uri="{FF2B5EF4-FFF2-40B4-BE49-F238E27FC236}">
                <a16:creationId xmlns:a16="http://schemas.microsoft.com/office/drawing/2014/main" id="{FA7C3127-A923-38C3-F3FA-42AB3B6C241E}"/>
              </a:ext>
            </a:extLst>
          </p:cNvPr>
          <p:cNvSpPr txBox="1">
            <a:spLocks/>
          </p:cNvSpPr>
          <p:nvPr/>
        </p:nvSpPr>
        <p:spPr>
          <a:xfrm>
            <a:off x="463295" y="2489557"/>
            <a:ext cx="3314818" cy="2900032"/>
          </a:xfrm>
          <a:prstGeom prst="rect">
            <a:avLst/>
          </a:prstGeom>
        </p:spPr>
        <p:txBody>
          <a:bodyPr lIns="0" tIns="0" rIns="7200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ts val="1520"/>
              </a:lnSpc>
              <a:spcBef>
                <a:spcPts val="1000"/>
              </a:spcBef>
              <a:spcAft>
                <a:spcPts val="300"/>
              </a:spcAft>
              <a:buClr>
                <a:srgbClr val="6FC2B4"/>
              </a:buClr>
              <a:buSzPct val="75000"/>
              <a:buFont typeface="Arial" panose="020B0604020202020204" pitchFamily="34" charset="0"/>
              <a:buNone/>
              <a:tabLst/>
              <a:defRPr/>
            </a:pPr>
            <a:r>
              <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rPr>
              <a:t>Preparation of </a:t>
            </a:r>
            <a:r>
              <a:rPr kumimoji="0" lang="en-US" sz="1050" b="1" i="0" u="none" strike="noStrike" kern="1200" cap="none" spc="-30" normalizeH="0" baseline="0" dirty="0">
                <a:ln>
                  <a:noFill/>
                </a:ln>
                <a:solidFill>
                  <a:prstClr val="black">
                    <a:lumMod val="95000"/>
                    <a:lumOff val="5000"/>
                  </a:prstClr>
                </a:solidFill>
                <a:effectLst/>
                <a:uLnTx/>
                <a:uFillTx/>
                <a:latin typeface="Open Sans"/>
                <a:ea typeface="Open Sans"/>
                <a:cs typeface="Open Sans"/>
              </a:rPr>
              <a:t>a package of user interface components</a:t>
            </a:r>
            <a:r>
              <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rPr>
              <a:t>. </a:t>
            </a:r>
          </a:p>
          <a:p>
            <a:pPr marL="0" marR="0" lvl="0" indent="0" algn="l" defTabSz="914400" eaLnBrk="1" fontAlgn="auto" latinLnBrk="0" hangingPunct="1">
              <a:lnSpc>
                <a:spcPts val="1520"/>
              </a:lnSpc>
              <a:spcBef>
                <a:spcPts val="1000"/>
              </a:spcBef>
              <a:spcAft>
                <a:spcPts val="300"/>
              </a:spcAft>
              <a:buClr>
                <a:srgbClr val="6FC2B4"/>
              </a:buClr>
              <a:buSzPct val="75000"/>
              <a:buFont typeface="Arial" panose="020B0604020202020204" pitchFamily="34" charset="0"/>
              <a:buNone/>
              <a:tabLst/>
              <a:defRPr/>
            </a:pPr>
            <a:r>
              <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rPr>
              <a:t>The collection will include elements necessary to design for the web, such as: buttons, navigation elements, tables, etc. Individual assets will be </a:t>
            </a:r>
            <a:r>
              <a:rPr kumimoji="0" lang="en-US" sz="1050" b="1" i="0" u="none" strike="noStrike" kern="1200" cap="none" spc="-30" normalizeH="0" baseline="0" dirty="0">
                <a:ln>
                  <a:noFill/>
                </a:ln>
                <a:solidFill>
                  <a:prstClr val="black">
                    <a:lumMod val="95000"/>
                    <a:lumOff val="5000"/>
                  </a:prstClr>
                </a:solidFill>
                <a:effectLst/>
                <a:uLnTx/>
                <a:uFillTx/>
                <a:latin typeface="Open Sans"/>
                <a:ea typeface="Open Sans"/>
                <a:cs typeface="Open Sans"/>
              </a:rPr>
              <a:t>described in detail </a:t>
            </a:r>
            <a:br>
              <a:rPr kumimoji="0" lang="en-US" sz="1050" b="1" i="0" u="none" strike="noStrike" kern="1200" cap="none" spc="-30" normalizeH="0" baseline="0" dirty="0">
                <a:ln>
                  <a:noFill/>
                </a:ln>
                <a:solidFill>
                  <a:prstClr val="black">
                    <a:lumMod val="95000"/>
                    <a:lumOff val="5000"/>
                  </a:prstClr>
                </a:solidFill>
                <a:effectLst/>
                <a:uLnTx/>
                <a:uFillTx/>
                <a:latin typeface="Open Sans"/>
                <a:ea typeface="Open Sans"/>
                <a:cs typeface="Open Sans"/>
              </a:rPr>
            </a:br>
            <a:r>
              <a:rPr kumimoji="0" lang="en-US" sz="1050" b="1" i="0" u="none" strike="noStrike" kern="1200" cap="none" spc="-30" normalizeH="0" baseline="0" dirty="0">
                <a:ln>
                  <a:noFill/>
                </a:ln>
                <a:solidFill>
                  <a:prstClr val="black">
                    <a:lumMod val="95000"/>
                    <a:lumOff val="5000"/>
                  </a:prstClr>
                </a:solidFill>
                <a:effectLst/>
                <a:uLnTx/>
                <a:uFillTx/>
                <a:latin typeface="Open Sans"/>
                <a:ea typeface="Open Sans"/>
                <a:cs typeface="Open Sans"/>
              </a:rPr>
              <a:t>along with examples of their use. </a:t>
            </a:r>
          </a:p>
          <a:p>
            <a:pPr marL="0" marR="0" lvl="0" indent="0" algn="l" defTabSz="914400" eaLnBrk="1" fontAlgn="auto" latinLnBrk="0" hangingPunct="1">
              <a:lnSpc>
                <a:spcPts val="1520"/>
              </a:lnSpc>
              <a:spcBef>
                <a:spcPts val="1000"/>
              </a:spcBef>
              <a:spcAft>
                <a:spcPts val="300"/>
              </a:spcAft>
              <a:buClr>
                <a:srgbClr val="6FC2B4"/>
              </a:buClr>
              <a:buSzPct val="75000"/>
              <a:buFont typeface="Arial" panose="020B0604020202020204" pitchFamily="34" charset="0"/>
              <a:buNone/>
              <a:tabLst/>
              <a:defRPr/>
            </a:pPr>
            <a:r>
              <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rPr>
              <a:t>The whole thing will allow you to </a:t>
            </a:r>
            <a:r>
              <a:rPr kumimoji="0" lang="en-US" sz="1050" b="1" i="0" u="none" strike="noStrike" kern="1200" cap="none" spc="-30" normalizeH="0" baseline="0" dirty="0">
                <a:ln>
                  <a:noFill/>
                </a:ln>
                <a:solidFill>
                  <a:prstClr val="black">
                    <a:lumMod val="95000"/>
                    <a:lumOff val="5000"/>
                  </a:prstClr>
                </a:solidFill>
                <a:effectLst/>
                <a:uLnTx/>
                <a:uFillTx/>
                <a:latin typeface="Open Sans"/>
                <a:ea typeface="Open Sans"/>
                <a:cs typeface="Open Sans"/>
              </a:rPr>
              <a:t>create consistent responsive templates for </a:t>
            </a:r>
            <a:r>
              <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rPr>
              <a:t>websites and mobile applications.</a:t>
            </a:r>
          </a:p>
          <a:p>
            <a:pPr marL="0" marR="0" lvl="0" indent="0" algn="l" defTabSz="914400" eaLnBrk="1" fontAlgn="auto" latinLnBrk="0" hangingPunct="1">
              <a:lnSpc>
                <a:spcPts val="1520"/>
              </a:lnSpc>
              <a:spcBef>
                <a:spcPts val="1000"/>
              </a:spcBef>
              <a:spcAft>
                <a:spcPts val="300"/>
              </a:spcAft>
              <a:buClr>
                <a:srgbClr val="6FC2B4"/>
              </a:buClr>
              <a:buSzPct val="75000"/>
              <a:buFont typeface="Arial" panose="020B0604020202020204" pitchFamily="34" charset="0"/>
              <a:buNone/>
              <a:tabLst/>
              <a:defRPr/>
            </a:pPr>
            <a:r>
              <a:rPr lang="en-US" sz="1050" dirty="0">
                <a:solidFill>
                  <a:prstClr val="black">
                    <a:lumMod val="95000"/>
                    <a:lumOff val="5000"/>
                  </a:prstClr>
                </a:solidFill>
                <a:latin typeface="Open Sans"/>
                <a:ea typeface="Open Sans"/>
                <a:cs typeface="Open Sans"/>
              </a:rPr>
              <a:t>The original UI kit can be gradually developed </a:t>
            </a:r>
            <a:br>
              <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rPr>
            </a:br>
            <a:r>
              <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rPr>
              <a:t>based on the developed information architecture.</a:t>
            </a:r>
          </a:p>
          <a:p>
            <a:pPr marL="0" marR="0" lvl="0" indent="0" algn="l" defTabSz="914400" eaLnBrk="1" fontAlgn="auto" latinLnBrk="0" hangingPunct="1">
              <a:lnSpc>
                <a:spcPts val="1520"/>
              </a:lnSpc>
              <a:spcBef>
                <a:spcPts val="1000"/>
              </a:spcBef>
              <a:spcAft>
                <a:spcPts val="300"/>
              </a:spcAft>
              <a:buClr>
                <a:srgbClr val="6FC2B4"/>
              </a:buClr>
              <a:buSzPct val="75000"/>
              <a:buFont typeface="Arial" panose="020B0604020202020204" pitchFamily="34" charset="0"/>
              <a:buNone/>
              <a:tabLst/>
              <a:defRPr/>
            </a:pPr>
            <a:br>
              <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rPr>
            </a:br>
            <a:endParaRPr kumimoji="0" lang="en-US" sz="1050" b="0" i="0" u="none" strike="noStrike" kern="1200" cap="none" spc="-30" normalizeH="0" baseline="0" dirty="0">
              <a:ln>
                <a:noFill/>
              </a:ln>
              <a:solidFill>
                <a:prstClr val="black">
                  <a:lumMod val="95000"/>
                  <a:lumOff val="5000"/>
                </a:prstClr>
              </a:solidFill>
              <a:effectLst/>
              <a:uLnTx/>
              <a:uFillTx/>
              <a:latin typeface="Open Sans"/>
              <a:ea typeface="Open Sans"/>
              <a:cs typeface="Open Sans"/>
            </a:endParaRPr>
          </a:p>
        </p:txBody>
      </p:sp>
      <p:sp>
        <p:nvSpPr>
          <p:cNvPr id="13" name="Rectangle 12">
            <a:extLst>
              <a:ext uri="{FF2B5EF4-FFF2-40B4-BE49-F238E27FC236}">
                <a16:creationId xmlns:a16="http://schemas.microsoft.com/office/drawing/2014/main" id="{6AAE9D28-E80C-EEE2-2783-578D3446175E}"/>
              </a:ext>
            </a:extLst>
          </p:cNvPr>
          <p:cNvSpPr/>
          <p:nvPr/>
        </p:nvSpPr>
        <p:spPr>
          <a:xfrm>
            <a:off x="4658668" y="1871473"/>
            <a:ext cx="1985196"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WORK PRODUCTS</a:t>
            </a:r>
          </a:p>
        </p:txBody>
      </p:sp>
      <p:sp>
        <p:nvSpPr>
          <p:cNvPr id="14" name="Freeform 768">
            <a:extLst>
              <a:ext uri="{FF2B5EF4-FFF2-40B4-BE49-F238E27FC236}">
                <a16:creationId xmlns:a16="http://schemas.microsoft.com/office/drawing/2014/main" id="{3AB214E4-8D72-0E71-658D-A43D6B0D1B35}"/>
              </a:ext>
            </a:extLst>
          </p:cNvPr>
          <p:cNvSpPr>
            <a:spLocks noChangeAspect="1" noEditPoints="1"/>
          </p:cNvSpPr>
          <p:nvPr/>
        </p:nvSpPr>
        <p:spPr bwMode="auto">
          <a:xfrm>
            <a:off x="4237264" y="1811346"/>
            <a:ext cx="304920" cy="30492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rgbClr val="1FA5D9"/>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6" name="Rounded Rectangle 236">
            <a:extLst>
              <a:ext uri="{FF2B5EF4-FFF2-40B4-BE49-F238E27FC236}">
                <a16:creationId xmlns:a16="http://schemas.microsoft.com/office/drawing/2014/main" id="{B7D43C36-324D-18A0-AB57-3415766AFBAB}"/>
              </a:ext>
            </a:extLst>
          </p:cNvPr>
          <p:cNvSpPr/>
          <p:nvPr/>
        </p:nvSpPr>
        <p:spPr bwMode="gray">
          <a:xfrm>
            <a:off x="4191798" y="2200343"/>
            <a:ext cx="3314818" cy="54095"/>
          </a:xfrm>
          <a:prstGeom prst="roundRect">
            <a:avLst>
              <a:gd name="adj" fmla="val 50000"/>
            </a:avLst>
          </a:prstGeom>
          <a:solidFill>
            <a:srgbClr val="1FA5D9"/>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17" name="Text Placeholder 2">
            <a:extLst>
              <a:ext uri="{FF2B5EF4-FFF2-40B4-BE49-F238E27FC236}">
                <a16:creationId xmlns:a16="http://schemas.microsoft.com/office/drawing/2014/main" id="{265843C0-BAA0-1F6E-33E1-E61263C964F1}"/>
              </a:ext>
            </a:extLst>
          </p:cNvPr>
          <p:cNvSpPr txBox="1">
            <a:spLocks/>
          </p:cNvSpPr>
          <p:nvPr/>
        </p:nvSpPr>
        <p:spPr>
          <a:xfrm>
            <a:off x="4191798" y="2338515"/>
            <a:ext cx="3314818" cy="1665835"/>
          </a:xfrm>
          <a:prstGeom prst="rect">
            <a:avLst/>
          </a:prstGeom>
        </p:spPr>
        <p:txBody>
          <a:bodyPr lIns="0" tIns="0" rIns="72000" bIns="0"/>
          <a:lstStyle>
            <a:defPPr>
              <a:defRPr lang="en-US"/>
            </a:defPPr>
            <a:lvl1pPr marL="228600" indent="-228600" defTabSz="1219170">
              <a:lnSpc>
                <a:spcPct val="120000"/>
              </a:lnSpc>
              <a:spcBef>
                <a:spcPts val="0"/>
              </a:spcBef>
              <a:spcAft>
                <a:spcPts val="300"/>
              </a:spcAft>
              <a:buClrTx/>
              <a:buSzTx/>
              <a:buFont typeface="Arial" panose="020B0604020202020204" pitchFamily="34" charset="0"/>
              <a:buChar char="•"/>
              <a:defRPr sz="1100" spc="0">
                <a:solidFill>
                  <a:srgbClr val="000000"/>
                </a:solidFill>
                <a:latin typeface="Open Sans"/>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9705" indent="-179705">
              <a:lnSpc>
                <a:spcPct val="100000"/>
              </a:lnSpc>
              <a:defRPr/>
            </a:pPr>
            <a:r>
              <a:rPr kumimoji="0" lang="en-US" sz="1050" i="0" u="none" strike="noStrike" kern="1200" cap="none" spc="0" normalizeH="0" baseline="0" dirty="0">
                <a:ln>
                  <a:noFill/>
                </a:ln>
                <a:solidFill>
                  <a:srgbClr val="000000"/>
                </a:solidFill>
                <a:effectLst/>
                <a:uLnTx/>
                <a:uFillTx/>
                <a:latin typeface="Open Sans"/>
                <a:ea typeface="+mn-ea"/>
                <a:cs typeface="Open Sans"/>
              </a:rPr>
              <a:t>A package of components with a detailed description, available in </a:t>
            </a:r>
            <a:r>
              <a:rPr kumimoji="0" lang="en-US" sz="1050" b="1" i="0" u="none" strike="noStrike" kern="1200" cap="none" spc="0" normalizeH="0" baseline="0" dirty="0">
                <a:ln>
                  <a:noFill/>
                </a:ln>
                <a:solidFill>
                  <a:srgbClr val="000000"/>
                </a:solidFill>
                <a:effectLst/>
                <a:uLnTx/>
                <a:uFillTx/>
                <a:latin typeface="Open Sans"/>
                <a:ea typeface="+mn-ea"/>
                <a:cs typeface="Open Sans"/>
              </a:rPr>
              <a:t>the Figma tool </a:t>
            </a:r>
            <a:r>
              <a:rPr kumimoji="0" lang="en-US" sz="1050" i="0" u="none" strike="noStrike" kern="1200" cap="none" spc="0" normalizeH="0" baseline="0" dirty="0">
                <a:ln>
                  <a:noFill/>
                </a:ln>
                <a:solidFill>
                  <a:srgbClr val="000000"/>
                </a:solidFill>
                <a:effectLst/>
                <a:uLnTx/>
                <a:uFillTx/>
                <a:latin typeface="Open Sans"/>
                <a:ea typeface="+mn-ea"/>
                <a:cs typeface="Open Sans"/>
              </a:rPr>
              <a:t>(can be accessed via a web browser) with the possibility of further editing and development</a:t>
            </a:r>
          </a:p>
          <a:p>
            <a:pPr marL="179705" indent="-179705">
              <a:lnSpc>
                <a:spcPct val="100000"/>
              </a:lnSpc>
              <a:defRPr/>
            </a:pPr>
            <a:r>
              <a:rPr kumimoji="0" lang="en-US" sz="1050" b="1" i="0" u="none" strike="noStrike" kern="1200" cap="none" spc="0" normalizeH="0" baseline="0" dirty="0">
                <a:ln>
                  <a:noFill/>
                </a:ln>
                <a:solidFill>
                  <a:srgbClr val="000000"/>
                </a:solidFill>
                <a:effectLst/>
                <a:uLnTx/>
                <a:uFillTx/>
                <a:latin typeface="Open Sans"/>
                <a:ea typeface="+mn-ea"/>
                <a:cs typeface="Open Sans"/>
              </a:rPr>
              <a:t>A PDF version of the document</a:t>
            </a:r>
            <a:r>
              <a:rPr kumimoji="0" lang="en-US" sz="1050" i="0" u="none" strike="noStrike" kern="1200" cap="none" spc="0" normalizeH="0" baseline="0" dirty="0">
                <a:ln>
                  <a:noFill/>
                </a:ln>
                <a:solidFill>
                  <a:srgbClr val="000000"/>
                </a:solidFill>
                <a:effectLst/>
                <a:uLnTx/>
                <a:uFillTx/>
                <a:latin typeface="Open Sans"/>
                <a:ea typeface="+mn-ea"/>
                <a:cs typeface="Open Sans"/>
              </a:rPr>
              <a:t> that can be used as a set of design guidelines for all </a:t>
            </a:r>
            <a:r>
              <a:rPr lang="en-US" sz="1050" dirty="0">
                <a:cs typeface="Open Sans"/>
              </a:rPr>
              <a:t>UNICEF partners </a:t>
            </a:r>
            <a:endParaRPr kumimoji="0" lang="en-US" sz="1050" i="0" u="none" strike="noStrike" kern="1200" cap="none" spc="0" normalizeH="0" baseline="0" dirty="0">
              <a:ln>
                <a:noFill/>
              </a:ln>
              <a:solidFill>
                <a:srgbClr val="000000"/>
              </a:solidFill>
              <a:effectLst/>
              <a:uLnTx/>
              <a:uFillTx/>
              <a:latin typeface="Open Sans"/>
              <a:ea typeface="+mn-ea"/>
              <a:cs typeface="Open Sans"/>
            </a:endParaRPr>
          </a:p>
        </p:txBody>
      </p:sp>
      <p:sp>
        <p:nvSpPr>
          <p:cNvPr id="18" name="Rectangle 17">
            <a:extLst>
              <a:ext uri="{FF2B5EF4-FFF2-40B4-BE49-F238E27FC236}">
                <a16:creationId xmlns:a16="http://schemas.microsoft.com/office/drawing/2014/main" id="{8BA044B7-ED77-CD53-9926-D65A2BE7901F}"/>
              </a:ext>
            </a:extLst>
          </p:cNvPr>
          <p:cNvSpPr/>
          <p:nvPr/>
        </p:nvSpPr>
        <p:spPr>
          <a:xfrm>
            <a:off x="8432252" y="1871473"/>
            <a:ext cx="2562849"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CLIENT ENGAGEMENT</a:t>
            </a:r>
          </a:p>
        </p:txBody>
      </p:sp>
      <p:sp>
        <p:nvSpPr>
          <p:cNvPr id="19" name="Freeform 772">
            <a:extLst>
              <a:ext uri="{FF2B5EF4-FFF2-40B4-BE49-F238E27FC236}">
                <a16:creationId xmlns:a16="http://schemas.microsoft.com/office/drawing/2014/main" id="{4D845DAA-16BC-0708-C9AC-A26105989407}"/>
              </a:ext>
            </a:extLst>
          </p:cNvPr>
          <p:cNvSpPr>
            <a:spLocks noChangeAspect="1" noEditPoints="1"/>
          </p:cNvSpPr>
          <p:nvPr/>
        </p:nvSpPr>
        <p:spPr bwMode="auto">
          <a:xfrm>
            <a:off x="8010849" y="1811346"/>
            <a:ext cx="304920" cy="304920"/>
          </a:xfrm>
          <a:custGeom>
            <a:avLst/>
            <a:gdLst>
              <a:gd name="T0" fmla="*/ 256 w 512"/>
              <a:gd name="T1" fmla="*/ 138 h 512"/>
              <a:gd name="T2" fmla="*/ 208 w 512"/>
              <a:gd name="T3" fmla="*/ 186 h 512"/>
              <a:gd name="T4" fmla="*/ 256 w 512"/>
              <a:gd name="T5" fmla="*/ 234 h 512"/>
              <a:gd name="T6" fmla="*/ 304 w 512"/>
              <a:gd name="T7" fmla="*/ 186 h 512"/>
              <a:gd name="T8" fmla="*/ 256 w 512"/>
              <a:gd name="T9" fmla="*/ 138 h 512"/>
              <a:gd name="T10" fmla="*/ 256 w 512"/>
              <a:gd name="T11" fmla="*/ 176 h 512"/>
              <a:gd name="T12" fmla="*/ 245 w 512"/>
              <a:gd name="T13" fmla="*/ 186 h 512"/>
              <a:gd name="T14" fmla="*/ 234 w 512"/>
              <a:gd name="T15" fmla="*/ 197 h 512"/>
              <a:gd name="T16" fmla="*/ 224 w 512"/>
              <a:gd name="T17" fmla="*/ 186 h 512"/>
              <a:gd name="T18" fmla="*/ 256 w 512"/>
              <a:gd name="T19" fmla="*/ 154 h 512"/>
              <a:gd name="T20" fmla="*/ 266 w 512"/>
              <a:gd name="T21" fmla="*/ 165 h 512"/>
              <a:gd name="T22" fmla="*/ 256 w 512"/>
              <a:gd name="T23" fmla="*/ 176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266 w 512"/>
              <a:gd name="T35" fmla="*/ 255 h 512"/>
              <a:gd name="T36" fmla="*/ 266 w 512"/>
              <a:gd name="T37" fmla="*/ 384 h 512"/>
              <a:gd name="T38" fmla="*/ 256 w 512"/>
              <a:gd name="T39" fmla="*/ 394 h 512"/>
              <a:gd name="T40" fmla="*/ 245 w 512"/>
              <a:gd name="T41" fmla="*/ 384 h 512"/>
              <a:gd name="T42" fmla="*/ 245 w 512"/>
              <a:gd name="T43" fmla="*/ 255 h 512"/>
              <a:gd name="T44" fmla="*/ 186 w 512"/>
              <a:gd name="T45" fmla="*/ 186 h 512"/>
              <a:gd name="T46" fmla="*/ 256 w 512"/>
              <a:gd name="T47" fmla="*/ 117 h 512"/>
              <a:gd name="T48" fmla="*/ 325 w 512"/>
              <a:gd name="T49" fmla="*/ 186 h 512"/>
              <a:gd name="T50" fmla="*/ 266 w 512"/>
              <a:gd name="T51"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138"/>
                </a:moveTo>
                <a:cubicBezTo>
                  <a:pt x="229" y="138"/>
                  <a:pt x="208" y="160"/>
                  <a:pt x="208" y="186"/>
                </a:cubicBezTo>
                <a:cubicBezTo>
                  <a:pt x="208" y="213"/>
                  <a:pt x="229" y="234"/>
                  <a:pt x="256" y="234"/>
                </a:cubicBezTo>
                <a:cubicBezTo>
                  <a:pt x="282" y="234"/>
                  <a:pt x="304" y="213"/>
                  <a:pt x="304" y="186"/>
                </a:cubicBezTo>
                <a:cubicBezTo>
                  <a:pt x="304" y="160"/>
                  <a:pt x="282" y="138"/>
                  <a:pt x="256" y="138"/>
                </a:cubicBezTo>
                <a:close/>
                <a:moveTo>
                  <a:pt x="256" y="176"/>
                </a:moveTo>
                <a:cubicBezTo>
                  <a:pt x="250" y="176"/>
                  <a:pt x="245" y="180"/>
                  <a:pt x="245" y="186"/>
                </a:cubicBezTo>
                <a:cubicBezTo>
                  <a:pt x="245" y="192"/>
                  <a:pt x="240" y="197"/>
                  <a:pt x="234" y="197"/>
                </a:cubicBezTo>
                <a:cubicBezTo>
                  <a:pt x="228" y="197"/>
                  <a:pt x="224" y="192"/>
                  <a:pt x="224" y="186"/>
                </a:cubicBezTo>
                <a:cubicBezTo>
                  <a:pt x="224" y="169"/>
                  <a:pt x="238" y="154"/>
                  <a:pt x="256" y="154"/>
                </a:cubicBezTo>
                <a:cubicBezTo>
                  <a:pt x="262" y="154"/>
                  <a:pt x="266" y="159"/>
                  <a:pt x="266" y="165"/>
                </a:cubicBezTo>
                <a:cubicBezTo>
                  <a:pt x="266" y="171"/>
                  <a:pt x="262" y="176"/>
                  <a:pt x="256" y="17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255"/>
                </a:moveTo>
                <a:cubicBezTo>
                  <a:pt x="266" y="384"/>
                  <a:pt x="266" y="384"/>
                  <a:pt x="266" y="384"/>
                </a:cubicBezTo>
                <a:cubicBezTo>
                  <a:pt x="266" y="390"/>
                  <a:pt x="262" y="394"/>
                  <a:pt x="256" y="394"/>
                </a:cubicBezTo>
                <a:cubicBezTo>
                  <a:pt x="250" y="394"/>
                  <a:pt x="245" y="390"/>
                  <a:pt x="245" y="384"/>
                </a:cubicBezTo>
                <a:cubicBezTo>
                  <a:pt x="245" y="255"/>
                  <a:pt x="245" y="255"/>
                  <a:pt x="245" y="255"/>
                </a:cubicBezTo>
                <a:cubicBezTo>
                  <a:pt x="212" y="250"/>
                  <a:pt x="186" y="221"/>
                  <a:pt x="186" y="186"/>
                </a:cubicBezTo>
                <a:cubicBezTo>
                  <a:pt x="186" y="148"/>
                  <a:pt x="217" y="117"/>
                  <a:pt x="256" y="117"/>
                </a:cubicBezTo>
                <a:cubicBezTo>
                  <a:pt x="294" y="117"/>
                  <a:pt x="325" y="148"/>
                  <a:pt x="325" y="186"/>
                </a:cubicBezTo>
                <a:cubicBezTo>
                  <a:pt x="325" y="221"/>
                  <a:pt x="300" y="250"/>
                  <a:pt x="266" y="255"/>
                </a:cubicBezTo>
                <a:close/>
              </a:path>
            </a:pathLst>
          </a:custGeom>
          <a:solidFill>
            <a:srgbClr val="1FA5D9"/>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20" name="Rounded Rectangle 236">
            <a:extLst>
              <a:ext uri="{FF2B5EF4-FFF2-40B4-BE49-F238E27FC236}">
                <a16:creationId xmlns:a16="http://schemas.microsoft.com/office/drawing/2014/main" id="{00315BDE-52E5-3D43-0D7B-493424BADC7D}"/>
              </a:ext>
            </a:extLst>
          </p:cNvPr>
          <p:cNvSpPr/>
          <p:nvPr/>
        </p:nvSpPr>
        <p:spPr bwMode="gray">
          <a:xfrm>
            <a:off x="7965383" y="2200343"/>
            <a:ext cx="3314818" cy="54095"/>
          </a:xfrm>
          <a:prstGeom prst="roundRect">
            <a:avLst>
              <a:gd name="adj" fmla="val 50000"/>
            </a:avLst>
          </a:prstGeom>
          <a:solidFill>
            <a:srgbClr val="1FA5D9"/>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sp>
        <p:nvSpPr>
          <p:cNvPr id="21" name="Text Placeholder 2">
            <a:extLst>
              <a:ext uri="{FF2B5EF4-FFF2-40B4-BE49-F238E27FC236}">
                <a16:creationId xmlns:a16="http://schemas.microsoft.com/office/drawing/2014/main" id="{0E063540-A7C3-09C7-32F7-FB7586FF44F8}"/>
              </a:ext>
            </a:extLst>
          </p:cNvPr>
          <p:cNvSpPr txBox="1">
            <a:spLocks/>
          </p:cNvSpPr>
          <p:nvPr/>
        </p:nvSpPr>
        <p:spPr>
          <a:xfrm>
            <a:off x="7965383" y="2338515"/>
            <a:ext cx="3314818" cy="1665835"/>
          </a:xfrm>
          <a:prstGeom prst="rect">
            <a:avLst/>
          </a:prstGeom>
        </p:spPr>
        <p:txBody>
          <a:bodyPr lIns="0" tIns="0" rIns="72000" bIns="0"/>
          <a:lstStyle>
            <a:defPPr>
              <a:defRPr lang="en-US"/>
            </a:defPPr>
            <a:lvl1pPr marL="228600" indent="-228600" defTabSz="1219170">
              <a:lnSpc>
                <a:spcPct val="120000"/>
              </a:lnSpc>
              <a:spcBef>
                <a:spcPts val="0"/>
              </a:spcBef>
              <a:spcAft>
                <a:spcPts val="300"/>
              </a:spcAft>
              <a:buClrTx/>
              <a:buSzTx/>
              <a:buFont typeface="Arial" panose="020B0604020202020204" pitchFamily="34" charset="0"/>
              <a:buChar char="•"/>
              <a:defRPr sz="1100" spc="0">
                <a:solidFill>
                  <a:srgbClr val="000000"/>
                </a:solidFill>
                <a:latin typeface="Open Sans"/>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marR="0" lvl="0" indent="-171450" algn="l" defTabSz="1219170" eaLnBrk="1" fontAlgn="auto" latinLnBrk="0" hangingPunct="1">
              <a:lnSpc>
                <a:spcPct val="12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dirty="0">
                <a:ln>
                  <a:noFill/>
                </a:ln>
                <a:solidFill>
                  <a:srgbClr val="000000"/>
                </a:solidFill>
                <a:effectLst/>
                <a:uLnTx/>
                <a:uFillTx/>
                <a:latin typeface="Open Sans"/>
                <a:ea typeface="+mn-ea"/>
                <a:cs typeface="Open Sans" charset="0"/>
              </a:rPr>
              <a:t>Access to source image files of </a:t>
            </a:r>
            <a:r>
              <a:rPr kumimoji="0" lang="en-US" sz="1050" b="0" i="0" u="none" strike="noStrike" kern="1200" cap="none" spc="0" normalizeH="0" baseline="0" dirty="0">
                <a:ln>
                  <a:noFill/>
                </a:ln>
                <a:solidFill>
                  <a:srgbClr val="000000"/>
                </a:solidFill>
                <a:effectLst/>
                <a:uLnTx/>
                <a:uFillTx/>
                <a:latin typeface="Open Sans"/>
                <a:ea typeface="+mn-ea"/>
                <a:cs typeface="Open Sans" charset="0"/>
              </a:rPr>
              <a:t>live pages (if any)</a:t>
            </a:r>
            <a:br>
              <a:rPr kumimoji="0" lang="en-US" sz="1050" b="1" i="0" u="none" strike="noStrike" kern="1200" cap="none" spc="0" normalizeH="0" baseline="0" dirty="0">
                <a:ln>
                  <a:noFill/>
                </a:ln>
                <a:solidFill>
                  <a:srgbClr val="000000"/>
                </a:solidFill>
                <a:effectLst/>
                <a:uLnTx/>
                <a:uFillTx/>
                <a:latin typeface="Open Sans"/>
                <a:ea typeface="+mn-ea"/>
                <a:cs typeface="Open Sans" charset="0"/>
              </a:rPr>
            </a:br>
            <a:endParaRPr kumimoji="0" lang="en-US" sz="1050" b="0" i="1" u="none" strike="noStrike" kern="1200" cap="none" spc="0" normalizeH="0" baseline="0" dirty="0">
              <a:ln>
                <a:noFill/>
              </a:ln>
              <a:solidFill>
                <a:srgbClr val="000000"/>
              </a:solidFill>
              <a:effectLst/>
              <a:uLnTx/>
              <a:uFillTx/>
              <a:latin typeface="Open Sans"/>
              <a:ea typeface="+mn-ea"/>
              <a:cs typeface="Open Sans" charset="0"/>
            </a:endParaRPr>
          </a:p>
        </p:txBody>
      </p:sp>
      <p:sp>
        <p:nvSpPr>
          <p:cNvPr id="22" name="Rectangle 21">
            <a:extLst>
              <a:ext uri="{FF2B5EF4-FFF2-40B4-BE49-F238E27FC236}">
                <a16:creationId xmlns:a16="http://schemas.microsoft.com/office/drawing/2014/main" id="{51E186B8-65CE-5D47-6457-D2B5A138F486}"/>
              </a:ext>
            </a:extLst>
          </p:cNvPr>
          <p:cNvSpPr/>
          <p:nvPr/>
        </p:nvSpPr>
        <p:spPr>
          <a:xfrm>
            <a:off x="4693488" y="3825113"/>
            <a:ext cx="2847948" cy="184666"/>
          </a:xfrm>
          <a:prstGeom prst="rect">
            <a:avLst/>
          </a:prstGeom>
          <a:noFill/>
        </p:spPr>
        <p:txBody>
          <a:bodyPr wrap="square" lIns="0" tIns="0" rIns="0" bIns="0"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dirty="0">
                <a:ln>
                  <a:noFill/>
                </a:ln>
                <a:solidFill>
                  <a:prstClr val="black"/>
                </a:solidFill>
                <a:effectLst/>
                <a:uLnTx/>
                <a:uFillTx/>
                <a:latin typeface="Open Sans"/>
                <a:ea typeface="Open Sans Semibold" panose="020B0606030504020204" pitchFamily="34" charset="0"/>
                <a:cs typeface="Open Sans Semibold" panose="020B0606030504020204" pitchFamily="34" charset="0"/>
              </a:rPr>
              <a:t>SAMPLE PRODUCTS</a:t>
            </a:r>
          </a:p>
        </p:txBody>
      </p:sp>
      <p:sp>
        <p:nvSpPr>
          <p:cNvPr id="23" name="Freeform 240">
            <a:extLst>
              <a:ext uri="{FF2B5EF4-FFF2-40B4-BE49-F238E27FC236}">
                <a16:creationId xmlns:a16="http://schemas.microsoft.com/office/drawing/2014/main" id="{6CCFDD70-C26C-901F-8756-A3894FD3CE9D}"/>
              </a:ext>
            </a:extLst>
          </p:cNvPr>
          <p:cNvSpPr>
            <a:spLocks noChangeAspect="1" noEditPoints="1"/>
          </p:cNvSpPr>
          <p:nvPr/>
        </p:nvSpPr>
        <p:spPr bwMode="auto">
          <a:xfrm>
            <a:off x="4272084" y="3764986"/>
            <a:ext cx="304920" cy="30492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rgbClr val="1FA5D9"/>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25" name="Rounded Rectangle 236">
            <a:extLst>
              <a:ext uri="{FF2B5EF4-FFF2-40B4-BE49-F238E27FC236}">
                <a16:creationId xmlns:a16="http://schemas.microsoft.com/office/drawing/2014/main" id="{674F0A7B-0B06-3CF3-3BB1-822DA9ECD8D5}"/>
              </a:ext>
            </a:extLst>
          </p:cNvPr>
          <p:cNvSpPr/>
          <p:nvPr/>
        </p:nvSpPr>
        <p:spPr bwMode="gray">
          <a:xfrm>
            <a:off x="4226618" y="4153983"/>
            <a:ext cx="6732000" cy="54095"/>
          </a:xfrm>
          <a:prstGeom prst="roundRect">
            <a:avLst>
              <a:gd name="adj" fmla="val 50000"/>
            </a:avLst>
          </a:prstGeom>
          <a:solidFill>
            <a:srgbClr val="1FA5D9"/>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000" b="1" i="0" u="none" strike="noStrike" kern="1200" cap="none" spc="0" normalizeH="0" baseline="0" dirty="0">
              <a:ln>
                <a:noFill/>
              </a:ln>
              <a:solidFill>
                <a:prstClr val="white"/>
              </a:solidFill>
              <a:effectLst/>
              <a:uLnTx/>
              <a:uFillTx/>
              <a:latin typeface="Open Sans"/>
              <a:ea typeface="+mn-ea"/>
              <a:cs typeface="+mn-cs"/>
            </a:endParaRPr>
          </a:p>
        </p:txBody>
      </p:sp>
      <p:pic>
        <p:nvPicPr>
          <p:cNvPr id="138" name="Picture 137">
            <a:extLst>
              <a:ext uri="{FF2B5EF4-FFF2-40B4-BE49-F238E27FC236}">
                <a16:creationId xmlns:a16="http://schemas.microsoft.com/office/drawing/2014/main" id="{B66FDA0D-F9CA-F0A4-57D0-14869039A0A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272084" y="4350352"/>
            <a:ext cx="2196000" cy="1546509"/>
          </a:xfrm>
          <a:prstGeom prst="rect">
            <a:avLst/>
          </a:prstGeom>
          <a:effectLst>
            <a:outerShdw blurRad="203200" dist="38100" dir="5400000" algn="t" rotWithShape="0">
              <a:prstClr val="black">
                <a:alpha val="29000"/>
              </a:prstClr>
            </a:outerShdw>
          </a:effectLst>
        </p:spPr>
      </p:pic>
      <p:pic>
        <p:nvPicPr>
          <p:cNvPr id="139" name="Picture 138">
            <a:extLst>
              <a:ext uri="{FF2B5EF4-FFF2-40B4-BE49-F238E27FC236}">
                <a16:creationId xmlns:a16="http://schemas.microsoft.com/office/drawing/2014/main" id="{0315DD24-98CE-8757-9B71-81999FEF18C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01418" y="4350351"/>
            <a:ext cx="2196000" cy="1546509"/>
          </a:xfrm>
          <a:prstGeom prst="rect">
            <a:avLst/>
          </a:prstGeom>
          <a:effectLst>
            <a:outerShdw blurRad="203200" dist="38100" dir="5400000" algn="t" rotWithShape="0">
              <a:prstClr val="black">
                <a:alpha val="29000"/>
              </a:prstClr>
            </a:outerShdw>
          </a:effectLst>
        </p:spPr>
      </p:pic>
      <p:pic>
        <p:nvPicPr>
          <p:cNvPr id="140" name="Picture 139">
            <a:extLst>
              <a:ext uri="{FF2B5EF4-FFF2-40B4-BE49-F238E27FC236}">
                <a16:creationId xmlns:a16="http://schemas.microsoft.com/office/drawing/2014/main" id="{073A1B59-9E2B-4610-F6FB-C75F578F40C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30752" y="4350350"/>
            <a:ext cx="2196000" cy="1546509"/>
          </a:xfrm>
          <a:prstGeom prst="rect">
            <a:avLst/>
          </a:prstGeom>
          <a:effectLst>
            <a:outerShdw blurRad="203200" dist="38100" dir="5400000" algn="t" rotWithShape="0">
              <a:prstClr val="black">
                <a:alpha val="29000"/>
              </a:prstClr>
            </a:outerShdw>
          </a:effectLst>
        </p:spPr>
      </p:pic>
      <p:sp>
        <p:nvSpPr>
          <p:cNvPr id="141" name="Rectangle 140">
            <a:extLst>
              <a:ext uri="{FF2B5EF4-FFF2-40B4-BE49-F238E27FC236}">
                <a16:creationId xmlns:a16="http://schemas.microsoft.com/office/drawing/2014/main" id="{7EB9D314-CC3E-A475-FE1C-69B4EB6D303E}"/>
              </a:ext>
            </a:extLst>
          </p:cNvPr>
          <p:cNvSpPr/>
          <p:nvPr/>
        </p:nvSpPr>
        <p:spPr bwMode="gray">
          <a:xfrm>
            <a:off x="4397706" y="5929259"/>
            <a:ext cx="1719756"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06000"/>
              </a:lnSpc>
              <a:defRPr/>
            </a:pPr>
            <a:r>
              <a:rPr lang="en-US" sz="800" i="1" dirty="0">
                <a:latin typeface="Open Sans Light"/>
                <a:ea typeface="Open Sans"/>
                <a:cs typeface="Open Sans"/>
              </a:rPr>
              <a:t>Icon sets </a:t>
            </a:r>
          </a:p>
        </p:txBody>
      </p:sp>
      <p:sp>
        <p:nvSpPr>
          <p:cNvPr id="142" name="Rectangle 141">
            <a:extLst>
              <a:ext uri="{FF2B5EF4-FFF2-40B4-BE49-F238E27FC236}">
                <a16:creationId xmlns:a16="http://schemas.microsoft.com/office/drawing/2014/main" id="{2EC5C039-1C4B-C8EE-5B2F-7CA726A7FE92}"/>
              </a:ext>
            </a:extLst>
          </p:cNvPr>
          <p:cNvSpPr/>
          <p:nvPr/>
        </p:nvSpPr>
        <p:spPr bwMode="gray">
          <a:xfrm>
            <a:off x="6863856" y="5924356"/>
            <a:ext cx="1719756"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06000"/>
              </a:lnSpc>
              <a:defRPr/>
            </a:pPr>
            <a:r>
              <a:rPr lang="en-US" sz="800" i="1" dirty="0">
                <a:latin typeface="Open Sans Light"/>
                <a:ea typeface="Open Sans"/>
                <a:cs typeface="Open Sans"/>
              </a:rPr>
              <a:t>Color guidelines </a:t>
            </a:r>
          </a:p>
        </p:txBody>
      </p:sp>
      <p:sp>
        <p:nvSpPr>
          <p:cNvPr id="143" name="Rectangle 142">
            <a:extLst>
              <a:ext uri="{FF2B5EF4-FFF2-40B4-BE49-F238E27FC236}">
                <a16:creationId xmlns:a16="http://schemas.microsoft.com/office/drawing/2014/main" id="{B523833B-DA99-7A8B-6496-F7FE60683135}"/>
              </a:ext>
            </a:extLst>
          </p:cNvPr>
          <p:cNvSpPr/>
          <p:nvPr/>
        </p:nvSpPr>
        <p:spPr bwMode="gray">
          <a:xfrm>
            <a:off x="9384499" y="5924356"/>
            <a:ext cx="1719756" cy="284799"/>
          </a:xfrm>
          <a:prstGeom prst="rect">
            <a:avLst/>
          </a:prstGeom>
          <a:noFill/>
          <a:ln w="19050" algn="ctr">
            <a:noFill/>
            <a:miter lim="800000"/>
            <a:headEnd/>
            <a:tailEnd/>
          </a:ln>
        </p:spPr>
        <p:txBody>
          <a:bodyPr wrap="square" lIns="144000" tIns="36000" rIns="72000" bIns="36000" rtlCol="0" anchor="ctr">
            <a:noAutofit/>
          </a:bodyPr>
          <a:ls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06000"/>
              </a:lnSpc>
              <a:defRPr/>
            </a:pPr>
            <a:r>
              <a:rPr lang="en-US" sz="800" i="1" dirty="0">
                <a:latin typeface="Open Sans Light"/>
                <a:ea typeface="Open Sans"/>
                <a:cs typeface="Open Sans"/>
              </a:rPr>
              <a:t>Typography guidelines </a:t>
            </a:r>
          </a:p>
        </p:txBody>
      </p:sp>
    </p:spTree>
    <p:extLst>
      <p:ext uri="{BB962C8B-B14F-4D97-AF65-F5344CB8AC3E}">
        <p14:creationId xmlns:p14="http://schemas.microsoft.com/office/powerpoint/2010/main" val="2076165888"/>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8" name="Straight Connector 77">
            <a:extLst>
              <a:ext uri="{FF2B5EF4-FFF2-40B4-BE49-F238E27FC236}">
                <a16:creationId xmlns:a16="http://schemas.microsoft.com/office/drawing/2014/main" id="{254D8F45-6B72-7263-0D74-1767CFD0E6BD}"/>
              </a:ext>
            </a:extLst>
          </p:cNvPr>
          <p:cNvCxnSpPr>
            <a:cxnSpLocks/>
          </p:cNvCxnSpPr>
          <p:nvPr/>
        </p:nvCxnSpPr>
        <p:spPr>
          <a:xfrm>
            <a:off x="3028473" y="2436446"/>
            <a:ext cx="769732" cy="1"/>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33300957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910213" y="906411"/>
            <a:ext cx="10830681" cy="787400"/>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has a strong design and user experience team in Budapest, Hungary and talented developers in Warsaw, Poland. </a:t>
            </a:r>
            <a:b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These accomplished teams provide an extensive design and development portfolio, harnessing a wide array of tools and methodologies to engineer solutions that exemplify effectiveness, efficiency, and enduring sustainability.</a:t>
            </a: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latin typeface="Open Sans" panose="020B0606030504020204" pitchFamily="34" charset="0"/>
                <a:ea typeface="Open Sans" panose="020B0606030504020204" pitchFamily="34" charset="0"/>
                <a:cs typeface="Open Sans" panose="020B0606030504020204" pitchFamily="34" charset="0"/>
              </a:rPr>
              <a:t>Design and User Experience Team</a:t>
            </a:r>
          </a:p>
        </p:txBody>
      </p:sp>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BA</a:t>
            </a: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79B756F-5CA7-461C-723F-D3A46640B769}"/>
              </a:ext>
            </a:extLst>
          </p:cNvPr>
          <p:cNvSpPr txBox="1"/>
          <p:nvPr/>
        </p:nvSpPr>
        <p:spPr>
          <a:xfrm>
            <a:off x="4992364" y="6263625"/>
            <a:ext cx="1061396" cy="176139"/>
          </a:xfrm>
          <a:prstGeom prst="rect">
            <a:avLst/>
          </a:prstGeom>
          <a:noFill/>
        </p:spPr>
        <p:txBody>
          <a:bodyPr wrap="square" lIns="0" tIns="0" rIns="0" bIns="0" rtlCol="0" anchor="t">
            <a:noAutofit/>
          </a:bodyPr>
          <a:lstStyle/>
          <a:p>
            <a:pPr>
              <a:spcAft>
                <a:spcPts val="1000"/>
              </a:spcAft>
            </a:pPr>
            <a:r>
              <a:rPr lang="en-US" sz="900" dirty="0">
                <a:latin typeface="Open Sans" panose="020B0606030504020204" pitchFamily="34" charset="0"/>
                <a:ea typeface="Open Sans" panose="020B0606030504020204" pitchFamily="34" charset="0"/>
                <a:cs typeface="Open Sans" panose="020B0606030504020204" pitchFamily="34" charset="0"/>
              </a:rPr>
              <a:t>SENIORITY LEVELS</a:t>
            </a:r>
          </a:p>
        </p:txBody>
      </p:sp>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Business Analys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Junior Consultan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M</a:t>
            </a: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Manager               (8+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C</a:t>
            </a: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Consultant (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M</a:t>
            </a: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Manager (10+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PM</a:t>
            </a: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Project Manager (15+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3" name="Picture 4" descr="Hungary Large Flag | Gallery Yopriceville - High-Quality Free Images ...">
            <a:extLst>
              <a:ext uri="{FF2B5EF4-FFF2-40B4-BE49-F238E27FC236}">
                <a16:creationId xmlns:a16="http://schemas.microsoft.com/office/drawing/2014/main" id="{019FA043-B4E8-B54D-4578-17BFFA1D25E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22134" y="6292567"/>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349386B-F880-0C53-DE2D-537CFCF784B6}"/>
              </a:ext>
            </a:extLst>
          </p:cNvPr>
          <p:cNvSpPr txBox="1"/>
          <p:nvPr/>
        </p:nvSpPr>
        <p:spPr>
          <a:xfrm>
            <a:off x="1181282" y="6288779"/>
            <a:ext cx="2483526" cy="446276"/>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Deloitte Hungary</a:t>
            </a:r>
          </a:p>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Deloitte Poland</a:t>
            </a:r>
          </a:p>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For detailed CVs see Appendix</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8" cstate="email">
            <a:duotone>
              <a:prstClr val="black"/>
              <a:schemeClr val="accent4">
                <a:tint val="45000"/>
                <a:satMod val="400000"/>
              </a:scheme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sp>
        <p:nvSpPr>
          <p:cNvPr id="8" name="Rectangle 7">
            <a:extLst>
              <a:ext uri="{FF2B5EF4-FFF2-40B4-BE49-F238E27FC236}">
                <a16:creationId xmlns:a16="http://schemas.microsoft.com/office/drawing/2014/main" id="{1B0F8B95-70A1-91EE-5812-06DA33CCE998}"/>
              </a:ext>
            </a:extLst>
          </p:cNvPr>
          <p:cNvSpPr/>
          <p:nvPr/>
        </p:nvSpPr>
        <p:spPr bwMode="gray">
          <a:xfrm>
            <a:off x="894624" y="1933053"/>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94C363A1-2E5D-DF3D-7B70-A200747E9664}"/>
              </a:ext>
            </a:extLst>
          </p:cNvPr>
          <p:cNvSpPr txBox="1"/>
          <p:nvPr/>
        </p:nvSpPr>
        <p:spPr>
          <a:xfrm>
            <a:off x="1702752" y="2064032"/>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Tóth Levente</a:t>
            </a:r>
            <a:endPar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anager UI/UX </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9</a:t>
            </a: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cxnSp>
        <p:nvCxnSpPr>
          <p:cNvPr id="30" name="Straight Connector 29">
            <a:extLst>
              <a:ext uri="{FF2B5EF4-FFF2-40B4-BE49-F238E27FC236}">
                <a16:creationId xmlns:a16="http://schemas.microsoft.com/office/drawing/2014/main" id="{DB7AB6DA-AD6C-AF4C-BD1B-4B0D557A3231}"/>
              </a:ext>
            </a:extLst>
          </p:cNvPr>
          <p:cNvCxnSpPr>
            <a:cxnSpLocks/>
          </p:cNvCxnSpPr>
          <p:nvPr/>
        </p:nvCxnSpPr>
        <p:spPr>
          <a:xfrm>
            <a:off x="2236573" y="3971610"/>
            <a:ext cx="8492793"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40" name="Picture 4" descr="Hungary Large Flag | Gallery Yopriceville - High-Quality Free Images ...">
            <a:extLst>
              <a:ext uri="{FF2B5EF4-FFF2-40B4-BE49-F238E27FC236}">
                <a16:creationId xmlns:a16="http://schemas.microsoft.com/office/drawing/2014/main" id="{107CEF3A-D3BA-64BC-1E9F-B7C537361C61}"/>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803027" y="2695756"/>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a16="http://schemas.microsoft.com/office/drawing/2014/main" id="{D56A76FB-661B-B2F5-6870-74D51B015763}"/>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985465" y="2122589"/>
            <a:ext cx="640080" cy="64008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4" name="Oval 43">
            <a:extLst>
              <a:ext uri="{FF2B5EF4-FFF2-40B4-BE49-F238E27FC236}">
                <a16:creationId xmlns:a16="http://schemas.microsoft.com/office/drawing/2014/main" id="{FD75E54B-CDAF-0BCA-2373-B7F8D8D8A679}"/>
              </a:ext>
            </a:extLst>
          </p:cNvPr>
          <p:cNvSpPr/>
          <p:nvPr/>
        </p:nvSpPr>
        <p:spPr bwMode="gray">
          <a:xfrm>
            <a:off x="2828944" y="2396295"/>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M</a:t>
            </a:r>
          </a:p>
        </p:txBody>
      </p:sp>
      <p:grpSp>
        <p:nvGrpSpPr>
          <p:cNvPr id="127" name="Group 126">
            <a:extLst>
              <a:ext uri="{FF2B5EF4-FFF2-40B4-BE49-F238E27FC236}">
                <a16:creationId xmlns:a16="http://schemas.microsoft.com/office/drawing/2014/main" id="{0F4DBC41-4EF4-0F0B-A28B-845FA376D225}"/>
              </a:ext>
            </a:extLst>
          </p:cNvPr>
          <p:cNvGrpSpPr/>
          <p:nvPr/>
        </p:nvGrpSpPr>
        <p:grpSpPr>
          <a:xfrm>
            <a:off x="916607" y="3521400"/>
            <a:ext cx="1886420" cy="900420"/>
            <a:chOff x="916607" y="3100503"/>
            <a:chExt cx="1886420" cy="900420"/>
          </a:xfrm>
        </p:grpSpPr>
        <p:sp>
          <p:nvSpPr>
            <p:cNvPr id="65" name="Rectangle 64">
              <a:extLst>
                <a:ext uri="{FF2B5EF4-FFF2-40B4-BE49-F238E27FC236}">
                  <a16:creationId xmlns:a16="http://schemas.microsoft.com/office/drawing/2014/main" id="{3D3EDA3F-1633-025E-B8B1-01F0BD449AE1}"/>
                </a:ext>
              </a:extLst>
            </p:cNvPr>
            <p:cNvSpPr/>
            <p:nvPr/>
          </p:nvSpPr>
          <p:spPr bwMode="gray">
            <a:xfrm>
              <a:off x="916607"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6" name="TextBox 65">
              <a:extLst>
                <a:ext uri="{FF2B5EF4-FFF2-40B4-BE49-F238E27FC236}">
                  <a16:creationId xmlns:a16="http://schemas.microsoft.com/office/drawing/2014/main" id="{00658B63-B9BA-DCF1-6CA8-611E1E3085D9}"/>
                </a:ext>
              </a:extLst>
            </p:cNvPr>
            <p:cNvSpPr txBox="1"/>
            <p:nvPr/>
          </p:nvSpPr>
          <p:spPr>
            <a:xfrm>
              <a:off x="1627230" y="3274283"/>
              <a:ext cx="11276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usimano Lorenzo</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67" name="Picture 4" descr="Hungary Large Flag | Gallery Yopriceville - High-Quality Free Images ...">
              <a:extLst>
                <a:ext uri="{FF2B5EF4-FFF2-40B4-BE49-F238E27FC236}">
                  <a16:creationId xmlns:a16="http://schemas.microsoft.com/office/drawing/2014/main" id="{4FA3A18B-BFEB-70CD-38C4-B1D2A68DDFB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503122" y="378538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8" name="Oval 67">
              <a:extLst>
                <a:ext uri="{FF2B5EF4-FFF2-40B4-BE49-F238E27FC236}">
                  <a16:creationId xmlns:a16="http://schemas.microsoft.com/office/drawing/2014/main" id="{5699335B-E9AF-C254-CF1B-F037907F0EFB}"/>
                </a:ext>
              </a:extLst>
            </p:cNvPr>
            <p:cNvSpPr/>
            <p:nvPr/>
          </p:nvSpPr>
          <p:spPr bwMode="gray">
            <a:xfrm>
              <a:off x="2519781"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pic>
          <p:nvPicPr>
            <p:cNvPr id="69" name="Picture 6">
              <a:extLst>
                <a:ext uri="{FF2B5EF4-FFF2-40B4-BE49-F238E27FC236}">
                  <a16:creationId xmlns:a16="http://schemas.microsoft.com/office/drawing/2014/main" id="{D63291DD-EF98-34CA-D751-CA099838A607}"/>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p:blipFill>
          <p:spPr bwMode="auto">
            <a:xfrm>
              <a:off x="1002711" y="3299762"/>
              <a:ext cx="530352" cy="530352"/>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24" name="Group 123">
            <a:extLst>
              <a:ext uri="{FF2B5EF4-FFF2-40B4-BE49-F238E27FC236}">
                <a16:creationId xmlns:a16="http://schemas.microsoft.com/office/drawing/2014/main" id="{9EE629D1-DA07-CC22-94C2-BC45CBB111F7}"/>
              </a:ext>
            </a:extLst>
          </p:cNvPr>
          <p:cNvGrpSpPr/>
          <p:nvPr/>
        </p:nvGrpSpPr>
        <p:grpSpPr>
          <a:xfrm>
            <a:off x="7155587" y="3521400"/>
            <a:ext cx="1886420" cy="900420"/>
            <a:chOff x="7146955" y="3100503"/>
            <a:chExt cx="1886420" cy="900420"/>
          </a:xfrm>
        </p:grpSpPr>
        <p:sp>
          <p:nvSpPr>
            <p:cNvPr id="61" name="Rectangle 60">
              <a:extLst>
                <a:ext uri="{FF2B5EF4-FFF2-40B4-BE49-F238E27FC236}">
                  <a16:creationId xmlns:a16="http://schemas.microsoft.com/office/drawing/2014/main" id="{43576569-4538-4330-0D3B-F8A985683737}"/>
                </a:ext>
              </a:extLst>
            </p:cNvPr>
            <p:cNvSpPr/>
            <p:nvPr/>
          </p:nvSpPr>
          <p:spPr bwMode="gray">
            <a:xfrm>
              <a:off x="7146955"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61">
              <a:extLst>
                <a:ext uri="{FF2B5EF4-FFF2-40B4-BE49-F238E27FC236}">
                  <a16:creationId xmlns:a16="http://schemas.microsoft.com/office/drawing/2014/main" id="{C21B6637-6138-0F72-4823-4A0BBB3A099E}"/>
                </a:ext>
              </a:extLst>
            </p:cNvPr>
            <p:cNvSpPr txBox="1"/>
            <p:nvPr/>
          </p:nvSpPr>
          <p:spPr>
            <a:xfrm>
              <a:off x="7857578" y="3274283"/>
              <a:ext cx="11391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ssa Sar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63" name="Picture 4" descr="Hungary Large Flag | Gallery Yopriceville - High-Quality Free Images ...">
              <a:extLst>
                <a:ext uri="{FF2B5EF4-FFF2-40B4-BE49-F238E27FC236}">
                  <a16:creationId xmlns:a16="http://schemas.microsoft.com/office/drawing/2014/main" id="{D91EBBDB-DC84-E083-DF12-0E9E0C6B4640}"/>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733470" y="378538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4" name="Oval 63">
              <a:extLst>
                <a:ext uri="{FF2B5EF4-FFF2-40B4-BE49-F238E27FC236}">
                  <a16:creationId xmlns:a16="http://schemas.microsoft.com/office/drawing/2014/main" id="{03D00014-0D01-EB1E-89B5-2B2A6B42EF70}"/>
                </a:ext>
              </a:extLst>
            </p:cNvPr>
            <p:cNvSpPr/>
            <p:nvPr/>
          </p:nvSpPr>
          <p:spPr bwMode="gray">
            <a:xfrm>
              <a:off x="8750129"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pic>
          <p:nvPicPr>
            <p:cNvPr id="70" name="Picture 16">
              <a:extLst>
                <a:ext uri="{FF2B5EF4-FFF2-40B4-BE49-F238E27FC236}">
                  <a16:creationId xmlns:a16="http://schemas.microsoft.com/office/drawing/2014/main" id="{36D0F570-3872-7B38-1D51-7E2D6027745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p:blipFill>
          <p:spPr bwMode="auto">
            <a:xfrm>
              <a:off x="7247138" y="3318008"/>
              <a:ext cx="502920" cy="50292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73" name="Rectangle 72">
            <a:extLst>
              <a:ext uri="{FF2B5EF4-FFF2-40B4-BE49-F238E27FC236}">
                <a16:creationId xmlns:a16="http://schemas.microsoft.com/office/drawing/2014/main" id="{C96C775E-EF00-39E2-73A9-251CBB643C1F}"/>
              </a:ext>
            </a:extLst>
          </p:cNvPr>
          <p:cNvSpPr/>
          <p:nvPr/>
        </p:nvSpPr>
        <p:spPr bwMode="gray">
          <a:xfrm>
            <a:off x="3596856" y="1933053"/>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TextBox 73">
            <a:extLst>
              <a:ext uri="{FF2B5EF4-FFF2-40B4-BE49-F238E27FC236}">
                <a16:creationId xmlns:a16="http://schemas.microsoft.com/office/drawing/2014/main" id="{7C72147B-69A6-B60F-4562-7F71B0D3D70E}"/>
              </a:ext>
            </a:extLst>
          </p:cNvPr>
          <p:cNvSpPr txBox="1"/>
          <p:nvPr/>
        </p:nvSpPr>
        <p:spPr>
          <a:xfrm>
            <a:off x="4404984" y="2064032"/>
            <a:ext cx="1484365" cy="777136"/>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Krzysztof </a:t>
            </a:r>
            <a:r>
              <a:rPr lang="en-US" sz="1050" b="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Sapinski</a:t>
            </a:r>
            <a:endPar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anager Dev</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0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Warsaw</a:t>
            </a:r>
          </a:p>
        </p:txBody>
      </p:sp>
      <p:pic>
        <p:nvPicPr>
          <p:cNvPr id="76" name="Picture 75">
            <a:extLst>
              <a:ext uri="{FF2B5EF4-FFF2-40B4-BE49-F238E27FC236}">
                <a16:creationId xmlns:a16="http://schemas.microsoft.com/office/drawing/2014/main" id="{87000D01-54F4-F759-F4F3-89DB19FCF05B}"/>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3687697" y="2122589"/>
            <a:ext cx="640080" cy="64008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7" name="Oval 76">
            <a:extLst>
              <a:ext uri="{FF2B5EF4-FFF2-40B4-BE49-F238E27FC236}">
                <a16:creationId xmlns:a16="http://schemas.microsoft.com/office/drawing/2014/main" id="{BABFC2B5-6854-BCC7-E830-E3FBE3003B4C}"/>
              </a:ext>
            </a:extLst>
          </p:cNvPr>
          <p:cNvSpPr/>
          <p:nvPr/>
        </p:nvSpPr>
        <p:spPr bwMode="gray">
          <a:xfrm>
            <a:off x="5531176" y="2396295"/>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M</a:t>
            </a:r>
          </a:p>
        </p:txBody>
      </p:sp>
      <p:pic>
        <p:nvPicPr>
          <p:cNvPr id="79" name="Picture 78" descr="A red and white flag&#10;&#10;Description automatically generated">
            <a:extLst>
              <a:ext uri="{FF2B5EF4-FFF2-40B4-BE49-F238E27FC236}">
                <a16:creationId xmlns:a16="http://schemas.microsoft.com/office/drawing/2014/main" id="{65CCD070-72C4-2827-63FB-16636D0DEC28}"/>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5495370" y="2692120"/>
            <a:ext cx="284238" cy="174527"/>
          </a:xfrm>
          <a:prstGeom prst="rect">
            <a:avLst/>
          </a:prstGeom>
          <a:noFill/>
          <a:effectLst>
            <a:outerShdw blurRad="50800" dist="38100" dir="2700000" algn="tl" rotWithShape="0">
              <a:prstClr val="black">
                <a:alpha val="40000"/>
              </a:prstClr>
            </a:outerShdw>
          </a:effectLst>
        </p:spPr>
      </p:pic>
      <p:grpSp>
        <p:nvGrpSpPr>
          <p:cNvPr id="125" name="Group 124">
            <a:extLst>
              <a:ext uri="{FF2B5EF4-FFF2-40B4-BE49-F238E27FC236}">
                <a16:creationId xmlns:a16="http://schemas.microsoft.com/office/drawing/2014/main" id="{FA4344D6-4620-4773-F991-B19326537882}"/>
              </a:ext>
            </a:extLst>
          </p:cNvPr>
          <p:cNvGrpSpPr/>
          <p:nvPr/>
        </p:nvGrpSpPr>
        <p:grpSpPr>
          <a:xfrm>
            <a:off x="9235247" y="3521400"/>
            <a:ext cx="1886420" cy="900420"/>
            <a:chOff x="9235247" y="3100503"/>
            <a:chExt cx="1886420" cy="900420"/>
          </a:xfrm>
        </p:grpSpPr>
        <p:sp>
          <p:nvSpPr>
            <p:cNvPr id="104" name="Rectangle 103">
              <a:extLst>
                <a:ext uri="{FF2B5EF4-FFF2-40B4-BE49-F238E27FC236}">
                  <a16:creationId xmlns:a16="http://schemas.microsoft.com/office/drawing/2014/main" id="{4994E19D-1316-13D9-D54D-01BCAB7AB1F4}"/>
                </a:ext>
              </a:extLst>
            </p:cNvPr>
            <p:cNvSpPr/>
            <p:nvPr/>
          </p:nvSpPr>
          <p:spPr bwMode="gray">
            <a:xfrm>
              <a:off x="9235247"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5" name="TextBox 104">
              <a:extLst>
                <a:ext uri="{FF2B5EF4-FFF2-40B4-BE49-F238E27FC236}">
                  <a16:creationId xmlns:a16="http://schemas.microsoft.com/office/drawing/2014/main" id="{CADE0B65-6E39-6846-A5D9-3BCDFD321537}"/>
                </a:ext>
              </a:extLst>
            </p:cNvPr>
            <p:cNvSpPr txBox="1"/>
            <p:nvPr/>
          </p:nvSpPr>
          <p:spPr>
            <a:xfrm>
              <a:off x="9945870" y="3274283"/>
              <a:ext cx="1121152"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9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Nyilas Gergely</a:t>
              </a:r>
              <a:endPar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4</a:t>
              </a: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07" name="Picture 4" descr="Hungary Large Flag | Gallery Yopriceville - High-Quality Free Images ...">
              <a:extLst>
                <a:ext uri="{FF2B5EF4-FFF2-40B4-BE49-F238E27FC236}">
                  <a16:creationId xmlns:a16="http://schemas.microsoft.com/office/drawing/2014/main" id="{5208E665-0DA3-5190-EC84-74C506CF9B69}"/>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821762" y="378538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8" name="Oval 107">
              <a:extLst>
                <a:ext uri="{FF2B5EF4-FFF2-40B4-BE49-F238E27FC236}">
                  <a16:creationId xmlns:a16="http://schemas.microsoft.com/office/drawing/2014/main" id="{A56861D6-9008-4971-64DD-561D4D196117}"/>
                </a:ext>
              </a:extLst>
            </p:cNvPr>
            <p:cNvSpPr/>
            <p:nvPr/>
          </p:nvSpPr>
          <p:spPr bwMode="gray">
            <a:xfrm>
              <a:off x="10838421"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pic>
          <p:nvPicPr>
            <p:cNvPr id="109" name="Picture 16">
              <a:extLst>
                <a:ext uri="{FF2B5EF4-FFF2-40B4-BE49-F238E27FC236}">
                  <a16:creationId xmlns:a16="http://schemas.microsoft.com/office/drawing/2014/main" id="{54634A7E-D963-9489-FBC3-A62A1E547DF8}"/>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p:blipFill>
          <p:spPr bwMode="auto">
            <a:xfrm>
              <a:off x="9335430" y="3318008"/>
              <a:ext cx="502920" cy="50292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23" name="Group 122">
            <a:extLst>
              <a:ext uri="{FF2B5EF4-FFF2-40B4-BE49-F238E27FC236}">
                <a16:creationId xmlns:a16="http://schemas.microsoft.com/office/drawing/2014/main" id="{A31DBBE0-43AC-7B4C-939E-24F9699D172D}"/>
              </a:ext>
            </a:extLst>
          </p:cNvPr>
          <p:cNvGrpSpPr/>
          <p:nvPr/>
        </p:nvGrpSpPr>
        <p:grpSpPr>
          <a:xfrm>
            <a:off x="2996267" y="3521400"/>
            <a:ext cx="1886420" cy="900420"/>
            <a:chOff x="2983151" y="3100503"/>
            <a:chExt cx="1886420" cy="900420"/>
          </a:xfrm>
        </p:grpSpPr>
        <p:sp>
          <p:nvSpPr>
            <p:cNvPr id="111" name="Rectangle 110">
              <a:extLst>
                <a:ext uri="{FF2B5EF4-FFF2-40B4-BE49-F238E27FC236}">
                  <a16:creationId xmlns:a16="http://schemas.microsoft.com/office/drawing/2014/main" id="{86FA9A71-011A-B2D4-72E8-77E927B73BA0}"/>
                </a:ext>
              </a:extLst>
            </p:cNvPr>
            <p:cNvSpPr/>
            <p:nvPr/>
          </p:nvSpPr>
          <p:spPr bwMode="gray">
            <a:xfrm>
              <a:off x="2983151"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TextBox 111">
              <a:extLst>
                <a:ext uri="{FF2B5EF4-FFF2-40B4-BE49-F238E27FC236}">
                  <a16:creationId xmlns:a16="http://schemas.microsoft.com/office/drawing/2014/main" id="{6D1439E9-9BD4-9CC0-22E4-089789D74A39}"/>
                </a:ext>
              </a:extLst>
            </p:cNvPr>
            <p:cNvSpPr txBox="1"/>
            <p:nvPr/>
          </p:nvSpPr>
          <p:spPr>
            <a:xfrm>
              <a:off x="3693774" y="3274283"/>
              <a:ext cx="11276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Grimm </a:t>
              </a:r>
              <a:r>
                <a:rPr lang="en-US" sz="9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B</a:t>
              </a: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ank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5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13" name="Picture 4" descr="Hungary Large Flag | Gallery Yopriceville - High-Quality Free Images ...">
              <a:extLst>
                <a:ext uri="{FF2B5EF4-FFF2-40B4-BE49-F238E27FC236}">
                  <a16:creationId xmlns:a16="http://schemas.microsoft.com/office/drawing/2014/main" id="{B70FF4C8-9F1A-CB6F-3F20-5D579BC78F79}"/>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569666" y="378538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4" name="Oval 113">
              <a:extLst>
                <a:ext uri="{FF2B5EF4-FFF2-40B4-BE49-F238E27FC236}">
                  <a16:creationId xmlns:a16="http://schemas.microsoft.com/office/drawing/2014/main" id="{A1322B82-4A20-C139-806C-3BF1CF8604D6}"/>
                </a:ext>
              </a:extLst>
            </p:cNvPr>
            <p:cNvSpPr/>
            <p:nvPr/>
          </p:nvSpPr>
          <p:spPr bwMode="gray">
            <a:xfrm>
              <a:off x="4586325"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pic>
          <p:nvPicPr>
            <p:cNvPr id="116" name="Picture 6">
              <a:extLst>
                <a:ext uri="{FF2B5EF4-FFF2-40B4-BE49-F238E27FC236}">
                  <a16:creationId xmlns:a16="http://schemas.microsoft.com/office/drawing/2014/main" id="{D631458A-17D6-5EA0-7D59-349587A14454}"/>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p:blipFill>
          <p:spPr bwMode="auto">
            <a:xfrm>
              <a:off x="3069255" y="3299762"/>
              <a:ext cx="530352" cy="530352"/>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22" name="Group 121">
            <a:extLst>
              <a:ext uri="{FF2B5EF4-FFF2-40B4-BE49-F238E27FC236}">
                <a16:creationId xmlns:a16="http://schemas.microsoft.com/office/drawing/2014/main" id="{F45FFEAB-F628-1743-2318-E3A5A1F2163F}"/>
              </a:ext>
            </a:extLst>
          </p:cNvPr>
          <p:cNvGrpSpPr/>
          <p:nvPr/>
        </p:nvGrpSpPr>
        <p:grpSpPr>
          <a:xfrm>
            <a:off x="5075927" y="3521400"/>
            <a:ext cx="1886420" cy="900420"/>
            <a:chOff x="5053950" y="3100503"/>
            <a:chExt cx="1886420" cy="900420"/>
          </a:xfrm>
        </p:grpSpPr>
        <p:sp>
          <p:nvSpPr>
            <p:cNvPr id="32" name="Rectangle 31">
              <a:extLst>
                <a:ext uri="{FF2B5EF4-FFF2-40B4-BE49-F238E27FC236}">
                  <a16:creationId xmlns:a16="http://schemas.microsoft.com/office/drawing/2014/main" id="{4F921975-DC76-D7CD-9818-4142A52439BE}"/>
                </a:ext>
              </a:extLst>
            </p:cNvPr>
            <p:cNvSpPr/>
            <p:nvPr/>
          </p:nvSpPr>
          <p:spPr bwMode="gray">
            <a:xfrm>
              <a:off x="5053950"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 descr="Hungary Large Flag | Gallery Yopriceville - High-Quality Free Images ...">
              <a:extLst>
                <a:ext uri="{FF2B5EF4-FFF2-40B4-BE49-F238E27FC236}">
                  <a16:creationId xmlns:a16="http://schemas.microsoft.com/office/drawing/2014/main" id="{9C19442D-9CFD-4C60-D1F5-14ED25A0FC98}"/>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637576" y="378538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3" name="Picture 14">
              <a:extLst>
                <a:ext uri="{FF2B5EF4-FFF2-40B4-BE49-F238E27FC236}">
                  <a16:creationId xmlns:a16="http://schemas.microsoft.com/office/drawing/2014/main" id="{E0313DA5-1622-898A-9A30-8550946965CB}"/>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p:blipFill>
          <p:spPr bwMode="auto">
            <a:xfrm>
              <a:off x="5117416" y="3304043"/>
              <a:ext cx="527223" cy="527223"/>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9" name="Oval 58">
              <a:extLst>
                <a:ext uri="{FF2B5EF4-FFF2-40B4-BE49-F238E27FC236}">
                  <a16:creationId xmlns:a16="http://schemas.microsoft.com/office/drawing/2014/main" id="{CD2831AF-DBAE-367A-622E-7B5B8DC10394}"/>
                </a:ext>
              </a:extLst>
            </p:cNvPr>
            <p:cNvSpPr/>
            <p:nvPr/>
          </p:nvSpPr>
          <p:spPr bwMode="gray">
            <a:xfrm>
              <a:off x="6654235"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37" name="TextBox 36">
              <a:extLst>
                <a:ext uri="{FF2B5EF4-FFF2-40B4-BE49-F238E27FC236}">
                  <a16:creationId xmlns:a16="http://schemas.microsoft.com/office/drawing/2014/main" id="{9218AF82-B98C-2D37-8A6C-ED1992E94021}"/>
                </a:ext>
              </a:extLst>
            </p:cNvPr>
            <p:cNvSpPr txBox="1"/>
            <p:nvPr/>
          </p:nvSpPr>
          <p:spPr>
            <a:xfrm>
              <a:off x="5761684" y="3274283"/>
              <a:ext cx="1121152"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Horváth </a:t>
              </a: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Viktória</a:t>
              </a:r>
              <a:endPar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3</a:t>
              </a: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grpSp>
      <p:cxnSp>
        <p:nvCxnSpPr>
          <p:cNvPr id="129" name="Straight Connector 128">
            <a:extLst>
              <a:ext uri="{FF2B5EF4-FFF2-40B4-BE49-F238E27FC236}">
                <a16:creationId xmlns:a16="http://schemas.microsoft.com/office/drawing/2014/main" id="{8B9AAA9F-06E5-AD9E-78FD-09800DF95E73}"/>
              </a:ext>
            </a:extLst>
          </p:cNvPr>
          <p:cNvCxnSpPr>
            <a:cxnSpLocks/>
          </p:cNvCxnSpPr>
          <p:nvPr/>
        </p:nvCxnSpPr>
        <p:spPr>
          <a:xfrm>
            <a:off x="2236573" y="5415464"/>
            <a:ext cx="8492793"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E1B87C6D-B02E-96C2-37F2-D7166372FA79}"/>
              </a:ext>
            </a:extLst>
          </p:cNvPr>
          <p:cNvGrpSpPr/>
          <p:nvPr/>
        </p:nvGrpSpPr>
        <p:grpSpPr>
          <a:xfrm>
            <a:off x="916607" y="4965254"/>
            <a:ext cx="1886420" cy="900420"/>
            <a:chOff x="916607" y="3100503"/>
            <a:chExt cx="1886420" cy="900420"/>
          </a:xfrm>
        </p:grpSpPr>
        <p:sp>
          <p:nvSpPr>
            <p:cNvPr id="131" name="Rectangle 130">
              <a:extLst>
                <a:ext uri="{FF2B5EF4-FFF2-40B4-BE49-F238E27FC236}">
                  <a16:creationId xmlns:a16="http://schemas.microsoft.com/office/drawing/2014/main" id="{8836BC71-F90D-5601-7972-021C317FE670}"/>
                </a:ext>
              </a:extLst>
            </p:cNvPr>
            <p:cNvSpPr/>
            <p:nvPr/>
          </p:nvSpPr>
          <p:spPr bwMode="gray">
            <a:xfrm>
              <a:off x="916607"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2" name="TextBox 131">
              <a:extLst>
                <a:ext uri="{FF2B5EF4-FFF2-40B4-BE49-F238E27FC236}">
                  <a16:creationId xmlns:a16="http://schemas.microsoft.com/office/drawing/2014/main" id="{2C8D57F9-684E-DE2C-1F8E-DDFAFF055B7A}"/>
                </a:ext>
              </a:extLst>
            </p:cNvPr>
            <p:cNvSpPr txBox="1"/>
            <p:nvPr/>
          </p:nvSpPr>
          <p:spPr>
            <a:xfrm>
              <a:off x="1627230" y="3274283"/>
              <a:ext cx="11276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Janusz </a:t>
              </a: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Jaskowicz</a:t>
              </a: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7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Warsaw</a:t>
              </a:r>
            </a:p>
          </p:txBody>
        </p:sp>
        <p:sp>
          <p:nvSpPr>
            <p:cNvPr id="134" name="Oval 133">
              <a:extLst>
                <a:ext uri="{FF2B5EF4-FFF2-40B4-BE49-F238E27FC236}">
                  <a16:creationId xmlns:a16="http://schemas.microsoft.com/office/drawing/2014/main" id="{9CB76EAE-4EF1-557C-1259-CFF8C21E4042}"/>
                </a:ext>
              </a:extLst>
            </p:cNvPr>
            <p:cNvSpPr/>
            <p:nvPr/>
          </p:nvSpPr>
          <p:spPr bwMode="gray">
            <a:xfrm>
              <a:off x="2519781"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C</a:t>
              </a:r>
            </a:p>
          </p:txBody>
        </p:sp>
        <p:pic>
          <p:nvPicPr>
            <p:cNvPr id="135" name="Picture 6">
              <a:extLst>
                <a:ext uri="{FF2B5EF4-FFF2-40B4-BE49-F238E27FC236}">
                  <a16:creationId xmlns:a16="http://schemas.microsoft.com/office/drawing/2014/main" id="{9049721E-1236-3673-342F-BFA1BB287461}"/>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1002711" y="3299762"/>
              <a:ext cx="530352" cy="530352"/>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36" name="Group 135">
            <a:extLst>
              <a:ext uri="{FF2B5EF4-FFF2-40B4-BE49-F238E27FC236}">
                <a16:creationId xmlns:a16="http://schemas.microsoft.com/office/drawing/2014/main" id="{8DFACDE9-64A9-0270-A6B2-4B0F26AC6E6E}"/>
              </a:ext>
            </a:extLst>
          </p:cNvPr>
          <p:cNvGrpSpPr/>
          <p:nvPr/>
        </p:nvGrpSpPr>
        <p:grpSpPr>
          <a:xfrm>
            <a:off x="9239345" y="4965254"/>
            <a:ext cx="1886420" cy="900420"/>
            <a:chOff x="7146955" y="3100503"/>
            <a:chExt cx="1886420" cy="900420"/>
          </a:xfrm>
        </p:grpSpPr>
        <p:sp>
          <p:nvSpPr>
            <p:cNvPr id="137" name="Rectangle 136">
              <a:extLst>
                <a:ext uri="{FF2B5EF4-FFF2-40B4-BE49-F238E27FC236}">
                  <a16:creationId xmlns:a16="http://schemas.microsoft.com/office/drawing/2014/main" id="{22B1CDA9-D754-2E44-6F8A-EF2DC1A7ADA8}"/>
                </a:ext>
              </a:extLst>
            </p:cNvPr>
            <p:cNvSpPr/>
            <p:nvPr/>
          </p:nvSpPr>
          <p:spPr bwMode="gray">
            <a:xfrm>
              <a:off x="7146955"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TextBox 137">
              <a:extLst>
                <a:ext uri="{FF2B5EF4-FFF2-40B4-BE49-F238E27FC236}">
                  <a16:creationId xmlns:a16="http://schemas.microsoft.com/office/drawing/2014/main" id="{849D1694-DD97-2A77-16D5-C4B2132F7657}"/>
                </a:ext>
              </a:extLst>
            </p:cNvPr>
            <p:cNvSpPr txBox="1"/>
            <p:nvPr/>
          </p:nvSpPr>
          <p:spPr>
            <a:xfrm>
              <a:off x="7857578" y="3274283"/>
              <a:ext cx="11391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Zuzanna</a:t>
              </a: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Komar</a:t>
              </a:r>
              <a:endPar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Warsaw</a:t>
              </a:r>
            </a:p>
          </p:txBody>
        </p:sp>
        <p:sp>
          <p:nvSpPr>
            <p:cNvPr id="142" name="Oval 141">
              <a:extLst>
                <a:ext uri="{FF2B5EF4-FFF2-40B4-BE49-F238E27FC236}">
                  <a16:creationId xmlns:a16="http://schemas.microsoft.com/office/drawing/2014/main" id="{D908DB1A-E841-519B-D02F-BC2BB179699D}"/>
                </a:ext>
              </a:extLst>
            </p:cNvPr>
            <p:cNvSpPr/>
            <p:nvPr/>
          </p:nvSpPr>
          <p:spPr bwMode="gray">
            <a:xfrm>
              <a:off x="8750129"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pic>
          <p:nvPicPr>
            <p:cNvPr id="143" name="Picture 16">
              <a:extLst>
                <a:ext uri="{FF2B5EF4-FFF2-40B4-BE49-F238E27FC236}">
                  <a16:creationId xmlns:a16="http://schemas.microsoft.com/office/drawing/2014/main" id="{BFEDBA02-7A3B-BC53-28DF-3328A8ACA043}"/>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p:blipFill>
          <p:spPr bwMode="auto">
            <a:xfrm>
              <a:off x="7247138" y="3318008"/>
              <a:ext cx="502920" cy="50292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51" name="Group 150">
            <a:extLst>
              <a:ext uri="{FF2B5EF4-FFF2-40B4-BE49-F238E27FC236}">
                <a16:creationId xmlns:a16="http://schemas.microsoft.com/office/drawing/2014/main" id="{E34E31D7-9CC9-39FF-CB12-D5653F8E49C5}"/>
              </a:ext>
            </a:extLst>
          </p:cNvPr>
          <p:cNvGrpSpPr/>
          <p:nvPr/>
        </p:nvGrpSpPr>
        <p:grpSpPr>
          <a:xfrm>
            <a:off x="2996267" y="4965254"/>
            <a:ext cx="1886420" cy="900420"/>
            <a:chOff x="2983151" y="3100503"/>
            <a:chExt cx="1886420" cy="900420"/>
          </a:xfrm>
        </p:grpSpPr>
        <p:sp>
          <p:nvSpPr>
            <p:cNvPr id="153" name="Rectangle 152">
              <a:extLst>
                <a:ext uri="{FF2B5EF4-FFF2-40B4-BE49-F238E27FC236}">
                  <a16:creationId xmlns:a16="http://schemas.microsoft.com/office/drawing/2014/main" id="{FFBBC798-E5FA-210E-5786-4756B71AFBB9}"/>
                </a:ext>
              </a:extLst>
            </p:cNvPr>
            <p:cNvSpPr/>
            <p:nvPr/>
          </p:nvSpPr>
          <p:spPr bwMode="gray">
            <a:xfrm>
              <a:off x="2983151"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5" name="TextBox 154">
              <a:extLst>
                <a:ext uri="{FF2B5EF4-FFF2-40B4-BE49-F238E27FC236}">
                  <a16:creationId xmlns:a16="http://schemas.microsoft.com/office/drawing/2014/main" id="{1B67EE5A-AEE7-599D-7184-670FFC193FDB}"/>
                </a:ext>
              </a:extLst>
            </p:cNvPr>
            <p:cNvSpPr txBox="1"/>
            <p:nvPr/>
          </p:nvSpPr>
          <p:spPr>
            <a:xfrm>
              <a:off x="3693774" y="3274283"/>
              <a:ext cx="11276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łażej</a:t>
              </a: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nduła</a:t>
              </a:r>
              <a:endPar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6</a:t>
              </a: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Warsaw</a:t>
              </a:r>
            </a:p>
          </p:txBody>
        </p:sp>
        <p:sp>
          <p:nvSpPr>
            <p:cNvPr id="158" name="Oval 157">
              <a:extLst>
                <a:ext uri="{FF2B5EF4-FFF2-40B4-BE49-F238E27FC236}">
                  <a16:creationId xmlns:a16="http://schemas.microsoft.com/office/drawing/2014/main" id="{51005750-07C7-C346-677C-F07A8691361C}"/>
                </a:ext>
              </a:extLst>
            </p:cNvPr>
            <p:cNvSpPr/>
            <p:nvPr/>
          </p:nvSpPr>
          <p:spPr bwMode="gray">
            <a:xfrm>
              <a:off x="4586325"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C</a:t>
              </a:r>
            </a:p>
          </p:txBody>
        </p:sp>
        <p:pic>
          <p:nvPicPr>
            <p:cNvPr id="159" name="Picture 6">
              <a:extLst>
                <a:ext uri="{FF2B5EF4-FFF2-40B4-BE49-F238E27FC236}">
                  <a16:creationId xmlns:a16="http://schemas.microsoft.com/office/drawing/2014/main" id="{7B8638ED-D529-CF28-CB80-C8A8EEA79117}"/>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p:blipFill>
          <p:spPr bwMode="auto">
            <a:xfrm>
              <a:off x="3069255" y="3299762"/>
              <a:ext cx="530352" cy="530352"/>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60" name="Group 159">
            <a:extLst>
              <a:ext uri="{FF2B5EF4-FFF2-40B4-BE49-F238E27FC236}">
                <a16:creationId xmlns:a16="http://schemas.microsoft.com/office/drawing/2014/main" id="{4DC55EF5-F265-AB7E-C950-2977C52A3556}"/>
              </a:ext>
            </a:extLst>
          </p:cNvPr>
          <p:cNvGrpSpPr/>
          <p:nvPr/>
        </p:nvGrpSpPr>
        <p:grpSpPr>
          <a:xfrm>
            <a:off x="7159685" y="4965254"/>
            <a:ext cx="1886420" cy="900420"/>
            <a:chOff x="5053950" y="3100503"/>
            <a:chExt cx="1886420" cy="900420"/>
          </a:xfrm>
        </p:grpSpPr>
        <p:sp>
          <p:nvSpPr>
            <p:cNvPr id="161" name="Rectangle 160">
              <a:extLst>
                <a:ext uri="{FF2B5EF4-FFF2-40B4-BE49-F238E27FC236}">
                  <a16:creationId xmlns:a16="http://schemas.microsoft.com/office/drawing/2014/main" id="{EDEC3611-1877-858A-7667-18C0B5498FF2}"/>
                </a:ext>
              </a:extLst>
            </p:cNvPr>
            <p:cNvSpPr/>
            <p:nvPr/>
          </p:nvSpPr>
          <p:spPr bwMode="gray">
            <a:xfrm>
              <a:off x="5053950"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3" name="Picture 14">
              <a:extLst>
                <a:ext uri="{FF2B5EF4-FFF2-40B4-BE49-F238E27FC236}">
                  <a16:creationId xmlns:a16="http://schemas.microsoft.com/office/drawing/2014/main" id="{FD85CE18-C699-FD37-2AC0-D36646A05EFF}"/>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p:blipFill>
          <p:spPr bwMode="auto">
            <a:xfrm>
              <a:off x="5117416" y="3304043"/>
              <a:ext cx="527223" cy="527223"/>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4" name="Oval 163">
              <a:extLst>
                <a:ext uri="{FF2B5EF4-FFF2-40B4-BE49-F238E27FC236}">
                  <a16:creationId xmlns:a16="http://schemas.microsoft.com/office/drawing/2014/main" id="{DAD13325-0DD0-A213-77FA-9EC3138657CA}"/>
                </a:ext>
              </a:extLst>
            </p:cNvPr>
            <p:cNvSpPr/>
            <p:nvPr/>
          </p:nvSpPr>
          <p:spPr bwMode="gray">
            <a:xfrm>
              <a:off x="6654235"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165" name="TextBox 164">
              <a:extLst>
                <a:ext uri="{FF2B5EF4-FFF2-40B4-BE49-F238E27FC236}">
                  <a16:creationId xmlns:a16="http://schemas.microsoft.com/office/drawing/2014/main" id="{3D5E0ACD-BC41-899D-7F58-71FBCA04A2B9}"/>
                </a:ext>
              </a:extLst>
            </p:cNvPr>
            <p:cNvSpPr txBox="1"/>
            <p:nvPr/>
          </p:nvSpPr>
          <p:spPr>
            <a:xfrm>
              <a:off x="5761684" y="3274283"/>
              <a:ext cx="1121152"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Julia </a:t>
              </a: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opadowska</a:t>
              </a: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3</a:t>
              </a: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Warsaw</a:t>
              </a:r>
            </a:p>
          </p:txBody>
        </p:sp>
      </p:grpSp>
      <p:pic>
        <p:nvPicPr>
          <p:cNvPr id="166" name="Picture 165" descr="A red and white flag&#10;&#10;Description automatically generated">
            <a:extLst>
              <a:ext uri="{FF2B5EF4-FFF2-40B4-BE49-F238E27FC236}">
                <a16:creationId xmlns:a16="http://schemas.microsoft.com/office/drawing/2014/main" id="{0BCDDDBD-D581-AD45-2419-4B544F1ADAD0}"/>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2467315" y="5650835"/>
            <a:ext cx="284238" cy="174527"/>
          </a:xfrm>
          <a:prstGeom prst="rect">
            <a:avLst/>
          </a:prstGeom>
          <a:noFill/>
          <a:effectLst>
            <a:outerShdw blurRad="50800" dist="38100" dir="2700000" algn="tl" rotWithShape="0">
              <a:prstClr val="black">
                <a:alpha val="40000"/>
              </a:prstClr>
            </a:outerShdw>
          </a:effectLst>
        </p:spPr>
      </p:pic>
      <p:sp>
        <p:nvSpPr>
          <p:cNvPr id="168" name="TextBox 167">
            <a:extLst>
              <a:ext uri="{FF2B5EF4-FFF2-40B4-BE49-F238E27FC236}">
                <a16:creationId xmlns:a16="http://schemas.microsoft.com/office/drawing/2014/main" id="{62FAA2F4-5F52-B5EC-589A-F6EB8648AC60}"/>
              </a:ext>
            </a:extLst>
          </p:cNvPr>
          <p:cNvSpPr txBox="1"/>
          <p:nvPr/>
        </p:nvSpPr>
        <p:spPr>
          <a:xfrm>
            <a:off x="834424" y="4689658"/>
            <a:ext cx="3084433" cy="276999"/>
          </a:xfrm>
          <a:prstGeom prst="rect">
            <a:avLst/>
          </a:prstGeom>
          <a:noFill/>
        </p:spPr>
        <p:txBody>
          <a:bodyPr wrap="square">
            <a:spAutoFit/>
          </a:bodyPr>
          <a:lstStyle/>
          <a:p>
            <a:r>
              <a:rPr lang="en-US" sz="1200" dirty="0">
                <a:latin typeface="Open Sans" panose="020B0606030504020204" pitchFamily="34" charset="0"/>
                <a:ea typeface="Open Sans" panose="020B0606030504020204" pitchFamily="34" charset="0"/>
                <a:cs typeface="Open Sans" panose="020B0606030504020204" pitchFamily="34" charset="0"/>
              </a:rPr>
              <a:t>Development team</a:t>
            </a:r>
          </a:p>
        </p:txBody>
      </p:sp>
      <p:sp>
        <p:nvSpPr>
          <p:cNvPr id="169" name="TextBox 168">
            <a:extLst>
              <a:ext uri="{FF2B5EF4-FFF2-40B4-BE49-F238E27FC236}">
                <a16:creationId xmlns:a16="http://schemas.microsoft.com/office/drawing/2014/main" id="{E1D82BB4-172A-D448-1FE7-5A7C9BC31D0E}"/>
              </a:ext>
            </a:extLst>
          </p:cNvPr>
          <p:cNvSpPr txBox="1"/>
          <p:nvPr/>
        </p:nvSpPr>
        <p:spPr>
          <a:xfrm>
            <a:off x="834424" y="3263895"/>
            <a:ext cx="3084433" cy="276999"/>
          </a:xfrm>
          <a:prstGeom prst="rect">
            <a:avLst/>
          </a:prstGeom>
          <a:noFill/>
        </p:spPr>
        <p:txBody>
          <a:bodyPr wrap="square">
            <a:spAutoFit/>
          </a:bodyPr>
          <a:lstStyle/>
          <a:p>
            <a:r>
              <a:rPr lang="en-US" sz="1200" dirty="0">
                <a:latin typeface="Open Sans" panose="020B0606030504020204" pitchFamily="34" charset="0"/>
                <a:ea typeface="Open Sans" panose="020B0606030504020204" pitchFamily="34" charset="0"/>
                <a:cs typeface="Open Sans" panose="020B0606030504020204" pitchFamily="34" charset="0"/>
              </a:rPr>
              <a:t>Design and User Experience team</a:t>
            </a:r>
          </a:p>
        </p:txBody>
      </p:sp>
      <p:pic>
        <p:nvPicPr>
          <p:cNvPr id="170" name="Picture 169" descr="A red and white flag&#10;&#10;Description automatically generated">
            <a:extLst>
              <a:ext uri="{FF2B5EF4-FFF2-40B4-BE49-F238E27FC236}">
                <a16:creationId xmlns:a16="http://schemas.microsoft.com/office/drawing/2014/main" id="{79B2ABBF-507D-31EC-E7BF-231C61F2E1FD}"/>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556174" y="5650835"/>
            <a:ext cx="284238" cy="174527"/>
          </a:xfrm>
          <a:prstGeom prst="rect">
            <a:avLst/>
          </a:prstGeom>
          <a:noFill/>
          <a:effectLst>
            <a:outerShdw blurRad="50800" dist="38100" dir="2700000" algn="tl" rotWithShape="0">
              <a:prstClr val="black">
                <a:alpha val="40000"/>
              </a:prstClr>
            </a:outerShdw>
          </a:effectLst>
        </p:spPr>
      </p:pic>
      <p:pic>
        <p:nvPicPr>
          <p:cNvPr id="171" name="Picture 170" descr="A red and white flag&#10;&#10;Description automatically generated">
            <a:extLst>
              <a:ext uri="{FF2B5EF4-FFF2-40B4-BE49-F238E27FC236}">
                <a16:creationId xmlns:a16="http://schemas.microsoft.com/office/drawing/2014/main" id="{4119BCFB-6AF0-2B56-7513-ADD99AD9A0A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720402" y="5650835"/>
            <a:ext cx="284238" cy="174527"/>
          </a:xfrm>
          <a:prstGeom prst="rect">
            <a:avLst/>
          </a:prstGeom>
          <a:noFill/>
          <a:effectLst>
            <a:outerShdw blurRad="50800" dist="38100" dir="2700000" algn="tl" rotWithShape="0">
              <a:prstClr val="black">
                <a:alpha val="40000"/>
              </a:prstClr>
            </a:outerShdw>
          </a:effectLst>
        </p:spPr>
      </p:pic>
      <p:pic>
        <p:nvPicPr>
          <p:cNvPr id="172" name="Picture 171" descr="A red and white flag&#10;&#10;Description automatically generated">
            <a:extLst>
              <a:ext uri="{FF2B5EF4-FFF2-40B4-BE49-F238E27FC236}">
                <a16:creationId xmlns:a16="http://schemas.microsoft.com/office/drawing/2014/main" id="{04C71824-F079-0ACB-916B-2BB1FD87909D}"/>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0808282" y="5650835"/>
            <a:ext cx="284238" cy="174527"/>
          </a:xfrm>
          <a:prstGeom prst="rect">
            <a:avLst/>
          </a:prstGeom>
          <a:noFill/>
          <a:effectLst>
            <a:outerShdw blurRad="50800" dist="38100" dir="2700000" algn="tl" rotWithShape="0">
              <a:prstClr val="black">
                <a:alpha val="40000"/>
              </a:prstClr>
            </a:outerShdw>
          </a:effectLst>
        </p:spPr>
      </p:pic>
      <p:grpSp>
        <p:nvGrpSpPr>
          <p:cNvPr id="173" name="Group 172">
            <a:extLst>
              <a:ext uri="{FF2B5EF4-FFF2-40B4-BE49-F238E27FC236}">
                <a16:creationId xmlns:a16="http://schemas.microsoft.com/office/drawing/2014/main" id="{033BAD00-2711-67A4-B2F1-C4BB7772C609}"/>
              </a:ext>
            </a:extLst>
          </p:cNvPr>
          <p:cNvGrpSpPr/>
          <p:nvPr/>
        </p:nvGrpSpPr>
        <p:grpSpPr>
          <a:xfrm>
            <a:off x="5070394" y="4965254"/>
            <a:ext cx="1886420" cy="900420"/>
            <a:chOff x="2983151" y="3100503"/>
            <a:chExt cx="1886420" cy="900420"/>
          </a:xfrm>
        </p:grpSpPr>
        <p:sp>
          <p:nvSpPr>
            <p:cNvPr id="174" name="Rectangle 173">
              <a:extLst>
                <a:ext uri="{FF2B5EF4-FFF2-40B4-BE49-F238E27FC236}">
                  <a16:creationId xmlns:a16="http://schemas.microsoft.com/office/drawing/2014/main" id="{4279A1D3-C92A-A741-26B4-6C0561E4DDFC}"/>
                </a:ext>
              </a:extLst>
            </p:cNvPr>
            <p:cNvSpPr/>
            <p:nvPr/>
          </p:nvSpPr>
          <p:spPr bwMode="gray">
            <a:xfrm>
              <a:off x="2983151" y="310050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5" name="TextBox 174">
              <a:extLst>
                <a:ext uri="{FF2B5EF4-FFF2-40B4-BE49-F238E27FC236}">
                  <a16:creationId xmlns:a16="http://schemas.microsoft.com/office/drawing/2014/main" id="{861AB5E3-CA55-EFCB-2498-B6BEFA58D964}"/>
                </a:ext>
              </a:extLst>
            </p:cNvPr>
            <p:cNvSpPr txBox="1"/>
            <p:nvPr/>
          </p:nvSpPr>
          <p:spPr>
            <a:xfrm>
              <a:off x="3693774" y="3274283"/>
              <a:ext cx="11276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aciej Wasiak</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5+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Warsaw</a:t>
              </a:r>
            </a:p>
          </p:txBody>
        </p:sp>
        <p:sp>
          <p:nvSpPr>
            <p:cNvPr id="176" name="Oval 175">
              <a:extLst>
                <a:ext uri="{FF2B5EF4-FFF2-40B4-BE49-F238E27FC236}">
                  <a16:creationId xmlns:a16="http://schemas.microsoft.com/office/drawing/2014/main" id="{D212D6D4-AC63-0D84-A8A3-AB18D30F96AD}"/>
                </a:ext>
              </a:extLst>
            </p:cNvPr>
            <p:cNvSpPr/>
            <p:nvPr/>
          </p:nvSpPr>
          <p:spPr bwMode="gray">
            <a:xfrm>
              <a:off x="4586325" y="34849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C</a:t>
              </a:r>
            </a:p>
          </p:txBody>
        </p:sp>
        <p:pic>
          <p:nvPicPr>
            <p:cNvPr id="177" name="Picture 6">
              <a:extLst>
                <a:ext uri="{FF2B5EF4-FFF2-40B4-BE49-F238E27FC236}">
                  <a16:creationId xmlns:a16="http://schemas.microsoft.com/office/drawing/2014/main" id="{AD0773B9-DA95-D696-956F-FFCAE3EF8EA2}"/>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p:blipFill>
          <p:spPr bwMode="auto">
            <a:xfrm>
              <a:off x="3069255" y="3299762"/>
              <a:ext cx="530352" cy="530352"/>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pic>
        <p:nvPicPr>
          <p:cNvPr id="178" name="Picture 177" descr="A red and white flag&#10;&#10;Description automatically generated">
            <a:extLst>
              <a:ext uri="{FF2B5EF4-FFF2-40B4-BE49-F238E27FC236}">
                <a16:creationId xmlns:a16="http://schemas.microsoft.com/office/drawing/2014/main" id="{9ABA4F71-4A8C-5765-20C8-4F254D21B338}"/>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6630301" y="5650835"/>
            <a:ext cx="284238" cy="174527"/>
          </a:xfrm>
          <a:prstGeom prst="rect">
            <a:avLst/>
          </a:prstGeom>
          <a:noFill/>
          <a:effectLst>
            <a:outerShdw blurRad="50800" dist="38100" dir="2700000" algn="tl" rotWithShape="0">
              <a:prstClr val="black">
                <a:alpha val="40000"/>
              </a:prstClr>
            </a:outerShdw>
          </a:effectLst>
        </p:spPr>
      </p:pic>
      <p:pic>
        <p:nvPicPr>
          <p:cNvPr id="179" name="Picture 178" descr="A red and white flag&#10;&#10;Description automatically generated">
            <a:extLst>
              <a:ext uri="{FF2B5EF4-FFF2-40B4-BE49-F238E27FC236}">
                <a16:creationId xmlns:a16="http://schemas.microsoft.com/office/drawing/2014/main" id="{B15174B6-22AE-E68C-A761-FE95C24F18A4}"/>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922283" y="6458584"/>
            <a:ext cx="194400" cy="119365"/>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085456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latin typeface="Open Sans" panose="020B0606030504020204" pitchFamily="34" charset="0"/>
                <a:ea typeface="Open Sans" panose="020B0606030504020204" pitchFamily="34" charset="0"/>
                <a:cs typeface="Open Sans" panose="020B0606030504020204" pitchFamily="34" charset="0"/>
              </a:rPr>
              <a:t>Design and User Experience Tombstones</a:t>
            </a:r>
          </a:p>
        </p:txBody>
      </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lIns="36000"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We have a broad portfolio of relevant credentials in the field of Strategy Consulting Services</a:t>
            </a:r>
          </a:p>
        </p:txBody>
      </p:sp>
      <p:grpSp>
        <p:nvGrpSpPr>
          <p:cNvPr id="47" name="Group 531">
            <a:extLst>
              <a:ext uri="{FF2B5EF4-FFF2-40B4-BE49-F238E27FC236}">
                <a16:creationId xmlns:a16="http://schemas.microsoft.com/office/drawing/2014/main" id="{A3EDCFE8-7889-17DF-6591-6A851EF283FC}"/>
              </a:ext>
            </a:extLst>
          </p:cNvPr>
          <p:cNvGrpSpPr>
            <a:grpSpLocks/>
          </p:cNvGrpSpPr>
          <p:nvPr/>
        </p:nvGrpSpPr>
        <p:grpSpPr bwMode="auto">
          <a:xfrm>
            <a:off x="10389212" y="2514192"/>
            <a:ext cx="450000" cy="450000"/>
            <a:chOff x="3061" y="1953"/>
            <a:chExt cx="340" cy="340"/>
          </a:xfrm>
          <a:solidFill>
            <a:srgbClr val="9DD4CF"/>
          </a:solidFill>
        </p:grpSpPr>
        <p:sp>
          <p:nvSpPr>
            <p:cNvPr id="48"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 name="Group 531">
            <a:extLst>
              <a:ext uri="{FF2B5EF4-FFF2-40B4-BE49-F238E27FC236}">
                <a16:creationId xmlns:a16="http://schemas.microsoft.com/office/drawing/2014/main" id="{1F6AE038-CADC-C2F9-6D79-AFF8180F4732}"/>
              </a:ext>
            </a:extLst>
          </p:cNvPr>
          <p:cNvGrpSpPr>
            <a:grpSpLocks/>
          </p:cNvGrpSpPr>
          <p:nvPr/>
        </p:nvGrpSpPr>
        <p:grpSpPr bwMode="auto">
          <a:xfrm>
            <a:off x="3400126" y="2504464"/>
            <a:ext cx="450000" cy="450000"/>
            <a:chOff x="3061" y="1953"/>
            <a:chExt cx="340" cy="340"/>
          </a:xfrm>
          <a:solidFill>
            <a:srgbClr val="9DD4CF"/>
          </a:solidFill>
        </p:grpSpPr>
        <p:sp>
          <p:nvSpPr>
            <p:cNvPr id="125"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1" name="Group 531">
            <a:extLst>
              <a:ext uri="{FF2B5EF4-FFF2-40B4-BE49-F238E27FC236}">
                <a16:creationId xmlns:a16="http://schemas.microsoft.com/office/drawing/2014/main" id="{FA52585D-19AF-EF1A-3600-EC73F071B8EE}"/>
              </a:ext>
            </a:extLst>
          </p:cNvPr>
          <p:cNvGrpSpPr>
            <a:grpSpLocks/>
          </p:cNvGrpSpPr>
          <p:nvPr/>
        </p:nvGrpSpPr>
        <p:grpSpPr bwMode="auto">
          <a:xfrm>
            <a:off x="6933476" y="2504464"/>
            <a:ext cx="450000" cy="450000"/>
            <a:chOff x="3061" y="1953"/>
            <a:chExt cx="340" cy="340"/>
          </a:xfrm>
          <a:solidFill>
            <a:srgbClr val="9DD4CF"/>
          </a:solidFill>
        </p:grpSpPr>
        <p:sp>
          <p:nvSpPr>
            <p:cNvPr id="152" name="Freeform 532">
              <a:extLst>
                <a:ext uri="{FF2B5EF4-FFF2-40B4-BE49-F238E27FC236}">
                  <a16:creationId xmlns:a16="http://schemas.microsoft.com/office/drawing/2014/main" id="{B86E1DE2-9142-A18E-38F0-AFA5403DC36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533">
              <a:extLst>
                <a:ext uri="{FF2B5EF4-FFF2-40B4-BE49-F238E27FC236}">
                  <a16:creationId xmlns:a16="http://schemas.microsoft.com/office/drawing/2014/main" id="{055940D6-F3BC-6FFA-CEA2-DCF07EE8891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1" name="Group 120">
            <a:extLst>
              <a:ext uri="{FF2B5EF4-FFF2-40B4-BE49-F238E27FC236}">
                <a16:creationId xmlns:a16="http://schemas.microsoft.com/office/drawing/2014/main" id="{BB52BF02-84E7-738C-8A3D-F5FBA9F6111F}"/>
              </a:ext>
            </a:extLst>
          </p:cNvPr>
          <p:cNvGrpSpPr/>
          <p:nvPr/>
        </p:nvGrpSpPr>
        <p:grpSpPr>
          <a:xfrm>
            <a:off x="1170700" y="2499901"/>
            <a:ext cx="9850600" cy="2104238"/>
            <a:chOff x="1012681" y="1550764"/>
            <a:chExt cx="9850600" cy="2104238"/>
          </a:xfrm>
        </p:grpSpPr>
        <p:grpSp>
          <p:nvGrpSpPr>
            <p:cNvPr id="114" name="Group 113">
              <a:extLst>
                <a:ext uri="{FF2B5EF4-FFF2-40B4-BE49-F238E27FC236}">
                  <a16:creationId xmlns:a16="http://schemas.microsoft.com/office/drawing/2014/main" id="{7B1AD157-3108-A00F-6AED-A4B44808C783}"/>
                </a:ext>
              </a:extLst>
            </p:cNvPr>
            <p:cNvGrpSpPr/>
            <p:nvPr/>
          </p:nvGrpSpPr>
          <p:grpSpPr>
            <a:xfrm>
              <a:off x="8023320" y="1550764"/>
              <a:ext cx="2839961" cy="2090084"/>
              <a:chOff x="4543515" y="1555327"/>
              <a:chExt cx="2839961" cy="2090084"/>
            </a:xfrm>
          </p:grpSpPr>
          <p:sp>
            <p:nvSpPr>
              <p:cNvPr id="147" name="Rectangle 146">
                <a:extLst>
                  <a:ext uri="{FF2B5EF4-FFF2-40B4-BE49-F238E27FC236}">
                    <a16:creationId xmlns:a16="http://schemas.microsoft.com/office/drawing/2014/main" id="{735C1D2F-26FC-2D9A-0A41-F54EEF30FB92}"/>
                  </a:ext>
                </a:extLst>
              </p:cNvPr>
              <p:cNvSpPr/>
              <p:nvPr/>
            </p:nvSpPr>
            <p:spPr bwMode="gray">
              <a:xfrm>
                <a:off x="4559554" y="2010091"/>
                <a:ext cx="2802166"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8" name="Rectangle 147">
                <a:extLst>
                  <a:ext uri="{FF2B5EF4-FFF2-40B4-BE49-F238E27FC236}">
                    <a16:creationId xmlns:a16="http://schemas.microsoft.com/office/drawing/2014/main" id="{1B6D349D-C10A-5588-8900-AF5B7C72CE8C}"/>
                  </a:ext>
                </a:extLst>
              </p:cNvPr>
              <p:cNvSpPr/>
              <p:nvPr/>
            </p:nvSpPr>
            <p:spPr bwMode="gray">
              <a:xfrm>
                <a:off x="4543515" y="1564918"/>
                <a:ext cx="2802166"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9" name="TextBox 148">
                <a:extLst>
                  <a:ext uri="{FF2B5EF4-FFF2-40B4-BE49-F238E27FC236}">
                    <a16:creationId xmlns:a16="http://schemas.microsoft.com/office/drawing/2014/main" id="{DC2158EA-3D77-8F0E-2364-B8431216278E}"/>
                  </a:ext>
                </a:extLst>
              </p:cNvPr>
              <p:cNvSpPr txBox="1"/>
              <p:nvPr/>
            </p:nvSpPr>
            <p:spPr>
              <a:xfrm>
                <a:off x="4681903" y="1701133"/>
                <a:ext cx="2207552" cy="149263"/>
              </a:xfrm>
              <a:prstGeom prst="rect">
                <a:avLst/>
              </a:prstGeom>
              <a:noFill/>
            </p:spPr>
            <p:txBody>
              <a:bodyPr wrap="square" lIns="0" tIns="0" rIns="0" bIns="0" rtlCol="0" anchor="t">
                <a:noAutofit/>
              </a:bodyPr>
              <a:lstStyle/>
              <a:p>
                <a:r>
                  <a:rPr lang="en-US" sz="900" b="1" dirty="0">
                    <a:solidFill>
                      <a:schemeClr val="bg1"/>
                    </a:solidFill>
                  </a:rPr>
                  <a:t>DOMESTIC LEASING COMPANY </a:t>
                </a:r>
              </a:p>
            </p:txBody>
          </p:sp>
          <p:sp>
            <p:nvSpPr>
              <p:cNvPr id="150" name="Flowchart: Connector 149">
                <a:extLst>
                  <a:ext uri="{FF2B5EF4-FFF2-40B4-BE49-F238E27FC236}">
                    <a16:creationId xmlns:a16="http://schemas.microsoft.com/office/drawing/2014/main" id="{6DE11E07-4C60-AE0B-A881-64DD14025476}"/>
                  </a:ext>
                </a:extLst>
              </p:cNvPr>
              <p:cNvSpPr/>
              <p:nvPr/>
            </p:nvSpPr>
            <p:spPr bwMode="gray">
              <a:xfrm>
                <a:off x="6968907" y="1564918"/>
                <a:ext cx="383881"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1" name="Group 531">
                <a:extLst>
                  <a:ext uri="{FF2B5EF4-FFF2-40B4-BE49-F238E27FC236}">
                    <a16:creationId xmlns:a16="http://schemas.microsoft.com/office/drawing/2014/main" id="{FA52585D-19AF-EF1A-3600-EC73F071B8EE}"/>
                  </a:ext>
                </a:extLst>
              </p:cNvPr>
              <p:cNvGrpSpPr>
                <a:grpSpLocks/>
              </p:cNvGrpSpPr>
              <p:nvPr/>
            </p:nvGrpSpPr>
            <p:grpSpPr bwMode="auto">
              <a:xfrm>
                <a:off x="6933476" y="1555327"/>
                <a:ext cx="450000" cy="450000"/>
                <a:chOff x="3061" y="1953"/>
                <a:chExt cx="340" cy="340"/>
              </a:xfrm>
              <a:solidFill>
                <a:srgbClr val="9DD4CF"/>
              </a:solidFill>
            </p:grpSpPr>
            <p:sp>
              <p:nvSpPr>
                <p:cNvPr id="123" name="Freeform 532">
                  <a:extLst>
                    <a:ext uri="{FF2B5EF4-FFF2-40B4-BE49-F238E27FC236}">
                      <a16:creationId xmlns:a16="http://schemas.microsoft.com/office/drawing/2014/main" id="{B86E1DE2-9142-A18E-38F0-AFA5403DC36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533">
                  <a:extLst>
                    <a:ext uri="{FF2B5EF4-FFF2-40B4-BE49-F238E27FC236}">
                      <a16:creationId xmlns:a16="http://schemas.microsoft.com/office/drawing/2014/main" id="{055940D6-F3BC-6FFA-CEA2-DCF07EE8891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4" name="Group 153">
                <a:extLst>
                  <a:ext uri="{FF2B5EF4-FFF2-40B4-BE49-F238E27FC236}">
                    <a16:creationId xmlns:a16="http://schemas.microsoft.com/office/drawing/2014/main" id="{E2A9F0D2-8AFF-73E2-3D78-5E5D4D7F20DB}"/>
                  </a:ext>
                </a:extLst>
              </p:cNvPr>
              <p:cNvGrpSpPr/>
              <p:nvPr/>
            </p:nvGrpSpPr>
            <p:grpSpPr>
              <a:xfrm>
                <a:off x="5649989" y="3339355"/>
                <a:ext cx="1551379" cy="306056"/>
                <a:chOff x="2050976" y="3519440"/>
                <a:chExt cx="1704190" cy="306056"/>
              </a:xfrm>
            </p:grpSpPr>
            <p:sp>
              <p:nvSpPr>
                <p:cNvPr id="155" name="Rectangle: Rounded Corners 154">
                  <a:extLst>
                    <a:ext uri="{FF2B5EF4-FFF2-40B4-BE49-F238E27FC236}">
                      <a16:creationId xmlns:a16="http://schemas.microsoft.com/office/drawing/2014/main" id="{36C419E1-E418-3805-D1CE-7C41B27D8B01}"/>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56" name="TextBox 155">
                  <a:extLst>
                    <a:ext uri="{FF2B5EF4-FFF2-40B4-BE49-F238E27FC236}">
                      <a16:creationId xmlns:a16="http://schemas.microsoft.com/office/drawing/2014/main" id="{2B4D19C9-4D65-FC1B-FA7E-44DA9CD9BC9B}"/>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hu-HU" sz="800" b="1" dirty="0">
                      <a:ea typeface="Open Sans Light" panose="020B0306030504020204" pitchFamily="34" charset="0"/>
                      <a:cs typeface="Open Sans Light" panose="020B0306030504020204" pitchFamily="34" charset="0"/>
                    </a:rPr>
                    <a:t>6.1. </a:t>
                  </a:r>
                  <a:r>
                    <a:rPr lang="en-US" sz="800" b="1" dirty="0">
                      <a:ea typeface="Open Sans Light" panose="020B0306030504020204" pitchFamily="34" charset="0"/>
                      <a:cs typeface="Open Sans Light" panose="020B0306030504020204" pitchFamily="34" charset="0"/>
                    </a:rPr>
                    <a:t>STRATEGIC PLANNING</a:t>
                  </a:r>
                  <a:endParaRPr lang="en-US" sz="800" b="1" dirty="0">
                    <a:latin typeface="+mj-lt"/>
                    <a:ea typeface="Open Sans Light" panose="020B0306030504020204" pitchFamily="34" charset="0"/>
                    <a:cs typeface="Open Sans Light" panose="020B0306030504020204" pitchFamily="34" charset="0"/>
                  </a:endParaRPr>
                </a:p>
              </p:txBody>
            </p:sp>
          </p:grpSp>
          <p:sp>
            <p:nvSpPr>
              <p:cNvPr id="157" name="TextBox 156">
                <a:extLst>
                  <a:ext uri="{FF2B5EF4-FFF2-40B4-BE49-F238E27FC236}">
                    <a16:creationId xmlns:a16="http://schemas.microsoft.com/office/drawing/2014/main" id="{1ECD6F58-A535-A242-FE13-BC47D85F11BD}"/>
                  </a:ext>
                </a:extLst>
              </p:cNvPr>
              <p:cNvSpPr txBox="1"/>
              <p:nvPr/>
            </p:nvSpPr>
            <p:spPr>
              <a:xfrm>
                <a:off x="4691644" y="2612833"/>
                <a:ext cx="2621317"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Shaped the Bank's future operating model in a way to answer market requirements and improve efficiency while identifying new revenue generating initiatives</a:t>
                </a:r>
              </a:p>
            </p:txBody>
          </p:sp>
          <p:sp>
            <p:nvSpPr>
              <p:cNvPr id="158" name="TextBox 157">
                <a:extLst>
                  <a:ext uri="{FF2B5EF4-FFF2-40B4-BE49-F238E27FC236}">
                    <a16:creationId xmlns:a16="http://schemas.microsoft.com/office/drawing/2014/main" id="{0D684CFD-E92B-65A3-52C0-5F36B58274E6}"/>
                  </a:ext>
                </a:extLst>
              </p:cNvPr>
              <p:cNvSpPr txBox="1"/>
              <p:nvPr/>
            </p:nvSpPr>
            <p:spPr>
              <a:xfrm>
                <a:off x="4691644" y="2215344"/>
                <a:ext cx="2302706" cy="233109"/>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a:spcAft>
                    <a:spcPts val="1000"/>
                  </a:spcAft>
                </a:pPr>
                <a:r>
                  <a:rPr lang="en-US" sz="900" b="1" dirty="0">
                    <a:solidFill>
                      <a:srgbClr val="00B0F2"/>
                    </a:solidFill>
                    <a:ea typeface="Open Sans Light" panose="020B0306030504020204" pitchFamily="34" charset="0"/>
                    <a:cs typeface="Open Sans Light" panose="020B0306030504020204" pitchFamily="34" charset="0"/>
                  </a:rPr>
                  <a:t>FUTURE OPERATING MODEL DESIGN</a:t>
                </a:r>
              </a:p>
            </p:txBody>
          </p:sp>
        </p:grpSp>
        <p:grpSp>
          <p:nvGrpSpPr>
            <p:cNvPr id="50" name="Group 49">
              <a:extLst>
                <a:ext uri="{FF2B5EF4-FFF2-40B4-BE49-F238E27FC236}">
                  <a16:creationId xmlns:a16="http://schemas.microsoft.com/office/drawing/2014/main" id="{0A3C5F27-2267-177B-116E-BC4F3706EA0B}"/>
                </a:ext>
              </a:extLst>
            </p:cNvPr>
            <p:cNvGrpSpPr/>
            <p:nvPr/>
          </p:nvGrpSpPr>
          <p:grpSpPr>
            <a:xfrm>
              <a:off x="1012681" y="1555341"/>
              <a:ext cx="2835212" cy="2099661"/>
              <a:chOff x="341687" y="3959622"/>
              <a:chExt cx="2835212" cy="2099661"/>
            </a:xfrm>
          </p:grpSpPr>
          <p:sp>
            <p:nvSpPr>
              <p:cNvPr id="161" name="Rectangle 160">
                <a:extLst>
                  <a:ext uri="{FF2B5EF4-FFF2-40B4-BE49-F238E27FC236}">
                    <a16:creationId xmlns:a16="http://schemas.microsoft.com/office/drawing/2014/main" id="{188F9994-5227-1AF7-B863-35AB42AF2865}"/>
                  </a:ext>
                </a:extLst>
              </p:cNvPr>
              <p:cNvSpPr/>
              <p:nvPr/>
            </p:nvSpPr>
            <p:spPr bwMode="gray">
              <a:xfrm>
                <a:off x="348900" y="4423963"/>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2" name="Rectangle 161">
                <a:extLst>
                  <a:ext uri="{FF2B5EF4-FFF2-40B4-BE49-F238E27FC236}">
                    <a16:creationId xmlns:a16="http://schemas.microsoft.com/office/drawing/2014/main" id="{3567DDAE-BD14-2D38-5110-561C65945373}"/>
                  </a:ext>
                </a:extLst>
              </p:cNvPr>
              <p:cNvSpPr/>
              <p:nvPr/>
            </p:nvSpPr>
            <p:spPr bwMode="gray">
              <a:xfrm>
                <a:off x="341687" y="3973762"/>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3" name="TextBox 162">
                <a:extLst>
                  <a:ext uri="{FF2B5EF4-FFF2-40B4-BE49-F238E27FC236}">
                    <a16:creationId xmlns:a16="http://schemas.microsoft.com/office/drawing/2014/main" id="{757556D0-82C4-571F-7019-F245A0C20034}"/>
                  </a:ext>
                </a:extLst>
              </p:cNvPr>
              <p:cNvSpPr txBox="1"/>
              <p:nvPr/>
            </p:nvSpPr>
            <p:spPr>
              <a:xfrm>
                <a:off x="471759" y="4110739"/>
                <a:ext cx="2216759" cy="147739"/>
              </a:xfrm>
              <a:prstGeom prst="rect">
                <a:avLst/>
              </a:prstGeom>
              <a:noFill/>
            </p:spPr>
            <p:txBody>
              <a:bodyPr wrap="square" lIns="0" tIns="0" rIns="0" bIns="0" rtlCol="0" anchor="t">
                <a:noAutofit/>
              </a:bodyPr>
              <a:lstStyle/>
              <a:p>
                <a:r>
                  <a:rPr lang="en-US" sz="900" b="1" dirty="0">
                    <a:solidFill>
                      <a:schemeClr val="bg1"/>
                    </a:solidFill>
                  </a:rPr>
                  <a:t>HUNGARIAN MINISTRY</a:t>
                </a:r>
              </a:p>
            </p:txBody>
          </p:sp>
          <p:sp>
            <p:nvSpPr>
              <p:cNvPr id="164" name="Flowchart: Connector 163">
                <a:extLst>
                  <a:ext uri="{FF2B5EF4-FFF2-40B4-BE49-F238E27FC236}">
                    <a16:creationId xmlns:a16="http://schemas.microsoft.com/office/drawing/2014/main" id="{2FD0A1D8-DFFF-25E5-CA52-9E218A46EC4B}"/>
                  </a:ext>
                </a:extLst>
              </p:cNvPr>
              <p:cNvSpPr/>
              <p:nvPr/>
            </p:nvSpPr>
            <p:spPr bwMode="gray">
              <a:xfrm>
                <a:off x="2768300" y="3973762"/>
                <a:ext cx="385482"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68" name="Group 167">
                <a:extLst>
                  <a:ext uri="{FF2B5EF4-FFF2-40B4-BE49-F238E27FC236}">
                    <a16:creationId xmlns:a16="http://schemas.microsoft.com/office/drawing/2014/main" id="{D7F91792-5860-35C1-FA34-74717D3E82E1}"/>
                  </a:ext>
                </a:extLst>
              </p:cNvPr>
              <p:cNvGrpSpPr/>
              <p:nvPr/>
            </p:nvGrpSpPr>
            <p:grpSpPr>
              <a:xfrm>
                <a:off x="1443883" y="5753227"/>
                <a:ext cx="1557848" cy="306056"/>
                <a:chOff x="2050976" y="3519440"/>
                <a:chExt cx="1704190" cy="306056"/>
              </a:xfrm>
            </p:grpSpPr>
            <p:sp>
              <p:nvSpPr>
                <p:cNvPr id="169" name="Rectangle: Rounded Corners 168">
                  <a:extLst>
                    <a:ext uri="{FF2B5EF4-FFF2-40B4-BE49-F238E27FC236}">
                      <a16:creationId xmlns:a16="http://schemas.microsoft.com/office/drawing/2014/main" id="{B9510B86-02F5-E550-4EA2-8C825D733FF7}"/>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0" name="TextBox 169">
                  <a:extLst>
                    <a:ext uri="{FF2B5EF4-FFF2-40B4-BE49-F238E27FC236}">
                      <a16:creationId xmlns:a16="http://schemas.microsoft.com/office/drawing/2014/main" id="{8A287CEA-6E97-4A48-7049-3C04FDD3118F}"/>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hu-HU" sz="800" b="1" dirty="0">
                      <a:ea typeface="Open Sans Light" panose="020B0306030504020204" pitchFamily="34" charset="0"/>
                      <a:cs typeface="Open Sans Light" panose="020B0306030504020204" pitchFamily="34" charset="0"/>
                    </a:rPr>
                    <a:t>6.1. </a:t>
                  </a:r>
                  <a:r>
                    <a:rPr lang="en-US" sz="800" b="1" dirty="0">
                      <a:ea typeface="Open Sans Light" panose="020B0306030504020204" pitchFamily="34" charset="0"/>
                      <a:cs typeface="Open Sans Light" panose="020B0306030504020204" pitchFamily="34" charset="0"/>
                    </a:rPr>
                    <a:t>STRATEGIC PLANNING</a:t>
                  </a:r>
                  <a:endParaRPr lang="en-US" sz="800" b="1" dirty="0">
                    <a:latin typeface="+mj-lt"/>
                    <a:ea typeface="Open Sans Light" panose="020B0306030504020204" pitchFamily="34" charset="0"/>
                    <a:cs typeface="Open Sans Light" panose="020B0306030504020204" pitchFamily="34" charset="0"/>
                  </a:endParaRPr>
                </a:p>
              </p:txBody>
            </p:sp>
          </p:grpSp>
          <p:sp>
            <p:nvSpPr>
              <p:cNvPr id="171" name="TextBox 170">
                <a:extLst>
                  <a:ext uri="{FF2B5EF4-FFF2-40B4-BE49-F238E27FC236}">
                    <a16:creationId xmlns:a16="http://schemas.microsoft.com/office/drawing/2014/main" id="{721D9BC5-87A7-1A57-DB42-619A9F8D967F}"/>
                  </a:ext>
                </a:extLst>
              </p:cNvPr>
              <p:cNvSpPr txBox="1"/>
              <p:nvPr/>
            </p:nvSpPr>
            <p:spPr>
              <a:xfrm>
                <a:off x="472650" y="5036431"/>
                <a:ext cx="2316699" cy="680008"/>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The client asked Deloitte to conduct a study on potential industry development practices in 6 industries based on the perspective of key local and international industry players and international good practices.</a:t>
                </a:r>
              </a:p>
            </p:txBody>
          </p:sp>
          <p:sp>
            <p:nvSpPr>
              <p:cNvPr id="172" name="TextBox 171">
                <a:extLst>
                  <a:ext uri="{FF2B5EF4-FFF2-40B4-BE49-F238E27FC236}">
                    <a16:creationId xmlns:a16="http://schemas.microsoft.com/office/drawing/2014/main" id="{27A02338-5481-10EB-2D56-5C27F9FE461C}"/>
                  </a:ext>
                </a:extLst>
              </p:cNvPr>
              <p:cNvSpPr txBox="1"/>
              <p:nvPr/>
            </p:nvSpPr>
            <p:spPr>
              <a:xfrm>
                <a:off x="472650" y="4629216"/>
                <a:ext cx="2529081"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hu-HU" dirty="0">
                    <a:solidFill>
                      <a:srgbClr val="00B0F2"/>
                    </a:solidFill>
                  </a:rPr>
                  <a:t>PUBLIC POLICY STRATEGY</a:t>
                </a:r>
                <a:endParaRPr lang="en-US" dirty="0">
                  <a:solidFill>
                    <a:srgbClr val="00B0F2"/>
                  </a:solidFill>
                </a:endParaRPr>
              </a:p>
            </p:txBody>
          </p:sp>
          <p:grpSp>
            <p:nvGrpSpPr>
              <p:cNvPr id="173" name="Group 172">
                <a:extLst>
                  <a:ext uri="{FF2B5EF4-FFF2-40B4-BE49-F238E27FC236}">
                    <a16:creationId xmlns:a16="http://schemas.microsoft.com/office/drawing/2014/main" id="{E732E4DD-B9DB-2CE0-0BF8-F48C1FBED926}"/>
                  </a:ext>
                </a:extLst>
              </p:cNvPr>
              <p:cNvGrpSpPr>
                <a:grpSpLocks/>
              </p:cNvGrpSpPr>
              <p:nvPr/>
            </p:nvGrpSpPr>
            <p:grpSpPr>
              <a:xfrm>
                <a:off x="2726899" y="3959622"/>
                <a:ext cx="450000" cy="450001"/>
                <a:chOff x="7366067" y="6713969"/>
                <a:chExt cx="492328" cy="493776"/>
              </a:xfrm>
            </p:grpSpPr>
            <p:sp>
              <p:nvSpPr>
                <p:cNvPr id="15" name="Flowchart: Connector 14">
                  <a:extLst>
                    <a:ext uri="{FF2B5EF4-FFF2-40B4-BE49-F238E27FC236}">
                      <a16:creationId xmlns:a16="http://schemas.microsoft.com/office/drawing/2014/main" id="{118F51FE-FC01-3FA7-F009-CF92B097BE5D}"/>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11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15" name="Group 114">
              <a:extLst>
                <a:ext uri="{FF2B5EF4-FFF2-40B4-BE49-F238E27FC236}">
                  <a16:creationId xmlns:a16="http://schemas.microsoft.com/office/drawing/2014/main" id="{59C53CED-443E-F7F0-8D27-29899A803A99}"/>
                </a:ext>
              </a:extLst>
            </p:cNvPr>
            <p:cNvGrpSpPr/>
            <p:nvPr/>
          </p:nvGrpSpPr>
          <p:grpSpPr>
            <a:xfrm>
              <a:off x="4519543" y="1555327"/>
              <a:ext cx="2837445" cy="2090084"/>
              <a:chOff x="1012681" y="1555327"/>
              <a:chExt cx="2837445" cy="2090084"/>
            </a:xfrm>
          </p:grpSpPr>
          <p:sp>
            <p:nvSpPr>
              <p:cNvPr id="14" name="Rectangle 13">
                <a:extLst>
                  <a:ext uri="{FF2B5EF4-FFF2-40B4-BE49-F238E27FC236}">
                    <a16:creationId xmlns:a16="http://schemas.microsoft.com/office/drawing/2014/main" id="{9DB648EF-8476-4A03-2C11-9178E2030D2C}"/>
                  </a:ext>
                </a:extLst>
              </p:cNvPr>
              <p:cNvSpPr/>
              <p:nvPr/>
            </p:nvSpPr>
            <p:spPr bwMode="gray">
              <a:xfrm>
                <a:off x="1012681" y="201009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39" name="Rectangle 38">
                <a:extLst>
                  <a:ext uri="{FF2B5EF4-FFF2-40B4-BE49-F238E27FC236}">
                    <a16:creationId xmlns:a16="http://schemas.microsoft.com/office/drawing/2014/main" id="{30E643F9-9AFB-7F1D-A760-95B452450FC8}"/>
                  </a:ext>
                </a:extLst>
              </p:cNvPr>
              <p:cNvSpPr/>
              <p:nvPr/>
            </p:nvSpPr>
            <p:spPr bwMode="gray">
              <a:xfrm>
                <a:off x="1014363" y="156491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40" name="TextBox 39">
                <a:extLst>
                  <a:ext uri="{FF2B5EF4-FFF2-40B4-BE49-F238E27FC236}">
                    <a16:creationId xmlns:a16="http://schemas.microsoft.com/office/drawing/2014/main" id="{0438F638-92A7-4437-0857-B8718F77E13A}"/>
                  </a:ext>
                </a:extLst>
              </p:cNvPr>
              <p:cNvSpPr txBox="1"/>
              <p:nvPr/>
            </p:nvSpPr>
            <p:spPr>
              <a:xfrm>
                <a:off x="1135721" y="1701133"/>
                <a:ext cx="2220025" cy="149263"/>
              </a:xfrm>
              <a:prstGeom prst="rect">
                <a:avLst/>
              </a:prstGeom>
              <a:noFill/>
            </p:spPr>
            <p:txBody>
              <a:bodyPr wrap="square" lIns="0" tIns="0" rIns="0" bIns="0" rtlCol="0" anchor="t">
                <a:noAutofit/>
              </a:bodyPr>
              <a:lstStyle/>
              <a:p>
                <a:r>
                  <a:rPr lang="en-US" sz="900" b="1" dirty="0">
                    <a:solidFill>
                      <a:schemeClr val="bg1"/>
                    </a:solidFill>
                  </a:rPr>
                  <a:t>INTERNATIONAL INSURANCE COMPANY </a:t>
                </a:r>
              </a:p>
            </p:txBody>
          </p:sp>
          <p:sp>
            <p:nvSpPr>
              <p:cNvPr id="122" name="Flowchart: Connector 121">
                <a:extLst>
                  <a:ext uri="{FF2B5EF4-FFF2-40B4-BE49-F238E27FC236}">
                    <a16:creationId xmlns:a16="http://schemas.microsoft.com/office/drawing/2014/main" id="{7D3078D8-E59C-B6FB-EF19-6FC84FFF05EC}"/>
                  </a:ext>
                </a:extLst>
              </p:cNvPr>
              <p:cNvSpPr/>
              <p:nvPr/>
            </p:nvSpPr>
            <p:spPr bwMode="gray">
              <a:xfrm>
                <a:off x="3435647" y="156491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7" name="Group 531">
                <a:extLst>
                  <a:ext uri="{FF2B5EF4-FFF2-40B4-BE49-F238E27FC236}">
                    <a16:creationId xmlns:a16="http://schemas.microsoft.com/office/drawing/2014/main" id="{1F6AE038-CADC-C2F9-6D79-AFF8180F4732}"/>
                  </a:ext>
                </a:extLst>
              </p:cNvPr>
              <p:cNvGrpSpPr>
                <a:grpSpLocks/>
              </p:cNvGrpSpPr>
              <p:nvPr/>
            </p:nvGrpSpPr>
            <p:grpSpPr bwMode="auto">
              <a:xfrm>
                <a:off x="3400126" y="1555327"/>
                <a:ext cx="450000" cy="450000"/>
                <a:chOff x="3061" y="1953"/>
                <a:chExt cx="340" cy="340"/>
              </a:xfrm>
              <a:solidFill>
                <a:srgbClr val="9DD4CF"/>
              </a:solidFill>
            </p:grpSpPr>
            <p:sp>
              <p:nvSpPr>
                <p:cNvPr id="10"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2" name="Group 141">
                <a:extLst>
                  <a:ext uri="{FF2B5EF4-FFF2-40B4-BE49-F238E27FC236}">
                    <a16:creationId xmlns:a16="http://schemas.microsoft.com/office/drawing/2014/main" id="{B180359B-0667-661C-787D-E013F443D110}"/>
                  </a:ext>
                </a:extLst>
              </p:cNvPr>
              <p:cNvGrpSpPr/>
              <p:nvPr/>
            </p:nvGrpSpPr>
            <p:grpSpPr>
              <a:xfrm>
                <a:off x="2109277" y="3339355"/>
                <a:ext cx="1560144" cy="306056"/>
                <a:chOff x="2050976" y="3519440"/>
                <a:chExt cx="1704190" cy="306056"/>
              </a:xfrm>
            </p:grpSpPr>
            <p:sp>
              <p:nvSpPr>
                <p:cNvPr id="143" name="Rectangle: Rounded Corners 142">
                  <a:extLst>
                    <a:ext uri="{FF2B5EF4-FFF2-40B4-BE49-F238E27FC236}">
                      <a16:creationId xmlns:a16="http://schemas.microsoft.com/office/drawing/2014/main" id="{EF5B7140-15FD-0460-4881-C713C8767A08}"/>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4" name="TextBox 143">
                  <a:extLst>
                    <a:ext uri="{FF2B5EF4-FFF2-40B4-BE49-F238E27FC236}">
                      <a16:creationId xmlns:a16="http://schemas.microsoft.com/office/drawing/2014/main" id="{B1FD2A87-B822-C52F-A05B-735E59FE3A4A}"/>
                    </a:ext>
                  </a:extLst>
                </p:cNvPr>
                <p:cNvSpPr txBox="1"/>
                <p:nvPr/>
              </p:nvSpPr>
              <p:spPr>
                <a:xfrm>
                  <a:off x="2244938" y="3579274"/>
                  <a:ext cx="1285514" cy="246222"/>
                </a:xfrm>
                <a:prstGeom prst="rect">
                  <a:avLst/>
                </a:prstGeom>
                <a:noFill/>
              </p:spPr>
              <p:txBody>
                <a:bodyPr wrap="square" lIns="0" tIns="0" rIns="0" bIns="0" rtlCol="0" anchor="t">
                  <a:noAutofit/>
                </a:bodyPr>
                <a:lstStyle/>
                <a:p>
                  <a:pPr>
                    <a:spcAft>
                      <a:spcPts val="1000"/>
                    </a:spcAft>
                  </a:pPr>
                  <a:r>
                    <a:rPr lang="hu-HU" sz="800" b="1" dirty="0">
                      <a:ea typeface="Open Sans Light" panose="020B0306030504020204" pitchFamily="34" charset="0"/>
                      <a:cs typeface="Open Sans Light" panose="020B0306030504020204" pitchFamily="34" charset="0"/>
                    </a:rPr>
                    <a:t>6.1. </a:t>
                  </a:r>
                  <a:r>
                    <a:rPr lang="en-US" sz="800" b="1" dirty="0">
                      <a:ea typeface="Open Sans Light" panose="020B0306030504020204" pitchFamily="34" charset="0"/>
                      <a:cs typeface="Open Sans Light" panose="020B0306030504020204" pitchFamily="34" charset="0"/>
                    </a:rPr>
                    <a:t>STRATEGIC PLANNING</a:t>
                  </a:r>
                  <a:endParaRPr lang="en-US" sz="800" b="1" dirty="0">
                    <a:latin typeface="+mj-lt"/>
                    <a:ea typeface="Open Sans Light" panose="020B0306030504020204" pitchFamily="34" charset="0"/>
                    <a:cs typeface="Open Sans Light" panose="020B0306030504020204" pitchFamily="34" charset="0"/>
                  </a:endParaRPr>
                </a:p>
              </p:txBody>
            </p:sp>
          </p:grpSp>
          <p:sp>
            <p:nvSpPr>
              <p:cNvPr id="145" name="TextBox 144">
                <a:extLst>
                  <a:ext uri="{FF2B5EF4-FFF2-40B4-BE49-F238E27FC236}">
                    <a16:creationId xmlns:a16="http://schemas.microsoft.com/office/drawing/2014/main" id="{883D69FE-0988-760E-0D05-72A43C585874}"/>
                  </a:ext>
                </a:extLst>
              </p:cNvPr>
              <p:cNvSpPr txBox="1"/>
              <p:nvPr/>
            </p:nvSpPr>
            <p:spPr>
              <a:xfrm>
                <a:off x="1127707" y="2612833"/>
                <a:ext cx="2545562"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Designed a more future-proof distribution strategy to increase sales efficiency, business results and to better fight organizational resistance</a:t>
                </a:r>
              </a:p>
            </p:txBody>
          </p:sp>
          <p:sp>
            <p:nvSpPr>
              <p:cNvPr id="146" name="TextBox 145">
                <a:extLst>
                  <a:ext uri="{FF2B5EF4-FFF2-40B4-BE49-F238E27FC236}">
                    <a16:creationId xmlns:a16="http://schemas.microsoft.com/office/drawing/2014/main" id="{9C653446-6E12-F57B-15F9-1D7879EFFEE6}"/>
                  </a:ext>
                </a:extLst>
              </p:cNvPr>
              <p:cNvSpPr txBox="1"/>
              <p:nvPr/>
            </p:nvSpPr>
            <p:spPr>
              <a:xfrm>
                <a:off x="1127707" y="2215344"/>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SALES STRATEGY DEVELOPMENT</a:t>
                </a:r>
              </a:p>
            </p:txBody>
          </p:sp>
        </p:grpSp>
      </p:grpSp>
      <p:sp>
        <p:nvSpPr>
          <p:cNvPr id="159" name="Rectangle 146">
            <a:extLst>
              <a:ext uri="{FF2B5EF4-FFF2-40B4-BE49-F238E27FC236}">
                <a16:creationId xmlns:a16="http://schemas.microsoft.com/office/drawing/2014/main" id="{735C1D2F-26FC-2D9A-0A41-F54EEF30FB92}"/>
              </a:ext>
            </a:extLst>
          </p:cNvPr>
          <p:cNvSpPr/>
          <p:nvPr/>
        </p:nvSpPr>
        <p:spPr bwMode="gray">
          <a:xfrm>
            <a:off x="8197378" y="2954665"/>
            <a:ext cx="2802166"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Rectangle 147">
            <a:extLst>
              <a:ext uri="{FF2B5EF4-FFF2-40B4-BE49-F238E27FC236}">
                <a16:creationId xmlns:a16="http://schemas.microsoft.com/office/drawing/2014/main" id="{1B6D349D-C10A-5588-8900-AF5B7C72CE8C}"/>
              </a:ext>
            </a:extLst>
          </p:cNvPr>
          <p:cNvSpPr/>
          <p:nvPr/>
        </p:nvSpPr>
        <p:spPr bwMode="gray">
          <a:xfrm>
            <a:off x="8181339" y="2509492"/>
            <a:ext cx="2802166"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5" name="TextBox 148">
            <a:extLst>
              <a:ext uri="{FF2B5EF4-FFF2-40B4-BE49-F238E27FC236}">
                <a16:creationId xmlns:a16="http://schemas.microsoft.com/office/drawing/2014/main" id="{DC2158EA-3D77-8F0E-2364-B8431216278E}"/>
              </a:ext>
            </a:extLst>
          </p:cNvPr>
          <p:cNvSpPr txBox="1"/>
          <p:nvPr/>
        </p:nvSpPr>
        <p:spPr>
          <a:xfrm>
            <a:off x="8319727" y="2645707"/>
            <a:ext cx="2207552"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AAA</a:t>
            </a:r>
          </a:p>
        </p:txBody>
      </p:sp>
      <p:sp>
        <p:nvSpPr>
          <p:cNvPr id="166" name="Flowchart: Connector 149">
            <a:extLst>
              <a:ext uri="{FF2B5EF4-FFF2-40B4-BE49-F238E27FC236}">
                <a16:creationId xmlns:a16="http://schemas.microsoft.com/office/drawing/2014/main" id="{6DE11E07-4C60-AE0B-A881-64DD14025476}"/>
              </a:ext>
            </a:extLst>
          </p:cNvPr>
          <p:cNvSpPr/>
          <p:nvPr/>
        </p:nvSpPr>
        <p:spPr bwMode="gray">
          <a:xfrm>
            <a:off x="10606731" y="2509492"/>
            <a:ext cx="383881"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3" name="Group 531">
            <a:extLst>
              <a:ext uri="{FF2B5EF4-FFF2-40B4-BE49-F238E27FC236}">
                <a16:creationId xmlns:a16="http://schemas.microsoft.com/office/drawing/2014/main" id="{FA52585D-19AF-EF1A-3600-EC73F071B8EE}"/>
              </a:ext>
            </a:extLst>
          </p:cNvPr>
          <p:cNvGrpSpPr>
            <a:grpSpLocks/>
          </p:cNvGrpSpPr>
          <p:nvPr/>
        </p:nvGrpSpPr>
        <p:grpSpPr bwMode="auto">
          <a:xfrm>
            <a:off x="10571300" y="2499901"/>
            <a:ext cx="450000" cy="450000"/>
            <a:chOff x="3061" y="1953"/>
            <a:chExt cx="340" cy="340"/>
          </a:xfrm>
          <a:solidFill>
            <a:srgbClr val="9DD4CF"/>
          </a:solidFill>
        </p:grpSpPr>
        <p:sp>
          <p:nvSpPr>
            <p:cNvPr id="203" name="Freeform 532">
              <a:extLst>
                <a:ext uri="{FF2B5EF4-FFF2-40B4-BE49-F238E27FC236}">
                  <a16:creationId xmlns:a16="http://schemas.microsoft.com/office/drawing/2014/main" id="{B86E1DE2-9142-A18E-38F0-AFA5403DC36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7" name="Freeform 533">
              <a:extLst>
                <a:ext uri="{FF2B5EF4-FFF2-40B4-BE49-F238E27FC236}">
                  <a16:creationId xmlns:a16="http://schemas.microsoft.com/office/drawing/2014/main" id="{055940D6-F3BC-6FFA-CEA2-DCF07EE8891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4" name="Rectangle: Rounded Corners 154">
            <a:extLst>
              <a:ext uri="{FF2B5EF4-FFF2-40B4-BE49-F238E27FC236}">
                <a16:creationId xmlns:a16="http://schemas.microsoft.com/office/drawing/2014/main" id="{36C419E1-E418-3805-D1CE-7C41B27D8B01}"/>
              </a:ext>
            </a:extLst>
          </p:cNvPr>
          <p:cNvSpPr/>
          <p:nvPr/>
        </p:nvSpPr>
        <p:spPr bwMode="gray">
          <a:xfrm>
            <a:off x="9287813" y="4283929"/>
            <a:ext cx="1551379"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dirty="0">
                <a:latin typeface="Open Sans" panose="020B0606030504020204" pitchFamily="34" charset="0"/>
                <a:ea typeface="Open Sans" panose="020B0606030504020204" pitchFamily="34" charset="0"/>
                <a:cs typeface="Open Sans" panose="020B0606030504020204" pitchFamily="34" charset="0"/>
              </a:rPr>
              <a:t>4.1</a:t>
            </a:r>
            <a:r>
              <a:rPr lang="hu-HU" sz="900" b="1">
                <a:latin typeface="Open Sans" panose="020B0606030504020204" pitchFamily="34" charset="0"/>
                <a:ea typeface="Open Sans" panose="020B0606030504020204" pitchFamily="34" charset="0"/>
                <a:cs typeface="Open Sans" panose="020B0606030504020204" pitchFamily="34" charset="0"/>
              </a:rPr>
              <a:t>. </a:t>
            </a:r>
            <a:r>
              <a:rPr lang="en-US" sz="900" b="1" dirty="0">
                <a:latin typeface="Open Sans" panose="020B0606030504020204" pitchFamily="34" charset="0"/>
                <a:ea typeface="Open Sans" panose="020B0606030504020204" pitchFamily="34" charset="0"/>
                <a:cs typeface="Open Sans" panose="020B0606030504020204" pitchFamily="34" charset="0"/>
              </a:rPr>
              <a:t>UX/UI design</a:t>
            </a:r>
          </a:p>
        </p:txBody>
      </p:sp>
      <p:sp>
        <p:nvSpPr>
          <p:cNvPr id="176" name="TextBox 156">
            <a:extLst>
              <a:ext uri="{FF2B5EF4-FFF2-40B4-BE49-F238E27FC236}">
                <a16:creationId xmlns:a16="http://schemas.microsoft.com/office/drawing/2014/main" id="{1ECD6F58-A535-A242-FE13-BC47D85F11BD}"/>
              </a:ext>
            </a:extLst>
          </p:cNvPr>
          <p:cNvSpPr txBox="1"/>
          <p:nvPr/>
        </p:nvSpPr>
        <p:spPr>
          <a:xfrm>
            <a:off x="8329468" y="3557407"/>
            <a:ext cx="2621317"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CCC</a:t>
            </a:r>
          </a:p>
        </p:txBody>
      </p:sp>
      <p:sp>
        <p:nvSpPr>
          <p:cNvPr id="186" name="TextBox 157">
            <a:extLst>
              <a:ext uri="{FF2B5EF4-FFF2-40B4-BE49-F238E27FC236}">
                <a16:creationId xmlns:a16="http://schemas.microsoft.com/office/drawing/2014/main" id="{0D684CFD-E92B-65A3-52C0-5F36B58274E6}"/>
              </a:ext>
            </a:extLst>
          </p:cNvPr>
          <p:cNvSpPr txBox="1"/>
          <p:nvPr/>
        </p:nvSpPr>
        <p:spPr>
          <a:xfrm>
            <a:off x="8329468" y="3159918"/>
            <a:ext cx="2302706" cy="233109"/>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a:spcAft>
                <a:spcPts val="1000"/>
              </a:spcAft>
            </a:pPr>
            <a: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CCC</a:t>
            </a:r>
          </a:p>
        </p:txBody>
      </p:sp>
      <p:sp>
        <p:nvSpPr>
          <p:cNvPr id="187" name="Rectangle 160">
            <a:extLst>
              <a:ext uri="{FF2B5EF4-FFF2-40B4-BE49-F238E27FC236}">
                <a16:creationId xmlns:a16="http://schemas.microsoft.com/office/drawing/2014/main" id="{188F9994-5227-1AF7-B863-35AB42AF2865}"/>
              </a:ext>
            </a:extLst>
          </p:cNvPr>
          <p:cNvSpPr/>
          <p:nvPr/>
        </p:nvSpPr>
        <p:spPr bwMode="gray">
          <a:xfrm>
            <a:off x="1177913" y="2968819"/>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9" name="Rectangle 161">
            <a:extLst>
              <a:ext uri="{FF2B5EF4-FFF2-40B4-BE49-F238E27FC236}">
                <a16:creationId xmlns:a16="http://schemas.microsoft.com/office/drawing/2014/main" id="{3567DDAE-BD14-2D38-5110-561C65945373}"/>
              </a:ext>
            </a:extLst>
          </p:cNvPr>
          <p:cNvSpPr/>
          <p:nvPr/>
        </p:nvSpPr>
        <p:spPr bwMode="gray">
          <a:xfrm>
            <a:off x="1170700" y="2518618"/>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0" name="TextBox 162">
            <a:extLst>
              <a:ext uri="{FF2B5EF4-FFF2-40B4-BE49-F238E27FC236}">
                <a16:creationId xmlns:a16="http://schemas.microsoft.com/office/drawing/2014/main" id="{757556D0-82C4-571F-7019-F245A0C20034}"/>
              </a:ext>
            </a:extLst>
          </p:cNvPr>
          <p:cNvSpPr txBox="1"/>
          <p:nvPr/>
        </p:nvSpPr>
        <p:spPr>
          <a:xfrm>
            <a:off x="1300772" y="2655595"/>
            <a:ext cx="2216759" cy="147739"/>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a:t>
            </a:r>
          </a:p>
        </p:txBody>
      </p:sp>
      <p:sp>
        <p:nvSpPr>
          <p:cNvPr id="191" name="Flowchart: Connector 163">
            <a:extLst>
              <a:ext uri="{FF2B5EF4-FFF2-40B4-BE49-F238E27FC236}">
                <a16:creationId xmlns:a16="http://schemas.microsoft.com/office/drawing/2014/main" id="{2FD0A1D8-DFFF-25E5-CA52-9E218A46EC4B}"/>
              </a:ext>
            </a:extLst>
          </p:cNvPr>
          <p:cNvSpPr/>
          <p:nvPr/>
        </p:nvSpPr>
        <p:spPr bwMode="gray">
          <a:xfrm>
            <a:off x="3597313" y="2518618"/>
            <a:ext cx="385482"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Rectangle: Rounded Corners 168">
            <a:extLst>
              <a:ext uri="{FF2B5EF4-FFF2-40B4-BE49-F238E27FC236}">
                <a16:creationId xmlns:a16="http://schemas.microsoft.com/office/drawing/2014/main" id="{B9510B86-02F5-E550-4EA2-8C825D733FF7}"/>
              </a:ext>
            </a:extLst>
          </p:cNvPr>
          <p:cNvSpPr/>
          <p:nvPr/>
        </p:nvSpPr>
        <p:spPr bwMode="gray">
          <a:xfrm>
            <a:off x="2272896" y="4298083"/>
            <a:ext cx="1557848"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dirty="0">
                <a:latin typeface="Open Sans" panose="020B0606030504020204" pitchFamily="34" charset="0"/>
                <a:ea typeface="Open Sans" panose="020B0606030504020204" pitchFamily="34" charset="0"/>
                <a:cs typeface="Open Sans" panose="020B0606030504020204" pitchFamily="34" charset="0"/>
              </a:rPr>
              <a:t>4.1. </a:t>
            </a:r>
            <a:r>
              <a:rPr lang="en-US" sz="900" b="1" dirty="0">
                <a:latin typeface="Open Sans" panose="020B0606030504020204" pitchFamily="34" charset="0"/>
                <a:ea typeface="Open Sans" panose="020B0606030504020204" pitchFamily="34" charset="0"/>
                <a:cs typeface="Open Sans" panose="020B0606030504020204" pitchFamily="34" charset="0"/>
              </a:rPr>
              <a:t>UX/UI design</a:t>
            </a:r>
          </a:p>
        </p:txBody>
      </p:sp>
      <p:sp>
        <p:nvSpPr>
          <p:cNvPr id="208" name="TextBox 170">
            <a:extLst>
              <a:ext uri="{FF2B5EF4-FFF2-40B4-BE49-F238E27FC236}">
                <a16:creationId xmlns:a16="http://schemas.microsoft.com/office/drawing/2014/main" id="{721D9BC5-87A7-1A57-DB42-619A9F8D967F}"/>
              </a:ext>
            </a:extLst>
          </p:cNvPr>
          <p:cNvSpPr txBox="1"/>
          <p:nvPr/>
        </p:nvSpPr>
        <p:spPr>
          <a:xfrm>
            <a:off x="1301663" y="3581287"/>
            <a:ext cx="2316699" cy="680008"/>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Bringing the power of innovation and technology to life while engaging in the realities of diverse populations across the world.</a:t>
            </a:r>
          </a:p>
        </p:txBody>
      </p:sp>
      <p:sp>
        <p:nvSpPr>
          <p:cNvPr id="51" name="TextBox 171">
            <a:extLst>
              <a:ext uri="{FF2B5EF4-FFF2-40B4-BE49-F238E27FC236}">
                <a16:creationId xmlns:a16="http://schemas.microsoft.com/office/drawing/2014/main" id="{27A02338-5481-10EB-2D56-5C27F9FE461C}"/>
              </a:ext>
            </a:extLst>
          </p:cNvPr>
          <p:cNvSpPr txBox="1"/>
          <p:nvPr/>
        </p:nvSpPr>
        <p:spPr>
          <a:xfrm>
            <a:off x="1301663" y="3174072"/>
            <a:ext cx="2529081"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UN Climate Change Conference</a:t>
            </a:r>
          </a:p>
        </p:txBody>
      </p:sp>
      <p:grpSp>
        <p:nvGrpSpPr>
          <p:cNvPr id="128" name="Group 172">
            <a:extLst>
              <a:ext uri="{FF2B5EF4-FFF2-40B4-BE49-F238E27FC236}">
                <a16:creationId xmlns:a16="http://schemas.microsoft.com/office/drawing/2014/main" id="{E732E4DD-B9DB-2CE0-0BF8-F48C1FBED926}"/>
              </a:ext>
            </a:extLst>
          </p:cNvPr>
          <p:cNvGrpSpPr>
            <a:grpSpLocks/>
          </p:cNvGrpSpPr>
          <p:nvPr/>
        </p:nvGrpSpPr>
        <p:grpSpPr>
          <a:xfrm>
            <a:off x="3555912" y="2504478"/>
            <a:ext cx="450000" cy="450001"/>
            <a:chOff x="7366067" y="6713969"/>
            <a:chExt cx="492328" cy="493776"/>
          </a:xfrm>
        </p:grpSpPr>
        <p:sp>
          <p:nvSpPr>
            <p:cNvPr id="137" name="Flowchart: Connector 14">
              <a:extLst>
                <a:ext uri="{FF2B5EF4-FFF2-40B4-BE49-F238E27FC236}">
                  <a16:creationId xmlns:a16="http://schemas.microsoft.com/office/drawing/2014/main" id="{118F51FE-FC01-3FA7-F009-CF92B097BE5D}"/>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5" name="Rectangle 13">
            <a:extLst>
              <a:ext uri="{FF2B5EF4-FFF2-40B4-BE49-F238E27FC236}">
                <a16:creationId xmlns:a16="http://schemas.microsoft.com/office/drawing/2014/main" id="{9DB648EF-8476-4A03-2C11-9178E2030D2C}"/>
              </a:ext>
            </a:extLst>
          </p:cNvPr>
          <p:cNvSpPr/>
          <p:nvPr/>
        </p:nvSpPr>
        <p:spPr bwMode="gray">
          <a:xfrm>
            <a:off x="4677562" y="2959228"/>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Rectangle 38">
            <a:extLst>
              <a:ext uri="{FF2B5EF4-FFF2-40B4-BE49-F238E27FC236}">
                <a16:creationId xmlns:a16="http://schemas.microsoft.com/office/drawing/2014/main" id="{30E643F9-9AFB-7F1D-A760-95B452450FC8}"/>
              </a:ext>
            </a:extLst>
          </p:cNvPr>
          <p:cNvSpPr/>
          <p:nvPr/>
        </p:nvSpPr>
        <p:spPr bwMode="gray">
          <a:xfrm>
            <a:off x="4679244" y="2514055"/>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6" name="TextBox 39">
            <a:extLst>
              <a:ext uri="{FF2B5EF4-FFF2-40B4-BE49-F238E27FC236}">
                <a16:creationId xmlns:a16="http://schemas.microsoft.com/office/drawing/2014/main" id="{0438F638-92A7-4437-0857-B8718F77E13A}"/>
              </a:ext>
            </a:extLst>
          </p:cNvPr>
          <p:cNvSpPr txBox="1"/>
          <p:nvPr/>
        </p:nvSpPr>
        <p:spPr>
          <a:xfrm>
            <a:off x="4800602" y="2650270"/>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AAA</a:t>
            </a:r>
          </a:p>
        </p:txBody>
      </p:sp>
      <p:sp>
        <p:nvSpPr>
          <p:cNvPr id="202" name="Flowchart: Connector 121">
            <a:extLst>
              <a:ext uri="{FF2B5EF4-FFF2-40B4-BE49-F238E27FC236}">
                <a16:creationId xmlns:a16="http://schemas.microsoft.com/office/drawing/2014/main" id="{7D3078D8-E59C-B6FB-EF19-6FC84FFF05EC}"/>
              </a:ext>
            </a:extLst>
          </p:cNvPr>
          <p:cNvSpPr/>
          <p:nvPr/>
        </p:nvSpPr>
        <p:spPr bwMode="gray">
          <a:xfrm>
            <a:off x="7100528" y="2514055"/>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1" name="Group 531">
            <a:extLst>
              <a:ext uri="{FF2B5EF4-FFF2-40B4-BE49-F238E27FC236}">
                <a16:creationId xmlns:a16="http://schemas.microsoft.com/office/drawing/2014/main" id="{1F6AE038-CADC-C2F9-6D79-AFF8180F4732}"/>
              </a:ext>
            </a:extLst>
          </p:cNvPr>
          <p:cNvGrpSpPr>
            <a:grpSpLocks/>
          </p:cNvGrpSpPr>
          <p:nvPr/>
        </p:nvGrpSpPr>
        <p:grpSpPr bwMode="auto">
          <a:xfrm>
            <a:off x="7065007" y="2504464"/>
            <a:ext cx="450000" cy="450000"/>
            <a:chOff x="3061" y="1953"/>
            <a:chExt cx="340" cy="340"/>
          </a:xfrm>
          <a:solidFill>
            <a:srgbClr val="9DD4CF"/>
          </a:solidFill>
        </p:grpSpPr>
        <p:sp>
          <p:nvSpPr>
            <p:cNvPr id="132"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6" name="Rectangle: Rounded Corners 142">
            <a:extLst>
              <a:ext uri="{FF2B5EF4-FFF2-40B4-BE49-F238E27FC236}">
                <a16:creationId xmlns:a16="http://schemas.microsoft.com/office/drawing/2014/main" id="{EF5B7140-15FD-0460-4881-C713C8767A08}"/>
              </a:ext>
            </a:extLst>
          </p:cNvPr>
          <p:cNvSpPr/>
          <p:nvPr/>
        </p:nvSpPr>
        <p:spPr bwMode="gray">
          <a:xfrm>
            <a:off x="5774158" y="4288492"/>
            <a:ext cx="1560144"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dirty="0">
                <a:latin typeface="Open Sans" panose="020B0606030504020204" pitchFamily="34" charset="0"/>
                <a:ea typeface="Open Sans" panose="020B0606030504020204" pitchFamily="34" charset="0"/>
                <a:cs typeface="Open Sans" panose="020B0606030504020204" pitchFamily="34" charset="0"/>
              </a:rPr>
              <a:t>4.1</a:t>
            </a:r>
            <a:r>
              <a:rPr lang="hu-HU" sz="900" b="1">
                <a:latin typeface="Open Sans" panose="020B0606030504020204" pitchFamily="34" charset="0"/>
                <a:ea typeface="Open Sans" panose="020B0606030504020204" pitchFamily="34" charset="0"/>
                <a:cs typeface="Open Sans" panose="020B0606030504020204" pitchFamily="34" charset="0"/>
              </a:rPr>
              <a:t>. </a:t>
            </a:r>
            <a:r>
              <a:rPr lang="en-US" sz="900" b="1" dirty="0">
                <a:latin typeface="Open Sans" panose="020B0606030504020204" pitchFamily="34" charset="0"/>
                <a:ea typeface="Open Sans" panose="020B0606030504020204" pitchFamily="34" charset="0"/>
                <a:cs typeface="Open Sans" panose="020B0606030504020204" pitchFamily="34" charset="0"/>
              </a:rPr>
              <a:t>UX/UI design</a:t>
            </a:r>
          </a:p>
        </p:txBody>
      </p:sp>
      <p:sp>
        <p:nvSpPr>
          <p:cNvPr id="139" name="TextBox 144">
            <a:extLst>
              <a:ext uri="{FF2B5EF4-FFF2-40B4-BE49-F238E27FC236}">
                <a16:creationId xmlns:a16="http://schemas.microsoft.com/office/drawing/2014/main" id="{883D69FE-0988-760E-0D05-72A43C585874}"/>
              </a:ext>
            </a:extLst>
          </p:cNvPr>
          <p:cNvSpPr txBox="1"/>
          <p:nvPr/>
        </p:nvSpPr>
        <p:spPr>
          <a:xfrm>
            <a:off x="4792588" y="3561970"/>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BBB</a:t>
            </a:r>
          </a:p>
        </p:txBody>
      </p:sp>
      <p:sp>
        <p:nvSpPr>
          <p:cNvPr id="140" name="TextBox 145">
            <a:extLst>
              <a:ext uri="{FF2B5EF4-FFF2-40B4-BE49-F238E27FC236}">
                <a16:creationId xmlns:a16="http://schemas.microsoft.com/office/drawing/2014/main" id="{9C653446-6E12-F57B-15F9-1D7879EFFEE6}"/>
              </a:ext>
            </a:extLst>
          </p:cNvPr>
          <p:cNvSpPr txBox="1"/>
          <p:nvPr/>
        </p:nvSpPr>
        <p:spPr>
          <a:xfrm>
            <a:off x="4792588" y="3164481"/>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BBB</a:t>
            </a:r>
          </a:p>
        </p:txBody>
      </p:sp>
      <p:sp>
        <p:nvSpPr>
          <p:cNvPr id="19" name="Rectangle 18">
            <a:extLst>
              <a:ext uri="{FF2B5EF4-FFF2-40B4-BE49-F238E27FC236}">
                <a16:creationId xmlns:a16="http://schemas.microsoft.com/office/drawing/2014/main" id="{0FA693C9-29EF-15C8-186F-A33D8175C70F}"/>
              </a:ext>
            </a:extLst>
          </p:cNvPr>
          <p:cNvSpPr/>
          <p:nvPr/>
        </p:nvSpPr>
        <p:spPr bwMode="gray">
          <a:xfrm rot="19749904">
            <a:off x="3432634" y="2989285"/>
            <a:ext cx="5779830" cy="84283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TO BE UPDATE</a:t>
            </a:r>
          </a:p>
        </p:txBody>
      </p:sp>
    </p:spTree>
    <p:extLst>
      <p:ext uri="{BB962C8B-B14F-4D97-AF65-F5344CB8AC3E}">
        <p14:creationId xmlns:p14="http://schemas.microsoft.com/office/powerpoint/2010/main" val="2953613775"/>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E025730-E74C-654D-AFA5-1895DEE7A5DC}"/>
              </a:ext>
            </a:extLst>
          </p:cNvPr>
          <p:cNvSpPr>
            <a:spLocks noGrp="1"/>
          </p:cNvSpPr>
          <p:nvPr>
            <p:ph type="body" sz="quarter" idx="4294967295"/>
          </p:nvPr>
        </p:nvSpPr>
        <p:spPr>
          <a:xfrm>
            <a:off x="1025305" y="537883"/>
            <a:ext cx="4769439" cy="685792"/>
          </a:xfrm>
        </p:spPr>
        <p:txBody>
          <a:bodyPr>
            <a:normAutofit/>
          </a:bodyPr>
          <a:lstStyle/>
          <a:p>
            <a:pPr marL="0" indent="0">
              <a:lnSpc>
                <a:spcPct val="100000"/>
              </a:lnSpc>
              <a:buNone/>
            </a:pPr>
            <a:r>
              <a:rPr lang="en-GB" dirty="0">
                <a:latin typeface="Open Sans Light" panose="020B0306030504020204" pitchFamily="34" charset="0"/>
                <a:ea typeface="Open Sans Light" panose="020B0306030504020204" pitchFamily="34" charset="0"/>
                <a:cs typeface="Open Sans Light" panose="020B0306030504020204" pitchFamily="34" charset="0"/>
              </a:rPr>
              <a:t>UN Climate Change Conference UK 2021</a:t>
            </a:r>
          </a:p>
          <a:p>
            <a:pPr marL="0" indent="0">
              <a:lnSpc>
                <a:spcPct val="100000"/>
              </a:lnSpc>
              <a:buNone/>
            </a:pPr>
            <a:r>
              <a:rPr lang="en-GB" sz="1800" dirty="0"/>
              <a:t>Engaging Impact Report</a:t>
            </a:r>
            <a:endParaRPr lang="en-GB" sz="1800"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0" name="Straight Connector 9">
            <a:extLst>
              <a:ext uri="{FF2B5EF4-FFF2-40B4-BE49-F238E27FC236}">
                <a16:creationId xmlns:a16="http://schemas.microsoft.com/office/drawing/2014/main" id="{77FDF1CD-B354-ED4D-98F0-1EA450D29CEC}"/>
              </a:ext>
            </a:extLst>
          </p:cNvPr>
          <p:cNvCxnSpPr>
            <a:cxnSpLocks/>
          </p:cNvCxnSpPr>
          <p:nvPr/>
        </p:nvCxnSpPr>
        <p:spPr>
          <a:xfrm>
            <a:off x="714124" y="537883"/>
            <a:ext cx="0" cy="685800"/>
          </a:xfrm>
          <a:prstGeom prst="line">
            <a:avLst/>
          </a:prstGeom>
          <a:ln w="50800">
            <a:solidFill>
              <a:srgbClr val="1CABE3"/>
            </a:solidFill>
          </a:ln>
        </p:spPr>
        <p:style>
          <a:lnRef idx="1">
            <a:schemeClr val="accent1"/>
          </a:lnRef>
          <a:fillRef idx="0">
            <a:schemeClr val="accent1"/>
          </a:fillRef>
          <a:effectRef idx="0">
            <a:schemeClr val="accent1"/>
          </a:effectRef>
          <a:fontRef idx="minor">
            <a:schemeClr val="tx1"/>
          </a:fontRef>
        </p:style>
      </p:cxnSp>
      <p:pic>
        <p:nvPicPr>
          <p:cNvPr id="9" name="Google Shape;1300;p173">
            <a:extLst>
              <a:ext uri="{FF2B5EF4-FFF2-40B4-BE49-F238E27FC236}">
                <a16:creationId xmlns:a16="http://schemas.microsoft.com/office/drawing/2014/main" id="{95FF2212-55D8-45A8-8530-E15E46421C49}"/>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6096000" y="2830566"/>
            <a:ext cx="6997950" cy="4838167"/>
          </a:xfrm>
          <a:prstGeom prst="rect">
            <a:avLst/>
          </a:prstGeom>
          <a:noFill/>
          <a:ln>
            <a:noFill/>
          </a:ln>
        </p:spPr>
      </p:pic>
      <p:pic>
        <p:nvPicPr>
          <p:cNvPr id="11" name="Google Shape;1301;p173">
            <a:extLst>
              <a:ext uri="{FF2B5EF4-FFF2-40B4-BE49-F238E27FC236}">
                <a16:creationId xmlns:a16="http://schemas.microsoft.com/office/drawing/2014/main" id="{8CD2BB07-4555-4D85-AFE3-E4F0454DBA33}"/>
              </a:ext>
            </a:extLst>
          </p:cNvPr>
          <p:cNvPicPr preferRelativeResize="0"/>
          <p:nvPr/>
        </p:nvPicPr>
        <p:blipFill>
          <a:blip r:embed="rId7" cstate="email">
            <a:alphaModFix/>
            <a:extLst>
              <a:ext uri="{28A0092B-C50C-407E-A947-70E740481C1C}">
                <a14:useLocalDpi xmlns:a14="http://schemas.microsoft.com/office/drawing/2010/main"/>
              </a:ext>
            </a:extLst>
          </a:blip>
          <a:stretch>
            <a:fillRect/>
          </a:stretch>
        </p:blipFill>
        <p:spPr>
          <a:xfrm>
            <a:off x="3703682" y="0"/>
            <a:ext cx="7681421" cy="5319486"/>
          </a:xfrm>
          <a:prstGeom prst="rect">
            <a:avLst/>
          </a:prstGeom>
          <a:noFill/>
          <a:ln>
            <a:noFill/>
          </a:ln>
        </p:spPr>
      </p:pic>
      <p:pic>
        <p:nvPicPr>
          <p:cNvPr id="12" name="Google Shape;1283;p171">
            <a:extLst>
              <a:ext uri="{FF2B5EF4-FFF2-40B4-BE49-F238E27FC236}">
                <a16:creationId xmlns:a16="http://schemas.microsoft.com/office/drawing/2014/main" id="{94829D13-AB2B-4CB2-9656-82E0420A748C}"/>
              </a:ext>
            </a:extLst>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10428171" y="0"/>
            <a:ext cx="1763829" cy="1171317"/>
          </a:xfrm>
          <a:prstGeom prst="rect">
            <a:avLst/>
          </a:prstGeom>
          <a:noFill/>
          <a:ln>
            <a:noFill/>
          </a:ln>
        </p:spPr>
      </p:pic>
      <p:sp>
        <p:nvSpPr>
          <p:cNvPr id="6" name="Text Placeholder 3">
            <a:extLst>
              <a:ext uri="{FF2B5EF4-FFF2-40B4-BE49-F238E27FC236}">
                <a16:creationId xmlns:a16="http://schemas.microsoft.com/office/drawing/2014/main" id="{125AF7AB-D3A9-6306-C5A8-91F688179AF3}"/>
              </a:ext>
            </a:extLst>
          </p:cNvPr>
          <p:cNvSpPr>
            <a:spLocks noGrp="1"/>
          </p:cNvSpPr>
          <p:nvPr>
            <p:ph type="body" sz="quarter" idx="21"/>
          </p:nvPr>
        </p:nvSpPr>
        <p:spPr>
          <a:xfrm>
            <a:off x="714123" y="2005500"/>
            <a:ext cx="3077563" cy="252501"/>
          </a:xfrm>
        </p:spPr>
        <p:txBody>
          <a:body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problem </a:t>
            </a:r>
          </a:p>
        </p:txBody>
      </p:sp>
      <p:sp>
        <p:nvSpPr>
          <p:cNvPr id="8" name="Text Placeholder 6">
            <a:extLst>
              <a:ext uri="{FF2B5EF4-FFF2-40B4-BE49-F238E27FC236}">
                <a16:creationId xmlns:a16="http://schemas.microsoft.com/office/drawing/2014/main" id="{7145A8D7-CCFD-ADF2-D7A3-E02EB04F3396}"/>
              </a:ext>
            </a:extLst>
          </p:cNvPr>
          <p:cNvSpPr txBox="1">
            <a:spLocks/>
          </p:cNvSpPr>
          <p:nvPr/>
        </p:nvSpPr>
        <p:spPr>
          <a:xfrm>
            <a:off x="714021" y="2241253"/>
            <a:ext cx="3850717" cy="1167209"/>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30000"/>
              </a:lnSpc>
              <a:spcBef>
                <a:spcPts val="0"/>
              </a:spcBef>
              <a:spcAft>
                <a:spcPts val="750"/>
              </a:spcAft>
              <a:buClrTx/>
              <a:buSzPct val="100000"/>
              <a:buFontTx/>
              <a:buNone/>
              <a:tabLst/>
              <a:defRPr/>
            </a:pPr>
            <a:r>
              <a:rPr kumimoji="0" lang="en-GB" sz="900" b="0" i="0" u="none" strike="noStrike" kern="1200" cap="none" spc="0" normalizeH="0" baseline="0" noProof="0" dirty="0">
                <a:ln>
                  <a:noFill/>
                </a:ln>
                <a:solidFill>
                  <a:srgbClr val="000000"/>
                </a:solidFill>
                <a:effectLst/>
                <a:uLnTx/>
                <a:uFillTx/>
                <a:sym typeface="Helvetica Neue"/>
              </a:rPr>
              <a:t>The client (Department for Business, Energy and Industrial Strategy) wanted to give the audience at COP26 a rounded vision of what a net-zero future could look like; a fresh perspective that demonstrated a net-zero, climate-resilient future is both feasible and desirable across the world.</a:t>
            </a:r>
          </a:p>
          <a:p>
            <a:pPr>
              <a:lnSpc>
                <a:spcPct val="100000"/>
              </a:lnSpc>
              <a:defRPr/>
            </a:pPr>
            <a:endParaRPr lang="en-GB" sz="1050" dirty="0"/>
          </a:p>
        </p:txBody>
      </p:sp>
      <p:sp>
        <p:nvSpPr>
          <p:cNvPr id="14" name="Text Placeholder 3">
            <a:extLst>
              <a:ext uri="{FF2B5EF4-FFF2-40B4-BE49-F238E27FC236}">
                <a16:creationId xmlns:a16="http://schemas.microsoft.com/office/drawing/2014/main" id="{DAA54152-294A-1F29-822D-15BEDB3CE3A2}"/>
              </a:ext>
            </a:extLst>
          </p:cNvPr>
          <p:cNvSpPr txBox="1">
            <a:spLocks/>
          </p:cNvSpPr>
          <p:nvPr/>
        </p:nvSpPr>
        <p:spPr>
          <a:xfrm>
            <a:off x="714123" y="3155961"/>
            <a:ext cx="3077563" cy="252501"/>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6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idea</a:t>
            </a:r>
          </a:p>
        </p:txBody>
      </p:sp>
      <p:sp>
        <p:nvSpPr>
          <p:cNvPr id="15" name="Text Placeholder 6">
            <a:extLst>
              <a:ext uri="{FF2B5EF4-FFF2-40B4-BE49-F238E27FC236}">
                <a16:creationId xmlns:a16="http://schemas.microsoft.com/office/drawing/2014/main" id="{21D7F76D-A7AA-5398-FE5D-E7A92B2FA5AF}"/>
              </a:ext>
            </a:extLst>
          </p:cNvPr>
          <p:cNvSpPr txBox="1">
            <a:spLocks/>
          </p:cNvSpPr>
          <p:nvPr/>
        </p:nvSpPr>
        <p:spPr>
          <a:xfrm>
            <a:off x="714021" y="3417559"/>
            <a:ext cx="3850717" cy="1167209"/>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30000"/>
              </a:lnSpc>
              <a:spcBef>
                <a:spcPts val="0"/>
              </a:spcBef>
              <a:spcAft>
                <a:spcPts val="750"/>
              </a:spcAft>
              <a:buClrTx/>
              <a:buSzPct val="100000"/>
              <a:buFontTx/>
              <a:buNone/>
              <a:tabLst/>
              <a:defRPr/>
            </a:pPr>
            <a:r>
              <a:rPr lang="en-GB" sz="900" dirty="0">
                <a:solidFill>
                  <a:srgbClr val="000000"/>
                </a:solidFill>
                <a:sym typeface="Helvetica Neue"/>
              </a:rPr>
              <a:t>We ran a series of workshops with academics and key stakeholders across 6 different regions, collecting their ideas and hopes for the future of our planet. We distilled a broad range of these perspectives into 6 visions, brought to life under a singular look, feel and organising idea: Futures We Want. The visions were shared with the COP26 audience alongside an accompanying website we built, which housed digital expressions of the ideas.</a:t>
            </a:r>
          </a:p>
          <a:p>
            <a:pPr>
              <a:lnSpc>
                <a:spcPct val="100000"/>
              </a:lnSpc>
              <a:defRPr/>
            </a:pPr>
            <a:endParaRPr lang="en-GB" sz="1050" dirty="0"/>
          </a:p>
        </p:txBody>
      </p:sp>
      <p:sp>
        <p:nvSpPr>
          <p:cNvPr id="16" name="Text Placeholder 3">
            <a:extLst>
              <a:ext uri="{FF2B5EF4-FFF2-40B4-BE49-F238E27FC236}">
                <a16:creationId xmlns:a16="http://schemas.microsoft.com/office/drawing/2014/main" id="{91AAAD6F-00E6-4F0C-4634-7CC70EB0EB99}"/>
              </a:ext>
            </a:extLst>
          </p:cNvPr>
          <p:cNvSpPr txBox="1">
            <a:spLocks/>
          </p:cNvSpPr>
          <p:nvPr/>
        </p:nvSpPr>
        <p:spPr>
          <a:xfrm>
            <a:off x="714123" y="4824407"/>
            <a:ext cx="3077563" cy="252501"/>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6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growth</a:t>
            </a:r>
          </a:p>
        </p:txBody>
      </p:sp>
      <p:sp>
        <p:nvSpPr>
          <p:cNvPr id="17" name="Text Placeholder 6">
            <a:extLst>
              <a:ext uri="{FF2B5EF4-FFF2-40B4-BE49-F238E27FC236}">
                <a16:creationId xmlns:a16="http://schemas.microsoft.com/office/drawing/2014/main" id="{DAEB0923-9AFC-DCCE-9EBA-D990080F8999}"/>
              </a:ext>
            </a:extLst>
          </p:cNvPr>
          <p:cNvSpPr txBox="1">
            <a:spLocks/>
          </p:cNvSpPr>
          <p:nvPr/>
        </p:nvSpPr>
        <p:spPr>
          <a:xfrm>
            <a:off x="714021" y="5086005"/>
            <a:ext cx="3850717" cy="1167209"/>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defRPr/>
            </a:pPr>
            <a:r>
              <a:rPr lang="en-GB" sz="900" dirty="0">
                <a:solidFill>
                  <a:srgbClr val="000000"/>
                </a:solidFill>
                <a:sym typeface="Helvetica Neue"/>
              </a:rPr>
              <a:t>We were able to create real engagement and excitement around what net-zero future might look like by transforming a rich data set into compelling narratives that people could connect with. </a:t>
            </a:r>
          </a:p>
          <a:p>
            <a:pPr>
              <a:defRPr/>
            </a:pPr>
            <a:r>
              <a:rPr lang="en-GB" sz="900" dirty="0">
                <a:solidFill>
                  <a:srgbClr val="000000"/>
                </a:solidFill>
                <a:sym typeface="Helvetica Neue"/>
              </a:rPr>
              <a:t>Bringing the power of innovation and technology to life while engaging in the realities of diverse populations across the world. </a:t>
            </a:r>
          </a:p>
          <a:p>
            <a:pPr>
              <a:defRPr/>
            </a:pPr>
            <a:r>
              <a:rPr lang="en-GB" sz="900" dirty="0">
                <a:solidFill>
                  <a:srgbClr val="000000"/>
                </a:solidFill>
                <a:sym typeface="Helvetica Neue"/>
              </a:rPr>
              <a:t> </a:t>
            </a:r>
          </a:p>
          <a:p>
            <a:pPr>
              <a:lnSpc>
                <a:spcPct val="100000"/>
              </a:lnSpc>
              <a:defRPr/>
            </a:pPr>
            <a:endParaRPr lang="en-GB" sz="1050" dirty="0"/>
          </a:p>
        </p:txBody>
      </p:sp>
      <p:grpSp>
        <p:nvGrpSpPr>
          <p:cNvPr id="28" name="Group 27">
            <a:extLst>
              <a:ext uri="{FF2B5EF4-FFF2-40B4-BE49-F238E27FC236}">
                <a16:creationId xmlns:a16="http://schemas.microsoft.com/office/drawing/2014/main" id="{62405EDC-0F9A-35C7-C674-B83F76E000E6}"/>
              </a:ext>
            </a:extLst>
          </p:cNvPr>
          <p:cNvGrpSpPr/>
          <p:nvPr/>
        </p:nvGrpSpPr>
        <p:grpSpPr>
          <a:xfrm>
            <a:off x="1025305" y="1192572"/>
            <a:ext cx="2766382" cy="368543"/>
            <a:chOff x="314138" y="1164020"/>
            <a:chExt cx="2815714" cy="368543"/>
          </a:xfrm>
        </p:grpSpPr>
        <p:sp>
          <p:nvSpPr>
            <p:cNvPr id="20" name="Rectangle 19">
              <a:extLst>
                <a:ext uri="{FF2B5EF4-FFF2-40B4-BE49-F238E27FC236}">
                  <a16:creationId xmlns:a16="http://schemas.microsoft.com/office/drawing/2014/main" id="{18E03AFA-302F-FF3D-23F2-4D6CC7547014}"/>
                </a:ext>
              </a:extLst>
            </p:cNvPr>
            <p:cNvSpPr/>
            <p:nvPr/>
          </p:nvSpPr>
          <p:spPr bwMode="gray">
            <a:xfrm>
              <a:off x="2222667" y="1164020"/>
              <a:ext cx="907185" cy="150829"/>
            </a:xfrm>
            <a:prstGeom prst="rect">
              <a:avLst/>
            </a:prstGeom>
            <a:solidFill>
              <a:srgbClr val="00B050"/>
            </a:solidFill>
            <a:ln w="19050" algn="ctr">
              <a:noFill/>
              <a:miter lim="800000"/>
              <a:headEnd/>
              <a:tailEnd/>
            </a:ln>
          </p:spPr>
          <p:txBody>
            <a:bodyPr wrap="square" lIns="0" tIns="0" rIns="0" bIns="0" rtlCol="0" anchor="ctr"/>
            <a:lstStyle/>
            <a:p>
              <a:pPr marL="180984"/>
              <a:r>
                <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WRITING SAMPLES</a:t>
              </a:r>
            </a:p>
          </p:txBody>
        </p:sp>
        <p:sp>
          <p:nvSpPr>
            <p:cNvPr id="21" name="Freeform 451">
              <a:extLst>
                <a:ext uri="{FF2B5EF4-FFF2-40B4-BE49-F238E27FC236}">
                  <a16:creationId xmlns:a16="http://schemas.microsoft.com/office/drawing/2014/main" id="{2A4FE469-E430-0E4A-70AB-F17FF4B542EA}"/>
                </a:ext>
              </a:extLst>
            </p:cNvPr>
            <p:cNvSpPr>
              <a:spLocks noEditPoints="1"/>
            </p:cNvSpPr>
            <p:nvPr/>
          </p:nvSpPr>
          <p:spPr bwMode="auto">
            <a:xfrm>
              <a:off x="2251969"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Rectangle 21">
              <a:extLst>
                <a:ext uri="{FF2B5EF4-FFF2-40B4-BE49-F238E27FC236}">
                  <a16:creationId xmlns:a16="http://schemas.microsoft.com/office/drawing/2014/main" id="{6DDAF004-7717-3594-4C7A-3BBF76D98FEB}"/>
                </a:ext>
              </a:extLst>
            </p:cNvPr>
            <p:cNvSpPr/>
            <p:nvPr/>
          </p:nvSpPr>
          <p:spPr bwMode="gray">
            <a:xfrm>
              <a:off x="314138" y="1164020"/>
              <a:ext cx="854362"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IMPACT STORIES</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3" name="Freeform 451">
              <a:extLst>
                <a:ext uri="{FF2B5EF4-FFF2-40B4-BE49-F238E27FC236}">
                  <a16:creationId xmlns:a16="http://schemas.microsoft.com/office/drawing/2014/main" id="{51303961-0C8D-2F81-2AA7-6FB7C7AEC974}"/>
                </a:ext>
              </a:extLst>
            </p:cNvPr>
            <p:cNvSpPr>
              <a:spLocks noEditPoints="1"/>
            </p:cNvSpPr>
            <p:nvPr/>
          </p:nvSpPr>
          <p:spPr bwMode="auto">
            <a:xfrm>
              <a:off x="343440"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4" name="Rectangle 23">
              <a:extLst>
                <a:ext uri="{FF2B5EF4-FFF2-40B4-BE49-F238E27FC236}">
                  <a16:creationId xmlns:a16="http://schemas.microsoft.com/office/drawing/2014/main" id="{A81DD9ED-51EF-A2FD-7326-505607A7EEBF}"/>
                </a:ext>
              </a:extLst>
            </p:cNvPr>
            <p:cNvSpPr/>
            <p:nvPr/>
          </p:nvSpPr>
          <p:spPr bwMode="gray">
            <a:xfrm>
              <a:off x="1214024" y="1164020"/>
              <a:ext cx="963119"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REATIVE PLATFORM</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5" name="Freeform 451">
              <a:extLst>
                <a:ext uri="{FF2B5EF4-FFF2-40B4-BE49-F238E27FC236}">
                  <a16:creationId xmlns:a16="http://schemas.microsoft.com/office/drawing/2014/main" id="{D5BC8CFF-9188-6C1D-ACCB-FCAA3EE03062}"/>
                </a:ext>
              </a:extLst>
            </p:cNvPr>
            <p:cNvSpPr>
              <a:spLocks noEditPoints="1"/>
            </p:cNvSpPr>
            <p:nvPr/>
          </p:nvSpPr>
          <p:spPr bwMode="auto">
            <a:xfrm>
              <a:off x="1243326"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6" name="Rectangle 25">
              <a:extLst>
                <a:ext uri="{FF2B5EF4-FFF2-40B4-BE49-F238E27FC236}">
                  <a16:creationId xmlns:a16="http://schemas.microsoft.com/office/drawing/2014/main" id="{02BD0053-A450-1AE5-6BAA-9DE980A9FDD4}"/>
                </a:ext>
              </a:extLst>
            </p:cNvPr>
            <p:cNvSpPr/>
            <p:nvPr/>
          </p:nvSpPr>
          <p:spPr bwMode="gray">
            <a:xfrm>
              <a:off x="314138" y="1381734"/>
              <a:ext cx="929188"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BRAND NARRATIVE</a:t>
              </a:r>
            </a:p>
          </p:txBody>
        </p:sp>
        <p:sp>
          <p:nvSpPr>
            <p:cNvPr id="27" name="Freeform 451">
              <a:extLst>
                <a:ext uri="{FF2B5EF4-FFF2-40B4-BE49-F238E27FC236}">
                  <a16:creationId xmlns:a16="http://schemas.microsoft.com/office/drawing/2014/main" id="{9B608425-56D3-ECDA-5B08-62690EC98EB4}"/>
                </a:ext>
              </a:extLst>
            </p:cNvPr>
            <p:cNvSpPr>
              <a:spLocks noEditPoints="1"/>
            </p:cNvSpPr>
            <p:nvPr/>
          </p:nvSpPr>
          <p:spPr bwMode="auto">
            <a:xfrm>
              <a:off x="343440" y="1415802"/>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grpSp>
    </p:spTree>
    <p:extLst>
      <p:ext uri="{BB962C8B-B14F-4D97-AF65-F5344CB8AC3E}">
        <p14:creationId xmlns:p14="http://schemas.microsoft.com/office/powerpoint/2010/main" val="403707101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E025730-E74C-654D-AFA5-1895DEE7A5DC}"/>
              </a:ext>
            </a:extLst>
          </p:cNvPr>
          <p:cNvSpPr>
            <a:spLocks noGrp="1"/>
          </p:cNvSpPr>
          <p:nvPr>
            <p:ph type="body" sz="quarter" idx="4294967295"/>
          </p:nvPr>
        </p:nvSpPr>
        <p:spPr>
          <a:xfrm>
            <a:off x="1025305" y="537883"/>
            <a:ext cx="4769439" cy="685792"/>
          </a:xfrm>
        </p:spPr>
        <p:txBody>
          <a:bodyPr>
            <a:normAutofit/>
          </a:bodyPr>
          <a:lstStyle/>
          <a:p>
            <a:pPr marL="0" indent="0">
              <a:lnSpc>
                <a:spcPct val="100000"/>
              </a:lnSpc>
              <a:buNone/>
            </a:pPr>
            <a:r>
              <a:rPr lang="en-GB" dirty="0">
                <a:latin typeface="Open Sans Light" panose="020B0306030504020204" pitchFamily="34" charset="0"/>
                <a:ea typeface="Open Sans Light" panose="020B0306030504020204" pitchFamily="34" charset="0"/>
                <a:cs typeface="Open Sans Light" panose="020B0306030504020204" pitchFamily="34" charset="0"/>
              </a:rPr>
              <a:t>WEF Open Platform</a:t>
            </a:r>
          </a:p>
          <a:p>
            <a:pPr marL="0" indent="0">
              <a:lnSpc>
                <a:spcPct val="100000"/>
              </a:lnSpc>
              <a:buNone/>
            </a:pPr>
            <a:r>
              <a:rPr lang="en-GB" sz="1800" dirty="0"/>
              <a:t>Creative Platform </a:t>
            </a:r>
            <a:endParaRPr lang="en-GB" sz="1800"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0" name="Straight Connector 9">
            <a:extLst>
              <a:ext uri="{FF2B5EF4-FFF2-40B4-BE49-F238E27FC236}">
                <a16:creationId xmlns:a16="http://schemas.microsoft.com/office/drawing/2014/main" id="{77FDF1CD-B354-ED4D-98F0-1EA450D29CEC}"/>
              </a:ext>
            </a:extLst>
          </p:cNvPr>
          <p:cNvCxnSpPr>
            <a:cxnSpLocks/>
          </p:cNvCxnSpPr>
          <p:nvPr/>
        </p:nvCxnSpPr>
        <p:spPr>
          <a:xfrm>
            <a:off x="714124" y="537883"/>
            <a:ext cx="0" cy="685800"/>
          </a:xfrm>
          <a:prstGeom prst="line">
            <a:avLst/>
          </a:prstGeom>
          <a:ln w="50800">
            <a:solidFill>
              <a:srgbClr val="93C8C1"/>
            </a:solidFill>
          </a:ln>
        </p:spPr>
        <p:style>
          <a:lnRef idx="1">
            <a:schemeClr val="accent1"/>
          </a:lnRef>
          <a:fillRef idx="0">
            <a:schemeClr val="accent1"/>
          </a:fillRef>
          <a:effectRef idx="0">
            <a:schemeClr val="accent1"/>
          </a:effectRef>
          <a:fontRef idx="minor">
            <a:schemeClr val="tx1"/>
          </a:fontRef>
        </p:style>
      </p:cxnSp>
      <p:sp>
        <p:nvSpPr>
          <p:cNvPr id="6" name="Text Placeholder 3">
            <a:extLst>
              <a:ext uri="{FF2B5EF4-FFF2-40B4-BE49-F238E27FC236}">
                <a16:creationId xmlns:a16="http://schemas.microsoft.com/office/drawing/2014/main" id="{125AF7AB-D3A9-6306-C5A8-91F688179AF3}"/>
              </a:ext>
            </a:extLst>
          </p:cNvPr>
          <p:cNvSpPr>
            <a:spLocks noGrp="1"/>
          </p:cNvSpPr>
          <p:nvPr>
            <p:ph type="body" sz="quarter" idx="21"/>
          </p:nvPr>
        </p:nvSpPr>
        <p:spPr>
          <a:xfrm>
            <a:off x="714123" y="1858345"/>
            <a:ext cx="3077563" cy="252501"/>
          </a:xfrm>
        </p:spPr>
        <p:txBody>
          <a:body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problem </a:t>
            </a:r>
          </a:p>
        </p:txBody>
      </p:sp>
      <p:sp>
        <p:nvSpPr>
          <p:cNvPr id="8" name="Text Placeholder 6">
            <a:extLst>
              <a:ext uri="{FF2B5EF4-FFF2-40B4-BE49-F238E27FC236}">
                <a16:creationId xmlns:a16="http://schemas.microsoft.com/office/drawing/2014/main" id="{7145A8D7-CCFD-ADF2-D7A3-E02EB04F3396}"/>
              </a:ext>
            </a:extLst>
          </p:cNvPr>
          <p:cNvSpPr txBox="1">
            <a:spLocks/>
          </p:cNvSpPr>
          <p:nvPr/>
        </p:nvSpPr>
        <p:spPr>
          <a:xfrm>
            <a:off x="714022" y="2119943"/>
            <a:ext cx="3852000" cy="1167209"/>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defRPr/>
            </a:pPr>
            <a:r>
              <a:rPr lang="en-GB" sz="900" dirty="0">
                <a:solidFill>
                  <a:srgbClr val="000000"/>
                </a:solidFill>
                <a:sym typeface="Helvetica Neue"/>
              </a:rPr>
              <a:t>The World Economic Forum had an ambition to create an open platform in order to interconnect the best innovators and networks of decision-makers, guide and align pockets of activism and entrepreneurialism and allow changemakers to publish and share their perspectives and effectively collaborate through a digital solution. </a:t>
            </a:r>
            <a:br>
              <a:rPr lang="en-GB" sz="900" dirty="0">
                <a:solidFill>
                  <a:srgbClr val="000000"/>
                </a:solidFill>
                <a:sym typeface="Helvetica Neue"/>
              </a:rPr>
            </a:br>
            <a:endParaRPr lang="en-GB" sz="900" dirty="0">
              <a:solidFill>
                <a:srgbClr val="000000"/>
              </a:solidFill>
              <a:sym typeface="Helvetica Neue"/>
            </a:endParaRPr>
          </a:p>
          <a:p>
            <a:pPr>
              <a:lnSpc>
                <a:spcPct val="100000"/>
              </a:lnSpc>
              <a:defRPr/>
            </a:pPr>
            <a:endParaRPr lang="en-GB" sz="1050" dirty="0"/>
          </a:p>
        </p:txBody>
      </p:sp>
      <p:sp>
        <p:nvSpPr>
          <p:cNvPr id="14" name="Text Placeholder 3">
            <a:extLst>
              <a:ext uri="{FF2B5EF4-FFF2-40B4-BE49-F238E27FC236}">
                <a16:creationId xmlns:a16="http://schemas.microsoft.com/office/drawing/2014/main" id="{DAA54152-294A-1F29-822D-15BEDB3CE3A2}"/>
              </a:ext>
            </a:extLst>
          </p:cNvPr>
          <p:cNvSpPr txBox="1">
            <a:spLocks/>
          </p:cNvSpPr>
          <p:nvPr/>
        </p:nvSpPr>
        <p:spPr>
          <a:xfrm>
            <a:off x="714123" y="3167402"/>
            <a:ext cx="3077563" cy="252501"/>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6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idea</a:t>
            </a:r>
          </a:p>
        </p:txBody>
      </p:sp>
      <p:sp>
        <p:nvSpPr>
          <p:cNvPr id="15" name="Text Placeholder 6">
            <a:extLst>
              <a:ext uri="{FF2B5EF4-FFF2-40B4-BE49-F238E27FC236}">
                <a16:creationId xmlns:a16="http://schemas.microsoft.com/office/drawing/2014/main" id="{21D7F76D-A7AA-5398-FE5D-E7A92B2FA5AF}"/>
              </a:ext>
            </a:extLst>
          </p:cNvPr>
          <p:cNvSpPr txBox="1">
            <a:spLocks/>
          </p:cNvSpPr>
          <p:nvPr/>
        </p:nvSpPr>
        <p:spPr>
          <a:xfrm>
            <a:off x="714022" y="3429000"/>
            <a:ext cx="3852000" cy="1807690"/>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000000"/>
              </a:buClr>
              <a:buSzPts val="1400"/>
            </a:pPr>
            <a:r>
              <a:rPr lang="en-GB" sz="900" dirty="0">
                <a:solidFill>
                  <a:schemeClr val="dk1"/>
                </a:solidFill>
                <a:sym typeface="Helvetica Neue"/>
              </a:rPr>
              <a:t>We have designed and built the community and competition based platform in a new organisation, defined both business, experience and branding principles, led the implementation of the MVP and further releases, including post-go-live support. We were also responsible for quality assurance, overarching program management, all the testing coordination, as well as the knowledge transfer to WEF stakeholders.</a:t>
            </a:r>
          </a:p>
          <a:p>
            <a:pPr>
              <a:buClr>
                <a:srgbClr val="000000"/>
              </a:buClr>
              <a:buSzPts val="1400"/>
            </a:pPr>
            <a:r>
              <a:rPr lang="en-GB" sz="900" dirty="0">
                <a:solidFill>
                  <a:schemeClr val="dk1"/>
                </a:solidFill>
                <a:sym typeface="Helvetica Neue"/>
              </a:rPr>
              <a:t>The solution is being developed in an agile, iterative way with regular small releases after every sprint. All that with an involvement of the end users at each and every stage. </a:t>
            </a:r>
          </a:p>
          <a:p>
            <a:pPr>
              <a:lnSpc>
                <a:spcPct val="100000"/>
              </a:lnSpc>
              <a:defRPr/>
            </a:pPr>
            <a:endParaRPr lang="en-GB" sz="1050" dirty="0"/>
          </a:p>
        </p:txBody>
      </p:sp>
      <p:sp>
        <p:nvSpPr>
          <p:cNvPr id="16" name="Text Placeholder 3">
            <a:extLst>
              <a:ext uri="{FF2B5EF4-FFF2-40B4-BE49-F238E27FC236}">
                <a16:creationId xmlns:a16="http://schemas.microsoft.com/office/drawing/2014/main" id="{91AAAD6F-00E6-4F0C-4634-7CC70EB0EB99}"/>
              </a:ext>
            </a:extLst>
          </p:cNvPr>
          <p:cNvSpPr txBox="1">
            <a:spLocks/>
          </p:cNvSpPr>
          <p:nvPr/>
        </p:nvSpPr>
        <p:spPr>
          <a:xfrm>
            <a:off x="714123" y="5291617"/>
            <a:ext cx="3077563" cy="252501"/>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6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growth</a:t>
            </a:r>
          </a:p>
        </p:txBody>
      </p:sp>
      <p:sp>
        <p:nvSpPr>
          <p:cNvPr id="17" name="Text Placeholder 6">
            <a:extLst>
              <a:ext uri="{FF2B5EF4-FFF2-40B4-BE49-F238E27FC236}">
                <a16:creationId xmlns:a16="http://schemas.microsoft.com/office/drawing/2014/main" id="{DAEB0923-9AFC-DCCE-9EBA-D990080F8999}"/>
              </a:ext>
            </a:extLst>
          </p:cNvPr>
          <p:cNvSpPr txBox="1">
            <a:spLocks/>
          </p:cNvSpPr>
          <p:nvPr/>
        </p:nvSpPr>
        <p:spPr>
          <a:xfrm>
            <a:off x="714022" y="5553215"/>
            <a:ext cx="3852000" cy="548503"/>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12700" marR="0" lvl="0" algn="l" defTabSz="914400" rtl="0" eaLnBrk="1" fontAlgn="auto" latinLnBrk="0" hangingPunct="1">
              <a:lnSpc>
                <a:spcPct val="100000"/>
              </a:lnSpc>
              <a:spcBef>
                <a:spcPts val="0"/>
              </a:spcBef>
              <a:spcAft>
                <a:spcPts val="600"/>
              </a:spcAft>
              <a:buClr>
                <a:srgbClr val="000000"/>
              </a:buClr>
              <a:buSzPts val="1400"/>
              <a:tabLst/>
              <a:defRPr/>
            </a:pPr>
            <a:r>
              <a:rPr lang="en-GB" sz="900" dirty="0">
                <a:solidFill>
                  <a:schemeClr val="dk1"/>
                </a:solidFill>
                <a:sym typeface="Helvetica Neue"/>
              </a:rPr>
              <a:t>50k users</a:t>
            </a:r>
          </a:p>
          <a:p>
            <a:pPr marL="12700" marR="0" lvl="0" algn="l" defTabSz="914400" rtl="0" eaLnBrk="1" fontAlgn="auto" latinLnBrk="0" hangingPunct="1">
              <a:lnSpc>
                <a:spcPct val="100000"/>
              </a:lnSpc>
              <a:spcBef>
                <a:spcPts val="0"/>
              </a:spcBef>
              <a:spcAft>
                <a:spcPts val="600"/>
              </a:spcAft>
              <a:buClr>
                <a:srgbClr val="000000"/>
              </a:buClr>
              <a:buSzPts val="1400"/>
              <a:tabLst/>
              <a:defRPr/>
            </a:pPr>
            <a:r>
              <a:rPr lang="en-GB" sz="900" dirty="0">
                <a:solidFill>
                  <a:schemeClr val="dk1"/>
                </a:solidFill>
                <a:sym typeface="Helvetica Neue"/>
              </a:rPr>
              <a:t>400 ‘</a:t>
            </a:r>
            <a:r>
              <a:rPr lang="en-GB" sz="900" dirty="0" err="1">
                <a:solidFill>
                  <a:schemeClr val="dk1"/>
                </a:solidFill>
                <a:sym typeface="Helvetica Neue"/>
              </a:rPr>
              <a:t>UpLinked</a:t>
            </a:r>
            <a:r>
              <a:rPr lang="en-GB" sz="900" dirty="0">
                <a:solidFill>
                  <a:schemeClr val="dk1"/>
                </a:solidFill>
                <a:sym typeface="Helvetica Neue"/>
              </a:rPr>
              <a:t>’ solutions</a:t>
            </a:r>
          </a:p>
          <a:p>
            <a:pPr marL="12700" marR="0" lvl="0" algn="l" defTabSz="914400" rtl="0" eaLnBrk="1" fontAlgn="auto" latinLnBrk="0" hangingPunct="1">
              <a:lnSpc>
                <a:spcPct val="100000"/>
              </a:lnSpc>
              <a:spcBef>
                <a:spcPts val="0"/>
              </a:spcBef>
              <a:spcAft>
                <a:spcPts val="600"/>
              </a:spcAft>
              <a:buClr>
                <a:srgbClr val="000000"/>
              </a:buClr>
              <a:buSzPts val="1400"/>
              <a:tabLst/>
              <a:defRPr/>
            </a:pPr>
            <a:r>
              <a:rPr lang="en-GB" sz="900" dirty="0">
                <a:solidFill>
                  <a:schemeClr val="dk1"/>
                </a:solidFill>
                <a:sym typeface="Helvetica Neue"/>
              </a:rPr>
              <a:t>+$1B of funds raised by the top innovators since joining the platform</a:t>
            </a:r>
          </a:p>
        </p:txBody>
      </p:sp>
      <p:grpSp>
        <p:nvGrpSpPr>
          <p:cNvPr id="39" name="Group 38">
            <a:extLst>
              <a:ext uri="{FF2B5EF4-FFF2-40B4-BE49-F238E27FC236}">
                <a16:creationId xmlns:a16="http://schemas.microsoft.com/office/drawing/2014/main" id="{2C8EEDDD-EBBF-A531-31A6-3DC5251D53F0}"/>
              </a:ext>
            </a:extLst>
          </p:cNvPr>
          <p:cNvGrpSpPr/>
          <p:nvPr/>
        </p:nvGrpSpPr>
        <p:grpSpPr>
          <a:xfrm>
            <a:off x="1025305" y="1206197"/>
            <a:ext cx="3928871" cy="368543"/>
            <a:chOff x="314138" y="1164020"/>
            <a:chExt cx="3928871" cy="368543"/>
          </a:xfrm>
        </p:grpSpPr>
        <p:sp>
          <p:nvSpPr>
            <p:cNvPr id="4" name="Rectangle 3">
              <a:extLst>
                <a:ext uri="{FF2B5EF4-FFF2-40B4-BE49-F238E27FC236}">
                  <a16:creationId xmlns:a16="http://schemas.microsoft.com/office/drawing/2014/main" id="{E086BF9B-E251-6619-E8FD-DB5100E8F68B}"/>
                </a:ext>
              </a:extLst>
            </p:cNvPr>
            <p:cNvSpPr/>
            <p:nvPr/>
          </p:nvSpPr>
          <p:spPr bwMode="gray">
            <a:xfrm>
              <a:off x="3292373" y="1164020"/>
              <a:ext cx="950635" cy="150829"/>
            </a:xfrm>
            <a:prstGeom prst="rect">
              <a:avLst/>
            </a:prstGeom>
            <a:solidFill>
              <a:srgbClr val="00B050"/>
            </a:solidFill>
            <a:ln w="19050" algn="ctr">
              <a:noFill/>
              <a:miter lim="800000"/>
              <a:headEnd/>
              <a:tailEnd/>
            </a:ln>
          </p:spPr>
          <p:txBody>
            <a:bodyPr wrap="square" lIns="0" tIns="0" rIns="0" bIns="0" rtlCol="0" anchor="ctr"/>
            <a:lstStyle/>
            <a:p>
              <a:pPr marL="180984"/>
              <a:r>
                <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WRITING SAMPLES</a:t>
              </a:r>
            </a:p>
          </p:txBody>
        </p:sp>
        <p:sp>
          <p:nvSpPr>
            <p:cNvPr id="5" name="Freeform 451">
              <a:extLst>
                <a:ext uri="{FF2B5EF4-FFF2-40B4-BE49-F238E27FC236}">
                  <a16:creationId xmlns:a16="http://schemas.microsoft.com/office/drawing/2014/main" id="{357D6B8B-F22A-FC49-1D8D-BD73F0276700}"/>
                </a:ext>
              </a:extLst>
            </p:cNvPr>
            <p:cNvSpPr>
              <a:spLocks noEditPoints="1"/>
            </p:cNvSpPr>
            <p:nvPr/>
          </p:nvSpPr>
          <p:spPr bwMode="auto">
            <a:xfrm>
              <a:off x="3329490"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 name="Rectangle 6">
              <a:extLst>
                <a:ext uri="{FF2B5EF4-FFF2-40B4-BE49-F238E27FC236}">
                  <a16:creationId xmlns:a16="http://schemas.microsoft.com/office/drawing/2014/main" id="{AA31B023-1A55-F301-1A3B-F4250EDDAA2F}"/>
                </a:ext>
              </a:extLst>
            </p:cNvPr>
            <p:cNvSpPr/>
            <p:nvPr/>
          </p:nvSpPr>
          <p:spPr bwMode="gray">
            <a:xfrm>
              <a:off x="314138" y="1164020"/>
              <a:ext cx="854362"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IMPACT STORIES</a:t>
              </a:r>
            </a:p>
          </p:txBody>
        </p:sp>
        <p:sp>
          <p:nvSpPr>
            <p:cNvPr id="13" name="Freeform 451">
              <a:extLst>
                <a:ext uri="{FF2B5EF4-FFF2-40B4-BE49-F238E27FC236}">
                  <a16:creationId xmlns:a16="http://schemas.microsoft.com/office/drawing/2014/main" id="{1554D61E-0D7C-2526-D2FC-4AFDA340C53B}"/>
                </a:ext>
              </a:extLst>
            </p:cNvPr>
            <p:cNvSpPr>
              <a:spLocks noEditPoints="1"/>
            </p:cNvSpPr>
            <p:nvPr/>
          </p:nvSpPr>
          <p:spPr bwMode="auto">
            <a:xfrm>
              <a:off x="343440"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8" name="Rectangle 17">
              <a:extLst>
                <a:ext uri="{FF2B5EF4-FFF2-40B4-BE49-F238E27FC236}">
                  <a16:creationId xmlns:a16="http://schemas.microsoft.com/office/drawing/2014/main" id="{BC96FE97-5030-0D9F-9D99-E14D5F0AB943}"/>
                </a:ext>
              </a:extLst>
            </p:cNvPr>
            <p:cNvSpPr/>
            <p:nvPr/>
          </p:nvSpPr>
          <p:spPr bwMode="gray">
            <a:xfrm>
              <a:off x="1214024" y="1164020"/>
              <a:ext cx="963119"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REATIVE PLATFORM</a:t>
              </a:r>
            </a:p>
          </p:txBody>
        </p:sp>
        <p:sp>
          <p:nvSpPr>
            <p:cNvPr id="19" name="Freeform 451">
              <a:extLst>
                <a:ext uri="{FF2B5EF4-FFF2-40B4-BE49-F238E27FC236}">
                  <a16:creationId xmlns:a16="http://schemas.microsoft.com/office/drawing/2014/main" id="{EC76C9F1-2ED5-E310-FB55-6D638C33CAB6}"/>
                </a:ext>
              </a:extLst>
            </p:cNvPr>
            <p:cNvSpPr>
              <a:spLocks noEditPoints="1"/>
            </p:cNvSpPr>
            <p:nvPr/>
          </p:nvSpPr>
          <p:spPr bwMode="auto">
            <a:xfrm>
              <a:off x="1243326"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9" name="Rectangle 28">
              <a:extLst>
                <a:ext uri="{FF2B5EF4-FFF2-40B4-BE49-F238E27FC236}">
                  <a16:creationId xmlns:a16="http://schemas.microsoft.com/office/drawing/2014/main" id="{8CAEAE76-D5E7-BA7A-90C7-5BB23B6A2A74}"/>
                </a:ext>
              </a:extLst>
            </p:cNvPr>
            <p:cNvSpPr/>
            <p:nvPr/>
          </p:nvSpPr>
          <p:spPr bwMode="gray">
            <a:xfrm>
              <a:off x="314138" y="1381734"/>
              <a:ext cx="929188"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BRAND NARRATIVE</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0" name="Freeform 451">
              <a:extLst>
                <a:ext uri="{FF2B5EF4-FFF2-40B4-BE49-F238E27FC236}">
                  <a16:creationId xmlns:a16="http://schemas.microsoft.com/office/drawing/2014/main" id="{561DD45F-AA25-4526-FF42-54CB06E51452}"/>
                </a:ext>
              </a:extLst>
            </p:cNvPr>
            <p:cNvSpPr>
              <a:spLocks noEditPoints="1"/>
            </p:cNvSpPr>
            <p:nvPr/>
          </p:nvSpPr>
          <p:spPr bwMode="auto">
            <a:xfrm>
              <a:off x="343440" y="1415802"/>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1" name="Rectangle 30">
              <a:extLst>
                <a:ext uri="{FF2B5EF4-FFF2-40B4-BE49-F238E27FC236}">
                  <a16:creationId xmlns:a16="http://schemas.microsoft.com/office/drawing/2014/main" id="{4C2E27E0-741A-4A4E-0650-CB7F23C7B7DE}"/>
                </a:ext>
              </a:extLst>
            </p:cNvPr>
            <p:cNvSpPr/>
            <p:nvPr/>
          </p:nvSpPr>
          <p:spPr bwMode="gray">
            <a:xfrm>
              <a:off x="1293479" y="1381734"/>
              <a:ext cx="929188"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BRAND STRATEGY</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2" name="Freeform 451">
              <a:extLst>
                <a:ext uri="{FF2B5EF4-FFF2-40B4-BE49-F238E27FC236}">
                  <a16:creationId xmlns:a16="http://schemas.microsoft.com/office/drawing/2014/main" id="{1F811677-78BB-0F4A-E61B-6246887260AA}"/>
                </a:ext>
              </a:extLst>
            </p:cNvPr>
            <p:cNvSpPr>
              <a:spLocks noEditPoints="1"/>
            </p:cNvSpPr>
            <p:nvPr/>
          </p:nvSpPr>
          <p:spPr bwMode="auto">
            <a:xfrm>
              <a:off x="1322781" y="1415802"/>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3" name="Rectangle 32">
              <a:extLst>
                <a:ext uri="{FF2B5EF4-FFF2-40B4-BE49-F238E27FC236}">
                  <a16:creationId xmlns:a16="http://schemas.microsoft.com/office/drawing/2014/main" id="{D9ED8F21-281A-DE6A-7809-C2F3139D5033}"/>
                </a:ext>
              </a:extLst>
            </p:cNvPr>
            <p:cNvSpPr/>
            <p:nvPr/>
          </p:nvSpPr>
          <p:spPr bwMode="gray">
            <a:xfrm>
              <a:off x="2272819" y="1381734"/>
              <a:ext cx="678419"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WEB DESIGN </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4" name="Freeform 451">
              <a:extLst>
                <a:ext uri="{FF2B5EF4-FFF2-40B4-BE49-F238E27FC236}">
                  <a16:creationId xmlns:a16="http://schemas.microsoft.com/office/drawing/2014/main" id="{27316D9F-4C9A-3F98-29BB-E0C4D2430E86}"/>
                </a:ext>
              </a:extLst>
            </p:cNvPr>
            <p:cNvSpPr>
              <a:spLocks noEditPoints="1"/>
            </p:cNvSpPr>
            <p:nvPr/>
          </p:nvSpPr>
          <p:spPr bwMode="auto">
            <a:xfrm>
              <a:off x="2302122" y="1415802"/>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5" name="Rectangle 34">
              <a:extLst>
                <a:ext uri="{FF2B5EF4-FFF2-40B4-BE49-F238E27FC236}">
                  <a16:creationId xmlns:a16="http://schemas.microsoft.com/office/drawing/2014/main" id="{BBD203C5-F677-5CE7-942C-BB2554B571E2}"/>
                </a:ext>
              </a:extLst>
            </p:cNvPr>
            <p:cNvSpPr/>
            <p:nvPr/>
          </p:nvSpPr>
          <p:spPr bwMode="gray">
            <a:xfrm>
              <a:off x="2998533" y="1381734"/>
              <a:ext cx="1244476"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VALUE PROPOSITION DESIGN</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6" name="Freeform 451">
              <a:extLst>
                <a:ext uri="{FF2B5EF4-FFF2-40B4-BE49-F238E27FC236}">
                  <a16:creationId xmlns:a16="http://schemas.microsoft.com/office/drawing/2014/main" id="{D7FE2384-0D61-9BEB-A6B4-50A2AE9A2568}"/>
                </a:ext>
              </a:extLst>
            </p:cNvPr>
            <p:cNvSpPr>
              <a:spLocks noEditPoints="1"/>
            </p:cNvSpPr>
            <p:nvPr/>
          </p:nvSpPr>
          <p:spPr bwMode="auto">
            <a:xfrm>
              <a:off x="3027836" y="1415802"/>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7" name="Rectangle 36">
              <a:extLst>
                <a:ext uri="{FF2B5EF4-FFF2-40B4-BE49-F238E27FC236}">
                  <a16:creationId xmlns:a16="http://schemas.microsoft.com/office/drawing/2014/main" id="{85C0DAE4-FE37-EA9D-0DFA-A39FEA88701D}"/>
                </a:ext>
              </a:extLst>
            </p:cNvPr>
            <p:cNvSpPr/>
            <p:nvPr/>
          </p:nvSpPr>
          <p:spPr bwMode="gray">
            <a:xfrm>
              <a:off x="2223827" y="1164020"/>
              <a:ext cx="1021863"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EXPERIENCE STRATEGY</a:t>
              </a:r>
            </a:p>
          </p:txBody>
        </p:sp>
        <p:sp>
          <p:nvSpPr>
            <p:cNvPr id="38" name="Freeform 451">
              <a:extLst>
                <a:ext uri="{FF2B5EF4-FFF2-40B4-BE49-F238E27FC236}">
                  <a16:creationId xmlns:a16="http://schemas.microsoft.com/office/drawing/2014/main" id="{A2C92DF0-3CB3-DD95-DE25-2AB122C2DF21}"/>
                </a:ext>
              </a:extLst>
            </p:cNvPr>
            <p:cNvSpPr>
              <a:spLocks noEditPoints="1"/>
            </p:cNvSpPr>
            <p:nvPr/>
          </p:nvSpPr>
          <p:spPr bwMode="auto">
            <a:xfrm>
              <a:off x="2260775" y="1203279"/>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grpSp>
      <p:grpSp>
        <p:nvGrpSpPr>
          <p:cNvPr id="40" name="Google Shape;330;p17">
            <a:extLst>
              <a:ext uri="{FF2B5EF4-FFF2-40B4-BE49-F238E27FC236}">
                <a16:creationId xmlns:a16="http://schemas.microsoft.com/office/drawing/2014/main" id="{4F4FC5C2-C8FE-04C6-30A0-2F77793A5BA4}"/>
              </a:ext>
            </a:extLst>
          </p:cNvPr>
          <p:cNvGrpSpPr/>
          <p:nvPr/>
        </p:nvGrpSpPr>
        <p:grpSpPr>
          <a:xfrm>
            <a:off x="10387551" y="114069"/>
            <a:ext cx="1804448" cy="847627"/>
            <a:chOff x="604995" y="550474"/>
            <a:chExt cx="1327879" cy="623762"/>
          </a:xfrm>
        </p:grpSpPr>
        <p:pic>
          <p:nvPicPr>
            <p:cNvPr id="41" name="Google Shape;331;p17" descr="UpLink - World Economic Forum - Home | Facebook">
              <a:extLst>
                <a:ext uri="{FF2B5EF4-FFF2-40B4-BE49-F238E27FC236}">
                  <a16:creationId xmlns:a16="http://schemas.microsoft.com/office/drawing/2014/main" id="{5DE2313B-65D9-7190-58D4-64CDEE1F439E}"/>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309112" y="550474"/>
              <a:ext cx="623762" cy="623762"/>
            </a:xfrm>
            <a:prstGeom prst="rect">
              <a:avLst/>
            </a:prstGeom>
            <a:noFill/>
            <a:ln>
              <a:noFill/>
            </a:ln>
          </p:spPr>
        </p:pic>
        <p:pic>
          <p:nvPicPr>
            <p:cNvPr id="42" name="Google Shape;332;p17">
              <a:extLst>
                <a:ext uri="{FF2B5EF4-FFF2-40B4-BE49-F238E27FC236}">
                  <a16:creationId xmlns:a16="http://schemas.microsoft.com/office/drawing/2014/main" id="{86183294-EB6B-8A87-EFDE-DDB88BB26213}"/>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604995" y="672340"/>
              <a:ext cx="683202" cy="421935"/>
            </a:xfrm>
            <a:prstGeom prst="rect">
              <a:avLst/>
            </a:prstGeom>
            <a:noFill/>
            <a:ln>
              <a:noFill/>
            </a:ln>
          </p:spPr>
        </p:pic>
      </p:grpSp>
      <p:grpSp>
        <p:nvGrpSpPr>
          <p:cNvPr id="43" name="Google Shape;333;p17">
            <a:extLst>
              <a:ext uri="{FF2B5EF4-FFF2-40B4-BE49-F238E27FC236}">
                <a16:creationId xmlns:a16="http://schemas.microsoft.com/office/drawing/2014/main" id="{FE6690A8-5FA3-750F-CD60-E68287E8D2D5}"/>
              </a:ext>
            </a:extLst>
          </p:cNvPr>
          <p:cNvGrpSpPr/>
          <p:nvPr/>
        </p:nvGrpSpPr>
        <p:grpSpPr>
          <a:xfrm>
            <a:off x="5163707" y="1282106"/>
            <a:ext cx="7187173" cy="5392713"/>
            <a:chOff x="6415773" y="1291930"/>
            <a:chExt cx="7020049" cy="5267314"/>
          </a:xfrm>
        </p:grpSpPr>
        <p:pic>
          <p:nvPicPr>
            <p:cNvPr id="44" name="Google Shape;334;p17">
              <a:extLst>
                <a:ext uri="{FF2B5EF4-FFF2-40B4-BE49-F238E27FC236}">
                  <a16:creationId xmlns:a16="http://schemas.microsoft.com/office/drawing/2014/main" id="{DEAADE04-62EF-D1DF-E55A-FBD83B2CBCBC}"/>
                </a:ext>
              </a:extLst>
            </p:cNvPr>
            <p:cNvPicPr preferRelativeResize="0"/>
            <p:nvPr/>
          </p:nvPicPr>
          <p:blipFill rotWithShape="1">
            <a:blip r:embed="rId8" cstate="email">
              <a:alphaModFix/>
              <a:extLst>
                <a:ext uri="{28A0092B-C50C-407E-A947-70E740481C1C}">
                  <a14:useLocalDpi xmlns:a14="http://schemas.microsoft.com/office/drawing/2010/main"/>
                </a:ext>
              </a:extLst>
            </a:blip>
            <a:srcRect l="-1" r="-4876"/>
            <a:stretch/>
          </p:blipFill>
          <p:spPr>
            <a:xfrm>
              <a:off x="7170443" y="1291930"/>
              <a:ext cx="6265379" cy="4084274"/>
            </a:xfrm>
            <a:prstGeom prst="rect">
              <a:avLst/>
            </a:prstGeom>
            <a:noFill/>
            <a:ln>
              <a:noFill/>
            </a:ln>
            <a:effectLst>
              <a:outerShdw blurRad="1270000" sx="94000" sy="94000" algn="ctr" rotWithShape="0">
                <a:srgbClr val="000000">
                  <a:alpha val="17647"/>
                </a:srgbClr>
              </a:outerShdw>
            </a:effectLst>
          </p:spPr>
        </p:pic>
        <p:pic>
          <p:nvPicPr>
            <p:cNvPr id="45" name="Google Shape;335;p17">
              <a:extLst>
                <a:ext uri="{FF2B5EF4-FFF2-40B4-BE49-F238E27FC236}">
                  <a16:creationId xmlns:a16="http://schemas.microsoft.com/office/drawing/2014/main" id="{EBAA3A8E-DC3D-AFC3-D6EB-FDCB2E57057E}"/>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075570" y="5376203"/>
              <a:ext cx="2287226" cy="1183041"/>
            </a:xfrm>
            <a:prstGeom prst="rect">
              <a:avLst/>
            </a:prstGeom>
            <a:noFill/>
            <a:ln>
              <a:noFill/>
            </a:ln>
          </p:spPr>
        </p:pic>
        <p:pic>
          <p:nvPicPr>
            <p:cNvPr id="46" name="Google Shape;336;p17">
              <a:extLst>
                <a:ext uri="{FF2B5EF4-FFF2-40B4-BE49-F238E27FC236}">
                  <a16:creationId xmlns:a16="http://schemas.microsoft.com/office/drawing/2014/main" id="{46A59D79-53EA-B23C-4585-FAA73CB46AFA}"/>
                </a:ext>
              </a:extLst>
            </p:cNvPr>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10521447" y="5376203"/>
              <a:ext cx="2345230" cy="1183041"/>
            </a:xfrm>
            <a:prstGeom prst="rect">
              <a:avLst/>
            </a:prstGeom>
            <a:noFill/>
            <a:ln>
              <a:noFill/>
            </a:ln>
          </p:spPr>
        </p:pic>
        <p:pic>
          <p:nvPicPr>
            <p:cNvPr id="47" name="Google Shape;337;p17">
              <a:extLst>
                <a:ext uri="{FF2B5EF4-FFF2-40B4-BE49-F238E27FC236}">
                  <a16:creationId xmlns:a16="http://schemas.microsoft.com/office/drawing/2014/main" id="{E955A59B-B1DC-2411-8107-971D53CD0181}"/>
                </a:ext>
              </a:extLst>
            </p:cNvPr>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6501924" y="5436719"/>
              <a:ext cx="1414994" cy="1043534"/>
            </a:xfrm>
            <a:prstGeom prst="roundRect">
              <a:avLst>
                <a:gd name="adj" fmla="val 3860"/>
              </a:avLst>
            </a:prstGeom>
            <a:noFill/>
            <a:ln>
              <a:noFill/>
            </a:ln>
          </p:spPr>
        </p:pic>
        <p:pic>
          <p:nvPicPr>
            <p:cNvPr id="48" name="Google Shape;338;p17">
              <a:extLst>
                <a:ext uri="{FF2B5EF4-FFF2-40B4-BE49-F238E27FC236}">
                  <a16:creationId xmlns:a16="http://schemas.microsoft.com/office/drawing/2014/main" id="{F1FD6EF1-08D9-F0AD-C3EE-37E3DB77001A}"/>
                </a:ext>
              </a:extLst>
            </p:cNvPr>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6415773" y="2863273"/>
              <a:ext cx="2539701" cy="2291284"/>
            </a:xfrm>
            <a:prstGeom prst="rect">
              <a:avLst/>
            </a:prstGeom>
            <a:noFill/>
            <a:ln>
              <a:noFill/>
            </a:ln>
          </p:spPr>
        </p:pic>
      </p:grpSp>
      <p:sp>
        <p:nvSpPr>
          <p:cNvPr id="49" name="Rectangle 48">
            <a:extLst>
              <a:ext uri="{FF2B5EF4-FFF2-40B4-BE49-F238E27FC236}">
                <a16:creationId xmlns:a16="http://schemas.microsoft.com/office/drawing/2014/main" id="{9A5BD127-21E9-AC5A-605A-B1E2FAE8EE8C}"/>
              </a:ext>
            </a:extLst>
          </p:cNvPr>
          <p:cNvSpPr/>
          <p:nvPr/>
        </p:nvSpPr>
        <p:spPr bwMode="gray">
          <a:xfrm>
            <a:off x="4983204" y="1171317"/>
            <a:ext cx="1313858" cy="171954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0" name="Google Shape;329;p17">
            <a:hlinkClick r:id="rId13"/>
            <a:extLst>
              <a:ext uri="{FF2B5EF4-FFF2-40B4-BE49-F238E27FC236}">
                <a16:creationId xmlns:a16="http://schemas.microsoft.com/office/drawing/2014/main" id="{7E68D05B-492A-920A-CE13-C7FCE6243F9D}"/>
              </a:ext>
            </a:extLst>
          </p:cNvPr>
          <p:cNvSpPr txBox="1"/>
          <p:nvPr/>
        </p:nvSpPr>
        <p:spPr>
          <a:xfrm>
            <a:off x="714021" y="6332818"/>
            <a:ext cx="979200" cy="342000"/>
          </a:xfrm>
          <a:prstGeom prst="rect">
            <a:avLst/>
          </a:prstGeom>
          <a:solidFill>
            <a:srgbClr val="1CABE3"/>
          </a:solidFill>
          <a:ln>
            <a:noFill/>
          </a:ln>
        </p:spPr>
        <p:txBody>
          <a:bodyPr spcFirstLastPara="1" wrap="square" lIns="60950" tIns="60950" rIns="60950" bIns="60950" anchor="t" anchorCtr="0">
            <a:spAutoFit/>
          </a:bodyPr>
          <a:lstStyle/>
          <a:p>
            <a:pPr algn="ctr">
              <a:lnSpc>
                <a:spcPct val="115000"/>
              </a:lnSpc>
              <a:buClr>
                <a:srgbClr val="000000"/>
              </a:buClr>
              <a:buSzPts val="1300"/>
            </a:pPr>
            <a:r>
              <a:rPr lang="en-GB" sz="1000" b="1" dirty="0">
                <a:solidFill>
                  <a:schemeClr val="lt1"/>
                </a:solidFill>
                <a:uFill>
                  <a:noFill/>
                </a:uFill>
                <a:latin typeface="Open Sans Light" panose="020B0306030504020204" pitchFamily="34" charset="0"/>
                <a:ea typeface="Open Sans Light" panose="020B0306030504020204" pitchFamily="34" charset="0"/>
                <a:cs typeface="Open Sans Light" panose="020B0306030504020204" pitchFamily="34" charset="0"/>
                <a:sym typeface="Helvetica Neue"/>
                <a:hlinkClick r:id="rId13">
                  <a:extLst>
                    <a:ext uri="{A12FA001-AC4F-418D-AE19-62706E023703}">
                      <ahyp:hlinkClr xmlns:ahyp="http://schemas.microsoft.com/office/drawing/2018/hyperlinkcolor" val="tx"/>
                    </a:ext>
                  </a:extLst>
                </a:hlinkClick>
              </a:rPr>
              <a:t>W</a:t>
            </a:r>
            <a:r>
              <a:rPr lang="en-GB" sz="1000" b="1" dirty="0">
                <a:solidFill>
                  <a:schemeClr val="lt1"/>
                </a:solidFill>
                <a:uFill>
                  <a:noFill/>
                </a:uFill>
                <a:latin typeface="Open Sans Light" panose="020B0306030504020204" pitchFamily="34" charset="0"/>
                <a:ea typeface="Open Sans Light" panose="020B0306030504020204" pitchFamily="34" charset="0"/>
                <a:cs typeface="Open Sans Light" panose="020B0306030504020204" pitchFamily="34" charset="0"/>
                <a:sym typeface="Helvetica Neue"/>
              </a:rPr>
              <a:t>ebsite</a:t>
            </a:r>
          </a:p>
        </p:txBody>
      </p:sp>
    </p:spTree>
    <p:extLst>
      <p:ext uri="{BB962C8B-B14F-4D97-AF65-F5344CB8AC3E}">
        <p14:creationId xmlns:p14="http://schemas.microsoft.com/office/powerpoint/2010/main" val="429422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7D9A11-88BE-DE5B-BDE0-61D62CE3C4A1}"/>
              </a:ext>
            </a:extLst>
          </p:cNvPr>
          <p:cNvGraphicFramePr>
            <a:graphicFrameLocks noChangeAspect="1"/>
          </p:cNvGraphicFramePr>
          <p:nvPr>
            <p:custDataLst>
              <p:tags r:id="rId1"/>
            </p:custDataLst>
            <p:extLst>
              <p:ext uri="{D42A27DB-BD31-4B8C-83A1-F6EECF244321}">
                <p14:modId xmlns:p14="http://schemas.microsoft.com/office/powerpoint/2010/main" val="62146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A17D9A11-88BE-DE5B-BDE0-61D62CE3C4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1" name="Flowchart: Connector 150">
            <a:extLst>
              <a:ext uri="{FF2B5EF4-FFF2-40B4-BE49-F238E27FC236}">
                <a16:creationId xmlns:a16="http://schemas.microsoft.com/office/drawing/2014/main" id="{B2056184-A19B-3AE3-9D5D-09175D330F59}"/>
              </a:ext>
            </a:extLst>
          </p:cNvPr>
          <p:cNvSpPr>
            <a:spLocks/>
          </p:cNvSpPr>
          <p:nvPr/>
        </p:nvSpPr>
        <p:spPr bwMode="gray">
          <a:xfrm>
            <a:off x="-400165" y="2786340"/>
            <a:ext cx="2286000" cy="2288604"/>
          </a:xfrm>
          <a:prstGeom prst="flowChartConnector">
            <a:avLst/>
          </a:prstGeom>
          <a:solidFill>
            <a:srgbClr val="00B0F2">
              <a:alpha val="24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5" name="Rectangle: Rounded Corners 4">
            <a:extLst>
              <a:ext uri="{FF2B5EF4-FFF2-40B4-BE49-F238E27FC236}">
                <a16:creationId xmlns:a16="http://schemas.microsoft.com/office/drawing/2014/main" id="{6D8DD7AD-FA15-265B-4E39-5BB8C973BCC3}"/>
              </a:ext>
            </a:extLst>
          </p:cNvPr>
          <p:cNvSpPr>
            <a:spLocks/>
          </p:cNvSpPr>
          <p:nvPr/>
        </p:nvSpPr>
        <p:spPr bwMode="gray">
          <a:xfrm>
            <a:off x="1150781" y="1420771"/>
            <a:ext cx="2430619"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6" name="Rectangle 5">
            <a:extLst>
              <a:ext uri="{FF2B5EF4-FFF2-40B4-BE49-F238E27FC236}">
                <a16:creationId xmlns:a16="http://schemas.microsoft.com/office/drawing/2014/main" id="{EBE77A26-978A-A1C0-C0F0-8C515B732F46}"/>
              </a:ext>
            </a:extLst>
          </p:cNvPr>
          <p:cNvSpPr>
            <a:spLocks/>
          </p:cNvSpPr>
          <p:nvPr/>
        </p:nvSpPr>
        <p:spPr bwMode="gray">
          <a:xfrm>
            <a:off x="1150781" y="1698747"/>
            <a:ext cx="2407355"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9" name="Graphic 4">
            <a:extLst>
              <a:ext uri="{FF2B5EF4-FFF2-40B4-BE49-F238E27FC236}">
                <a16:creationId xmlns:a16="http://schemas.microsoft.com/office/drawing/2014/main" id="{4F09D2AB-97A2-42AE-7804-73A18FBD6152}"/>
              </a:ext>
            </a:extLst>
          </p:cNvPr>
          <p:cNvGrpSpPr>
            <a:grpSpLocks/>
          </p:cNvGrpSpPr>
          <p:nvPr/>
        </p:nvGrpSpPr>
        <p:grpSpPr>
          <a:xfrm>
            <a:off x="3283697" y="1444353"/>
            <a:ext cx="231028" cy="230812"/>
            <a:chOff x="3607758" y="1893013"/>
            <a:chExt cx="362309" cy="361971"/>
          </a:xfrm>
          <a:solidFill>
            <a:srgbClr val="0097A9"/>
          </a:solidFill>
        </p:grpSpPr>
        <p:sp>
          <p:nvSpPr>
            <p:cNvPr id="10" name="Graphic 4">
              <a:extLst>
                <a:ext uri="{FF2B5EF4-FFF2-40B4-BE49-F238E27FC236}">
                  <a16:creationId xmlns:a16="http://schemas.microsoft.com/office/drawing/2014/main" id="{E7083D38-8503-2112-65D4-BA7234BD569B}"/>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1" name="Graphic 4">
              <a:extLst>
                <a:ext uri="{FF2B5EF4-FFF2-40B4-BE49-F238E27FC236}">
                  <a16:creationId xmlns:a16="http://schemas.microsoft.com/office/drawing/2014/main" id="{3BAADB84-879E-DEAD-37D0-8E9995399E55}"/>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2" name="Graphic 4">
              <a:extLst>
                <a:ext uri="{FF2B5EF4-FFF2-40B4-BE49-F238E27FC236}">
                  <a16:creationId xmlns:a16="http://schemas.microsoft.com/office/drawing/2014/main" id="{4F98A6CB-08CD-C976-595A-75650CCCCC05}"/>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13" name="Rectangle: Rounded Corners 12">
            <a:extLst>
              <a:ext uri="{FF2B5EF4-FFF2-40B4-BE49-F238E27FC236}">
                <a16:creationId xmlns:a16="http://schemas.microsoft.com/office/drawing/2014/main" id="{446228F7-89D1-9C9E-C310-D8AF7064AE01}"/>
              </a:ext>
            </a:extLst>
          </p:cNvPr>
          <p:cNvSpPr>
            <a:spLocks/>
          </p:cNvSpPr>
          <p:nvPr/>
        </p:nvSpPr>
        <p:spPr bwMode="gray">
          <a:xfrm>
            <a:off x="1262759" y="1420771"/>
            <a:ext cx="1985034"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limate Heroes Program</a:t>
            </a:r>
            <a:endParaRPr kumimoji="0" lang="en-US" sz="5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3" name="Rectangle: Rounded Corners 2">
            <a:extLst>
              <a:ext uri="{FF2B5EF4-FFF2-40B4-BE49-F238E27FC236}">
                <a16:creationId xmlns:a16="http://schemas.microsoft.com/office/drawing/2014/main" id="{835FD2EC-31E4-EB77-2069-7151ADFE6505}"/>
              </a:ext>
            </a:extLst>
          </p:cNvPr>
          <p:cNvSpPr>
            <a:spLocks/>
          </p:cNvSpPr>
          <p:nvPr/>
        </p:nvSpPr>
        <p:spPr bwMode="gray">
          <a:xfrm>
            <a:off x="1236632" y="1620673"/>
            <a:ext cx="2343950"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E</a:t>
            </a:r>
            <a:r>
              <a:rPr kumimoji="0" lang="en-US" sz="800" i="0"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ducational, climate change related youth engagement initiative by UNICEF Hungary </a:t>
            </a:r>
            <a:endParaRPr kumimoji="0" lang="en-US" sz="400" i="0"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1">
            <a:extLst>
              <a:ext uri="{FF2B5EF4-FFF2-40B4-BE49-F238E27FC236}">
                <a16:creationId xmlns:a16="http://schemas.microsoft.com/office/drawing/2014/main" id="{5411DE48-7AB2-B085-92BD-62F8FD554CA2}"/>
              </a:ext>
            </a:extLst>
          </p:cNvPr>
          <p:cNvSpPr txBox="1">
            <a:spLocks/>
          </p:cNvSpPr>
          <p:nvPr/>
        </p:nvSpPr>
        <p:spPr bwMode="gray">
          <a:xfrm>
            <a:off x="463295" y="417911"/>
            <a:ext cx="11277600" cy="586123"/>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hu-HU" sz="2000" dirty="0"/>
              <a:t>T</a:t>
            </a:r>
            <a:r>
              <a:rPr lang="en-US" sz="2000" dirty="0"/>
              <a:t>his is why we drive more and more environmental and social responsibility initiatives in line with our global values and sustainability strategy</a:t>
            </a:r>
          </a:p>
        </p:txBody>
      </p:sp>
      <p:sp>
        <p:nvSpPr>
          <p:cNvPr id="63" name="Rectangle: Rounded Corners 62">
            <a:extLst>
              <a:ext uri="{FF2B5EF4-FFF2-40B4-BE49-F238E27FC236}">
                <a16:creationId xmlns:a16="http://schemas.microsoft.com/office/drawing/2014/main" id="{A737DD38-EB89-204A-8AB8-0751D8821FA7}"/>
              </a:ext>
            </a:extLst>
          </p:cNvPr>
          <p:cNvSpPr>
            <a:spLocks/>
          </p:cNvSpPr>
          <p:nvPr/>
        </p:nvSpPr>
        <p:spPr bwMode="gray">
          <a:xfrm>
            <a:off x="3842465" y="1420771"/>
            <a:ext cx="2539955"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64" name="Rectangle 63">
            <a:extLst>
              <a:ext uri="{FF2B5EF4-FFF2-40B4-BE49-F238E27FC236}">
                <a16:creationId xmlns:a16="http://schemas.microsoft.com/office/drawing/2014/main" id="{DD720B06-7267-F0DA-04A0-6859ED8F113C}"/>
              </a:ext>
            </a:extLst>
          </p:cNvPr>
          <p:cNvSpPr>
            <a:spLocks/>
          </p:cNvSpPr>
          <p:nvPr/>
        </p:nvSpPr>
        <p:spPr bwMode="gray">
          <a:xfrm>
            <a:off x="3842465" y="1698747"/>
            <a:ext cx="2539955"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65" name="Graphic 4">
            <a:extLst>
              <a:ext uri="{FF2B5EF4-FFF2-40B4-BE49-F238E27FC236}">
                <a16:creationId xmlns:a16="http://schemas.microsoft.com/office/drawing/2014/main" id="{DD4F9AD7-2B12-3CE7-399B-7ED1847EC224}"/>
              </a:ext>
            </a:extLst>
          </p:cNvPr>
          <p:cNvGrpSpPr>
            <a:grpSpLocks/>
          </p:cNvGrpSpPr>
          <p:nvPr/>
        </p:nvGrpSpPr>
        <p:grpSpPr>
          <a:xfrm>
            <a:off x="6106011" y="1444353"/>
            <a:ext cx="231028" cy="230812"/>
            <a:chOff x="3607758" y="1893013"/>
            <a:chExt cx="362309" cy="361971"/>
          </a:xfrm>
          <a:solidFill>
            <a:srgbClr val="0097A9"/>
          </a:solidFill>
        </p:grpSpPr>
        <p:sp>
          <p:nvSpPr>
            <p:cNvPr id="67" name="Graphic 4">
              <a:extLst>
                <a:ext uri="{FF2B5EF4-FFF2-40B4-BE49-F238E27FC236}">
                  <a16:creationId xmlns:a16="http://schemas.microsoft.com/office/drawing/2014/main" id="{E5261BFA-C503-26BD-1D0F-8CE80CD20D50}"/>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68" name="Graphic 4">
              <a:extLst>
                <a:ext uri="{FF2B5EF4-FFF2-40B4-BE49-F238E27FC236}">
                  <a16:creationId xmlns:a16="http://schemas.microsoft.com/office/drawing/2014/main" id="{92235448-7549-1CAA-68CB-074C362A3EB4}"/>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69" name="Graphic 4">
              <a:extLst>
                <a:ext uri="{FF2B5EF4-FFF2-40B4-BE49-F238E27FC236}">
                  <a16:creationId xmlns:a16="http://schemas.microsoft.com/office/drawing/2014/main" id="{9F4A70C3-6880-BE13-853F-6D435F1F8C3F}"/>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66" name="Rectangle: Rounded Corners 65">
            <a:extLst>
              <a:ext uri="{FF2B5EF4-FFF2-40B4-BE49-F238E27FC236}">
                <a16:creationId xmlns:a16="http://schemas.microsoft.com/office/drawing/2014/main" id="{8E53DAF4-5AC1-4BED-61F6-0B87747BAECC}"/>
              </a:ext>
            </a:extLst>
          </p:cNvPr>
          <p:cNvSpPr>
            <a:spLocks/>
          </p:cNvSpPr>
          <p:nvPr/>
        </p:nvSpPr>
        <p:spPr bwMode="gray">
          <a:xfrm>
            <a:off x="3954442" y="1420771"/>
            <a:ext cx="2259837"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Modern Entrepreneurship Program</a:t>
            </a:r>
            <a:endParaRPr kumimoji="0" lang="en-US" sz="5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grpSp>
        <p:nvGrpSpPr>
          <p:cNvPr id="70" name="Group 69">
            <a:extLst>
              <a:ext uri="{FF2B5EF4-FFF2-40B4-BE49-F238E27FC236}">
                <a16:creationId xmlns:a16="http://schemas.microsoft.com/office/drawing/2014/main" id="{2459BB5D-FD76-B338-C86C-81FBDEA95DB1}"/>
              </a:ext>
            </a:extLst>
          </p:cNvPr>
          <p:cNvGrpSpPr/>
          <p:nvPr/>
        </p:nvGrpSpPr>
        <p:grpSpPr>
          <a:xfrm>
            <a:off x="9199406" y="1420771"/>
            <a:ext cx="2430619" cy="1208128"/>
            <a:chOff x="1693706" y="1668421"/>
            <a:chExt cx="2430619" cy="1208128"/>
          </a:xfrm>
        </p:grpSpPr>
        <p:sp>
          <p:nvSpPr>
            <p:cNvPr id="71" name="Rectangle: Rounded Corners 70">
              <a:extLst>
                <a:ext uri="{FF2B5EF4-FFF2-40B4-BE49-F238E27FC236}">
                  <a16:creationId xmlns:a16="http://schemas.microsoft.com/office/drawing/2014/main" id="{EB998B7D-1C20-C07B-A3E5-5285CE1D9BB7}"/>
                </a:ext>
              </a:extLst>
            </p:cNvPr>
            <p:cNvSpPr>
              <a:spLocks/>
            </p:cNvSpPr>
            <p:nvPr/>
          </p:nvSpPr>
          <p:spPr bwMode="gray">
            <a:xfrm>
              <a:off x="1693706" y="1668421"/>
              <a:ext cx="2430619"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72" name="Rectangle 71">
              <a:extLst>
                <a:ext uri="{FF2B5EF4-FFF2-40B4-BE49-F238E27FC236}">
                  <a16:creationId xmlns:a16="http://schemas.microsoft.com/office/drawing/2014/main" id="{CB8028BC-E9BD-8A91-6252-028C33F8A77A}"/>
                </a:ext>
              </a:extLst>
            </p:cNvPr>
            <p:cNvSpPr>
              <a:spLocks/>
            </p:cNvSpPr>
            <p:nvPr/>
          </p:nvSpPr>
          <p:spPr bwMode="gray">
            <a:xfrm>
              <a:off x="1693706" y="1946397"/>
              <a:ext cx="2430619"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73" name="Graphic 4">
              <a:extLst>
                <a:ext uri="{FF2B5EF4-FFF2-40B4-BE49-F238E27FC236}">
                  <a16:creationId xmlns:a16="http://schemas.microsoft.com/office/drawing/2014/main" id="{9149C5AB-C41F-29CE-046A-82D77AC87C89}"/>
                </a:ext>
              </a:extLst>
            </p:cNvPr>
            <p:cNvGrpSpPr>
              <a:grpSpLocks/>
            </p:cNvGrpSpPr>
            <p:nvPr/>
          </p:nvGrpSpPr>
          <p:grpSpPr>
            <a:xfrm>
              <a:off x="3826622" y="1692003"/>
              <a:ext cx="231028" cy="230812"/>
              <a:chOff x="3607758" y="1893013"/>
              <a:chExt cx="362309" cy="361971"/>
            </a:xfrm>
            <a:solidFill>
              <a:srgbClr val="0097A9"/>
            </a:solidFill>
          </p:grpSpPr>
          <p:sp>
            <p:nvSpPr>
              <p:cNvPr id="75" name="Graphic 4">
                <a:extLst>
                  <a:ext uri="{FF2B5EF4-FFF2-40B4-BE49-F238E27FC236}">
                    <a16:creationId xmlns:a16="http://schemas.microsoft.com/office/drawing/2014/main" id="{CD58A65C-6688-B640-CFB1-C501DAB30D4D}"/>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76" name="Graphic 4">
                <a:extLst>
                  <a:ext uri="{FF2B5EF4-FFF2-40B4-BE49-F238E27FC236}">
                    <a16:creationId xmlns:a16="http://schemas.microsoft.com/office/drawing/2014/main" id="{1C90A31C-776E-B1A2-FD42-88E02D44E185}"/>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77" name="Graphic 4">
                <a:extLst>
                  <a:ext uri="{FF2B5EF4-FFF2-40B4-BE49-F238E27FC236}">
                    <a16:creationId xmlns:a16="http://schemas.microsoft.com/office/drawing/2014/main" id="{03DAA679-056A-A290-0165-F1A485533E08}"/>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74" name="Rectangle: Rounded Corners 73">
              <a:extLst>
                <a:ext uri="{FF2B5EF4-FFF2-40B4-BE49-F238E27FC236}">
                  <a16:creationId xmlns:a16="http://schemas.microsoft.com/office/drawing/2014/main" id="{FF7FD675-5A80-8541-71D9-9AFEA71A685E}"/>
                </a:ext>
              </a:extLst>
            </p:cNvPr>
            <p:cNvSpPr>
              <a:spLocks/>
            </p:cNvSpPr>
            <p:nvPr/>
          </p:nvSpPr>
          <p:spPr bwMode="gray">
            <a:xfrm>
              <a:off x="1805683" y="1668421"/>
              <a:ext cx="2130951"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limate Rules progra</a:t>
              </a:r>
              <a:r>
                <a:rPr lang="en-US" sz="900" dirty="0">
                  <a:solidFill>
                    <a:srgbClr val="FFFFFF"/>
                  </a:solidFill>
                  <a:latin typeface="Open Sans Bold" panose="020B0806030504020204" pitchFamily="34" charset="0"/>
                  <a:ea typeface="Open Sans Bold" panose="020B0806030504020204" pitchFamily="34" charset="0"/>
                  <a:cs typeface="Open Sans Bold" panose="020B0806030504020204" pitchFamily="34" charset="0"/>
                </a:rPr>
                <a:t>m in Hungary</a:t>
              </a: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a:t>
              </a:r>
            </a:p>
          </p:txBody>
        </p:sp>
      </p:grpSp>
      <p:sp>
        <p:nvSpPr>
          <p:cNvPr id="79" name="Rectangle: Rounded Corners 78">
            <a:extLst>
              <a:ext uri="{FF2B5EF4-FFF2-40B4-BE49-F238E27FC236}">
                <a16:creationId xmlns:a16="http://schemas.microsoft.com/office/drawing/2014/main" id="{23162215-DF80-F582-E9BE-D0A4C5B86D78}"/>
              </a:ext>
            </a:extLst>
          </p:cNvPr>
          <p:cNvSpPr>
            <a:spLocks/>
          </p:cNvSpPr>
          <p:nvPr/>
        </p:nvSpPr>
        <p:spPr bwMode="gray">
          <a:xfrm>
            <a:off x="9093481" y="3303504"/>
            <a:ext cx="2536544"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80" name="Rectangle 79">
            <a:extLst>
              <a:ext uri="{FF2B5EF4-FFF2-40B4-BE49-F238E27FC236}">
                <a16:creationId xmlns:a16="http://schemas.microsoft.com/office/drawing/2014/main" id="{A80D78A8-3529-BD88-3F9F-026B493FB911}"/>
              </a:ext>
            </a:extLst>
          </p:cNvPr>
          <p:cNvSpPr>
            <a:spLocks/>
          </p:cNvSpPr>
          <p:nvPr/>
        </p:nvSpPr>
        <p:spPr bwMode="gray">
          <a:xfrm>
            <a:off x="9093481" y="3581480"/>
            <a:ext cx="2536544"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81" name="Graphic 4">
            <a:extLst>
              <a:ext uri="{FF2B5EF4-FFF2-40B4-BE49-F238E27FC236}">
                <a16:creationId xmlns:a16="http://schemas.microsoft.com/office/drawing/2014/main" id="{26849AFB-5D63-DB8F-4551-E1AC2D9302EB}"/>
              </a:ext>
            </a:extLst>
          </p:cNvPr>
          <p:cNvGrpSpPr>
            <a:grpSpLocks/>
          </p:cNvGrpSpPr>
          <p:nvPr/>
        </p:nvGrpSpPr>
        <p:grpSpPr>
          <a:xfrm>
            <a:off x="11350685" y="3327086"/>
            <a:ext cx="231028" cy="230812"/>
            <a:chOff x="3607758" y="1893013"/>
            <a:chExt cx="362309" cy="361971"/>
          </a:xfrm>
          <a:solidFill>
            <a:srgbClr val="0097A9"/>
          </a:solidFill>
        </p:grpSpPr>
        <p:sp>
          <p:nvSpPr>
            <p:cNvPr id="83" name="Graphic 4">
              <a:extLst>
                <a:ext uri="{FF2B5EF4-FFF2-40B4-BE49-F238E27FC236}">
                  <a16:creationId xmlns:a16="http://schemas.microsoft.com/office/drawing/2014/main" id="{16E7F369-1CB9-05B6-E062-FC7D4EBB6152}"/>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95FE2252-31E2-F3EA-2FC0-8AAEEEEAE314}"/>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4C9735F2-2CD9-8D8E-52EC-1D3F03D4032F}"/>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82" name="Rectangle: Rounded Corners 81">
            <a:extLst>
              <a:ext uri="{FF2B5EF4-FFF2-40B4-BE49-F238E27FC236}">
                <a16:creationId xmlns:a16="http://schemas.microsoft.com/office/drawing/2014/main" id="{EEF13900-77E2-C92B-1E6A-1FC38CDE7A43}"/>
              </a:ext>
            </a:extLst>
          </p:cNvPr>
          <p:cNvSpPr>
            <a:spLocks/>
          </p:cNvSpPr>
          <p:nvPr/>
        </p:nvSpPr>
        <p:spPr bwMode="gray">
          <a:xfrm>
            <a:off x="9196751" y="3303504"/>
            <a:ext cx="2271709"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harity running for </a:t>
            </a:r>
            <a:r>
              <a:rPr kumimoji="0" lang="en-US" sz="900" b="0" i="0" u="none" strike="noStrike" kern="1200" cap="none" spc="0" normalizeH="0" baseline="0" dirty="0" err="1">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Bag</a:t>
            </a:r>
            <a:r>
              <a:rPr lang="en-US" sz="900" dirty="0" err="1">
                <a:solidFill>
                  <a:srgbClr val="FFFFFF"/>
                </a:solidFill>
                <a:latin typeface="Open Sans Bold" panose="020B0806030504020204" pitchFamily="34" charset="0"/>
                <a:ea typeface="Open Sans Bold" panose="020B0806030504020204" pitchFamily="34" charset="0"/>
                <a:cs typeface="Open Sans Bold" panose="020B0806030504020204" pitchFamily="34" charset="0"/>
              </a:rPr>
              <a:t>ázs</a:t>
            </a:r>
            <a:endPar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grpSp>
        <p:nvGrpSpPr>
          <p:cNvPr id="120" name="Group 119">
            <a:extLst>
              <a:ext uri="{FF2B5EF4-FFF2-40B4-BE49-F238E27FC236}">
                <a16:creationId xmlns:a16="http://schemas.microsoft.com/office/drawing/2014/main" id="{B3C922A3-080B-DEFB-10C1-9451022DBA27}"/>
              </a:ext>
            </a:extLst>
          </p:cNvPr>
          <p:cNvGrpSpPr/>
          <p:nvPr/>
        </p:nvGrpSpPr>
        <p:grpSpPr>
          <a:xfrm>
            <a:off x="1693706" y="5063957"/>
            <a:ext cx="2430619" cy="1208128"/>
            <a:chOff x="1693706" y="1668421"/>
            <a:chExt cx="2430619" cy="1208128"/>
          </a:xfrm>
        </p:grpSpPr>
        <p:sp>
          <p:nvSpPr>
            <p:cNvPr id="121" name="Rectangle: Rounded Corners 120">
              <a:extLst>
                <a:ext uri="{FF2B5EF4-FFF2-40B4-BE49-F238E27FC236}">
                  <a16:creationId xmlns:a16="http://schemas.microsoft.com/office/drawing/2014/main" id="{8225F2DD-35AC-F002-4AAD-36BD3499C164}"/>
                </a:ext>
              </a:extLst>
            </p:cNvPr>
            <p:cNvSpPr>
              <a:spLocks/>
            </p:cNvSpPr>
            <p:nvPr/>
          </p:nvSpPr>
          <p:spPr bwMode="gray">
            <a:xfrm>
              <a:off x="1693706" y="1668421"/>
              <a:ext cx="2430619"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22" name="Rectangle 121">
              <a:extLst>
                <a:ext uri="{FF2B5EF4-FFF2-40B4-BE49-F238E27FC236}">
                  <a16:creationId xmlns:a16="http://schemas.microsoft.com/office/drawing/2014/main" id="{6DD2ADC2-AF4F-4618-B8FB-B702384F49C3}"/>
                </a:ext>
              </a:extLst>
            </p:cNvPr>
            <p:cNvSpPr>
              <a:spLocks/>
            </p:cNvSpPr>
            <p:nvPr/>
          </p:nvSpPr>
          <p:spPr bwMode="gray">
            <a:xfrm>
              <a:off x="1693706" y="1946397"/>
              <a:ext cx="2430619"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123" name="Graphic 4">
              <a:extLst>
                <a:ext uri="{FF2B5EF4-FFF2-40B4-BE49-F238E27FC236}">
                  <a16:creationId xmlns:a16="http://schemas.microsoft.com/office/drawing/2014/main" id="{FAC92256-2427-7AA6-BACA-810289C47251}"/>
                </a:ext>
              </a:extLst>
            </p:cNvPr>
            <p:cNvGrpSpPr>
              <a:grpSpLocks/>
            </p:cNvGrpSpPr>
            <p:nvPr/>
          </p:nvGrpSpPr>
          <p:grpSpPr>
            <a:xfrm>
              <a:off x="3826622" y="1692003"/>
              <a:ext cx="231028" cy="230812"/>
              <a:chOff x="3607758" y="1893013"/>
              <a:chExt cx="362309" cy="361971"/>
            </a:xfrm>
            <a:solidFill>
              <a:srgbClr val="0097A9"/>
            </a:solidFill>
          </p:grpSpPr>
          <p:sp>
            <p:nvSpPr>
              <p:cNvPr id="125" name="Graphic 4">
                <a:extLst>
                  <a:ext uri="{FF2B5EF4-FFF2-40B4-BE49-F238E27FC236}">
                    <a16:creationId xmlns:a16="http://schemas.microsoft.com/office/drawing/2014/main" id="{4334E6E3-C9C1-7D6D-8756-5968E2641898}"/>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26" name="Graphic 4">
                <a:extLst>
                  <a:ext uri="{FF2B5EF4-FFF2-40B4-BE49-F238E27FC236}">
                    <a16:creationId xmlns:a16="http://schemas.microsoft.com/office/drawing/2014/main" id="{8CF949D2-449B-BD71-9754-0796FF09E444}"/>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27" name="Graphic 4">
                <a:extLst>
                  <a:ext uri="{FF2B5EF4-FFF2-40B4-BE49-F238E27FC236}">
                    <a16:creationId xmlns:a16="http://schemas.microsoft.com/office/drawing/2014/main" id="{DD75D4EB-3658-3919-76E0-611C364761B7}"/>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124" name="Rectangle: Rounded Corners 123">
              <a:extLst>
                <a:ext uri="{FF2B5EF4-FFF2-40B4-BE49-F238E27FC236}">
                  <a16:creationId xmlns:a16="http://schemas.microsoft.com/office/drawing/2014/main" id="{598E8C31-23C3-E76A-DFF3-43AA9808E449}"/>
                </a:ext>
              </a:extLst>
            </p:cNvPr>
            <p:cNvSpPr>
              <a:spLocks/>
            </p:cNvSpPr>
            <p:nvPr/>
          </p:nvSpPr>
          <p:spPr bwMode="gray">
            <a:xfrm>
              <a:off x="1805684" y="1668421"/>
              <a:ext cx="1985034"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900" dirty="0">
                  <a:solidFill>
                    <a:srgbClr val="FFFFFF"/>
                  </a:solidFill>
                  <a:latin typeface="Open Sans Bold" panose="020B0806030504020204" pitchFamily="34" charset="0"/>
                  <a:ea typeface="Open Sans Bold" panose="020B0806030504020204" pitchFamily="34" charset="0"/>
                  <a:cs typeface="Open Sans Bold" panose="020B0806030504020204" pitchFamily="34" charset="0"/>
                </a:rPr>
                <a:t>CSR Club of Deloitte Hungary</a:t>
              </a:r>
              <a:endPar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grpSp>
      <p:sp>
        <p:nvSpPr>
          <p:cNvPr id="129" name="Rectangle: Rounded Corners 128">
            <a:extLst>
              <a:ext uri="{FF2B5EF4-FFF2-40B4-BE49-F238E27FC236}">
                <a16:creationId xmlns:a16="http://schemas.microsoft.com/office/drawing/2014/main" id="{349E2698-E54E-057E-176D-D908AC2300CC}"/>
              </a:ext>
            </a:extLst>
          </p:cNvPr>
          <p:cNvSpPr>
            <a:spLocks/>
          </p:cNvSpPr>
          <p:nvPr/>
        </p:nvSpPr>
        <p:spPr bwMode="gray">
          <a:xfrm>
            <a:off x="5061664" y="5063957"/>
            <a:ext cx="2589234"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30" name="Rectangle 129">
            <a:extLst>
              <a:ext uri="{FF2B5EF4-FFF2-40B4-BE49-F238E27FC236}">
                <a16:creationId xmlns:a16="http://schemas.microsoft.com/office/drawing/2014/main" id="{4A77A145-249F-9201-F199-8B59849A7EDB}"/>
              </a:ext>
            </a:extLst>
          </p:cNvPr>
          <p:cNvSpPr>
            <a:spLocks/>
          </p:cNvSpPr>
          <p:nvPr/>
        </p:nvSpPr>
        <p:spPr bwMode="gray">
          <a:xfrm>
            <a:off x="5061664" y="5341933"/>
            <a:ext cx="2615486"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131" name="Graphic 4">
            <a:extLst>
              <a:ext uri="{FF2B5EF4-FFF2-40B4-BE49-F238E27FC236}">
                <a16:creationId xmlns:a16="http://schemas.microsoft.com/office/drawing/2014/main" id="{90F6F081-C511-1F7C-F74C-E011FF989591}"/>
              </a:ext>
            </a:extLst>
          </p:cNvPr>
          <p:cNvGrpSpPr>
            <a:grpSpLocks/>
          </p:cNvGrpSpPr>
          <p:nvPr/>
        </p:nvGrpSpPr>
        <p:grpSpPr>
          <a:xfrm>
            <a:off x="7404130" y="5087539"/>
            <a:ext cx="231028" cy="230812"/>
            <a:chOff x="3607758" y="1893013"/>
            <a:chExt cx="362309" cy="361971"/>
          </a:xfrm>
          <a:solidFill>
            <a:srgbClr val="0097A9"/>
          </a:solidFill>
        </p:grpSpPr>
        <p:sp>
          <p:nvSpPr>
            <p:cNvPr id="133" name="Graphic 4">
              <a:extLst>
                <a:ext uri="{FF2B5EF4-FFF2-40B4-BE49-F238E27FC236}">
                  <a16:creationId xmlns:a16="http://schemas.microsoft.com/office/drawing/2014/main" id="{5037F661-6EAF-2269-2940-25B73CC00686}"/>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34" name="Graphic 4">
              <a:extLst>
                <a:ext uri="{FF2B5EF4-FFF2-40B4-BE49-F238E27FC236}">
                  <a16:creationId xmlns:a16="http://schemas.microsoft.com/office/drawing/2014/main" id="{83575F95-F9E3-6B01-8328-5CF59B098E21}"/>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35" name="Graphic 4">
              <a:extLst>
                <a:ext uri="{FF2B5EF4-FFF2-40B4-BE49-F238E27FC236}">
                  <a16:creationId xmlns:a16="http://schemas.microsoft.com/office/drawing/2014/main" id="{C3B29235-8B67-54DE-783D-9DD6863608C7}"/>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132" name="Rectangle: Rounded Corners 131">
            <a:extLst>
              <a:ext uri="{FF2B5EF4-FFF2-40B4-BE49-F238E27FC236}">
                <a16:creationId xmlns:a16="http://schemas.microsoft.com/office/drawing/2014/main" id="{4CDA38F3-37FC-EED7-A37C-92C6A2B2B5FF}"/>
              </a:ext>
            </a:extLst>
          </p:cNvPr>
          <p:cNvSpPr>
            <a:spLocks/>
          </p:cNvSpPr>
          <p:nvPr/>
        </p:nvSpPr>
        <p:spPr bwMode="gray">
          <a:xfrm>
            <a:off x="5148877" y="5063957"/>
            <a:ext cx="2589234"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Risk Advisory x The Order of Malta HU</a:t>
            </a:r>
          </a:p>
        </p:txBody>
      </p:sp>
      <p:sp>
        <p:nvSpPr>
          <p:cNvPr id="137" name="Rectangle: Rounded Corners 136">
            <a:extLst>
              <a:ext uri="{FF2B5EF4-FFF2-40B4-BE49-F238E27FC236}">
                <a16:creationId xmlns:a16="http://schemas.microsoft.com/office/drawing/2014/main" id="{26AC8A62-081D-1B02-8E77-0BC0204EE1CC}"/>
              </a:ext>
            </a:extLst>
          </p:cNvPr>
          <p:cNvSpPr>
            <a:spLocks/>
          </p:cNvSpPr>
          <p:nvPr/>
        </p:nvSpPr>
        <p:spPr bwMode="gray">
          <a:xfrm>
            <a:off x="8399304" y="5063957"/>
            <a:ext cx="2589234"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38" name="Rectangle 137">
            <a:extLst>
              <a:ext uri="{FF2B5EF4-FFF2-40B4-BE49-F238E27FC236}">
                <a16:creationId xmlns:a16="http://schemas.microsoft.com/office/drawing/2014/main" id="{B09DE1B2-69A2-B289-A8E6-E212A44A8070}"/>
              </a:ext>
            </a:extLst>
          </p:cNvPr>
          <p:cNvSpPr>
            <a:spLocks/>
          </p:cNvSpPr>
          <p:nvPr/>
        </p:nvSpPr>
        <p:spPr bwMode="gray">
          <a:xfrm>
            <a:off x="8399304" y="5341933"/>
            <a:ext cx="2589234"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139" name="Graphic 4">
            <a:extLst>
              <a:ext uri="{FF2B5EF4-FFF2-40B4-BE49-F238E27FC236}">
                <a16:creationId xmlns:a16="http://schemas.microsoft.com/office/drawing/2014/main" id="{5A1B4BBD-0C08-1146-582A-F7A65A6F308E}"/>
              </a:ext>
            </a:extLst>
          </p:cNvPr>
          <p:cNvGrpSpPr>
            <a:grpSpLocks/>
          </p:cNvGrpSpPr>
          <p:nvPr/>
        </p:nvGrpSpPr>
        <p:grpSpPr>
          <a:xfrm>
            <a:off x="10709775" y="5087539"/>
            <a:ext cx="231028" cy="230812"/>
            <a:chOff x="3607758" y="1893013"/>
            <a:chExt cx="362309" cy="361971"/>
          </a:xfrm>
          <a:solidFill>
            <a:srgbClr val="0097A9"/>
          </a:solidFill>
        </p:grpSpPr>
        <p:sp>
          <p:nvSpPr>
            <p:cNvPr id="141" name="Graphic 4">
              <a:extLst>
                <a:ext uri="{FF2B5EF4-FFF2-40B4-BE49-F238E27FC236}">
                  <a16:creationId xmlns:a16="http://schemas.microsoft.com/office/drawing/2014/main" id="{4C080F72-97FF-1C45-581E-10E40BDECCAE}"/>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42" name="Graphic 4">
              <a:extLst>
                <a:ext uri="{FF2B5EF4-FFF2-40B4-BE49-F238E27FC236}">
                  <a16:creationId xmlns:a16="http://schemas.microsoft.com/office/drawing/2014/main" id="{D66FDC30-B8A3-351B-17E6-9D9EBFB47658}"/>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43" name="Graphic 4">
              <a:extLst>
                <a:ext uri="{FF2B5EF4-FFF2-40B4-BE49-F238E27FC236}">
                  <a16:creationId xmlns:a16="http://schemas.microsoft.com/office/drawing/2014/main" id="{79C944DF-F7CA-6231-B692-0ADD32BD4584}"/>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140" name="Rectangle: Rounded Corners 139">
            <a:extLst>
              <a:ext uri="{FF2B5EF4-FFF2-40B4-BE49-F238E27FC236}">
                <a16:creationId xmlns:a16="http://schemas.microsoft.com/office/drawing/2014/main" id="{9DB7F7C9-78E8-E808-297E-35FDF1BC5582}"/>
              </a:ext>
            </a:extLst>
          </p:cNvPr>
          <p:cNvSpPr>
            <a:spLocks/>
          </p:cNvSpPr>
          <p:nvPr/>
        </p:nvSpPr>
        <p:spPr bwMode="gray">
          <a:xfrm>
            <a:off x="8467737" y="5063957"/>
            <a:ext cx="1985034"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NOTLUXURYBAG Program</a:t>
            </a:r>
          </a:p>
        </p:txBody>
      </p:sp>
      <p:grpSp>
        <p:nvGrpSpPr>
          <p:cNvPr id="154" name="Group 153">
            <a:extLst>
              <a:ext uri="{FF2B5EF4-FFF2-40B4-BE49-F238E27FC236}">
                <a16:creationId xmlns:a16="http://schemas.microsoft.com/office/drawing/2014/main" id="{CCC41558-465A-3659-0AD4-CC49B9ADFBBC}"/>
              </a:ext>
            </a:extLst>
          </p:cNvPr>
          <p:cNvGrpSpPr/>
          <p:nvPr/>
        </p:nvGrpSpPr>
        <p:grpSpPr>
          <a:xfrm>
            <a:off x="1623278" y="3591104"/>
            <a:ext cx="599626" cy="529198"/>
            <a:chOff x="1623278" y="3591104"/>
            <a:chExt cx="599626" cy="529198"/>
          </a:xfrm>
        </p:grpSpPr>
        <p:sp>
          <p:nvSpPr>
            <p:cNvPr id="153" name="Flowchart: Connector 152">
              <a:extLst>
                <a:ext uri="{FF2B5EF4-FFF2-40B4-BE49-F238E27FC236}">
                  <a16:creationId xmlns:a16="http://schemas.microsoft.com/office/drawing/2014/main" id="{E92A64CC-2BAD-0B8F-EBD2-FEAEB3BC2505}"/>
                </a:ext>
              </a:extLst>
            </p:cNvPr>
            <p:cNvSpPr/>
            <p:nvPr/>
          </p:nvSpPr>
          <p:spPr bwMode="gray">
            <a:xfrm>
              <a:off x="1693706" y="3591104"/>
              <a:ext cx="529198" cy="529198"/>
            </a:xfrm>
            <a:prstGeom prst="flowChartConnector">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Graphic 4">
              <a:extLst>
                <a:ext uri="{FF2B5EF4-FFF2-40B4-BE49-F238E27FC236}">
                  <a16:creationId xmlns:a16="http://schemas.microsoft.com/office/drawing/2014/main" id="{D1348735-F511-3632-F47C-6D86C3DA8DF7}"/>
                </a:ext>
              </a:extLst>
            </p:cNvPr>
            <p:cNvSpPr/>
            <p:nvPr/>
          </p:nvSpPr>
          <p:spPr>
            <a:xfrm>
              <a:off x="1623278" y="3591104"/>
              <a:ext cx="529202" cy="529198"/>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1 w 361670"/>
                <a:gd name="connsiteY3" fmla="*/ 180667 h 361333"/>
                <a:gd name="connsiteX4" fmla="*/ 180836 w 361670"/>
                <a:gd name="connsiteY4" fmla="*/ 0 h 361333"/>
                <a:gd name="connsiteX5" fmla="*/ 138662 w 361670"/>
                <a:gd name="connsiteY5" fmla="*/ 102144 h 361333"/>
                <a:gd name="connsiteX6" fmla="*/ 161027 w 361670"/>
                <a:gd name="connsiteY6" fmla="*/ 92568 h 361333"/>
                <a:gd name="connsiteX7" fmla="*/ 181474 w 361670"/>
                <a:gd name="connsiteY7" fmla="*/ 99590 h 361333"/>
                <a:gd name="connsiteX8" fmla="*/ 201922 w 361670"/>
                <a:gd name="connsiteY8" fmla="*/ 92568 h 361333"/>
                <a:gd name="connsiteX9" fmla="*/ 223648 w 361670"/>
                <a:gd name="connsiteY9" fmla="*/ 102144 h 361333"/>
                <a:gd name="connsiteX10" fmla="*/ 223648 w 361670"/>
                <a:gd name="connsiteY10" fmla="*/ 148108 h 361333"/>
                <a:gd name="connsiteX11" fmla="*/ 193615 w 361670"/>
                <a:gd name="connsiteY11" fmla="*/ 179390 h 361333"/>
                <a:gd name="connsiteX12" fmla="*/ 181474 w 361670"/>
                <a:gd name="connsiteY12" fmla="*/ 186412 h 361333"/>
                <a:gd name="connsiteX13" fmla="*/ 181474 w 361670"/>
                <a:gd name="connsiteY13" fmla="*/ 186412 h 361333"/>
                <a:gd name="connsiteX14" fmla="*/ 169973 w 361670"/>
                <a:gd name="connsiteY14" fmla="*/ 180028 h 361333"/>
                <a:gd name="connsiteX15" fmla="*/ 139301 w 361670"/>
                <a:gd name="connsiteY15" fmla="*/ 147470 h 361333"/>
                <a:gd name="connsiteX16" fmla="*/ 138662 w 361670"/>
                <a:gd name="connsiteY16" fmla="*/ 102144 h 361333"/>
                <a:gd name="connsiteX17" fmla="*/ 294576 w 361670"/>
                <a:gd name="connsiteY17" fmla="*/ 240038 h 361333"/>
                <a:gd name="connsiteX18" fmla="*/ 278602 w 361670"/>
                <a:gd name="connsiteY18" fmla="*/ 261743 h 361333"/>
                <a:gd name="connsiteX19" fmla="*/ 239623 w 361670"/>
                <a:gd name="connsiteY19" fmla="*/ 289833 h 361333"/>
                <a:gd name="connsiteX20" fmla="*/ 230038 w 361670"/>
                <a:gd name="connsiteY20" fmla="*/ 303239 h 361333"/>
                <a:gd name="connsiteX21" fmla="*/ 223648 w 361670"/>
                <a:gd name="connsiteY21" fmla="*/ 308985 h 361333"/>
                <a:gd name="connsiteX22" fmla="*/ 223009 w 361670"/>
                <a:gd name="connsiteY22" fmla="*/ 308985 h 361333"/>
                <a:gd name="connsiteX23" fmla="*/ 217258 w 361670"/>
                <a:gd name="connsiteY23" fmla="*/ 301962 h 361333"/>
                <a:gd name="connsiteX24" fmla="*/ 231955 w 361670"/>
                <a:gd name="connsiteY24" fmla="*/ 278980 h 361333"/>
                <a:gd name="connsiteX25" fmla="*/ 270934 w 361670"/>
                <a:gd name="connsiteY25" fmla="*/ 250891 h 361333"/>
                <a:gd name="connsiteX26" fmla="*/ 282435 w 361670"/>
                <a:gd name="connsiteY26" fmla="*/ 235569 h 361333"/>
                <a:gd name="connsiteX27" fmla="*/ 298410 w 361670"/>
                <a:gd name="connsiteY27" fmla="*/ 191519 h 361333"/>
                <a:gd name="connsiteX28" fmla="*/ 299688 w 361670"/>
                <a:gd name="connsiteY28" fmla="*/ 180667 h 361333"/>
                <a:gd name="connsiteX29" fmla="*/ 295215 w 361670"/>
                <a:gd name="connsiteY29" fmla="*/ 121296 h 361333"/>
                <a:gd name="connsiteX30" fmla="*/ 292659 w 361670"/>
                <a:gd name="connsiteY30" fmla="*/ 121296 h 361333"/>
                <a:gd name="connsiteX31" fmla="*/ 288186 w 361670"/>
                <a:gd name="connsiteY31" fmla="*/ 127041 h 361333"/>
                <a:gd name="connsiteX32" fmla="*/ 282435 w 361670"/>
                <a:gd name="connsiteY32" fmla="*/ 176198 h 361333"/>
                <a:gd name="connsiteX33" fmla="*/ 292020 w 361670"/>
                <a:gd name="connsiteY33" fmla="*/ 181944 h 361333"/>
                <a:gd name="connsiteX34" fmla="*/ 288825 w 361670"/>
                <a:gd name="connsiteY34" fmla="*/ 200457 h 361333"/>
                <a:gd name="connsiteX35" fmla="*/ 270295 w 361670"/>
                <a:gd name="connsiteY35" fmla="*/ 224078 h 361333"/>
                <a:gd name="connsiteX36" fmla="*/ 256876 w 361670"/>
                <a:gd name="connsiteY36" fmla="*/ 234931 h 361333"/>
                <a:gd name="connsiteX37" fmla="*/ 234511 w 361670"/>
                <a:gd name="connsiteY37" fmla="*/ 245783 h 361333"/>
                <a:gd name="connsiteX38" fmla="*/ 226204 w 361670"/>
                <a:gd name="connsiteY38" fmla="*/ 243230 h 361333"/>
                <a:gd name="connsiteX39" fmla="*/ 228760 w 361670"/>
                <a:gd name="connsiteY39" fmla="*/ 234931 h 361333"/>
                <a:gd name="connsiteX40" fmla="*/ 251125 w 361670"/>
                <a:gd name="connsiteY40" fmla="*/ 224078 h 361333"/>
                <a:gd name="connsiteX41" fmla="*/ 260710 w 361670"/>
                <a:gd name="connsiteY41" fmla="*/ 216417 h 361333"/>
                <a:gd name="connsiteX42" fmla="*/ 279880 w 361670"/>
                <a:gd name="connsiteY42" fmla="*/ 192796 h 361333"/>
                <a:gd name="connsiteX43" fmla="*/ 282435 w 361670"/>
                <a:gd name="connsiteY43" fmla="*/ 189604 h 361333"/>
                <a:gd name="connsiteX44" fmla="*/ 269655 w 361670"/>
                <a:gd name="connsiteY44" fmla="*/ 189604 h 361333"/>
                <a:gd name="connsiteX45" fmla="*/ 247291 w 361670"/>
                <a:gd name="connsiteY45" fmla="*/ 206841 h 361333"/>
                <a:gd name="connsiteX46" fmla="*/ 242818 w 361670"/>
                <a:gd name="connsiteY46" fmla="*/ 208756 h 361333"/>
                <a:gd name="connsiteX47" fmla="*/ 235150 w 361670"/>
                <a:gd name="connsiteY47" fmla="*/ 209395 h 361333"/>
                <a:gd name="connsiteX48" fmla="*/ 191059 w 361670"/>
                <a:gd name="connsiteY48" fmla="*/ 247699 h 361333"/>
                <a:gd name="connsiteX49" fmla="*/ 187864 w 361670"/>
                <a:gd name="connsiteY49" fmla="*/ 275150 h 361333"/>
                <a:gd name="connsiteX50" fmla="*/ 181474 w 361670"/>
                <a:gd name="connsiteY50" fmla="*/ 281534 h 361333"/>
                <a:gd name="connsiteX51" fmla="*/ 181474 w 361670"/>
                <a:gd name="connsiteY51" fmla="*/ 281534 h 361333"/>
                <a:gd name="connsiteX52" fmla="*/ 181474 w 361670"/>
                <a:gd name="connsiteY52" fmla="*/ 281534 h 361333"/>
                <a:gd name="connsiteX53" fmla="*/ 175084 w 361670"/>
                <a:gd name="connsiteY53" fmla="*/ 275150 h 361333"/>
                <a:gd name="connsiteX54" fmla="*/ 171889 w 361670"/>
                <a:gd name="connsiteY54" fmla="*/ 247699 h 361333"/>
                <a:gd name="connsiteX55" fmla="*/ 127799 w 361670"/>
                <a:gd name="connsiteY55" fmla="*/ 209395 h 361333"/>
                <a:gd name="connsiteX56" fmla="*/ 120131 w 361670"/>
                <a:gd name="connsiteY56" fmla="*/ 208756 h 361333"/>
                <a:gd name="connsiteX57" fmla="*/ 115658 w 361670"/>
                <a:gd name="connsiteY57" fmla="*/ 206841 h 361333"/>
                <a:gd name="connsiteX58" fmla="*/ 93293 w 361670"/>
                <a:gd name="connsiteY58" fmla="*/ 189604 h 361333"/>
                <a:gd name="connsiteX59" fmla="*/ 79874 w 361670"/>
                <a:gd name="connsiteY59" fmla="*/ 189604 h 361333"/>
                <a:gd name="connsiteX60" fmla="*/ 81792 w 361670"/>
                <a:gd name="connsiteY60" fmla="*/ 192158 h 361333"/>
                <a:gd name="connsiteX61" fmla="*/ 100961 w 361670"/>
                <a:gd name="connsiteY61" fmla="*/ 216417 h 361333"/>
                <a:gd name="connsiteX62" fmla="*/ 110546 w 361670"/>
                <a:gd name="connsiteY62" fmla="*/ 224078 h 361333"/>
                <a:gd name="connsiteX63" fmla="*/ 132911 w 361670"/>
                <a:gd name="connsiteY63" fmla="*/ 234931 h 361333"/>
                <a:gd name="connsiteX64" fmla="*/ 135467 w 361670"/>
                <a:gd name="connsiteY64" fmla="*/ 243230 h 361333"/>
                <a:gd name="connsiteX65" fmla="*/ 127160 w 361670"/>
                <a:gd name="connsiteY65" fmla="*/ 245783 h 361333"/>
                <a:gd name="connsiteX66" fmla="*/ 104795 w 361670"/>
                <a:gd name="connsiteY66" fmla="*/ 234931 h 361333"/>
                <a:gd name="connsiteX67" fmla="*/ 91376 w 361670"/>
                <a:gd name="connsiteY67" fmla="*/ 224078 h 361333"/>
                <a:gd name="connsiteX68" fmla="*/ 72207 w 361670"/>
                <a:gd name="connsiteY68" fmla="*/ 200457 h 361333"/>
                <a:gd name="connsiteX69" fmla="*/ 69650 w 361670"/>
                <a:gd name="connsiteY69" fmla="*/ 181944 h 361333"/>
                <a:gd name="connsiteX70" fmla="*/ 79235 w 361670"/>
                <a:gd name="connsiteY70" fmla="*/ 176198 h 361333"/>
                <a:gd name="connsiteX71" fmla="*/ 73484 w 361670"/>
                <a:gd name="connsiteY71" fmla="*/ 127041 h 361333"/>
                <a:gd name="connsiteX72" fmla="*/ 69012 w 361670"/>
                <a:gd name="connsiteY72" fmla="*/ 121296 h 361333"/>
                <a:gd name="connsiteX73" fmla="*/ 66456 w 361670"/>
                <a:gd name="connsiteY73" fmla="*/ 120657 h 361333"/>
                <a:gd name="connsiteX74" fmla="*/ 61982 w 361670"/>
                <a:gd name="connsiteY74" fmla="*/ 180667 h 361333"/>
                <a:gd name="connsiteX75" fmla="*/ 63261 w 361670"/>
                <a:gd name="connsiteY75" fmla="*/ 191519 h 361333"/>
                <a:gd name="connsiteX76" fmla="*/ 79235 w 361670"/>
                <a:gd name="connsiteY76" fmla="*/ 235569 h 361333"/>
                <a:gd name="connsiteX77" fmla="*/ 90737 w 361670"/>
                <a:gd name="connsiteY77" fmla="*/ 250891 h 361333"/>
                <a:gd name="connsiteX78" fmla="*/ 129716 w 361670"/>
                <a:gd name="connsiteY78" fmla="*/ 278980 h 361333"/>
                <a:gd name="connsiteX79" fmla="*/ 144413 w 361670"/>
                <a:gd name="connsiteY79" fmla="*/ 301962 h 361333"/>
                <a:gd name="connsiteX80" fmla="*/ 138662 w 361670"/>
                <a:gd name="connsiteY80" fmla="*/ 308985 h 361333"/>
                <a:gd name="connsiteX81" fmla="*/ 138023 w 361670"/>
                <a:gd name="connsiteY81" fmla="*/ 308985 h 361333"/>
                <a:gd name="connsiteX82" fmla="*/ 131633 w 361670"/>
                <a:gd name="connsiteY82" fmla="*/ 303239 h 361333"/>
                <a:gd name="connsiteX83" fmla="*/ 122048 w 361670"/>
                <a:gd name="connsiteY83" fmla="*/ 289833 h 361333"/>
                <a:gd name="connsiteX84" fmla="*/ 83069 w 361670"/>
                <a:gd name="connsiteY84" fmla="*/ 261743 h 361333"/>
                <a:gd name="connsiteX85" fmla="*/ 67094 w 361670"/>
                <a:gd name="connsiteY85" fmla="*/ 240038 h 361333"/>
                <a:gd name="connsiteX86" fmla="*/ 51119 w 361670"/>
                <a:gd name="connsiteY86" fmla="*/ 195988 h 361333"/>
                <a:gd name="connsiteX87" fmla="*/ 48564 w 361670"/>
                <a:gd name="connsiteY87" fmla="*/ 180028 h 361333"/>
                <a:gd name="connsiteX88" fmla="*/ 53037 w 361670"/>
                <a:gd name="connsiteY88" fmla="*/ 120657 h 361333"/>
                <a:gd name="connsiteX89" fmla="*/ 65177 w 361670"/>
                <a:gd name="connsiteY89" fmla="*/ 108528 h 361333"/>
                <a:gd name="connsiteX90" fmla="*/ 85625 w 361670"/>
                <a:gd name="connsiteY90" fmla="*/ 124488 h 361333"/>
                <a:gd name="connsiteX91" fmla="*/ 85625 w 361670"/>
                <a:gd name="connsiteY91" fmla="*/ 125126 h 361333"/>
                <a:gd name="connsiteX92" fmla="*/ 91376 w 361670"/>
                <a:gd name="connsiteY92" fmla="*/ 176198 h 361333"/>
                <a:gd name="connsiteX93" fmla="*/ 98405 w 361670"/>
                <a:gd name="connsiteY93" fmla="*/ 178752 h 361333"/>
                <a:gd name="connsiteX94" fmla="*/ 122048 w 361670"/>
                <a:gd name="connsiteY94" fmla="*/ 195988 h 361333"/>
                <a:gd name="connsiteX95" fmla="*/ 128438 w 361670"/>
                <a:gd name="connsiteY95" fmla="*/ 196627 h 361333"/>
                <a:gd name="connsiteX96" fmla="*/ 181474 w 361670"/>
                <a:gd name="connsiteY96" fmla="*/ 237484 h 361333"/>
                <a:gd name="connsiteX97" fmla="*/ 234511 w 361670"/>
                <a:gd name="connsiteY97" fmla="*/ 196627 h 361333"/>
                <a:gd name="connsiteX98" fmla="*/ 240901 w 361670"/>
                <a:gd name="connsiteY98" fmla="*/ 195988 h 361333"/>
                <a:gd name="connsiteX99" fmla="*/ 264544 w 361670"/>
                <a:gd name="connsiteY99" fmla="*/ 178113 h 361333"/>
                <a:gd name="connsiteX100" fmla="*/ 270934 w 361670"/>
                <a:gd name="connsiteY100" fmla="*/ 176198 h 361333"/>
                <a:gd name="connsiteX101" fmla="*/ 276685 w 361670"/>
                <a:gd name="connsiteY101" fmla="*/ 125126 h 361333"/>
                <a:gd name="connsiteX102" fmla="*/ 276685 w 361670"/>
                <a:gd name="connsiteY102" fmla="*/ 124488 h 361333"/>
                <a:gd name="connsiteX103" fmla="*/ 297132 w 361670"/>
                <a:gd name="connsiteY103" fmla="*/ 108528 h 361333"/>
                <a:gd name="connsiteX104" fmla="*/ 309273 w 361670"/>
                <a:gd name="connsiteY104" fmla="*/ 120657 h 361333"/>
                <a:gd name="connsiteX105" fmla="*/ 313746 w 361670"/>
                <a:gd name="connsiteY105" fmla="*/ 180028 h 361333"/>
                <a:gd name="connsiteX106" fmla="*/ 311190 w 361670"/>
                <a:gd name="connsiteY106" fmla="*/ 195988 h 361333"/>
                <a:gd name="connsiteX107" fmla="*/ 294576 w 361670"/>
                <a:gd name="connsiteY107" fmla="*/ 240038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1" y="280257"/>
                    <a:pt x="361671" y="180667"/>
                  </a:cubicBezTo>
                  <a:cubicBezTo>
                    <a:pt x="361671" y="81077"/>
                    <a:pt x="280518" y="0"/>
                    <a:pt x="180836" y="0"/>
                  </a:cubicBezTo>
                  <a:close/>
                  <a:moveTo>
                    <a:pt x="138662" y="102144"/>
                  </a:moveTo>
                  <a:cubicBezTo>
                    <a:pt x="144413" y="95760"/>
                    <a:pt x="152720" y="92568"/>
                    <a:pt x="161027" y="92568"/>
                  </a:cubicBezTo>
                  <a:cubicBezTo>
                    <a:pt x="168056" y="92568"/>
                    <a:pt x="175084" y="94483"/>
                    <a:pt x="181474" y="99590"/>
                  </a:cubicBezTo>
                  <a:cubicBezTo>
                    <a:pt x="187225" y="94483"/>
                    <a:pt x="194893" y="92568"/>
                    <a:pt x="201922" y="92568"/>
                  </a:cubicBezTo>
                  <a:cubicBezTo>
                    <a:pt x="210229" y="92568"/>
                    <a:pt x="217897" y="96398"/>
                    <a:pt x="223648" y="102144"/>
                  </a:cubicBezTo>
                  <a:cubicBezTo>
                    <a:pt x="235789" y="114912"/>
                    <a:pt x="235789" y="135340"/>
                    <a:pt x="223648" y="148108"/>
                  </a:cubicBezTo>
                  <a:lnTo>
                    <a:pt x="193615" y="179390"/>
                  </a:lnTo>
                  <a:cubicBezTo>
                    <a:pt x="191059" y="182582"/>
                    <a:pt x="187225" y="186412"/>
                    <a:pt x="181474" y="186412"/>
                  </a:cubicBezTo>
                  <a:cubicBezTo>
                    <a:pt x="181474" y="186412"/>
                    <a:pt x="181474" y="186412"/>
                    <a:pt x="181474" y="186412"/>
                  </a:cubicBezTo>
                  <a:cubicBezTo>
                    <a:pt x="175723" y="186412"/>
                    <a:pt x="171889" y="182582"/>
                    <a:pt x="169973" y="180028"/>
                  </a:cubicBezTo>
                  <a:lnTo>
                    <a:pt x="139301" y="147470"/>
                  </a:lnTo>
                  <a:cubicBezTo>
                    <a:pt x="126521" y="135340"/>
                    <a:pt x="126521" y="114912"/>
                    <a:pt x="138662" y="102144"/>
                  </a:cubicBezTo>
                  <a:close/>
                  <a:moveTo>
                    <a:pt x="294576" y="240038"/>
                  </a:moveTo>
                  <a:cubicBezTo>
                    <a:pt x="291381" y="248975"/>
                    <a:pt x="285630" y="255998"/>
                    <a:pt x="278602" y="261743"/>
                  </a:cubicBezTo>
                  <a:lnTo>
                    <a:pt x="239623" y="289833"/>
                  </a:lnTo>
                  <a:cubicBezTo>
                    <a:pt x="233872" y="294302"/>
                    <a:pt x="230677" y="298770"/>
                    <a:pt x="230038" y="303239"/>
                  </a:cubicBezTo>
                  <a:cubicBezTo>
                    <a:pt x="230038" y="306431"/>
                    <a:pt x="226843" y="308985"/>
                    <a:pt x="223648" y="308985"/>
                  </a:cubicBezTo>
                  <a:cubicBezTo>
                    <a:pt x="223648" y="308985"/>
                    <a:pt x="223009" y="308985"/>
                    <a:pt x="223009" y="308985"/>
                  </a:cubicBezTo>
                  <a:cubicBezTo>
                    <a:pt x="219814" y="308346"/>
                    <a:pt x="216619" y="305793"/>
                    <a:pt x="217258" y="301962"/>
                  </a:cubicBezTo>
                  <a:cubicBezTo>
                    <a:pt x="217897" y="293025"/>
                    <a:pt x="223009" y="285364"/>
                    <a:pt x="231955" y="278980"/>
                  </a:cubicBezTo>
                  <a:lnTo>
                    <a:pt x="270934" y="250891"/>
                  </a:lnTo>
                  <a:cubicBezTo>
                    <a:pt x="276045" y="247060"/>
                    <a:pt x="280518" y="241315"/>
                    <a:pt x="282435" y="235569"/>
                  </a:cubicBezTo>
                  <a:lnTo>
                    <a:pt x="298410" y="191519"/>
                  </a:lnTo>
                  <a:cubicBezTo>
                    <a:pt x="299688" y="187689"/>
                    <a:pt x="300327" y="184497"/>
                    <a:pt x="299688" y="180667"/>
                  </a:cubicBezTo>
                  <a:lnTo>
                    <a:pt x="295215" y="121296"/>
                  </a:lnTo>
                  <a:cubicBezTo>
                    <a:pt x="295215" y="120657"/>
                    <a:pt x="293937" y="120657"/>
                    <a:pt x="292659" y="121296"/>
                  </a:cubicBezTo>
                  <a:cubicBezTo>
                    <a:pt x="291381" y="121934"/>
                    <a:pt x="289464" y="123211"/>
                    <a:pt x="288186" y="127041"/>
                  </a:cubicBezTo>
                  <a:lnTo>
                    <a:pt x="282435" y="176198"/>
                  </a:lnTo>
                  <a:cubicBezTo>
                    <a:pt x="286270" y="177475"/>
                    <a:pt x="290103" y="179390"/>
                    <a:pt x="292020" y="181944"/>
                  </a:cubicBezTo>
                  <a:cubicBezTo>
                    <a:pt x="293298" y="183859"/>
                    <a:pt x="297771" y="191519"/>
                    <a:pt x="288825" y="200457"/>
                  </a:cubicBezTo>
                  <a:lnTo>
                    <a:pt x="270295" y="224078"/>
                  </a:lnTo>
                  <a:cubicBezTo>
                    <a:pt x="266460" y="228547"/>
                    <a:pt x="261987" y="232377"/>
                    <a:pt x="256876" y="234931"/>
                  </a:cubicBezTo>
                  <a:lnTo>
                    <a:pt x="234511" y="245783"/>
                  </a:lnTo>
                  <a:cubicBezTo>
                    <a:pt x="231316" y="247699"/>
                    <a:pt x="227482" y="245783"/>
                    <a:pt x="226204" y="243230"/>
                  </a:cubicBezTo>
                  <a:cubicBezTo>
                    <a:pt x="224926" y="240038"/>
                    <a:pt x="226204" y="236207"/>
                    <a:pt x="228760" y="234931"/>
                  </a:cubicBezTo>
                  <a:lnTo>
                    <a:pt x="251125" y="224078"/>
                  </a:lnTo>
                  <a:cubicBezTo>
                    <a:pt x="254959" y="222163"/>
                    <a:pt x="258154" y="219609"/>
                    <a:pt x="260710" y="216417"/>
                  </a:cubicBezTo>
                  <a:lnTo>
                    <a:pt x="279880" y="192796"/>
                  </a:lnTo>
                  <a:cubicBezTo>
                    <a:pt x="281796" y="190881"/>
                    <a:pt x="282435" y="189604"/>
                    <a:pt x="282435" y="189604"/>
                  </a:cubicBezTo>
                  <a:cubicBezTo>
                    <a:pt x="281796" y="188966"/>
                    <a:pt x="274767" y="187051"/>
                    <a:pt x="269655" y="189604"/>
                  </a:cubicBezTo>
                  <a:cubicBezTo>
                    <a:pt x="262627" y="192796"/>
                    <a:pt x="254959" y="199819"/>
                    <a:pt x="247291" y="206841"/>
                  </a:cubicBezTo>
                  <a:cubicBezTo>
                    <a:pt x="246013" y="208118"/>
                    <a:pt x="244735" y="208756"/>
                    <a:pt x="242818" y="208756"/>
                  </a:cubicBezTo>
                  <a:cubicBezTo>
                    <a:pt x="242818" y="208756"/>
                    <a:pt x="239623" y="208756"/>
                    <a:pt x="235150" y="209395"/>
                  </a:cubicBezTo>
                  <a:cubicBezTo>
                    <a:pt x="214063" y="211310"/>
                    <a:pt x="196171" y="226631"/>
                    <a:pt x="191059" y="247699"/>
                  </a:cubicBezTo>
                  <a:cubicBezTo>
                    <a:pt x="188503" y="257275"/>
                    <a:pt x="187864" y="263659"/>
                    <a:pt x="187864" y="275150"/>
                  </a:cubicBezTo>
                  <a:cubicBezTo>
                    <a:pt x="187864" y="278980"/>
                    <a:pt x="185308" y="281534"/>
                    <a:pt x="181474" y="281534"/>
                  </a:cubicBezTo>
                  <a:cubicBezTo>
                    <a:pt x="181474" y="281534"/>
                    <a:pt x="181474" y="281534"/>
                    <a:pt x="181474" y="281534"/>
                  </a:cubicBezTo>
                  <a:cubicBezTo>
                    <a:pt x="181474" y="281534"/>
                    <a:pt x="181474" y="281534"/>
                    <a:pt x="181474" y="281534"/>
                  </a:cubicBezTo>
                  <a:cubicBezTo>
                    <a:pt x="177641" y="281534"/>
                    <a:pt x="175084" y="278980"/>
                    <a:pt x="175084" y="275150"/>
                  </a:cubicBezTo>
                  <a:cubicBezTo>
                    <a:pt x="175084" y="263020"/>
                    <a:pt x="174446" y="257275"/>
                    <a:pt x="171889" y="247699"/>
                  </a:cubicBezTo>
                  <a:cubicBezTo>
                    <a:pt x="166138" y="227270"/>
                    <a:pt x="148247" y="211948"/>
                    <a:pt x="127799" y="209395"/>
                  </a:cubicBezTo>
                  <a:cubicBezTo>
                    <a:pt x="123326" y="208756"/>
                    <a:pt x="120131" y="208756"/>
                    <a:pt x="120131" y="208756"/>
                  </a:cubicBezTo>
                  <a:cubicBezTo>
                    <a:pt x="118214" y="208756"/>
                    <a:pt x="116936" y="208118"/>
                    <a:pt x="115658" y="206841"/>
                  </a:cubicBezTo>
                  <a:cubicBezTo>
                    <a:pt x="107990" y="199819"/>
                    <a:pt x="100322" y="192796"/>
                    <a:pt x="93293" y="189604"/>
                  </a:cubicBezTo>
                  <a:cubicBezTo>
                    <a:pt x="87542" y="187051"/>
                    <a:pt x="81152" y="188327"/>
                    <a:pt x="79874" y="189604"/>
                  </a:cubicBezTo>
                  <a:cubicBezTo>
                    <a:pt x="79874" y="189604"/>
                    <a:pt x="80513" y="190243"/>
                    <a:pt x="81792" y="192158"/>
                  </a:cubicBezTo>
                  <a:lnTo>
                    <a:pt x="100961" y="216417"/>
                  </a:lnTo>
                  <a:cubicBezTo>
                    <a:pt x="103517" y="219609"/>
                    <a:pt x="106712" y="222163"/>
                    <a:pt x="110546" y="224078"/>
                  </a:cubicBezTo>
                  <a:lnTo>
                    <a:pt x="132911" y="234931"/>
                  </a:lnTo>
                  <a:cubicBezTo>
                    <a:pt x="136106" y="236207"/>
                    <a:pt x="137384" y="240038"/>
                    <a:pt x="135467" y="243230"/>
                  </a:cubicBezTo>
                  <a:cubicBezTo>
                    <a:pt x="134189" y="246422"/>
                    <a:pt x="130355" y="247699"/>
                    <a:pt x="127160" y="245783"/>
                  </a:cubicBezTo>
                  <a:lnTo>
                    <a:pt x="104795" y="234931"/>
                  </a:lnTo>
                  <a:cubicBezTo>
                    <a:pt x="99683" y="232377"/>
                    <a:pt x="94571" y="228547"/>
                    <a:pt x="91376" y="224078"/>
                  </a:cubicBezTo>
                  <a:lnTo>
                    <a:pt x="72207" y="200457"/>
                  </a:lnTo>
                  <a:cubicBezTo>
                    <a:pt x="63899" y="191519"/>
                    <a:pt x="67734" y="184497"/>
                    <a:pt x="69650" y="181944"/>
                  </a:cubicBezTo>
                  <a:cubicBezTo>
                    <a:pt x="71567" y="179390"/>
                    <a:pt x="75402" y="176836"/>
                    <a:pt x="79235" y="176198"/>
                  </a:cubicBezTo>
                  <a:lnTo>
                    <a:pt x="73484" y="127041"/>
                  </a:lnTo>
                  <a:cubicBezTo>
                    <a:pt x="72207" y="123211"/>
                    <a:pt x="70289" y="121934"/>
                    <a:pt x="69012" y="121296"/>
                  </a:cubicBezTo>
                  <a:cubicBezTo>
                    <a:pt x="67734" y="120657"/>
                    <a:pt x="67094" y="120657"/>
                    <a:pt x="66456" y="120657"/>
                  </a:cubicBezTo>
                  <a:lnTo>
                    <a:pt x="61982" y="180667"/>
                  </a:lnTo>
                  <a:cubicBezTo>
                    <a:pt x="61982" y="184497"/>
                    <a:pt x="61982" y="188327"/>
                    <a:pt x="63261" y="191519"/>
                  </a:cubicBezTo>
                  <a:lnTo>
                    <a:pt x="79235" y="235569"/>
                  </a:lnTo>
                  <a:cubicBezTo>
                    <a:pt x="81792" y="241953"/>
                    <a:pt x="85625" y="247060"/>
                    <a:pt x="90737" y="250891"/>
                  </a:cubicBezTo>
                  <a:lnTo>
                    <a:pt x="129716" y="278980"/>
                  </a:lnTo>
                  <a:cubicBezTo>
                    <a:pt x="138662" y="285364"/>
                    <a:pt x="143135" y="293025"/>
                    <a:pt x="144413" y="301962"/>
                  </a:cubicBezTo>
                  <a:cubicBezTo>
                    <a:pt x="145052" y="305154"/>
                    <a:pt x="141857" y="308346"/>
                    <a:pt x="138662" y="308985"/>
                  </a:cubicBezTo>
                  <a:cubicBezTo>
                    <a:pt x="138662" y="308985"/>
                    <a:pt x="138023" y="308985"/>
                    <a:pt x="138023" y="308985"/>
                  </a:cubicBezTo>
                  <a:cubicBezTo>
                    <a:pt x="134828" y="308985"/>
                    <a:pt x="132272" y="306431"/>
                    <a:pt x="131633" y="303239"/>
                  </a:cubicBezTo>
                  <a:cubicBezTo>
                    <a:pt x="130994" y="298132"/>
                    <a:pt x="127799" y="293663"/>
                    <a:pt x="122048" y="289833"/>
                  </a:cubicBezTo>
                  <a:lnTo>
                    <a:pt x="83069" y="261743"/>
                  </a:lnTo>
                  <a:cubicBezTo>
                    <a:pt x="75402" y="256636"/>
                    <a:pt x="70289" y="248975"/>
                    <a:pt x="67094" y="240038"/>
                  </a:cubicBezTo>
                  <a:lnTo>
                    <a:pt x="51119" y="195988"/>
                  </a:lnTo>
                  <a:cubicBezTo>
                    <a:pt x="49203" y="190881"/>
                    <a:pt x="48564" y="185135"/>
                    <a:pt x="48564" y="180028"/>
                  </a:cubicBezTo>
                  <a:lnTo>
                    <a:pt x="53037" y="120657"/>
                  </a:lnTo>
                  <a:cubicBezTo>
                    <a:pt x="53676" y="113635"/>
                    <a:pt x="58149" y="109166"/>
                    <a:pt x="65177" y="108528"/>
                  </a:cubicBezTo>
                  <a:cubicBezTo>
                    <a:pt x="72845" y="107889"/>
                    <a:pt x="82430" y="113635"/>
                    <a:pt x="85625" y="124488"/>
                  </a:cubicBezTo>
                  <a:cubicBezTo>
                    <a:pt x="85625" y="124488"/>
                    <a:pt x="85625" y="125126"/>
                    <a:pt x="85625" y="125126"/>
                  </a:cubicBezTo>
                  <a:lnTo>
                    <a:pt x="91376" y="176198"/>
                  </a:lnTo>
                  <a:cubicBezTo>
                    <a:pt x="93932" y="176836"/>
                    <a:pt x="95849" y="177475"/>
                    <a:pt x="98405" y="178752"/>
                  </a:cubicBezTo>
                  <a:cubicBezTo>
                    <a:pt x="106712" y="182582"/>
                    <a:pt x="114380" y="188966"/>
                    <a:pt x="122048" y="195988"/>
                  </a:cubicBezTo>
                  <a:cubicBezTo>
                    <a:pt x="123326" y="195988"/>
                    <a:pt x="125882" y="195988"/>
                    <a:pt x="128438" y="196627"/>
                  </a:cubicBezTo>
                  <a:cubicBezTo>
                    <a:pt x="152081" y="199180"/>
                    <a:pt x="172528" y="215140"/>
                    <a:pt x="181474" y="237484"/>
                  </a:cubicBezTo>
                  <a:cubicBezTo>
                    <a:pt x="190420" y="215140"/>
                    <a:pt x="210868" y="199180"/>
                    <a:pt x="234511" y="196627"/>
                  </a:cubicBezTo>
                  <a:cubicBezTo>
                    <a:pt x="237067" y="196627"/>
                    <a:pt x="239623" y="195988"/>
                    <a:pt x="240901" y="195988"/>
                  </a:cubicBezTo>
                  <a:cubicBezTo>
                    <a:pt x="248569" y="188966"/>
                    <a:pt x="256237" y="181944"/>
                    <a:pt x="264544" y="178113"/>
                  </a:cubicBezTo>
                  <a:cubicBezTo>
                    <a:pt x="266460" y="176836"/>
                    <a:pt x="269017" y="176198"/>
                    <a:pt x="270934" y="176198"/>
                  </a:cubicBezTo>
                  <a:lnTo>
                    <a:pt x="276685" y="125126"/>
                  </a:lnTo>
                  <a:cubicBezTo>
                    <a:pt x="276685" y="125126"/>
                    <a:pt x="276685" y="124488"/>
                    <a:pt x="276685" y="124488"/>
                  </a:cubicBezTo>
                  <a:cubicBezTo>
                    <a:pt x="279880" y="112996"/>
                    <a:pt x="289464" y="107889"/>
                    <a:pt x="297132" y="108528"/>
                  </a:cubicBezTo>
                  <a:cubicBezTo>
                    <a:pt x="303522" y="109166"/>
                    <a:pt x="307995" y="113635"/>
                    <a:pt x="309273" y="120657"/>
                  </a:cubicBezTo>
                  <a:lnTo>
                    <a:pt x="313746" y="180028"/>
                  </a:lnTo>
                  <a:cubicBezTo>
                    <a:pt x="314385" y="185774"/>
                    <a:pt x="313107" y="190881"/>
                    <a:pt x="311190" y="195988"/>
                  </a:cubicBezTo>
                  <a:lnTo>
                    <a:pt x="294576" y="240038"/>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dirty="0">
                <a:ln>
                  <a:noFill/>
                </a:ln>
                <a:solidFill>
                  <a:prstClr val="black"/>
                </a:solidFill>
                <a:effectLst/>
                <a:uLnTx/>
                <a:uFillTx/>
                <a:latin typeface="Open Sans"/>
                <a:ea typeface="+mn-ea"/>
                <a:cs typeface="+mn-cs"/>
              </a:endParaRPr>
            </a:p>
          </p:txBody>
        </p:sp>
      </p:grpSp>
      <p:sp>
        <p:nvSpPr>
          <p:cNvPr id="155" name="Text Placeholder 5">
            <a:extLst>
              <a:ext uri="{FF2B5EF4-FFF2-40B4-BE49-F238E27FC236}">
                <a16:creationId xmlns:a16="http://schemas.microsoft.com/office/drawing/2014/main" id="{12CCAEE0-E8C7-11F6-157E-90B6F1C993D0}"/>
              </a:ext>
            </a:extLst>
          </p:cNvPr>
          <p:cNvSpPr txBox="1">
            <a:spLocks/>
          </p:cNvSpPr>
          <p:nvPr/>
        </p:nvSpPr>
        <p:spPr>
          <a:xfrm>
            <a:off x="372661" y="3442481"/>
            <a:ext cx="1443607"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b="1" spc="300" dirty="0">
                <a:latin typeface="Open Sans" panose="020B0606030504020204" pitchFamily="34" charset="0"/>
                <a:ea typeface="Open Sans" panose="020B0606030504020204" pitchFamily="34" charset="0"/>
                <a:cs typeface="Open Sans" panose="020B0606030504020204" pitchFamily="34" charset="0"/>
              </a:rPr>
              <a:t>A GLIMPSE OF OUR </a:t>
            </a:r>
          </a:p>
          <a:p>
            <a:r>
              <a:rPr lang="en-US" sz="1400" b="1" spc="300" dirty="0">
                <a:solidFill>
                  <a:srgbClr val="00B0F2"/>
                </a:solidFill>
                <a:latin typeface="Open Sans" panose="020B0606030504020204" pitchFamily="34" charset="0"/>
                <a:ea typeface="Open Sans" panose="020B0606030504020204" pitchFamily="34" charset="0"/>
                <a:cs typeface="Open Sans" panose="020B0606030504020204" pitchFamily="34" charset="0"/>
              </a:rPr>
              <a:t>CSR </a:t>
            </a:r>
            <a:r>
              <a:rPr lang="en-US" b="1" spc="300" dirty="0">
                <a:solidFill>
                  <a:srgbClr val="00B0F2"/>
                </a:solidFill>
                <a:latin typeface="Open Sans" panose="020B0606030504020204" pitchFamily="34" charset="0"/>
                <a:ea typeface="Open Sans" panose="020B0606030504020204" pitchFamily="34" charset="0"/>
                <a:cs typeface="Open Sans" panose="020B0606030504020204" pitchFamily="34" charset="0"/>
              </a:rPr>
              <a:t>INITIATIVES</a:t>
            </a:r>
          </a:p>
        </p:txBody>
      </p:sp>
      <p:sp>
        <p:nvSpPr>
          <p:cNvPr id="156" name="Rectangle: Rounded Corners 155">
            <a:extLst>
              <a:ext uri="{FF2B5EF4-FFF2-40B4-BE49-F238E27FC236}">
                <a16:creationId xmlns:a16="http://schemas.microsoft.com/office/drawing/2014/main" id="{E5D07787-B1BF-5BFB-04BD-EB8653120D79}"/>
              </a:ext>
            </a:extLst>
          </p:cNvPr>
          <p:cNvSpPr/>
          <p:nvPr/>
        </p:nvSpPr>
        <p:spPr bwMode="gray">
          <a:xfrm>
            <a:off x="1038225" y="1293172"/>
            <a:ext cx="10702669" cy="1469595"/>
          </a:xfrm>
          <a:prstGeom prst="roundRect">
            <a:avLst>
              <a:gd name="adj" fmla="val 4299"/>
            </a:avLst>
          </a:prstGeom>
          <a:no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7" name="Text Placeholder 5">
            <a:extLst>
              <a:ext uri="{FF2B5EF4-FFF2-40B4-BE49-F238E27FC236}">
                <a16:creationId xmlns:a16="http://schemas.microsoft.com/office/drawing/2014/main" id="{B67B4D72-421B-5C7C-FEFD-58DC362C0F8B}"/>
              </a:ext>
            </a:extLst>
          </p:cNvPr>
          <p:cNvSpPr txBox="1">
            <a:spLocks/>
          </p:cNvSpPr>
          <p:nvPr/>
        </p:nvSpPr>
        <p:spPr>
          <a:xfrm>
            <a:off x="8242330" y="1039504"/>
            <a:ext cx="3589530"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b="1" spc="300" dirty="0">
                <a:latin typeface="Open Sans" panose="020B0606030504020204" pitchFamily="34" charset="0"/>
                <a:ea typeface="Open Sans" panose="020B0606030504020204" pitchFamily="34" charset="0"/>
                <a:cs typeface="Open Sans" panose="020B0606030504020204" pitchFamily="34" charset="0"/>
              </a:rPr>
              <a:t>DELOITTE WORLDCLASS INITIATIVE</a:t>
            </a:r>
            <a:endParaRPr lang="en-US" b="1" spc="300" dirty="0">
              <a:solidFill>
                <a:srgbClr val="00B0F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 name="Rectangle: Rounded Corners 157">
            <a:extLst>
              <a:ext uri="{FF2B5EF4-FFF2-40B4-BE49-F238E27FC236}">
                <a16:creationId xmlns:a16="http://schemas.microsoft.com/office/drawing/2014/main" id="{B418FD04-7378-18BE-07C9-F79FC6CA2500}"/>
              </a:ext>
            </a:extLst>
          </p:cNvPr>
          <p:cNvSpPr/>
          <p:nvPr/>
        </p:nvSpPr>
        <p:spPr bwMode="gray">
          <a:xfrm>
            <a:off x="2447926" y="3211136"/>
            <a:ext cx="9292970" cy="1397817"/>
          </a:xfrm>
          <a:prstGeom prst="roundRect">
            <a:avLst>
              <a:gd name="adj" fmla="val 4299"/>
            </a:avLst>
          </a:prstGeom>
          <a:no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9" name="Text Placeholder 5">
            <a:extLst>
              <a:ext uri="{FF2B5EF4-FFF2-40B4-BE49-F238E27FC236}">
                <a16:creationId xmlns:a16="http://schemas.microsoft.com/office/drawing/2014/main" id="{CEF3F987-DA73-AA23-D22E-2B8BFBEAA233}"/>
              </a:ext>
            </a:extLst>
          </p:cNvPr>
          <p:cNvSpPr txBox="1">
            <a:spLocks/>
          </p:cNvSpPr>
          <p:nvPr/>
        </p:nvSpPr>
        <p:spPr>
          <a:xfrm>
            <a:off x="8839200" y="2968171"/>
            <a:ext cx="3048000"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b="1" spc="300" dirty="0">
                <a:latin typeface="Open Sans" panose="020B0606030504020204" pitchFamily="34" charset="0"/>
                <a:ea typeface="Open Sans" panose="020B0606030504020204" pitchFamily="34" charset="0"/>
                <a:cs typeface="Open Sans" panose="020B0606030504020204" pitchFamily="34" charset="0"/>
              </a:rPr>
              <a:t>VOLUNTEERING &amp; DONATIONS</a:t>
            </a:r>
            <a:endParaRPr lang="en-US" b="1" spc="300" dirty="0">
              <a:solidFill>
                <a:srgbClr val="00B0F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0" name="Rectangle: Rounded Corners 159">
            <a:extLst>
              <a:ext uri="{FF2B5EF4-FFF2-40B4-BE49-F238E27FC236}">
                <a16:creationId xmlns:a16="http://schemas.microsoft.com/office/drawing/2014/main" id="{93CA6EAB-167D-7DE4-A1F9-B42AFDC3E3A2}"/>
              </a:ext>
            </a:extLst>
          </p:cNvPr>
          <p:cNvSpPr/>
          <p:nvPr/>
        </p:nvSpPr>
        <p:spPr bwMode="gray">
          <a:xfrm>
            <a:off x="1543050" y="4975784"/>
            <a:ext cx="9554037" cy="1397817"/>
          </a:xfrm>
          <a:prstGeom prst="roundRect">
            <a:avLst>
              <a:gd name="adj" fmla="val 4299"/>
            </a:avLst>
          </a:prstGeom>
          <a:no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1" name="Text Placeholder 5">
            <a:extLst>
              <a:ext uri="{FF2B5EF4-FFF2-40B4-BE49-F238E27FC236}">
                <a16:creationId xmlns:a16="http://schemas.microsoft.com/office/drawing/2014/main" id="{2D8A51EA-30CD-821E-E83A-19C7FBE7764D}"/>
              </a:ext>
            </a:extLst>
          </p:cNvPr>
          <p:cNvSpPr txBox="1">
            <a:spLocks/>
          </p:cNvSpPr>
          <p:nvPr/>
        </p:nvSpPr>
        <p:spPr>
          <a:xfrm>
            <a:off x="8729565" y="4755524"/>
            <a:ext cx="2430619"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b="1" spc="300" dirty="0">
                <a:latin typeface="Open Sans" panose="020B0606030504020204" pitchFamily="34" charset="0"/>
                <a:ea typeface="Open Sans" panose="020B0606030504020204" pitchFamily="34" charset="0"/>
                <a:cs typeface="Open Sans" panose="020B0606030504020204" pitchFamily="34" charset="0"/>
              </a:rPr>
              <a:t>COMMUNITY BUILDING</a:t>
            </a:r>
            <a:endParaRPr lang="en-US" b="1" spc="300" dirty="0">
              <a:solidFill>
                <a:srgbClr val="00B0F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2" name="Text Placeholder 5">
            <a:extLst>
              <a:ext uri="{FF2B5EF4-FFF2-40B4-BE49-F238E27FC236}">
                <a16:creationId xmlns:a16="http://schemas.microsoft.com/office/drawing/2014/main" id="{45AD89D8-4A87-D85B-D180-B1DA5BE0906D}"/>
              </a:ext>
            </a:extLst>
          </p:cNvPr>
          <p:cNvSpPr txBox="1">
            <a:spLocks/>
          </p:cNvSpPr>
          <p:nvPr/>
        </p:nvSpPr>
        <p:spPr>
          <a:xfrm>
            <a:off x="2689669" y="2428055"/>
            <a:ext cx="917040"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700" b="1" spc="3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EEPDIVE</a:t>
            </a:r>
          </a:p>
        </p:txBody>
      </p:sp>
      <p:sp>
        <p:nvSpPr>
          <p:cNvPr id="163" name="Text Placeholder 5">
            <a:extLst>
              <a:ext uri="{FF2B5EF4-FFF2-40B4-BE49-F238E27FC236}">
                <a16:creationId xmlns:a16="http://schemas.microsoft.com/office/drawing/2014/main" id="{84C4A7C3-635A-9A97-DEE8-4C5EACF82667}"/>
              </a:ext>
            </a:extLst>
          </p:cNvPr>
          <p:cNvSpPr txBox="1">
            <a:spLocks/>
          </p:cNvSpPr>
          <p:nvPr/>
        </p:nvSpPr>
        <p:spPr>
          <a:xfrm>
            <a:off x="5400216" y="2428055"/>
            <a:ext cx="917040"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700" b="1" spc="3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EEPDIVE</a:t>
            </a:r>
          </a:p>
        </p:txBody>
      </p:sp>
      <p:grpSp>
        <p:nvGrpSpPr>
          <p:cNvPr id="88" name="Group 87">
            <a:extLst>
              <a:ext uri="{FF2B5EF4-FFF2-40B4-BE49-F238E27FC236}">
                <a16:creationId xmlns:a16="http://schemas.microsoft.com/office/drawing/2014/main" id="{4681569C-4C40-DB6A-0220-C33D888DA99D}"/>
              </a:ext>
            </a:extLst>
          </p:cNvPr>
          <p:cNvGrpSpPr/>
          <p:nvPr/>
        </p:nvGrpSpPr>
        <p:grpSpPr>
          <a:xfrm>
            <a:off x="5878386" y="3303504"/>
            <a:ext cx="2430619" cy="1208128"/>
            <a:chOff x="1693706" y="1668421"/>
            <a:chExt cx="2430619" cy="1208128"/>
          </a:xfrm>
        </p:grpSpPr>
        <p:sp>
          <p:nvSpPr>
            <p:cNvPr id="89" name="Rectangle: Rounded Corners 88">
              <a:extLst>
                <a:ext uri="{FF2B5EF4-FFF2-40B4-BE49-F238E27FC236}">
                  <a16:creationId xmlns:a16="http://schemas.microsoft.com/office/drawing/2014/main" id="{894DD8F1-6846-3331-310D-8D32A5DDA053}"/>
                </a:ext>
              </a:extLst>
            </p:cNvPr>
            <p:cNvSpPr>
              <a:spLocks/>
            </p:cNvSpPr>
            <p:nvPr/>
          </p:nvSpPr>
          <p:spPr bwMode="gray">
            <a:xfrm>
              <a:off x="1693706" y="1668421"/>
              <a:ext cx="2430619"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90" name="Rectangle 89">
              <a:extLst>
                <a:ext uri="{FF2B5EF4-FFF2-40B4-BE49-F238E27FC236}">
                  <a16:creationId xmlns:a16="http://schemas.microsoft.com/office/drawing/2014/main" id="{C7591C9B-B0A5-506E-E06C-670190B57E87}"/>
                </a:ext>
              </a:extLst>
            </p:cNvPr>
            <p:cNvSpPr>
              <a:spLocks/>
            </p:cNvSpPr>
            <p:nvPr/>
          </p:nvSpPr>
          <p:spPr bwMode="gray">
            <a:xfrm>
              <a:off x="1693706" y="1946397"/>
              <a:ext cx="2430619"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91" name="Graphic 4">
              <a:extLst>
                <a:ext uri="{FF2B5EF4-FFF2-40B4-BE49-F238E27FC236}">
                  <a16:creationId xmlns:a16="http://schemas.microsoft.com/office/drawing/2014/main" id="{617FE4BE-5640-2E32-14D8-3BB02E6591BB}"/>
                </a:ext>
              </a:extLst>
            </p:cNvPr>
            <p:cNvGrpSpPr>
              <a:grpSpLocks/>
            </p:cNvGrpSpPr>
            <p:nvPr/>
          </p:nvGrpSpPr>
          <p:grpSpPr>
            <a:xfrm>
              <a:off x="3826622" y="1692003"/>
              <a:ext cx="231028" cy="230812"/>
              <a:chOff x="3607758" y="1893013"/>
              <a:chExt cx="362309" cy="361971"/>
            </a:xfrm>
            <a:solidFill>
              <a:srgbClr val="0097A9"/>
            </a:solidFill>
          </p:grpSpPr>
          <p:sp>
            <p:nvSpPr>
              <p:cNvPr id="93" name="Graphic 4">
                <a:extLst>
                  <a:ext uri="{FF2B5EF4-FFF2-40B4-BE49-F238E27FC236}">
                    <a16:creationId xmlns:a16="http://schemas.microsoft.com/office/drawing/2014/main" id="{0A27F784-1E55-E0C2-1A52-3A21255E48B6}"/>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94" name="Graphic 4">
                <a:extLst>
                  <a:ext uri="{FF2B5EF4-FFF2-40B4-BE49-F238E27FC236}">
                    <a16:creationId xmlns:a16="http://schemas.microsoft.com/office/drawing/2014/main" id="{B12C355D-5FDE-5B06-AC70-9514C2BA1E39}"/>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95" name="Graphic 4">
                <a:extLst>
                  <a:ext uri="{FF2B5EF4-FFF2-40B4-BE49-F238E27FC236}">
                    <a16:creationId xmlns:a16="http://schemas.microsoft.com/office/drawing/2014/main" id="{B96D7679-4F4B-FE8F-60F2-AB1C6EE1A946}"/>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92" name="Rectangle: Rounded Corners 91">
              <a:extLst>
                <a:ext uri="{FF2B5EF4-FFF2-40B4-BE49-F238E27FC236}">
                  <a16:creationId xmlns:a16="http://schemas.microsoft.com/office/drawing/2014/main" id="{2E516605-44E6-91D3-87E1-49FAE375D8F1}"/>
                </a:ext>
              </a:extLst>
            </p:cNvPr>
            <p:cNvSpPr>
              <a:spLocks/>
            </p:cNvSpPr>
            <p:nvPr/>
          </p:nvSpPr>
          <p:spPr bwMode="gray">
            <a:xfrm>
              <a:off x="1779050" y="1668421"/>
              <a:ext cx="2059538"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900" dirty="0">
                  <a:solidFill>
                    <a:srgbClr val="FFFFFF"/>
                  </a:solidFill>
                  <a:latin typeface="Open Sans Bold" panose="020B0806030504020204" pitchFamily="34" charset="0"/>
                  <a:ea typeface="Open Sans Bold" panose="020B0806030504020204" pitchFamily="34" charset="0"/>
                  <a:cs typeface="Open Sans Bold" panose="020B0806030504020204" pitchFamily="34" charset="0"/>
                </a:rPr>
                <a:t>Charity clothing fair and collection</a:t>
              </a:r>
              <a:endPar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grpSp>
      <p:grpSp>
        <p:nvGrpSpPr>
          <p:cNvPr id="177" name="Group 176">
            <a:extLst>
              <a:ext uri="{FF2B5EF4-FFF2-40B4-BE49-F238E27FC236}">
                <a16:creationId xmlns:a16="http://schemas.microsoft.com/office/drawing/2014/main" id="{0827B326-48AB-D851-538F-B2E04A466EB7}"/>
              </a:ext>
            </a:extLst>
          </p:cNvPr>
          <p:cNvGrpSpPr/>
          <p:nvPr/>
        </p:nvGrpSpPr>
        <p:grpSpPr>
          <a:xfrm>
            <a:off x="2573210" y="3303504"/>
            <a:ext cx="2570290" cy="1208128"/>
            <a:chOff x="9069260" y="3365648"/>
            <a:chExt cx="2570290" cy="1208128"/>
          </a:xfrm>
        </p:grpSpPr>
        <p:sp>
          <p:nvSpPr>
            <p:cNvPr id="113" name="Rectangle: Rounded Corners 112">
              <a:extLst>
                <a:ext uri="{FF2B5EF4-FFF2-40B4-BE49-F238E27FC236}">
                  <a16:creationId xmlns:a16="http://schemas.microsoft.com/office/drawing/2014/main" id="{EDE4F787-8D52-D9F0-AD1A-A79AC9D4EF9C}"/>
                </a:ext>
              </a:extLst>
            </p:cNvPr>
            <p:cNvSpPr>
              <a:spLocks/>
            </p:cNvSpPr>
            <p:nvPr/>
          </p:nvSpPr>
          <p:spPr bwMode="gray">
            <a:xfrm>
              <a:off x="9069260" y="3365648"/>
              <a:ext cx="2570290"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14" name="Rectangle 113">
              <a:extLst>
                <a:ext uri="{FF2B5EF4-FFF2-40B4-BE49-F238E27FC236}">
                  <a16:creationId xmlns:a16="http://schemas.microsoft.com/office/drawing/2014/main" id="{02C6F5AA-ECA9-2642-2B6D-3E50DD8F1746}"/>
                </a:ext>
              </a:extLst>
            </p:cNvPr>
            <p:cNvSpPr>
              <a:spLocks/>
            </p:cNvSpPr>
            <p:nvPr/>
          </p:nvSpPr>
          <p:spPr bwMode="gray">
            <a:xfrm>
              <a:off x="9069260" y="3643624"/>
              <a:ext cx="2570290"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115" name="Graphic 4">
              <a:extLst>
                <a:ext uri="{FF2B5EF4-FFF2-40B4-BE49-F238E27FC236}">
                  <a16:creationId xmlns:a16="http://schemas.microsoft.com/office/drawing/2014/main" id="{900237AE-F2B4-9B8F-6CA2-300621118E29}"/>
                </a:ext>
              </a:extLst>
            </p:cNvPr>
            <p:cNvGrpSpPr>
              <a:grpSpLocks/>
            </p:cNvGrpSpPr>
            <p:nvPr/>
          </p:nvGrpSpPr>
          <p:grpSpPr>
            <a:xfrm>
              <a:off x="11373626" y="3389230"/>
              <a:ext cx="231028" cy="230812"/>
              <a:chOff x="3607758" y="1893013"/>
              <a:chExt cx="362309" cy="361971"/>
            </a:xfrm>
            <a:solidFill>
              <a:srgbClr val="0097A9"/>
            </a:solidFill>
          </p:grpSpPr>
          <p:sp>
            <p:nvSpPr>
              <p:cNvPr id="117" name="Graphic 4">
                <a:extLst>
                  <a:ext uri="{FF2B5EF4-FFF2-40B4-BE49-F238E27FC236}">
                    <a16:creationId xmlns:a16="http://schemas.microsoft.com/office/drawing/2014/main" id="{BC745183-C1E5-8891-0F6A-AE1F950D010E}"/>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18" name="Graphic 4">
                <a:extLst>
                  <a:ext uri="{FF2B5EF4-FFF2-40B4-BE49-F238E27FC236}">
                    <a16:creationId xmlns:a16="http://schemas.microsoft.com/office/drawing/2014/main" id="{9D8FB28B-F74D-15C5-0DB2-A93F54C911AD}"/>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19" name="Graphic 4">
                <a:extLst>
                  <a:ext uri="{FF2B5EF4-FFF2-40B4-BE49-F238E27FC236}">
                    <a16:creationId xmlns:a16="http://schemas.microsoft.com/office/drawing/2014/main" id="{95C68B43-AF44-1936-9B49-E9BB39C35450}"/>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116" name="Rectangle: Rounded Corners 115">
              <a:extLst>
                <a:ext uri="{FF2B5EF4-FFF2-40B4-BE49-F238E27FC236}">
                  <a16:creationId xmlns:a16="http://schemas.microsoft.com/office/drawing/2014/main" id="{6842DDB4-405C-E2F3-259D-4A3D8C211FF4}"/>
                </a:ext>
              </a:extLst>
            </p:cNvPr>
            <p:cNvSpPr>
              <a:spLocks/>
            </p:cNvSpPr>
            <p:nvPr/>
          </p:nvSpPr>
          <p:spPr bwMode="gray">
            <a:xfrm>
              <a:off x="9114563" y="3365648"/>
              <a:ext cx="2328448"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spcBef>
                  <a:spcPts val="0"/>
                </a:spcBef>
                <a:spcAft>
                  <a:spcPts val="0"/>
                </a:spcAft>
                <a:buClrTx/>
                <a:buSzTx/>
                <a:buFontTx/>
                <a:buNone/>
                <a:tabLst/>
                <a:defRPr/>
              </a:pP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ollection for </a:t>
              </a:r>
              <a:r>
                <a:rPr kumimoji="0" lang="en-US" sz="900" b="0" i="0" u="none" strike="noStrike" kern="1200" cap="none" spc="0" normalizeH="0" baseline="0" dirty="0" err="1">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Fészek</a:t>
              </a:r>
              <a:r>
                <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Child Protection Association</a:t>
              </a:r>
            </a:p>
          </p:txBody>
        </p:sp>
      </p:grpSp>
      <p:sp>
        <p:nvSpPr>
          <p:cNvPr id="166" name="Text Placeholder 5">
            <a:extLst>
              <a:ext uri="{FF2B5EF4-FFF2-40B4-BE49-F238E27FC236}">
                <a16:creationId xmlns:a16="http://schemas.microsoft.com/office/drawing/2014/main" id="{E2660B18-D4AB-11C8-1C66-D6D4EBFB3E0D}"/>
              </a:ext>
            </a:extLst>
          </p:cNvPr>
          <p:cNvSpPr txBox="1">
            <a:spLocks/>
          </p:cNvSpPr>
          <p:nvPr/>
        </p:nvSpPr>
        <p:spPr>
          <a:xfrm>
            <a:off x="3232594" y="6061752"/>
            <a:ext cx="917040"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700" b="1" spc="3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EEPDIVE</a:t>
            </a:r>
          </a:p>
        </p:txBody>
      </p:sp>
      <p:grpSp>
        <p:nvGrpSpPr>
          <p:cNvPr id="167" name="Group 166">
            <a:extLst>
              <a:ext uri="{FF2B5EF4-FFF2-40B4-BE49-F238E27FC236}">
                <a16:creationId xmlns:a16="http://schemas.microsoft.com/office/drawing/2014/main" id="{D26AB135-9E30-5641-5386-3AD3C09EFAF3}"/>
              </a:ext>
            </a:extLst>
          </p:cNvPr>
          <p:cNvGrpSpPr/>
          <p:nvPr/>
        </p:nvGrpSpPr>
        <p:grpSpPr>
          <a:xfrm>
            <a:off x="6547886" y="1420771"/>
            <a:ext cx="2430619" cy="1208128"/>
            <a:chOff x="1693706" y="1668421"/>
            <a:chExt cx="2430619" cy="1208128"/>
          </a:xfrm>
        </p:grpSpPr>
        <p:sp>
          <p:nvSpPr>
            <p:cNvPr id="168" name="Rectangle: Rounded Corners 167">
              <a:extLst>
                <a:ext uri="{FF2B5EF4-FFF2-40B4-BE49-F238E27FC236}">
                  <a16:creationId xmlns:a16="http://schemas.microsoft.com/office/drawing/2014/main" id="{2E0B05B7-632B-CEF5-2D9A-E2BD8D23CF6A}"/>
                </a:ext>
              </a:extLst>
            </p:cNvPr>
            <p:cNvSpPr>
              <a:spLocks/>
            </p:cNvSpPr>
            <p:nvPr/>
          </p:nvSpPr>
          <p:spPr bwMode="gray">
            <a:xfrm>
              <a:off x="1693706" y="1668421"/>
              <a:ext cx="2430619"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69" name="Rectangle 168">
              <a:extLst>
                <a:ext uri="{FF2B5EF4-FFF2-40B4-BE49-F238E27FC236}">
                  <a16:creationId xmlns:a16="http://schemas.microsoft.com/office/drawing/2014/main" id="{4F4379AD-ADD9-EB37-B07A-63020C19A714}"/>
                </a:ext>
              </a:extLst>
            </p:cNvPr>
            <p:cNvSpPr>
              <a:spLocks/>
            </p:cNvSpPr>
            <p:nvPr/>
          </p:nvSpPr>
          <p:spPr bwMode="gray">
            <a:xfrm>
              <a:off x="1693706" y="1946397"/>
              <a:ext cx="2430619" cy="930152"/>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nvGrpSpPr>
            <p:cNvPr id="170" name="Graphic 4">
              <a:extLst>
                <a:ext uri="{FF2B5EF4-FFF2-40B4-BE49-F238E27FC236}">
                  <a16:creationId xmlns:a16="http://schemas.microsoft.com/office/drawing/2014/main" id="{42628F3A-3FA4-2DAB-5AC2-69FFDED4C5A3}"/>
                </a:ext>
              </a:extLst>
            </p:cNvPr>
            <p:cNvGrpSpPr>
              <a:grpSpLocks/>
            </p:cNvGrpSpPr>
            <p:nvPr/>
          </p:nvGrpSpPr>
          <p:grpSpPr>
            <a:xfrm>
              <a:off x="3826622" y="1692003"/>
              <a:ext cx="231028" cy="230812"/>
              <a:chOff x="3607758" y="1893013"/>
              <a:chExt cx="362309" cy="361971"/>
            </a:xfrm>
            <a:solidFill>
              <a:srgbClr val="0097A9"/>
            </a:solidFill>
          </p:grpSpPr>
          <p:sp>
            <p:nvSpPr>
              <p:cNvPr id="172" name="Graphic 4">
                <a:extLst>
                  <a:ext uri="{FF2B5EF4-FFF2-40B4-BE49-F238E27FC236}">
                    <a16:creationId xmlns:a16="http://schemas.microsoft.com/office/drawing/2014/main" id="{7DF4E997-5091-7FA7-D27B-FB2EF8F3F61A}"/>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73" name="Graphic 4">
                <a:extLst>
                  <a:ext uri="{FF2B5EF4-FFF2-40B4-BE49-F238E27FC236}">
                    <a16:creationId xmlns:a16="http://schemas.microsoft.com/office/drawing/2014/main" id="{F99C1431-B2D7-AE2D-D338-CEF06BD58F15}"/>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74" name="Graphic 4">
                <a:extLst>
                  <a:ext uri="{FF2B5EF4-FFF2-40B4-BE49-F238E27FC236}">
                    <a16:creationId xmlns:a16="http://schemas.microsoft.com/office/drawing/2014/main" id="{184F706C-8490-127A-F184-87C057EFCBA0}"/>
                  </a:ext>
                </a:extLst>
              </p:cNvPr>
              <p:cNvSpPr/>
              <p:nvPr/>
            </p:nvSpPr>
            <p:spPr>
              <a:xfrm>
                <a:off x="3668292" y="2014308"/>
                <a:ext cx="240682" cy="183859"/>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171" name="Rectangle: Rounded Corners 170">
              <a:extLst>
                <a:ext uri="{FF2B5EF4-FFF2-40B4-BE49-F238E27FC236}">
                  <a16:creationId xmlns:a16="http://schemas.microsoft.com/office/drawing/2014/main" id="{4CFFC9CB-5161-1141-C5FC-D3D4179ACF38}"/>
                </a:ext>
              </a:extLst>
            </p:cNvPr>
            <p:cNvSpPr>
              <a:spLocks/>
            </p:cNvSpPr>
            <p:nvPr/>
          </p:nvSpPr>
          <p:spPr bwMode="gray">
            <a:xfrm>
              <a:off x="1805684" y="1668421"/>
              <a:ext cx="2213010"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900" dirty="0">
                  <a:solidFill>
                    <a:srgbClr val="FFFFFF"/>
                  </a:solidFill>
                  <a:latin typeface="Open Sans Bold" panose="020B0806030504020204" pitchFamily="34" charset="0"/>
                  <a:ea typeface="Open Sans Bold" panose="020B0806030504020204" pitchFamily="34" charset="0"/>
                  <a:cs typeface="Open Sans Bold" panose="020B0806030504020204" pitchFamily="34" charset="0"/>
                </a:rPr>
                <a:t>Workshops for </a:t>
              </a:r>
              <a:r>
                <a:rPr lang="en-US" sz="900" dirty="0" err="1">
                  <a:solidFill>
                    <a:srgbClr val="FFFFFF"/>
                  </a:solidFill>
                  <a:latin typeface="Open Sans Bold" panose="020B0806030504020204" pitchFamily="34" charset="0"/>
                  <a:ea typeface="Open Sans Bold" panose="020B0806030504020204" pitchFamily="34" charset="0"/>
                  <a:cs typeface="Open Sans Bold" panose="020B0806030504020204" pitchFamily="34" charset="0"/>
                </a:rPr>
                <a:t>Romaversitas</a:t>
              </a:r>
              <a:endParaRPr kumimoji="0" lang="en-US" sz="9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grpSp>
      <p:sp>
        <p:nvSpPr>
          <p:cNvPr id="175" name="Text Placeholder 5">
            <a:extLst>
              <a:ext uri="{FF2B5EF4-FFF2-40B4-BE49-F238E27FC236}">
                <a16:creationId xmlns:a16="http://schemas.microsoft.com/office/drawing/2014/main" id="{B66F7C2C-4D4D-7145-E3F5-C20AC9D1737E}"/>
              </a:ext>
            </a:extLst>
          </p:cNvPr>
          <p:cNvSpPr txBox="1">
            <a:spLocks/>
          </p:cNvSpPr>
          <p:nvPr/>
        </p:nvSpPr>
        <p:spPr>
          <a:xfrm>
            <a:off x="8116900" y="2428055"/>
            <a:ext cx="917040"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700" b="1" spc="3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EEPDIVE</a:t>
            </a:r>
          </a:p>
        </p:txBody>
      </p:sp>
      <p:pic>
        <p:nvPicPr>
          <p:cNvPr id="7" name="Picture 8">
            <a:extLst>
              <a:ext uri="{FF2B5EF4-FFF2-40B4-BE49-F238E27FC236}">
                <a16:creationId xmlns:a16="http://schemas.microsoft.com/office/drawing/2014/main" id="{112ED58B-779E-FAB4-9A05-F3108DBE69E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269524" y="2384102"/>
            <a:ext cx="667783" cy="16694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1B2D4E25-5981-FFAD-98C2-D7FE039B852A}"/>
              </a:ext>
            </a:extLst>
          </p:cNvPr>
          <p:cNvSpPr>
            <a:spLocks/>
          </p:cNvSpPr>
          <p:nvPr/>
        </p:nvSpPr>
        <p:spPr bwMode="gray">
          <a:xfrm>
            <a:off x="3918272" y="1716469"/>
            <a:ext cx="2379812"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A complex training program to give young people an insight into entrepreneurship, in the spirit of social responsibility</a:t>
            </a:r>
            <a:endParaRPr kumimoji="0" lang="en-US" sz="400" i="0"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26" name="Picture 2" descr="OTP Fay Andras Foundation x Supercharge: Edutainment for financial literacy">
            <a:extLst>
              <a:ext uri="{FF2B5EF4-FFF2-40B4-BE49-F238E27FC236}">
                <a16:creationId xmlns:a16="http://schemas.microsoft.com/office/drawing/2014/main" id="{BBE04897-15F9-EB1A-CE46-6E7A0DF2F16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56127" y="2313919"/>
            <a:ext cx="1090833" cy="36361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026A225C-7889-70C1-7567-A29EB4A80BD6}"/>
              </a:ext>
            </a:extLst>
          </p:cNvPr>
          <p:cNvSpPr>
            <a:spLocks/>
          </p:cNvSpPr>
          <p:nvPr/>
        </p:nvSpPr>
        <p:spPr bwMode="gray">
          <a:xfrm>
            <a:off x="6654128" y="1725178"/>
            <a:ext cx="2174173"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Labor market workshops for young high school and university student members of </a:t>
            </a:r>
            <a:r>
              <a:rPr lang="en-US" sz="800" dirty="0" err="1">
                <a:latin typeface="Open Sans" panose="020B0606030504020204" pitchFamily="34" charset="0"/>
                <a:ea typeface="Open Sans" panose="020B0606030504020204" pitchFamily="34" charset="0"/>
                <a:cs typeface="Open Sans" panose="020B0606030504020204" pitchFamily="34" charset="0"/>
              </a:rPr>
              <a:t>Romaversitas</a:t>
            </a:r>
            <a:endParaRPr kumimoji="0" lang="en-US" sz="400" i="0"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28" name="Picture 4" descr="Roma education program - Romaversitas Foundation">
            <a:extLst>
              <a:ext uri="{FF2B5EF4-FFF2-40B4-BE49-F238E27FC236}">
                <a16:creationId xmlns:a16="http://schemas.microsoft.com/office/drawing/2014/main" id="{47073DAC-4020-445C-D0B6-D65258AC0DC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681440" y="2359283"/>
            <a:ext cx="1258858" cy="23355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D8908929-6836-BA69-5120-D9D67F4C7128}"/>
              </a:ext>
            </a:extLst>
          </p:cNvPr>
          <p:cNvSpPr>
            <a:spLocks/>
          </p:cNvSpPr>
          <p:nvPr/>
        </p:nvSpPr>
        <p:spPr bwMode="gray">
          <a:xfrm>
            <a:off x="9286075" y="1716469"/>
            <a:ext cx="2238319"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Educational Game and Summit for secondary schools on climate change promoting collaboration and capabilities for future leaders of sustainability</a:t>
            </a:r>
            <a:endParaRPr kumimoji="0" lang="en-US" sz="400" i="0"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36" descr="https://www.bridgeacademy.cz/media/logo/stores/1/ba_logotype_color200px.png">
            <a:extLst>
              <a:ext uri="{FF2B5EF4-FFF2-40B4-BE49-F238E27FC236}">
                <a16:creationId xmlns:a16="http://schemas.microsoft.com/office/drawing/2014/main" id="{476F8F29-E35A-56E0-F981-00CBF173D1E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330027" y="2444545"/>
            <a:ext cx="681805" cy="15605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5" descr="nvias.org">
            <a:extLst>
              <a:ext uri="{FF2B5EF4-FFF2-40B4-BE49-F238E27FC236}">
                <a16:creationId xmlns:a16="http://schemas.microsoft.com/office/drawing/2014/main" id="{7FDBF425-01E3-D945-E2BE-6DE7F6241541}"/>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100988" y="2318824"/>
            <a:ext cx="509639" cy="351794"/>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0">
            <a:extLst>
              <a:ext uri="{FF2B5EF4-FFF2-40B4-BE49-F238E27FC236}">
                <a16:creationId xmlns:a16="http://schemas.microsoft.com/office/drawing/2014/main" id="{47AF9C16-3072-1548-7A0A-4AD54EC78D7F}"/>
              </a:ext>
            </a:extLst>
          </p:cNvPr>
          <p:cNvSpPr>
            <a:spLocks/>
          </p:cNvSpPr>
          <p:nvPr/>
        </p:nvSpPr>
        <p:spPr bwMode="gray">
          <a:xfrm>
            <a:off x="1770724" y="5341933"/>
            <a:ext cx="2247970"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Internal knowledge sharing program to create a community where we can learn from each other and external experts discussing important issues together</a:t>
            </a:r>
          </a:p>
        </p:txBody>
      </p:sp>
      <p:pic>
        <p:nvPicPr>
          <p:cNvPr id="22" name="Picture 4" descr="Circle&#10;&#10;Description automatically generated">
            <a:extLst>
              <a:ext uri="{FF2B5EF4-FFF2-40B4-BE49-F238E27FC236}">
                <a16:creationId xmlns:a16="http://schemas.microsoft.com/office/drawing/2014/main" id="{0F122381-2ADC-7C24-AAB1-ADE25E1EB49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805684" y="6084967"/>
            <a:ext cx="642242" cy="113378"/>
          </a:xfrm>
          <a:prstGeom prst="rect">
            <a:avLst/>
          </a:prstGeom>
        </p:spPr>
      </p:pic>
      <p:pic>
        <p:nvPicPr>
          <p:cNvPr id="23" name="Picture 4" descr="Circle&#10;&#10;Description automatically generated">
            <a:extLst>
              <a:ext uri="{FF2B5EF4-FFF2-40B4-BE49-F238E27FC236}">
                <a16:creationId xmlns:a16="http://schemas.microsoft.com/office/drawing/2014/main" id="{4DF568F8-0C39-188C-CEED-13DCFCEA95C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130167" y="6084967"/>
            <a:ext cx="642242" cy="113378"/>
          </a:xfrm>
          <a:prstGeom prst="rect">
            <a:avLst/>
          </a:prstGeom>
        </p:spPr>
      </p:pic>
      <p:pic>
        <p:nvPicPr>
          <p:cNvPr id="24" name="Picture 4" descr="Circle&#10;&#10;Description automatically generated">
            <a:extLst>
              <a:ext uri="{FF2B5EF4-FFF2-40B4-BE49-F238E27FC236}">
                <a16:creationId xmlns:a16="http://schemas.microsoft.com/office/drawing/2014/main" id="{29A35024-782F-1E06-4AA8-A4478B24A17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510529" y="6084967"/>
            <a:ext cx="642242" cy="113378"/>
          </a:xfrm>
          <a:prstGeom prst="rect">
            <a:avLst/>
          </a:prstGeom>
        </p:spPr>
      </p:pic>
      <p:sp>
        <p:nvSpPr>
          <p:cNvPr id="25" name="Rectangle: Rounded Corners 24">
            <a:extLst>
              <a:ext uri="{FF2B5EF4-FFF2-40B4-BE49-F238E27FC236}">
                <a16:creationId xmlns:a16="http://schemas.microsoft.com/office/drawing/2014/main" id="{E5EEBAE0-7B8E-EC7A-DDD2-EADDF46C26E5}"/>
              </a:ext>
            </a:extLst>
          </p:cNvPr>
          <p:cNvSpPr>
            <a:spLocks/>
          </p:cNvSpPr>
          <p:nvPr/>
        </p:nvSpPr>
        <p:spPr bwMode="gray">
          <a:xfrm>
            <a:off x="5117958" y="5341933"/>
            <a:ext cx="2559192"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In cooperation with Hungarian Charity Service of the Order of Malta, our Risk Advisory team participated in various charity programs in smaller teams, organizing team building with a different approach</a:t>
            </a:r>
          </a:p>
        </p:txBody>
      </p:sp>
      <p:pic>
        <p:nvPicPr>
          <p:cNvPr id="26" name="Picture 4" descr="Hungary Large Flag | Gallery Yopriceville - High-Quality Free Images ...">
            <a:extLst>
              <a:ext uri="{FF2B5EF4-FFF2-40B4-BE49-F238E27FC236}">
                <a16:creationId xmlns:a16="http://schemas.microsoft.com/office/drawing/2014/main" id="{ECD50F65-148E-CBA9-D743-D9C34C2EE7BC}"/>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546536" y="6614863"/>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ECB67574-776C-E700-963C-82C640213ADD}"/>
              </a:ext>
            </a:extLst>
          </p:cNvPr>
          <p:cNvSpPr txBox="1"/>
          <p:nvPr/>
        </p:nvSpPr>
        <p:spPr>
          <a:xfrm>
            <a:off x="1805684" y="6611075"/>
            <a:ext cx="2969580" cy="123111"/>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Initiatives delivered by / with the co-operation Deloitte Hungary</a:t>
            </a:r>
          </a:p>
        </p:txBody>
      </p:sp>
      <p:sp>
        <p:nvSpPr>
          <p:cNvPr id="28" name="TextBox 27">
            <a:extLst>
              <a:ext uri="{FF2B5EF4-FFF2-40B4-BE49-F238E27FC236}">
                <a16:creationId xmlns:a16="http://schemas.microsoft.com/office/drawing/2014/main" id="{E6BEF538-A86E-C847-7B50-69BABCA58A16}"/>
              </a:ext>
            </a:extLst>
          </p:cNvPr>
          <p:cNvSpPr txBox="1"/>
          <p:nvPr/>
        </p:nvSpPr>
        <p:spPr>
          <a:xfrm>
            <a:off x="6000273" y="6611075"/>
            <a:ext cx="4993517" cy="123111"/>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Deep dive on the details of Deloitte HU CSR initiative can be found on the next slides of current chapter </a:t>
            </a:r>
          </a:p>
        </p:txBody>
      </p:sp>
      <p:sp>
        <p:nvSpPr>
          <p:cNvPr id="29" name="Text Placeholder 5">
            <a:extLst>
              <a:ext uri="{FF2B5EF4-FFF2-40B4-BE49-F238E27FC236}">
                <a16:creationId xmlns:a16="http://schemas.microsoft.com/office/drawing/2014/main" id="{BD19CC6A-7E83-269C-EF3D-1C84ED03C5DD}"/>
              </a:ext>
            </a:extLst>
          </p:cNvPr>
          <p:cNvSpPr txBox="1">
            <a:spLocks/>
          </p:cNvSpPr>
          <p:nvPr/>
        </p:nvSpPr>
        <p:spPr>
          <a:xfrm>
            <a:off x="5171625" y="6587765"/>
            <a:ext cx="917040"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700" b="1" spc="3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EEPDIVE</a:t>
            </a:r>
          </a:p>
        </p:txBody>
      </p:sp>
      <p:grpSp>
        <p:nvGrpSpPr>
          <p:cNvPr id="42" name="Group 41">
            <a:extLst>
              <a:ext uri="{FF2B5EF4-FFF2-40B4-BE49-F238E27FC236}">
                <a16:creationId xmlns:a16="http://schemas.microsoft.com/office/drawing/2014/main" id="{7A061CA5-EC75-4545-9E6E-EDCF8F6FB485}"/>
              </a:ext>
            </a:extLst>
          </p:cNvPr>
          <p:cNvGrpSpPr/>
          <p:nvPr/>
        </p:nvGrpSpPr>
        <p:grpSpPr>
          <a:xfrm>
            <a:off x="147509" y="4423821"/>
            <a:ext cx="1244714" cy="1401230"/>
            <a:chOff x="313485" y="4458019"/>
            <a:chExt cx="1058295" cy="1191370"/>
          </a:xfrm>
        </p:grpSpPr>
        <p:sp>
          <p:nvSpPr>
            <p:cNvPr id="31" name="Freeform: Shape 30">
              <a:extLst>
                <a:ext uri="{FF2B5EF4-FFF2-40B4-BE49-F238E27FC236}">
                  <a16:creationId xmlns:a16="http://schemas.microsoft.com/office/drawing/2014/main" id="{B297AC78-E863-7C25-C9C5-170973F9FD57}"/>
                </a:ext>
              </a:extLst>
            </p:cNvPr>
            <p:cNvSpPr/>
            <p:nvPr/>
          </p:nvSpPr>
          <p:spPr bwMode="gray">
            <a:xfrm>
              <a:off x="313485" y="4682039"/>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dirty="0"/>
            </a:p>
          </p:txBody>
        </p:sp>
        <p:cxnSp>
          <p:nvCxnSpPr>
            <p:cNvPr id="32" name="Straight Connector 31">
              <a:extLst>
                <a:ext uri="{FF2B5EF4-FFF2-40B4-BE49-F238E27FC236}">
                  <a16:creationId xmlns:a16="http://schemas.microsoft.com/office/drawing/2014/main" id="{057D245C-06E2-0789-58D3-19CDBC19DAA5}"/>
                </a:ext>
              </a:extLst>
            </p:cNvPr>
            <p:cNvCxnSpPr/>
            <p:nvPr/>
          </p:nvCxnSpPr>
          <p:spPr>
            <a:xfrm flipV="1">
              <a:off x="791851" y="4462875"/>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68047C29-8982-5364-F9D4-FE61E7E83586}"/>
                </a:ext>
              </a:extLst>
            </p:cNvPr>
            <p:cNvSpPr/>
            <p:nvPr/>
          </p:nvSpPr>
          <p:spPr bwMode="gray">
            <a:xfrm>
              <a:off x="742123" y="4981282"/>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34" name="Rectangle 33">
              <a:extLst>
                <a:ext uri="{FF2B5EF4-FFF2-40B4-BE49-F238E27FC236}">
                  <a16:creationId xmlns:a16="http://schemas.microsoft.com/office/drawing/2014/main" id="{5C1F204E-7A01-3B13-1FF6-C831490008BE}"/>
                </a:ext>
              </a:extLst>
            </p:cNvPr>
            <p:cNvSpPr/>
            <p:nvPr/>
          </p:nvSpPr>
          <p:spPr>
            <a:xfrm>
              <a:off x="465774" y="5074944"/>
              <a:ext cx="906006" cy="15700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a:t>
              </a:r>
              <a:r>
                <a:rPr lang="en-US" sz="600" i="1" spc="300" dirty="0">
                  <a:latin typeface="Open Sans"/>
                </a:rPr>
                <a:t>T</a:t>
              </a:r>
              <a:endParaRPr kumimoji="0" lang="en-US" sz="600" i="1" u="none" strike="noStrike" kern="1200" cap="none" spc="300" normalizeH="0" baseline="0" dirty="0">
                <a:ln>
                  <a:noFill/>
                </a:ln>
                <a:effectLst/>
                <a:uLnTx/>
                <a:uFillTx/>
                <a:latin typeface="Open Sans"/>
              </a:endParaRPr>
            </a:p>
          </p:txBody>
        </p:sp>
        <p:pic>
          <p:nvPicPr>
            <p:cNvPr id="35" name="Picture 4" descr="Hungary Large Flag | Gallery Yopriceville - High-Quality Free Images ...">
              <a:extLst>
                <a:ext uri="{FF2B5EF4-FFF2-40B4-BE49-F238E27FC236}">
                  <a16:creationId xmlns:a16="http://schemas.microsoft.com/office/drawing/2014/main" id="{363C130D-5118-D0A0-6F70-23374D2F0DBC}"/>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89759" y="4458019"/>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pic>
        <p:nvPicPr>
          <p:cNvPr id="1032" name="Picture 8" descr="The Global Fund for Forgotten People">
            <a:extLst>
              <a:ext uri="{FF2B5EF4-FFF2-40B4-BE49-F238E27FC236}">
                <a16:creationId xmlns:a16="http://schemas.microsoft.com/office/drawing/2014/main" id="{0E7E25C8-05CD-E658-6D3E-74CF25746904}"/>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t="26422" b="19755"/>
          <a:stretch/>
        </p:blipFill>
        <p:spPr bwMode="auto">
          <a:xfrm>
            <a:off x="7069757" y="5937094"/>
            <a:ext cx="590273" cy="31769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bout Us – DocRoom">
            <a:extLst>
              <a:ext uri="{FF2B5EF4-FFF2-40B4-BE49-F238E27FC236}">
                <a16:creationId xmlns:a16="http://schemas.microsoft.com/office/drawing/2014/main" id="{02C17CFF-ED2C-5E81-651F-D20C0C7B762E}"/>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029428" y="6053929"/>
            <a:ext cx="856906" cy="154243"/>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Rounded Corners 35">
            <a:extLst>
              <a:ext uri="{FF2B5EF4-FFF2-40B4-BE49-F238E27FC236}">
                <a16:creationId xmlns:a16="http://schemas.microsoft.com/office/drawing/2014/main" id="{9EB8FB5E-4428-EBA5-6646-0B1C5D093E90}"/>
              </a:ext>
            </a:extLst>
          </p:cNvPr>
          <p:cNvSpPr>
            <a:spLocks/>
          </p:cNvSpPr>
          <p:nvPr/>
        </p:nvSpPr>
        <p:spPr bwMode="gray">
          <a:xfrm>
            <a:off x="8467736" y="5341933"/>
            <a:ext cx="2489911"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On the occasion of the International Women's Day, we collected essential feminine hygiene products to help women in need</a:t>
            </a:r>
          </a:p>
        </p:txBody>
      </p:sp>
      <p:pic>
        <p:nvPicPr>
          <p:cNvPr id="1036" name="Picture 12">
            <a:extLst>
              <a:ext uri="{FF2B5EF4-FFF2-40B4-BE49-F238E27FC236}">
                <a16:creationId xmlns:a16="http://schemas.microsoft.com/office/drawing/2014/main" id="{CDC32167-5E0E-DF5E-FE2E-64853254CB1D}"/>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573210" y="4129800"/>
            <a:ext cx="492086" cy="315055"/>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Rounded Corners 36">
            <a:extLst>
              <a:ext uri="{FF2B5EF4-FFF2-40B4-BE49-F238E27FC236}">
                <a16:creationId xmlns:a16="http://schemas.microsoft.com/office/drawing/2014/main" id="{26F70C4A-426C-4856-2E29-02274F9102F7}"/>
              </a:ext>
            </a:extLst>
          </p:cNvPr>
          <p:cNvSpPr>
            <a:spLocks/>
          </p:cNvSpPr>
          <p:nvPr/>
        </p:nvSpPr>
        <p:spPr bwMode="gray">
          <a:xfrm>
            <a:off x="2600812" y="3556816"/>
            <a:ext cx="2487104"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Collection for families of children in need: gift pack of mainly toiletries for 400 children, and further 2.5 M HUF donation collected </a:t>
            </a:r>
          </a:p>
        </p:txBody>
      </p:sp>
      <p:sp>
        <p:nvSpPr>
          <p:cNvPr id="38" name="Rectangle: Rounded Corners 37">
            <a:extLst>
              <a:ext uri="{FF2B5EF4-FFF2-40B4-BE49-F238E27FC236}">
                <a16:creationId xmlns:a16="http://schemas.microsoft.com/office/drawing/2014/main" id="{99C91577-856F-9119-D964-93A2BB103517}"/>
              </a:ext>
            </a:extLst>
          </p:cNvPr>
          <p:cNvSpPr>
            <a:spLocks/>
          </p:cNvSpPr>
          <p:nvPr/>
        </p:nvSpPr>
        <p:spPr bwMode="gray">
          <a:xfrm>
            <a:off x="5944315" y="3592328"/>
            <a:ext cx="2253625"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A yearly organized charity clothing fair at Deloitte Hungary Office. Last year we supported an eco-school, collecting 515 kg of clothing and 120 000 HUF</a:t>
            </a:r>
          </a:p>
        </p:txBody>
      </p:sp>
      <p:pic>
        <p:nvPicPr>
          <p:cNvPr id="1038" name="Picture 14" descr="BAGázs Közhasznú Egyesület - Csak esélyt adunk!">
            <a:extLst>
              <a:ext uri="{FF2B5EF4-FFF2-40B4-BE49-F238E27FC236}">
                <a16:creationId xmlns:a16="http://schemas.microsoft.com/office/drawing/2014/main" id="{A208C08D-B5C2-9978-1D4C-A7B0BA9E1D47}"/>
              </a:ext>
            </a:extLst>
          </p:cNvPr>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9114471" y="4144518"/>
            <a:ext cx="398162" cy="318666"/>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Rounded Corners 38">
            <a:extLst>
              <a:ext uri="{FF2B5EF4-FFF2-40B4-BE49-F238E27FC236}">
                <a16:creationId xmlns:a16="http://schemas.microsoft.com/office/drawing/2014/main" id="{891A3186-49FE-F503-CC82-DB6A59D558CA}"/>
              </a:ext>
            </a:extLst>
          </p:cNvPr>
          <p:cNvSpPr>
            <a:spLocks/>
          </p:cNvSpPr>
          <p:nvPr/>
        </p:nvSpPr>
        <p:spPr bwMode="gray">
          <a:xfrm>
            <a:off x="9148730" y="3530182"/>
            <a:ext cx="2481295" cy="655831"/>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800" dirty="0">
                <a:latin typeface="Open Sans" panose="020B0606030504020204" pitchFamily="34" charset="0"/>
                <a:ea typeface="Open Sans" panose="020B0606030504020204" pitchFamily="34" charset="0"/>
                <a:cs typeface="Open Sans" panose="020B0606030504020204" pitchFamily="34" charset="0"/>
              </a:rPr>
              <a:t>Charity running for financial support for the work of the </a:t>
            </a:r>
            <a:r>
              <a:rPr lang="en-US" sz="800" dirty="0" err="1">
                <a:latin typeface="Open Sans" panose="020B0606030504020204" pitchFamily="34" charset="0"/>
                <a:ea typeface="Open Sans" panose="020B0606030504020204" pitchFamily="34" charset="0"/>
                <a:cs typeface="Open Sans" panose="020B0606030504020204" pitchFamily="34" charset="0"/>
              </a:rPr>
              <a:t>Bagázs</a:t>
            </a:r>
            <a:r>
              <a:rPr lang="en-US" sz="800" dirty="0">
                <a:latin typeface="Open Sans" panose="020B0606030504020204" pitchFamily="34" charset="0"/>
                <a:ea typeface="Open Sans" panose="020B0606030504020204" pitchFamily="34" charset="0"/>
                <a:cs typeface="Open Sans" panose="020B0606030504020204" pitchFamily="34" charset="0"/>
              </a:rPr>
              <a:t> Association; Professional support for </a:t>
            </a:r>
            <a:r>
              <a:rPr lang="en-US" sz="800" dirty="0" err="1">
                <a:latin typeface="Open Sans" panose="020B0606030504020204" pitchFamily="34" charset="0"/>
                <a:ea typeface="Open Sans" panose="020B0606030504020204" pitchFamily="34" charset="0"/>
                <a:cs typeface="Open Sans" panose="020B0606030504020204" pitchFamily="34" charset="0"/>
              </a:rPr>
              <a:t>Bagázs</a:t>
            </a:r>
            <a:r>
              <a:rPr lang="en-US" sz="800" dirty="0">
                <a:latin typeface="Open Sans" panose="020B0606030504020204" pitchFamily="34" charset="0"/>
                <a:ea typeface="Open Sans" panose="020B0606030504020204" pitchFamily="34" charset="0"/>
                <a:cs typeface="Open Sans" panose="020B0606030504020204" pitchFamily="34" charset="0"/>
              </a:rPr>
              <a:t> development programs</a:t>
            </a:r>
          </a:p>
        </p:txBody>
      </p:sp>
      <p:pic>
        <p:nvPicPr>
          <p:cNvPr id="1040" name="Picture 16" descr="Andor Ilona Ének-Zenei Általános és Alapfokú Művészeti Baptista Iskola logo">
            <a:extLst>
              <a:ext uri="{FF2B5EF4-FFF2-40B4-BE49-F238E27FC236}">
                <a16:creationId xmlns:a16="http://schemas.microsoft.com/office/drawing/2014/main" id="{A006CED3-FF65-96CD-1A4C-7B7AA489EAAD}"/>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5972577" y="4286481"/>
            <a:ext cx="1516152" cy="181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14625"/>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E025730-E74C-654D-AFA5-1895DEE7A5DC}"/>
              </a:ext>
            </a:extLst>
          </p:cNvPr>
          <p:cNvSpPr>
            <a:spLocks noGrp="1"/>
          </p:cNvSpPr>
          <p:nvPr>
            <p:ph type="body" sz="quarter" idx="4294967295"/>
          </p:nvPr>
        </p:nvSpPr>
        <p:spPr>
          <a:xfrm>
            <a:off x="1025305" y="537883"/>
            <a:ext cx="4769439" cy="685792"/>
          </a:xfrm>
        </p:spPr>
        <p:txBody>
          <a:bodyPr>
            <a:normAutofit/>
          </a:bodyPr>
          <a:lstStyle/>
          <a:p>
            <a:pPr marL="0" indent="0">
              <a:lnSpc>
                <a:spcPct val="100000"/>
              </a:lnSpc>
              <a:buNone/>
            </a:pPr>
            <a:r>
              <a:rPr lang="en-GB" dirty="0">
                <a:latin typeface="Open Sans Light" panose="020B0306030504020204" pitchFamily="34" charset="0"/>
                <a:ea typeface="Open Sans Light" panose="020B0306030504020204" pitchFamily="34" charset="0"/>
                <a:cs typeface="Open Sans Light" panose="020B0306030504020204" pitchFamily="34" charset="0"/>
              </a:rPr>
              <a:t>National Geographic Platfor</a:t>
            </a:r>
            <a:r>
              <a:rPr lang="en-GB" dirty="0"/>
              <a:t>m </a:t>
            </a:r>
            <a:r>
              <a:rPr lang="en-GB" dirty="0">
                <a:latin typeface="Open Sans Light" panose="020B0306030504020204" pitchFamily="34" charset="0"/>
                <a:ea typeface="Open Sans Light" panose="020B0306030504020204" pitchFamily="34" charset="0"/>
                <a:cs typeface="Open Sans Light" panose="020B0306030504020204" pitchFamily="34" charset="0"/>
              </a:rPr>
              <a:t> </a:t>
            </a:r>
          </a:p>
          <a:p>
            <a:pPr marL="0" indent="0">
              <a:lnSpc>
                <a:spcPct val="100000"/>
              </a:lnSpc>
              <a:buNone/>
            </a:pPr>
            <a:r>
              <a:rPr lang="en-GB" sz="1800" dirty="0"/>
              <a:t>Creative Platform </a:t>
            </a:r>
            <a:endParaRPr lang="en-GB" sz="1800"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0" name="Straight Connector 9">
            <a:extLst>
              <a:ext uri="{FF2B5EF4-FFF2-40B4-BE49-F238E27FC236}">
                <a16:creationId xmlns:a16="http://schemas.microsoft.com/office/drawing/2014/main" id="{77FDF1CD-B354-ED4D-98F0-1EA450D29CEC}"/>
              </a:ext>
            </a:extLst>
          </p:cNvPr>
          <p:cNvCxnSpPr>
            <a:cxnSpLocks/>
          </p:cNvCxnSpPr>
          <p:nvPr/>
        </p:nvCxnSpPr>
        <p:spPr>
          <a:xfrm>
            <a:off x="714124" y="537883"/>
            <a:ext cx="0" cy="685800"/>
          </a:xfrm>
          <a:prstGeom prst="line">
            <a:avLst/>
          </a:prstGeom>
          <a:ln w="50800">
            <a:solidFill>
              <a:srgbClr val="1CABE3"/>
            </a:solidFill>
          </a:ln>
        </p:spPr>
        <p:style>
          <a:lnRef idx="1">
            <a:schemeClr val="accent1"/>
          </a:lnRef>
          <a:fillRef idx="0">
            <a:schemeClr val="accent1"/>
          </a:fillRef>
          <a:effectRef idx="0">
            <a:schemeClr val="accent1"/>
          </a:effectRef>
          <a:fontRef idx="minor">
            <a:schemeClr val="tx1"/>
          </a:fontRef>
        </p:style>
      </p:cxnSp>
      <p:sp>
        <p:nvSpPr>
          <p:cNvPr id="6" name="Text Placeholder 3">
            <a:extLst>
              <a:ext uri="{FF2B5EF4-FFF2-40B4-BE49-F238E27FC236}">
                <a16:creationId xmlns:a16="http://schemas.microsoft.com/office/drawing/2014/main" id="{125AF7AB-D3A9-6306-C5A8-91F688179AF3}"/>
              </a:ext>
            </a:extLst>
          </p:cNvPr>
          <p:cNvSpPr>
            <a:spLocks noGrp="1"/>
          </p:cNvSpPr>
          <p:nvPr>
            <p:ph type="body" sz="quarter" idx="21"/>
          </p:nvPr>
        </p:nvSpPr>
        <p:spPr>
          <a:xfrm>
            <a:off x="714123" y="2009933"/>
            <a:ext cx="3077563" cy="252501"/>
          </a:xfrm>
        </p:spPr>
        <p:txBody>
          <a:body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problem </a:t>
            </a:r>
          </a:p>
        </p:txBody>
      </p:sp>
      <p:sp>
        <p:nvSpPr>
          <p:cNvPr id="8" name="Text Placeholder 6">
            <a:extLst>
              <a:ext uri="{FF2B5EF4-FFF2-40B4-BE49-F238E27FC236}">
                <a16:creationId xmlns:a16="http://schemas.microsoft.com/office/drawing/2014/main" id="{7145A8D7-CCFD-ADF2-D7A3-E02EB04F3396}"/>
              </a:ext>
            </a:extLst>
          </p:cNvPr>
          <p:cNvSpPr txBox="1">
            <a:spLocks/>
          </p:cNvSpPr>
          <p:nvPr/>
        </p:nvSpPr>
        <p:spPr>
          <a:xfrm>
            <a:off x="714022" y="2271531"/>
            <a:ext cx="3852000" cy="1167209"/>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000000"/>
              </a:buClr>
              <a:buSzPts val="1400"/>
            </a:pPr>
            <a:r>
              <a:rPr lang="en-GB" sz="900" dirty="0">
                <a:solidFill>
                  <a:schemeClr val="dk1"/>
                </a:solidFill>
                <a:sym typeface="Helvetica Neue"/>
              </a:rPr>
              <a:t>National Geographic is loved by those aged 45+ but hasn’t been resonating with those between 18-35. To drive future growth, we needed to revitalise their audience base and reach this younger age group. COP26 was identified as a key cultural moment to drive engagement and to pull new audiences through to the Nat Geo website. </a:t>
            </a:r>
          </a:p>
          <a:p>
            <a:pPr>
              <a:lnSpc>
                <a:spcPct val="100000"/>
              </a:lnSpc>
              <a:defRPr/>
            </a:pPr>
            <a:endParaRPr lang="en-GB" sz="1050" dirty="0"/>
          </a:p>
        </p:txBody>
      </p:sp>
      <p:sp>
        <p:nvSpPr>
          <p:cNvPr id="14" name="Text Placeholder 3">
            <a:extLst>
              <a:ext uri="{FF2B5EF4-FFF2-40B4-BE49-F238E27FC236}">
                <a16:creationId xmlns:a16="http://schemas.microsoft.com/office/drawing/2014/main" id="{DAA54152-294A-1F29-822D-15BEDB3CE3A2}"/>
              </a:ext>
            </a:extLst>
          </p:cNvPr>
          <p:cNvSpPr txBox="1">
            <a:spLocks/>
          </p:cNvSpPr>
          <p:nvPr/>
        </p:nvSpPr>
        <p:spPr>
          <a:xfrm>
            <a:off x="714123" y="3334690"/>
            <a:ext cx="3077563" cy="252501"/>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6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idea</a:t>
            </a:r>
          </a:p>
        </p:txBody>
      </p:sp>
      <p:sp>
        <p:nvSpPr>
          <p:cNvPr id="15" name="Text Placeholder 6">
            <a:extLst>
              <a:ext uri="{FF2B5EF4-FFF2-40B4-BE49-F238E27FC236}">
                <a16:creationId xmlns:a16="http://schemas.microsoft.com/office/drawing/2014/main" id="{21D7F76D-A7AA-5398-FE5D-E7A92B2FA5AF}"/>
              </a:ext>
            </a:extLst>
          </p:cNvPr>
          <p:cNvSpPr txBox="1">
            <a:spLocks/>
          </p:cNvSpPr>
          <p:nvPr/>
        </p:nvSpPr>
        <p:spPr>
          <a:xfrm>
            <a:off x="714022" y="3596288"/>
            <a:ext cx="3852000" cy="1167209"/>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000000"/>
              </a:buClr>
              <a:buSzPts val="1400"/>
            </a:pPr>
            <a:r>
              <a:rPr lang="en-GB" sz="900" dirty="0">
                <a:solidFill>
                  <a:schemeClr val="dk1"/>
                </a:solidFill>
                <a:sym typeface="Helvetica Neue"/>
              </a:rPr>
              <a:t>To mark COP26 ACNE developed the #26Visions creative platform. A creator-led approach which involved inviting 26 young passionate climate change activists to share their hopes for a better cared-for planet. Showing how individuals are making a difference on a daily basis and differentiating from the doom-mongering. This creator-first approach was filled with positivity and authentically connected with the audience through Instagram Stories in a way the brand had never done before. </a:t>
            </a:r>
          </a:p>
        </p:txBody>
      </p:sp>
      <p:sp>
        <p:nvSpPr>
          <p:cNvPr id="16" name="Text Placeholder 3">
            <a:extLst>
              <a:ext uri="{FF2B5EF4-FFF2-40B4-BE49-F238E27FC236}">
                <a16:creationId xmlns:a16="http://schemas.microsoft.com/office/drawing/2014/main" id="{91AAAD6F-00E6-4F0C-4634-7CC70EB0EB99}"/>
              </a:ext>
            </a:extLst>
          </p:cNvPr>
          <p:cNvSpPr txBox="1">
            <a:spLocks/>
          </p:cNvSpPr>
          <p:nvPr/>
        </p:nvSpPr>
        <p:spPr>
          <a:xfrm>
            <a:off x="714123" y="4994050"/>
            <a:ext cx="3077563" cy="252501"/>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6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buClr>
                <a:srgbClr val="787878"/>
              </a:buClr>
              <a:defRPr/>
            </a:pPr>
            <a:r>
              <a:rPr lang="en-GB" sz="1200" dirty="0">
                <a:latin typeface="Open Sans Light" panose="020B0306030504020204" pitchFamily="34" charset="0"/>
                <a:ea typeface="Open Sans Light" panose="020B0306030504020204" pitchFamily="34" charset="0"/>
                <a:cs typeface="Open Sans Light" panose="020B0306030504020204" pitchFamily="34" charset="0"/>
              </a:rPr>
              <a:t>New growth</a:t>
            </a:r>
          </a:p>
        </p:txBody>
      </p:sp>
      <p:sp>
        <p:nvSpPr>
          <p:cNvPr id="17" name="Text Placeholder 6">
            <a:extLst>
              <a:ext uri="{FF2B5EF4-FFF2-40B4-BE49-F238E27FC236}">
                <a16:creationId xmlns:a16="http://schemas.microsoft.com/office/drawing/2014/main" id="{DAEB0923-9AFC-DCCE-9EBA-D990080F8999}"/>
              </a:ext>
            </a:extLst>
          </p:cNvPr>
          <p:cNvSpPr txBox="1">
            <a:spLocks/>
          </p:cNvSpPr>
          <p:nvPr/>
        </p:nvSpPr>
        <p:spPr>
          <a:xfrm>
            <a:off x="714022" y="5255648"/>
            <a:ext cx="3852000" cy="1167209"/>
          </a:xfrm>
          <a:prstGeom prst="rect">
            <a:avLst/>
          </a:prstGeom>
        </p:spPr>
        <p:txBody>
          <a:bodyPr vert="horz" lIns="0" tIns="0" rIns="0" bIns="0" rtlCol="0">
            <a:noAutofit/>
          </a:bodyPr>
          <a:lstStyle>
            <a:lvl1pPr marL="0" indent="0" algn="l" defTabSz="685800" rtl="0" eaLnBrk="1" latinLnBrk="0" hangingPunct="1">
              <a:lnSpc>
                <a:spcPct val="130000"/>
              </a:lnSpc>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685800" rtl="0" eaLnBrk="1" latinLnBrk="0" hangingPunct="1">
              <a:spcBef>
                <a:spcPts val="0"/>
              </a:spcBef>
              <a:spcAft>
                <a:spcPts val="750"/>
              </a:spcAft>
              <a:buClrTx/>
              <a:buSzPct val="100000"/>
              <a:buFont typeface="Arial" panose="020B0604020202020204" pitchFamily="34" charset="0"/>
              <a:buNone/>
              <a:defRPr lang="en-US"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12700">
              <a:spcAft>
                <a:spcPts val="300"/>
              </a:spcAft>
              <a:buClr>
                <a:schemeClr val="dk1"/>
              </a:buClr>
              <a:buSzPts val="1400"/>
            </a:pPr>
            <a:r>
              <a:rPr lang="en-GB" sz="900" dirty="0">
                <a:solidFill>
                  <a:schemeClr val="dk1"/>
                </a:solidFill>
                <a:sym typeface="Helvetica Neue"/>
              </a:rPr>
              <a:t>30% over National Geographics engagement benchmark - setting a new standard</a:t>
            </a:r>
          </a:p>
          <a:p>
            <a:pPr marL="12700">
              <a:spcAft>
                <a:spcPts val="300"/>
              </a:spcAft>
              <a:buClr>
                <a:schemeClr val="dk1"/>
              </a:buClr>
              <a:buSzPts val="1400"/>
            </a:pPr>
            <a:r>
              <a:rPr lang="en-GB" sz="900" dirty="0">
                <a:solidFill>
                  <a:schemeClr val="dk1"/>
                </a:solidFill>
                <a:sym typeface="Helvetica Neue"/>
              </a:rPr>
              <a:t>238k people engaged with the campaign </a:t>
            </a:r>
          </a:p>
          <a:p>
            <a:pPr marL="12700">
              <a:spcAft>
                <a:spcPts val="300"/>
              </a:spcAft>
              <a:buClr>
                <a:schemeClr val="dk1"/>
              </a:buClr>
              <a:buSzPts val="1400"/>
            </a:pPr>
            <a:r>
              <a:rPr lang="en-GB" sz="900" dirty="0">
                <a:solidFill>
                  <a:schemeClr val="dk1"/>
                </a:solidFill>
                <a:sym typeface="Helvetica Neue"/>
              </a:rPr>
              <a:t>2.6M of the new audience target reached </a:t>
            </a:r>
          </a:p>
          <a:p>
            <a:pPr>
              <a:lnSpc>
                <a:spcPct val="100000"/>
              </a:lnSpc>
              <a:defRPr/>
            </a:pPr>
            <a:endParaRPr lang="en-GB" sz="1050" dirty="0"/>
          </a:p>
        </p:txBody>
      </p:sp>
      <p:grpSp>
        <p:nvGrpSpPr>
          <p:cNvPr id="29" name="Group 28">
            <a:extLst>
              <a:ext uri="{FF2B5EF4-FFF2-40B4-BE49-F238E27FC236}">
                <a16:creationId xmlns:a16="http://schemas.microsoft.com/office/drawing/2014/main" id="{3A578D1D-54D2-B1CE-3CFA-1F68A00DB449}"/>
              </a:ext>
            </a:extLst>
          </p:cNvPr>
          <p:cNvGrpSpPr/>
          <p:nvPr/>
        </p:nvGrpSpPr>
        <p:grpSpPr>
          <a:xfrm>
            <a:off x="1025305" y="1274134"/>
            <a:ext cx="2815714" cy="150829"/>
            <a:chOff x="314138" y="1164020"/>
            <a:chExt cx="2815714" cy="150829"/>
          </a:xfrm>
        </p:grpSpPr>
        <p:sp>
          <p:nvSpPr>
            <p:cNvPr id="4" name="Rectangle 3">
              <a:extLst>
                <a:ext uri="{FF2B5EF4-FFF2-40B4-BE49-F238E27FC236}">
                  <a16:creationId xmlns:a16="http://schemas.microsoft.com/office/drawing/2014/main" id="{E1B73CE2-B59A-4A2D-F423-AC407CCD4CF4}"/>
                </a:ext>
              </a:extLst>
            </p:cNvPr>
            <p:cNvSpPr/>
            <p:nvPr/>
          </p:nvSpPr>
          <p:spPr bwMode="gray">
            <a:xfrm>
              <a:off x="2222667" y="1164020"/>
              <a:ext cx="907185" cy="150829"/>
            </a:xfrm>
            <a:prstGeom prst="rect">
              <a:avLst/>
            </a:prstGeom>
            <a:solidFill>
              <a:srgbClr val="00B050"/>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WRITING SAMPLES</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Freeform 451">
              <a:extLst>
                <a:ext uri="{FF2B5EF4-FFF2-40B4-BE49-F238E27FC236}">
                  <a16:creationId xmlns:a16="http://schemas.microsoft.com/office/drawing/2014/main" id="{A2E53CFB-1487-69D5-92B4-F0B30E516369}"/>
                </a:ext>
              </a:extLst>
            </p:cNvPr>
            <p:cNvSpPr>
              <a:spLocks noEditPoints="1"/>
            </p:cNvSpPr>
            <p:nvPr/>
          </p:nvSpPr>
          <p:spPr bwMode="auto">
            <a:xfrm>
              <a:off x="2251969"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 name="Rectangle 6">
              <a:extLst>
                <a:ext uri="{FF2B5EF4-FFF2-40B4-BE49-F238E27FC236}">
                  <a16:creationId xmlns:a16="http://schemas.microsoft.com/office/drawing/2014/main" id="{96A297C1-1EDE-3562-A253-B4C1F5E1A5FE}"/>
                </a:ext>
              </a:extLst>
            </p:cNvPr>
            <p:cNvSpPr/>
            <p:nvPr/>
          </p:nvSpPr>
          <p:spPr bwMode="gray">
            <a:xfrm>
              <a:off x="314138" y="1164020"/>
              <a:ext cx="854362"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IMPACT STORIES</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 name="Freeform 451">
              <a:extLst>
                <a:ext uri="{FF2B5EF4-FFF2-40B4-BE49-F238E27FC236}">
                  <a16:creationId xmlns:a16="http://schemas.microsoft.com/office/drawing/2014/main" id="{65E56149-0B23-89AF-DCEC-E88FD7AEA0AB}"/>
                </a:ext>
              </a:extLst>
            </p:cNvPr>
            <p:cNvSpPr>
              <a:spLocks noEditPoints="1"/>
            </p:cNvSpPr>
            <p:nvPr/>
          </p:nvSpPr>
          <p:spPr bwMode="auto">
            <a:xfrm>
              <a:off x="343440"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8" name="Rectangle 17">
              <a:extLst>
                <a:ext uri="{FF2B5EF4-FFF2-40B4-BE49-F238E27FC236}">
                  <a16:creationId xmlns:a16="http://schemas.microsoft.com/office/drawing/2014/main" id="{B4C66195-4A37-D48C-2873-ABB3C58152B2}"/>
                </a:ext>
              </a:extLst>
            </p:cNvPr>
            <p:cNvSpPr/>
            <p:nvPr/>
          </p:nvSpPr>
          <p:spPr bwMode="gray">
            <a:xfrm>
              <a:off x="1214024" y="1164020"/>
              <a:ext cx="963119" cy="150829"/>
            </a:xfrm>
            <a:prstGeom prst="rect">
              <a:avLst/>
            </a:prstGeom>
            <a:solidFill>
              <a:schemeClr val="tx1"/>
            </a:solidFill>
            <a:ln w="19050" algn="ctr">
              <a:noFill/>
              <a:miter lim="800000"/>
              <a:headEnd/>
              <a:tailEnd/>
            </a:ln>
          </p:spPr>
          <p:txBody>
            <a:bodyPr wrap="square" lIns="0" tIns="0" rIns="0" bIns="0" rtlCol="0" anchor="ctr"/>
            <a:lstStyle/>
            <a:p>
              <a:pPr marL="180984"/>
              <a:r>
                <a:rPr lang="en-GB" sz="533"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REATIVE PLATFORM</a:t>
              </a:r>
              <a:endParaRPr lang="en-GB" sz="533"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Freeform 451">
              <a:extLst>
                <a:ext uri="{FF2B5EF4-FFF2-40B4-BE49-F238E27FC236}">
                  <a16:creationId xmlns:a16="http://schemas.microsoft.com/office/drawing/2014/main" id="{6AD02585-4206-8FA0-5B7E-F0480788ECA3}"/>
                </a:ext>
              </a:extLst>
            </p:cNvPr>
            <p:cNvSpPr>
              <a:spLocks noEditPoints="1"/>
            </p:cNvSpPr>
            <p:nvPr/>
          </p:nvSpPr>
          <p:spPr bwMode="auto">
            <a:xfrm>
              <a:off x="1243326" y="1198088"/>
              <a:ext cx="82693" cy="826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GB" sz="533">
                <a:latin typeface="Helvetica Neue" panose="02000503000000020004" pitchFamily="2" charset="0"/>
                <a:ea typeface="Helvetica Neue" panose="02000503000000020004" pitchFamily="2" charset="0"/>
                <a:cs typeface="Helvetica Neue" panose="02000503000000020004" pitchFamily="2" charset="0"/>
              </a:endParaRPr>
            </a:p>
          </p:txBody>
        </p:sp>
      </p:grpSp>
      <p:grpSp>
        <p:nvGrpSpPr>
          <p:cNvPr id="32" name="Group 31">
            <a:extLst>
              <a:ext uri="{FF2B5EF4-FFF2-40B4-BE49-F238E27FC236}">
                <a16:creationId xmlns:a16="http://schemas.microsoft.com/office/drawing/2014/main" id="{A29FF844-1AA5-27F6-12F1-62D31C70F4BA}"/>
              </a:ext>
            </a:extLst>
          </p:cNvPr>
          <p:cNvGrpSpPr/>
          <p:nvPr/>
        </p:nvGrpSpPr>
        <p:grpSpPr>
          <a:xfrm>
            <a:off x="10574601" y="136754"/>
            <a:ext cx="1501284" cy="524350"/>
            <a:chOff x="263200" y="303667"/>
            <a:chExt cx="1501284" cy="524350"/>
          </a:xfrm>
        </p:grpSpPr>
        <p:pic>
          <p:nvPicPr>
            <p:cNvPr id="30" name="Google Shape;313;p16">
              <a:extLst>
                <a:ext uri="{FF2B5EF4-FFF2-40B4-BE49-F238E27FC236}">
                  <a16:creationId xmlns:a16="http://schemas.microsoft.com/office/drawing/2014/main" id="{30E052C4-F43E-7CA7-A003-E025762A9F2A}"/>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263200" y="303667"/>
              <a:ext cx="402601" cy="524350"/>
            </a:xfrm>
            <a:prstGeom prst="rect">
              <a:avLst/>
            </a:prstGeom>
            <a:noFill/>
            <a:ln>
              <a:noFill/>
            </a:ln>
          </p:spPr>
        </p:pic>
        <p:pic>
          <p:nvPicPr>
            <p:cNvPr id="31" name="Google Shape;314;p16">
              <a:extLst>
                <a:ext uri="{FF2B5EF4-FFF2-40B4-BE49-F238E27FC236}">
                  <a16:creationId xmlns:a16="http://schemas.microsoft.com/office/drawing/2014/main" id="{A8637B68-17CA-4A8C-7E1D-D1853D35784C}"/>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658767" y="303667"/>
              <a:ext cx="1105717" cy="524350"/>
            </a:xfrm>
            <a:prstGeom prst="rect">
              <a:avLst/>
            </a:prstGeom>
            <a:noFill/>
            <a:ln>
              <a:noFill/>
            </a:ln>
          </p:spPr>
        </p:pic>
      </p:grpSp>
      <p:pic>
        <p:nvPicPr>
          <p:cNvPr id="33" name="Google Shape;310;p16">
            <a:extLst>
              <a:ext uri="{FF2B5EF4-FFF2-40B4-BE49-F238E27FC236}">
                <a16:creationId xmlns:a16="http://schemas.microsoft.com/office/drawing/2014/main" id="{1BA4F4CC-1CEC-C8B2-3A46-03096B22803E}"/>
              </a:ext>
            </a:extLst>
          </p:cNvPr>
          <p:cNvPicPr preferRelativeResize="0">
            <a:picLocks/>
          </p:cNvPicPr>
          <p:nvPr/>
        </p:nvPicPr>
        <p:blipFill rotWithShape="1">
          <a:blip r:embed="rId7" cstate="email">
            <a:alphaModFix/>
            <a:extLst>
              <a:ext uri="{28A0092B-C50C-407E-A947-70E740481C1C}">
                <a14:useLocalDpi xmlns:a14="http://schemas.microsoft.com/office/drawing/2010/main"/>
              </a:ext>
            </a:extLst>
          </a:blip>
          <a:srcRect/>
          <a:stretch/>
        </p:blipFill>
        <p:spPr>
          <a:xfrm>
            <a:off x="5058230" y="704646"/>
            <a:ext cx="7133770" cy="6153354"/>
          </a:xfrm>
          <a:prstGeom prst="rect">
            <a:avLst/>
          </a:prstGeom>
          <a:noFill/>
          <a:ln>
            <a:noFill/>
          </a:ln>
        </p:spPr>
      </p:pic>
      <p:sp>
        <p:nvSpPr>
          <p:cNvPr id="36" name="Google Shape;315;p16">
            <a:hlinkClick r:id="rId8"/>
            <a:extLst>
              <a:ext uri="{FF2B5EF4-FFF2-40B4-BE49-F238E27FC236}">
                <a16:creationId xmlns:a16="http://schemas.microsoft.com/office/drawing/2014/main" id="{40B707D4-4014-8679-67F7-7110082B1B68}"/>
              </a:ext>
            </a:extLst>
          </p:cNvPr>
          <p:cNvSpPr/>
          <p:nvPr/>
        </p:nvSpPr>
        <p:spPr>
          <a:xfrm>
            <a:off x="714022" y="6252457"/>
            <a:ext cx="979000" cy="340800"/>
          </a:xfrm>
          <a:prstGeom prst="rect">
            <a:avLst/>
          </a:prstGeom>
          <a:solidFill>
            <a:srgbClr val="1CABE3"/>
          </a:solidFill>
          <a:ln>
            <a:noFill/>
          </a:ln>
        </p:spPr>
        <p:txBody>
          <a:bodyPr spcFirstLastPara="1" wrap="square" lIns="60950" tIns="60950" rIns="60950" bIns="60950" anchor="ctr" anchorCtr="0">
            <a:noAutofit/>
          </a:bodyPr>
          <a:lstStyle/>
          <a:p>
            <a:pPr algn="ctr">
              <a:lnSpc>
                <a:spcPct val="115000"/>
              </a:lnSpc>
              <a:buClr>
                <a:srgbClr val="000000"/>
              </a:buClr>
              <a:buSzPts val="1300"/>
            </a:pPr>
            <a:r>
              <a:rPr lang="en-GB" sz="1000" b="1" dirty="0">
                <a:solidFill>
                  <a:schemeClr val="lt1"/>
                </a:solidFill>
                <a:latin typeface="Open Sans Light" panose="020B0306030504020204" pitchFamily="34" charset="0"/>
                <a:ea typeface="Open Sans Light" panose="020B0306030504020204" pitchFamily="34" charset="0"/>
                <a:cs typeface="Open Sans Light" panose="020B0306030504020204" pitchFamily="34" charset="0"/>
                <a:sym typeface="Helvetica Neue"/>
              </a:rPr>
              <a:t>Website</a:t>
            </a:r>
            <a:endParaRPr lang="en-GB" sz="2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Helvetica Neue"/>
            </a:endParaRPr>
          </a:p>
        </p:txBody>
      </p:sp>
    </p:spTree>
    <p:extLst>
      <p:ext uri="{BB962C8B-B14F-4D97-AF65-F5344CB8AC3E}">
        <p14:creationId xmlns:p14="http://schemas.microsoft.com/office/powerpoint/2010/main" val="256312585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5" y="1532108"/>
            <a:ext cx="3271720" cy="237016"/>
          </a:xfrm>
          <a:prstGeom prst="roundRect">
            <a:avLst/>
          </a:prstGeom>
          <a:solidFill>
            <a:srgbClr val="1CABE3"/>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5" y="2898310"/>
            <a:ext cx="3271720" cy="237016"/>
          </a:xfrm>
          <a:prstGeom prst="roundRect">
            <a:avLst/>
          </a:prstGeom>
          <a:solidFill>
            <a:srgbClr val="1CABE3"/>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5" y="5228199"/>
            <a:ext cx="3271720" cy="237016"/>
          </a:xfrm>
          <a:prstGeom prst="roundRect">
            <a:avLst/>
          </a:prstGeom>
          <a:solidFill>
            <a:srgbClr val="1CABE3"/>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463295" y="3300752"/>
            <a:ext cx="3283830" cy="17620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have developed a responsive state of the art microsite in close collaboration with DFB</a:t>
            </a:r>
          </a:p>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kes a look back at the unique 20/21 season and documents the most spectacular highlights</a:t>
            </a:r>
          </a:p>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 DFB Pokal experience is transferred into the digital world and allows fans, to share them with each other</a:t>
            </a:r>
          </a:p>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teractively engage with the tournament</a:t>
            </a:r>
          </a:p>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est possible user guidance</a:t>
            </a:r>
          </a:p>
        </p:txBody>
      </p:sp>
      <p:sp>
        <p:nvSpPr>
          <p:cNvPr id="9" name="TextBox 8">
            <a:extLst>
              <a:ext uri="{FF2B5EF4-FFF2-40B4-BE49-F238E27FC236}">
                <a16:creationId xmlns:a16="http://schemas.microsoft.com/office/drawing/2014/main" id="{DA777C58-6C9A-AE61-3145-40F2FC948984}"/>
              </a:ext>
            </a:extLst>
          </p:cNvPr>
          <p:cNvSpPr txBox="1"/>
          <p:nvPr/>
        </p:nvSpPr>
        <p:spPr>
          <a:xfrm>
            <a:off x="463295" y="1891288"/>
            <a:ext cx="3283830" cy="88485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ince 1935, the German Football Association (DFB) has organized an annual football cup</a:t>
            </a:r>
          </a:p>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 opportunity for the fans to immerse themselves once again in the fascination of the competition with all its emotions and stories </a:t>
            </a:r>
          </a:p>
        </p:txBody>
      </p:sp>
      <p:sp>
        <p:nvSpPr>
          <p:cNvPr id="14" name="TextBox 13">
            <a:extLst>
              <a:ext uri="{FF2B5EF4-FFF2-40B4-BE49-F238E27FC236}">
                <a16:creationId xmlns:a16="http://schemas.microsoft.com/office/drawing/2014/main" id="{242EC6AF-8C25-A375-FF99-2FB0991EC69E}"/>
              </a:ext>
            </a:extLst>
          </p:cNvPr>
          <p:cNvSpPr txBox="1"/>
          <p:nvPr/>
        </p:nvSpPr>
        <p:spPr>
          <a:xfrm>
            <a:off x="463294" y="5616569"/>
            <a:ext cx="3283829"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ne week after the Pokal final the DFB Pokal went online, the story of each round is told</a:t>
            </a:r>
          </a:p>
          <a:p>
            <a:pPr marL="171450" marR="0" lvl="3" indent="-171450" algn="l" defTabSz="914400" rtl="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okal heroes are crowned, facts worth knowing are provided, photos and videos are shown</a:t>
            </a:r>
          </a:p>
        </p:txBody>
      </p:sp>
      <p:pic>
        <p:nvPicPr>
          <p:cNvPr id="18" name="Picture 17">
            <a:extLst>
              <a:ext uri="{FF2B5EF4-FFF2-40B4-BE49-F238E27FC236}">
                <a16:creationId xmlns:a16="http://schemas.microsoft.com/office/drawing/2014/main" id="{B1C098D1-1A84-A40E-E00A-08F3EB03176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47338" y="217198"/>
            <a:ext cx="9472142" cy="6314761"/>
          </a:xfrm>
          <a:prstGeom prst="rect">
            <a:avLst/>
          </a:prstGeom>
        </p:spPr>
      </p:pic>
      <p:sp>
        <p:nvSpPr>
          <p:cNvPr id="19" name="Rectangle 18">
            <a:hlinkClick r:id="rId7"/>
            <a:extLst>
              <a:ext uri="{FF2B5EF4-FFF2-40B4-BE49-F238E27FC236}">
                <a16:creationId xmlns:a16="http://schemas.microsoft.com/office/drawing/2014/main" id="{53020283-CBAF-993E-4E28-0FAE9D80EDD9}"/>
              </a:ext>
            </a:extLst>
          </p:cNvPr>
          <p:cNvSpPr/>
          <p:nvPr/>
        </p:nvSpPr>
        <p:spPr bwMode="gray">
          <a:xfrm>
            <a:off x="4285013" y="1521142"/>
            <a:ext cx="7304314" cy="3933107"/>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srgbClr val="FFFFFF"/>
              </a:solidFill>
              <a:effectLst/>
              <a:uLnTx/>
              <a:uFillTx/>
              <a:latin typeface="Calibri"/>
              <a:ea typeface="+mn-ea"/>
              <a:cs typeface="+mn-cs"/>
            </a:endParaRPr>
          </a:p>
        </p:txBody>
      </p:sp>
      <p:pic>
        <p:nvPicPr>
          <p:cNvPr id="20" name="Picture 19">
            <a:extLst>
              <a:ext uri="{FF2B5EF4-FFF2-40B4-BE49-F238E27FC236}">
                <a16:creationId xmlns:a16="http://schemas.microsoft.com/office/drawing/2014/main" id="{2910DA1E-1E81-A9C2-C8D1-2E15B9ED138E}"/>
              </a:ext>
            </a:extLst>
          </p:cNvPr>
          <p:cNvPicPr>
            <a:picLocks noChangeAspect="1"/>
          </p:cNvPicPr>
          <p:nvPr/>
        </p:nvPicPr>
        <p:blipFill>
          <a:blip r:embed="rId8">
            <a:biLevel thresh="75000"/>
            <a:alphaModFix amt="30000"/>
            <a:extLst>
              <a:ext uri="{BEBA8EAE-BF5A-486C-A8C5-ECC9F3942E4B}">
                <a14:imgProps xmlns:a14="http://schemas.microsoft.com/office/drawing/2010/main">
                  <a14:imgLayer r:embed="rId9">
                    <a14:imgEffect>
                      <a14:brightnessContrast bright="-40000" contrast="40000"/>
                    </a14:imgEffect>
                  </a14:imgLayer>
                </a14:imgProps>
              </a:ext>
            </a:extLst>
          </a:blip>
          <a:stretch>
            <a:fillRect/>
          </a:stretch>
        </p:blipFill>
        <p:spPr>
          <a:xfrm rot="19136939">
            <a:off x="7817036" y="5553226"/>
            <a:ext cx="1106637" cy="1106637"/>
          </a:xfrm>
          <a:prstGeom prst="rect">
            <a:avLst/>
          </a:prstGeom>
        </p:spPr>
      </p:pic>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8307218"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GB" sz="2800" b="0" i="0" u="none" strike="noStrike" kern="0" cap="none" spc="-75" normalizeH="0" baseline="0" noProof="0">
                <a:ln>
                  <a:noFill/>
                </a:ln>
                <a:solidFill>
                  <a:srgbClr val="000000">
                    <a:lumMod val="50000"/>
                  </a:srgb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Helvetica"/>
              </a:rPr>
              <a:t>DFB Pokal</a:t>
            </a:r>
            <a:endParaRPr kumimoji="0" lang="en-GB" sz="2800" b="0" i="0" u="none" strike="noStrike" kern="1200" cap="none" spc="-75"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extBox 3">
            <a:extLst>
              <a:ext uri="{FF2B5EF4-FFF2-40B4-BE49-F238E27FC236}">
                <a16:creationId xmlns:a16="http://schemas.microsoft.com/office/drawing/2014/main" id="{3D9F41BF-1837-7D3B-D8EB-EEDB4B9873FE}"/>
              </a:ext>
            </a:extLst>
          </p:cNvPr>
          <p:cNvSpPr txBox="1"/>
          <p:nvPr/>
        </p:nvSpPr>
        <p:spPr>
          <a:xfrm>
            <a:off x="463296" y="978637"/>
            <a:ext cx="8140378"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GB" sz="1400" b="0" i="0" u="none" strike="noStrike" kern="0" cap="none" spc="0" normalizeH="0" baseline="0" noProof="0" dirty="0">
                <a:ln>
                  <a:noFill/>
                </a:ln>
                <a:solidFill>
                  <a:srgbClr val="000000">
                    <a:lumMod val="50000"/>
                  </a:srgb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nline report 2020/2021</a:t>
            </a:r>
          </a:p>
        </p:txBody>
      </p:sp>
      <p:sp>
        <p:nvSpPr>
          <p:cNvPr id="2" name="Google Shape;315;p16">
            <a:hlinkClick r:id="rId7"/>
            <a:extLst>
              <a:ext uri="{FF2B5EF4-FFF2-40B4-BE49-F238E27FC236}">
                <a16:creationId xmlns:a16="http://schemas.microsoft.com/office/drawing/2014/main" id="{86C6A085-7B06-A36A-C7F6-8911D9F5387F}"/>
              </a:ext>
            </a:extLst>
          </p:cNvPr>
          <p:cNvSpPr/>
          <p:nvPr/>
        </p:nvSpPr>
        <p:spPr>
          <a:xfrm>
            <a:off x="6641599" y="5790441"/>
            <a:ext cx="979000" cy="340800"/>
          </a:xfrm>
          <a:prstGeom prst="rect">
            <a:avLst/>
          </a:prstGeom>
          <a:solidFill>
            <a:srgbClr val="1CABE3"/>
          </a:solidFill>
          <a:ln>
            <a:noFill/>
          </a:ln>
        </p:spPr>
        <p:txBody>
          <a:bodyPr spcFirstLastPara="1" wrap="square" lIns="60950" tIns="60950" rIns="60950" bIns="60950" anchor="ctr" anchorCtr="0">
            <a:noAutofit/>
          </a:bodyPr>
          <a:lstStyle/>
          <a:p>
            <a:pPr marL="0" marR="0" lvl="0" indent="0" algn="ctr" defTabSz="914400" rtl="0" eaLnBrk="1" fontAlgn="auto" latinLnBrk="0" hangingPunct="1">
              <a:lnSpc>
                <a:spcPct val="115000"/>
              </a:lnSpc>
              <a:spcBef>
                <a:spcPts val="0"/>
              </a:spcBef>
              <a:spcAft>
                <a:spcPts val="0"/>
              </a:spcAft>
              <a:buClr>
                <a:srgbClr val="000000"/>
              </a:buClr>
              <a:buSzPts val="1300"/>
              <a:buFontTx/>
              <a:buNone/>
              <a:tabLst/>
              <a:defRPr/>
            </a:pPr>
            <a:r>
              <a:rPr kumimoji="0" lang="en-GB" sz="100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sym typeface="Helvetica Neue"/>
              </a:rPr>
              <a:t>Website</a:t>
            </a:r>
            <a:endParaRPr kumimoji="0" lang="en-GB" sz="2000" u="none" strike="noStrike" kern="1200" cap="none" spc="0" normalizeH="0" baseline="0" noProof="0" dirty="0">
              <a:ln>
                <a:noFill/>
              </a:ln>
              <a:solidFill>
                <a:srgbClr val="000000"/>
              </a:solidFill>
              <a:effectLst/>
              <a:uLnTx/>
              <a:uFillTx/>
              <a:latin typeface="Calibri" panose="020F0502020204030204" pitchFamily="34" charset="0"/>
              <a:ea typeface="Open Sans" panose="020B0606030504020204" pitchFamily="34" charset="0"/>
              <a:cs typeface="Calibri" panose="020F0502020204030204" pitchFamily="34" charset="0"/>
              <a:sym typeface="Helvetica Neue"/>
            </a:endParaRPr>
          </a:p>
        </p:txBody>
      </p:sp>
    </p:spTree>
    <p:extLst>
      <p:ext uri="{BB962C8B-B14F-4D97-AF65-F5344CB8AC3E}">
        <p14:creationId xmlns:p14="http://schemas.microsoft.com/office/powerpoint/2010/main" val="216922990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4">
            <a:extLst>
              <a:ext uri="{FF2B5EF4-FFF2-40B4-BE49-F238E27FC236}">
                <a16:creationId xmlns:a16="http://schemas.microsoft.com/office/drawing/2014/main" id="{C1DCE94A-EBF8-755A-2516-961C323F433F}"/>
              </a:ext>
            </a:extLst>
          </p:cNvPr>
          <p:cNvSpPr/>
          <p:nvPr/>
        </p:nvSpPr>
        <p:spPr>
          <a:xfrm>
            <a:off x="-8920" y="4950657"/>
            <a:ext cx="12211430" cy="1896940"/>
          </a:xfrm>
          <a:custGeom>
            <a:avLst/>
            <a:gdLst/>
            <a:ahLst/>
            <a:cxnLst/>
            <a:rect l="l" t="t" r="r" b="b"/>
            <a:pathLst>
              <a:path w="10614660" h="3399790">
                <a:moveTo>
                  <a:pt x="0" y="3399332"/>
                </a:moveTo>
                <a:lnTo>
                  <a:pt x="10614616" y="3399332"/>
                </a:lnTo>
                <a:lnTo>
                  <a:pt x="10614616" y="0"/>
                </a:lnTo>
                <a:lnTo>
                  <a:pt x="0" y="0"/>
                </a:lnTo>
                <a:lnTo>
                  <a:pt x="0" y="3399332"/>
                </a:lnTo>
                <a:close/>
              </a:path>
            </a:pathLst>
          </a:custGeom>
          <a:solidFill>
            <a:schemeClr val="bg1">
              <a:lumMod val="95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Text Placeholder 79">
            <a:extLst>
              <a:ext uri="{FF2B5EF4-FFF2-40B4-BE49-F238E27FC236}">
                <a16:creationId xmlns:a16="http://schemas.microsoft.com/office/drawing/2014/main" id="{FF80F593-DA33-5541-A4DD-98138E88A881}"/>
              </a:ext>
            </a:extLst>
          </p:cNvPr>
          <p:cNvSpPr>
            <a:spLocks noGrp="1"/>
          </p:cNvSpPr>
          <p:nvPr>
            <p:ph type="body" sz="quarter" idx="39"/>
          </p:nvPr>
        </p:nvSpPr>
        <p:spPr>
          <a:xfrm>
            <a:off x="605321" y="2190037"/>
            <a:ext cx="6255290" cy="1415003"/>
          </a:xfrm>
        </p:spPr>
        <p:txBody>
          <a:bodyPr/>
          <a:lstStyle/>
          <a:p>
            <a:r>
              <a:rPr lang="en-GB" sz="1000">
                <a:latin typeface="+mj-lt"/>
              </a:rPr>
              <a:t>FRA aimed to implement a competency-based management approach and supporting digital tool. The Agency established a well-defined organizational structure with distinct hierarchical levels and functional divisions. With the assistance of Deloitte, FRA developed a robust and comprehensive competency framework, complete with competency profiles. To effectively implement the competency framework and realize its benefits, FRA sought to initiate a competency scan for its workforce and redesign core HR processes to align with the competency-based approach.</a:t>
            </a:r>
            <a:endParaRPr lang="pl-PL" sz="1000">
              <a:latin typeface="+mj-lt"/>
            </a:endParaRPr>
          </a:p>
        </p:txBody>
      </p:sp>
      <p:sp>
        <p:nvSpPr>
          <p:cNvPr id="29" name="Rectangle 2">
            <a:extLst>
              <a:ext uri="{FF2B5EF4-FFF2-40B4-BE49-F238E27FC236}">
                <a16:creationId xmlns:a16="http://schemas.microsoft.com/office/drawing/2014/main" id="{3CDEA602-9FFB-C646-9EC6-C3EE6382D230}"/>
              </a:ext>
            </a:extLst>
          </p:cNvPr>
          <p:cNvSpPr/>
          <p:nvPr/>
        </p:nvSpPr>
        <p:spPr>
          <a:xfrm>
            <a:off x="12901053" y="4602091"/>
            <a:ext cx="3883310" cy="215444"/>
          </a:xfrm>
          <a:prstGeom prst="rect">
            <a:avLst/>
          </a:prstGeom>
          <a:ln w="12700">
            <a:miter lim="400000"/>
          </a:ln>
        </p:spPr>
        <p:txBody>
          <a:bodyPr wrap="square" lIns="0" tIns="0" rIns="0" bIns="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pl-PL" sz="1400" b="0" i="0" u="none" strike="noStrike" kern="0" cap="none" spc="0" normalizeH="0" baseline="0" noProof="0">
              <a:ln>
                <a:noFill/>
              </a:ln>
              <a:solidFill>
                <a:srgbClr val="5C5C5C"/>
              </a:solidFill>
              <a:effectLst/>
              <a:uLnTx/>
              <a:uFillTx/>
              <a:latin typeface="Open Sans"/>
              <a:ea typeface="Open Sans"/>
              <a:cs typeface="Open Sans"/>
              <a:sym typeface="Helvetica"/>
            </a:endParaRPr>
          </a:p>
        </p:txBody>
      </p:sp>
      <p:sp>
        <p:nvSpPr>
          <p:cNvPr id="50" name="Text Placeholder 49">
            <a:extLst>
              <a:ext uri="{FF2B5EF4-FFF2-40B4-BE49-F238E27FC236}">
                <a16:creationId xmlns:a16="http://schemas.microsoft.com/office/drawing/2014/main" id="{82218BD0-A294-3C46-A76A-735E776E657F}"/>
              </a:ext>
            </a:extLst>
          </p:cNvPr>
          <p:cNvSpPr>
            <a:spLocks noGrp="1"/>
          </p:cNvSpPr>
          <p:nvPr>
            <p:ph type="body" sz="quarter" idx="18"/>
          </p:nvPr>
        </p:nvSpPr>
        <p:spPr>
          <a:xfrm>
            <a:off x="606909" y="1252429"/>
            <a:ext cx="5998989" cy="439737"/>
          </a:xfrm>
        </p:spPr>
        <p:txBody>
          <a:bodyPr>
            <a:normAutofit/>
          </a:bodyPr>
          <a:lstStyle/>
          <a:p>
            <a:r>
              <a:rPr lang="en-US" sz="2400">
                <a:ea typeface="+mj-ea"/>
                <a:cs typeface="Calibri Light" panose="020F0302020204030204" pitchFamily="34" charset="0"/>
              </a:rPr>
              <a:t>Development of Competency Scanner Web Tool</a:t>
            </a:r>
          </a:p>
        </p:txBody>
      </p:sp>
      <p:sp>
        <p:nvSpPr>
          <p:cNvPr id="76" name="Text Placeholder 75">
            <a:extLst>
              <a:ext uri="{FF2B5EF4-FFF2-40B4-BE49-F238E27FC236}">
                <a16:creationId xmlns:a16="http://schemas.microsoft.com/office/drawing/2014/main" id="{A2BB1CCF-5398-CE42-934A-DFB07BDD78C7}"/>
              </a:ext>
            </a:extLst>
          </p:cNvPr>
          <p:cNvSpPr>
            <a:spLocks noGrp="1"/>
          </p:cNvSpPr>
          <p:nvPr>
            <p:ph type="body" sz="quarter" idx="25"/>
          </p:nvPr>
        </p:nvSpPr>
        <p:spPr>
          <a:xfrm>
            <a:off x="605320" y="3589320"/>
            <a:ext cx="3462337" cy="219678"/>
          </a:xfrm>
        </p:spPr>
        <p:txBody>
          <a:bodyPr>
            <a:noAutofit/>
          </a:bodyPr>
          <a:lstStyle/>
          <a:p>
            <a:pPr marL="12700">
              <a:spcBef>
                <a:spcPts val="745"/>
              </a:spcBef>
              <a:defRPr/>
            </a:pPr>
            <a:r>
              <a:rPr lang="en-US" sz="1200" spc="125">
                <a:solidFill>
                  <a:srgbClr val="62B5E5"/>
                </a:solidFill>
                <a:latin typeface="Open Sans" panose="020B0606030504020204" pitchFamily="34" charset="0"/>
                <a:ea typeface="Open Sans" panose="020B0606030504020204" pitchFamily="34" charset="0"/>
                <a:cs typeface="Open Sans" panose="020B0606030504020204" pitchFamily="34" charset="0"/>
              </a:rPr>
              <a:t>SOLUTION</a:t>
            </a:r>
          </a:p>
        </p:txBody>
      </p:sp>
      <p:pic>
        <p:nvPicPr>
          <p:cNvPr id="43" name="Picture 42">
            <a:extLst>
              <a:ext uri="{FF2B5EF4-FFF2-40B4-BE49-F238E27FC236}">
                <a16:creationId xmlns:a16="http://schemas.microsoft.com/office/drawing/2014/main" id="{DF84C6D4-D1DB-9445-A6F5-C79C1889E54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778796" y="830243"/>
            <a:ext cx="1962202" cy="3660730"/>
          </a:xfrm>
          <a:prstGeom prst="rect">
            <a:avLst/>
          </a:prstGeom>
        </p:spPr>
      </p:pic>
      <p:pic>
        <p:nvPicPr>
          <p:cNvPr id="45" name="Picture 2" descr="https://upload.wikimedia.org/wikipedia/commons/thumb/8/84/European_Commission.svg/1280px-European_Commission.svg.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2747" y="221804"/>
            <a:ext cx="1252848" cy="868185"/>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quarter" idx="40"/>
          </p:nvPr>
        </p:nvSpPr>
        <p:spPr>
          <a:xfrm>
            <a:off x="605320" y="3812623"/>
            <a:ext cx="6255287" cy="1214948"/>
          </a:xfrm>
        </p:spPr>
        <p:txBody>
          <a:bodyPr/>
          <a:lstStyle/>
          <a:p>
            <a:r>
              <a:rPr lang="en-GB" sz="1000">
                <a:latin typeface="+mj-lt"/>
              </a:rPr>
              <a:t>Based on a previously developed self-assessment tool, a solution was developed where agency members can perform a self-assessment and receive assessments from designated evaluators to learn about their strengths and weaknesses and receive training to improve in their designated role. The tool also provides statistics for higher-ups regarding their sectors and units. A headless CMS was added to provide FRA with the ability to maintain all the data without further assistance.</a:t>
            </a:r>
            <a:endParaRPr lang="pl-PL" sz="1000">
              <a:latin typeface="+mj-lt"/>
            </a:endParaRPr>
          </a:p>
        </p:txBody>
      </p:sp>
      <p:sp>
        <p:nvSpPr>
          <p:cNvPr id="12" name="TextBox 11">
            <a:extLst>
              <a:ext uri="{FF2B5EF4-FFF2-40B4-BE49-F238E27FC236}">
                <a16:creationId xmlns:a16="http://schemas.microsoft.com/office/drawing/2014/main" id="{4A4ADDD9-62FD-A300-B57F-236ECBE535E9}"/>
              </a:ext>
            </a:extLst>
          </p:cNvPr>
          <p:cNvSpPr txBox="1"/>
          <p:nvPr/>
        </p:nvSpPr>
        <p:spPr>
          <a:xfrm>
            <a:off x="605320" y="1894047"/>
            <a:ext cx="2048097" cy="276999"/>
          </a:xfrm>
          <a:prstGeom prst="rect">
            <a:avLst/>
          </a:prstGeom>
          <a:noFill/>
        </p:spPr>
        <p:txBody>
          <a:bodyPr wrap="square">
            <a:spAutoFit/>
          </a:bodyPr>
          <a:lstStyle/>
          <a:p>
            <a:pPr marL="12700">
              <a:spcBef>
                <a:spcPts val="745"/>
              </a:spcBef>
              <a:defRPr/>
            </a:pPr>
            <a:r>
              <a:rPr lang="en-US" sz="1200" b="1" spc="125">
                <a:solidFill>
                  <a:srgbClr val="62B5E5"/>
                </a:solidFill>
                <a:latin typeface="Open Sans" panose="020B0606030504020204" pitchFamily="34" charset="0"/>
                <a:ea typeface="Open Sans" panose="020B0606030504020204" pitchFamily="34" charset="0"/>
                <a:cs typeface="Open Sans" panose="020B0606030504020204" pitchFamily="34" charset="0"/>
              </a:rPr>
              <a:t>PROJECT OVERVIEW</a:t>
            </a:r>
            <a:endParaRPr lang="en-US" sz="1200" b="1">
              <a:solidFill>
                <a:srgbClr val="62B5E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Prostokąt 1">
            <a:extLst>
              <a:ext uri="{FF2B5EF4-FFF2-40B4-BE49-F238E27FC236}">
                <a16:creationId xmlns:a16="http://schemas.microsoft.com/office/drawing/2014/main" id="{9F6ECE40-443F-0E47-1DD7-C9DF6341F19A}"/>
              </a:ext>
            </a:extLst>
          </p:cNvPr>
          <p:cNvSpPr/>
          <p:nvPr/>
        </p:nvSpPr>
        <p:spPr>
          <a:xfrm>
            <a:off x="750016" y="5133349"/>
            <a:ext cx="2531569" cy="892552"/>
          </a:xfrm>
          <a:prstGeom prst="rect">
            <a:avLst/>
          </a:prstGeom>
        </p:spPr>
        <p:txBody>
          <a:bodyPr wrap="square" lIns="0" tIns="45720" rIns="91440" bIns="45720" anchor="t">
            <a:spAutoFit/>
          </a:bodyPr>
          <a:lstStyle/>
          <a:p>
            <a:pPr hangingPunct="0">
              <a:spcBef>
                <a:spcPts val="1000"/>
              </a:spcBef>
              <a:defRPr/>
            </a:pPr>
            <a:r>
              <a:rPr lang="en-GB" sz="1200" b="1" kern="0" dirty="0">
                <a:solidFill>
                  <a:srgbClr val="62B5E5"/>
                </a:solidFill>
                <a:latin typeface="Open Sans"/>
                <a:ea typeface="Open Sans SemiBold" panose="020B0606030504020204" pitchFamily="34" charset="0"/>
                <a:cs typeface="Open Sans SemiBold" panose="020B0606030504020204" pitchFamily="34" charset="0"/>
                <a:sym typeface="Helvetica"/>
              </a:rPr>
              <a:t>TEAM</a:t>
            </a:r>
            <a:r>
              <a:rPr lang="en-US" sz="1200" b="1" kern="0" dirty="0">
                <a:solidFill>
                  <a:srgbClr val="62B5E5"/>
                </a:solidFill>
                <a:latin typeface="Open Sans"/>
                <a:ea typeface="Open Sans SemiBold" panose="020B0606030504020204" pitchFamily="34" charset="0"/>
                <a:cs typeface="Open Sans SemiBold" panose="020B0606030504020204" pitchFamily="34" charset="0"/>
                <a:sym typeface="Helvetica"/>
              </a:rPr>
              <a:t>:</a:t>
            </a:r>
          </a:p>
          <a:p>
            <a:pPr marL="171450" indent="-171450" hangingPunct="0">
              <a:buClr>
                <a:srgbClr val="A0DCFF"/>
              </a:buClr>
              <a:buFont typeface="Arial" panose="020B0604020202020204" pitchFamily="34" charset="0"/>
              <a:buChar char="•"/>
              <a:defRPr/>
            </a:pPr>
            <a:r>
              <a:rPr lang="en-GB" sz="1000" kern="0">
                <a:solidFill>
                  <a:srgbClr val="000000">
                    <a:lumMod val="50000"/>
                  </a:srgbClr>
                </a:solidFill>
                <a:latin typeface="Open Sans Light"/>
                <a:ea typeface="Open Sans Light"/>
                <a:cs typeface="Open Sans Light"/>
                <a:sym typeface="Helvetica"/>
              </a:rPr>
              <a:t>Project Lead &amp; Architect</a:t>
            </a:r>
          </a:p>
          <a:p>
            <a:pPr marL="171450" indent="-171450" hangingPunct="0">
              <a:buClr>
                <a:srgbClr val="A0DCFF"/>
              </a:buClr>
              <a:buFont typeface="Arial" panose="020B0604020202020204" pitchFamily="34" charset="0"/>
              <a:buChar char="•"/>
              <a:defRPr/>
            </a:pPr>
            <a:r>
              <a:rPr lang="en-GB" sz="1000" kern="0">
                <a:solidFill>
                  <a:srgbClr val="000000">
                    <a:lumMod val="50000"/>
                  </a:srgbClr>
                </a:solidFill>
                <a:latin typeface="Open Sans Light"/>
                <a:ea typeface="Open Sans Light"/>
                <a:cs typeface="Open Sans Light"/>
                <a:sym typeface="Helvetica"/>
              </a:rPr>
              <a:t>Team of Frontend &amp; Mobile developers</a:t>
            </a:r>
          </a:p>
          <a:p>
            <a:pPr marL="171450" indent="-171450" hangingPunct="0">
              <a:buClr>
                <a:srgbClr val="A0DCFF"/>
              </a:buClr>
              <a:buFont typeface="Arial" panose="020B0604020202020204" pitchFamily="34" charset="0"/>
              <a:buChar char="•"/>
              <a:defRPr/>
            </a:pPr>
            <a:r>
              <a:rPr lang="en-GB" sz="1000" kern="0">
                <a:solidFill>
                  <a:srgbClr val="000000">
                    <a:lumMod val="50000"/>
                  </a:srgbClr>
                </a:solidFill>
                <a:latin typeface="Open Sans Light"/>
                <a:ea typeface="Open Sans Light"/>
                <a:cs typeface="Open Sans Light"/>
                <a:sym typeface="Helvetica"/>
              </a:rPr>
              <a:t>Team of Backend developers</a:t>
            </a:r>
          </a:p>
          <a:p>
            <a:pPr marL="171450" indent="-171450" hangingPunct="0">
              <a:buClr>
                <a:srgbClr val="A0DCFF"/>
              </a:buClr>
              <a:buFont typeface="Arial" panose="020B0604020202020204" pitchFamily="34" charset="0"/>
              <a:buChar char="•"/>
              <a:defRPr/>
            </a:pPr>
            <a:r>
              <a:rPr lang="en-GB" sz="1000">
                <a:solidFill>
                  <a:srgbClr val="1D1D1D"/>
                </a:solidFill>
                <a:latin typeface="Open Sans Light" panose="020B0306030504020204" pitchFamily="34" charset="0"/>
                <a:ea typeface="Open Sans Light" panose="020B0306030504020204" pitchFamily="34" charset="0"/>
                <a:cs typeface="Open Sans Light" panose="020B0306030504020204" pitchFamily="34" charset="0"/>
              </a:rPr>
              <a:t>QA SMEs</a:t>
            </a:r>
          </a:p>
        </p:txBody>
      </p:sp>
      <p:sp>
        <p:nvSpPr>
          <p:cNvPr id="20" name="Prostokąt 1">
            <a:extLst>
              <a:ext uri="{FF2B5EF4-FFF2-40B4-BE49-F238E27FC236}">
                <a16:creationId xmlns:a16="http://schemas.microsoft.com/office/drawing/2014/main" id="{6E2D90EE-2B1D-D054-07C5-C053BE2A1905}"/>
              </a:ext>
            </a:extLst>
          </p:cNvPr>
          <p:cNvSpPr/>
          <p:nvPr/>
        </p:nvSpPr>
        <p:spPr>
          <a:xfrm>
            <a:off x="3410802" y="5133349"/>
            <a:ext cx="1953981" cy="1431161"/>
          </a:xfrm>
          <a:prstGeom prst="rect">
            <a:avLst/>
          </a:prstGeom>
        </p:spPr>
        <p:txBody>
          <a:bodyPr wrap="square" lIns="91440" tIns="45720" rIns="91440" bIns="45720" anchor="t">
            <a:spAutoFit/>
          </a:bodyPr>
          <a:lstStyle/>
          <a:p>
            <a:pPr hangingPunct="0">
              <a:spcBef>
                <a:spcPts val="1000"/>
              </a:spcBef>
              <a:defRPr/>
            </a:pPr>
            <a:r>
              <a:rPr lang="pl-PL" sz="1200" b="1" kern="0" dirty="0">
                <a:solidFill>
                  <a:srgbClr val="62B5E5"/>
                </a:solidFill>
                <a:latin typeface="Open Sans"/>
                <a:ea typeface="Open Sans SemiBold" panose="020B0606030504020204" pitchFamily="34" charset="0"/>
                <a:cs typeface="Open Sans SemiBold" panose="020B0606030504020204" pitchFamily="34" charset="0"/>
                <a:sym typeface="Helvetica"/>
              </a:rPr>
              <a:t>SERVICES:</a:t>
            </a:r>
            <a:endParaRPr lang="en-US" sz="1200" b="1" kern="0" dirty="0">
              <a:solidFill>
                <a:srgbClr val="62B5E5"/>
              </a:solidFill>
              <a:latin typeface="Open Sans"/>
              <a:ea typeface="Open Sans SemiBold" panose="020B0606030504020204" pitchFamily="34" charset="0"/>
              <a:cs typeface="Open Sans SemiBold" panose="020B0606030504020204" pitchFamily="34" charset="0"/>
              <a:sym typeface="Helvetica"/>
            </a:endParaRPr>
          </a:p>
          <a:p>
            <a:pPr marL="171450" indent="-171450" hangingPunct="0">
              <a:spcBef>
                <a:spcPts val="600"/>
              </a:spcBef>
              <a:buClr>
                <a:srgbClr val="A0DCFF"/>
              </a:buClr>
              <a:buFont typeface="Arial" panose="020B0604020202020204" pitchFamily="34" charset="0"/>
              <a:buChar char="•"/>
              <a:defRPr/>
            </a:pPr>
            <a:r>
              <a:rPr lang="pl-PL" sz="1000" kern="0">
                <a:solidFill>
                  <a:srgbClr val="000000">
                    <a:lumMod val="50000"/>
                  </a:srgbClr>
                </a:solidFill>
                <a:latin typeface="Open Sans Light"/>
                <a:ea typeface="Open Sans Light"/>
                <a:cs typeface="Open Sans Light"/>
              </a:rPr>
              <a:t>Project Management</a:t>
            </a:r>
          </a:p>
          <a:p>
            <a:pPr marL="171450" indent="-171450" hangingPunct="0">
              <a:buClr>
                <a:srgbClr val="A0DCFF"/>
              </a:buClr>
              <a:buFont typeface="Arial" panose="020B0604020202020204" pitchFamily="34" charset="0"/>
              <a:buChar char="•"/>
              <a:defRPr/>
            </a:pPr>
            <a:r>
              <a:rPr lang="pl-PL" sz="1000" kern="0">
                <a:solidFill>
                  <a:srgbClr val="000000">
                    <a:lumMod val="50000"/>
                  </a:srgbClr>
                </a:solidFill>
                <a:latin typeface="Open Sans Light"/>
                <a:ea typeface="Open Sans Light"/>
                <a:cs typeface="Open Sans Light"/>
              </a:rPr>
              <a:t>Architecture design</a:t>
            </a:r>
            <a:endParaRPr lang="en-GB" sz="1000" kern="0">
              <a:solidFill>
                <a:srgbClr val="000000">
                  <a:lumMod val="50000"/>
                </a:srgbClr>
              </a:solidFill>
              <a:latin typeface="Open Sans Light"/>
              <a:ea typeface="Open Sans Light"/>
              <a:cs typeface="Open Sans Light"/>
              <a:sym typeface="Helvetica"/>
            </a:endParaRPr>
          </a:p>
          <a:p>
            <a:pPr marL="171450" indent="-171450" hangingPunct="0">
              <a:buClr>
                <a:srgbClr val="A0DCFF"/>
              </a:buClr>
              <a:buFont typeface="Arial" panose="020B0604020202020204" pitchFamily="34" charset="0"/>
              <a:buChar char="•"/>
              <a:defRPr/>
            </a:pPr>
            <a:r>
              <a:rPr lang="en-GB" sz="1000" kern="0">
                <a:solidFill>
                  <a:srgbClr val="000000">
                    <a:lumMod val="50000"/>
                  </a:srgbClr>
                </a:solidFill>
                <a:latin typeface="Open Sans Light"/>
                <a:ea typeface="Open Sans Light"/>
                <a:cs typeface="Open Sans Light"/>
                <a:sym typeface="Helvetica"/>
              </a:rPr>
              <a:t>Frontend</a:t>
            </a:r>
            <a:r>
              <a:rPr lang="pl-PL" sz="1000" kern="0">
                <a:solidFill>
                  <a:srgbClr val="000000">
                    <a:lumMod val="50000"/>
                  </a:srgbClr>
                </a:solidFill>
                <a:latin typeface="Open Sans Light"/>
                <a:ea typeface="Open Sans Light"/>
                <a:cs typeface="Open Sans Light"/>
                <a:sym typeface="Helvetica"/>
              </a:rPr>
              <a:t> development</a:t>
            </a:r>
          </a:p>
          <a:p>
            <a:pPr marL="171450" indent="-171450" hangingPunct="0">
              <a:buClr>
                <a:srgbClr val="A0DCFF"/>
              </a:buClr>
              <a:buFont typeface="Arial" panose="020B0604020202020204" pitchFamily="34" charset="0"/>
              <a:buChar char="•"/>
              <a:defRPr/>
            </a:pPr>
            <a:r>
              <a:rPr lang="pl-PL" sz="1000" kern="0">
                <a:solidFill>
                  <a:srgbClr val="000000">
                    <a:lumMod val="50000"/>
                  </a:srgbClr>
                </a:solidFill>
                <a:latin typeface="Open Sans Light"/>
                <a:ea typeface="Open Sans Light"/>
                <a:cs typeface="Open Sans Light"/>
                <a:sym typeface="Helvetica"/>
              </a:rPr>
              <a:t>Mobile development</a:t>
            </a:r>
            <a:endParaRPr lang="pl-PL" sz="1000" kern="0">
              <a:solidFill>
                <a:srgbClr val="000000">
                  <a:lumMod val="50000"/>
                </a:srgbClr>
              </a:solidFill>
              <a:latin typeface="Open Sans Light"/>
              <a:ea typeface="Open Sans Light"/>
              <a:cs typeface="Open Sans Light"/>
            </a:endParaRPr>
          </a:p>
          <a:p>
            <a:pPr marL="171450" indent="-171450" hangingPunct="0">
              <a:buClr>
                <a:srgbClr val="A0DCFF"/>
              </a:buClr>
              <a:buFont typeface="Arial" panose="020B0604020202020204" pitchFamily="34" charset="0"/>
              <a:buChar char="•"/>
              <a:defRPr/>
            </a:pPr>
            <a:r>
              <a:rPr lang="pl-PL" sz="1000" kern="0" err="1">
                <a:solidFill>
                  <a:srgbClr val="000000">
                    <a:lumMod val="50000"/>
                  </a:srgbClr>
                </a:solidFill>
                <a:latin typeface="Open Sans Light"/>
                <a:ea typeface="Open Sans Light"/>
                <a:cs typeface="Open Sans Light"/>
                <a:sym typeface="Helvetica"/>
              </a:rPr>
              <a:t>Backend</a:t>
            </a:r>
            <a:r>
              <a:rPr lang="pl-PL" sz="1000" kern="0">
                <a:solidFill>
                  <a:srgbClr val="000000">
                    <a:lumMod val="50000"/>
                  </a:srgbClr>
                </a:solidFill>
                <a:latin typeface="Open Sans Light"/>
                <a:ea typeface="Open Sans Light"/>
                <a:cs typeface="Open Sans Light"/>
                <a:sym typeface="Helvetica"/>
              </a:rPr>
              <a:t> development</a:t>
            </a:r>
            <a:endParaRPr lang="pl-PL" sz="1000" kern="0">
              <a:solidFill>
                <a:srgbClr val="000000">
                  <a:lumMod val="50000"/>
                </a:srgbClr>
              </a:solidFill>
              <a:latin typeface="Open Sans Light"/>
              <a:ea typeface="Open Sans Light"/>
              <a:cs typeface="Open Sans Light"/>
            </a:endParaRPr>
          </a:p>
          <a:p>
            <a:pPr marL="171450" indent="-171450">
              <a:buClr>
                <a:srgbClr val="A0DCFF"/>
              </a:buClr>
              <a:buFont typeface="Arial" panose="020B0604020202020204" pitchFamily="34" charset="0"/>
              <a:buChar char="•"/>
              <a:defRPr/>
            </a:pPr>
            <a:r>
              <a:rPr lang="pl-PL" sz="1000" kern="0" err="1">
                <a:solidFill>
                  <a:srgbClr val="000000">
                    <a:lumMod val="50000"/>
                  </a:srgbClr>
                </a:solidFill>
                <a:latin typeface="Open Sans Light"/>
                <a:ea typeface="Open Sans Light"/>
                <a:cs typeface="Open Sans Light"/>
              </a:rPr>
              <a:t>Quality</a:t>
            </a:r>
            <a:r>
              <a:rPr lang="pl-PL" sz="1000" kern="0">
                <a:solidFill>
                  <a:srgbClr val="000000">
                    <a:lumMod val="50000"/>
                  </a:srgbClr>
                </a:solidFill>
                <a:latin typeface="Open Sans Light"/>
                <a:ea typeface="Open Sans Light"/>
                <a:cs typeface="Open Sans Light"/>
              </a:rPr>
              <a:t> </a:t>
            </a:r>
            <a:r>
              <a:rPr lang="pl-PL" sz="1000" kern="0" err="1">
                <a:solidFill>
                  <a:srgbClr val="000000">
                    <a:lumMod val="50000"/>
                  </a:srgbClr>
                </a:solidFill>
                <a:latin typeface="Open Sans Light"/>
                <a:ea typeface="Open Sans Light"/>
                <a:cs typeface="Open Sans Light"/>
              </a:rPr>
              <a:t>Assurence</a:t>
            </a:r>
            <a:endParaRPr lang="pl-PL" sz="1000" kern="0">
              <a:solidFill>
                <a:srgbClr val="000000">
                  <a:lumMod val="50000"/>
                </a:srgbClr>
              </a:solidFill>
              <a:latin typeface="Open Sans Light"/>
              <a:ea typeface="Open Sans Light"/>
              <a:cs typeface="Open Sans Light"/>
            </a:endParaRPr>
          </a:p>
          <a:p>
            <a:pPr marL="171450" indent="-171450">
              <a:buClr>
                <a:srgbClr val="A0DCFF"/>
              </a:buClr>
              <a:buFont typeface="Arial" panose="020B0604020202020204" pitchFamily="34" charset="0"/>
              <a:buChar char="•"/>
              <a:defRPr/>
            </a:pPr>
            <a:r>
              <a:rPr lang="pl-PL" sz="1000" kern="0" err="1">
                <a:solidFill>
                  <a:srgbClr val="000000">
                    <a:lumMod val="50000"/>
                  </a:srgbClr>
                </a:solidFill>
                <a:latin typeface="Open Sans Light"/>
                <a:ea typeface="Open Sans Light"/>
                <a:cs typeface="Open Sans Light"/>
              </a:rPr>
              <a:t>Maintenance</a:t>
            </a:r>
            <a:endParaRPr lang="pl-PL" sz="1000" kern="0">
              <a:solidFill>
                <a:srgbClr val="000000">
                  <a:lumMod val="50000"/>
                </a:srgbClr>
              </a:solidFill>
              <a:latin typeface="Open Sans Light"/>
              <a:ea typeface="Open Sans Light"/>
              <a:cs typeface="Open Sans Light"/>
            </a:endParaRPr>
          </a:p>
        </p:txBody>
      </p:sp>
      <p:grpSp>
        <p:nvGrpSpPr>
          <p:cNvPr id="23" name="Group 22">
            <a:extLst>
              <a:ext uri="{FF2B5EF4-FFF2-40B4-BE49-F238E27FC236}">
                <a16:creationId xmlns:a16="http://schemas.microsoft.com/office/drawing/2014/main" id="{11A031CC-6350-0E65-E6E2-FC4C5D5571A5}"/>
              </a:ext>
            </a:extLst>
          </p:cNvPr>
          <p:cNvGrpSpPr/>
          <p:nvPr/>
        </p:nvGrpSpPr>
        <p:grpSpPr>
          <a:xfrm>
            <a:off x="5453064" y="5104694"/>
            <a:ext cx="1787851" cy="1417939"/>
            <a:chOff x="11041397" y="4788880"/>
            <a:chExt cx="1787851" cy="1417939"/>
          </a:xfrm>
        </p:grpSpPr>
        <p:sp>
          <p:nvSpPr>
            <p:cNvPr id="21" name="Prostokąt 1">
              <a:extLst>
                <a:ext uri="{FF2B5EF4-FFF2-40B4-BE49-F238E27FC236}">
                  <a16:creationId xmlns:a16="http://schemas.microsoft.com/office/drawing/2014/main" id="{5CA496F2-DE95-AF0C-F520-99ABDF1EBADE}"/>
                </a:ext>
              </a:extLst>
            </p:cNvPr>
            <p:cNvSpPr/>
            <p:nvPr/>
          </p:nvSpPr>
          <p:spPr>
            <a:xfrm>
              <a:off x="11076226" y="5037268"/>
              <a:ext cx="1753022" cy="1169551"/>
            </a:xfrm>
            <a:prstGeom prst="rect">
              <a:avLst/>
            </a:prstGeom>
          </p:spPr>
          <p:txBody>
            <a:bodyPr wrap="square" lIns="91440" tIns="45720" rIns="91440" bIns="45720" anchor="t">
              <a:spAutoFit/>
            </a:bodyPr>
            <a:lstStyle/>
            <a:p>
              <a:pPr marL="171450" indent="-171450" hangingPunct="0">
                <a:buClr>
                  <a:srgbClr val="A0DCFF"/>
                </a:buClr>
                <a:buFont typeface="Arial" panose="020B0604020202020204" pitchFamily="34" charset="0"/>
                <a:buChar char="•"/>
                <a:defRPr/>
              </a:pPr>
              <a:r>
                <a:rPr lang="pl-PL" sz="1000" kern="0" err="1">
                  <a:solidFill>
                    <a:srgbClr val="000000">
                      <a:lumMod val="50000"/>
                    </a:srgbClr>
                  </a:solidFill>
                  <a:latin typeface="Open Sans Light"/>
                  <a:ea typeface="Open Sans Light"/>
                  <a:cs typeface="Open Sans Light"/>
                  <a:sym typeface="Helvetica"/>
                </a:rPr>
                <a:t>React</a:t>
              </a:r>
              <a:endParaRPr lang="pl-PL" sz="1000" kern="0">
                <a:solidFill>
                  <a:srgbClr val="000000">
                    <a:lumMod val="50000"/>
                  </a:srgbClr>
                </a:solidFill>
                <a:latin typeface="Open Sans Light"/>
                <a:ea typeface="Open Sans Light"/>
                <a:cs typeface="Open Sans Light"/>
                <a:sym typeface="Helvetica"/>
              </a:endParaRPr>
            </a:p>
            <a:p>
              <a:pPr marL="171450" indent="-171450" hangingPunct="0">
                <a:buClr>
                  <a:srgbClr val="A0DCFF"/>
                </a:buClr>
                <a:buFont typeface="Arial" panose="020B0604020202020204" pitchFamily="34" charset="0"/>
                <a:buChar char="•"/>
                <a:defRPr/>
              </a:pPr>
              <a:r>
                <a:rPr lang="pl-PL" sz="1000" kern="0" err="1">
                  <a:solidFill>
                    <a:srgbClr val="000000">
                      <a:lumMod val="50000"/>
                    </a:srgbClr>
                  </a:solidFill>
                  <a:latin typeface="Open Sans Light"/>
                  <a:ea typeface="Open Sans Light"/>
                  <a:cs typeface="Open Sans Light"/>
                  <a:sym typeface="Helvetica"/>
                </a:rPr>
                <a:t>KeystoneJS</a:t>
              </a:r>
              <a:endParaRPr lang="pl-PL" sz="1000" kern="0">
                <a:solidFill>
                  <a:srgbClr val="000000">
                    <a:lumMod val="50000"/>
                  </a:srgbClr>
                </a:solidFill>
                <a:latin typeface="Open Sans Light"/>
                <a:ea typeface="Open Sans Light"/>
                <a:cs typeface="Open Sans Light"/>
                <a:sym typeface="Helvetica"/>
              </a:endParaRPr>
            </a:p>
            <a:p>
              <a:pPr marL="171450" indent="-171450" hangingPunct="0">
                <a:buClr>
                  <a:srgbClr val="A0DCFF"/>
                </a:buClr>
                <a:buFont typeface="Arial" panose="020B0604020202020204" pitchFamily="34" charset="0"/>
                <a:buChar char="•"/>
                <a:defRPr/>
              </a:pPr>
              <a:r>
                <a:rPr lang="pl-PL" sz="1000" kern="0">
                  <a:solidFill>
                    <a:srgbClr val="000000">
                      <a:lumMod val="50000"/>
                    </a:srgbClr>
                  </a:solidFill>
                  <a:latin typeface="Open Sans Light"/>
                  <a:ea typeface="Open Sans Light"/>
                  <a:cs typeface="Open Sans Light"/>
                  <a:sym typeface="Helvetica"/>
                </a:rPr>
                <a:t>D3</a:t>
              </a:r>
            </a:p>
            <a:p>
              <a:pPr marL="171450" indent="-171450" hangingPunct="0">
                <a:buClr>
                  <a:srgbClr val="A0DCFF"/>
                </a:buClr>
                <a:buFont typeface="Arial" panose="020B0604020202020204" pitchFamily="34" charset="0"/>
                <a:buChar char="•"/>
                <a:defRPr/>
              </a:pPr>
              <a:r>
                <a:rPr lang="pl-PL" sz="1000" kern="0" err="1">
                  <a:solidFill>
                    <a:srgbClr val="000000">
                      <a:lumMod val="50000"/>
                    </a:srgbClr>
                  </a:solidFill>
                  <a:latin typeface="Open Sans Light"/>
                  <a:ea typeface="Open Sans Light"/>
                  <a:cs typeface="Open Sans Light"/>
                  <a:sym typeface="Helvetica"/>
                </a:rPr>
                <a:t>Node.js</a:t>
              </a:r>
              <a:r>
                <a:rPr lang="pl-PL" sz="1000" kern="0">
                  <a:solidFill>
                    <a:srgbClr val="000000">
                      <a:lumMod val="50000"/>
                    </a:srgbClr>
                  </a:solidFill>
                  <a:latin typeface="Open Sans Light"/>
                  <a:ea typeface="Open Sans Light"/>
                  <a:cs typeface="Open Sans Light"/>
                  <a:sym typeface="Helvetica"/>
                </a:rPr>
                <a:t> + </a:t>
              </a:r>
              <a:r>
                <a:rPr lang="pl-PL" sz="1000" kern="0" err="1">
                  <a:solidFill>
                    <a:srgbClr val="000000">
                      <a:lumMod val="50000"/>
                    </a:srgbClr>
                  </a:solidFill>
                  <a:latin typeface="Open Sans Light"/>
                  <a:ea typeface="Open Sans Light"/>
                  <a:cs typeface="Open Sans Light"/>
                  <a:sym typeface="Helvetica"/>
                </a:rPr>
                <a:t>Nest.js</a:t>
              </a:r>
              <a:endParaRPr lang="pl-PL" sz="1000" kern="0">
                <a:solidFill>
                  <a:srgbClr val="000000">
                    <a:lumMod val="50000"/>
                  </a:srgbClr>
                </a:solidFill>
                <a:latin typeface="Open Sans Light"/>
                <a:ea typeface="Open Sans Light"/>
                <a:cs typeface="Open Sans Light"/>
                <a:sym typeface="Helvetica"/>
              </a:endParaRPr>
            </a:p>
            <a:p>
              <a:pPr marL="171450" indent="-171450" hangingPunct="0">
                <a:buClr>
                  <a:srgbClr val="A0DCFF"/>
                </a:buClr>
                <a:buFont typeface="Arial" panose="020B0604020202020204" pitchFamily="34" charset="0"/>
                <a:buChar char="•"/>
                <a:defRPr/>
              </a:pPr>
              <a:r>
                <a:rPr lang="pl-PL" sz="1000" kern="0" err="1">
                  <a:solidFill>
                    <a:srgbClr val="000000">
                      <a:lumMod val="50000"/>
                    </a:srgbClr>
                  </a:solidFill>
                  <a:latin typeface="Open Sans Light"/>
                  <a:ea typeface="Open Sans Light"/>
                  <a:cs typeface="Open Sans Light"/>
                  <a:sym typeface="Helvetica"/>
                </a:rPr>
                <a:t>PostgreSQL</a:t>
              </a:r>
              <a:endParaRPr lang="pl-PL" sz="1000" kern="0">
                <a:solidFill>
                  <a:srgbClr val="000000">
                    <a:lumMod val="50000"/>
                  </a:srgbClr>
                </a:solidFill>
                <a:latin typeface="Open Sans Light"/>
                <a:ea typeface="Open Sans Light"/>
                <a:cs typeface="Open Sans Light"/>
                <a:sym typeface="Helvetica"/>
              </a:endParaRPr>
            </a:p>
            <a:p>
              <a:pPr marL="171450" indent="-171450" hangingPunct="0">
                <a:buClr>
                  <a:srgbClr val="A0DCFF"/>
                </a:buClr>
                <a:buFont typeface="Arial" panose="020B0604020202020204" pitchFamily="34" charset="0"/>
                <a:buChar char="•"/>
                <a:defRPr/>
              </a:pPr>
              <a:r>
                <a:rPr lang="pl-PL" sz="1000" kern="0">
                  <a:solidFill>
                    <a:srgbClr val="000000">
                      <a:lumMod val="50000"/>
                    </a:srgbClr>
                  </a:solidFill>
                  <a:latin typeface="Open Sans Light"/>
                  <a:ea typeface="Open Sans Light"/>
                  <a:cs typeface="Open Sans Light"/>
                  <a:sym typeface="Helvetica"/>
                </a:rPr>
                <a:t>Apollo </a:t>
              </a:r>
              <a:r>
                <a:rPr lang="pl-PL" sz="1000" kern="0" err="1">
                  <a:solidFill>
                    <a:srgbClr val="000000">
                      <a:lumMod val="50000"/>
                    </a:srgbClr>
                  </a:solidFill>
                  <a:latin typeface="Open Sans Light"/>
                  <a:ea typeface="Open Sans Light"/>
                  <a:cs typeface="Open Sans Light"/>
                  <a:sym typeface="Helvetica"/>
                </a:rPr>
                <a:t>GraphQL</a:t>
              </a:r>
              <a:endParaRPr lang="pl-PL" sz="1000" kern="0">
                <a:solidFill>
                  <a:srgbClr val="000000">
                    <a:lumMod val="50000"/>
                  </a:srgbClr>
                </a:solidFill>
                <a:latin typeface="Open Sans Light"/>
                <a:ea typeface="Open Sans Light"/>
                <a:cs typeface="Open Sans Light"/>
                <a:sym typeface="Helvetica"/>
              </a:endParaRPr>
            </a:p>
            <a:p>
              <a:pPr marL="171450" indent="-171450" hangingPunct="0">
                <a:buClr>
                  <a:srgbClr val="A0DCFF"/>
                </a:buClr>
                <a:buFont typeface="Arial" panose="020B0604020202020204" pitchFamily="34" charset="0"/>
                <a:buChar char="•"/>
                <a:defRPr/>
              </a:pPr>
              <a:endParaRPr lang="pl-PL" sz="1000" kern="0">
                <a:solidFill>
                  <a:srgbClr val="000000">
                    <a:lumMod val="50000"/>
                  </a:srgbClr>
                </a:solidFill>
                <a:latin typeface="Open Sans Light"/>
                <a:ea typeface="Open Sans Light"/>
                <a:cs typeface="Open Sans Light"/>
                <a:sym typeface="Helvetica"/>
              </a:endParaRPr>
            </a:p>
          </p:txBody>
        </p:sp>
        <p:sp>
          <p:nvSpPr>
            <p:cNvPr id="22" name="Prostokąt 1">
              <a:extLst>
                <a:ext uri="{FF2B5EF4-FFF2-40B4-BE49-F238E27FC236}">
                  <a16:creationId xmlns:a16="http://schemas.microsoft.com/office/drawing/2014/main" id="{4C8F099B-C813-4385-7336-6913DB4DC341}"/>
                </a:ext>
              </a:extLst>
            </p:cNvPr>
            <p:cNvSpPr/>
            <p:nvPr/>
          </p:nvSpPr>
          <p:spPr>
            <a:xfrm>
              <a:off x="11041397" y="4788880"/>
              <a:ext cx="1599010" cy="276999"/>
            </a:xfrm>
            <a:prstGeom prst="rect">
              <a:avLst/>
            </a:prstGeom>
          </p:spPr>
          <p:txBody>
            <a:bodyPr wrap="square" lIns="91440" tIns="45720" rIns="91440" bIns="45720" anchor="t">
              <a:spAutoFit/>
            </a:bodyPr>
            <a:lstStyle/>
            <a:p>
              <a:pPr hangingPunct="0">
                <a:spcBef>
                  <a:spcPts val="1000"/>
                </a:spcBef>
                <a:defRPr/>
              </a:pPr>
              <a:r>
                <a:rPr lang="pl-PL" sz="1200" b="1" kern="0" dirty="0">
                  <a:solidFill>
                    <a:srgbClr val="62B5E5"/>
                  </a:solidFill>
                  <a:latin typeface="Open Sans"/>
                  <a:ea typeface="Open Sans SemiBold" panose="020B0606030504020204" pitchFamily="34" charset="0"/>
                  <a:cs typeface="Open Sans SemiBold" panose="020B0606030504020204" pitchFamily="34" charset="0"/>
                  <a:sym typeface="Helvetica"/>
                </a:rPr>
                <a:t>TECHNOLOGIES:</a:t>
              </a:r>
              <a:endParaRPr lang="en-US" sz="1200" b="1" kern="0" dirty="0">
                <a:solidFill>
                  <a:srgbClr val="62B5E5"/>
                </a:solidFill>
                <a:latin typeface="Open Sans"/>
                <a:ea typeface="Open Sans SemiBold" panose="020B0606030504020204" pitchFamily="34" charset="0"/>
                <a:cs typeface="Open Sans SemiBold" panose="020B0606030504020204" pitchFamily="34" charset="0"/>
                <a:sym typeface="Helvetica"/>
              </a:endParaRPr>
            </a:p>
          </p:txBody>
        </p:sp>
      </p:grpSp>
      <p:pic>
        <p:nvPicPr>
          <p:cNvPr id="44" name="Picture 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64263" y="830242"/>
            <a:ext cx="2067295" cy="3653874"/>
          </a:xfrm>
          <a:prstGeom prst="rect">
            <a:avLst/>
          </a:prstGeom>
        </p:spPr>
      </p:pic>
      <p:grpSp>
        <p:nvGrpSpPr>
          <p:cNvPr id="8" name="Group 7">
            <a:extLst>
              <a:ext uri="{FF2B5EF4-FFF2-40B4-BE49-F238E27FC236}">
                <a16:creationId xmlns:a16="http://schemas.microsoft.com/office/drawing/2014/main" id="{69142527-E8C8-94E1-0D94-77BFB49D3D43}"/>
              </a:ext>
            </a:extLst>
          </p:cNvPr>
          <p:cNvGrpSpPr/>
          <p:nvPr/>
        </p:nvGrpSpPr>
        <p:grpSpPr>
          <a:xfrm>
            <a:off x="7464263" y="5104694"/>
            <a:ext cx="3655555" cy="367200"/>
            <a:chOff x="7390728" y="5383857"/>
            <a:chExt cx="3655555" cy="369144"/>
          </a:xfrm>
        </p:grpSpPr>
        <p:pic>
          <p:nvPicPr>
            <p:cNvPr id="7" name="Picture 6">
              <a:extLst>
                <a:ext uri="{FF2B5EF4-FFF2-40B4-BE49-F238E27FC236}">
                  <a16:creationId xmlns:a16="http://schemas.microsoft.com/office/drawing/2014/main" id="{BA790FC7-9862-9D7A-1E08-A539F52167E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514021" y="5389982"/>
              <a:ext cx="356894" cy="356894"/>
            </a:xfrm>
            <a:prstGeom prst="rect">
              <a:avLst/>
            </a:prstGeom>
          </p:spPr>
        </p:pic>
        <p:pic>
          <p:nvPicPr>
            <p:cNvPr id="1028" name="Picture 4">
              <a:extLst>
                <a:ext uri="{FF2B5EF4-FFF2-40B4-BE49-F238E27FC236}">
                  <a16:creationId xmlns:a16="http://schemas.microsoft.com/office/drawing/2014/main" id="{C2F43183-9796-F541-B2C2-7A386E9F7DF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390728" y="5383857"/>
              <a:ext cx="414478" cy="36914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CAF54F8-3F30-C798-267E-8EA36571E54B}"/>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043128" y="5383857"/>
              <a:ext cx="603310" cy="36914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98EFC9A2-7B63-BD04-F7B1-F5E06690A937}"/>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818651" y="5383857"/>
              <a:ext cx="357865" cy="36914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eploy targets for Keystone are any and all services you've heard of like Digital Ocean, Render, Heroku, Vercel, Google Cloud, AWS, Azure etc">
              <a:extLst>
                <a:ext uri="{FF2B5EF4-FFF2-40B4-BE49-F238E27FC236}">
                  <a16:creationId xmlns:a16="http://schemas.microsoft.com/office/drawing/2014/main" id="{8EDEB4E5-07F6-2631-CEC7-D6768B196504}"/>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42332" t="39152" r="42124" b="39291"/>
            <a:stretch/>
          </p:blipFill>
          <p:spPr bwMode="auto">
            <a:xfrm>
              <a:off x="7977419" y="5389982"/>
              <a:ext cx="364389" cy="35689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pollo GraphQL Logo PNG Vector">
              <a:extLst>
                <a:ext uri="{FF2B5EF4-FFF2-40B4-BE49-F238E27FC236}">
                  <a16:creationId xmlns:a16="http://schemas.microsoft.com/office/drawing/2014/main" id="{B7A20D04-FAEE-F33C-9BDC-7EA72FFFE1C8}"/>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348728" y="5466121"/>
              <a:ext cx="697555" cy="2046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837314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663889C-7B46-ED41-B3C4-B8F880945F4D}"/>
              </a:ext>
            </a:extLst>
          </p:cNvPr>
          <p:cNvSpPr>
            <a:spLocks noGrp="1"/>
          </p:cNvSpPr>
          <p:nvPr>
            <p:ph type="body" sz="quarter" idx="25"/>
          </p:nvPr>
        </p:nvSpPr>
        <p:spPr>
          <a:xfrm>
            <a:off x="5402263" y="3443342"/>
            <a:ext cx="3462337" cy="241646"/>
          </a:xfrm>
        </p:spPr>
        <p:txBody>
          <a:bodyPr/>
          <a:lstStyle/>
          <a:p>
            <a:r>
              <a:rPr lang="en-GB" sz="1000">
                <a:latin typeface="Open Sans" panose="020B0606030504020204" pitchFamily="34" charset="0"/>
                <a:ea typeface="Open Sans" panose="020B0606030504020204" pitchFamily="34" charset="0"/>
                <a:cs typeface="Open Sans" panose="020B0606030504020204" pitchFamily="34" charset="0"/>
              </a:rPr>
              <a:t>KEY FUNCTIONALITIES</a:t>
            </a:r>
          </a:p>
        </p:txBody>
      </p:sp>
      <p:sp>
        <p:nvSpPr>
          <p:cNvPr id="8" name="Text Placeholder 7">
            <a:extLst>
              <a:ext uri="{FF2B5EF4-FFF2-40B4-BE49-F238E27FC236}">
                <a16:creationId xmlns:a16="http://schemas.microsoft.com/office/drawing/2014/main" id="{825EC924-454D-2342-B0B3-D0F137D8E411}"/>
              </a:ext>
            </a:extLst>
          </p:cNvPr>
          <p:cNvSpPr>
            <a:spLocks noGrp="1"/>
          </p:cNvSpPr>
          <p:nvPr>
            <p:ph type="body" sz="quarter" idx="39"/>
          </p:nvPr>
        </p:nvSpPr>
        <p:spPr>
          <a:xfrm>
            <a:off x="5400674" y="2215462"/>
            <a:ext cx="6050014" cy="967957"/>
          </a:xfrm>
        </p:spPr>
        <p:txBody>
          <a:bodyPr/>
          <a:lstStyle/>
          <a:p>
            <a:pPr algn="just"/>
            <a:r>
              <a:rPr lang="en-GB" sz="1000"/>
              <a:t>The client aimed to replace their existing legacy cloud orchestration solution (</a:t>
            </a:r>
            <a:r>
              <a:rPr lang="en-GB" sz="1000" err="1"/>
              <a:t>Rackspace</a:t>
            </a:r>
            <a:r>
              <a:rPr lang="en-GB" sz="1000"/>
              <a:t>) with Adobe Cloud Manager. This process required the refactoring of their existing Adobe Experience Manager architecture and code base, as well as the development of a new Maven build system. New implementation needed to preserve the internal pipeline written in GitLab.</a:t>
            </a:r>
          </a:p>
        </p:txBody>
      </p:sp>
      <p:sp>
        <p:nvSpPr>
          <p:cNvPr id="9" name="Text Placeholder 8">
            <a:extLst>
              <a:ext uri="{FF2B5EF4-FFF2-40B4-BE49-F238E27FC236}">
                <a16:creationId xmlns:a16="http://schemas.microsoft.com/office/drawing/2014/main" id="{3F771194-4632-B942-BF25-43EAD8D36FF4}"/>
              </a:ext>
            </a:extLst>
          </p:cNvPr>
          <p:cNvSpPr>
            <a:spLocks noGrp="1"/>
          </p:cNvSpPr>
          <p:nvPr>
            <p:ph type="body" sz="quarter" idx="40"/>
          </p:nvPr>
        </p:nvSpPr>
        <p:spPr>
          <a:xfrm>
            <a:off x="5400672" y="3749278"/>
            <a:ext cx="6252153" cy="1169551"/>
          </a:xfrm>
        </p:spPr>
        <p:txBody>
          <a:bodyPr numCol="2" spcCol="216000" anchor="t"/>
          <a:lstStyle/>
          <a:p>
            <a:pPr marL="171450" indent="-171450">
              <a:buFont typeface="Arial" panose="020B0604020202020204" pitchFamily="34" charset="0"/>
              <a:buChar char="•"/>
            </a:pPr>
            <a:r>
              <a:rPr lang="en-GB" sz="1000"/>
              <a:t>Adobe Cloud Manager implementation</a:t>
            </a:r>
          </a:p>
          <a:p>
            <a:pPr marL="171450" indent="-171450">
              <a:buFont typeface="Arial" panose="020B0604020202020204" pitchFamily="34" charset="0"/>
              <a:buChar char="•"/>
            </a:pPr>
            <a:r>
              <a:rPr lang="en-GB" sz="1000"/>
              <a:t>Migration to new build system</a:t>
            </a:r>
          </a:p>
          <a:p>
            <a:pPr marL="171450" indent="-171450">
              <a:buFont typeface="Arial" panose="020B0604020202020204" pitchFamily="34" charset="0"/>
              <a:buChar char="•"/>
            </a:pPr>
            <a:r>
              <a:rPr lang="en-GB" sz="1000"/>
              <a:t>Technical debt elimination</a:t>
            </a:r>
          </a:p>
          <a:p>
            <a:pPr marL="171450" indent="-171450">
              <a:buFont typeface="Arial" panose="020B0604020202020204" pitchFamily="34" charset="0"/>
              <a:buChar char="•"/>
            </a:pPr>
            <a:r>
              <a:rPr lang="en-GB" sz="1000"/>
              <a:t>Pipelines Development</a:t>
            </a:r>
          </a:p>
          <a:p>
            <a:pPr marL="171450" indent="-171450">
              <a:buFont typeface="Arial" panose="020B0604020202020204" pitchFamily="34" charset="0"/>
              <a:buChar char="•"/>
            </a:pPr>
            <a:r>
              <a:rPr lang="en-GB" sz="1000"/>
              <a:t>Migration to new environments</a:t>
            </a:r>
          </a:p>
          <a:p>
            <a:pPr marL="171450" indent="-171450">
              <a:buFont typeface="Arial" panose="020B0604020202020204" pitchFamily="34" charset="0"/>
              <a:buChar char="•"/>
            </a:pPr>
            <a:r>
              <a:rPr lang="en-GB" sz="1000"/>
              <a:t>Development headless AEM Sites and DAM</a:t>
            </a:r>
          </a:p>
        </p:txBody>
      </p:sp>
      <p:sp>
        <p:nvSpPr>
          <p:cNvPr id="40" name="Text Placeholder 49">
            <a:extLst>
              <a:ext uri="{FF2B5EF4-FFF2-40B4-BE49-F238E27FC236}">
                <a16:creationId xmlns:a16="http://schemas.microsoft.com/office/drawing/2014/main" id="{C6918779-90DA-D742-A69A-B7791DA01D2E}"/>
              </a:ext>
            </a:extLst>
          </p:cNvPr>
          <p:cNvSpPr>
            <a:spLocks noGrp="1"/>
          </p:cNvSpPr>
          <p:nvPr>
            <p:ph type="body" sz="quarter" idx="18"/>
          </p:nvPr>
        </p:nvSpPr>
        <p:spPr>
          <a:xfrm>
            <a:off x="5402264" y="1003402"/>
            <a:ext cx="5875336" cy="798239"/>
          </a:xfrm>
        </p:spPr>
        <p:txBody>
          <a:bodyPr anchor="t"/>
          <a:lstStyle/>
          <a:p>
            <a:r>
              <a:rPr lang="en-GB" sz="2400">
                <a:solidFill>
                  <a:schemeClr val="dk1"/>
                </a:solidFill>
                <a:latin typeface="Open Sans Light" panose="020B0306030504020204" pitchFamily="34" charset="0"/>
                <a:cs typeface="+mn-cs"/>
              </a:rPr>
              <a:t>Cloud Manager migration &amp; </a:t>
            </a:r>
            <a:br>
              <a:rPr lang="en-GB" sz="2400">
                <a:solidFill>
                  <a:schemeClr val="dk1"/>
                </a:solidFill>
                <a:latin typeface="Open Sans Light" panose="020B0306030504020204" pitchFamily="34" charset="0"/>
                <a:cs typeface="+mn-cs"/>
              </a:rPr>
            </a:br>
            <a:r>
              <a:rPr lang="en-GB" sz="2400">
                <a:solidFill>
                  <a:schemeClr val="dk1"/>
                </a:solidFill>
                <a:latin typeface="Open Sans Light" panose="020B0306030504020204" pitchFamily="34" charset="0"/>
                <a:cs typeface="+mn-cs"/>
              </a:rPr>
              <a:t>architecture re-design</a:t>
            </a:r>
          </a:p>
        </p:txBody>
      </p:sp>
      <p:cxnSp>
        <p:nvCxnSpPr>
          <p:cNvPr id="55" name="Straight Connector 54">
            <a:extLst>
              <a:ext uri="{FF2B5EF4-FFF2-40B4-BE49-F238E27FC236}">
                <a16:creationId xmlns:a16="http://schemas.microsoft.com/office/drawing/2014/main" id="{04EE9A21-823F-8B48-8EB7-77AA26836E94}"/>
              </a:ext>
            </a:extLst>
          </p:cNvPr>
          <p:cNvCxnSpPr/>
          <p:nvPr/>
        </p:nvCxnSpPr>
        <p:spPr>
          <a:xfrm>
            <a:off x="4720522" y="0"/>
            <a:ext cx="0" cy="685800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F0288F69-09E8-5742-A0F0-D83C70295E9C}"/>
              </a:ext>
            </a:extLst>
          </p:cNvPr>
          <p:cNvSpPr txBox="1"/>
          <p:nvPr/>
        </p:nvSpPr>
        <p:spPr>
          <a:xfrm>
            <a:off x="10705091" y="6071025"/>
            <a:ext cx="1724165" cy="153888"/>
          </a:xfrm>
          <a:prstGeom prst="rect">
            <a:avLst/>
          </a:prstGeom>
        </p:spPr>
        <p:txBody>
          <a:bodyPr vert="horz" lIns="0" tIns="0" rIns="0" bIns="0" rtlCol="0">
            <a:sp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endParaRPr kumimoji="0" lang="en-GB" sz="1000" b="0" i="0" u="none" strike="noStrike" kern="0" cap="none" spc="0" normalizeH="0" baseline="0">
              <a:ln>
                <a:noFill/>
              </a:ln>
              <a:solidFill>
                <a:prstClr val="black"/>
              </a:solidFill>
              <a:effectLst/>
              <a:uLnTx/>
              <a:uFillTx/>
              <a:latin typeface="Open Sans"/>
            </a:endParaRPr>
          </a:p>
        </p:txBody>
      </p:sp>
      <p:sp>
        <p:nvSpPr>
          <p:cNvPr id="31" name="Text Placeholder 3">
            <a:extLst>
              <a:ext uri="{FF2B5EF4-FFF2-40B4-BE49-F238E27FC236}">
                <a16:creationId xmlns:a16="http://schemas.microsoft.com/office/drawing/2014/main" id="{C741C6BD-CB6E-1B46-828B-C6636BBE8088}"/>
              </a:ext>
            </a:extLst>
          </p:cNvPr>
          <p:cNvSpPr txBox="1">
            <a:spLocks/>
          </p:cNvSpPr>
          <p:nvPr/>
        </p:nvSpPr>
        <p:spPr>
          <a:xfrm>
            <a:off x="5402263" y="2003291"/>
            <a:ext cx="3462337" cy="24164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ExtraBold" charset="0"/>
                <a:cs typeface="Open Sans ExtraBold"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6FC2B4"/>
              </a:buClr>
              <a:buSzPct val="75000"/>
              <a:buFont typeface="Arial" panose="020B0604020202020204" pitchFamily="34" charset="0"/>
              <a:buNone/>
              <a:tabLst/>
              <a:defRPr/>
            </a:pPr>
            <a:r>
              <a:rPr kumimoji="0" lang="en-GB" sz="1000" b="1" i="0" u="none" strike="noStrike" kern="1200" cap="none" spc="30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grpSp>
        <p:nvGrpSpPr>
          <p:cNvPr id="5" name="Group 4">
            <a:extLst>
              <a:ext uri="{FF2B5EF4-FFF2-40B4-BE49-F238E27FC236}">
                <a16:creationId xmlns:a16="http://schemas.microsoft.com/office/drawing/2014/main" id="{7BA1ECC7-A2E2-4132-E6A9-39FAC6274AA7}"/>
              </a:ext>
            </a:extLst>
          </p:cNvPr>
          <p:cNvGrpSpPr/>
          <p:nvPr/>
        </p:nvGrpSpPr>
        <p:grpSpPr>
          <a:xfrm>
            <a:off x="10112726" y="5415379"/>
            <a:ext cx="1837843" cy="956481"/>
            <a:chOff x="10112726" y="5044190"/>
            <a:chExt cx="1837843" cy="956481"/>
          </a:xfrm>
        </p:grpSpPr>
        <p:sp>
          <p:nvSpPr>
            <p:cNvPr id="58" name="Rectangle 57">
              <a:extLst>
                <a:ext uri="{FF2B5EF4-FFF2-40B4-BE49-F238E27FC236}">
                  <a16:creationId xmlns:a16="http://schemas.microsoft.com/office/drawing/2014/main" id="{909E1A81-CE0C-544F-A30B-00205B8D51D8}"/>
                </a:ext>
              </a:extLst>
            </p:cNvPr>
            <p:cNvSpPr/>
            <p:nvPr/>
          </p:nvSpPr>
          <p:spPr>
            <a:xfrm>
              <a:off x="10112726" y="5044190"/>
              <a:ext cx="1837843" cy="956481"/>
            </a:xfrm>
            <a:prstGeom prst="rect">
              <a:avLst/>
            </a:prstGeom>
            <a:solidFill>
              <a:schemeClr val="bg1"/>
            </a:solidFill>
            <a:ln>
              <a:solidFill>
                <a:schemeClr val="tx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prstClr val="white"/>
                </a:solidFill>
                <a:effectLst/>
                <a:uLnTx/>
                <a:uFillTx/>
                <a:latin typeface="Open Sans"/>
                <a:ea typeface="+mn-ea"/>
                <a:cs typeface="+mn-cs"/>
              </a:endParaRPr>
            </a:p>
          </p:txBody>
        </p:sp>
        <p:grpSp>
          <p:nvGrpSpPr>
            <p:cNvPr id="21" name="Group 20">
              <a:extLst>
                <a:ext uri="{FF2B5EF4-FFF2-40B4-BE49-F238E27FC236}">
                  <a16:creationId xmlns:a16="http://schemas.microsoft.com/office/drawing/2014/main" id="{328ECC8C-1AB7-D34E-89D0-2C6D65BA2887}"/>
                </a:ext>
              </a:extLst>
            </p:cNvPr>
            <p:cNvGrpSpPr/>
            <p:nvPr/>
          </p:nvGrpSpPr>
          <p:grpSpPr>
            <a:xfrm>
              <a:off x="10244132" y="5169340"/>
              <a:ext cx="1628986" cy="682579"/>
              <a:chOff x="953598" y="4850832"/>
              <a:chExt cx="1628986" cy="682579"/>
            </a:xfrm>
          </p:grpSpPr>
          <p:sp>
            <p:nvSpPr>
              <p:cNvPr id="22" name="TextBox 21">
                <a:extLst>
                  <a:ext uri="{FF2B5EF4-FFF2-40B4-BE49-F238E27FC236}">
                    <a16:creationId xmlns:a16="http://schemas.microsoft.com/office/drawing/2014/main" id="{7157097A-CC0F-6C4B-90D9-D1117F2EE1D4}"/>
                  </a:ext>
                </a:extLst>
              </p:cNvPr>
              <p:cNvSpPr txBox="1"/>
              <p:nvPr/>
            </p:nvSpPr>
            <p:spPr>
              <a:xfrm>
                <a:off x="1161632" y="5112395"/>
                <a:ext cx="1420952" cy="153888"/>
              </a:xfrm>
              <a:prstGeom prst="rect">
                <a:avLst/>
              </a:prstGeom>
            </p:spPr>
            <p:txBody>
              <a:bodyPr vert="horz" wrap="square" lIns="0" tIns="0" rIns="0" bIns="0" rtlCol="0">
                <a:sp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1000" b="0" i="0" u="none" strike="noStrike" kern="0" cap="none" spc="0" normalizeH="0" baseline="0">
                    <a:ln>
                      <a:noFill/>
                    </a:ln>
                    <a:solidFill>
                      <a:prstClr val="black"/>
                    </a:solidFill>
                    <a:effectLst/>
                    <a:uLnTx/>
                    <a:uFillTx/>
                    <a:latin typeface="Open Sans"/>
                  </a:rPr>
                  <a:t>BE implementation</a:t>
                </a:r>
              </a:p>
            </p:txBody>
          </p:sp>
          <p:sp>
            <p:nvSpPr>
              <p:cNvPr id="23" name="TextBox 22">
                <a:extLst>
                  <a:ext uri="{FF2B5EF4-FFF2-40B4-BE49-F238E27FC236}">
                    <a16:creationId xmlns:a16="http://schemas.microsoft.com/office/drawing/2014/main" id="{DAD63A10-0D37-F943-8A52-FA7CD8AB3F21}"/>
                  </a:ext>
                </a:extLst>
              </p:cNvPr>
              <p:cNvSpPr txBox="1"/>
              <p:nvPr/>
            </p:nvSpPr>
            <p:spPr>
              <a:xfrm>
                <a:off x="1161632" y="4850832"/>
                <a:ext cx="1141697" cy="153888"/>
              </a:xfrm>
              <a:prstGeom prst="rect">
                <a:avLst/>
              </a:prstGeom>
            </p:spPr>
            <p:txBody>
              <a:bodyPr vert="horz" wrap="square" lIns="0" tIns="0" rIns="0" bIns="0" rtlCol="0">
                <a:sp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1000" b="0" i="0" u="none" strike="noStrike" kern="0" cap="none" spc="0" normalizeH="0" baseline="0">
                    <a:ln>
                      <a:noFill/>
                    </a:ln>
                    <a:solidFill>
                      <a:prstClr val="black"/>
                    </a:solidFill>
                    <a:effectLst/>
                    <a:uLnTx/>
                    <a:uFillTx/>
                    <a:latin typeface="Open Sans"/>
                  </a:rPr>
                  <a:t>AEM Architecture</a:t>
                </a:r>
              </a:p>
            </p:txBody>
          </p:sp>
          <p:sp>
            <p:nvSpPr>
              <p:cNvPr id="24" name="Oval 23">
                <a:extLst>
                  <a:ext uri="{FF2B5EF4-FFF2-40B4-BE49-F238E27FC236}">
                    <a16:creationId xmlns:a16="http://schemas.microsoft.com/office/drawing/2014/main" id="{E2015673-E58E-0147-8192-DD5811A01FF3}"/>
                  </a:ext>
                </a:extLst>
              </p:cNvPr>
              <p:cNvSpPr>
                <a:spLocks noChangeAspect="1"/>
              </p:cNvSpPr>
              <p:nvPr/>
            </p:nvSpPr>
            <p:spPr>
              <a:xfrm>
                <a:off x="953598" y="5138537"/>
                <a:ext cx="101605" cy="10160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prstClr val="white"/>
                  </a:solidFill>
                  <a:effectLst/>
                  <a:uLnTx/>
                  <a:uFillTx/>
                  <a:latin typeface="Open Sans"/>
                  <a:ea typeface="+mn-ea"/>
                  <a:cs typeface="+mn-cs"/>
                </a:endParaRPr>
              </a:p>
            </p:txBody>
          </p:sp>
          <p:sp>
            <p:nvSpPr>
              <p:cNvPr id="25" name="Oval 24">
                <a:extLst>
                  <a:ext uri="{FF2B5EF4-FFF2-40B4-BE49-F238E27FC236}">
                    <a16:creationId xmlns:a16="http://schemas.microsoft.com/office/drawing/2014/main" id="{E49EFF77-00C5-084A-951B-A61EDCC67504}"/>
                  </a:ext>
                </a:extLst>
              </p:cNvPr>
              <p:cNvSpPr>
                <a:spLocks noChangeAspect="1"/>
              </p:cNvSpPr>
              <p:nvPr/>
            </p:nvSpPr>
            <p:spPr>
              <a:xfrm>
                <a:off x="955681" y="4876974"/>
                <a:ext cx="101655" cy="1016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prstClr val="white"/>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DF31AB2A-6AA5-1D4C-B2BD-0D976EAAF21F}"/>
                  </a:ext>
                </a:extLst>
              </p:cNvPr>
              <p:cNvSpPr txBox="1"/>
              <p:nvPr/>
            </p:nvSpPr>
            <p:spPr>
              <a:xfrm>
                <a:off x="1161632" y="5379523"/>
                <a:ext cx="1141697" cy="153888"/>
              </a:xfrm>
              <a:prstGeom prst="rect">
                <a:avLst/>
              </a:prstGeom>
            </p:spPr>
            <p:txBody>
              <a:bodyPr vert="horz" wrap="square" lIns="0" tIns="0" rIns="0" bIns="0" rtlCol="0">
                <a:sp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1000" b="0" i="0" u="none" strike="noStrike" kern="0" cap="none" spc="0" normalizeH="0" baseline="0">
                    <a:ln>
                      <a:noFill/>
                    </a:ln>
                    <a:solidFill>
                      <a:prstClr val="black"/>
                    </a:solidFill>
                    <a:effectLst/>
                    <a:uLnTx/>
                    <a:uFillTx/>
                    <a:latin typeface="Open Sans"/>
                  </a:rPr>
                  <a:t>DevOps</a:t>
                </a:r>
              </a:p>
            </p:txBody>
          </p:sp>
          <p:sp>
            <p:nvSpPr>
              <p:cNvPr id="27" name="Oval 26">
                <a:extLst>
                  <a:ext uri="{FF2B5EF4-FFF2-40B4-BE49-F238E27FC236}">
                    <a16:creationId xmlns:a16="http://schemas.microsoft.com/office/drawing/2014/main" id="{C62F647B-AB69-A241-A1BF-61B96B08140F}"/>
                  </a:ext>
                </a:extLst>
              </p:cNvPr>
              <p:cNvSpPr>
                <a:spLocks noChangeAspect="1"/>
              </p:cNvSpPr>
              <p:nvPr/>
            </p:nvSpPr>
            <p:spPr>
              <a:xfrm>
                <a:off x="953598" y="5403203"/>
                <a:ext cx="101605" cy="10160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prstClr val="white"/>
                  </a:solidFill>
                  <a:effectLst/>
                  <a:uLnTx/>
                  <a:uFillTx/>
                  <a:latin typeface="Open Sans"/>
                  <a:ea typeface="+mn-ea"/>
                  <a:cs typeface="+mn-cs"/>
                </a:endParaRPr>
              </a:p>
            </p:txBody>
          </p:sp>
        </p:grpSp>
      </p:grpSp>
      <p:sp>
        <p:nvSpPr>
          <p:cNvPr id="38" name="Text Placeholder 3">
            <a:extLst>
              <a:ext uri="{FF2B5EF4-FFF2-40B4-BE49-F238E27FC236}">
                <a16:creationId xmlns:a16="http://schemas.microsoft.com/office/drawing/2014/main" id="{74F4BC48-6D46-E845-AB62-9415AAD25C0B}"/>
              </a:ext>
            </a:extLst>
          </p:cNvPr>
          <p:cNvSpPr txBox="1">
            <a:spLocks/>
          </p:cNvSpPr>
          <p:nvPr/>
        </p:nvSpPr>
        <p:spPr>
          <a:xfrm>
            <a:off x="5402263" y="5325025"/>
            <a:ext cx="3462337" cy="24164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ExtraBold" charset="0"/>
                <a:cs typeface="Open Sans ExtraBold"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6FC2B4"/>
              </a:buClr>
              <a:buSzPct val="75000"/>
              <a:buFont typeface="Arial" panose="020B0604020202020204" pitchFamily="34" charset="0"/>
              <a:buNone/>
              <a:tabLst/>
              <a:defRPr/>
            </a:pPr>
            <a:r>
              <a:rPr kumimoji="0" lang="en-GB" sz="1000" b="1" i="0" u="none" strike="noStrike" kern="1200" cap="none" spc="30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UTCOMES</a:t>
            </a:r>
          </a:p>
        </p:txBody>
      </p:sp>
      <p:pic>
        <p:nvPicPr>
          <p:cNvPr id="2050" name="Picture 2">
            <a:extLst>
              <a:ext uri="{FF2B5EF4-FFF2-40B4-BE49-F238E27FC236}">
                <a16:creationId xmlns:a16="http://schemas.microsoft.com/office/drawing/2014/main" id="{A155B660-49B3-B4C0-3024-461A2F313E45}"/>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1509585" y="206509"/>
            <a:ext cx="440984" cy="61374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E3B22CC-9FC5-7738-111B-98B7D22AC20E}"/>
              </a:ext>
            </a:extLst>
          </p:cNvPr>
          <p:cNvSpPr txBox="1"/>
          <p:nvPr/>
        </p:nvSpPr>
        <p:spPr>
          <a:xfrm>
            <a:off x="7464669" y="2804746"/>
            <a:ext cx="0" cy="0"/>
          </a:xfrm>
          <a:prstGeom prst="rect">
            <a:avLst/>
          </a:prstGeom>
          <a:noFill/>
        </p:spPr>
        <p:txBody>
          <a:bodyPr wrap="none" lIns="0" tIns="0" rIns="0" bIns="0" rtlCol="0">
            <a:noAutofit/>
          </a:bodyPr>
          <a:lstStyle/>
          <a:p>
            <a:pPr algn="l">
              <a:spcBef>
                <a:spcPts val="600"/>
              </a:spcBef>
              <a:buSzPct val="100000"/>
            </a:pPr>
            <a:endParaRPr lang="en-GB" sz="1200"/>
          </a:p>
        </p:txBody>
      </p:sp>
      <p:sp>
        <p:nvSpPr>
          <p:cNvPr id="11" name="Text Placeholder 8">
            <a:extLst>
              <a:ext uri="{FF2B5EF4-FFF2-40B4-BE49-F238E27FC236}">
                <a16:creationId xmlns:a16="http://schemas.microsoft.com/office/drawing/2014/main" id="{7947D75E-5E63-8844-6657-C534D6E61713}"/>
              </a:ext>
            </a:extLst>
          </p:cNvPr>
          <p:cNvSpPr txBox="1">
            <a:spLocks/>
          </p:cNvSpPr>
          <p:nvPr/>
        </p:nvSpPr>
        <p:spPr>
          <a:xfrm>
            <a:off x="5400673" y="5540919"/>
            <a:ext cx="4222908" cy="1168012"/>
          </a:xfrm>
          <a:prstGeom prst="rect">
            <a:avLst/>
          </a:prstGeom>
        </p:spPr>
        <p:txBody>
          <a:bodyPr vert="horz" wrap="square" lIns="0" tIns="0" rIns="0" bIns="182880" numCol="1" spcCol="216000" rtlCol="0" anchor="t">
            <a:sp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1pPr>
            <a:lvl2pPr marL="457200" indent="0" algn="l" defTabSz="914400" rtl="0" eaLnBrk="1" latinLnBrk="0" hangingPunct="1">
              <a:lnSpc>
                <a:spcPct val="130000"/>
              </a:lnSpc>
              <a:spcBef>
                <a:spcPts val="5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2pPr>
            <a:lvl3pPr marL="914400" indent="0" algn="l" defTabSz="914400" rtl="0" eaLnBrk="1" latinLnBrk="0" hangingPunct="1">
              <a:lnSpc>
                <a:spcPct val="130000"/>
              </a:lnSpc>
              <a:spcBef>
                <a:spcPts val="5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3pPr>
            <a:lvl4pPr marL="1371600" indent="0" algn="l" defTabSz="914400" rtl="0" eaLnBrk="1" latinLnBrk="0" hangingPunct="1">
              <a:lnSpc>
                <a:spcPct val="130000"/>
              </a:lnSpc>
              <a:spcBef>
                <a:spcPts val="5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4pPr>
            <a:lvl5pPr marL="1828800" indent="0" algn="l" defTabSz="914400" rtl="0" eaLnBrk="1" latinLnBrk="0" hangingPunct="1">
              <a:lnSpc>
                <a:spcPct val="130000"/>
              </a:lnSpc>
              <a:spcBef>
                <a:spcPts val="5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30000"/>
              </a:lnSpc>
              <a:spcBef>
                <a:spcPts val="1000"/>
              </a:spcBef>
              <a:spcAft>
                <a:spcPts val="0"/>
              </a:spcAft>
              <a:buClr>
                <a:srgbClr val="6FC2B4"/>
              </a:buClr>
              <a:buSzPct val="75000"/>
              <a:buFont typeface="Arial" panose="020B0604020202020204" pitchFamily="34" charset="0"/>
              <a:buNone/>
              <a:tabLst/>
              <a:defRPr/>
            </a:pPr>
            <a:r>
              <a:rPr kumimoji="0" lang="en-GB" sz="1000" b="0" i="0" u="none" strike="noStrike" kern="1200" cap="none" spc="-30" normalizeH="0" baseline="0">
                <a:ln>
                  <a:noFill/>
                </a:ln>
                <a:solidFill>
                  <a:prstClr val="black"/>
                </a:solidFill>
                <a:effectLst/>
                <a:uLnTx/>
                <a:uFillTx/>
                <a:latin typeface="Open Sans"/>
                <a:ea typeface="Open Sans" charset="0"/>
                <a:cs typeface="Open Sans" charset="0"/>
              </a:rPr>
              <a:t>We were able to complete the migration within a shorter timeframe than the client had initially requested. </a:t>
            </a:r>
            <a:r>
              <a:rPr lang="en-GB" sz="1000">
                <a:solidFill>
                  <a:prstClr val="black"/>
                </a:solidFill>
                <a:latin typeface="Open Sans"/>
              </a:rPr>
              <a:t>C</a:t>
            </a:r>
            <a:r>
              <a:rPr kumimoji="0" lang="en-GB" sz="1000" b="0" i="0" u="none" strike="noStrike" kern="1200" cap="none" spc="-30" normalizeH="0" baseline="0">
                <a:ln>
                  <a:noFill/>
                </a:ln>
                <a:solidFill>
                  <a:prstClr val="black"/>
                </a:solidFill>
                <a:effectLst/>
                <a:uLnTx/>
                <a:uFillTx/>
                <a:latin typeface="Open Sans"/>
                <a:ea typeface="Open Sans" charset="0"/>
                <a:cs typeface="Open Sans" charset="0"/>
              </a:rPr>
              <a:t>lient now has ability to perform their own </a:t>
            </a:r>
            <a:r>
              <a:rPr lang="en-GB" sz="1000">
                <a:solidFill>
                  <a:prstClr val="black"/>
                </a:solidFill>
                <a:latin typeface="Open Sans"/>
              </a:rPr>
              <a:t>deployments without the need to set up meetings with Adobe. </a:t>
            </a:r>
            <a:r>
              <a:rPr kumimoji="0" lang="en-GB" sz="1000" b="0" i="0" u="none" strike="noStrike" kern="1200" cap="none" spc="-30" normalizeH="0" baseline="0">
                <a:ln>
                  <a:noFill/>
                </a:ln>
                <a:solidFill>
                  <a:prstClr val="black"/>
                </a:solidFill>
                <a:effectLst/>
                <a:uLnTx/>
                <a:uFillTx/>
                <a:latin typeface="Open Sans"/>
                <a:ea typeface="Open Sans" charset="0"/>
                <a:cs typeface="Open Sans" charset="0"/>
              </a:rPr>
              <a:t>Following a successful migration, the client requested that we take over the development of the project.</a:t>
            </a:r>
            <a:endParaRPr kumimoji="0" lang="en-GB" sz="600" b="0" i="0" u="none" strike="noStrike" kern="1200" cap="none" spc="-30" normalizeH="0" baseline="0">
              <a:ln>
                <a:noFill/>
              </a:ln>
              <a:solidFill>
                <a:prstClr val="black"/>
              </a:solidFill>
              <a:effectLst/>
              <a:uLnTx/>
              <a:uFillTx/>
              <a:latin typeface="Open Sans"/>
              <a:ea typeface="Open Sans" charset="0"/>
              <a:cs typeface="Open Sans" charset="0"/>
            </a:endParaRPr>
          </a:p>
        </p:txBody>
      </p:sp>
      <p:pic>
        <p:nvPicPr>
          <p:cNvPr id="14" name="Picture 13">
            <a:extLst>
              <a:ext uri="{FF2B5EF4-FFF2-40B4-BE49-F238E27FC236}">
                <a16:creationId xmlns:a16="http://schemas.microsoft.com/office/drawing/2014/main" id="{BF74BBC6-F5A2-7D05-4C3B-97762441D91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6309" y="-2687"/>
            <a:ext cx="4715366" cy="5047658"/>
          </a:xfrm>
          <a:prstGeom prst="rect">
            <a:avLst/>
          </a:prstGeom>
        </p:spPr>
      </p:pic>
      <p:pic>
        <p:nvPicPr>
          <p:cNvPr id="15" name="Picture 14">
            <a:extLst>
              <a:ext uri="{FF2B5EF4-FFF2-40B4-BE49-F238E27FC236}">
                <a16:creationId xmlns:a16="http://schemas.microsoft.com/office/drawing/2014/main" id="{072E4A6B-992E-96C3-D7D6-3F50BD41E20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81408" y="3147017"/>
            <a:ext cx="1552497" cy="32984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90BFB5C2-AA1D-F175-B0BE-648091C4263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030088" y="2632909"/>
            <a:ext cx="2537356" cy="32969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6" name="Picture 2" descr="John Lewis &amp; Partners - Wikipedia">
            <a:extLst>
              <a:ext uri="{FF2B5EF4-FFF2-40B4-BE49-F238E27FC236}">
                <a16:creationId xmlns:a16="http://schemas.microsoft.com/office/drawing/2014/main" id="{A4F9C17B-F9CF-5AA6-3942-CEC8A7B6D5A6}"/>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400672" y="147568"/>
            <a:ext cx="975136" cy="6151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8913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663889C-7B46-ED41-B3C4-B8F880945F4D}"/>
              </a:ext>
            </a:extLst>
          </p:cNvPr>
          <p:cNvSpPr>
            <a:spLocks noGrp="1"/>
          </p:cNvSpPr>
          <p:nvPr>
            <p:ph type="body" sz="quarter" idx="25"/>
          </p:nvPr>
        </p:nvSpPr>
        <p:spPr>
          <a:xfrm>
            <a:off x="5402263" y="3264667"/>
            <a:ext cx="3462337" cy="241646"/>
          </a:xfrm>
        </p:spPr>
        <p:txBody>
          <a:bodyPr/>
          <a:lstStyle/>
          <a:p>
            <a:r>
              <a:rPr lang="en-GB" sz="1000">
                <a:latin typeface="Open Sans" panose="020B0606030504020204" pitchFamily="34" charset="0"/>
                <a:ea typeface="Open Sans" panose="020B0606030504020204" pitchFamily="34" charset="0"/>
                <a:cs typeface="Open Sans" panose="020B0606030504020204" pitchFamily="34" charset="0"/>
              </a:rPr>
              <a:t>KEY FUNCTIONALITIES</a:t>
            </a:r>
          </a:p>
        </p:txBody>
      </p:sp>
      <p:sp>
        <p:nvSpPr>
          <p:cNvPr id="8" name="Text Placeholder 7">
            <a:extLst>
              <a:ext uri="{FF2B5EF4-FFF2-40B4-BE49-F238E27FC236}">
                <a16:creationId xmlns:a16="http://schemas.microsoft.com/office/drawing/2014/main" id="{825EC924-454D-2342-B0B3-D0F137D8E411}"/>
              </a:ext>
            </a:extLst>
          </p:cNvPr>
          <p:cNvSpPr>
            <a:spLocks noGrp="1"/>
          </p:cNvSpPr>
          <p:nvPr>
            <p:ph type="body" sz="quarter" idx="39"/>
          </p:nvPr>
        </p:nvSpPr>
        <p:spPr>
          <a:xfrm>
            <a:off x="5400674" y="2215462"/>
            <a:ext cx="6050014" cy="967957"/>
          </a:xfrm>
        </p:spPr>
        <p:txBody>
          <a:bodyPr/>
          <a:lstStyle/>
          <a:p>
            <a:r>
              <a:rPr lang="pl-PL" sz="1000"/>
              <a:t>The </a:t>
            </a:r>
            <a:r>
              <a:rPr lang="pl-PL" sz="1000" err="1"/>
              <a:t>client</a:t>
            </a:r>
            <a:r>
              <a:rPr lang="pl-PL" sz="1000"/>
              <a:t> was </a:t>
            </a:r>
            <a:r>
              <a:rPr lang="pl-PL" sz="1000" err="1"/>
              <a:t>striving</a:t>
            </a:r>
            <a:r>
              <a:rPr lang="pl-PL" sz="1000"/>
              <a:t> to </a:t>
            </a:r>
            <a:r>
              <a:rPr lang="pl-PL" sz="1000" err="1"/>
              <a:t>introduce</a:t>
            </a:r>
            <a:r>
              <a:rPr lang="pl-PL" sz="1000"/>
              <a:t> a </a:t>
            </a:r>
            <a:r>
              <a:rPr lang="pl-PL" sz="1000" err="1"/>
              <a:t>digital</a:t>
            </a:r>
            <a:r>
              <a:rPr lang="pl-PL" sz="1000"/>
              <a:t> </a:t>
            </a:r>
            <a:r>
              <a:rPr lang="pl-PL" sz="1000" err="1"/>
              <a:t>experience</a:t>
            </a:r>
            <a:r>
              <a:rPr lang="pl-PL" sz="1000"/>
              <a:t> platform to </a:t>
            </a:r>
            <a:r>
              <a:rPr lang="pl-PL" sz="1000" err="1"/>
              <a:t>replace</a:t>
            </a:r>
            <a:r>
              <a:rPr lang="pl-PL" sz="1000"/>
              <a:t> </a:t>
            </a:r>
            <a:r>
              <a:rPr lang="pl-PL" sz="1000" err="1"/>
              <a:t>various</a:t>
            </a:r>
            <a:r>
              <a:rPr lang="pl-PL" sz="1000"/>
              <a:t> </a:t>
            </a:r>
            <a:r>
              <a:rPr lang="pl-PL" sz="1000" err="1"/>
              <a:t>existing</a:t>
            </a:r>
            <a:r>
              <a:rPr lang="pl-PL" sz="1000"/>
              <a:t> Content Management Systems and Single-</a:t>
            </a:r>
            <a:r>
              <a:rPr lang="pl-PL" sz="1000" err="1"/>
              <a:t>Page</a:t>
            </a:r>
            <a:r>
              <a:rPr lang="pl-PL" sz="1000"/>
              <a:t> Applications. </a:t>
            </a:r>
            <a:r>
              <a:rPr lang="pl-PL" sz="1000" err="1"/>
              <a:t>Scope</a:t>
            </a:r>
            <a:r>
              <a:rPr lang="pl-PL" sz="1000"/>
              <a:t> of </a:t>
            </a:r>
            <a:r>
              <a:rPr lang="pl-PL" sz="1000" err="1"/>
              <a:t>work</a:t>
            </a:r>
            <a:r>
              <a:rPr lang="pl-PL" sz="1000"/>
              <a:t> </a:t>
            </a:r>
            <a:r>
              <a:rPr lang="pl-PL" sz="1000" err="1"/>
              <a:t>included</a:t>
            </a:r>
            <a:r>
              <a:rPr lang="pl-PL" sz="1000"/>
              <a:t> </a:t>
            </a:r>
            <a:r>
              <a:rPr lang="pl-PL" sz="1000" err="1"/>
              <a:t>definition</a:t>
            </a:r>
            <a:r>
              <a:rPr lang="pl-PL" sz="1000"/>
              <a:t> of </a:t>
            </a:r>
            <a:r>
              <a:rPr lang="pl-PL" sz="1000" err="1"/>
              <a:t>functional</a:t>
            </a:r>
            <a:r>
              <a:rPr lang="pl-PL" sz="1000"/>
              <a:t> </a:t>
            </a:r>
            <a:r>
              <a:rPr lang="pl-PL" sz="1000" err="1"/>
              <a:t>requirements</a:t>
            </a:r>
            <a:r>
              <a:rPr lang="pl-PL" sz="1000"/>
              <a:t>, </a:t>
            </a:r>
            <a:r>
              <a:rPr lang="pl-PL" sz="1000" err="1"/>
              <a:t>designing</a:t>
            </a:r>
            <a:r>
              <a:rPr lang="pl-PL" sz="1000"/>
              <a:t> of target </a:t>
            </a:r>
            <a:r>
              <a:rPr lang="pl-PL" sz="1000" err="1"/>
              <a:t>architecture</a:t>
            </a:r>
            <a:r>
              <a:rPr lang="pl-PL" sz="1000"/>
              <a:t> and development of </a:t>
            </a:r>
            <a:r>
              <a:rPr lang="pl-PL" sz="1000" err="1"/>
              <a:t>application’s</a:t>
            </a:r>
            <a:r>
              <a:rPr lang="pl-PL" sz="1000"/>
              <a:t> </a:t>
            </a:r>
            <a:r>
              <a:rPr lang="pl-PL" sz="1000" err="1"/>
              <a:t>components</a:t>
            </a:r>
            <a:r>
              <a:rPr lang="pl-PL" sz="1000"/>
              <a:t> for 3 </a:t>
            </a:r>
            <a:r>
              <a:rPr lang="pl-PL" sz="1000" err="1"/>
              <a:t>key</a:t>
            </a:r>
            <a:r>
              <a:rPr lang="pl-PL" sz="1000"/>
              <a:t> </a:t>
            </a:r>
            <a:r>
              <a:rPr lang="pl-PL" sz="1000" err="1"/>
              <a:t>client</a:t>
            </a:r>
            <a:r>
              <a:rPr lang="pl-PL" sz="1000"/>
              <a:t> </a:t>
            </a:r>
            <a:r>
              <a:rPr lang="pl-PL" sz="1000" err="1"/>
              <a:t>brands</a:t>
            </a:r>
            <a:r>
              <a:rPr lang="pl-PL" sz="1000"/>
              <a:t>.</a:t>
            </a:r>
            <a:endParaRPr lang="en-GB" sz="1000"/>
          </a:p>
        </p:txBody>
      </p:sp>
      <p:sp>
        <p:nvSpPr>
          <p:cNvPr id="9" name="Text Placeholder 8">
            <a:extLst>
              <a:ext uri="{FF2B5EF4-FFF2-40B4-BE49-F238E27FC236}">
                <a16:creationId xmlns:a16="http://schemas.microsoft.com/office/drawing/2014/main" id="{3F771194-4632-B942-BF25-43EAD8D36FF4}"/>
              </a:ext>
            </a:extLst>
          </p:cNvPr>
          <p:cNvSpPr>
            <a:spLocks noGrp="1"/>
          </p:cNvSpPr>
          <p:nvPr>
            <p:ph type="body" sz="quarter" idx="40"/>
          </p:nvPr>
        </p:nvSpPr>
        <p:spPr>
          <a:xfrm>
            <a:off x="5400672" y="3570604"/>
            <a:ext cx="6252153" cy="1826783"/>
          </a:xfrm>
        </p:spPr>
        <p:txBody>
          <a:bodyPr numCol="2" spcCol="216000" anchor="t"/>
          <a:lstStyle/>
          <a:p>
            <a:pPr marL="171450" indent="-171450">
              <a:buFont typeface="Arial" panose="020B0604020202020204" pitchFamily="34" charset="0"/>
              <a:buChar char="•"/>
            </a:pPr>
            <a:r>
              <a:rPr lang="pl-PL" sz="1000"/>
              <a:t>Analysis of </a:t>
            </a:r>
            <a:r>
              <a:rPr lang="pl-PL" sz="1000" err="1"/>
              <a:t>existing</a:t>
            </a:r>
            <a:r>
              <a:rPr lang="pl-PL" sz="1000"/>
              <a:t> </a:t>
            </a:r>
            <a:r>
              <a:rPr lang="pl-PL" sz="1000" err="1"/>
              <a:t>architecture</a:t>
            </a:r>
            <a:r>
              <a:rPr lang="pl-PL" sz="1000"/>
              <a:t>, </a:t>
            </a:r>
            <a:r>
              <a:rPr lang="pl-PL" sz="1000" err="1"/>
              <a:t>technologies</a:t>
            </a:r>
            <a:r>
              <a:rPr lang="pl-PL" sz="1000"/>
              <a:t> in </a:t>
            </a:r>
            <a:r>
              <a:rPr lang="pl-PL" sz="1000" err="1"/>
              <a:t>use</a:t>
            </a:r>
            <a:r>
              <a:rPr lang="pl-PL" sz="1000"/>
              <a:t> and </a:t>
            </a:r>
            <a:r>
              <a:rPr lang="pl-PL" sz="1000" err="1"/>
              <a:t>stored</a:t>
            </a:r>
            <a:r>
              <a:rPr lang="pl-PL" sz="1000"/>
              <a:t> data </a:t>
            </a:r>
            <a:r>
              <a:rPr lang="pl-PL" sz="1000" err="1"/>
              <a:t>types</a:t>
            </a:r>
            <a:r>
              <a:rPr lang="pl-PL" sz="1000"/>
              <a:t> &amp; </a:t>
            </a:r>
            <a:r>
              <a:rPr lang="pl-PL" sz="1000" err="1"/>
              <a:t>volume</a:t>
            </a:r>
            <a:endParaRPr lang="pl-PL" sz="1000"/>
          </a:p>
          <a:p>
            <a:pPr marL="171450" indent="-171450">
              <a:buFont typeface="Arial" panose="020B0604020202020204" pitchFamily="34" charset="0"/>
              <a:buChar char="•"/>
            </a:pPr>
            <a:r>
              <a:rPr lang="pl-PL" sz="1000"/>
              <a:t>Design of </a:t>
            </a:r>
            <a:r>
              <a:rPr lang="pl-PL" sz="1000" err="1"/>
              <a:t>future</a:t>
            </a:r>
            <a:r>
              <a:rPr lang="pl-PL" sz="1000"/>
              <a:t>-proof web </a:t>
            </a:r>
            <a:r>
              <a:rPr lang="pl-PL" sz="1000" err="1"/>
              <a:t>architecture</a:t>
            </a:r>
            <a:r>
              <a:rPr lang="pl-PL" sz="1000"/>
              <a:t> </a:t>
            </a:r>
            <a:r>
              <a:rPr lang="pl-PL" sz="1000" err="1"/>
              <a:t>based</a:t>
            </a:r>
            <a:r>
              <a:rPr lang="pl-PL" sz="1000"/>
              <a:t> on the </a:t>
            </a:r>
            <a:r>
              <a:rPr lang="pl-PL" sz="1000" err="1"/>
              <a:t>defined</a:t>
            </a:r>
            <a:r>
              <a:rPr lang="pl-PL" sz="1000"/>
              <a:t> </a:t>
            </a:r>
            <a:r>
              <a:rPr lang="pl-PL" sz="1000" err="1"/>
              <a:t>standards</a:t>
            </a:r>
            <a:endParaRPr lang="pl-PL" sz="1000"/>
          </a:p>
          <a:p>
            <a:pPr marL="171450" indent="-171450">
              <a:buFont typeface="Arial" panose="020B0604020202020204" pitchFamily="34" charset="0"/>
              <a:buChar char="•"/>
            </a:pPr>
            <a:r>
              <a:rPr lang="pl-PL" sz="1000"/>
              <a:t>Development of AEM </a:t>
            </a:r>
            <a:r>
              <a:rPr lang="pl-PL" sz="1000" err="1"/>
              <a:t>Sites</a:t>
            </a:r>
            <a:r>
              <a:rPr lang="pl-PL" sz="1000"/>
              <a:t> </a:t>
            </a:r>
            <a:r>
              <a:rPr lang="pl-PL" sz="1000" err="1"/>
              <a:t>components</a:t>
            </a:r>
            <a:r>
              <a:rPr lang="pl-PL" sz="1000"/>
              <a:t> and </a:t>
            </a:r>
            <a:r>
              <a:rPr lang="pl-PL" sz="1000" err="1"/>
              <a:t>forms</a:t>
            </a:r>
            <a:r>
              <a:rPr lang="pl-PL" sz="1000"/>
              <a:t> </a:t>
            </a:r>
            <a:r>
              <a:rPr lang="pl-PL" sz="1000" err="1"/>
              <a:t>based</a:t>
            </a:r>
            <a:r>
              <a:rPr lang="pl-PL" sz="1000"/>
              <a:t> on </a:t>
            </a:r>
            <a:r>
              <a:rPr lang="pl-PL" sz="1000" err="1"/>
              <a:t>Figma</a:t>
            </a:r>
            <a:r>
              <a:rPr lang="pl-PL" sz="1000"/>
              <a:t> </a:t>
            </a:r>
            <a:r>
              <a:rPr lang="pl-PL" sz="1000" err="1"/>
              <a:t>designs</a:t>
            </a:r>
            <a:endParaRPr lang="pl-PL" sz="1000"/>
          </a:p>
          <a:p>
            <a:pPr marL="171450" indent="-171450">
              <a:buFont typeface="Arial" panose="020B0604020202020204" pitchFamily="34" charset="0"/>
              <a:buChar char="•"/>
            </a:pPr>
            <a:r>
              <a:rPr lang="pl-PL" sz="1000" err="1"/>
              <a:t>Creation</a:t>
            </a:r>
            <a:r>
              <a:rPr lang="pl-PL" sz="1000"/>
              <a:t> of test </a:t>
            </a:r>
            <a:r>
              <a:rPr lang="pl-PL" sz="1000" err="1"/>
              <a:t>scenarios</a:t>
            </a:r>
            <a:r>
              <a:rPr lang="pl-PL" sz="1000"/>
              <a:t> &amp; automation of </a:t>
            </a:r>
            <a:r>
              <a:rPr lang="pl-PL" sz="1000" err="1"/>
              <a:t>testing</a:t>
            </a:r>
            <a:endParaRPr lang="pl-PL" sz="1000"/>
          </a:p>
          <a:p>
            <a:pPr marL="171450" indent="-171450">
              <a:buFont typeface="Arial" panose="020B0604020202020204" pitchFamily="34" charset="0"/>
              <a:buChar char="•"/>
            </a:pPr>
            <a:r>
              <a:rPr lang="pl-PL" sz="1000"/>
              <a:t>Digital </a:t>
            </a:r>
            <a:r>
              <a:rPr lang="pl-PL" sz="1000" err="1"/>
              <a:t>Asset</a:t>
            </a:r>
            <a:r>
              <a:rPr lang="pl-PL" sz="1000"/>
              <a:t> Management </a:t>
            </a:r>
            <a:r>
              <a:rPr lang="pl-PL" sz="1000" err="1"/>
              <a:t>configuration</a:t>
            </a:r>
            <a:endParaRPr lang="pl-PL" sz="1000"/>
          </a:p>
          <a:p>
            <a:pPr marL="171450" indent="-171450">
              <a:buFont typeface="Arial" panose="020B0604020202020204" pitchFamily="34" charset="0"/>
              <a:buChar char="•"/>
            </a:pPr>
            <a:endParaRPr lang="en-GB" sz="1000"/>
          </a:p>
        </p:txBody>
      </p:sp>
      <p:sp>
        <p:nvSpPr>
          <p:cNvPr id="40" name="Text Placeholder 49">
            <a:extLst>
              <a:ext uri="{FF2B5EF4-FFF2-40B4-BE49-F238E27FC236}">
                <a16:creationId xmlns:a16="http://schemas.microsoft.com/office/drawing/2014/main" id="{C6918779-90DA-D742-A69A-B7791DA01D2E}"/>
              </a:ext>
            </a:extLst>
          </p:cNvPr>
          <p:cNvSpPr>
            <a:spLocks noGrp="1"/>
          </p:cNvSpPr>
          <p:nvPr>
            <p:ph type="body" sz="quarter" idx="18"/>
          </p:nvPr>
        </p:nvSpPr>
        <p:spPr>
          <a:xfrm>
            <a:off x="5402264" y="1003402"/>
            <a:ext cx="5875336" cy="798239"/>
          </a:xfrm>
        </p:spPr>
        <p:txBody>
          <a:bodyPr anchor="t"/>
          <a:lstStyle/>
          <a:p>
            <a:r>
              <a:rPr lang="en-GB" sz="2400">
                <a:solidFill>
                  <a:schemeClr val="dk1"/>
                </a:solidFill>
                <a:latin typeface="Open Sans Light" panose="020B0306030504020204" pitchFamily="34" charset="0"/>
                <a:cs typeface="+mn-cs"/>
              </a:rPr>
              <a:t>Digital Experience Platform - </a:t>
            </a:r>
          </a:p>
          <a:p>
            <a:r>
              <a:rPr lang="en-GB" sz="2400">
                <a:solidFill>
                  <a:schemeClr val="dk1"/>
                </a:solidFill>
                <a:latin typeface="Open Sans Light" panose="020B0306030504020204" pitchFamily="34" charset="0"/>
                <a:cs typeface="+mn-cs"/>
              </a:rPr>
              <a:t>architecture design &amp; implementation</a:t>
            </a:r>
          </a:p>
        </p:txBody>
      </p:sp>
      <p:sp>
        <p:nvSpPr>
          <p:cNvPr id="61" name="TextBox 60">
            <a:extLst>
              <a:ext uri="{FF2B5EF4-FFF2-40B4-BE49-F238E27FC236}">
                <a16:creationId xmlns:a16="http://schemas.microsoft.com/office/drawing/2014/main" id="{F0288F69-09E8-5742-A0F0-D83C70295E9C}"/>
              </a:ext>
            </a:extLst>
          </p:cNvPr>
          <p:cNvSpPr txBox="1"/>
          <p:nvPr/>
        </p:nvSpPr>
        <p:spPr>
          <a:xfrm>
            <a:off x="10705091" y="6071025"/>
            <a:ext cx="1724165" cy="153888"/>
          </a:xfrm>
          <a:prstGeom prst="rect">
            <a:avLst/>
          </a:prstGeom>
        </p:spPr>
        <p:txBody>
          <a:bodyPr vert="horz" lIns="0" tIns="0" rIns="0" bIns="0" rtlCol="0">
            <a:sp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endParaRPr kumimoji="0" lang="en-GB" sz="1000" b="0" i="0" u="none" strike="noStrike" kern="0" cap="none" spc="0" normalizeH="0" baseline="0" noProof="0">
              <a:ln>
                <a:noFill/>
              </a:ln>
              <a:solidFill>
                <a:prstClr val="black"/>
              </a:solidFill>
              <a:effectLst/>
              <a:uLnTx/>
              <a:uFillTx/>
              <a:latin typeface="Open Sans"/>
            </a:endParaRPr>
          </a:p>
        </p:txBody>
      </p:sp>
      <p:sp>
        <p:nvSpPr>
          <p:cNvPr id="31" name="Text Placeholder 3">
            <a:extLst>
              <a:ext uri="{FF2B5EF4-FFF2-40B4-BE49-F238E27FC236}">
                <a16:creationId xmlns:a16="http://schemas.microsoft.com/office/drawing/2014/main" id="{C741C6BD-CB6E-1B46-828B-C6636BBE8088}"/>
              </a:ext>
            </a:extLst>
          </p:cNvPr>
          <p:cNvSpPr txBox="1">
            <a:spLocks/>
          </p:cNvSpPr>
          <p:nvPr/>
        </p:nvSpPr>
        <p:spPr>
          <a:xfrm>
            <a:off x="5402263" y="2003291"/>
            <a:ext cx="3462337" cy="24164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ExtraBold" charset="0"/>
                <a:cs typeface="Open Sans ExtraBold"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6FC2B4"/>
              </a:buClr>
              <a:buSzPct val="75000"/>
              <a:buFont typeface="Arial" panose="020B0604020202020204" pitchFamily="34" charset="0"/>
              <a:buNone/>
              <a:tabLst/>
              <a:defRPr/>
            </a:pPr>
            <a:r>
              <a:rPr kumimoji="0" lang="en-GB" sz="10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grpSp>
        <p:nvGrpSpPr>
          <p:cNvPr id="5" name="Group 4">
            <a:extLst>
              <a:ext uri="{FF2B5EF4-FFF2-40B4-BE49-F238E27FC236}">
                <a16:creationId xmlns:a16="http://schemas.microsoft.com/office/drawing/2014/main" id="{7BA1ECC7-A2E2-4132-E6A9-39FAC6274AA7}"/>
              </a:ext>
            </a:extLst>
          </p:cNvPr>
          <p:cNvGrpSpPr/>
          <p:nvPr/>
        </p:nvGrpSpPr>
        <p:grpSpPr>
          <a:xfrm>
            <a:off x="10031446" y="5400139"/>
            <a:ext cx="1919123" cy="1098778"/>
            <a:chOff x="10112726" y="5044190"/>
            <a:chExt cx="1837843" cy="961618"/>
          </a:xfrm>
        </p:grpSpPr>
        <p:sp>
          <p:nvSpPr>
            <p:cNvPr id="58" name="Rectangle 57">
              <a:extLst>
                <a:ext uri="{FF2B5EF4-FFF2-40B4-BE49-F238E27FC236}">
                  <a16:creationId xmlns:a16="http://schemas.microsoft.com/office/drawing/2014/main" id="{909E1A81-CE0C-544F-A30B-00205B8D51D8}"/>
                </a:ext>
              </a:extLst>
            </p:cNvPr>
            <p:cNvSpPr/>
            <p:nvPr/>
          </p:nvSpPr>
          <p:spPr>
            <a:xfrm>
              <a:off x="10112726" y="5044190"/>
              <a:ext cx="1837843" cy="956481"/>
            </a:xfrm>
            <a:prstGeom prst="rect">
              <a:avLst/>
            </a:prstGeom>
            <a:solidFill>
              <a:schemeClr val="bg1"/>
            </a:solidFill>
            <a:ln>
              <a:solidFill>
                <a:schemeClr val="tx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1" name="Group 20">
              <a:extLst>
                <a:ext uri="{FF2B5EF4-FFF2-40B4-BE49-F238E27FC236}">
                  <a16:creationId xmlns:a16="http://schemas.microsoft.com/office/drawing/2014/main" id="{328ECC8C-1AB7-D34E-89D0-2C6D65BA2887}"/>
                </a:ext>
              </a:extLst>
            </p:cNvPr>
            <p:cNvGrpSpPr/>
            <p:nvPr/>
          </p:nvGrpSpPr>
          <p:grpSpPr>
            <a:xfrm>
              <a:off x="10244132" y="5169340"/>
              <a:ext cx="1628986" cy="836468"/>
              <a:chOff x="953598" y="4850832"/>
              <a:chExt cx="1628986" cy="836468"/>
            </a:xfrm>
          </p:grpSpPr>
          <p:sp>
            <p:nvSpPr>
              <p:cNvPr id="22" name="TextBox 21">
                <a:extLst>
                  <a:ext uri="{FF2B5EF4-FFF2-40B4-BE49-F238E27FC236}">
                    <a16:creationId xmlns:a16="http://schemas.microsoft.com/office/drawing/2014/main" id="{7157097A-CC0F-6C4B-90D9-D1117F2EE1D4}"/>
                  </a:ext>
                </a:extLst>
              </p:cNvPr>
              <p:cNvSpPr txBox="1"/>
              <p:nvPr/>
            </p:nvSpPr>
            <p:spPr>
              <a:xfrm>
                <a:off x="1161632" y="5112395"/>
                <a:ext cx="1420952" cy="153888"/>
              </a:xfrm>
              <a:prstGeom prst="rect">
                <a:avLst/>
              </a:prstGeom>
            </p:spPr>
            <p:txBody>
              <a:bodyPr vert="horz" wrap="square" lIns="0" tIns="0" rIns="0" bIns="0" rtlCol="0">
                <a:sp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1000" b="0" i="0" u="none" strike="noStrike" kern="0" cap="none" spc="0" normalizeH="0" baseline="0" noProof="0">
                    <a:ln>
                      <a:noFill/>
                    </a:ln>
                    <a:solidFill>
                      <a:prstClr val="black"/>
                    </a:solidFill>
                    <a:effectLst/>
                    <a:uLnTx/>
                    <a:uFillTx/>
                    <a:latin typeface="Open Sans"/>
                  </a:rPr>
                  <a:t>FE &amp; BE implementation</a:t>
                </a:r>
              </a:p>
            </p:txBody>
          </p:sp>
          <p:sp>
            <p:nvSpPr>
              <p:cNvPr id="23" name="TextBox 22">
                <a:extLst>
                  <a:ext uri="{FF2B5EF4-FFF2-40B4-BE49-F238E27FC236}">
                    <a16:creationId xmlns:a16="http://schemas.microsoft.com/office/drawing/2014/main" id="{DAD63A10-0D37-F943-8A52-FA7CD8AB3F21}"/>
                  </a:ext>
                </a:extLst>
              </p:cNvPr>
              <p:cNvSpPr txBox="1"/>
              <p:nvPr/>
            </p:nvSpPr>
            <p:spPr>
              <a:xfrm>
                <a:off x="1161632" y="4850832"/>
                <a:ext cx="1141697" cy="153888"/>
              </a:xfrm>
              <a:prstGeom prst="rect">
                <a:avLst/>
              </a:prstGeom>
            </p:spPr>
            <p:txBody>
              <a:bodyPr vert="horz" wrap="square" lIns="0" tIns="0" rIns="0" bIns="0" rtlCol="0">
                <a:sp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1000" b="0" i="0" u="none" strike="noStrike" kern="0" cap="none" spc="0" normalizeH="0" baseline="0" noProof="0">
                    <a:ln>
                      <a:noFill/>
                    </a:ln>
                    <a:solidFill>
                      <a:prstClr val="black"/>
                    </a:solidFill>
                    <a:effectLst/>
                    <a:uLnTx/>
                    <a:uFillTx/>
                    <a:latin typeface="Open Sans"/>
                  </a:rPr>
                  <a:t>AEM Architecture</a:t>
                </a:r>
              </a:p>
            </p:txBody>
          </p:sp>
          <p:sp>
            <p:nvSpPr>
              <p:cNvPr id="24" name="Oval 23">
                <a:extLst>
                  <a:ext uri="{FF2B5EF4-FFF2-40B4-BE49-F238E27FC236}">
                    <a16:creationId xmlns:a16="http://schemas.microsoft.com/office/drawing/2014/main" id="{E2015673-E58E-0147-8192-DD5811A01FF3}"/>
                  </a:ext>
                </a:extLst>
              </p:cNvPr>
              <p:cNvSpPr>
                <a:spLocks noChangeAspect="1"/>
              </p:cNvSpPr>
              <p:nvPr/>
            </p:nvSpPr>
            <p:spPr>
              <a:xfrm>
                <a:off x="953598" y="5138537"/>
                <a:ext cx="101605" cy="10160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Open Sans"/>
                  <a:ea typeface="+mn-ea"/>
                  <a:cs typeface="+mn-cs"/>
                </a:endParaRPr>
              </a:p>
            </p:txBody>
          </p:sp>
          <p:sp>
            <p:nvSpPr>
              <p:cNvPr id="25" name="Oval 24">
                <a:extLst>
                  <a:ext uri="{FF2B5EF4-FFF2-40B4-BE49-F238E27FC236}">
                    <a16:creationId xmlns:a16="http://schemas.microsoft.com/office/drawing/2014/main" id="{E49EFF77-00C5-084A-951B-A61EDCC67504}"/>
                  </a:ext>
                </a:extLst>
              </p:cNvPr>
              <p:cNvSpPr>
                <a:spLocks noChangeAspect="1"/>
              </p:cNvSpPr>
              <p:nvPr/>
            </p:nvSpPr>
            <p:spPr>
              <a:xfrm>
                <a:off x="955681" y="4876974"/>
                <a:ext cx="101655" cy="1016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DF31AB2A-6AA5-1D4C-B2BD-0D976EAAF21F}"/>
                  </a:ext>
                </a:extLst>
              </p:cNvPr>
              <p:cNvSpPr txBox="1"/>
              <p:nvPr/>
            </p:nvSpPr>
            <p:spPr>
              <a:xfrm>
                <a:off x="1161632" y="5379523"/>
                <a:ext cx="1141697" cy="307777"/>
              </a:xfrm>
              <a:prstGeom prst="rect">
                <a:avLst/>
              </a:prstGeom>
            </p:spPr>
            <p:txBody>
              <a:bodyPr vert="horz" wrap="square" lIns="0" tIns="0" rIns="0" bIns="0" rtlCol="0" anchor="t">
                <a:sp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hangingPunct="1">
                  <a:buClr>
                    <a:srgbClr val="787878"/>
                  </a:buClr>
                  <a:defRPr/>
                </a:pPr>
                <a:r>
                  <a:rPr lang="en-GB" sz="1000" b="0" spc="0">
                    <a:solidFill>
                      <a:prstClr val="black"/>
                    </a:solidFill>
                  </a:rPr>
                  <a:t>Maintenance and QA automation</a:t>
                </a:r>
                <a:endParaRPr kumimoji="0" lang="en-GB" sz="1000" b="0" i="0" u="none" strike="noStrike" kern="0" cap="none" spc="0" normalizeH="0" baseline="0" noProof="0">
                  <a:ln>
                    <a:noFill/>
                  </a:ln>
                  <a:solidFill>
                    <a:prstClr val="black"/>
                  </a:solidFill>
                  <a:effectLst/>
                  <a:uLnTx/>
                  <a:uFillTx/>
                  <a:latin typeface="Open Sans"/>
                </a:endParaRPr>
              </a:p>
            </p:txBody>
          </p:sp>
          <p:sp>
            <p:nvSpPr>
              <p:cNvPr id="27" name="Oval 26">
                <a:extLst>
                  <a:ext uri="{FF2B5EF4-FFF2-40B4-BE49-F238E27FC236}">
                    <a16:creationId xmlns:a16="http://schemas.microsoft.com/office/drawing/2014/main" id="{C62F647B-AB69-A241-A1BF-61B96B08140F}"/>
                  </a:ext>
                </a:extLst>
              </p:cNvPr>
              <p:cNvSpPr>
                <a:spLocks noChangeAspect="1"/>
              </p:cNvSpPr>
              <p:nvPr/>
            </p:nvSpPr>
            <p:spPr>
              <a:xfrm>
                <a:off x="953598" y="5403203"/>
                <a:ext cx="101605" cy="10160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Open Sans"/>
                  <a:ea typeface="+mn-ea"/>
                  <a:cs typeface="+mn-cs"/>
                </a:endParaRPr>
              </a:p>
            </p:txBody>
          </p:sp>
        </p:grpSp>
      </p:grpSp>
      <p:sp>
        <p:nvSpPr>
          <p:cNvPr id="38" name="Text Placeholder 3">
            <a:extLst>
              <a:ext uri="{FF2B5EF4-FFF2-40B4-BE49-F238E27FC236}">
                <a16:creationId xmlns:a16="http://schemas.microsoft.com/office/drawing/2014/main" id="{74F4BC48-6D46-E845-AB62-9415AAD25C0B}"/>
              </a:ext>
            </a:extLst>
          </p:cNvPr>
          <p:cNvSpPr txBox="1">
            <a:spLocks/>
          </p:cNvSpPr>
          <p:nvPr/>
        </p:nvSpPr>
        <p:spPr>
          <a:xfrm>
            <a:off x="5402263" y="5558832"/>
            <a:ext cx="3462337" cy="24164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ExtraBold" charset="0"/>
                <a:cs typeface="Open Sans ExtraBold"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6FC2B4"/>
              </a:buClr>
              <a:buSzPct val="75000"/>
              <a:buFont typeface="Arial" panose="020B0604020202020204" pitchFamily="34" charset="0"/>
              <a:buNone/>
              <a:tabLst/>
              <a:defRPr/>
            </a:pPr>
            <a:r>
              <a:rPr kumimoji="0" lang="en-GB" sz="10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UTCOMES</a:t>
            </a:r>
          </a:p>
        </p:txBody>
      </p:sp>
      <p:sp>
        <p:nvSpPr>
          <p:cNvPr id="39" name="Text Placeholder 8">
            <a:extLst>
              <a:ext uri="{FF2B5EF4-FFF2-40B4-BE49-F238E27FC236}">
                <a16:creationId xmlns:a16="http://schemas.microsoft.com/office/drawing/2014/main" id="{3A65DBE8-D506-7145-9131-BA9AE6F0B990}"/>
              </a:ext>
            </a:extLst>
          </p:cNvPr>
          <p:cNvSpPr txBox="1">
            <a:spLocks/>
          </p:cNvSpPr>
          <p:nvPr/>
        </p:nvSpPr>
        <p:spPr>
          <a:xfrm>
            <a:off x="5400673" y="5864769"/>
            <a:ext cx="4222908" cy="567848"/>
          </a:xfrm>
          <a:prstGeom prst="rect">
            <a:avLst/>
          </a:prstGeom>
        </p:spPr>
        <p:txBody>
          <a:bodyPr vert="horz" wrap="square" lIns="0" tIns="0" rIns="0" bIns="182880" numCol="1" spcCol="216000" rtlCol="0" anchor="t">
            <a:sp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1pPr>
            <a:lvl2pPr marL="457200" indent="0" algn="l" defTabSz="914400" rtl="0" eaLnBrk="1" latinLnBrk="0" hangingPunct="1">
              <a:lnSpc>
                <a:spcPct val="130000"/>
              </a:lnSpc>
              <a:spcBef>
                <a:spcPts val="5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2pPr>
            <a:lvl3pPr marL="914400" indent="0" algn="l" defTabSz="914400" rtl="0" eaLnBrk="1" latinLnBrk="0" hangingPunct="1">
              <a:lnSpc>
                <a:spcPct val="130000"/>
              </a:lnSpc>
              <a:spcBef>
                <a:spcPts val="5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3pPr>
            <a:lvl4pPr marL="1371600" indent="0" algn="l" defTabSz="914400" rtl="0" eaLnBrk="1" latinLnBrk="0" hangingPunct="1">
              <a:lnSpc>
                <a:spcPct val="130000"/>
              </a:lnSpc>
              <a:spcBef>
                <a:spcPts val="5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4pPr>
            <a:lvl5pPr marL="1828800" indent="0" algn="l" defTabSz="914400" rtl="0" eaLnBrk="1" latinLnBrk="0" hangingPunct="1">
              <a:lnSpc>
                <a:spcPct val="130000"/>
              </a:lnSpc>
              <a:spcBef>
                <a:spcPts val="500"/>
              </a:spcBef>
              <a:buClr>
                <a:schemeClr val="accent5"/>
              </a:buClr>
              <a:buSzPct val="75000"/>
              <a:buFont typeface="Arial" panose="020B0604020202020204" pitchFamily="34" charset="0"/>
              <a:buNone/>
              <a:defRPr sz="8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
                <a:srgbClr val="6FC2B4"/>
              </a:buClr>
              <a:buSzPct val="75000"/>
              <a:buFont typeface="Arial" panose="020B0604020202020204" pitchFamily="34" charset="0"/>
              <a:buNone/>
              <a:tabLst/>
              <a:defRPr/>
            </a:pP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Target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architecture</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and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responsive</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web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appllication</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MVP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has</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been</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developed</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Content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is</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currently</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being</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 </a:t>
            </a:r>
            <a:r>
              <a:rPr kumimoji="0" lang="pl-PL" sz="1000" b="0" i="0" u="none" strike="noStrike" kern="1200" cap="none" spc="-30" normalizeH="0" baseline="0" noProof="0" err="1">
                <a:ln>
                  <a:noFill/>
                </a:ln>
                <a:solidFill>
                  <a:prstClr val="black"/>
                </a:solidFill>
                <a:effectLst/>
                <a:uLnTx/>
                <a:uFillTx/>
                <a:latin typeface="Open Sans"/>
                <a:ea typeface="Open Sans" charset="0"/>
                <a:cs typeface="Open Sans" charset="0"/>
              </a:rPr>
              <a:t>migrated</a:t>
            </a:r>
            <a:r>
              <a:rPr kumimoji="0" lang="pl-PL" sz="1000" b="0" i="0" u="none" strike="noStrike" kern="1200" cap="none" spc="-30" normalizeH="0" baseline="0" noProof="0">
                <a:ln>
                  <a:noFill/>
                </a:ln>
                <a:solidFill>
                  <a:prstClr val="black"/>
                </a:solidFill>
                <a:effectLst/>
                <a:uLnTx/>
                <a:uFillTx/>
                <a:latin typeface="Open Sans"/>
                <a:ea typeface="Open Sans" charset="0"/>
                <a:cs typeface="Open Sans" charset="0"/>
              </a:rPr>
              <a:t>.</a:t>
            </a:r>
            <a:endParaRPr kumimoji="0" lang="en-GB" sz="600" b="0" i="0" u="none" strike="noStrike" kern="1200" cap="none" spc="-30" normalizeH="0" baseline="0" noProof="0">
              <a:ln>
                <a:noFill/>
              </a:ln>
              <a:solidFill>
                <a:prstClr val="black"/>
              </a:solidFill>
              <a:effectLst/>
              <a:uLnTx/>
              <a:uFillTx/>
              <a:latin typeface="Open Sans"/>
              <a:ea typeface="Open Sans" charset="0"/>
              <a:cs typeface="Open Sans" charset="0"/>
            </a:endParaRPr>
          </a:p>
        </p:txBody>
      </p:sp>
      <p:pic>
        <p:nvPicPr>
          <p:cNvPr id="3" name="Picture 2">
            <a:extLst>
              <a:ext uri="{FF2B5EF4-FFF2-40B4-BE49-F238E27FC236}">
                <a16:creationId xmlns:a16="http://schemas.microsoft.com/office/drawing/2014/main" id="{FDF19F9F-1B5A-A7F0-9AB9-10AFF1A0388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400672" y="227591"/>
            <a:ext cx="2709124" cy="4656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BC44D5D4-6E94-768B-7B44-172910A8DC0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0714" y="4195578"/>
            <a:ext cx="4729512" cy="2662422"/>
          </a:xfrm>
          <a:prstGeom prst="rect">
            <a:avLst/>
          </a:prstGeom>
        </p:spPr>
      </p:pic>
      <p:pic>
        <p:nvPicPr>
          <p:cNvPr id="12" name="Picture 11">
            <a:extLst>
              <a:ext uri="{FF2B5EF4-FFF2-40B4-BE49-F238E27FC236}">
                <a16:creationId xmlns:a16="http://schemas.microsoft.com/office/drawing/2014/main" id="{36DB0EC8-763A-4202-EE28-2E0797E310A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0714" y="-2049"/>
            <a:ext cx="4643190" cy="4561491"/>
          </a:xfrm>
          <a:prstGeom prst="rect">
            <a:avLst/>
          </a:prstGeom>
        </p:spPr>
      </p:pic>
      <p:pic>
        <p:nvPicPr>
          <p:cNvPr id="6" name="Picture 5">
            <a:extLst>
              <a:ext uri="{FF2B5EF4-FFF2-40B4-BE49-F238E27FC236}">
                <a16:creationId xmlns:a16="http://schemas.microsoft.com/office/drawing/2014/main" id="{7F65B381-4AE4-0DEE-4F7D-ABDCC93AE793}"/>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071254" y="1402521"/>
            <a:ext cx="1655804" cy="2998779"/>
          </a:xfrm>
          <a:prstGeom prst="rect">
            <a:avLst/>
          </a:prstGeom>
        </p:spPr>
      </p:pic>
      <p:pic>
        <p:nvPicPr>
          <p:cNvPr id="2050" name="Picture 2">
            <a:extLst>
              <a:ext uri="{FF2B5EF4-FFF2-40B4-BE49-F238E27FC236}">
                <a16:creationId xmlns:a16="http://schemas.microsoft.com/office/drawing/2014/main" id="{A155B660-49B3-B4C0-3024-461A2F313E45}"/>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11509585" y="206509"/>
            <a:ext cx="440984" cy="613741"/>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Connector 54">
            <a:extLst>
              <a:ext uri="{FF2B5EF4-FFF2-40B4-BE49-F238E27FC236}">
                <a16:creationId xmlns:a16="http://schemas.microsoft.com/office/drawing/2014/main" id="{04EE9A21-823F-8B48-8EB7-77AA26836E94}"/>
              </a:ext>
            </a:extLst>
          </p:cNvPr>
          <p:cNvCxnSpPr/>
          <p:nvPr/>
        </p:nvCxnSpPr>
        <p:spPr>
          <a:xfrm>
            <a:off x="4720522" y="0"/>
            <a:ext cx="0" cy="685800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955970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Support and Maintenance 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5.</a:t>
            </a:r>
            <a:endParaRPr lang="en-GB" dirty="0"/>
          </a:p>
        </p:txBody>
      </p:sp>
    </p:spTree>
    <p:extLst>
      <p:ext uri="{BB962C8B-B14F-4D97-AF65-F5344CB8AC3E}">
        <p14:creationId xmlns:p14="http://schemas.microsoft.com/office/powerpoint/2010/main" val="1868885625"/>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3274316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1226" y="-874260"/>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a:p>
        </p:txBody>
      </p:sp>
      <p:sp>
        <p:nvSpPr>
          <p:cNvPr id="116" name="TextBox 115">
            <a:extLst>
              <a:ext uri="{FF2B5EF4-FFF2-40B4-BE49-F238E27FC236}">
                <a16:creationId xmlns:a16="http://schemas.microsoft.com/office/drawing/2014/main" id="{02E34383-661C-C618-987F-A3294B419082}"/>
              </a:ext>
            </a:extLst>
          </p:cNvPr>
          <p:cNvSpPr txBox="1"/>
          <p:nvPr/>
        </p:nvSpPr>
        <p:spPr>
          <a:xfrm>
            <a:off x="4780872" y="39695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17" name="TextBox 116">
            <a:extLst>
              <a:ext uri="{FF2B5EF4-FFF2-40B4-BE49-F238E27FC236}">
                <a16:creationId xmlns:a16="http://schemas.microsoft.com/office/drawing/2014/main" id="{D2AB7B86-37A0-5305-1968-8E63507CC80F}"/>
              </a:ext>
            </a:extLst>
          </p:cNvPr>
          <p:cNvSpPr txBox="1"/>
          <p:nvPr/>
        </p:nvSpPr>
        <p:spPr>
          <a:xfrm>
            <a:off x="6441102" y="4300133"/>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8" name="Rectangle 27">
            <a:extLst>
              <a:ext uri="{FF2B5EF4-FFF2-40B4-BE49-F238E27FC236}">
                <a16:creationId xmlns:a16="http://schemas.microsoft.com/office/drawing/2014/main" id="{5E35D33A-6811-BC69-383E-8FAB16E98661}"/>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A0CC134-109C-8FE4-CB2F-D0F9D8849D9F}"/>
              </a:ext>
            </a:extLst>
          </p:cNvPr>
          <p:cNvSpPr/>
          <p:nvPr/>
        </p:nvSpPr>
        <p:spPr bwMode="gray">
          <a:xfrm>
            <a:off x="-7839" y="-4963"/>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14229" y="2202417"/>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02935" y="4997207"/>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02934" y="307705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95228" y="-85904"/>
            <a:ext cx="1725898" cy="1484272"/>
          </a:xfrm>
          <a:prstGeom prst="rect">
            <a:avLst/>
          </a:prstGeom>
        </p:spPr>
      </p:pic>
      <p:sp>
        <p:nvSpPr>
          <p:cNvPr id="41" name="Rectangle: Rounded Corners 40">
            <a:extLst>
              <a:ext uri="{FF2B5EF4-FFF2-40B4-BE49-F238E27FC236}">
                <a16:creationId xmlns:a16="http://schemas.microsoft.com/office/drawing/2014/main" id="{9E1A5677-B5F0-B102-E3C6-47103D928637}"/>
              </a:ext>
            </a:extLst>
          </p:cNvPr>
          <p:cNvSpPr/>
          <p:nvPr/>
        </p:nvSpPr>
        <p:spPr bwMode="gray">
          <a:xfrm>
            <a:off x="4097198" y="3165999"/>
            <a:ext cx="2555764" cy="860900"/>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90550"/>
            <a:ext cx="2689784"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dirty="0">
                <a:latin typeface="+mn-lt"/>
              </a:rPr>
              <a:t>Support, Maintenance, and Reliability</a:t>
            </a:r>
          </a:p>
        </p:txBody>
      </p:sp>
      <p:sp>
        <p:nvSpPr>
          <p:cNvPr id="6" name="TextBox 5">
            <a:extLst>
              <a:ext uri="{FF2B5EF4-FFF2-40B4-BE49-F238E27FC236}">
                <a16:creationId xmlns:a16="http://schemas.microsoft.com/office/drawing/2014/main" id="{FAEF6724-E8B7-7C0B-158A-01A618E22EC0}"/>
              </a:ext>
            </a:extLst>
          </p:cNvPr>
          <p:cNvSpPr txBox="1"/>
          <p:nvPr/>
        </p:nvSpPr>
        <p:spPr>
          <a:xfrm>
            <a:off x="1065281" y="3129912"/>
            <a:ext cx="1498191" cy="246222"/>
          </a:xfrm>
          <a:prstGeom prst="rect">
            <a:avLst/>
          </a:prstGeom>
          <a:noFill/>
        </p:spPr>
        <p:txBody>
          <a:bodyPr wrap="square" lIns="0" tIns="0" rIns="0" bIns="0" rtlCol="0" anchor="ctr">
            <a:noAutofit/>
          </a:bodyPr>
          <a:lstStyle/>
          <a:p>
            <a:r>
              <a:rPr lang="en-US" sz="900" b="1" dirty="0">
                <a:ea typeface="Open Sans Light" panose="020B0306030504020204" pitchFamily="34" charset="0"/>
                <a:cs typeface="Open Sans Light" panose="020B0306030504020204" pitchFamily="34" charset="0"/>
              </a:rPr>
              <a:t>SERVICE GOVERNANCE</a:t>
            </a:r>
            <a:endParaRPr lang="en-US" sz="900" b="1" dirty="0">
              <a:latin typeface="+mj-lt"/>
              <a:ea typeface="Open Sans Light" panose="020B0306030504020204" pitchFamily="34" charset="0"/>
              <a:cs typeface="Open Sans Light" panose="020B0306030504020204" pitchFamily="34" charset="0"/>
            </a:endParaRPr>
          </a:p>
        </p:txBody>
      </p:sp>
      <p:sp>
        <p:nvSpPr>
          <p:cNvPr id="8" name="TextBox 7">
            <a:extLst>
              <a:ext uri="{FF2B5EF4-FFF2-40B4-BE49-F238E27FC236}">
                <a16:creationId xmlns:a16="http://schemas.microsoft.com/office/drawing/2014/main" id="{2A0503F6-4EF7-56CC-B9BB-BB12C10CB290}"/>
              </a:ext>
            </a:extLst>
          </p:cNvPr>
          <p:cNvSpPr txBox="1"/>
          <p:nvPr/>
        </p:nvSpPr>
        <p:spPr>
          <a:xfrm>
            <a:off x="520966" y="220469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chemeClr val="bg1"/>
                </a:solidFill>
                <a:latin typeface="Open Sans"/>
              </a:rPr>
              <a:t>OUR SERVIES</a:t>
            </a:r>
            <a:endParaRPr kumimoji="0" lang="en-US" sz="1200" b="1" i="0" u="none" strike="noStrike" kern="1200" cap="none" spc="300" normalizeH="0" baseline="0" dirty="0">
              <a:ln>
                <a:noFill/>
              </a:ln>
              <a:solidFill>
                <a:schemeClr val="bg1"/>
              </a:solidFill>
              <a:effectLst/>
              <a:uLnTx/>
              <a:uFillTx/>
              <a:latin typeface="Open Sans"/>
            </a:endParaRPr>
          </a:p>
        </p:txBody>
      </p:sp>
      <p:sp>
        <p:nvSpPr>
          <p:cNvPr id="15" name="Rectangle 14">
            <a:extLst>
              <a:ext uri="{FF2B5EF4-FFF2-40B4-BE49-F238E27FC236}">
                <a16:creationId xmlns:a16="http://schemas.microsoft.com/office/drawing/2014/main" id="{3EB57B1D-83EB-0D0B-449F-EC60EBAFDE32}"/>
              </a:ext>
            </a:extLst>
          </p:cNvPr>
          <p:cNvSpPr/>
          <p:nvPr/>
        </p:nvSpPr>
        <p:spPr>
          <a:xfrm>
            <a:off x="9294019" y="2012605"/>
            <a:ext cx="1301860"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err="1">
                <a:solidFill>
                  <a:srgbClr val="000000"/>
                </a:solidFill>
                <a:latin typeface="Open Sans"/>
                <a:ea typeface="Open Sans"/>
                <a:cs typeface="Open Sans"/>
              </a:rPr>
              <a:t>Sirokai</a:t>
            </a:r>
            <a:r>
              <a:rPr lang="en-US" sz="1200" b="1" dirty="0">
                <a:solidFill>
                  <a:srgbClr val="000000"/>
                </a:solidFill>
                <a:latin typeface="Open Sans"/>
                <a:ea typeface="Open Sans"/>
                <a:cs typeface="Open Sans"/>
              </a:rPr>
              <a:t> József</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mj-lt"/>
                <a:ea typeface="Open Sans"/>
                <a:cs typeface="Open Sans"/>
              </a:rPr>
              <a:t>Director</a:t>
            </a:r>
            <a:endParaRPr lang="en-US" sz="1200" b="0" i="0" u="none" strike="noStrike" kern="1200" cap="none" spc="0" normalizeH="0" baseline="0" dirty="0">
              <a:ln>
                <a:noFill/>
              </a:ln>
              <a:solidFill>
                <a:srgbClr val="000000"/>
              </a:solidFill>
              <a:effectLst/>
              <a:uLnTx/>
              <a:uFillTx/>
              <a:latin typeface="+mj-lt"/>
              <a:ea typeface="Open Sans"/>
              <a:cs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dirty="0">
                <a:latin typeface="Open Sans"/>
              </a:rPr>
              <a:t>METHODOLOGIES</a:t>
            </a:r>
            <a:endParaRPr kumimoji="0" lang="en-US" sz="1200" b="0" i="1" u="none" strike="noStrike" kern="1200" cap="none" spc="600" normalizeH="0" baseline="0" dirty="0">
              <a:ln>
                <a:noFill/>
              </a:ln>
              <a:effectLst/>
              <a:uLnTx/>
              <a:uFillTx/>
              <a:latin typeface="Open San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a:endCxn id="47" idx="4"/>
          </p:cNvCxnSpPr>
          <p:nvPr/>
        </p:nvCxnSpPr>
        <p:spPr>
          <a:xfrm>
            <a:off x="877822" y="2834952"/>
            <a:ext cx="0" cy="32370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31515" y="320285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058355" y="4173492"/>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63" name="TextBox 62">
            <a:extLst>
              <a:ext uri="{FF2B5EF4-FFF2-40B4-BE49-F238E27FC236}">
                <a16:creationId xmlns:a16="http://schemas.microsoft.com/office/drawing/2014/main" id="{D6BCE08A-2010-C3CE-D191-C533EB4153F8}"/>
              </a:ext>
            </a:extLst>
          </p:cNvPr>
          <p:cNvSpPr txBox="1"/>
          <p:nvPr/>
        </p:nvSpPr>
        <p:spPr>
          <a:xfrm>
            <a:off x="3879952" y="4118311"/>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67" name="TextBox 66">
            <a:extLst>
              <a:ext uri="{FF2B5EF4-FFF2-40B4-BE49-F238E27FC236}">
                <a16:creationId xmlns:a16="http://schemas.microsoft.com/office/drawing/2014/main" id="{D7A9173E-42C8-E19F-56C2-0DA2BD60D004}"/>
              </a:ext>
            </a:extLst>
          </p:cNvPr>
          <p:cNvSpPr txBox="1"/>
          <p:nvPr/>
        </p:nvSpPr>
        <p:spPr>
          <a:xfrm>
            <a:off x="4145574" y="3206296"/>
            <a:ext cx="2184971"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ITIL SERVICE OPERATIONS</a:t>
            </a:r>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028036" y="4422130"/>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a:rPr>
              <a:t>CHAPTER LEAD EXPERT</a:t>
            </a:r>
            <a:endParaRPr kumimoji="0" lang="en-US" sz="1200" b="0" i="1" u="none" strike="noStrike" kern="1200" cap="none" spc="300" normalizeH="0" baseline="0" dirty="0">
              <a:ln>
                <a:noFill/>
              </a:ln>
              <a:solidFill>
                <a:srgbClr val="38B6FF"/>
              </a:solidFill>
              <a:effectLst/>
              <a:uLnTx/>
              <a:uFillTx/>
              <a:latin typeface="Open Sans"/>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02935" y="4091746"/>
            <a:ext cx="1596402"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20" name="Oval 19">
            <a:extLst>
              <a:ext uri="{FF2B5EF4-FFF2-40B4-BE49-F238E27FC236}">
                <a16:creationId xmlns:a16="http://schemas.microsoft.com/office/drawing/2014/main" id="{D83B2E23-77BE-A76A-896C-9EFB70455266}"/>
              </a:ext>
            </a:extLst>
          </p:cNvPr>
          <p:cNvSpPr/>
          <p:nvPr/>
        </p:nvSpPr>
        <p:spPr bwMode="gray">
          <a:xfrm>
            <a:off x="831515" y="4216861"/>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1" name="Oval 20">
            <a:extLst>
              <a:ext uri="{FF2B5EF4-FFF2-40B4-BE49-F238E27FC236}">
                <a16:creationId xmlns:a16="http://schemas.microsoft.com/office/drawing/2014/main" id="{D219154D-E203-927A-E17E-7821D7AFA343}"/>
              </a:ext>
            </a:extLst>
          </p:cNvPr>
          <p:cNvSpPr/>
          <p:nvPr/>
        </p:nvSpPr>
        <p:spPr bwMode="gray">
          <a:xfrm>
            <a:off x="831515" y="512536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3" name="TextBox 22">
            <a:extLst>
              <a:ext uri="{FF2B5EF4-FFF2-40B4-BE49-F238E27FC236}">
                <a16:creationId xmlns:a16="http://schemas.microsoft.com/office/drawing/2014/main" id="{71042AB0-6C28-0519-0123-4B35425F7BBA}"/>
              </a:ext>
            </a:extLst>
          </p:cNvPr>
          <p:cNvSpPr txBox="1"/>
          <p:nvPr/>
        </p:nvSpPr>
        <p:spPr>
          <a:xfrm>
            <a:off x="1074112" y="4146801"/>
            <a:ext cx="1533638" cy="246222"/>
          </a:xfrm>
          <a:prstGeom prst="rect">
            <a:avLst/>
          </a:prstGeom>
          <a:noFill/>
        </p:spPr>
        <p:txBody>
          <a:bodyPr wrap="square" lIns="0" tIns="0" rIns="0" bIns="0" rtlCol="0" anchor="ctr">
            <a:noAutofit/>
          </a:bodyPr>
          <a:lstStyle/>
          <a:p>
            <a:pPr>
              <a:spcAft>
                <a:spcPts val="1000"/>
              </a:spcAft>
            </a:pPr>
            <a:r>
              <a:rPr lang="en-US" sz="900" b="1" dirty="0">
                <a:ea typeface="Open Sans Light" panose="020B0306030504020204" pitchFamily="34" charset="0"/>
                <a:cs typeface="Open Sans Light" panose="020B0306030504020204" pitchFamily="34" charset="0"/>
              </a:rPr>
              <a:t>ADVISE-IMPLEMENT-OPERATE</a:t>
            </a:r>
            <a:endParaRPr lang="en-US" sz="900" b="1" dirty="0">
              <a:latin typeface="+mj-lt"/>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id="{5C8FF9D1-C272-F408-C331-07E40145140C}"/>
              </a:ext>
            </a:extLst>
          </p:cNvPr>
          <p:cNvSpPr txBox="1"/>
          <p:nvPr/>
        </p:nvSpPr>
        <p:spPr>
          <a:xfrm>
            <a:off x="1063582" y="5050065"/>
            <a:ext cx="1436292" cy="246222"/>
          </a:xfrm>
          <a:prstGeom prst="rect">
            <a:avLst/>
          </a:prstGeom>
          <a:noFill/>
        </p:spPr>
        <p:txBody>
          <a:bodyPr wrap="square" lIns="0" tIns="0" rIns="0" bIns="0" rtlCol="0" anchor="ctr">
            <a:noAutofit/>
          </a:bodyPr>
          <a:lstStyle/>
          <a:p>
            <a:pPr>
              <a:spcAft>
                <a:spcPts val="1000"/>
              </a:spcAft>
            </a:pPr>
            <a:r>
              <a:rPr lang="en-US" sz="900" b="1" dirty="0">
                <a:ea typeface="Open Sans Light" panose="020B0306030504020204" pitchFamily="34" charset="0"/>
                <a:cs typeface="Open Sans Light" panose="020B0306030504020204" pitchFamily="34" charset="0"/>
              </a:rPr>
              <a:t>CLOUD, DIGITAL &amp; DATA PLATFORM OPERATIONS</a:t>
            </a:r>
            <a:endParaRPr lang="en-US" sz="900" b="1" dirty="0">
              <a:latin typeface="+mj-lt"/>
              <a:ea typeface="Open Sans Light" panose="020B0306030504020204" pitchFamily="34" charset="0"/>
              <a:cs typeface="Open Sans Light" panose="020B0306030504020204" pitchFamily="34" charset="0"/>
            </a:endParaRPr>
          </a:p>
        </p:txBody>
      </p:sp>
      <p:sp>
        <p:nvSpPr>
          <p:cNvPr id="47" name="Oval 46">
            <a:extLst>
              <a:ext uri="{FF2B5EF4-FFF2-40B4-BE49-F238E27FC236}">
                <a16:creationId xmlns:a16="http://schemas.microsoft.com/office/drawing/2014/main" id="{6058C288-3E9D-1798-0463-2C85C18A75D9}"/>
              </a:ext>
            </a:extLst>
          </p:cNvPr>
          <p:cNvSpPr/>
          <p:nvPr/>
        </p:nvSpPr>
        <p:spPr bwMode="gray">
          <a:xfrm>
            <a:off x="831515" y="5964035"/>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79" name="TextBox 78">
            <a:extLst>
              <a:ext uri="{FF2B5EF4-FFF2-40B4-BE49-F238E27FC236}">
                <a16:creationId xmlns:a16="http://schemas.microsoft.com/office/drawing/2014/main" id="{85D465EA-B4B6-1092-E7DC-37C3BDDC7B4B}"/>
              </a:ext>
            </a:extLst>
          </p:cNvPr>
          <p:cNvSpPr txBox="1"/>
          <p:nvPr/>
        </p:nvSpPr>
        <p:spPr>
          <a:xfrm>
            <a:off x="4116390" y="3354380"/>
            <a:ext cx="2557116" cy="61555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Our approach involves restoring business operations as soon as possible via our request, Incident, problem and monitoring processes while identifying opportunities, developing solutions, and iterating to excellence. We can also take complete ownership of UNICEF issues via our Operate model. </a:t>
            </a:r>
          </a:p>
        </p:txBody>
      </p:sp>
      <p:sp>
        <p:nvSpPr>
          <p:cNvPr id="106" name="Rectangle: Rounded Corners 105">
            <a:extLst>
              <a:ext uri="{FF2B5EF4-FFF2-40B4-BE49-F238E27FC236}">
                <a16:creationId xmlns:a16="http://schemas.microsoft.com/office/drawing/2014/main" id="{203B5607-7E3F-24DA-A479-534848EB7048}"/>
              </a:ext>
            </a:extLst>
          </p:cNvPr>
          <p:cNvSpPr/>
          <p:nvPr/>
        </p:nvSpPr>
        <p:spPr bwMode="gray">
          <a:xfrm>
            <a:off x="6741469" y="3165997"/>
            <a:ext cx="2304301" cy="870458"/>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40" name="Rectangle: Rounded Corners 139">
            <a:extLst>
              <a:ext uri="{FF2B5EF4-FFF2-40B4-BE49-F238E27FC236}">
                <a16:creationId xmlns:a16="http://schemas.microsoft.com/office/drawing/2014/main" id="{D9D87D48-E2A5-82B4-5DCB-DD6A6DD9B745}"/>
              </a:ext>
            </a:extLst>
          </p:cNvPr>
          <p:cNvSpPr/>
          <p:nvPr/>
        </p:nvSpPr>
        <p:spPr bwMode="gray">
          <a:xfrm>
            <a:off x="1002935" y="5861046"/>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41" name="TextBox 140">
            <a:extLst>
              <a:ext uri="{FF2B5EF4-FFF2-40B4-BE49-F238E27FC236}">
                <a16:creationId xmlns:a16="http://schemas.microsoft.com/office/drawing/2014/main" id="{12FB68F4-8C18-397A-D5C2-459A5DFE2144}"/>
              </a:ext>
            </a:extLst>
          </p:cNvPr>
          <p:cNvSpPr txBox="1"/>
          <p:nvPr/>
        </p:nvSpPr>
        <p:spPr>
          <a:xfrm>
            <a:off x="1067646" y="5913904"/>
            <a:ext cx="1479852" cy="246222"/>
          </a:xfrm>
          <a:prstGeom prst="rect">
            <a:avLst/>
          </a:prstGeom>
          <a:noFill/>
        </p:spPr>
        <p:txBody>
          <a:bodyPr wrap="square" lIns="0" tIns="0" rIns="0" bIns="0" rtlCol="0" anchor="ctr">
            <a:noAutofit/>
          </a:bodyPr>
          <a:lstStyle/>
          <a:p>
            <a:pPr>
              <a:spcAft>
                <a:spcPts val="1000"/>
              </a:spcAft>
            </a:pPr>
            <a:r>
              <a:rPr lang="en-US" sz="900" b="1" dirty="0">
                <a:ea typeface="Open Sans Light" panose="020B0306030504020204" pitchFamily="34" charset="0"/>
                <a:cs typeface="Open Sans Light" panose="020B0306030504020204" pitchFamily="34" charset="0"/>
              </a:rPr>
              <a:t>VALUE MANAGED MODEL</a:t>
            </a:r>
            <a:endParaRPr lang="en-US" sz="900" b="1" dirty="0">
              <a:latin typeface="+mj-lt"/>
              <a:ea typeface="Open Sans Light" panose="020B0306030504020204" pitchFamily="34" charset="0"/>
              <a:cs typeface="Open Sans Light" panose="020B0306030504020204" pitchFamily="34" charset="0"/>
            </a:endParaRPr>
          </a:p>
        </p:txBody>
      </p:sp>
      <p:grpSp>
        <p:nvGrpSpPr>
          <p:cNvPr id="154" name="Group 153">
            <a:extLst>
              <a:ext uri="{FF2B5EF4-FFF2-40B4-BE49-F238E27FC236}">
                <a16:creationId xmlns:a16="http://schemas.microsoft.com/office/drawing/2014/main" id="{7CCDCCF6-78BA-428F-5761-F3B50871EA19}"/>
              </a:ext>
            </a:extLst>
          </p:cNvPr>
          <p:cNvGrpSpPr/>
          <p:nvPr/>
        </p:nvGrpSpPr>
        <p:grpSpPr>
          <a:xfrm>
            <a:off x="4097198" y="6022617"/>
            <a:ext cx="1790095" cy="693900"/>
            <a:chOff x="4141469" y="4422748"/>
            <a:chExt cx="1790095" cy="693900"/>
          </a:xfrm>
        </p:grpSpPr>
        <p:sp>
          <p:nvSpPr>
            <p:cNvPr id="151" name="Rectangle: Rounded Corners 150">
              <a:extLst>
                <a:ext uri="{FF2B5EF4-FFF2-40B4-BE49-F238E27FC236}">
                  <a16:creationId xmlns:a16="http://schemas.microsoft.com/office/drawing/2014/main" id="{3C44359C-3694-CB13-5474-036E7FBC3097}"/>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52" name="TextBox 151">
              <a:extLst>
                <a:ext uri="{FF2B5EF4-FFF2-40B4-BE49-F238E27FC236}">
                  <a16:creationId xmlns:a16="http://schemas.microsoft.com/office/drawing/2014/main" id="{896D5271-B29D-2744-42B7-C97CCB3FF236}"/>
                </a:ext>
              </a:extLst>
            </p:cNvPr>
            <p:cNvSpPr txBox="1"/>
            <p:nvPr/>
          </p:nvSpPr>
          <p:spPr>
            <a:xfrm>
              <a:off x="4189846" y="4463046"/>
              <a:ext cx="1741718" cy="2769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APPLICATION &amp; CLOUD MANAGED SERVIECS (AMS/CMS)</a:t>
              </a:r>
            </a:p>
          </p:txBody>
        </p:sp>
        <p:sp>
          <p:nvSpPr>
            <p:cNvPr id="153" name="TextBox 152">
              <a:extLst>
                <a:ext uri="{FF2B5EF4-FFF2-40B4-BE49-F238E27FC236}">
                  <a16:creationId xmlns:a16="http://schemas.microsoft.com/office/drawing/2014/main" id="{E15E02D1-586A-D74A-DC97-A8D026CA8846}"/>
                </a:ext>
              </a:extLst>
            </p:cNvPr>
            <p:cNvSpPr txBox="1"/>
            <p:nvPr/>
          </p:nvSpPr>
          <p:spPr>
            <a:xfrm>
              <a:off x="4189845" y="4747316"/>
              <a:ext cx="1490941" cy="369332"/>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Ongoing maintenance, monitoring, and optimization of applications, data , and cloud environments</a:t>
              </a:r>
            </a:p>
          </p:txBody>
        </p:sp>
      </p:grpSp>
      <p:grpSp>
        <p:nvGrpSpPr>
          <p:cNvPr id="155" name="Group 154">
            <a:extLst>
              <a:ext uri="{FF2B5EF4-FFF2-40B4-BE49-F238E27FC236}">
                <a16:creationId xmlns:a16="http://schemas.microsoft.com/office/drawing/2014/main" id="{05E439ED-BA4E-BA01-73BC-BCE7FB7706DF}"/>
              </a:ext>
            </a:extLst>
          </p:cNvPr>
          <p:cNvGrpSpPr/>
          <p:nvPr/>
        </p:nvGrpSpPr>
        <p:grpSpPr>
          <a:xfrm>
            <a:off x="4097198" y="5089409"/>
            <a:ext cx="1679450" cy="686652"/>
            <a:chOff x="4141468" y="4422748"/>
            <a:chExt cx="2282465" cy="686652"/>
          </a:xfrm>
        </p:grpSpPr>
        <p:sp>
          <p:nvSpPr>
            <p:cNvPr id="156" name="Rectangle: Rounded Corners 155">
              <a:extLst>
                <a:ext uri="{FF2B5EF4-FFF2-40B4-BE49-F238E27FC236}">
                  <a16:creationId xmlns:a16="http://schemas.microsoft.com/office/drawing/2014/main" id="{94599516-A95C-A225-3267-9BBE24217472}"/>
                </a:ext>
              </a:extLst>
            </p:cNvPr>
            <p:cNvSpPr/>
            <p:nvPr/>
          </p:nvSpPr>
          <p:spPr bwMode="gray">
            <a:xfrm>
              <a:off x="4141468" y="4422748"/>
              <a:ext cx="2282465"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57" name="TextBox 156">
              <a:extLst>
                <a:ext uri="{FF2B5EF4-FFF2-40B4-BE49-F238E27FC236}">
                  <a16:creationId xmlns:a16="http://schemas.microsoft.com/office/drawing/2014/main" id="{711772EF-E96C-2F99-95FE-9FB376C4C68C}"/>
                </a:ext>
              </a:extLst>
            </p:cNvPr>
            <p:cNvSpPr txBox="1"/>
            <p:nvPr/>
          </p:nvSpPr>
          <p:spPr>
            <a:xfrm>
              <a:off x="4189845" y="4463045"/>
              <a:ext cx="2073797"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CLOUD PLATFORMS</a:t>
              </a:r>
            </a:p>
          </p:txBody>
        </p:sp>
        <p:sp>
          <p:nvSpPr>
            <p:cNvPr id="158" name="TextBox 157">
              <a:extLst>
                <a:ext uri="{FF2B5EF4-FFF2-40B4-BE49-F238E27FC236}">
                  <a16:creationId xmlns:a16="http://schemas.microsoft.com/office/drawing/2014/main" id="{DAE1AF42-E14B-D472-7B6B-D5BFF693A04F}"/>
                </a:ext>
              </a:extLst>
            </p:cNvPr>
            <p:cNvSpPr txBox="1"/>
            <p:nvPr/>
          </p:nvSpPr>
          <p:spPr>
            <a:xfrm>
              <a:off x="4189844" y="4611129"/>
              <a:ext cx="2194060" cy="49244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Meet UNICEF’s ongoing technology needs through strategically managing and enhancing cloud solutions and the underlying infrastructure services.</a:t>
              </a:r>
            </a:p>
          </p:txBody>
        </p:sp>
      </p:grpSp>
      <p:grpSp>
        <p:nvGrpSpPr>
          <p:cNvPr id="164" name="Group 163">
            <a:extLst>
              <a:ext uri="{FF2B5EF4-FFF2-40B4-BE49-F238E27FC236}">
                <a16:creationId xmlns:a16="http://schemas.microsoft.com/office/drawing/2014/main" id="{3891EAF7-136A-451D-E893-3B8170BDE569}"/>
              </a:ext>
            </a:extLst>
          </p:cNvPr>
          <p:cNvGrpSpPr/>
          <p:nvPr/>
        </p:nvGrpSpPr>
        <p:grpSpPr>
          <a:xfrm>
            <a:off x="5963619" y="5097449"/>
            <a:ext cx="1702414" cy="686653"/>
            <a:chOff x="6620756" y="3416518"/>
            <a:chExt cx="2351588" cy="686653"/>
          </a:xfrm>
        </p:grpSpPr>
        <p:sp>
          <p:nvSpPr>
            <p:cNvPr id="165" name="Rectangle: Rounded Corners 164">
              <a:extLst>
                <a:ext uri="{FF2B5EF4-FFF2-40B4-BE49-F238E27FC236}">
                  <a16:creationId xmlns:a16="http://schemas.microsoft.com/office/drawing/2014/main" id="{C8212B2A-534F-0D66-1D90-EAD3583628F9}"/>
                </a:ext>
              </a:extLst>
            </p:cNvPr>
            <p:cNvSpPr/>
            <p:nvPr/>
          </p:nvSpPr>
          <p:spPr bwMode="gray">
            <a:xfrm>
              <a:off x="6620756" y="3416518"/>
              <a:ext cx="2351588" cy="686653"/>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66" name="TextBox 165">
              <a:extLst>
                <a:ext uri="{FF2B5EF4-FFF2-40B4-BE49-F238E27FC236}">
                  <a16:creationId xmlns:a16="http://schemas.microsoft.com/office/drawing/2014/main" id="{E10A06B5-A674-4DD9-215C-B0F71C02A331}"/>
                </a:ext>
              </a:extLst>
            </p:cNvPr>
            <p:cNvSpPr txBox="1"/>
            <p:nvPr/>
          </p:nvSpPr>
          <p:spPr>
            <a:xfrm>
              <a:off x="6685122" y="3440540"/>
              <a:ext cx="206469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DIGTAL TECHNOLOGIES</a:t>
              </a:r>
            </a:p>
          </p:txBody>
        </p:sp>
        <p:sp>
          <p:nvSpPr>
            <p:cNvPr id="167" name="TextBox 166">
              <a:extLst>
                <a:ext uri="{FF2B5EF4-FFF2-40B4-BE49-F238E27FC236}">
                  <a16:creationId xmlns:a16="http://schemas.microsoft.com/office/drawing/2014/main" id="{CD924CCF-F456-4163-279E-7C349A853F75}"/>
                </a:ext>
              </a:extLst>
            </p:cNvPr>
            <p:cNvSpPr txBox="1"/>
            <p:nvPr/>
          </p:nvSpPr>
          <p:spPr>
            <a:xfrm>
              <a:off x="6697229" y="3590066"/>
              <a:ext cx="2202607" cy="492443"/>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800" dirty="0">
                  <a:solidFill>
                    <a:srgbClr val="000000"/>
                  </a:solidFill>
                </a:rPr>
                <a:t>Provide ongoing management of critical digital processes enabled by market-differentiated assets and a vast network of global knowledge.</a:t>
              </a:r>
            </a:p>
          </p:txBody>
        </p:sp>
      </p:grpSp>
      <p:grpSp>
        <p:nvGrpSpPr>
          <p:cNvPr id="173" name="Group 172">
            <a:extLst>
              <a:ext uri="{FF2B5EF4-FFF2-40B4-BE49-F238E27FC236}">
                <a16:creationId xmlns:a16="http://schemas.microsoft.com/office/drawing/2014/main" id="{13B57B1E-0FF2-81CE-6E4D-CC02BA27A2AE}"/>
              </a:ext>
            </a:extLst>
          </p:cNvPr>
          <p:cNvGrpSpPr/>
          <p:nvPr/>
        </p:nvGrpSpPr>
        <p:grpSpPr>
          <a:xfrm>
            <a:off x="2599327" y="306575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8A79F5A9-611B-8C89-8D9B-C6321AEE7097}"/>
                </a:ext>
              </a:extLst>
            </p:cNvPr>
            <p:cNvSpPr/>
            <p:nvPr/>
          </p:nvSpPr>
          <p:spPr bwMode="gray">
            <a:xfrm>
              <a:off x="685175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id="{72397154-5CBC-AA5A-A55A-ADE4150B2893}"/>
              </a:ext>
            </a:extLst>
          </p:cNvPr>
          <p:cNvGrpSpPr/>
          <p:nvPr/>
        </p:nvGrpSpPr>
        <p:grpSpPr>
          <a:xfrm>
            <a:off x="2599327" y="5903554"/>
            <a:ext cx="6809259" cy="108000"/>
            <a:chOff x="2643598" y="3290138"/>
            <a:chExt cx="6809259" cy="108000"/>
          </a:xfrm>
        </p:grpSpPr>
        <p:cxnSp>
          <p:nvCxnSpPr>
            <p:cNvPr id="179" name="Straight Connector 178">
              <a:extLst>
                <a:ext uri="{FF2B5EF4-FFF2-40B4-BE49-F238E27FC236}">
                  <a16:creationId xmlns:a16="http://schemas.microsoft.com/office/drawing/2014/main" id="{734B58FE-0404-9F28-6619-689FBEAEFDBB}"/>
                </a:ext>
              </a:extLst>
            </p:cNvPr>
            <p:cNvCxnSpPr>
              <a:cxnSpLocks/>
            </p:cNvCxnSpPr>
            <p:nvPr/>
          </p:nvCxnSpPr>
          <p:spPr>
            <a:xfrm>
              <a:off x="3648455" y="3337206"/>
              <a:ext cx="5804402"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0" name="Oval 179">
              <a:extLst>
                <a:ext uri="{FF2B5EF4-FFF2-40B4-BE49-F238E27FC236}">
                  <a16:creationId xmlns:a16="http://schemas.microsoft.com/office/drawing/2014/main" id="{EA995530-C02A-4121-148D-92CD5258691C}"/>
                </a:ext>
              </a:extLst>
            </p:cNvPr>
            <p:cNvSpPr/>
            <p:nvPr/>
          </p:nvSpPr>
          <p:spPr bwMode="gray">
            <a:xfrm>
              <a:off x="782307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181" name="Oval 180">
              <a:extLst>
                <a:ext uri="{FF2B5EF4-FFF2-40B4-BE49-F238E27FC236}">
                  <a16:creationId xmlns:a16="http://schemas.microsoft.com/office/drawing/2014/main" id="{9AC10361-92A4-2648-221C-821310928E37}"/>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82" name="Straight Connector 181">
              <a:extLst>
                <a:ext uri="{FF2B5EF4-FFF2-40B4-BE49-F238E27FC236}">
                  <a16:creationId xmlns:a16="http://schemas.microsoft.com/office/drawing/2014/main" id="{00E3558C-8A07-DC35-0327-87DC85650846}"/>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256A6D88-128F-0914-30BC-6220CF627039}"/>
                </a:ext>
              </a:extLst>
            </p:cNvPr>
            <p:cNvSpPr/>
            <p:nvPr/>
          </p:nvSpPr>
          <p:spPr bwMode="gray">
            <a:xfrm>
              <a:off x="598736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grpSp>
      <p:grpSp>
        <p:nvGrpSpPr>
          <p:cNvPr id="184" name="Group 183">
            <a:extLst>
              <a:ext uri="{FF2B5EF4-FFF2-40B4-BE49-F238E27FC236}">
                <a16:creationId xmlns:a16="http://schemas.microsoft.com/office/drawing/2014/main" id="{70C81E58-6CCD-442F-629F-F83D7E5611EB}"/>
              </a:ext>
            </a:extLst>
          </p:cNvPr>
          <p:cNvGrpSpPr/>
          <p:nvPr/>
        </p:nvGrpSpPr>
        <p:grpSpPr>
          <a:xfrm>
            <a:off x="5934697" y="6022617"/>
            <a:ext cx="1790095" cy="932174"/>
            <a:chOff x="4141469" y="4422748"/>
            <a:chExt cx="1790095" cy="932174"/>
          </a:xfrm>
        </p:grpSpPr>
        <p:sp>
          <p:nvSpPr>
            <p:cNvPr id="185" name="Rectangle: Rounded Corners 184">
              <a:extLst>
                <a:ext uri="{FF2B5EF4-FFF2-40B4-BE49-F238E27FC236}">
                  <a16:creationId xmlns:a16="http://schemas.microsoft.com/office/drawing/2014/main" id="{44EB9B49-AC77-EACB-720F-1A3C17F129EE}"/>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86" name="TextBox 185">
              <a:extLst>
                <a:ext uri="{FF2B5EF4-FFF2-40B4-BE49-F238E27FC236}">
                  <a16:creationId xmlns:a16="http://schemas.microsoft.com/office/drawing/2014/main" id="{560C2F05-39DA-A187-C246-4452612B432B}"/>
                </a:ext>
              </a:extLst>
            </p:cNvPr>
            <p:cNvSpPr txBox="1"/>
            <p:nvPr/>
          </p:nvSpPr>
          <p:spPr>
            <a:xfrm>
              <a:off x="4189846" y="4463046"/>
              <a:ext cx="174171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FOUNDRY SERVICES</a:t>
              </a:r>
            </a:p>
          </p:txBody>
        </p:sp>
        <p:sp>
          <p:nvSpPr>
            <p:cNvPr id="187" name="TextBox 186">
              <a:extLst>
                <a:ext uri="{FF2B5EF4-FFF2-40B4-BE49-F238E27FC236}">
                  <a16:creationId xmlns:a16="http://schemas.microsoft.com/office/drawing/2014/main" id="{BECC602D-14F8-0498-DA90-F6D04B921984}"/>
                </a:ext>
              </a:extLst>
            </p:cNvPr>
            <p:cNvSpPr txBox="1"/>
            <p:nvPr/>
          </p:nvSpPr>
          <p:spPr>
            <a:xfrm>
              <a:off x="4189845" y="4611129"/>
              <a:ext cx="1630468" cy="74379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Flexible capacity model for small projects and enhancements where client buys resources / hours on a recurring basis</a:t>
              </a:r>
            </a:p>
            <a:p>
              <a:pPr marL="171450" indent="-171450">
                <a:spcBef>
                  <a:spcPts val="1000"/>
                </a:spcBef>
                <a:buClr>
                  <a:srgbClr val="FFFFFF">
                    <a:lumMod val="50000"/>
                  </a:srgbClr>
                </a:buClr>
                <a:buFont typeface="Arial" panose="020B0604020202020204" pitchFamily="34" charset="0"/>
                <a:buChar char="•"/>
                <a:defRPr/>
              </a:pPr>
              <a:endParaRPr lang="en-US" sz="800" dirty="0">
                <a:solidFill>
                  <a:srgbClr val="000000"/>
                </a:solidFill>
              </a:endParaRPr>
            </a:p>
          </p:txBody>
        </p:sp>
      </p:grpSp>
      <p:grpSp>
        <p:nvGrpSpPr>
          <p:cNvPr id="1024" name="Group 1023">
            <a:extLst>
              <a:ext uri="{FF2B5EF4-FFF2-40B4-BE49-F238E27FC236}">
                <a16:creationId xmlns:a16="http://schemas.microsoft.com/office/drawing/2014/main" id="{0377BFCF-CA51-E909-64CD-892B7E60D0D5}"/>
              </a:ext>
            </a:extLst>
          </p:cNvPr>
          <p:cNvGrpSpPr/>
          <p:nvPr/>
        </p:nvGrpSpPr>
        <p:grpSpPr>
          <a:xfrm>
            <a:off x="7767822" y="6022617"/>
            <a:ext cx="1790095" cy="686652"/>
            <a:chOff x="4141469" y="4422748"/>
            <a:chExt cx="1790095" cy="686652"/>
          </a:xfrm>
        </p:grpSpPr>
        <p:sp>
          <p:nvSpPr>
            <p:cNvPr id="1025" name="Rectangle: Rounded Corners 1024">
              <a:extLst>
                <a:ext uri="{FF2B5EF4-FFF2-40B4-BE49-F238E27FC236}">
                  <a16:creationId xmlns:a16="http://schemas.microsoft.com/office/drawing/2014/main" id="{7FE63B33-BB1C-59B3-5135-07FA8DACCEF8}"/>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027" name="TextBox 1026">
              <a:extLst>
                <a:ext uri="{FF2B5EF4-FFF2-40B4-BE49-F238E27FC236}">
                  <a16:creationId xmlns:a16="http://schemas.microsoft.com/office/drawing/2014/main" id="{60B0997F-4417-1ED7-42BF-14FFB7C1A9DE}"/>
                </a:ext>
              </a:extLst>
            </p:cNvPr>
            <p:cNvSpPr txBox="1"/>
            <p:nvPr/>
          </p:nvSpPr>
          <p:spPr>
            <a:xfrm>
              <a:off x="4189846" y="4463046"/>
              <a:ext cx="174171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ADVISE AS A SERVICE</a:t>
              </a:r>
            </a:p>
          </p:txBody>
        </p:sp>
        <p:sp>
          <p:nvSpPr>
            <p:cNvPr id="1028" name="TextBox 1027">
              <a:extLst>
                <a:ext uri="{FF2B5EF4-FFF2-40B4-BE49-F238E27FC236}">
                  <a16:creationId xmlns:a16="http://schemas.microsoft.com/office/drawing/2014/main" id="{1A09BBC5-FDE5-4A8E-EF85-77B7BD6A7CFB}"/>
                </a:ext>
              </a:extLst>
            </p:cNvPr>
            <p:cNvSpPr txBox="1"/>
            <p:nvPr/>
          </p:nvSpPr>
          <p:spPr>
            <a:xfrm>
              <a:off x="4189845" y="4611129"/>
              <a:ext cx="1631801" cy="49244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Combined domain and technology expertise, industry insights, and a deep understanding of needs to provide impactful guidance.</a:t>
              </a:r>
            </a:p>
          </p:txBody>
        </p:sp>
      </p:grpSp>
      <p:sp>
        <p:nvSpPr>
          <p:cNvPr id="1035" name="Rectangle 1034">
            <a:extLst>
              <a:ext uri="{FF2B5EF4-FFF2-40B4-BE49-F238E27FC236}">
                <a16:creationId xmlns:a16="http://schemas.microsoft.com/office/drawing/2014/main" id="{9081E093-1FCC-E931-EF81-34F2735F5A6D}"/>
              </a:ext>
            </a:extLst>
          </p:cNvPr>
          <p:cNvSpPr/>
          <p:nvPr/>
        </p:nvSpPr>
        <p:spPr>
          <a:xfrm>
            <a:off x="9294018" y="2410080"/>
            <a:ext cx="2897979" cy="93871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i="1" dirty="0"/>
              <a:t>“Having reliable, resilient and high performing technology is only exceeded by those that go above and beyond to support UNICEF to help focus on the rights, and well being of children globally.”</a:t>
            </a:r>
          </a:p>
        </p:txBody>
      </p:sp>
      <p:pic>
        <p:nvPicPr>
          <p:cNvPr id="1036" name="Picture 4" descr="Linkedin logo png - greorder">
            <a:hlinkClick r:id="rId7"/>
            <a:extLst>
              <a:ext uri="{FF2B5EF4-FFF2-40B4-BE49-F238E27FC236}">
                <a16:creationId xmlns:a16="http://schemas.microsoft.com/office/drawing/2014/main" id="{1D1F8576-08B0-C2D3-E711-0C4E6C0D89E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354588" y="2069899"/>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108" name="Freeform: Shape 1107">
            <a:extLst>
              <a:ext uri="{FF2B5EF4-FFF2-40B4-BE49-F238E27FC236}">
                <a16:creationId xmlns:a16="http://schemas.microsoft.com/office/drawing/2014/main" id="{AD5D1342-2F33-36A0-EF26-97B4BB7DBC70}"/>
              </a:ext>
            </a:extLst>
          </p:cNvPr>
          <p:cNvSpPr/>
          <p:nvPr/>
        </p:nvSpPr>
        <p:spPr bwMode="gray">
          <a:xfrm>
            <a:off x="10556853" y="413657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035219" y="391740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0985491" y="4435814"/>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1111" name="Rectangle 1110">
            <a:extLst>
              <a:ext uri="{FF2B5EF4-FFF2-40B4-BE49-F238E27FC236}">
                <a16:creationId xmlns:a16="http://schemas.microsoft.com/office/drawing/2014/main" id="{C3A7529B-FB76-569F-0DC1-C22DA82217DC}"/>
              </a:ext>
            </a:extLst>
          </p:cNvPr>
          <p:cNvSpPr/>
          <p:nvPr/>
        </p:nvSpPr>
        <p:spPr>
          <a:xfrm>
            <a:off x="10709142" y="4529476"/>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T</a:t>
            </a: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033127" y="391255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0634792" y="5495087"/>
            <a:ext cx="908617" cy="946501"/>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sz="1600"/>
          </a:p>
        </p:txBody>
      </p:sp>
      <p:sp>
        <p:nvSpPr>
          <p:cNvPr id="38" name="Rectangle 37">
            <a:extLst>
              <a:ext uri="{FF2B5EF4-FFF2-40B4-BE49-F238E27FC236}">
                <a16:creationId xmlns:a16="http://schemas.microsoft.com/office/drawing/2014/main" id="{D7615059-6B4F-F222-38A4-7C7D4098B526}"/>
              </a:ext>
            </a:extLst>
          </p:cNvPr>
          <p:cNvSpPr/>
          <p:nvPr/>
        </p:nvSpPr>
        <p:spPr>
          <a:xfrm>
            <a:off x="10717732" y="5651657"/>
            <a:ext cx="921637"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i="1" spc="300" dirty="0">
                <a:solidFill>
                  <a:schemeClr val="bg1">
                    <a:lumMod val="50000"/>
                  </a:schemeClr>
                </a:solidFill>
                <a:latin typeface="Open Sans"/>
              </a:rPr>
              <a:t>200+</a:t>
            </a:r>
            <a:endParaRPr kumimoji="0" lang="en-US" sz="1600" b="1" i="1" u="none" strike="noStrike" kern="1200" cap="none" spc="300" normalizeH="0" baseline="0" dirty="0">
              <a:ln>
                <a:noFill/>
              </a:ln>
              <a:solidFill>
                <a:schemeClr val="bg1">
                  <a:lumMod val="50000"/>
                </a:schemeClr>
              </a:solidFill>
              <a:effectLst/>
              <a:uLnTx/>
              <a:uFillTx/>
              <a:latin typeface="Open Sans"/>
            </a:endParaRPr>
          </a:p>
        </p:txBody>
      </p:sp>
      <p:sp>
        <p:nvSpPr>
          <p:cNvPr id="34" name="Rectangle 33">
            <a:extLst>
              <a:ext uri="{FF2B5EF4-FFF2-40B4-BE49-F238E27FC236}">
                <a16:creationId xmlns:a16="http://schemas.microsoft.com/office/drawing/2014/main" id="{02DE62AF-4526-6392-D4BC-A7AE7B1DEFD9}"/>
              </a:ext>
            </a:extLst>
          </p:cNvPr>
          <p:cNvSpPr/>
          <p:nvPr/>
        </p:nvSpPr>
        <p:spPr>
          <a:xfrm>
            <a:off x="10543578" y="5920778"/>
            <a:ext cx="1125099" cy="307777"/>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i="1" spc="300" dirty="0">
                <a:solidFill>
                  <a:schemeClr val="bg1">
                    <a:lumMod val="50000"/>
                  </a:schemeClr>
                </a:solidFill>
                <a:latin typeface="Open Sans"/>
              </a:rPr>
              <a:t>EXPERTS IN CE REGION</a:t>
            </a:r>
            <a:endParaRPr kumimoji="0" lang="en-US" sz="700" i="1" u="none" strike="noStrike" kern="1200" cap="none" spc="300" normalizeH="0" baseline="0" dirty="0">
              <a:ln>
                <a:noFill/>
              </a:ln>
              <a:solidFill>
                <a:schemeClr val="bg1">
                  <a:lumMod val="50000"/>
                </a:schemeClr>
              </a:solidFill>
              <a:effectLst/>
              <a:uLnTx/>
              <a:uFillTx/>
              <a:latin typeface="Open Sans"/>
            </a:endParaRPr>
          </a:p>
        </p:txBody>
      </p:sp>
      <p:sp>
        <p:nvSpPr>
          <p:cNvPr id="4" name="Rectangle 3">
            <a:extLst>
              <a:ext uri="{FF2B5EF4-FFF2-40B4-BE49-F238E27FC236}">
                <a16:creationId xmlns:a16="http://schemas.microsoft.com/office/drawing/2014/main" id="{B88C12BF-C83A-D83A-08A4-81D19DD4007B}"/>
              </a:ext>
            </a:extLst>
          </p:cNvPr>
          <p:cNvSpPr/>
          <p:nvPr/>
        </p:nvSpPr>
        <p:spPr>
          <a:xfrm>
            <a:off x="9333068" y="3294536"/>
            <a:ext cx="2805716" cy="646331"/>
          </a:xfrm>
          <a:prstGeom prst="rect">
            <a:avLst/>
          </a:prstGeom>
          <a:noFill/>
        </p:spPr>
        <p:txBody>
          <a:bodyPr wrap="square">
            <a:spAutoFit/>
          </a:bodyPr>
          <a:lstStyle/>
          <a:p>
            <a:pPr>
              <a:defRPr/>
            </a:pPr>
            <a:r>
              <a:rPr lang="en-US" sz="900" dirty="0"/>
              <a:t>For over 20 years Jozsef has been guiding international organizations through transformational journeys, while leading complex managed services engagements, within Cloud, Digital and Data Platform Operations.</a:t>
            </a:r>
          </a:p>
        </p:txBody>
      </p:sp>
      <p:grpSp>
        <p:nvGrpSpPr>
          <p:cNvPr id="12" name="Group 11">
            <a:extLst>
              <a:ext uri="{FF2B5EF4-FFF2-40B4-BE49-F238E27FC236}">
                <a16:creationId xmlns:a16="http://schemas.microsoft.com/office/drawing/2014/main" id="{9660C3C4-6C95-A824-502B-E7973F3B1276}"/>
              </a:ext>
            </a:extLst>
          </p:cNvPr>
          <p:cNvGrpSpPr/>
          <p:nvPr/>
        </p:nvGrpSpPr>
        <p:grpSpPr>
          <a:xfrm>
            <a:off x="4077518" y="2241998"/>
            <a:ext cx="4859249" cy="745476"/>
            <a:chOff x="6629684" y="3416519"/>
            <a:chExt cx="2804696" cy="519472"/>
          </a:xfrm>
        </p:grpSpPr>
        <p:sp>
          <p:nvSpPr>
            <p:cNvPr id="13" name="Rectangle: Rounded Corners 164">
              <a:extLst>
                <a:ext uri="{FF2B5EF4-FFF2-40B4-BE49-F238E27FC236}">
                  <a16:creationId xmlns:a16="http://schemas.microsoft.com/office/drawing/2014/main" id="{FF5183C1-186B-BFCB-220F-A990BE6C6DD0}"/>
                </a:ext>
              </a:extLst>
            </p:cNvPr>
            <p:cNvSpPr/>
            <p:nvPr/>
          </p:nvSpPr>
          <p:spPr bwMode="gray">
            <a:xfrm>
              <a:off x="6629684" y="3416519"/>
              <a:ext cx="2804696" cy="51947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4" name="TextBox 13">
              <a:extLst>
                <a:ext uri="{FF2B5EF4-FFF2-40B4-BE49-F238E27FC236}">
                  <a16:creationId xmlns:a16="http://schemas.microsoft.com/office/drawing/2014/main" id="{6EAF5C80-7E8F-A367-C642-278A67F63E8E}"/>
                </a:ext>
              </a:extLst>
            </p:cNvPr>
            <p:cNvSpPr txBox="1"/>
            <p:nvPr/>
          </p:nvSpPr>
          <p:spPr>
            <a:xfrm>
              <a:off x="6697232" y="3439942"/>
              <a:ext cx="2544602" cy="96511"/>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OPERATE MANAGED SERVICES</a:t>
              </a:r>
            </a:p>
          </p:txBody>
        </p:sp>
        <p:sp>
          <p:nvSpPr>
            <p:cNvPr id="16" name="TextBox 15">
              <a:extLst>
                <a:ext uri="{FF2B5EF4-FFF2-40B4-BE49-F238E27FC236}">
                  <a16:creationId xmlns:a16="http://schemas.microsoft.com/office/drawing/2014/main" id="{DFF8F30F-8199-82A0-424E-F2974F13801E}"/>
                </a:ext>
              </a:extLst>
            </p:cNvPr>
            <p:cNvSpPr txBox="1"/>
            <p:nvPr/>
          </p:nvSpPr>
          <p:spPr>
            <a:xfrm>
              <a:off x="6690058" y="3555144"/>
              <a:ext cx="2743544" cy="343150"/>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800" dirty="0">
                  <a:solidFill>
                    <a:srgbClr val="000000"/>
                  </a:solidFill>
                </a:rPr>
                <a:t>We provide Operate services at the heart of our clients’ business, utilizing an integrated, comprehensive model that focuses on leveraging market disruptors and our broader expertise to drive innovation and value while also offering ideas on how to advise on and implement recommendations to transform their business while supporting, maintaining a reliable ecosystem.</a:t>
              </a:r>
            </a:p>
          </p:txBody>
        </p:sp>
      </p:grpSp>
      <p:grpSp>
        <p:nvGrpSpPr>
          <p:cNvPr id="17" name="Group 16">
            <a:extLst>
              <a:ext uri="{FF2B5EF4-FFF2-40B4-BE49-F238E27FC236}">
                <a16:creationId xmlns:a16="http://schemas.microsoft.com/office/drawing/2014/main" id="{80535FC8-296D-D22E-4187-DE160E058764}"/>
              </a:ext>
            </a:extLst>
          </p:cNvPr>
          <p:cNvGrpSpPr/>
          <p:nvPr/>
        </p:nvGrpSpPr>
        <p:grpSpPr>
          <a:xfrm>
            <a:off x="7795932" y="5097448"/>
            <a:ext cx="1696721" cy="686653"/>
            <a:chOff x="6620756" y="3416518"/>
            <a:chExt cx="2351588" cy="686653"/>
          </a:xfrm>
        </p:grpSpPr>
        <p:sp>
          <p:nvSpPr>
            <p:cNvPr id="19" name="Rectangle: Rounded Corners 164">
              <a:extLst>
                <a:ext uri="{FF2B5EF4-FFF2-40B4-BE49-F238E27FC236}">
                  <a16:creationId xmlns:a16="http://schemas.microsoft.com/office/drawing/2014/main" id="{002398C3-BC27-5835-A3B9-B80D7504BEB7}"/>
                </a:ext>
              </a:extLst>
            </p:cNvPr>
            <p:cNvSpPr/>
            <p:nvPr/>
          </p:nvSpPr>
          <p:spPr bwMode="gray">
            <a:xfrm>
              <a:off x="6620756" y="3416518"/>
              <a:ext cx="2351588" cy="686653"/>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22" name="TextBox 21">
              <a:extLst>
                <a:ext uri="{FF2B5EF4-FFF2-40B4-BE49-F238E27FC236}">
                  <a16:creationId xmlns:a16="http://schemas.microsoft.com/office/drawing/2014/main" id="{B46E25FB-1C98-E43B-8121-138EB4EE1A78}"/>
                </a:ext>
              </a:extLst>
            </p:cNvPr>
            <p:cNvSpPr txBox="1"/>
            <p:nvPr/>
          </p:nvSpPr>
          <p:spPr>
            <a:xfrm>
              <a:off x="6697232" y="3453250"/>
              <a:ext cx="2064697"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DATA OPERATIONS</a:t>
              </a:r>
            </a:p>
          </p:txBody>
        </p:sp>
        <p:sp>
          <p:nvSpPr>
            <p:cNvPr id="30" name="TextBox 29">
              <a:extLst>
                <a:ext uri="{FF2B5EF4-FFF2-40B4-BE49-F238E27FC236}">
                  <a16:creationId xmlns:a16="http://schemas.microsoft.com/office/drawing/2014/main" id="{D4895117-91BF-8596-4D0E-41AC807A7C35}"/>
                </a:ext>
              </a:extLst>
            </p:cNvPr>
            <p:cNvSpPr txBox="1"/>
            <p:nvPr/>
          </p:nvSpPr>
          <p:spPr>
            <a:xfrm>
              <a:off x="6697231" y="3579040"/>
              <a:ext cx="2213225" cy="369332"/>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800" dirty="0">
                  <a:solidFill>
                    <a:srgbClr val="000000"/>
                  </a:solidFill>
                </a:rPr>
                <a:t>Deliver ongoing analysis and provide support for data operations, including support for the platforms themselves.</a:t>
              </a:r>
            </a:p>
          </p:txBody>
        </p:sp>
      </p:grpSp>
      <p:sp>
        <p:nvSpPr>
          <p:cNvPr id="31" name="TextBox 30">
            <a:extLst>
              <a:ext uri="{FF2B5EF4-FFF2-40B4-BE49-F238E27FC236}">
                <a16:creationId xmlns:a16="http://schemas.microsoft.com/office/drawing/2014/main" id="{BADAF57D-3521-3FDF-C80F-61242CED1952}"/>
              </a:ext>
            </a:extLst>
          </p:cNvPr>
          <p:cNvSpPr txBox="1"/>
          <p:nvPr/>
        </p:nvSpPr>
        <p:spPr>
          <a:xfrm>
            <a:off x="6811193" y="3193407"/>
            <a:ext cx="2117669"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AGILE ENHANCEMENTS DELIVERY</a:t>
            </a:r>
          </a:p>
        </p:txBody>
      </p:sp>
      <p:sp>
        <p:nvSpPr>
          <p:cNvPr id="33" name="TextBox 32">
            <a:extLst>
              <a:ext uri="{FF2B5EF4-FFF2-40B4-BE49-F238E27FC236}">
                <a16:creationId xmlns:a16="http://schemas.microsoft.com/office/drawing/2014/main" id="{FC341FD5-985F-63CC-4D50-F299A3F4E0D5}"/>
              </a:ext>
            </a:extLst>
          </p:cNvPr>
          <p:cNvSpPr txBox="1"/>
          <p:nvPr/>
        </p:nvSpPr>
        <p:spPr>
          <a:xfrm>
            <a:off x="6807479" y="3360638"/>
            <a:ext cx="2282457" cy="615553"/>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800" dirty="0"/>
              <a:t>We adapt and incorporate the culture of change through Agile delivery to drive enhancements via an integrated methodology including our standardized DevOps principles that ensure high quality deployments to allow UNICEF to respond to changes.</a:t>
            </a:r>
          </a:p>
        </p:txBody>
      </p:sp>
      <p:pic>
        <p:nvPicPr>
          <p:cNvPr id="36" name="Picture 35" descr="A person wearing glasses and a suit&#10;&#10;Description automatically generated">
            <a:extLst>
              <a:ext uri="{FF2B5EF4-FFF2-40B4-BE49-F238E27FC236}">
                <a16:creationId xmlns:a16="http://schemas.microsoft.com/office/drawing/2014/main" id="{AFE50B49-6889-B5B3-F106-90C4F7A1EF4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447999" y="488291"/>
            <a:ext cx="1209675" cy="1209675"/>
          </a:xfrm>
          <a:prstGeom prst="rect">
            <a:avLst/>
          </a:prstGeom>
        </p:spPr>
      </p:pic>
      <p:grpSp>
        <p:nvGrpSpPr>
          <p:cNvPr id="37" name="Group 36">
            <a:extLst>
              <a:ext uri="{FF2B5EF4-FFF2-40B4-BE49-F238E27FC236}">
                <a16:creationId xmlns:a16="http://schemas.microsoft.com/office/drawing/2014/main" id="{F09D67F6-F8A7-7BBB-2B45-BC4385B3CBE0}"/>
              </a:ext>
            </a:extLst>
          </p:cNvPr>
          <p:cNvGrpSpPr/>
          <p:nvPr/>
        </p:nvGrpSpPr>
        <p:grpSpPr>
          <a:xfrm>
            <a:off x="4065232" y="4190874"/>
            <a:ext cx="1790095" cy="686652"/>
            <a:chOff x="4141469" y="4422748"/>
            <a:chExt cx="1790095" cy="686652"/>
          </a:xfrm>
        </p:grpSpPr>
        <p:sp>
          <p:nvSpPr>
            <p:cNvPr id="40" name="Rectangle: Rounded Corners 39">
              <a:extLst>
                <a:ext uri="{FF2B5EF4-FFF2-40B4-BE49-F238E27FC236}">
                  <a16:creationId xmlns:a16="http://schemas.microsoft.com/office/drawing/2014/main" id="{28EC1C6B-4BF2-9AF3-972E-8760058B4D33}"/>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42" name="TextBox 41">
              <a:extLst>
                <a:ext uri="{FF2B5EF4-FFF2-40B4-BE49-F238E27FC236}">
                  <a16:creationId xmlns:a16="http://schemas.microsoft.com/office/drawing/2014/main" id="{895494C4-A56F-97AE-E5DD-73E145FBF741}"/>
                </a:ext>
              </a:extLst>
            </p:cNvPr>
            <p:cNvSpPr txBox="1"/>
            <p:nvPr/>
          </p:nvSpPr>
          <p:spPr>
            <a:xfrm>
              <a:off x="4189846" y="4463046"/>
              <a:ext cx="174171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ADVISE…</a:t>
              </a:r>
            </a:p>
          </p:txBody>
        </p:sp>
        <p:sp>
          <p:nvSpPr>
            <p:cNvPr id="43" name="TextBox 42">
              <a:extLst>
                <a:ext uri="{FF2B5EF4-FFF2-40B4-BE49-F238E27FC236}">
                  <a16:creationId xmlns:a16="http://schemas.microsoft.com/office/drawing/2014/main" id="{41E2122D-0169-D6EC-AAF6-BBDF82647A1E}"/>
                </a:ext>
              </a:extLst>
            </p:cNvPr>
            <p:cNvSpPr txBox="1"/>
            <p:nvPr/>
          </p:nvSpPr>
          <p:spPr>
            <a:xfrm>
              <a:off x="4191929" y="4611231"/>
              <a:ext cx="1725904" cy="49244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UNICEF as you navigate increased complexity, enabling you to make decisions while providing active support services.</a:t>
              </a:r>
            </a:p>
          </p:txBody>
        </p:sp>
      </p:grpSp>
      <p:grpSp>
        <p:nvGrpSpPr>
          <p:cNvPr id="44" name="Group 43">
            <a:extLst>
              <a:ext uri="{FF2B5EF4-FFF2-40B4-BE49-F238E27FC236}">
                <a16:creationId xmlns:a16="http://schemas.microsoft.com/office/drawing/2014/main" id="{B03D7F2A-2D87-7C6B-1A3E-8DDEE11EB219}"/>
              </a:ext>
            </a:extLst>
          </p:cNvPr>
          <p:cNvGrpSpPr/>
          <p:nvPr/>
        </p:nvGrpSpPr>
        <p:grpSpPr>
          <a:xfrm>
            <a:off x="5902731" y="4190874"/>
            <a:ext cx="1790095" cy="686652"/>
            <a:chOff x="4141469" y="4422748"/>
            <a:chExt cx="1790095" cy="686652"/>
          </a:xfrm>
        </p:grpSpPr>
        <p:sp>
          <p:nvSpPr>
            <p:cNvPr id="45" name="Rectangle: Rounded Corners 44">
              <a:extLst>
                <a:ext uri="{FF2B5EF4-FFF2-40B4-BE49-F238E27FC236}">
                  <a16:creationId xmlns:a16="http://schemas.microsoft.com/office/drawing/2014/main" id="{6F9FB449-3395-0C26-040A-F6DED2C9B2A5}"/>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46" name="TextBox 45">
              <a:extLst>
                <a:ext uri="{FF2B5EF4-FFF2-40B4-BE49-F238E27FC236}">
                  <a16:creationId xmlns:a16="http://schemas.microsoft.com/office/drawing/2014/main" id="{A09762AD-B49A-F1B4-F60D-EE19E5F601EB}"/>
                </a:ext>
              </a:extLst>
            </p:cNvPr>
            <p:cNvSpPr txBox="1"/>
            <p:nvPr/>
          </p:nvSpPr>
          <p:spPr>
            <a:xfrm>
              <a:off x="4189846" y="4463046"/>
              <a:ext cx="174171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IMPLEMENT…</a:t>
              </a:r>
            </a:p>
          </p:txBody>
        </p:sp>
        <p:sp>
          <p:nvSpPr>
            <p:cNvPr id="50" name="TextBox 49">
              <a:extLst>
                <a:ext uri="{FF2B5EF4-FFF2-40B4-BE49-F238E27FC236}">
                  <a16:creationId xmlns:a16="http://schemas.microsoft.com/office/drawing/2014/main" id="{F17FAA60-0172-389B-71FB-7C9286D69223}"/>
                </a:ext>
              </a:extLst>
            </p:cNvPr>
            <p:cNvSpPr txBox="1"/>
            <p:nvPr/>
          </p:nvSpPr>
          <p:spPr>
            <a:xfrm>
              <a:off x="4189845" y="4611129"/>
              <a:ext cx="1680584" cy="49244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flawlessly to help UNICEF build new capabilities, solutions through critical solution platforms and systems investments.</a:t>
              </a:r>
            </a:p>
          </p:txBody>
        </p:sp>
      </p:grpSp>
      <p:grpSp>
        <p:nvGrpSpPr>
          <p:cNvPr id="51" name="Group 50">
            <a:extLst>
              <a:ext uri="{FF2B5EF4-FFF2-40B4-BE49-F238E27FC236}">
                <a16:creationId xmlns:a16="http://schemas.microsoft.com/office/drawing/2014/main" id="{328BC065-7A25-BB77-7B49-E6CDB590E35C}"/>
              </a:ext>
            </a:extLst>
          </p:cNvPr>
          <p:cNvGrpSpPr/>
          <p:nvPr/>
        </p:nvGrpSpPr>
        <p:grpSpPr>
          <a:xfrm>
            <a:off x="7735856" y="4190874"/>
            <a:ext cx="1790095" cy="686652"/>
            <a:chOff x="4141469" y="4422748"/>
            <a:chExt cx="1790095" cy="686652"/>
          </a:xfrm>
        </p:grpSpPr>
        <p:sp>
          <p:nvSpPr>
            <p:cNvPr id="52" name="Rectangle: Rounded Corners 51">
              <a:extLst>
                <a:ext uri="{FF2B5EF4-FFF2-40B4-BE49-F238E27FC236}">
                  <a16:creationId xmlns:a16="http://schemas.microsoft.com/office/drawing/2014/main" id="{818D86A9-AC3C-EE49-B4BF-155455D977AF}"/>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53" name="TextBox 52">
              <a:extLst>
                <a:ext uri="{FF2B5EF4-FFF2-40B4-BE49-F238E27FC236}">
                  <a16:creationId xmlns:a16="http://schemas.microsoft.com/office/drawing/2014/main" id="{2E7D862B-28EE-0662-61B8-2E50FBF9C9CA}"/>
                </a:ext>
              </a:extLst>
            </p:cNvPr>
            <p:cNvSpPr txBox="1"/>
            <p:nvPr/>
          </p:nvSpPr>
          <p:spPr>
            <a:xfrm>
              <a:off x="4189846" y="4463046"/>
              <a:ext cx="174171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OPERATE…</a:t>
              </a:r>
            </a:p>
          </p:txBody>
        </p:sp>
        <p:sp>
          <p:nvSpPr>
            <p:cNvPr id="54" name="TextBox 53">
              <a:extLst>
                <a:ext uri="{FF2B5EF4-FFF2-40B4-BE49-F238E27FC236}">
                  <a16:creationId xmlns:a16="http://schemas.microsoft.com/office/drawing/2014/main" id="{71E465EA-7BC9-D00E-1A41-4A768B9963E1}"/>
                </a:ext>
              </a:extLst>
            </p:cNvPr>
            <p:cNvSpPr txBox="1"/>
            <p:nvPr/>
          </p:nvSpPr>
          <p:spPr>
            <a:xfrm>
              <a:off x="4189845" y="4611129"/>
              <a:ext cx="1490941" cy="49244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increasingly high value add elements of UNICEF’s business to deliver measurable results in new ways.</a:t>
              </a:r>
            </a:p>
          </p:txBody>
        </p:sp>
      </p:grpSp>
      <p:grpSp>
        <p:nvGrpSpPr>
          <p:cNvPr id="55" name="Group 54">
            <a:extLst>
              <a:ext uri="{FF2B5EF4-FFF2-40B4-BE49-F238E27FC236}">
                <a16:creationId xmlns:a16="http://schemas.microsoft.com/office/drawing/2014/main" id="{C1A61819-3F22-4243-A412-8F895F7B90B3}"/>
              </a:ext>
            </a:extLst>
          </p:cNvPr>
          <p:cNvGrpSpPr/>
          <p:nvPr/>
        </p:nvGrpSpPr>
        <p:grpSpPr>
          <a:xfrm>
            <a:off x="2592459" y="4098893"/>
            <a:ext cx="6809259" cy="108000"/>
            <a:chOff x="2643598" y="3290138"/>
            <a:chExt cx="6809259" cy="108000"/>
          </a:xfrm>
        </p:grpSpPr>
        <p:cxnSp>
          <p:nvCxnSpPr>
            <p:cNvPr id="56" name="Straight Connector 55">
              <a:extLst>
                <a:ext uri="{FF2B5EF4-FFF2-40B4-BE49-F238E27FC236}">
                  <a16:creationId xmlns:a16="http://schemas.microsoft.com/office/drawing/2014/main" id="{36C6B14E-FAD4-9F83-C8FD-DB5FAF35208B}"/>
                </a:ext>
              </a:extLst>
            </p:cNvPr>
            <p:cNvCxnSpPr>
              <a:cxnSpLocks/>
            </p:cNvCxnSpPr>
            <p:nvPr/>
          </p:nvCxnSpPr>
          <p:spPr>
            <a:xfrm>
              <a:off x="3648455" y="3337206"/>
              <a:ext cx="5804402"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7E434822-989C-7FBC-2126-A8AEFE33E433}"/>
                </a:ext>
              </a:extLst>
            </p:cNvPr>
            <p:cNvSpPr/>
            <p:nvPr/>
          </p:nvSpPr>
          <p:spPr bwMode="gray">
            <a:xfrm>
              <a:off x="782307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59" name="Oval 58">
              <a:extLst>
                <a:ext uri="{FF2B5EF4-FFF2-40B4-BE49-F238E27FC236}">
                  <a16:creationId xmlns:a16="http://schemas.microsoft.com/office/drawing/2014/main" id="{C84011EE-A0C6-411F-5272-57E2CE955429}"/>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60" name="Straight Connector 59">
              <a:extLst>
                <a:ext uri="{FF2B5EF4-FFF2-40B4-BE49-F238E27FC236}">
                  <a16:creationId xmlns:a16="http://schemas.microsoft.com/office/drawing/2014/main" id="{1BFE6F83-0FFA-EC11-A684-A470ACBF3A9C}"/>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9B07B120-8905-74F2-0A95-46FF4FFCD7B5}"/>
                </a:ext>
              </a:extLst>
            </p:cNvPr>
            <p:cNvSpPr/>
            <p:nvPr/>
          </p:nvSpPr>
          <p:spPr bwMode="gray">
            <a:xfrm>
              <a:off x="598736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grpSp>
      <p:grpSp>
        <p:nvGrpSpPr>
          <p:cNvPr id="66" name="Group 65">
            <a:extLst>
              <a:ext uri="{FF2B5EF4-FFF2-40B4-BE49-F238E27FC236}">
                <a16:creationId xmlns:a16="http://schemas.microsoft.com/office/drawing/2014/main" id="{635A6ED1-5611-4F9E-4C0D-BF299748A48D}"/>
              </a:ext>
            </a:extLst>
          </p:cNvPr>
          <p:cNvGrpSpPr/>
          <p:nvPr/>
        </p:nvGrpSpPr>
        <p:grpSpPr>
          <a:xfrm>
            <a:off x="2598866" y="4970176"/>
            <a:ext cx="6809259" cy="108000"/>
            <a:chOff x="2643598" y="3290138"/>
            <a:chExt cx="6809259" cy="108000"/>
          </a:xfrm>
        </p:grpSpPr>
        <p:cxnSp>
          <p:nvCxnSpPr>
            <p:cNvPr id="68" name="Straight Connector 67">
              <a:extLst>
                <a:ext uri="{FF2B5EF4-FFF2-40B4-BE49-F238E27FC236}">
                  <a16:creationId xmlns:a16="http://schemas.microsoft.com/office/drawing/2014/main" id="{450EFD60-6E57-86F3-6E40-D493CDDBB158}"/>
                </a:ext>
              </a:extLst>
            </p:cNvPr>
            <p:cNvCxnSpPr>
              <a:cxnSpLocks/>
            </p:cNvCxnSpPr>
            <p:nvPr/>
          </p:nvCxnSpPr>
          <p:spPr>
            <a:xfrm>
              <a:off x="3648455" y="3337206"/>
              <a:ext cx="5804402"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3D367CA1-31CA-C159-D7D9-C427145B7219}"/>
                </a:ext>
              </a:extLst>
            </p:cNvPr>
            <p:cNvSpPr/>
            <p:nvPr/>
          </p:nvSpPr>
          <p:spPr bwMode="gray">
            <a:xfrm>
              <a:off x="782307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71" name="Oval 70">
              <a:extLst>
                <a:ext uri="{FF2B5EF4-FFF2-40B4-BE49-F238E27FC236}">
                  <a16:creationId xmlns:a16="http://schemas.microsoft.com/office/drawing/2014/main" id="{AE03142E-6F87-9692-2783-89FEA2936A57}"/>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72" name="Straight Connector 71">
              <a:extLst>
                <a:ext uri="{FF2B5EF4-FFF2-40B4-BE49-F238E27FC236}">
                  <a16:creationId xmlns:a16="http://schemas.microsoft.com/office/drawing/2014/main" id="{E7A954B3-A039-3579-92A2-90557B0DFB89}"/>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F2560FEE-A1DC-7055-CAA8-402D550ECEB3}"/>
                </a:ext>
              </a:extLst>
            </p:cNvPr>
            <p:cNvSpPr/>
            <p:nvPr/>
          </p:nvSpPr>
          <p:spPr bwMode="gray">
            <a:xfrm>
              <a:off x="598736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grpSp>
      <p:sp>
        <p:nvSpPr>
          <p:cNvPr id="5" name="Rectangle 4">
            <a:extLst>
              <a:ext uri="{FF2B5EF4-FFF2-40B4-BE49-F238E27FC236}">
                <a16:creationId xmlns:a16="http://schemas.microsoft.com/office/drawing/2014/main" id="{AD0D3BDF-3821-1B97-171B-77151D3F0354}"/>
              </a:ext>
            </a:extLst>
          </p:cNvPr>
          <p:cNvSpPr/>
          <p:nvPr/>
        </p:nvSpPr>
        <p:spPr>
          <a:xfrm>
            <a:off x="10618477" y="5093941"/>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i="1" spc="300" dirty="0">
                <a:solidFill>
                  <a:schemeClr val="bg1"/>
                </a:solidFill>
                <a:latin typeface="Open Sans"/>
              </a:rPr>
              <a:t>EXPERT</a:t>
            </a:r>
            <a:r>
              <a:rPr lang="hu-HU" sz="900" i="1" spc="300" dirty="0">
                <a:solidFill>
                  <a:schemeClr val="bg1"/>
                </a:solidFill>
                <a:latin typeface="Open Sans"/>
              </a:rPr>
              <a:t>S </a:t>
            </a:r>
            <a:r>
              <a:rPr lang="en-US" sz="900" i="1" spc="300" dirty="0">
                <a:solidFill>
                  <a:schemeClr val="bg1"/>
                </a:solidFill>
                <a:latin typeface="Open Sans"/>
              </a:rPr>
              <a:t>IN HUNGARY</a:t>
            </a:r>
            <a:endParaRPr kumimoji="0" lang="en-US" sz="900" i="1" u="none" strike="noStrike" kern="1200" cap="none" spc="300" normalizeH="0" baseline="0" noProof="0" dirty="0">
              <a:ln>
                <a:noFill/>
              </a:ln>
              <a:solidFill>
                <a:schemeClr val="bg1"/>
              </a:solidFill>
              <a:effectLst/>
              <a:uLnTx/>
              <a:uFillTx/>
              <a:latin typeface="Open Sans"/>
            </a:endParaRPr>
          </a:p>
        </p:txBody>
      </p:sp>
      <p:sp>
        <p:nvSpPr>
          <p:cNvPr id="11" name="Rectangle 10">
            <a:extLst>
              <a:ext uri="{FF2B5EF4-FFF2-40B4-BE49-F238E27FC236}">
                <a16:creationId xmlns:a16="http://schemas.microsoft.com/office/drawing/2014/main" id="{6F3D7B13-B959-19CB-EB13-8146721A5825}"/>
              </a:ext>
            </a:extLst>
          </p:cNvPr>
          <p:cNvSpPr/>
          <p:nvPr/>
        </p:nvSpPr>
        <p:spPr>
          <a:xfrm>
            <a:off x="10105005" y="5016997"/>
            <a:ext cx="745993"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800" b="1" i="1" spc="300" dirty="0">
                <a:solidFill>
                  <a:schemeClr val="bg1"/>
                </a:solidFill>
                <a:latin typeface="Open Sans"/>
              </a:rPr>
              <a:t>6</a:t>
            </a:r>
            <a:endParaRPr kumimoji="0" lang="en-US" sz="2800" b="1" i="1" u="none" strike="noStrike" kern="1200" cap="none" spc="300" normalizeH="0" baseline="0" noProof="0" dirty="0">
              <a:ln>
                <a:noFill/>
              </a:ln>
              <a:solidFill>
                <a:schemeClr val="bg1"/>
              </a:solidFill>
              <a:effectLst/>
              <a:uLnTx/>
              <a:uFillTx/>
              <a:latin typeface="Open Sans"/>
            </a:endParaRPr>
          </a:p>
        </p:txBody>
      </p:sp>
    </p:spTree>
    <p:extLst>
      <p:ext uri="{BB962C8B-B14F-4D97-AF65-F5344CB8AC3E}">
        <p14:creationId xmlns:p14="http://schemas.microsoft.com/office/powerpoint/2010/main" val="1971837319"/>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eloitte’s Operate Business at-a-Glance</a:t>
            </a:r>
          </a:p>
        </p:txBody>
      </p:sp>
      <p:pic>
        <p:nvPicPr>
          <p:cNvPr id="49" name="Picture 12" descr="Download Genpact Logo in SVG Vector or PNG File Format - Logo.wine">
            <a:extLst>
              <a:ext uri="{FF2B5EF4-FFF2-40B4-BE49-F238E27FC236}">
                <a16:creationId xmlns:a16="http://schemas.microsoft.com/office/drawing/2014/main" id="{7E5D6B02-B258-8A65-334F-6F86C8CF001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20528" y="3457617"/>
            <a:ext cx="1291632" cy="861088"/>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a:extLst>
              <a:ext uri="{FF2B5EF4-FFF2-40B4-BE49-F238E27FC236}">
                <a16:creationId xmlns:a16="http://schemas.microsoft.com/office/drawing/2014/main" id="{A59AFA4E-B784-B304-33B2-4E67A36132C4}"/>
              </a:ext>
            </a:extLst>
          </p:cNvPr>
          <p:cNvSpPr/>
          <p:nvPr/>
        </p:nvSpPr>
        <p:spPr>
          <a:xfrm>
            <a:off x="4530500" y="1370716"/>
            <a:ext cx="1258968" cy="400110"/>
          </a:xfrm>
          <a:prstGeom prst="rect">
            <a:avLst/>
          </a:prstGeom>
          <a:noFill/>
          <a:ln w="12700" cap="flat" cmpd="sng" algn="ctr">
            <a:noFill/>
            <a:prstDash val="solid"/>
          </a:ln>
          <a:effectLst/>
        </p:spPr>
        <p:txBody>
          <a:bodyPr wrap="square" lIns="0" tIns="0" rIns="0" bIns="0" rtlCol="0" anchor="ctr">
            <a:spAutoFit/>
          </a:bodyPr>
          <a:lstStyle/>
          <a:p>
            <a:pPr defTabSz="1005840" fontAlgn="base">
              <a:spcBef>
                <a:spcPct val="0"/>
              </a:spcBef>
              <a:spcAft>
                <a:spcPct val="0"/>
              </a:spcAft>
              <a:defRPr/>
            </a:pPr>
            <a:r>
              <a:rPr lang="en-US" sz="2600" b="1" kern="0">
                <a:solidFill>
                  <a:srgbClr val="86BC25"/>
                </a:solidFill>
                <a:ea typeface="Open Sans" panose="020B0606030504020204" pitchFamily="34" charset="0"/>
                <a:cs typeface="Open Sans" panose="020B0606030504020204" pitchFamily="34" charset="0"/>
              </a:rPr>
              <a:t>$10B</a:t>
            </a:r>
          </a:p>
        </p:txBody>
      </p:sp>
      <p:sp>
        <p:nvSpPr>
          <p:cNvPr id="51" name="Rectangle 50">
            <a:extLst>
              <a:ext uri="{FF2B5EF4-FFF2-40B4-BE49-F238E27FC236}">
                <a16:creationId xmlns:a16="http://schemas.microsoft.com/office/drawing/2014/main" id="{339E9C8E-3C7B-B4F8-45DE-F22E0EEB1B44}"/>
              </a:ext>
            </a:extLst>
          </p:cNvPr>
          <p:cNvSpPr/>
          <p:nvPr/>
        </p:nvSpPr>
        <p:spPr>
          <a:xfrm>
            <a:off x="5992870" y="1355328"/>
            <a:ext cx="2094480" cy="430887"/>
          </a:xfrm>
          <a:prstGeom prst="rect">
            <a:avLst/>
          </a:prstGeom>
          <a:noFill/>
          <a:ln w="12700" cap="flat" cmpd="sng" algn="ctr">
            <a:noFill/>
            <a:prstDash val="solid"/>
          </a:ln>
          <a:effectLst/>
        </p:spPr>
        <p:txBody>
          <a:bodyPr wrap="square" lIns="0" tIns="0" rIns="0" bIns="0" rtlCol="0" anchor="ctr">
            <a:spAutoFit/>
          </a:bodyPr>
          <a:lstStyle/>
          <a:p>
            <a:pPr defTabSz="1005840" fontAlgn="base">
              <a:spcBef>
                <a:spcPct val="0"/>
              </a:spcBef>
              <a:spcAft>
                <a:spcPct val="0"/>
              </a:spcAft>
              <a:defRPr/>
            </a:pPr>
            <a:r>
              <a:rPr lang="en-US" sz="1400" kern="0" dirty="0">
                <a:solidFill>
                  <a:prstClr val="black">
                    <a:lumMod val="95000"/>
                    <a:lumOff val="5000"/>
                  </a:prstClr>
                </a:solidFill>
                <a:ea typeface="Open Sans" panose="020B0606030504020204" pitchFamily="34" charset="0"/>
                <a:cs typeface="Open Sans" panose="020B0606030504020204" pitchFamily="34" charset="0"/>
              </a:rPr>
              <a:t>IN ANNUAL GLOBAL</a:t>
            </a:r>
            <a:br>
              <a:rPr lang="en-US" sz="1400" kern="0" dirty="0">
                <a:solidFill>
                  <a:prstClr val="black">
                    <a:lumMod val="95000"/>
                    <a:lumOff val="5000"/>
                  </a:prstClr>
                </a:solidFill>
                <a:ea typeface="Open Sans" panose="020B0606030504020204" pitchFamily="34" charset="0"/>
                <a:cs typeface="Open Sans" panose="020B0606030504020204" pitchFamily="34" charset="0"/>
              </a:rPr>
            </a:br>
            <a:r>
              <a:rPr lang="en-US" sz="1400" kern="0" dirty="0">
                <a:solidFill>
                  <a:prstClr val="black">
                    <a:lumMod val="95000"/>
                    <a:lumOff val="5000"/>
                  </a:prstClr>
                </a:solidFill>
                <a:ea typeface="Open Sans" panose="020B0606030504020204" pitchFamily="34" charset="0"/>
                <a:cs typeface="Open Sans" panose="020B0606030504020204" pitchFamily="34" charset="0"/>
              </a:rPr>
              <a:t>OPERATE REVENUES</a:t>
            </a:r>
          </a:p>
        </p:txBody>
      </p:sp>
      <p:sp>
        <p:nvSpPr>
          <p:cNvPr id="52" name="Rectangle 51">
            <a:extLst>
              <a:ext uri="{FF2B5EF4-FFF2-40B4-BE49-F238E27FC236}">
                <a16:creationId xmlns:a16="http://schemas.microsoft.com/office/drawing/2014/main" id="{17AC6C03-6AA3-54FE-699A-D12D6B7E7FB2}"/>
              </a:ext>
            </a:extLst>
          </p:cNvPr>
          <p:cNvSpPr/>
          <p:nvPr/>
        </p:nvSpPr>
        <p:spPr>
          <a:xfrm>
            <a:off x="8621774" y="1370716"/>
            <a:ext cx="876806" cy="400110"/>
          </a:xfrm>
          <a:prstGeom prst="rect">
            <a:avLst/>
          </a:prstGeom>
          <a:noFill/>
          <a:ln w="12700" cap="flat" cmpd="sng" algn="ctr">
            <a:noFill/>
            <a:prstDash val="solid"/>
          </a:ln>
          <a:effectLst/>
        </p:spPr>
        <p:txBody>
          <a:bodyPr lIns="0" tIns="0" rIns="0" bIns="0" rtlCol="0" anchor="ctr">
            <a:spAutoFit/>
          </a:bodyPr>
          <a:lstStyle/>
          <a:p>
            <a:pPr defTabSz="1005840" fontAlgn="base">
              <a:spcBef>
                <a:spcPct val="0"/>
              </a:spcBef>
              <a:spcAft>
                <a:spcPct val="0"/>
              </a:spcAft>
              <a:defRPr/>
            </a:pPr>
            <a:r>
              <a:rPr lang="en-US" sz="2600" b="1" kern="0">
                <a:solidFill>
                  <a:srgbClr val="86BC25"/>
                </a:solidFill>
                <a:ea typeface="Open Sans" panose="020B0606030504020204" pitchFamily="34" charset="0"/>
                <a:cs typeface="Open Sans" panose="020B0606030504020204" pitchFamily="34" charset="0"/>
              </a:rPr>
              <a:t>58+</a:t>
            </a:r>
          </a:p>
        </p:txBody>
      </p:sp>
      <p:sp>
        <p:nvSpPr>
          <p:cNvPr id="53" name="Rectangle 52">
            <a:extLst>
              <a:ext uri="{FF2B5EF4-FFF2-40B4-BE49-F238E27FC236}">
                <a16:creationId xmlns:a16="http://schemas.microsoft.com/office/drawing/2014/main" id="{234C098F-1B6B-EA94-0024-17688AB30727}"/>
              </a:ext>
            </a:extLst>
          </p:cNvPr>
          <p:cNvSpPr/>
          <p:nvPr/>
        </p:nvSpPr>
        <p:spPr>
          <a:xfrm>
            <a:off x="9454755" y="1355328"/>
            <a:ext cx="2939117" cy="430887"/>
          </a:xfrm>
          <a:prstGeom prst="rect">
            <a:avLst/>
          </a:prstGeom>
          <a:noFill/>
          <a:ln w="12700" cap="flat" cmpd="sng" algn="ctr">
            <a:noFill/>
            <a:prstDash val="solid"/>
          </a:ln>
          <a:effectLst/>
        </p:spPr>
        <p:txBody>
          <a:bodyPr wrap="square" lIns="0" tIns="0" rIns="0" bIns="0" rtlCol="0" anchor="ctr">
            <a:spAutoFit/>
          </a:bodyPr>
          <a:lstStyle/>
          <a:p>
            <a:pPr defTabSz="1005840" fontAlgn="base">
              <a:spcBef>
                <a:spcPct val="0"/>
              </a:spcBef>
              <a:spcAft>
                <a:spcPct val="0"/>
              </a:spcAft>
              <a:defRPr/>
            </a:pPr>
            <a:r>
              <a:rPr lang="en-US" sz="1400" kern="0">
                <a:solidFill>
                  <a:prstClr val="black">
                    <a:lumMod val="95000"/>
                    <a:lumOff val="5000"/>
                  </a:prstClr>
                </a:solidFill>
                <a:ea typeface="Open Sans" panose="020B0606030504020204" pitchFamily="34" charset="0"/>
                <a:cs typeface="Open Sans" panose="020B0606030504020204" pitchFamily="34" charset="0"/>
              </a:rPr>
              <a:t>GLOBAL DELIVERY </a:t>
            </a:r>
          </a:p>
          <a:p>
            <a:pPr defTabSz="1005840" fontAlgn="base">
              <a:spcBef>
                <a:spcPct val="0"/>
              </a:spcBef>
              <a:spcAft>
                <a:spcPct val="0"/>
              </a:spcAft>
              <a:defRPr/>
            </a:pPr>
            <a:r>
              <a:rPr lang="en-US" sz="1400" kern="0">
                <a:solidFill>
                  <a:prstClr val="black">
                    <a:lumMod val="95000"/>
                    <a:lumOff val="5000"/>
                  </a:prstClr>
                </a:solidFill>
                <a:ea typeface="Open Sans" panose="020B0606030504020204" pitchFamily="34" charset="0"/>
                <a:cs typeface="Open Sans" panose="020B0606030504020204" pitchFamily="34" charset="0"/>
              </a:rPr>
              <a:t>CENTERS</a:t>
            </a:r>
          </a:p>
        </p:txBody>
      </p:sp>
      <p:sp>
        <p:nvSpPr>
          <p:cNvPr id="54" name="Rectangle 53">
            <a:extLst>
              <a:ext uri="{FF2B5EF4-FFF2-40B4-BE49-F238E27FC236}">
                <a16:creationId xmlns:a16="http://schemas.microsoft.com/office/drawing/2014/main" id="{CA612FF6-AF44-BA17-7244-87D582C849B5}"/>
              </a:ext>
            </a:extLst>
          </p:cNvPr>
          <p:cNvSpPr/>
          <p:nvPr/>
        </p:nvSpPr>
        <p:spPr>
          <a:xfrm>
            <a:off x="4530500" y="2091867"/>
            <a:ext cx="1581094" cy="400110"/>
          </a:xfrm>
          <a:prstGeom prst="rect">
            <a:avLst/>
          </a:prstGeom>
          <a:noFill/>
          <a:ln w="12700" cap="flat" cmpd="sng" algn="ctr">
            <a:noFill/>
            <a:prstDash val="solid"/>
          </a:ln>
          <a:effectLst/>
        </p:spPr>
        <p:txBody>
          <a:bodyPr wrap="square" lIns="0" tIns="0" rIns="0" bIns="0" rtlCol="0" anchor="ctr">
            <a:spAutoFit/>
          </a:bodyPr>
          <a:lstStyle/>
          <a:p>
            <a:pPr defTabSz="1005840" fontAlgn="base">
              <a:spcBef>
                <a:spcPct val="0"/>
              </a:spcBef>
              <a:spcAft>
                <a:spcPct val="0"/>
              </a:spcAft>
              <a:defRPr/>
            </a:pPr>
            <a:r>
              <a:rPr lang="en-US" sz="2600" b="1" kern="0" dirty="0">
                <a:solidFill>
                  <a:srgbClr val="86BC25"/>
                </a:solidFill>
                <a:ea typeface="Open Sans" panose="020B0606030504020204" pitchFamily="34" charset="0"/>
                <a:cs typeface="Open Sans" panose="020B0606030504020204" pitchFamily="34" charset="0"/>
              </a:rPr>
              <a:t>60,000+</a:t>
            </a:r>
          </a:p>
        </p:txBody>
      </p:sp>
      <p:sp>
        <p:nvSpPr>
          <p:cNvPr id="55" name="Rectangle 54">
            <a:extLst>
              <a:ext uri="{FF2B5EF4-FFF2-40B4-BE49-F238E27FC236}">
                <a16:creationId xmlns:a16="http://schemas.microsoft.com/office/drawing/2014/main" id="{CD73B27C-05EF-7414-AB5E-3C12E9B09E8E}"/>
              </a:ext>
            </a:extLst>
          </p:cNvPr>
          <p:cNvSpPr/>
          <p:nvPr/>
        </p:nvSpPr>
        <p:spPr>
          <a:xfrm>
            <a:off x="5992870" y="2076479"/>
            <a:ext cx="1770478" cy="430887"/>
          </a:xfrm>
          <a:prstGeom prst="rect">
            <a:avLst/>
          </a:prstGeom>
          <a:noFill/>
          <a:ln w="12700" cap="flat" cmpd="sng" algn="ctr">
            <a:noFill/>
            <a:prstDash val="solid"/>
          </a:ln>
          <a:effectLst/>
        </p:spPr>
        <p:txBody>
          <a:bodyPr lIns="0" tIns="0" rIns="0" bIns="0" rtlCol="0" anchor="ctr">
            <a:spAutoFit/>
          </a:bodyPr>
          <a:lstStyle/>
          <a:p>
            <a:pPr defTabSz="1005840" fontAlgn="base">
              <a:spcBef>
                <a:spcPct val="0"/>
              </a:spcBef>
              <a:spcAft>
                <a:spcPct val="0"/>
              </a:spcAft>
              <a:defRPr/>
            </a:pPr>
            <a:r>
              <a:rPr lang="en-US" sz="1400" kern="0">
                <a:solidFill>
                  <a:prstClr val="black">
                    <a:lumMod val="95000"/>
                    <a:lumOff val="5000"/>
                  </a:prstClr>
                </a:solidFill>
                <a:ea typeface="Open Sans" panose="020B0606030504020204" pitchFamily="34" charset="0"/>
                <a:cs typeface="Open Sans" panose="020B0606030504020204" pitchFamily="34" charset="0"/>
              </a:rPr>
              <a:t>GLOBAL OPERATE PRACTITIONERS</a:t>
            </a:r>
          </a:p>
        </p:txBody>
      </p:sp>
      <p:sp>
        <p:nvSpPr>
          <p:cNvPr id="56" name="Rectangle 55">
            <a:extLst>
              <a:ext uri="{FF2B5EF4-FFF2-40B4-BE49-F238E27FC236}">
                <a16:creationId xmlns:a16="http://schemas.microsoft.com/office/drawing/2014/main" id="{F28A0A16-D49F-A5B3-A41A-AF285DC95639}"/>
              </a:ext>
            </a:extLst>
          </p:cNvPr>
          <p:cNvSpPr/>
          <p:nvPr/>
        </p:nvSpPr>
        <p:spPr>
          <a:xfrm>
            <a:off x="8621774" y="2091867"/>
            <a:ext cx="778651" cy="400110"/>
          </a:xfrm>
          <a:prstGeom prst="rect">
            <a:avLst/>
          </a:prstGeom>
          <a:noFill/>
          <a:ln w="12700" cap="flat" cmpd="sng" algn="ctr">
            <a:noFill/>
            <a:prstDash val="solid"/>
          </a:ln>
          <a:effectLst/>
        </p:spPr>
        <p:txBody>
          <a:bodyPr lIns="0" tIns="0" rIns="0" bIns="0" rtlCol="0" anchor="ctr">
            <a:spAutoFit/>
          </a:bodyPr>
          <a:lstStyle/>
          <a:p>
            <a:pPr defTabSz="1005840" fontAlgn="base">
              <a:spcBef>
                <a:spcPct val="0"/>
              </a:spcBef>
              <a:spcAft>
                <a:spcPct val="0"/>
              </a:spcAft>
              <a:defRPr/>
            </a:pPr>
            <a:r>
              <a:rPr lang="en-US" sz="2600" b="1" kern="0">
                <a:solidFill>
                  <a:srgbClr val="86BC25"/>
                </a:solidFill>
                <a:ea typeface="Open Sans" panose="020B0606030504020204" pitchFamily="34" charset="0"/>
                <a:cs typeface="Open Sans" panose="020B0606030504020204" pitchFamily="34" charset="0"/>
              </a:rPr>
              <a:t>28</a:t>
            </a:r>
          </a:p>
        </p:txBody>
      </p:sp>
      <p:sp>
        <p:nvSpPr>
          <p:cNvPr id="57" name="Rectangle 56">
            <a:extLst>
              <a:ext uri="{FF2B5EF4-FFF2-40B4-BE49-F238E27FC236}">
                <a16:creationId xmlns:a16="http://schemas.microsoft.com/office/drawing/2014/main" id="{B2AC7895-4A5A-05B5-FF43-E9FFC1794CDE}"/>
              </a:ext>
            </a:extLst>
          </p:cNvPr>
          <p:cNvSpPr/>
          <p:nvPr/>
        </p:nvSpPr>
        <p:spPr>
          <a:xfrm>
            <a:off x="9454755" y="2076479"/>
            <a:ext cx="2674622" cy="430887"/>
          </a:xfrm>
          <a:prstGeom prst="rect">
            <a:avLst/>
          </a:prstGeom>
          <a:noFill/>
          <a:ln w="12700" cap="flat" cmpd="sng" algn="ctr">
            <a:noFill/>
            <a:prstDash val="solid"/>
          </a:ln>
          <a:effectLst/>
        </p:spPr>
        <p:txBody>
          <a:bodyPr wrap="square" lIns="0" tIns="0" rIns="0" bIns="0" rtlCol="0" anchor="ctr">
            <a:spAutoFit/>
          </a:bodyPr>
          <a:lstStyle/>
          <a:p>
            <a:pPr defTabSz="1005840" fontAlgn="base">
              <a:spcBef>
                <a:spcPct val="0"/>
              </a:spcBef>
              <a:spcAft>
                <a:spcPct val="0"/>
              </a:spcAft>
              <a:defRPr/>
            </a:pPr>
            <a:r>
              <a:rPr lang="en-US" sz="1400" kern="0">
                <a:solidFill>
                  <a:prstClr val="black">
                    <a:lumMod val="95000"/>
                    <a:lumOff val="5000"/>
                  </a:prstClr>
                </a:solidFill>
                <a:ea typeface="Open Sans" panose="020B0606030504020204" pitchFamily="34" charset="0"/>
                <a:cs typeface="Open Sans" panose="020B0606030504020204" pitchFamily="34" charset="0"/>
              </a:rPr>
              <a:t>GREENHOUSE AND INNOVATION LABS</a:t>
            </a:r>
          </a:p>
        </p:txBody>
      </p:sp>
      <p:sp>
        <p:nvSpPr>
          <p:cNvPr id="58" name="Rectangle 57">
            <a:extLst>
              <a:ext uri="{FF2B5EF4-FFF2-40B4-BE49-F238E27FC236}">
                <a16:creationId xmlns:a16="http://schemas.microsoft.com/office/drawing/2014/main" id="{FC31B5D3-6118-A531-2CFF-AA2378A9C50C}"/>
              </a:ext>
            </a:extLst>
          </p:cNvPr>
          <p:cNvSpPr/>
          <p:nvPr/>
        </p:nvSpPr>
        <p:spPr bwMode="gray">
          <a:xfrm>
            <a:off x="654607" y="4048897"/>
            <a:ext cx="2232930" cy="612284"/>
          </a:xfrm>
          <a:prstGeom prst="rect">
            <a:avLst/>
          </a:prstGeom>
          <a:noFill/>
          <a:ln w="76200" algn="ctr">
            <a:noFill/>
            <a:miter lim="800000"/>
            <a:headEnd/>
            <a:tailEnd/>
          </a:ln>
        </p:spPr>
        <p:txBody>
          <a:bodyPr wrap="square" lIns="0" tIns="0" rIns="0" bIns="0" rtlCol="0" anchor="ctr">
            <a:spAutoFit/>
          </a:bodyPr>
          <a:lstStyle/>
          <a:p>
            <a:pPr defTabSz="1018824">
              <a:lnSpc>
                <a:spcPct val="114000"/>
              </a:lnSpc>
              <a:defRPr/>
            </a:pPr>
            <a:r>
              <a:rPr lang="en-US" b="1" kern="0" cap="all" spc="100">
                <a:solidFill>
                  <a:prstClr val="black"/>
                </a:solidFill>
                <a:ea typeface="Open Sans SemiBold" panose="020B0606030504020204" pitchFamily="34" charset="0"/>
                <a:cs typeface="Open Sans SemiBold" panose="020B0606030504020204" pitchFamily="34" charset="0"/>
              </a:rPr>
              <a:t>strategic relationships</a:t>
            </a:r>
          </a:p>
        </p:txBody>
      </p:sp>
      <p:sp>
        <p:nvSpPr>
          <p:cNvPr id="59" name="Rectangle 58">
            <a:extLst>
              <a:ext uri="{FF2B5EF4-FFF2-40B4-BE49-F238E27FC236}">
                <a16:creationId xmlns:a16="http://schemas.microsoft.com/office/drawing/2014/main" id="{FE3B7EEE-0549-F971-F66E-7458763A1601}"/>
              </a:ext>
            </a:extLst>
          </p:cNvPr>
          <p:cNvSpPr/>
          <p:nvPr/>
        </p:nvSpPr>
        <p:spPr>
          <a:xfrm>
            <a:off x="654606" y="3533895"/>
            <a:ext cx="1378189" cy="553998"/>
          </a:xfrm>
          <a:prstGeom prst="rect">
            <a:avLst/>
          </a:prstGeom>
          <a:noFill/>
          <a:ln w="12700" cap="flat" cmpd="sng" algn="ctr">
            <a:noFill/>
            <a:prstDash val="solid"/>
          </a:ln>
          <a:effectLst/>
        </p:spPr>
        <p:txBody>
          <a:bodyPr wrap="square" lIns="0" tIns="0" rIns="0" bIns="0" rtlCol="0" anchor="ctr">
            <a:spAutoFit/>
          </a:bodyPr>
          <a:lstStyle/>
          <a:p>
            <a:pPr defTabSz="1005840" fontAlgn="base">
              <a:spcBef>
                <a:spcPct val="20000"/>
              </a:spcBef>
              <a:spcAft>
                <a:spcPct val="0"/>
              </a:spcAft>
              <a:defRPr/>
            </a:pPr>
            <a:r>
              <a:rPr lang="en-US" sz="3600" b="1" kern="0">
                <a:solidFill>
                  <a:srgbClr val="86BC25"/>
                </a:solidFill>
                <a:ea typeface="Open Sans ExtraBold" panose="020B0906030804020204" pitchFamily="34" charset="0"/>
                <a:cs typeface="Open Sans ExtraBold" panose="020B0906030804020204" pitchFamily="34" charset="0"/>
              </a:rPr>
              <a:t>60+</a:t>
            </a:r>
          </a:p>
        </p:txBody>
      </p:sp>
      <p:pic>
        <p:nvPicPr>
          <p:cNvPr id="60" name="Picture 59">
            <a:extLst>
              <a:ext uri="{FF2B5EF4-FFF2-40B4-BE49-F238E27FC236}">
                <a16:creationId xmlns:a16="http://schemas.microsoft.com/office/drawing/2014/main" id="{16E5162F-6D3D-FC2A-ADC7-41DA53FB91B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83583" y="4156035"/>
            <a:ext cx="813754" cy="620003"/>
          </a:xfrm>
          <a:prstGeom prst="rect">
            <a:avLst/>
          </a:prstGeom>
        </p:spPr>
      </p:pic>
      <p:sp>
        <p:nvSpPr>
          <p:cNvPr id="61" name="Rectangle 60">
            <a:extLst>
              <a:ext uri="{FF2B5EF4-FFF2-40B4-BE49-F238E27FC236}">
                <a16:creationId xmlns:a16="http://schemas.microsoft.com/office/drawing/2014/main" id="{B2E64E8D-D251-161B-F521-03B7C91AE167}"/>
              </a:ext>
            </a:extLst>
          </p:cNvPr>
          <p:cNvSpPr/>
          <p:nvPr/>
        </p:nvSpPr>
        <p:spPr>
          <a:xfrm>
            <a:off x="474659" y="3507311"/>
            <a:ext cx="11438666" cy="1272228"/>
          </a:xfrm>
          <a:prstGeom prst="rect">
            <a:avLst/>
          </a:prstGeom>
          <a:noFill/>
          <a:ln w="12700" cap="flat" cmpd="sng" algn="ctr">
            <a:solidFill>
              <a:srgbClr val="44546A"/>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A137FBA7-0247-5C81-AD61-C021E2B19A1B}"/>
              </a:ext>
            </a:extLst>
          </p:cNvPr>
          <p:cNvSpPr/>
          <p:nvPr/>
        </p:nvSpPr>
        <p:spPr bwMode="gray">
          <a:xfrm>
            <a:off x="455082" y="4952349"/>
            <a:ext cx="3862918" cy="1591812"/>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ea typeface="ヒラギノ角ゴ Pro W3" panose="020B0300000000000000" pitchFamily="34" charset="-128"/>
            </a:endParaRPr>
          </a:p>
        </p:txBody>
      </p:sp>
      <p:pic>
        <p:nvPicPr>
          <p:cNvPr id="63" name="Picture Placeholder 9">
            <a:extLst>
              <a:ext uri="{FF2B5EF4-FFF2-40B4-BE49-F238E27FC236}">
                <a16:creationId xmlns:a16="http://schemas.microsoft.com/office/drawing/2014/main" id="{1E34B566-CD1E-DF7C-67AD-7966E249EB1D}"/>
              </a:ext>
            </a:extLst>
          </p:cNvPr>
          <p:cNvPicPr>
            <a:picLocks/>
          </p:cNvPicPr>
          <p:nvPr/>
        </p:nvPicPr>
        <p:blipFill rotWithShape="1">
          <a:blip r:embed="rId5" cstate="email">
            <a:alphaModFix amt="4000"/>
            <a:extLst>
              <a:ext uri="{BEBA8EAE-BF5A-486C-A8C5-ECC9F3942E4B}">
                <a14:imgProps xmlns:a14="http://schemas.microsoft.com/office/drawing/2010/main">
                  <a14:imgLayer r:embed="rId6">
                    <a14:imgEffect>
                      <a14:saturation sat="138000"/>
                    </a14:imgEffect>
                  </a14:imgLayer>
                </a14:imgProps>
              </a:ext>
              <a:ext uri="{28A0092B-C50C-407E-A947-70E740481C1C}">
                <a14:useLocalDpi xmlns:a14="http://schemas.microsoft.com/office/drawing/2010/main"/>
              </a:ext>
            </a:extLst>
          </a:blip>
          <a:srcRect/>
          <a:stretch/>
        </p:blipFill>
        <p:spPr>
          <a:xfrm flipH="1">
            <a:off x="3485959" y="5179987"/>
            <a:ext cx="815763" cy="1369696"/>
          </a:xfrm>
          <a:prstGeom prst="rect">
            <a:avLst/>
          </a:prstGeom>
        </p:spPr>
      </p:pic>
      <p:sp>
        <p:nvSpPr>
          <p:cNvPr id="64" name="TextBox 63">
            <a:extLst>
              <a:ext uri="{FF2B5EF4-FFF2-40B4-BE49-F238E27FC236}">
                <a16:creationId xmlns:a16="http://schemas.microsoft.com/office/drawing/2014/main" id="{56BB3208-7AEA-354E-EB5B-B632BCB93CF5}"/>
              </a:ext>
            </a:extLst>
          </p:cNvPr>
          <p:cNvSpPr txBox="1"/>
          <p:nvPr/>
        </p:nvSpPr>
        <p:spPr>
          <a:xfrm>
            <a:off x="654606" y="5176058"/>
            <a:ext cx="3663394" cy="1191967"/>
          </a:xfrm>
          <a:prstGeom prst="rect">
            <a:avLst/>
          </a:prstGeom>
          <a:solidFill>
            <a:sysClr val="window" lastClr="FFFFFF">
              <a:lumMod val="85000"/>
              <a:alpha val="41000"/>
            </a:sysClr>
          </a:solidFill>
        </p:spPr>
        <p:txBody>
          <a:bodyPr wrap="square" lIns="91440" anchor="ctr" anchorCtr="0">
            <a:noAutofit/>
          </a:bodyPr>
          <a:lstStyle/>
          <a:p>
            <a:pPr marL="13335" marR="5080" lvl="0" indent="0" defTabSz="457200" eaLnBrk="1" fontAlgn="base" latinLnBrk="0" hangingPunct="1">
              <a:lnSpc>
                <a:spcPct val="109700"/>
              </a:lnSpc>
              <a:spcBef>
                <a:spcPts val="25"/>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ea typeface="Open Sans SemiBold" panose="020B0606030504020204" pitchFamily="34" charset="0"/>
                <a:cs typeface="Open Sans SemiBold" panose="020B0606030504020204" pitchFamily="34" charset="0"/>
              </a:rPr>
              <a:t>Deloitte is globally ranked as a top managed service provider</a:t>
            </a:r>
            <a:r>
              <a:rPr kumimoji="0" lang="en-US" sz="1400" b="1" i="0" u="none" strike="noStrike" kern="0" cap="none" spc="0" normalizeH="0" baseline="30000" noProof="0" dirty="0">
                <a:ln>
                  <a:noFill/>
                </a:ln>
                <a:solidFill>
                  <a:prstClr val="black"/>
                </a:solidFill>
                <a:effectLst/>
                <a:uLnTx/>
                <a:uFillTx/>
                <a:ea typeface="Open Sans SemiBold" panose="020B0606030504020204" pitchFamily="34" charset="0"/>
                <a:cs typeface="Open Sans SemiBold" panose="020B0606030504020204" pitchFamily="34" charset="0"/>
              </a:rPr>
              <a:t> 2</a:t>
            </a:r>
            <a:r>
              <a:rPr kumimoji="0" lang="en-US" sz="1400" b="1" i="0" u="none" strike="noStrike" kern="0" cap="none" spc="0" normalizeH="0" baseline="0" noProof="0" dirty="0">
                <a:ln>
                  <a:noFill/>
                </a:ln>
                <a:solidFill>
                  <a:prstClr val="black"/>
                </a:solidFill>
                <a:effectLst/>
                <a:uLnTx/>
                <a:uFillTx/>
                <a:ea typeface="Open Sans SemiBold" panose="020B0606030504020204" pitchFamily="34" charset="0"/>
                <a:cs typeface="Open Sans SemiBold" panose="020B0606030504020204" pitchFamily="34" charset="0"/>
              </a:rPr>
              <a:t>  </a:t>
            </a:r>
            <a:endParaRPr kumimoji="0" lang="en-US" sz="1200" b="0" i="0" u="none" strike="noStrike" kern="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endParaRPr>
          </a:p>
          <a:p>
            <a:pPr marL="13335" marR="5080" lvl="0" indent="0" defTabSz="457200" eaLnBrk="1" fontAlgn="base" latinLnBrk="0" hangingPunct="1">
              <a:lnSpc>
                <a:spcPct val="109700"/>
              </a:lnSpc>
              <a:spcBef>
                <a:spcPts val="25"/>
              </a:spcBef>
              <a:spcAft>
                <a:spcPct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rPr>
              <a:t>We bring differentiated engineering capabilities, coupled with flexible real-time capacity to help clients meet their transformation goals.</a:t>
            </a:r>
          </a:p>
        </p:txBody>
      </p:sp>
      <p:cxnSp>
        <p:nvCxnSpPr>
          <p:cNvPr id="65" name="Straight Connector 64">
            <a:extLst>
              <a:ext uri="{FF2B5EF4-FFF2-40B4-BE49-F238E27FC236}">
                <a16:creationId xmlns:a16="http://schemas.microsoft.com/office/drawing/2014/main" id="{1719333F-1111-6ECE-405C-B4E10AEDC6FC}"/>
              </a:ext>
            </a:extLst>
          </p:cNvPr>
          <p:cNvCxnSpPr>
            <a:cxnSpLocks/>
          </p:cNvCxnSpPr>
          <p:nvPr/>
        </p:nvCxnSpPr>
        <p:spPr>
          <a:xfrm>
            <a:off x="2852599" y="4927024"/>
            <a:ext cx="1465401" cy="0"/>
          </a:xfrm>
          <a:prstGeom prst="line">
            <a:avLst/>
          </a:prstGeom>
          <a:noFill/>
          <a:ln w="28575" cap="flat" cmpd="sng" algn="ctr">
            <a:solidFill>
              <a:srgbClr val="86BC25"/>
            </a:solidFill>
            <a:prstDash val="solid"/>
          </a:ln>
          <a:effectLst/>
        </p:spPr>
      </p:cxnSp>
      <p:cxnSp>
        <p:nvCxnSpPr>
          <p:cNvPr id="66" name="Straight Connector 65">
            <a:extLst>
              <a:ext uri="{FF2B5EF4-FFF2-40B4-BE49-F238E27FC236}">
                <a16:creationId xmlns:a16="http://schemas.microsoft.com/office/drawing/2014/main" id="{B17C35D7-98C6-34E0-B683-A865E9586F53}"/>
              </a:ext>
            </a:extLst>
          </p:cNvPr>
          <p:cNvCxnSpPr>
            <a:cxnSpLocks/>
          </p:cNvCxnSpPr>
          <p:nvPr/>
        </p:nvCxnSpPr>
        <p:spPr>
          <a:xfrm>
            <a:off x="457200" y="6540838"/>
            <a:ext cx="1465401" cy="0"/>
          </a:xfrm>
          <a:prstGeom prst="line">
            <a:avLst/>
          </a:prstGeom>
          <a:noFill/>
          <a:ln w="28575" cap="flat" cmpd="sng" algn="ctr">
            <a:solidFill>
              <a:srgbClr val="86BC25"/>
            </a:solidFill>
            <a:prstDash val="solid"/>
          </a:ln>
          <a:effectLst/>
        </p:spPr>
      </p:cxnSp>
      <p:sp>
        <p:nvSpPr>
          <p:cNvPr id="69" name="Rectangle 68">
            <a:extLst>
              <a:ext uri="{FF2B5EF4-FFF2-40B4-BE49-F238E27FC236}">
                <a16:creationId xmlns:a16="http://schemas.microsoft.com/office/drawing/2014/main" id="{AF1F0599-6EA7-A806-EEA8-51D5D197AA19}"/>
              </a:ext>
            </a:extLst>
          </p:cNvPr>
          <p:cNvSpPr/>
          <p:nvPr/>
        </p:nvSpPr>
        <p:spPr bwMode="gray">
          <a:xfrm>
            <a:off x="4318000" y="963192"/>
            <a:ext cx="4303774" cy="230576"/>
          </a:xfrm>
          <a:prstGeom prst="rect">
            <a:avLst/>
          </a:prstGeom>
          <a:noFill/>
          <a:ln w="76200" algn="ctr">
            <a:noFill/>
            <a:miter lim="800000"/>
            <a:headEnd/>
            <a:tailEnd/>
          </a:ln>
        </p:spPr>
        <p:txBody>
          <a:bodyPr wrap="square" lIns="0" tIns="0" rIns="0" bIns="0" rtlCol="0" anchor="ctr">
            <a:spAutoFit/>
          </a:bodyPr>
          <a:lstStyle/>
          <a:p>
            <a:pPr defTabSz="1018824">
              <a:lnSpc>
                <a:spcPct val="114000"/>
              </a:lnSpc>
              <a:defRPr/>
            </a:pPr>
            <a:r>
              <a:rPr lang="en-US" sz="1400" b="1" kern="0" spc="300">
                <a:solidFill>
                  <a:prstClr val="black"/>
                </a:solidFill>
                <a:ea typeface="Open Sans SemiBold" panose="020B0606030504020204" pitchFamily="34" charset="0"/>
                <a:cs typeface="Open Sans SemiBold" panose="020B0606030504020204" pitchFamily="34" charset="0"/>
              </a:rPr>
              <a:t>FACTS AND FIGURES</a:t>
            </a:r>
            <a:r>
              <a:rPr lang="en-US" sz="1400" kern="0" baseline="30000">
                <a:solidFill>
                  <a:prstClr val="black"/>
                </a:solidFill>
                <a:ea typeface="Open Sans" panose="020B0606030504020204" pitchFamily="34" charset="0"/>
                <a:cs typeface="Open Sans" panose="020B0606030504020204" pitchFamily="34" charset="0"/>
              </a:rPr>
              <a:t>1</a:t>
            </a:r>
            <a:endParaRPr lang="en-US" sz="1400" b="1" kern="0" spc="300">
              <a:solidFill>
                <a:prstClr val="black"/>
              </a:solidFill>
              <a:ea typeface="Open Sans SemiBold" panose="020B0606030504020204" pitchFamily="34" charset="0"/>
              <a:cs typeface="Open Sans SemiBold" panose="020B0606030504020204" pitchFamily="34" charset="0"/>
            </a:endParaRPr>
          </a:p>
        </p:txBody>
      </p:sp>
      <p:sp>
        <p:nvSpPr>
          <p:cNvPr id="70" name="Rectangle 69">
            <a:extLst>
              <a:ext uri="{FF2B5EF4-FFF2-40B4-BE49-F238E27FC236}">
                <a16:creationId xmlns:a16="http://schemas.microsoft.com/office/drawing/2014/main" id="{56ED4075-8ADB-867C-F024-BDCEDF820866}"/>
              </a:ext>
            </a:extLst>
          </p:cNvPr>
          <p:cNvSpPr/>
          <p:nvPr/>
        </p:nvSpPr>
        <p:spPr>
          <a:xfrm>
            <a:off x="4301722" y="1252344"/>
            <a:ext cx="7611603" cy="2045893"/>
          </a:xfrm>
          <a:prstGeom prst="rect">
            <a:avLst/>
          </a:prstGeom>
          <a:noFill/>
          <a:ln w="12700" cap="rnd" cmpd="sng" algn="ctr">
            <a:solidFill>
              <a:srgbClr val="86BC25"/>
            </a:solidFill>
            <a:prstDash val="solid"/>
            <a:round/>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787B"/>
              </a:solidFill>
              <a:effectLst/>
              <a:uLnTx/>
              <a:uFillTx/>
              <a:latin typeface="Calibri" panose="020F0502020204030204"/>
              <a:ea typeface="+mn-ea"/>
              <a:cs typeface="+mn-cs"/>
            </a:endParaRPr>
          </a:p>
        </p:txBody>
      </p:sp>
      <p:sp>
        <p:nvSpPr>
          <p:cNvPr id="71" name="Freeform 542">
            <a:extLst>
              <a:ext uri="{FF2B5EF4-FFF2-40B4-BE49-F238E27FC236}">
                <a16:creationId xmlns:a16="http://schemas.microsoft.com/office/drawing/2014/main" id="{E5A282B0-DBB2-B3EF-0F4A-EC8017572FDD}"/>
              </a:ext>
            </a:extLst>
          </p:cNvPr>
          <p:cNvSpPr>
            <a:spLocks noEditPoints="1"/>
          </p:cNvSpPr>
          <p:nvPr/>
        </p:nvSpPr>
        <p:spPr bwMode="auto">
          <a:xfrm>
            <a:off x="5517710" y="5008298"/>
            <a:ext cx="331337" cy="53214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endParaRPr>
          </a:p>
        </p:txBody>
      </p:sp>
      <p:sp>
        <p:nvSpPr>
          <p:cNvPr id="96" name="Freeform 30">
            <a:extLst>
              <a:ext uri="{FF2B5EF4-FFF2-40B4-BE49-F238E27FC236}">
                <a16:creationId xmlns:a16="http://schemas.microsoft.com/office/drawing/2014/main" id="{DC541AD6-A40D-1920-4965-E0AE909B235C}"/>
              </a:ext>
            </a:extLst>
          </p:cNvPr>
          <p:cNvSpPr>
            <a:spLocks noEditPoints="1"/>
          </p:cNvSpPr>
          <p:nvPr/>
        </p:nvSpPr>
        <p:spPr bwMode="auto">
          <a:xfrm>
            <a:off x="7762318" y="4971976"/>
            <a:ext cx="532143" cy="53465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endParaRPr>
          </a:p>
        </p:txBody>
      </p:sp>
      <p:sp>
        <p:nvSpPr>
          <p:cNvPr id="97" name="Freeform 31">
            <a:extLst>
              <a:ext uri="{FF2B5EF4-FFF2-40B4-BE49-F238E27FC236}">
                <a16:creationId xmlns:a16="http://schemas.microsoft.com/office/drawing/2014/main" id="{145A6396-A857-F680-AD37-178E07935F73}"/>
              </a:ext>
            </a:extLst>
          </p:cNvPr>
          <p:cNvSpPr>
            <a:spLocks noEditPoints="1"/>
          </p:cNvSpPr>
          <p:nvPr/>
        </p:nvSpPr>
        <p:spPr bwMode="auto">
          <a:xfrm>
            <a:off x="7929164" y="5132623"/>
            <a:ext cx="213359" cy="21335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endParaRPr>
          </a:p>
        </p:txBody>
      </p:sp>
      <p:sp>
        <p:nvSpPr>
          <p:cNvPr id="98" name="Freeform 426">
            <a:extLst>
              <a:ext uri="{FF2B5EF4-FFF2-40B4-BE49-F238E27FC236}">
                <a16:creationId xmlns:a16="http://schemas.microsoft.com/office/drawing/2014/main" id="{92330DFF-84F0-04AC-F73A-E37A179EAAAC}"/>
              </a:ext>
            </a:extLst>
          </p:cNvPr>
          <p:cNvSpPr>
            <a:spLocks/>
          </p:cNvSpPr>
          <p:nvPr/>
        </p:nvSpPr>
        <p:spPr bwMode="auto">
          <a:xfrm>
            <a:off x="10146167" y="5062215"/>
            <a:ext cx="657435" cy="353527"/>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endParaRPr>
          </a:p>
        </p:txBody>
      </p:sp>
      <p:graphicFrame>
        <p:nvGraphicFramePr>
          <p:cNvPr id="99" name="Table 98">
            <a:extLst>
              <a:ext uri="{FF2B5EF4-FFF2-40B4-BE49-F238E27FC236}">
                <a16:creationId xmlns:a16="http://schemas.microsoft.com/office/drawing/2014/main" id="{2AD43D2A-DE8B-5DD1-6EBC-017DDC9D138C}"/>
              </a:ext>
            </a:extLst>
          </p:cNvPr>
          <p:cNvGraphicFramePr>
            <a:graphicFrameLocks noGrp="1"/>
          </p:cNvGraphicFramePr>
          <p:nvPr>
            <p:extLst>
              <p:ext uri="{D42A27DB-BD31-4B8C-83A1-F6EECF244321}">
                <p14:modId xmlns:p14="http://schemas.microsoft.com/office/powerpoint/2010/main" val="1022837064"/>
              </p:ext>
            </p:extLst>
          </p:nvPr>
        </p:nvGraphicFramePr>
        <p:xfrm>
          <a:off x="4438543" y="5626401"/>
          <a:ext cx="7407960" cy="1249680"/>
        </p:xfrm>
        <a:graphic>
          <a:graphicData uri="http://schemas.openxmlformats.org/drawingml/2006/table">
            <a:tbl>
              <a:tblPr firstRow="1" bandRow="1"/>
              <a:tblGrid>
                <a:gridCol w="2507213">
                  <a:extLst>
                    <a:ext uri="{9D8B030D-6E8A-4147-A177-3AD203B41FA5}">
                      <a16:colId xmlns:a16="http://schemas.microsoft.com/office/drawing/2014/main" val="1556989119"/>
                    </a:ext>
                  </a:extLst>
                </a:gridCol>
                <a:gridCol w="2414427">
                  <a:extLst>
                    <a:ext uri="{9D8B030D-6E8A-4147-A177-3AD203B41FA5}">
                      <a16:colId xmlns:a16="http://schemas.microsoft.com/office/drawing/2014/main" val="1045973571"/>
                    </a:ext>
                  </a:extLst>
                </a:gridCol>
                <a:gridCol w="2486320">
                  <a:extLst>
                    <a:ext uri="{9D8B030D-6E8A-4147-A177-3AD203B41FA5}">
                      <a16:colId xmlns:a16="http://schemas.microsoft.com/office/drawing/2014/main" val="3281511153"/>
                    </a:ext>
                  </a:extLst>
                </a:gridCol>
              </a:tblGrid>
              <a:tr h="370840">
                <a:tc>
                  <a:txBody>
                    <a:bodyPr/>
                    <a:lstStyle>
                      <a:lvl1pPr marL="0" algn="l" defTabSz="685800" rtl="0" eaLnBrk="1" latinLnBrk="0" hangingPunct="1">
                        <a:defRPr sz="1350" b="1" kern="1200">
                          <a:solidFill>
                            <a:schemeClr val="lt1"/>
                          </a:solidFill>
                          <a:latin typeface="Verdana"/>
                        </a:defRPr>
                      </a:lvl1pPr>
                      <a:lvl2pPr marL="342900" algn="l" defTabSz="685800" rtl="0" eaLnBrk="1" latinLnBrk="0" hangingPunct="1">
                        <a:defRPr sz="1350" b="1" kern="1200">
                          <a:solidFill>
                            <a:schemeClr val="lt1"/>
                          </a:solidFill>
                          <a:latin typeface="Verdana"/>
                        </a:defRPr>
                      </a:lvl2pPr>
                      <a:lvl3pPr marL="685800" algn="l" defTabSz="685800" rtl="0" eaLnBrk="1" latinLnBrk="0" hangingPunct="1">
                        <a:defRPr sz="1350" b="1" kern="1200">
                          <a:solidFill>
                            <a:schemeClr val="lt1"/>
                          </a:solidFill>
                          <a:latin typeface="Verdana"/>
                        </a:defRPr>
                      </a:lvl3pPr>
                      <a:lvl4pPr marL="1028700" algn="l" defTabSz="685800" rtl="0" eaLnBrk="1" latinLnBrk="0" hangingPunct="1">
                        <a:defRPr sz="1350" b="1" kern="1200">
                          <a:solidFill>
                            <a:schemeClr val="lt1"/>
                          </a:solidFill>
                          <a:latin typeface="Verdana"/>
                        </a:defRPr>
                      </a:lvl4pPr>
                      <a:lvl5pPr marL="1371600" algn="l" defTabSz="685800" rtl="0" eaLnBrk="1" latinLnBrk="0" hangingPunct="1">
                        <a:defRPr sz="1350" b="1" kern="1200">
                          <a:solidFill>
                            <a:schemeClr val="lt1"/>
                          </a:solidFill>
                          <a:latin typeface="Verdana"/>
                        </a:defRPr>
                      </a:lvl5pPr>
                      <a:lvl6pPr marL="1714500" algn="l" defTabSz="685800" rtl="0" eaLnBrk="1" latinLnBrk="0" hangingPunct="1">
                        <a:defRPr sz="1350" b="1" kern="1200">
                          <a:solidFill>
                            <a:schemeClr val="lt1"/>
                          </a:solidFill>
                          <a:latin typeface="Verdana"/>
                        </a:defRPr>
                      </a:lvl6pPr>
                      <a:lvl7pPr marL="2057400" algn="l" defTabSz="685800" rtl="0" eaLnBrk="1" latinLnBrk="0" hangingPunct="1">
                        <a:defRPr sz="1350" b="1" kern="1200">
                          <a:solidFill>
                            <a:schemeClr val="lt1"/>
                          </a:solidFill>
                          <a:latin typeface="Verdana"/>
                        </a:defRPr>
                      </a:lvl7pPr>
                      <a:lvl8pPr marL="2400300" algn="l" defTabSz="685800" rtl="0" eaLnBrk="1" latinLnBrk="0" hangingPunct="1">
                        <a:defRPr sz="1350" b="1" kern="1200">
                          <a:solidFill>
                            <a:schemeClr val="lt1"/>
                          </a:solidFill>
                          <a:latin typeface="Verdana"/>
                        </a:defRPr>
                      </a:lvl8pPr>
                      <a:lvl9pPr marL="2743200" algn="l" defTabSz="685800" rtl="0" eaLnBrk="1" latinLnBrk="0" hangingPunct="1">
                        <a:defRPr sz="1350" b="1" kern="1200">
                          <a:solidFill>
                            <a:schemeClr val="lt1"/>
                          </a:solidFill>
                          <a:latin typeface="Verdana"/>
                        </a:defRPr>
                      </a:lvl9pPr>
                    </a:lstStyle>
                    <a:p>
                      <a:pPr algn="ctr"/>
                      <a:r>
                        <a:rPr kumimoji="0" lang="en-US" sz="1600" b="1" i="0" u="none" strike="noStrike" kern="1200" cap="none" spc="200" normalizeH="0" baseline="0" dirty="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alent</a:t>
                      </a:r>
                    </a:p>
                    <a:p>
                      <a:pPr marL="183515" marR="5080" lvl="0" indent="-171450" algn="just" defTabSz="914400" rtl="0" eaLnBrk="1" fontAlgn="auto" latinLnBrk="0" hangingPunct="1">
                        <a:spcAft>
                          <a:spcPts val="0"/>
                        </a:spcAft>
                        <a:buClrTx/>
                        <a:buSzTx/>
                        <a:buFont typeface="Arial" panose="020B0604020202020204" pitchFamily="34" charset="0"/>
                        <a:buChar char="•"/>
                        <a:tabLst/>
                        <a:defRPr/>
                      </a:pPr>
                      <a:r>
                        <a:rPr lang="en-US" sz="1200" b="0" i="0" kern="120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ep industry knowledge</a:t>
                      </a:r>
                    </a:p>
                    <a:p>
                      <a:pPr marL="183515" marR="5080" lvl="0" indent="-171450" algn="just" defTabSz="914400" rtl="0" eaLnBrk="1" fontAlgn="auto" latinLnBrk="0" hangingPunct="1">
                        <a:spcAft>
                          <a:spcPts val="0"/>
                        </a:spcAft>
                        <a:buClrTx/>
                        <a:buSzTx/>
                        <a:buFont typeface="Arial" panose="020B0604020202020204" pitchFamily="34" charset="0"/>
                        <a:buChar char="•"/>
                        <a:tabLst/>
                        <a:defRPr/>
                      </a:pPr>
                      <a:r>
                        <a:rPr lang="en-US" sz="1200" b="0" i="0" kern="120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cess and domain expertise</a:t>
                      </a:r>
                    </a:p>
                    <a:p>
                      <a:pPr marL="183515" marR="5080" lvl="0" indent="-171450" algn="just" defTabSz="914400" rtl="0" eaLnBrk="1" fontAlgn="auto" latinLnBrk="0" hangingPunct="1">
                        <a:spcAft>
                          <a:spcPts val="0"/>
                        </a:spcAft>
                        <a:buClrTx/>
                        <a:buSzTx/>
                        <a:buFont typeface="Arial" panose="020B0604020202020204" pitchFamily="34" charset="0"/>
                        <a:buChar char="•"/>
                        <a:tabLst/>
                        <a:defRPr/>
                      </a:pPr>
                      <a:r>
                        <a:rPr lang="en-US" sz="1200" b="0" i="0" kern="120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ssue to impact orient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Verdana"/>
                        </a:defRPr>
                      </a:lvl1pPr>
                      <a:lvl2pPr marL="342900" algn="l" defTabSz="685800" rtl="0" eaLnBrk="1" latinLnBrk="0" hangingPunct="1">
                        <a:defRPr sz="1350" b="1" kern="1200">
                          <a:solidFill>
                            <a:schemeClr val="lt1"/>
                          </a:solidFill>
                          <a:latin typeface="Verdana"/>
                        </a:defRPr>
                      </a:lvl2pPr>
                      <a:lvl3pPr marL="685800" algn="l" defTabSz="685800" rtl="0" eaLnBrk="1" latinLnBrk="0" hangingPunct="1">
                        <a:defRPr sz="1350" b="1" kern="1200">
                          <a:solidFill>
                            <a:schemeClr val="lt1"/>
                          </a:solidFill>
                          <a:latin typeface="Verdana"/>
                        </a:defRPr>
                      </a:lvl3pPr>
                      <a:lvl4pPr marL="1028700" algn="l" defTabSz="685800" rtl="0" eaLnBrk="1" latinLnBrk="0" hangingPunct="1">
                        <a:defRPr sz="1350" b="1" kern="1200">
                          <a:solidFill>
                            <a:schemeClr val="lt1"/>
                          </a:solidFill>
                          <a:latin typeface="Verdana"/>
                        </a:defRPr>
                      </a:lvl4pPr>
                      <a:lvl5pPr marL="1371600" algn="l" defTabSz="685800" rtl="0" eaLnBrk="1" latinLnBrk="0" hangingPunct="1">
                        <a:defRPr sz="1350" b="1" kern="1200">
                          <a:solidFill>
                            <a:schemeClr val="lt1"/>
                          </a:solidFill>
                          <a:latin typeface="Verdana"/>
                        </a:defRPr>
                      </a:lvl5pPr>
                      <a:lvl6pPr marL="1714500" algn="l" defTabSz="685800" rtl="0" eaLnBrk="1" latinLnBrk="0" hangingPunct="1">
                        <a:defRPr sz="1350" b="1" kern="1200">
                          <a:solidFill>
                            <a:schemeClr val="lt1"/>
                          </a:solidFill>
                          <a:latin typeface="Verdana"/>
                        </a:defRPr>
                      </a:lvl6pPr>
                      <a:lvl7pPr marL="2057400" algn="l" defTabSz="685800" rtl="0" eaLnBrk="1" latinLnBrk="0" hangingPunct="1">
                        <a:defRPr sz="1350" b="1" kern="1200">
                          <a:solidFill>
                            <a:schemeClr val="lt1"/>
                          </a:solidFill>
                          <a:latin typeface="Verdana"/>
                        </a:defRPr>
                      </a:lvl7pPr>
                      <a:lvl8pPr marL="2400300" algn="l" defTabSz="685800" rtl="0" eaLnBrk="1" latinLnBrk="0" hangingPunct="1">
                        <a:defRPr sz="1350" b="1" kern="1200">
                          <a:solidFill>
                            <a:schemeClr val="lt1"/>
                          </a:solidFill>
                          <a:latin typeface="Verdana"/>
                        </a:defRPr>
                      </a:lvl8pPr>
                      <a:lvl9pPr marL="2743200" algn="l" defTabSz="685800" rtl="0" eaLnBrk="1" latinLnBrk="0" hangingPunct="1">
                        <a:defRPr sz="1350" b="1" kern="1200">
                          <a:solidFill>
                            <a:schemeClr val="lt1"/>
                          </a:solidFill>
                          <a:latin typeface="Verdana"/>
                        </a:defRPr>
                      </a:lvl9pPr>
                    </a:lstStyle>
                    <a:p>
                      <a:pPr marL="0" algn="ctr" defTabSz="1219170" rtl="0" eaLnBrk="1" latinLnBrk="0" hangingPunct="1"/>
                      <a:r>
                        <a:rPr kumimoji="0" lang="en-US" sz="1600" b="1" i="0" u="none" strike="noStrike" kern="1200" cap="none" spc="200" normalizeH="0" baseline="0" dirty="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echnology</a:t>
                      </a:r>
                    </a:p>
                    <a:p>
                      <a:pPr marL="183515" marR="5080" lvl="0" indent="-171450" algn="just" defTabSz="914400" rtl="0" eaLnBrk="1" fontAlgn="auto" latinLnBrk="0" hangingPunct="1">
                        <a:spcAft>
                          <a:spcPts val="0"/>
                        </a:spcAft>
                        <a:buClrTx/>
                        <a:buSzTx/>
                        <a:buFont typeface="Arial" panose="020B0604020202020204" pitchFamily="34" charset="0"/>
                        <a:buChar char="•"/>
                        <a:tabLst/>
                        <a:defRPr/>
                      </a:pPr>
                      <a:r>
                        <a:rPr lang="en-US" sz="12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prietary tech platforms</a:t>
                      </a:r>
                    </a:p>
                    <a:p>
                      <a:pPr marL="183515" marR="5080" lvl="0" indent="-171450" algn="just" defTabSz="914400" rtl="0" eaLnBrk="1" fontAlgn="auto" latinLnBrk="0" hangingPunct="1">
                        <a:spcAft>
                          <a:spcPts val="0"/>
                        </a:spcAft>
                        <a:buClrTx/>
                        <a:buSzTx/>
                        <a:buFont typeface="Arial" panose="020B0604020202020204" pitchFamily="34" charset="0"/>
                        <a:buChar char="•"/>
                        <a:tabLst/>
                        <a:defRPr/>
                      </a:pPr>
                      <a:r>
                        <a:rPr lang="en-US" sz="12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Best in Class” philosophy</a:t>
                      </a:r>
                    </a:p>
                    <a:p>
                      <a:pPr marL="183515" marR="508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cosystem relationships</a:t>
                      </a:r>
                    </a:p>
                    <a:p>
                      <a:pPr marL="171450" indent="-171450" algn="ctr">
                        <a:buFont typeface="Arial" panose="020B0604020202020204" pitchFamily="34" charset="0"/>
                        <a:buChar char="•"/>
                      </a:pPr>
                      <a:endParaRPr lang="en-US" sz="1200" b="0" kern="1200" dirty="0">
                        <a:solidFill>
                          <a:schemeClr val="tx1"/>
                        </a:solidFill>
                        <a:latin typeface="Calibri" panose="020F0502020204030204" pitchFamily="34" charset="0"/>
                        <a:ea typeface="+mn-ea"/>
                        <a:cs typeface="Calibri" panose="020F050202020403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Verdana"/>
                        </a:defRPr>
                      </a:lvl1pPr>
                      <a:lvl2pPr marL="342900" algn="l" defTabSz="685800" rtl="0" eaLnBrk="1" latinLnBrk="0" hangingPunct="1">
                        <a:defRPr sz="1350" b="1" kern="1200">
                          <a:solidFill>
                            <a:schemeClr val="lt1"/>
                          </a:solidFill>
                          <a:latin typeface="Verdana"/>
                        </a:defRPr>
                      </a:lvl2pPr>
                      <a:lvl3pPr marL="685800" algn="l" defTabSz="685800" rtl="0" eaLnBrk="1" latinLnBrk="0" hangingPunct="1">
                        <a:defRPr sz="1350" b="1" kern="1200">
                          <a:solidFill>
                            <a:schemeClr val="lt1"/>
                          </a:solidFill>
                          <a:latin typeface="Verdana"/>
                        </a:defRPr>
                      </a:lvl3pPr>
                      <a:lvl4pPr marL="1028700" algn="l" defTabSz="685800" rtl="0" eaLnBrk="1" latinLnBrk="0" hangingPunct="1">
                        <a:defRPr sz="1350" b="1" kern="1200">
                          <a:solidFill>
                            <a:schemeClr val="lt1"/>
                          </a:solidFill>
                          <a:latin typeface="Verdana"/>
                        </a:defRPr>
                      </a:lvl4pPr>
                      <a:lvl5pPr marL="1371600" algn="l" defTabSz="685800" rtl="0" eaLnBrk="1" latinLnBrk="0" hangingPunct="1">
                        <a:defRPr sz="1350" b="1" kern="1200">
                          <a:solidFill>
                            <a:schemeClr val="lt1"/>
                          </a:solidFill>
                          <a:latin typeface="Verdana"/>
                        </a:defRPr>
                      </a:lvl5pPr>
                      <a:lvl6pPr marL="1714500" algn="l" defTabSz="685800" rtl="0" eaLnBrk="1" latinLnBrk="0" hangingPunct="1">
                        <a:defRPr sz="1350" b="1" kern="1200">
                          <a:solidFill>
                            <a:schemeClr val="lt1"/>
                          </a:solidFill>
                          <a:latin typeface="Verdana"/>
                        </a:defRPr>
                      </a:lvl6pPr>
                      <a:lvl7pPr marL="2057400" algn="l" defTabSz="685800" rtl="0" eaLnBrk="1" latinLnBrk="0" hangingPunct="1">
                        <a:defRPr sz="1350" b="1" kern="1200">
                          <a:solidFill>
                            <a:schemeClr val="lt1"/>
                          </a:solidFill>
                          <a:latin typeface="Verdana"/>
                        </a:defRPr>
                      </a:lvl7pPr>
                      <a:lvl8pPr marL="2400300" algn="l" defTabSz="685800" rtl="0" eaLnBrk="1" latinLnBrk="0" hangingPunct="1">
                        <a:defRPr sz="1350" b="1" kern="1200">
                          <a:solidFill>
                            <a:schemeClr val="lt1"/>
                          </a:solidFill>
                          <a:latin typeface="Verdana"/>
                        </a:defRPr>
                      </a:lvl8pPr>
                      <a:lvl9pPr marL="2743200" algn="l" defTabSz="685800" rtl="0" eaLnBrk="1" latinLnBrk="0" hangingPunct="1">
                        <a:defRPr sz="1350" b="1" kern="1200">
                          <a:solidFill>
                            <a:schemeClr val="lt1"/>
                          </a:solidFill>
                          <a:latin typeface="Verdana"/>
                        </a:defRPr>
                      </a:lvl9pPr>
                    </a:lstStyle>
                    <a:p>
                      <a:pPr marL="0" algn="ctr" defTabSz="1219170" rtl="0" eaLnBrk="1" latinLnBrk="0" hangingPunct="1"/>
                      <a:r>
                        <a:rPr kumimoji="0" lang="en-US" sz="1600" b="1" i="0" u="none" strike="noStrike" kern="1200" cap="none" spc="200" normalizeH="0" baseline="0" dirty="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ransformation</a:t>
                      </a:r>
                    </a:p>
                    <a:p>
                      <a:pPr marL="183515" marR="508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Focus on outcomes and value</a:t>
                      </a:r>
                    </a:p>
                    <a:p>
                      <a:pPr marL="183515" marR="5080" lvl="0" indent="-171450" algn="just" defTabSz="914400" rtl="0" eaLnBrk="1" fontAlgn="auto" latinLnBrk="0" hangingPunct="1">
                        <a:spcAft>
                          <a:spcPts val="0"/>
                        </a:spcAft>
                        <a:buClrTx/>
                        <a:buSzTx/>
                        <a:buFont typeface="Arial" panose="020B0604020202020204" pitchFamily="34" charset="0"/>
                        <a:buChar char="•"/>
                        <a:tabLst/>
                        <a:defRPr/>
                      </a:pPr>
                      <a:r>
                        <a:rPr lang="en-US" sz="12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llaborative approach</a:t>
                      </a:r>
                    </a:p>
                    <a:p>
                      <a:pPr marL="183515" marR="5080" lvl="0" indent="-171450" algn="just" defTabSz="914400" rtl="0" eaLnBrk="1" fontAlgn="auto" latinLnBrk="0" hangingPunct="1">
                        <a:spcAft>
                          <a:spcPts val="0"/>
                        </a:spcAft>
                        <a:buClrTx/>
                        <a:buSzTx/>
                        <a:buFont typeface="Arial" panose="020B0604020202020204" pitchFamily="34" charset="0"/>
                        <a:buChar char="•"/>
                        <a:tabLst/>
                        <a:defRPr/>
                      </a:pPr>
                      <a:r>
                        <a:rPr lang="en-US" sz="12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mbed continuous advantage</a:t>
                      </a:r>
                    </a:p>
                    <a:p>
                      <a:pPr marL="0" indent="0" algn="just">
                        <a:buFont typeface="Arial" panose="020B0604020202020204" pitchFamily="34" charset="0"/>
                        <a:buNone/>
                      </a:pPr>
                      <a:br>
                        <a:rPr lang="en-US" sz="1200" b="0" kern="1200" dirty="0">
                          <a:solidFill>
                            <a:schemeClr val="tx1"/>
                          </a:solidFill>
                          <a:latin typeface="Calibri" panose="020F0502020204030204" pitchFamily="34" charset="0"/>
                          <a:ea typeface="+mn-ea"/>
                          <a:cs typeface="Calibri" panose="020F0502020204030204" pitchFamily="34" charset="0"/>
                        </a:rPr>
                      </a:br>
                      <a:endParaRPr lang="en-US" sz="1200" b="0" kern="1200" dirty="0">
                        <a:solidFill>
                          <a:schemeClr val="tx1"/>
                        </a:solidFill>
                        <a:latin typeface="Calibri" panose="020F0502020204030204" pitchFamily="34" charset="0"/>
                        <a:ea typeface="+mn-ea"/>
                        <a:cs typeface="Calibri" panose="020F050202020403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3742669"/>
                  </a:ext>
                </a:extLst>
              </a:tr>
            </a:tbl>
          </a:graphicData>
        </a:graphic>
      </p:graphicFrame>
      <p:sp>
        <p:nvSpPr>
          <p:cNvPr id="101" name="Rectangle 100">
            <a:extLst>
              <a:ext uri="{FF2B5EF4-FFF2-40B4-BE49-F238E27FC236}">
                <a16:creationId xmlns:a16="http://schemas.microsoft.com/office/drawing/2014/main" id="{D6827E84-25FF-74F9-4BF5-854B5CDD0DA2}"/>
              </a:ext>
            </a:extLst>
          </p:cNvPr>
          <p:cNvSpPr/>
          <p:nvPr/>
        </p:nvSpPr>
        <p:spPr bwMode="gray">
          <a:xfrm>
            <a:off x="639166" y="3170034"/>
            <a:ext cx="3161097" cy="40005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defRPr/>
            </a:pPr>
            <a:r>
              <a:rPr lang="pt-BR" sz="800" b="1" kern="0" spc="300" dirty="0">
                <a:solidFill>
                  <a:prstClr val="black"/>
                </a:solidFill>
                <a:ea typeface="Open Sans SemiBold" panose="020B0606030504020204" pitchFamily="34" charset="0"/>
                <a:cs typeface="Open Sans SemiBold" panose="020B0606030504020204" pitchFamily="34" charset="0"/>
              </a:rPr>
              <a:t>DELOITTE’S END-TO-END SERVICES</a:t>
            </a:r>
          </a:p>
        </p:txBody>
      </p:sp>
      <p:sp>
        <p:nvSpPr>
          <p:cNvPr id="102" name="Rectangle 101">
            <a:extLst>
              <a:ext uri="{FF2B5EF4-FFF2-40B4-BE49-F238E27FC236}">
                <a16:creationId xmlns:a16="http://schemas.microsoft.com/office/drawing/2014/main" id="{0F5B2A28-7862-D1E2-A93C-37B06B846BC4}"/>
              </a:ext>
            </a:extLst>
          </p:cNvPr>
          <p:cNvSpPr/>
          <p:nvPr/>
        </p:nvSpPr>
        <p:spPr>
          <a:xfrm>
            <a:off x="9453207" y="2797630"/>
            <a:ext cx="1770478" cy="430887"/>
          </a:xfrm>
          <a:prstGeom prst="rect">
            <a:avLst/>
          </a:prstGeom>
          <a:noFill/>
          <a:ln w="12700" cap="flat" cmpd="sng" algn="ctr">
            <a:noFill/>
            <a:prstDash val="solid"/>
          </a:ln>
          <a:effectLst/>
        </p:spPr>
        <p:txBody>
          <a:bodyPr lIns="0" tIns="0" rIns="0" bIns="0" rtlCol="0" anchor="ctr">
            <a:spAutoFit/>
          </a:bodyPr>
          <a:lstStyle/>
          <a:p>
            <a:pPr defTabSz="1005840" fontAlgn="base">
              <a:spcBef>
                <a:spcPct val="0"/>
              </a:spcBef>
              <a:spcAft>
                <a:spcPct val="0"/>
              </a:spcAft>
              <a:defRPr/>
            </a:pPr>
            <a:r>
              <a:rPr lang="en-US" sz="1400" kern="0">
                <a:solidFill>
                  <a:prstClr val="black">
                    <a:lumMod val="95000"/>
                    <a:lumOff val="5000"/>
                  </a:prstClr>
                </a:solidFill>
                <a:ea typeface="Open Sans" panose="020B0606030504020204" pitchFamily="34" charset="0"/>
                <a:cs typeface="Open Sans" panose="020B0606030504020204" pitchFamily="34" charset="0"/>
              </a:rPr>
              <a:t>LANGUAGES </a:t>
            </a:r>
          </a:p>
          <a:p>
            <a:pPr defTabSz="1005840" fontAlgn="base">
              <a:spcBef>
                <a:spcPct val="0"/>
              </a:spcBef>
              <a:spcAft>
                <a:spcPct val="0"/>
              </a:spcAft>
              <a:defRPr/>
            </a:pPr>
            <a:r>
              <a:rPr lang="en-US" sz="1400" kern="0">
                <a:solidFill>
                  <a:prstClr val="black">
                    <a:lumMod val="95000"/>
                    <a:lumOff val="5000"/>
                  </a:prstClr>
                </a:solidFill>
                <a:ea typeface="Open Sans" panose="020B0606030504020204" pitchFamily="34" charset="0"/>
                <a:cs typeface="Open Sans" panose="020B0606030504020204" pitchFamily="34" charset="0"/>
              </a:rPr>
              <a:t>SUPPORTED</a:t>
            </a:r>
          </a:p>
        </p:txBody>
      </p:sp>
      <p:sp>
        <p:nvSpPr>
          <p:cNvPr id="103" name="Rectangle 102">
            <a:extLst>
              <a:ext uri="{FF2B5EF4-FFF2-40B4-BE49-F238E27FC236}">
                <a16:creationId xmlns:a16="http://schemas.microsoft.com/office/drawing/2014/main" id="{AB5F3A49-9144-C798-7987-BC58EEC202C2}"/>
              </a:ext>
            </a:extLst>
          </p:cNvPr>
          <p:cNvSpPr/>
          <p:nvPr/>
        </p:nvSpPr>
        <p:spPr>
          <a:xfrm>
            <a:off x="8620226" y="2813018"/>
            <a:ext cx="876806" cy="400110"/>
          </a:xfrm>
          <a:prstGeom prst="rect">
            <a:avLst/>
          </a:prstGeom>
          <a:noFill/>
          <a:ln w="12700" cap="flat" cmpd="sng" algn="ctr">
            <a:noFill/>
            <a:prstDash val="solid"/>
          </a:ln>
          <a:effectLst/>
        </p:spPr>
        <p:txBody>
          <a:bodyPr lIns="0" tIns="0" rIns="0" bIns="0" rtlCol="0" anchor="ctr">
            <a:spAutoFit/>
          </a:bodyPr>
          <a:lstStyle/>
          <a:p>
            <a:pPr defTabSz="1005840" fontAlgn="base">
              <a:spcBef>
                <a:spcPct val="0"/>
              </a:spcBef>
              <a:spcAft>
                <a:spcPct val="0"/>
              </a:spcAft>
              <a:defRPr/>
            </a:pPr>
            <a:r>
              <a:rPr lang="en-US" sz="2600" b="1" kern="0">
                <a:solidFill>
                  <a:srgbClr val="86BC25"/>
                </a:solidFill>
                <a:ea typeface="Open Sans" panose="020B0606030504020204" pitchFamily="34" charset="0"/>
                <a:cs typeface="Open Sans" panose="020B0606030504020204" pitchFamily="34" charset="0"/>
              </a:rPr>
              <a:t>13+</a:t>
            </a:r>
          </a:p>
        </p:txBody>
      </p:sp>
      <p:sp>
        <p:nvSpPr>
          <p:cNvPr id="104" name="Rectangle 103">
            <a:extLst>
              <a:ext uri="{FF2B5EF4-FFF2-40B4-BE49-F238E27FC236}">
                <a16:creationId xmlns:a16="http://schemas.microsoft.com/office/drawing/2014/main" id="{54DFB842-7CAF-61CA-3825-1871E483E017}"/>
              </a:ext>
            </a:extLst>
          </p:cNvPr>
          <p:cNvSpPr/>
          <p:nvPr/>
        </p:nvSpPr>
        <p:spPr>
          <a:xfrm>
            <a:off x="4530500" y="2813018"/>
            <a:ext cx="1581094" cy="400110"/>
          </a:xfrm>
          <a:prstGeom prst="rect">
            <a:avLst/>
          </a:prstGeom>
          <a:noFill/>
          <a:ln w="12700" cap="flat" cmpd="sng" algn="ctr">
            <a:noFill/>
            <a:prstDash val="solid"/>
          </a:ln>
          <a:effectLst/>
        </p:spPr>
        <p:txBody>
          <a:bodyPr wrap="square" lIns="0" tIns="0" rIns="0" bIns="0" rtlCol="0" anchor="ctr">
            <a:spAutoFit/>
          </a:bodyPr>
          <a:lstStyle/>
          <a:p>
            <a:pPr defTabSz="1005840" fontAlgn="base">
              <a:spcBef>
                <a:spcPct val="0"/>
              </a:spcBef>
              <a:spcAft>
                <a:spcPct val="0"/>
              </a:spcAft>
              <a:defRPr/>
            </a:pPr>
            <a:r>
              <a:rPr lang="en-US" sz="2600" b="1" kern="0">
                <a:solidFill>
                  <a:srgbClr val="86BC25"/>
                </a:solidFill>
                <a:ea typeface="Open Sans" panose="020B0606030504020204" pitchFamily="34" charset="0"/>
                <a:cs typeface="Open Sans" panose="020B0606030504020204" pitchFamily="34" charset="0"/>
              </a:rPr>
              <a:t>3,200+</a:t>
            </a:r>
          </a:p>
        </p:txBody>
      </p:sp>
      <p:sp>
        <p:nvSpPr>
          <p:cNvPr id="105" name="Rectangle 104">
            <a:extLst>
              <a:ext uri="{FF2B5EF4-FFF2-40B4-BE49-F238E27FC236}">
                <a16:creationId xmlns:a16="http://schemas.microsoft.com/office/drawing/2014/main" id="{4E5417C9-FC11-8E95-5265-0FDFFC03D517}"/>
              </a:ext>
            </a:extLst>
          </p:cNvPr>
          <p:cNvSpPr/>
          <p:nvPr/>
        </p:nvSpPr>
        <p:spPr>
          <a:xfrm>
            <a:off x="5992870" y="2797630"/>
            <a:ext cx="1770478" cy="430887"/>
          </a:xfrm>
          <a:prstGeom prst="rect">
            <a:avLst/>
          </a:prstGeom>
          <a:noFill/>
          <a:ln w="12700" cap="flat" cmpd="sng" algn="ctr">
            <a:noFill/>
            <a:prstDash val="solid"/>
          </a:ln>
          <a:effectLst/>
        </p:spPr>
        <p:txBody>
          <a:bodyPr lIns="0" tIns="0" rIns="0" bIns="0" rtlCol="0" anchor="ctr">
            <a:spAutoFit/>
          </a:bodyPr>
          <a:lstStyle/>
          <a:p>
            <a:pPr defTabSz="1005840" fontAlgn="base">
              <a:spcBef>
                <a:spcPct val="0"/>
              </a:spcBef>
              <a:spcAft>
                <a:spcPct val="0"/>
              </a:spcAft>
              <a:defRPr/>
            </a:pPr>
            <a:r>
              <a:rPr lang="en-US" sz="1400" kern="0" dirty="0">
                <a:solidFill>
                  <a:prstClr val="black">
                    <a:lumMod val="95000"/>
                    <a:lumOff val="5000"/>
                  </a:prstClr>
                </a:solidFill>
                <a:ea typeface="Open Sans" panose="020B0606030504020204" pitchFamily="34" charset="0"/>
                <a:cs typeface="Open Sans" panose="020B0606030504020204" pitchFamily="34" charset="0"/>
              </a:rPr>
              <a:t>OPERATE ENGAGEMENTS</a:t>
            </a:r>
            <a:endParaRPr lang="en-US" sz="1400" kern="0" baseline="30000" dirty="0">
              <a:solidFill>
                <a:prstClr val="black">
                  <a:lumMod val="95000"/>
                  <a:lumOff val="5000"/>
                </a:prstClr>
              </a:solidFill>
              <a:ea typeface="Open Sans" panose="020B0606030504020204" pitchFamily="34" charset="0"/>
              <a:cs typeface="Open Sans" panose="020B0606030504020204" pitchFamily="34" charset="0"/>
            </a:endParaRPr>
          </a:p>
        </p:txBody>
      </p:sp>
      <p:pic>
        <p:nvPicPr>
          <p:cNvPr id="106" name="Picture 2">
            <a:extLst>
              <a:ext uri="{FF2B5EF4-FFF2-40B4-BE49-F238E27FC236}">
                <a16:creationId xmlns:a16="http://schemas.microsoft.com/office/drawing/2014/main" id="{5A98BFC3-B4A5-B10F-83A1-D1E6C441F68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531594" y="3722627"/>
            <a:ext cx="1177589" cy="30451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4" descr="ServiceNow Logo - logo cdr vector">
            <a:extLst>
              <a:ext uri="{FF2B5EF4-FFF2-40B4-BE49-F238E27FC236}">
                <a16:creationId xmlns:a16="http://schemas.microsoft.com/office/drawing/2014/main" id="{CCF139BD-434B-9759-4FC3-4AAFC51AB1A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765889" y="3734283"/>
            <a:ext cx="1495845" cy="281204"/>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6" descr="High Resolution - SAP Logo">
            <a:extLst>
              <a:ext uri="{FF2B5EF4-FFF2-40B4-BE49-F238E27FC236}">
                <a16:creationId xmlns:a16="http://schemas.microsoft.com/office/drawing/2014/main" id="{9236AF05-00F9-A601-6F00-8EF21377408F}"/>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t="21327" b="22922"/>
          <a:stretch/>
        </p:blipFill>
        <p:spPr bwMode="auto">
          <a:xfrm>
            <a:off x="8407400" y="3671883"/>
            <a:ext cx="728248" cy="406004"/>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4">
            <a:extLst>
              <a:ext uri="{FF2B5EF4-FFF2-40B4-BE49-F238E27FC236}">
                <a16:creationId xmlns:a16="http://schemas.microsoft.com/office/drawing/2014/main" id="{62097E41-079C-CAD2-C376-3F5C40DC71AA}"/>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6299857" y="4145996"/>
            <a:ext cx="856622" cy="64008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6" descr="Workday – Logos Download">
            <a:extLst>
              <a:ext uri="{FF2B5EF4-FFF2-40B4-BE49-F238E27FC236}">
                <a16:creationId xmlns:a16="http://schemas.microsoft.com/office/drawing/2014/main" id="{D59D4989-57DC-0991-809A-3BDDE000255E}"/>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130800" y="4303467"/>
            <a:ext cx="837940" cy="325138"/>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0" descr="Alliances - Strategic South Africa relationships to help your business: PwC">
            <a:extLst>
              <a:ext uri="{FF2B5EF4-FFF2-40B4-BE49-F238E27FC236}">
                <a16:creationId xmlns:a16="http://schemas.microsoft.com/office/drawing/2014/main" id="{C2556D21-B332-8A24-F180-0562DC7155F8}"/>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t="28951" b="33114"/>
          <a:stretch/>
        </p:blipFill>
        <p:spPr bwMode="auto">
          <a:xfrm>
            <a:off x="8928100" y="4317058"/>
            <a:ext cx="1397170" cy="297957"/>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2" descr="IBM Logo PNG Image - PurePNG | Free transparent CC0 PNG Image Library">
            <a:extLst>
              <a:ext uri="{FF2B5EF4-FFF2-40B4-BE49-F238E27FC236}">
                <a16:creationId xmlns:a16="http://schemas.microsoft.com/office/drawing/2014/main" id="{297790BA-5A85-1777-FAB0-70B1B0D0112C}"/>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562883" y="4262002"/>
            <a:ext cx="936911" cy="408069"/>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descr="Informatica Acquires Compact Solutions to Extend Industry Leading Enterprise Data Catalog">
            <a:extLst>
              <a:ext uri="{FF2B5EF4-FFF2-40B4-BE49-F238E27FC236}">
                <a16:creationId xmlns:a16="http://schemas.microsoft.com/office/drawing/2014/main" id="{099B7A94-5AC4-BD92-2CF9-5A21898933A2}"/>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3835865" y="3621546"/>
            <a:ext cx="1614883" cy="506678"/>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descr="Amazon Web Services (AWS) – Logos Download">
            <a:extLst>
              <a:ext uri="{FF2B5EF4-FFF2-40B4-BE49-F238E27FC236}">
                <a16:creationId xmlns:a16="http://schemas.microsoft.com/office/drawing/2014/main" id="{56E2C5A5-F04D-F970-505E-0B42B503FA6D}"/>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511800" y="3624584"/>
            <a:ext cx="1150053" cy="500603"/>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6">
            <a:extLst>
              <a:ext uri="{FF2B5EF4-FFF2-40B4-BE49-F238E27FC236}">
                <a16:creationId xmlns:a16="http://schemas.microsoft.com/office/drawing/2014/main" id="{051C8ED6-6E3B-DF62-51FE-D15D09155819}"/>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366037" y="3667087"/>
            <a:ext cx="999963" cy="415597"/>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8" descr="Software and Copyright – SAS Institute – Court of Appeal Decision | Reilly &amp; Co Solicitors">
            <a:extLst>
              <a:ext uri="{FF2B5EF4-FFF2-40B4-BE49-F238E27FC236}">
                <a16:creationId xmlns:a16="http://schemas.microsoft.com/office/drawing/2014/main" id="{77FCBAA0-A2D0-B5E4-B4E3-BFD6A4DADEF2}"/>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082318" y="4328602"/>
            <a:ext cx="693255" cy="346628"/>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0" descr="Top Interview Questions For Popular Skills">
            <a:extLst>
              <a:ext uri="{FF2B5EF4-FFF2-40B4-BE49-F238E27FC236}">
                <a16:creationId xmlns:a16="http://schemas.microsoft.com/office/drawing/2014/main" id="{7D967067-F3A8-2353-CD7F-493120557C9B}"/>
              </a:ext>
            </a:extLst>
          </p:cNvPr>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t="27751" b="28553"/>
          <a:stretch/>
        </p:blipFill>
        <p:spPr bwMode="auto">
          <a:xfrm>
            <a:off x="10282488" y="4258237"/>
            <a:ext cx="1426695" cy="41559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4" name="Diagram 143">
            <a:extLst>
              <a:ext uri="{FF2B5EF4-FFF2-40B4-BE49-F238E27FC236}">
                <a16:creationId xmlns:a16="http://schemas.microsoft.com/office/drawing/2014/main" id="{1752BAA4-54E7-669C-03AF-A1E930CFC268}"/>
              </a:ext>
            </a:extLst>
          </p:cNvPr>
          <p:cNvGraphicFramePr/>
          <p:nvPr>
            <p:extLst>
              <p:ext uri="{D42A27DB-BD31-4B8C-83A1-F6EECF244321}">
                <p14:modId xmlns:p14="http://schemas.microsoft.com/office/powerpoint/2010/main" val="2925086429"/>
              </p:ext>
            </p:extLst>
          </p:nvPr>
        </p:nvGraphicFramePr>
        <p:xfrm>
          <a:off x="383864" y="902728"/>
          <a:ext cx="3671701" cy="2479184"/>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145" name="Rectangle 144">
            <a:extLst>
              <a:ext uri="{FF2B5EF4-FFF2-40B4-BE49-F238E27FC236}">
                <a16:creationId xmlns:a16="http://schemas.microsoft.com/office/drawing/2014/main" id="{D0E87382-3992-C71F-6D7B-57A1F57A90E6}"/>
              </a:ext>
            </a:extLst>
          </p:cNvPr>
          <p:cNvSpPr/>
          <p:nvPr/>
        </p:nvSpPr>
        <p:spPr>
          <a:xfrm>
            <a:off x="473448" y="6569179"/>
            <a:ext cx="1770478" cy="287258"/>
          </a:xfrm>
          <a:prstGeom prst="rect">
            <a:avLst/>
          </a:prstGeom>
          <a:noFill/>
          <a:ln w="12700" cap="flat" cmpd="sng" algn="ctr">
            <a:noFill/>
            <a:prstDash val="solid"/>
          </a:ln>
          <a:effectLst/>
        </p:spPr>
        <p:txBody>
          <a:bodyPr lIns="0" tIns="0" rIns="0" bIns="0" rtlCol="0" anchor="ctr">
            <a:spAutoFit/>
          </a:bodyPr>
          <a:lstStyle/>
          <a:p>
            <a:pPr marL="0" marR="0" lvl="0" indent="0" defTabSz="1005840" rtl="0" eaLnBrk="1" fontAlgn="base" latinLnBrk="0" hangingPunct="1">
              <a:lnSpc>
                <a:spcPct val="100000"/>
              </a:lnSpc>
              <a:buClrTx/>
              <a:buSzTx/>
              <a:buFontTx/>
              <a:buNone/>
              <a:tabLst/>
              <a:defRPr/>
            </a:pPr>
            <a:r>
              <a:rPr lang="en-US" sz="700" kern="0" baseline="30000" dirty="0">
                <a:solidFill>
                  <a:prstClr val="black">
                    <a:lumMod val="95000"/>
                    <a:lumOff val="5000"/>
                  </a:prstClr>
                </a:solidFill>
                <a:latin typeface="+mj-lt"/>
                <a:ea typeface="Open Sans" panose="020B0606030504020204" pitchFamily="34" charset="0"/>
                <a:cs typeface="Open Sans" panose="020B0606030504020204" pitchFamily="34" charset="0"/>
              </a:rPr>
              <a:t>1</a:t>
            </a:r>
            <a:r>
              <a:rPr kumimoji="0" lang="en-US" sz="700" u="none" strike="noStrike" kern="0" cap="none" spc="0" normalizeH="0" baseline="0" noProof="0" dirty="0">
                <a:ln>
                  <a:noFill/>
                </a:ln>
                <a:solidFill>
                  <a:prstClr val="black">
                    <a:lumMod val="95000"/>
                    <a:lumOff val="5000"/>
                  </a:prstClr>
                </a:solidFill>
                <a:effectLst/>
                <a:uLnTx/>
                <a:uFillTx/>
                <a:latin typeface="+mj-lt"/>
                <a:ea typeface="Open Sans" panose="020B0606030504020204" pitchFamily="34" charset="0"/>
                <a:cs typeface="Open Sans" panose="020B0606030504020204" pitchFamily="34" charset="0"/>
              </a:rPr>
              <a:t>As of FY23 Q1</a:t>
            </a:r>
          </a:p>
          <a:p>
            <a:pPr defTabSz="1005840" fontAlgn="base">
              <a:defRPr/>
            </a:pPr>
            <a:r>
              <a:rPr lang="en-US" sz="700" kern="0" baseline="30000" dirty="0">
                <a:solidFill>
                  <a:prstClr val="black">
                    <a:lumMod val="95000"/>
                    <a:lumOff val="5000"/>
                  </a:prstClr>
                </a:solidFill>
                <a:latin typeface="+mj-lt"/>
                <a:ea typeface="Open Sans" panose="020B0606030504020204" pitchFamily="34" charset="0"/>
                <a:cs typeface="Open Sans" panose="020B0606030504020204" pitchFamily="34" charset="0"/>
              </a:rPr>
              <a:t>2</a:t>
            </a:r>
            <a:r>
              <a:rPr lang="en-US" sz="700" kern="0" dirty="0">
                <a:solidFill>
                  <a:prstClr val="black">
                    <a:lumMod val="95000"/>
                    <a:lumOff val="5000"/>
                  </a:prstClr>
                </a:solidFill>
                <a:latin typeface="+mj-lt"/>
                <a:ea typeface="Open Sans" panose="020B0606030504020204" pitchFamily="34" charset="0"/>
                <a:cs typeface="Open Sans" panose="020B0606030504020204" pitchFamily="34" charset="0"/>
              </a:rPr>
              <a:t>3Q 2022 Global ISG Index™️ </a:t>
            </a:r>
          </a:p>
          <a:p>
            <a:pPr defTabSz="1005840" fontAlgn="base">
              <a:defRPr/>
            </a:pPr>
            <a:endParaRPr kumimoji="0" lang="en-US" sz="700" u="none" strike="noStrike" kern="0" cap="none" spc="0" normalizeH="0" baseline="30000" noProof="0" dirty="0">
              <a:ln>
                <a:noFill/>
              </a:ln>
              <a:solidFill>
                <a:prstClr val="black">
                  <a:lumMod val="95000"/>
                  <a:lumOff val="5000"/>
                </a:prstClr>
              </a:solidFill>
              <a:effectLst/>
              <a:uLnTx/>
              <a:uFillTx/>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9194670"/>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69900" y="862397"/>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e provide support and maintenance services at the heart of our clients’ business, utilizing an integrated, comprehensive model that focuses on leveraging market disruptors and our broader expertise to drive innovation, </a:t>
            </a:r>
            <a:r>
              <a:rPr lang="en-US"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crease </a:t>
            </a: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eliability and solve complex technical challenges our clients are faced with.</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Why our Clients operate with Deloitte?</a:t>
            </a:r>
          </a:p>
        </p:txBody>
      </p:sp>
      <p:sp>
        <p:nvSpPr>
          <p:cNvPr id="2" name="Rectangle 1">
            <a:extLst>
              <a:ext uri="{FF2B5EF4-FFF2-40B4-BE49-F238E27FC236}">
                <a16:creationId xmlns:a16="http://schemas.microsoft.com/office/drawing/2014/main" id="{57B12B33-AE44-5F82-BE71-4610C47AB46D}"/>
              </a:ext>
            </a:extLst>
          </p:cNvPr>
          <p:cNvSpPr/>
          <p:nvPr/>
        </p:nvSpPr>
        <p:spPr>
          <a:xfrm>
            <a:off x="4869143" y="1913148"/>
            <a:ext cx="2443792" cy="4966314"/>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CZ"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9010661D-2855-65B7-8D16-AC0969D80066}"/>
              </a:ext>
            </a:extLst>
          </p:cNvPr>
          <p:cNvSpPr/>
          <p:nvPr/>
        </p:nvSpPr>
        <p:spPr>
          <a:xfrm>
            <a:off x="4535" y="1913148"/>
            <a:ext cx="2443792" cy="4944852"/>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385234BA-D188-62F5-AAC5-2EABB48897AC}"/>
              </a:ext>
            </a:extLst>
          </p:cNvPr>
          <p:cNvSpPr/>
          <p:nvPr/>
        </p:nvSpPr>
        <p:spPr>
          <a:xfrm>
            <a:off x="9752039" y="1921343"/>
            <a:ext cx="2443792" cy="4958119"/>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62CB7913-A377-6584-D0B1-8F2C1EB6914E}"/>
              </a:ext>
            </a:extLst>
          </p:cNvPr>
          <p:cNvCxnSpPr>
            <a:cxnSpLocks/>
          </p:cNvCxnSpPr>
          <p:nvPr/>
        </p:nvCxnSpPr>
        <p:spPr>
          <a:xfrm flipH="1">
            <a:off x="0" y="1913148"/>
            <a:ext cx="12192000" cy="0"/>
          </a:xfrm>
          <a:prstGeom prst="line">
            <a:avLst/>
          </a:prstGeom>
          <a:noFill/>
          <a:ln w="9525" cap="flat" cmpd="sng" algn="ctr">
            <a:solidFill>
              <a:sysClr val="window" lastClr="FFFFFF">
                <a:lumMod val="85000"/>
              </a:sysClr>
            </a:solidFill>
            <a:prstDash val="solid"/>
          </a:ln>
          <a:effectLst/>
        </p:spPr>
      </p:cxnSp>
      <p:pic>
        <p:nvPicPr>
          <p:cNvPr id="8" name="Picture 7">
            <a:extLst>
              <a:ext uri="{FF2B5EF4-FFF2-40B4-BE49-F238E27FC236}">
                <a16:creationId xmlns:a16="http://schemas.microsoft.com/office/drawing/2014/main" id="{AFC720CA-3CD4-F5ED-E27B-FE6CD242235A}"/>
              </a:ext>
            </a:extLst>
          </p:cNvPr>
          <p:cNvPicPr>
            <a:picLocks noChangeAspect="1"/>
          </p:cNvPicPr>
          <p:nvPr/>
        </p:nvPicPr>
        <p:blipFill>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2670495" y="3514503"/>
            <a:ext cx="1941134" cy="1737661"/>
          </a:xfrm>
          <a:prstGeom prst="rect">
            <a:avLst/>
          </a:prstGeom>
        </p:spPr>
      </p:pic>
      <p:grpSp>
        <p:nvGrpSpPr>
          <p:cNvPr id="9" name="Group 8">
            <a:extLst>
              <a:ext uri="{FF2B5EF4-FFF2-40B4-BE49-F238E27FC236}">
                <a16:creationId xmlns:a16="http://schemas.microsoft.com/office/drawing/2014/main" id="{4722E5D7-C49E-18C6-D60F-66EDCA846D02}"/>
              </a:ext>
            </a:extLst>
          </p:cNvPr>
          <p:cNvGrpSpPr/>
          <p:nvPr/>
        </p:nvGrpSpPr>
        <p:grpSpPr>
          <a:xfrm>
            <a:off x="360987" y="1592184"/>
            <a:ext cx="691696" cy="691696"/>
            <a:chOff x="360987" y="1211183"/>
            <a:chExt cx="691696" cy="691696"/>
          </a:xfrm>
        </p:grpSpPr>
        <p:sp>
          <p:nvSpPr>
            <p:cNvPr id="10" name="Oval 9">
              <a:extLst>
                <a:ext uri="{FF2B5EF4-FFF2-40B4-BE49-F238E27FC236}">
                  <a16:creationId xmlns:a16="http://schemas.microsoft.com/office/drawing/2014/main" id="{1B5ABA99-C08F-8F95-875C-613B804FA95F}"/>
                </a:ext>
              </a:extLst>
            </p:cNvPr>
            <p:cNvSpPr/>
            <p:nvPr/>
          </p:nvSpPr>
          <p:spPr bwMode="gray">
            <a:xfrm>
              <a:off x="360987" y="1211183"/>
              <a:ext cx="691696" cy="69169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457200" eaLnBrk="1" fontAlgn="base" latinLnBrk="0" hangingPunct="1">
                <a:lnSpc>
                  <a:spcPct val="106000"/>
                </a:lnSpc>
                <a:spcBef>
                  <a:spcPct val="0"/>
                </a:spcBef>
                <a:spcAft>
                  <a:spcPct val="0"/>
                </a:spcAft>
                <a:buClrTx/>
                <a:buSzTx/>
                <a:buFont typeface="Wingdings 2" pitchFamily="18" charset="2"/>
                <a:buNone/>
                <a:tabLst/>
                <a:defRPr/>
              </a:pPr>
              <a:endParaRPr kumimoji="0" lang="en-CZ" sz="1600" b="1" i="0" u="none" strike="noStrike" kern="0" cap="none" spc="0" normalizeH="0" baseline="0" noProof="0" dirty="0">
                <a:ln>
                  <a:noFill/>
                </a:ln>
                <a:solidFill>
                  <a:prstClr val="white"/>
                </a:solidFill>
                <a:effectLst/>
                <a:uLnTx/>
                <a:uFillTx/>
                <a:latin typeface="Verdana" panose="020B0604030504040204" pitchFamily="34" charset="0"/>
                <a:ea typeface="ヒラギノ角ゴ Pro W3" panose="020B0300000000000000" pitchFamily="34" charset="-128"/>
              </a:endParaRPr>
            </a:p>
          </p:txBody>
        </p:sp>
        <p:grpSp>
          <p:nvGrpSpPr>
            <p:cNvPr id="11" name="Group 574">
              <a:extLst>
                <a:ext uri="{FF2B5EF4-FFF2-40B4-BE49-F238E27FC236}">
                  <a16:creationId xmlns:a16="http://schemas.microsoft.com/office/drawing/2014/main" id="{9472FA30-F507-6DA8-3338-CF53E66DE516}"/>
                </a:ext>
              </a:extLst>
            </p:cNvPr>
            <p:cNvGrpSpPr>
              <a:grpSpLocks noChangeAspect="1"/>
            </p:cNvGrpSpPr>
            <p:nvPr/>
          </p:nvGrpSpPr>
          <p:grpSpPr bwMode="auto">
            <a:xfrm>
              <a:off x="438695" y="1294377"/>
              <a:ext cx="536280" cy="537857"/>
              <a:chOff x="1921" y="1939"/>
              <a:chExt cx="340" cy="341"/>
            </a:xfrm>
            <a:solidFill>
              <a:srgbClr val="86BC23"/>
            </a:solidFill>
          </p:grpSpPr>
          <p:sp>
            <p:nvSpPr>
              <p:cNvPr id="12" name="Freeform 575">
                <a:extLst>
                  <a:ext uri="{FF2B5EF4-FFF2-40B4-BE49-F238E27FC236}">
                    <a16:creationId xmlns:a16="http://schemas.microsoft.com/office/drawing/2014/main" id="{65F4FE6B-D84D-0AED-DDD0-C91FFEE932E7}"/>
                  </a:ext>
                </a:extLst>
              </p:cNvPr>
              <p:cNvSpPr>
                <a:spLocks noEditPoints="1"/>
              </p:cNvSpPr>
              <p:nvPr/>
            </p:nvSpPr>
            <p:spPr bwMode="auto">
              <a:xfrm>
                <a:off x="1921" y="19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13" name="Freeform 576">
                <a:extLst>
                  <a:ext uri="{FF2B5EF4-FFF2-40B4-BE49-F238E27FC236}">
                    <a16:creationId xmlns:a16="http://schemas.microsoft.com/office/drawing/2014/main" id="{ED6C60C9-6F42-DBB8-6249-209E209C783D}"/>
                  </a:ext>
                </a:extLst>
              </p:cNvPr>
              <p:cNvSpPr>
                <a:spLocks noEditPoints="1"/>
              </p:cNvSpPr>
              <p:nvPr/>
            </p:nvSpPr>
            <p:spPr bwMode="auto">
              <a:xfrm>
                <a:off x="1985" y="203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grpSp>
      </p:grpSp>
      <p:sp>
        <p:nvSpPr>
          <p:cNvPr id="14" name="Oval 13">
            <a:extLst>
              <a:ext uri="{FF2B5EF4-FFF2-40B4-BE49-F238E27FC236}">
                <a16:creationId xmlns:a16="http://schemas.microsoft.com/office/drawing/2014/main" id="{673668E0-0E17-EB8A-931B-B3AF2CC74FE4}"/>
              </a:ext>
            </a:extLst>
          </p:cNvPr>
          <p:cNvSpPr/>
          <p:nvPr/>
        </p:nvSpPr>
        <p:spPr bwMode="gray">
          <a:xfrm>
            <a:off x="8201720" y="2242996"/>
            <a:ext cx="431993" cy="12729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a typeface="ヒラギノ角ゴ Pro W3" panose="020B0300000000000000" pitchFamily="34" charset="-128"/>
              <a:cs typeface="Calibri" panose="020F0502020204030204" pitchFamily="34" charset="0"/>
            </a:endParaRPr>
          </a:p>
        </p:txBody>
      </p:sp>
      <p:grpSp>
        <p:nvGrpSpPr>
          <p:cNvPr id="15" name="Group 14">
            <a:extLst>
              <a:ext uri="{FF2B5EF4-FFF2-40B4-BE49-F238E27FC236}">
                <a16:creationId xmlns:a16="http://schemas.microsoft.com/office/drawing/2014/main" id="{85847204-EDE9-29F7-B347-9C7E79EA6667}"/>
              </a:ext>
            </a:extLst>
          </p:cNvPr>
          <p:cNvGrpSpPr/>
          <p:nvPr/>
        </p:nvGrpSpPr>
        <p:grpSpPr>
          <a:xfrm>
            <a:off x="7511087" y="1592184"/>
            <a:ext cx="691696" cy="691696"/>
            <a:chOff x="7511087" y="1211183"/>
            <a:chExt cx="691696" cy="691696"/>
          </a:xfrm>
        </p:grpSpPr>
        <p:sp>
          <p:nvSpPr>
            <p:cNvPr id="16" name="Oval 15">
              <a:extLst>
                <a:ext uri="{FF2B5EF4-FFF2-40B4-BE49-F238E27FC236}">
                  <a16:creationId xmlns:a16="http://schemas.microsoft.com/office/drawing/2014/main" id="{96F2CAE9-0AAB-75C6-8380-F93068A8520E}"/>
                </a:ext>
              </a:extLst>
            </p:cNvPr>
            <p:cNvSpPr/>
            <p:nvPr/>
          </p:nvSpPr>
          <p:spPr bwMode="gray">
            <a:xfrm>
              <a:off x="7511087" y="1211183"/>
              <a:ext cx="691696" cy="69169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457200" eaLnBrk="1" fontAlgn="base" latinLnBrk="0" hangingPunct="1">
                <a:lnSpc>
                  <a:spcPct val="106000"/>
                </a:lnSpc>
                <a:spcBef>
                  <a:spcPct val="0"/>
                </a:spcBef>
                <a:spcAft>
                  <a:spcPct val="0"/>
                </a:spcAft>
                <a:buClrTx/>
                <a:buSzTx/>
                <a:buFont typeface="Wingdings 2" pitchFamily="18" charset="2"/>
                <a:buNone/>
                <a:tabLst/>
                <a:defRPr/>
              </a:pPr>
              <a:endParaRPr kumimoji="0" lang="en-CZ" sz="1600" b="1" i="0" u="none" strike="noStrike" kern="0" cap="none" spc="0" normalizeH="0" baseline="0" noProof="0" dirty="0">
                <a:ln>
                  <a:noFill/>
                </a:ln>
                <a:solidFill>
                  <a:prstClr val="white"/>
                </a:solidFill>
                <a:effectLst/>
                <a:uLnTx/>
                <a:uFillTx/>
                <a:latin typeface="Verdana" panose="020B0604030504040204" pitchFamily="34" charset="0"/>
                <a:ea typeface="ヒラギノ角ゴ Pro W3" panose="020B0300000000000000" pitchFamily="34" charset="-128"/>
              </a:endParaRPr>
            </a:p>
          </p:txBody>
        </p:sp>
        <p:grpSp>
          <p:nvGrpSpPr>
            <p:cNvPr id="17" name="Group 252">
              <a:extLst>
                <a:ext uri="{FF2B5EF4-FFF2-40B4-BE49-F238E27FC236}">
                  <a16:creationId xmlns:a16="http://schemas.microsoft.com/office/drawing/2014/main" id="{C7A0F198-1B51-363E-52BC-5B76EDC83A1E}"/>
                </a:ext>
              </a:extLst>
            </p:cNvPr>
            <p:cNvGrpSpPr>
              <a:grpSpLocks noChangeAspect="1"/>
            </p:cNvGrpSpPr>
            <p:nvPr/>
          </p:nvGrpSpPr>
          <p:grpSpPr bwMode="auto">
            <a:xfrm>
              <a:off x="7585343" y="1297076"/>
              <a:ext cx="532458" cy="532458"/>
              <a:chOff x="5024" y="718"/>
              <a:chExt cx="340" cy="340"/>
            </a:xfrm>
            <a:solidFill>
              <a:srgbClr val="47ABE2"/>
            </a:solidFill>
          </p:grpSpPr>
          <p:sp>
            <p:nvSpPr>
              <p:cNvPr id="18" name="Freeform 253">
                <a:extLst>
                  <a:ext uri="{FF2B5EF4-FFF2-40B4-BE49-F238E27FC236}">
                    <a16:creationId xmlns:a16="http://schemas.microsoft.com/office/drawing/2014/main" id="{42333D0F-C650-FC5A-21D3-94EEA594B9B4}"/>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19" name="Freeform 254">
                <a:extLst>
                  <a:ext uri="{FF2B5EF4-FFF2-40B4-BE49-F238E27FC236}">
                    <a16:creationId xmlns:a16="http://schemas.microsoft.com/office/drawing/2014/main" id="{B1FC1937-9389-9887-AC0D-C5F48189515E}"/>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ea typeface="ヒラギノ角ゴ Pro W3" panose="020B0300000000000000" pitchFamily="34" charset="-128"/>
                  <a:cs typeface="Calibri" panose="020F0502020204030204" pitchFamily="34" charset="0"/>
                </a:endParaRPr>
              </a:p>
            </p:txBody>
          </p:sp>
        </p:grpSp>
      </p:grpSp>
      <p:sp>
        <p:nvSpPr>
          <p:cNvPr id="20" name="Oval 19">
            <a:extLst>
              <a:ext uri="{FF2B5EF4-FFF2-40B4-BE49-F238E27FC236}">
                <a16:creationId xmlns:a16="http://schemas.microsoft.com/office/drawing/2014/main" id="{BF3F5710-3EB1-A815-7CB8-845B38632507}"/>
              </a:ext>
            </a:extLst>
          </p:cNvPr>
          <p:cNvSpPr/>
          <p:nvPr/>
        </p:nvSpPr>
        <p:spPr bwMode="gray">
          <a:xfrm>
            <a:off x="3384421" y="2253005"/>
            <a:ext cx="455968" cy="12729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a typeface="ヒラギノ角ゴ Pro W3" panose="020B0300000000000000" pitchFamily="34" charset="-128"/>
              <a:cs typeface="Calibri" panose="020F0502020204030204" pitchFamily="34" charset="0"/>
            </a:endParaRPr>
          </a:p>
        </p:txBody>
      </p:sp>
      <p:grpSp>
        <p:nvGrpSpPr>
          <p:cNvPr id="21" name="Group 20">
            <a:extLst>
              <a:ext uri="{FF2B5EF4-FFF2-40B4-BE49-F238E27FC236}">
                <a16:creationId xmlns:a16="http://schemas.microsoft.com/office/drawing/2014/main" id="{8BD70C6A-0FDD-4FFA-5EC3-9D226A873E66}"/>
              </a:ext>
            </a:extLst>
          </p:cNvPr>
          <p:cNvGrpSpPr/>
          <p:nvPr/>
        </p:nvGrpSpPr>
        <p:grpSpPr>
          <a:xfrm>
            <a:off x="5136187" y="1592184"/>
            <a:ext cx="691696" cy="691696"/>
            <a:chOff x="5136187" y="1211183"/>
            <a:chExt cx="691696" cy="691696"/>
          </a:xfrm>
        </p:grpSpPr>
        <p:sp>
          <p:nvSpPr>
            <p:cNvPr id="22" name="Oval 21">
              <a:extLst>
                <a:ext uri="{FF2B5EF4-FFF2-40B4-BE49-F238E27FC236}">
                  <a16:creationId xmlns:a16="http://schemas.microsoft.com/office/drawing/2014/main" id="{D95ADA50-DCBF-E452-29AF-CEFDB7CC0E13}"/>
                </a:ext>
              </a:extLst>
            </p:cNvPr>
            <p:cNvSpPr/>
            <p:nvPr/>
          </p:nvSpPr>
          <p:spPr bwMode="gray">
            <a:xfrm>
              <a:off x="5136187" y="1211183"/>
              <a:ext cx="691696" cy="69169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457200" eaLnBrk="1" fontAlgn="base" latinLnBrk="0" hangingPunct="1">
                <a:lnSpc>
                  <a:spcPct val="106000"/>
                </a:lnSpc>
                <a:spcBef>
                  <a:spcPct val="0"/>
                </a:spcBef>
                <a:spcAft>
                  <a:spcPct val="0"/>
                </a:spcAft>
                <a:buClrTx/>
                <a:buSzTx/>
                <a:buFont typeface="Wingdings 2" pitchFamily="18" charset="2"/>
                <a:buNone/>
                <a:tabLst/>
                <a:defRPr/>
              </a:pPr>
              <a:endParaRPr kumimoji="0" lang="en-CZ" sz="1600" b="1" i="0" u="none" strike="noStrike" kern="0" cap="none" spc="0" normalizeH="0" baseline="0" noProof="0" dirty="0">
                <a:ln>
                  <a:noFill/>
                </a:ln>
                <a:solidFill>
                  <a:prstClr val="white"/>
                </a:solidFill>
                <a:effectLst/>
                <a:uLnTx/>
                <a:uFillTx/>
                <a:latin typeface="Verdana" panose="020B0604030504040204" pitchFamily="34" charset="0"/>
                <a:ea typeface="ヒラギノ角ゴ Pro W3" panose="020B0300000000000000" pitchFamily="34" charset="-128"/>
              </a:endParaRPr>
            </a:p>
          </p:txBody>
        </p:sp>
        <p:grpSp>
          <p:nvGrpSpPr>
            <p:cNvPr id="23" name="Group 387">
              <a:extLst>
                <a:ext uri="{FF2B5EF4-FFF2-40B4-BE49-F238E27FC236}">
                  <a16:creationId xmlns:a16="http://schemas.microsoft.com/office/drawing/2014/main" id="{FDB75318-B4AD-8D47-0D6E-BAFDA9228CCF}"/>
                </a:ext>
              </a:extLst>
            </p:cNvPr>
            <p:cNvGrpSpPr>
              <a:grpSpLocks noChangeAspect="1"/>
            </p:cNvGrpSpPr>
            <p:nvPr/>
          </p:nvGrpSpPr>
          <p:grpSpPr bwMode="auto">
            <a:xfrm>
              <a:off x="5208957" y="1295640"/>
              <a:ext cx="535330" cy="535330"/>
              <a:chOff x="7355" y="1558"/>
              <a:chExt cx="340" cy="340"/>
            </a:xfrm>
            <a:solidFill>
              <a:srgbClr val="86BC23"/>
            </a:solidFill>
          </p:grpSpPr>
          <p:sp>
            <p:nvSpPr>
              <p:cNvPr id="24" name="Freeform 388">
                <a:extLst>
                  <a:ext uri="{FF2B5EF4-FFF2-40B4-BE49-F238E27FC236}">
                    <a16:creationId xmlns:a16="http://schemas.microsoft.com/office/drawing/2014/main" id="{0C33DE0A-D6C8-AB22-DAF9-8C70A0A5287F}"/>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25" name="Freeform 389">
                <a:extLst>
                  <a:ext uri="{FF2B5EF4-FFF2-40B4-BE49-F238E27FC236}">
                    <a16:creationId xmlns:a16="http://schemas.microsoft.com/office/drawing/2014/main" id="{C8795CF8-F4D3-9DCE-3406-E847DB89ED25}"/>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grpSp>
      </p:grpSp>
      <p:grpSp>
        <p:nvGrpSpPr>
          <p:cNvPr id="26" name="Group 25">
            <a:extLst>
              <a:ext uri="{FF2B5EF4-FFF2-40B4-BE49-F238E27FC236}">
                <a16:creationId xmlns:a16="http://schemas.microsoft.com/office/drawing/2014/main" id="{5659A8F8-64AA-7892-1707-96B5F39A16FC}"/>
              </a:ext>
            </a:extLst>
          </p:cNvPr>
          <p:cNvGrpSpPr/>
          <p:nvPr/>
        </p:nvGrpSpPr>
        <p:grpSpPr>
          <a:xfrm>
            <a:off x="2659687" y="1592184"/>
            <a:ext cx="691696" cy="691696"/>
            <a:chOff x="2659687" y="1211183"/>
            <a:chExt cx="691696" cy="691696"/>
          </a:xfrm>
        </p:grpSpPr>
        <p:sp>
          <p:nvSpPr>
            <p:cNvPr id="27" name="Oval 26">
              <a:extLst>
                <a:ext uri="{FF2B5EF4-FFF2-40B4-BE49-F238E27FC236}">
                  <a16:creationId xmlns:a16="http://schemas.microsoft.com/office/drawing/2014/main" id="{9BDF77D3-A0C2-8DF7-5FB6-8983F112D2A6}"/>
                </a:ext>
              </a:extLst>
            </p:cNvPr>
            <p:cNvSpPr/>
            <p:nvPr/>
          </p:nvSpPr>
          <p:spPr bwMode="gray">
            <a:xfrm>
              <a:off x="2659687" y="1211183"/>
              <a:ext cx="691696" cy="69169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457200" eaLnBrk="1" fontAlgn="base" latinLnBrk="0" hangingPunct="1">
                <a:lnSpc>
                  <a:spcPct val="106000"/>
                </a:lnSpc>
                <a:spcBef>
                  <a:spcPct val="0"/>
                </a:spcBef>
                <a:spcAft>
                  <a:spcPct val="0"/>
                </a:spcAft>
                <a:buClrTx/>
                <a:buSzTx/>
                <a:buFont typeface="Wingdings 2" pitchFamily="18" charset="2"/>
                <a:buNone/>
                <a:tabLst/>
                <a:defRPr/>
              </a:pPr>
              <a:endParaRPr kumimoji="0" lang="en-CZ" sz="1600" b="1" i="0" u="none" strike="noStrike" kern="0" cap="none" spc="0" normalizeH="0" baseline="0" noProof="0" dirty="0">
                <a:ln>
                  <a:noFill/>
                </a:ln>
                <a:solidFill>
                  <a:prstClr val="white"/>
                </a:solidFill>
                <a:effectLst/>
                <a:uLnTx/>
                <a:uFillTx/>
                <a:latin typeface="Verdana" panose="020B0604030504040204" pitchFamily="34" charset="0"/>
                <a:ea typeface="ヒラギノ角ゴ Pro W3" panose="020B0300000000000000" pitchFamily="34" charset="-128"/>
              </a:endParaRPr>
            </a:p>
          </p:txBody>
        </p:sp>
        <p:grpSp>
          <p:nvGrpSpPr>
            <p:cNvPr id="28" name="Group 39">
              <a:extLst>
                <a:ext uri="{FF2B5EF4-FFF2-40B4-BE49-F238E27FC236}">
                  <a16:creationId xmlns:a16="http://schemas.microsoft.com/office/drawing/2014/main" id="{860842AE-AD57-6F29-3789-FE16342DEEF3}"/>
                </a:ext>
              </a:extLst>
            </p:cNvPr>
            <p:cNvGrpSpPr>
              <a:grpSpLocks noChangeAspect="1"/>
            </p:cNvGrpSpPr>
            <p:nvPr/>
          </p:nvGrpSpPr>
          <p:grpSpPr bwMode="auto">
            <a:xfrm>
              <a:off x="2729465" y="1296648"/>
              <a:ext cx="533314" cy="533314"/>
              <a:chOff x="3987" y="1509"/>
              <a:chExt cx="340" cy="340"/>
            </a:xfrm>
            <a:solidFill>
              <a:srgbClr val="47ABE2"/>
            </a:solidFill>
          </p:grpSpPr>
          <p:sp>
            <p:nvSpPr>
              <p:cNvPr id="29" name="Freeform 40">
                <a:extLst>
                  <a:ext uri="{FF2B5EF4-FFF2-40B4-BE49-F238E27FC236}">
                    <a16:creationId xmlns:a16="http://schemas.microsoft.com/office/drawing/2014/main" id="{C7A746F3-A3E9-574B-ABB8-E8D837BD6897}"/>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30" name="Freeform 41">
                <a:extLst>
                  <a:ext uri="{FF2B5EF4-FFF2-40B4-BE49-F238E27FC236}">
                    <a16:creationId xmlns:a16="http://schemas.microsoft.com/office/drawing/2014/main" id="{872A6F71-2A49-5AF8-97DA-E717EC00639F}"/>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grpSp>
      </p:grpSp>
      <p:grpSp>
        <p:nvGrpSpPr>
          <p:cNvPr id="31" name="Group 30">
            <a:extLst>
              <a:ext uri="{FF2B5EF4-FFF2-40B4-BE49-F238E27FC236}">
                <a16:creationId xmlns:a16="http://schemas.microsoft.com/office/drawing/2014/main" id="{B49A94EB-CA99-2F52-C55F-0F7A10DFD348}"/>
              </a:ext>
            </a:extLst>
          </p:cNvPr>
          <p:cNvGrpSpPr/>
          <p:nvPr/>
        </p:nvGrpSpPr>
        <p:grpSpPr>
          <a:xfrm>
            <a:off x="9898687" y="1592184"/>
            <a:ext cx="691696" cy="691696"/>
            <a:chOff x="9898687" y="1211183"/>
            <a:chExt cx="691696" cy="691696"/>
          </a:xfrm>
        </p:grpSpPr>
        <p:sp>
          <p:nvSpPr>
            <p:cNvPr id="32" name="Oval 31">
              <a:extLst>
                <a:ext uri="{FF2B5EF4-FFF2-40B4-BE49-F238E27FC236}">
                  <a16:creationId xmlns:a16="http://schemas.microsoft.com/office/drawing/2014/main" id="{69DBF568-F645-13CF-A601-B2E58617F9B5}"/>
                </a:ext>
              </a:extLst>
            </p:cNvPr>
            <p:cNvSpPr/>
            <p:nvPr/>
          </p:nvSpPr>
          <p:spPr bwMode="gray">
            <a:xfrm>
              <a:off x="9898687" y="1211183"/>
              <a:ext cx="691696" cy="69169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457200" eaLnBrk="1" fontAlgn="base" latinLnBrk="0" hangingPunct="1">
                <a:lnSpc>
                  <a:spcPct val="106000"/>
                </a:lnSpc>
                <a:spcBef>
                  <a:spcPct val="0"/>
                </a:spcBef>
                <a:spcAft>
                  <a:spcPct val="0"/>
                </a:spcAft>
                <a:buClrTx/>
                <a:buSzTx/>
                <a:buFont typeface="Wingdings 2" pitchFamily="18" charset="2"/>
                <a:buNone/>
                <a:tabLst/>
                <a:defRPr/>
              </a:pPr>
              <a:endParaRPr kumimoji="0" lang="en-CZ" sz="1600" b="1" i="0" u="none" strike="noStrike" kern="0" cap="none" spc="0" normalizeH="0" baseline="0" noProof="0" dirty="0">
                <a:ln>
                  <a:noFill/>
                </a:ln>
                <a:solidFill>
                  <a:prstClr val="white"/>
                </a:solidFill>
                <a:effectLst/>
                <a:uLnTx/>
                <a:uFillTx/>
                <a:latin typeface="Verdana" panose="020B0604030504040204" pitchFamily="34" charset="0"/>
                <a:ea typeface="ヒラギノ角ゴ Pro W3" panose="020B0300000000000000" pitchFamily="34" charset="-128"/>
              </a:endParaRPr>
            </a:p>
          </p:txBody>
        </p:sp>
        <p:grpSp>
          <p:nvGrpSpPr>
            <p:cNvPr id="33" name="Group 826">
              <a:extLst>
                <a:ext uri="{FF2B5EF4-FFF2-40B4-BE49-F238E27FC236}">
                  <a16:creationId xmlns:a16="http://schemas.microsoft.com/office/drawing/2014/main" id="{6ACB59DD-0856-4C65-D2E7-DC4F246AFD47}"/>
                </a:ext>
              </a:extLst>
            </p:cNvPr>
            <p:cNvGrpSpPr>
              <a:grpSpLocks noChangeAspect="1"/>
            </p:cNvGrpSpPr>
            <p:nvPr/>
          </p:nvGrpSpPr>
          <p:grpSpPr bwMode="auto">
            <a:xfrm rot="16200000">
              <a:off x="9960770" y="1295640"/>
              <a:ext cx="535330" cy="535330"/>
              <a:chOff x="1863" y="3093"/>
              <a:chExt cx="340" cy="340"/>
            </a:xfrm>
            <a:solidFill>
              <a:srgbClr val="86BC23"/>
            </a:solidFill>
          </p:grpSpPr>
          <p:sp>
            <p:nvSpPr>
              <p:cNvPr id="34" name="Freeform 827">
                <a:extLst>
                  <a:ext uri="{FF2B5EF4-FFF2-40B4-BE49-F238E27FC236}">
                    <a16:creationId xmlns:a16="http://schemas.microsoft.com/office/drawing/2014/main" id="{544EFFA6-62BA-23A6-F484-AF108E2E7E69}"/>
                  </a:ext>
                </a:extLst>
              </p:cNvPr>
              <p:cNvSpPr>
                <a:spLocks noEditPoints="1"/>
              </p:cNvSpPr>
              <p:nvPr/>
            </p:nvSpPr>
            <p:spPr bwMode="auto">
              <a:xfrm>
                <a:off x="1863" y="30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35" name="Freeform 828">
                <a:extLst>
                  <a:ext uri="{FF2B5EF4-FFF2-40B4-BE49-F238E27FC236}">
                    <a16:creationId xmlns:a16="http://schemas.microsoft.com/office/drawing/2014/main" id="{A4F1C2CE-EE93-566D-D91A-3B640A890801}"/>
                  </a:ext>
                </a:extLst>
              </p:cNvPr>
              <p:cNvSpPr>
                <a:spLocks noEditPoints="1"/>
              </p:cNvSpPr>
              <p:nvPr/>
            </p:nvSpPr>
            <p:spPr bwMode="auto">
              <a:xfrm>
                <a:off x="1955" y="3157"/>
                <a:ext cx="156" cy="212"/>
              </a:xfrm>
              <a:custGeom>
                <a:avLst/>
                <a:gdLst>
                  <a:gd name="T0" fmla="*/ 213 w 234"/>
                  <a:gd name="T1" fmla="*/ 258 h 320"/>
                  <a:gd name="T2" fmla="*/ 213 w 234"/>
                  <a:gd name="T3" fmla="*/ 192 h 320"/>
                  <a:gd name="T4" fmla="*/ 170 w 234"/>
                  <a:gd name="T5" fmla="*/ 150 h 320"/>
                  <a:gd name="T6" fmla="*/ 128 w 234"/>
                  <a:gd name="T7" fmla="*/ 150 h 320"/>
                  <a:gd name="T8" fmla="*/ 128 w 234"/>
                  <a:gd name="T9" fmla="*/ 64 h 320"/>
                  <a:gd name="T10" fmla="*/ 127 w 234"/>
                  <a:gd name="T11" fmla="*/ 62 h 320"/>
                  <a:gd name="T12" fmla="*/ 149 w 234"/>
                  <a:gd name="T13" fmla="*/ 32 h 320"/>
                  <a:gd name="T14" fmla="*/ 117 w 234"/>
                  <a:gd name="T15" fmla="*/ 0 h 320"/>
                  <a:gd name="T16" fmla="*/ 85 w 234"/>
                  <a:gd name="T17" fmla="*/ 32 h 320"/>
                  <a:gd name="T18" fmla="*/ 107 w 234"/>
                  <a:gd name="T19" fmla="*/ 62 h 320"/>
                  <a:gd name="T20" fmla="*/ 106 w 234"/>
                  <a:gd name="T21" fmla="*/ 64 h 320"/>
                  <a:gd name="T22" fmla="*/ 106 w 234"/>
                  <a:gd name="T23" fmla="*/ 150 h 320"/>
                  <a:gd name="T24" fmla="*/ 64 w 234"/>
                  <a:gd name="T25" fmla="*/ 150 h 320"/>
                  <a:gd name="T26" fmla="*/ 42 w 234"/>
                  <a:gd name="T27" fmla="*/ 128 h 320"/>
                  <a:gd name="T28" fmla="*/ 42 w 234"/>
                  <a:gd name="T29" fmla="*/ 62 h 320"/>
                  <a:gd name="T30" fmla="*/ 64 w 234"/>
                  <a:gd name="T31" fmla="*/ 32 h 320"/>
                  <a:gd name="T32" fmla="*/ 32 w 234"/>
                  <a:gd name="T33" fmla="*/ 0 h 320"/>
                  <a:gd name="T34" fmla="*/ 0 w 234"/>
                  <a:gd name="T35" fmla="*/ 32 h 320"/>
                  <a:gd name="T36" fmla="*/ 21 w 234"/>
                  <a:gd name="T37" fmla="*/ 62 h 320"/>
                  <a:gd name="T38" fmla="*/ 21 w 234"/>
                  <a:gd name="T39" fmla="*/ 128 h 320"/>
                  <a:gd name="T40" fmla="*/ 64 w 234"/>
                  <a:gd name="T41" fmla="*/ 171 h 320"/>
                  <a:gd name="T42" fmla="*/ 106 w 234"/>
                  <a:gd name="T43" fmla="*/ 171 h 320"/>
                  <a:gd name="T44" fmla="*/ 106 w 234"/>
                  <a:gd name="T45" fmla="*/ 258 h 320"/>
                  <a:gd name="T46" fmla="*/ 85 w 234"/>
                  <a:gd name="T47" fmla="*/ 288 h 320"/>
                  <a:gd name="T48" fmla="*/ 117 w 234"/>
                  <a:gd name="T49" fmla="*/ 320 h 320"/>
                  <a:gd name="T50" fmla="*/ 149 w 234"/>
                  <a:gd name="T51" fmla="*/ 288 h 320"/>
                  <a:gd name="T52" fmla="*/ 128 w 234"/>
                  <a:gd name="T53" fmla="*/ 258 h 320"/>
                  <a:gd name="T54" fmla="*/ 128 w 234"/>
                  <a:gd name="T55" fmla="*/ 171 h 320"/>
                  <a:gd name="T56" fmla="*/ 170 w 234"/>
                  <a:gd name="T57" fmla="*/ 171 h 320"/>
                  <a:gd name="T58" fmla="*/ 192 w 234"/>
                  <a:gd name="T59" fmla="*/ 192 h 320"/>
                  <a:gd name="T60" fmla="*/ 192 w 234"/>
                  <a:gd name="T61" fmla="*/ 258 h 320"/>
                  <a:gd name="T62" fmla="*/ 170 w 234"/>
                  <a:gd name="T63" fmla="*/ 288 h 320"/>
                  <a:gd name="T64" fmla="*/ 202 w 234"/>
                  <a:gd name="T65" fmla="*/ 320 h 320"/>
                  <a:gd name="T66" fmla="*/ 234 w 234"/>
                  <a:gd name="T67" fmla="*/ 288 h 320"/>
                  <a:gd name="T68" fmla="*/ 213 w 234"/>
                  <a:gd name="T69" fmla="*/ 258 h 320"/>
                  <a:gd name="T70" fmla="*/ 32 w 234"/>
                  <a:gd name="T71" fmla="*/ 22 h 320"/>
                  <a:gd name="T72" fmla="*/ 42 w 234"/>
                  <a:gd name="T73" fmla="*/ 32 h 320"/>
                  <a:gd name="T74" fmla="*/ 32 w 234"/>
                  <a:gd name="T75" fmla="*/ 43 h 320"/>
                  <a:gd name="T76" fmla="*/ 21 w 234"/>
                  <a:gd name="T77" fmla="*/ 32 h 320"/>
                  <a:gd name="T78" fmla="*/ 32 w 234"/>
                  <a:gd name="T79" fmla="*/ 22 h 320"/>
                  <a:gd name="T80" fmla="*/ 117 w 234"/>
                  <a:gd name="T81" fmla="*/ 22 h 320"/>
                  <a:gd name="T82" fmla="*/ 128 w 234"/>
                  <a:gd name="T83" fmla="*/ 32 h 320"/>
                  <a:gd name="T84" fmla="*/ 117 w 234"/>
                  <a:gd name="T85" fmla="*/ 43 h 320"/>
                  <a:gd name="T86" fmla="*/ 106 w 234"/>
                  <a:gd name="T87" fmla="*/ 32 h 320"/>
                  <a:gd name="T88" fmla="*/ 117 w 234"/>
                  <a:gd name="T89" fmla="*/ 22 h 320"/>
                  <a:gd name="T90" fmla="*/ 117 w 234"/>
                  <a:gd name="T91" fmla="*/ 299 h 320"/>
                  <a:gd name="T92" fmla="*/ 106 w 234"/>
                  <a:gd name="T93" fmla="*/ 288 h 320"/>
                  <a:gd name="T94" fmla="*/ 117 w 234"/>
                  <a:gd name="T95" fmla="*/ 278 h 320"/>
                  <a:gd name="T96" fmla="*/ 128 w 234"/>
                  <a:gd name="T97" fmla="*/ 288 h 320"/>
                  <a:gd name="T98" fmla="*/ 117 w 234"/>
                  <a:gd name="T99" fmla="*/ 299 h 320"/>
                  <a:gd name="T100" fmla="*/ 202 w 234"/>
                  <a:gd name="T101" fmla="*/ 299 h 320"/>
                  <a:gd name="T102" fmla="*/ 192 w 234"/>
                  <a:gd name="T103" fmla="*/ 288 h 320"/>
                  <a:gd name="T104" fmla="*/ 202 w 234"/>
                  <a:gd name="T105" fmla="*/ 278 h 320"/>
                  <a:gd name="T106" fmla="*/ 213 w 234"/>
                  <a:gd name="T107" fmla="*/ 288 h 320"/>
                  <a:gd name="T108" fmla="*/ 202 w 234"/>
                  <a:gd name="T109"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 h="320">
                    <a:moveTo>
                      <a:pt x="213" y="258"/>
                    </a:moveTo>
                    <a:cubicBezTo>
                      <a:pt x="213" y="192"/>
                      <a:pt x="213" y="192"/>
                      <a:pt x="213" y="192"/>
                    </a:cubicBezTo>
                    <a:cubicBezTo>
                      <a:pt x="213" y="161"/>
                      <a:pt x="187" y="150"/>
                      <a:pt x="170" y="150"/>
                    </a:cubicBezTo>
                    <a:cubicBezTo>
                      <a:pt x="128" y="150"/>
                      <a:pt x="128" y="150"/>
                      <a:pt x="128" y="150"/>
                    </a:cubicBezTo>
                    <a:cubicBezTo>
                      <a:pt x="128" y="64"/>
                      <a:pt x="128" y="64"/>
                      <a:pt x="128" y="64"/>
                    </a:cubicBezTo>
                    <a:cubicBezTo>
                      <a:pt x="128" y="64"/>
                      <a:pt x="127" y="63"/>
                      <a:pt x="127" y="62"/>
                    </a:cubicBezTo>
                    <a:cubicBezTo>
                      <a:pt x="140" y="58"/>
                      <a:pt x="149" y="46"/>
                      <a:pt x="149" y="32"/>
                    </a:cubicBezTo>
                    <a:cubicBezTo>
                      <a:pt x="149" y="15"/>
                      <a:pt x="135" y="0"/>
                      <a:pt x="117" y="0"/>
                    </a:cubicBezTo>
                    <a:cubicBezTo>
                      <a:pt x="99" y="0"/>
                      <a:pt x="85" y="15"/>
                      <a:pt x="85" y="32"/>
                    </a:cubicBezTo>
                    <a:cubicBezTo>
                      <a:pt x="85" y="46"/>
                      <a:pt x="94" y="58"/>
                      <a:pt x="107" y="62"/>
                    </a:cubicBezTo>
                    <a:cubicBezTo>
                      <a:pt x="107" y="63"/>
                      <a:pt x="106" y="64"/>
                      <a:pt x="106" y="64"/>
                    </a:cubicBezTo>
                    <a:cubicBezTo>
                      <a:pt x="106" y="150"/>
                      <a:pt x="106" y="150"/>
                      <a:pt x="106" y="150"/>
                    </a:cubicBezTo>
                    <a:cubicBezTo>
                      <a:pt x="64" y="150"/>
                      <a:pt x="64" y="150"/>
                      <a:pt x="64" y="150"/>
                    </a:cubicBezTo>
                    <a:cubicBezTo>
                      <a:pt x="60" y="150"/>
                      <a:pt x="42" y="149"/>
                      <a:pt x="42" y="128"/>
                    </a:cubicBezTo>
                    <a:cubicBezTo>
                      <a:pt x="42" y="62"/>
                      <a:pt x="42" y="62"/>
                      <a:pt x="42" y="62"/>
                    </a:cubicBezTo>
                    <a:cubicBezTo>
                      <a:pt x="55" y="58"/>
                      <a:pt x="64" y="46"/>
                      <a:pt x="64" y="32"/>
                    </a:cubicBezTo>
                    <a:cubicBezTo>
                      <a:pt x="64" y="15"/>
                      <a:pt x="49" y="0"/>
                      <a:pt x="32" y="0"/>
                    </a:cubicBezTo>
                    <a:cubicBezTo>
                      <a:pt x="14" y="0"/>
                      <a:pt x="0" y="15"/>
                      <a:pt x="0" y="32"/>
                    </a:cubicBezTo>
                    <a:cubicBezTo>
                      <a:pt x="0" y="46"/>
                      <a:pt x="9" y="58"/>
                      <a:pt x="21" y="62"/>
                    </a:cubicBezTo>
                    <a:cubicBezTo>
                      <a:pt x="21" y="128"/>
                      <a:pt x="21" y="128"/>
                      <a:pt x="21" y="128"/>
                    </a:cubicBezTo>
                    <a:cubicBezTo>
                      <a:pt x="21" y="160"/>
                      <a:pt x="47" y="171"/>
                      <a:pt x="64" y="171"/>
                    </a:cubicBezTo>
                    <a:cubicBezTo>
                      <a:pt x="106" y="171"/>
                      <a:pt x="106" y="171"/>
                      <a:pt x="106" y="171"/>
                    </a:cubicBezTo>
                    <a:cubicBezTo>
                      <a:pt x="106" y="258"/>
                      <a:pt x="106" y="258"/>
                      <a:pt x="106" y="258"/>
                    </a:cubicBezTo>
                    <a:cubicBezTo>
                      <a:pt x="94" y="263"/>
                      <a:pt x="85" y="274"/>
                      <a:pt x="85" y="288"/>
                    </a:cubicBezTo>
                    <a:cubicBezTo>
                      <a:pt x="85" y="306"/>
                      <a:pt x="99" y="320"/>
                      <a:pt x="117" y="320"/>
                    </a:cubicBezTo>
                    <a:cubicBezTo>
                      <a:pt x="135" y="320"/>
                      <a:pt x="149" y="306"/>
                      <a:pt x="149" y="288"/>
                    </a:cubicBezTo>
                    <a:cubicBezTo>
                      <a:pt x="149" y="274"/>
                      <a:pt x="140" y="263"/>
                      <a:pt x="128" y="258"/>
                    </a:cubicBezTo>
                    <a:cubicBezTo>
                      <a:pt x="128" y="171"/>
                      <a:pt x="128" y="171"/>
                      <a:pt x="128" y="171"/>
                    </a:cubicBezTo>
                    <a:cubicBezTo>
                      <a:pt x="170" y="171"/>
                      <a:pt x="170" y="171"/>
                      <a:pt x="170" y="171"/>
                    </a:cubicBezTo>
                    <a:cubicBezTo>
                      <a:pt x="174" y="171"/>
                      <a:pt x="192" y="172"/>
                      <a:pt x="192" y="192"/>
                    </a:cubicBezTo>
                    <a:cubicBezTo>
                      <a:pt x="192" y="258"/>
                      <a:pt x="192" y="258"/>
                      <a:pt x="192" y="258"/>
                    </a:cubicBezTo>
                    <a:cubicBezTo>
                      <a:pt x="179" y="263"/>
                      <a:pt x="170" y="274"/>
                      <a:pt x="170" y="288"/>
                    </a:cubicBezTo>
                    <a:cubicBezTo>
                      <a:pt x="170" y="306"/>
                      <a:pt x="185" y="320"/>
                      <a:pt x="202" y="320"/>
                    </a:cubicBezTo>
                    <a:cubicBezTo>
                      <a:pt x="220" y="320"/>
                      <a:pt x="234" y="306"/>
                      <a:pt x="234" y="288"/>
                    </a:cubicBezTo>
                    <a:cubicBezTo>
                      <a:pt x="234" y="274"/>
                      <a:pt x="225" y="263"/>
                      <a:pt x="213" y="258"/>
                    </a:cubicBezTo>
                    <a:close/>
                    <a:moveTo>
                      <a:pt x="32" y="22"/>
                    </a:moveTo>
                    <a:cubicBezTo>
                      <a:pt x="38" y="22"/>
                      <a:pt x="42" y="26"/>
                      <a:pt x="42" y="32"/>
                    </a:cubicBezTo>
                    <a:cubicBezTo>
                      <a:pt x="42" y="38"/>
                      <a:pt x="38" y="43"/>
                      <a:pt x="32" y="43"/>
                    </a:cubicBezTo>
                    <a:cubicBezTo>
                      <a:pt x="26" y="43"/>
                      <a:pt x="21" y="38"/>
                      <a:pt x="21" y="32"/>
                    </a:cubicBezTo>
                    <a:cubicBezTo>
                      <a:pt x="21" y="26"/>
                      <a:pt x="26" y="22"/>
                      <a:pt x="32" y="22"/>
                    </a:cubicBezTo>
                    <a:close/>
                    <a:moveTo>
                      <a:pt x="117" y="22"/>
                    </a:moveTo>
                    <a:cubicBezTo>
                      <a:pt x="123" y="22"/>
                      <a:pt x="128" y="26"/>
                      <a:pt x="128" y="32"/>
                    </a:cubicBezTo>
                    <a:cubicBezTo>
                      <a:pt x="128" y="38"/>
                      <a:pt x="123" y="43"/>
                      <a:pt x="117" y="43"/>
                    </a:cubicBezTo>
                    <a:cubicBezTo>
                      <a:pt x="111" y="43"/>
                      <a:pt x="106" y="38"/>
                      <a:pt x="106" y="32"/>
                    </a:cubicBezTo>
                    <a:cubicBezTo>
                      <a:pt x="106" y="26"/>
                      <a:pt x="111" y="22"/>
                      <a:pt x="117" y="22"/>
                    </a:cubicBezTo>
                    <a:close/>
                    <a:moveTo>
                      <a:pt x="117" y="299"/>
                    </a:moveTo>
                    <a:cubicBezTo>
                      <a:pt x="111" y="299"/>
                      <a:pt x="106" y="294"/>
                      <a:pt x="106" y="288"/>
                    </a:cubicBezTo>
                    <a:cubicBezTo>
                      <a:pt x="106" y="282"/>
                      <a:pt x="111" y="278"/>
                      <a:pt x="117" y="278"/>
                    </a:cubicBezTo>
                    <a:cubicBezTo>
                      <a:pt x="123" y="278"/>
                      <a:pt x="128" y="282"/>
                      <a:pt x="128" y="288"/>
                    </a:cubicBezTo>
                    <a:cubicBezTo>
                      <a:pt x="128" y="294"/>
                      <a:pt x="123" y="299"/>
                      <a:pt x="117" y="299"/>
                    </a:cubicBezTo>
                    <a:close/>
                    <a:moveTo>
                      <a:pt x="202" y="299"/>
                    </a:moveTo>
                    <a:cubicBezTo>
                      <a:pt x="196" y="299"/>
                      <a:pt x="192" y="294"/>
                      <a:pt x="192" y="288"/>
                    </a:cubicBezTo>
                    <a:cubicBezTo>
                      <a:pt x="192" y="282"/>
                      <a:pt x="196" y="278"/>
                      <a:pt x="202" y="278"/>
                    </a:cubicBezTo>
                    <a:cubicBezTo>
                      <a:pt x="208" y="278"/>
                      <a:pt x="213" y="282"/>
                      <a:pt x="213" y="288"/>
                    </a:cubicBezTo>
                    <a:cubicBezTo>
                      <a:pt x="213" y="294"/>
                      <a:pt x="208" y="299"/>
                      <a:pt x="202" y="2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grpSp>
      </p:grpSp>
      <p:pic>
        <p:nvPicPr>
          <p:cNvPr id="36" name="Picture 35">
            <a:extLst>
              <a:ext uri="{FF2B5EF4-FFF2-40B4-BE49-F238E27FC236}">
                <a16:creationId xmlns:a16="http://schemas.microsoft.com/office/drawing/2014/main" id="{6BDFA171-863E-B4F9-C678-E4C4EBB54D91}"/>
              </a:ext>
            </a:extLst>
          </p:cNvPr>
          <p:cNvPicPr/>
          <p:nvPr/>
        </p:nvPicPr>
        <p:blipFill rotWithShape="1">
          <a:blip r:embed="rId5" cstate="email">
            <a:grayscl/>
            <a:extLst>
              <a:ext uri="{28A0092B-C50C-407E-A947-70E740481C1C}">
                <a14:useLocalDpi xmlns:a14="http://schemas.microsoft.com/office/drawing/2010/main"/>
              </a:ext>
            </a:extLst>
          </a:blip>
          <a:srcRect/>
          <a:stretch/>
        </p:blipFill>
        <p:spPr bwMode="auto">
          <a:xfrm>
            <a:off x="5174657" y="4480162"/>
            <a:ext cx="1879810" cy="2057980"/>
          </a:xfrm>
          <a:prstGeom prst="rect">
            <a:avLst/>
          </a:prstGeom>
          <a:noFill/>
          <a:ln>
            <a:noFill/>
          </a:ln>
          <a:extLst>
            <a:ext uri="{53640926-AAD7-44D8-BBD7-CCE9431645EC}">
              <a14:shadowObscured xmlns:a14="http://schemas.microsoft.com/office/drawing/2010/main"/>
            </a:ext>
          </a:extLst>
        </p:spPr>
      </p:pic>
      <p:sp>
        <p:nvSpPr>
          <p:cNvPr id="37" name="Rectangle 36">
            <a:extLst>
              <a:ext uri="{FF2B5EF4-FFF2-40B4-BE49-F238E27FC236}">
                <a16:creationId xmlns:a16="http://schemas.microsoft.com/office/drawing/2014/main" id="{411E4DE2-34EC-2C0F-D17A-3CC5839E79F2}"/>
              </a:ext>
            </a:extLst>
          </p:cNvPr>
          <p:cNvSpPr/>
          <p:nvPr/>
        </p:nvSpPr>
        <p:spPr>
          <a:xfrm>
            <a:off x="7508959" y="4431008"/>
            <a:ext cx="926129" cy="553998"/>
          </a:xfrm>
          <a:prstGeom prst="rect">
            <a:avLst/>
          </a:prstGeom>
        </p:spPr>
        <p:txBody>
          <a:bodyPr wrap="square">
            <a:spAutoFit/>
          </a:bodyPr>
          <a:lstStyle/>
          <a:p>
            <a:pPr defTabSz="1219170">
              <a:spcBef>
                <a:spcPts val="300"/>
              </a:spcBef>
              <a:spcAft>
                <a:spcPts val="300"/>
              </a:spcAft>
              <a:defRPr/>
            </a:pPr>
            <a:r>
              <a:rPr lang="en-US" sz="1000" dirty="0">
                <a:solidFill>
                  <a:prstClr val="white">
                    <a:lumMod val="75000"/>
                  </a:prstClr>
                </a:solidFill>
                <a:ea typeface="ヒラギノ角ゴ Pro W3" panose="020B0300000000000000" pitchFamily="34" charset="-128"/>
                <a:cs typeface="Calibri" panose="020F0502020204030204" pitchFamily="34" charset="0"/>
              </a:rPr>
              <a:t>Our process optimizes the data life cycle</a:t>
            </a:r>
          </a:p>
        </p:txBody>
      </p:sp>
      <p:sp>
        <p:nvSpPr>
          <p:cNvPr id="38" name="Rectangle 37">
            <a:extLst>
              <a:ext uri="{FF2B5EF4-FFF2-40B4-BE49-F238E27FC236}">
                <a16:creationId xmlns:a16="http://schemas.microsoft.com/office/drawing/2014/main" id="{C740A9B8-FD6E-B05E-7992-4F1D6CFF28C6}"/>
              </a:ext>
            </a:extLst>
          </p:cNvPr>
          <p:cNvSpPr/>
          <p:nvPr/>
        </p:nvSpPr>
        <p:spPr>
          <a:xfrm>
            <a:off x="7447997" y="6270530"/>
            <a:ext cx="1162938" cy="400110"/>
          </a:xfrm>
          <a:prstGeom prst="rect">
            <a:avLst/>
          </a:prstGeom>
        </p:spPr>
        <p:txBody>
          <a:bodyPr wrap="square">
            <a:spAutoFit/>
          </a:bodyPr>
          <a:lstStyle/>
          <a:p>
            <a:pPr algn="r" defTabSz="1219170">
              <a:spcBef>
                <a:spcPts val="300"/>
              </a:spcBef>
              <a:spcAft>
                <a:spcPts val="300"/>
              </a:spcAft>
              <a:defRPr/>
            </a:pPr>
            <a:r>
              <a:rPr lang="en-US" sz="1000" dirty="0">
                <a:solidFill>
                  <a:prstClr val="white">
                    <a:lumMod val="75000"/>
                  </a:prstClr>
                </a:solidFill>
                <a:ea typeface="ヒラギノ角ゴ Pro W3" panose="020B0300000000000000" pitchFamily="34" charset="-128"/>
                <a:cs typeface="Calibri" panose="020F0502020204030204" pitchFamily="34" charset="0"/>
              </a:rPr>
              <a:t>Right data for decision makers</a:t>
            </a:r>
          </a:p>
        </p:txBody>
      </p:sp>
      <p:sp>
        <p:nvSpPr>
          <p:cNvPr id="39" name="Rectangle 38">
            <a:extLst>
              <a:ext uri="{FF2B5EF4-FFF2-40B4-BE49-F238E27FC236}">
                <a16:creationId xmlns:a16="http://schemas.microsoft.com/office/drawing/2014/main" id="{4D2C2EDC-FE20-6085-4358-65ED59EA570A}"/>
              </a:ext>
            </a:extLst>
          </p:cNvPr>
          <p:cNvSpPr/>
          <p:nvPr/>
        </p:nvSpPr>
        <p:spPr>
          <a:xfrm>
            <a:off x="8499894" y="4444333"/>
            <a:ext cx="1117512" cy="553998"/>
          </a:xfrm>
          <a:prstGeom prst="rect">
            <a:avLst/>
          </a:prstGeom>
        </p:spPr>
        <p:txBody>
          <a:bodyPr wrap="square">
            <a:spAutoFit/>
          </a:bodyPr>
          <a:lstStyle/>
          <a:p>
            <a:pPr algn="r" defTabSz="1219170">
              <a:spcBef>
                <a:spcPts val="300"/>
              </a:spcBef>
              <a:spcAft>
                <a:spcPts val="300"/>
              </a:spcAft>
              <a:defRPr/>
            </a:pPr>
            <a:r>
              <a:rPr lang="en-US" sz="1000" dirty="0">
                <a:solidFill>
                  <a:prstClr val="white">
                    <a:lumMod val="75000"/>
                  </a:prstClr>
                </a:solidFill>
                <a:ea typeface="ヒラギノ角ゴ Pro W3" panose="020B0300000000000000" pitchFamily="34" charset="-128"/>
                <a:cs typeface="Calibri" panose="020F0502020204030204" pitchFamily="34" charset="0"/>
              </a:rPr>
              <a:t>Drive </a:t>
            </a:r>
            <a:br>
              <a:rPr lang="en-US" sz="1000" dirty="0">
                <a:solidFill>
                  <a:prstClr val="white">
                    <a:lumMod val="75000"/>
                  </a:prstClr>
                </a:solidFill>
                <a:ea typeface="ヒラギノ角ゴ Pro W3" panose="020B0300000000000000" pitchFamily="34" charset="-128"/>
                <a:cs typeface="Calibri" panose="020F0502020204030204" pitchFamily="34" charset="0"/>
              </a:rPr>
            </a:br>
            <a:r>
              <a:rPr lang="en-US" sz="1000" dirty="0">
                <a:solidFill>
                  <a:prstClr val="white">
                    <a:lumMod val="75000"/>
                  </a:prstClr>
                </a:solidFill>
                <a:ea typeface="ヒラギノ角ゴ Pro W3" panose="020B0300000000000000" pitchFamily="34" charset="-128"/>
                <a:cs typeface="Calibri" panose="020F0502020204030204" pitchFamily="34" charset="0"/>
              </a:rPr>
              <a:t>enhanced analytics insights</a:t>
            </a:r>
          </a:p>
        </p:txBody>
      </p:sp>
      <p:sp>
        <p:nvSpPr>
          <p:cNvPr id="40" name="Freeform 5">
            <a:extLst>
              <a:ext uri="{FF2B5EF4-FFF2-40B4-BE49-F238E27FC236}">
                <a16:creationId xmlns:a16="http://schemas.microsoft.com/office/drawing/2014/main" id="{8E2AF5B2-E0FE-C9B8-45FB-D290F9D114DB}"/>
              </a:ext>
            </a:extLst>
          </p:cNvPr>
          <p:cNvSpPr>
            <a:spLocks/>
          </p:cNvSpPr>
          <p:nvPr/>
        </p:nvSpPr>
        <p:spPr bwMode="auto">
          <a:xfrm>
            <a:off x="8882325" y="5288413"/>
            <a:ext cx="679922" cy="819710"/>
          </a:xfrm>
          <a:custGeom>
            <a:avLst/>
            <a:gdLst>
              <a:gd name="T0" fmla="*/ 97 w 541"/>
              <a:gd name="T1" fmla="*/ 445 h 659"/>
              <a:gd name="T2" fmla="*/ 13 w 541"/>
              <a:gd name="T3" fmla="*/ 350 h 659"/>
              <a:gd name="T4" fmla="*/ 8 w 541"/>
              <a:gd name="T5" fmla="*/ 320 h 659"/>
              <a:gd name="T6" fmla="*/ 184 w 541"/>
              <a:gd name="T7" fmla="*/ 16 h 659"/>
              <a:gd name="T8" fmla="*/ 212 w 541"/>
              <a:gd name="T9" fmla="*/ 11 h 659"/>
              <a:gd name="T10" fmla="*/ 446 w 541"/>
              <a:gd name="T11" fmla="*/ 264 h 659"/>
              <a:gd name="T12" fmla="*/ 540 w 541"/>
              <a:gd name="T13" fmla="*/ 577 h 659"/>
              <a:gd name="T14" fmla="*/ 538 w 541"/>
              <a:gd name="T15" fmla="*/ 615 h 659"/>
              <a:gd name="T16" fmla="*/ 482 w 541"/>
              <a:gd name="T17" fmla="*/ 658 h 659"/>
              <a:gd name="T18" fmla="*/ 368 w 541"/>
              <a:gd name="T19" fmla="*/ 658 h 659"/>
              <a:gd name="T20" fmla="*/ 173 w 541"/>
              <a:gd name="T21" fmla="*/ 654 h 659"/>
              <a:gd name="T22" fmla="*/ 155 w 541"/>
              <a:gd name="T23" fmla="*/ 638 h 659"/>
              <a:gd name="T24" fmla="*/ 151 w 541"/>
              <a:gd name="T25" fmla="*/ 596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1" h="659">
                <a:moveTo>
                  <a:pt x="97" y="445"/>
                </a:moveTo>
                <a:cubicBezTo>
                  <a:pt x="74" y="409"/>
                  <a:pt x="46" y="377"/>
                  <a:pt x="13" y="350"/>
                </a:cubicBezTo>
                <a:cubicBezTo>
                  <a:pt x="1" y="340"/>
                  <a:pt x="0" y="333"/>
                  <a:pt x="8" y="320"/>
                </a:cubicBezTo>
                <a:cubicBezTo>
                  <a:pt x="67" y="219"/>
                  <a:pt x="126" y="117"/>
                  <a:pt x="184" y="16"/>
                </a:cubicBezTo>
                <a:cubicBezTo>
                  <a:pt x="193" y="0"/>
                  <a:pt x="200" y="3"/>
                  <a:pt x="212" y="11"/>
                </a:cubicBezTo>
                <a:cubicBezTo>
                  <a:pt x="310" y="77"/>
                  <a:pt x="388" y="161"/>
                  <a:pt x="446" y="264"/>
                </a:cubicBezTo>
                <a:cubicBezTo>
                  <a:pt x="501" y="361"/>
                  <a:pt x="530" y="466"/>
                  <a:pt x="540" y="577"/>
                </a:cubicBezTo>
                <a:cubicBezTo>
                  <a:pt x="541" y="590"/>
                  <a:pt x="541" y="602"/>
                  <a:pt x="538" y="615"/>
                </a:cubicBezTo>
                <a:cubicBezTo>
                  <a:pt x="530" y="642"/>
                  <a:pt x="511" y="657"/>
                  <a:pt x="482" y="658"/>
                </a:cubicBezTo>
                <a:cubicBezTo>
                  <a:pt x="444" y="658"/>
                  <a:pt x="406" y="658"/>
                  <a:pt x="368" y="658"/>
                </a:cubicBezTo>
                <a:cubicBezTo>
                  <a:pt x="303" y="659"/>
                  <a:pt x="238" y="653"/>
                  <a:pt x="173" y="654"/>
                </a:cubicBezTo>
                <a:cubicBezTo>
                  <a:pt x="160" y="655"/>
                  <a:pt x="154" y="651"/>
                  <a:pt x="155" y="638"/>
                </a:cubicBezTo>
                <a:cubicBezTo>
                  <a:pt x="155" y="624"/>
                  <a:pt x="153" y="610"/>
                  <a:pt x="151" y="596"/>
                </a:cubicBezTo>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41" name="Freeform 6">
            <a:extLst>
              <a:ext uri="{FF2B5EF4-FFF2-40B4-BE49-F238E27FC236}">
                <a16:creationId xmlns:a16="http://schemas.microsoft.com/office/drawing/2014/main" id="{0C27D2F2-B859-D02F-66A9-6CD69A1005EC}"/>
              </a:ext>
            </a:extLst>
          </p:cNvPr>
          <p:cNvSpPr>
            <a:spLocks/>
          </p:cNvSpPr>
          <p:nvPr/>
        </p:nvSpPr>
        <p:spPr bwMode="auto">
          <a:xfrm>
            <a:off x="7616826" y="5281975"/>
            <a:ext cx="735226" cy="771429"/>
          </a:xfrm>
          <a:custGeom>
            <a:avLst/>
            <a:gdLst>
              <a:gd name="T0" fmla="*/ 430 w 585"/>
              <a:gd name="T1" fmla="*/ 485 h 620"/>
              <a:gd name="T2" fmla="*/ 394 w 585"/>
              <a:gd name="T3" fmla="*/ 593 h 620"/>
              <a:gd name="T4" fmla="*/ 364 w 585"/>
              <a:gd name="T5" fmla="*/ 619 h 620"/>
              <a:gd name="T6" fmla="*/ 28 w 585"/>
              <a:gd name="T7" fmla="*/ 619 h 620"/>
              <a:gd name="T8" fmla="*/ 1 w 585"/>
              <a:gd name="T9" fmla="*/ 592 h 620"/>
              <a:gd name="T10" fmla="*/ 90 w 585"/>
              <a:gd name="T11" fmla="*/ 292 h 620"/>
              <a:gd name="T12" fmla="*/ 327 w 585"/>
              <a:gd name="T13" fmla="*/ 31 h 620"/>
              <a:gd name="T14" fmla="*/ 432 w 585"/>
              <a:gd name="T15" fmla="*/ 54 h 620"/>
              <a:gd name="T16" fmla="*/ 576 w 585"/>
              <a:gd name="T17" fmla="*/ 308 h 620"/>
              <a:gd name="T18" fmla="*/ 569 w 585"/>
              <a:gd name="T19" fmla="*/ 336 h 620"/>
              <a:gd name="T20" fmla="*/ 447 w 585"/>
              <a:gd name="T21" fmla="*/ 45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5" h="620">
                <a:moveTo>
                  <a:pt x="430" y="485"/>
                </a:moveTo>
                <a:cubicBezTo>
                  <a:pt x="413" y="521"/>
                  <a:pt x="399" y="555"/>
                  <a:pt x="394" y="593"/>
                </a:cubicBezTo>
                <a:cubicBezTo>
                  <a:pt x="392" y="612"/>
                  <a:pt x="385" y="620"/>
                  <a:pt x="364" y="619"/>
                </a:cubicBezTo>
                <a:cubicBezTo>
                  <a:pt x="252" y="618"/>
                  <a:pt x="140" y="619"/>
                  <a:pt x="28" y="619"/>
                </a:cubicBezTo>
                <a:cubicBezTo>
                  <a:pt x="2" y="619"/>
                  <a:pt x="0" y="618"/>
                  <a:pt x="1" y="592"/>
                </a:cubicBezTo>
                <a:cubicBezTo>
                  <a:pt x="8" y="485"/>
                  <a:pt x="39" y="385"/>
                  <a:pt x="90" y="292"/>
                </a:cubicBezTo>
                <a:cubicBezTo>
                  <a:pt x="148" y="185"/>
                  <a:pt x="228" y="100"/>
                  <a:pt x="327" y="31"/>
                </a:cubicBezTo>
                <a:cubicBezTo>
                  <a:pt x="371" y="0"/>
                  <a:pt x="406" y="8"/>
                  <a:pt x="432" y="54"/>
                </a:cubicBezTo>
                <a:cubicBezTo>
                  <a:pt x="480" y="139"/>
                  <a:pt x="528" y="224"/>
                  <a:pt x="576" y="308"/>
                </a:cubicBezTo>
                <a:cubicBezTo>
                  <a:pt x="585" y="322"/>
                  <a:pt x="582" y="328"/>
                  <a:pt x="569" y="336"/>
                </a:cubicBezTo>
                <a:cubicBezTo>
                  <a:pt x="518" y="365"/>
                  <a:pt x="479" y="406"/>
                  <a:pt x="447" y="455"/>
                </a:cubicBezTo>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42" name="Freeform 7">
            <a:extLst>
              <a:ext uri="{FF2B5EF4-FFF2-40B4-BE49-F238E27FC236}">
                <a16:creationId xmlns:a16="http://schemas.microsoft.com/office/drawing/2014/main" id="{57DDD06F-06B0-CC2A-DD95-83E7906CF088}"/>
              </a:ext>
            </a:extLst>
          </p:cNvPr>
          <p:cNvSpPr>
            <a:spLocks/>
          </p:cNvSpPr>
          <p:nvPr/>
        </p:nvSpPr>
        <p:spPr bwMode="auto">
          <a:xfrm>
            <a:off x="8150353" y="5131766"/>
            <a:ext cx="921744" cy="554699"/>
          </a:xfrm>
          <a:custGeom>
            <a:avLst/>
            <a:gdLst>
              <a:gd name="T0" fmla="*/ 339 w 733"/>
              <a:gd name="T1" fmla="*/ 0 h 446"/>
              <a:gd name="T2" fmla="*/ 677 w 733"/>
              <a:gd name="T3" fmla="*/ 78 h 446"/>
              <a:gd name="T4" fmla="*/ 707 w 733"/>
              <a:gd name="T5" fmla="*/ 177 h 446"/>
              <a:gd name="T6" fmla="*/ 557 w 733"/>
              <a:gd name="T7" fmla="*/ 430 h 446"/>
              <a:gd name="T8" fmla="*/ 527 w 733"/>
              <a:gd name="T9" fmla="*/ 438 h 446"/>
              <a:gd name="T10" fmla="*/ 211 w 733"/>
              <a:gd name="T11" fmla="*/ 418 h 446"/>
              <a:gd name="T12" fmla="*/ 184 w 733"/>
              <a:gd name="T13" fmla="*/ 409 h 446"/>
              <a:gd name="T14" fmla="*/ 7 w 733"/>
              <a:gd name="T15" fmla="*/ 103 h 446"/>
              <a:gd name="T16" fmla="*/ 14 w 733"/>
              <a:gd name="T17" fmla="*/ 78 h 446"/>
              <a:gd name="T18" fmla="*/ 252 w 733"/>
              <a:gd name="T19" fmla="*/ 6 h 446"/>
              <a:gd name="T20" fmla="*/ 339 w 733"/>
              <a:gd name="T21"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3" h="446">
                <a:moveTo>
                  <a:pt x="339" y="0"/>
                </a:moveTo>
                <a:cubicBezTo>
                  <a:pt x="462" y="1"/>
                  <a:pt x="572" y="27"/>
                  <a:pt x="677" y="78"/>
                </a:cubicBezTo>
                <a:cubicBezTo>
                  <a:pt x="714" y="96"/>
                  <a:pt x="733" y="134"/>
                  <a:pt x="707" y="177"/>
                </a:cubicBezTo>
                <a:cubicBezTo>
                  <a:pt x="655" y="260"/>
                  <a:pt x="606" y="345"/>
                  <a:pt x="557" y="430"/>
                </a:cubicBezTo>
                <a:cubicBezTo>
                  <a:pt x="549" y="444"/>
                  <a:pt x="542" y="446"/>
                  <a:pt x="527" y="438"/>
                </a:cubicBezTo>
                <a:cubicBezTo>
                  <a:pt x="425" y="383"/>
                  <a:pt x="320" y="378"/>
                  <a:pt x="211" y="418"/>
                </a:cubicBezTo>
                <a:cubicBezTo>
                  <a:pt x="199" y="423"/>
                  <a:pt x="191" y="422"/>
                  <a:pt x="184" y="409"/>
                </a:cubicBezTo>
                <a:cubicBezTo>
                  <a:pt x="125" y="307"/>
                  <a:pt x="66" y="205"/>
                  <a:pt x="7" y="103"/>
                </a:cubicBezTo>
                <a:cubicBezTo>
                  <a:pt x="0" y="91"/>
                  <a:pt x="1" y="85"/>
                  <a:pt x="14" y="78"/>
                </a:cubicBezTo>
                <a:cubicBezTo>
                  <a:pt x="89" y="40"/>
                  <a:pt x="169" y="18"/>
                  <a:pt x="252" y="6"/>
                </a:cubicBezTo>
                <a:cubicBezTo>
                  <a:pt x="283" y="2"/>
                  <a:pt x="314" y="4"/>
                  <a:pt x="339" y="0"/>
                </a:cubicBez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a typeface="ヒラギノ角ゴ Pro W3" panose="020B0300000000000000" pitchFamily="34" charset="-128"/>
              <a:cs typeface="Calibri" panose="020F0502020204030204" pitchFamily="34" charset="0"/>
            </a:endParaRPr>
          </a:p>
        </p:txBody>
      </p:sp>
      <p:cxnSp>
        <p:nvCxnSpPr>
          <p:cNvPr id="43" name="Straight Connector 42">
            <a:extLst>
              <a:ext uri="{FF2B5EF4-FFF2-40B4-BE49-F238E27FC236}">
                <a16:creationId xmlns:a16="http://schemas.microsoft.com/office/drawing/2014/main" id="{9D55D89C-CB5A-7150-99A8-52EFEAD3194F}"/>
              </a:ext>
            </a:extLst>
          </p:cNvPr>
          <p:cNvCxnSpPr>
            <a:cxnSpLocks/>
          </p:cNvCxnSpPr>
          <p:nvPr/>
        </p:nvCxnSpPr>
        <p:spPr>
          <a:xfrm>
            <a:off x="8630852" y="5622406"/>
            <a:ext cx="0" cy="915736"/>
          </a:xfrm>
          <a:prstGeom prst="line">
            <a:avLst/>
          </a:prstGeom>
          <a:noFill/>
          <a:ln w="6350" cap="flat" cmpd="sng" algn="ctr">
            <a:solidFill>
              <a:sysClr val="window" lastClr="FFFFFF">
                <a:lumMod val="50000"/>
              </a:sysClr>
            </a:solidFill>
            <a:prstDash val="solid"/>
            <a:headEnd type="none" w="med" len="med"/>
            <a:tailEnd type="none" w="med" len="med"/>
          </a:ln>
          <a:effectLst/>
        </p:spPr>
      </p:cxnSp>
      <p:sp>
        <p:nvSpPr>
          <p:cNvPr id="44" name="Rectangle 43">
            <a:extLst>
              <a:ext uri="{FF2B5EF4-FFF2-40B4-BE49-F238E27FC236}">
                <a16:creationId xmlns:a16="http://schemas.microsoft.com/office/drawing/2014/main" id="{A8594BC2-78B7-3FD1-D4F8-AFA1FB095188}"/>
              </a:ext>
            </a:extLst>
          </p:cNvPr>
          <p:cNvSpPr/>
          <p:nvPr/>
        </p:nvSpPr>
        <p:spPr bwMode="gray">
          <a:xfrm>
            <a:off x="371371" y="3086706"/>
            <a:ext cx="2101329" cy="1522981"/>
          </a:xfrm>
          <a:prstGeom prst="rect">
            <a:avLst/>
          </a:prstGeom>
          <a:noFill/>
          <a:ln w="28575" algn="ctr">
            <a:noFill/>
            <a:miter lim="800000"/>
            <a:headEnd/>
            <a:tailEnd/>
          </a:ln>
        </p:spPr>
        <p:txBody>
          <a:bodyPr wrap="square" lIns="91440" tIns="73152" rIns="88900" bIns="88900" numCol="1" rtlCol="0" anchor="t">
            <a:spAutoFit/>
          </a:bodyPr>
          <a:lstStyle/>
          <a:p>
            <a:pPr defTabSz="1219170">
              <a:spcBef>
                <a:spcPts val="200"/>
              </a:spcBef>
              <a:spcAft>
                <a:spcPts val="200"/>
              </a:spcAft>
              <a:defRPr/>
            </a:pPr>
            <a:r>
              <a:rPr lang="en-US" sz="1000" b="1" dirty="0">
                <a:solidFill>
                  <a:srgbClr val="000000"/>
                </a:solidFill>
                <a:ea typeface="ヒラギノ角ゴ Pro W3" panose="020B0300000000000000" pitchFamily="34" charset="-128"/>
                <a:cs typeface="Calibri" panose="020F0502020204030204" pitchFamily="34" charset="0"/>
              </a:rPr>
              <a:t>Ongoing maintenance, monitoring, and optimization for packaged and custom IT applications, and the Cloud infrastructure environment </a:t>
            </a:r>
            <a:endParaRPr lang="en-US" sz="1000" dirty="0">
              <a:solidFill>
                <a:srgbClr val="000000"/>
              </a:solidFill>
              <a:ea typeface="ヒラギノ角ゴ Pro W3" panose="020B0300000000000000" pitchFamily="34" charset="-128"/>
              <a:cs typeface="Calibri" panose="020F0502020204030204" pitchFamily="34" charset="0"/>
            </a:endParaRPr>
          </a:p>
          <a:p>
            <a:pPr marL="114300" indent="-114300" defTabSz="1219170">
              <a:spcBef>
                <a:spcPts val="200"/>
              </a:spcBef>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ERP Solutions</a:t>
            </a:r>
          </a:p>
          <a:p>
            <a:pPr marL="114300" indent="-114300" defTabSz="1219170">
              <a:spcBef>
                <a:spcPts val="200"/>
              </a:spcBef>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Digital Platforms</a:t>
            </a:r>
          </a:p>
          <a:p>
            <a:pPr marL="114300" indent="-114300" defTabSz="1219170">
              <a:spcBef>
                <a:spcPts val="200"/>
              </a:spcBef>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Data Operations</a:t>
            </a:r>
          </a:p>
          <a:p>
            <a:pPr marL="114300" indent="-114300" defTabSz="1219170">
              <a:spcBef>
                <a:spcPts val="200"/>
              </a:spcBef>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Cloud Services</a:t>
            </a:r>
            <a:r>
              <a:rPr lang="en-US" sz="1000">
                <a:solidFill>
                  <a:srgbClr val="000000"/>
                </a:solidFill>
                <a:ea typeface="ヒラギノ角ゴ Pro W3" panose="020B0300000000000000" pitchFamily="34" charset="-128"/>
                <a:cs typeface="Calibri" panose="020F0502020204030204" pitchFamily="34" charset="0"/>
              </a:rPr>
              <a:t> (IaaS, PaaS, SaaS</a:t>
            </a:r>
            <a:r>
              <a:rPr lang="en-US" sz="1000" dirty="0">
                <a:solidFill>
                  <a:srgbClr val="000000"/>
                </a:solidFill>
                <a:ea typeface="ヒラギノ角ゴ Pro W3" panose="020B0300000000000000" pitchFamily="34" charset="-128"/>
                <a:cs typeface="Calibri" panose="020F0502020204030204" pitchFamily="34" charset="0"/>
              </a:rPr>
              <a:t>)</a:t>
            </a:r>
          </a:p>
        </p:txBody>
      </p:sp>
      <p:sp>
        <p:nvSpPr>
          <p:cNvPr id="45" name="Rectangle 44">
            <a:extLst>
              <a:ext uri="{FF2B5EF4-FFF2-40B4-BE49-F238E27FC236}">
                <a16:creationId xmlns:a16="http://schemas.microsoft.com/office/drawing/2014/main" id="{B55C65CD-E0B3-7B6E-65AC-FDAA77018B8C}"/>
              </a:ext>
            </a:extLst>
          </p:cNvPr>
          <p:cNvSpPr/>
          <p:nvPr/>
        </p:nvSpPr>
        <p:spPr>
          <a:xfrm>
            <a:off x="897539" y="4808189"/>
            <a:ext cx="1449132"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b="1" dirty="0">
                <a:solidFill>
                  <a:prstClr val="white">
                    <a:lumMod val="50000"/>
                  </a:prstClr>
                </a:solidFill>
                <a:cs typeface="Calibri" panose="020F0502020204030204" pitchFamily="34" charset="0"/>
              </a:rPr>
              <a:t>30 </a:t>
            </a:r>
            <a:r>
              <a:rPr lang="en-US" sz="1000" dirty="0">
                <a:solidFill>
                  <a:prstClr val="white">
                    <a:lumMod val="50000"/>
                  </a:prstClr>
                </a:solidFill>
                <a:cs typeface="Calibri" panose="020F0502020204030204" pitchFamily="34" charset="0"/>
              </a:rPr>
              <a:t>Global </a:t>
            </a:r>
            <a:br>
              <a:rPr lang="en-US" sz="1000" dirty="0">
                <a:solidFill>
                  <a:prstClr val="white">
                    <a:lumMod val="50000"/>
                  </a:prstClr>
                </a:solidFill>
                <a:cs typeface="Calibri" panose="020F0502020204030204" pitchFamily="34" charset="0"/>
              </a:rPr>
            </a:br>
            <a:r>
              <a:rPr lang="en-US" sz="1000" dirty="0">
                <a:solidFill>
                  <a:prstClr val="white">
                    <a:lumMod val="50000"/>
                  </a:prstClr>
                </a:solidFill>
                <a:cs typeface="Calibri" panose="020F0502020204030204" pitchFamily="34" charset="0"/>
              </a:rPr>
              <a:t>Delivery Centers</a:t>
            </a:r>
          </a:p>
        </p:txBody>
      </p:sp>
      <p:grpSp>
        <p:nvGrpSpPr>
          <p:cNvPr id="46" name="Group 45">
            <a:extLst>
              <a:ext uri="{FF2B5EF4-FFF2-40B4-BE49-F238E27FC236}">
                <a16:creationId xmlns:a16="http://schemas.microsoft.com/office/drawing/2014/main" id="{E8200110-ED76-10E5-A7A8-5E03E8AEA2FF}"/>
              </a:ext>
            </a:extLst>
          </p:cNvPr>
          <p:cNvGrpSpPr/>
          <p:nvPr/>
        </p:nvGrpSpPr>
        <p:grpSpPr>
          <a:xfrm>
            <a:off x="451990" y="4798793"/>
            <a:ext cx="329438" cy="316192"/>
            <a:chOff x="1706234" y="8957871"/>
            <a:chExt cx="374636" cy="359574"/>
          </a:xfrm>
          <a:solidFill>
            <a:sysClr val="window" lastClr="FFFFFF">
              <a:lumMod val="50000"/>
            </a:sysClr>
          </a:solidFill>
        </p:grpSpPr>
        <p:sp>
          <p:nvSpPr>
            <p:cNvPr id="47" name="Freeform 36">
              <a:extLst>
                <a:ext uri="{FF2B5EF4-FFF2-40B4-BE49-F238E27FC236}">
                  <a16:creationId xmlns:a16="http://schemas.microsoft.com/office/drawing/2014/main" id="{C606CEFD-3D57-F340-8BA5-4E8C954C4EC6}"/>
                </a:ext>
              </a:extLst>
            </p:cNvPr>
            <p:cNvSpPr>
              <a:spLocks noEditPoints="1"/>
            </p:cNvSpPr>
            <p:nvPr/>
          </p:nvSpPr>
          <p:spPr bwMode="auto">
            <a:xfrm>
              <a:off x="1706234" y="8957871"/>
              <a:ext cx="133664" cy="173198"/>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C5C5C"/>
                </a:solidFill>
                <a:effectLst/>
                <a:uLnTx/>
                <a:uFillTx/>
                <a:latin typeface="Calibri" panose="020F0502020204030204"/>
                <a:ea typeface="+mn-ea"/>
                <a:cs typeface="Calibri" panose="020F0502020204030204" pitchFamily="34" charset="0"/>
              </a:endParaRPr>
            </a:p>
          </p:txBody>
        </p:sp>
        <p:sp>
          <p:nvSpPr>
            <p:cNvPr id="48" name="Oval 47">
              <a:extLst>
                <a:ext uri="{FF2B5EF4-FFF2-40B4-BE49-F238E27FC236}">
                  <a16:creationId xmlns:a16="http://schemas.microsoft.com/office/drawing/2014/main" id="{2AEC05ED-EA8B-C9E3-5BE5-2C39697448F8}"/>
                </a:ext>
              </a:extLst>
            </p:cNvPr>
            <p:cNvSpPr>
              <a:spLocks noChangeArrowheads="1"/>
            </p:cNvSpPr>
            <p:nvPr/>
          </p:nvSpPr>
          <p:spPr bwMode="auto">
            <a:xfrm>
              <a:off x="1760829" y="9010583"/>
              <a:ext cx="26356" cy="26356"/>
            </a:xfrm>
            <a:prstGeom prst="ellipse">
              <a:avLst/>
            </a:pr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C5C5C"/>
                </a:solidFill>
                <a:effectLst/>
                <a:uLnTx/>
                <a:uFillTx/>
                <a:latin typeface="Calibri" panose="020F0502020204030204"/>
                <a:ea typeface="+mn-ea"/>
                <a:cs typeface="Calibri" panose="020F0502020204030204" pitchFamily="34" charset="0"/>
              </a:endParaRPr>
            </a:p>
          </p:txBody>
        </p:sp>
        <p:sp>
          <p:nvSpPr>
            <p:cNvPr id="49" name="Freeform 38">
              <a:extLst>
                <a:ext uri="{FF2B5EF4-FFF2-40B4-BE49-F238E27FC236}">
                  <a16:creationId xmlns:a16="http://schemas.microsoft.com/office/drawing/2014/main" id="{F5FD1E66-BCBC-5773-3673-86DC343BBB1D}"/>
                </a:ext>
              </a:extLst>
            </p:cNvPr>
            <p:cNvSpPr>
              <a:spLocks noEditPoints="1"/>
            </p:cNvSpPr>
            <p:nvPr/>
          </p:nvSpPr>
          <p:spPr bwMode="auto">
            <a:xfrm>
              <a:off x="1760829" y="8997405"/>
              <a:ext cx="320041" cy="32004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C5C5C"/>
                </a:solidFill>
                <a:effectLst/>
                <a:uLnTx/>
                <a:uFillTx/>
                <a:latin typeface="Calibri" panose="020F0502020204030204"/>
                <a:ea typeface="+mn-ea"/>
                <a:cs typeface="Calibri" panose="020F0502020204030204" pitchFamily="34" charset="0"/>
              </a:endParaRPr>
            </a:p>
          </p:txBody>
        </p:sp>
      </p:grpSp>
      <p:sp>
        <p:nvSpPr>
          <p:cNvPr id="50" name="Rectangle 49">
            <a:extLst>
              <a:ext uri="{FF2B5EF4-FFF2-40B4-BE49-F238E27FC236}">
                <a16:creationId xmlns:a16="http://schemas.microsoft.com/office/drawing/2014/main" id="{5B51FC63-DBF1-BA98-0341-CE7B06055CF5}"/>
              </a:ext>
            </a:extLst>
          </p:cNvPr>
          <p:cNvSpPr/>
          <p:nvPr/>
        </p:nvSpPr>
        <p:spPr>
          <a:xfrm>
            <a:off x="897539" y="5262310"/>
            <a:ext cx="1298050"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b="1" dirty="0">
                <a:solidFill>
                  <a:prstClr val="white">
                    <a:lumMod val="50000"/>
                  </a:prstClr>
                </a:solidFill>
                <a:cs typeface="Calibri" panose="020F0502020204030204" pitchFamily="34" charset="0"/>
              </a:rPr>
              <a:t>60,000</a:t>
            </a:r>
            <a:r>
              <a:rPr lang="en-US" sz="1000" dirty="0">
                <a:solidFill>
                  <a:prstClr val="white">
                    <a:lumMod val="50000"/>
                  </a:prstClr>
                </a:solidFill>
                <a:cs typeface="Calibri" panose="020F0502020204030204" pitchFamily="34" charset="0"/>
              </a:rPr>
              <a:t> </a:t>
            </a:r>
            <a:br>
              <a:rPr lang="en-US" sz="1000" dirty="0">
                <a:solidFill>
                  <a:prstClr val="white">
                    <a:lumMod val="50000"/>
                  </a:prstClr>
                </a:solidFill>
                <a:cs typeface="Calibri" panose="020F0502020204030204" pitchFamily="34" charset="0"/>
              </a:rPr>
            </a:br>
            <a:r>
              <a:rPr lang="en-US" sz="1000" dirty="0">
                <a:solidFill>
                  <a:prstClr val="white">
                    <a:lumMod val="50000"/>
                  </a:prstClr>
                </a:solidFill>
                <a:cs typeface="Calibri" panose="020F0502020204030204" pitchFamily="34" charset="0"/>
              </a:rPr>
              <a:t>Operate practitioners</a:t>
            </a:r>
          </a:p>
        </p:txBody>
      </p:sp>
      <p:grpSp>
        <p:nvGrpSpPr>
          <p:cNvPr id="51" name="Group 50">
            <a:extLst>
              <a:ext uri="{FF2B5EF4-FFF2-40B4-BE49-F238E27FC236}">
                <a16:creationId xmlns:a16="http://schemas.microsoft.com/office/drawing/2014/main" id="{24EB7A38-516F-2F41-3DC6-46959933F7D7}"/>
              </a:ext>
            </a:extLst>
          </p:cNvPr>
          <p:cNvGrpSpPr/>
          <p:nvPr/>
        </p:nvGrpSpPr>
        <p:grpSpPr>
          <a:xfrm>
            <a:off x="471550" y="5298430"/>
            <a:ext cx="303475" cy="302132"/>
            <a:chOff x="5088816" y="1770942"/>
            <a:chExt cx="217422" cy="216460"/>
          </a:xfrm>
          <a:solidFill>
            <a:sysClr val="window" lastClr="FFFFFF">
              <a:lumMod val="50000"/>
            </a:sysClr>
          </a:solidFill>
        </p:grpSpPr>
        <p:sp>
          <p:nvSpPr>
            <p:cNvPr id="52" name="Freeform 15">
              <a:extLst>
                <a:ext uri="{FF2B5EF4-FFF2-40B4-BE49-F238E27FC236}">
                  <a16:creationId xmlns:a16="http://schemas.microsoft.com/office/drawing/2014/main" id="{3F2983AD-C156-8BDC-86EB-CCC1F5358018}"/>
                </a:ext>
              </a:extLst>
            </p:cNvPr>
            <p:cNvSpPr>
              <a:spLocks noEditPoints="1"/>
            </p:cNvSpPr>
            <p:nvPr/>
          </p:nvSpPr>
          <p:spPr bwMode="auto">
            <a:xfrm>
              <a:off x="5243157" y="1832742"/>
              <a:ext cx="63081" cy="154660"/>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53" name="Freeform 16">
              <a:extLst>
                <a:ext uri="{FF2B5EF4-FFF2-40B4-BE49-F238E27FC236}">
                  <a16:creationId xmlns:a16="http://schemas.microsoft.com/office/drawing/2014/main" id="{84D8BE31-A5E9-22F1-1F46-DFF648A7902C}"/>
                </a:ext>
              </a:extLst>
            </p:cNvPr>
            <p:cNvSpPr>
              <a:spLocks noEditPoints="1"/>
            </p:cNvSpPr>
            <p:nvPr/>
          </p:nvSpPr>
          <p:spPr bwMode="auto">
            <a:xfrm>
              <a:off x="5251802" y="1770942"/>
              <a:ext cx="46750" cy="46430"/>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54" name="Freeform 17">
              <a:extLst>
                <a:ext uri="{FF2B5EF4-FFF2-40B4-BE49-F238E27FC236}">
                  <a16:creationId xmlns:a16="http://schemas.microsoft.com/office/drawing/2014/main" id="{1C8A36DC-BEEC-4E8C-5FC4-449113004561}"/>
                </a:ext>
              </a:extLst>
            </p:cNvPr>
            <p:cNvSpPr>
              <a:spLocks noEditPoints="1"/>
            </p:cNvSpPr>
            <p:nvPr/>
          </p:nvSpPr>
          <p:spPr bwMode="auto">
            <a:xfrm>
              <a:off x="5088816" y="1832742"/>
              <a:ext cx="62120" cy="154660"/>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55" name="Freeform 18">
              <a:extLst>
                <a:ext uri="{FF2B5EF4-FFF2-40B4-BE49-F238E27FC236}">
                  <a16:creationId xmlns:a16="http://schemas.microsoft.com/office/drawing/2014/main" id="{C6AFA1FF-4893-3181-9C0A-B53DAF9F497F}"/>
                </a:ext>
              </a:extLst>
            </p:cNvPr>
            <p:cNvSpPr>
              <a:spLocks noEditPoints="1"/>
            </p:cNvSpPr>
            <p:nvPr/>
          </p:nvSpPr>
          <p:spPr bwMode="auto">
            <a:xfrm>
              <a:off x="5096501" y="1770942"/>
              <a:ext cx="46750" cy="46430"/>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56" name="Freeform 19">
              <a:extLst>
                <a:ext uri="{FF2B5EF4-FFF2-40B4-BE49-F238E27FC236}">
                  <a16:creationId xmlns:a16="http://schemas.microsoft.com/office/drawing/2014/main" id="{C85AA840-BCC5-F286-01F5-4CF6779C5FDA}"/>
                </a:ext>
              </a:extLst>
            </p:cNvPr>
            <p:cNvSpPr>
              <a:spLocks noEditPoints="1"/>
            </p:cNvSpPr>
            <p:nvPr/>
          </p:nvSpPr>
          <p:spPr bwMode="auto">
            <a:xfrm>
              <a:off x="5166307" y="1832742"/>
              <a:ext cx="62440" cy="154660"/>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57" name="Freeform 20">
              <a:extLst>
                <a:ext uri="{FF2B5EF4-FFF2-40B4-BE49-F238E27FC236}">
                  <a16:creationId xmlns:a16="http://schemas.microsoft.com/office/drawing/2014/main" id="{35EC9A69-35F0-0403-80DD-D70CB585E67B}"/>
                </a:ext>
              </a:extLst>
            </p:cNvPr>
            <p:cNvSpPr>
              <a:spLocks noEditPoints="1"/>
            </p:cNvSpPr>
            <p:nvPr/>
          </p:nvSpPr>
          <p:spPr bwMode="auto">
            <a:xfrm>
              <a:off x="5174312" y="1770942"/>
              <a:ext cx="46430" cy="46430"/>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grpSp>
      <p:sp>
        <p:nvSpPr>
          <p:cNvPr id="58" name="Rectangle 57">
            <a:extLst>
              <a:ext uri="{FF2B5EF4-FFF2-40B4-BE49-F238E27FC236}">
                <a16:creationId xmlns:a16="http://schemas.microsoft.com/office/drawing/2014/main" id="{038E4852-BF7A-1C11-5C05-3BCAC9975140}"/>
              </a:ext>
            </a:extLst>
          </p:cNvPr>
          <p:cNvSpPr/>
          <p:nvPr/>
        </p:nvSpPr>
        <p:spPr bwMode="gray">
          <a:xfrm>
            <a:off x="2643966" y="5330833"/>
            <a:ext cx="2088761" cy="1548629"/>
          </a:xfrm>
          <a:prstGeom prst="rect">
            <a:avLst/>
          </a:prstGeom>
          <a:noFill/>
          <a:ln w="28575" algn="ctr">
            <a:noFill/>
            <a:miter lim="800000"/>
            <a:headEnd/>
            <a:tailEnd/>
          </a:ln>
        </p:spPr>
        <p:txBody>
          <a:bodyPr wrap="square" lIns="91440" tIns="73152" rIns="88900" bIns="88900" numCol="1" rtlCol="0" anchor="t">
            <a:spAutoFit/>
          </a:bodyPr>
          <a:lstStyle/>
          <a:p>
            <a:pPr defTabSz="1219170">
              <a:spcBef>
                <a:spcPts val="200"/>
              </a:spcBef>
              <a:spcAft>
                <a:spcPts val="200"/>
              </a:spcAft>
              <a:defRPr/>
            </a:pPr>
            <a:r>
              <a:rPr lang="en-US" sz="1000" b="1" dirty="0">
                <a:solidFill>
                  <a:srgbClr val="000000"/>
                </a:solidFill>
                <a:ea typeface="ヒラギノ角ゴ Pro W3" panose="020B0300000000000000" pitchFamily="34" charset="-128"/>
                <a:cs typeface="Calibri" panose="020F0502020204030204" pitchFamily="34" charset="0"/>
              </a:rPr>
              <a:t>Why Foundry services?</a:t>
            </a:r>
            <a:endParaRPr lang="en-US" sz="1000" dirty="0">
              <a:solidFill>
                <a:srgbClr val="000000"/>
              </a:solidFill>
              <a:ea typeface="ヒラギノ角ゴ Pro W3" panose="020B0300000000000000" pitchFamily="34" charset="-128"/>
              <a:cs typeface="Calibri" panose="020F0502020204030204" pitchFamily="34" charset="0"/>
            </a:endParaRP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Reduced time to market</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Aligns demand to supply</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Innovation and automation</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Outcomes focused</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Accountability and stability</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Visibility and predictability</a:t>
            </a:r>
          </a:p>
        </p:txBody>
      </p:sp>
      <p:sp>
        <p:nvSpPr>
          <p:cNvPr id="59" name="Rectangle 58">
            <a:extLst>
              <a:ext uri="{FF2B5EF4-FFF2-40B4-BE49-F238E27FC236}">
                <a16:creationId xmlns:a16="http://schemas.microsoft.com/office/drawing/2014/main" id="{DE0F4C97-A82F-A429-EC4E-04D0059EE194}"/>
              </a:ext>
            </a:extLst>
          </p:cNvPr>
          <p:cNvSpPr/>
          <p:nvPr/>
        </p:nvSpPr>
        <p:spPr>
          <a:xfrm>
            <a:off x="897539" y="5746566"/>
            <a:ext cx="1621411"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b="1" dirty="0">
                <a:solidFill>
                  <a:prstClr val="white">
                    <a:lumMod val="50000"/>
                  </a:prstClr>
                </a:solidFill>
                <a:cs typeface="Calibri" panose="020F0502020204030204" pitchFamily="34" charset="0"/>
              </a:rPr>
              <a:t>28</a:t>
            </a:r>
            <a:r>
              <a:rPr lang="en-US" sz="1000" dirty="0">
                <a:solidFill>
                  <a:prstClr val="white">
                    <a:lumMod val="50000"/>
                  </a:prstClr>
                </a:solidFill>
                <a:cs typeface="Calibri" panose="020F0502020204030204" pitchFamily="34" charset="0"/>
              </a:rPr>
              <a:t> Greenhouses </a:t>
            </a:r>
            <a:br>
              <a:rPr lang="en-US" sz="1000" dirty="0">
                <a:solidFill>
                  <a:prstClr val="white">
                    <a:lumMod val="50000"/>
                  </a:prstClr>
                </a:solidFill>
                <a:cs typeface="Calibri" panose="020F0502020204030204" pitchFamily="34" charset="0"/>
              </a:rPr>
            </a:br>
            <a:r>
              <a:rPr lang="en-US" sz="1000" dirty="0">
                <a:solidFill>
                  <a:prstClr val="white">
                    <a:lumMod val="50000"/>
                  </a:prstClr>
                </a:solidFill>
                <a:cs typeface="Calibri" panose="020F0502020204030204" pitchFamily="34" charset="0"/>
              </a:rPr>
              <a:t>and Innovation Labs</a:t>
            </a:r>
          </a:p>
        </p:txBody>
      </p:sp>
      <p:sp>
        <p:nvSpPr>
          <p:cNvPr id="60" name="Freeform 875">
            <a:extLst>
              <a:ext uri="{FF2B5EF4-FFF2-40B4-BE49-F238E27FC236}">
                <a16:creationId xmlns:a16="http://schemas.microsoft.com/office/drawing/2014/main" id="{1BAB7D17-8915-1B14-094C-E0730B009A56}"/>
              </a:ext>
            </a:extLst>
          </p:cNvPr>
          <p:cNvSpPr>
            <a:spLocks noEditPoints="1"/>
          </p:cNvSpPr>
          <p:nvPr/>
        </p:nvSpPr>
        <p:spPr bwMode="auto">
          <a:xfrm>
            <a:off x="463295" y="5724431"/>
            <a:ext cx="256449" cy="364156"/>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solidFill>
            <a:sysClr val="window" lastClr="FFFFFF">
              <a:lumMod val="50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sp>
        <p:nvSpPr>
          <p:cNvPr id="61" name="Rectangle 60">
            <a:extLst>
              <a:ext uri="{FF2B5EF4-FFF2-40B4-BE49-F238E27FC236}">
                <a16:creationId xmlns:a16="http://schemas.microsoft.com/office/drawing/2014/main" id="{49A8816E-E0DB-EED2-C03E-5E3268C6A860}"/>
              </a:ext>
            </a:extLst>
          </p:cNvPr>
          <p:cNvSpPr/>
          <p:nvPr/>
        </p:nvSpPr>
        <p:spPr>
          <a:xfrm>
            <a:off x="897539" y="6271694"/>
            <a:ext cx="1491807"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dirty="0">
                <a:solidFill>
                  <a:prstClr val="white">
                    <a:lumMod val="50000"/>
                  </a:prstClr>
                </a:solidFill>
                <a:cs typeface="Calibri" panose="020F0502020204030204" pitchFamily="34" charset="0"/>
              </a:rPr>
              <a:t>Serving over </a:t>
            </a:r>
            <a:br>
              <a:rPr lang="en-US" sz="1000" dirty="0">
                <a:solidFill>
                  <a:prstClr val="white">
                    <a:lumMod val="50000"/>
                  </a:prstClr>
                </a:solidFill>
                <a:cs typeface="Calibri" panose="020F0502020204030204" pitchFamily="34" charset="0"/>
              </a:rPr>
            </a:br>
            <a:r>
              <a:rPr lang="en-US" sz="1000" b="1" dirty="0">
                <a:solidFill>
                  <a:prstClr val="white">
                    <a:lumMod val="50000"/>
                  </a:prstClr>
                </a:solidFill>
                <a:cs typeface="Calibri" panose="020F0502020204030204" pitchFamily="34" charset="0"/>
              </a:rPr>
              <a:t>430 </a:t>
            </a:r>
            <a:r>
              <a:rPr lang="en-US" sz="1000" dirty="0">
                <a:solidFill>
                  <a:prstClr val="white">
                    <a:lumMod val="50000"/>
                  </a:prstClr>
                </a:solidFill>
                <a:cs typeface="Calibri" panose="020F0502020204030204" pitchFamily="34" charset="0"/>
              </a:rPr>
              <a:t> </a:t>
            </a:r>
            <a:r>
              <a:rPr lang="en-US" sz="1000" b="1" dirty="0">
                <a:solidFill>
                  <a:prstClr val="white">
                    <a:lumMod val="50000"/>
                  </a:prstClr>
                </a:solidFill>
                <a:cs typeface="Calibri" panose="020F0502020204030204" pitchFamily="34" charset="0"/>
              </a:rPr>
              <a:t>clients</a:t>
            </a:r>
          </a:p>
        </p:txBody>
      </p:sp>
      <p:sp>
        <p:nvSpPr>
          <p:cNvPr id="62" name="Freeform 194">
            <a:extLst>
              <a:ext uri="{FF2B5EF4-FFF2-40B4-BE49-F238E27FC236}">
                <a16:creationId xmlns:a16="http://schemas.microsoft.com/office/drawing/2014/main" id="{E3EAEBB4-A912-B440-AB59-BB493A2B0D5D}"/>
              </a:ext>
            </a:extLst>
          </p:cNvPr>
          <p:cNvSpPr>
            <a:spLocks noEditPoints="1"/>
          </p:cNvSpPr>
          <p:nvPr/>
        </p:nvSpPr>
        <p:spPr bwMode="auto">
          <a:xfrm>
            <a:off x="428428" y="6340365"/>
            <a:ext cx="364185" cy="269703"/>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ysClr val="window" lastClr="FFFFFF">
              <a:lumMod val="50000"/>
            </a:sysClr>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endParaRPr>
          </a:p>
        </p:txBody>
      </p:sp>
      <p:sp>
        <p:nvSpPr>
          <p:cNvPr id="63" name="TextBox 62">
            <a:extLst>
              <a:ext uri="{FF2B5EF4-FFF2-40B4-BE49-F238E27FC236}">
                <a16:creationId xmlns:a16="http://schemas.microsoft.com/office/drawing/2014/main" id="{727769CB-0E41-E446-CC11-4F6C3E92910D}"/>
              </a:ext>
            </a:extLst>
          </p:cNvPr>
          <p:cNvSpPr txBox="1"/>
          <p:nvPr/>
        </p:nvSpPr>
        <p:spPr>
          <a:xfrm>
            <a:off x="371371" y="2377343"/>
            <a:ext cx="2027385" cy="738664"/>
          </a:xfrm>
          <a:prstGeom prst="rect">
            <a:avLst/>
          </a:prstGeom>
          <a:noFill/>
        </p:spPr>
        <p:txBody>
          <a:bodyPr wrap="square">
            <a:spAutoFit/>
          </a:bodyPr>
          <a:lstStyle/>
          <a:p>
            <a:pPr defTabSz="1341150">
              <a:defRPr/>
            </a:pPr>
            <a:r>
              <a:rPr lang="en-US" sz="1400" b="1" dirty="0">
                <a:solidFill>
                  <a:srgbClr val="92D050"/>
                </a:solidFill>
                <a:ea typeface="ヒラギノ角ゴ Pro W3" panose="020B0300000000000000" pitchFamily="34" charset="-128"/>
                <a:cs typeface="Calibri" panose="020F0502020204030204" pitchFamily="34" charset="0"/>
              </a:rPr>
              <a:t>APPLICATION AND CLOUD MANAGEMENT SERVICES</a:t>
            </a:r>
          </a:p>
        </p:txBody>
      </p:sp>
      <p:sp>
        <p:nvSpPr>
          <p:cNvPr id="64" name="TextBox 63">
            <a:extLst>
              <a:ext uri="{FF2B5EF4-FFF2-40B4-BE49-F238E27FC236}">
                <a16:creationId xmlns:a16="http://schemas.microsoft.com/office/drawing/2014/main" id="{9F0B97CE-29F8-D1CB-4C6D-0B617B835F14}"/>
              </a:ext>
            </a:extLst>
          </p:cNvPr>
          <p:cNvSpPr txBox="1"/>
          <p:nvPr/>
        </p:nvSpPr>
        <p:spPr>
          <a:xfrm>
            <a:off x="2643966" y="2333304"/>
            <a:ext cx="1894606" cy="523220"/>
          </a:xfrm>
          <a:prstGeom prst="rect">
            <a:avLst/>
          </a:prstGeom>
          <a:noFill/>
        </p:spPr>
        <p:txBody>
          <a:bodyPr wrap="square">
            <a:spAutoFit/>
          </a:bodyPr>
          <a:lstStyle/>
          <a:p>
            <a:pPr defTabSz="1341150">
              <a:defRPr/>
            </a:pPr>
            <a:r>
              <a:rPr lang="en-US" sz="1400" b="1" dirty="0">
                <a:solidFill>
                  <a:srgbClr val="47ABE2"/>
                </a:solidFill>
                <a:ea typeface="ヒラギノ角ゴ Pro W3" panose="020B0300000000000000" pitchFamily="34" charset="-128"/>
                <a:cs typeface="Calibri" panose="020F0502020204030204" pitchFamily="34" charset="0"/>
              </a:rPr>
              <a:t>FOUNDRY SERVICES</a:t>
            </a:r>
          </a:p>
          <a:p>
            <a:pPr defTabSz="1341150">
              <a:defRPr/>
            </a:pPr>
            <a:endParaRPr lang="en-US" sz="1400" b="1" dirty="0">
              <a:solidFill>
                <a:srgbClr val="47ABE2"/>
              </a:solidFill>
              <a:ea typeface="ヒラギノ角ゴ Pro W3" panose="020B0300000000000000" pitchFamily="34" charset="-128"/>
              <a:cs typeface="Calibri" panose="020F0502020204030204" pitchFamily="34" charset="0"/>
            </a:endParaRPr>
          </a:p>
        </p:txBody>
      </p:sp>
      <p:sp>
        <p:nvSpPr>
          <p:cNvPr id="65" name="Rectangle 64">
            <a:extLst>
              <a:ext uri="{FF2B5EF4-FFF2-40B4-BE49-F238E27FC236}">
                <a16:creationId xmlns:a16="http://schemas.microsoft.com/office/drawing/2014/main" id="{59CE6FEC-FB01-B497-7330-CCF0D7D71269}"/>
              </a:ext>
            </a:extLst>
          </p:cNvPr>
          <p:cNvSpPr/>
          <p:nvPr/>
        </p:nvSpPr>
        <p:spPr bwMode="gray">
          <a:xfrm>
            <a:off x="2643966" y="2620313"/>
            <a:ext cx="2101329" cy="779188"/>
          </a:xfrm>
          <a:prstGeom prst="rect">
            <a:avLst/>
          </a:prstGeom>
          <a:noFill/>
          <a:ln w="28575" algn="ctr">
            <a:noFill/>
            <a:miter lim="800000"/>
            <a:headEnd/>
            <a:tailEnd/>
          </a:ln>
        </p:spPr>
        <p:txBody>
          <a:bodyPr wrap="square" lIns="91440" tIns="73152" rIns="88900" bIns="88900" numCol="1" rtlCol="0" anchor="t">
            <a:spAutoFit/>
          </a:bodyPr>
          <a:lstStyle/>
          <a:p>
            <a:pPr defTabSz="1341150">
              <a:defRPr/>
            </a:pPr>
            <a:r>
              <a:rPr lang="en-US" sz="1000" b="1" dirty="0">
                <a:solidFill>
                  <a:srgbClr val="000000"/>
                </a:solidFill>
                <a:ea typeface="ヒラギノ角ゴ Pro W3" panose="020B0300000000000000" pitchFamily="34" charset="-128"/>
                <a:cs typeface="Calibri" panose="020F0502020204030204" pitchFamily="34" charset="0"/>
              </a:rPr>
              <a:t>Flexible capacity model for small projects and enhancements where client buys resources / hours on a recurring basis</a:t>
            </a:r>
          </a:p>
        </p:txBody>
      </p:sp>
      <p:sp>
        <p:nvSpPr>
          <p:cNvPr id="66" name="Rectangle 65">
            <a:extLst>
              <a:ext uri="{FF2B5EF4-FFF2-40B4-BE49-F238E27FC236}">
                <a16:creationId xmlns:a16="http://schemas.microsoft.com/office/drawing/2014/main" id="{402898A8-52C6-F41F-C328-AC2A810F298A}"/>
              </a:ext>
            </a:extLst>
          </p:cNvPr>
          <p:cNvSpPr/>
          <p:nvPr/>
        </p:nvSpPr>
        <p:spPr bwMode="gray">
          <a:xfrm>
            <a:off x="5068154" y="2626956"/>
            <a:ext cx="2101329" cy="1574277"/>
          </a:xfrm>
          <a:prstGeom prst="rect">
            <a:avLst/>
          </a:prstGeom>
          <a:noFill/>
          <a:ln w="28575" algn="ctr">
            <a:noFill/>
            <a:miter lim="800000"/>
            <a:headEnd/>
            <a:tailEnd/>
          </a:ln>
        </p:spPr>
        <p:txBody>
          <a:bodyPr wrap="square" lIns="91440" tIns="73152" rIns="88900" bIns="88900" numCol="1" rtlCol="0" anchor="t">
            <a:spAutoFit/>
          </a:bodyPr>
          <a:lstStyle/>
          <a:p>
            <a:pPr defTabSz="1341150">
              <a:defRPr/>
            </a:pPr>
            <a:r>
              <a:rPr lang="en-US" sz="1000" b="1" dirty="0">
                <a:solidFill>
                  <a:srgbClr val="000000"/>
                </a:solidFill>
                <a:ea typeface="ヒラギノ角ゴ Pro W3" panose="020B0300000000000000" pitchFamily="34" charset="-128"/>
                <a:cs typeface="Calibri" panose="020F0502020204030204" pitchFamily="34" charset="0"/>
              </a:rPr>
              <a:t>Retainer like models for advise work, leveraging subject matter experts; client may buy outputs or outcomes</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Actuarial aaS</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Project Management aaS</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Strategic Communications</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Strategy on Retainer</a:t>
            </a:r>
          </a:p>
        </p:txBody>
      </p:sp>
      <p:sp>
        <p:nvSpPr>
          <p:cNvPr id="69" name="Rectangle 68">
            <a:extLst>
              <a:ext uri="{FF2B5EF4-FFF2-40B4-BE49-F238E27FC236}">
                <a16:creationId xmlns:a16="http://schemas.microsoft.com/office/drawing/2014/main" id="{1D1AB98C-5522-CC03-5B2A-C255CACAF77F}"/>
              </a:ext>
            </a:extLst>
          </p:cNvPr>
          <p:cNvSpPr/>
          <p:nvPr/>
        </p:nvSpPr>
        <p:spPr bwMode="gray">
          <a:xfrm>
            <a:off x="7454610" y="2644061"/>
            <a:ext cx="2101329" cy="1625573"/>
          </a:xfrm>
          <a:prstGeom prst="rect">
            <a:avLst/>
          </a:prstGeom>
          <a:noFill/>
          <a:ln w="28575" algn="ctr">
            <a:noFill/>
            <a:miter lim="800000"/>
            <a:headEnd/>
            <a:tailEnd/>
          </a:ln>
        </p:spPr>
        <p:txBody>
          <a:bodyPr wrap="square" lIns="91440" tIns="73152" rIns="88900" bIns="88900" numCol="1" rtlCol="0" anchor="t">
            <a:spAutoFit/>
          </a:bodyPr>
          <a:lstStyle/>
          <a:p>
            <a:pPr defTabSz="1341150">
              <a:defRPr/>
            </a:pPr>
            <a:r>
              <a:rPr lang="en-US" sz="1000" b="1" dirty="0">
                <a:solidFill>
                  <a:srgbClr val="000000"/>
                </a:solidFill>
                <a:ea typeface="ヒラギノ角ゴ Pro W3" panose="020B0300000000000000" pitchFamily="34" charset="-128"/>
                <a:cs typeface="Calibri" panose="020F0502020204030204" pitchFamily="34" charset="0"/>
              </a:rPr>
              <a:t>Ongoing analysis and insights, leveraging assets; client buys outputs or outcomes</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Safety aaS</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People Analytics Suite</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Pricing </a:t>
            </a:r>
            <a:r>
              <a:rPr lang="en-US" sz="1000" dirty="0" err="1">
                <a:solidFill>
                  <a:srgbClr val="000000"/>
                </a:solidFill>
                <a:ea typeface="ヒラギノ角ゴ Pro W3" panose="020B0300000000000000" pitchFamily="34" charset="-128"/>
                <a:cs typeface="Calibri" panose="020F0502020204030204" pitchFamily="34" charset="0"/>
              </a:rPr>
              <a:t>aaS</a:t>
            </a:r>
            <a:endParaRPr lang="en-US" sz="1000" dirty="0">
              <a:solidFill>
                <a:srgbClr val="000000"/>
              </a:solidFill>
              <a:ea typeface="ヒラギノ角ゴ Pro W3" panose="020B0300000000000000" pitchFamily="34" charset="-128"/>
              <a:cs typeface="Calibri" panose="020F0502020204030204" pitchFamily="34" charset="0"/>
            </a:endParaRPr>
          </a:p>
          <a:p>
            <a:pPr marL="114300" indent="-114300" defTabSz="1219170">
              <a:spcBef>
                <a:spcPts val="200"/>
              </a:spcBef>
              <a:spcAft>
                <a:spcPts val="200"/>
              </a:spcAft>
              <a:buFont typeface="Arial" panose="020B0604020202020204" pitchFamily="34" charset="0"/>
              <a:buChar char="•"/>
              <a:defRPr/>
            </a:pPr>
            <a:r>
              <a:rPr lang="en-US" sz="1000">
                <a:solidFill>
                  <a:srgbClr val="000000"/>
                </a:solidFill>
                <a:ea typeface="ヒラギノ角ゴ Pro W3" panose="020B0300000000000000" pitchFamily="34" charset="-128"/>
                <a:cs typeface="Calibri" panose="020F0502020204030204" pitchFamily="34" charset="0"/>
              </a:rPr>
              <a:t>Insights </a:t>
            </a:r>
            <a:r>
              <a:rPr lang="en-US" sz="1000" dirty="0" err="1">
                <a:solidFill>
                  <a:srgbClr val="000000"/>
                </a:solidFill>
                <a:ea typeface="ヒラギノ角ゴ Pro W3" panose="020B0300000000000000" pitchFamily="34" charset="-128"/>
                <a:cs typeface="Calibri" panose="020F0502020204030204" pitchFamily="34" charset="0"/>
              </a:rPr>
              <a:t>aaS</a:t>
            </a:r>
            <a:endParaRPr lang="en-US" sz="1000" dirty="0">
              <a:solidFill>
                <a:srgbClr val="000000"/>
              </a:solidFill>
              <a:ea typeface="ヒラギノ角ゴ Pro W3" panose="020B0300000000000000" pitchFamily="34" charset="-128"/>
              <a:cs typeface="Calibri" panose="020F0502020204030204" pitchFamily="34" charset="0"/>
            </a:endParaRP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Research and Sensing aaS</a:t>
            </a:r>
          </a:p>
        </p:txBody>
      </p:sp>
      <p:sp>
        <p:nvSpPr>
          <p:cNvPr id="70" name="Rectangle 69">
            <a:extLst>
              <a:ext uri="{FF2B5EF4-FFF2-40B4-BE49-F238E27FC236}">
                <a16:creationId xmlns:a16="http://schemas.microsoft.com/office/drawing/2014/main" id="{CFA720C5-18AD-5A78-E995-6025A6ED3340}"/>
              </a:ext>
            </a:extLst>
          </p:cNvPr>
          <p:cNvSpPr/>
          <p:nvPr/>
        </p:nvSpPr>
        <p:spPr bwMode="gray">
          <a:xfrm>
            <a:off x="9895276" y="2877979"/>
            <a:ext cx="1961665" cy="4036490"/>
          </a:xfrm>
          <a:prstGeom prst="rect">
            <a:avLst/>
          </a:prstGeom>
          <a:noFill/>
          <a:ln w="28575" algn="ctr">
            <a:noFill/>
            <a:miter lim="800000"/>
            <a:headEnd/>
            <a:tailEnd/>
          </a:ln>
        </p:spPr>
        <p:txBody>
          <a:bodyPr wrap="square" lIns="91440" tIns="73152" rIns="88900" bIns="88900" numCol="1" rtlCol="0" anchor="t">
            <a:spAutoFit/>
          </a:bodyPr>
          <a:lstStyle/>
          <a:p>
            <a:pPr defTabSz="1341150">
              <a:defRPr/>
            </a:pPr>
            <a:r>
              <a:rPr lang="en-US" sz="1000" b="1" dirty="0">
                <a:solidFill>
                  <a:srgbClr val="000000"/>
                </a:solidFill>
                <a:ea typeface="ヒラギノ角ゴ Pro W3" panose="020B0300000000000000" pitchFamily="34" charset="-128"/>
                <a:cs typeface="Calibri" panose="020F0502020204030204" pitchFamily="34" charset="0"/>
              </a:rPr>
              <a:t>Value-driven ongoing management of business processes, enabled by domain and industry-specific assets</a:t>
            </a:r>
          </a:p>
          <a:p>
            <a:pPr marL="114300" indent="-114300" defTabSz="1219170">
              <a:spcBef>
                <a:spcPts val="200"/>
              </a:spcBef>
              <a:spcAft>
                <a:spcPts val="200"/>
              </a:spcAft>
              <a:buFont typeface="Arial" panose="020B0604020202020204" pitchFamily="34" charset="0"/>
              <a:buChar char="•"/>
              <a:defRPr/>
            </a:pPr>
            <a:r>
              <a:rPr lang="en-US" sz="1000">
                <a:solidFill>
                  <a:srgbClr val="000000"/>
                </a:solidFill>
                <a:ea typeface="ヒラギノ角ゴ Pro W3" panose="020B0300000000000000" pitchFamily="34" charset="-128"/>
                <a:cs typeface="Calibri" panose="020F0502020204030204" pitchFamily="34" charset="0"/>
              </a:rPr>
              <a:t>Temenos/</a:t>
            </a:r>
            <a:r>
              <a:rPr lang="en-US" sz="1000" dirty="0" err="1">
                <a:solidFill>
                  <a:srgbClr val="000000"/>
                </a:solidFill>
                <a:ea typeface="ヒラギノ角ゴ Pro W3" panose="020B0300000000000000" pitchFamily="34" charset="-128"/>
                <a:cs typeface="Calibri" panose="020F0502020204030204" pitchFamily="34" charset="0"/>
              </a:rPr>
              <a:t>Finevare</a:t>
            </a:r>
            <a:r>
              <a:rPr lang="en-US" sz="1000" dirty="0">
                <a:solidFill>
                  <a:srgbClr val="000000"/>
                </a:solidFill>
                <a:ea typeface="ヒラギノ角ゴ Pro W3" panose="020B0300000000000000" pitchFamily="34" charset="-128"/>
                <a:cs typeface="Calibri" panose="020F0502020204030204" pitchFamily="34" charset="0"/>
              </a:rPr>
              <a:t>/Mambu</a:t>
            </a:r>
          </a:p>
          <a:p>
            <a:pPr marL="114300" indent="-114300" defTabSz="1219170">
              <a:spcBef>
                <a:spcPts val="200"/>
              </a:spcBef>
              <a:spcAft>
                <a:spcPts val="200"/>
              </a:spcAft>
              <a:buFont typeface="Arial" panose="020B0604020202020204" pitchFamily="34" charset="0"/>
              <a:buChar char="•"/>
              <a:defRPr/>
            </a:pPr>
            <a:r>
              <a:rPr lang="en-US" sz="1000" dirty="0" err="1">
                <a:solidFill>
                  <a:srgbClr val="000000"/>
                </a:solidFill>
                <a:ea typeface="ヒラギノ角ゴ Pro W3" panose="020B0300000000000000" pitchFamily="34" charset="-128"/>
                <a:cs typeface="Calibri" panose="020F0502020204030204" pitchFamily="34" charset="0"/>
              </a:rPr>
              <a:t>Hux</a:t>
            </a:r>
            <a:r>
              <a:rPr lang="en-US" sz="1000" dirty="0">
                <a:solidFill>
                  <a:srgbClr val="000000"/>
                </a:solidFill>
                <a:ea typeface="ヒラギノ角ゴ Pro W3" panose="020B0300000000000000" pitchFamily="34" charset="-128"/>
                <a:cs typeface="Calibri" panose="020F0502020204030204" pitchFamily="34" charset="0"/>
              </a:rPr>
              <a:t> (Human Experience)</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Spend Management as a Service</a:t>
            </a:r>
          </a:p>
          <a:p>
            <a:pPr marL="114300" indent="-114300" defTabSz="1219170">
              <a:spcBef>
                <a:spcPts val="200"/>
              </a:spcBef>
              <a:spcAft>
                <a:spcPts val="200"/>
              </a:spcAft>
              <a:buFont typeface="Arial" panose="020B0604020202020204" pitchFamily="34" charset="0"/>
              <a:buChar char="•"/>
              <a:defRPr/>
            </a:pPr>
            <a:endParaRPr lang="en-US" sz="1000" dirty="0">
              <a:solidFill>
                <a:srgbClr val="000000"/>
              </a:solidFill>
              <a:ea typeface="ヒラギノ角ゴ Pro W3" panose="020B0300000000000000" pitchFamily="34" charset="-128"/>
              <a:cs typeface="Calibri" panose="020F0502020204030204" pitchFamily="34" charset="0"/>
            </a:endParaRPr>
          </a:p>
          <a:p>
            <a:pPr defTabSz="1219170">
              <a:spcBef>
                <a:spcPts val="200"/>
              </a:spcBef>
              <a:spcAft>
                <a:spcPts val="200"/>
              </a:spcAft>
              <a:defRPr/>
            </a:pPr>
            <a:r>
              <a:rPr lang="en-US" sz="1000" b="1" dirty="0">
                <a:solidFill>
                  <a:srgbClr val="000000"/>
                </a:solidFill>
                <a:ea typeface="ヒラギノ角ゴ Pro W3" panose="020B0300000000000000" pitchFamily="34" charset="-128"/>
                <a:cs typeface="Calibri" panose="020F0502020204030204" pitchFamily="34" charset="0"/>
              </a:rPr>
              <a:t>Why I&amp;PS services?</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Desire to utilize assets to improve business process </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Capabilities do not exist within the organization and/or no desire to build capabilities in-house</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Desire to outsource functions/capabilities</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Dissatisfaction with incumbent partner</a:t>
            </a:r>
          </a:p>
          <a:p>
            <a:pPr marL="114300" indent="-114300" defTabSz="1219170">
              <a:spcBef>
                <a:spcPts val="200"/>
              </a:spcBef>
              <a:spcAft>
                <a:spcPts val="200"/>
              </a:spcAft>
              <a:buFont typeface="Arial" panose="020B0604020202020204" pitchFamily="34" charset="0"/>
              <a:buChar char="•"/>
              <a:defRPr/>
            </a:pPr>
            <a:r>
              <a:rPr lang="en-US" sz="1000" dirty="0">
                <a:solidFill>
                  <a:srgbClr val="000000"/>
                </a:solidFill>
                <a:ea typeface="ヒラギノ角ゴ Pro W3" panose="020B0300000000000000" pitchFamily="34" charset="-128"/>
                <a:cs typeface="Calibri" panose="020F0502020204030204" pitchFamily="34" charset="0"/>
              </a:rPr>
              <a:t>Cost optimization initiatives underway</a:t>
            </a:r>
            <a:endParaRPr lang="en-US" sz="1000" b="1" dirty="0">
              <a:solidFill>
                <a:srgbClr val="53565A"/>
              </a:solidFill>
              <a:ea typeface="ヒラギノ角ゴ Pro W3" panose="020B0300000000000000" pitchFamily="34" charset="-128"/>
            </a:endParaRPr>
          </a:p>
        </p:txBody>
      </p:sp>
      <p:cxnSp>
        <p:nvCxnSpPr>
          <p:cNvPr id="71" name="Straight Connector 70">
            <a:extLst>
              <a:ext uri="{FF2B5EF4-FFF2-40B4-BE49-F238E27FC236}">
                <a16:creationId xmlns:a16="http://schemas.microsoft.com/office/drawing/2014/main" id="{775F7A0E-5CFC-A8BC-1B5B-F45F79258525}"/>
              </a:ext>
            </a:extLst>
          </p:cNvPr>
          <p:cNvCxnSpPr>
            <a:cxnSpLocks/>
          </p:cNvCxnSpPr>
          <p:nvPr/>
        </p:nvCxnSpPr>
        <p:spPr>
          <a:xfrm>
            <a:off x="12192000" y="1747835"/>
            <a:ext cx="0" cy="5491166"/>
          </a:xfrm>
          <a:prstGeom prst="line">
            <a:avLst/>
          </a:prstGeom>
          <a:noFill/>
          <a:ln w="9525" cap="flat" cmpd="sng" algn="ctr">
            <a:solidFill>
              <a:sysClr val="window" lastClr="FFFFFF">
                <a:lumMod val="85000"/>
              </a:sysClr>
            </a:solidFill>
            <a:prstDash val="solid"/>
          </a:ln>
          <a:effectLst/>
        </p:spPr>
      </p:cxnSp>
      <p:sp>
        <p:nvSpPr>
          <p:cNvPr id="96" name="TextBox 95">
            <a:extLst>
              <a:ext uri="{FF2B5EF4-FFF2-40B4-BE49-F238E27FC236}">
                <a16:creationId xmlns:a16="http://schemas.microsoft.com/office/drawing/2014/main" id="{1054889F-2F8D-C6AA-6087-0A13C97B3091}"/>
              </a:ext>
            </a:extLst>
          </p:cNvPr>
          <p:cNvSpPr txBox="1"/>
          <p:nvPr/>
        </p:nvSpPr>
        <p:spPr>
          <a:xfrm>
            <a:off x="5068154" y="2333304"/>
            <a:ext cx="1894606" cy="307777"/>
          </a:xfrm>
          <a:prstGeom prst="rect">
            <a:avLst/>
          </a:prstGeom>
          <a:noFill/>
        </p:spPr>
        <p:txBody>
          <a:bodyPr wrap="square">
            <a:spAutoFit/>
          </a:bodyPr>
          <a:lstStyle/>
          <a:p>
            <a:pPr defTabSz="1341150">
              <a:defRPr/>
            </a:pPr>
            <a:r>
              <a:rPr lang="en-US" sz="1400" b="1" dirty="0">
                <a:solidFill>
                  <a:srgbClr val="92D050"/>
                </a:solidFill>
                <a:ea typeface="ヒラギノ角ゴ Pro W3" panose="020B0300000000000000" pitchFamily="34" charset="-128"/>
                <a:cs typeface="Calibri" panose="020F0502020204030204" pitchFamily="34" charset="0"/>
              </a:rPr>
              <a:t>ADVISE AS A SERVICE</a:t>
            </a:r>
          </a:p>
        </p:txBody>
      </p:sp>
      <p:sp>
        <p:nvSpPr>
          <p:cNvPr id="97" name="TextBox 96">
            <a:extLst>
              <a:ext uri="{FF2B5EF4-FFF2-40B4-BE49-F238E27FC236}">
                <a16:creationId xmlns:a16="http://schemas.microsoft.com/office/drawing/2014/main" id="{1066A4C8-DAED-705C-FD75-1F5FED379435}"/>
              </a:ext>
            </a:extLst>
          </p:cNvPr>
          <p:cNvSpPr txBox="1"/>
          <p:nvPr/>
        </p:nvSpPr>
        <p:spPr>
          <a:xfrm>
            <a:off x="7454610" y="2333304"/>
            <a:ext cx="2101328" cy="307777"/>
          </a:xfrm>
          <a:prstGeom prst="rect">
            <a:avLst/>
          </a:prstGeom>
          <a:noFill/>
        </p:spPr>
        <p:txBody>
          <a:bodyPr wrap="square">
            <a:spAutoFit/>
          </a:bodyPr>
          <a:lstStyle/>
          <a:p>
            <a:pPr defTabSz="1341150">
              <a:defRPr/>
            </a:pPr>
            <a:r>
              <a:rPr lang="en-US" sz="1400" b="1" dirty="0">
                <a:solidFill>
                  <a:srgbClr val="47ABE2"/>
                </a:solidFill>
                <a:ea typeface="ヒラギノ角ゴ Pro W3" panose="020B0300000000000000" pitchFamily="34" charset="-128"/>
                <a:cs typeface="Calibri" panose="020F0502020204030204" pitchFamily="34" charset="0"/>
              </a:rPr>
              <a:t>ANALYTICS AS A SERVICE </a:t>
            </a:r>
          </a:p>
        </p:txBody>
      </p:sp>
      <p:sp>
        <p:nvSpPr>
          <p:cNvPr id="98" name="TextBox 97">
            <a:extLst>
              <a:ext uri="{FF2B5EF4-FFF2-40B4-BE49-F238E27FC236}">
                <a16:creationId xmlns:a16="http://schemas.microsoft.com/office/drawing/2014/main" id="{CE1C9C29-7749-44B3-99C7-60ADC73DB07D}"/>
              </a:ext>
            </a:extLst>
          </p:cNvPr>
          <p:cNvSpPr txBox="1"/>
          <p:nvPr/>
        </p:nvSpPr>
        <p:spPr>
          <a:xfrm>
            <a:off x="9895276" y="2346565"/>
            <a:ext cx="2215659" cy="523220"/>
          </a:xfrm>
          <a:prstGeom prst="rect">
            <a:avLst/>
          </a:prstGeom>
          <a:noFill/>
        </p:spPr>
        <p:txBody>
          <a:bodyPr wrap="square">
            <a:spAutoFit/>
          </a:bodyPr>
          <a:lstStyle/>
          <a:p>
            <a:pPr defTabSz="1341150">
              <a:defRPr/>
            </a:pPr>
            <a:r>
              <a:rPr lang="en-US" sz="1400" b="1" dirty="0">
                <a:solidFill>
                  <a:srgbClr val="92D050"/>
                </a:solidFill>
                <a:ea typeface="ヒラギノ角ゴ Pro W3" panose="020B0300000000000000" pitchFamily="34" charset="-128"/>
                <a:cs typeface="Calibri" panose="020F0502020204030204" pitchFamily="34" charset="0"/>
              </a:rPr>
              <a:t>INDUSTRY AND PROCESS SOLUTIONS (AS A SERVICE) </a:t>
            </a:r>
          </a:p>
        </p:txBody>
      </p:sp>
      <p:grpSp>
        <p:nvGrpSpPr>
          <p:cNvPr id="99" name="Graphic 4">
            <a:extLst>
              <a:ext uri="{FF2B5EF4-FFF2-40B4-BE49-F238E27FC236}">
                <a16:creationId xmlns:a16="http://schemas.microsoft.com/office/drawing/2014/main" id="{7FDAEE9D-21EC-7AF1-4F25-BAAF69778F69}"/>
              </a:ext>
            </a:extLst>
          </p:cNvPr>
          <p:cNvGrpSpPr>
            <a:grpSpLocks noChangeAspect="1"/>
          </p:cNvGrpSpPr>
          <p:nvPr/>
        </p:nvGrpSpPr>
        <p:grpSpPr>
          <a:xfrm>
            <a:off x="7800745" y="5542903"/>
            <a:ext cx="332546" cy="332236"/>
            <a:chOff x="1515054" y="3824168"/>
            <a:chExt cx="362309" cy="361971"/>
          </a:xfrm>
          <a:solidFill>
            <a:sysClr val="window" lastClr="FFFFFF"/>
          </a:solidFill>
        </p:grpSpPr>
        <p:sp>
          <p:nvSpPr>
            <p:cNvPr id="100" name="Graphic 4">
              <a:extLst>
                <a:ext uri="{FF2B5EF4-FFF2-40B4-BE49-F238E27FC236}">
                  <a16:creationId xmlns:a16="http://schemas.microsoft.com/office/drawing/2014/main" id="{4E7B12AC-AA71-8620-D912-130D9F1A8E43}"/>
                </a:ext>
              </a:extLst>
            </p:cNvPr>
            <p:cNvSpPr/>
            <p:nvPr/>
          </p:nvSpPr>
          <p:spPr>
            <a:xfrm>
              <a:off x="1515054" y="3824168"/>
              <a:ext cx="362309" cy="361971"/>
            </a:xfrm>
            <a:custGeom>
              <a:avLst/>
              <a:gdLst>
                <a:gd name="connsiteX0" fmla="*/ 180835 w 362309"/>
                <a:gd name="connsiteY0" fmla="*/ 0 h 361971"/>
                <a:gd name="connsiteX1" fmla="*/ 0 w 362309"/>
                <a:gd name="connsiteY1" fmla="*/ 180667 h 361971"/>
                <a:gd name="connsiteX2" fmla="*/ 180835 w 362309"/>
                <a:gd name="connsiteY2" fmla="*/ 361971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1305 h 361971"/>
                <a:gd name="connsiteX10" fmla="*/ 349529 w 362309"/>
                <a:gd name="connsiteY10" fmla="*/ 181305 h 361971"/>
                <a:gd name="connsiteX11" fmla="*/ 180835 w 362309"/>
                <a:gd name="connsiteY11" fmla="*/ 349204 h 361971"/>
                <a:gd name="connsiteX12" fmla="*/ 180835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0835" y="0"/>
                  </a:moveTo>
                  <a:cubicBezTo>
                    <a:pt x="80513" y="0"/>
                    <a:pt x="0" y="81076"/>
                    <a:pt x="0" y="180667"/>
                  </a:cubicBezTo>
                  <a:cubicBezTo>
                    <a:pt x="0" y="280895"/>
                    <a:pt x="81152" y="361971"/>
                    <a:pt x="180835" y="361971"/>
                  </a:cubicBezTo>
                  <a:cubicBezTo>
                    <a:pt x="280518" y="361971"/>
                    <a:pt x="362309" y="280895"/>
                    <a:pt x="362309" y="180667"/>
                  </a:cubicBezTo>
                  <a:lnTo>
                    <a:pt x="362309" y="180667"/>
                  </a:lnTo>
                  <a:cubicBezTo>
                    <a:pt x="361670" y="81076"/>
                    <a:pt x="280518" y="0"/>
                    <a:pt x="180835" y="0"/>
                  </a:cubicBezTo>
                  <a:close/>
                  <a:moveTo>
                    <a:pt x="180835" y="349204"/>
                  </a:moveTo>
                  <a:cubicBezTo>
                    <a:pt x="87542" y="349204"/>
                    <a:pt x="12780" y="273873"/>
                    <a:pt x="12780" y="180667"/>
                  </a:cubicBezTo>
                  <a:cubicBezTo>
                    <a:pt x="12780" y="87460"/>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ヒラギノ角ゴ Pro W3" panose="020B0300000000000000" pitchFamily="34" charset="-128"/>
              </a:endParaRPr>
            </a:p>
          </p:txBody>
        </p:sp>
        <p:sp>
          <p:nvSpPr>
            <p:cNvPr id="101" name="Graphic 4">
              <a:extLst>
                <a:ext uri="{FF2B5EF4-FFF2-40B4-BE49-F238E27FC236}">
                  <a16:creationId xmlns:a16="http://schemas.microsoft.com/office/drawing/2014/main" id="{5A7B0536-4484-530D-8A28-88AA93BD2C74}"/>
                </a:ext>
              </a:extLst>
            </p:cNvPr>
            <p:cNvSpPr/>
            <p:nvPr/>
          </p:nvSpPr>
          <p:spPr>
            <a:xfrm>
              <a:off x="1650520" y="3934610"/>
              <a:ext cx="90737" cy="91290"/>
            </a:xfrm>
            <a:custGeom>
              <a:avLst/>
              <a:gdLst>
                <a:gd name="connsiteX0" fmla="*/ 45369 w 90737"/>
                <a:gd name="connsiteY0" fmla="*/ 0 h 91290"/>
                <a:gd name="connsiteX1" fmla="*/ 0 w 90737"/>
                <a:gd name="connsiteY1" fmla="*/ 45965 h 91290"/>
                <a:gd name="connsiteX2" fmla="*/ 45369 w 90737"/>
                <a:gd name="connsiteY2" fmla="*/ 91291 h 91290"/>
                <a:gd name="connsiteX3" fmla="*/ 90737 w 90737"/>
                <a:gd name="connsiteY3" fmla="*/ 45965 h 91290"/>
                <a:gd name="connsiteX4" fmla="*/ 45369 w 90737"/>
                <a:gd name="connsiteY4" fmla="*/ 0 h 91290"/>
                <a:gd name="connsiteX5" fmla="*/ 45369 w 90737"/>
                <a:gd name="connsiteY5" fmla="*/ 78523 h 91290"/>
                <a:gd name="connsiteX6" fmla="*/ 12780 w 90737"/>
                <a:gd name="connsiteY6" fmla="*/ 45326 h 91290"/>
                <a:gd name="connsiteX7" fmla="*/ 45369 w 90737"/>
                <a:gd name="connsiteY7" fmla="*/ 12768 h 91290"/>
                <a:gd name="connsiteX8" fmla="*/ 77957 w 90737"/>
                <a:gd name="connsiteY8" fmla="*/ 45326 h 91290"/>
                <a:gd name="connsiteX9" fmla="*/ 77957 w 90737"/>
                <a:gd name="connsiteY9" fmla="*/ 45326 h 91290"/>
                <a:gd name="connsiteX10" fmla="*/ 45369 w 90737"/>
                <a:gd name="connsiteY10" fmla="*/ 78523 h 91290"/>
                <a:gd name="connsiteX11" fmla="*/ 45369 w 90737"/>
                <a:gd name="connsiteY11" fmla="*/ 78523 h 9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737" h="91290">
                  <a:moveTo>
                    <a:pt x="45369" y="0"/>
                  </a:moveTo>
                  <a:cubicBezTo>
                    <a:pt x="20448" y="0"/>
                    <a:pt x="0" y="20429"/>
                    <a:pt x="0" y="45965"/>
                  </a:cubicBezTo>
                  <a:cubicBezTo>
                    <a:pt x="0" y="70862"/>
                    <a:pt x="20448" y="91291"/>
                    <a:pt x="45369" y="91291"/>
                  </a:cubicBezTo>
                  <a:cubicBezTo>
                    <a:pt x="70289" y="91291"/>
                    <a:pt x="90737" y="70862"/>
                    <a:pt x="90737" y="45965"/>
                  </a:cubicBezTo>
                  <a:cubicBezTo>
                    <a:pt x="90737" y="20429"/>
                    <a:pt x="70289" y="0"/>
                    <a:pt x="45369" y="0"/>
                  </a:cubicBezTo>
                  <a:close/>
                  <a:moveTo>
                    <a:pt x="45369" y="78523"/>
                  </a:moveTo>
                  <a:cubicBezTo>
                    <a:pt x="27477" y="78523"/>
                    <a:pt x="12780" y="63840"/>
                    <a:pt x="12780" y="45326"/>
                  </a:cubicBezTo>
                  <a:cubicBezTo>
                    <a:pt x="12780" y="27451"/>
                    <a:pt x="27477" y="12768"/>
                    <a:pt x="45369" y="12768"/>
                  </a:cubicBezTo>
                  <a:cubicBezTo>
                    <a:pt x="63261" y="12768"/>
                    <a:pt x="77957" y="27451"/>
                    <a:pt x="77957" y="45326"/>
                  </a:cubicBezTo>
                  <a:cubicBezTo>
                    <a:pt x="77957" y="45326"/>
                    <a:pt x="77957" y="45326"/>
                    <a:pt x="77957" y="45326"/>
                  </a:cubicBezTo>
                  <a:cubicBezTo>
                    <a:pt x="77957" y="63840"/>
                    <a:pt x="63261" y="78523"/>
                    <a:pt x="45369" y="78523"/>
                  </a:cubicBezTo>
                  <a:lnTo>
                    <a:pt x="45369" y="78523"/>
                  </a:lnTo>
                  <a:close/>
                </a:path>
              </a:pathLst>
            </a:custGeom>
            <a:grpFill/>
            <a:ln w="6390"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ヒラギノ角ゴ Pro W3" panose="020B0300000000000000" pitchFamily="34" charset="-128"/>
              </a:endParaRPr>
            </a:p>
          </p:txBody>
        </p:sp>
        <p:sp>
          <p:nvSpPr>
            <p:cNvPr id="102" name="Graphic 4">
              <a:extLst>
                <a:ext uri="{FF2B5EF4-FFF2-40B4-BE49-F238E27FC236}">
                  <a16:creationId xmlns:a16="http://schemas.microsoft.com/office/drawing/2014/main" id="{B41DD660-1AAB-B628-661A-A23738941F69}"/>
                </a:ext>
              </a:extLst>
            </p:cNvPr>
            <p:cNvSpPr/>
            <p:nvPr/>
          </p:nvSpPr>
          <p:spPr>
            <a:xfrm>
              <a:off x="1603874" y="3889284"/>
              <a:ext cx="183489" cy="182582"/>
            </a:xfrm>
            <a:custGeom>
              <a:avLst/>
              <a:gdLst>
                <a:gd name="connsiteX0" fmla="*/ 177640 w 183489"/>
                <a:gd name="connsiteY0" fmla="*/ 70862 h 182582"/>
                <a:gd name="connsiteX1" fmla="*/ 166777 w 183489"/>
                <a:gd name="connsiteY1" fmla="*/ 70862 h 182582"/>
                <a:gd name="connsiteX2" fmla="*/ 159748 w 183489"/>
                <a:gd name="connsiteY2" fmla="*/ 53626 h 182582"/>
                <a:gd name="connsiteX3" fmla="*/ 167416 w 183489"/>
                <a:gd name="connsiteY3" fmla="*/ 45965 h 182582"/>
                <a:gd name="connsiteX4" fmla="*/ 167416 w 183489"/>
                <a:gd name="connsiteY4" fmla="*/ 37027 h 182582"/>
                <a:gd name="connsiteX5" fmla="*/ 167416 w 183489"/>
                <a:gd name="connsiteY5" fmla="*/ 37027 h 182582"/>
                <a:gd name="connsiteX6" fmla="*/ 146969 w 183489"/>
                <a:gd name="connsiteY6" fmla="*/ 16599 h 182582"/>
                <a:gd name="connsiteX7" fmla="*/ 138023 w 183489"/>
                <a:gd name="connsiteY7" fmla="*/ 16599 h 182582"/>
                <a:gd name="connsiteX8" fmla="*/ 138023 w 183489"/>
                <a:gd name="connsiteY8" fmla="*/ 16599 h 182582"/>
                <a:gd name="connsiteX9" fmla="*/ 130355 w 183489"/>
                <a:gd name="connsiteY9" fmla="*/ 24259 h 182582"/>
                <a:gd name="connsiteX10" fmla="*/ 113741 w 183489"/>
                <a:gd name="connsiteY10" fmla="*/ 17237 h 182582"/>
                <a:gd name="connsiteX11" fmla="*/ 113741 w 183489"/>
                <a:gd name="connsiteY11" fmla="*/ 6384 h 182582"/>
                <a:gd name="connsiteX12" fmla="*/ 107351 w 183489"/>
                <a:gd name="connsiteY12" fmla="*/ 0 h 182582"/>
                <a:gd name="connsiteX13" fmla="*/ 77957 w 183489"/>
                <a:gd name="connsiteY13" fmla="*/ 0 h 182582"/>
                <a:gd name="connsiteX14" fmla="*/ 71567 w 183489"/>
                <a:gd name="connsiteY14" fmla="*/ 6384 h 182582"/>
                <a:gd name="connsiteX15" fmla="*/ 71567 w 183489"/>
                <a:gd name="connsiteY15" fmla="*/ 17237 h 182582"/>
                <a:gd name="connsiteX16" fmla="*/ 54954 w 183489"/>
                <a:gd name="connsiteY16" fmla="*/ 24259 h 182582"/>
                <a:gd name="connsiteX17" fmla="*/ 47285 w 183489"/>
                <a:gd name="connsiteY17" fmla="*/ 15960 h 182582"/>
                <a:gd name="connsiteX18" fmla="*/ 38340 w 183489"/>
                <a:gd name="connsiteY18" fmla="*/ 15960 h 182582"/>
                <a:gd name="connsiteX19" fmla="*/ 17892 w 183489"/>
                <a:gd name="connsiteY19" fmla="*/ 36389 h 182582"/>
                <a:gd name="connsiteX20" fmla="*/ 17892 w 183489"/>
                <a:gd name="connsiteY20" fmla="*/ 45327 h 182582"/>
                <a:gd name="connsiteX21" fmla="*/ 25560 w 183489"/>
                <a:gd name="connsiteY21" fmla="*/ 52987 h 182582"/>
                <a:gd name="connsiteX22" fmla="*/ 18531 w 183489"/>
                <a:gd name="connsiteY22" fmla="*/ 69586 h 182582"/>
                <a:gd name="connsiteX23" fmla="*/ 6390 w 183489"/>
                <a:gd name="connsiteY23" fmla="*/ 69586 h 182582"/>
                <a:gd name="connsiteX24" fmla="*/ 0 w 183489"/>
                <a:gd name="connsiteY24" fmla="*/ 75970 h 182582"/>
                <a:gd name="connsiteX25" fmla="*/ 0 w 183489"/>
                <a:gd name="connsiteY25" fmla="*/ 105336 h 182582"/>
                <a:gd name="connsiteX26" fmla="*/ 6390 w 183489"/>
                <a:gd name="connsiteY26" fmla="*/ 111720 h 182582"/>
                <a:gd name="connsiteX27" fmla="*/ 17253 w 183489"/>
                <a:gd name="connsiteY27" fmla="*/ 111720 h 182582"/>
                <a:gd name="connsiteX28" fmla="*/ 24282 w 183489"/>
                <a:gd name="connsiteY28" fmla="*/ 128318 h 182582"/>
                <a:gd name="connsiteX29" fmla="*/ 16614 w 183489"/>
                <a:gd name="connsiteY29" fmla="*/ 136617 h 182582"/>
                <a:gd name="connsiteX30" fmla="*/ 14697 w 183489"/>
                <a:gd name="connsiteY30" fmla="*/ 141086 h 182582"/>
                <a:gd name="connsiteX31" fmla="*/ 16614 w 183489"/>
                <a:gd name="connsiteY31" fmla="*/ 145555 h 182582"/>
                <a:gd name="connsiteX32" fmla="*/ 37062 w 183489"/>
                <a:gd name="connsiteY32" fmla="*/ 165984 h 182582"/>
                <a:gd name="connsiteX33" fmla="*/ 46008 w 183489"/>
                <a:gd name="connsiteY33" fmla="*/ 165984 h 182582"/>
                <a:gd name="connsiteX34" fmla="*/ 46008 w 183489"/>
                <a:gd name="connsiteY34" fmla="*/ 165984 h 182582"/>
                <a:gd name="connsiteX35" fmla="*/ 53675 w 183489"/>
                <a:gd name="connsiteY35" fmla="*/ 158323 h 182582"/>
                <a:gd name="connsiteX36" fmla="*/ 70289 w 183489"/>
                <a:gd name="connsiteY36" fmla="*/ 165345 h 182582"/>
                <a:gd name="connsiteX37" fmla="*/ 70289 w 183489"/>
                <a:gd name="connsiteY37" fmla="*/ 176198 h 182582"/>
                <a:gd name="connsiteX38" fmla="*/ 76679 w 183489"/>
                <a:gd name="connsiteY38" fmla="*/ 182582 h 182582"/>
                <a:gd name="connsiteX39" fmla="*/ 106073 w 183489"/>
                <a:gd name="connsiteY39" fmla="*/ 182582 h 182582"/>
                <a:gd name="connsiteX40" fmla="*/ 112463 w 183489"/>
                <a:gd name="connsiteY40" fmla="*/ 176198 h 182582"/>
                <a:gd name="connsiteX41" fmla="*/ 112463 w 183489"/>
                <a:gd name="connsiteY41" fmla="*/ 165345 h 182582"/>
                <a:gd name="connsiteX42" fmla="*/ 129077 w 183489"/>
                <a:gd name="connsiteY42" fmla="*/ 158323 h 182582"/>
                <a:gd name="connsiteX43" fmla="*/ 136745 w 183489"/>
                <a:gd name="connsiteY43" fmla="*/ 165984 h 182582"/>
                <a:gd name="connsiteX44" fmla="*/ 145690 w 183489"/>
                <a:gd name="connsiteY44" fmla="*/ 165984 h 182582"/>
                <a:gd name="connsiteX45" fmla="*/ 166138 w 183489"/>
                <a:gd name="connsiteY45" fmla="*/ 145555 h 182582"/>
                <a:gd name="connsiteX46" fmla="*/ 166138 w 183489"/>
                <a:gd name="connsiteY46" fmla="*/ 136617 h 182582"/>
                <a:gd name="connsiteX47" fmla="*/ 159109 w 183489"/>
                <a:gd name="connsiteY47" fmla="*/ 128957 h 182582"/>
                <a:gd name="connsiteX48" fmla="*/ 166138 w 183489"/>
                <a:gd name="connsiteY48" fmla="*/ 112358 h 182582"/>
                <a:gd name="connsiteX49" fmla="*/ 177001 w 183489"/>
                <a:gd name="connsiteY49" fmla="*/ 112358 h 182582"/>
                <a:gd name="connsiteX50" fmla="*/ 183391 w 183489"/>
                <a:gd name="connsiteY50" fmla="*/ 105974 h 182582"/>
                <a:gd name="connsiteX51" fmla="*/ 183391 w 183489"/>
                <a:gd name="connsiteY51" fmla="*/ 76608 h 182582"/>
                <a:gd name="connsiteX52" fmla="*/ 177640 w 183489"/>
                <a:gd name="connsiteY52" fmla="*/ 70862 h 182582"/>
                <a:gd name="connsiteX53" fmla="*/ 177640 w 183489"/>
                <a:gd name="connsiteY53" fmla="*/ 70862 h 182582"/>
                <a:gd name="connsiteX54" fmla="*/ 171250 w 183489"/>
                <a:gd name="connsiteY54" fmla="*/ 99590 h 182582"/>
                <a:gd name="connsiteX55" fmla="*/ 161665 w 183489"/>
                <a:gd name="connsiteY55" fmla="*/ 99590 h 182582"/>
                <a:gd name="connsiteX56" fmla="*/ 155275 w 183489"/>
                <a:gd name="connsiteY56" fmla="*/ 104697 h 182582"/>
                <a:gd name="connsiteX57" fmla="*/ 145690 w 183489"/>
                <a:gd name="connsiteY57" fmla="*/ 127041 h 182582"/>
                <a:gd name="connsiteX58" fmla="*/ 146330 w 183489"/>
                <a:gd name="connsiteY58" fmla="*/ 135341 h 182582"/>
                <a:gd name="connsiteX59" fmla="*/ 152719 w 183489"/>
                <a:gd name="connsiteY59" fmla="*/ 141724 h 182582"/>
                <a:gd name="connsiteX60" fmla="*/ 141218 w 183489"/>
                <a:gd name="connsiteY60" fmla="*/ 153216 h 182582"/>
                <a:gd name="connsiteX61" fmla="*/ 134189 w 183489"/>
                <a:gd name="connsiteY61" fmla="*/ 146193 h 182582"/>
                <a:gd name="connsiteX62" fmla="*/ 126521 w 183489"/>
                <a:gd name="connsiteY62" fmla="*/ 145555 h 182582"/>
                <a:gd name="connsiteX63" fmla="*/ 104156 w 183489"/>
                <a:gd name="connsiteY63" fmla="*/ 154492 h 182582"/>
                <a:gd name="connsiteX64" fmla="*/ 99044 w 183489"/>
                <a:gd name="connsiteY64" fmla="*/ 160876 h 182582"/>
                <a:gd name="connsiteX65" fmla="*/ 99044 w 183489"/>
                <a:gd name="connsiteY65" fmla="*/ 170452 h 182582"/>
                <a:gd name="connsiteX66" fmla="*/ 83069 w 183489"/>
                <a:gd name="connsiteY66" fmla="*/ 170452 h 182582"/>
                <a:gd name="connsiteX67" fmla="*/ 83069 w 183489"/>
                <a:gd name="connsiteY67" fmla="*/ 160876 h 182582"/>
                <a:gd name="connsiteX68" fmla="*/ 77957 w 183489"/>
                <a:gd name="connsiteY68" fmla="*/ 154492 h 182582"/>
                <a:gd name="connsiteX69" fmla="*/ 56231 w 183489"/>
                <a:gd name="connsiteY69" fmla="*/ 144916 h 182582"/>
                <a:gd name="connsiteX70" fmla="*/ 47925 w 183489"/>
                <a:gd name="connsiteY70" fmla="*/ 145555 h 182582"/>
                <a:gd name="connsiteX71" fmla="*/ 41535 w 183489"/>
                <a:gd name="connsiteY71" fmla="*/ 151939 h 182582"/>
                <a:gd name="connsiteX72" fmla="*/ 30033 w 183489"/>
                <a:gd name="connsiteY72" fmla="*/ 140448 h 182582"/>
                <a:gd name="connsiteX73" fmla="*/ 37062 w 183489"/>
                <a:gd name="connsiteY73" fmla="*/ 133425 h 182582"/>
                <a:gd name="connsiteX74" fmla="*/ 37701 w 183489"/>
                <a:gd name="connsiteY74" fmla="*/ 125765 h 182582"/>
                <a:gd name="connsiteX75" fmla="*/ 28755 w 183489"/>
                <a:gd name="connsiteY75" fmla="*/ 103421 h 182582"/>
                <a:gd name="connsiteX76" fmla="*/ 22365 w 183489"/>
                <a:gd name="connsiteY76" fmla="*/ 98313 h 182582"/>
                <a:gd name="connsiteX77" fmla="*/ 12780 w 183489"/>
                <a:gd name="connsiteY77" fmla="*/ 98313 h 182582"/>
                <a:gd name="connsiteX78" fmla="*/ 12780 w 183489"/>
                <a:gd name="connsiteY78" fmla="*/ 81715 h 182582"/>
                <a:gd name="connsiteX79" fmla="*/ 22365 w 183489"/>
                <a:gd name="connsiteY79" fmla="*/ 81715 h 182582"/>
                <a:gd name="connsiteX80" fmla="*/ 28755 w 183489"/>
                <a:gd name="connsiteY80" fmla="*/ 76608 h 182582"/>
                <a:gd name="connsiteX81" fmla="*/ 38340 w 183489"/>
                <a:gd name="connsiteY81" fmla="*/ 54902 h 182582"/>
                <a:gd name="connsiteX82" fmla="*/ 37701 w 183489"/>
                <a:gd name="connsiteY82" fmla="*/ 46603 h 182582"/>
                <a:gd name="connsiteX83" fmla="*/ 31311 w 183489"/>
                <a:gd name="connsiteY83" fmla="*/ 40219 h 182582"/>
                <a:gd name="connsiteX84" fmla="*/ 42813 w 183489"/>
                <a:gd name="connsiteY84" fmla="*/ 28728 h 182582"/>
                <a:gd name="connsiteX85" fmla="*/ 49841 w 183489"/>
                <a:gd name="connsiteY85" fmla="*/ 35751 h 182582"/>
                <a:gd name="connsiteX86" fmla="*/ 57509 w 183489"/>
                <a:gd name="connsiteY86" fmla="*/ 36389 h 182582"/>
                <a:gd name="connsiteX87" fmla="*/ 79874 w 183489"/>
                <a:gd name="connsiteY87" fmla="*/ 27451 h 182582"/>
                <a:gd name="connsiteX88" fmla="*/ 84986 w 183489"/>
                <a:gd name="connsiteY88" fmla="*/ 21067 h 182582"/>
                <a:gd name="connsiteX89" fmla="*/ 84986 w 183489"/>
                <a:gd name="connsiteY89" fmla="*/ 11491 h 182582"/>
                <a:gd name="connsiteX90" fmla="*/ 101600 w 183489"/>
                <a:gd name="connsiteY90" fmla="*/ 11491 h 182582"/>
                <a:gd name="connsiteX91" fmla="*/ 101600 w 183489"/>
                <a:gd name="connsiteY91" fmla="*/ 21706 h 182582"/>
                <a:gd name="connsiteX92" fmla="*/ 106712 w 183489"/>
                <a:gd name="connsiteY92" fmla="*/ 28090 h 182582"/>
                <a:gd name="connsiteX93" fmla="*/ 129077 w 183489"/>
                <a:gd name="connsiteY93" fmla="*/ 37666 h 182582"/>
                <a:gd name="connsiteX94" fmla="*/ 137384 w 183489"/>
                <a:gd name="connsiteY94" fmla="*/ 37027 h 182582"/>
                <a:gd name="connsiteX95" fmla="*/ 143774 w 183489"/>
                <a:gd name="connsiteY95" fmla="*/ 30643 h 182582"/>
                <a:gd name="connsiteX96" fmla="*/ 155275 w 183489"/>
                <a:gd name="connsiteY96" fmla="*/ 42135 h 182582"/>
                <a:gd name="connsiteX97" fmla="*/ 148247 w 183489"/>
                <a:gd name="connsiteY97" fmla="*/ 49157 h 182582"/>
                <a:gd name="connsiteX98" fmla="*/ 147608 w 183489"/>
                <a:gd name="connsiteY98" fmla="*/ 56818 h 182582"/>
                <a:gd name="connsiteX99" fmla="*/ 156553 w 183489"/>
                <a:gd name="connsiteY99" fmla="*/ 79162 h 182582"/>
                <a:gd name="connsiteX100" fmla="*/ 162943 w 183489"/>
                <a:gd name="connsiteY100" fmla="*/ 84269 h 182582"/>
                <a:gd name="connsiteX101" fmla="*/ 172528 w 183489"/>
                <a:gd name="connsiteY101" fmla="*/ 84269 h 182582"/>
                <a:gd name="connsiteX102" fmla="*/ 171250 w 183489"/>
                <a:gd name="connsiteY102" fmla="*/ 99590 h 18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83489" h="182582">
                  <a:moveTo>
                    <a:pt x="177640" y="70862"/>
                  </a:moveTo>
                  <a:lnTo>
                    <a:pt x="166777" y="70862"/>
                  </a:lnTo>
                  <a:cubicBezTo>
                    <a:pt x="164860" y="65117"/>
                    <a:pt x="162943" y="59371"/>
                    <a:pt x="159748" y="53626"/>
                  </a:cubicBezTo>
                  <a:lnTo>
                    <a:pt x="167416" y="45965"/>
                  </a:lnTo>
                  <a:cubicBezTo>
                    <a:pt x="169972" y="43411"/>
                    <a:pt x="169972" y="39581"/>
                    <a:pt x="167416" y="37027"/>
                  </a:cubicBezTo>
                  <a:cubicBezTo>
                    <a:pt x="167416" y="37027"/>
                    <a:pt x="167416" y="37027"/>
                    <a:pt x="167416" y="37027"/>
                  </a:cubicBezTo>
                  <a:lnTo>
                    <a:pt x="146969" y="16599"/>
                  </a:lnTo>
                  <a:cubicBezTo>
                    <a:pt x="144413" y="14045"/>
                    <a:pt x="140579" y="14045"/>
                    <a:pt x="138023" y="16599"/>
                  </a:cubicBezTo>
                  <a:cubicBezTo>
                    <a:pt x="138023" y="16599"/>
                    <a:pt x="138023" y="16599"/>
                    <a:pt x="138023" y="16599"/>
                  </a:cubicBezTo>
                  <a:lnTo>
                    <a:pt x="130355" y="24259"/>
                  </a:lnTo>
                  <a:cubicBezTo>
                    <a:pt x="125243" y="21067"/>
                    <a:pt x="119492" y="18514"/>
                    <a:pt x="113741" y="17237"/>
                  </a:cubicBezTo>
                  <a:lnTo>
                    <a:pt x="113741" y="6384"/>
                  </a:lnTo>
                  <a:cubicBezTo>
                    <a:pt x="113741" y="2554"/>
                    <a:pt x="111185" y="0"/>
                    <a:pt x="107351" y="0"/>
                  </a:cubicBezTo>
                  <a:lnTo>
                    <a:pt x="77957" y="0"/>
                  </a:lnTo>
                  <a:cubicBezTo>
                    <a:pt x="74123" y="0"/>
                    <a:pt x="71567" y="2554"/>
                    <a:pt x="71567" y="6384"/>
                  </a:cubicBezTo>
                  <a:lnTo>
                    <a:pt x="71567" y="17237"/>
                  </a:lnTo>
                  <a:cubicBezTo>
                    <a:pt x="65816" y="19152"/>
                    <a:pt x="60065" y="21067"/>
                    <a:pt x="54954" y="24259"/>
                  </a:cubicBezTo>
                  <a:lnTo>
                    <a:pt x="47285" y="15960"/>
                  </a:lnTo>
                  <a:cubicBezTo>
                    <a:pt x="44730" y="13407"/>
                    <a:pt x="40896" y="13407"/>
                    <a:pt x="38340" y="15960"/>
                  </a:cubicBezTo>
                  <a:lnTo>
                    <a:pt x="17892" y="36389"/>
                  </a:lnTo>
                  <a:cubicBezTo>
                    <a:pt x="15336" y="38943"/>
                    <a:pt x="15336" y="42773"/>
                    <a:pt x="17892" y="45327"/>
                  </a:cubicBezTo>
                  <a:lnTo>
                    <a:pt x="25560" y="52987"/>
                  </a:lnTo>
                  <a:cubicBezTo>
                    <a:pt x="22365" y="58094"/>
                    <a:pt x="20448" y="63840"/>
                    <a:pt x="18531" y="69586"/>
                  </a:cubicBezTo>
                  <a:lnTo>
                    <a:pt x="6390" y="69586"/>
                  </a:lnTo>
                  <a:cubicBezTo>
                    <a:pt x="2556" y="69586"/>
                    <a:pt x="0" y="72139"/>
                    <a:pt x="0" y="75970"/>
                  </a:cubicBezTo>
                  <a:lnTo>
                    <a:pt x="0" y="105336"/>
                  </a:lnTo>
                  <a:cubicBezTo>
                    <a:pt x="0" y="109166"/>
                    <a:pt x="2556" y="111720"/>
                    <a:pt x="6390" y="111720"/>
                  </a:cubicBezTo>
                  <a:lnTo>
                    <a:pt x="17253" y="111720"/>
                  </a:lnTo>
                  <a:cubicBezTo>
                    <a:pt x="19170" y="117465"/>
                    <a:pt x="21087" y="123211"/>
                    <a:pt x="24282" y="128318"/>
                  </a:cubicBezTo>
                  <a:lnTo>
                    <a:pt x="16614" y="136617"/>
                  </a:lnTo>
                  <a:cubicBezTo>
                    <a:pt x="15336" y="137894"/>
                    <a:pt x="14697" y="139171"/>
                    <a:pt x="14697" y="141086"/>
                  </a:cubicBezTo>
                  <a:cubicBezTo>
                    <a:pt x="14697" y="143001"/>
                    <a:pt x="15336" y="144278"/>
                    <a:pt x="16614" y="145555"/>
                  </a:cubicBezTo>
                  <a:lnTo>
                    <a:pt x="37062" y="165984"/>
                  </a:lnTo>
                  <a:cubicBezTo>
                    <a:pt x="39618" y="168537"/>
                    <a:pt x="43451" y="168537"/>
                    <a:pt x="46008" y="165984"/>
                  </a:cubicBezTo>
                  <a:cubicBezTo>
                    <a:pt x="46008" y="165984"/>
                    <a:pt x="46008" y="165984"/>
                    <a:pt x="46008" y="165984"/>
                  </a:cubicBezTo>
                  <a:lnTo>
                    <a:pt x="53675" y="158323"/>
                  </a:lnTo>
                  <a:cubicBezTo>
                    <a:pt x="58788" y="161515"/>
                    <a:pt x="64538" y="164068"/>
                    <a:pt x="70289" y="165345"/>
                  </a:cubicBezTo>
                  <a:lnTo>
                    <a:pt x="70289" y="176198"/>
                  </a:lnTo>
                  <a:cubicBezTo>
                    <a:pt x="70289" y="180028"/>
                    <a:pt x="72845" y="182582"/>
                    <a:pt x="76679" y="182582"/>
                  </a:cubicBezTo>
                  <a:lnTo>
                    <a:pt x="106073" y="182582"/>
                  </a:lnTo>
                  <a:cubicBezTo>
                    <a:pt x="109907" y="182582"/>
                    <a:pt x="112463" y="180028"/>
                    <a:pt x="112463" y="176198"/>
                  </a:cubicBezTo>
                  <a:lnTo>
                    <a:pt x="112463" y="165345"/>
                  </a:lnTo>
                  <a:cubicBezTo>
                    <a:pt x="118214" y="163430"/>
                    <a:pt x="123965" y="161515"/>
                    <a:pt x="129077" y="158323"/>
                  </a:cubicBezTo>
                  <a:lnTo>
                    <a:pt x="136745" y="165984"/>
                  </a:lnTo>
                  <a:cubicBezTo>
                    <a:pt x="139301" y="168537"/>
                    <a:pt x="143135" y="168537"/>
                    <a:pt x="145690" y="165984"/>
                  </a:cubicBezTo>
                  <a:lnTo>
                    <a:pt x="166138" y="145555"/>
                  </a:lnTo>
                  <a:cubicBezTo>
                    <a:pt x="168694" y="143001"/>
                    <a:pt x="168694" y="139171"/>
                    <a:pt x="166138" y="136617"/>
                  </a:cubicBezTo>
                  <a:lnTo>
                    <a:pt x="159109" y="128957"/>
                  </a:lnTo>
                  <a:cubicBezTo>
                    <a:pt x="162304" y="123849"/>
                    <a:pt x="164221" y="118104"/>
                    <a:pt x="166138" y="112358"/>
                  </a:cubicBezTo>
                  <a:lnTo>
                    <a:pt x="177001" y="112358"/>
                  </a:lnTo>
                  <a:cubicBezTo>
                    <a:pt x="180835" y="112358"/>
                    <a:pt x="183391" y="109805"/>
                    <a:pt x="183391" y="105974"/>
                  </a:cubicBezTo>
                  <a:lnTo>
                    <a:pt x="183391" y="76608"/>
                  </a:lnTo>
                  <a:cubicBezTo>
                    <a:pt x="184030" y="73416"/>
                    <a:pt x="181474" y="70862"/>
                    <a:pt x="177640" y="70862"/>
                  </a:cubicBezTo>
                  <a:cubicBezTo>
                    <a:pt x="177640" y="70862"/>
                    <a:pt x="177640" y="70862"/>
                    <a:pt x="177640" y="70862"/>
                  </a:cubicBezTo>
                  <a:close/>
                  <a:moveTo>
                    <a:pt x="171250" y="99590"/>
                  </a:moveTo>
                  <a:lnTo>
                    <a:pt x="161665" y="99590"/>
                  </a:lnTo>
                  <a:cubicBezTo>
                    <a:pt x="158470" y="99590"/>
                    <a:pt x="155914" y="101505"/>
                    <a:pt x="155275" y="104697"/>
                  </a:cubicBezTo>
                  <a:cubicBezTo>
                    <a:pt x="153358" y="112358"/>
                    <a:pt x="150164" y="120019"/>
                    <a:pt x="145690" y="127041"/>
                  </a:cubicBezTo>
                  <a:cubicBezTo>
                    <a:pt x="143774" y="129595"/>
                    <a:pt x="144413" y="132787"/>
                    <a:pt x="146330" y="135341"/>
                  </a:cubicBezTo>
                  <a:lnTo>
                    <a:pt x="152719" y="141724"/>
                  </a:lnTo>
                  <a:lnTo>
                    <a:pt x="141218" y="153216"/>
                  </a:lnTo>
                  <a:lnTo>
                    <a:pt x="134189" y="146193"/>
                  </a:lnTo>
                  <a:cubicBezTo>
                    <a:pt x="132272" y="144278"/>
                    <a:pt x="128438" y="143640"/>
                    <a:pt x="126521" y="145555"/>
                  </a:cubicBezTo>
                  <a:cubicBezTo>
                    <a:pt x="119492" y="150024"/>
                    <a:pt x="112463" y="153216"/>
                    <a:pt x="104156" y="154492"/>
                  </a:cubicBezTo>
                  <a:cubicBezTo>
                    <a:pt x="100961" y="155131"/>
                    <a:pt x="99044" y="157684"/>
                    <a:pt x="99044" y="160876"/>
                  </a:cubicBezTo>
                  <a:lnTo>
                    <a:pt x="99044" y="170452"/>
                  </a:lnTo>
                  <a:lnTo>
                    <a:pt x="83069" y="170452"/>
                  </a:lnTo>
                  <a:lnTo>
                    <a:pt x="83069" y="160876"/>
                  </a:lnTo>
                  <a:cubicBezTo>
                    <a:pt x="83069" y="157684"/>
                    <a:pt x="81152" y="155131"/>
                    <a:pt x="77957" y="154492"/>
                  </a:cubicBezTo>
                  <a:cubicBezTo>
                    <a:pt x="70289" y="152577"/>
                    <a:pt x="62621" y="149385"/>
                    <a:pt x="56231" y="144916"/>
                  </a:cubicBezTo>
                  <a:cubicBezTo>
                    <a:pt x="53675" y="143001"/>
                    <a:pt x="50480" y="143640"/>
                    <a:pt x="47925" y="145555"/>
                  </a:cubicBezTo>
                  <a:lnTo>
                    <a:pt x="41535" y="151939"/>
                  </a:lnTo>
                  <a:lnTo>
                    <a:pt x="30033" y="140448"/>
                  </a:lnTo>
                  <a:lnTo>
                    <a:pt x="37062" y="133425"/>
                  </a:lnTo>
                  <a:cubicBezTo>
                    <a:pt x="38979" y="131510"/>
                    <a:pt x="39618" y="127680"/>
                    <a:pt x="37701" y="125765"/>
                  </a:cubicBezTo>
                  <a:cubicBezTo>
                    <a:pt x="33228" y="118742"/>
                    <a:pt x="30033" y="111720"/>
                    <a:pt x="28755" y="103421"/>
                  </a:cubicBezTo>
                  <a:cubicBezTo>
                    <a:pt x="28116" y="100229"/>
                    <a:pt x="25560" y="98313"/>
                    <a:pt x="22365" y="98313"/>
                  </a:cubicBezTo>
                  <a:lnTo>
                    <a:pt x="12780" y="98313"/>
                  </a:lnTo>
                  <a:lnTo>
                    <a:pt x="12780" y="81715"/>
                  </a:lnTo>
                  <a:lnTo>
                    <a:pt x="22365" y="81715"/>
                  </a:lnTo>
                  <a:cubicBezTo>
                    <a:pt x="25560" y="81715"/>
                    <a:pt x="28116" y="79800"/>
                    <a:pt x="28755" y="76608"/>
                  </a:cubicBezTo>
                  <a:cubicBezTo>
                    <a:pt x="30672" y="68947"/>
                    <a:pt x="33867" y="61286"/>
                    <a:pt x="38340" y="54902"/>
                  </a:cubicBezTo>
                  <a:cubicBezTo>
                    <a:pt x="40257" y="52349"/>
                    <a:pt x="39618" y="49157"/>
                    <a:pt x="37701" y="46603"/>
                  </a:cubicBezTo>
                  <a:lnTo>
                    <a:pt x="31311" y="40219"/>
                  </a:lnTo>
                  <a:lnTo>
                    <a:pt x="42813" y="28728"/>
                  </a:lnTo>
                  <a:lnTo>
                    <a:pt x="49841" y="35751"/>
                  </a:lnTo>
                  <a:cubicBezTo>
                    <a:pt x="51759" y="37666"/>
                    <a:pt x="55593" y="38304"/>
                    <a:pt x="57509" y="36389"/>
                  </a:cubicBezTo>
                  <a:cubicBezTo>
                    <a:pt x="64538" y="31920"/>
                    <a:pt x="71567" y="28728"/>
                    <a:pt x="79874" y="27451"/>
                  </a:cubicBezTo>
                  <a:cubicBezTo>
                    <a:pt x="83069" y="26813"/>
                    <a:pt x="84986" y="24259"/>
                    <a:pt x="84986" y="21067"/>
                  </a:cubicBezTo>
                  <a:lnTo>
                    <a:pt x="84986" y="11491"/>
                  </a:lnTo>
                  <a:lnTo>
                    <a:pt x="101600" y="11491"/>
                  </a:lnTo>
                  <a:lnTo>
                    <a:pt x="101600" y="21706"/>
                  </a:lnTo>
                  <a:cubicBezTo>
                    <a:pt x="101600" y="24898"/>
                    <a:pt x="103517" y="27451"/>
                    <a:pt x="106712" y="28090"/>
                  </a:cubicBezTo>
                  <a:cubicBezTo>
                    <a:pt x="114380" y="30005"/>
                    <a:pt x="122048" y="33197"/>
                    <a:pt x="129077" y="37666"/>
                  </a:cubicBezTo>
                  <a:cubicBezTo>
                    <a:pt x="131633" y="39581"/>
                    <a:pt x="134828" y="38943"/>
                    <a:pt x="137384" y="37027"/>
                  </a:cubicBezTo>
                  <a:lnTo>
                    <a:pt x="143774" y="30643"/>
                  </a:lnTo>
                  <a:lnTo>
                    <a:pt x="155275" y="42135"/>
                  </a:lnTo>
                  <a:lnTo>
                    <a:pt x="148247" y="49157"/>
                  </a:lnTo>
                  <a:cubicBezTo>
                    <a:pt x="146330" y="51072"/>
                    <a:pt x="145690" y="54264"/>
                    <a:pt x="147608" y="56818"/>
                  </a:cubicBezTo>
                  <a:cubicBezTo>
                    <a:pt x="152080" y="63840"/>
                    <a:pt x="155275" y="70862"/>
                    <a:pt x="156553" y="79162"/>
                  </a:cubicBezTo>
                  <a:cubicBezTo>
                    <a:pt x="157192" y="82354"/>
                    <a:pt x="159748" y="84269"/>
                    <a:pt x="162943" y="84269"/>
                  </a:cubicBezTo>
                  <a:lnTo>
                    <a:pt x="172528" y="84269"/>
                  </a:lnTo>
                  <a:lnTo>
                    <a:pt x="171250" y="99590"/>
                  </a:lnTo>
                  <a:close/>
                </a:path>
              </a:pathLst>
            </a:custGeom>
            <a:grpFill/>
            <a:ln w="6390"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ヒラギノ角ゴ Pro W3" panose="020B0300000000000000" pitchFamily="34" charset="-128"/>
              </a:endParaRPr>
            </a:p>
          </p:txBody>
        </p:sp>
        <p:sp>
          <p:nvSpPr>
            <p:cNvPr id="103" name="Graphic 4">
              <a:extLst>
                <a:ext uri="{FF2B5EF4-FFF2-40B4-BE49-F238E27FC236}">
                  <a16:creationId xmlns:a16="http://schemas.microsoft.com/office/drawing/2014/main" id="{551C782D-342D-ED77-E106-3717FD4F74A2}"/>
                </a:ext>
              </a:extLst>
            </p:cNvPr>
            <p:cNvSpPr/>
            <p:nvPr/>
          </p:nvSpPr>
          <p:spPr>
            <a:xfrm>
              <a:off x="1603874" y="4086549"/>
              <a:ext cx="183391" cy="34473"/>
            </a:xfrm>
            <a:custGeom>
              <a:avLst/>
              <a:gdLst>
                <a:gd name="connsiteX0" fmla="*/ 166138 w 183391"/>
                <a:gd name="connsiteY0" fmla="*/ 0 h 34473"/>
                <a:gd name="connsiteX1" fmla="*/ 17253 w 183391"/>
                <a:gd name="connsiteY1" fmla="*/ 0 h 34473"/>
                <a:gd name="connsiteX2" fmla="*/ 0 w 183391"/>
                <a:gd name="connsiteY2" fmla="*/ 17237 h 34473"/>
                <a:gd name="connsiteX3" fmla="*/ 17253 w 183391"/>
                <a:gd name="connsiteY3" fmla="*/ 34474 h 34473"/>
                <a:gd name="connsiteX4" fmla="*/ 166138 w 183391"/>
                <a:gd name="connsiteY4" fmla="*/ 34474 h 34473"/>
                <a:gd name="connsiteX5" fmla="*/ 183391 w 183391"/>
                <a:gd name="connsiteY5" fmla="*/ 17237 h 34473"/>
                <a:gd name="connsiteX6" fmla="*/ 166138 w 183391"/>
                <a:gd name="connsiteY6" fmla="*/ 0 h 34473"/>
                <a:gd name="connsiteX7" fmla="*/ 79874 w 183391"/>
                <a:gd name="connsiteY7" fmla="*/ 22344 h 34473"/>
                <a:gd name="connsiteX8" fmla="*/ 83069 w 183391"/>
                <a:gd name="connsiteY8" fmla="*/ 12768 h 34473"/>
                <a:gd name="connsiteX9" fmla="*/ 86264 w 183391"/>
                <a:gd name="connsiteY9" fmla="*/ 12768 h 34473"/>
                <a:gd name="connsiteX10" fmla="*/ 83069 w 183391"/>
                <a:gd name="connsiteY10" fmla="*/ 22344 h 34473"/>
                <a:gd name="connsiteX11" fmla="*/ 79874 w 183391"/>
                <a:gd name="connsiteY11" fmla="*/ 22344 h 34473"/>
                <a:gd name="connsiteX12" fmla="*/ 62621 w 183391"/>
                <a:gd name="connsiteY12" fmla="*/ 22344 h 34473"/>
                <a:gd name="connsiteX13" fmla="*/ 65816 w 183391"/>
                <a:gd name="connsiteY13" fmla="*/ 12768 h 34473"/>
                <a:gd name="connsiteX14" fmla="*/ 69011 w 183391"/>
                <a:gd name="connsiteY14" fmla="*/ 12768 h 34473"/>
                <a:gd name="connsiteX15" fmla="*/ 65816 w 183391"/>
                <a:gd name="connsiteY15" fmla="*/ 22344 h 34473"/>
                <a:gd name="connsiteX16" fmla="*/ 62621 w 183391"/>
                <a:gd name="connsiteY16" fmla="*/ 22344 h 34473"/>
                <a:gd name="connsiteX17" fmla="*/ 46008 w 183391"/>
                <a:gd name="connsiteY17" fmla="*/ 22344 h 34473"/>
                <a:gd name="connsiteX18" fmla="*/ 49203 w 183391"/>
                <a:gd name="connsiteY18" fmla="*/ 12768 h 34473"/>
                <a:gd name="connsiteX19" fmla="*/ 52398 w 183391"/>
                <a:gd name="connsiteY19" fmla="*/ 12768 h 34473"/>
                <a:gd name="connsiteX20" fmla="*/ 49203 w 183391"/>
                <a:gd name="connsiteY20" fmla="*/ 22344 h 34473"/>
                <a:gd name="connsiteX21" fmla="*/ 46008 w 183391"/>
                <a:gd name="connsiteY21" fmla="*/ 22344 h 34473"/>
                <a:gd name="connsiteX22" fmla="*/ 28755 w 183391"/>
                <a:gd name="connsiteY22" fmla="*/ 22344 h 34473"/>
                <a:gd name="connsiteX23" fmla="*/ 31950 w 183391"/>
                <a:gd name="connsiteY23" fmla="*/ 12768 h 34473"/>
                <a:gd name="connsiteX24" fmla="*/ 35145 w 183391"/>
                <a:gd name="connsiteY24" fmla="*/ 12768 h 34473"/>
                <a:gd name="connsiteX25" fmla="*/ 31950 w 183391"/>
                <a:gd name="connsiteY25" fmla="*/ 22344 h 34473"/>
                <a:gd name="connsiteX26" fmla="*/ 28755 w 183391"/>
                <a:gd name="connsiteY26" fmla="*/ 22344 h 34473"/>
                <a:gd name="connsiteX27" fmla="*/ 17253 w 183391"/>
                <a:gd name="connsiteY27" fmla="*/ 12768 h 34473"/>
                <a:gd name="connsiteX28" fmla="*/ 17892 w 183391"/>
                <a:gd name="connsiteY28" fmla="*/ 12768 h 34473"/>
                <a:gd name="connsiteX29" fmla="*/ 14697 w 183391"/>
                <a:gd name="connsiteY29" fmla="*/ 21706 h 34473"/>
                <a:gd name="connsiteX30" fmla="*/ 12141 w 183391"/>
                <a:gd name="connsiteY30" fmla="*/ 17875 h 34473"/>
                <a:gd name="connsiteX31" fmla="*/ 17253 w 183391"/>
                <a:gd name="connsiteY31" fmla="*/ 12768 h 34473"/>
                <a:gd name="connsiteX32" fmla="*/ 17253 w 183391"/>
                <a:gd name="connsiteY32" fmla="*/ 12768 h 34473"/>
                <a:gd name="connsiteX33" fmla="*/ 166138 w 183391"/>
                <a:gd name="connsiteY33" fmla="*/ 22344 h 34473"/>
                <a:gd name="connsiteX34" fmla="*/ 97127 w 183391"/>
                <a:gd name="connsiteY34" fmla="*/ 22344 h 34473"/>
                <a:gd name="connsiteX35" fmla="*/ 100322 w 183391"/>
                <a:gd name="connsiteY35" fmla="*/ 12768 h 34473"/>
                <a:gd name="connsiteX36" fmla="*/ 166138 w 183391"/>
                <a:gd name="connsiteY36" fmla="*/ 12768 h 34473"/>
                <a:gd name="connsiteX37" fmla="*/ 170611 w 183391"/>
                <a:gd name="connsiteY37" fmla="*/ 17237 h 34473"/>
                <a:gd name="connsiteX38" fmla="*/ 166138 w 183391"/>
                <a:gd name="connsiteY38" fmla="*/ 22344 h 34473"/>
                <a:gd name="connsiteX39" fmla="*/ 166138 w 183391"/>
                <a:gd name="connsiteY39" fmla="*/ 2234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3391" h="34473">
                  <a:moveTo>
                    <a:pt x="166138" y="0"/>
                  </a:moveTo>
                  <a:lnTo>
                    <a:pt x="17253" y="0"/>
                  </a:lnTo>
                  <a:cubicBezTo>
                    <a:pt x="7668" y="0"/>
                    <a:pt x="0" y="7661"/>
                    <a:pt x="0" y="17237"/>
                  </a:cubicBezTo>
                  <a:cubicBezTo>
                    <a:pt x="0" y="26813"/>
                    <a:pt x="7668" y="34474"/>
                    <a:pt x="17253" y="34474"/>
                  </a:cubicBezTo>
                  <a:lnTo>
                    <a:pt x="166138" y="34474"/>
                  </a:lnTo>
                  <a:cubicBezTo>
                    <a:pt x="175723" y="34474"/>
                    <a:pt x="183391" y="26813"/>
                    <a:pt x="183391" y="17237"/>
                  </a:cubicBezTo>
                  <a:cubicBezTo>
                    <a:pt x="183391" y="8299"/>
                    <a:pt x="175723" y="0"/>
                    <a:pt x="166138" y="0"/>
                  </a:cubicBezTo>
                  <a:close/>
                  <a:moveTo>
                    <a:pt x="79874" y="22344"/>
                  </a:moveTo>
                  <a:lnTo>
                    <a:pt x="83069" y="12768"/>
                  </a:lnTo>
                  <a:lnTo>
                    <a:pt x="86264" y="12768"/>
                  </a:lnTo>
                  <a:lnTo>
                    <a:pt x="83069" y="22344"/>
                  </a:lnTo>
                  <a:lnTo>
                    <a:pt x="79874" y="22344"/>
                  </a:lnTo>
                  <a:close/>
                  <a:moveTo>
                    <a:pt x="62621" y="22344"/>
                  </a:moveTo>
                  <a:lnTo>
                    <a:pt x="65816" y="12768"/>
                  </a:lnTo>
                  <a:lnTo>
                    <a:pt x="69011" y="12768"/>
                  </a:lnTo>
                  <a:lnTo>
                    <a:pt x="65816" y="22344"/>
                  </a:lnTo>
                  <a:lnTo>
                    <a:pt x="62621" y="22344"/>
                  </a:lnTo>
                  <a:close/>
                  <a:moveTo>
                    <a:pt x="46008" y="22344"/>
                  </a:moveTo>
                  <a:lnTo>
                    <a:pt x="49203" y="12768"/>
                  </a:lnTo>
                  <a:lnTo>
                    <a:pt x="52398" y="12768"/>
                  </a:lnTo>
                  <a:lnTo>
                    <a:pt x="49203" y="22344"/>
                  </a:lnTo>
                  <a:lnTo>
                    <a:pt x="46008" y="22344"/>
                  </a:lnTo>
                  <a:close/>
                  <a:moveTo>
                    <a:pt x="28755" y="22344"/>
                  </a:moveTo>
                  <a:lnTo>
                    <a:pt x="31950" y="12768"/>
                  </a:lnTo>
                  <a:lnTo>
                    <a:pt x="35145" y="12768"/>
                  </a:lnTo>
                  <a:lnTo>
                    <a:pt x="31950" y="22344"/>
                  </a:lnTo>
                  <a:lnTo>
                    <a:pt x="28755" y="22344"/>
                  </a:lnTo>
                  <a:close/>
                  <a:moveTo>
                    <a:pt x="17253" y="12768"/>
                  </a:moveTo>
                  <a:lnTo>
                    <a:pt x="17892" y="12768"/>
                  </a:lnTo>
                  <a:lnTo>
                    <a:pt x="14697" y="21706"/>
                  </a:lnTo>
                  <a:cubicBezTo>
                    <a:pt x="13419" y="21067"/>
                    <a:pt x="12141" y="19152"/>
                    <a:pt x="12141" y="17875"/>
                  </a:cubicBezTo>
                  <a:cubicBezTo>
                    <a:pt x="12780" y="15322"/>
                    <a:pt x="14697" y="12768"/>
                    <a:pt x="17253" y="12768"/>
                  </a:cubicBezTo>
                  <a:lnTo>
                    <a:pt x="17253" y="12768"/>
                  </a:lnTo>
                  <a:close/>
                  <a:moveTo>
                    <a:pt x="166138" y="22344"/>
                  </a:moveTo>
                  <a:lnTo>
                    <a:pt x="97127" y="22344"/>
                  </a:lnTo>
                  <a:lnTo>
                    <a:pt x="100322" y="12768"/>
                  </a:lnTo>
                  <a:lnTo>
                    <a:pt x="166138" y="12768"/>
                  </a:lnTo>
                  <a:cubicBezTo>
                    <a:pt x="168694" y="12768"/>
                    <a:pt x="170611" y="14683"/>
                    <a:pt x="170611" y="17237"/>
                  </a:cubicBezTo>
                  <a:cubicBezTo>
                    <a:pt x="170611" y="19790"/>
                    <a:pt x="168694" y="22344"/>
                    <a:pt x="166138" y="22344"/>
                  </a:cubicBezTo>
                  <a:cubicBezTo>
                    <a:pt x="166138" y="22344"/>
                    <a:pt x="166138" y="22344"/>
                    <a:pt x="166138" y="22344"/>
                  </a:cubicBezTo>
                  <a:close/>
                </a:path>
              </a:pathLst>
            </a:custGeom>
            <a:grpFill/>
            <a:ln w="6390"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ヒラギノ角ゴ Pro W3" panose="020B0300000000000000" pitchFamily="34" charset="-128"/>
              </a:endParaRPr>
            </a:p>
          </p:txBody>
        </p:sp>
      </p:grpSp>
      <p:cxnSp>
        <p:nvCxnSpPr>
          <p:cNvPr id="104" name="Straight Connector 103">
            <a:extLst>
              <a:ext uri="{FF2B5EF4-FFF2-40B4-BE49-F238E27FC236}">
                <a16:creationId xmlns:a16="http://schemas.microsoft.com/office/drawing/2014/main" id="{12536EAB-D82C-F4E1-908F-DC1AA3DCACA7}"/>
              </a:ext>
            </a:extLst>
          </p:cNvPr>
          <p:cNvCxnSpPr>
            <a:cxnSpLocks/>
          </p:cNvCxnSpPr>
          <p:nvPr/>
        </p:nvCxnSpPr>
        <p:spPr>
          <a:xfrm>
            <a:off x="9501730" y="5000106"/>
            <a:ext cx="0" cy="822616"/>
          </a:xfrm>
          <a:prstGeom prst="line">
            <a:avLst/>
          </a:prstGeom>
          <a:noFill/>
          <a:ln w="6350" cap="flat" cmpd="sng" algn="ctr">
            <a:solidFill>
              <a:sysClr val="window" lastClr="FFFFFF">
                <a:lumMod val="50000"/>
              </a:sysClr>
            </a:solidFill>
            <a:prstDash val="solid"/>
            <a:headEnd type="none" w="med" len="med"/>
            <a:tailEnd type="none" w="med" len="med"/>
          </a:ln>
          <a:effectLst/>
        </p:spPr>
      </p:cxnSp>
      <p:cxnSp>
        <p:nvCxnSpPr>
          <p:cNvPr id="105" name="Straight Connector 104">
            <a:extLst>
              <a:ext uri="{FF2B5EF4-FFF2-40B4-BE49-F238E27FC236}">
                <a16:creationId xmlns:a16="http://schemas.microsoft.com/office/drawing/2014/main" id="{80DD8755-0C04-A00C-6275-39E6EC1DC181}"/>
              </a:ext>
            </a:extLst>
          </p:cNvPr>
          <p:cNvCxnSpPr>
            <a:cxnSpLocks/>
            <a:endCxn id="41" idx="4"/>
          </p:cNvCxnSpPr>
          <p:nvPr/>
        </p:nvCxnSpPr>
        <p:spPr>
          <a:xfrm>
            <a:off x="7609430" y="5000106"/>
            <a:ext cx="8653" cy="1018459"/>
          </a:xfrm>
          <a:prstGeom prst="line">
            <a:avLst/>
          </a:prstGeom>
          <a:noFill/>
          <a:ln w="6350" cap="flat" cmpd="sng" algn="ctr">
            <a:solidFill>
              <a:sysClr val="window" lastClr="FFFFFF">
                <a:lumMod val="50000"/>
              </a:sysClr>
            </a:solidFill>
            <a:prstDash val="solid"/>
            <a:headEnd type="none" w="med" len="med"/>
            <a:tailEnd type="none" w="med" len="med"/>
          </a:ln>
          <a:effectLst/>
        </p:spPr>
      </p:cxnSp>
      <p:grpSp>
        <p:nvGrpSpPr>
          <p:cNvPr id="106" name="Graphic 4">
            <a:extLst>
              <a:ext uri="{FF2B5EF4-FFF2-40B4-BE49-F238E27FC236}">
                <a16:creationId xmlns:a16="http://schemas.microsoft.com/office/drawing/2014/main" id="{86DEEF4C-8920-7F00-D753-30CC96A8C57D}"/>
              </a:ext>
            </a:extLst>
          </p:cNvPr>
          <p:cNvGrpSpPr>
            <a:grpSpLocks noChangeAspect="1"/>
          </p:cNvGrpSpPr>
          <p:nvPr/>
        </p:nvGrpSpPr>
        <p:grpSpPr>
          <a:xfrm>
            <a:off x="8459480" y="5215457"/>
            <a:ext cx="323417" cy="323111"/>
            <a:chOff x="2559808" y="4308712"/>
            <a:chExt cx="362313" cy="361971"/>
          </a:xfrm>
          <a:solidFill>
            <a:sysClr val="window" lastClr="FFFFFF"/>
          </a:solidFill>
        </p:grpSpPr>
        <p:sp>
          <p:nvSpPr>
            <p:cNvPr id="107" name="Graphic 4">
              <a:extLst>
                <a:ext uri="{FF2B5EF4-FFF2-40B4-BE49-F238E27FC236}">
                  <a16:creationId xmlns:a16="http://schemas.microsoft.com/office/drawing/2014/main" id="{A09EC703-ADF8-51D4-1B2C-45AEE2FC4C9F}"/>
                </a:ext>
              </a:extLst>
            </p:cNvPr>
            <p:cNvSpPr/>
            <p:nvPr/>
          </p:nvSpPr>
          <p:spPr>
            <a:xfrm>
              <a:off x="2559808"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29 w 362313"/>
                <a:gd name="connsiteY10" fmla="*/ 180667 h 361971"/>
                <a:gd name="connsiteX11" fmla="*/ 349529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ヒラギノ角ゴ Pro W3" panose="020B0300000000000000" pitchFamily="34" charset="-128"/>
              </a:endParaRPr>
            </a:p>
          </p:txBody>
        </p:sp>
        <p:sp>
          <p:nvSpPr>
            <p:cNvPr id="108" name="Graphic 4">
              <a:extLst>
                <a:ext uri="{FF2B5EF4-FFF2-40B4-BE49-F238E27FC236}">
                  <a16:creationId xmlns:a16="http://schemas.microsoft.com/office/drawing/2014/main" id="{6A5B0442-9280-8453-9F54-84036185A453}"/>
                </a:ext>
              </a:extLst>
            </p:cNvPr>
            <p:cNvSpPr/>
            <p:nvPr/>
          </p:nvSpPr>
          <p:spPr>
            <a:xfrm>
              <a:off x="2637127" y="4410855"/>
              <a:ext cx="208311" cy="157684"/>
            </a:xfrm>
            <a:custGeom>
              <a:avLst/>
              <a:gdLst>
                <a:gd name="connsiteX0" fmla="*/ 197449 w 208311"/>
                <a:gd name="connsiteY0" fmla="*/ 1915 h 157684"/>
                <a:gd name="connsiteX1" fmla="*/ 56870 w 208311"/>
                <a:gd name="connsiteY1" fmla="*/ 142363 h 157684"/>
                <a:gd name="connsiteX2" fmla="*/ 10863 w 208311"/>
                <a:gd name="connsiteY2" fmla="*/ 96398 h 157684"/>
                <a:gd name="connsiteX3" fmla="*/ 1917 w 208311"/>
                <a:gd name="connsiteY3" fmla="*/ 96398 h 157684"/>
                <a:gd name="connsiteX4" fmla="*/ 1917 w 208311"/>
                <a:gd name="connsiteY4" fmla="*/ 105336 h 157684"/>
                <a:gd name="connsiteX5" fmla="*/ 1917 w 208311"/>
                <a:gd name="connsiteY5" fmla="*/ 105336 h 157684"/>
                <a:gd name="connsiteX6" fmla="*/ 52397 w 208311"/>
                <a:gd name="connsiteY6" fmla="*/ 155769 h 157684"/>
                <a:gd name="connsiteX7" fmla="*/ 56870 w 208311"/>
                <a:gd name="connsiteY7" fmla="*/ 157684 h 157684"/>
                <a:gd name="connsiteX8" fmla="*/ 61343 w 208311"/>
                <a:gd name="connsiteY8" fmla="*/ 155769 h 157684"/>
                <a:gd name="connsiteX9" fmla="*/ 206395 w 208311"/>
                <a:gd name="connsiteY9" fmla="*/ 10853 h 157684"/>
                <a:gd name="connsiteX10" fmla="*/ 206395 w 208311"/>
                <a:gd name="connsiteY10" fmla="*/ 1915 h 157684"/>
                <a:gd name="connsiteX11" fmla="*/ 197449 w 208311"/>
                <a:gd name="connsiteY11" fmla="*/ 1915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311" h="157684">
                  <a:moveTo>
                    <a:pt x="197449" y="1915"/>
                  </a:moveTo>
                  <a:lnTo>
                    <a:pt x="56870" y="142363"/>
                  </a:lnTo>
                  <a:lnTo>
                    <a:pt x="10863" y="96398"/>
                  </a:lnTo>
                  <a:cubicBezTo>
                    <a:pt x="8307" y="93845"/>
                    <a:pt x="4473" y="93845"/>
                    <a:pt x="1917" y="96398"/>
                  </a:cubicBezTo>
                  <a:cubicBezTo>
                    <a:pt x="-639" y="98952"/>
                    <a:pt x="-639" y="102782"/>
                    <a:pt x="1917" y="105336"/>
                  </a:cubicBezTo>
                  <a:lnTo>
                    <a:pt x="1917" y="105336"/>
                  </a:lnTo>
                  <a:lnTo>
                    <a:pt x="52397" y="155769"/>
                  </a:lnTo>
                  <a:cubicBezTo>
                    <a:pt x="53675" y="157046"/>
                    <a:pt x="54953" y="157684"/>
                    <a:pt x="56870" y="157684"/>
                  </a:cubicBezTo>
                  <a:cubicBezTo>
                    <a:pt x="58787" y="157684"/>
                    <a:pt x="60065" y="157046"/>
                    <a:pt x="61343" y="155769"/>
                  </a:cubicBezTo>
                  <a:lnTo>
                    <a:pt x="206395" y="10853"/>
                  </a:lnTo>
                  <a:cubicBezTo>
                    <a:pt x="208951" y="8299"/>
                    <a:pt x="208951" y="4469"/>
                    <a:pt x="206395" y="1915"/>
                  </a:cubicBezTo>
                  <a:cubicBezTo>
                    <a:pt x="204478" y="-638"/>
                    <a:pt x="200005" y="-638"/>
                    <a:pt x="197449" y="1915"/>
                  </a:cubicBezTo>
                  <a:close/>
                </a:path>
              </a:pathLst>
            </a:custGeom>
            <a:grpFill/>
            <a:ln w="6390"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ヒラギノ角ゴ Pro W3" panose="020B0300000000000000" pitchFamily="34" charset="-128"/>
              </a:endParaRPr>
            </a:p>
          </p:txBody>
        </p:sp>
      </p:grpSp>
      <p:grpSp>
        <p:nvGrpSpPr>
          <p:cNvPr id="109" name="Graphic 4">
            <a:extLst>
              <a:ext uri="{FF2B5EF4-FFF2-40B4-BE49-F238E27FC236}">
                <a16:creationId xmlns:a16="http://schemas.microsoft.com/office/drawing/2014/main" id="{1ED88B36-AC8D-ECD9-0C9C-3F0FC46E513D}"/>
              </a:ext>
            </a:extLst>
          </p:cNvPr>
          <p:cNvGrpSpPr>
            <a:grpSpLocks noChangeAspect="1"/>
          </p:cNvGrpSpPr>
          <p:nvPr/>
        </p:nvGrpSpPr>
        <p:grpSpPr>
          <a:xfrm>
            <a:off x="9079314" y="5600563"/>
            <a:ext cx="342391" cy="342068"/>
            <a:chOff x="5708130" y="1402723"/>
            <a:chExt cx="362313" cy="361971"/>
          </a:xfrm>
          <a:solidFill>
            <a:sysClr val="window" lastClr="FFFFFF"/>
          </a:solidFill>
        </p:grpSpPr>
        <p:sp>
          <p:nvSpPr>
            <p:cNvPr id="110" name="Graphic 4">
              <a:extLst>
                <a:ext uri="{FF2B5EF4-FFF2-40B4-BE49-F238E27FC236}">
                  <a16:creationId xmlns:a16="http://schemas.microsoft.com/office/drawing/2014/main" id="{1DD2FF70-8996-5957-7D63-91FBABFDC076}"/>
                </a:ext>
              </a:extLst>
            </p:cNvPr>
            <p:cNvSpPr/>
            <p:nvPr/>
          </p:nvSpPr>
          <p:spPr>
            <a:xfrm>
              <a:off x="5708130"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4"/>
                    <a:pt x="12780" y="180667"/>
                  </a:cubicBezTo>
                  <a:cubicBezTo>
                    <a:pt x="12780" y="88099"/>
                    <a:pt x="88181" y="12130"/>
                    <a:pt x="180835" y="12130"/>
                  </a:cubicBezTo>
                  <a:cubicBezTo>
                    <a:pt x="274128" y="12130"/>
                    <a:pt x="349530" y="87461"/>
                    <a:pt x="349530" y="180028"/>
                  </a:cubicBezTo>
                  <a:lnTo>
                    <a:pt x="349530" y="180028"/>
                  </a:lnTo>
                  <a:cubicBezTo>
                    <a:pt x="349530" y="273234"/>
                    <a:pt x="274767" y="348565"/>
                    <a:pt x="181474" y="348565"/>
                  </a:cubicBezTo>
                  <a:close/>
                </a:path>
              </a:pathLst>
            </a:custGeom>
            <a:grpFill/>
            <a:ln w="6390"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ヒラギノ角ゴ Pro W3" panose="020B0300000000000000" pitchFamily="34" charset="-128"/>
              </a:endParaRPr>
            </a:p>
          </p:txBody>
        </p:sp>
        <p:sp>
          <p:nvSpPr>
            <p:cNvPr id="111" name="Graphic 4">
              <a:extLst>
                <a:ext uri="{FF2B5EF4-FFF2-40B4-BE49-F238E27FC236}">
                  <a16:creationId xmlns:a16="http://schemas.microsoft.com/office/drawing/2014/main" id="{9C53120E-F4EA-9BD0-0A48-D98901D92B1D}"/>
                </a:ext>
              </a:extLst>
            </p:cNvPr>
            <p:cNvSpPr/>
            <p:nvPr/>
          </p:nvSpPr>
          <p:spPr>
            <a:xfrm>
              <a:off x="5794394" y="1483161"/>
              <a:ext cx="189879" cy="213348"/>
            </a:xfrm>
            <a:custGeom>
              <a:avLst/>
              <a:gdLst>
                <a:gd name="connsiteX0" fmla="*/ 184030 w 189879"/>
                <a:gd name="connsiteY0" fmla="*/ 7661 h 213348"/>
                <a:gd name="connsiteX1" fmla="*/ 101600 w 189879"/>
                <a:gd name="connsiteY1" fmla="*/ 7661 h 213348"/>
                <a:gd name="connsiteX2" fmla="*/ 101600 w 189879"/>
                <a:gd name="connsiteY2" fmla="*/ 6384 h 213348"/>
                <a:gd name="connsiteX3" fmla="*/ 95210 w 189879"/>
                <a:gd name="connsiteY3" fmla="*/ 0 h 213348"/>
                <a:gd name="connsiteX4" fmla="*/ 88820 w 189879"/>
                <a:gd name="connsiteY4" fmla="*/ 6384 h 213348"/>
                <a:gd name="connsiteX5" fmla="*/ 88820 w 189879"/>
                <a:gd name="connsiteY5" fmla="*/ 7661 h 213348"/>
                <a:gd name="connsiteX6" fmla="*/ 6390 w 189879"/>
                <a:gd name="connsiteY6" fmla="*/ 7661 h 213348"/>
                <a:gd name="connsiteX7" fmla="*/ 0 w 189879"/>
                <a:gd name="connsiteY7" fmla="*/ 14045 h 213348"/>
                <a:gd name="connsiteX8" fmla="*/ 0 w 189879"/>
                <a:gd name="connsiteY8" fmla="*/ 147470 h 213348"/>
                <a:gd name="connsiteX9" fmla="*/ 6390 w 189879"/>
                <a:gd name="connsiteY9" fmla="*/ 153854 h 213348"/>
                <a:gd name="connsiteX10" fmla="*/ 56231 w 189879"/>
                <a:gd name="connsiteY10" fmla="*/ 153854 h 213348"/>
                <a:gd name="connsiteX11" fmla="*/ 37062 w 189879"/>
                <a:gd name="connsiteY11" fmla="*/ 204288 h 213348"/>
                <a:gd name="connsiteX12" fmla="*/ 40896 w 189879"/>
                <a:gd name="connsiteY12" fmla="*/ 212587 h 213348"/>
                <a:gd name="connsiteX13" fmla="*/ 40896 w 189879"/>
                <a:gd name="connsiteY13" fmla="*/ 212587 h 213348"/>
                <a:gd name="connsiteX14" fmla="*/ 43451 w 189879"/>
                <a:gd name="connsiteY14" fmla="*/ 213225 h 213348"/>
                <a:gd name="connsiteX15" fmla="*/ 49203 w 189879"/>
                <a:gd name="connsiteY15" fmla="*/ 209395 h 213348"/>
                <a:gd name="connsiteX16" fmla="*/ 69650 w 189879"/>
                <a:gd name="connsiteY16" fmla="*/ 154492 h 213348"/>
                <a:gd name="connsiteX17" fmla="*/ 88820 w 189879"/>
                <a:gd name="connsiteY17" fmla="*/ 154492 h 213348"/>
                <a:gd name="connsiteX18" fmla="*/ 88820 w 189879"/>
                <a:gd name="connsiteY18" fmla="*/ 185136 h 213348"/>
                <a:gd name="connsiteX19" fmla="*/ 95210 w 189879"/>
                <a:gd name="connsiteY19" fmla="*/ 191520 h 213348"/>
                <a:gd name="connsiteX20" fmla="*/ 101600 w 189879"/>
                <a:gd name="connsiteY20" fmla="*/ 185136 h 213348"/>
                <a:gd name="connsiteX21" fmla="*/ 101600 w 189879"/>
                <a:gd name="connsiteY21" fmla="*/ 154492 h 213348"/>
                <a:gd name="connsiteX22" fmla="*/ 120770 w 189879"/>
                <a:gd name="connsiteY22" fmla="*/ 154492 h 213348"/>
                <a:gd name="connsiteX23" fmla="*/ 141218 w 189879"/>
                <a:gd name="connsiteY23" fmla="*/ 209395 h 213348"/>
                <a:gd name="connsiteX24" fmla="*/ 146969 w 189879"/>
                <a:gd name="connsiteY24" fmla="*/ 213225 h 213348"/>
                <a:gd name="connsiteX25" fmla="*/ 148885 w 189879"/>
                <a:gd name="connsiteY25" fmla="*/ 212587 h 213348"/>
                <a:gd name="connsiteX26" fmla="*/ 152720 w 189879"/>
                <a:gd name="connsiteY26" fmla="*/ 204288 h 213348"/>
                <a:gd name="connsiteX27" fmla="*/ 152720 w 189879"/>
                <a:gd name="connsiteY27" fmla="*/ 204288 h 213348"/>
                <a:gd name="connsiteX28" fmla="*/ 133550 w 189879"/>
                <a:gd name="connsiteY28" fmla="*/ 153854 h 213348"/>
                <a:gd name="connsiteX29" fmla="*/ 183391 w 189879"/>
                <a:gd name="connsiteY29" fmla="*/ 153854 h 213348"/>
                <a:gd name="connsiteX30" fmla="*/ 189781 w 189879"/>
                <a:gd name="connsiteY30" fmla="*/ 147470 h 213348"/>
                <a:gd name="connsiteX31" fmla="*/ 189781 w 189879"/>
                <a:gd name="connsiteY31" fmla="*/ 14045 h 213348"/>
                <a:gd name="connsiteX32" fmla="*/ 184030 w 189879"/>
                <a:gd name="connsiteY32" fmla="*/ 7661 h 213348"/>
                <a:gd name="connsiteX33" fmla="*/ 177640 w 189879"/>
                <a:gd name="connsiteY33" fmla="*/ 141086 h 213348"/>
                <a:gd name="connsiteX34" fmla="*/ 12141 w 189879"/>
                <a:gd name="connsiteY34" fmla="*/ 141086 h 213348"/>
                <a:gd name="connsiteX35" fmla="*/ 12141 w 189879"/>
                <a:gd name="connsiteY35" fmla="*/ 20429 h 213348"/>
                <a:gd name="connsiteX36" fmla="*/ 177640 w 189879"/>
                <a:gd name="connsiteY36" fmla="*/ 20429 h 213348"/>
                <a:gd name="connsiteX37" fmla="*/ 177640 w 189879"/>
                <a:gd name="connsiteY37" fmla="*/ 141086 h 2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9879" h="213348">
                  <a:moveTo>
                    <a:pt x="184030" y="7661"/>
                  </a:moveTo>
                  <a:lnTo>
                    <a:pt x="101600" y="7661"/>
                  </a:lnTo>
                  <a:lnTo>
                    <a:pt x="101600" y="6384"/>
                  </a:lnTo>
                  <a:cubicBezTo>
                    <a:pt x="101600" y="2554"/>
                    <a:pt x="99044" y="0"/>
                    <a:pt x="95210" y="0"/>
                  </a:cubicBezTo>
                  <a:cubicBezTo>
                    <a:pt x="91376" y="0"/>
                    <a:pt x="88820" y="2554"/>
                    <a:pt x="88820" y="6384"/>
                  </a:cubicBezTo>
                  <a:lnTo>
                    <a:pt x="88820" y="7661"/>
                  </a:lnTo>
                  <a:lnTo>
                    <a:pt x="6390" y="7661"/>
                  </a:lnTo>
                  <a:cubicBezTo>
                    <a:pt x="2556" y="7661"/>
                    <a:pt x="0" y="10214"/>
                    <a:pt x="0" y="14045"/>
                  </a:cubicBezTo>
                  <a:lnTo>
                    <a:pt x="0" y="147470"/>
                  </a:lnTo>
                  <a:cubicBezTo>
                    <a:pt x="0" y="151300"/>
                    <a:pt x="2556" y="153854"/>
                    <a:pt x="6390" y="153854"/>
                  </a:cubicBezTo>
                  <a:lnTo>
                    <a:pt x="56231" y="153854"/>
                  </a:lnTo>
                  <a:lnTo>
                    <a:pt x="37062" y="204288"/>
                  </a:lnTo>
                  <a:cubicBezTo>
                    <a:pt x="35784" y="207480"/>
                    <a:pt x="37701" y="211310"/>
                    <a:pt x="40896" y="212587"/>
                  </a:cubicBezTo>
                  <a:cubicBezTo>
                    <a:pt x="40896" y="212587"/>
                    <a:pt x="40896" y="212587"/>
                    <a:pt x="40896" y="212587"/>
                  </a:cubicBezTo>
                  <a:cubicBezTo>
                    <a:pt x="41535" y="212587"/>
                    <a:pt x="42174" y="213225"/>
                    <a:pt x="43451" y="213225"/>
                  </a:cubicBezTo>
                  <a:cubicBezTo>
                    <a:pt x="46008" y="213225"/>
                    <a:pt x="48564" y="211310"/>
                    <a:pt x="49203" y="209395"/>
                  </a:cubicBezTo>
                  <a:lnTo>
                    <a:pt x="69650" y="154492"/>
                  </a:lnTo>
                  <a:lnTo>
                    <a:pt x="88820" y="154492"/>
                  </a:lnTo>
                  <a:lnTo>
                    <a:pt x="88820" y="185136"/>
                  </a:lnTo>
                  <a:cubicBezTo>
                    <a:pt x="88820" y="188966"/>
                    <a:pt x="91376" y="191520"/>
                    <a:pt x="95210" y="191520"/>
                  </a:cubicBezTo>
                  <a:cubicBezTo>
                    <a:pt x="99044" y="191520"/>
                    <a:pt x="101600" y="188966"/>
                    <a:pt x="101600" y="185136"/>
                  </a:cubicBezTo>
                  <a:lnTo>
                    <a:pt x="101600" y="154492"/>
                  </a:lnTo>
                  <a:lnTo>
                    <a:pt x="120770" y="154492"/>
                  </a:lnTo>
                  <a:lnTo>
                    <a:pt x="141218" y="209395"/>
                  </a:lnTo>
                  <a:cubicBezTo>
                    <a:pt x="141857" y="211948"/>
                    <a:pt x="144413" y="213864"/>
                    <a:pt x="146969" y="213225"/>
                  </a:cubicBezTo>
                  <a:cubicBezTo>
                    <a:pt x="147608" y="213225"/>
                    <a:pt x="148247" y="213225"/>
                    <a:pt x="148885" y="212587"/>
                  </a:cubicBezTo>
                  <a:cubicBezTo>
                    <a:pt x="152080" y="211310"/>
                    <a:pt x="153998" y="207480"/>
                    <a:pt x="152720" y="204288"/>
                  </a:cubicBezTo>
                  <a:cubicBezTo>
                    <a:pt x="152720" y="204288"/>
                    <a:pt x="152720" y="204288"/>
                    <a:pt x="152720" y="204288"/>
                  </a:cubicBezTo>
                  <a:lnTo>
                    <a:pt x="133550" y="153854"/>
                  </a:lnTo>
                  <a:lnTo>
                    <a:pt x="183391" y="153854"/>
                  </a:lnTo>
                  <a:cubicBezTo>
                    <a:pt x="187225" y="153854"/>
                    <a:pt x="189781" y="151300"/>
                    <a:pt x="189781" y="147470"/>
                  </a:cubicBezTo>
                  <a:lnTo>
                    <a:pt x="189781" y="14045"/>
                  </a:lnTo>
                  <a:cubicBezTo>
                    <a:pt x="190420" y="10214"/>
                    <a:pt x="187864" y="7661"/>
                    <a:pt x="184030" y="7661"/>
                  </a:cubicBezTo>
                  <a:close/>
                  <a:moveTo>
                    <a:pt x="177640" y="141086"/>
                  </a:moveTo>
                  <a:lnTo>
                    <a:pt x="12141" y="141086"/>
                  </a:lnTo>
                  <a:lnTo>
                    <a:pt x="12141" y="20429"/>
                  </a:lnTo>
                  <a:lnTo>
                    <a:pt x="177640" y="20429"/>
                  </a:lnTo>
                  <a:lnTo>
                    <a:pt x="177640" y="141086"/>
                  </a:lnTo>
                  <a:close/>
                </a:path>
              </a:pathLst>
            </a:custGeom>
            <a:grpFill/>
            <a:ln w="6390"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ヒラギノ角ゴ Pro W3" panose="020B0300000000000000" pitchFamily="34" charset="-128"/>
              </a:endParaRPr>
            </a:p>
          </p:txBody>
        </p:sp>
      </p:grpSp>
    </p:spTree>
    <p:extLst>
      <p:ext uri="{BB962C8B-B14F-4D97-AF65-F5344CB8AC3E}">
        <p14:creationId xmlns:p14="http://schemas.microsoft.com/office/powerpoint/2010/main" val="3784693457"/>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Advise-Implement-Operate model provides a balanced and integrated support and maintenance approach to help UNICEF drive the evolution </a:t>
            </a:r>
            <a:r>
              <a:rPr lang="en-US" sz="1400" dirty="0">
                <a:solidFill>
                  <a:prstClr val="black"/>
                </a:solidFill>
              </a:rPr>
              <a:t>of its </a:t>
            </a: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verchanging technology, operating environment and business challenges.</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Advise, Implement, Operate (A-I-0) Engagement Model</a:t>
            </a:r>
          </a:p>
        </p:txBody>
      </p:sp>
      <p:graphicFrame>
        <p:nvGraphicFramePr>
          <p:cNvPr id="33" name="Table 32">
            <a:extLst>
              <a:ext uri="{FF2B5EF4-FFF2-40B4-BE49-F238E27FC236}">
                <a16:creationId xmlns:a16="http://schemas.microsoft.com/office/drawing/2014/main" id="{65E9D850-958E-0DBE-51CB-C73FE3DE73D4}"/>
              </a:ext>
            </a:extLst>
          </p:cNvPr>
          <p:cNvGraphicFramePr>
            <a:graphicFrameLocks noGrp="1"/>
          </p:cNvGraphicFramePr>
          <p:nvPr>
            <p:extLst>
              <p:ext uri="{D42A27DB-BD31-4B8C-83A1-F6EECF244321}">
                <p14:modId xmlns:p14="http://schemas.microsoft.com/office/powerpoint/2010/main" val="3690071042"/>
              </p:ext>
            </p:extLst>
          </p:nvPr>
        </p:nvGraphicFramePr>
        <p:xfrm>
          <a:off x="8116327" y="1800795"/>
          <a:ext cx="3634204" cy="2355003"/>
        </p:xfrm>
        <a:graphic>
          <a:graphicData uri="http://schemas.openxmlformats.org/drawingml/2006/table">
            <a:tbl>
              <a:tblPr>
                <a:tableStyleId>{5C22544A-7EE6-4342-B048-85BDC9FD1C3A}</a:tableStyleId>
              </a:tblPr>
              <a:tblGrid>
                <a:gridCol w="3634204">
                  <a:extLst>
                    <a:ext uri="{9D8B030D-6E8A-4147-A177-3AD203B41FA5}">
                      <a16:colId xmlns:a16="http://schemas.microsoft.com/office/drawing/2014/main" val="2930579320"/>
                    </a:ext>
                  </a:extLst>
                </a:gridCol>
              </a:tblGrid>
              <a:tr h="692648">
                <a:tc>
                  <a:txBody>
                    <a:bodyPr/>
                    <a:lstStyle/>
                    <a:p>
                      <a:pPr marL="171450" indent="-171450">
                        <a:buFont typeface="Arial" panose="020B0604020202020204" pitchFamily="34" charset="0"/>
                        <a:buChar char="•"/>
                      </a:pPr>
                      <a:r>
                        <a:rPr lang="en-US" sz="12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Help our clients navigate complex, changing business environment </a:t>
                      </a:r>
                    </a:p>
                  </a:txBody>
                  <a:tcPr>
                    <a:noFill/>
                  </a:tcPr>
                </a:tc>
                <a:extLst>
                  <a:ext uri="{0D108BD9-81ED-4DB2-BD59-A6C34878D82A}">
                    <a16:rowId xmlns:a16="http://schemas.microsoft.com/office/drawing/2014/main" val="4235052348"/>
                  </a:ext>
                </a:extLst>
              </a:tr>
              <a:tr h="692648">
                <a:tc>
                  <a:txBody>
                    <a:bodyPr/>
                    <a:lstStyle/>
                    <a:p>
                      <a:pPr marL="171450" indent="-171450">
                        <a:buFont typeface="Arial" panose="020B0604020202020204" pitchFamily="34" charset="0"/>
                        <a:buChar char="•"/>
                      </a:pPr>
                      <a:r>
                        <a:rPr kumimoji="0" lang="en-US" sz="1200" b="0" i="0" u="none" strike="noStrike" kern="1200" cap="none" spc="0" normalizeH="0" baseline="0" noProof="0" dirty="0">
                          <a:ln>
                            <a:noFill/>
                          </a:ln>
                          <a:solidFill>
                            <a:schemeClr val="accent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vide insight to the rapid evolution of their opportunities and challenges </a:t>
                      </a:r>
                      <a:endParaRPr lang="en-US" sz="12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oFill/>
                  </a:tcPr>
                </a:tc>
                <a:extLst>
                  <a:ext uri="{0D108BD9-81ED-4DB2-BD59-A6C34878D82A}">
                    <a16:rowId xmlns:a16="http://schemas.microsoft.com/office/drawing/2014/main" val="1198979454"/>
                  </a:ext>
                </a:extLst>
              </a:tr>
              <a:tr h="969707">
                <a:tc>
                  <a:txBody>
                    <a:bodyPr/>
                    <a:lstStyle/>
                    <a:p>
                      <a:pPr marL="171450" indent="-171450">
                        <a:buFont typeface="Arial" panose="020B0604020202020204" pitchFamily="34" charset="0"/>
                        <a:buChar char="•"/>
                      </a:pPr>
                      <a:r>
                        <a:rPr kumimoji="0" lang="en-US" sz="1200" b="0" i="0" u="none" strike="noStrike" kern="1200" cap="none" spc="0" normalizeH="0" baseline="0" noProof="0" dirty="0">
                          <a:ln>
                            <a:noFill/>
                          </a:ln>
                          <a:solidFill>
                            <a:schemeClr val="accent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uide decision makers with critical insights that bring together data, analytics, knowledge and experience</a:t>
                      </a:r>
                      <a:endParaRPr lang="en-US" sz="12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oFill/>
                  </a:tcPr>
                </a:tc>
                <a:extLst>
                  <a:ext uri="{0D108BD9-81ED-4DB2-BD59-A6C34878D82A}">
                    <a16:rowId xmlns:a16="http://schemas.microsoft.com/office/drawing/2014/main" val="638872891"/>
                  </a:ext>
                </a:extLst>
              </a:tr>
            </a:tbl>
          </a:graphicData>
        </a:graphic>
      </p:graphicFrame>
      <p:graphicFrame>
        <p:nvGraphicFramePr>
          <p:cNvPr id="34" name="Table 33">
            <a:extLst>
              <a:ext uri="{FF2B5EF4-FFF2-40B4-BE49-F238E27FC236}">
                <a16:creationId xmlns:a16="http://schemas.microsoft.com/office/drawing/2014/main" id="{5ABC2789-016C-2DE5-BD35-5BA95863DF89}"/>
              </a:ext>
            </a:extLst>
          </p:cNvPr>
          <p:cNvGraphicFramePr>
            <a:graphicFrameLocks noGrp="1"/>
          </p:cNvGraphicFramePr>
          <p:nvPr>
            <p:extLst>
              <p:ext uri="{D42A27DB-BD31-4B8C-83A1-F6EECF244321}">
                <p14:modId xmlns:p14="http://schemas.microsoft.com/office/powerpoint/2010/main" val="4221534428"/>
              </p:ext>
            </p:extLst>
          </p:nvPr>
        </p:nvGraphicFramePr>
        <p:xfrm>
          <a:off x="1351352" y="5174659"/>
          <a:ext cx="9417270" cy="1188720"/>
        </p:xfrm>
        <a:graphic>
          <a:graphicData uri="http://schemas.openxmlformats.org/drawingml/2006/table">
            <a:tbl>
              <a:tblPr>
                <a:tableStyleId>{5C22544A-7EE6-4342-B048-85BDC9FD1C3A}</a:tableStyleId>
              </a:tblPr>
              <a:tblGrid>
                <a:gridCol w="3378598">
                  <a:extLst>
                    <a:ext uri="{9D8B030D-6E8A-4147-A177-3AD203B41FA5}">
                      <a16:colId xmlns:a16="http://schemas.microsoft.com/office/drawing/2014/main" val="2014042715"/>
                    </a:ext>
                  </a:extLst>
                </a:gridCol>
                <a:gridCol w="2980308">
                  <a:extLst>
                    <a:ext uri="{9D8B030D-6E8A-4147-A177-3AD203B41FA5}">
                      <a16:colId xmlns:a16="http://schemas.microsoft.com/office/drawing/2014/main" val="2060988617"/>
                    </a:ext>
                  </a:extLst>
                </a:gridCol>
                <a:gridCol w="3058364">
                  <a:extLst>
                    <a:ext uri="{9D8B030D-6E8A-4147-A177-3AD203B41FA5}">
                      <a16:colId xmlns:a16="http://schemas.microsoft.com/office/drawing/2014/main" val="2669467868"/>
                    </a:ext>
                  </a:extLst>
                </a:gridCol>
              </a:tblGrid>
              <a:tr h="370840">
                <a:tc>
                  <a:txBody>
                    <a:bodyPr/>
                    <a:lstStyle/>
                    <a:p>
                      <a:pPr marL="171450" marR="0" lvl="0" indent="-1714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ecute their critical choices regarding people, infrastructure, systems, process, governance and operating model investments, by bringing expertise, experience and committed, hands-on  partnership</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kumimoji="0" lang="en-US" sz="1200" b="0" i="0" u="none" strike="noStrike" kern="1200" cap="none" spc="0" normalizeH="0" baseline="0" noProof="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ensure seamless delivery at the scale, speed, cost and functionality agreed with and expected by the client…</a:t>
                      </a:r>
                      <a:endParaRPr kumimoji="0" lang="en-US" sz="1200" b="0" i="0" u="none" strike="noStrike" kern="1200" cap="none" spc="0" normalizeH="0" baseline="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kumimoji="0" lang="en-US" sz="1200" b="0" i="0" u="none" strike="noStrike" kern="1200" cap="none" spc="0" normalizeH="0" baseline="0" noProof="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deliver a significant transformation of the clients’ capabilities for the ongoing operation and evolution of important dimensions of their organization.</a:t>
                      </a:r>
                      <a:endParaRPr kumimoji="0" lang="en-US" sz="1200" b="0" i="0" u="none" strike="noStrike" kern="1200" cap="none" spc="0" normalizeH="0" baseline="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6653372"/>
                  </a:ext>
                </a:extLst>
              </a:tr>
            </a:tbl>
          </a:graphicData>
        </a:graphic>
      </p:graphicFrame>
      <p:graphicFrame>
        <p:nvGraphicFramePr>
          <p:cNvPr id="35" name="Table 34">
            <a:extLst>
              <a:ext uri="{FF2B5EF4-FFF2-40B4-BE49-F238E27FC236}">
                <a16:creationId xmlns:a16="http://schemas.microsoft.com/office/drawing/2014/main" id="{ECBEEA92-E6DC-6B2D-C958-A6B9EE645DFD}"/>
              </a:ext>
            </a:extLst>
          </p:cNvPr>
          <p:cNvGraphicFramePr>
            <a:graphicFrameLocks noGrp="1"/>
          </p:cNvGraphicFramePr>
          <p:nvPr>
            <p:extLst>
              <p:ext uri="{D42A27DB-BD31-4B8C-83A1-F6EECF244321}">
                <p14:modId xmlns:p14="http://schemas.microsoft.com/office/powerpoint/2010/main" val="4235319765"/>
              </p:ext>
            </p:extLst>
          </p:nvPr>
        </p:nvGraphicFramePr>
        <p:xfrm>
          <a:off x="477416" y="1795484"/>
          <a:ext cx="3834337" cy="2011680"/>
        </p:xfrm>
        <a:graphic>
          <a:graphicData uri="http://schemas.openxmlformats.org/drawingml/2006/table">
            <a:tbl>
              <a:tblPr>
                <a:tableStyleId>{5C22544A-7EE6-4342-B048-85BDC9FD1C3A}</a:tableStyleId>
              </a:tblPr>
              <a:tblGrid>
                <a:gridCol w="3834337">
                  <a:extLst>
                    <a:ext uri="{9D8B030D-6E8A-4147-A177-3AD203B41FA5}">
                      <a16:colId xmlns:a16="http://schemas.microsoft.com/office/drawing/2014/main" val="2930579320"/>
                    </a:ext>
                  </a:extLst>
                </a:gridCol>
              </a:tblGrid>
              <a:tr h="370840">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combine our IP, analytics, product and data assets, experience and expertise to reliably deliver superior outcomes, efficiencies and cost savings</a:t>
                      </a:r>
                      <a:endPar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171450" indent="-171450">
                        <a:buFont typeface="Arial" panose="020B0604020202020204" pitchFamily="34" charset="0"/>
                        <a:buChar char="•"/>
                      </a:pPr>
                      <a:endPar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171450" indent="-171450">
                        <a:buFont typeface="Arial" panose="020B0604020202020204" pitchFamily="34" charset="0"/>
                        <a:buChar char="•"/>
                      </a:pPr>
                      <a:r>
                        <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ignificantly improve the strategic effectiveness and efficiency of our clients  operations, while enabling them to focus their own resources</a:t>
                      </a:r>
                    </a:p>
                  </a:txBody>
                  <a:tcPr>
                    <a:noFill/>
                  </a:tcPr>
                </a:tc>
                <a:extLst>
                  <a:ext uri="{0D108BD9-81ED-4DB2-BD59-A6C34878D82A}">
                    <a16:rowId xmlns:a16="http://schemas.microsoft.com/office/drawing/2014/main" val="4235052348"/>
                  </a:ext>
                </a:extLst>
              </a:tr>
              <a:tr h="370840">
                <a:tc>
                  <a:txBody>
                    <a:bodyPr/>
                    <a:lstStyle/>
                    <a:p>
                      <a:pPr marL="171450" indent="-171450">
                        <a:buFont typeface="Arial" panose="020B0604020202020204" pitchFamily="34" charset="0"/>
                        <a:buChar char="•"/>
                      </a:pPr>
                      <a:r>
                        <a:rPr kumimoji="0" lang="en-US" sz="1200" b="0"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vide continuous operational responsibility for an expanding array of our clients mission critical systems, processes and functions</a:t>
                      </a:r>
                      <a:endParaRPr lang="en-US" sz="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oFill/>
                  </a:tcPr>
                </a:tc>
                <a:extLst>
                  <a:ext uri="{0D108BD9-81ED-4DB2-BD59-A6C34878D82A}">
                    <a16:rowId xmlns:a16="http://schemas.microsoft.com/office/drawing/2014/main" val="1198979454"/>
                  </a:ext>
                </a:extLst>
              </a:tr>
            </a:tbl>
          </a:graphicData>
        </a:graphic>
      </p:graphicFrame>
      <p:grpSp>
        <p:nvGrpSpPr>
          <p:cNvPr id="36" name="Group 35">
            <a:extLst>
              <a:ext uri="{FF2B5EF4-FFF2-40B4-BE49-F238E27FC236}">
                <a16:creationId xmlns:a16="http://schemas.microsoft.com/office/drawing/2014/main" id="{13B1E9CF-0EAE-2F3E-06A4-AFC05064FAFC}"/>
              </a:ext>
            </a:extLst>
          </p:cNvPr>
          <p:cNvGrpSpPr/>
          <p:nvPr/>
        </p:nvGrpSpPr>
        <p:grpSpPr>
          <a:xfrm>
            <a:off x="3819936" y="1596593"/>
            <a:ext cx="3976161" cy="3635911"/>
            <a:chOff x="5831612" y="2501463"/>
            <a:chExt cx="3598914" cy="3463344"/>
          </a:xfrm>
        </p:grpSpPr>
        <p:sp>
          <p:nvSpPr>
            <p:cNvPr id="37" name="Freeform 12">
              <a:extLst>
                <a:ext uri="{FF2B5EF4-FFF2-40B4-BE49-F238E27FC236}">
                  <a16:creationId xmlns:a16="http://schemas.microsoft.com/office/drawing/2014/main" id="{FEF47BE5-B9EC-5F6E-3A0A-E79939AA6EAA}"/>
                </a:ext>
              </a:extLst>
            </p:cNvPr>
            <p:cNvSpPr>
              <a:spLocks/>
            </p:cNvSpPr>
            <p:nvPr/>
          </p:nvSpPr>
          <p:spPr bwMode="blackWhite">
            <a:xfrm rot="19015811">
              <a:off x="5831612" y="2890208"/>
              <a:ext cx="2722849" cy="1347917"/>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chemeClr val="tx1"/>
            </a:solidFill>
            <a:ln w="6350" cap="rnd">
              <a:solidFill>
                <a:schemeClr val="bg1"/>
              </a:solidFill>
              <a:round/>
              <a:headEnd/>
              <a:tailEnd/>
            </a:ln>
          </p:spPr>
          <p:txBody>
            <a:bodyPr/>
            <a:lstStyle/>
            <a:p>
              <a:pPr marL="0" marR="0" lvl="0" indent="0" algn="l" defTabSz="1219170" rtl="0" eaLnBrk="1" fontAlgn="auto" latinLnBrk="0" hangingPunct="1">
                <a:lnSpc>
                  <a:spcPct val="100000"/>
                </a:lnSpc>
                <a:spcBef>
                  <a:spcPts val="0"/>
                </a:spcBef>
                <a:spcAft>
                  <a:spcPts val="0"/>
                </a:spcAft>
                <a:buClr>
                  <a:prstClr val="white"/>
                </a:buClr>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1" name="Freeform 13">
              <a:extLst>
                <a:ext uri="{FF2B5EF4-FFF2-40B4-BE49-F238E27FC236}">
                  <a16:creationId xmlns:a16="http://schemas.microsoft.com/office/drawing/2014/main" id="{645717FF-11C8-2E12-2CF1-2C2F43769A12}"/>
                </a:ext>
              </a:extLst>
            </p:cNvPr>
            <p:cNvSpPr>
              <a:spLocks/>
            </p:cNvSpPr>
            <p:nvPr/>
          </p:nvSpPr>
          <p:spPr bwMode="blackWhite">
            <a:xfrm rot="19015811">
              <a:off x="6737052" y="4047669"/>
              <a:ext cx="2141100" cy="1917138"/>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chemeClr val="accent3"/>
            </a:solidFill>
            <a:ln w="6350" cap="rnd">
              <a:solidFill>
                <a:schemeClr val="bg1"/>
              </a:solidFill>
              <a:round/>
              <a:headEnd/>
              <a:tailEnd/>
            </a:ln>
          </p:spPr>
          <p:txBody>
            <a:bodyPr/>
            <a:lstStyle/>
            <a:p>
              <a:pPr marL="0" marR="0" lvl="0" indent="0" algn="l" defTabSz="1219170" rtl="0" eaLnBrk="1" fontAlgn="auto" latinLnBrk="0" hangingPunct="1">
                <a:lnSpc>
                  <a:spcPct val="100000"/>
                </a:lnSpc>
                <a:spcBef>
                  <a:spcPts val="0"/>
                </a:spcBef>
                <a:spcAft>
                  <a:spcPts val="0"/>
                </a:spcAft>
                <a:buClr>
                  <a:prstClr val="white"/>
                </a:buClr>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2" name="Freeform 14">
              <a:extLst>
                <a:ext uri="{FF2B5EF4-FFF2-40B4-BE49-F238E27FC236}">
                  <a16:creationId xmlns:a16="http://schemas.microsoft.com/office/drawing/2014/main" id="{44675ED4-37B6-6A08-E076-7C8C507DE5E8}"/>
                </a:ext>
              </a:extLst>
            </p:cNvPr>
            <p:cNvSpPr>
              <a:spLocks/>
            </p:cNvSpPr>
            <p:nvPr/>
          </p:nvSpPr>
          <p:spPr bwMode="blackWhite">
            <a:xfrm rot="19015811">
              <a:off x="8039577" y="2501463"/>
              <a:ext cx="1390949" cy="2577435"/>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chemeClr val="accent1"/>
            </a:solidFill>
            <a:ln w="6350" cap="rnd">
              <a:solidFill>
                <a:schemeClr val="bg1"/>
              </a:solidFill>
              <a:round/>
              <a:headEnd/>
              <a:tailEnd/>
            </a:ln>
          </p:spPr>
          <p:txBody>
            <a:bodyPr anchor="ctr">
              <a:scene3d>
                <a:camera prst="orthographicFront">
                  <a:rot lat="5400000" lon="0" rev="0"/>
                </a:camera>
                <a:lightRig rig="threePt" dir="t"/>
              </a:scene3d>
              <a:sp3d/>
            </a:bodyPr>
            <a:lstStyle/>
            <a:p>
              <a:pPr marL="0" marR="0" lvl="0" indent="0" algn="ctr" defTabSz="1219170" rtl="0" eaLnBrk="1" fontAlgn="auto" latinLnBrk="0" hangingPunct="1">
                <a:lnSpc>
                  <a:spcPct val="100000"/>
                </a:lnSpc>
                <a:spcBef>
                  <a:spcPts val="0"/>
                </a:spcBef>
                <a:spcAft>
                  <a:spcPts val="0"/>
                </a:spcAft>
                <a:buClr>
                  <a:prstClr val="white"/>
                </a:buClr>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rPr>
                <a:t>ADVISE</a:t>
              </a:r>
            </a:p>
          </p:txBody>
        </p:sp>
        <p:sp>
          <p:nvSpPr>
            <p:cNvPr id="43" name="TextBox 42">
              <a:extLst>
                <a:ext uri="{FF2B5EF4-FFF2-40B4-BE49-F238E27FC236}">
                  <a16:creationId xmlns:a16="http://schemas.microsoft.com/office/drawing/2014/main" id="{C94E4FE0-6114-BF83-E149-E8147158BB80}"/>
                </a:ext>
              </a:extLst>
            </p:cNvPr>
            <p:cNvSpPr txBox="1"/>
            <p:nvPr/>
          </p:nvSpPr>
          <p:spPr>
            <a:xfrm rot="541545">
              <a:off x="6983571" y="4813444"/>
              <a:ext cx="1751126" cy="450069"/>
            </a:xfrm>
            <a:prstGeom prst="rect">
              <a:avLst/>
            </a:prstGeom>
            <a:noFill/>
          </p:spPr>
          <p:txBody>
            <a:bodyPr spcFirstLastPara="1" vert="horz" wrap="square" lIns="0" tIns="0" rIns="0" bIns="0" numCol="1" rtlCol="0">
              <a:prstTxWarp prst="textArchDown">
                <a:avLst/>
              </a:prstTxWarp>
              <a:spAutoFit/>
            </a:bodyPr>
            <a:lstStyle/>
            <a:p>
              <a:pPr marL="0" marR="0" lvl="0" indent="0" algn="ctr" defTabSz="1219170" rtl="0" eaLnBrk="1" fontAlgn="auto" latinLnBrk="0" hangingPunct="1">
                <a:lnSpc>
                  <a:spcPct val="100000"/>
                </a:lnSpc>
                <a:spcBef>
                  <a:spcPts val="201"/>
                </a:spcBef>
                <a:spcAft>
                  <a:spcPts val="0"/>
                </a:spcAft>
                <a:buClrTx/>
                <a:buSzPct val="100000"/>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Implement</a:t>
              </a:r>
            </a:p>
          </p:txBody>
        </p:sp>
        <p:sp>
          <p:nvSpPr>
            <p:cNvPr id="44" name="TextBox 43">
              <a:extLst>
                <a:ext uri="{FF2B5EF4-FFF2-40B4-BE49-F238E27FC236}">
                  <a16:creationId xmlns:a16="http://schemas.microsoft.com/office/drawing/2014/main" id="{EB846270-4754-64F5-2B99-907588484D3E}"/>
                </a:ext>
              </a:extLst>
            </p:cNvPr>
            <p:cNvSpPr txBox="1"/>
            <p:nvPr/>
          </p:nvSpPr>
          <p:spPr>
            <a:xfrm rot="17691416">
              <a:off x="6317473" y="3438291"/>
              <a:ext cx="1751126" cy="450069"/>
            </a:xfrm>
            <a:prstGeom prst="rect">
              <a:avLst/>
            </a:prstGeom>
            <a:noFill/>
            <a:scene3d>
              <a:camera prst="orthographicFront">
                <a:rot lat="0" lon="0" rev="0"/>
              </a:camera>
              <a:lightRig rig="threePt" dir="t"/>
            </a:scene3d>
          </p:spPr>
          <p:txBody>
            <a:bodyPr spcFirstLastPara="1" vert="horz" wrap="square" lIns="0" tIns="0" rIns="0" bIns="0" numCol="1" rtlCol="0">
              <a:prstTxWarp prst="textArchUp">
                <a:avLst/>
              </a:prstTxWarp>
              <a:spAutoFit/>
            </a:bodyPr>
            <a:lstStyle/>
            <a:p>
              <a:pPr marL="0" marR="0" lvl="0" indent="0" algn="ctr" defTabSz="1219170" rtl="0" eaLnBrk="1" fontAlgn="auto" latinLnBrk="0" hangingPunct="1">
                <a:lnSpc>
                  <a:spcPct val="100000"/>
                </a:lnSpc>
                <a:spcBef>
                  <a:spcPts val="201"/>
                </a:spcBef>
                <a:spcAft>
                  <a:spcPts val="0"/>
                </a:spcAft>
                <a:buClrTx/>
                <a:buSzPct val="100000"/>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Operate</a:t>
              </a:r>
            </a:p>
          </p:txBody>
        </p:sp>
        <p:sp>
          <p:nvSpPr>
            <p:cNvPr id="45" name="TextBox 44">
              <a:extLst>
                <a:ext uri="{FF2B5EF4-FFF2-40B4-BE49-F238E27FC236}">
                  <a16:creationId xmlns:a16="http://schemas.microsoft.com/office/drawing/2014/main" id="{8D78794F-DFBB-3A18-7E0A-FCB10BAC671E}"/>
                </a:ext>
              </a:extLst>
            </p:cNvPr>
            <p:cNvSpPr txBox="1"/>
            <p:nvPr/>
          </p:nvSpPr>
          <p:spPr>
            <a:xfrm rot="3726819">
              <a:off x="7827931" y="3592554"/>
              <a:ext cx="1751126" cy="450069"/>
            </a:xfrm>
            <a:prstGeom prst="rect">
              <a:avLst/>
            </a:prstGeom>
            <a:noFill/>
          </p:spPr>
          <p:txBody>
            <a:bodyPr spcFirstLastPara="1" vert="horz" wrap="square" lIns="0" tIns="0" rIns="0" bIns="0" numCol="1" rtlCol="0">
              <a:prstTxWarp prst="textArchUp">
                <a:avLst/>
              </a:prstTxWarp>
              <a:spAutoFit/>
            </a:bodyPr>
            <a:lstStyle/>
            <a:p>
              <a:pPr marL="0" marR="0" lvl="0" indent="0" algn="ctr" defTabSz="1219170" rtl="0" eaLnBrk="1" fontAlgn="auto" latinLnBrk="0" hangingPunct="1">
                <a:lnSpc>
                  <a:spcPct val="100000"/>
                </a:lnSpc>
                <a:spcBef>
                  <a:spcPts val="201"/>
                </a:spcBef>
                <a:spcAft>
                  <a:spcPts val="0"/>
                </a:spcAft>
                <a:buClrTx/>
                <a:buSzPct val="100000"/>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dvise</a:t>
              </a:r>
            </a:p>
          </p:txBody>
        </p:sp>
      </p:grpSp>
    </p:spTree>
    <p:extLst>
      <p:ext uri="{BB962C8B-B14F-4D97-AF65-F5344CB8AC3E}">
        <p14:creationId xmlns:p14="http://schemas.microsoft.com/office/powerpoint/2010/main" val="316679045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7D9A11-88BE-DE5B-BDE0-61D62CE3C4A1}"/>
              </a:ext>
            </a:extLst>
          </p:cNvPr>
          <p:cNvGraphicFramePr>
            <a:graphicFrameLocks noChangeAspect="1"/>
          </p:cNvGraphicFramePr>
          <p:nvPr>
            <p:custDataLst>
              <p:tags r:id="rId1"/>
            </p:custDataLst>
            <p:extLst>
              <p:ext uri="{D42A27DB-BD31-4B8C-83A1-F6EECF244321}">
                <p14:modId xmlns:p14="http://schemas.microsoft.com/office/powerpoint/2010/main" val="2672264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A17D9A11-88BE-DE5B-BDE0-61D62CE3C4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Flowchart: Connector 50">
            <a:extLst>
              <a:ext uri="{FF2B5EF4-FFF2-40B4-BE49-F238E27FC236}">
                <a16:creationId xmlns:a16="http://schemas.microsoft.com/office/drawing/2014/main" id="{8BDA4048-6431-F563-7536-01407053F149}"/>
              </a:ext>
            </a:extLst>
          </p:cNvPr>
          <p:cNvSpPr>
            <a:spLocks/>
          </p:cNvSpPr>
          <p:nvPr/>
        </p:nvSpPr>
        <p:spPr bwMode="gray">
          <a:xfrm>
            <a:off x="-618646" y="1188357"/>
            <a:ext cx="2286000" cy="2288604"/>
          </a:xfrm>
          <a:prstGeom prst="flowChartConnector">
            <a:avLst/>
          </a:prstGeom>
          <a:solidFill>
            <a:srgbClr val="00B0F2">
              <a:alpha val="24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95C49613-A4A1-E703-865E-8D398E287651}"/>
              </a:ext>
            </a:extLst>
          </p:cNvPr>
          <p:cNvSpPr>
            <a:spLocks/>
          </p:cNvSpPr>
          <p:nvPr/>
        </p:nvSpPr>
        <p:spPr bwMode="gray">
          <a:xfrm>
            <a:off x="6889814" y="1683881"/>
            <a:ext cx="4979097" cy="4335155"/>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cxnSp>
        <p:nvCxnSpPr>
          <p:cNvPr id="24" name="Straight Connector 23">
            <a:extLst>
              <a:ext uri="{FF2B5EF4-FFF2-40B4-BE49-F238E27FC236}">
                <a16:creationId xmlns:a16="http://schemas.microsoft.com/office/drawing/2014/main" id="{868481B3-1372-4DB6-103F-14546A786E33}"/>
              </a:ext>
            </a:extLst>
          </p:cNvPr>
          <p:cNvCxnSpPr>
            <a:cxnSpLocks/>
          </p:cNvCxnSpPr>
          <p:nvPr/>
        </p:nvCxnSpPr>
        <p:spPr>
          <a:xfrm>
            <a:off x="911321" y="1447229"/>
            <a:ext cx="9918604"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6D8DD7AD-FA15-265B-4E39-5BB8C973BCC3}"/>
              </a:ext>
            </a:extLst>
          </p:cNvPr>
          <p:cNvSpPr>
            <a:spLocks/>
          </p:cNvSpPr>
          <p:nvPr/>
        </p:nvSpPr>
        <p:spPr bwMode="gray">
          <a:xfrm>
            <a:off x="1858297" y="1335749"/>
            <a:ext cx="4449173"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6" name="Rectangle 5">
            <a:extLst>
              <a:ext uri="{FF2B5EF4-FFF2-40B4-BE49-F238E27FC236}">
                <a16:creationId xmlns:a16="http://schemas.microsoft.com/office/drawing/2014/main" id="{EBE77A26-978A-A1C0-C0F0-8C515B732F46}"/>
              </a:ext>
            </a:extLst>
          </p:cNvPr>
          <p:cNvSpPr>
            <a:spLocks/>
          </p:cNvSpPr>
          <p:nvPr/>
        </p:nvSpPr>
        <p:spPr bwMode="gray">
          <a:xfrm>
            <a:off x="1837561" y="1677012"/>
            <a:ext cx="4469910" cy="4726500"/>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7" name="Text Placeholder 5">
            <a:extLst>
              <a:ext uri="{FF2B5EF4-FFF2-40B4-BE49-F238E27FC236}">
                <a16:creationId xmlns:a16="http://schemas.microsoft.com/office/drawing/2014/main" id="{A61A0DE9-C239-31D3-9798-FA7E9251912E}"/>
              </a:ext>
            </a:extLst>
          </p:cNvPr>
          <p:cNvSpPr txBox="1">
            <a:spLocks/>
          </p:cNvSpPr>
          <p:nvPr/>
        </p:nvSpPr>
        <p:spPr>
          <a:xfrm>
            <a:off x="1826643" y="1747192"/>
            <a:ext cx="4006558" cy="266822"/>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b="1" dirty="0">
                <a:solidFill>
                  <a:srgbClr val="00B0F2"/>
                </a:solidFill>
                <a:latin typeface="Open Sans"/>
                <a:cs typeface="Calibri Light"/>
              </a:rPr>
              <a:t>MAIN GOAL OF THE PROGRAM</a:t>
            </a:r>
            <a:endParaRPr kumimoji="0" lang="en-US" sz="1100" b="1" i="0" u="none" strike="noStrike" kern="1200" cap="none" spc="0" normalizeH="0" baseline="0" dirty="0">
              <a:ln>
                <a:noFill/>
              </a:ln>
              <a:solidFill>
                <a:srgbClr val="00B0F2"/>
              </a:solidFill>
              <a:effectLst/>
              <a:uLnTx/>
              <a:uFillTx/>
              <a:latin typeface="Open Sans"/>
              <a:cs typeface="Calibri Light"/>
            </a:endParaRPr>
          </a:p>
        </p:txBody>
      </p:sp>
      <p:sp>
        <p:nvSpPr>
          <p:cNvPr id="13" name="Rectangle: Rounded Corners 12">
            <a:extLst>
              <a:ext uri="{FF2B5EF4-FFF2-40B4-BE49-F238E27FC236}">
                <a16:creationId xmlns:a16="http://schemas.microsoft.com/office/drawing/2014/main" id="{446228F7-89D1-9C9E-C310-D8AF7064AE01}"/>
              </a:ext>
            </a:extLst>
          </p:cNvPr>
          <p:cNvSpPr>
            <a:spLocks/>
          </p:cNvSpPr>
          <p:nvPr/>
        </p:nvSpPr>
        <p:spPr bwMode="gray">
          <a:xfrm>
            <a:off x="1979420" y="1326224"/>
            <a:ext cx="3113382"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LIMATE HEROES PROGRAM</a:t>
            </a:r>
          </a:p>
        </p:txBody>
      </p:sp>
      <p:sp>
        <p:nvSpPr>
          <p:cNvPr id="14" name="Text Placeholder 5">
            <a:extLst>
              <a:ext uri="{FF2B5EF4-FFF2-40B4-BE49-F238E27FC236}">
                <a16:creationId xmlns:a16="http://schemas.microsoft.com/office/drawing/2014/main" id="{0E240365-F6A1-87F8-8386-6F76C4CC2A3F}"/>
              </a:ext>
            </a:extLst>
          </p:cNvPr>
          <p:cNvSpPr txBox="1">
            <a:spLocks/>
          </p:cNvSpPr>
          <p:nvPr/>
        </p:nvSpPr>
        <p:spPr>
          <a:xfrm>
            <a:off x="2435511" y="2965721"/>
            <a:ext cx="3073965" cy="757541"/>
          </a:xfrm>
          <a:prstGeom prst="rect">
            <a:avLst/>
          </a:prstGeom>
          <a:noFill/>
        </p:spPr>
        <p:txBody>
          <a:bodyPr vert="horz" lIns="108000" tIns="0" rIns="108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sz="1000" b="1" dirty="0">
                <a:solidFill>
                  <a:srgbClr val="00B0F2"/>
                </a:solidFill>
                <a:latin typeface="Open Sans"/>
                <a:ea typeface="Open Sans"/>
                <a:cs typeface="Calibri Light"/>
              </a:rPr>
              <a:t>Educational platform &amp; content</a:t>
            </a:r>
            <a:r>
              <a:rPr lang="en-US" sz="1000" dirty="0">
                <a:solidFill>
                  <a:srgbClr val="00B0F2"/>
                </a:solidFill>
                <a:latin typeface="Open Sans"/>
                <a:ea typeface="Open Sans"/>
                <a:cs typeface="Calibri Light"/>
              </a:rPr>
              <a:t> </a:t>
            </a:r>
          </a:p>
          <a:p>
            <a:pPr marL="0" marR="0" lvl="0" indent="0" algn="l" defTabSz="914400" eaLnBrk="1" fontAlgn="auto" latinLnBrk="0" hangingPunct="1">
              <a:lnSpc>
                <a:spcPct val="120000"/>
              </a:lnSpc>
              <a:spcBef>
                <a:spcPts val="0"/>
              </a:spcBef>
              <a:spcAft>
                <a:spcPts val="0"/>
              </a:spcAft>
              <a:buClrTx/>
              <a:buSzTx/>
              <a:buFontTx/>
              <a:buNone/>
              <a:tabLst/>
              <a:defRPr/>
            </a:pPr>
            <a:r>
              <a:rPr lang="en-US" sz="1000" dirty="0">
                <a:latin typeface="Open Sans"/>
                <a:ea typeface="Open Sans"/>
                <a:cs typeface="Calibri Light"/>
              </a:rPr>
              <a:t>validated also by independent experts and environmental organizations</a:t>
            </a:r>
            <a:endParaRPr kumimoji="0" lang="en-US" sz="1000" i="0" u="none" strike="noStrike" kern="1200" cap="none" spc="0" normalizeH="0" baseline="0" dirty="0">
              <a:ln>
                <a:noFill/>
              </a:ln>
              <a:solidFill>
                <a:srgbClr val="000000"/>
              </a:solidFill>
              <a:effectLst/>
              <a:uLnTx/>
              <a:uFillTx/>
              <a:latin typeface="Open Sans"/>
              <a:ea typeface="Open Sans"/>
              <a:cs typeface="Calibri Light"/>
            </a:endParaRPr>
          </a:p>
        </p:txBody>
      </p:sp>
      <p:sp>
        <p:nvSpPr>
          <p:cNvPr id="18" name="Title 1">
            <a:extLst>
              <a:ext uri="{FF2B5EF4-FFF2-40B4-BE49-F238E27FC236}">
                <a16:creationId xmlns:a16="http://schemas.microsoft.com/office/drawing/2014/main" id="{5411DE48-7AB2-B085-92BD-62F8FD554CA2}"/>
              </a:ext>
            </a:extLst>
          </p:cNvPr>
          <p:cNvSpPr txBox="1">
            <a:spLocks/>
          </p:cNvSpPr>
          <p:nvPr/>
        </p:nvSpPr>
        <p:spPr bwMode="gray">
          <a:xfrm>
            <a:off x="463295" y="417911"/>
            <a:ext cx="11277600" cy="586123"/>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2000" dirty="0"/>
              <a:t>Deloitte</a:t>
            </a:r>
            <a:r>
              <a:rPr lang="ro-RO" sz="2000" dirty="0"/>
              <a:t> Hungary</a:t>
            </a:r>
            <a:r>
              <a:rPr lang="en-US" sz="2000" dirty="0"/>
              <a:t>’s WorldClass ambition is to reach </a:t>
            </a:r>
            <a:r>
              <a:rPr lang="hu-HU" sz="2000" dirty="0"/>
              <a:t>4</a:t>
            </a:r>
            <a:r>
              <a:rPr lang="ro-RO" sz="2000" dirty="0"/>
              <a:t>0 000</a:t>
            </a:r>
            <a:r>
              <a:rPr lang="en-US" sz="2000" dirty="0"/>
              <a:t> people by 2030 through programs and partnerships with leading educational organizations</a:t>
            </a:r>
          </a:p>
        </p:txBody>
      </p:sp>
      <p:sp>
        <p:nvSpPr>
          <p:cNvPr id="28" name="Rectangle: Rounded Corners 27">
            <a:extLst>
              <a:ext uri="{FF2B5EF4-FFF2-40B4-BE49-F238E27FC236}">
                <a16:creationId xmlns:a16="http://schemas.microsoft.com/office/drawing/2014/main" id="{44A581F6-5886-ED63-9C29-766587A2E77F}"/>
              </a:ext>
            </a:extLst>
          </p:cNvPr>
          <p:cNvSpPr>
            <a:spLocks/>
          </p:cNvSpPr>
          <p:nvPr/>
        </p:nvSpPr>
        <p:spPr bwMode="gray">
          <a:xfrm>
            <a:off x="6873087" y="1335749"/>
            <a:ext cx="4995824"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grpSp>
        <p:nvGrpSpPr>
          <p:cNvPr id="32" name="Graphic 4">
            <a:extLst>
              <a:ext uri="{FF2B5EF4-FFF2-40B4-BE49-F238E27FC236}">
                <a16:creationId xmlns:a16="http://schemas.microsoft.com/office/drawing/2014/main" id="{7EE26340-727B-29D6-2A76-E34FEE6AF612}"/>
              </a:ext>
            </a:extLst>
          </p:cNvPr>
          <p:cNvGrpSpPr>
            <a:grpSpLocks/>
          </p:cNvGrpSpPr>
          <p:nvPr/>
        </p:nvGrpSpPr>
        <p:grpSpPr>
          <a:xfrm>
            <a:off x="11571390" y="1359331"/>
            <a:ext cx="231028" cy="230812"/>
            <a:chOff x="3607758" y="1893013"/>
            <a:chExt cx="362309" cy="361971"/>
          </a:xfrm>
          <a:solidFill>
            <a:srgbClr val="0097A9"/>
          </a:solidFill>
        </p:grpSpPr>
        <p:sp>
          <p:nvSpPr>
            <p:cNvPr id="38" name="Graphic 4">
              <a:extLst>
                <a:ext uri="{FF2B5EF4-FFF2-40B4-BE49-F238E27FC236}">
                  <a16:creationId xmlns:a16="http://schemas.microsoft.com/office/drawing/2014/main" id="{2FC65799-0A49-B8E3-9912-D4D8D287D0CE}"/>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39" name="Graphic 4">
              <a:extLst>
                <a:ext uri="{FF2B5EF4-FFF2-40B4-BE49-F238E27FC236}">
                  <a16:creationId xmlns:a16="http://schemas.microsoft.com/office/drawing/2014/main" id="{D1A94A44-9E64-254D-B940-995E71A01C7B}"/>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40" name="Graphic 4">
              <a:extLst>
                <a:ext uri="{FF2B5EF4-FFF2-40B4-BE49-F238E27FC236}">
                  <a16:creationId xmlns:a16="http://schemas.microsoft.com/office/drawing/2014/main" id="{E0D4FCE9-EEE6-1A7F-76AF-89D63C6E6452}"/>
                </a:ext>
              </a:extLst>
            </p:cNvPr>
            <p:cNvSpPr/>
            <p:nvPr/>
          </p:nvSpPr>
          <p:spPr>
            <a:xfrm>
              <a:off x="3668292" y="2014308"/>
              <a:ext cx="240682" cy="183858"/>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33" name="Rectangle: Rounded Corners 32">
            <a:extLst>
              <a:ext uri="{FF2B5EF4-FFF2-40B4-BE49-F238E27FC236}">
                <a16:creationId xmlns:a16="http://schemas.microsoft.com/office/drawing/2014/main" id="{BB88BDF7-1424-69EC-DEA3-424CF747DE9E}"/>
              </a:ext>
            </a:extLst>
          </p:cNvPr>
          <p:cNvSpPr>
            <a:spLocks/>
          </p:cNvSpPr>
          <p:nvPr/>
        </p:nvSpPr>
        <p:spPr bwMode="gray">
          <a:xfrm>
            <a:off x="7008305" y="1326224"/>
            <a:ext cx="4590725"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1100" dirty="0">
                <a:solidFill>
                  <a:srgbClr val="FFFFFF"/>
                </a:solidFill>
                <a:latin typeface="Open Sans Bold" panose="020B0806030504020204" pitchFamily="34" charset="0"/>
                <a:ea typeface="Open Sans Bold" panose="020B0806030504020204" pitchFamily="34" charset="0"/>
                <a:cs typeface="Open Sans Bold" panose="020B0806030504020204" pitchFamily="34" charset="0"/>
              </a:rPr>
              <a:t>COMPLEX TRAINING PROGRAM – OTP FÁY ANDRÁS FOUNDATION</a:t>
            </a: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pic>
        <p:nvPicPr>
          <p:cNvPr id="43" name="Picture 42">
            <a:extLst>
              <a:ext uri="{FF2B5EF4-FFF2-40B4-BE49-F238E27FC236}">
                <a16:creationId xmlns:a16="http://schemas.microsoft.com/office/drawing/2014/main" id="{3240AEC2-B249-FBF5-C2E3-2C71952B028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839410" y="5014319"/>
            <a:ext cx="4480235" cy="1489373"/>
          </a:xfrm>
          <a:prstGeom prst="rect">
            <a:avLst/>
          </a:prstGeom>
        </p:spPr>
      </p:pic>
      <p:pic>
        <p:nvPicPr>
          <p:cNvPr id="3074" name="Picture 2">
            <a:extLst>
              <a:ext uri="{FF2B5EF4-FFF2-40B4-BE49-F238E27FC236}">
                <a16:creationId xmlns:a16="http://schemas.microsoft.com/office/drawing/2014/main" id="{E7B52937-DF9C-0FE9-32BC-D0020ECE3B2A}"/>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873087" y="4968679"/>
            <a:ext cx="4995824" cy="153079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5">
            <a:extLst>
              <a:ext uri="{FF2B5EF4-FFF2-40B4-BE49-F238E27FC236}">
                <a16:creationId xmlns:a16="http://schemas.microsoft.com/office/drawing/2014/main" id="{4E7694C9-6EC1-88FC-7DD0-ED2E0E2DD158}"/>
              </a:ext>
            </a:extLst>
          </p:cNvPr>
          <p:cNvSpPr txBox="1">
            <a:spLocks/>
          </p:cNvSpPr>
          <p:nvPr/>
        </p:nvSpPr>
        <p:spPr>
          <a:xfrm>
            <a:off x="1826678" y="2751576"/>
            <a:ext cx="4289679" cy="383574"/>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sz="1000" dirty="0">
                <a:latin typeface="Open Sans"/>
                <a:cs typeface="Calibri Light"/>
              </a:rPr>
              <a:t>Professional s</a:t>
            </a:r>
            <a:r>
              <a:rPr kumimoji="0" lang="en-US" sz="1000" i="0" u="none" strike="noStrike" kern="1200" cap="none" spc="0" normalizeH="0" baseline="0" dirty="0">
                <a:ln>
                  <a:noFill/>
                </a:ln>
                <a:effectLst/>
                <a:uLnTx/>
                <a:uFillTx/>
                <a:latin typeface="Open Sans"/>
                <a:cs typeface="Calibri Light"/>
              </a:rPr>
              <a:t>upport in the creation of the Educational </a:t>
            </a:r>
            <a:r>
              <a:rPr lang="en-US" sz="1000" dirty="0">
                <a:latin typeface="Open Sans"/>
                <a:cs typeface="Calibri Light"/>
              </a:rPr>
              <a:t>Program</a:t>
            </a:r>
            <a:endParaRPr kumimoji="0" lang="en-US" sz="1000" i="0" u="none" strike="noStrike" kern="1200" cap="none" spc="0" normalizeH="0" baseline="0" dirty="0">
              <a:ln>
                <a:noFill/>
              </a:ln>
              <a:effectLst/>
              <a:uLnTx/>
              <a:uFillTx/>
              <a:latin typeface="Open Sans"/>
              <a:cs typeface="Calibri Light"/>
            </a:endParaRPr>
          </a:p>
        </p:txBody>
      </p:sp>
      <p:sp>
        <p:nvSpPr>
          <p:cNvPr id="26" name="Text Placeholder 5">
            <a:extLst>
              <a:ext uri="{FF2B5EF4-FFF2-40B4-BE49-F238E27FC236}">
                <a16:creationId xmlns:a16="http://schemas.microsoft.com/office/drawing/2014/main" id="{891EB778-0F27-A7C1-90EB-1E98527FCD07}"/>
              </a:ext>
            </a:extLst>
          </p:cNvPr>
          <p:cNvSpPr txBox="1">
            <a:spLocks/>
          </p:cNvSpPr>
          <p:nvPr/>
        </p:nvSpPr>
        <p:spPr>
          <a:xfrm>
            <a:off x="1883816" y="3591361"/>
            <a:ext cx="4289679" cy="1232246"/>
          </a:xfrm>
          <a:prstGeom prst="rect">
            <a:avLst/>
          </a:prstGeom>
          <a:noFill/>
        </p:spPr>
        <p:txBody>
          <a:bodyPr vert="horz" lIns="108000" tIns="0" rIns="108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dirty="0">
                <a:ln>
                  <a:noFill/>
                </a:ln>
                <a:solidFill>
                  <a:srgbClr val="00B0F2"/>
                </a:solidFill>
                <a:effectLst/>
                <a:uLnTx/>
                <a:uFillTx/>
                <a:latin typeface="Open Sans"/>
                <a:cs typeface="Calibri Light"/>
              </a:rPr>
              <a:t>Elements of the platform</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dirty="0">
                <a:ln>
                  <a:noFill/>
                </a:ln>
                <a:solidFill>
                  <a:prstClr val="black"/>
                </a:solidFill>
                <a:effectLst/>
                <a:uLnTx/>
                <a:uFillTx/>
                <a:latin typeface="Open Sans"/>
                <a:cs typeface="Calibri Light"/>
              </a:rPr>
              <a:t>E</a:t>
            </a:r>
            <a:r>
              <a:rPr lang="en-US" sz="1000" dirty="0">
                <a:solidFill>
                  <a:prstClr val="black"/>
                </a:solidFill>
                <a:latin typeface="Open Sans"/>
                <a:cs typeface="Calibri Light"/>
              </a:rPr>
              <a:t>-</a:t>
            </a:r>
            <a:r>
              <a:rPr kumimoji="0" lang="en-US" sz="1000" i="0" u="none" strike="noStrike" kern="1200" cap="none" spc="0" normalizeH="0" baseline="0" dirty="0">
                <a:ln>
                  <a:noFill/>
                </a:ln>
                <a:solidFill>
                  <a:prstClr val="black"/>
                </a:solidFill>
                <a:effectLst/>
                <a:uLnTx/>
                <a:uFillTx/>
                <a:latin typeface="Open Sans"/>
                <a:cs typeface="Calibri Light"/>
              </a:rPr>
              <a:t>learning materials </a:t>
            </a:r>
            <a:r>
              <a:rPr kumimoji="0" lang="en-US" sz="1000" b="0" i="0" u="none" strike="noStrike" kern="1200" cap="none" spc="0" normalizeH="0" baseline="0" dirty="0">
                <a:ln>
                  <a:noFill/>
                </a:ln>
                <a:solidFill>
                  <a:prstClr val="black"/>
                </a:solidFill>
                <a:effectLst/>
                <a:uLnTx/>
                <a:uFillTx/>
                <a:latin typeface="Open Sans"/>
                <a:cs typeface="Calibri Light"/>
              </a:rPr>
              <a:t>(created by Deloitte, input from Young Ambassadors)</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000" dirty="0">
                <a:solidFill>
                  <a:prstClr val="black"/>
                </a:solidFill>
                <a:latin typeface="Open Sans"/>
                <a:cs typeface="Calibri Light"/>
              </a:rPr>
              <a:t>O</a:t>
            </a:r>
            <a:r>
              <a:rPr kumimoji="0" lang="en-US" sz="1000" b="0" i="0" u="none" strike="noStrike" kern="1200" cap="none" spc="0" normalizeH="0" baseline="0" dirty="0">
                <a:ln>
                  <a:noFill/>
                </a:ln>
                <a:solidFill>
                  <a:prstClr val="black"/>
                </a:solidFill>
                <a:effectLst/>
                <a:uLnTx/>
                <a:uFillTx/>
                <a:latin typeface="Open Sans"/>
                <a:cs typeface="Calibri Light"/>
              </a:rPr>
              <a:t>ver</a:t>
            </a:r>
            <a:r>
              <a:rPr lang="en-US" sz="1000" dirty="0">
                <a:solidFill>
                  <a:prstClr val="black"/>
                </a:solidFill>
                <a:latin typeface="Open Sans"/>
                <a:cs typeface="Calibri Light"/>
              </a:rPr>
              <a:t> </a:t>
            </a:r>
            <a:r>
              <a:rPr kumimoji="0" lang="en-US" sz="1000" i="0" u="none" strike="noStrike" kern="1200" cap="none" spc="0" normalizeH="0" baseline="0" dirty="0">
                <a:ln>
                  <a:noFill/>
                </a:ln>
                <a:effectLst/>
                <a:uLnTx/>
                <a:uFillTx/>
                <a:latin typeface="Open Sans"/>
                <a:cs typeface="Calibri Light"/>
              </a:rPr>
              <a:t>70</a:t>
            </a:r>
            <a:r>
              <a:rPr kumimoji="0" lang="en-US" sz="1000" i="0" u="none" strike="noStrike" kern="1200" cap="none" spc="0" normalizeH="0" baseline="0" dirty="0">
                <a:ln>
                  <a:noFill/>
                </a:ln>
                <a:solidFill>
                  <a:srgbClr val="00B0F2"/>
                </a:solidFill>
                <a:effectLst/>
                <a:uLnTx/>
                <a:uFillTx/>
                <a:latin typeface="Open Sans"/>
                <a:cs typeface="Calibri Light"/>
              </a:rPr>
              <a:t> </a:t>
            </a:r>
            <a:r>
              <a:rPr kumimoji="0" lang="en-US" sz="1000" i="0" u="none" strike="noStrike" kern="1200" cap="none" spc="0" normalizeH="0" baseline="0" dirty="0">
                <a:ln>
                  <a:noFill/>
                </a:ln>
                <a:solidFill>
                  <a:prstClr val="black"/>
                </a:solidFill>
                <a:effectLst/>
                <a:uLnTx/>
                <a:uFillTx/>
                <a:latin typeface="Open Sans"/>
                <a:cs typeface="Calibri Light"/>
              </a:rPr>
              <a:t>short videos </a:t>
            </a:r>
            <a:r>
              <a:rPr kumimoji="0" lang="en-US" sz="1000" b="0" i="0" u="none" strike="noStrike" kern="1200" cap="none" spc="0" normalizeH="0" baseline="0" dirty="0">
                <a:ln>
                  <a:noFill/>
                </a:ln>
                <a:solidFill>
                  <a:prstClr val="black"/>
                </a:solidFill>
                <a:effectLst/>
                <a:uLnTx/>
                <a:uFillTx/>
                <a:latin typeface="Open Sans"/>
                <a:cs typeface="Calibri Light"/>
              </a:rPr>
              <a:t>and counting by experts, responding to questions asked by young people personal chall</a:t>
            </a:r>
            <a:r>
              <a:rPr lang="en-US" sz="1000" dirty="0">
                <a:solidFill>
                  <a:prstClr val="black"/>
                </a:solidFill>
                <a:latin typeface="Open Sans"/>
                <a:cs typeface="Calibri Light"/>
              </a:rPr>
              <a:t>e</a:t>
            </a:r>
            <a:r>
              <a:rPr kumimoji="0" lang="en-US" sz="1000" b="0" i="0" u="none" strike="noStrike" kern="1200" cap="none" spc="0" normalizeH="0" baseline="0" dirty="0">
                <a:ln>
                  <a:noFill/>
                </a:ln>
                <a:solidFill>
                  <a:prstClr val="black"/>
                </a:solidFill>
                <a:effectLst/>
                <a:uLnTx/>
                <a:uFillTx/>
                <a:latin typeface="Open Sans"/>
                <a:cs typeface="Calibri Light"/>
              </a:rPr>
              <a:t>nges </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prstClr val="black"/>
                </a:solidFill>
                <a:effectLst/>
                <a:uLnTx/>
                <a:uFillTx/>
                <a:latin typeface="Open Sans"/>
                <a:cs typeface="Calibri Light"/>
              </a:rPr>
              <a:t>self testing questionnaires</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prstClr val="black"/>
                </a:solidFill>
                <a:effectLst/>
                <a:uLnTx/>
                <a:uFillTx/>
                <a:latin typeface="Open Sans"/>
                <a:cs typeface="Calibri Light"/>
              </a:rPr>
              <a:t>messages from young people, etc.</a:t>
            </a:r>
          </a:p>
        </p:txBody>
      </p:sp>
      <p:sp>
        <p:nvSpPr>
          <p:cNvPr id="27" name="Text Placeholder 5">
            <a:extLst>
              <a:ext uri="{FF2B5EF4-FFF2-40B4-BE49-F238E27FC236}">
                <a16:creationId xmlns:a16="http://schemas.microsoft.com/office/drawing/2014/main" id="{16641150-369F-AD9B-7088-6C14E6695433}"/>
              </a:ext>
            </a:extLst>
          </p:cNvPr>
          <p:cNvSpPr txBox="1">
            <a:spLocks/>
          </p:cNvSpPr>
          <p:nvPr/>
        </p:nvSpPr>
        <p:spPr>
          <a:xfrm>
            <a:off x="1826643" y="2552786"/>
            <a:ext cx="4006558" cy="266822"/>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dirty="0">
                <a:ln>
                  <a:noFill/>
                </a:ln>
                <a:solidFill>
                  <a:srgbClr val="00B0F2"/>
                </a:solidFill>
                <a:effectLst/>
                <a:uLnTx/>
                <a:uFillTx/>
                <a:latin typeface="Open Sans"/>
                <a:ea typeface="+mn-ea"/>
                <a:cs typeface="Calibri Light"/>
              </a:rPr>
              <a:t>Deloitte’s role</a:t>
            </a:r>
          </a:p>
        </p:txBody>
      </p:sp>
      <p:sp>
        <p:nvSpPr>
          <p:cNvPr id="42" name="TextBox 41">
            <a:extLst>
              <a:ext uri="{FF2B5EF4-FFF2-40B4-BE49-F238E27FC236}">
                <a16:creationId xmlns:a16="http://schemas.microsoft.com/office/drawing/2014/main" id="{6E0C4AD0-4AC0-12EB-73E7-9E7819E78417}"/>
              </a:ext>
            </a:extLst>
          </p:cNvPr>
          <p:cNvSpPr txBox="1"/>
          <p:nvPr/>
        </p:nvSpPr>
        <p:spPr>
          <a:xfrm>
            <a:off x="1883815" y="1897150"/>
            <a:ext cx="4393160" cy="707886"/>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Channel the negative feelings of frustration, helplessness associated with climate change registered as alarmingly high among young Hungarians into a more constructive direction, through education and dialogue</a:t>
            </a:r>
          </a:p>
        </p:txBody>
      </p:sp>
      <p:grpSp>
        <p:nvGrpSpPr>
          <p:cNvPr id="52" name="Group 51">
            <a:extLst>
              <a:ext uri="{FF2B5EF4-FFF2-40B4-BE49-F238E27FC236}">
                <a16:creationId xmlns:a16="http://schemas.microsoft.com/office/drawing/2014/main" id="{595DF91B-84AC-6A94-CDAD-986447F826FB}"/>
              </a:ext>
            </a:extLst>
          </p:cNvPr>
          <p:cNvGrpSpPr/>
          <p:nvPr/>
        </p:nvGrpSpPr>
        <p:grpSpPr>
          <a:xfrm>
            <a:off x="455982" y="1196767"/>
            <a:ext cx="529202" cy="529198"/>
            <a:chOff x="1623278" y="3591104"/>
            <a:chExt cx="529202" cy="529198"/>
          </a:xfrm>
        </p:grpSpPr>
        <p:sp>
          <p:nvSpPr>
            <p:cNvPr id="53" name="Flowchart: Connector 52">
              <a:extLst>
                <a:ext uri="{FF2B5EF4-FFF2-40B4-BE49-F238E27FC236}">
                  <a16:creationId xmlns:a16="http://schemas.microsoft.com/office/drawing/2014/main" id="{7A1DBB50-708F-A675-4E51-5409F7D8FA79}"/>
                </a:ext>
              </a:extLst>
            </p:cNvPr>
            <p:cNvSpPr/>
            <p:nvPr/>
          </p:nvSpPr>
          <p:spPr bwMode="gray">
            <a:xfrm>
              <a:off x="1667072" y="3591104"/>
              <a:ext cx="458774" cy="529198"/>
            </a:xfrm>
            <a:prstGeom prst="flowChartConnector">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Graphic 4">
              <a:extLst>
                <a:ext uri="{FF2B5EF4-FFF2-40B4-BE49-F238E27FC236}">
                  <a16:creationId xmlns:a16="http://schemas.microsoft.com/office/drawing/2014/main" id="{575D99B2-E666-5F4B-C7D4-51B6274C8CBA}"/>
                </a:ext>
              </a:extLst>
            </p:cNvPr>
            <p:cNvSpPr/>
            <p:nvPr/>
          </p:nvSpPr>
          <p:spPr>
            <a:xfrm>
              <a:off x="1623278" y="3591104"/>
              <a:ext cx="529202" cy="529198"/>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1 w 361670"/>
                <a:gd name="connsiteY3" fmla="*/ 180667 h 361333"/>
                <a:gd name="connsiteX4" fmla="*/ 180836 w 361670"/>
                <a:gd name="connsiteY4" fmla="*/ 0 h 361333"/>
                <a:gd name="connsiteX5" fmla="*/ 138662 w 361670"/>
                <a:gd name="connsiteY5" fmla="*/ 102144 h 361333"/>
                <a:gd name="connsiteX6" fmla="*/ 161027 w 361670"/>
                <a:gd name="connsiteY6" fmla="*/ 92568 h 361333"/>
                <a:gd name="connsiteX7" fmla="*/ 181474 w 361670"/>
                <a:gd name="connsiteY7" fmla="*/ 99590 h 361333"/>
                <a:gd name="connsiteX8" fmla="*/ 201922 w 361670"/>
                <a:gd name="connsiteY8" fmla="*/ 92568 h 361333"/>
                <a:gd name="connsiteX9" fmla="*/ 223648 w 361670"/>
                <a:gd name="connsiteY9" fmla="*/ 102144 h 361333"/>
                <a:gd name="connsiteX10" fmla="*/ 223648 w 361670"/>
                <a:gd name="connsiteY10" fmla="*/ 148108 h 361333"/>
                <a:gd name="connsiteX11" fmla="*/ 193615 w 361670"/>
                <a:gd name="connsiteY11" fmla="*/ 179390 h 361333"/>
                <a:gd name="connsiteX12" fmla="*/ 181474 w 361670"/>
                <a:gd name="connsiteY12" fmla="*/ 186412 h 361333"/>
                <a:gd name="connsiteX13" fmla="*/ 181474 w 361670"/>
                <a:gd name="connsiteY13" fmla="*/ 186412 h 361333"/>
                <a:gd name="connsiteX14" fmla="*/ 169973 w 361670"/>
                <a:gd name="connsiteY14" fmla="*/ 180028 h 361333"/>
                <a:gd name="connsiteX15" fmla="*/ 139301 w 361670"/>
                <a:gd name="connsiteY15" fmla="*/ 147470 h 361333"/>
                <a:gd name="connsiteX16" fmla="*/ 138662 w 361670"/>
                <a:gd name="connsiteY16" fmla="*/ 102144 h 361333"/>
                <a:gd name="connsiteX17" fmla="*/ 294576 w 361670"/>
                <a:gd name="connsiteY17" fmla="*/ 240038 h 361333"/>
                <a:gd name="connsiteX18" fmla="*/ 278602 w 361670"/>
                <a:gd name="connsiteY18" fmla="*/ 261743 h 361333"/>
                <a:gd name="connsiteX19" fmla="*/ 239623 w 361670"/>
                <a:gd name="connsiteY19" fmla="*/ 289833 h 361333"/>
                <a:gd name="connsiteX20" fmla="*/ 230038 w 361670"/>
                <a:gd name="connsiteY20" fmla="*/ 303239 h 361333"/>
                <a:gd name="connsiteX21" fmla="*/ 223648 w 361670"/>
                <a:gd name="connsiteY21" fmla="*/ 308985 h 361333"/>
                <a:gd name="connsiteX22" fmla="*/ 223009 w 361670"/>
                <a:gd name="connsiteY22" fmla="*/ 308985 h 361333"/>
                <a:gd name="connsiteX23" fmla="*/ 217258 w 361670"/>
                <a:gd name="connsiteY23" fmla="*/ 301962 h 361333"/>
                <a:gd name="connsiteX24" fmla="*/ 231955 w 361670"/>
                <a:gd name="connsiteY24" fmla="*/ 278980 h 361333"/>
                <a:gd name="connsiteX25" fmla="*/ 270934 w 361670"/>
                <a:gd name="connsiteY25" fmla="*/ 250891 h 361333"/>
                <a:gd name="connsiteX26" fmla="*/ 282435 w 361670"/>
                <a:gd name="connsiteY26" fmla="*/ 235569 h 361333"/>
                <a:gd name="connsiteX27" fmla="*/ 298410 w 361670"/>
                <a:gd name="connsiteY27" fmla="*/ 191519 h 361333"/>
                <a:gd name="connsiteX28" fmla="*/ 299688 w 361670"/>
                <a:gd name="connsiteY28" fmla="*/ 180667 h 361333"/>
                <a:gd name="connsiteX29" fmla="*/ 295215 w 361670"/>
                <a:gd name="connsiteY29" fmla="*/ 121296 h 361333"/>
                <a:gd name="connsiteX30" fmla="*/ 292659 w 361670"/>
                <a:gd name="connsiteY30" fmla="*/ 121296 h 361333"/>
                <a:gd name="connsiteX31" fmla="*/ 288186 w 361670"/>
                <a:gd name="connsiteY31" fmla="*/ 127041 h 361333"/>
                <a:gd name="connsiteX32" fmla="*/ 282435 w 361670"/>
                <a:gd name="connsiteY32" fmla="*/ 176198 h 361333"/>
                <a:gd name="connsiteX33" fmla="*/ 292020 w 361670"/>
                <a:gd name="connsiteY33" fmla="*/ 181944 h 361333"/>
                <a:gd name="connsiteX34" fmla="*/ 288825 w 361670"/>
                <a:gd name="connsiteY34" fmla="*/ 200457 h 361333"/>
                <a:gd name="connsiteX35" fmla="*/ 270295 w 361670"/>
                <a:gd name="connsiteY35" fmla="*/ 224078 h 361333"/>
                <a:gd name="connsiteX36" fmla="*/ 256876 w 361670"/>
                <a:gd name="connsiteY36" fmla="*/ 234931 h 361333"/>
                <a:gd name="connsiteX37" fmla="*/ 234511 w 361670"/>
                <a:gd name="connsiteY37" fmla="*/ 245783 h 361333"/>
                <a:gd name="connsiteX38" fmla="*/ 226204 w 361670"/>
                <a:gd name="connsiteY38" fmla="*/ 243230 h 361333"/>
                <a:gd name="connsiteX39" fmla="*/ 228760 w 361670"/>
                <a:gd name="connsiteY39" fmla="*/ 234931 h 361333"/>
                <a:gd name="connsiteX40" fmla="*/ 251125 w 361670"/>
                <a:gd name="connsiteY40" fmla="*/ 224078 h 361333"/>
                <a:gd name="connsiteX41" fmla="*/ 260710 w 361670"/>
                <a:gd name="connsiteY41" fmla="*/ 216417 h 361333"/>
                <a:gd name="connsiteX42" fmla="*/ 279880 w 361670"/>
                <a:gd name="connsiteY42" fmla="*/ 192796 h 361333"/>
                <a:gd name="connsiteX43" fmla="*/ 282435 w 361670"/>
                <a:gd name="connsiteY43" fmla="*/ 189604 h 361333"/>
                <a:gd name="connsiteX44" fmla="*/ 269655 w 361670"/>
                <a:gd name="connsiteY44" fmla="*/ 189604 h 361333"/>
                <a:gd name="connsiteX45" fmla="*/ 247291 w 361670"/>
                <a:gd name="connsiteY45" fmla="*/ 206841 h 361333"/>
                <a:gd name="connsiteX46" fmla="*/ 242818 w 361670"/>
                <a:gd name="connsiteY46" fmla="*/ 208756 h 361333"/>
                <a:gd name="connsiteX47" fmla="*/ 235150 w 361670"/>
                <a:gd name="connsiteY47" fmla="*/ 209395 h 361333"/>
                <a:gd name="connsiteX48" fmla="*/ 191059 w 361670"/>
                <a:gd name="connsiteY48" fmla="*/ 247699 h 361333"/>
                <a:gd name="connsiteX49" fmla="*/ 187864 w 361670"/>
                <a:gd name="connsiteY49" fmla="*/ 275150 h 361333"/>
                <a:gd name="connsiteX50" fmla="*/ 181474 w 361670"/>
                <a:gd name="connsiteY50" fmla="*/ 281534 h 361333"/>
                <a:gd name="connsiteX51" fmla="*/ 181474 w 361670"/>
                <a:gd name="connsiteY51" fmla="*/ 281534 h 361333"/>
                <a:gd name="connsiteX52" fmla="*/ 181474 w 361670"/>
                <a:gd name="connsiteY52" fmla="*/ 281534 h 361333"/>
                <a:gd name="connsiteX53" fmla="*/ 175084 w 361670"/>
                <a:gd name="connsiteY53" fmla="*/ 275150 h 361333"/>
                <a:gd name="connsiteX54" fmla="*/ 171889 w 361670"/>
                <a:gd name="connsiteY54" fmla="*/ 247699 h 361333"/>
                <a:gd name="connsiteX55" fmla="*/ 127799 w 361670"/>
                <a:gd name="connsiteY55" fmla="*/ 209395 h 361333"/>
                <a:gd name="connsiteX56" fmla="*/ 120131 w 361670"/>
                <a:gd name="connsiteY56" fmla="*/ 208756 h 361333"/>
                <a:gd name="connsiteX57" fmla="*/ 115658 w 361670"/>
                <a:gd name="connsiteY57" fmla="*/ 206841 h 361333"/>
                <a:gd name="connsiteX58" fmla="*/ 93293 w 361670"/>
                <a:gd name="connsiteY58" fmla="*/ 189604 h 361333"/>
                <a:gd name="connsiteX59" fmla="*/ 79874 w 361670"/>
                <a:gd name="connsiteY59" fmla="*/ 189604 h 361333"/>
                <a:gd name="connsiteX60" fmla="*/ 81792 w 361670"/>
                <a:gd name="connsiteY60" fmla="*/ 192158 h 361333"/>
                <a:gd name="connsiteX61" fmla="*/ 100961 w 361670"/>
                <a:gd name="connsiteY61" fmla="*/ 216417 h 361333"/>
                <a:gd name="connsiteX62" fmla="*/ 110546 w 361670"/>
                <a:gd name="connsiteY62" fmla="*/ 224078 h 361333"/>
                <a:gd name="connsiteX63" fmla="*/ 132911 w 361670"/>
                <a:gd name="connsiteY63" fmla="*/ 234931 h 361333"/>
                <a:gd name="connsiteX64" fmla="*/ 135467 w 361670"/>
                <a:gd name="connsiteY64" fmla="*/ 243230 h 361333"/>
                <a:gd name="connsiteX65" fmla="*/ 127160 w 361670"/>
                <a:gd name="connsiteY65" fmla="*/ 245783 h 361333"/>
                <a:gd name="connsiteX66" fmla="*/ 104795 w 361670"/>
                <a:gd name="connsiteY66" fmla="*/ 234931 h 361333"/>
                <a:gd name="connsiteX67" fmla="*/ 91376 w 361670"/>
                <a:gd name="connsiteY67" fmla="*/ 224078 h 361333"/>
                <a:gd name="connsiteX68" fmla="*/ 72207 w 361670"/>
                <a:gd name="connsiteY68" fmla="*/ 200457 h 361333"/>
                <a:gd name="connsiteX69" fmla="*/ 69650 w 361670"/>
                <a:gd name="connsiteY69" fmla="*/ 181944 h 361333"/>
                <a:gd name="connsiteX70" fmla="*/ 79235 w 361670"/>
                <a:gd name="connsiteY70" fmla="*/ 176198 h 361333"/>
                <a:gd name="connsiteX71" fmla="*/ 73484 w 361670"/>
                <a:gd name="connsiteY71" fmla="*/ 127041 h 361333"/>
                <a:gd name="connsiteX72" fmla="*/ 69012 w 361670"/>
                <a:gd name="connsiteY72" fmla="*/ 121296 h 361333"/>
                <a:gd name="connsiteX73" fmla="*/ 66456 w 361670"/>
                <a:gd name="connsiteY73" fmla="*/ 120657 h 361333"/>
                <a:gd name="connsiteX74" fmla="*/ 61982 w 361670"/>
                <a:gd name="connsiteY74" fmla="*/ 180667 h 361333"/>
                <a:gd name="connsiteX75" fmla="*/ 63261 w 361670"/>
                <a:gd name="connsiteY75" fmla="*/ 191519 h 361333"/>
                <a:gd name="connsiteX76" fmla="*/ 79235 w 361670"/>
                <a:gd name="connsiteY76" fmla="*/ 235569 h 361333"/>
                <a:gd name="connsiteX77" fmla="*/ 90737 w 361670"/>
                <a:gd name="connsiteY77" fmla="*/ 250891 h 361333"/>
                <a:gd name="connsiteX78" fmla="*/ 129716 w 361670"/>
                <a:gd name="connsiteY78" fmla="*/ 278980 h 361333"/>
                <a:gd name="connsiteX79" fmla="*/ 144413 w 361670"/>
                <a:gd name="connsiteY79" fmla="*/ 301962 h 361333"/>
                <a:gd name="connsiteX80" fmla="*/ 138662 w 361670"/>
                <a:gd name="connsiteY80" fmla="*/ 308985 h 361333"/>
                <a:gd name="connsiteX81" fmla="*/ 138023 w 361670"/>
                <a:gd name="connsiteY81" fmla="*/ 308985 h 361333"/>
                <a:gd name="connsiteX82" fmla="*/ 131633 w 361670"/>
                <a:gd name="connsiteY82" fmla="*/ 303239 h 361333"/>
                <a:gd name="connsiteX83" fmla="*/ 122048 w 361670"/>
                <a:gd name="connsiteY83" fmla="*/ 289833 h 361333"/>
                <a:gd name="connsiteX84" fmla="*/ 83069 w 361670"/>
                <a:gd name="connsiteY84" fmla="*/ 261743 h 361333"/>
                <a:gd name="connsiteX85" fmla="*/ 67094 w 361670"/>
                <a:gd name="connsiteY85" fmla="*/ 240038 h 361333"/>
                <a:gd name="connsiteX86" fmla="*/ 51119 w 361670"/>
                <a:gd name="connsiteY86" fmla="*/ 195988 h 361333"/>
                <a:gd name="connsiteX87" fmla="*/ 48564 w 361670"/>
                <a:gd name="connsiteY87" fmla="*/ 180028 h 361333"/>
                <a:gd name="connsiteX88" fmla="*/ 53037 w 361670"/>
                <a:gd name="connsiteY88" fmla="*/ 120657 h 361333"/>
                <a:gd name="connsiteX89" fmla="*/ 65177 w 361670"/>
                <a:gd name="connsiteY89" fmla="*/ 108528 h 361333"/>
                <a:gd name="connsiteX90" fmla="*/ 85625 w 361670"/>
                <a:gd name="connsiteY90" fmla="*/ 124488 h 361333"/>
                <a:gd name="connsiteX91" fmla="*/ 85625 w 361670"/>
                <a:gd name="connsiteY91" fmla="*/ 125126 h 361333"/>
                <a:gd name="connsiteX92" fmla="*/ 91376 w 361670"/>
                <a:gd name="connsiteY92" fmla="*/ 176198 h 361333"/>
                <a:gd name="connsiteX93" fmla="*/ 98405 w 361670"/>
                <a:gd name="connsiteY93" fmla="*/ 178752 h 361333"/>
                <a:gd name="connsiteX94" fmla="*/ 122048 w 361670"/>
                <a:gd name="connsiteY94" fmla="*/ 195988 h 361333"/>
                <a:gd name="connsiteX95" fmla="*/ 128438 w 361670"/>
                <a:gd name="connsiteY95" fmla="*/ 196627 h 361333"/>
                <a:gd name="connsiteX96" fmla="*/ 181474 w 361670"/>
                <a:gd name="connsiteY96" fmla="*/ 237484 h 361333"/>
                <a:gd name="connsiteX97" fmla="*/ 234511 w 361670"/>
                <a:gd name="connsiteY97" fmla="*/ 196627 h 361333"/>
                <a:gd name="connsiteX98" fmla="*/ 240901 w 361670"/>
                <a:gd name="connsiteY98" fmla="*/ 195988 h 361333"/>
                <a:gd name="connsiteX99" fmla="*/ 264544 w 361670"/>
                <a:gd name="connsiteY99" fmla="*/ 178113 h 361333"/>
                <a:gd name="connsiteX100" fmla="*/ 270934 w 361670"/>
                <a:gd name="connsiteY100" fmla="*/ 176198 h 361333"/>
                <a:gd name="connsiteX101" fmla="*/ 276685 w 361670"/>
                <a:gd name="connsiteY101" fmla="*/ 125126 h 361333"/>
                <a:gd name="connsiteX102" fmla="*/ 276685 w 361670"/>
                <a:gd name="connsiteY102" fmla="*/ 124488 h 361333"/>
                <a:gd name="connsiteX103" fmla="*/ 297132 w 361670"/>
                <a:gd name="connsiteY103" fmla="*/ 108528 h 361333"/>
                <a:gd name="connsiteX104" fmla="*/ 309273 w 361670"/>
                <a:gd name="connsiteY104" fmla="*/ 120657 h 361333"/>
                <a:gd name="connsiteX105" fmla="*/ 313746 w 361670"/>
                <a:gd name="connsiteY105" fmla="*/ 180028 h 361333"/>
                <a:gd name="connsiteX106" fmla="*/ 311190 w 361670"/>
                <a:gd name="connsiteY106" fmla="*/ 195988 h 361333"/>
                <a:gd name="connsiteX107" fmla="*/ 294576 w 361670"/>
                <a:gd name="connsiteY107" fmla="*/ 240038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1" y="280257"/>
                    <a:pt x="361671" y="180667"/>
                  </a:cubicBezTo>
                  <a:cubicBezTo>
                    <a:pt x="361671" y="81077"/>
                    <a:pt x="280518" y="0"/>
                    <a:pt x="180836" y="0"/>
                  </a:cubicBezTo>
                  <a:close/>
                  <a:moveTo>
                    <a:pt x="138662" y="102144"/>
                  </a:moveTo>
                  <a:cubicBezTo>
                    <a:pt x="144413" y="95760"/>
                    <a:pt x="152720" y="92568"/>
                    <a:pt x="161027" y="92568"/>
                  </a:cubicBezTo>
                  <a:cubicBezTo>
                    <a:pt x="168056" y="92568"/>
                    <a:pt x="175084" y="94483"/>
                    <a:pt x="181474" y="99590"/>
                  </a:cubicBezTo>
                  <a:cubicBezTo>
                    <a:pt x="187225" y="94483"/>
                    <a:pt x="194893" y="92568"/>
                    <a:pt x="201922" y="92568"/>
                  </a:cubicBezTo>
                  <a:cubicBezTo>
                    <a:pt x="210229" y="92568"/>
                    <a:pt x="217897" y="96398"/>
                    <a:pt x="223648" y="102144"/>
                  </a:cubicBezTo>
                  <a:cubicBezTo>
                    <a:pt x="235789" y="114912"/>
                    <a:pt x="235789" y="135340"/>
                    <a:pt x="223648" y="148108"/>
                  </a:cubicBezTo>
                  <a:lnTo>
                    <a:pt x="193615" y="179390"/>
                  </a:lnTo>
                  <a:cubicBezTo>
                    <a:pt x="191059" y="182582"/>
                    <a:pt x="187225" y="186412"/>
                    <a:pt x="181474" y="186412"/>
                  </a:cubicBezTo>
                  <a:cubicBezTo>
                    <a:pt x="181474" y="186412"/>
                    <a:pt x="181474" y="186412"/>
                    <a:pt x="181474" y="186412"/>
                  </a:cubicBezTo>
                  <a:cubicBezTo>
                    <a:pt x="175723" y="186412"/>
                    <a:pt x="171889" y="182582"/>
                    <a:pt x="169973" y="180028"/>
                  </a:cubicBezTo>
                  <a:lnTo>
                    <a:pt x="139301" y="147470"/>
                  </a:lnTo>
                  <a:cubicBezTo>
                    <a:pt x="126521" y="135340"/>
                    <a:pt x="126521" y="114912"/>
                    <a:pt x="138662" y="102144"/>
                  </a:cubicBezTo>
                  <a:close/>
                  <a:moveTo>
                    <a:pt x="294576" y="240038"/>
                  </a:moveTo>
                  <a:cubicBezTo>
                    <a:pt x="291381" y="248975"/>
                    <a:pt x="285630" y="255998"/>
                    <a:pt x="278602" y="261743"/>
                  </a:cubicBezTo>
                  <a:lnTo>
                    <a:pt x="239623" y="289833"/>
                  </a:lnTo>
                  <a:cubicBezTo>
                    <a:pt x="233872" y="294302"/>
                    <a:pt x="230677" y="298770"/>
                    <a:pt x="230038" y="303239"/>
                  </a:cubicBezTo>
                  <a:cubicBezTo>
                    <a:pt x="230038" y="306431"/>
                    <a:pt x="226843" y="308985"/>
                    <a:pt x="223648" y="308985"/>
                  </a:cubicBezTo>
                  <a:cubicBezTo>
                    <a:pt x="223648" y="308985"/>
                    <a:pt x="223009" y="308985"/>
                    <a:pt x="223009" y="308985"/>
                  </a:cubicBezTo>
                  <a:cubicBezTo>
                    <a:pt x="219814" y="308346"/>
                    <a:pt x="216619" y="305793"/>
                    <a:pt x="217258" y="301962"/>
                  </a:cubicBezTo>
                  <a:cubicBezTo>
                    <a:pt x="217897" y="293025"/>
                    <a:pt x="223009" y="285364"/>
                    <a:pt x="231955" y="278980"/>
                  </a:cubicBezTo>
                  <a:lnTo>
                    <a:pt x="270934" y="250891"/>
                  </a:lnTo>
                  <a:cubicBezTo>
                    <a:pt x="276045" y="247060"/>
                    <a:pt x="280518" y="241315"/>
                    <a:pt x="282435" y="235569"/>
                  </a:cubicBezTo>
                  <a:lnTo>
                    <a:pt x="298410" y="191519"/>
                  </a:lnTo>
                  <a:cubicBezTo>
                    <a:pt x="299688" y="187689"/>
                    <a:pt x="300327" y="184497"/>
                    <a:pt x="299688" y="180667"/>
                  </a:cubicBezTo>
                  <a:lnTo>
                    <a:pt x="295215" y="121296"/>
                  </a:lnTo>
                  <a:cubicBezTo>
                    <a:pt x="295215" y="120657"/>
                    <a:pt x="293937" y="120657"/>
                    <a:pt x="292659" y="121296"/>
                  </a:cubicBezTo>
                  <a:cubicBezTo>
                    <a:pt x="291381" y="121934"/>
                    <a:pt x="289464" y="123211"/>
                    <a:pt x="288186" y="127041"/>
                  </a:cubicBezTo>
                  <a:lnTo>
                    <a:pt x="282435" y="176198"/>
                  </a:lnTo>
                  <a:cubicBezTo>
                    <a:pt x="286270" y="177475"/>
                    <a:pt x="290103" y="179390"/>
                    <a:pt x="292020" y="181944"/>
                  </a:cubicBezTo>
                  <a:cubicBezTo>
                    <a:pt x="293298" y="183859"/>
                    <a:pt x="297771" y="191519"/>
                    <a:pt x="288825" y="200457"/>
                  </a:cubicBezTo>
                  <a:lnTo>
                    <a:pt x="270295" y="224078"/>
                  </a:lnTo>
                  <a:cubicBezTo>
                    <a:pt x="266460" y="228547"/>
                    <a:pt x="261987" y="232377"/>
                    <a:pt x="256876" y="234931"/>
                  </a:cubicBezTo>
                  <a:lnTo>
                    <a:pt x="234511" y="245783"/>
                  </a:lnTo>
                  <a:cubicBezTo>
                    <a:pt x="231316" y="247699"/>
                    <a:pt x="227482" y="245783"/>
                    <a:pt x="226204" y="243230"/>
                  </a:cubicBezTo>
                  <a:cubicBezTo>
                    <a:pt x="224926" y="240038"/>
                    <a:pt x="226204" y="236207"/>
                    <a:pt x="228760" y="234931"/>
                  </a:cubicBezTo>
                  <a:lnTo>
                    <a:pt x="251125" y="224078"/>
                  </a:lnTo>
                  <a:cubicBezTo>
                    <a:pt x="254959" y="222163"/>
                    <a:pt x="258154" y="219609"/>
                    <a:pt x="260710" y="216417"/>
                  </a:cubicBezTo>
                  <a:lnTo>
                    <a:pt x="279880" y="192796"/>
                  </a:lnTo>
                  <a:cubicBezTo>
                    <a:pt x="281796" y="190881"/>
                    <a:pt x="282435" y="189604"/>
                    <a:pt x="282435" y="189604"/>
                  </a:cubicBezTo>
                  <a:cubicBezTo>
                    <a:pt x="281796" y="188966"/>
                    <a:pt x="274767" y="187051"/>
                    <a:pt x="269655" y="189604"/>
                  </a:cubicBezTo>
                  <a:cubicBezTo>
                    <a:pt x="262627" y="192796"/>
                    <a:pt x="254959" y="199819"/>
                    <a:pt x="247291" y="206841"/>
                  </a:cubicBezTo>
                  <a:cubicBezTo>
                    <a:pt x="246013" y="208118"/>
                    <a:pt x="244735" y="208756"/>
                    <a:pt x="242818" y="208756"/>
                  </a:cubicBezTo>
                  <a:cubicBezTo>
                    <a:pt x="242818" y="208756"/>
                    <a:pt x="239623" y="208756"/>
                    <a:pt x="235150" y="209395"/>
                  </a:cubicBezTo>
                  <a:cubicBezTo>
                    <a:pt x="214063" y="211310"/>
                    <a:pt x="196171" y="226631"/>
                    <a:pt x="191059" y="247699"/>
                  </a:cubicBezTo>
                  <a:cubicBezTo>
                    <a:pt x="188503" y="257275"/>
                    <a:pt x="187864" y="263659"/>
                    <a:pt x="187864" y="275150"/>
                  </a:cubicBezTo>
                  <a:cubicBezTo>
                    <a:pt x="187864" y="278980"/>
                    <a:pt x="185308" y="281534"/>
                    <a:pt x="181474" y="281534"/>
                  </a:cubicBezTo>
                  <a:cubicBezTo>
                    <a:pt x="181474" y="281534"/>
                    <a:pt x="181474" y="281534"/>
                    <a:pt x="181474" y="281534"/>
                  </a:cubicBezTo>
                  <a:cubicBezTo>
                    <a:pt x="181474" y="281534"/>
                    <a:pt x="181474" y="281534"/>
                    <a:pt x="181474" y="281534"/>
                  </a:cubicBezTo>
                  <a:cubicBezTo>
                    <a:pt x="177641" y="281534"/>
                    <a:pt x="175084" y="278980"/>
                    <a:pt x="175084" y="275150"/>
                  </a:cubicBezTo>
                  <a:cubicBezTo>
                    <a:pt x="175084" y="263020"/>
                    <a:pt x="174446" y="257275"/>
                    <a:pt x="171889" y="247699"/>
                  </a:cubicBezTo>
                  <a:cubicBezTo>
                    <a:pt x="166138" y="227270"/>
                    <a:pt x="148247" y="211948"/>
                    <a:pt x="127799" y="209395"/>
                  </a:cubicBezTo>
                  <a:cubicBezTo>
                    <a:pt x="123326" y="208756"/>
                    <a:pt x="120131" y="208756"/>
                    <a:pt x="120131" y="208756"/>
                  </a:cubicBezTo>
                  <a:cubicBezTo>
                    <a:pt x="118214" y="208756"/>
                    <a:pt x="116936" y="208118"/>
                    <a:pt x="115658" y="206841"/>
                  </a:cubicBezTo>
                  <a:cubicBezTo>
                    <a:pt x="107990" y="199819"/>
                    <a:pt x="100322" y="192796"/>
                    <a:pt x="93293" y="189604"/>
                  </a:cubicBezTo>
                  <a:cubicBezTo>
                    <a:pt x="87542" y="187051"/>
                    <a:pt x="81152" y="188327"/>
                    <a:pt x="79874" y="189604"/>
                  </a:cubicBezTo>
                  <a:cubicBezTo>
                    <a:pt x="79874" y="189604"/>
                    <a:pt x="80513" y="190243"/>
                    <a:pt x="81792" y="192158"/>
                  </a:cubicBezTo>
                  <a:lnTo>
                    <a:pt x="100961" y="216417"/>
                  </a:lnTo>
                  <a:cubicBezTo>
                    <a:pt x="103517" y="219609"/>
                    <a:pt x="106712" y="222163"/>
                    <a:pt x="110546" y="224078"/>
                  </a:cubicBezTo>
                  <a:lnTo>
                    <a:pt x="132911" y="234931"/>
                  </a:lnTo>
                  <a:cubicBezTo>
                    <a:pt x="136106" y="236207"/>
                    <a:pt x="137384" y="240038"/>
                    <a:pt x="135467" y="243230"/>
                  </a:cubicBezTo>
                  <a:cubicBezTo>
                    <a:pt x="134189" y="246422"/>
                    <a:pt x="130355" y="247699"/>
                    <a:pt x="127160" y="245783"/>
                  </a:cubicBezTo>
                  <a:lnTo>
                    <a:pt x="104795" y="234931"/>
                  </a:lnTo>
                  <a:cubicBezTo>
                    <a:pt x="99683" y="232377"/>
                    <a:pt x="94571" y="228547"/>
                    <a:pt x="91376" y="224078"/>
                  </a:cubicBezTo>
                  <a:lnTo>
                    <a:pt x="72207" y="200457"/>
                  </a:lnTo>
                  <a:cubicBezTo>
                    <a:pt x="63899" y="191519"/>
                    <a:pt x="67734" y="184497"/>
                    <a:pt x="69650" y="181944"/>
                  </a:cubicBezTo>
                  <a:cubicBezTo>
                    <a:pt x="71567" y="179390"/>
                    <a:pt x="75402" y="176836"/>
                    <a:pt x="79235" y="176198"/>
                  </a:cubicBezTo>
                  <a:lnTo>
                    <a:pt x="73484" y="127041"/>
                  </a:lnTo>
                  <a:cubicBezTo>
                    <a:pt x="72207" y="123211"/>
                    <a:pt x="70289" y="121934"/>
                    <a:pt x="69012" y="121296"/>
                  </a:cubicBezTo>
                  <a:cubicBezTo>
                    <a:pt x="67734" y="120657"/>
                    <a:pt x="67094" y="120657"/>
                    <a:pt x="66456" y="120657"/>
                  </a:cubicBezTo>
                  <a:lnTo>
                    <a:pt x="61982" y="180667"/>
                  </a:lnTo>
                  <a:cubicBezTo>
                    <a:pt x="61982" y="184497"/>
                    <a:pt x="61982" y="188327"/>
                    <a:pt x="63261" y="191519"/>
                  </a:cubicBezTo>
                  <a:lnTo>
                    <a:pt x="79235" y="235569"/>
                  </a:lnTo>
                  <a:cubicBezTo>
                    <a:pt x="81792" y="241953"/>
                    <a:pt x="85625" y="247060"/>
                    <a:pt x="90737" y="250891"/>
                  </a:cubicBezTo>
                  <a:lnTo>
                    <a:pt x="129716" y="278980"/>
                  </a:lnTo>
                  <a:cubicBezTo>
                    <a:pt x="138662" y="285364"/>
                    <a:pt x="143135" y="293025"/>
                    <a:pt x="144413" y="301962"/>
                  </a:cubicBezTo>
                  <a:cubicBezTo>
                    <a:pt x="145052" y="305154"/>
                    <a:pt x="141857" y="308346"/>
                    <a:pt x="138662" y="308985"/>
                  </a:cubicBezTo>
                  <a:cubicBezTo>
                    <a:pt x="138662" y="308985"/>
                    <a:pt x="138023" y="308985"/>
                    <a:pt x="138023" y="308985"/>
                  </a:cubicBezTo>
                  <a:cubicBezTo>
                    <a:pt x="134828" y="308985"/>
                    <a:pt x="132272" y="306431"/>
                    <a:pt x="131633" y="303239"/>
                  </a:cubicBezTo>
                  <a:cubicBezTo>
                    <a:pt x="130994" y="298132"/>
                    <a:pt x="127799" y="293663"/>
                    <a:pt x="122048" y="289833"/>
                  </a:cubicBezTo>
                  <a:lnTo>
                    <a:pt x="83069" y="261743"/>
                  </a:lnTo>
                  <a:cubicBezTo>
                    <a:pt x="75402" y="256636"/>
                    <a:pt x="70289" y="248975"/>
                    <a:pt x="67094" y="240038"/>
                  </a:cubicBezTo>
                  <a:lnTo>
                    <a:pt x="51119" y="195988"/>
                  </a:lnTo>
                  <a:cubicBezTo>
                    <a:pt x="49203" y="190881"/>
                    <a:pt x="48564" y="185135"/>
                    <a:pt x="48564" y="180028"/>
                  </a:cubicBezTo>
                  <a:lnTo>
                    <a:pt x="53037" y="120657"/>
                  </a:lnTo>
                  <a:cubicBezTo>
                    <a:pt x="53676" y="113635"/>
                    <a:pt x="58149" y="109166"/>
                    <a:pt x="65177" y="108528"/>
                  </a:cubicBezTo>
                  <a:cubicBezTo>
                    <a:pt x="72845" y="107889"/>
                    <a:pt x="82430" y="113635"/>
                    <a:pt x="85625" y="124488"/>
                  </a:cubicBezTo>
                  <a:cubicBezTo>
                    <a:pt x="85625" y="124488"/>
                    <a:pt x="85625" y="125126"/>
                    <a:pt x="85625" y="125126"/>
                  </a:cubicBezTo>
                  <a:lnTo>
                    <a:pt x="91376" y="176198"/>
                  </a:lnTo>
                  <a:cubicBezTo>
                    <a:pt x="93932" y="176836"/>
                    <a:pt x="95849" y="177475"/>
                    <a:pt x="98405" y="178752"/>
                  </a:cubicBezTo>
                  <a:cubicBezTo>
                    <a:pt x="106712" y="182582"/>
                    <a:pt x="114380" y="188966"/>
                    <a:pt x="122048" y="195988"/>
                  </a:cubicBezTo>
                  <a:cubicBezTo>
                    <a:pt x="123326" y="195988"/>
                    <a:pt x="125882" y="195988"/>
                    <a:pt x="128438" y="196627"/>
                  </a:cubicBezTo>
                  <a:cubicBezTo>
                    <a:pt x="152081" y="199180"/>
                    <a:pt x="172528" y="215140"/>
                    <a:pt x="181474" y="237484"/>
                  </a:cubicBezTo>
                  <a:cubicBezTo>
                    <a:pt x="190420" y="215140"/>
                    <a:pt x="210868" y="199180"/>
                    <a:pt x="234511" y="196627"/>
                  </a:cubicBezTo>
                  <a:cubicBezTo>
                    <a:pt x="237067" y="196627"/>
                    <a:pt x="239623" y="195988"/>
                    <a:pt x="240901" y="195988"/>
                  </a:cubicBezTo>
                  <a:cubicBezTo>
                    <a:pt x="248569" y="188966"/>
                    <a:pt x="256237" y="181944"/>
                    <a:pt x="264544" y="178113"/>
                  </a:cubicBezTo>
                  <a:cubicBezTo>
                    <a:pt x="266460" y="176836"/>
                    <a:pt x="269017" y="176198"/>
                    <a:pt x="270934" y="176198"/>
                  </a:cubicBezTo>
                  <a:lnTo>
                    <a:pt x="276685" y="125126"/>
                  </a:lnTo>
                  <a:cubicBezTo>
                    <a:pt x="276685" y="125126"/>
                    <a:pt x="276685" y="124488"/>
                    <a:pt x="276685" y="124488"/>
                  </a:cubicBezTo>
                  <a:cubicBezTo>
                    <a:pt x="279880" y="112996"/>
                    <a:pt x="289464" y="107889"/>
                    <a:pt x="297132" y="108528"/>
                  </a:cubicBezTo>
                  <a:cubicBezTo>
                    <a:pt x="303522" y="109166"/>
                    <a:pt x="307995" y="113635"/>
                    <a:pt x="309273" y="120657"/>
                  </a:cubicBezTo>
                  <a:lnTo>
                    <a:pt x="313746" y="180028"/>
                  </a:lnTo>
                  <a:cubicBezTo>
                    <a:pt x="314385" y="185774"/>
                    <a:pt x="313107" y="190881"/>
                    <a:pt x="311190" y="195988"/>
                  </a:cubicBezTo>
                  <a:lnTo>
                    <a:pt x="294576" y="240038"/>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dirty="0">
                <a:ln>
                  <a:noFill/>
                </a:ln>
                <a:solidFill>
                  <a:prstClr val="black"/>
                </a:solidFill>
                <a:effectLst/>
                <a:uLnTx/>
                <a:uFillTx/>
                <a:latin typeface="Open Sans"/>
                <a:ea typeface="+mn-ea"/>
                <a:cs typeface="+mn-cs"/>
              </a:endParaRPr>
            </a:p>
          </p:txBody>
        </p:sp>
      </p:grpSp>
      <p:sp>
        <p:nvSpPr>
          <p:cNvPr id="55" name="Text Placeholder 5">
            <a:extLst>
              <a:ext uri="{FF2B5EF4-FFF2-40B4-BE49-F238E27FC236}">
                <a16:creationId xmlns:a16="http://schemas.microsoft.com/office/drawing/2014/main" id="{3F550ABA-BE6A-B3B8-5F90-46AA98ED12E4}"/>
              </a:ext>
            </a:extLst>
          </p:cNvPr>
          <p:cNvSpPr txBox="1">
            <a:spLocks/>
          </p:cNvSpPr>
          <p:nvPr/>
        </p:nvSpPr>
        <p:spPr>
          <a:xfrm>
            <a:off x="388291" y="1844810"/>
            <a:ext cx="1443607"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b="1" spc="300" dirty="0">
                <a:solidFill>
                  <a:srgbClr val="00B0F2"/>
                </a:solidFill>
                <a:latin typeface="Open Sans" panose="020B0606030504020204" pitchFamily="34" charset="0"/>
                <a:ea typeface="Open Sans" panose="020B0606030504020204" pitchFamily="34" charset="0"/>
                <a:cs typeface="Open Sans" panose="020B0606030504020204" pitchFamily="34" charset="0"/>
              </a:rPr>
              <a:t>CSR</a:t>
            </a:r>
            <a:r>
              <a:rPr lang="en-US" sz="800" b="1" spc="300" dirty="0">
                <a:solidFill>
                  <a:srgbClr val="00B0F2"/>
                </a:solidFill>
                <a:latin typeface="Open Sans" panose="020B0606030504020204" pitchFamily="34" charset="0"/>
                <a:ea typeface="Open Sans" panose="020B0606030504020204" pitchFamily="34" charset="0"/>
                <a:cs typeface="Open Sans" panose="020B0606030504020204" pitchFamily="34" charset="0"/>
              </a:rPr>
              <a:t> </a:t>
            </a:r>
            <a:r>
              <a:rPr lang="en-US" b="1" spc="300" dirty="0">
                <a:solidFill>
                  <a:srgbClr val="00B0F2"/>
                </a:solidFill>
                <a:latin typeface="Open Sans" panose="020B0606030504020204" pitchFamily="34" charset="0"/>
                <a:ea typeface="Open Sans" panose="020B0606030504020204" pitchFamily="34" charset="0"/>
                <a:cs typeface="Open Sans" panose="020B0606030504020204" pitchFamily="34" charset="0"/>
              </a:rPr>
              <a:t>INITIATIVES</a:t>
            </a:r>
          </a:p>
          <a:p>
            <a:r>
              <a:rPr lang="en-US" b="1" spc="300" dirty="0">
                <a:latin typeface="Open Sans" panose="020B0606030504020204" pitchFamily="34" charset="0"/>
                <a:ea typeface="Open Sans" panose="020B0606030504020204" pitchFamily="34" charset="0"/>
                <a:cs typeface="Open Sans" panose="020B0606030504020204" pitchFamily="34" charset="0"/>
              </a:rPr>
              <a:t>DEEPDIVE</a:t>
            </a:r>
          </a:p>
        </p:txBody>
      </p:sp>
      <p:grpSp>
        <p:nvGrpSpPr>
          <p:cNvPr id="56" name="Group 55">
            <a:extLst>
              <a:ext uri="{FF2B5EF4-FFF2-40B4-BE49-F238E27FC236}">
                <a16:creationId xmlns:a16="http://schemas.microsoft.com/office/drawing/2014/main" id="{50BF8F71-EF0D-1D09-0ECB-D93DB3BEDD4C}"/>
              </a:ext>
            </a:extLst>
          </p:cNvPr>
          <p:cNvGrpSpPr/>
          <p:nvPr/>
        </p:nvGrpSpPr>
        <p:grpSpPr>
          <a:xfrm>
            <a:off x="54117" y="2776682"/>
            <a:ext cx="1244714" cy="1340640"/>
            <a:chOff x="313485" y="4509531"/>
            <a:chExt cx="1058295" cy="1139858"/>
          </a:xfrm>
        </p:grpSpPr>
        <p:sp>
          <p:nvSpPr>
            <p:cNvPr id="57" name="Freeform: Shape 56">
              <a:extLst>
                <a:ext uri="{FF2B5EF4-FFF2-40B4-BE49-F238E27FC236}">
                  <a16:creationId xmlns:a16="http://schemas.microsoft.com/office/drawing/2014/main" id="{2041F3D9-1AC3-F464-BE6D-A146897359CD}"/>
                </a:ext>
              </a:extLst>
            </p:cNvPr>
            <p:cNvSpPr/>
            <p:nvPr/>
          </p:nvSpPr>
          <p:spPr bwMode="gray">
            <a:xfrm>
              <a:off x="313485" y="4682039"/>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dirty="0"/>
            </a:p>
          </p:txBody>
        </p:sp>
        <p:cxnSp>
          <p:nvCxnSpPr>
            <p:cNvPr id="58" name="Straight Connector 57">
              <a:extLst>
                <a:ext uri="{FF2B5EF4-FFF2-40B4-BE49-F238E27FC236}">
                  <a16:creationId xmlns:a16="http://schemas.microsoft.com/office/drawing/2014/main" id="{FE44D707-397B-9C15-4F59-DE14F6A9DB1F}"/>
                </a:ext>
              </a:extLst>
            </p:cNvPr>
            <p:cNvCxnSpPr/>
            <p:nvPr/>
          </p:nvCxnSpPr>
          <p:spPr>
            <a:xfrm flipV="1">
              <a:off x="791851" y="4509531"/>
              <a:ext cx="0" cy="5053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789ACF55-92FE-DA1B-F1FA-16BF8F682B48}"/>
                </a:ext>
              </a:extLst>
            </p:cNvPr>
            <p:cNvSpPr/>
            <p:nvPr/>
          </p:nvSpPr>
          <p:spPr bwMode="gray">
            <a:xfrm>
              <a:off x="742123" y="4981282"/>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60" name="Rectangle 59">
              <a:extLst>
                <a:ext uri="{FF2B5EF4-FFF2-40B4-BE49-F238E27FC236}">
                  <a16:creationId xmlns:a16="http://schemas.microsoft.com/office/drawing/2014/main" id="{15C2D0D9-39F0-78B7-A898-C69D42A6BA00}"/>
                </a:ext>
              </a:extLst>
            </p:cNvPr>
            <p:cNvSpPr/>
            <p:nvPr/>
          </p:nvSpPr>
          <p:spPr>
            <a:xfrm>
              <a:off x="465774" y="5074944"/>
              <a:ext cx="906006" cy="15700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a:t>
              </a:r>
              <a:r>
                <a:rPr lang="en-US" sz="600" i="1" spc="300" dirty="0">
                  <a:latin typeface="Open Sans"/>
                </a:rPr>
                <a:t>T</a:t>
              </a:r>
              <a:endParaRPr kumimoji="0" lang="en-US" sz="600" i="1" u="none" strike="noStrike" kern="1200" cap="none" spc="300" normalizeH="0" baseline="0" dirty="0">
                <a:ln>
                  <a:noFill/>
                </a:ln>
                <a:effectLst/>
                <a:uLnTx/>
                <a:uFillTx/>
                <a:latin typeface="Open Sans"/>
              </a:endParaRPr>
            </a:p>
          </p:txBody>
        </p:sp>
        <p:pic>
          <p:nvPicPr>
            <p:cNvPr id="61" name="Picture 4" descr="Hungary Large Flag | Gallery Yopriceville - High-Quality Free Images ...">
              <a:extLst>
                <a:ext uri="{FF2B5EF4-FFF2-40B4-BE49-F238E27FC236}">
                  <a16:creationId xmlns:a16="http://schemas.microsoft.com/office/drawing/2014/main" id="{2BAC0974-FF0C-779B-B2FA-E79245AECCF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89759" y="451244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3085" name="Text Placeholder 5">
            <a:extLst>
              <a:ext uri="{FF2B5EF4-FFF2-40B4-BE49-F238E27FC236}">
                <a16:creationId xmlns:a16="http://schemas.microsoft.com/office/drawing/2014/main" id="{8594408E-41DB-B10E-96C9-061203D023F4}"/>
              </a:ext>
            </a:extLst>
          </p:cNvPr>
          <p:cNvSpPr txBox="1">
            <a:spLocks/>
          </p:cNvSpPr>
          <p:nvPr/>
        </p:nvSpPr>
        <p:spPr>
          <a:xfrm>
            <a:off x="6886585" y="1747192"/>
            <a:ext cx="4006558" cy="266822"/>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b="1" dirty="0">
                <a:solidFill>
                  <a:srgbClr val="00B0F2"/>
                </a:solidFill>
                <a:latin typeface="Open Sans"/>
                <a:cs typeface="Calibri Light"/>
              </a:rPr>
              <a:t>MAIN GOAL OF THE PROGRAM</a:t>
            </a:r>
            <a:endParaRPr kumimoji="0" lang="en-US" sz="1100" b="1" i="0" u="none" strike="noStrike" kern="1200" cap="none" spc="0" normalizeH="0" baseline="0" dirty="0">
              <a:ln>
                <a:noFill/>
              </a:ln>
              <a:solidFill>
                <a:srgbClr val="00B0F2"/>
              </a:solidFill>
              <a:effectLst/>
              <a:uLnTx/>
              <a:uFillTx/>
              <a:latin typeface="Open Sans"/>
              <a:cs typeface="Calibri Light"/>
            </a:endParaRPr>
          </a:p>
        </p:txBody>
      </p:sp>
      <p:sp>
        <p:nvSpPr>
          <p:cNvPr id="3086" name="Text Placeholder 5">
            <a:extLst>
              <a:ext uri="{FF2B5EF4-FFF2-40B4-BE49-F238E27FC236}">
                <a16:creationId xmlns:a16="http://schemas.microsoft.com/office/drawing/2014/main" id="{8F49FB40-9E8B-692F-40CA-A221059C5963}"/>
              </a:ext>
            </a:extLst>
          </p:cNvPr>
          <p:cNvSpPr txBox="1">
            <a:spLocks/>
          </p:cNvSpPr>
          <p:nvPr/>
        </p:nvSpPr>
        <p:spPr>
          <a:xfrm>
            <a:off x="7504598" y="3156603"/>
            <a:ext cx="4001602" cy="486912"/>
          </a:xfrm>
          <a:prstGeom prst="rect">
            <a:avLst/>
          </a:prstGeom>
          <a:noFill/>
        </p:spPr>
        <p:txBody>
          <a:bodyPr vert="horz" lIns="108000" tIns="0" rIns="108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sz="1000" b="1" dirty="0">
                <a:solidFill>
                  <a:srgbClr val="00B0F2"/>
                </a:solidFill>
                <a:latin typeface="Open Sans"/>
                <a:cs typeface="Calibri Light"/>
              </a:rPr>
              <a:t>Comprehensive Training Program and </a:t>
            </a:r>
            <a:r>
              <a:rPr lang="en-US" sz="1000" b="1" dirty="0">
                <a:solidFill>
                  <a:srgbClr val="00B0F2"/>
                </a:solidFill>
                <a:latin typeface="Open Sans"/>
                <a:ea typeface="Open Sans"/>
                <a:cs typeface="Calibri Light"/>
              </a:rPr>
              <a:t>E-learning material about Modern Entrepreneurship </a:t>
            </a:r>
          </a:p>
          <a:p>
            <a:pPr marL="0" marR="0" lvl="0" indent="0" algn="l" defTabSz="914400" eaLnBrk="1" fontAlgn="auto" latinLnBrk="0" hangingPunct="1">
              <a:lnSpc>
                <a:spcPct val="120000"/>
              </a:lnSpc>
              <a:spcBef>
                <a:spcPts val="0"/>
              </a:spcBef>
              <a:spcAft>
                <a:spcPts val="0"/>
              </a:spcAft>
              <a:buClrTx/>
              <a:buSzTx/>
              <a:buFontTx/>
              <a:buNone/>
              <a:tabLst/>
              <a:defRPr/>
            </a:pPr>
            <a:r>
              <a:rPr lang="en-US" sz="1000" dirty="0">
                <a:latin typeface="Open Sans"/>
                <a:ea typeface="Open Sans"/>
                <a:cs typeface="Calibri Light"/>
              </a:rPr>
              <a:t>for high school and university students</a:t>
            </a:r>
            <a:endParaRPr kumimoji="0" lang="en-US" sz="1000" i="0" u="none" strike="noStrike" kern="1200" cap="none" spc="0" normalizeH="0" baseline="0" dirty="0">
              <a:ln>
                <a:noFill/>
              </a:ln>
              <a:effectLst/>
              <a:uLnTx/>
              <a:uFillTx/>
              <a:latin typeface="Open Sans"/>
              <a:ea typeface="Open Sans"/>
              <a:cs typeface="Calibri Light"/>
            </a:endParaRPr>
          </a:p>
        </p:txBody>
      </p:sp>
      <p:sp>
        <p:nvSpPr>
          <p:cNvPr id="3090" name="Text Placeholder 5">
            <a:extLst>
              <a:ext uri="{FF2B5EF4-FFF2-40B4-BE49-F238E27FC236}">
                <a16:creationId xmlns:a16="http://schemas.microsoft.com/office/drawing/2014/main" id="{8D5B5958-183E-0750-7A10-A512DB4821B4}"/>
              </a:ext>
            </a:extLst>
          </p:cNvPr>
          <p:cNvSpPr txBox="1">
            <a:spLocks/>
          </p:cNvSpPr>
          <p:nvPr/>
        </p:nvSpPr>
        <p:spPr>
          <a:xfrm>
            <a:off x="6895764" y="2603367"/>
            <a:ext cx="4989874" cy="383574"/>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sz="1000" dirty="0">
                <a:latin typeface="Open Sans"/>
                <a:cs typeface="Calibri Light"/>
              </a:rPr>
              <a:t>We support the organization in fulfilling their mission to improve financial literacy and to prepare youth to manage money wisely by developing professional materials</a:t>
            </a:r>
            <a:endParaRPr kumimoji="0" lang="en-US" sz="1000" i="0" u="none" strike="noStrike" kern="1200" cap="none" spc="0" normalizeH="0" baseline="0" dirty="0">
              <a:ln>
                <a:noFill/>
              </a:ln>
              <a:effectLst/>
              <a:uLnTx/>
              <a:uFillTx/>
              <a:latin typeface="Open Sans"/>
              <a:cs typeface="Calibri Light"/>
            </a:endParaRPr>
          </a:p>
        </p:txBody>
      </p:sp>
      <p:sp>
        <p:nvSpPr>
          <p:cNvPr id="3091" name="Text Placeholder 5">
            <a:extLst>
              <a:ext uri="{FF2B5EF4-FFF2-40B4-BE49-F238E27FC236}">
                <a16:creationId xmlns:a16="http://schemas.microsoft.com/office/drawing/2014/main" id="{33417FFA-D0AB-5F36-C160-BC6CF3302901}"/>
              </a:ext>
            </a:extLst>
          </p:cNvPr>
          <p:cNvSpPr txBox="1">
            <a:spLocks/>
          </p:cNvSpPr>
          <p:nvPr/>
        </p:nvSpPr>
        <p:spPr>
          <a:xfrm>
            <a:off x="6886585" y="2404577"/>
            <a:ext cx="4006558" cy="266822"/>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dirty="0">
                <a:ln>
                  <a:noFill/>
                </a:ln>
                <a:solidFill>
                  <a:srgbClr val="00B0F2"/>
                </a:solidFill>
                <a:effectLst/>
                <a:uLnTx/>
                <a:uFillTx/>
                <a:latin typeface="Open Sans"/>
                <a:ea typeface="+mn-ea"/>
                <a:cs typeface="Calibri Light"/>
              </a:rPr>
              <a:t>Deloitte’s role</a:t>
            </a:r>
          </a:p>
        </p:txBody>
      </p:sp>
      <p:sp>
        <p:nvSpPr>
          <p:cNvPr id="3092" name="TextBox 3091">
            <a:extLst>
              <a:ext uri="{FF2B5EF4-FFF2-40B4-BE49-F238E27FC236}">
                <a16:creationId xmlns:a16="http://schemas.microsoft.com/office/drawing/2014/main" id="{A56B8744-CD65-C10C-762E-DD7A177E9F53}"/>
              </a:ext>
            </a:extLst>
          </p:cNvPr>
          <p:cNvSpPr txBox="1"/>
          <p:nvPr/>
        </p:nvSpPr>
        <p:spPr>
          <a:xfrm>
            <a:off x="6952901" y="1897150"/>
            <a:ext cx="4664257" cy="553998"/>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The Foundation aims to develop the future awareness of the whole population, especially young people, mainly through economic and financial literacy</a:t>
            </a:r>
          </a:p>
        </p:txBody>
      </p:sp>
      <p:sp>
        <p:nvSpPr>
          <p:cNvPr id="3093" name="Freeform 589">
            <a:extLst>
              <a:ext uri="{FF2B5EF4-FFF2-40B4-BE49-F238E27FC236}">
                <a16:creationId xmlns:a16="http://schemas.microsoft.com/office/drawing/2014/main" id="{6C69AFA5-9F61-52EC-CB8B-AD8556AE0F26}"/>
              </a:ext>
            </a:extLst>
          </p:cNvPr>
          <p:cNvSpPr>
            <a:spLocks noChangeAspect="1" noEditPoints="1"/>
          </p:cNvSpPr>
          <p:nvPr/>
        </p:nvSpPr>
        <p:spPr bwMode="auto">
          <a:xfrm>
            <a:off x="1964808" y="2938329"/>
            <a:ext cx="530352" cy="530352"/>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95" name="Text Placeholder 5">
            <a:extLst>
              <a:ext uri="{FF2B5EF4-FFF2-40B4-BE49-F238E27FC236}">
                <a16:creationId xmlns:a16="http://schemas.microsoft.com/office/drawing/2014/main" id="{AC9F6261-5303-F947-39FE-89321044ECBF}"/>
              </a:ext>
            </a:extLst>
          </p:cNvPr>
          <p:cNvSpPr txBox="1">
            <a:spLocks/>
          </p:cNvSpPr>
          <p:nvPr/>
        </p:nvSpPr>
        <p:spPr>
          <a:xfrm>
            <a:off x="6956272" y="3708328"/>
            <a:ext cx="4673753" cy="1232246"/>
          </a:xfrm>
          <a:prstGeom prst="rect">
            <a:avLst/>
          </a:prstGeom>
          <a:noFill/>
        </p:spPr>
        <p:txBody>
          <a:bodyPr vert="horz" lIns="108000" tIns="0" rIns="108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dirty="0">
                <a:ln>
                  <a:noFill/>
                </a:ln>
                <a:solidFill>
                  <a:srgbClr val="00B0F2"/>
                </a:solidFill>
                <a:effectLst/>
                <a:uLnTx/>
                <a:uFillTx/>
                <a:latin typeface="Open Sans"/>
                <a:cs typeface="Calibri Light"/>
              </a:rPr>
              <a:t>Elements of Complex Training </a:t>
            </a:r>
            <a:r>
              <a:rPr lang="en-US" sz="1000" b="1" dirty="0">
                <a:solidFill>
                  <a:srgbClr val="00B0F2"/>
                </a:solidFill>
                <a:latin typeface="Open Sans"/>
                <a:cs typeface="Calibri Light"/>
              </a:rPr>
              <a:t>P</a:t>
            </a:r>
            <a:r>
              <a:rPr kumimoji="0" lang="en-US" sz="1000" b="1" i="0" u="none" strike="noStrike" kern="1200" cap="none" spc="0" normalizeH="0" baseline="0" dirty="0">
                <a:ln>
                  <a:noFill/>
                </a:ln>
                <a:solidFill>
                  <a:srgbClr val="00B0F2"/>
                </a:solidFill>
                <a:effectLst/>
                <a:uLnTx/>
                <a:uFillTx/>
                <a:latin typeface="Open Sans"/>
                <a:cs typeface="Calibri Light"/>
              </a:rPr>
              <a:t>rogram</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000" dirty="0">
                <a:solidFill>
                  <a:prstClr val="black"/>
                </a:solidFill>
                <a:latin typeface="Open Sans"/>
                <a:cs typeface="Calibri Light"/>
              </a:rPr>
              <a:t>T</a:t>
            </a:r>
            <a:r>
              <a:rPr kumimoji="0" lang="en-US" sz="1000" i="0" u="none" strike="noStrike" kern="1200" cap="none" spc="0" normalizeH="0" baseline="0" dirty="0">
                <a:ln>
                  <a:noFill/>
                </a:ln>
                <a:solidFill>
                  <a:prstClr val="black"/>
                </a:solidFill>
                <a:effectLst/>
                <a:uLnTx/>
                <a:uFillTx/>
                <a:latin typeface="Open Sans"/>
                <a:cs typeface="Calibri Light"/>
              </a:rPr>
              <a:t>raining program with a comprehensive e-learning material covering all segments of the business life cycle from business idea to exit</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dirty="0">
                <a:ln>
                  <a:noFill/>
                </a:ln>
                <a:solidFill>
                  <a:prstClr val="black"/>
                </a:solidFill>
                <a:effectLst/>
                <a:uLnTx/>
                <a:uFillTx/>
                <a:latin typeface="Open Sans"/>
                <a:cs typeface="Calibri Light"/>
              </a:rPr>
              <a:t>Knowledge transfer, awareness raising, presentation of good practices</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dirty="0">
                <a:ln>
                  <a:noFill/>
                </a:ln>
                <a:solidFill>
                  <a:prstClr val="black"/>
                </a:solidFill>
                <a:effectLst/>
                <a:uLnTx/>
                <a:uFillTx/>
                <a:latin typeface="Open Sans"/>
                <a:cs typeface="Calibri Light"/>
              </a:rPr>
              <a:t>Providing support to help young people make the right, responsible decisions when starting and running their own business</a:t>
            </a:r>
            <a:endParaRPr kumimoji="0" lang="en-US" sz="1000" b="0" i="0" u="none" strike="noStrike" kern="1200" cap="none" spc="0" normalizeH="0" baseline="0" dirty="0">
              <a:ln>
                <a:noFill/>
              </a:ln>
              <a:solidFill>
                <a:prstClr val="black"/>
              </a:solidFill>
              <a:effectLst/>
              <a:uLnTx/>
              <a:uFillTx/>
              <a:latin typeface="Open Sans"/>
              <a:cs typeface="Calibri Light"/>
            </a:endParaRPr>
          </a:p>
        </p:txBody>
      </p:sp>
      <p:pic>
        <p:nvPicPr>
          <p:cNvPr id="3096" name="Picture 8">
            <a:extLst>
              <a:ext uri="{FF2B5EF4-FFF2-40B4-BE49-F238E27FC236}">
                <a16:creationId xmlns:a16="http://schemas.microsoft.com/office/drawing/2014/main" id="{FCECC247-00F3-BB35-F7FF-10A5C5768F57}"/>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127698" y="4717360"/>
            <a:ext cx="895551" cy="223888"/>
          </a:xfrm>
          <a:prstGeom prst="rect">
            <a:avLst/>
          </a:prstGeom>
          <a:noFill/>
          <a:extLst>
            <a:ext uri="{909E8E84-426E-40DD-AFC4-6F175D3DCCD1}">
              <a14:hiddenFill xmlns:a14="http://schemas.microsoft.com/office/drawing/2010/main">
                <a:solidFill>
                  <a:srgbClr val="FFFFFF"/>
                </a:solidFill>
              </a14:hiddenFill>
            </a:ext>
          </a:extLst>
        </p:spPr>
      </p:pic>
      <p:pic>
        <p:nvPicPr>
          <p:cNvPr id="3097" name="Picture 2" descr="OTP Fay Andras Foundation x Supercharge: Edutainment for financial literacy">
            <a:extLst>
              <a:ext uri="{FF2B5EF4-FFF2-40B4-BE49-F238E27FC236}">
                <a16:creationId xmlns:a16="http://schemas.microsoft.com/office/drawing/2014/main" id="{782251BF-523D-6721-6D73-103CCD3A4BAB}"/>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595844" y="4569678"/>
            <a:ext cx="1261278" cy="420426"/>
          </a:xfrm>
          <a:prstGeom prst="rect">
            <a:avLst/>
          </a:prstGeom>
          <a:noFill/>
          <a:extLst>
            <a:ext uri="{909E8E84-426E-40DD-AFC4-6F175D3DCCD1}">
              <a14:hiddenFill xmlns:a14="http://schemas.microsoft.com/office/drawing/2010/main">
                <a:solidFill>
                  <a:srgbClr val="FFFFFF"/>
                </a:solidFill>
              </a14:hiddenFill>
            </a:ext>
          </a:extLst>
        </p:spPr>
      </p:pic>
      <p:sp>
        <p:nvSpPr>
          <p:cNvPr id="3100" name="Freeform 45">
            <a:extLst>
              <a:ext uri="{FF2B5EF4-FFF2-40B4-BE49-F238E27FC236}">
                <a16:creationId xmlns:a16="http://schemas.microsoft.com/office/drawing/2014/main" id="{1DDCBD59-7A49-77DC-7D29-CF92D0F34B9F}"/>
              </a:ext>
            </a:extLst>
          </p:cNvPr>
          <p:cNvSpPr>
            <a:spLocks noChangeAspect="1" noEditPoints="1"/>
          </p:cNvSpPr>
          <p:nvPr/>
        </p:nvSpPr>
        <p:spPr bwMode="auto">
          <a:xfrm>
            <a:off x="7019101" y="3148551"/>
            <a:ext cx="530352" cy="530352"/>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1" name="Graphic 4">
            <a:extLst>
              <a:ext uri="{FF2B5EF4-FFF2-40B4-BE49-F238E27FC236}">
                <a16:creationId xmlns:a16="http://schemas.microsoft.com/office/drawing/2014/main" id="{B3AE575D-00B2-5C05-8C84-2A75E127A5A0}"/>
              </a:ext>
            </a:extLst>
          </p:cNvPr>
          <p:cNvGrpSpPr>
            <a:grpSpLocks/>
          </p:cNvGrpSpPr>
          <p:nvPr/>
        </p:nvGrpSpPr>
        <p:grpSpPr>
          <a:xfrm>
            <a:off x="6019852" y="1368475"/>
            <a:ext cx="231028" cy="230812"/>
            <a:chOff x="3607758" y="1893013"/>
            <a:chExt cx="362309" cy="361971"/>
          </a:xfrm>
          <a:solidFill>
            <a:srgbClr val="0097A9"/>
          </a:solidFill>
        </p:grpSpPr>
        <p:sp>
          <p:nvSpPr>
            <p:cNvPr id="8" name="Graphic 4">
              <a:extLst>
                <a:ext uri="{FF2B5EF4-FFF2-40B4-BE49-F238E27FC236}">
                  <a16:creationId xmlns:a16="http://schemas.microsoft.com/office/drawing/2014/main" id="{9FD3018D-CD67-83D3-552E-B6315ADAC612}"/>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 name="Graphic 4">
              <a:extLst>
                <a:ext uri="{FF2B5EF4-FFF2-40B4-BE49-F238E27FC236}">
                  <a16:creationId xmlns:a16="http://schemas.microsoft.com/office/drawing/2014/main" id="{F9EDC3BC-568C-8ADE-4BFD-265464CA5559}"/>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 name="Graphic 4">
              <a:extLst>
                <a:ext uri="{FF2B5EF4-FFF2-40B4-BE49-F238E27FC236}">
                  <a16:creationId xmlns:a16="http://schemas.microsoft.com/office/drawing/2014/main" id="{4F953646-D669-D9CF-6A46-CFB55006F4DC}"/>
                </a:ext>
              </a:extLst>
            </p:cNvPr>
            <p:cNvSpPr/>
            <p:nvPr/>
          </p:nvSpPr>
          <p:spPr>
            <a:xfrm>
              <a:off x="3668292" y="2014308"/>
              <a:ext cx="240682" cy="183858"/>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89810727"/>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69900" y="797082"/>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support approach goes beyond keeping the “lights on” by enabling continuous process improvements and driving innovative capabilities. The simple and lean delivery framework is easy to adopt, user friendly and emphasizes standardization and modernization</a:t>
            </a:r>
          </a:p>
          <a:p>
            <a:endPar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elivery Approach</a:t>
            </a:r>
          </a:p>
        </p:txBody>
      </p:sp>
      <p:sp>
        <p:nvSpPr>
          <p:cNvPr id="4" name="Rectangle 3">
            <a:hlinkClick r:id="" action="ppaction://noaction"/>
            <a:extLst>
              <a:ext uri="{FF2B5EF4-FFF2-40B4-BE49-F238E27FC236}">
                <a16:creationId xmlns:a16="http://schemas.microsoft.com/office/drawing/2014/main" id="{4E903A49-315D-36AC-F24A-259E1D5622AC}"/>
              </a:ext>
            </a:extLst>
          </p:cNvPr>
          <p:cNvSpPr/>
          <p:nvPr/>
        </p:nvSpPr>
        <p:spPr>
          <a:xfrm>
            <a:off x="4905082" y="1453197"/>
            <a:ext cx="2340000" cy="5015693"/>
          </a:xfrm>
          <a:prstGeom prst="rect">
            <a:avLst/>
          </a:prstGeom>
          <a:noFill/>
          <a:ln w="22225" cap="flat" cmpd="sng" algn="ctr">
            <a:solidFill>
              <a:srgbClr val="E3E48D"/>
            </a:solidFill>
            <a:prstDash val="solid"/>
          </a:ln>
          <a:effectLst/>
        </p:spPr>
        <p:txBody>
          <a:bodyPr lIns="91440" tIns="91440" rIns="91440" bIns="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SERVICE </a:t>
            </a:r>
            <a:r>
              <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MANAGEMENT</a:t>
            </a:r>
            <a:endParaRPr kumimoji="0" lang="en-US" sz="105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8" name="TextBox 7">
            <a:extLst>
              <a:ext uri="{FF2B5EF4-FFF2-40B4-BE49-F238E27FC236}">
                <a16:creationId xmlns:a16="http://schemas.microsoft.com/office/drawing/2014/main" id="{7D4A3462-C3D8-D3A6-95A0-590052BD7829}"/>
              </a:ext>
            </a:extLst>
          </p:cNvPr>
          <p:cNvSpPr txBox="1"/>
          <p:nvPr/>
        </p:nvSpPr>
        <p:spPr>
          <a:xfrm>
            <a:off x="4905082" y="3119863"/>
            <a:ext cx="2340000" cy="900246"/>
          </a:xfrm>
          <a:prstGeom prst="rect">
            <a:avLst/>
          </a:prstGeom>
          <a:noFill/>
        </p:spPr>
        <p:txBody>
          <a:bodyPr wrap="square">
            <a:spAutoFit/>
          </a:bodyPr>
          <a:lstStyle/>
          <a:p>
            <a:pPr algn="ctr">
              <a:defRPr/>
            </a:pPr>
            <a:r>
              <a:rPr lang="en-US" sz="1050" dirty="0">
                <a:solidFill>
                  <a:prstClr val="black"/>
                </a:solidFill>
                <a:latin typeface="Open Sans"/>
                <a:ea typeface="Open Sans" panose="020B0606030504020204" pitchFamily="34" charset="0"/>
                <a:cs typeface="Open Sans" panose="020B0606030504020204" pitchFamily="34" charset="0"/>
              </a:rPr>
              <a:t>Manage and enhance IT services to understand incident, service request, change requests trends, forecast future work volume and help drive efficiencies.</a:t>
            </a:r>
          </a:p>
        </p:txBody>
      </p:sp>
      <p:sp>
        <p:nvSpPr>
          <p:cNvPr id="10" name="Rectangle 9">
            <a:hlinkClick r:id="" action="ppaction://noaction"/>
            <a:extLst>
              <a:ext uri="{FF2B5EF4-FFF2-40B4-BE49-F238E27FC236}">
                <a16:creationId xmlns:a16="http://schemas.microsoft.com/office/drawing/2014/main" id="{67B7AE49-0E7A-205A-0215-4380A4A513AA}"/>
              </a:ext>
            </a:extLst>
          </p:cNvPr>
          <p:cNvSpPr/>
          <p:nvPr/>
        </p:nvSpPr>
        <p:spPr>
          <a:xfrm>
            <a:off x="8881232" y="1453198"/>
            <a:ext cx="2340000" cy="5015692"/>
          </a:xfrm>
          <a:prstGeom prst="rect">
            <a:avLst/>
          </a:prstGeom>
          <a:noFill/>
          <a:ln w="22225" cap="flat" cmpd="sng" algn="ctr">
            <a:solidFill>
              <a:sysClr val="windowText" lastClr="000000"/>
            </a:solidFill>
            <a:prstDash val="solid"/>
          </a:ln>
          <a:effectLst/>
        </p:spPr>
        <p:txBody>
          <a:bodyPr lIns="91440" tIns="91440" rIns="91440" bIns="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SYSTEM </a:t>
            </a:r>
            <a:endParaRPr kumimoji="0" lang="pl-PL" sz="11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MANAGEMENT</a:t>
            </a:r>
            <a:endParaRPr kumimoji="0" lang="en-US" sz="1100" b="0" i="1"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13" name="TextBox 12">
            <a:extLst>
              <a:ext uri="{FF2B5EF4-FFF2-40B4-BE49-F238E27FC236}">
                <a16:creationId xmlns:a16="http://schemas.microsoft.com/office/drawing/2014/main" id="{BEECC65A-CCC2-F005-EB96-B573A930DACC}"/>
              </a:ext>
            </a:extLst>
          </p:cNvPr>
          <p:cNvSpPr txBox="1"/>
          <p:nvPr/>
        </p:nvSpPr>
        <p:spPr>
          <a:xfrm>
            <a:off x="8851137" y="3113386"/>
            <a:ext cx="2340000" cy="1061829"/>
          </a:xfrm>
          <a:prstGeom prst="rect">
            <a:avLst/>
          </a:prstGeom>
          <a:noFill/>
        </p:spPr>
        <p:txBody>
          <a:bodyPr wrap="square">
            <a:spAutoFit/>
          </a:bodyPr>
          <a:lstStyle/>
          <a:p>
            <a:pPr algn="ctr">
              <a:defRPr/>
            </a:pPr>
            <a:r>
              <a:rPr lang="en-US" sz="1050" dirty="0">
                <a:solidFill>
                  <a:prstClr val="black"/>
                </a:solidFill>
                <a:latin typeface="Open Sans"/>
                <a:ea typeface="Open Sans" panose="020B0606030504020204" pitchFamily="34" charset="0"/>
                <a:cs typeface="Open Sans" panose="020B0606030504020204" pitchFamily="34" charset="0"/>
              </a:rPr>
              <a:t>Leverage insights to increase transparency into application and infrastructure health, predict future performance, accelerate root cause analysis, and implement corrective actions</a:t>
            </a:r>
          </a:p>
        </p:txBody>
      </p:sp>
      <p:sp>
        <p:nvSpPr>
          <p:cNvPr id="19" name="Rectangle 18">
            <a:hlinkClick r:id="" action="ppaction://noaction"/>
            <a:extLst>
              <a:ext uri="{FF2B5EF4-FFF2-40B4-BE49-F238E27FC236}">
                <a16:creationId xmlns:a16="http://schemas.microsoft.com/office/drawing/2014/main" id="{10CEDE5C-5143-3924-037C-2E0200332A8E}"/>
              </a:ext>
            </a:extLst>
          </p:cNvPr>
          <p:cNvSpPr/>
          <p:nvPr/>
        </p:nvSpPr>
        <p:spPr>
          <a:xfrm>
            <a:off x="919204" y="1453198"/>
            <a:ext cx="2340000" cy="5015694"/>
          </a:xfrm>
          <a:prstGeom prst="rect">
            <a:avLst/>
          </a:prstGeom>
          <a:noFill/>
          <a:ln w="22225" cap="flat" cmpd="sng" algn="ctr">
            <a:solidFill>
              <a:srgbClr val="A0DCFF"/>
            </a:solidFill>
            <a:prstDash val="solid"/>
          </a:ln>
          <a:effectLst/>
        </p:spPr>
        <p:txBody>
          <a:bodyPr lIns="91440" tIns="91440" rIns="91440" bIns="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DELIVERY </a:t>
            </a:r>
            <a:r>
              <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MANAGEMENT</a:t>
            </a:r>
            <a:endParaRPr kumimoji="0" lang="en-US" sz="105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C60EAA8E-FF5E-078F-D66C-92795CFD1943}"/>
              </a:ext>
            </a:extLst>
          </p:cNvPr>
          <p:cNvSpPr txBox="1"/>
          <p:nvPr/>
        </p:nvSpPr>
        <p:spPr>
          <a:xfrm>
            <a:off x="919204" y="3113386"/>
            <a:ext cx="2340000" cy="1061829"/>
          </a:xfrm>
          <a:prstGeom prst="rect">
            <a:avLst/>
          </a:prstGeom>
          <a:noFill/>
        </p:spPr>
        <p:txBody>
          <a:bodyPr wrap="square">
            <a:spAutoFit/>
          </a:bodyPr>
          <a:lstStyle/>
          <a:p>
            <a:pPr algn="ctr">
              <a:defRPr/>
            </a:pPr>
            <a:r>
              <a:rPr lang="en-US" sz="1050" dirty="0">
                <a:solidFill>
                  <a:prstClr val="black"/>
                </a:solidFill>
                <a:latin typeface="Open Sans"/>
                <a:ea typeface="Open Sans" panose="020B0606030504020204" pitchFamily="34" charset="0"/>
                <a:cs typeface="Open Sans" panose="020B0606030504020204" pitchFamily="34" charset="0"/>
              </a:rPr>
              <a:t>Manage service delivery enabled through proven tools and technologies for effective transition, knowledge and risk management, and development of applications</a:t>
            </a:r>
          </a:p>
        </p:txBody>
      </p:sp>
      <p:grpSp>
        <p:nvGrpSpPr>
          <p:cNvPr id="28" name="Group 27">
            <a:extLst>
              <a:ext uri="{FF2B5EF4-FFF2-40B4-BE49-F238E27FC236}">
                <a16:creationId xmlns:a16="http://schemas.microsoft.com/office/drawing/2014/main" id="{40573E09-49C1-7209-8192-87BCC167C159}"/>
              </a:ext>
            </a:extLst>
          </p:cNvPr>
          <p:cNvGrpSpPr/>
          <p:nvPr/>
        </p:nvGrpSpPr>
        <p:grpSpPr>
          <a:xfrm>
            <a:off x="5571082" y="1578503"/>
            <a:ext cx="1008000" cy="1008000"/>
            <a:chOff x="4136466" y="2753857"/>
            <a:chExt cx="1143000" cy="1162291"/>
          </a:xfrm>
        </p:grpSpPr>
        <p:sp>
          <p:nvSpPr>
            <p:cNvPr id="29" name="Oval 28">
              <a:hlinkClick r:id="" action="ppaction://noaction"/>
              <a:extLst>
                <a:ext uri="{FF2B5EF4-FFF2-40B4-BE49-F238E27FC236}">
                  <a16:creationId xmlns:a16="http://schemas.microsoft.com/office/drawing/2014/main" id="{2940AB2D-6765-A126-58C2-B0D5688F46DD}"/>
                </a:ext>
              </a:extLst>
            </p:cNvPr>
            <p:cNvSpPr/>
            <p:nvPr/>
          </p:nvSpPr>
          <p:spPr>
            <a:xfrm>
              <a:off x="4136466" y="2753857"/>
              <a:ext cx="1143000" cy="1162291"/>
            </a:xfrm>
            <a:prstGeom prst="ellipse">
              <a:avLst/>
            </a:prstGeom>
            <a:solidFill>
              <a:sysClr val="window" lastClr="FFFFFF"/>
            </a:solidFill>
            <a:ln w="285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ea typeface="+mn-ea"/>
                <a:cs typeface="+mn-cs"/>
              </a:endParaRPr>
            </a:p>
          </p:txBody>
        </p:sp>
        <p:sp>
          <p:nvSpPr>
            <p:cNvPr id="31" name="object 14">
              <a:extLst>
                <a:ext uri="{FF2B5EF4-FFF2-40B4-BE49-F238E27FC236}">
                  <a16:creationId xmlns:a16="http://schemas.microsoft.com/office/drawing/2014/main" id="{B8B99287-0012-3430-6060-CECD4009DED2}"/>
                </a:ext>
              </a:extLst>
            </p:cNvPr>
            <p:cNvSpPr/>
            <p:nvPr/>
          </p:nvSpPr>
          <p:spPr>
            <a:xfrm>
              <a:off x="4174566" y="2792600"/>
              <a:ext cx="1066800" cy="1084805"/>
            </a:xfrm>
            <a:custGeom>
              <a:avLst/>
              <a:gdLst/>
              <a:ahLst/>
              <a:cxnLst/>
              <a:rect l="l" t="t" r="r" b="b"/>
              <a:pathLst>
                <a:path w="1066800" h="1066800">
                  <a:moveTo>
                    <a:pt x="533400" y="1066800"/>
                  </a:moveTo>
                  <a:lnTo>
                    <a:pt x="581950" y="1064620"/>
                  </a:lnTo>
                  <a:lnTo>
                    <a:pt x="629279" y="1058206"/>
                  </a:lnTo>
                  <a:lnTo>
                    <a:pt x="675199" y="1047746"/>
                  </a:lnTo>
                  <a:lnTo>
                    <a:pt x="719520" y="1033429"/>
                  </a:lnTo>
                  <a:lnTo>
                    <a:pt x="762056" y="1015442"/>
                  </a:lnTo>
                  <a:lnTo>
                    <a:pt x="802617" y="993975"/>
                  </a:lnTo>
                  <a:lnTo>
                    <a:pt x="841015" y="969215"/>
                  </a:lnTo>
                  <a:lnTo>
                    <a:pt x="877063" y="941351"/>
                  </a:lnTo>
                  <a:lnTo>
                    <a:pt x="910570" y="910570"/>
                  </a:lnTo>
                  <a:lnTo>
                    <a:pt x="941351" y="877063"/>
                  </a:lnTo>
                  <a:lnTo>
                    <a:pt x="969215" y="841015"/>
                  </a:lnTo>
                  <a:lnTo>
                    <a:pt x="993975" y="802617"/>
                  </a:lnTo>
                  <a:lnTo>
                    <a:pt x="1015442" y="762056"/>
                  </a:lnTo>
                  <a:lnTo>
                    <a:pt x="1033429" y="719520"/>
                  </a:lnTo>
                  <a:lnTo>
                    <a:pt x="1047746" y="675199"/>
                  </a:lnTo>
                  <a:lnTo>
                    <a:pt x="1058206" y="629279"/>
                  </a:lnTo>
                  <a:lnTo>
                    <a:pt x="1064620" y="581950"/>
                  </a:lnTo>
                  <a:lnTo>
                    <a:pt x="1066800" y="533400"/>
                  </a:lnTo>
                  <a:lnTo>
                    <a:pt x="1064620" y="484849"/>
                  </a:lnTo>
                  <a:lnTo>
                    <a:pt x="1058206" y="437520"/>
                  </a:lnTo>
                  <a:lnTo>
                    <a:pt x="1047746" y="391600"/>
                  </a:lnTo>
                  <a:lnTo>
                    <a:pt x="1033429" y="347279"/>
                  </a:lnTo>
                  <a:lnTo>
                    <a:pt x="1015442" y="304743"/>
                  </a:lnTo>
                  <a:lnTo>
                    <a:pt x="993975" y="264182"/>
                  </a:lnTo>
                  <a:lnTo>
                    <a:pt x="969215" y="225784"/>
                  </a:lnTo>
                  <a:lnTo>
                    <a:pt x="941351" y="189736"/>
                  </a:lnTo>
                  <a:lnTo>
                    <a:pt x="910570" y="156229"/>
                  </a:lnTo>
                  <a:lnTo>
                    <a:pt x="877063" y="125448"/>
                  </a:lnTo>
                  <a:lnTo>
                    <a:pt x="841015" y="97584"/>
                  </a:lnTo>
                  <a:lnTo>
                    <a:pt x="802617" y="72824"/>
                  </a:lnTo>
                  <a:lnTo>
                    <a:pt x="762056" y="51357"/>
                  </a:lnTo>
                  <a:lnTo>
                    <a:pt x="719520" y="33370"/>
                  </a:lnTo>
                  <a:lnTo>
                    <a:pt x="675199" y="19053"/>
                  </a:lnTo>
                  <a:lnTo>
                    <a:pt x="629279" y="8593"/>
                  </a:lnTo>
                  <a:lnTo>
                    <a:pt x="581950" y="2179"/>
                  </a:lnTo>
                  <a:lnTo>
                    <a:pt x="533400" y="0"/>
                  </a:lnTo>
                  <a:lnTo>
                    <a:pt x="484849" y="2179"/>
                  </a:lnTo>
                  <a:lnTo>
                    <a:pt x="437520" y="8593"/>
                  </a:lnTo>
                  <a:lnTo>
                    <a:pt x="391600" y="19053"/>
                  </a:lnTo>
                  <a:lnTo>
                    <a:pt x="347279" y="33370"/>
                  </a:lnTo>
                  <a:lnTo>
                    <a:pt x="304743" y="51357"/>
                  </a:lnTo>
                  <a:lnTo>
                    <a:pt x="264182" y="72824"/>
                  </a:lnTo>
                  <a:lnTo>
                    <a:pt x="225784" y="97584"/>
                  </a:lnTo>
                  <a:lnTo>
                    <a:pt x="189736" y="125448"/>
                  </a:lnTo>
                  <a:lnTo>
                    <a:pt x="156229" y="156229"/>
                  </a:lnTo>
                  <a:lnTo>
                    <a:pt x="125448" y="189736"/>
                  </a:lnTo>
                  <a:lnTo>
                    <a:pt x="97584" y="225784"/>
                  </a:lnTo>
                  <a:lnTo>
                    <a:pt x="72824" y="264182"/>
                  </a:lnTo>
                  <a:lnTo>
                    <a:pt x="51357" y="304743"/>
                  </a:lnTo>
                  <a:lnTo>
                    <a:pt x="33370" y="347279"/>
                  </a:lnTo>
                  <a:lnTo>
                    <a:pt x="19053" y="391600"/>
                  </a:lnTo>
                  <a:lnTo>
                    <a:pt x="8593" y="437520"/>
                  </a:lnTo>
                  <a:lnTo>
                    <a:pt x="2179" y="484849"/>
                  </a:lnTo>
                  <a:lnTo>
                    <a:pt x="0" y="533400"/>
                  </a:lnTo>
                  <a:lnTo>
                    <a:pt x="2179" y="581950"/>
                  </a:lnTo>
                  <a:lnTo>
                    <a:pt x="8593" y="629279"/>
                  </a:lnTo>
                  <a:lnTo>
                    <a:pt x="19053" y="675199"/>
                  </a:lnTo>
                  <a:lnTo>
                    <a:pt x="33370" y="719520"/>
                  </a:lnTo>
                  <a:lnTo>
                    <a:pt x="51357" y="762056"/>
                  </a:lnTo>
                  <a:lnTo>
                    <a:pt x="72824" y="802617"/>
                  </a:lnTo>
                  <a:lnTo>
                    <a:pt x="97584" y="841015"/>
                  </a:lnTo>
                  <a:lnTo>
                    <a:pt x="125448" y="877063"/>
                  </a:lnTo>
                  <a:lnTo>
                    <a:pt x="156229" y="910570"/>
                  </a:lnTo>
                  <a:lnTo>
                    <a:pt x="189736" y="941351"/>
                  </a:lnTo>
                  <a:lnTo>
                    <a:pt x="225784" y="969215"/>
                  </a:lnTo>
                  <a:lnTo>
                    <a:pt x="264182" y="993975"/>
                  </a:lnTo>
                  <a:lnTo>
                    <a:pt x="304743" y="1015442"/>
                  </a:lnTo>
                  <a:lnTo>
                    <a:pt x="347279" y="1033429"/>
                  </a:lnTo>
                  <a:lnTo>
                    <a:pt x="391600" y="1047746"/>
                  </a:lnTo>
                  <a:lnTo>
                    <a:pt x="437520" y="1058206"/>
                  </a:lnTo>
                  <a:lnTo>
                    <a:pt x="484849" y="1064620"/>
                  </a:lnTo>
                  <a:lnTo>
                    <a:pt x="533400" y="1066800"/>
                  </a:lnTo>
                  <a:close/>
                </a:path>
              </a:pathLst>
            </a:custGeom>
            <a:ln w="25400">
              <a:solidFill>
                <a:srgbClr val="E3E48D"/>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sp>
          <p:nvSpPr>
            <p:cNvPr id="32" name="object 35">
              <a:extLst>
                <a:ext uri="{FF2B5EF4-FFF2-40B4-BE49-F238E27FC236}">
                  <a16:creationId xmlns:a16="http://schemas.microsoft.com/office/drawing/2014/main" id="{B68F93CD-F01A-A2DF-F020-1982FA228556}"/>
                </a:ext>
              </a:extLst>
            </p:cNvPr>
            <p:cNvSpPr/>
            <p:nvPr/>
          </p:nvSpPr>
          <p:spPr>
            <a:xfrm>
              <a:off x="4380470" y="3011140"/>
              <a:ext cx="655320" cy="667672"/>
            </a:xfrm>
            <a:custGeom>
              <a:avLst/>
              <a:gdLst/>
              <a:ahLst/>
              <a:cxnLst/>
              <a:rect l="l" t="t" r="r" b="b"/>
              <a:pathLst>
                <a:path w="655320" h="656589">
                  <a:moveTo>
                    <a:pt x="228708" y="164477"/>
                  </a:moveTo>
                  <a:lnTo>
                    <a:pt x="225102" y="166039"/>
                  </a:lnTo>
                  <a:lnTo>
                    <a:pt x="3322" y="265760"/>
                  </a:lnTo>
                  <a:lnTo>
                    <a:pt x="921" y="269024"/>
                  </a:lnTo>
                  <a:lnTo>
                    <a:pt x="0" y="276618"/>
                  </a:lnTo>
                  <a:lnTo>
                    <a:pt x="1569" y="280377"/>
                  </a:lnTo>
                  <a:lnTo>
                    <a:pt x="94228" y="352412"/>
                  </a:lnTo>
                  <a:lnTo>
                    <a:pt x="23819" y="441947"/>
                  </a:lnTo>
                  <a:lnTo>
                    <a:pt x="20149" y="446722"/>
                  </a:lnTo>
                  <a:lnTo>
                    <a:pt x="21051" y="453567"/>
                  </a:lnTo>
                  <a:lnTo>
                    <a:pt x="26359" y="457644"/>
                  </a:lnTo>
                  <a:lnTo>
                    <a:pt x="26931" y="458000"/>
                  </a:lnTo>
                  <a:lnTo>
                    <a:pt x="97937" y="493522"/>
                  </a:lnTo>
                  <a:lnTo>
                    <a:pt x="97949" y="551027"/>
                  </a:lnTo>
                  <a:lnTo>
                    <a:pt x="100464" y="554913"/>
                  </a:lnTo>
                  <a:lnTo>
                    <a:pt x="325533" y="656094"/>
                  </a:lnTo>
                  <a:lnTo>
                    <a:pt x="328797" y="656094"/>
                  </a:lnTo>
                  <a:lnTo>
                    <a:pt x="391315" y="627989"/>
                  </a:lnTo>
                  <a:lnTo>
                    <a:pt x="316250" y="627989"/>
                  </a:lnTo>
                  <a:lnTo>
                    <a:pt x="119768" y="539648"/>
                  </a:lnTo>
                  <a:lnTo>
                    <a:pt x="119768" y="504431"/>
                  </a:lnTo>
                  <a:lnTo>
                    <a:pt x="168671" y="504431"/>
                  </a:lnTo>
                  <a:lnTo>
                    <a:pt x="49245" y="444779"/>
                  </a:lnTo>
                  <a:lnTo>
                    <a:pt x="112237" y="363855"/>
                  </a:lnTo>
                  <a:lnTo>
                    <a:pt x="165328" y="363855"/>
                  </a:lnTo>
                  <a:lnTo>
                    <a:pt x="135490" y="350443"/>
                  </a:lnTo>
                  <a:lnTo>
                    <a:pt x="164089" y="337578"/>
                  </a:lnTo>
                  <a:lnTo>
                    <a:pt x="110383" y="337578"/>
                  </a:lnTo>
                  <a:lnTo>
                    <a:pt x="31566" y="276618"/>
                  </a:lnTo>
                  <a:lnTo>
                    <a:pt x="227400" y="188607"/>
                  </a:lnTo>
                  <a:lnTo>
                    <a:pt x="254887" y="188607"/>
                  </a:lnTo>
                  <a:lnTo>
                    <a:pt x="263649" y="170294"/>
                  </a:lnTo>
                  <a:lnTo>
                    <a:pt x="239846" y="170294"/>
                  </a:lnTo>
                  <a:lnTo>
                    <a:pt x="236024" y="167347"/>
                  </a:lnTo>
                  <a:lnTo>
                    <a:pt x="232887" y="164973"/>
                  </a:lnTo>
                  <a:lnTo>
                    <a:pt x="228708" y="164477"/>
                  </a:lnTo>
                  <a:close/>
                </a:path>
                <a:path w="655320" h="656589">
                  <a:moveTo>
                    <a:pt x="338081" y="483158"/>
                  </a:moveTo>
                  <a:lnTo>
                    <a:pt x="316250" y="483158"/>
                  </a:lnTo>
                  <a:lnTo>
                    <a:pt x="316250" y="627989"/>
                  </a:lnTo>
                  <a:lnTo>
                    <a:pt x="338081" y="627989"/>
                  </a:lnTo>
                  <a:lnTo>
                    <a:pt x="338081" y="483158"/>
                  </a:lnTo>
                  <a:close/>
                </a:path>
                <a:path w="655320" h="656589">
                  <a:moveTo>
                    <a:pt x="556394" y="504431"/>
                  </a:moveTo>
                  <a:lnTo>
                    <a:pt x="534563" y="504431"/>
                  </a:lnTo>
                  <a:lnTo>
                    <a:pt x="534563" y="539648"/>
                  </a:lnTo>
                  <a:lnTo>
                    <a:pt x="338081" y="627989"/>
                  </a:lnTo>
                  <a:lnTo>
                    <a:pt x="391315" y="627989"/>
                  </a:lnTo>
                  <a:lnTo>
                    <a:pt x="553867" y="554913"/>
                  </a:lnTo>
                  <a:lnTo>
                    <a:pt x="556394" y="551027"/>
                  </a:lnTo>
                  <a:lnTo>
                    <a:pt x="556394" y="504431"/>
                  </a:lnTo>
                  <a:close/>
                </a:path>
                <a:path w="655320" h="656589">
                  <a:moveTo>
                    <a:pt x="168671" y="504431"/>
                  </a:moveTo>
                  <a:lnTo>
                    <a:pt x="119768" y="504431"/>
                  </a:lnTo>
                  <a:lnTo>
                    <a:pt x="245841" y="567347"/>
                  </a:lnTo>
                  <a:lnTo>
                    <a:pt x="247352" y="568159"/>
                  </a:lnTo>
                  <a:lnTo>
                    <a:pt x="249041" y="568579"/>
                  </a:lnTo>
                  <a:lnTo>
                    <a:pt x="250756" y="568553"/>
                  </a:lnTo>
                  <a:lnTo>
                    <a:pt x="254324" y="568553"/>
                  </a:lnTo>
                  <a:lnTo>
                    <a:pt x="257677" y="566801"/>
                  </a:lnTo>
                  <a:lnTo>
                    <a:pt x="259709" y="563867"/>
                  </a:lnTo>
                  <a:lnTo>
                    <a:pt x="273847" y="543687"/>
                  </a:lnTo>
                  <a:lnTo>
                    <a:pt x="247263" y="543687"/>
                  </a:lnTo>
                  <a:lnTo>
                    <a:pt x="168671" y="504431"/>
                  </a:lnTo>
                  <a:close/>
                </a:path>
                <a:path w="655320" h="656589">
                  <a:moveTo>
                    <a:pt x="364663" y="483158"/>
                  </a:moveTo>
                  <a:lnTo>
                    <a:pt x="338081" y="483158"/>
                  </a:lnTo>
                  <a:lnTo>
                    <a:pt x="396666" y="566801"/>
                  </a:lnTo>
                  <a:lnTo>
                    <a:pt x="400006" y="568553"/>
                  </a:lnTo>
                  <a:lnTo>
                    <a:pt x="403575" y="568553"/>
                  </a:lnTo>
                  <a:lnTo>
                    <a:pt x="405289" y="568579"/>
                  </a:lnTo>
                  <a:lnTo>
                    <a:pt x="406978" y="568159"/>
                  </a:lnTo>
                  <a:lnTo>
                    <a:pt x="408490" y="567347"/>
                  </a:lnTo>
                  <a:lnTo>
                    <a:pt x="455901" y="543687"/>
                  </a:lnTo>
                  <a:lnTo>
                    <a:pt x="407067" y="543687"/>
                  </a:lnTo>
                  <a:lnTo>
                    <a:pt x="364663" y="483158"/>
                  </a:lnTo>
                  <a:close/>
                </a:path>
                <a:path w="655320" h="656589">
                  <a:moveTo>
                    <a:pt x="165328" y="363855"/>
                  </a:moveTo>
                  <a:lnTo>
                    <a:pt x="112237" y="363855"/>
                  </a:lnTo>
                  <a:lnTo>
                    <a:pt x="310687" y="453174"/>
                  </a:lnTo>
                  <a:lnTo>
                    <a:pt x="247263" y="543687"/>
                  </a:lnTo>
                  <a:lnTo>
                    <a:pt x="273847" y="543687"/>
                  </a:lnTo>
                  <a:lnTo>
                    <a:pt x="316250" y="483158"/>
                  </a:lnTo>
                  <a:lnTo>
                    <a:pt x="364663" y="483158"/>
                  </a:lnTo>
                  <a:lnTo>
                    <a:pt x="343656" y="453174"/>
                  </a:lnTo>
                  <a:lnTo>
                    <a:pt x="380479" y="436600"/>
                  </a:lnTo>
                  <a:lnTo>
                    <a:pt x="327172" y="436600"/>
                  </a:lnTo>
                  <a:lnTo>
                    <a:pt x="165328" y="363855"/>
                  </a:lnTo>
                  <a:close/>
                </a:path>
                <a:path w="655320" h="656589">
                  <a:moveTo>
                    <a:pt x="569678" y="363855"/>
                  </a:moveTo>
                  <a:lnTo>
                    <a:pt x="542106" y="363855"/>
                  </a:lnTo>
                  <a:lnTo>
                    <a:pt x="605086" y="444779"/>
                  </a:lnTo>
                  <a:lnTo>
                    <a:pt x="407067" y="543687"/>
                  </a:lnTo>
                  <a:lnTo>
                    <a:pt x="455901" y="543687"/>
                  </a:lnTo>
                  <a:lnTo>
                    <a:pt x="534563" y="504431"/>
                  </a:lnTo>
                  <a:lnTo>
                    <a:pt x="556394" y="504431"/>
                  </a:lnTo>
                  <a:lnTo>
                    <a:pt x="556394" y="493522"/>
                  </a:lnTo>
                  <a:lnTo>
                    <a:pt x="632175" y="455574"/>
                  </a:lnTo>
                  <a:lnTo>
                    <a:pt x="634321" y="449008"/>
                  </a:lnTo>
                  <a:lnTo>
                    <a:pt x="631286" y="443039"/>
                  </a:lnTo>
                  <a:lnTo>
                    <a:pt x="630930" y="442468"/>
                  </a:lnTo>
                  <a:lnTo>
                    <a:pt x="569678" y="363855"/>
                  </a:lnTo>
                  <a:close/>
                </a:path>
                <a:path w="655320" h="656589">
                  <a:moveTo>
                    <a:pt x="400429" y="273024"/>
                  </a:moveTo>
                  <a:lnTo>
                    <a:pt x="346704" y="273024"/>
                  </a:lnTo>
                  <a:lnTo>
                    <a:pt x="518853" y="350443"/>
                  </a:lnTo>
                  <a:lnTo>
                    <a:pt x="327172" y="436600"/>
                  </a:lnTo>
                  <a:lnTo>
                    <a:pt x="380479" y="436600"/>
                  </a:lnTo>
                  <a:lnTo>
                    <a:pt x="542106" y="363855"/>
                  </a:lnTo>
                  <a:lnTo>
                    <a:pt x="569678" y="363855"/>
                  </a:lnTo>
                  <a:lnTo>
                    <a:pt x="560763" y="352412"/>
                  </a:lnTo>
                  <a:lnTo>
                    <a:pt x="579566" y="337794"/>
                  </a:lnTo>
                  <a:lnTo>
                    <a:pt x="543961" y="337794"/>
                  </a:lnTo>
                  <a:lnTo>
                    <a:pt x="408400" y="276606"/>
                  </a:lnTo>
                  <a:lnTo>
                    <a:pt x="400429" y="273024"/>
                  </a:lnTo>
                  <a:close/>
                </a:path>
                <a:path w="655320" h="656589">
                  <a:moveTo>
                    <a:pt x="481077" y="189052"/>
                  </a:moveTo>
                  <a:lnTo>
                    <a:pt x="426397" y="189052"/>
                  </a:lnTo>
                  <a:lnTo>
                    <a:pt x="622218" y="277050"/>
                  </a:lnTo>
                  <a:lnTo>
                    <a:pt x="543961" y="337794"/>
                  </a:lnTo>
                  <a:lnTo>
                    <a:pt x="579566" y="337794"/>
                  </a:lnTo>
                  <a:lnTo>
                    <a:pt x="653422" y="280377"/>
                  </a:lnTo>
                  <a:lnTo>
                    <a:pt x="654997" y="276606"/>
                  </a:lnTo>
                  <a:lnTo>
                    <a:pt x="654070" y="269024"/>
                  </a:lnTo>
                  <a:lnTo>
                    <a:pt x="651669" y="265760"/>
                  </a:lnTo>
                  <a:lnTo>
                    <a:pt x="481077" y="189052"/>
                  </a:lnTo>
                  <a:close/>
                </a:path>
                <a:path w="655320" h="656589">
                  <a:moveTo>
                    <a:pt x="317689" y="253390"/>
                  </a:moveTo>
                  <a:lnTo>
                    <a:pt x="281325" y="253390"/>
                  </a:lnTo>
                  <a:lnTo>
                    <a:pt x="287649" y="258076"/>
                  </a:lnTo>
                  <a:lnTo>
                    <a:pt x="246147" y="276618"/>
                  </a:lnTo>
                  <a:lnTo>
                    <a:pt x="110383" y="337578"/>
                  </a:lnTo>
                  <a:lnTo>
                    <a:pt x="164089" y="337578"/>
                  </a:lnTo>
                  <a:lnTo>
                    <a:pt x="307626" y="273024"/>
                  </a:lnTo>
                  <a:lnTo>
                    <a:pt x="400429" y="273024"/>
                  </a:lnTo>
                  <a:lnTo>
                    <a:pt x="372504" y="260477"/>
                  </a:lnTo>
                  <a:lnTo>
                    <a:pt x="327172" y="260477"/>
                  </a:lnTo>
                  <a:lnTo>
                    <a:pt x="317689" y="253390"/>
                  </a:lnTo>
                  <a:close/>
                </a:path>
                <a:path w="655320" h="656589">
                  <a:moveTo>
                    <a:pt x="346704" y="273024"/>
                  </a:moveTo>
                  <a:lnTo>
                    <a:pt x="307626" y="273024"/>
                  </a:lnTo>
                  <a:lnTo>
                    <a:pt x="324505" y="285737"/>
                  </a:lnTo>
                  <a:lnTo>
                    <a:pt x="329839" y="285737"/>
                  </a:lnTo>
                  <a:lnTo>
                    <a:pt x="346704" y="273024"/>
                  </a:lnTo>
                  <a:close/>
                </a:path>
                <a:path w="655320" h="656589">
                  <a:moveTo>
                    <a:pt x="453954" y="253174"/>
                  </a:moveTo>
                  <a:lnTo>
                    <a:pt x="373019" y="253174"/>
                  </a:lnTo>
                  <a:lnTo>
                    <a:pt x="444291" y="274104"/>
                  </a:lnTo>
                  <a:lnTo>
                    <a:pt x="448279" y="275132"/>
                  </a:lnTo>
                  <a:lnTo>
                    <a:pt x="452495" y="273824"/>
                  </a:lnTo>
                  <a:lnTo>
                    <a:pt x="455213" y="270725"/>
                  </a:lnTo>
                  <a:lnTo>
                    <a:pt x="458007" y="267449"/>
                  </a:lnTo>
                  <a:lnTo>
                    <a:pt x="458604" y="262839"/>
                  </a:lnTo>
                  <a:lnTo>
                    <a:pt x="453954" y="253174"/>
                  </a:lnTo>
                  <a:close/>
                </a:path>
                <a:path w="655320" h="656589">
                  <a:moveTo>
                    <a:pt x="254887" y="188607"/>
                  </a:moveTo>
                  <a:lnTo>
                    <a:pt x="227400" y="188607"/>
                  </a:lnTo>
                  <a:lnTo>
                    <a:pt x="229801" y="190461"/>
                  </a:lnTo>
                  <a:lnTo>
                    <a:pt x="197047" y="258508"/>
                  </a:lnTo>
                  <a:lnTo>
                    <a:pt x="195193" y="262394"/>
                  </a:lnTo>
                  <a:lnTo>
                    <a:pt x="195790" y="267017"/>
                  </a:lnTo>
                  <a:lnTo>
                    <a:pt x="198584" y="270294"/>
                  </a:lnTo>
                  <a:lnTo>
                    <a:pt x="201289" y="273380"/>
                  </a:lnTo>
                  <a:lnTo>
                    <a:pt x="205506" y="274688"/>
                  </a:lnTo>
                  <a:lnTo>
                    <a:pt x="209493" y="273672"/>
                  </a:lnTo>
                  <a:lnTo>
                    <a:pt x="281325" y="253390"/>
                  </a:lnTo>
                  <a:lnTo>
                    <a:pt x="317689" y="253390"/>
                  </a:lnTo>
                  <a:lnTo>
                    <a:pt x="307917" y="246087"/>
                  </a:lnTo>
                  <a:lnTo>
                    <a:pt x="227400" y="246087"/>
                  </a:lnTo>
                  <a:lnTo>
                    <a:pt x="254887" y="188607"/>
                  </a:lnTo>
                  <a:close/>
                </a:path>
                <a:path w="655320" h="656589">
                  <a:moveTo>
                    <a:pt x="371217" y="78905"/>
                  </a:moveTo>
                  <a:lnTo>
                    <a:pt x="327172" y="78905"/>
                  </a:lnTo>
                  <a:lnTo>
                    <a:pt x="358820" y="236816"/>
                  </a:lnTo>
                  <a:lnTo>
                    <a:pt x="327172" y="260477"/>
                  </a:lnTo>
                  <a:lnTo>
                    <a:pt x="372504" y="260477"/>
                  </a:lnTo>
                  <a:lnTo>
                    <a:pt x="366681" y="257860"/>
                  </a:lnTo>
                  <a:lnTo>
                    <a:pt x="373019" y="253174"/>
                  </a:lnTo>
                  <a:lnTo>
                    <a:pt x="453954" y="253174"/>
                  </a:lnTo>
                  <a:lnTo>
                    <a:pt x="450752" y="246519"/>
                  </a:lnTo>
                  <a:lnTo>
                    <a:pt x="426943" y="246519"/>
                  </a:lnTo>
                  <a:lnTo>
                    <a:pt x="380219" y="232778"/>
                  </a:lnTo>
                  <a:lnTo>
                    <a:pt x="351289" y="87960"/>
                  </a:lnTo>
                  <a:lnTo>
                    <a:pt x="375569" y="87960"/>
                  </a:lnTo>
                  <a:lnTo>
                    <a:pt x="371217" y="78905"/>
                  </a:lnTo>
                  <a:close/>
                </a:path>
                <a:path w="655320" h="656589">
                  <a:moveTo>
                    <a:pt x="375569" y="87960"/>
                  </a:moveTo>
                  <a:lnTo>
                    <a:pt x="351289" y="87960"/>
                  </a:lnTo>
                  <a:lnTo>
                    <a:pt x="401073" y="191985"/>
                  </a:lnTo>
                  <a:lnTo>
                    <a:pt x="426943" y="246519"/>
                  </a:lnTo>
                  <a:lnTo>
                    <a:pt x="450752" y="246519"/>
                  </a:lnTo>
                  <a:lnTo>
                    <a:pt x="423996" y="190906"/>
                  </a:lnTo>
                  <a:lnTo>
                    <a:pt x="426397" y="189052"/>
                  </a:lnTo>
                  <a:lnTo>
                    <a:pt x="481077" y="189052"/>
                  </a:lnTo>
                  <a:lnTo>
                    <a:pt x="439353" y="170294"/>
                  </a:lnTo>
                  <a:lnTo>
                    <a:pt x="415144" y="170294"/>
                  </a:lnTo>
                  <a:lnTo>
                    <a:pt x="375569" y="87960"/>
                  </a:lnTo>
                  <a:close/>
                </a:path>
                <a:path w="655320" h="656589">
                  <a:moveTo>
                    <a:pt x="325356" y="87960"/>
                  </a:moveTo>
                  <a:lnTo>
                    <a:pt x="303042" y="87960"/>
                  </a:lnTo>
                  <a:lnTo>
                    <a:pt x="274111" y="232778"/>
                  </a:lnTo>
                  <a:lnTo>
                    <a:pt x="227400" y="246087"/>
                  </a:lnTo>
                  <a:lnTo>
                    <a:pt x="307917" y="246087"/>
                  </a:lnTo>
                  <a:lnTo>
                    <a:pt x="295510" y="236816"/>
                  </a:lnTo>
                  <a:lnTo>
                    <a:pt x="325356" y="87960"/>
                  </a:lnTo>
                  <a:close/>
                </a:path>
                <a:path w="655320" h="656589">
                  <a:moveTo>
                    <a:pt x="327832" y="0"/>
                  </a:moveTo>
                  <a:lnTo>
                    <a:pt x="320199" y="3695"/>
                  </a:lnTo>
                  <a:lnTo>
                    <a:pt x="318409" y="5486"/>
                  </a:lnTo>
                  <a:lnTo>
                    <a:pt x="239846" y="170294"/>
                  </a:lnTo>
                  <a:lnTo>
                    <a:pt x="263649" y="170294"/>
                  </a:lnTo>
                  <a:lnTo>
                    <a:pt x="303042" y="87960"/>
                  </a:lnTo>
                  <a:lnTo>
                    <a:pt x="325356" y="87960"/>
                  </a:lnTo>
                  <a:lnTo>
                    <a:pt x="327172" y="78905"/>
                  </a:lnTo>
                  <a:lnTo>
                    <a:pt x="371217" y="78905"/>
                  </a:lnTo>
                  <a:lnTo>
                    <a:pt x="336989" y="7696"/>
                  </a:lnTo>
                  <a:lnTo>
                    <a:pt x="334360" y="2273"/>
                  </a:lnTo>
                  <a:lnTo>
                    <a:pt x="327832" y="0"/>
                  </a:lnTo>
                  <a:close/>
                </a:path>
                <a:path w="655320" h="656589">
                  <a:moveTo>
                    <a:pt x="426282" y="164477"/>
                  </a:moveTo>
                  <a:lnTo>
                    <a:pt x="422104" y="164973"/>
                  </a:lnTo>
                  <a:lnTo>
                    <a:pt x="418967" y="167347"/>
                  </a:lnTo>
                  <a:lnTo>
                    <a:pt x="415144" y="170294"/>
                  </a:lnTo>
                  <a:lnTo>
                    <a:pt x="439353" y="170294"/>
                  </a:lnTo>
                  <a:lnTo>
                    <a:pt x="429889" y="166039"/>
                  </a:lnTo>
                  <a:lnTo>
                    <a:pt x="426282" y="164477"/>
                  </a:lnTo>
                  <a:close/>
                </a:path>
              </a:pathLst>
            </a:custGeom>
            <a:solidFill>
              <a:srgbClr val="E3E48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sp>
          <p:nvSpPr>
            <p:cNvPr id="33" name="object 36">
              <a:extLst>
                <a:ext uri="{FF2B5EF4-FFF2-40B4-BE49-F238E27FC236}">
                  <a16:creationId xmlns:a16="http://schemas.microsoft.com/office/drawing/2014/main" id="{4C2D5BD1-FBD6-FCB0-744B-184C00516E3E}"/>
                </a:ext>
              </a:extLst>
            </p:cNvPr>
            <p:cNvSpPr/>
            <p:nvPr/>
          </p:nvSpPr>
          <p:spPr>
            <a:xfrm>
              <a:off x="4696718" y="3323140"/>
              <a:ext cx="22225" cy="44554"/>
            </a:xfrm>
            <a:custGeom>
              <a:avLst/>
              <a:gdLst/>
              <a:ahLst/>
              <a:cxnLst/>
              <a:rect l="l" t="t" r="r" b="b"/>
              <a:pathLst>
                <a:path w="22225" h="43814">
                  <a:moveTo>
                    <a:pt x="0" y="0"/>
                  </a:moveTo>
                  <a:lnTo>
                    <a:pt x="21831" y="0"/>
                  </a:lnTo>
                  <a:lnTo>
                    <a:pt x="21831" y="43624"/>
                  </a:lnTo>
                  <a:lnTo>
                    <a:pt x="0" y="43624"/>
                  </a:lnTo>
                  <a:lnTo>
                    <a:pt x="0" y="0"/>
                  </a:lnTo>
                  <a:close/>
                </a:path>
              </a:pathLst>
            </a:custGeom>
            <a:solidFill>
              <a:srgbClr val="E3E48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sp>
          <p:nvSpPr>
            <p:cNvPr id="34" name="object 37">
              <a:extLst>
                <a:ext uri="{FF2B5EF4-FFF2-40B4-BE49-F238E27FC236}">
                  <a16:creationId xmlns:a16="http://schemas.microsoft.com/office/drawing/2014/main" id="{EF2ECD37-DB1F-CD92-66D6-C79C11569ADF}"/>
                </a:ext>
              </a:extLst>
            </p:cNvPr>
            <p:cNvSpPr/>
            <p:nvPr/>
          </p:nvSpPr>
          <p:spPr>
            <a:xfrm>
              <a:off x="4696718" y="3389674"/>
              <a:ext cx="22225" cy="22600"/>
            </a:xfrm>
            <a:custGeom>
              <a:avLst/>
              <a:gdLst/>
              <a:ahLst/>
              <a:cxnLst/>
              <a:rect l="l" t="t" r="r" b="b"/>
              <a:pathLst>
                <a:path w="22225" h="22225">
                  <a:moveTo>
                    <a:pt x="0" y="0"/>
                  </a:moveTo>
                  <a:lnTo>
                    <a:pt x="21831" y="0"/>
                  </a:lnTo>
                  <a:lnTo>
                    <a:pt x="21831" y="21805"/>
                  </a:lnTo>
                  <a:lnTo>
                    <a:pt x="0" y="21805"/>
                  </a:lnTo>
                  <a:lnTo>
                    <a:pt x="0" y="0"/>
                  </a:lnTo>
                  <a:close/>
                </a:path>
              </a:pathLst>
            </a:custGeom>
            <a:solidFill>
              <a:srgbClr val="E3E48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sp>
          <p:nvSpPr>
            <p:cNvPr id="35" name="object 38">
              <a:extLst>
                <a:ext uri="{FF2B5EF4-FFF2-40B4-BE49-F238E27FC236}">
                  <a16:creationId xmlns:a16="http://schemas.microsoft.com/office/drawing/2014/main" id="{57A2DB9F-CFE3-362D-189E-47B592E40C47}"/>
                </a:ext>
              </a:extLst>
            </p:cNvPr>
            <p:cNvSpPr/>
            <p:nvPr/>
          </p:nvSpPr>
          <p:spPr>
            <a:xfrm>
              <a:off x="4751302" y="3323140"/>
              <a:ext cx="22225" cy="55532"/>
            </a:xfrm>
            <a:custGeom>
              <a:avLst/>
              <a:gdLst/>
              <a:ahLst/>
              <a:cxnLst/>
              <a:rect l="l" t="t" r="r" b="b"/>
              <a:pathLst>
                <a:path w="22225" h="54610">
                  <a:moveTo>
                    <a:pt x="0" y="0"/>
                  </a:moveTo>
                  <a:lnTo>
                    <a:pt x="21831" y="0"/>
                  </a:lnTo>
                  <a:lnTo>
                    <a:pt x="21831" y="54521"/>
                  </a:lnTo>
                  <a:lnTo>
                    <a:pt x="0" y="54521"/>
                  </a:lnTo>
                  <a:lnTo>
                    <a:pt x="0" y="0"/>
                  </a:lnTo>
                  <a:close/>
                </a:path>
              </a:pathLst>
            </a:custGeom>
            <a:solidFill>
              <a:srgbClr val="E3E48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sp>
          <p:nvSpPr>
            <p:cNvPr id="36" name="object 39">
              <a:extLst>
                <a:ext uri="{FF2B5EF4-FFF2-40B4-BE49-F238E27FC236}">
                  <a16:creationId xmlns:a16="http://schemas.microsoft.com/office/drawing/2014/main" id="{20417232-427B-FA2E-A6DE-9CBC88402AF0}"/>
                </a:ext>
              </a:extLst>
            </p:cNvPr>
            <p:cNvSpPr/>
            <p:nvPr/>
          </p:nvSpPr>
          <p:spPr>
            <a:xfrm>
              <a:off x="4642146" y="3323140"/>
              <a:ext cx="22225" cy="55532"/>
            </a:xfrm>
            <a:custGeom>
              <a:avLst/>
              <a:gdLst/>
              <a:ahLst/>
              <a:cxnLst/>
              <a:rect l="l" t="t" r="r" b="b"/>
              <a:pathLst>
                <a:path w="22225" h="54610">
                  <a:moveTo>
                    <a:pt x="0" y="0"/>
                  </a:moveTo>
                  <a:lnTo>
                    <a:pt x="21831" y="0"/>
                  </a:lnTo>
                  <a:lnTo>
                    <a:pt x="21831" y="54521"/>
                  </a:lnTo>
                  <a:lnTo>
                    <a:pt x="0" y="54521"/>
                  </a:lnTo>
                  <a:lnTo>
                    <a:pt x="0" y="0"/>
                  </a:lnTo>
                  <a:close/>
                </a:path>
              </a:pathLst>
            </a:custGeom>
            <a:solidFill>
              <a:srgbClr val="E3E48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grpSp>
      <p:sp>
        <p:nvSpPr>
          <p:cNvPr id="37" name="Oval 36">
            <a:extLst>
              <a:ext uri="{FF2B5EF4-FFF2-40B4-BE49-F238E27FC236}">
                <a16:creationId xmlns:a16="http://schemas.microsoft.com/office/drawing/2014/main" id="{57604DE3-F1FD-4F4E-5CBB-E2E5112F3958}"/>
              </a:ext>
            </a:extLst>
          </p:cNvPr>
          <p:cNvSpPr/>
          <p:nvPr/>
        </p:nvSpPr>
        <p:spPr>
          <a:xfrm>
            <a:off x="9547232" y="1578503"/>
            <a:ext cx="1008000" cy="1008000"/>
          </a:xfrm>
          <a:prstGeom prst="ellipse">
            <a:avLst/>
          </a:prstGeom>
          <a:solidFill>
            <a:sysClr val="window" lastClr="FFFFFF"/>
          </a:solidFill>
          <a:ln w="285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ea typeface="+mn-ea"/>
              <a:cs typeface="+mn-cs"/>
            </a:endParaRPr>
          </a:p>
        </p:txBody>
      </p:sp>
      <p:pic>
        <p:nvPicPr>
          <p:cNvPr id="41" name="Picture 40">
            <a:hlinkClick r:id="" action="ppaction://noaction"/>
            <a:extLst>
              <a:ext uri="{FF2B5EF4-FFF2-40B4-BE49-F238E27FC236}">
                <a16:creationId xmlns:a16="http://schemas.microsoft.com/office/drawing/2014/main" id="{DE643923-9C0F-E82F-03B3-F22AFA85903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672251" y="1738874"/>
            <a:ext cx="774761" cy="704058"/>
          </a:xfrm>
          <a:prstGeom prst="rect">
            <a:avLst/>
          </a:prstGeom>
          <a:ln>
            <a:noFill/>
          </a:ln>
        </p:spPr>
      </p:pic>
      <p:sp>
        <p:nvSpPr>
          <p:cNvPr id="42" name="object 13">
            <a:extLst>
              <a:ext uri="{FF2B5EF4-FFF2-40B4-BE49-F238E27FC236}">
                <a16:creationId xmlns:a16="http://schemas.microsoft.com/office/drawing/2014/main" id="{C7D6EB70-1081-40B1-BCBB-D223583E0A2F}"/>
              </a:ext>
            </a:extLst>
          </p:cNvPr>
          <p:cNvSpPr/>
          <p:nvPr/>
        </p:nvSpPr>
        <p:spPr>
          <a:xfrm>
            <a:off x="9580832" y="1612103"/>
            <a:ext cx="940800" cy="940800"/>
          </a:xfrm>
          <a:custGeom>
            <a:avLst/>
            <a:gdLst/>
            <a:ahLst/>
            <a:cxnLst/>
            <a:rect l="l" t="t" r="r" b="b"/>
            <a:pathLst>
              <a:path w="1066800" h="1066800">
                <a:moveTo>
                  <a:pt x="533400" y="1066800"/>
                </a:moveTo>
                <a:lnTo>
                  <a:pt x="581950" y="1064620"/>
                </a:lnTo>
                <a:lnTo>
                  <a:pt x="629279" y="1058206"/>
                </a:lnTo>
                <a:lnTo>
                  <a:pt x="675199" y="1047746"/>
                </a:lnTo>
                <a:lnTo>
                  <a:pt x="719520" y="1033429"/>
                </a:lnTo>
                <a:lnTo>
                  <a:pt x="762056" y="1015442"/>
                </a:lnTo>
                <a:lnTo>
                  <a:pt x="802617" y="993975"/>
                </a:lnTo>
                <a:lnTo>
                  <a:pt x="841015" y="969215"/>
                </a:lnTo>
                <a:lnTo>
                  <a:pt x="877063" y="941351"/>
                </a:lnTo>
                <a:lnTo>
                  <a:pt x="910570" y="910570"/>
                </a:lnTo>
                <a:lnTo>
                  <a:pt x="941351" y="877063"/>
                </a:lnTo>
                <a:lnTo>
                  <a:pt x="969215" y="841015"/>
                </a:lnTo>
                <a:lnTo>
                  <a:pt x="993975" y="802617"/>
                </a:lnTo>
                <a:lnTo>
                  <a:pt x="1015442" y="762056"/>
                </a:lnTo>
                <a:lnTo>
                  <a:pt x="1033429" y="719520"/>
                </a:lnTo>
                <a:lnTo>
                  <a:pt x="1047746" y="675199"/>
                </a:lnTo>
                <a:lnTo>
                  <a:pt x="1058206" y="629279"/>
                </a:lnTo>
                <a:lnTo>
                  <a:pt x="1064620" y="581950"/>
                </a:lnTo>
                <a:lnTo>
                  <a:pt x="1066800" y="533400"/>
                </a:lnTo>
                <a:lnTo>
                  <a:pt x="1064620" y="484849"/>
                </a:lnTo>
                <a:lnTo>
                  <a:pt x="1058206" y="437520"/>
                </a:lnTo>
                <a:lnTo>
                  <a:pt x="1047746" y="391600"/>
                </a:lnTo>
                <a:lnTo>
                  <a:pt x="1033429" y="347279"/>
                </a:lnTo>
                <a:lnTo>
                  <a:pt x="1015442" y="304743"/>
                </a:lnTo>
                <a:lnTo>
                  <a:pt x="993975" y="264182"/>
                </a:lnTo>
                <a:lnTo>
                  <a:pt x="969215" y="225784"/>
                </a:lnTo>
                <a:lnTo>
                  <a:pt x="941351" y="189736"/>
                </a:lnTo>
                <a:lnTo>
                  <a:pt x="910570" y="156229"/>
                </a:lnTo>
                <a:lnTo>
                  <a:pt x="877063" y="125448"/>
                </a:lnTo>
                <a:lnTo>
                  <a:pt x="841015" y="97584"/>
                </a:lnTo>
                <a:lnTo>
                  <a:pt x="802617" y="72824"/>
                </a:lnTo>
                <a:lnTo>
                  <a:pt x="762056" y="51357"/>
                </a:lnTo>
                <a:lnTo>
                  <a:pt x="719520" y="33370"/>
                </a:lnTo>
                <a:lnTo>
                  <a:pt x="675199" y="19053"/>
                </a:lnTo>
                <a:lnTo>
                  <a:pt x="629279" y="8593"/>
                </a:lnTo>
                <a:lnTo>
                  <a:pt x="581950" y="2179"/>
                </a:lnTo>
                <a:lnTo>
                  <a:pt x="533400" y="0"/>
                </a:lnTo>
                <a:lnTo>
                  <a:pt x="484849" y="2179"/>
                </a:lnTo>
                <a:lnTo>
                  <a:pt x="437520" y="8593"/>
                </a:lnTo>
                <a:lnTo>
                  <a:pt x="391600" y="19053"/>
                </a:lnTo>
                <a:lnTo>
                  <a:pt x="347279" y="33370"/>
                </a:lnTo>
                <a:lnTo>
                  <a:pt x="304743" y="51357"/>
                </a:lnTo>
                <a:lnTo>
                  <a:pt x="264182" y="72824"/>
                </a:lnTo>
                <a:lnTo>
                  <a:pt x="225784" y="97584"/>
                </a:lnTo>
                <a:lnTo>
                  <a:pt x="189736" y="125448"/>
                </a:lnTo>
                <a:lnTo>
                  <a:pt x="156229" y="156229"/>
                </a:lnTo>
                <a:lnTo>
                  <a:pt x="125448" y="189736"/>
                </a:lnTo>
                <a:lnTo>
                  <a:pt x="97584" y="225784"/>
                </a:lnTo>
                <a:lnTo>
                  <a:pt x="72824" y="264182"/>
                </a:lnTo>
                <a:lnTo>
                  <a:pt x="51357" y="304743"/>
                </a:lnTo>
                <a:lnTo>
                  <a:pt x="33370" y="347279"/>
                </a:lnTo>
                <a:lnTo>
                  <a:pt x="19053" y="391600"/>
                </a:lnTo>
                <a:lnTo>
                  <a:pt x="8593" y="437520"/>
                </a:lnTo>
                <a:lnTo>
                  <a:pt x="2179" y="484849"/>
                </a:lnTo>
                <a:lnTo>
                  <a:pt x="0" y="533400"/>
                </a:lnTo>
                <a:lnTo>
                  <a:pt x="2179" y="581950"/>
                </a:lnTo>
                <a:lnTo>
                  <a:pt x="8593" y="629279"/>
                </a:lnTo>
                <a:lnTo>
                  <a:pt x="19053" y="675199"/>
                </a:lnTo>
                <a:lnTo>
                  <a:pt x="33370" y="719520"/>
                </a:lnTo>
                <a:lnTo>
                  <a:pt x="51357" y="762056"/>
                </a:lnTo>
                <a:lnTo>
                  <a:pt x="72824" y="802617"/>
                </a:lnTo>
                <a:lnTo>
                  <a:pt x="97584" y="841015"/>
                </a:lnTo>
                <a:lnTo>
                  <a:pt x="125448" y="877063"/>
                </a:lnTo>
                <a:lnTo>
                  <a:pt x="156229" y="910570"/>
                </a:lnTo>
                <a:lnTo>
                  <a:pt x="189736" y="941351"/>
                </a:lnTo>
                <a:lnTo>
                  <a:pt x="225784" y="969215"/>
                </a:lnTo>
                <a:lnTo>
                  <a:pt x="264182" y="993975"/>
                </a:lnTo>
                <a:lnTo>
                  <a:pt x="304743" y="1015442"/>
                </a:lnTo>
                <a:lnTo>
                  <a:pt x="347279" y="1033429"/>
                </a:lnTo>
                <a:lnTo>
                  <a:pt x="391600" y="1047746"/>
                </a:lnTo>
                <a:lnTo>
                  <a:pt x="437520" y="1058206"/>
                </a:lnTo>
                <a:lnTo>
                  <a:pt x="484849" y="1064620"/>
                </a:lnTo>
                <a:lnTo>
                  <a:pt x="533400" y="1066800"/>
                </a:lnTo>
                <a:close/>
              </a:path>
            </a:pathLst>
          </a:custGeom>
          <a:ln w="25400">
            <a:solidFill>
              <a:sysClr val="windowText" lastClr="000000"/>
            </a:solidFill>
          </a:ln>
        </p:spPr>
        <p:txBody>
          <a:bodyPr wrap="square" lIns="0" tIns="0" rIns="0" bIns="0"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grpSp>
        <p:nvGrpSpPr>
          <p:cNvPr id="53" name="Group 52">
            <a:extLst>
              <a:ext uri="{FF2B5EF4-FFF2-40B4-BE49-F238E27FC236}">
                <a16:creationId xmlns:a16="http://schemas.microsoft.com/office/drawing/2014/main" id="{AEDD7391-173D-DA15-07F9-6D3ADB155148}"/>
              </a:ext>
            </a:extLst>
          </p:cNvPr>
          <p:cNvGrpSpPr/>
          <p:nvPr/>
        </p:nvGrpSpPr>
        <p:grpSpPr>
          <a:xfrm>
            <a:off x="1585204" y="1578503"/>
            <a:ext cx="1008000" cy="1008000"/>
            <a:chOff x="1585204" y="2605234"/>
            <a:chExt cx="1008000" cy="1008000"/>
          </a:xfrm>
        </p:grpSpPr>
        <p:sp>
          <p:nvSpPr>
            <p:cNvPr id="54" name="object 15">
              <a:extLst>
                <a:ext uri="{FF2B5EF4-FFF2-40B4-BE49-F238E27FC236}">
                  <a16:creationId xmlns:a16="http://schemas.microsoft.com/office/drawing/2014/main" id="{D4662CDF-E357-ACD2-E7C0-AA7C0BBBCDDB}"/>
                </a:ext>
              </a:extLst>
            </p:cNvPr>
            <p:cNvSpPr/>
            <p:nvPr/>
          </p:nvSpPr>
          <p:spPr>
            <a:xfrm>
              <a:off x="1585204" y="2605234"/>
              <a:ext cx="1008000" cy="1008000"/>
            </a:xfrm>
            <a:custGeom>
              <a:avLst/>
              <a:gdLst/>
              <a:ahLst/>
              <a:cxnLst/>
              <a:rect l="l" t="t" r="r" b="b"/>
              <a:pathLst>
                <a:path w="1066800" h="1066800">
                  <a:moveTo>
                    <a:pt x="533400" y="1066800"/>
                  </a:moveTo>
                  <a:lnTo>
                    <a:pt x="581950" y="1064620"/>
                  </a:lnTo>
                  <a:lnTo>
                    <a:pt x="629279" y="1058206"/>
                  </a:lnTo>
                  <a:lnTo>
                    <a:pt x="675199" y="1047746"/>
                  </a:lnTo>
                  <a:lnTo>
                    <a:pt x="719520" y="1033429"/>
                  </a:lnTo>
                  <a:lnTo>
                    <a:pt x="762056" y="1015442"/>
                  </a:lnTo>
                  <a:lnTo>
                    <a:pt x="802617" y="993975"/>
                  </a:lnTo>
                  <a:lnTo>
                    <a:pt x="841015" y="969215"/>
                  </a:lnTo>
                  <a:lnTo>
                    <a:pt x="877063" y="941351"/>
                  </a:lnTo>
                  <a:lnTo>
                    <a:pt x="910570" y="910570"/>
                  </a:lnTo>
                  <a:lnTo>
                    <a:pt x="941351" y="877063"/>
                  </a:lnTo>
                  <a:lnTo>
                    <a:pt x="969215" y="841015"/>
                  </a:lnTo>
                  <a:lnTo>
                    <a:pt x="993975" y="802617"/>
                  </a:lnTo>
                  <a:lnTo>
                    <a:pt x="1015442" y="762056"/>
                  </a:lnTo>
                  <a:lnTo>
                    <a:pt x="1033429" y="719520"/>
                  </a:lnTo>
                  <a:lnTo>
                    <a:pt x="1047746" y="675199"/>
                  </a:lnTo>
                  <a:lnTo>
                    <a:pt x="1058206" y="629279"/>
                  </a:lnTo>
                  <a:lnTo>
                    <a:pt x="1064620" y="581950"/>
                  </a:lnTo>
                  <a:lnTo>
                    <a:pt x="1066800" y="533400"/>
                  </a:lnTo>
                  <a:lnTo>
                    <a:pt x="1064620" y="484849"/>
                  </a:lnTo>
                  <a:lnTo>
                    <a:pt x="1058206" y="437520"/>
                  </a:lnTo>
                  <a:lnTo>
                    <a:pt x="1047746" y="391600"/>
                  </a:lnTo>
                  <a:lnTo>
                    <a:pt x="1033429" y="347279"/>
                  </a:lnTo>
                  <a:lnTo>
                    <a:pt x="1015442" y="304743"/>
                  </a:lnTo>
                  <a:lnTo>
                    <a:pt x="993975" y="264182"/>
                  </a:lnTo>
                  <a:lnTo>
                    <a:pt x="969215" y="225784"/>
                  </a:lnTo>
                  <a:lnTo>
                    <a:pt x="941351" y="189736"/>
                  </a:lnTo>
                  <a:lnTo>
                    <a:pt x="910570" y="156229"/>
                  </a:lnTo>
                  <a:lnTo>
                    <a:pt x="877063" y="125448"/>
                  </a:lnTo>
                  <a:lnTo>
                    <a:pt x="841015" y="97584"/>
                  </a:lnTo>
                  <a:lnTo>
                    <a:pt x="802617" y="72824"/>
                  </a:lnTo>
                  <a:lnTo>
                    <a:pt x="762056" y="51357"/>
                  </a:lnTo>
                  <a:lnTo>
                    <a:pt x="719520" y="33370"/>
                  </a:lnTo>
                  <a:lnTo>
                    <a:pt x="675199" y="19053"/>
                  </a:lnTo>
                  <a:lnTo>
                    <a:pt x="629279" y="8593"/>
                  </a:lnTo>
                  <a:lnTo>
                    <a:pt x="581950" y="2179"/>
                  </a:lnTo>
                  <a:lnTo>
                    <a:pt x="533400" y="0"/>
                  </a:lnTo>
                  <a:lnTo>
                    <a:pt x="484849" y="2179"/>
                  </a:lnTo>
                  <a:lnTo>
                    <a:pt x="437520" y="8593"/>
                  </a:lnTo>
                  <a:lnTo>
                    <a:pt x="391600" y="19053"/>
                  </a:lnTo>
                  <a:lnTo>
                    <a:pt x="347279" y="33370"/>
                  </a:lnTo>
                  <a:lnTo>
                    <a:pt x="304743" y="51357"/>
                  </a:lnTo>
                  <a:lnTo>
                    <a:pt x="264182" y="72824"/>
                  </a:lnTo>
                  <a:lnTo>
                    <a:pt x="225784" y="97584"/>
                  </a:lnTo>
                  <a:lnTo>
                    <a:pt x="189736" y="125448"/>
                  </a:lnTo>
                  <a:lnTo>
                    <a:pt x="156229" y="156229"/>
                  </a:lnTo>
                  <a:lnTo>
                    <a:pt x="125448" y="189736"/>
                  </a:lnTo>
                  <a:lnTo>
                    <a:pt x="97584" y="225784"/>
                  </a:lnTo>
                  <a:lnTo>
                    <a:pt x="72824" y="264182"/>
                  </a:lnTo>
                  <a:lnTo>
                    <a:pt x="51357" y="304743"/>
                  </a:lnTo>
                  <a:lnTo>
                    <a:pt x="33370" y="347279"/>
                  </a:lnTo>
                  <a:lnTo>
                    <a:pt x="19053" y="391600"/>
                  </a:lnTo>
                  <a:lnTo>
                    <a:pt x="8593" y="437520"/>
                  </a:lnTo>
                  <a:lnTo>
                    <a:pt x="2179" y="484849"/>
                  </a:lnTo>
                  <a:lnTo>
                    <a:pt x="0" y="533400"/>
                  </a:lnTo>
                  <a:lnTo>
                    <a:pt x="2179" y="581950"/>
                  </a:lnTo>
                  <a:lnTo>
                    <a:pt x="8593" y="629279"/>
                  </a:lnTo>
                  <a:lnTo>
                    <a:pt x="19053" y="675199"/>
                  </a:lnTo>
                  <a:lnTo>
                    <a:pt x="33370" y="719520"/>
                  </a:lnTo>
                  <a:lnTo>
                    <a:pt x="51357" y="762056"/>
                  </a:lnTo>
                  <a:lnTo>
                    <a:pt x="72824" y="802617"/>
                  </a:lnTo>
                  <a:lnTo>
                    <a:pt x="97584" y="841015"/>
                  </a:lnTo>
                  <a:lnTo>
                    <a:pt x="125448" y="877063"/>
                  </a:lnTo>
                  <a:lnTo>
                    <a:pt x="156229" y="910570"/>
                  </a:lnTo>
                  <a:lnTo>
                    <a:pt x="189736" y="941351"/>
                  </a:lnTo>
                  <a:lnTo>
                    <a:pt x="225784" y="969215"/>
                  </a:lnTo>
                  <a:lnTo>
                    <a:pt x="264182" y="993975"/>
                  </a:lnTo>
                  <a:lnTo>
                    <a:pt x="304743" y="1015442"/>
                  </a:lnTo>
                  <a:lnTo>
                    <a:pt x="347279" y="1033429"/>
                  </a:lnTo>
                  <a:lnTo>
                    <a:pt x="391600" y="1047746"/>
                  </a:lnTo>
                  <a:lnTo>
                    <a:pt x="437520" y="1058206"/>
                  </a:lnTo>
                  <a:lnTo>
                    <a:pt x="484849" y="1064620"/>
                  </a:lnTo>
                  <a:lnTo>
                    <a:pt x="533400" y="1066800"/>
                  </a:lnTo>
                  <a:close/>
                </a:path>
              </a:pathLst>
            </a:custGeom>
            <a:ln w="25400">
              <a:solidFill>
                <a:srgbClr val="A0DCFF"/>
              </a:solidFill>
            </a:ln>
          </p:spPr>
          <p:txBody>
            <a:bodyPr wrap="square" lIns="0" tIns="0" rIns="0" bIns="0"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sp>
          <p:nvSpPr>
            <p:cNvPr id="55" name="object 25">
              <a:extLst>
                <a:ext uri="{FF2B5EF4-FFF2-40B4-BE49-F238E27FC236}">
                  <a16:creationId xmlns:a16="http://schemas.microsoft.com/office/drawing/2014/main" id="{78F4B1BA-434F-9BF5-71B9-4301C3931B87}"/>
                </a:ext>
              </a:extLst>
            </p:cNvPr>
            <p:cNvSpPr/>
            <p:nvPr/>
          </p:nvSpPr>
          <p:spPr>
            <a:xfrm>
              <a:off x="1788188" y="3181016"/>
              <a:ext cx="602400" cy="228000"/>
            </a:xfrm>
            <a:custGeom>
              <a:avLst/>
              <a:gdLst/>
              <a:ahLst/>
              <a:cxnLst/>
              <a:rect l="l" t="t" r="r" b="b"/>
              <a:pathLst>
                <a:path w="637539" h="241300">
                  <a:moveTo>
                    <a:pt x="289217" y="180530"/>
                  </a:moveTo>
                  <a:lnTo>
                    <a:pt x="241731" y="180530"/>
                  </a:lnTo>
                  <a:lnTo>
                    <a:pt x="360172" y="239750"/>
                  </a:lnTo>
                  <a:lnTo>
                    <a:pt x="365493" y="240982"/>
                  </a:lnTo>
                  <a:lnTo>
                    <a:pt x="376834" y="240982"/>
                  </a:lnTo>
                  <a:lnTo>
                    <a:pt x="382866" y="239394"/>
                  </a:lnTo>
                  <a:lnTo>
                    <a:pt x="415566" y="220319"/>
                  </a:lnTo>
                  <a:lnTo>
                    <a:pt x="368833" y="220319"/>
                  </a:lnTo>
                  <a:lnTo>
                    <a:pt x="289217" y="180530"/>
                  </a:lnTo>
                  <a:close/>
                </a:path>
                <a:path w="637539" h="241300">
                  <a:moveTo>
                    <a:pt x="634144" y="57162"/>
                  </a:moveTo>
                  <a:lnTo>
                    <a:pt x="604050" y="57162"/>
                  </a:lnTo>
                  <a:lnTo>
                    <a:pt x="608063" y="58229"/>
                  </a:lnTo>
                  <a:lnTo>
                    <a:pt x="614159" y="63372"/>
                  </a:lnTo>
                  <a:lnTo>
                    <a:pt x="615911" y="67132"/>
                  </a:lnTo>
                  <a:lnTo>
                    <a:pt x="615911" y="75882"/>
                  </a:lnTo>
                  <a:lnTo>
                    <a:pt x="613359" y="80340"/>
                  </a:lnTo>
                  <a:lnTo>
                    <a:pt x="373621" y="220179"/>
                  </a:lnTo>
                  <a:lnTo>
                    <a:pt x="368833" y="220319"/>
                  </a:lnTo>
                  <a:lnTo>
                    <a:pt x="415566" y="220319"/>
                  </a:lnTo>
                  <a:lnTo>
                    <a:pt x="619925" y="101104"/>
                  </a:lnTo>
                  <a:lnTo>
                    <a:pt x="637146" y="71119"/>
                  </a:lnTo>
                  <a:lnTo>
                    <a:pt x="636319" y="63570"/>
                  </a:lnTo>
                  <a:lnTo>
                    <a:pt x="634144" y="57162"/>
                  </a:lnTo>
                  <a:close/>
                </a:path>
                <a:path w="637539" h="241300">
                  <a:moveTo>
                    <a:pt x="207619" y="0"/>
                  </a:moveTo>
                  <a:lnTo>
                    <a:pt x="4749" y="0"/>
                  </a:lnTo>
                  <a:lnTo>
                    <a:pt x="0" y="4737"/>
                  </a:lnTo>
                  <a:lnTo>
                    <a:pt x="0" y="186397"/>
                  </a:lnTo>
                  <a:lnTo>
                    <a:pt x="4749" y="191147"/>
                  </a:lnTo>
                  <a:lnTo>
                    <a:pt x="207619" y="191147"/>
                  </a:lnTo>
                  <a:lnTo>
                    <a:pt x="212382" y="186397"/>
                  </a:lnTo>
                  <a:lnTo>
                    <a:pt x="212382" y="180530"/>
                  </a:lnTo>
                  <a:lnTo>
                    <a:pt x="289217" y="180530"/>
                  </a:lnTo>
                  <a:lnTo>
                    <a:pt x="267957" y="169900"/>
                  </a:lnTo>
                  <a:lnTo>
                    <a:pt x="21234" y="169900"/>
                  </a:lnTo>
                  <a:lnTo>
                    <a:pt x="21234" y="21234"/>
                  </a:lnTo>
                  <a:lnTo>
                    <a:pt x="333590" y="21234"/>
                  </a:lnTo>
                  <a:lnTo>
                    <a:pt x="324091" y="11734"/>
                  </a:lnTo>
                  <a:lnTo>
                    <a:pt x="321386" y="10617"/>
                  </a:lnTo>
                  <a:lnTo>
                    <a:pt x="212382" y="10617"/>
                  </a:lnTo>
                  <a:lnTo>
                    <a:pt x="212382" y="4737"/>
                  </a:lnTo>
                  <a:lnTo>
                    <a:pt x="207619" y="0"/>
                  </a:lnTo>
                  <a:close/>
                </a:path>
                <a:path w="637539" h="241300">
                  <a:moveTo>
                    <a:pt x="169913" y="21234"/>
                  </a:moveTo>
                  <a:lnTo>
                    <a:pt x="148666" y="21234"/>
                  </a:lnTo>
                  <a:lnTo>
                    <a:pt x="148666" y="169900"/>
                  </a:lnTo>
                  <a:lnTo>
                    <a:pt x="169913" y="169900"/>
                  </a:lnTo>
                  <a:lnTo>
                    <a:pt x="169913" y="21234"/>
                  </a:lnTo>
                  <a:close/>
                </a:path>
                <a:path w="637539" h="241300">
                  <a:moveTo>
                    <a:pt x="333590" y="21234"/>
                  </a:moveTo>
                  <a:lnTo>
                    <a:pt x="191147" y="21234"/>
                  </a:lnTo>
                  <a:lnTo>
                    <a:pt x="191147" y="169900"/>
                  </a:lnTo>
                  <a:lnTo>
                    <a:pt x="267957" y="169900"/>
                  </a:lnTo>
                  <a:lnTo>
                    <a:pt x="248983" y="160413"/>
                  </a:lnTo>
                  <a:lnTo>
                    <a:pt x="247523" y="159664"/>
                  </a:lnTo>
                  <a:lnTo>
                    <a:pt x="245884" y="159283"/>
                  </a:lnTo>
                  <a:lnTo>
                    <a:pt x="212382" y="159283"/>
                  </a:lnTo>
                  <a:lnTo>
                    <a:pt x="212382" y="31851"/>
                  </a:lnTo>
                  <a:lnTo>
                    <a:pt x="344208" y="31851"/>
                  </a:lnTo>
                  <a:lnTo>
                    <a:pt x="333590" y="21234"/>
                  </a:lnTo>
                  <a:close/>
                </a:path>
                <a:path w="637539" h="241300">
                  <a:moveTo>
                    <a:pt x="315468" y="88061"/>
                  </a:moveTo>
                  <a:lnTo>
                    <a:pt x="355371" y="158000"/>
                  </a:lnTo>
                  <a:lnTo>
                    <a:pt x="384111" y="169900"/>
                  </a:lnTo>
                  <a:lnTo>
                    <a:pt x="399925" y="166700"/>
                  </a:lnTo>
                  <a:lnTo>
                    <a:pt x="412848" y="157980"/>
                  </a:lnTo>
                  <a:lnTo>
                    <a:pt x="419131" y="148666"/>
                  </a:lnTo>
                  <a:lnTo>
                    <a:pt x="378929" y="148666"/>
                  </a:lnTo>
                  <a:lnTo>
                    <a:pt x="374040" y="146646"/>
                  </a:lnTo>
                  <a:lnTo>
                    <a:pt x="315468" y="88061"/>
                  </a:lnTo>
                  <a:close/>
                </a:path>
                <a:path w="637539" h="241300">
                  <a:moveTo>
                    <a:pt x="344208" y="31851"/>
                  </a:moveTo>
                  <a:lnTo>
                    <a:pt x="314172" y="31851"/>
                  </a:lnTo>
                  <a:lnTo>
                    <a:pt x="401459" y="119138"/>
                  </a:lnTo>
                  <a:lnTo>
                    <a:pt x="403529" y="124129"/>
                  </a:lnTo>
                  <a:lnTo>
                    <a:pt x="403529" y="129247"/>
                  </a:lnTo>
                  <a:lnTo>
                    <a:pt x="402001" y="136798"/>
                  </a:lnTo>
                  <a:lnTo>
                    <a:pt x="397835" y="142971"/>
                  </a:lnTo>
                  <a:lnTo>
                    <a:pt x="391662" y="147137"/>
                  </a:lnTo>
                  <a:lnTo>
                    <a:pt x="384111" y="148666"/>
                  </a:lnTo>
                  <a:lnTo>
                    <a:pt x="419131" y="148666"/>
                  </a:lnTo>
                  <a:lnTo>
                    <a:pt x="421566" y="145056"/>
                  </a:lnTo>
                  <a:lnTo>
                    <a:pt x="424764" y="129247"/>
                  </a:lnTo>
                  <a:lnTo>
                    <a:pt x="423985" y="121256"/>
                  </a:lnTo>
                  <a:lnTo>
                    <a:pt x="421693" y="113687"/>
                  </a:lnTo>
                  <a:lnTo>
                    <a:pt x="417959" y="106712"/>
                  </a:lnTo>
                  <a:lnTo>
                    <a:pt x="412851" y="100507"/>
                  </a:lnTo>
                  <a:lnTo>
                    <a:pt x="404266" y="91909"/>
                  </a:lnTo>
                  <a:lnTo>
                    <a:pt x="509853" y="73545"/>
                  </a:lnTo>
                  <a:lnTo>
                    <a:pt x="385902" y="73545"/>
                  </a:lnTo>
                  <a:lnTo>
                    <a:pt x="344208" y="31851"/>
                  </a:lnTo>
                  <a:close/>
                </a:path>
                <a:path w="637539" h="241300">
                  <a:moveTo>
                    <a:pt x="604089" y="36447"/>
                  </a:moveTo>
                  <a:lnTo>
                    <a:pt x="596493" y="36918"/>
                  </a:lnTo>
                  <a:lnTo>
                    <a:pt x="385902" y="73545"/>
                  </a:lnTo>
                  <a:lnTo>
                    <a:pt x="509853" y="73545"/>
                  </a:lnTo>
                  <a:lnTo>
                    <a:pt x="604050" y="57162"/>
                  </a:lnTo>
                  <a:lnTo>
                    <a:pt x="634144" y="57162"/>
                  </a:lnTo>
                  <a:lnTo>
                    <a:pt x="611497" y="37601"/>
                  </a:lnTo>
                  <a:lnTo>
                    <a:pt x="604089" y="36447"/>
                  </a:lnTo>
                  <a:close/>
                </a:path>
              </a:pathLst>
            </a:custGeom>
            <a:solidFill>
              <a:srgbClr val="A0DCFF"/>
            </a:solidFill>
            <a:ln>
              <a:solidFill>
                <a:srgbClr val="A0DCFF"/>
              </a:solidFill>
            </a:ln>
          </p:spPr>
          <p:txBody>
            <a:bodyPr wrap="square" lIns="0" tIns="0" rIns="0" bIns="0"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sp>
          <p:nvSpPr>
            <p:cNvPr id="56" name="object 26">
              <a:extLst>
                <a:ext uri="{FF2B5EF4-FFF2-40B4-BE49-F238E27FC236}">
                  <a16:creationId xmlns:a16="http://schemas.microsoft.com/office/drawing/2014/main" id="{0CF14AB0-3F7A-E25D-4F21-517EC839378C}"/>
                </a:ext>
              </a:extLst>
            </p:cNvPr>
            <p:cNvSpPr/>
            <p:nvPr/>
          </p:nvSpPr>
          <p:spPr>
            <a:xfrm>
              <a:off x="1788244" y="2809750"/>
              <a:ext cx="602400" cy="381600"/>
            </a:xfrm>
            <a:custGeom>
              <a:avLst/>
              <a:gdLst/>
              <a:ahLst/>
              <a:cxnLst/>
              <a:rect l="l" t="t" r="r" b="b"/>
              <a:pathLst>
                <a:path w="637539" h="403860">
                  <a:moveTo>
                    <a:pt x="516926" y="286550"/>
                  </a:moveTo>
                  <a:lnTo>
                    <a:pt x="484303" y="286550"/>
                  </a:lnTo>
                  <a:lnTo>
                    <a:pt x="554737" y="346925"/>
                  </a:lnTo>
                  <a:lnTo>
                    <a:pt x="553163" y="351370"/>
                  </a:lnTo>
                  <a:lnTo>
                    <a:pt x="552147" y="356082"/>
                  </a:lnTo>
                  <a:lnTo>
                    <a:pt x="552147" y="361060"/>
                  </a:lnTo>
                  <a:lnTo>
                    <a:pt x="555489" y="377583"/>
                  </a:lnTo>
                  <a:lnTo>
                    <a:pt x="564599" y="391088"/>
                  </a:lnTo>
                  <a:lnTo>
                    <a:pt x="578100" y="400199"/>
                  </a:lnTo>
                  <a:lnTo>
                    <a:pt x="594615" y="403542"/>
                  </a:lnTo>
                  <a:lnTo>
                    <a:pt x="611138" y="400199"/>
                  </a:lnTo>
                  <a:lnTo>
                    <a:pt x="624643" y="391088"/>
                  </a:lnTo>
                  <a:lnTo>
                    <a:pt x="630575" y="382295"/>
                  </a:lnTo>
                  <a:lnTo>
                    <a:pt x="594615" y="382295"/>
                  </a:lnTo>
                  <a:lnTo>
                    <a:pt x="586358" y="380624"/>
                  </a:lnTo>
                  <a:lnTo>
                    <a:pt x="579607" y="376069"/>
                  </a:lnTo>
                  <a:lnTo>
                    <a:pt x="575052" y="369318"/>
                  </a:lnTo>
                  <a:lnTo>
                    <a:pt x="573381" y="361060"/>
                  </a:lnTo>
                  <a:lnTo>
                    <a:pt x="575052" y="352803"/>
                  </a:lnTo>
                  <a:lnTo>
                    <a:pt x="579607" y="346052"/>
                  </a:lnTo>
                  <a:lnTo>
                    <a:pt x="586358" y="341497"/>
                  </a:lnTo>
                  <a:lnTo>
                    <a:pt x="594615" y="339826"/>
                  </a:lnTo>
                  <a:lnTo>
                    <a:pt x="630575" y="339826"/>
                  </a:lnTo>
                  <a:lnTo>
                    <a:pt x="624643" y="331033"/>
                  </a:lnTo>
                  <a:lnTo>
                    <a:pt x="622015" y="329260"/>
                  </a:lnTo>
                  <a:lnTo>
                    <a:pt x="566752" y="329260"/>
                  </a:lnTo>
                  <a:lnTo>
                    <a:pt x="516926" y="286550"/>
                  </a:lnTo>
                  <a:close/>
                </a:path>
                <a:path w="637539" h="403860">
                  <a:moveTo>
                    <a:pt x="276036" y="276110"/>
                  </a:moveTo>
                  <a:lnTo>
                    <a:pt x="255389" y="280288"/>
                  </a:lnTo>
                  <a:lnTo>
                    <a:pt x="238509" y="291677"/>
                  </a:lnTo>
                  <a:lnTo>
                    <a:pt x="227117" y="308557"/>
                  </a:lnTo>
                  <a:lnTo>
                    <a:pt x="222937" y="329209"/>
                  </a:lnTo>
                  <a:lnTo>
                    <a:pt x="227117" y="349853"/>
                  </a:lnTo>
                  <a:lnTo>
                    <a:pt x="238509" y="366729"/>
                  </a:lnTo>
                  <a:lnTo>
                    <a:pt x="255389" y="378117"/>
                  </a:lnTo>
                  <a:lnTo>
                    <a:pt x="276036" y="382295"/>
                  </a:lnTo>
                  <a:lnTo>
                    <a:pt x="296682" y="378117"/>
                  </a:lnTo>
                  <a:lnTo>
                    <a:pt x="313563" y="366729"/>
                  </a:lnTo>
                  <a:lnTo>
                    <a:pt x="317389" y="361060"/>
                  </a:lnTo>
                  <a:lnTo>
                    <a:pt x="276036" y="361060"/>
                  </a:lnTo>
                  <a:lnTo>
                    <a:pt x="263649" y="358554"/>
                  </a:lnTo>
                  <a:lnTo>
                    <a:pt x="253523" y="351721"/>
                  </a:lnTo>
                  <a:lnTo>
                    <a:pt x="246691" y="341596"/>
                  </a:lnTo>
                  <a:lnTo>
                    <a:pt x="244184" y="329209"/>
                  </a:lnTo>
                  <a:lnTo>
                    <a:pt x="246691" y="316820"/>
                  </a:lnTo>
                  <a:lnTo>
                    <a:pt x="253523" y="306690"/>
                  </a:lnTo>
                  <a:lnTo>
                    <a:pt x="263649" y="299853"/>
                  </a:lnTo>
                  <a:lnTo>
                    <a:pt x="276036" y="297345"/>
                  </a:lnTo>
                  <a:lnTo>
                    <a:pt x="351656" y="297345"/>
                  </a:lnTo>
                  <a:lnTo>
                    <a:pt x="353612" y="295948"/>
                  </a:lnTo>
                  <a:lnTo>
                    <a:pt x="317082" y="295948"/>
                  </a:lnTo>
                  <a:lnTo>
                    <a:pt x="308897" y="287785"/>
                  </a:lnTo>
                  <a:lnTo>
                    <a:pt x="299140" y="281528"/>
                  </a:lnTo>
                  <a:lnTo>
                    <a:pt x="288093" y="277522"/>
                  </a:lnTo>
                  <a:lnTo>
                    <a:pt x="276036" y="276110"/>
                  </a:lnTo>
                  <a:close/>
                </a:path>
                <a:path w="637539" h="403860">
                  <a:moveTo>
                    <a:pt x="630575" y="339826"/>
                  </a:moveTo>
                  <a:lnTo>
                    <a:pt x="594615" y="339826"/>
                  </a:lnTo>
                  <a:lnTo>
                    <a:pt x="602875" y="341497"/>
                  </a:lnTo>
                  <a:lnTo>
                    <a:pt x="609630" y="346052"/>
                  </a:lnTo>
                  <a:lnTo>
                    <a:pt x="614189" y="352803"/>
                  </a:lnTo>
                  <a:lnTo>
                    <a:pt x="615862" y="361060"/>
                  </a:lnTo>
                  <a:lnTo>
                    <a:pt x="614189" y="369318"/>
                  </a:lnTo>
                  <a:lnTo>
                    <a:pt x="609630" y="376069"/>
                  </a:lnTo>
                  <a:lnTo>
                    <a:pt x="602875" y="380624"/>
                  </a:lnTo>
                  <a:lnTo>
                    <a:pt x="594615" y="382295"/>
                  </a:lnTo>
                  <a:lnTo>
                    <a:pt x="630575" y="382295"/>
                  </a:lnTo>
                  <a:lnTo>
                    <a:pt x="633754" y="377583"/>
                  </a:lnTo>
                  <a:lnTo>
                    <a:pt x="637097" y="361060"/>
                  </a:lnTo>
                  <a:lnTo>
                    <a:pt x="633754" y="344538"/>
                  </a:lnTo>
                  <a:lnTo>
                    <a:pt x="630575" y="339826"/>
                  </a:lnTo>
                  <a:close/>
                </a:path>
                <a:path w="637539" h="403860">
                  <a:moveTo>
                    <a:pt x="351656" y="297345"/>
                  </a:moveTo>
                  <a:lnTo>
                    <a:pt x="276036" y="297345"/>
                  </a:lnTo>
                  <a:lnTo>
                    <a:pt x="288424" y="299853"/>
                  </a:lnTo>
                  <a:lnTo>
                    <a:pt x="298555" y="306690"/>
                  </a:lnTo>
                  <a:lnTo>
                    <a:pt x="305391" y="316820"/>
                  </a:lnTo>
                  <a:lnTo>
                    <a:pt x="307900" y="329209"/>
                  </a:lnTo>
                  <a:lnTo>
                    <a:pt x="305391" y="341596"/>
                  </a:lnTo>
                  <a:lnTo>
                    <a:pt x="298555" y="351721"/>
                  </a:lnTo>
                  <a:lnTo>
                    <a:pt x="288424" y="358554"/>
                  </a:lnTo>
                  <a:lnTo>
                    <a:pt x="276036" y="361060"/>
                  </a:lnTo>
                  <a:lnTo>
                    <a:pt x="317389" y="361060"/>
                  </a:lnTo>
                  <a:lnTo>
                    <a:pt x="324954" y="349853"/>
                  </a:lnTo>
                  <a:lnTo>
                    <a:pt x="329124" y="329260"/>
                  </a:lnTo>
                  <a:lnTo>
                    <a:pt x="329135" y="324243"/>
                  </a:lnTo>
                  <a:lnTo>
                    <a:pt x="328233" y="319544"/>
                  </a:lnTo>
                  <a:lnTo>
                    <a:pt x="326963" y="314985"/>
                  </a:lnTo>
                  <a:lnTo>
                    <a:pt x="351656" y="297345"/>
                  </a:lnTo>
                  <a:close/>
                </a:path>
                <a:path w="637539" h="403860">
                  <a:moveTo>
                    <a:pt x="594615" y="318579"/>
                  </a:moveTo>
                  <a:lnTo>
                    <a:pt x="586797" y="319325"/>
                  </a:lnTo>
                  <a:lnTo>
                    <a:pt x="579474" y="321457"/>
                  </a:lnTo>
                  <a:lnTo>
                    <a:pt x="572755" y="324821"/>
                  </a:lnTo>
                  <a:lnTo>
                    <a:pt x="566752" y="329260"/>
                  </a:lnTo>
                  <a:lnTo>
                    <a:pt x="622015" y="329260"/>
                  </a:lnTo>
                  <a:lnTo>
                    <a:pt x="611138" y="321922"/>
                  </a:lnTo>
                  <a:lnTo>
                    <a:pt x="594615" y="318579"/>
                  </a:lnTo>
                  <a:close/>
                </a:path>
                <a:path w="637539" h="403860">
                  <a:moveTo>
                    <a:pt x="423442" y="270675"/>
                  </a:moveTo>
                  <a:lnTo>
                    <a:pt x="388990" y="270675"/>
                  </a:lnTo>
                  <a:lnTo>
                    <a:pt x="400429" y="281711"/>
                  </a:lnTo>
                  <a:lnTo>
                    <a:pt x="414012" y="290115"/>
                  </a:lnTo>
                  <a:lnTo>
                    <a:pt x="429323" y="295467"/>
                  </a:lnTo>
                  <a:lnTo>
                    <a:pt x="445949" y="297345"/>
                  </a:lnTo>
                  <a:lnTo>
                    <a:pt x="456291" y="296615"/>
                  </a:lnTo>
                  <a:lnTo>
                    <a:pt x="466188" y="294500"/>
                  </a:lnTo>
                  <a:lnTo>
                    <a:pt x="475555" y="291108"/>
                  </a:lnTo>
                  <a:lnTo>
                    <a:pt x="484303" y="286550"/>
                  </a:lnTo>
                  <a:lnTo>
                    <a:pt x="516926" y="286550"/>
                  </a:lnTo>
                  <a:lnTo>
                    <a:pt x="504748" y="276110"/>
                  </a:lnTo>
                  <a:lnTo>
                    <a:pt x="445949" y="276110"/>
                  </a:lnTo>
                  <a:lnTo>
                    <a:pt x="425303" y="271930"/>
                  </a:lnTo>
                  <a:lnTo>
                    <a:pt x="423442" y="270675"/>
                  </a:lnTo>
                  <a:close/>
                </a:path>
                <a:path w="637539" h="403860">
                  <a:moveTo>
                    <a:pt x="394920" y="212788"/>
                  </a:moveTo>
                  <a:lnTo>
                    <a:pt x="126341" y="212788"/>
                  </a:lnTo>
                  <a:lnTo>
                    <a:pt x="371629" y="222592"/>
                  </a:lnTo>
                  <a:lnTo>
                    <a:pt x="371623" y="223011"/>
                  </a:lnTo>
                  <a:lnTo>
                    <a:pt x="372023" y="230792"/>
                  </a:lnTo>
                  <a:lnTo>
                    <a:pt x="373215" y="238339"/>
                  </a:lnTo>
                  <a:lnTo>
                    <a:pt x="375147" y="245616"/>
                  </a:lnTo>
                  <a:lnTo>
                    <a:pt x="377776" y="252590"/>
                  </a:lnTo>
                  <a:lnTo>
                    <a:pt x="317082" y="295948"/>
                  </a:lnTo>
                  <a:lnTo>
                    <a:pt x="353612" y="295948"/>
                  </a:lnTo>
                  <a:lnTo>
                    <a:pt x="388990" y="270675"/>
                  </a:lnTo>
                  <a:lnTo>
                    <a:pt x="423442" y="270675"/>
                  </a:lnTo>
                  <a:lnTo>
                    <a:pt x="408422" y="260538"/>
                  </a:lnTo>
                  <a:lnTo>
                    <a:pt x="397031" y="243658"/>
                  </a:lnTo>
                  <a:lnTo>
                    <a:pt x="392850" y="223011"/>
                  </a:lnTo>
                  <a:lnTo>
                    <a:pt x="394920" y="212788"/>
                  </a:lnTo>
                  <a:close/>
                </a:path>
                <a:path w="637539" h="403860">
                  <a:moveTo>
                    <a:pt x="497373" y="169913"/>
                  </a:moveTo>
                  <a:lnTo>
                    <a:pt x="445949" y="169913"/>
                  </a:lnTo>
                  <a:lnTo>
                    <a:pt x="466596" y="174093"/>
                  </a:lnTo>
                  <a:lnTo>
                    <a:pt x="483476" y="185485"/>
                  </a:lnTo>
                  <a:lnTo>
                    <a:pt x="494868" y="202365"/>
                  </a:lnTo>
                  <a:lnTo>
                    <a:pt x="499048" y="223011"/>
                  </a:lnTo>
                  <a:lnTo>
                    <a:pt x="494868" y="243658"/>
                  </a:lnTo>
                  <a:lnTo>
                    <a:pt x="483476" y="260538"/>
                  </a:lnTo>
                  <a:lnTo>
                    <a:pt x="466596" y="271930"/>
                  </a:lnTo>
                  <a:lnTo>
                    <a:pt x="445949" y="276110"/>
                  </a:lnTo>
                  <a:lnTo>
                    <a:pt x="504748" y="276110"/>
                  </a:lnTo>
                  <a:lnTo>
                    <a:pt x="500940" y="272846"/>
                  </a:lnTo>
                  <a:lnTo>
                    <a:pt x="509015" y="262191"/>
                  </a:lnTo>
                  <a:lnTo>
                    <a:pt x="515102" y="250177"/>
                  </a:lnTo>
                  <a:lnTo>
                    <a:pt x="518944" y="237038"/>
                  </a:lnTo>
                  <a:lnTo>
                    <a:pt x="520282" y="223011"/>
                  </a:lnTo>
                  <a:lnTo>
                    <a:pt x="518473" y="206710"/>
                  </a:lnTo>
                  <a:lnTo>
                    <a:pt x="513313" y="191666"/>
                  </a:lnTo>
                  <a:lnTo>
                    <a:pt x="505205" y="178268"/>
                  </a:lnTo>
                  <a:lnTo>
                    <a:pt x="497373" y="169913"/>
                  </a:lnTo>
                  <a:close/>
                </a:path>
                <a:path w="637539" h="403860">
                  <a:moveTo>
                    <a:pt x="63654" y="138048"/>
                  </a:moveTo>
                  <a:lnTo>
                    <a:pt x="38873" y="143064"/>
                  </a:lnTo>
                  <a:lnTo>
                    <a:pt x="18618" y="156735"/>
                  </a:lnTo>
                  <a:lnTo>
                    <a:pt x="4952" y="176994"/>
                  </a:lnTo>
                  <a:lnTo>
                    <a:pt x="0" y="201472"/>
                  </a:lnTo>
                  <a:lnTo>
                    <a:pt x="57" y="202365"/>
                  </a:lnTo>
                  <a:lnTo>
                    <a:pt x="4952" y="226552"/>
                  </a:lnTo>
                  <a:lnTo>
                    <a:pt x="18618" y="246808"/>
                  </a:lnTo>
                  <a:lnTo>
                    <a:pt x="38873" y="260477"/>
                  </a:lnTo>
                  <a:lnTo>
                    <a:pt x="63654" y="265493"/>
                  </a:lnTo>
                  <a:lnTo>
                    <a:pt x="85947" y="261460"/>
                  </a:lnTo>
                  <a:lnTo>
                    <a:pt x="104799" y="250347"/>
                  </a:lnTo>
                  <a:lnTo>
                    <a:pt x="109890" y="244246"/>
                  </a:lnTo>
                  <a:lnTo>
                    <a:pt x="63654" y="244246"/>
                  </a:lnTo>
                  <a:lnTo>
                    <a:pt x="47131" y="240903"/>
                  </a:lnTo>
                  <a:lnTo>
                    <a:pt x="33626" y="231794"/>
                  </a:lnTo>
                  <a:lnTo>
                    <a:pt x="24515" y="218293"/>
                  </a:lnTo>
                  <a:lnTo>
                    <a:pt x="21291" y="202365"/>
                  </a:lnTo>
                  <a:lnTo>
                    <a:pt x="21234" y="201472"/>
                  </a:lnTo>
                  <a:lnTo>
                    <a:pt x="24515" y="185254"/>
                  </a:lnTo>
                  <a:lnTo>
                    <a:pt x="33626" y="171750"/>
                  </a:lnTo>
                  <a:lnTo>
                    <a:pt x="47131" y="162638"/>
                  </a:lnTo>
                  <a:lnTo>
                    <a:pt x="63654" y="159296"/>
                  </a:lnTo>
                  <a:lnTo>
                    <a:pt x="109897" y="159296"/>
                  </a:lnTo>
                  <a:lnTo>
                    <a:pt x="105086" y="153441"/>
                  </a:lnTo>
                  <a:lnTo>
                    <a:pt x="86129" y="142149"/>
                  </a:lnTo>
                  <a:lnTo>
                    <a:pt x="63654" y="138048"/>
                  </a:lnTo>
                  <a:close/>
                </a:path>
                <a:path w="637539" h="403860">
                  <a:moveTo>
                    <a:pt x="109897" y="159296"/>
                  </a:moveTo>
                  <a:lnTo>
                    <a:pt x="63654" y="159296"/>
                  </a:lnTo>
                  <a:lnTo>
                    <a:pt x="80169" y="162638"/>
                  </a:lnTo>
                  <a:lnTo>
                    <a:pt x="93670" y="171750"/>
                  </a:lnTo>
                  <a:lnTo>
                    <a:pt x="102780" y="185254"/>
                  </a:lnTo>
                  <a:lnTo>
                    <a:pt x="106061" y="201472"/>
                  </a:lnTo>
                  <a:lnTo>
                    <a:pt x="106004" y="202365"/>
                  </a:lnTo>
                  <a:lnTo>
                    <a:pt x="102780" y="218293"/>
                  </a:lnTo>
                  <a:lnTo>
                    <a:pt x="93670" y="231794"/>
                  </a:lnTo>
                  <a:lnTo>
                    <a:pt x="80169" y="240903"/>
                  </a:lnTo>
                  <a:lnTo>
                    <a:pt x="63654" y="244246"/>
                  </a:lnTo>
                  <a:lnTo>
                    <a:pt x="109890" y="244246"/>
                  </a:lnTo>
                  <a:lnTo>
                    <a:pt x="118750" y="233630"/>
                  </a:lnTo>
                  <a:lnTo>
                    <a:pt x="126341" y="212788"/>
                  </a:lnTo>
                  <a:lnTo>
                    <a:pt x="394920" y="212788"/>
                  </a:lnTo>
                  <a:lnTo>
                    <a:pt x="397031" y="202365"/>
                  </a:lnTo>
                  <a:lnTo>
                    <a:pt x="397633" y="201472"/>
                  </a:lnTo>
                  <a:lnTo>
                    <a:pt x="374816" y="201472"/>
                  </a:lnTo>
                  <a:lnTo>
                    <a:pt x="126468" y="191541"/>
                  </a:lnTo>
                  <a:lnTo>
                    <a:pt x="119030" y="170410"/>
                  </a:lnTo>
                  <a:lnTo>
                    <a:pt x="109897" y="159296"/>
                  </a:lnTo>
                  <a:close/>
                </a:path>
                <a:path w="637539" h="403860">
                  <a:moveTo>
                    <a:pt x="279894" y="96253"/>
                  </a:moveTo>
                  <a:lnTo>
                    <a:pt x="232411" y="96253"/>
                  </a:lnTo>
                  <a:lnTo>
                    <a:pt x="389485" y="174802"/>
                  </a:lnTo>
                  <a:lnTo>
                    <a:pt x="384837" y="180818"/>
                  </a:lnTo>
                  <a:lnTo>
                    <a:pt x="380812" y="187294"/>
                  </a:lnTo>
                  <a:lnTo>
                    <a:pt x="377457" y="194192"/>
                  </a:lnTo>
                  <a:lnTo>
                    <a:pt x="374816" y="201472"/>
                  </a:lnTo>
                  <a:lnTo>
                    <a:pt x="397633" y="201472"/>
                  </a:lnTo>
                  <a:lnTo>
                    <a:pt x="408422" y="185485"/>
                  </a:lnTo>
                  <a:lnTo>
                    <a:pt x="425303" y="174093"/>
                  </a:lnTo>
                  <a:lnTo>
                    <a:pt x="445949" y="169913"/>
                  </a:lnTo>
                  <a:lnTo>
                    <a:pt x="497373" y="169913"/>
                  </a:lnTo>
                  <a:lnTo>
                    <a:pt x="494552" y="166903"/>
                  </a:lnTo>
                  <a:lnTo>
                    <a:pt x="500752" y="159816"/>
                  </a:lnTo>
                  <a:lnTo>
                    <a:pt x="407011" y="159816"/>
                  </a:lnTo>
                  <a:lnTo>
                    <a:pt x="279894" y="96253"/>
                  </a:lnTo>
                  <a:close/>
                </a:path>
                <a:path w="637539" h="403860">
                  <a:moveTo>
                    <a:pt x="445949" y="148678"/>
                  </a:moveTo>
                  <a:lnTo>
                    <a:pt x="435432" y="149431"/>
                  </a:lnTo>
                  <a:lnTo>
                    <a:pt x="425375" y="151614"/>
                  </a:lnTo>
                  <a:lnTo>
                    <a:pt x="415870" y="155113"/>
                  </a:lnTo>
                  <a:lnTo>
                    <a:pt x="407011" y="159816"/>
                  </a:lnTo>
                  <a:lnTo>
                    <a:pt x="500752" y="159816"/>
                  </a:lnTo>
                  <a:lnTo>
                    <a:pt x="504696" y="155308"/>
                  </a:lnTo>
                  <a:lnTo>
                    <a:pt x="476480" y="155308"/>
                  </a:lnTo>
                  <a:lnTo>
                    <a:pt x="469307" y="152488"/>
                  </a:lnTo>
                  <a:lnTo>
                    <a:pt x="461800" y="150407"/>
                  </a:lnTo>
                  <a:lnTo>
                    <a:pt x="454000" y="149120"/>
                  </a:lnTo>
                  <a:lnTo>
                    <a:pt x="445949" y="148678"/>
                  </a:lnTo>
                  <a:close/>
                </a:path>
                <a:path w="637539" h="403860">
                  <a:moveTo>
                    <a:pt x="583998" y="0"/>
                  </a:moveTo>
                  <a:lnTo>
                    <a:pt x="563352" y="4180"/>
                  </a:lnTo>
                  <a:lnTo>
                    <a:pt x="546471" y="15571"/>
                  </a:lnTo>
                  <a:lnTo>
                    <a:pt x="535080" y="32452"/>
                  </a:lnTo>
                  <a:lnTo>
                    <a:pt x="530899" y="53098"/>
                  </a:lnTo>
                  <a:lnTo>
                    <a:pt x="531513" y="61168"/>
                  </a:lnTo>
                  <a:lnTo>
                    <a:pt x="533290" y="68859"/>
                  </a:lnTo>
                  <a:lnTo>
                    <a:pt x="536139" y="76083"/>
                  </a:lnTo>
                  <a:lnTo>
                    <a:pt x="539967" y="82753"/>
                  </a:lnTo>
                  <a:lnTo>
                    <a:pt x="476480" y="155308"/>
                  </a:lnTo>
                  <a:lnTo>
                    <a:pt x="504696" y="155308"/>
                  </a:lnTo>
                  <a:lnTo>
                    <a:pt x="555195" y="97586"/>
                  </a:lnTo>
                  <a:lnTo>
                    <a:pt x="611210" y="97586"/>
                  </a:lnTo>
                  <a:lnTo>
                    <a:pt x="621525" y="90625"/>
                  </a:lnTo>
                  <a:lnTo>
                    <a:pt x="625346" y="84962"/>
                  </a:lnTo>
                  <a:lnTo>
                    <a:pt x="583998" y="84962"/>
                  </a:lnTo>
                  <a:lnTo>
                    <a:pt x="571611" y="82454"/>
                  </a:lnTo>
                  <a:lnTo>
                    <a:pt x="561486" y="75617"/>
                  </a:lnTo>
                  <a:lnTo>
                    <a:pt x="554653" y="65487"/>
                  </a:lnTo>
                  <a:lnTo>
                    <a:pt x="552147" y="53098"/>
                  </a:lnTo>
                  <a:lnTo>
                    <a:pt x="554653" y="40712"/>
                  </a:lnTo>
                  <a:lnTo>
                    <a:pt x="561486" y="30586"/>
                  </a:lnTo>
                  <a:lnTo>
                    <a:pt x="571611" y="23753"/>
                  </a:lnTo>
                  <a:lnTo>
                    <a:pt x="583998" y="21247"/>
                  </a:lnTo>
                  <a:lnTo>
                    <a:pt x="625355" y="21247"/>
                  </a:lnTo>
                  <a:lnTo>
                    <a:pt x="621525" y="15571"/>
                  </a:lnTo>
                  <a:lnTo>
                    <a:pt x="604645" y="4180"/>
                  </a:lnTo>
                  <a:lnTo>
                    <a:pt x="583998" y="0"/>
                  </a:lnTo>
                  <a:close/>
                </a:path>
                <a:path w="637539" h="403860">
                  <a:moveTo>
                    <a:pt x="201703" y="0"/>
                  </a:moveTo>
                  <a:lnTo>
                    <a:pt x="181056" y="4180"/>
                  </a:lnTo>
                  <a:lnTo>
                    <a:pt x="164176" y="15571"/>
                  </a:lnTo>
                  <a:lnTo>
                    <a:pt x="152784" y="32452"/>
                  </a:lnTo>
                  <a:lnTo>
                    <a:pt x="148604" y="53098"/>
                  </a:lnTo>
                  <a:lnTo>
                    <a:pt x="152784" y="73745"/>
                  </a:lnTo>
                  <a:lnTo>
                    <a:pt x="164176" y="90625"/>
                  </a:lnTo>
                  <a:lnTo>
                    <a:pt x="181056" y="102017"/>
                  </a:lnTo>
                  <a:lnTo>
                    <a:pt x="201703" y="106197"/>
                  </a:lnTo>
                  <a:lnTo>
                    <a:pt x="210110" y="105516"/>
                  </a:lnTo>
                  <a:lnTo>
                    <a:pt x="218090" y="103554"/>
                  </a:lnTo>
                  <a:lnTo>
                    <a:pt x="225554" y="100427"/>
                  </a:lnTo>
                  <a:lnTo>
                    <a:pt x="232411" y="96253"/>
                  </a:lnTo>
                  <a:lnTo>
                    <a:pt x="279894" y="96253"/>
                  </a:lnTo>
                  <a:lnTo>
                    <a:pt x="257315" y="84962"/>
                  </a:lnTo>
                  <a:lnTo>
                    <a:pt x="201703" y="84962"/>
                  </a:lnTo>
                  <a:lnTo>
                    <a:pt x="189314" y="82454"/>
                  </a:lnTo>
                  <a:lnTo>
                    <a:pt x="179184" y="75617"/>
                  </a:lnTo>
                  <a:lnTo>
                    <a:pt x="172347" y="65487"/>
                  </a:lnTo>
                  <a:lnTo>
                    <a:pt x="169838" y="53098"/>
                  </a:lnTo>
                  <a:lnTo>
                    <a:pt x="172347" y="40712"/>
                  </a:lnTo>
                  <a:lnTo>
                    <a:pt x="179184" y="30586"/>
                  </a:lnTo>
                  <a:lnTo>
                    <a:pt x="189314" y="23753"/>
                  </a:lnTo>
                  <a:lnTo>
                    <a:pt x="201703" y="21247"/>
                  </a:lnTo>
                  <a:lnTo>
                    <a:pt x="243060" y="21247"/>
                  </a:lnTo>
                  <a:lnTo>
                    <a:pt x="239230" y="15571"/>
                  </a:lnTo>
                  <a:lnTo>
                    <a:pt x="222349" y="4180"/>
                  </a:lnTo>
                  <a:lnTo>
                    <a:pt x="201703" y="0"/>
                  </a:lnTo>
                  <a:close/>
                </a:path>
                <a:path w="637539" h="403860">
                  <a:moveTo>
                    <a:pt x="611210" y="97586"/>
                  </a:moveTo>
                  <a:lnTo>
                    <a:pt x="555195" y="97586"/>
                  </a:lnTo>
                  <a:lnTo>
                    <a:pt x="561710" y="101209"/>
                  </a:lnTo>
                  <a:lnTo>
                    <a:pt x="568730" y="103916"/>
                  </a:lnTo>
                  <a:lnTo>
                    <a:pt x="576183" y="105611"/>
                  </a:lnTo>
                  <a:lnTo>
                    <a:pt x="583998" y="106197"/>
                  </a:lnTo>
                  <a:lnTo>
                    <a:pt x="604645" y="102017"/>
                  </a:lnTo>
                  <a:lnTo>
                    <a:pt x="611210" y="97586"/>
                  </a:lnTo>
                  <a:close/>
                </a:path>
                <a:path w="637539" h="403860">
                  <a:moveTo>
                    <a:pt x="243060" y="21247"/>
                  </a:moveTo>
                  <a:lnTo>
                    <a:pt x="201703" y="21247"/>
                  </a:lnTo>
                  <a:lnTo>
                    <a:pt x="214089" y="23753"/>
                  </a:lnTo>
                  <a:lnTo>
                    <a:pt x="224215" y="30586"/>
                  </a:lnTo>
                  <a:lnTo>
                    <a:pt x="231047" y="40712"/>
                  </a:lnTo>
                  <a:lnTo>
                    <a:pt x="233554" y="53098"/>
                  </a:lnTo>
                  <a:lnTo>
                    <a:pt x="231047" y="65487"/>
                  </a:lnTo>
                  <a:lnTo>
                    <a:pt x="224215" y="75617"/>
                  </a:lnTo>
                  <a:lnTo>
                    <a:pt x="214089" y="82454"/>
                  </a:lnTo>
                  <a:lnTo>
                    <a:pt x="201703" y="84962"/>
                  </a:lnTo>
                  <a:lnTo>
                    <a:pt x="257315" y="84962"/>
                  </a:lnTo>
                  <a:lnTo>
                    <a:pt x="247258" y="79933"/>
                  </a:lnTo>
                  <a:lnTo>
                    <a:pt x="250423" y="73745"/>
                  </a:lnTo>
                  <a:lnTo>
                    <a:pt x="252782" y="67235"/>
                  </a:lnTo>
                  <a:lnTo>
                    <a:pt x="254280" y="60325"/>
                  </a:lnTo>
                  <a:lnTo>
                    <a:pt x="254801" y="53098"/>
                  </a:lnTo>
                  <a:lnTo>
                    <a:pt x="250621" y="32452"/>
                  </a:lnTo>
                  <a:lnTo>
                    <a:pt x="243060" y="21247"/>
                  </a:lnTo>
                  <a:close/>
                </a:path>
                <a:path w="637539" h="403860">
                  <a:moveTo>
                    <a:pt x="625355" y="21247"/>
                  </a:moveTo>
                  <a:lnTo>
                    <a:pt x="583998" y="21247"/>
                  </a:lnTo>
                  <a:lnTo>
                    <a:pt x="596387" y="23753"/>
                  </a:lnTo>
                  <a:lnTo>
                    <a:pt x="606517" y="30586"/>
                  </a:lnTo>
                  <a:lnTo>
                    <a:pt x="613354" y="40712"/>
                  </a:lnTo>
                  <a:lnTo>
                    <a:pt x="615862" y="53098"/>
                  </a:lnTo>
                  <a:lnTo>
                    <a:pt x="613354" y="65487"/>
                  </a:lnTo>
                  <a:lnTo>
                    <a:pt x="606517" y="75617"/>
                  </a:lnTo>
                  <a:lnTo>
                    <a:pt x="596387" y="82454"/>
                  </a:lnTo>
                  <a:lnTo>
                    <a:pt x="583998" y="84962"/>
                  </a:lnTo>
                  <a:lnTo>
                    <a:pt x="625346" y="84962"/>
                  </a:lnTo>
                  <a:lnTo>
                    <a:pt x="632917" y="73745"/>
                  </a:lnTo>
                  <a:lnTo>
                    <a:pt x="637097" y="53098"/>
                  </a:lnTo>
                  <a:lnTo>
                    <a:pt x="632917" y="32452"/>
                  </a:lnTo>
                  <a:lnTo>
                    <a:pt x="625355" y="21247"/>
                  </a:lnTo>
                  <a:close/>
                </a:path>
              </a:pathLst>
            </a:custGeom>
            <a:solidFill>
              <a:srgbClr val="A0DCFF"/>
            </a:solidFill>
            <a:ln>
              <a:solidFill>
                <a:srgbClr val="A0DCFF"/>
              </a:solidFill>
            </a:ln>
          </p:spPr>
          <p:txBody>
            <a:bodyPr wrap="square" lIns="0" tIns="0" rIns="0" bIns="0" rtlCol="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Open Sans"/>
              </a:endParaRPr>
            </a:p>
          </p:txBody>
        </p:sp>
      </p:grpSp>
      <p:sp>
        <p:nvSpPr>
          <p:cNvPr id="82" name="Rectangle 81">
            <a:extLst>
              <a:ext uri="{FF2B5EF4-FFF2-40B4-BE49-F238E27FC236}">
                <a16:creationId xmlns:a16="http://schemas.microsoft.com/office/drawing/2014/main" id="{7FEF1227-798A-65E8-E0A2-A4AF4CB439AB}"/>
              </a:ext>
            </a:extLst>
          </p:cNvPr>
          <p:cNvSpPr/>
          <p:nvPr/>
        </p:nvSpPr>
        <p:spPr bwMode="gray">
          <a:xfrm>
            <a:off x="644535" y="4578096"/>
            <a:ext cx="10707624" cy="265176"/>
          </a:xfrm>
          <a:prstGeom prst="rect">
            <a:avLst/>
          </a:prstGeom>
          <a:solidFill>
            <a:srgbClr val="53565A">
              <a:lumMod val="20000"/>
              <a:lumOff val="80000"/>
            </a:srgbClr>
          </a:solidFill>
          <a:ln w="19050" algn="ctr">
            <a:solidFill>
              <a:srgbClr val="53565A">
                <a:lumMod val="20000"/>
                <a:lumOff val="80000"/>
              </a:srgbClr>
            </a:solidFill>
            <a:miter lim="800000"/>
            <a:headEnd/>
            <a:tailEnd/>
          </a:ln>
        </p:spPr>
        <p:txBody>
          <a:bodyPr wrap="square" lIns="365760" tIns="88900" rIns="88900" bIns="88900" rtlCol="0" anchor="ctr"/>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0" cap="none" spc="100" normalizeH="0" baseline="0" noProof="0">
                <a:ln>
                  <a:noFill/>
                </a:ln>
                <a:solidFill>
                  <a:prstClr val="black"/>
                </a:solidFill>
                <a:effectLst/>
                <a:uLnTx/>
                <a:uFillTx/>
                <a:ea typeface="Open Sans" panose="020B0606030504020204" pitchFamily="34" charset="0"/>
                <a:cs typeface="Open Sans" panose="020B0606030504020204" pitchFamily="34" charset="0"/>
              </a:rPr>
              <a:t>Results Management</a:t>
            </a:r>
          </a:p>
        </p:txBody>
      </p:sp>
      <p:sp>
        <p:nvSpPr>
          <p:cNvPr id="83" name="Rectangle 82">
            <a:extLst>
              <a:ext uri="{FF2B5EF4-FFF2-40B4-BE49-F238E27FC236}">
                <a16:creationId xmlns:a16="http://schemas.microsoft.com/office/drawing/2014/main" id="{231486AA-340F-42AC-99D9-FC6E4AFD917F}"/>
              </a:ext>
            </a:extLst>
          </p:cNvPr>
          <p:cNvSpPr/>
          <p:nvPr/>
        </p:nvSpPr>
        <p:spPr bwMode="gray">
          <a:xfrm>
            <a:off x="644535" y="4939330"/>
            <a:ext cx="10707624" cy="265176"/>
          </a:xfrm>
          <a:prstGeom prst="rect">
            <a:avLst/>
          </a:prstGeom>
          <a:solidFill>
            <a:srgbClr val="53565A">
              <a:lumMod val="20000"/>
              <a:lumOff val="80000"/>
            </a:srgbClr>
          </a:solidFill>
          <a:ln w="19050" algn="ctr">
            <a:solidFill>
              <a:srgbClr val="53565A">
                <a:lumMod val="20000"/>
                <a:lumOff val="80000"/>
              </a:srgbClr>
            </a:solidFill>
            <a:miter lim="800000"/>
            <a:headEnd/>
            <a:tailEnd/>
          </a:ln>
        </p:spPr>
        <p:txBody>
          <a:bodyPr wrap="square" lIns="365760" tIns="88900" rIns="88900" bIns="88900" rtlCol="0" anchor="ctr"/>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0" cap="none" spc="100" normalizeH="0" baseline="0" noProof="0">
                <a:ln>
                  <a:noFill/>
                </a:ln>
                <a:solidFill>
                  <a:prstClr val="black"/>
                </a:solidFill>
                <a:effectLst/>
                <a:uLnTx/>
                <a:uFillTx/>
                <a:ea typeface="Open Sans" panose="020B0606030504020204" pitchFamily="34" charset="0"/>
                <a:cs typeface="Open Sans" panose="020B0606030504020204" pitchFamily="34" charset="0"/>
              </a:rPr>
              <a:t>Quality &amp; Customer Satisfaction</a:t>
            </a:r>
          </a:p>
        </p:txBody>
      </p:sp>
      <p:sp>
        <p:nvSpPr>
          <p:cNvPr id="84" name="Rectangle 83">
            <a:extLst>
              <a:ext uri="{FF2B5EF4-FFF2-40B4-BE49-F238E27FC236}">
                <a16:creationId xmlns:a16="http://schemas.microsoft.com/office/drawing/2014/main" id="{8FB369C6-4D12-AF11-20ED-33C1A83FD427}"/>
              </a:ext>
            </a:extLst>
          </p:cNvPr>
          <p:cNvSpPr/>
          <p:nvPr/>
        </p:nvSpPr>
        <p:spPr bwMode="gray">
          <a:xfrm>
            <a:off x="644535" y="5318058"/>
            <a:ext cx="10707624" cy="265176"/>
          </a:xfrm>
          <a:prstGeom prst="rect">
            <a:avLst/>
          </a:prstGeom>
          <a:solidFill>
            <a:srgbClr val="53565A">
              <a:lumMod val="20000"/>
              <a:lumOff val="80000"/>
            </a:srgbClr>
          </a:solidFill>
          <a:ln w="19050" algn="ctr">
            <a:solidFill>
              <a:srgbClr val="53565A">
                <a:lumMod val="20000"/>
                <a:lumOff val="80000"/>
              </a:srgbClr>
            </a:solidFill>
            <a:miter lim="800000"/>
            <a:headEnd/>
            <a:tailEnd/>
          </a:ln>
        </p:spPr>
        <p:txBody>
          <a:bodyPr wrap="square" lIns="365760" tIns="88900" rIns="88900" bIns="88900" rtlCol="0" anchor="ctr"/>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0" cap="none" spc="100" normalizeH="0" baseline="0" noProof="0">
                <a:ln>
                  <a:noFill/>
                </a:ln>
                <a:solidFill>
                  <a:prstClr val="black"/>
                </a:solidFill>
                <a:effectLst/>
                <a:uLnTx/>
                <a:uFillTx/>
                <a:ea typeface="Open Sans" panose="020B0606030504020204" pitchFamily="34" charset="0"/>
                <a:cs typeface="Open Sans" panose="020B0606030504020204" pitchFamily="34" charset="0"/>
              </a:rPr>
              <a:t>Risk Management, Assurance &amp; Compliance</a:t>
            </a:r>
          </a:p>
        </p:txBody>
      </p:sp>
      <p:sp>
        <p:nvSpPr>
          <p:cNvPr id="85" name="Rectangle 84">
            <a:extLst>
              <a:ext uri="{FF2B5EF4-FFF2-40B4-BE49-F238E27FC236}">
                <a16:creationId xmlns:a16="http://schemas.microsoft.com/office/drawing/2014/main" id="{F82A2C97-C102-1782-4791-8E1C4DD32B86}"/>
              </a:ext>
            </a:extLst>
          </p:cNvPr>
          <p:cNvSpPr/>
          <p:nvPr/>
        </p:nvSpPr>
        <p:spPr bwMode="gray">
          <a:xfrm>
            <a:off x="644535" y="4213864"/>
            <a:ext cx="10707624" cy="265176"/>
          </a:xfrm>
          <a:prstGeom prst="rect">
            <a:avLst/>
          </a:prstGeom>
          <a:solidFill>
            <a:srgbClr val="53565A">
              <a:lumMod val="20000"/>
              <a:lumOff val="80000"/>
            </a:srgbClr>
          </a:solidFill>
          <a:ln w="19050" algn="ctr">
            <a:solidFill>
              <a:srgbClr val="53565A">
                <a:lumMod val="20000"/>
                <a:lumOff val="80000"/>
              </a:srgbClr>
            </a:solidFill>
            <a:miter lim="800000"/>
            <a:headEnd/>
            <a:tailEnd/>
          </a:ln>
        </p:spPr>
        <p:txBody>
          <a:bodyPr wrap="square" lIns="365760" tIns="88900" rIns="88900" bIns="88900" rtlCol="0" anchor="ctr"/>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0" cap="none" spc="100" normalizeH="0" baseline="0" noProof="0">
                <a:ln>
                  <a:noFill/>
                </a:ln>
                <a:solidFill>
                  <a:prstClr val="black"/>
                </a:solidFill>
                <a:effectLst/>
                <a:uLnTx/>
                <a:uFillTx/>
                <a:ea typeface="Open Sans" panose="020B0606030504020204" pitchFamily="34" charset="0"/>
                <a:cs typeface="Open Sans" panose="020B0606030504020204" pitchFamily="34" charset="0"/>
              </a:rPr>
              <a:t>Governance &amp; Delivery Model</a:t>
            </a:r>
          </a:p>
        </p:txBody>
      </p:sp>
      <p:sp>
        <p:nvSpPr>
          <p:cNvPr id="86" name="Rectangle 85">
            <a:extLst>
              <a:ext uri="{FF2B5EF4-FFF2-40B4-BE49-F238E27FC236}">
                <a16:creationId xmlns:a16="http://schemas.microsoft.com/office/drawing/2014/main" id="{19C0EEBC-AB48-5034-1182-10802EC30F68}"/>
              </a:ext>
            </a:extLst>
          </p:cNvPr>
          <p:cNvSpPr/>
          <p:nvPr/>
        </p:nvSpPr>
        <p:spPr bwMode="gray">
          <a:xfrm>
            <a:off x="644535" y="5708297"/>
            <a:ext cx="10707624" cy="265176"/>
          </a:xfrm>
          <a:prstGeom prst="rect">
            <a:avLst/>
          </a:prstGeom>
          <a:solidFill>
            <a:srgbClr val="53565A">
              <a:lumMod val="20000"/>
              <a:lumOff val="80000"/>
            </a:srgbClr>
          </a:solidFill>
          <a:ln w="19050" algn="ctr">
            <a:solidFill>
              <a:srgbClr val="53565A">
                <a:lumMod val="20000"/>
                <a:lumOff val="80000"/>
              </a:srgbClr>
            </a:solidFill>
            <a:miter lim="800000"/>
            <a:headEnd/>
            <a:tailEnd/>
          </a:ln>
        </p:spPr>
        <p:txBody>
          <a:bodyPr wrap="square" lIns="365760" tIns="88900" rIns="88900" bIns="88900" rtlCol="0" anchor="ctr"/>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0" cap="none" spc="100" normalizeH="0" baseline="0" noProof="0">
                <a:ln>
                  <a:noFill/>
                </a:ln>
                <a:solidFill>
                  <a:prstClr val="black"/>
                </a:solidFill>
                <a:effectLst/>
                <a:uLnTx/>
                <a:uFillTx/>
                <a:ea typeface="Open Sans" panose="020B0606030504020204" pitchFamily="34" charset="0"/>
                <a:cs typeface="Open Sans" panose="020B0606030504020204" pitchFamily="34" charset="0"/>
              </a:rPr>
              <a:t>Talent, Culture, Learning &amp; Knowledge Management</a:t>
            </a:r>
          </a:p>
        </p:txBody>
      </p:sp>
      <p:sp>
        <p:nvSpPr>
          <p:cNvPr id="87" name="Rectangle 86">
            <a:extLst>
              <a:ext uri="{FF2B5EF4-FFF2-40B4-BE49-F238E27FC236}">
                <a16:creationId xmlns:a16="http://schemas.microsoft.com/office/drawing/2014/main" id="{117575CD-8956-F3DB-28FD-A9AAB5AA1D55}"/>
              </a:ext>
            </a:extLst>
          </p:cNvPr>
          <p:cNvSpPr/>
          <p:nvPr/>
        </p:nvSpPr>
        <p:spPr bwMode="gray">
          <a:xfrm>
            <a:off x="644535" y="6077547"/>
            <a:ext cx="10707624" cy="265176"/>
          </a:xfrm>
          <a:prstGeom prst="rect">
            <a:avLst/>
          </a:prstGeom>
          <a:solidFill>
            <a:srgbClr val="53565A">
              <a:lumMod val="20000"/>
              <a:lumOff val="80000"/>
            </a:srgbClr>
          </a:solidFill>
          <a:ln w="19050" algn="ctr">
            <a:solidFill>
              <a:srgbClr val="53565A">
                <a:lumMod val="20000"/>
                <a:lumOff val="80000"/>
              </a:srgbClr>
            </a:solidFill>
            <a:miter lim="800000"/>
            <a:headEnd/>
            <a:tailEnd/>
          </a:ln>
        </p:spPr>
        <p:txBody>
          <a:bodyPr wrap="square" lIns="365760" tIns="88900" rIns="88900" bIns="88900" rtlCol="0" anchor="ctr"/>
          <a:lstStyle/>
          <a:p>
            <a:pPr marL="0" marR="0" lvl="0" indent="0" defTabSz="914400" eaLnBrk="1" fontAlgn="auto" latinLnBrk="0" hangingPunct="1">
              <a:lnSpc>
                <a:spcPct val="106000"/>
              </a:lnSpc>
              <a:spcBef>
                <a:spcPts val="0"/>
              </a:spcBef>
              <a:spcAft>
                <a:spcPts val="0"/>
              </a:spcAft>
              <a:buClrTx/>
              <a:buSzTx/>
              <a:buFontTx/>
              <a:buNone/>
              <a:tabLst/>
              <a:defRPr/>
            </a:pPr>
            <a:r>
              <a:rPr kumimoji="0" lang="en-US" sz="1100" b="1" i="0" u="none" strike="noStrike" kern="0" cap="none" spc="100" normalizeH="0" baseline="0" noProof="0">
                <a:ln>
                  <a:noFill/>
                </a:ln>
                <a:solidFill>
                  <a:prstClr val="black"/>
                </a:solidFill>
                <a:effectLst/>
                <a:uLnTx/>
                <a:uFillTx/>
                <a:ea typeface="Open Sans"/>
                <a:cs typeface="Open Sans"/>
              </a:rPr>
              <a:t>Service Automation, DevOps &amp; Agile</a:t>
            </a:r>
            <a:endParaRPr kumimoji="0" lang="en-US" sz="1800" b="0" i="0" u="none" strike="noStrike" kern="0" cap="none" spc="0" normalizeH="0" baseline="0" noProof="0">
              <a:ln>
                <a:noFill/>
              </a:ln>
              <a:solidFill>
                <a:prstClr val="black"/>
              </a:solidFill>
              <a:effectLst/>
              <a:uLnTx/>
              <a:uFillTx/>
            </a:endParaRPr>
          </a:p>
        </p:txBody>
      </p:sp>
      <p:sp>
        <p:nvSpPr>
          <p:cNvPr id="88" name="Freeform 854">
            <a:extLst>
              <a:ext uri="{FF2B5EF4-FFF2-40B4-BE49-F238E27FC236}">
                <a16:creationId xmlns:a16="http://schemas.microsoft.com/office/drawing/2014/main" id="{72FF9F7B-4DF7-FD79-9185-7D1F55B39E7A}"/>
              </a:ext>
            </a:extLst>
          </p:cNvPr>
          <p:cNvSpPr>
            <a:spLocks noEditPoints="1"/>
          </p:cNvSpPr>
          <p:nvPr/>
        </p:nvSpPr>
        <p:spPr bwMode="auto">
          <a:xfrm>
            <a:off x="676528" y="5343521"/>
            <a:ext cx="223161" cy="208493"/>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89" name="Freeform 778">
            <a:extLst>
              <a:ext uri="{FF2B5EF4-FFF2-40B4-BE49-F238E27FC236}">
                <a16:creationId xmlns:a16="http://schemas.microsoft.com/office/drawing/2014/main" id="{35ED48D6-F0E1-72F2-4D4A-BFE15B611698}"/>
              </a:ext>
            </a:extLst>
          </p:cNvPr>
          <p:cNvSpPr>
            <a:spLocks noEditPoints="1"/>
          </p:cNvSpPr>
          <p:nvPr/>
        </p:nvSpPr>
        <p:spPr bwMode="auto">
          <a:xfrm>
            <a:off x="685101" y="4620482"/>
            <a:ext cx="223161" cy="19382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90" name="Freeform 579">
            <a:extLst>
              <a:ext uri="{FF2B5EF4-FFF2-40B4-BE49-F238E27FC236}">
                <a16:creationId xmlns:a16="http://schemas.microsoft.com/office/drawing/2014/main" id="{5A386C90-0ADE-B54A-30DC-34AB1C43AA10}"/>
              </a:ext>
            </a:extLst>
          </p:cNvPr>
          <p:cNvSpPr>
            <a:spLocks noEditPoints="1"/>
          </p:cNvSpPr>
          <p:nvPr/>
        </p:nvSpPr>
        <p:spPr bwMode="auto">
          <a:xfrm>
            <a:off x="691432" y="4975040"/>
            <a:ext cx="210501" cy="1927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91" name="Freeform 933">
            <a:extLst>
              <a:ext uri="{FF2B5EF4-FFF2-40B4-BE49-F238E27FC236}">
                <a16:creationId xmlns:a16="http://schemas.microsoft.com/office/drawing/2014/main" id="{5481444E-1FB3-256F-D3B4-0CC024426C1E}"/>
              </a:ext>
            </a:extLst>
          </p:cNvPr>
          <p:cNvSpPr>
            <a:spLocks noEditPoints="1"/>
          </p:cNvSpPr>
          <p:nvPr/>
        </p:nvSpPr>
        <p:spPr bwMode="auto">
          <a:xfrm>
            <a:off x="676528" y="5763771"/>
            <a:ext cx="220921" cy="15422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92" name="Freeform 426">
            <a:extLst>
              <a:ext uri="{FF2B5EF4-FFF2-40B4-BE49-F238E27FC236}">
                <a16:creationId xmlns:a16="http://schemas.microsoft.com/office/drawing/2014/main" id="{F6E6A9A9-2114-7A5B-62F5-6578151BF81E}"/>
              </a:ext>
            </a:extLst>
          </p:cNvPr>
          <p:cNvSpPr>
            <a:spLocks/>
          </p:cNvSpPr>
          <p:nvPr/>
        </p:nvSpPr>
        <p:spPr bwMode="auto">
          <a:xfrm>
            <a:off x="681817" y="6153601"/>
            <a:ext cx="220921" cy="118798"/>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93" name="Freeform 936">
            <a:extLst>
              <a:ext uri="{FF2B5EF4-FFF2-40B4-BE49-F238E27FC236}">
                <a16:creationId xmlns:a16="http://schemas.microsoft.com/office/drawing/2014/main" id="{EA5452CE-AB28-5E78-7D85-004035A8811D}"/>
              </a:ext>
            </a:extLst>
          </p:cNvPr>
          <p:cNvSpPr>
            <a:spLocks noEditPoints="1"/>
          </p:cNvSpPr>
          <p:nvPr/>
        </p:nvSpPr>
        <p:spPr bwMode="auto">
          <a:xfrm>
            <a:off x="668782" y="4219154"/>
            <a:ext cx="255797" cy="254596"/>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95" name="TextBox 94">
            <a:extLst>
              <a:ext uri="{FF2B5EF4-FFF2-40B4-BE49-F238E27FC236}">
                <a16:creationId xmlns:a16="http://schemas.microsoft.com/office/drawing/2014/main" id="{C87A45B8-06FD-8E4F-EEB7-4716E657E7DE}"/>
              </a:ext>
            </a:extLst>
          </p:cNvPr>
          <p:cNvSpPr txBox="1"/>
          <p:nvPr/>
        </p:nvSpPr>
        <p:spPr bwMode="gray">
          <a:xfrm>
            <a:off x="6020146" y="4574171"/>
            <a:ext cx="5393055" cy="266031"/>
          </a:xfrm>
          <a:prstGeom prst="rect">
            <a:avLst/>
          </a:prstGeom>
        </p:spPr>
        <p:txBody>
          <a:bodyPr wrap="square" lIns="45720" rIns="45720" rtlCol="0" anchor="t" anchorCtr="0">
            <a:normAutofit/>
          </a:bodyPr>
          <a:lstStyle/>
          <a:p>
            <a:pPr algn="r">
              <a:defRPr/>
            </a:pPr>
            <a:r>
              <a:rPr lang="en-US" sz="1000">
                <a:solidFill>
                  <a:prstClr val="black"/>
                </a:solidFill>
                <a:ea typeface="Open Sans" panose="020B0606030504020204" pitchFamily="34" charset="0"/>
                <a:cs typeface="Open Sans" panose="020B0606030504020204" pitchFamily="34" charset="0"/>
              </a:rPr>
              <a:t>Track service performance and deliver improved business and operational KPI’s</a:t>
            </a:r>
          </a:p>
        </p:txBody>
      </p:sp>
      <p:sp>
        <p:nvSpPr>
          <p:cNvPr id="114" name="TextBox 113">
            <a:extLst>
              <a:ext uri="{FF2B5EF4-FFF2-40B4-BE49-F238E27FC236}">
                <a16:creationId xmlns:a16="http://schemas.microsoft.com/office/drawing/2014/main" id="{DF4F11EB-DAD8-9740-9927-1CB3C852D3CF}"/>
              </a:ext>
            </a:extLst>
          </p:cNvPr>
          <p:cNvSpPr txBox="1"/>
          <p:nvPr/>
        </p:nvSpPr>
        <p:spPr bwMode="gray">
          <a:xfrm>
            <a:off x="6020146" y="4936030"/>
            <a:ext cx="5393055" cy="266031"/>
          </a:xfrm>
          <a:prstGeom prst="rect">
            <a:avLst/>
          </a:prstGeom>
        </p:spPr>
        <p:txBody>
          <a:bodyPr wrap="square" lIns="45720" rIns="45720" rtlCol="0" anchor="t" anchorCtr="0">
            <a:normAutofit/>
          </a:bodyPr>
          <a:lstStyle/>
          <a:p>
            <a:pPr algn="r">
              <a:defRPr/>
            </a:pPr>
            <a:r>
              <a:rPr lang="en-US" sz="1000">
                <a:solidFill>
                  <a:prstClr val="black"/>
                </a:solidFill>
                <a:ea typeface="Open Sans" panose="020B0606030504020204" pitchFamily="34" charset="0"/>
                <a:cs typeface="Open Sans" panose="020B0606030504020204" pitchFamily="34" charset="0"/>
              </a:rPr>
              <a:t>Drive improved service quality and customer satisfaction </a:t>
            </a:r>
          </a:p>
        </p:txBody>
      </p:sp>
      <p:sp>
        <p:nvSpPr>
          <p:cNvPr id="118" name="TextBox 117">
            <a:extLst>
              <a:ext uri="{FF2B5EF4-FFF2-40B4-BE49-F238E27FC236}">
                <a16:creationId xmlns:a16="http://schemas.microsoft.com/office/drawing/2014/main" id="{63EE41BC-0338-C30B-6F85-5A71EA6E99AB}"/>
              </a:ext>
            </a:extLst>
          </p:cNvPr>
          <p:cNvSpPr txBox="1"/>
          <p:nvPr/>
        </p:nvSpPr>
        <p:spPr bwMode="gray">
          <a:xfrm>
            <a:off x="6162213" y="5325018"/>
            <a:ext cx="5250988" cy="253116"/>
          </a:xfrm>
          <a:prstGeom prst="rect">
            <a:avLst/>
          </a:prstGeom>
        </p:spPr>
        <p:txBody>
          <a:bodyPr wrap="square" lIns="45720" rIns="45720" rtlCol="0" anchor="t" anchorCtr="0">
            <a:normAutofit/>
          </a:bodyPr>
          <a:lstStyle/>
          <a:p>
            <a:pPr algn="r">
              <a:defRPr/>
            </a:pPr>
            <a:r>
              <a:rPr lang="en-US" sz="1000">
                <a:solidFill>
                  <a:prstClr val="black"/>
                </a:solidFill>
                <a:ea typeface="Open Sans" panose="020B0606030504020204" pitchFamily="34" charset="0"/>
                <a:cs typeface="Open Sans" panose="020B0606030504020204" pitchFamily="34" charset="0"/>
              </a:rPr>
              <a:t>Implement effective risk management and drive adherence to standards</a:t>
            </a:r>
          </a:p>
        </p:txBody>
      </p:sp>
      <p:sp>
        <p:nvSpPr>
          <p:cNvPr id="119" name="TextBox 118">
            <a:extLst>
              <a:ext uri="{FF2B5EF4-FFF2-40B4-BE49-F238E27FC236}">
                <a16:creationId xmlns:a16="http://schemas.microsoft.com/office/drawing/2014/main" id="{80BAAA69-5212-E10B-3A74-AC1F53A7564A}"/>
              </a:ext>
            </a:extLst>
          </p:cNvPr>
          <p:cNvSpPr txBox="1"/>
          <p:nvPr/>
        </p:nvSpPr>
        <p:spPr bwMode="gray">
          <a:xfrm>
            <a:off x="6021793" y="4213436"/>
            <a:ext cx="5393055" cy="266031"/>
          </a:xfrm>
          <a:prstGeom prst="rect">
            <a:avLst/>
          </a:prstGeom>
        </p:spPr>
        <p:txBody>
          <a:bodyPr wrap="square" lIns="45720" rIns="45720" rtlCol="0" anchor="t" anchorCtr="0">
            <a:normAutofit/>
          </a:bodyPr>
          <a:lstStyle/>
          <a:p>
            <a:pPr algn="r">
              <a:defRPr/>
            </a:pPr>
            <a:r>
              <a:rPr lang="en-US" sz="1000" dirty="0">
                <a:solidFill>
                  <a:prstClr val="black"/>
                </a:solidFill>
                <a:ea typeface="Open Sans" panose="020B0606030504020204" pitchFamily="34" charset="0"/>
                <a:cs typeface="Open Sans" panose="020B0606030504020204" pitchFamily="34" charset="0"/>
              </a:rPr>
              <a:t>Establish and evolve governance model to enable effective delivery of services</a:t>
            </a:r>
          </a:p>
        </p:txBody>
      </p:sp>
      <p:sp>
        <p:nvSpPr>
          <p:cNvPr id="120" name="TextBox 119">
            <a:extLst>
              <a:ext uri="{FF2B5EF4-FFF2-40B4-BE49-F238E27FC236}">
                <a16:creationId xmlns:a16="http://schemas.microsoft.com/office/drawing/2014/main" id="{E10AC40E-C2BB-8F44-18DC-A0A2C8EEC426}"/>
              </a:ext>
            </a:extLst>
          </p:cNvPr>
          <p:cNvSpPr txBox="1"/>
          <p:nvPr/>
        </p:nvSpPr>
        <p:spPr bwMode="gray">
          <a:xfrm>
            <a:off x="6020146" y="5707869"/>
            <a:ext cx="5393055" cy="266031"/>
          </a:xfrm>
          <a:prstGeom prst="rect">
            <a:avLst/>
          </a:prstGeom>
        </p:spPr>
        <p:txBody>
          <a:bodyPr wrap="square" lIns="45720" rIns="45720" rtlCol="0" anchor="t" anchorCtr="0">
            <a:normAutofit/>
          </a:bodyPr>
          <a:lstStyle/>
          <a:p>
            <a:pPr algn="r">
              <a:defRPr/>
            </a:pPr>
            <a:r>
              <a:rPr lang="en-US" sz="1000">
                <a:solidFill>
                  <a:prstClr val="black"/>
                </a:solidFill>
                <a:ea typeface="Open Sans" panose="020B0606030504020204" pitchFamily="34" charset="0"/>
                <a:cs typeface="Open Sans" panose="020B0606030504020204" pitchFamily="34" charset="0"/>
              </a:rPr>
              <a:t>Drive continuous learning culture that empowers teams to make impact </a:t>
            </a:r>
          </a:p>
        </p:txBody>
      </p:sp>
      <p:sp>
        <p:nvSpPr>
          <p:cNvPr id="121" name="TextBox 120">
            <a:extLst>
              <a:ext uri="{FF2B5EF4-FFF2-40B4-BE49-F238E27FC236}">
                <a16:creationId xmlns:a16="http://schemas.microsoft.com/office/drawing/2014/main" id="{7838A572-3728-149E-E684-49DBCDA36ED1}"/>
              </a:ext>
            </a:extLst>
          </p:cNvPr>
          <p:cNvSpPr txBox="1"/>
          <p:nvPr/>
        </p:nvSpPr>
        <p:spPr bwMode="gray">
          <a:xfrm>
            <a:off x="6020146" y="6077547"/>
            <a:ext cx="5393055" cy="266031"/>
          </a:xfrm>
          <a:prstGeom prst="rect">
            <a:avLst/>
          </a:prstGeom>
        </p:spPr>
        <p:txBody>
          <a:bodyPr wrap="square" lIns="45720" rIns="45720" rtlCol="0" anchor="t" anchorCtr="0">
            <a:normAutofit/>
          </a:bodyPr>
          <a:lstStyle/>
          <a:p>
            <a:pPr algn="r">
              <a:defRPr/>
            </a:pPr>
            <a:r>
              <a:rPr lang="en-US" sz="1000">
                <a:solidFill>
                  <a:prstClr val="black"/>
                </a:solidFill>
                <a:ea typeface="Open Sans" panose="020B0606030504020204" pitchFamily="34" charset="0"/>
                <a:cs typeface="Open Sans" panose="020B0606030504020204" pitchFamily="34" charset="0"/>
              </a:rPr>
              <a:t>Deliver service efficiencies through automations, robotics, and AI solutions </a:t>
            </a:r>
          </a:p>
        </p:txBody>
      </p:sp>
    </p:spTree>
    <p:extLst>
      <p:ext uri="{BB962C8B-B14F-4D97-AF65-F5344CB8AC3E}">
        <p14:creationId xmlns:p14="http://schemas.microsoft.com/office/powerpoint/2010/main" val="2100610729"/>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B506F3-44CC-14E0-D67C-9B65A11D4560}"/>
              </a:ext>
            </a:extLst>
          </p:cNvPr>
          <p:cNvGraphicFramePr>
            <a:graphicFrameLocks noChangeAspect="1"/>
          </p:cNvGraphicFramePr>
          <p:nvPr>
            <p:custDataLst>
              <p:tags r:id="rId1"/>
            </p:custDataLst>
            <p:extLst>
              <p:ext uri="{D42A27DB-BD31-4B8C-83A1-F6EECF244321}">
                <p14:modId xmlns:p14="http://schemas.microsoft.com/office/powerpoint/2010/main" val="391075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6BB506F3-44CC-14E0-D67C-9B65A11D45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69900" y="797082"/>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practice deploys a proven, process-centric approach based upon industry best practices, including CMMI and ITIL-based service processes. With this approach we are able to cover all Maintenance and Support requirements as well as the needs for Enhancement implementation.</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vert="horz"/>
          <a:lstStyle/>
          <a:p>
            <a:r>
              <a:rPr lang="en-US" dirty="0"/>
              <a:t>Our Approach to Support &amp; Maintenance</a:t>
            </a:r>
          </a:p>
        </p:txBody>
      </p:sp>
      <p:sp>
        <p:nvSpPr>
          <p:cNvPr id="78" name="Rounded Rectangle 191">
            <a:extLst>
              <a:ext uri="{FF2B5EF4-FFF2-40B4-BE49-F238E27FC236}">
                <a16:creationId xmlns:a16="http://schemas.microsoft.com/office/drawing/2014/main" id="{F505E467-0043-87BB-900D-0568D03CF5E8}"/>
              </a:ext>
            </a:extLst>
          </p:cNvPr>
          <p:cNvSpPr/>
          <p:nvPr/>
        </p:nvSpPr>
        <p:spPr bwMode="gray">
          <a:xfrm>
            <a:off x="5006266" y="5098619"/>
            <a:ext cx="6233234" cy="872345"/>
          </a:xfrm>
          <a:prstGeom prst="roundRect">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TextBox 78">
            <a:extLst>
              <a:ext uri="{FF2B5EF4-FFF2-40B4-BE49-F238E27FC236}">
                <a16:creationId xmlns:a16="http://schemas.microsoft.com/office/drawing/2014/main" id="{9CE0B569-5D74-406E-DD9C-0E889C2C1835}"/>
              </a:ext>
            </a:extLst>
          </p:cNvPr>
          <p:cNvSpPr txBox="1"/>
          <p:nvPr/>
        </p:nvSpPr>
        <p:spPr>
          <a:xfrm>
            <a:off x="9261386" y="4525691"/>
            <a:ext cx="696913" cy="240814"/>
          </a:xfrm>
          <a:prstGeom prst="rect">
            <a:avLst/>
          </a:prstGeom>
          <a:solidFill>
            <a:sysClr val="window" lastClr="FFFFFF"/>
          </a:solidFill>
        </p:spPr>
        <p:txBody>
          <a:bodyPr wrap="square" lIns="101858" tIns="50929" rIns="101858" bIns="50929"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eleases</a:t>
            </a:r>
          </a:p>
        </p:txBody>
      </p:sp>
      <p:sp>
        <p:nvSpPr>
          <p:cNvPr id="80" name="TextBox 79">
            <a:extLst>
              <a:ext uri="{FF2B5EF4-FFF2-40B4-BE49-F238E27FC236}">
                <a16:creationId xmlns:a16="http://schemas.microsoft.com/office/drawing/2014/main" id="{A8BFF198-D5D4-63DB-A51E-6E69245B1A5B}"/>
              </a:ext>
            </a:extLst>
          </p:cNvPr>
          <p:cNvSpPr txBox="1"/>
          <p:nvPr/>
        </p:nvSpPr>
        <p:spPr>
          <a:xfrm>
            <a:off x="8396430" y="4377759"/>
            <a:ext cx="957333" cy="655387"/>
          </a:xfrm>
          <a:prstGeom prst="rect">
            <a:avLst/>
          </a:prstGeom>
          <a:solidFill>
            <a:sysClr val="window" lastClr="FFFFFF"/>
          </a:solidFill>
        </p:spPr>
        <p:txBody>
          <a:bodyPr wrap="square" lIns="101858" tIns="50929" rIns="101858" bIns="50929"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onfiguration Items (CI), Relationships</a:t>
            </a:r>
            <a:b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b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info</a:t>
            </a:r>
          </a:p>
        </p:txBody>
      </p:sp>
      <p:cxnSp>
        <p:nvCxnSpPr>
          <p:cNvPr id="81" name="Straight Arrow Connector 80">
            <a:extLst>
              <a:ext uri="{FF2B5EF4-FFF2-40B4-BE49-F238E27FC236}">
                <a16:creationId xmlns:a16="http://schemas.microsoft.com/office/drawing/2014/main" id="{F7492D4E-06F9-4DF4-3203-C1D66B44CD6E}"/>
              </a:ext>
            </a:extLst>
          </p:cNvPr>
          <p:cNvCxnSpPr>
            <a:cxnSpLocks/>
          </p:cNvCxnSpPr>
          <p:nvPr/>
        </p:nvCxnSpPr>
        <p:spPr>
          <a:xfrm flipH="1">
            <a:off x="5734743" y="3142570"/>
            <a:ext cx="1" cy="1890576"/>
          </a:xfrm>
          <a:prstGeom prst="straightConnector1">
            <a:avLst/>
          </a:prstGeom>
          <a:noFill/>
          <a:ln w="19050" cap="flat" cmpd="sng" algn="ctr">
            <a:solidFill>
              <a:srgbClr val="00A1E0"/>
            </a:solidFill>
            <a:prstDash val="solid"/>
            <a:tailEnd type="triangle"/>
          </a:ln>
          <a:effectLst/>
        </p:spPr>
      </p:cxnSp>
      <p:cxnSp>
        <p:nvCxnSpPr>
          <p:cNvPr id="82" name="Elbow Connector 111">
            <a:extLst>
              <a:ext uri="{FF2B5EF4-FFF2-40B4-BE49-F238E27FC236}">
                <a16:creationId xmlns:a16="http://schemas.microsoft.com/office/drawing/2014/main" id="{B7463CDB-07AC-634E-D07C-76A595A34E15}"/>
              </a:ext>
            </a:extLst>
          </p:cNvPr>
          <p:cNvCxnSpPr>
            <a:cxnSpLocks/>
            <a:stCxn id="138" idx="2"/>
            <a:endCxn id="84" idx="0"/>
          </p:cNvCxnSpPr>
          <p:nvPr/>
        </p:nvCxnSpPr>
        <p:spPr>
          <a:xfrm rot="5400000">
            <a:off x="7766287" y="2598929"/>
            <a:ext cx="1121634" cy="618359"/>
          </a:xfrm>
          <a:prstGeom prst="bentConnector3">
            <a:avLst>
              <a:gd name="adj1" fmla="val 50000"/>
            </a:avLst>
          </a:prstGeom>
          <a:noFill/>
          <a:ln w="19050" cap="flat" cmpd="sng" algn="ctr">
            <a:solidFill>
              <a:srgbClr val="00A1E0"/>
            </a:solidFill>
            <a:prstDash val="solid"/>
            <a:tailEnd type="triangle"/>
          </a:ln>
          <a:effectLst/>
        </p:spPr>
      </p:cxnSp>
      <p:sp>
        <p:nvSpPr>
          <p:cNvPr id="83" name="Rounded Rectangle 112">
            <a:extLst>
              <a:ext uri="{FF2B5EF4-FFF2-40B4-BE49-F238E27FC236}">
                <a16:creationId xmlns:a16="http://schemas.microsoft.com/office/drawing/2014/main" id="{1478BB0F-F6E9-2050-E02F-7F416773695D}"/>
              </a:ext>
            </a:extLst>
          </p:cNvPr>
          <p:cNvSpPr/>
          <p:nvPr/>
        </p:nvSpPr>
        <p:spPr>
          <a:xfrm>
            <a:off x="4787985" y="2646259"/>
            <a:ext cx="1196274" cy="430838"/>
          </a:xfrm>
          <a:prstGeom prst="roundRect">
            <a:avLst>
              <a:gd name="adj" fmla="val 24117"/>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Incident management</a:t>
            </a:r>
          </a:p>
        </p:txBody>
      </p:sp>
      <p:sp>
        <p:nvSpPr>
          <p:cNvPr id="84" name="Rounded Rectangle 113">
            <a:extLst>
              <a:ext uri="{FF2B5EF4-FFF2-40B4-BE49-F238E27FC236}">
                <a16:creationId xmlns:a16="http://schemas.microsoft.com/office/drawing/2014/main" id="{7A7E4CC6-2230-CE93-17C3-F7985C5B6961}"/>
              </a:ext>
            </a:extLst>
          </p:cNvPr>
          <p:cNvSpPr/>
          <p:nvPr/>
        </p:nvSpPr>
        <p:spPr>
          <a:xfrm>
            <a:off x="7419787" y="3468925"/>
            <a:ext cx="1196274" cy="430838"/>
          </a:xfrm>
          <a:prstGeom prst="roundRect">
            <a:avLst>
              <a:gd name="adj" fmla="val 26706"/>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Change management</a:t>
            </a:r>
          </a:p>
        </p:txBody>
      </p:sp>
      <p:sp>
        <p:nvSpPr>
          <p:cNvPr id="85" name="Rounded Rectangle 114">
            <a:extLst>
              <a:ext uri="{FF2B5EF4-FFF2-40B4-BE49-F238E27FC236}">
                <a16:creationId xmlns:a16="http://schemas.microsoft.com/office/drawing/2014/main" id="{8FD611A7-ABBA-80CB-B673-863F755BF0AE}"/>
              </a:ext>
            </a:extLst>
          </p:cNvPr>
          <p:cNvSpPr/>
          <p:nvPr/>
        </p:nvSpPr>
        <p:spPr>
          <a:xfrm>
            <a:off x="10019106" y="2688561"/>
            <a:ext cx="1196274" cy="430838"/>
          </a:xfrm>
          <a:prstGeom prst="roundRect">
            <a:avLst>
              <a:gd name="adj" fmla="val 21529"/>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Service request fulfillment</a:t>
            </a:r>
          </a:p>
        </p:txBody>
      </p:sp>
      <p:sp>
        <p:nvSpPr>
          <p:cNvPr id="86" name="Rounded Rectangle 115">
            <a:extLst>
              <a:ext uri="{FF2B5EF4-FFF2-40B4-BE49-F238E27FC236}">
                <a16:creationId xmlns:a16="http://schemas.microsoft.com/office/drawing/2014/main" id="{0B4D0D6A-E609-3DFF-389E-CE8E53CCE51D}"/>
              </a:ext>
            </a:extLst>
          </p:cNvPr>
          <p:cNvSpPr/>
          <p:nvPr/>
        </p:nvSpPr>
        <p:spPr>
          <a:xfrm>
            <a:off x="9971838" y="4358254"/>
            <a:ext cx="1196274" cy="428408"/>
          </a:xfrm>
          <a:prstGeom prst="roundRect">
            <a:avLst>
              <a:gd name="adj" fmla="val 21367"/>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Configuration management</a:t>
            </a:r>
          </a:p>
        </p:txBody>
      </p:sp>
      <p:cxnSp>
        <p:nvCxnSpPr>
          <p:cNvPr id="87" name="Elbow Connector 116">
            <a:extLst>
              <a:ext uri="{FF2B5EF4-FFF2-40B4-BE49-F238E27FC236}">
                <a16:creationId xmlns:a16="http://schemas.microsoft.com/office/drawing/2014/main" id="{3FEF6B99-021F-18E9-F403-7DEFC9ED7E9A}"/>
              </a:ext>
            </a:extLst>
          </p:cNvPr>
          <p:cNvCxnSpPr>
            <a:stCxn id="83" idx="3"/>
            <a:endCxn id="129" idx="0"/>
          </p:cNvCxnSpPr>
          <p:nvPr/>
        </p:nvCxnSpPr>
        <p:spPr>
          <a:xfrm>
            <a:off x="5984259" y="2861678"/>
            <a:ext cx="757640" cy="262576"/>
          </a:xfrm>
          <a:prstGeom prst="bentConnector2">
            <a:avLst/>
          </a:prstGeom>
          <a:noFill/>
          <a:ln w="19050" cap="flat" cmpd="sng" algn="ctr">
            <a:solidFill>
              <a:srgbClr val="00A1E0"/>
            </a:solidFill>
            <a:prstDash val="solid"/>
            <a:tailEnd type="triangle"/>
          </a:ln>
          <a:effectLst/>
        </p:spPr>
      </p:cxnSp>
      <p:sp>
        <p:nvSpPr>
          <p:cNvPr id="88" name="TextBox 87">
            <a:extLst>
              <a:ext uri="{FF2B5EF4-FFF2-40B4-BE49-F238E27FC236}">
                <a16:creationId xmlns:a16="http://schemas.microsoft.com/office/drawing/2014/main" id="{FF0F0A45-83D6-8EC9-F01E-6C88B46171B2}"/>
              </a:ext>
            </a:extLst>
          </p:cNvPr>
          <p:cNvSpPr txBox="1"/>
          <p:nvPr/>
        </p:nvSpPr>
        <p:spPr>
          <a:xfrm>
            <a:off x="6103887" y="2695326"/>
            <a:ext cx="498885" cy="276382"/>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New </a:t>
            </a:r>
            <a:b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b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s</a:t>
            </a:r>
          </a:p>
        </p:txBody>
      </p:sp>
      <p:sp>
        <p:nvSpPr>
          <p:cNvPr id="89" name="TextBox 88">
            <a:extLst>
              <a:ext uri="{FF2B5EF4-FFF2-40B4-BE49-F238E27FC236}">
                <a16:creationId xmlns:a16="http://schemas.microsoft.com/office/drawing/2014/main" id="{6E3285B9-AACE-ED41-4855-7A03BC6F1079}"/>
              </a:ext>
            </a:extLst>
          </p:cNvPr>
          <p:cNvSpPr txBox="1"/>
          <p:nvPr/>
        </p:nvSpPr>
        <p:spPr>
          <a:xfrm>
            <a:off x="7550495" y="2926440"/>
            <a:ext cx="804206" cy="414572"/>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equest</a:t>
            </a:r>
            <a:b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b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For Change</a:t>
            </a:r>
          </a:p>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FC)</a:t>
            </a:r>
          </a:p>
        </p:txBody>
      </p:sp>
      <p:cxnSp>
        <p:nvCxnSpPr>
          <p:cNvPr id="90" name="Elbow Connector 120">
            <a:extLst>
              <a:ext uri="{FF2B5EF4-FFF2-40B4-BE49-F238E27FC236}">
                <a16:creationId xmlns:a16="http://schemas.microsoft.com/office/drawing/2014/main" id="{2BB696DA-E83C-F3BB-04B2-A52C3882BB86}"/>
              </a:ext>
            </a:extLst>
          </p:cNvPr>
          <p:cNvCxnSpPr>
            <a:cxnSpLocks/>
            <a:stCxn id="84" idx="3"/>
            <a:endCxn id="142" idx="0"/>
          </p:cNvCxnSpPr>
          <p:nvPr/>
        </p:nvCxnSpPr>
        <p:spPr>
          <a:xfrm>
            <a:off x="8616061" y="3684344"/>
            <a:ext cx="651532" cy="230791"/>
          </a:xfrm>
          <a:prstGeom prst="bentConnector2">
            <a:avLst/>
          </a:prstGeom>
          <a:noFill/>
          <a:ln w="19050" cap="flat" cmpd="sng" algn="ctr">
            <a:solidFill>
              <a:srgbClr val="00A1E0"/>
            </a:solidFill>
            <a:prstDash val="solid"/>
            <a:tailEnd type="triangle"/>
          </a:ln>
          <a:effectLst/>
        </p:spPr>
      </p:cxnSp>
      <p:sp>
        <p:nvSpPr>
          <p:cNvPr id="91" name="TextBox 90">
            <a:extLst>
              <a:ext uri="{FF2B5EF4-FFF2-40B4-BE49-F238E27FC236}">
                <a16:creationId xmlns:a16="http://schemas.microsoft.com/office/drawing/2014/main" id="{6CD724E1-C251-3A83-298B-05C70155C2EB}"/>
              </a:ext>
            </a:extLst>
          </p:cNvPr>
          <p:cNvSpPr txBox="1"/>
          <p:nvPr/>
        </p:nvSpPr>
        <p:spPr>
          <a:xfrm>
            <a:off x="8809061" y="3538005"/>
            <a:ext cx="239255" cy="138190"/>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FC</a:t>
            </a:r>
          </a:p>
        </p:txBody>
      </p:sp>
      <p:cxnSp>
        <p:nvCxnSpPr>
          <p:cNvPr id="92" name="Elbow Connector 122">
            <a:extLst>
              <a:ext uri="{FF2B5EF4-FFF2-40B4-BE49-F238E27FC236}">
                <a16:creationId xmlns:a16="http://schemas.microsoft.com/office/drawing/2014/main" id="{A5720B5F-3C80-527A-30F1-1DD225540887}"/>
              </a:ext>
            </a:extLst>
          </p:cNvPr>
          <p:cNvCxnSpPr>
            <a:cxnSpLocks/>
            <a:stCxn id="142" idx="3"/>
            <a:endCxn id="86" idx="0"/>
          </p:cNvCxnSpPr>
          <p:nvPr/>
        </p:nvCxnSpPr>
        <p:spPr>
          <a:xfrm>
            <a:off x="9865730" y="4130554"/>
            <a:ext cx="704245" cy="227700"/>
          </a:xfrm>
          <a:prstGeom prst="bentConnector2">
            <a:avLst/>
          </a:prstGeom>
          <a:noFill/>
          <a:ln w="19050" cap="flat" cmpd="sng" algn="ctr">
            <a:solidFill>
              <a:srgbClr val="00A1E0"/>
            </a:solidFill>
            <a:prstDash val="solid"/>
            <a:tailEnd type="triangle"/>
          </a:ln>
          <a:effectLst/>
        </p:spPr>
      </p:cxnSp>
      <p:sp>
        <p:nvSpPr>
          <p:cNvPr id="93" name="TextBox 92">
            <a:extLst>
              <a:ext uri="{FF2B5EF4-FFF2-40B4-BE49-F238E27FC236}">
                <a16:creationId xmlns:a16="http://schemas.microsoft.com/office/drawing/2014/main" id="{837DF09A-6486-4CE3-B14B-D3709DC0BBE4}"/>
              </a:ext>
            </a:extLst>
          </p:cNvPr>
          <p:cNvSpPr txBox="1"/>
          <p:nvPr/>
        </p:nvSpPr>
        <p:spPr>
          <a:xfrm>
            <a:off x="10054912" y="3956632"/>
            <a:ext cx="515063" cy="138190"/>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I Update</a:t>
            </a:r>
          </a:p>
        </p:txBody>
      </p:sp>
      <p:cxnSp>
        <p:nvCxnSpPr>
          <p:cNvPr id="94" name="Straight Arrow Connector 93">
            <a:extLst>
              <a:ext uri="{FF2B5EF4-FFF2-40B4-BE49-F238E27FC236}">
                <a16:creationId xmlns:a16="http://schemas.microsoft.com/office/drawing/2014/main" id="{D6D1BE3D-E926-BF48-F09C-74CB484C8B56}"/>
              </a:ext>
            </a:extLst>
          </p:cNvPr>
          <p:cNvCxnSpPr>
            <a:cxnSpLocks/>
          </p:cNvCxnSpPr>
          <p:nvPr/>
        </p:nvCxnSpPr>
        <p:spPr>
          <a:xfrm flipV="1">
            <a:off x="5183420" y="3142570"/>
            <a:ext cx="0" cy="1890576"/>
          </a:xfrm>
          <a:prstGeom prst="straightConnector1">
            <a:avLst/>
          </a:prstGeom>
          <a:noFill/>
          <a:ln w="19050" cap="flat" cmpd="sng" algn="ctr">
            <a:solidFill>
              <a:srgbClr val="00A1E0"/>
            </a:solidFill>
            <a:prstDash val="solid"/>
            <a:tailEnd type="triangle"/>
          </a:ln>
          <a:effectLst/>
        </p:spPr>
      </p:cxnSp>
      <p:sp>
        <p:nvSpPr>
          <p:cNvPr id="95" name="TextBox 94">
            <a:extLst>
              <a:ext uri="{FF2B5EF4-FFF2-40B4-BE49-F238E27FC236}">
                <a16:creationId xmlns:a16="http://schemas.microsoft.com/office/drawing/2014/main" id="{6D89DE6A-88A4-8650-4E2E-F1404FE7CB14}"/>
              </a:ext>
            </a:extLst>
          </p:cNvPr>
          <p:cNvSpPr txBox="1"/>
          <p:nvPr/>
        </p:nvSpPr>
        <p:spPr>
          <a:xfrm>
            <a:off x="4824538" y="3583816"/>
            <a:ext cx="717764" cy="414572"/>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 known error information</a:t>
            </a:r>
          </a:p>
        </p:txBody>
      </p:sp>
      <p:sp>
        <p:nvSpPr>
          <p:cNvPr id="114" name="TextBox 113">
            <a:extLst>
              <a:ext uri="{FF2B5EF4-FFF2-40B4-BE49-F238E27FC236}">
                <a16:creationId xmlns:a16="http://schemas.microsoft.com/office/drawing/2014/main" id="{E6391134-7EFB-A86C-7F80-C8060B2C0544}"/>
              </a:ext>
            </a:extLst>
          </p:cNvPr>
          <p:cNvSpPr txBox="1"/>
          <p:nvPr/>
        </p:nvSpPr>
        <p:spPr>
          <a:xfrm>
            <a:off x="5504054" y="3967944"/>
            <a:ext cx="578200" cy="138190"/>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Incidents</a:t>
            </a:r>
          </a:p>
        </p:txBody>
      </p:sp>
      <p:cxnSp>
        <p:nvCxnSpPr>
          <p:cNvPr id="118" name="Straight Arrow Connector 117">
            <a:extLst>
              <a:ext uri="{FF2B5EF4-FFF2-40B4-BE49-F238E27FC236}">
                <a16:creationId xmlns:a16="http://schemas.microsoft.com/office/drawing/2014/main" id="{A3D849F7-9D33-BE0C-A620-87BF8AB69110}"/>
              </a:ext>
            </a:extLst>
          </p:cNvPr>
          <p:cNvCxnSpPr>
            <a:cxnSpLocks/>
          </p:cNvCxnSpPr>
          <p:nvPr/>
        </p:nvCxnSpPr>
        <p:spPr>
          <a:xfrm flipV="1">
            <a:off x="6383017" y="3583816"/>
            <a:ext cx="0" cy="1449330"/>
          </a:xfrm>
          <a:prstGeom prst="straightConnector1">
            <a:avLst/>
          </a:prstGeom>
          <a:noFill/>
          <a:ln w="19050" cap="flat" cmpd="sng" algn="ctr">
            <a:solidFill>
              <a:srgbClr val="00A1E0"/>
            </a:solidFill>
            <a:prstDash val="solid"/>
            <a:tailEnd type="triangle"/>
          </a:ln>
          <a:effectLst/>
        </p:spPr>
      </p:cxnSp>
      <p:sp>
        <p:nvSpPr>
          <p:cNvPr id="119" name="TextBox 118">
            <a:extLst>
              <a:ext uri="{FF2B5EF4-FFF2-40B4-BE49-F238E27FC236}">
                <a16:creationId xmlns:a16="http://schemas.microsoft.com/office/drawing/2014/main" id="{6B6AA7B1-99A0-1431-7839-9E7014782975}"/>
              </a:ext>
            </a:extLst>
          </p:cNvPr>
          <p:cNvSpPr txBox="1"/>
          <p:nvPr/>
        </p:nvSpPr>
        <p:spPr>
          <a:xfrm>
            <a:off x="6153218" y="3985932"/>
            <a:ext cx="638013" cy="414572"/>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 known error info</a:t>
            </a:r>
          </a:p>
        </p:txBody>
      </p:sp>
      <p:cxnSp>
        <p:nvCxnSpPr>
          <p:cNvPr id="120" name="Straight Arrow Connector 119">
            <a:extLst>
              <a:ext uri="{FF2B5EF4-FFF2-40B4-BE49-F238E27FC236}">
                <a16:creationId xmlns:a16="http://schemas.microsoft.com/office/drawing/2014/main" id="{656C8B41-05C5-DB00-3DA3-FC2B4675C5A8}"/>
              </a:ext>
            </a:extLst>
          </p:cNvPr>
          <p:cNvCxnSpPr>
            <a:cxnSpLocks/>
          </p:cNvCxnSpPr>
          <p:nvPr/>
        </p:nvCxnSpPr>
        <p:spPr>
          <a:xfrm>
            <a:off x="6941278" y="3583816"/>
            <a:ext cx="0" cy="1449330"/>
          </a:xfrm>
          <a:prstGeom prst="straightConnector1">
            <a:avLst/>
          </a:prstGeom>
          <a:noFill/>
          <a:ln w="19050" cap="flat" cmpd="sng" algn="ctr">
            <a:solidFill>
              <a:srgbClr val="00A1E0"/>
            </a:solidFill>
            <a:prstDash val="solid"/>
            <a:tailEnd type="triangle"/>
          </a:ln>
          <a:effectLst/>
        </p:spPr>
      </p:cxnSp>
      <p:sp>
        <p:nvSpPr>
          <p:cNvPr id="121" name="TextBox 120">
            <a:extLst>
              <a:ext uri="{FF2B5EF4-FFF2-40B4-BE49-F238E27FC236}">
                <a16:creationId xmlns:a16="http://schemas.microsoft.com/office/drawing/2014/main" id="{5EB88771-4EA5-ED9F-2E64-0EA965211845}"/>
              </a:ext>
            </a:extLst>
          </p:cNvPr>
          <p:cNvSpPr txBox="1"/>
          <p:nvPr/>
        </p:nvSpPr>
        <p:spPr>
          <a:xfrm>
            <a:off x="6698115" y="4342668"/>
            <a:ext cx="638013" cy="415498"/>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 known errors </a:t>
            </a:r>
          </a:p>
        </p:txBody>
      </p:sp>
      <p:cxnSp>
        <p:nvCxnSpPr>
          <p:cNvPr id="123" name="Straight Arrow Connector 122">
            <a:extLst>
              <a:ext uri="{FF2B5EF4-FFF2-40B4-BE49-F238E27FC236}">
                <a16:creationId xmlns:a16="http://schemas.microsoft.com/office/drawing/2014/main" id="{5973D43E-704B-EA3B-6070-194AE12EF679}"/>
              </a:ext>
            </a:extLst>
          </p:cNvPr>
          <p:cNvCxnSpPr>
            <a:cxnSpLocks/>
          </p:cNvCxnSpPr>
          <p:nvPr/>
        </p:nvCxnSpPr>
        <p:spPr>
          <a:xfrm flipV="1">
            <a:off x="7769810" y="3956632"/>
            <a:ext cx="0" cy="1076514"/>
          </a:xfrm>
          <a:prstGeom prst="straightConnector1">
            <a:avLst/>
          </a:prstGeom>
          <a:noFill/>
          <a:ln w="19050" cap="flat" cmpd="sng" algn="ctr">
            <a:solidFill>
              <a:srgbClr val="00A1E0"/>
            </a:solidFill>
            <a:prstDash val="solid"/>
            <a:tailEnd type="triangle"/>
          </a:ln>
          <a:effectLst/>
        </p:spPr>
      </p:cxnSp>
      <p:sp>
        <p:nvSpPr>
          <p:cNvPr id="124" name="TextBox 123">
            <a:extLst>
              <a:ext uri="{FF2B5EF4-FFF2-40B4-BE49-F238E27FC236}">
                <a16:creationId xmlns:a16="http://schemas.microsoft.com/office/drawing/2014/main" id="{C81EDD8E-3B36-73A6-E7D3-B2A2A857D2BB}"/>
              </a:ext>
            </a:extLst>
          </p:cNvPr>
          <p:cNvSpPr txBox="1"/>
          <p:nvPr/>
        </p:nvSpPr>
        <p:spPr>
          <a:xfrm>
            <a:off x="7519953" y="4260725"/>
            <a:ext cx="611430" cy="414572"/>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 known error info</a:t>
            </a:r>
          </a:p>
        </p:txBody>
      </p:sp>
      <p:cxnSp>
        <p:nvCxnSpPr>
          <p:cNvPr id="125" name="Straight Arrow Connector 124">
            <a:extLst>
              <a:ext uri="{FF2B5EF4-FFF2-40B4-BE49-F238E27FC236}">
                <a16:creationId xmlns:a16="http://schemas.microsoft.com/office/drawing/2014/main" id="{9338BCAF-AB8F-2A55-DFEA-57363A5DAE32}"/>
              </a:ext>
            </a:extLst>
          </p:cNvPr>
          <p:cNvCxnSpPr>
            <a:cxnSpLocks/>
          </p:cNvCxnSpPr>
          <p:nvPr/>
        </p:nvCxnSpPr>
        <p:spPr>
          <a:xfrm>
            <a:off x="8297058" y="3956632"/>
            <a:ext cx="0" cy="1076514"/>
          </a:xfrm>
          <a:prstGeom prst="straightConnector1">
            <a:avLst/>
          </a:prstGeom>
          <a:noFill/>
          <a:ln w="19050" cap="flat" cmpd="sng" algn="ctr">
            <a:solidFill>
              <a:srgbClr val="00A1E0"/>
            </a:solidFill>
            <a:prstDash val="solid"/>
            <a:tailEnd type="triangle"/>
          </a:ln>
          <a:effectLst/>
        </p:spPr>
      </p:cxnSp>
      <p:sp>
        <p:nvSpPr>
          <p:cNvPr id="126" name="TextBox 125">
            <a:extLst>
              <a:ext uri="{FF2B5EF4-FFF2-40B4-BE49-F238E27FC236}">
                <a16:creationId xmlns:a16="http://schemas.microsoft.com/office/drawing/2014/main" id="{6BA5F0E7-A464-BB85-6D94-78B1953A4A4D}"/>
              </a:ext>
            </a:extLst>
          </p:cNvPr>
          <p:cNvSpPr txBox="1"/>
          <p:nvPr/>
        </p:nvSpPr>
        <p:spPr>
          <a:xfrm>
            <a:off x="8051733" y="4108665"/>
            <a:ext cx="576463" cy="276999"/>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Enhancements</a:t>
            </a:r>
          </a:p>
        </p:txBody>
      </p:sp>
      <p:cxnSp>
        <p:nvCxnSpPr>
          <p:cNvPr id="127" name="Elbow Connector 136">
            <a:extLst>
              <a:ext uri="{FF2B5EF4-FFF2-40B4-BE49-F238E27FC236}">
                <a16:creationId xmlns:a16="http://schemas.microsoft.com/office/drawing/2014/main" id="{7B0B69A6-4C36-D614-18DE-7AD936CAD9F4}"/>
              </a:ext>
            </a:extLst>
          </p:cNvPr>
          <p:cNvCxnSpPr>
            <a:stCxn id="138" idx="2"/>
            <a:endCxn id="83" idx="0"/>
          </p:cNvCxnSpPr>
          <p:nvPr/>
        </p:nvCxnSpPr>
        <p:spPr>
          <a:xfrm rot="5400000">
            <a:off x="6861719" y="871695"/>
            <a:ext cx="298968" cy="3250161"/>
          </a:xfrm>
          <a:prstGeom prst="bentConnector3">
            <a:avLst>
              <a:gd name="adj1" fmla="val 50000"/>
            </a:avLst>
          </a:prstGeom>
          <a:noFill/>
          <a:ln w="9525" cap="flat" cmpd="sng" algn="ctr">
            <a:solidFill>
              <a:srgbClr val="3C8A2D"/>
            </a:solidFill>
            <a:prstDash val="solid"/>
            <a:tailEnd type="triangle"/>
          </a:ln>
          <a:effectLst/>
          <a:scene3d>
            <a:camera prst="orthographicFront">
              <a:rot lat="0" lon="21299999" rev="0"/>
            </a:camera>
            <a:lightRig rig="threePt" dir="t"/>
          </a:scene3d>
        </p:spPr>
      </p:cxnSp>
      <p:sp>
        <p:nvSpPr>
          <p:cNvPr id="128" name="TextBox 127">
            <a:extLst>
              <a:ext uri="{FF2B5EF4-FFF2-40B4-BE49-F238E27FC236}">
                <a16:creationId xmlns:a16="http://schemas.microsoft.com/office/drawing/2014/main" id="{98C80C3B-D4AF-EC95-C0E0-A0ED0EDC15C0}"/>
              </a:ext>
            </a:extLst>
          </p:cNvPr>
          <p:cNvSpPr txBox="1"/>
          <p:nvPr/>
        </p:nvSpPr>
        <p:spPr>
          <a:xfrm>
            <a:off x="5232522" y="5142472"/>
            <a:ext cx="2931154" cy="701282"/>
          </a:xfrm>
          <a:prstGeom prst="rect">
            <a:avLst/>
          </a:prstGeom>
          <a:noFill/>
        </p:spPr>
        <p:txBody>
          <a:bodyPr wrap="square" lIns="0" tIns="0" rIns="0" bIns="0" rtlCol="0">
            <a:spAutoFit/>
          </a:bodyPr>
          <a:lstStyle/>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onfiguration Database Management</a:t>
            </a:r>
          </a:p>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Service-level Management</a:t>
            </a:r>
          </a:p>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apacity Management</a:t>
            </a:r>
          </a:p>
        </p:txBody>
      </p:sp>
      <p:sp>
        <p:nvSpPr>
          <p:cNvPr id="129" name="Rounded Rectangle 140">
            <a:extLst>
              <a:ext uri="{FF2B5EF4-FFF2-40B4-BE49-F238E27FC236}">
                <a16:creationId xmlns:a16="http://schemas.microsoft.com/office/drawing/2014/main" id="{6DA855D7-7702-56C0-3D5F-5CDD5EF78677}"/>
              </a:ext>
            </a:extLst>
          </p:cNvPr>
          <p:cNvSpPr/>
          <p:nvPr/>
        </p:nvSpPr>
        <p:spPr>
          <a:xfrm>
            <a:off x="6143762" y="3124254"/>
            <a:ext cx="1196274" cy="430838"/>
          </a:xfrm>
          <a:prstGeom prst="roundRect">
            <a:avLst>
              <a:gd name="adj" fmla="val 26706"/>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Probl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management</a:t>
            </a:r>
          </a:p>
        </p:txBody>
      </p:sp>
      <p:sp>
        <p:nvSpPr>
          <p:cNvPr id="130" name="TextBox 129">
            <a:extLst>
              <a:ext uri="{FF2B5EF4-FFF2-40B4-BE49-F238E27FC236}">
                <a16:creationId xmlns:a16="http://schemas.microsoft.com/office/drawing/2014/main" id="{24C0575D-6FC3-4381-6DB4-11845CB2B1C1}"/>
              </a:ext>
            </a:extLst>
          </p:cNvPr>
          <p:cNvSpPr txBox="1"/>
          <p:nvPr/>
        </p:nvSpPr>
        <p:spPr>
          <a:xfrm>
            <a:off x="8236378" y="5142472"/>
            <a:ext cx="2858255" cy="701282"/>
          </a:xfrm>
          <a:prstGeom prst="rect">
            <a:avLst/>
          </a:prstGeom>
          <a:noFill/>
        </p:spPr>
        <p:txBody>
          <a:bodyPr wrap="square" lIns="0" tIns="0" rIns="0" bIns="0" rtlCol="0">
            <a:spAutoFit/>
          </a:bodyPr>
          <a:lstStyle/>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ontinuity Management</a:t>
            </a:r>
          </a:p>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Availability Management</a:t>
            </a:r>
          </a:p>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Financial Management</a:t>
            </a:r>
          </a:p>
        </p:txBody>
      </p:sp>
      <p:cxnSp>
        <p:nvCxnSpPr>
          <p:cNvPr id="131" name="Straight Arrow Connector 130">
            <a:extLst>
              <a:ext uri="{FF2B5EF4-FFF2-40B4-BE49-F238E27FC236}">
                <a16:creationId xmlns:a16="http://schemas.microsoft.com/office/drawing/2014/main" id="{EA7A2ED7-FEEE-6980-6D08-9B53C32BB0D4}"/>
              </a:ext>
            </a:extLst>
          </p:cNvPr>
          <p:cNvCxnSpPr>
            <a:cxnSpLocks/>
          </p:cNvCxnSpPr>
          <p:nvPr/>
        </p:nvCxnSpPr>
        <p:spPr>
          <a:xfrm>
            <a:off x="10569975" y="4786662"/>
            <a:ext cx="0" cy="246484"/>
          </a:xfrm>
          <a:prstGeom prst="straightConnector1">
            <a:avLst/>
          </a:prstGeom>
          <a:noFill/>
          <a:ln w="19050" cap="flat" cmpd="sng" algn="ctr">
            <a:solidFill>
              <a:srgbClr val="00A1E0"/>
            </a:solidFill>
            <a:prstDash val="solid"/>
            <a:tailEnd type="triangle"/>
          </a:ln>
          <a:effectLst/>
        </p:spPr>
      </p:cxnSp>
      <p:sp>
        <p:nvSpPr>
          <p:cNvPr id="132" name="TextBox 131">
            <a:extLst>
              <a:ext uri="{FF2B5EF4-FFF2-40B4-BE49-F238E27FC236}">
                <a16:creationId xmlns:a16="http://schemas.microsoft.com/office/drawing/2014/main" id="{E9F0E80E-CB1C-CD86-F38D-49234597E480}"/>
              </a:ext>
            </a:extLst>
          </p:cNvPr>
          <p:cNvSpPr txBox="1"/>
          <p:nvPr/>
        </p:nvSpPr>
        <p:spPr>
          <a:xfrm>
            <a:off x="10636066" y="4804141"/>
            <a:ext cx="903851" cy="276999"/>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I’s </a:t>
            </a:r>
            <a:b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b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elationships</a:t>
            </a:r>
          </a:p>
        </p:txBody>
      </p:sp>
      <p:cxnSp>
        <p:nvCxnSpPr>
          <p:cNvPr id="133" name="Straight Arrow Connector 132">
            <a:extLst>
              <a:ext uri="{FF2B5EF4-FFF2-40B4-BE49-F238E27FC236}">
                <a16:creationId xmlns:a16="http://schemas.microsoft.com/office/drawing/2014/main" id="{56964996-B885-E47F-265F-9E6EF8E245DA}"/>
              </a:ext>
            </a:extLst>
          </p:cNvPr>
          <p:cNvCxnSpPr/>
          <p:nvPr/>
        </p:nvCxnSpPr>
        <p:spPr>
          <a:xfrm flipH="1">
            <a:off x="6292390" y="2263716"/>
            <a:ext cx="2051484" cy="0"/>
          </a:xfrm>
          <a:prstGeom prst="straightConnector1">
            <a:avLst/>
          </a:prstGeom>
          <a:noFill/>
          <a:ln w="19050" cap="flat" cmpd="sng" algn="ctr">
            <a:solidFill>
              <a:srgbClr val="00A1E0"/>
            </a:solidFill>
            <a:prstDash val="solid"/>
            <a:tailEnd type="triangle"/>
          </a:ln>
          <a:effectLst/>
        </p:spPr>
      </p:cxnSp>
      <p:cxnSp>
        <p:nvCxnSpPr>
          <p:cNvPr id="134" name="Straight Arrow Connector 133">
            <a:extLst>
              <a:ext uri="{FF2B5EF4-FFF2-40B4-BE49-F238E27FC236}">
                <a16:creationId xmlns:a16="http://schemas.microsoft.com/office/drawing/2014/main" id="{D196C581-7539-9FC7-1D0A-41DE2DFE333D}"/>
              </a:ext>
            </a:extLst>
          </p:cNvPr>
          <p:cNvCxnSpPr/>
          <p:nvPr/>
        </p:nvCxnSpPr>
        <p:spPr>
          <a:xfrm flipV="1">
            <a:off x="6292390" y="1919047"/>
            <a:ext cx="2051484" cy="20970"/>
          </a:xfrm>
          <a:prstGeom prst="straightConnector1">
            <a:avLst/>
          </a:prstGeom>
          <a:noFill/>
          <a:ln w="19050" cap="flat" cmpd="sng" algn="ctr">
            <a:solidFill>
              <a:srgbClr val="00A1E0"/>
            </a:solidFill>
            <a:prstDash val="solid"/>
            <a:tailEnd type="triangle"/>
          </a:ln>
          <a:effectLst/>
        </p:spPr>
      </p:cxnSp>
      <p:sp>
        <p:nvSpPr>
          <p:cNvPr id="135" name="TextBox 134">
            <a:extLst>
              <a:ext uri="{FF2B5EF4-FFF2-40B4-BE49-F238E27FC236}">
                <a16:creationId xmlns:a16="http://schemas.microsoft.com/office/drawing/2014/main" id="{001B338A-E9D3-3D1D-5CD3-A31B2E685D77}"/>
              </a:ext>
            </a:extLst>
          </p:cNvPr>
          <p:cNvSpPr txBox="1"/>
          <p:nvPr/>
        </p:nvSpPr>
        <p:spPr>
          <a:xfrm>
            <a:off x="6819866" y="1740843"/>
            <a:ext cx="1147578" cy="379006"/>
          </a:xfrm>
          <a:prstGeom prst="rect">
            <a:avLst/>
          </a:prstGeom>
          <a:solidFill>
            <a:sysClr val="window" lastClr="FFFFFF"/>
          </a:solidFill>
        </p:spPr>
        <p:txBody>
          <a:bodyPr wrap="square" lIns="101858" tIns="50929" rIns="101858" bIns="50929" rtlCol="0">
            <a:spAutoFit/>
          </a:bodyPr>
          <a:lstStyle>
            <a:defPPr>
              <a:defRPr lang="en-US"/>
            </a:defPPr>
            <a:lvl1pPr fontAlgn="auto">
              <a:spcBef>
                <a:spcPts val="0"/>
              </a:spcBef>
              <a:spcAft>
                <a:spcPts val="0"/>
              </a:spcAft>
              <a:defRPr sz="900">
                <a:solidFill>
                  <a:srgbClr val="002776"/>
                </a:solidFill>
              </a:defRPr>
            </a:lvl1pPr>
          </a:lstStyle>
          <a:p>
            <a:pPr>
              <a:defRPr/>
            </a:pPr>
            <a:r>
              <a:rPr lang="en-US" b="1" dirty="0">
                <a:solidFill>
                  <a:srgbClr val="62B5E5"/>
                </a:solidFill>
                <a:latin typeface="Open Sans" panose="020B0606030504020204" pitchFamily="34" charset="0"/>
                <a:ea typeface="Open Sans" panose="020B0606030504020204" pitchFamily="34" charset="0"/>
                <a:cs typeface="Open Sans" panose="020B0606030504020204" pitchFamily="34" charset="0"/>
                <a:sym typeface="Open Sans"/>
              </a:rPr>
              <a:t>Service requests </a:t>
            </a:r>
          </a:p>
          <a:p>
            <a:pPr>
              <a:defRPr/>
            </a:pPr>
            <a:r>
              <a:rPr lang="en-US" b="1" dirty="0">
                <a:solidFill>
                  <a:srgbClr val="62B5E5"/>
                </a:solidFill>
                <a:latin typeface="Open Sans" panose="020B0606030504020204" pitchFamily="34" charset="0"/>
                <a:ea typeface="Open Sans" panose="020B0606030504020204" pitchFamily="34" charset="0"/>
                <a:cs typeface="Open Sans" panose="020B0606030504020204" pitchFamily="34" charset="0"/>
                <a:sym typeface="Open Sans"/>
              </a:rPr>
              <a:t>or incidents</a:t>
            </a:r>
          </a:p>
        </p:txBody>
      </p:sp>
      <p:sp>
        <p:nvSpPr>
          <p:cNvPr id="136" name="TextBox 135">
            <a:extLst>
              <a:ext uri="{FF2B5EF4-FFF2-40B4-BE49-F238E27FC236}">
                <a16:creationId xmlns:a16="http://schemas.microsoft.com/office/drawing/2014/main" id="{7A234537-B211-42F7-77B4-6D8460F2B352}"/>
              </a:ext>
            </a:extLst>
          </p:cNvPr>
          <p:cNvSpPr txBox="1"/>
          <p:nvPr/>
        </p:nvSpPr>
        <p:spPr>
          <a:xfrm>
            <a:off x="6939066" y="2108838"/>
            <a:ext cx="1132606" cy="379006"/>
          </a:xfrm>
          <a:prstGeom prst="rect">
            <a:avLst/>
          </a:prstGeom>
          <a:solidFill>
            <a:sysClr val="window" lastClr="FFFFFF"/>
          </a:solidFill>
        </p:spPr>
        <p:txBody>
          <a:bodyPr wrap="square" lIns="101858" tIns="50929" rIns="101858" bIns="50929" rtlCol="0">
            <a:spAutoFit/>
          </a:bodyPr>
          <a:lstStyle>
            <a:defPPr>
              <a:defRPr lang="en-US"/>
            </a:defPPr>
            <a:lvl1pPr fontAlgn="auto">
              <a:spcBef>
                <a:spcPts val="0"/>
              </a:spcBef>
              <a:spcAft>
                <a:spcPts val="0"/>
              </a:spcAft>
              <a:defRPr sz="900">
                <a:solidFill>
                  <a:srgbClr val="002776"/>
                </a:solidFill>
              </a:defRPr>
            </a:lvl1pPr>
          </a:lstStyle>
          <a:p>
            <a:pPr>
              <a:defRPr/>
            </a:pPr>
            <a:r>
              <a:rPr lang="en-US" b="1" dirty="0">
                <a:solidFill>
                  <a:srgbClr val="62B5E5"/>
                </a:solidFill>
                <a:latin typeface="Open Sans" panose="020B0606030504020204" pitchFamily="34" charset="0"/>
                <a:ea typeface="Open Sans" panose="020B0606030504020204" pitchFamily="34" charset="0"/>
                <a:cs typeface="Open Sans" panose="020B0606030504020204" pitchFamily="34" charset="0"/>
                <a:sym typeface="Open Sans"/>
              </a:rPr>
              <a:t>Communication and updates</a:t>
            </a:r>
          </a:p>
        </p:txBody>
      </p:sp>
      <p:grpSp>
        <p:nvGrpSpPr>
          <p:cNvPr id="137" name="Group 136">
            <a:extLst>
              <a:ext uri="{FF2B5EF4-FFF2-40B4-BE49-F238E27FC236}">
                <a16:creationId xmlns:a16="http://schemas.microsoft.com/office/drawing/2014/main" id="{1BBF555A-7A8B-72CF-C28D-D716ED2D29F5}"/>
              </a:ext>
            </a:extLst>
          </p:cNvPr>
          <p:cNvGrpSpPr/>
          <p:nvPr/>
        </p:nvGrpSpPr>
        <p:grpSpPr>
          <a:xfrm>
            <a:off x="8343877" y="1843042"/>
            <a:ext cx="851849" cy="504252"/>
            <a:chOff x="4346885" y="1872541"/>
            <a:chExt cx="895304" cy="505378"/>
          </a:xfrm>
        </p:grpSpPr>
        <p:pic>
          <p:nvPicPr>
            <p:cNvPr id="138" name="Picture 6" descr="\\Cagmasrv1\sso$\Gestion_Deloitte\Global_Brand\- Templates\Icons\Iconography Deloitte\Icon_Laptop_DarkGreen.png">
              <a:extLst>
                <a:ext uri="{FF2B5EF4-FFF2-40B4-BE49-F238E27FC236}">
                  <a16:creationId xmlns:a16="http://schemas.microsoft.com/office/drawing/2014/main" id="{F2FDE43A-E922-F3FC-AA6A-0A9287AE19AD}"/>
                </a:ext>
              </a:extLst>
            </p:cNvPr>
            <p:cNvPicPr>
              <a:picLocks noChangeAspect="1" noChangeArrowheads="1"/>
            </p:cNvPicPr>
            <p:nvPr/>
          </p:nvPicPr>
          <p:blipFill>
            <a:blip r:embed="rId6" cstate="email">
              <a:duotone>
                <a:srgbClr val="00ABA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346885" y="1872541"/>
              <a:ext cx="614645" cy="505375"/>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3">
              <a:extLst>
                <a:ext uri="{FF2B5EF4-FFF2-40B4-BE49-F238E27FC236}">
                  <a16:creationId xmlns:a16="http://schemas.microsoft.com/office/drawing/2014/main" id="{4368B958-4C60-5E31-83E7-410DE046385B}"/>
                </a:ext>
              </a:extLst>
            </p:cNvPr>
            <p:cNvPicPr>
              <a:picLocks noChangeAspect="1" noChangeArrowheads="1"/>
            </p:cNvPicPr>
            <p:nvPr/>
          </p:nvPicPr>
          <p:blipFill>
            <a:blip r:embed="rId7" cstate="email">
              <a:duotone>
                <a:srgbClr val="00ABA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940300" y="2053350"/>
              <a:ext cx="301889" cy="324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40" name="Picture 2" descr="\\Cagmasrv1\sso$\Gestion_Deloitte\Global_Brand\- Templates\Icons\Iconography Deloitte\Icon_People_group_Blue.png">
            <a:extLst>
              <a:ext uri="{FF2B5EF4-FFF2-40B4-BE49-F238E27FC236}">
                <a16:creationId xmlns:a16="http://schemas.microsoft.com/office/drawing/2014/main" id="{65C9BC6B-D8D1-9E67-E372-468160C211F8}"/>
              </a:ext>
            </a:extLst>
          </p:cNvPr>
          <p:cNvPicPr>
            <a:picLocks noChangeAspect="1" noChangeArrowheads="1"/>
          </p:cNvPicPr>
          <p:nvPr/>
        </p:nvPicPr>
        <p:blipFill>
          <a:blip r:embed="rId8" cstate="email">
            <a:duotone>
              <a:srgbClr val="A0DC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588831" y="1791907"/>
            <a:ext cx="609140" cy="522648"/>
          </a:xfrm>
          <a:prstGeom prst="rect">
            <a:avLst/>
          </a:prstGeom>
          <a:noFill/>
          <a:extLst>
            <a:ext uri="{909E8E84-426E-40DD-AFC4-6F175D3DCCD1}">
              <a14:hiddenFill xmlns:a14="http://schemas.microsoft.com/office/drawing/2010/main">
                <a:solidFill>
                  <a:srgbClr val="FFFFFF"/>
                </a:solidFill>
              </a14:hiddenFill>
            </a:ext>
          </a:extLst>
        </p:spPr>
      </p:pic>
      <p:sp>
        <p:nvSpPr>
          <p:cNvPr id="141" name="Rectangle 140">
            <a:extLst>
              <a:ext uri="{FF2B5EF4-FFF2-40B4-BE49-F238E27FC236}">
                <a16:creationId xmlns:a16="http://schemas.microsoft.com/office/drawing/2014/main" id="{62E3FAA9-B0BB-FB6D-4F7D-BD40A62D84F9}"/>
              </a:ext>
            </a:extLst>
          </p:cNvPr>
          <p:cNvSpPr/>
          <p:nvPr/>
        </p:nvSpPr>
        <p:spPr>
          <a:xfrm>
            <a:off x="846313" y="2933367"/>
            <a:ext cx="3680906" cy="3001847"/>
          </a:xfrm>
          <a:prstGeom prst="rect">
            <a:avLst/>
          </a:prstGeom>
        </p:spPr>
        <p:txBody>
          <a:bodyPr wrap="square" lIns="0" tIns="0" rIns="0" bIns="0">
            <a:spAutoFit/>
          </a:bodyPr>
          <a:lstStyle/>
          <a:p>
            <a:pPr>
              <a:lnSpc>
                <a:spcPct val="120000"/>
              </a:lnSpc>
              <a:spcBef>
                <a:spcPts val="1200"/>
              </a:spcBef>
              <a:defRPr/>
            </a:pPr>
            <a:r>
              <a:rPr lang="en-US" sz="1200" b="1" dirty="0">
                <a:solidFill>
                  <a:srgbClr val="62B5E5"/>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Key Features</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nables all customer requests (issues, enhancements, or questions) are managed to completion</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acilitates adherence to service-level objectives (SLOs)</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ocuses on end-to-end service management </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upports quality initiatives</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efines through delivery experience</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acilitates cost-effective service delivery</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Standard Operating Procedures (SOPs), operations manuals, and service delivery tools incorporate ITIL-based process flows</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s part of our support startup services, we work with our clients to compile an Operational Run book to map all processes and procedures, as well as technical Standard Operating Procedures (SOP). </a:t>
            </a:r>
          </a:p>
        </p:txBody>
      </p:sp>
      <p:sp>
        <p:nvSpPr>
          <p:cNvPr id="142" name="Rounded Rectangle 114">
            <a:extLst>
              <a:ext uri="{FF2B5EF4-FFF2-40B4-BE49-F238E27FC236}">
                <a16:creationId xmlns:a16="http://schemas.microsoft.com/office/drawing/2014/main" id="{83F1981D-02E8-967C-34A6-FFA93839DD30}"/>
              </a:ext>
            </a:extLst>
          </p:cNvPr>
          <p:cNvSpPr/>
          <p:nvPr/>
        </p:nvSpPr>
        <p:spPr>
          <a:xfrm>
            <a:off x="8669456" y="3915135"/>
            <a:ext cx="1196274" cy="430838"/>
          </a:xfrm>
          <a:prstGeom prst="roundRect">
            <a:avLst>
              <a:gd name="adj" fmla="val 18941"/>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Release management</a:t>
            </a:r>
          </a:p>
        </p:txBody>
      </p:sp>
      <p:cxnSp>
        <p:nvCxnSpPr>
          <p:cNvPr id="143" name="Elbow Connector 357">
            <a:extLst>
              <a:ext uri="{FF2B5EF4-FFF2-40B4-BE49-F238E27FC236}">
                <a16:creationId xmlns:a16="http://schemas.microsoft.com/office/drawing/2014/main" id="{C6C6B2FE-347A-FFC6-F38D-12FDC975A72E}"/>
              </a:ext>
            </a:extLst>
          </p:cNvPr>
          <p:cNvCxnSpPr>
            <a:cxnSpLocks/>
          </p:cNvCxnSpPr>
          <p:nvPr/>
        </p:nvCxnSpPr>
        <p:spPr>
          <a:xfrm rot="16200000" flipH="1">
            <a:off x="9456128" y="1501608"/>
            <a:ext cx="341270" cy="1980960"/>
          </a:xfrm>
          <a:prstGeom prst="bentConnector3">
            <a:avLst>
              <a:gd name="adj1" fmla="val 50000"/>
            </a:avLst>
          </a:prstGeom>
          <a:noFill/>
          <a:ln w="19050" cap="flat" cmpd="sng" algn="ctr">
            <a:solidFill>
              <a:srgbClr val="00A1E0"/>
            </a:solidFill>
            <a:prstDash val="solid"/>
            <a:tailEnd type="triangle"/>
          </a:ln>
          <a:effectLst/>
        </p:spPr>
      </p:cxnSp>
      <p:sp>
        <p:nvSpPr>
          <p:cNvPr id="144" name="Rounded Rectangle 114">
            <a:extLst>
              <a:ext uri="{FF2B5EF4-FFF2-40B4-BE49-F238E27FC236}">
                <a16:creationId xmlns:a16="http://schemas.microsoft.com/office/drawing/2014/main" id="{5628BBDB-6174-E958-A492-24B621F02DD3}"/>
              </a:ext>
            </a:extLst>
          </p:cNvPr>
          <p:cNvSpPr/>
          <p:nvPr/>
        </p:nvSpPr>
        <p:spPr>
          <a:xfrm>
            <a:off x="8747277" y="2675979"/>
            <a:ext cx="1196274" cy="430838"/>
          </a:xfrm>
          <a:prstGeom prst="roundRect">
            <a:avLst>
              <a:gd name="adj" fmla="val 26706"/>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Community management</a:t>
            </a:r>
          </a:p>
        </p:txBody>
      </p:sp>
      <p:sp>
        <p:nvSpPr>
          <p:cNvPr id="145" name="TextBox 144">
            <a:extLst>
              <a:ext uri="{FF2B5EF4-FFF2-40B4-BE49-F238E27FC236}">
                <a16:creationId xmlns:a16="http://schemas.microsoft.com/office/drawing/2014/main" id="{AF8BB3BD-06AD-0B8A-AD70-27F00ADF84CD}"/>
              </a:ext>
            </a:extLst>
          </p:cNvPr>
          <p:cNvSpPr txBox="1"/>
          <p:nvPr/>
        </p:nvSpPr>
        <p:spPr>
          <a:xfrm>
            <a:off x="920222" y="1840043"/>
            <a:ext cx="968748" cy="184666"/>
          </a:xfrm>
          <a:prstGeom prst="rect">
            <a:avLst/>
          </a:prstGeom>
          <a:noFill/>
        </p:spPr>
        <p:txBody>
          <a:bodyPr wrap="square" lIns="0" tIns="0" rIns="0" bIns="0">
            <a:spAutoFit/>
          </a:bodyPr>
          <a:lstStyle/>
          <a:p>
            <a:r>
              <a:rPr lang="en-US" sz="1200" b="1">
                <a:solidFill>
                  <a:srgbClr val="62B5E5"/>
                </a:solidFill>
                <a:latin typeface="Open Sans" panose="020B0606030504020204" pitchFamily="34" charset="0"/>
                <a:ea typeface="Open Sans" panose="020B0606030504020204" pitchFamily="34" charset="0"/>
                <a:cs typeface="Open Sans" panose="020B0606030504020204" pitchFamily="34" charset="0"/>
              </a:rPr>
              <a:t>STEP 1</a:t>
            </a:r>
          </a:p>
        </p:txBody>
      </p:sp>
      <p:sp>
        <p:nvSpPr>
          <p:cNvPr id="146" name="TextBox 145">
            <a:extLst>
              <a:ext uri="{FF2B5EF4-FFF2-40B4-BE49-F238E27FC236}">
                <a16:creationId xmlns:a16="http://schemas.microsoft.com/office/drawing/2014/main" id="{8DCE87C1-5015-F82C-D71D-D956475F4239}"/>
              </a:ext>
            </a:extLst>
          </p:cNvPr>
          <p:cNvSpPr txBox="1"/>
          <p:nvPr/>
        </p:nvSpPr>
        <p:spPr>
          <a:xfrm>
            <a:off x="920222" y="2151479"/>
            <a:ext cx="940660" cy="369332"/>
          </a:xfrm>
          <a:prstGeom prst="rect">
            <a:avLst/>
          </a:prstGeom>
          <a:noFill/>
        </p:spPr>
        <p:txBody>
          <a:bodyPr wrap="square" lIns="0" tIns="0" rIns="0" bIns="0">
            <a:spAutoFit/>
          </a:bodyPr>
          <a:lstStyle/>
          <a:p>
            <a:r>
              <a:rPr lang="en-US" sz="1200">
                <a:solidFill>
                  <a:sysClr val="windowText" lastClr="000000">
                    <a:hueOff val="0"/>
                    <a:satOff val="0"/>
                    <a:lumOff val="0"/>
                    <a:alphaOff val="0"/>
                  </a:sysClr>
                </a:solidFill>
                <a:latin typeface="Open Sans Light" panose="020B0306030504020204" pitchFamily="34" charset="0"/>
                <a:ea typeface="Open Sans Light" panose="020B0306030504020204" pitchFamily="34" charset="0"/>
                <a:cs typeface="Open Sans Light" panose="020B0306030504020204" pitchFamily="34" charset="0"/>
              </a:rPr>
              <a:t>Approach to Transition</a:t>
            </a:r>
          </a:p>
        </p:txBody>
      </p:sp>
      <p:sp>
        <p:nvSpPr>
          <p:cNvPr id="147" name="TextBox 146">
            <a:extLst>
              <a:ext uri="{FF2B5EF4-FFF2-40B4-BE49-F238E27FC236}">
                <a16:creationId xmlns:a16="http://schemas.microsoft.com/office/drawing/2014/main" id="{B5AE9BED-BE53-079D-02FC-6C29E4BAD110}"/>
              </a:ext>
            </a:extLst>
          </p:cNvPr>
          <p:cNvSpPr txBox="1"/>
          <p:nvPr/>
        </p:nvSpPr>
        <p:spPr>
          <a:xfrm>
            <a:off x="2246553" y="1840043"/>
            <a:ext cx="968748" cy="184666"/>
          </a:xfrm>
          <a:prstGeom prst="rect">
            <a:avLst/>
          </a:prstGeom>
          <a:noFill/>
        </p:spPr>
        <p:txBody>
          <a:bodyPr wrap="square" lIns="0" tIns="0" rIns="0" bIns="0">
            <a:spAutoFit/>
          </a:bodyPr>
          <a:lstStyle/>
          <a:p>
            <a:r>
              <a:rPr lang="en-US" sz="1200" b="1">
                <a:solidFill>
                  <a:srgbClr val="62B5E5"/>
                </a:solidFill>
                <a:latin typeface="Open Sans" panose="020B0606030504020204" pitchFamily="34" charset="0"/>
                <a:ea typeface="Open Sans" panose="020B0606030504020204" pitchFamily="34" charset="0"/>
                <a:cs typeface="Open Sans" panose="020B0606030504020204" pitchFamily="34" charset="0"/>
              </a:rPr>
              <a:t>STEP 2</a:t>
            </a:r>
          </a:p>
        </p:txBody>
      </p:sp>
      <p:sp>
        <p:nvSpPr>
          <p:cNvPr id="148" name="TextBox 147">
            <a:extLst>
              <a:ext uri="{FF2B5EF4-FFF2-40B4-BE49-F238E27FC236}">
                <a16:creationId xmlns:a16="http://schemas.microsoft.com/office/drawing/2014/main" id="{362EE7D7-33E4-8CA3-358F-44B9C3F98A81}"/>
              </a:ext>
            </a:extLst>
          </p:cNvPr>
          <p:cNvSpPr txBox="1"/>
          <p:nvPr/>
        </p:nvSpPr>
        <p:spPr>
          <a:xfrm>
            <a:off x="3667306" y="1840043"/>
            <a:ext cx="968748" cy="184666"/>
          </a:xfrm>
          <a:prstGeom prst="rect">
            <a:avLst/>
          </a:prstGeom>
          <a:noFill/>
        </p:spPr>
        <p:txBody>
          <a:bodyPr wrap="square" lIns="0" tIns="0" rIns="0" bIns="0">
            <a:spAutoFit/>
          </a:bodyPr>
          <a:lstStyle/>
          <a:p>
            <a:r>
              <a:rPr lang="en-US" sz="1200" b="1">
                <a:solidFill>
                  <a:srgbClr val="62B5E5"/>
                </a:solidFill>
                <a:latin typeface="Open Sans" panose="020B0606030504020204" pitchFamily="34" charset="0"/>
                <a:ea typeface="Open Sans" panose="020B0606030504020204" pitchFamily="34" charset="0"/>
                <a:cs typeface="Open Sans" panose="020B0606030504020204" pitchFamily="34" charset="0"/>
              </a:rPr>
              <a:t>STEP 3</a:t>
            </a:r>
          </a:p>
        </p:txBody>
      </p:sp>
      <p:sp>
        <p:nvSpPr>
          <p:cNvPr id="149" name="TextBox 148">
            <a:extLst>
              <a:ext uri="{FF2B5EF4-FFF2-40B4-BE49-F238E27FC236}">
                <a16:creationId xmlns:a16="http://schemas.microsoft.com/office/drawing/2014/main" id="{06FA80DB-4D1B-466E-3EBE-DA20BC9CB2B7}"/>
              </a:ext>
            </a:extLst>
          </p:cNvPr>
          <p:cNvSpPr txBox="1"/>
          <p:nvPr/>
        </p:nvSpPr>
        <p:spPr>
          <a:xfrm>
            <a:off x="2246553" y="2151480"/>
            <a:ext cx="2033343" cy="184666"/>
          </a:xfrm>
          <a:prstGeom prst="rect">
            <a:avLst/>
          </a:prstGeom>
          <a:noFill/>
        </p:spPr>
        <p:txBody>
          <a:bodyPr wrap="square" lIns="0" tIns="0" rIns="0" bIns="0">
            <a:spAutoFit/>
          </a:bodyPr>
          <a:lstStyle/>
          <a:p>
            <a:r>
              <a:rPr lang="en-US" sz="1200">
                <a:solidFill>
                  <a:sysClr val="windowText" lastClr="000000">
                    <a:hueOff val="0"/>
                    <a:satOff val="0"/>
                    <a:lumOff val="0"/>
                    <a:alphaOff val="0"/>
                  </a:sysClr>
                </a:solidFill>
                <a:latin typeface="Open Sans Light" panose="020B0306030504020204" pitchFamily="34" charset="0"/>
                <a:ea typeface="Open Sans Light" panose="020B0306030504020204" pitchFamily="34" charset="0"/>
                <a:cs typeface="Open Sans Light" panose="020B0306030504020204" pitchFamily="34" charset="0"/>
              </a:rPr>
              <a:t>Optimization</a:t>
            </a:r>
          </a:p>
        </p:txBody>
      </p:sp>
      <p:sp>
        <p:nvSpPr>
          <p:cNvPr id="150" name="TextBox 149">
            <a:extLst>
              <a:ext uri="{FF2B5EF4-FFF2-40B4-BE49-F238E27FC236}">
                <a16:creationId xmlns:a16="http://schemas.microsoft.com/office/drawing/2014/main" id="{9E72BC43-1662-3DF1-E6DA-93BD013009DF}"/>
              </a:ext>
            </a:extLst>
          </p:cNvPr>
          <p:cNvSpPr txBox="1"/>
          <p:nvPr/>
        </p:nvSpPr>
        <p:spPr>
          <a:xfrm>
            <a:off x="3667306" y="2151480"/>
            <a:ext cx="917581" cy="553998"/>
          </a:xfrm>
          <a:prstGeom prst="rect">
            <a:avLst/>
          </a:prstGeom>
          <a:noFill/>
        </p:spPr>
        <p:txBody>
          <a:bodyPr wrap="square" lIns="0" tIns="0" rIns="0" bIns="0">
            <a:spAutoFit/>
          </a:bodyPr>
          <a:lstStyle/>
          <a:p>
            <a:r>
              <a:rPr lang="en-US" sz="1200">
                <a:solidFill>
                  <a:sysClr val="windowText" lastClr="000000">
                    <a:hueOff val="0"/>
                    <a:satOff val="0"/>
                    <a:lumOff val="0"/>
                    <a:alphaOff val="0"/>
                  </a:sysClr>
                </a:solidFill>
                <a:latin typeface="Open Sans Light" panose="020B0306030504020204" pitchFamily="34" charset="0"/>
                <a:ea typeface="Open Sans Light" panose="020B0306030504020204" pitchFamily="34" charset="0"/>
                <a:cs typeface="Open Sans Light" panose="020B0306030504020204" pitchFamily="34" charset="0"/>
              </a:rPr>
              <a:t>Path to innovation &amp; automation</a:t>
            </a:r>
          </a:p>
        </p:txBody>
      </p:sp>
      <p:sp>
        <p:nvSpPr>
          <p:cNvPr id="151" name="Isosceles Triangle 11">
            <a:extLst>
              <a:ext uri="{FF2B5EF4-FFF2-40B4-BE49-F238E27FC236}">
                <a16:creationId xmlns:a16="http://schemas.microsoft.com/office/drawing/2014/main" id="{CED9EFED-F3D9-E329-04BD-A784BA2D99DE}"/>
              </a:ext>
            </a:extLst>
          </p:cNvPr>
          <p:cNvSpPr/>
          <p:nvPr/>
        </p:nvSpPr>
        <p:spPr bwMode="gray">
          <a:xfrm rot="5400000">
            <a:off x="1594898" y="1765097"/>
            <a:ext cx="426932" cy="333518"/>
          </a:xfrm>
          <a:prstGeom prst="triangle">
            <a:avLst/>
          </a:prstGeom>
          <a:gradFill>
            <a:gsLst>
              <a:gs pos="0">
                <a:sysClr val="window" lastClr="FFFFFF">
                  <a:alpha val="0"/>
                </a:sysClr>
              </a:gs>
              <a:gs pos="99000">
                <a:srgbClr val="62B5E5"/>
              </a:gs>
            </a:gsLst>
            <a:lin ang="14400000" scaled="0"/>
          </a:gra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2" name="Isosceles Triangle 11">
            <a:extLst>
              <a:ext uri="{FF2B5EF4-FFF2-40B4-BE49-F238E27FC236}">
                <a16:creationId xmlns:a16="http://schemas.microsoft.com/office/drawing/2014/main" id="{3938AF33-9F56-4828-88A8-868A21EE96DD}"/>
              </a:ext>
            </a:extLst>
          </p:cNvPr>
          <p:cNvSpPr/>
          <p:nvPr/>
        </p:nvSpPr>
        <p:spPr bwMode="gray">
          <a:xfrm rot="5400000">
            <a:off x="1747298" y="1765097"/>
            <a:ext cx="426932" cy="333518"/>
          </a:xfrm>
          <a:prstGeom prst="triangle">
            <a:avLst/>
          </a:prstGeom>
          <a:gradFill>
            <a:gsLst>
              <a:gs pos="0">
                <a:sysClr val="window" lastClr="FFFFFF">
                  <a:alpha val="0"/>
                </a:sysClr>
              </a:gs>
              <a:gs pos="99000">
                <a:srgbClr val="62B5E5">
                  <a:alpha val="29000"/>
                </a:srgbClr>
              </a:gs>
            </a:gsLst>
            <a:lin ang="14400000" scaled="0"/>
          </a:gra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3" name="Isosceles Triangle 11">
            <a:extLst>
              <a:ext uri="{FF2B5EF4-FFF2-40B4-BE49-F238E27FC236}">
                <a16:creationId xmlns:a16="http://schemas.microsoft.com/office/drawing/2014/main" id="{1612A2AD-849E-02E5-C0E5-35CAB3449A05}"/>
              </a:ext>
            </a:extLst>
          </p:cNvPr>
          <p:cNvSpPr/>
          <p:nvPr/>
        </p:nvSpPr>
        <p:spPr bwMode="gray">
          <a:xfrm rot="5400000">
            <a:off x="3066316" y="1765097"/>
            <a:ext cx="426932" cy="333518"/>
          </a:xfrm>
          <a:prstGeom prst="triangle">
            <a:avLst/>
          </a:prstGeom>
          <a:gradFill>
            <a:gsLst>
              <a:gs pos="0">
                <a:sysClr val="window" lastClr="FFFFFF">
                  <a:alpha val="0"/>
                </a:sysClr>
              </a:gs>
              <a:gs pos="99000">
                <a:srgbClr val="62B5E5"/>
              </a:gs>
            </a:gsLst>
            <a:lin ang="14400000" scaled="0"/>
          </a:gra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4" name="Isosceles Triangle 11">
            <a:extLst>
              <a:ext uri="{FF2B5EF4-FFF2-40B4-BE49-F238E27FC236}">
                <a16:creationId xmlns:a16="http://schemas.microsoft.com/office/drawing/2014/main" id="{835D5B90-DC8A-87C6-913D-CB25FFE99AA0}"/>
              </a:ext>
            </a:extLst>
          </p:cNvPr>
          <p:cNvSpPr/>
          <p:nvPr/>
        </p:nvSpPr>
        <p:spPr bwMode="gray">
          <a:xfrm rot="5400000">
            <a:off x="3218716" y="1765097"/>
            <a:ext cx="426932" cy="333518"/>
          </a:xfrm>
          <a:prstGeom prst="triangle">
            <a:avLst/>
          </a:prstGeom>
          <a:gradFill>
            <a:gsLst>
              <a:gs pos="0">
                <a:sysClr val="window" lastClr="FFFFFF">
                  <a:alpha val="0"/>
                </a:sysClr>
              </a:gs>
              <a:gs pos="99000">
                <a:srgbClr val="62B5E5">
                  <a:alpha val="29000"/>
                </a:srgbClr>
              </a:gs>
            </a:gsLst>
            <a:lin ang="14400000" scaled="0"/>
          </a:gra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55" name="Elbow Connector 357">
            <a:extLst>
              <a:ext uri="{FF2B5EF4-FFF2-40B4-BE49-F238E27FC236}">
                <a16:creationId xmlns:a16="http://schemas.microsoft.com/office/drawing/2014/main" id="{D18CE75A-58CF-7D8C-DA7D-86B576BA4C89}"/>
              </a:ext>
            </a:extLst>
          </p:cNvPr>
          <p:cNvCxnSpPr>
            <a:cxnSpLocks/>
          </p:cNvCxnSpPr>
          <p:nvPr/>
        </p:nvCxnSpPr>
        <p:spPr>
          <a:xfrm rot="10800000" flipV="1">
            <a:off x="5386122" y="2488837"/>
            <a:ext cx="3250156" cy="152779"/>
          </a:xfrm>
          <a:prstGeom prst="bentConnector2">
            <a:avLst/>
          </a:prstGeom>
          <a:noFill/>
          <a:ln w="19050" cap="flat" cmpd="sng" algn="ctr">
            <a:solidFill>
              <a:srgbClr val="00A1E0"/>
            </a:solidFill>
            <a:prstDash val="solid"/>
            <a:tailEnd type="triangle"/>
          </a:ln>
          <a:effectLst/>
        </p:spPr>
      </p:cxnSp>
      <p:sp>
        <p:nvSpPr>
          <p:cNvPr id="156" name="TextBox 155">
            <a:extLst>
              <a:ext uri="{FF2B5EF4-FFF2-40B4-BE49-F238E27FC236}">
                <a16:creationId xmlns:a16="http://schemas.microsoft.com/office/drawing/2014/main" id="{6E30C92C-3329-00D9-48B1-4B512DD63FB4}"/>
              </a:ext>
            </a:extLst>
          </p:cNvPr>
          <p:cNvSpPr txBox="1"/>
          <p:nvPr/>
        </p:nvSpPr>
        <p:spPr>
          <a:xfrm>
            <a:off x="6460497" y="2382720"/>
            <a:ext cx="478564" cy="241352"/>
          </a:xfrm>
          <a:prstGeom prst="rect">
            <a:avLst/>
          </a:prstGeom>
          <a:solidFill>
            <a:sysClr val="window" lastClr="FFFFFF"/>
          </a:solidFill>
        </p:spPr>
        <p:txBody>
          <a:bodyPr wrap="square" lIns="0" tIns="50929" rIns="0" bIns="50929"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Incidents</a:t>
            </a:r>
          </a:p>
        </p:txBody>
      </p:sp>
      <p:pic>
        <p:nvPicPr>
          <p:cNvPr id="157" name="Picture 2" descr="ITIL – Techexpert International">
            <a:extLst>
              <a:ext uri="{FF2B5EF4-FFF2-40B4-BE49-F238E27FC236}">
                <a16:creationId xmlns:a16="http://schemas.microsoft.com/office/drawing/2014/main" id="{2DA4D5E4-02DD-2796-2318-84511BC2347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684617" y="5578161"/>
            <a:ext cx="591234" cy="265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373203"/>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826FF6-50DA-0699-4D32-1A56421216AB}"/>
              </a:ext>
            </a:extLst>
          </p:cNvPr>
          <p:cNvGraphicFramePr>
            <a:graphicFrameLocks noChangeAspect="1"/>
          </p:cNvGraphicFramePr>
          <p:nvPr>
            <p:custDataLst>
              <p:tags r:id="rId1"/>
            </p:custDataLst>
            <p:extLst>
              <p:ext uri="{D42A27DB-BD31-4B8C-83A1-F6EECF244321}">
                <p14:modId xmlns:p14="http://schemas.microsoft.com/office/powerpoint/2010/main" val="3439340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DF826FF6-50DA-0699-4D32-1A5642121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69900" y="797082"/>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e use an iterative development approach that provides UNICEF rapid visibility of the solution and also enables feedback and learning for the team across the different phases of the project.</a:t>
            </a:r>
          </a:p>
          <a:p>
            <a:endPar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endPar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vert="horz"/>
          <a:lstStyle/>
          <a:p>
            <a:r>
              <a:rPr lang="en-US" dirty="0"/>
              <a:t>Agile based enhancements delivery</a:t>
            </a:r>
          </a:p>
        </p:txBody>
      </p:sp>
      <p:sp>
        <p:nvSpPr>
          <p:cNvPr id="164" name="Rectangle: Rounded Corners 10">
            <a:extLst>
              <a:ext uri="{FF2B5EF4-FFF2-40B4-BE49-F238E27FC236}">
                <a16:creationId xmlns:a16="http://schemas.microsoft.com/office/drawing/2014/main" id="{05389D89-F9D1-32E0-0EF4-87ECD613A332}"/>
              </a:ext>
            </a:extLst>
          </p:cNvPr>
          <p:cNvSpPr/>
          <p:nvPr/>
        </p:nvSpPr>
        <p:spPr bwMode="gray">
          <a:xfrm>
            <a:off x="0" y="5109826"/>
            <a:ext cx="12191999" cy="913934"/>
          </a:xfrm>
          <a:prstGeom prst="roundRect">
            <a:avLst>
              <a:gd name="adj" fmla="val 1038"/>
            </a:avLst>
          </a:prstGeom>
          <a:gradFill flip="none" rotWithShape="1">
            <a:gsLst>
              <a:gs pos="0">
                <a:sysClr val="window" lastClr="FFFFFF"/>
              </a:gs>
              <a:gs pos="60000">
                <a:srgbClr val="9DD4CF">
                  <a:alpha val="32394"/>
                </a:srgb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dirty="0">
              <a:ln>
                <a:noFill/>
              </a:ln>
              <a:solidFill>
                <a:prstClr val="white"/>
              </a:solidFill>
              <a:effectLst/>
              <a:uLnTx/>
              <a:uFillTx/>
              <a:latin typeface="Open Sans"/>
            </a:endParaRPr>
          </a:p>
        </p:txBody>
      </p:sp>
      <p:grpSp>
        <p:nvGrpSpPr>
          <p:cNvPr id="165" name="Group 164">
            <a:extLst>
              <a:ext uri="{FF2B5EF4-FFF2-40B4-BE49-F238E27FC236}">
                <a16:creationId xmlns:a16="http://schemas.microsoft.com/office/drawing/2014/main" id="{B9786A96-153A-5F3E-2F15-01FD255DF738}"/>
              </a:ext>
            </a:extLst>
          </p:cNvPr>
          <p:cNvGrpSpPr>
            <a:grpSpLocks noChangeAspect="1"/>
          </p:cNvGrpSpPr>
          <p:nvPr/>
        </p:nvGrpSpPr>
        <p:grpSpPr>
          <a:xfrm>
            <a:off x="921472" y="5362572"/>
            <a:ext cx="270440" cy="268877"/>
            <a:chOff x="3317876" y="2632710"/>
            <a:chExt cx="274638" cy="273050"/>
          </a:xfrm>
          <a:solidFill>
            <a:srgbClr val="6FC2B4"/>
          </a:solidFill>
        </p:grpSpPr>
        <p:sp>
          <p:nvSpPr>
            <p:cNvPr id="166" name="Freeform 132">
              <a:extLst>
                <a:ext uri="{FF2B5EF4-FFF2-40B4-BE49-F238E27FC236}">
                  <a16:creationId xmlns:a16="http://schemas.microsoft.com/office/drawing/2014/main" id="{B93CC262-8D61-0990-FCED-84EF48E77FDB}"/>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67" name="Freeform 133">
              <a:extLst>
                <a:ext uri="{FF2B5EF4-FFF2-40B4-BE49-F238E27FC236}">
                  <a16:creationId xmlns:a16="http://schemas.microsoft.com/office/drawing/2014/main" id="{B5B1B5A5-D2CC-465B-83D8-3C75D3205DED}"/>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68" name="Freeform 134">
              <a:extLst>
                <a:ext uri="{FF2B5EF4-FFF2-40B4-BE49-F238E27FC236}">
                  <a16:creationId xmlns:a16="http://schemas.microsoft.com/office/drawing/2014/main" id="{AA31C2FC-5545-FED8-35FE-EA61102BDCB9}"/>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69" name="Freeform 135">
              <a:extLst>
                <a:ext uri="{FF2B5EF4-FFF2-40B4-BE49-F238E27FC236}">
                  <a16:creationId xmlns:a16="http://schemas.microsoft.com/office/drawing/2014/main" id="{7D5FF97E-0322-F8E3-CEB2-771B364FCB2D}"/>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70" name="Freeform 136">
              <a:extLst>
                <a:ext uri="{FF2B5EF4-FFF2-40B4-BE49-F238E27FC236}">
                  <a16:creationId xmlns:a16="http://schemas.microsoft.com/office/drawing/2014/main" id="{8E9E2CC4-7954-FCD3-8276-74675367B904}"/>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71" name="Freeform 137">
              <a:extLst>
                <a:ext uri="{FF2B5EF4-FFF2-40B4-BE49-F238E27FC236}">
                  <a16:creationId xmlns:a16="http://schemas.microsoft.com/office/drawing/2014/main" id="{965DA3BA-6469-E6B5-55CB-5CA7E1C550F2}"/>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grpSp>
      <p:sp>
        <p:nvSpPr>
          <p:cNvPr id="172" name="Rectangle 171">
            <a:extLst>
              <a:ext uri="{FF2B5EF4-FFF2-40B4-BE49-F238E27FC236}">
                <a16:creationId xmlns:a16="http://schemas.microsoft.com/office/drawing/2014/main" id="{2C8BEB65-FC36-F0FA-E260-3EF02C797FB2}"/>
              </a:ext>
            </a:extLst>
          </p:cNvPr>
          <p:cNvSpPr/>
          <p:nvPr/>
        </p:nvSpPr>
        <p:spPr>
          <a:xfrm>
            <a:off x="1422488" y="5318420"/>
            <a:ext cx="2520000" cy="138499"/>
          </a:xfrm>
          <a:prstGeom prst="rect">
            <a:avLst/>
          </a:prstGeom>
        </p:spPr>
        <p:txBody>
          <a:bodyPr wrap="square" lIns="0" tIns="0" rIns="0" bIns="0">
            <a:spAutoFit/>
          </a:bodyPr>
          <a:lstStyle/>
          <a:p>
            <a:pP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ased on </a:t>
            </a:r>
            <a:r>
              <a:rPr lang="en-US" sz="900" b="1" dirty="0">
                <a:solidFill>
                  <a:prstClr val="black"/>
                </a:solidFill>
                <a:latin typeface="Open Sans"/>
                <a:ea typeface="Open Sans" panose="020B0606030504020204" pitchFamily="34" charset="0"/>
                <a:cs typeface="Open Sans" panose="020B0606030504020204" pitchFamily="34" charset="0"/>
              </a:rPr>
              <a:t>Scrum</a:t>
            </a:r>
          </a:p>
        </p:txBody>
      </p:sp>
      <p:sp>
        <p:nvSpPr>
          <p:cNvPr id="173" name="Freeform 188">
            <a:extLst>
              <a:ext uri="{FF2B5EF4-FFF2-40B4-BE49-F238E27FC236}">
                <a16:creationId xmlns:a16="http://schemas.microsoft.com/office/drawing/2014/main" id="{EC698551-9F30-F9D9-F420-E6104A165FD0}"/>
              </a:ext>
            </a:extLst>
          </p:cNvPr>
          <p:cNvSpPr>
            <a:spLocks/>
          </p:cNvSpPr>
          <p:nvPr/>
        </p:nvSpPr>
        <p:spPr bwMode="auto">
          <a:xfrm>
            <a:off x="914558" y="5615428"/>
            <a:ext cx="284269" cy="192073"/>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solidFill>
            <a:srgbClr val="6FC2B4"/>
          </a:solidFill>
          <a:ln>
            <a:noFill/>
          </a:ln>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74" name="Rectangle 173">
            <a:extLst>
              <a:ext uri="{FF2B5EF4-FFF2-40B4-BE49-F238E27FC236}">
                <a16:creationId xmlns:a16="http://schemas.microsoft.com/office/drawing/2014/main" id="{261054ED-1A94-03B3-A33B-8F4A34D59C00}"/>
              </a:ext>
            </a:extLst>
          </p:cNvPr>
          <p:cNvSpPr/>
          <p:nvPr/>
        </p:nvSpPr>
        <p:spPr>
          <a:xfrm>
            <a:off x="1422488" y="5543405"/>
            <a:ext cx="2520000" cy="276999"/>
          </a:xfrm>
          <a:prstGeom prst="rect">
            <a:avLst/>
          </a:prstGeom>
        </p:spPr>
        <p:txBody>
          <a:bodyPr wrap="square" lIns="0" tIns="0" rIns="0" bIns="0" anchor="ctr">
            <a:spAutoFit/>
          </a:bodyPr>
          <a:lstStyle/>
          <a:p>
            <a:pP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ocus on </a:t>
            </a:r>
            <a:r>
              <a:rPr lang="en-US" sz="900" b="1" dirty="0">
                <a:solidFill>
                  <a:prstClr val="black"/>
                </a:solidFill>
                <a:latin typeface="Open Sans"/>
                <a:ea typeface="Open Sans" panose="020B0606030504020204" pitchFamily="34" charset="0"/>
                <a:cs typeface="Open Sans" panose="020B0606030504020204" pitchFamily="34" charset="0"/>
              </a:rPr>
              <a:t>working software</a:t>
            </a:r>
            <a:endPar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d continuous improvement</a:t>
            </a:r>
          </a:p>
        </p:txBody>
      </p:sp>
      <p:grpSp>
        <p:nvGrpSpPr>
          <p:cNvPr id="175" name="Group 174">
            <a:extLst>
              <a:ext uri="{FF2B5EF4-FFF2-40B4-BE49-F238E27FC236}">
                <a16:creationId xmlns:a16="http://schemas.microsoft.com/office/drawing/2014/main" id="{245EB931-A45D-A3A5-B312-88766519464C}"/>
              </a:ext>
            </a:extLst>
          </p:cNvPr>
          <p:cNvGrpSpPr>
            <a:grpSpLocks noChangeAspect="1"/>
          </p:cNvGrpSpPr>
          <p:nvPr/>
        </p:nvGrpSpPr>
        <p:grpSpPr>
          <a:xfrm>
            <a:off x="3481658" y="5362571"/>
            <a:ext cx="246774" cy="256925"/>
            <a:chOff x="7734301" y="3471863"/>
            <a:chExt cx="231775" cy="241300"/>
          </a:xfrm>
          <a:solidFill>
            <a:srgbClr val="6FC2B4"/>
          </a:solidFill>
        </p:grpSpPr>
        <p:sp>
          <p:nvSpPr>
            <p:cNvPr id="176" name="Freeform 378">
              <a:extLst>
                <a:ext uri="{FF2B5EF4-FFF2-40B4-BE49-F238E27FC236}">
                  <a16:creationId xmlns:a16="http://schemas.microsoft.com/office/drawing/2014/main" id="{012D06F1-A1FF-D9BE-CFAE-63EDB928691D}"/>
                </a:ext>
              </a:extLst>
            </p:cNvPr>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1550" b="0" i="0" u="none" strike="noStrike" kern="0" cap="none" spc="0" normalizeH="0" baseline="0" dirty="0">
                <a:ln>
                  <a:noFill/>
                </a:ln>
                <a:solidFill>
                  <a:prstClr val="black"/>
                </a:solidFill>
                <a:effectLst/>
                <a:uLnTx/>
                <a:uFillTx/>
                <a:latin typeface="Open Sans"/>
              </a:endParaRPr>
            </a:p>
          </p:txBody>
        </p:sp>
        <p:sp>
          <p:nvSpPr>
            <p:cNvPr id="177" name="Freeform 379">
              <a:extLst>
                <a:ext uri="{FF2B5EF4-FFF2-40B4-BE49-F238E27FC236}">
                  <a16:creationId xmlns:a16="http://schemas.microsoft.com/office/drawing/2014/main" id="{FE2E7FC2-5ECA-D9F1-3303-6F0BB7CD1CC1}"/>
                </a:ext>
              </a:extLst>
            </p:cNvPr>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1550" b="0" i="0" u="none" strike="noStrike" kern="0" cap="none" spc="0" normalizeH="0" baseline="0" dirty="0">
                <a:ln>
                  <a:noFill/>
                </a:ln>
                <a:solidFill>
                  <a:prstClr val="black"/>
                </a:solidFill>
                <a:effectLst/>
                <a:uLnTx/>
                <a:uFillTx/>
                <a:latin typeface="Open Sans"/>
              </a:endParaRPr>
            </a:p>
          </p:txBody>
        </p:sp>
        <p:sp>
          <p:nvSpPr>
            <p:cNvPr id="178" name="Freeform 380">
              <a:extLst>
                <a:ext uri="{FF2B5EF4-FFF2-40B4-BE49-F238E27FC236}">
                  <a16:creationId xmlns:a16="http://schemas.microsoft.com/office/drawing/2014/main" id="{BEE4122B-A5B8-C4CB-B6BE-D74B6384000D}"/>
                </a:ext>
              </a:extLst>
            </p:cNvPr>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1550" b="0" i="0" u="none" strike="noStrike" kern="0" cap="none" spc="0" normalizeH="0" baseline="0" dirty="0">
                <a:ln>
                  <a:noFill/>
                </a:ln>
                <a:solidFill>
                  <a:prstClr val="black"/>
                </a:solidFill>
                <a:effectLst/>
                <a:uLnTx/>
                <a:uFillTx/>
                <a:latin typeface="Open Sans"/>
              </a:endParaRPr>
            </a:p>
          </p:txBody>
        </p:sp>
        <p:sp>
          <p:nvSpPr>
            <p:cNvPr id="179" name="Freeform 381">
              <a:extLst>
                <a:ext uri="{FF2B5EF4-FFF2-40B4-BE49-F238E27FC236}">
                  <a16:creationId xmlns:a16="http://schemas.microsoft.com/office/drawing/2014/main" id="{ED52F697-EA2C-B4FF-E825-8AF52A120944}"/>
                </a:ext>
              </a:extLst>
            </p:cNvPr>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1550" b="0" i="0" u="none" strike="noStrike" kern="0" cap="none" spc="0" normalizeH="0" baseline="0" dirty="0">
                <a:ln>
                  <a:noFill/>
                </a:ln>
                <a:solidFill>
                  <a:prstClr val="black"/>
                </a:solidFill>
                <a:effectLst/>
                <a:uLnTx/>
                <a:uFillTx/>
                <a:latin typeface="Open Sans"/>
              </a:endParaRPr>
            </a:p>
          </p:txBody>
        </p:sp>
        <p:sp>
          <p:nvSpPr>
            <p:cNvPr id="180" name="Freeform 382">
              <a:extLst>
                <a:ext uri="{FF2B5EF4-FFF2-40B4-BE49-F238E27FC236}">
                  <a16:creationId xmlns:a16="http://schemas.microsoft.com/office/drawing/2014/main" id="{359B930B-7796-192C-276D-EA64F38C8CFA}"/>
                </a:ext>
              </a:extLst>
            </p:cNvPr>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1550" b="0" i="0" u="none" strike="noStrike" kern="0" cap="none" spc="0" normalizeH="0" baseline="0" dirty="0">
                <a:ln>
                  <a:noFill/>
                </a:ln>
                <a:solidFill>
                  <a:prstClr val="black"/>
                </a:solidFill>
                <a:effectLst/>
                <a:uLnTx/>
                <a:uFillTx/>
                <a:latin typeface="Open Sans"/>
              </a:endParaRPr>
            </a:p>
          </p:txBody>
        </p:sp>
        <p:sp>
          <p:nvSpPr>
            <p:cNvPr id="181" name="Freeform 383">
              <a:extLst>
                <a:ext uri="{FF2B5EF4-FFF2-40B4-BE49-F238E27FC236}">
                  <a16:creationId xmlns:a16="http://schemas.microsoft.com/office/drawing/2014/main" id="{06170196-83E8-9609-59F1-06C8A21F9F7E}"/>
                </a:ext>
              </a:extLst>
            </p:cNvPr>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1550" b="0" i="0" u="none" strike="noStrike" kern="0" cap="none" spc="0" normalizeH="0" baseline="0" dirty="0">
                <a:ln>
                  <a:noFill/>
                </a:ln>
                <a:solidFill>
                  <a:prstClr val="black"/>
                </a:solidFill>
                <a:effectLst/>
                <a:uLnTx/>
                <a:uFillTx/>
                <a:latin typeface="Open Sans"/>
              </a:endParaRPr>
            </a:p>
          </p:txBody>
        </p:sp>
      </p:grpSp>
      <p:sp>
        <p:nvSpPr>
          <p:cNvPr id="182" name="Rectangle 181">
            <a:extLst>
              <a:ext uri="{FF2B5EF4-FFF2-40B4-BE49-F238E27FC236}">
                <a16:creationId xmlns:a16="http://schemas.microsoft.com/office/drawing/2014/main" id="{F20C82E1-3D1D-E74D-7816-825948573183}"/>
              </a:ext>
            </a:extLst>
          </p:cNvPr>
          <p:cNvSpPr/>
          <p:nvPr/>
        </p:nvSpPr>
        <p:spPr>
          <a:xfrm>
            <a:off x="3857176" y="5318419"/>
            <a:ext cx="2291131" cy="553998"/>
          </a:xfrm>
          <a:prstGeom prst="rect">
            <a:avLst/>
          </a:prstGeom>
        </p:spPr>
        <p:txBody>
          <a:bodyPr wrap="square" lIns="0" tIns="0" rIns="0" bIns="0">
            <a:spAutoFit/>
          </a:bodyPr>
          <a:lstStyle/>
          <a:p>
            <a:pP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cope defined through the use of </a:t>
            </a:r>
            <a:r>
              <a:rPr lang="en-US" sz="900" b="1" dirty="0">
                <a:solidFill>
                  <a:prstClr val="black"/>
                </a:solidFill>
                <a:latin typeface="Open Sans"/>
                <a:ea typeface="Open Sans" panose="020B0606030504020204" pitchFamily="34" charset="0"/>
                <a:cs typeface="Open Sans" panose="020B0606030504020204" pitchFamily="34" charset="0"/>
              </a:rPr>
              <a:t>product</a:t>
            </a:r>
            <a:r>
              <a:rPr lang="en-US" sz="900" dirty="0">
                <a:solidFill>
                  <a:prstClr val="black"/>
                </a:solidFill>
                <a:latin typeface="Open Sans"/>
                <a:ea typeface="Open Sans" panose="020B0606030504020204" pitchFamily="34" charset="0"/>
                <a:cs typeface="Open Sans" panose="020B0606030504020204" pitchFamily="34" charset="0"/>
              </a:rPr>
              <a:t> and </a:t>
            </a:r>
            <a:r>
              <a:rPr lang="en-US" sz="900" b="1" dirty="0">
                <a:solidFill>
                  <a:prstClr val="black"/>
                </a:solidFill>
                <a:latin typeface="Open Sans"/>
                <a:ea typeface="Open Sans" panose="020B0606030504020204" pitchFamily="34" charset="0"/>
                <a:cs typeface="Open Sans" panose="020B0606030504020204" pitchFamily="34" charset="0"/>
              </a:rPr>
              <a:t>sprint backlogs </a:t>
            </a: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d prioritized by the </a:t>
            </a:r>
            <a:r>
              <a:rPr lang="en-US" sz="900" b="1" dirty="0">
                <a:solidFill>
                  <a:prstClr val="black"/>
                </a:solidFill>
                <a:latin typeface="Open Sans"/>
                <a:ea typeface="Open Sans" panose="020B0606030504020204" pitchFamily="34" charset="0"/>
                <a:cs typeface="Open Sans" panose="020B0606030504020204" pitchFamily="34" charset="0"/>
              </a:rPr>
              <a:t>product owner</a:t>
            </a:r>
            <a:r>
              <a:rPr lang="en-US" sz="900" dirty="0">
                <a:solidFill>
                  <a:prstClr val="black"/>
                </a:solidFill>
                <a:latin typeface="Open Sans"/>
                <a:ea typeface="Open Sans" panose="020B0606030504020204" pitchFamily="34" charset="0"/>
                <a:cs typeface="Open Sans" panose="020B0606030504020204" pitchFamily="34" charset="0"/>
              </a:rPr>
              <a:t> </a:t>
            </a: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o forecast releases with the</a:t>
            </a:r>
            <a:r>
              <a:rPr lang="en-US" sz="900" dirty="0">
                <a:solidFill>
                  <a:prstClr val="black"/>
                </a:solidFill>
                <a:latin typeface="Open Sans"/>
                <a:ea typeface="Open Sans" panose="020B0606030504020204" pitchFamily="34" charset="0"/>
                <a:cs typeface="Open Sans" panose="020B0606030504020204" pitchFamily="34" charset="0"/>
              </a:rPr>
              <a:t> </a:t>
            </a:r>
            <a:r>
              <a:rPr lang="en-US" sz="900" b="1" dirty="0">
                <a:solidFill>
                  <a:prstClr val="black"/>
                </a:solidFill>
                <a:latin typeface="Open Sans"/>
                <a:ea typeface="Open Sans" panose="020B0606030504020204" pitchFamily="34" charset="0"/>
                <a:cs typeface="Open Sans" panose="020B0606030504020204" pitchFamily="34" charset="0"/>
              </a:rPr>
              <a:t>roadmap</a:t>
            </a:r>
          </a:p>
        </p:txBody>
      </p:sp>
      <p:grpSp>
        <p:nvGrpSpPr>
          <p:cNvPr id="183" name="Group 182">
            <a:extLst>
              <a:ext uri="{FF2B5EF4-FFF2-40B4-BE49-F238E27FC236}">
                <a16:creationId xmlns:a16="http://schemas.microsoft.com/office/drawing/2014/main" id="{0449EC1F-992A-B919-B5E1-8533DF242DCF}"/>
              </a:ext>
            </a:extLst>
          </p:cNvPr>
          <p:cNvGrpSpPr>
            <a:grpSpLocks noChangeAspect="1"/>
          </p:cNvGrpSpPr>
          <p:nvPr/>
        </p:nvGrpSpPr>
        <p:grpSpPr>
          <a:xfrm>
            <a:off x="9373220" y="5362572"/>
            <a:ext cx="229785" cy="236800"/>
            <a:chOff x="3327219" y="984250"/>
            <a:chExt cx="238125" cy="245392"/>
          </a:xfrm>
          <a:solidFill>
            <a:srgbClr val="9DD4CF"/>
          </a:solidFill>
        </p:grpSpPr>
        <p:sp>
          <p:nvSpPr>
            <p:cNvPr id="184" name="Freeform 106">
              <a:extLst>
                <a:ext uri="{FF2B5EF4-FFF2-40B4-BE49-F238E27FC236}">
                  <a16:creationId xmlns:a16="http://schemas.microsoft.com/office/drawing/2014/main" id="{3D4F7CCA-1A63-B9FE-F478-B2097520F7C5}"/>
                </a:ext>
              </a:extLst>
            </p:cNvPr>
            <p:cNvSpPr>
              <a:spLocks/>
            </p:cNvSpPr>
            <p:nvPr/>
          </p:nvSpPr>
          <p:spPr bwMode="auto">
            <a:xfrm>
              <a:off x="3330576" y="1069055"/>
              <a:ext cx="122238" cy="160587"/>
            </a:xfrm>
            <a:custGeom>
              <a:avLst/>
              <a:gdLst>
                <a:gd name="T0" fmla="*/ 11 w 153"/>
                <a:gd name="T1" fmla="*/ 91 h 152"/>
                <a:gd name="T2" fmla="*/ 11 w 153"/>
                <a:gd name="T3" fmla="*/ 91 h 152"/>
                <a:gd name="T4" fmla="*/ 7 w 153"/>
                <a:gd name="T5" fmla="*/ 97 h 152"/>
                <a:gd name="T6" fmla="*/ 3 w 153"/>
                <a:gd name="T7" fmla="*/ 103 h 152"/>
                <a:gd name="T8" fmla="*/ 1 w 153"/>
                <a:gd name="T9" fmla="*/ 110 h 152"/>
                <a:gd name="T10" fmla="*/ 0 w 153"/>
                <a:gd name="T11" fmla="*/ 117 h 152"/>
                <a:gd name="T12" fmla="*/ 0 w 153"/>
                <a:gd name="T13" fmla="*/ 117 h 152"/>
                <a:gd name="T14" fmla="*/ 1 w 153"/>
                <a:gd name="T15" fmla="*/ 123 h 152"/>
                <a:gd name="T16" fmla="*/ 3 w 153"/>
                <a:gd name="T17" fmla="*/ 130 h 152"/>
                <a:gd name="T18" fmla="*/ 7 w 153"/>
                <a:gd name="T19" fmla="*/ 136 h 152"/>
                <a:gd name="T20" fmla="*/ 11 w 153"/>
                <a:gd name="T21" fmla="*/ 141 h 152"/>
                <a:gd name="T22" fmla="*/ 11 w 153"/>
                <a:gd name="T23" fmla="*/ 141 h 152"/>
                <a:gd name="T24" fmla="*/ 16 w 153"/>
                <a:gd name="T25" fmla="*/ 146 h 152"/>
                <a:gd name="T26" fmla="*/ 23 w 153"/>
                <a:gd name="T27" fmla="*/ 149 h 152"/>
                <a:gd name="T28" fmla="*/ 30 w 153"/>
                <a:gd name="T29" fmla="*/ 152 h 152"/>
                <a:gd name="T30" fmla="*/ 36 w 153"/>
                <a:gd name="T31" fmla="*/ 152 h 152"/>
                <a:gd name="T32" fmla="*/ 36 w 153"/>
                <a:gd name="T33" fmla="*/ 152 h 152"/>
                <a:gd name="T34" fmla="*/ 43 w 153"/>
                <a:gd name="T35" fmla="*/ 152 h 152"/>
                <a:gd name="T36" fmla="*/ 50 w 153"/>
                <a:gd name="T37" fmla="*/ 149 h 152"/>
                <a:gd name="T38" fmla="*/ 55 w 153"/>
                <a:gd name="T39" fmla="*/ 146 h 152"/>
                <a:gd name="T40" fmla="*/ 61 w 153"/>
                <a:gd name="T41" fmla="*/ 141 h 152"/>
                <a:gd name="T42" fmla="*/ 61 w 153"/>
                <a:gd name="T43" fmla="*/ 141 h 152"/>
                <a:gd name="T44" fmla="*/ 69 w 153"/>
                <a:gd name="T45" fmla="*/ 133 h 152"/>
                <a:gd name="T46" fmla="*/ 79 w 153"/>
                <a:gd name="T47" fmla="*/ 117 h 152"/>
                <a:gd name="T48" fmla="*/ 106 w 153"/>
                <a:gd name="T49" fmla="*/ 75 h 152"/>
                <a:gd name="T50" fmla="*/ 144 w 153"/>
                <a:gd name="T51" fmla="*/ 15 h 152"/>
                <a:gd name="T52" fmla="*/ 153 w 153"/>
                <a:gd name="T53" fmla="*/ 0 h 152"/>
                <a:gd name="T54" fmla="*/ 137 w 153"/>
                <a:gd name="T55" fmla="*/ 9 h 152"/>
                <a:gd name="T56" fmla="*/ 137 w 153"/>
                <a:gd name="T57" fmla="*/ 9 h 152"/>
                <a:gd name="T58" fmla="*/ 77 w 153"/>
                <a:gd name="T59" fmla="*/ 47 h 152"/>
                <a:gd name="T60" fmla="*/ 35 w 153"/>
                <a:gd name="T61" fmla="*/ 74 h 152"/>
                <a:gd name="T62" fmla="*/ 20 w 153"/>
                <a:gd name="T63" fmla="*/ 84 h 152"/>
                <a:gd name="T64" fmla="*/ 11 w 153"/>
                <a:gd name="T65" fmla="*/ 91 h 152"/>
                <a:gd name="T66" fmla="*/ 11 w 153"/>
                <a:gd name="T67" fmla="*/ 9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 h="152">
                  <a:moveTo>
                    <a:pt x="11" y="91"/>
                  </a:moveTo>
                  <a:lnTo>
                    <a:pt x="11" y="91"/>
                  </a:lnTo>
                  <a:lnTo>
                    <a:pt x="7" y="97"/>
                  </a:lnTo>
                  <a:lnTo>
                    <a:pt x="3" y="103"/>
                  </a:lnTo>
                  <a:lnTo>
                    <a:pt x="1" y="110"/>
                  </a:lnTo>
                  <a:lnTo>
                    <a:pt x="0" y="117"/>
                  </a:lnTo>
                  <a:lnTo>
                    <a:pt x="0" y="117"/>
                  </a:lnTo>
                  <a:lnTo>
                    <a:pt x="1" y="123"/>
                  </a:lnTo>
                  <a:lnTo>
                    <a:pt x="3" y="130"/>
                  </a:lnTo>
                  <a:lnTo>
                    <a:pt x="7" y="136"/>
                  </a:lnTo>
                  <a:lnTo>
                    <a:pt x="11" y="141"/>
                  </a:lnTo>
                  <a:lnTo>
                    <a:pt x="11" y="141"/>
                  </a:lnTo>
                  <a:lnTo>
                    <a:pt x="16" y="146"/>
                  </a:lnTo>
                  <a:lnTo>
                    <a:pt x="23" y="149"/>
                  </a:lnTo>
                  <a:lnTo>
                    <a:pt x="30" y="152"/>
                  </a:lnTo>
                  <a:lnTo>
                    <a:pt x="36" y="152"/>
                  </a:lnTo>
                  <a:lnTo>
                    <a:pt x="36" y="152"/>
                  </a:lnTo>
                  <a:lnTo>
                    <a:pt x="43" y="152"/>
                  </a:lnTo>
                  <a:lnTo>
                    <a:pt x="50" y="149"/>
                  </a:lnTo>
                  <a:lnTo>
                    <a:pt x="55" y="146"/>
                  </a:lnTo>
                  <a:lnTo>
                    <a:pt x="61" y="141"/>
                  </a:lnTo>
                  <a:lnTo>
                    <a:pt x="61" y="141"/>
                  </a:lnTo>
                  <a:lnTo>
                    <a:pt x="69" y="133"/>
                  </a:lnTo>
                  <a:lnTo>
                    <a:pt x="79" y="117"/>
                  </a:lnTo>
                  <a:lnTo>
                    <a:pt x="106" y="75"/>
                  </a:lnTo>
                  <a:lnTo>
                    <a:pt x="144" y="15"/>
                  </a:lnTo>
                  <a:lnTo>
                    <a:pt x="153" y="0"/>
                  </a:lnTo>
                  <a:lnTo>
                    <a:pt x="137" y="9"/>
                  </a:lnTo>
                  <a:lnTo>
                    <a:pt x="137" y="9"/>
                  </a:lnTo>
                  <a:lnTo>
                    <a:pt x="77" y="47"/>
                  </a:lnTo>
                  <a:lnTo>
                    <a:pt x="35" y="74"/>
                  </a:lnTo>
                  <a:lnTo>
                    <a:pt x="20" y="84"/>
                  </a:lnTo>
                  <a:lnTo>
                    <a:pt x="11" y="91"/>
                  </a:lnTo>
                  <a:lnTo>
                    <a:pt x="11"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85" name="Freeform 107">
              <a:extLst>
                <a:ext uri="{FF2B5EF4-FFF2-40B4-BE49-F238E27FC236}">
                  <a16:creationId xmlns:a16="http://schemas.microsoft.com/office/drawing/2014/main" id="{6FC744A1-59BA-66B2-5DE8-3AA9FDA67F75}"/>
                </a:ext>
              </a:extLst>
            </p:cNvPr>
            <p:cNvSpPr>
              <a:spLocks/>
            </p:cNvSpPr>
            <p:nvPr/>
          </p:nvSpPr>
          <p:spPr bwMode="auto">
            <a:xfrm>
              <a:off x="3351213" y="984250"/>
              <a:ext cx="15875" cy="41275"/>
            </a:xfrm>
            <a:custGeom>
              <a:avLst/>
              <a:gdLst>
                <a:gd name="T0" fmla="*/ 9 w 19"/>
                <a:gd name="T1" fmla="*/ 51 h 51"/>
                <a:gd name="T2" fmla="*/ 9 w 19"/>
                <a:gd name="T3" fmla="*/ 51 h 51"/>
                <a:gd name="T4" fmla="*/ 13 w 19"/>
                <a:gd name="T5" fmla="*/ 50 h 51"/>
                <a:gd name="T6" fmla="*/ 16 w 19"/>
                <a:gd name="T7" fmla="*/ 49 h 51"/>
                <a:gd name="T8" fmla="*/ 17 w 19"/>
                <a:gd name="T9" fmla="*/ 45 h 51"/>
                <a:gd name="T10" fmla="*/ 19 w 19"/>
                <a:gd name="T11" fmla="*/ 42 h 51"/>
                <a:gd name="T12" fmla="*/ 19 w 19"/>
                <a:gd name="T13" fmla="*/ 10 h 51"/>
                <a:gd name="T14" fmla="*/ 19 w 19"/>
                <a:gd name="T15" fmla="*/ 10 h 51"/>
                <a:gd name="T16" fmla="*/ 17 w 19"/>
                <a:gd name="T17" fmla="*/ 7 h 51"/>
                <a:gd name="T18" fmla="*/ 16 w 19"/>
                <a:gd name="T19" fmla="*/ 3 h 51"/>
                <a:gd name="T20" fmla="*/ 13 w 19"/>
                <a:gd name="T21" fmla="*/ 2 h 51"/>
                <a:gd name="T22" fmla="*/ 9 w 19"/>
                <a:gd name="T23" fmla="*/ 0 h 51"/>
                <a:gd name="T24" fmla="*/ 9 w 19"/>
                <a:gd name="T25" fmla="*/ 0 h 51"/>
                <a:gd name="T26" fmla="*/ 5 w 19"/>
                <a:gd name="T27" fmla="*/ 2 h 51"/>
                <a:gd name="T28" fmla="*/ 3 w 19"/>
                <a:gd name="T29" fmla="*/ 3 h 51"/>
                <a:gd name="T30" fmla="*/ 0 w 19"/>
                <a:gd name="T31" fmla="*/ 7 h 51"/>
                <a:gd name="T32" fmla="*/ 0 w 19"/>
                <a:gd name="T33" fmla="*/ 10 h 51"/>
                <a:gd name="T34" fmla="*/ 0 w 19"/>
                <a:gd name="T35" fmla="*/ 42 h 51"/>
                <a:gd name="T36" fmla="*/ 0 w 19"/>
                <a:gd name="T37" fmla="*/ 42 h 51"/>
                <a:gd name="T38" fmla="*/ 0 w 19"/>
                <a:gd name="T39" fmla="*/ 45 h 51"/>
                <a:gd name="T40" fmla="*/ 3 w 19"/>
                <a:gd name="T41" fmla="*/ 49 h 51"/>
                <a:gd name="T42" fmla="*/ 5 w 19"/>
                <a:gd name="T43" fmla="*/ 50 h 51"/>
                <a:gd name="T44" fmla="*/ 9 w 19"/>
                <a:gd name="T45" fmla="*/ 51 h 51"/>
                <a:gd name="T46" fmla="*/ 9 w 19"/>
                <a:gd name="T4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51">
                  <a:moveTo>
                    <a:pt x="9" y="51"/>
                  </a:moveTo>
                  <a:lnTo>
                    <a:pt x="9" y="51"/>
                  </a:lnTo>
                  <a:lnTo>
                    <a:pt x="13" y="50"/>
                  </a:lnTo>
                  <a:lnTo>
                    <a:pt x="16" y="49"/>
                  </a:lnTo>
                  <a:lnTo>
                    <a:pt x="17" y="45"/>
                  </a:lnTo>
                  <a:lnTo>
                    <a:pt x="19" y="42"/>
                  </a:lnTo>
                  <a:lnTo>
                    <a:pt x="19" y="10"/>
                  </a:lnTo>
                  <a:lnTo>
                    <a:pt x="19" y="10"/>
                  </a:lnTo>
                  <a:lnTo>
                    <a:pt x="17" y="7"/>
                  </a:lnTo>
                  <a:lnTo>
                    <a:pt x="16" y="3"/>
                  </a:lnTo>
                  <a:lnTo>
                    <a:pt x="13" y="2"/>
                  </a:lnTo>
                  <a:lnTo>
                    <a:pt x="9" y="0"/>
                  </a:lnTo>
                  <a:lnTo>
                    <a:pt x="9" y="0"/>
                  </a:lnTo>
                  <a:lnTo>
                    <a:pt x="5" y="2"/>
                  </a:lnTo>
                  <a:lnTo>
                    <a:pt x="3" y="3"/>
                  </a:lnTo>
                  <a:lnTo>
                    <a:pt x="0" y="7"/>
                  </a:lnTo>
                  <a:lnTo>
                    <a:pt x="0" y="10"/>
                  </a:lnTo>
                  <a:lnTo>
                    <a:pt x="0" y="42"/>
                  </a:lnTo>
                  <a:lnTo>
                    <a:pt x="0" y="42"/>
                  </a:lnTo>
                  <a:lnTo>
                    <a:pt x="0" y="45"/>
                  </a:lnTo>
                  <a:lnTo>
                    <a:pt x="3" y="49"/>
                  </a:lnTo>
                  <a:lnTo>
                    <a:pt x="5" y="50"/>
                  </a:lnTo>
                  <a:lnTo>
                    <a:pt x="9" y="51"/>
                  </a:lnTo>
                  <a:lnTo>
                    <a:pt x="9"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86" name="Freeform 108">
              <a:extLst>
                <a:ext uri="{FF2B5EF4-FFF2-40B4-BE49-F238E27FC236}">
                  <a16:creationId xmlns:a16="http://schemas.microsoft.com/office/drawing/2014/main" id="{70A430AB-D33A-8855-AA99-B9C97964FA2A}"/>
                </a:ext>
              </a:extLst>
            </p:cNvPr>
            <p:cNvSpPr>
              <a:spLocks/>
            </p:cNvSpPr>
            <p:nvPr/>
          </p:nvSpPr>
          <p:spPr bwMode="auto">
            <a:xfrm>
              <a:off x="3468688" y="1039813"/>
              <a:ext cx="31750" cy="33338"/>
            </a:xfrm>
            <a:custGeom>
              <a:avLst/>
              <a:gdLst>
                <a:gd name="T0" fmla="*/ 25 w 41"/>
                <a:gd name="T1" fmla="*/ 3 h 42"/>
                <a:gd name="T2" fmla="*/ 3 w 41"/>
                <a:gd name="T3" fmla="*/ 26 h 42"/>
                <a:gd name="T4" fmla="*/ 3 w 41"/>
                <a:gd name="T5" fmla="*/ 26 h 42"/>
                <a:gd name="T6" fmla="*/ 0 w 41"/>
                <a:gd name="T7" fmla="*/ 28 h 42"/>
                <a:gd name="T8" fmla="*/ 0 w 41"/>
                <a:gd name="T9" fmla="*/ 32 h 42"/>
                <a:gd name="T10" fmla="*/ 0 w 41"/>
                <a:gd name="T11" fmla="*/ 32 h 42"/>
                <a:gd name="T12" fmla="*/ 0 w 41"/>
                <a:gd name="T13" fmla="*/ 35 h 42"/>
                <a:gd name="T14" fmla="*/ 3 w 41"/>
                <a:gd name="T15" fmla="*/ 39 h 42"/>
                <a:gd name="T16" fmla="*/ 3 w 41"/>
                <a:gd name="T17" fmla="*/ 39 h 42"/>
                <a:gd name="T18" fmla="*/ 6 w 41"/>
                <a:gd name="T19" fmla="*/ 40 h 42"/>
                <a:gd name="T20" fmla="*/ 10 w 41"/>
                <a:gd name="T21" fmla="*/ 42 h 42"/>
                <a:gd name="T22" fmla="*/ 10 w 41"/>
                <a:gd name="T23" fmla="*/ 42 h 42"/>
                <a:gd name="T24" fmla="*/ 14 w 41"/>
                <a:gd name="T25" fmla="*/ 40 h 42"/>
                <a:gd name="T26" fmla="*/ 16 w 41"/>
                <a:gd name="T27" fmla="*/ 39 h 42"/>
                <a:gd name="T28" fmla="*/ 38 w 41"/>
                <a:gd name="T29" fmla="*/ 16 h 42"/>
                <a:gd name="T30" fmla="*/ 38 w 41"/>
                <a:gd name="T31" fmla="*/ 16 h 42"/>
                <a:gd name="T32" fmla="*/ 41 w 41"/>
                <a:gd name="T33" fmla="*/ 13 h 42"/>
                <a:gd name="T34" fmla="*/ 41 w 41"/>
                <a:gd name="T35" fmla="*/ 9 h 42"/>
                <a:gd name="T36" fmla="*/ 41 w 41"/>
                <a:gd name="T37" fmla="*/ 9 h 42"/>
                <a:gd name="T38" fmla="*/ 41 w 41"/>
                <a:gd name="T39" fmla="*/ 7 h 42"/>
                <a:gd name="T40" fmla="*/ 38 w 41"/>
                <a:gd name="T41" fmla="*/ 3 h 42"/>
                <a:gd name="T42" fmla="*/ 38 w 41"/>
                <a:gd name="T43" fmla="*/ 3 h 42"/>
                <a:gd name="T44" fmla="*/ 35 w 41"/>
                <a:gd name="T45" fmla="*/ 1 h 42"/>
                <a:gd name="T46" fmla="*/ 31 w 41"/>
                <a:gd name="T47" fmla="*/ 0 h 42"/>
                <a:gd name="T48" fmla="*/ 27 w 41"/>
                <a:gd name="T49" fmla="*/ 1 h 42"/>
                <a:gd name="T50" fmla="*/ 25 w 41"/>
                <a:gd name="T51" fmla="*/ 3 h 42"/>
                <a:gd name="T52" fmla="*/ 25 w 41"/>
                <a:gd name="T53"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42">
                  <a:moveTo>
                    <a:pt x="25" y="3"/>
                  </a:moveTo>
                  <a:lnTo>
                    <a:pt x="3" y="26"/>
                  </a:lnTo>
                  <a:lnTo>
                    <a:pt x="3" y="26"/>
                  </a:lnTo>
                  <a:lnTo>
                    <a:pt x="0" y="28"/>
                  </a:lnTo>
                  <a:lnTo>
                    <a:pt x="0" y="32"/>
                  </a:lnTo>
                  <a:lnTo>
                    <a:pt x="0" y="32"/>
                  </a:lnTo>
                  <a:lnTo>
                    <a:pt x="0" y="35"/>
                  </a:lnTo>
                  <a:lnTo>
                    <a:pt x="3" y="39"/>
                  </a:lnTo>
                  <a:lnTo>
                    <a:pt x="3" y="39"/>
                  </a:lnTo>
                  <a:lnTo>
                    <a:pt x="6" y="40"/>
                  </a:lnTo>
                  <a:lnTo>
                    <a:pt x="10" y="42"/>
                  </a:lnTo>
                  <a:lnTo>
                    <a:pt x="10" y="42"/>
                  </a:lnTo>
                  <a:lnTo>
                    <a:pt x="14" y="40"/>
                  </a:lnTo>
                  <a:lnTo>
                    <a:pt x="16" y="39"/>
                  </a:lnTo>
                  <a:lnTo>
                    <a:pt x="38" y="16"/>
                  </a:lnTo>
                  <a:lnTo>
                    <a:pt x="38" y="16"/>
                  </a:lnTo>
                  <a:lnTo>
                    <a:pt x="41" y="13"/>
                  </a:lnTo>
                  <a:lnTo>
                    <a:pt x="41" y="9"/>
                  </a:lnTo>
                  <a:lnTo>
                    <a:pt x="41" y="9"/>
                  </a:lnTo>
                  <a:lnTo>
                    <a:pt x="41" y="7"/>
                  </a:lnTo>
                  <a:lnTo>
                    <a:pt x="38" y="3"/>
                  </a:lnTo>
                  <a:lnTo>
                    <a:pt x="38" y="3"/>
                  </a:lnTo>
                  <a:lnTo>
                    <a:pt x="35" y="1"/>
                  </a:lnTo>
                  <a:lnTo>
                    <a:pt x="31" y="0"/>
                  </a:lnTo>
                  <a:lnTo>
                    <a:pt x="27" y="1"/>
                  </a:lnTo>
                  <a:lnTo>
                    <a:pt x="25" y="3"/>
                  </a:lnTo>
                  <a:lnTo>
                    <a:pt x="25" y="3"/>
                  </a:lnTo>
                  <a:close/>
                </a:path>
              </a:pathLst>
            </a:custGeom>
            <a:solidFill>
              <a:srgbClr val="6FC2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87" name="Freeform 109">
              <a:extLst>
                <a:ext uri="{FF2B5EF4-FFF2-40B4-BE49-F238E27FC236}">
                  <a16:creationId xmlns:a16="http://schemas.microsoft.com/office/drawing/2014/main" id="{796C0D1D-E123-ECE2-5BC6-F760D325202C}"/>
                </a:ext>
              </a:extLst>
            </p:cNvPr>
            <p:cNvSpPr>
              <a:spLocks/>
            </p:cNvSpPr>
            <p:nvPr/>
          </p:nvSpPr>
          <p:spPr bwMode="auto">
            <a:xfrm>
              <a:off x="3516313" y="1174750"/>
              <a:ext cx="39688" cy="14288"/>
            </a:xfrm>
            <a:custGeom>
              <a:avLst/>
              <a:gdLst>
                <a:gd name="T0" fmla="*/ 40 w 49"/>
                <a:gd name="T1" fmla="*/ 0 h 19"/>
                <a:gd name="T2" fmla="*/ 9 w 49"/>
                <a:gd name="T3" fmla="*/ 0 h 19"/>
                <a:gd name="T4" fmla="*/ 9 w 49"/>
                <a:gd name="T5" fmla="*/ 0 h 19"/>
                <a:gd name="T6" fmla="*/ 5 w 49"/>
                <a:gd name="T7" fmla="*/ 0 h 19"/>
                <a:gd name="T8" fmla="*/ 2 w 49"/>
                <a:gd name="T9" fmla="*/ 3 h 19"/>
                <a:gd name="T10" fmla="*/ 0 w 49"/>
                <a:gd name="T11" fmla="*/ 6 h 19"/>
                <a:gd name="T12" fmla="*/ 0 w 49"/>
                <a:gd name="T13" fmla="*/ 10 h 19"/>
                <a:gd name="T14" fmla="*/ 0 w 49"/>
                <a:gd name="T15" fmla="*/ 10 h 19"/>
                <a:gd name="T16" fmla="*/ 0 w 49"/>
                <a:gd name="T17" fmla="*/ 14 h 19"/>
                <a:gd name="T18" fmla="*/ 2 w 49"/>
                <a:gd name="T19" fmla="*/ 16 h 19"/>
                <a:gd name="T20" fmla="*/ 5 w 49"/>
                <a:gd name="T21" fmla="*/ 18 h 19"/>
                <a:gd name="T22" fmla="*/ 9 w 49"/>
                <a:gd name="T23" fmla="*/ 19 h 19"/>
                <a:gd name="T24" fmla="*/ 40 w 49"/>
                <a:gd name="T25" fmla="*/ 19 h 19"/>
                <a:gd name="T26" fmla="*/ 40 w 49"/>
                <a:gd name="T27" fmla="*/ 19 h 19"/>
                <a:gd name="T28" fmla="*/ 44 w 49"/>
                <a:gd name="T29" fmla="*/ 18 h 19"/>
                <a:gd name="T30" fmla="*/ 47 w 49"/>
                <a:gd name="T31" fmla="*/ 16 h 19"/>
                <a:gd name="T32" fmla="*/ 49 w 49"/>
                <a:gd name="T33" fmla="*/ 14 h 19"/>
                <a:gd name="T34" fmla="*/ 49 w 49"/>
                <a:gd name="T35" fmla="*/ 10 h 19"/>
                <a:gd name="T36" fmla="*/ 49 w 49"/>
                <a:gd name="T37" fmla="*/ 10 h 19"/>
                <a:gd name="T38" fmla="*/ 49 w 49"/>
                <a:gd name="T39" fmla="*/ 6 h 19"/>
                <a:gd name="T40" fmla="*/ 47 w 49"/>
                <a:gd name="T41" fmla="*/ 3 h 19"/>
                <a:gd name="T42" fmla="*/ 44 w 49"/>
                <a:gd name="T43" fmla="*/ 0 h 19"/>
                <a:gd name="T44" fmla="*/ 40 w 49"/>
                <a:gd name="T45" fmla="*/ 0 h 19"/>
                <a:gd name="T46" fmla="*/ 40 w 49"/>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19">
                  <a:moveTo>
                    <a:pt x="40" y="0"/>
                  </a:moveTo>
                  <a:lnTo>
                    <a:pt x="9" y="0"/>
                  </a:lnTo>
                  <a:lnTo>
                    <a:pt x="9" y="0"/>
                  </a:lnTo>
                  <a:lnTo>
                    <a:pt x="5" y="0"/>
                  </a:lnTo>
                  <a:lnTo>
                    <a:pt x="2" y="3"/>
                  </a:lnTo>
                  <a:lnTo>
                    <a:pt x="0" y="6"/>
                  </a:lnTo>
                  <a:lnTo>
                    <a:pt x="0" y="10"/>
                  </a:lnTo>
                  <a:lnTo>
                    <a:pt x="0" y="10"/>
                  </a:lnTo>
                  <a:lnTo>
                    <a:pt x="0" y="14"/>
                  </a:lnTo>
                  <a:lnTo>
                    <a:pt x="2" y="16"/>
                  </a:lnTo>
                  <a:lnTo>
                    <a:pt x="5" y="18"/>
                  </a:lnTo>
                  <a:lnTo>
                    <a:pt x="9" y="19"/>
                  </a:lnTo>
                  <a:lnTo>
                    <a:pt x="40" y="19"/>
                  </a:lnTo>
                  <a:lnTo>
                    <a:pt x="40" y="19"/>
                  </a:lnTo>
                  <a:lnTo>
                    <a:pt x="44" y="18"/>
                  </a:lnTo>
                  <a:lnTo>
                    <a:pt x="47" y="16"/>
                  </a:lnTo>
                  <a:lnTo>
                    <a:pt x="49" y="14"/>
                  </a:lnTo>
                  <a:lnTo>
                    <a:pt x="49" y="10"/>
                  </a:lnTo>
                  <a:lnTo>
                    <a:pt x="49" y="10"/>
                  </a:lnTo>
                  <a:lnTo>
                    <a:pt x="49" y="6"/>
                  </a:lnTo>
                  <a:lnTo>
                    <a:pt x="47" y="3"/>
                  </a:lnTo>
                  <a:lnTo>
                    <a:pt x="44" y="0"/>
                  </a:lnTo>
                  <a:lnTo>
                    <a:pt x="40"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88" name="Freeform 110">
              <a:extLst>
                <a:ext uri="{FF2B5EF4-FFF2-40B4-BE49-F238E27FC236}">
                  <a16:creationId xmlns:a16="http://schemas.microsoft.com/office/drawing/2014/main" id="{12765747-DC54-CDA1-CCCB-50535FC92E82}"/>
                </a:ext>
              </a:extLst>
            </p:cNvPr>
            <p:cNvSpPr>
              <a:spLocks/>
            </p:cNvSpPr>
            <p:nvPr/>
          </p:nvSpPr>
          <p:spPr bwMode="auto">
            <a:xfrm>
              <a:off x="3327219" y="988485"/>
              <a:ext cx="238125" cy="236538"/>
            </a:xfrm>
            <a:custGeom>
              <a:avLst/>
              <a:gdLst>
                <a:gd name="T0" fmla="*/ 9 w 298"/>
                <a:gd name="T1" fmla="*/ 0 h 298"/>
                <a:gd name="T2" fmla="*/ 0 w 298"/>
                <a:gd name="T3" fmla="*/ 0 h 298"/>
                <a:gd name="T4" fmla="*/ 0 w 298"/>
                <a:gd name="T5" fmla="*/ 19 h 298"/>
                <a:gd name="T6" fmla="*/ 9 w 298"/>
                <a:gd name="T7" fmla="*/ 19 h 298"/>
                <a:gd name="T8" fmla="*/ 9 w 298"/>
                <a:gd name="T9" fmla="*/ 19 h 298"/>
                <a:gd name="T10" fmla="*/ 36 w 298"/>
                <a:gd name="T11" fmla="*/ 20 h 298"/>
                <a:gd name="T12" fmla="*/ 63 w 298"/>
                <a:gd name="T13" fmla="*/ 24 h 298"/>
                <a:gd name="T14" fmla="*/ 89 w 298"/>
                <a:gd name="T15" fmla="*/ 31 h 298"/>
                <a:gd name="T16" fmla="*/ 114 w 298"/>
                <a:gd name="T17" fmla="*/ 40 h 298"/>
                <a:gd name="T18" fmla="*/ 138 w 298"/>
                <a:gd name="T19" fmla="*/ 51 h 298"/>
                <a:gd name="T20" fmla="*/ 160 w 298"/>
                <a:gd name="T21" fmla="*/ 64 h 298"/>
                <a:gd name="T22" fmla="*/ 181 w 298"/>
                <a:gd name="T23" fmla="*/ 81 h 298"/>
                <a:gd name="T24" fmla="*/ 200 w 298"/>
                <a:gd name="T25" fmla="*/ 98 h 298"/>
                <a:gd name="T26" fmla="*/ 218 w 298"/>
                <a:gd name="T27" fmla="*/ 117 h 298"/>
                <a:gd name="T28" fmla="*/ 232 w 298"/>
                <a:gd name="T29" fmla="*/ 137 h 298"/>
                <a:gd name="T30" fmla="*/ 246 w 298"/>
                <a:gd name="T31" fmla="*/ 160 h 298"/>
                <a:gd name="T32" fmla="*/ 258 w 298"/>
                <a:gd name="T33" fmla="*/ 184 h 298"/>
                <a:gd name="T34" fmla="*/ 267 w 298"/>
                <a:gd name="T35" fmla="*/ 208 h 298"/>
                <a:gd name="T36" fmla="*/ 274 w 298"/>
                <a:gd name="T37" fmla="*/ 234 h 298"/>
                <a:gd name="T38" fmla="*/ 278 w 298"/>
                <a:gd name="T39" fmla="*/ 261 h 298"/>
                <a:gd name="T40" fmla="*/ 279 w 298"/>
                <a:gd name="T41" fmla="*/ 289 h 298"/>
                <a:gd name="T42" fmla="*/ 279 w 298"/>
                <a:gd name="T43" fmla="*/ 298 h 298"/>
                <a:gd name="T44" fmla="*/ 298 w 298"/>
                <a:gd name="T45" fmla="*/ 298 h 298"/>
                <a:gd name="T46" fmla="*/ 298 w 298"/>
                <a:gd name="T47" fmla="*/ 289 h 298"/>
                <a:gd name="T48" fmla="*/ 298 w 298"/>
                <a:gd name="T49" fmla="*/ 289 h 298"/>
                <a:gd name="T50" fmla="*/ 297 w 298"/>
                <a:gd name="T51" fmla="*/ 259 h 298"/>
                <a:gd name="T52" fmla="*/ 293 w 298"/>
                <a:gd name="T53" fmla="*/ 230 h 298"/>
                <a:gd name="T54" fmla="*/ 285 w 298"/>
                <a:gd name="T55" fmla="*/ 203 h 298"/>
                <a:gd name="T56" fmla="*/ 275 w 298"/>
                <a:gd name="T57" fmla="*/ 176 h 298"/>
                <a:gd name="T58" fmla="*/ 263 w 298"/>
                <a:gd name="T59" fmla="*/ 150 h 298"/>
                <a:gd name="T60" fmla="*/ 248 w 298"/>
                <a:gd name="T61" fmla="*/ 128 h 298"/>
                <a:gd name="T62" fmla="*/ 232 w 298"/>
                <a:gd name="T63" fmla="*/ 105 h 298"/>
                <a:gd name="T64" fmla="*/ 214 w 298"/>
                <a:gd name="T65" fmla="*/ 85 h 298"/>
                <a:gd name="T66" fmla="*/ 193 w 298"/>
                <a:gd name="T67" fmla="*/ 66 h 298"/>
                <a:gd name="T68" fmla="*/ 171 w 298"/>
                <a:gd name="T69" fmla="*/ 48 h 298"/>
                <a:gd name="T70" fmla="*/ 146 w 298"/>
                <a:gd name="T71" fmla="*/ 35 h 298"/>
                <a:gd name="T72" fmla="*/ 121 w 298"/>
                <a:gd name="T73" fmla="*/ 23 h 298"/>
                <a:gd name="T74" fmla="*/ 95 w 298"/>
                <a:gd name="T75" fmla="*/ 12 h 298"/>
                <a:gd name="T76" fmla="*/ 67 w 298"/>
                <a:gd name="T77" fmla="*/ 5 h 298"/>
                <a:gd name="T78" fmla="*/ 39 w 298"/>
                <a:gd name="T79" fmla="*/ 1 h 298"/>
                <a:gd name="T80" fmla="*/ 9 w 298"/>
                <a:gd name="T81" fmla="*/ 0 h 298"/>
                <a:gd name="T82" fmla="*/ 9 w 298"/>
                <a:gd name="T8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8" h="298">
                  <a:moveTo>
                    <a:pt x="9" y="0"/>
                  </a:moveTo>
                  <a:lnTo>
                    <a:pt x="0" y="0"/>
                  </a:lnTo>
                  <a:lnTo>
                    <a:pt x="0" y="19"/>
                  </a:lnTo>
                  <a:lnTo>
                    <a:pt x="9" y="19"/>
                  </a:lnTo>
                  <a:lnTo>
                    <a:pt x="9" y="19"/>
                  </a:lnTo>
                  <a:lnTo>
                    <a:pt x="36" y="20"/>
                  </a:lnTo>
                  <a:lnTo>
                    <a:pt x="63" y="24"/>
                  </a:lnTo>
                  <a:lnTo>
                    <a:pt x="89" y="31"/>
                  </a:lnTo>
                  <a:lnTo>
                    <a:pt x="114" y="40"/>
                  </a:lnTo>
                  <a:lnTo>
                    <a:pt x="138" y="51"/>
                  </a:lnTo>
                  <a:lnTo>
                    <a:pt x="160" y="64"/>
                  </a:lnTo>
                  <a:lnTo>
                    <a:pt x="181" y="81"/>
                  </a:lnTo>
                  <a:lnTo>
                    <a:pt x="200" y="98"/>
                  </a:lnTo>
                  <a:lnTo>
                    <a:pt x="218" y="117"/>
                  </a:lnTo>
                  <a:lnTo>
                    <a:pt x="232" y="137"/>
                  </a:lnTo>
                  <a:lnTo>
                    <a:pt x="246" y="160"/>
                  </a:lnTo>
                  <a:lnTo>
                    <a:pt x="258" y="184"/>
                  </a:lnTo>
                  <a:lnTo>
                    <a:pt x="267" y="208"/>
                  </a:lnTo>
                  <a:lnTo>
                    <a:pt x="274" y="234"/>
                  </a:lnTo>
                  <a:lnTo>
                    <a:pt x="278" y="261"/>
                  </a:lnTo>
                  <a:lnTo>
                    <a:pt x="279" y="289"/>
                  </a:lnTo>
                  <a:lnTo>
                    <a:pt x="279" y="298"/>
                  </a:lnTo>
                  <a:lnTo>
                    <a:pt x="298" y="298"/>
                  </a:lnTo>
                  <a:lnTo>
                    <a:pt x="298" y="289"/>
                  </a:lnTo>
                  <a:lnTo>
                    <a:pt x="298" y="289"/>
                  </a:lnTo>
                  <a:lnTo>
                    <a:pt x="297" y="259"/>
                  </a:lnTo>
                  <a:lnTo>
                    <a:pt x="293" y="230"/>
                  </a:lnTo>
                  <a:lnTo>
                    <a:pt x="285" y="203"/>
                  </a:lnTo>
                  <a:lnTo>
                    <a:pt x="275" y="176"/>
                  </a:lnTo>
                  <a:lnTo>
                    <a:pt x="263" y="150"/>
                  </a:lnTo>
                  <a:lnTo>
                    <a:pt x="248" y="128"/>
                  </a:lnTo>
                  <a:lnTo>
                    <a:pt x="232" y="105"/>
                  </a:lnTo>
                  <a:lnTo>
                    <a:pt x="214" y="85"/>
                  </a:lnTo>
                  <a:lnTo>
                    <a:pt x="193" y="66"/>
                  </a:lnTo>
                  <a:lnTo>
                    <a:pt x="171" y="48"/>
                  </a:lnTo>
                  <a:lnTo>
                    <a:pt x="146" y="35"/>
                  </a:lnTo>
                  <a:lnTo>
                    <a:pt x="121" y="23"/>
                  </a:lnTo>
                  <a:lnTo>
                    <a:pt x="95" y="12"/>
                  </a:lnTo>
                  <a:lnTo>
                    <a:pt x="67" y="5"/>
                  </a:lnTo>
                  <a:lnTo>
                    <a:pt x="39" y="1"/>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grpSp>
      <p:sp>
        <p:nvSpPr>
          <p:cNvPr id="189" name="Rectangle 188">
            <a:extLst>
              <a:ext uri="{FF2B5EF4-FFF2-40B4-BE49-F238E27FC236}">
                <a16:creationId xmlns:a16="http://schemas.microsoft.com/office/drawing/2014/main" id="{BE2E333A-77A4-2A0F-40A8-68D18542A67D}"/>
              </a:ext>
            </a:extLst>
          </p:cNvPr>
          <p:cNvSpPr/>
          <p:nvPr/>
        </p:nvSpPr>
        <p:spPr>
          <a:xfrm>
            <a:off x="9730822" y="5318420"/>
            <a:ext cx="1646618" cy="415498"/>
          </a:xfrm>
          <a:prstGeom prst="rect">
            <a:avLst/>
          </a:prstGeom>
        </p:spPr>
        <p:txBody>
          <a:bodyPr wrap="square" lIns="0" tIns="0" rIns="0" bIns="0">
            <a:spAutoFit/>
          </a:bodyPr>
          <a:lstStyle/>
          <a:p>
            <a:pP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eam measures include </a:t>
            </a:r>
            <a:r>
              <a:rPr lang="en-US" sz="900" b="1" dirty="0">
                <a:solidFill>
                  <a:prstClr val="black"/>
                </a:solidFill>
                <a:latin typeface="Open Sans"/>
                <a:ea typeface="Open Sans" panose="020B0606030504020204" pitchFamily="34" charset="0"/>
                <a:cs typeface="Open Sans" panose="020B0606030504020204" pitchFamily="34" charset="0"/>
              </a:rPr>
              <a:t>capacity, velocity, </a:t>
            </a:r>
            <a:br>
              <a:rPr lang="en-US" sz="900" b="1" dirty="0">
                <a:solidFill>
                  <a:prstClr val="black"/>
                </a:solidFill>
                <a:latin typeface="Open Sans"/>
                <a:ea typeface="Open Sans" panose="020B0606030504020204" pitchFamily="34" charset="0"/>
                <a:cs typeface="Open Sans" panose="020B0606030504020204" pitchFamily="34" charset="0"/>
              </a:rPr>
            </a:b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d</a:t>
            </a:r>
            <a:r>
              <a:rPr lang="en-US" sz="900" dirty="0">
                <a:solidFill>
                  <a:prstClr val="black"/>
                </a:solidFill>
                <a:latin typeface="Open Sans"/>
                <a:ea typeface="Open Sans" panose="020B0606030504020204" pitchFamily="34" charset="0"/>
                <a:cs typeface="Open Sans" panose="020B0606030504020204" pitchFamily="34" charset="0"/>
              </a:rPr>
              <a:t> </a:t>
            </a:r>
            <a:r>
              <a:rPr lang="en-US" sz="900" b="1" dirty="0">
                <a:solidFill>
                  <a:prstClr val="black"/>
                </a:solidFill>
                <a:latin typeface="Open Sans"/>
                <a:ea typeface="Open Sans" panose="020B0606030504020204" pitchFamily="34" charset="0"/>
                <a:cs typeface="Open Sans" panose="020B0606030504020204" pitchFamily="34" charset="0"/>
              </a:rPr>
              <a:t>burndown</a:t>
            </a:r>
          </a:p>
        </p:txBody>
      </p:sp>
      <p:sp>
        <p:nvSpPr>
          <p:cNvPr id="190" name="Rectangle 189">
            <a:extLst>
              <a:ext uri="{FF2B5EF4-FFF2-40B4-BE49-F238E27FC236}">
                <a16:creationId xmlns:a16="http://schemas.microsoft.com/office/drawing/2014/main" id="{DB9F75EC-89F7-EE34-2E55-E31003E31920}"/>
              </a:ext>
            </a:extLst>
          </p:cNvPr>
          <p:cNvSpPr/>
          <p:nvPr/>
        </p:nvSpPr>
        <p:spPr>
          <a:xfrm>
            <a:off x="6830131" y="5318420"/>
            <a:ext cx="2311050" cy="553998"/>
          </a:xfrm>
          <a:prstGeom prst="rect">
            <a:avLst/>
          </a:prstGeom>
        </p:spPr>
        <p:txBody>
          <a:bodyPr wrap="square" lIns="0" tIns="0" rIns="0" bIns="0">
            <a:spAutoFit/>
          </a:bodyPr>
          <a:lstStyle/>
          <a:p>
            <a:pP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ork managed through quick iterations called </a:t>
            </a:r>
            <a:r>
              <a:rPr lang="en-US" sz="900" b="1" dirty="0">
                <a:solidFill>
                  <a:prstClr val="black"/>
                </a:solidFill>
                <a:latin typeface="Open Sans"/>
                <a:ea typeface="Open Sans" panose="020B0606030504020204" pitchFamily="34" charset="0"/>
                <a:cs typeface="Open Sans" panose="020B0606030504020204" pitchFamily="34" charset="0"/>
              </a:rPr>
              <a:t>sprints, </a:t>
            </a: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acilitated by the </a:t>
            </a:r>
            <a:r>
              <a:rPr lang="en-US" sz="900" b="1" dirty="0">
                <a:solidFill>
                  <a:prstClr val="black"/>
                </a:solidFill>
                <a:latin typeface="Open Sans"/>
                <a:ea typeface="Open Sans" panose="020B0606030504020204" pitchFamily="34" charset="0"/>
                <a:cs typeface="Open Sans" panose="020B0606030504020204" pitchFamily="34" charset="0"/>
              </a:rPr>
              <a:t>scrum master, </a:t>
            </a: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d progress is visualized on a </a:t>
            </a:r>
            <a:r>
              <a:rPr lang="en-US" sz="900" b="1" dirty="0">
                <a:solidFill>
                  <a:prstClr val="black"/>
                </a:solidFill>
                <a:latin typeface="Open Sans"/>
                <a:ea typeface="Open Sans" panose="020B0606030504020204" pitchFamily="34" charset="0"/>
                <a:cs typeface="Open Sans" panose="020B0606030504020204" pitchFamily="34" charset="0"/>
              </a:rPr>
              <a:t>task board </a:t>
            </a: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r equivalent tool)</a:t>
            </a:r>
          </a:p>
        </p:txBody>
      </p:sp>
      <p:grpSp>
        <p:nvGrpSpPr>
          <p:cNvPr id="191" name="Group 190">
            <a:extLst>
              <a:ext uri="{FF2B5EF4-FFF2-40B4-BE49-F238E27FC236}">
                <a16:creationId xmlns:a16="http://schemas.microsoft.com/office/drawing/2014/main" id="{8D4E1C49-EF41-A4B1-787F-B900B1D5DF81}"/>
              </a:ext>
            </a:extLst>
          </p:cNvPr>
          <p:cNvGrpSpPr>
            <a:grpSpLocks noChangeAspect="1"/>
          </p:cNvGrpSpPr>
          <p:nvPr/>
        </p:nvGrpSpPr>
        <p:grpSpPr>
          <a:xfrm>
            <a:off x="6428576" y="5362572"/>
            <a:ext cx="255829" cy="295458"/>
            <a:chOff x="682626" y="1754398"/>
            <a:chExt cx="265113" cy="306178"/>
          </a:xfrm>
          <a:solidFill>
            <a:srgbClr val="6FC2B4"/>
          </a:solidFill>
        </p:grpSpPr>
        <p:sp>
          <p:nvSpPr>
            <p:cNvPr id="192" name="Freeform 98">
              <a:extLst>
                <a:ext uri="{FF2B5EF4-FFF2-40B4-BE49-F238E27FC236}">
                  <a16:creationId xmlns:a16="http://schemas.microsoft.com/office/drawing/2014/main" id="{0DE608B5-D8EC-0491-22C8-B898C9D10F96}"/>
                </a:ext>
              </a:extLst>
            </p:cNvPr>
            <p:cNvSpPr>
              <a:spLocks/>
            </p:cNvSpPr>
            <p:nvPr/>
          </p:nvSpPr>
          <p:spPr bwMode="auto">
            <a:xfrm>
              <a:off x="708027" y="1754398"/>
              <a:ext cx="214313" cy="240877"/>
            </a:xfrm>
            <a:custGeom>
              <a:avLst/>
              <a:gdLst>
                <a:gd name="T0" fmla="*/ 6 w 272"/>
                <a:gd name="T1" fmla="*/ 227 h 227"/>
                <a:gd name="T2" fmla="*/ 266 w 272"/>
                <a:gd name="T3" fmla="*/ 227 h 227"/>
                <a:gd name="T4" fmla="*/ 266 w 272"/>
                <a:gd name="T5" fmla="*/ 227 h 227"/>
                <a:gd name="T6" fmla="*/ 269 w 272"/>
                <a:gd name="T7" fmla="*/ 227 h 227"/>
                <a:gd name="T8" fmla="*/ 270 w 272"/>
                <a:gd name="T9" fmla="*/ 226 h 227"/>
                <a:gd name="T10" fmla="*/ 272 w 272"/>
                <a:gd name="T11" fmla="*/ 223 h 227"/>
                <a:gd name="T12" fmla="*/ 272 w 272"/>
                <a:gd name="T13" fmla="*/ 222 h 227"/>
                <a:gd name="T14" fmla="*/ 272 w 272"/>
                <a:gd name="T15" fmla="*/ 27 h 227"/>
                <a:gd name="T16" fmla="*/ 272 w 272"/>
                <a:gd name="T17" fmla="*/ 27 h 227"/>
                <a:gd name="T18" fmla="*/ 272 w 272"/>
                <a:gd name="T19" fmla="*/ 24 h 227"/>
                <a:gd name="T20" fmla="*/ 270 w 272"/>
                <a:gd name="T21" fmla="*/ 23 h 227"/>
                <a:gd name="T22" fmla="*/ 269 w 272"/>
                <a:gd name="T23" fmla="*/ 21 h 227"/>
                <a:gd name="T24" fmla="*/ 266 w 272"/>
                <a:gd name="T25" fmla="*/ 21 h 227"/>
                <a:gd name="T26" fmla="*/ 163 w 272"/>
                <a:gd name="T27" fmla="*/ 21 h 227"/>
                <a:gd name="T28" fmla="*/ 163 w 272"/>
                <a:gd name="T29" fmla="*/ 5 h 227"/>
                <a:gd name="T30" fmla="*/ 163 w 272"/>
                <a:gd name="T31" fmla="*/ 5 h 227"/>
                <a:gd name="T32" fmla="*/ 163 w 272"/>
                <a:gd name="T33" fmla="*/ 3 h 227"/>
                <a:gd name="T34" fmla="*/ 162 w 272"/>
                <a:gd name="T35" fmla="*/ 1 h 227"/>
                <a:gd name="T36" fmla="*/ 160 w 272"/>
                <a:gd name="T37" fmla="*/ 0 h 227"/>
                <a:gd name="T38" fmla="*/ 158 w 272"/>
                <a:gd name="T39" fmla="*/ 0 h 227"/>
                <a:gd name="T40" fmla="*/ 115 w 272"/>
                <a:gd name="T41" fmla="*/ 0 h 227"/>
                <a:gd name="T42" fmla="*/ 115 w 272"/>
                <a:gd name="T43" fmla="*/ 0 h 227"/>
                <a:gd name="T44" fmla="*/ 113 w 272"/>
                <a:gd name="T45" fmla="*/ 0 h 227"/>
                <a:gd name="T46" fmla="*/ 111 w 272"/>
                <a:gd name="T47" fmla="*/ 1 h 227"/>
                <a:gd name="T48" fmla="*/ 109 w 272"/>
                <a:gd name="T49" fmla="*/ 3 h 227"/>
                <a:gd name="T50" fmla="*/ 109 w 272"/>
                <a:gd name="T51" fmla="*/ 5 h 227"/>
                <a:gd name="T52" fmla="*/ 109 w 272"/>
                <a:gd name="T53" fmla="*/ 21 h 227"/>
                <a:gd name="T54" fmla="*/ 6 w 272"/>
                <a:gd name="T55" fmla="*/ 21 h 227"/>
                <a:gd name="T56" fmla="*/ 6 w 272"/>
                <a:gd name="T57" fmla="*/ 21 h 227"/>
                <a:gd name="T58" fmla="*/ 4 w 272"/>
                <a:gd name="T59" fmla="*/ 21 h 227"/>
                <a:gd name="T60" fmla="*/ 3 w 272"/>
                <a:gd name="T61" fmla="*/ 23 h 227"/>
                <a:gd name="T62" fmla="*/ 2 w 272"/>
                <a:gd name="T63" fmla="*/ 24 h 227"/>
                <a:gd name="T64" fmla="*/ 0 w 272"/>
                <a:gd name="T65" fmla="*/ 27 h 227"/>
                <a:gd name="T66" fmla="*/ 0 w 272"/>
                <a:gd name="T67" fmla="*/ 222 h 227"/>
                <a:gd name="T68" fmla="*/ 0 w 272"/>
                <a:gd name="T69" fmla="*/ 222 h 227"/>
                <a:gd name="T70" fmla="*/ 2 w 272"/>
                <a:gd name="T71" fmla="*/ 223 h 227"/>
                <a:gd name="T72" fmla="*/ 3 w 272"/>
                <a:gd name="T73" fmla="*/ 226 h 227"/>
                <a:gd name="T74" fmla="*/ 4 w 272"/>
                <a:gd name="T75" fmla="*/ 227 h 227"/>
                <a:gd name="T76" fmla="*/ 6 w 272"/>
                <a:gd name="T77" fmla="*/ 227 h 227"/>
                <a:gd name="T78" fmla="*/ 6 w 272"/>
                <a:gd name="T79"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2" h="227">
                  <a:moveTo>
                    <a:pt x="6" y="227"/>
                  </a:moveTo>
                  <a:lnTo>
                    <a:pt x="266" y="227"/>
                  </a:lnTo>
                  <a:lnTo>
                    <a:pt x="266" y="227"/>
                  </a:lnTo>
                  <a:lnTo>
                    <a:pt x="269" y="227"/>
                  </a:lnTo>
                  <a:lnTo>
                    <a:pt x="270" y="226"/>
                  </a:lnTo>
                  <a:lnTo>
                    <a:pt x="272" y="223"/>
                  </a:lnTo>
                  <a:lnTo>
                    <a:pt x="272" y="222"/>
                  </a:lnTo>
                  <a:lnTo>
                    <a:pt x="272" y="27"/>
                  </a:lnTo>
                  <a:lnTo>
                    <a:pt x="272" y="27"/>
                  </a:lnTo>
                  <a:lnTo>
                    <a:pt x="272" y="24"/>
                  </a:lnTo>
                  <a:lnTo>
                    <a:pt x="270" y="23"/>
                  </a:lnTo>
                  <a:lnTo>
                    <a:pt x="269" y="21"/>
                  </a:lnTo>
                  <a:lnTo>
                    <a:pt x="266" y="21"/>
                  </a:lnTo>
                  <a:lnTo>
                    <a:pt x="163" y="21"/>
                  </a:lnTo>
                  <a:lnTo>
                    <a:pt x="163" y="5"/>
                  </a:lnTo>
                  <a:lnTo>
                    <a:pt x="163" y="5"/>
                  </a:lnTo>
                  <a:lnTo>
                    <a:pt x="163" y="3"/>
                  </a:lnTo>
                  <a:lnTo>
                    <a:pt x="162" y="1"/>
                  </a:lnTo>
                  <a:lnTo>
                    <a:pt x="160" y="0"/>
                  </a:lnTo>
                  <a:lnTo>
                    <a:pt x="158" y="0"/>
                  </a:lnTo>
                  <a:lnTo>
                    <a:pt x="115" y="0"/>
                  </a:lnTo>
                  <a:lnTo>
                    <a:pt x="115" y="0"/>
                  </a:lnTo>
                  <a:lnTo>
                    <a:pt x="113" y="0"/>
                  </a:lnTo>
                  <a:lnTo>
                    <a:pt x="111" y="1"/>
                  </a:lnTo>
                  <a:lnTo>
                    <a:pt x="109" y="3"/>
                  </a:lnTo>
                  <a:lnTo>
                    <a:pt x="109" y="5"/>
                  </a:lnTo>
                  <a:lnTo>
                    <a:pt x="109" y="21"/>
                  </a:lnTo>
                  <a:lnTo>
                    <a:pt x="6" y="21"/>
                  </a:lnTo>
                  <a:lnTo>
                    <a:pt x="6" y="21"/>
                  </a:lnTo>
                  <a:lnTo>
                    <a:pt x="4" y="21"/>
                  </a:lnTo>
                  <a:lnTo>
                    <a:pt x="3" y="23"/>
                  </a:lnTo>
                  <a:lnTo>
                    <a:pt x="2" y="24"/>
                  </a:lnTo>
                  <a:lnTo>
                    <a:pt x="0" y="27"/>
                  </a:lnTo>
                  <a:lnTo>
                    <a:pt x="0" y="222"/>
                  </a:lnTo>
                  <a:lnTo>
                    <a:pt x="0" y="222"/>
                  </a:lnTo>
                  <a:lnTo>
                    <a:pt x="2" y="223"/>
                  </a:lnTo>
                  <a:lnTo>
                    <a:pt x="3" y="226"/>
                  </a:lnTo>
                  <a:lnTo>
                    <a:pt x="4" y="227"/>
                  </a:lnTo>
                  <a:lnTo>
                    <a:pt x="6" y="227"/>
                  </a:lnTo>
                  <a:lnTo>
                    <a:pt x="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sp>
          <p:nvSpPr>
            <p:cNvPr id="193" name="Freeform 99">
              <a:extLst>
                <a:ext uri="{FF2B5EF4-FFF2-40B4-BE49-F238E27FC236}">
                  <a16:creationId xmlns:a16="http://schemas.microsoft.com/office/drawing/2014/main" id="{43821DE0-1AD6-1A98-3ED4-A6760F6E2797}"/>
                </a:ext>
              </a:extLst>
            </p:cNvPr>
            <p:cNvSpPr>
              <a:spLocks/>
            </p:cNvSpPr>
            <p:nvPr/>
          </p:nvSpPr>
          <p:spPr bwMode="auto">
            <a:xfrm>
              <a:off x="682626" y="1982788"/>
              <a:ext cx="265113" cy="77788"/>
            </a:xfrm>
            <a:custGeom>
              <a:avLst/>
              <a:gdLst>
                <a:gd name="T0" fmla="*/ 6 w 336"/>
                <a:gd name="T1" fmla="*/ 0 h 98"/>
                <a:gd name="T2" fmla="*/ 4 w 336"/>
                <a:gd name="T3" fmla="*/ 0 h 98"/>
                <a:gd name="T4" fmla="*/ 2 w 336"/>
                <a:gd name="T5" fmla="*/ 3 h 98"/>
                <a:gd name="T6" fmla="*/ 0 w 336"/>
                <a:gd name="T7" fmla="*/ 16 h 98"/>
                <a:gd name="T8" fmla="*/ 2 w 336"/>
                <a:gd name="T9" fmla="*/ 19 h 98"/>
                <a:gd name="T10" fmla="*/ 4 w 336"/>
                <a:gd name="T11" fmla="*/ 22 h 98"/>
                <a:gd name="T12" fmla="*/ 124 w 336"/>
                <a:gd name="T13" fmla="*/ 22 h 98"/>
                <a:gd name="T14" fmla="*/ 67 w 336"/>
                <a:gd name="T15" fmla="*/ 89 h 98"/>
                <a:gd name="T16" fmla="*/ 66 w 336"/>
                <a:gd name="T17" fmla="*/ 93 h 98"/>
                <a:gd name="T18" fmla="*/ 67 w 336"/>
                <a:gd name="T19" fmla="*/ 97 h 98"/>
                <a:gd name="T20" fmla="*/ 71 w 336"/>
                <a:gd name="T21" fmla="*/ 98 h 98"/>
                <a:gd name="T22" fmla="*/ 73 w 336"/>
                <a:gd name="T23" fmla="*/ 97 h 98"/>
                <a:gd name="T24" fmla="*/ 139 w 336"/>
                <a:gd name="T25" fmla="*/ 22 h 98"/>
                <a:gd name="T26" fmla="*/ 163 w 336"/>
                <a:gd name="T27" fmla="*/ 81 h 98"/>
                <a:gd name="T28" fmla="*/ 164 w 336"/>
                <a:gd name="T29" fmla="*/ 84 h 98"/>
                <a:gd name="T30" fmla="*/ 167 w 336"/>
                <a:gd name="T31" fmla="*/ 86 h 98"/>
                <a:gd name="T32" fmla="*/ 168 w 336"/>
                <a:gd name="T33" fmla="*/ 86 h 98"/>
                <a:gd name="T34" fmla="*/ 172 w 336"/>
                <a:gd name="T35" fmla="*/ 85 h 98"/>
                <a:gd name="T36" fmla="*/ 173 w 336"/>
                <a:gd name="T37" fmla="*/ 81 h 98"/>
                <a:gd name="T38" fmla="*/ 199 w 336"/>
                <a:gd name="T39" fmla="*/ 22 h 98"/>
                <a:gd name="T40" fmla="*/ 262 w 336"/>
                <a:gd name="T41" fmla="*/ 96 h 98"/>
                <a:gd name="T42" fmla="*/ 266 w 336"/>
                <a:gd name="T43" fmla="*/ 98 h 98"/>
                <a:gd name="T44" fmla="*/ 269 w 336"/>
                <a:gd name="T45" fmla="*/ 97 h 98"/>
                <a:gd name="T46" fmla="*/ 270 w 336"/>
                <a:gd name="T47" fmla="*/ 94 h 98"/>
                <a:gd name="T48" fmla="*/ 272 w 336"/>
                <a:gd name="T49" fmla="*/ 90 h 98"/>
                <a:gd name="T50" fmla="*/ 212 w 336"/>
                <a:gd name="T51" fmla="*/ 22 h 98"/>
                <a:gd name="T52" fmla="*/ 331 w 336"/>
                <a:gd name="T53" fmla="*/ 22 h 98"/>
                <a:gd name="T54" fmla="*/ 335 w 336"/>
                <a:gd name="T55" fmla="*/ 21 h 98"/>
                <a:gd name="T56" fmla="*/ 336 w 336"/>
                <a:gd name="T57" fmla="*/ 16 h 98"/>
                <a:gd name="T58" fmla="*/ 336 w 336"/>
                <a:gd name="T59" fmla="*/ 6 h 98"/>
                <a:gd name="T60" fmla="*/ 335 w 336"/>
                <a:gd name="T61" fmla="*/ 2 h 98"/>
                <a:gd name="T62" fmla="*/ 331 w 336"/>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98">
                  <a:moveTo>
                    <a:pt x="331" y="0"/>
                  </a:moveTo>
                  <a:lnTo>
                    <a:pt x="6" y="0"/>
                  </a:lnTo>
                  <a:lnTo>
                    <a:pt x="6" y="0"/>
                  </a:lnTo>
                  <a:lnTo>
                    <a:pt x="4" y="0"/>
                  </a:lnTo>
                  <a:lnTo>
                    <a:pt x="2" y="2"/>
                  </a:lnTo>
                  <a:lnTo>
                    <a:pt x="2" y="3"/>
                  </a:lnTo>
                  <a:lnTo>
                    <a:pt x="0" y="6"/>
                  </a:lnTo>
                  <a:lnTo>
                    <a:pt x="0" y="16"/>
                  </a:lnTo>
                  <a:lnTo>
                    <a:pt x="0" y="16"/>
                  </a:lnTo>
                  <a:lnTo>
                    <a:pt x="2" y="19"/>
                  </a:lnTo>
                  <a:lnTo>
                    <a:pt x="2" y="21"/>
                  </a:lnTo>
                  <a:lnTo>
                    <a:pt x="4" y="22"/>
                  </a:lnTo>
                  <a:lnTo>
                    <a:pt x="6" y="22"/>
                  </a:lnTo>
                  <a:lnTo>
                    <a:pt x="124" y="22"/>
                  </a:lnTo>
                  <a:lnTo>
                    <a:pt x="67" y="89"/>
                  </a:lnTo>
                  <a:lnTo>
                    <a:pt x="67" y="89"/>
                  </a:lnTo>
                  <a:lnTo>
                    <a:pt x="66" y="90"/>
                  </a:lnTo>
                  <a:lnTo>
                    <a:pt x="66" y="93"/>
                  </a:lnTo>
                  <a:lnTo>
                    <a:pt x="66" y="94"/>
                  </a:lnTo>
                  <a:lnTo>
                    <a:pt x="67" y="97"/>
                  </a:lnTo>
                  <a:lnTo>
                    <a:pt x="67" y="97"/>
                  </a:lnTo>
                  <a:lnTo>
                    <a:pt x="71" y="98"/>
                  </a:lnTo>
                  <a:lnTo>
                    <a:pt x="71" y="98"/>
                  </a:lnTo>
                  <a:lnTo>
                    <a:pt x="73" y="97"/>
                  </a:lnTo>
                  <a:lnTo>
                    <a:pt x="75" y="96"/>
                  </a:lnTo>
                  <a:lnTo>
                    <a:pt x="139" y="22"/>
                  </a:lnTo>
                  <a:lnTo>
                    <a:pt x="163" y="22"/>
                  </a:lnTo>
                  <a:lnTo>
                    <a:pt x="163" y="81"/>
                  </a:lnTo>
                  <a:lnTo>
                    <a:pt x="163" y="81"/>
                  </a:lnTo>
                  <a:lnTo>
                    <a:pt x="164" y="84"/>
                  </a:lnTo>
                  <a:lnTo>
                    <a:pt x="164" y="85"/>
                  </a:lnTo>
                  <a:lnTo>
                    <a:pt x="167" y="86"/>
                  </a:lnTo>
                  <a:lnTo>
                    <a:pt x="168" y="86"/>
                  </a:lnTo>
                  <a:lnTo>
                    <a:pt x="168" y="86"/>
                  </a:lnTo>
                  <a:lnTo>
                    <a:pt x="171" y="86"/>
                  </a:lnTo>
                  <a:lnTo>
                    <a:pt x="172" y="85"/>
                  </a:lnTo>
                  <a:lnTo>
                    <a:pt x="173" y="84"/>
                  </a:lnTo>
                  <a:lnTo>
                    <a:pt x="173" y="81"/>
                  </a:lnTo>
                  <a:lnTo>
                    <a:pt x="173" y="22"/>
                  </a:lnTo>
                  <a:lnTo>
                    <a:pt x="199" y="22"/>
                  </a:lnTo>
                  <a:lnTo>
                    <a:pt x="262" y="96"/>
                  </a:lnTo>
                  <a:lnTo>
                    <a:pt x="262" y="96"/>
                  </a:lnTo>
                  <a:lnTo>
                    <a:pt x="263" y="97"/>
                  </a:lnTo>
                  <a:lnTo>
                    <a:pt x="266" y="98"/>
                  </a:lnTo>
                  <a:lnTo>
                    <a:pt x="266" y="98"/>
                  </a:lnTo>
                  <a:lnTo>
                    <a:pt x="269" y="97"/>
                  </a:lnTo>
                  <a:lnTo>
                    <a:pt x="269" y="97"/>
                  </a:lnTo>
                  <a:lnTo>
                    <a:pt x="270" y="94"/>
                  </a:lnTo>
                  <a:lnTo>
                    <a:pt x="272" y="93"/>
                  </a:lnTo>
                  <a:lnTo>
                    <a:pt x="272" y="90"/>
                  </a:lnTo>
                  <a:lnTo>
                    <a:pt x="270" y="89"/>
                  </a:lnTo>
                  <a:lnTo>
                    <a:pt x="212" y="22"/>
                  </a:lnTo>
                  <a:lnTo>
                    <a:pt x="331" y="22"/>
                  </a:lnTo>
                  <a:lnTo>
                    <a:pt x="331" y="22"/>
                  </a:lnTo>
                  <a:lnTo>
                    <a:pt x="333" y="22"/>
                  </a:lnTo>
                  <a:lnTo>
                    <a:pt x="335" y="21"/>
                  </a:lnTo>
                  <a:lnTo>
                    <a:pt x="336" y="19"/>
                  </a:lnTo>
                  <a:lnTo>
                    <a:pt x="336" y="16"/>
                  </a:lnTo>
                  <a:lnTo>
                    <a:pt x="336" y="6"/>
                  </a:lnTo>
                  <a:lnTo>
                    <a:pt x="336" y="6"/>
                  </a:lnTo>
                  <a:lnTo>
                    <a:pt x="336" y="3"/>
                  </a:lnTo>
                  <a:lnTo>
                    <a:pt x="335" y="2"/>
                  </a:lnTo>
                  <a:lnTo>
                    <a:pt x="333" y="0"/>
                  </a:lnTo>
                  <a:lnTo>
                    <a:pt x="331" y="0"/>
                  </a:lnTo>
                  <a:lnTo>
                    <a:pt x="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dirty="0">
                <a:ln>
                  <a:noFill/>
                </a:ln>
                <a:solidFill>
                  <a:prstClr val="black"/>
                </a:solidFill>
                <a:effectLst/>
                <a:uLnTx/>
                <a:uFillTx/>
                <a:latin typeface="Open Sans"/>
              </a:endParaRPr>
            </a:p>
          </p:txBody>
        </p:sp>
      </p:grpSp>
      <p:grpSp>
        <p:nvGrpSpPr>
          <p:cNvPr id="194" name="Group 193">
            <a:extLst>
              <a:ext uri="{FF2B5EF4-FFF2-40B4-BE49-F238E27FC236}">
                <a16:creationId xmlns:a16="http://schemas.microsoft.com/office/drawing/2014/main" id="{51F53F2B-72C7-64EB-983E-860D2096EFD6}"/>
              </a:ext>
            </a:extLst>
          </p:cNvPr>
          <p:cNvGrpSpPr/>
          <p:nvPr/>
        </p:nvGrpSpPr>
        <p:grpSpPr>
          <a:xfrm>
            <a:off x="775504" y="1282523"/>
            <a:ext cx="11069843" cy="3853202"/>
            <a:chOff x="914400" y="1369924"/>
            <a:chExt cx="11069843" cy="3853202"/>
          </a:xfrm>
        </p:grpSpPr>
        <p:grpSp>
          <p:nvGrpSpPr>
            <p:cNvPr id="195" name="Group 194">
              <a:extLst>
                <a:ext uri="{FF2B5EF4-FFF2-40B4-BE49-F238E27FC236}">
                  <a16:creationId xmlns:a16="http://schemas.microsoft.com/office/drawing/2014/main" id="{47C0D11B-3CB2-8BC0-A319-1D3054183260}"/>
                </a:ext>
              </a:extLst>
            </p:cNvPr>
            <p:cNvGrpSpPr/>
            <p:nvPr/>
          </p:nvGrpSpPr>
          <p:grpSpPr>
            <a:xfrm>
              <a:off x="914400" y="1611600"/>
              <a:ext cx="11069843" cy="3611526"/>
              <a:chOff x="604409" y="2324987"/>
              <a:chExt cx="11069843" cy="3611526"/>
            </a:xfrm>
          </p:grpSpPr>
          <p:cxnSp>
            <p:nvCxnSpPr>
              <p:cNvPr id="228" name="Straight Connector 227">
                <a:extLst>
                  <a:ext uri="{FF2B5EF4-FFF2-40B4-BE49-F238E27FC236}">
                    <a16:creationId xmlns:a16="http://schemas.microsoft.com/office/drawing/2014/main" id="{26B467FE-3B45-8863-6CBE-2722FBE58132}"/>
                  </a:ext>
                </a:extLst>
              </p:cNvPr>
              <p:cNvCxnSpPr/>
              <p:nvPr/>
            </p:nvCxnSpPr>
            <p:spPr>
              <a:xfrm>
                <a:off x="914400" y="2866963"/>
                <a:ext cx="10759852" cy="42643"/>
              </a:xfrm>
              <a:prstGeom prst="line">
                <a:avLst/>
              </a:prstGeom>
              <a:noFill/>
              <a:ln w="9525" cap="flat" cmpd="sng" algn="ctr">
                <a:noFill/>
                <a:prstDash val="solid"/>
              </a:ln>
              <a:effectLst/>
            </p:spPr>
          </p:cxnSp>
          <p:cxnSp>
            <p:nvCxnSpPr>
              <p:cNvPr id="229" name="Straight Connector 228">
                <a:extLst>
                  <a:ext uri="{FF2B5EF4-FFF2-40B4-BE49-F238E27FC236}">
                    <a16:creationId xmlns:a16="http://schemas.microsoft.com/office/drawing/2014/main" id="{6B5025BC-094E-09A2-B229-DA1B93B7809B}"/>
                  </a:ext>
                </a:extLst>
              </p:cNvPr>
              <p:cNvCxnSpPr>
                <a:cxnSpLocks/>
              </p:cNvCxnSpPr>
              <p:nvPr/>
            </p:nvCxnSpPr>
            <p:spPr>
              <a:xfrm>
                <a:off x="9224220" y="3027398"/>
                <a:ext cx="0" cy="583500"/>
              </a:xfrm>
              <a:prstGeom prst="line">
                <a:avLst/>
              </a:prstGeom>
              <a:noFill/>
              <a:ln w="57150" cap="flat" cmpd="sng" algn="ctr">
                <a:noFill/>
                <a:prstDash val="solid"/>
              </a:ln>
              <a:effectLst>
                <a:outerShdw blurRad="40000" dist="20000" dir="5400000" rotWithShape="0">
                  <a:srgbClr val="000000">
                    <a:alpha val="38000"/>
                  </a:srgbClr>
                </a:outerShdw>
              </a:effectLst>
            </p:spPr>
          </p:cxnSp>
          <p:cxnSp>
            <p:nvCxnSpPr>
              <p:cNvPr id="230" name="Straight Connector 229">
                <a:extLst>
                  <a:ext uri="{FF2B5EF4-FFF2-40B4-BE49-F238E27FC236}">
                    <a16:creationId xmlns:a16="http://schemas.microsoft.com/office/drawing/2014/main" id="{2A7E1011-D9AB-1BEC-228F-6A68E69906AD}"/>
                  </a:ext>
                </a:extLst>
              </p:cNvPr>
              <p:cNvCxnSpPr>
                <a:cxnSpLocks/>
              </p:cNvCxnSpPr>
              <p:nvPr/>
            </p:nvCxnSpPr>
            <p:spPr>
              <a:xfrm>
                <a:off x="4589740" y="2998521"/>
                <a:ext cx="0" cy="751213"/>
              </a:xfrm>
              <a:prstGeom prst="line">
                <a:avLst/>
              </a:prstGeom>
              <a:noFill/>
              <a:ln w="57150" cap="flat" cmpd="sng" algn="ctr">
                <a:noFill/>
                <a:prstDash val="solid"/>
              </a:ln>
              <a:effectLst>
                <a:outerShdw blurRad="40000" dist="20000" dir="5400000" rotWithShape="0">
                  <a:srgbClr val="000000">
                    <a:alpha val="38000"/>
                  </a:srgbClr>
                </a:outerShdw>
              </a:effectLst>
            </p:spPr>
          </p:cxnSp>
          <p:cxnSp>
            <p:nvCxnSpPr>
              <p:cNvPr id="231" name="Straight Connector 230">
                <a:extLst>
                  <a:ext uri="{FF2B5EF4-FFF2-40B4-BE49-F238E27FC236}">
                    <a16:creationId xmlns:a16="http://schemas.microsoft.com/office/drawing/2014/main" id="{4ADD0766-905B-9636-CB85-D010D4A6D5ED}"/>
                  </a:ext>
                </a:extLst>
              </p:cNvPr>
              <p:cNvCxnSpPr>
                <a:cxnSpLocks/>
              </p:cNvCxnSpPr>
              <p:nvPr/>
            </p:nvCxnSpPr>
            <p:spPr>
              <a:xfrm>
                <a:off x="7767966" y="5305479"/>
                <a:ext cx="0" cy="572205"/>
              </a:xfrm>
              <a:prstGeom prst="line">
                <a:avLst/>
              </a:prstGeom>
              <a:noFill/>
              <a:ln w="57150" cap="flat" cmpd="sng" algn="ctr">
                <a:noFill/>
                <a:prstDash val="solid"/>
              </a:ln>
              <a:effectLst>
                <a:outerShdw blurRad="40000" dist="20000" dir="5400000" rotWithShape="0">
                  <a:srgbClr val="000000">
                    <a:alpha val="38000"/>
                  </a:srgbClr>
                </a:outerShdw>
              </a:effectLst>
            </p:spPr>
          </p:cxnSp>
          <p:cxnSp>
            <p:nvCxnSpPr>
              <p:cNvPr id="232" name="Straight Connector 231">
                <a:extLst>
                  <a:ext uri="{FF2B5EF4-FFF2-40B4-BE49-F238E27FC236}">
                    <a16:creationId xmlns:a16="http://schemas.microsoft.com/office/drawing/2014/main" id="{360A9E0C-9728-C7A2-6197-E092A2221B96}"/>
                  </a:ext>
                </a:extLst>
              </p:cNvPr>
              <p:cNvCxnSpPr>
                <a:cxnSpLocks/>
              </p:cNvCxnSpPr>
              <p:nvPr/>
            </p:nvCxnSpPr>
            <p:spPr>
              <a:xfrm flipV="1">
                <a:off x="4046446" y="5258433"/>
                <a:ext cx="0" cy="678080"/>
              </a:xfrm>
              <a:prstGeom prst="line">
                <a:avLst/>
              </a:prstGeom>
              <a:noFill/>
              <a:ln w="57150" cap="flat" cmpd="sng" algn="ctr">
                <a:noFill/>
                <a:prstDash val="solid"/>
              </a:ln>
              <a:effectLst>
                <a:outerShdw blurRad="40000" dist="20000" dir="5400000" rotWithShape="0">
                  <a:srgbClr val="000000">
                    <a:alpha val="38000"/>
                  </a:srgbClr>
                </a:outerShdw>
              </a:effectLst>
            </p:spPr>
          </p:cxnSp>
          <p:cxnSp>
            <p:nvCxnSpPr>
              <p:cNvPr id="233" name="Straight Connector 232">
                <a:extLst>
                  <a:ext uri="{FF2B5EF4-FFF2-40B4-BE49-F238E27FC236}">
                    <a16:creationId xmlns:a16="http://schemas.microsoft.com/office/drawing/2014/main" id="{BB10CBA0-3E8A-F2AD-DB77-18490C3E5597}"/>
                  </a:ext>
                </a:extLst>
              </p:cNvPr>
              <p:cNvCxnSpPr>
                <a:cxnSpLocks/>
              </p:cNvCxnSpPr>
              <p:nvPr/>
            </p:nvCxnSpPr>
            <p:spPr>
              <a:xfrm>
                <a:off x="2236762" y="2824548"/>
                <a:ext cx="16610" cy="1238149"/>
              </a:xfrm>
              <a:prstGeom prst="line">
                <a:avLst/>
              </a:prstGeom>
              <a:noFill/>
              <a:ln w="57150" cap="flat" cmpd="sng" algn="ctr">
                <a:noFill/>
                <a:prstDash val="solid"/>
              </a:ln>
              <a:effectLst>
                <a:outerShdw blurRad="40000" dist="20000" dir="5400000" rotWithShape="0">
                  <a:srgbClr val="000000">
                    <a:alpha val="38000"/>
                  </a:srgbClr>
                </a:outerShdw>
              </a:effectLst>
            </p:spPr>
          </p:cxnSp>
          <p:sp>
            <p:nvSpPr>
              <p:cNvPr id="234" name="TextBox 233">
                <a:extLst>
                  <a:ext uri="{FF2B5EF4-FFF2-40B4-BE49-F238E27FC236}">
                    <a16:creationId xmlns:a16="http://schemas.microsoft.com/office/drawing/2014/main" id="{121AC9D7-0BAF-3E27-F3F9-1FCF89F77D8E}"/>
                  </a:ext>
                </a:extLst>
              </p:cNvPr>
              <p:cNvSpPr txBox="1"/>
              <p:nvPr/>
            </p:nvSpPr>
            <p:spPr>
              <a:xfrm>
                <a:off x="4928450" y="3762592"/>
                <a:ext cx="2055467" cy="307777"/>
              </a:xfrm>
              <a:prstGeom prst="rect">
                <a:avLst/>
              </a:prstGeom>
              <a:noFill/>
              <a:ln>
                <a:noFill/>
              </a:ln>
            </p:spPr>
            <p:txBody>
              <a:bodyPr wrap="square" rtlCol="0">
                <a:spAutoFit/>
              </a:bodyPr>
              <a:lstStyle/>
              <a:p>
                <a:pPr marL="0" marR="0" lvl="0" indent="0" algn="ctr" defTabSz="102382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dirty="0">
                    <a:ln>
                      <a:noFill/>
                    </a:ln>
                    <a:solidFill>
                      <a:prstClr val="black"/>
                    </a:solidFill>
                    <a:effectLst/>
                    <a:uLnTx/>
                    <a:uFillTx/>
                    <a:latin typeface="Open Sans (Body)"/>
                  </a:rPr>
                  <a:t>Sprint Cycle </a:t>
                </a:r>
              </a:p>
            </p:txBody>
          </p:sp>
          <p:sp>
            <p:nvSpPr>
              <p:cNvPr id="235" name="Freeform 5">
                <a:extLst>
                  <a:ext uri="{FF2B5EF4-FFF2-40B4-BE49-F238E27FC236}">
                    <a16:creationId xmlns:a16="http://schemas.microsoft.com/office/drawing/2014/main" id="{058F1D9C-76A6-D4D0-5FEC-148DD9125EA6}"/>
                  </a:ext>
                </a:extLst>
              </p:cNvPr>
              <p:cNvSpPr>
                <a:spLocks/>
              </p:cNvSpPr>
              <p:nvPr/>
            </p:nvSpPr>
            <p:spPr bwMode="blackWhite">
              <a:xfrm flipV="1">
                <a:off x="5732662" y="2644441"/>
                <a:ext cx="868974" cy="828559"/>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noFill/>
              <a:ln w="38100" cap="flat" cmpd="sng" algn="ctr">
                <a:noFill/>
                <a:prstDash val="solid"/>
              </a:ln>
              <a:effectLst/>
            </p:spPr>
            <p:txBody>
              <a:bodyPr rot="0" spcFirstLastPara="0" vertOverflow="overflow" horzOverflow="overflow" vert="horz" wrap="square" lIns="82918" tIns="41459" rIns="82918" bIns="41459" numCol="1" spcCol="0" rtlCol="0" fromWordArt="0" anchor="ctr" anchorCtr="0" forceAA="0" compatLnSpc="1">
                <a:prstTxWarp prst="textNoShape">
                  <a:avLst/>
                </a:prstTxWarp>
                <a:noAutofit/>
              </a:bodyPr>
              <a:lstStyle/>
              <a:p>
                <a:pPr marL="0" marR="0" lvl="0" indent="0" algn="ctr" defTabSz="1023827" eaLnBrk="1" fontAlgn="auto" latinLnBrk="0" hangingPunct="1">
                  <a:lnSpc>
                    <a:spcPct val="100000"/>
                  </a:lnSpc>
                  <a:spcBef>
                    <a:spcPts val="0"/>
                  </a:spcBef>
                  <a:spcAft>
                    <a:spcPts val="0"/>
                  </a:spcAft>
                  <a:buClrTx/>
                  <a:buSzTx/>
                  <a:buFontTx/>
                  <a:buNone/>
                  <a:tabLst/>
                  <a:defRPr/>
                </a:pPr>
                <a:endParaRPr kumimoji="0" lang="en-US" sz="544" b="0" i="0" u="none" strike="noStrike" kern="0" cap="none" spc="0" normalizeH="0" baseline="0" dirty="0">
                  <a:ln>
                    <a:noFill/>
                  </a:ln>
                  <a:solidFill>
                    <a:srgbClr val="FFFFFF"/>
                  </a:solidFill>
                  <a:effectLst/>
                  <a:uLnTx/>
                  <a:uFillTx/>
                  <a:latin typeface="Open Sans"/>
                  <a:ea typeface="+mn-ea"/>
                  <a:cs typeface="+mn-cs"/>
                </a:endParaRPr>
              </a:p>
            </p:txBody>
          </p:sp>
          <p:sp>
            <p:nvSpPr>
              <p:cNvPr id="236" name="Freeform 2">
                <a:extLst>
                  <a:ext uri="{FF2B5EF4-FFF2-40B4-BE49-F238E27FC236}">
                    <a16:creationId xmlns:a16="http://schemas.microsoft.com/office/drawing/2014/main" id="{CDFD8108-D21C-99AF-FB8F-472175C1F160}"/>
                  </a:ext>
                </a:extLst>
              </p:cNvPr>
              <p:cNvSpPr>
                <a:spLocks/>
              </p:cNvSpPr>
              <p:nvPr/>
            </p:nvSpPr>
            <p:spPr bwMode="blackWhite">
              <a:xfrm flipV="1">
                <a:off x="6147296" y="3232327"/>
                <a:ext cx="664330" cy="905207"/>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noFill/>
              <a:ln w="38100" cap="flat" cmpd="sng" algn="ctr">
                <a:noFill/>
                <a:prstDash val="solid"/>
              </a:ln>
              <a:effectLst/>
            </p:spPr>
            <p:txBody>
              <a:bodyPr rot="0" spcFirstLastPara="0" vertOverflow="overflow" horzOverflow="overflow" vert="horz" wrap="square" lIns="82918" tIns="41459" rIns="82918" bIns="41459" numCol="1" spcCol="0" rtlCol="0" fromWordArt="0" anchor="ctr" anchorCtr="0" forceAA="0" compatLnSpc="1">
                <a:prstTxWarp prst="textNoShape">
                  <a:avLst/>
                </a:prstTxWarp>
                <a:noAutofit/>
              </a:bodyPr>
              <a:lstStyle/>
              <a:p>
                <a:pPr marL="0" marR="0" lvl="0" indent="0" algn="ctr" defTabSz="1023827" eaLnBrk="1" fontAlgn="auto" latinLnBrk="0" hangingPunct="1">
                  <a:lnSpc>
                    <a:spcPct val="100000"/>
                  </a:lnSpc>
                  <a:spcBef>
                    <a:spcPts val="0"/>
                  </a:spcBef>
                  <a:spcAft>
                    <a:spcPts val="0"/>
                  </a:spcAft>
                  <a:buClrTx/>
                  <a:buSzTx/>
                  <a:buFontTx/>
                  <a:buNone/>
                  <a:tabLst/>
                  <a:defRPr/>
                </a:pPr>
                <a:endParaRPr kumimoji="0" lang="en-US" sz="544" b="0" i="0" u="none" strike="noStrike" kern="0" cap="none" spc="0" normalizeH="0" baseline="0" dirty="0">
                  <a:ln>
                    <a:noFill/>
                  </a:ln>
                  <a:solidFill>
                    <a:srgbClr val="FFFFFF"/>
                  </a:solidFill>
                  <a:effectLst/>
                  <a:uLnTx/>
                  <a:uFillTx/>
                  <a:latin typeface="Open Sans"/>
                  <a:ea typeface="+mn-ea"/>
                  <a:cs typeface="+mn-cs"/>
                </a:endParaRPr>
              </a:p>
            </p:txBody>
          </p:sp>
          <p:sp>
            <p:nvSpPr>
              <p:cNvPr id="237" name="Freeform 7">
                <a:extLst>
                  <a:ext uri="{FF2B5EF4-FFF2-40B4-BE49-F238E27FC236}">
                    <a16:creationId xmlns:a16="http://schemas.microsoft.com/office/drawing/2014/main" id="{C06FFBB4-2248-C4FA-9B22-29680A1B1190}"/>
                  </a:ext>
                </a:extLst>
              </p:cNvPr>
              <p:cNvSpPr>
                <a:spLocks/>
              </p:cNvSpPr>
              <p:nvPr/>
            </p:nvSpPr>
            <p:spPr bwMode="blackWhite">
              <a:xfrm flipV="1">
                <a:off x="4889652" y="3419065"/>
                <a:ext cx="736872" cy="792000"/>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noFill/>
              <a:ln w="38100" cap="flat" cmpd="sng" algn="ctr">
                <a:noFill/>
                <a:prstDash val="solid"/>
              </a:ln>
              <a:effectLst/>
            </p:spPr>
            <p:txBody>
              <a:bodyPr rot="0" spcFirstLastPara="0" vertOverflow="overflow" horzOverflow="overflow" vert="horz" wrap="square" lIns="82918" tIns="41459" rIns="82918" bIns="41459" numCol="1" spcCol="0" rtlCol="0" fromWordArt="0" anchor="ctr" anchorCtr="0" forceAA="0" compatLnSpc="1">
                <a:prstTxWarp prst="textNoShape">
                  <a:avLst/>
                </a:prstTxWarp>
                <a:noAutofit/>
              </a:bodyPr>
              <a:lstStyle/>
              <a:p>
                <a:pPr marL="0" marR="0" lvl="0" indent="0" algn="ctr" defTabSz="1023827" eaLnBrk="1" fontAlgn="auto" latinLnBrk="0" hangingPunct="1">
                  <a:lnSpc>
                    <a:spcPct val="100000"/>
                  </a:lnSpc>
                  <a:spcBef>
                    <a:spcPts val="0"/>
                  </a:spcBef>
                  <a:spcAft>
                    <a:spcPts val="0"/>
                  </a:spcAft>
                  <a:buClrTx/>
                  <a:buSzTx/>
                  <a:buFontTx/>
                  <a:buNone/>
                  <a:tabLst/>
                  <a:defRPr/>
                </a:pPr>
                <a:endParaRPr kumimoji="0" lang="en-US" sz="544" b="0" i="0" u="none" strike="noStrike" kern="0" cap="none" spc="0" normalizeH="0" baseline="0" dirty="0">
                  <a:ln>
                    <a:noFill/>
                  </a:ln>
                  <a:solidFill>
                    <a:srgbClr val="FFFFFF"/>
                  </a:solidFill>
                  <a:effectLst/>
                  <a:uLnTx/>
                  <a:uFillTx/>
                  <a:latin typeface="Open Sans"/>
                  <a:ea typeface="+mn-ea"/>
                  <a:cs typeface="+mn-cs"/>
                </a:endParaRPr>
              </a:p>
            </p:txBody>
          </p:sp>
          <p:sp>
            <p:nvSpPr>
              <p:cNvPr id="238" name="Freeform 4">
                <a:extLst>
                  <a:ext uri="{FF2B5EF4-FFF2-40B4-BE49-F238E27FC236}">
                    <a16:creationId xmlns:a16="http://schemas.microsoft.com/office/drawing/2014/main" id="{21005CE7-CA4D-8C40-BD6A-9C2F3F72311C}"/>
                  </a:ext>
                </a:extLst>
              </p:cNvPr>
              <p:cNvSpPr>
                <a:spLocks/>
              </p:cNvSpPr>
              <p:nvPr/>
            </p:nvSpPr>
            <p:spPr bwMode="blackWhite">
              <a:xfrm flipV="1">
                <a:off x="4332287" y="4002076"/>
                <a:ext cx="1718858" cy="830669"/>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noFill/>
              <a:ln w="38100" cap="flat" cmpd="sng" algn="ctr">
                <a:noFill/>
                <a:prstDash val="solid"/>
              </a:ln>
              <a:effectLst/>
            </p:spPr>
            <p:txBody>
              <a:bodyPr rtlCol="0" anchor="ctr"/>
              <a:lstStyle/>
              <a:p>
                <a:pPr marL="0" marR="0" lvl="0" indent="0" algn="ctr" defTabSz="1023827" eaLnBrk="1" fontAlgn="auto" latinLnBrk="0" hangingPunct="1">
                  <a:lnSpc>
                    <a:spcPct val="100000"/>
                  </a:lnSpc>
                  <a:spcBef>
                    <a:spcPts val="0"/>
                  </a:spcBef>
                  <a:spcAft>
                    <a:spcPts val="0"/>
                  </a:spcAft>
                  <a:buClrTx/>
                  <a:buSzTx/>
                  <a:buFontTx/>
                  <a:buNone/>
                  <a:tabLst/>
                  <a:defRPr/>
                </a:pPr>
                <a:endParaRPr kumimoji="0" lang="en-US" altLang="en-US" sz="816" b="1" i="0" u="none" strike="noStrike" kern="0" cap="none" spc="0" normalizeH="0" baseline="0" dirty="0">
                  <a:ln>
                    <a:noFill/>
                  </a:ln>
                  <a:solidFill>
                    <a:srgbClr val="FFFFFF"/>
                  </a:solidFill>
                  <a:effectLst/>
                  <a:uLnTx/>
                  <a:uFillTx/>
                  <a:latin typeface="Open Sans"/>
                  <a:ea typeface="+mn-ea"/>
                  <a:cs typeface="+mn-cs"/>
                </a:endParaRPr>
              </a:p>
            </p:txBody>
          </p:sp>
          <p:sp>
            <p:nvSpPr>
              <p:cNvPr id="239" name="TextBox 238">
                <a:extLst>
                  <a:ext uri="{FF2B5EF4-FFF2-40B4-BE49-F238E27FC236}">
                    <a16:creationId xmlns:a16="http://schemas.microsoft.com/office/drawing/2014/main" id="{958C37D9-7951-B895-8426-22FA0ECC1BFC}"/>
                  </a:ext>
                </a:extLst>
              </p:cNvPr>
              <p:cNvSpPr txBox="1"/>
              <p:nvPr/>
            </p:nvSpPr>
            <p:spPr>
              <a:xfrm>
                <a:off x="6892404" y="3060210"/>
                <a:ext cx="723901" cy="230832"/>
              </a:xfrm>
              <a:prstGeom prst="rect">
                <a:avLst/>
              </a:prstGeom>
              <a:noFill/>
              <a:ln>
                <a:noFill/>
              </a:ln>
            </p:spPr>
            <p:txBody>
              <a:bodyPr wrap="square" rtlCol="0" anchor="t">
                <a:spAutoFit/>
              </a:bodyPr>
              <a:lstStyle/>
              <a:p>
                <a:pPr marL="0" marR="0" lvl="0" indent="0" algn="ctr"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timate</a:t>
                </a:r>
              </a:p>
            </p:txBody>
          </p:sp>
          <p:sp>
            <p:nvSpPr>
              <p:cNvPr id="240" name="TextBox 239">
                <a:extLst>
                  <a:ext uri="{FF2B5EF4-FFF2-40B4-BE49-F238E27FC236}">
                    <a16:creationId xmlns:a16="http://schemas.microsoft.com/office/drawing/2014/main" id="{E206DD6D-1C03-1E5B-5770-F67C5EFD208E}"/>
                  </a:ext>
                </a:extLst>
              </p:cNvPr>
              <p:cNvSpPr txBox="1"/>
              <p:nvPr/>
            </p:nvSpPr>
            <p:spPr>
              <a:xfrm>
                <a:off x="5736447" y="5003841"/>
                <a:ext cx="1161493" cy="276999"/>
              </a:xfrm>
              <a:prstGeom prst="rect">
                <a:avLst/>
              </a:prstGeom>
              <a:noFill/>
              <a:ln>
                <a:noFill/>
              </a:ln>
            </p:spPr>
            <p:txBody>
              <a:bodyPr wrap="square" lIns="0" tIns="0" rIns="0" bIns="0" rtlCol="0" anchor="t">
                <a:spAutoFit/>
              </a:bodyPr>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velop </a:t>
                </a:r>
              </a:p>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er stories</a:t>
                </a:r>
              </a:p>
            </p:txBody>
          </p:sp>
          <p:sp>
            <p:nvSpPr>
              <p:cNvPr id="241" name="TextBox 240">
                <a:extLst>
                  <a:ext uri="{FF2B5EF4-FFF2-40B4-BE49-F238E27FC236}">
                    <a16:creationId xmlns:a16="http://schemas.microsoft.com/office/drawing/2014/main" id="{488F0E9D-2EF8-52D6-35C3-882391EF314C}"/>
                  </a:ext>
                </a:extLst>
              </p:cNvPr>
              <p:cNvSpPr txBox="1"/>
              <p:nvPr/>
            </p:nvSpPr>
            <p:spPr>
              <a:xfrm>
                <a:off x="5628084" y="2324987"/>
                <a:ext cx="723901" cy="230832"/>
              </a:xfrm>
              <a:prstGeom prst="rect">
                <a:avLst/>
              </a:prstGeom>
              <a:noFill/>
              <a:ln>
                <a:noFill/>
              </a:ln>
            </p:spPr>
            <p:txBody>
              <a:bodyPr wrap="square" rtlCol="0" anchor="t">
                <a:spAutoFit/>
              </a:bodyPr>
              <a:lstStyle/>
              <a:p>
                <a:pPr marL="0" marR="0" lvl="0" indent="0" algn="ctr"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velop</a:t>
                </a:r>
              </a:p>
            </p:txBody>
          </p:sp>
          <p:sp>
            <p:nvSpPr>
              <p:cNvPr id="242" name="TextBox 241">
                <a:extLst>
                  <a:ext uri="{FF2B5EF4-FFF2-40B4-BE49-F238E27FC236}">
                    <a16:creationId xmlns:a16="http://schemas.microsoft.com/office/drawing/2014/main" id="{3E93A5EC-BF69-BCF3-6EC7-351F8A23A42C}"/>
                  </a:ext>
                </a:extLst>
              </p:cNvPr>
              <p:cNvSpPr txBox="1"/>
              <p:nvPr/>
            </p:nvSpPr>
            <p:spPr>
              <a:xfrm>
                <a:off x="4367169" y="3065426"/>
                <a:ext cx="644856" cy="230832"/>
              </a:xfrm>
              <a:prstGeom prst="rect">
                <a:avLst/>
              </a:prstGeom>
              <a:noFill/>
              <a:ln>
                <a:noFill/>
              </a:ln>
            </p:spPr>
            <p:txBody>
              <a:bodyPr wrap="square" rtlCol="0" anchor="t">
                <a:spAutoFit/>
              </a:bodyPr>
              <a:lstStyle/>
              <a:p>
                <a:pPr marL="0" marR="0" lvl="0" indent="0" algn="ctr"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view </a:t>
                </a:r>
              </a:p>
            </p:txBody>
          </p:sp>
          <p:sp>
            <p:nvSpPr>
              <p:cNvPr id="243" name="TextBox 242">
                <a:extLst>
                  <a:ext uri="{FF2B5EF4-FFF2-40B4-BE49-F238E27FC236}">
                    <a16:creationId xmlns:a16="http://schemas.microsoft.com/office/drawing/2014/main" id="{FDAF49FC-919B-22F0-2F6A-981147A98CD4}"/>
                  </a:ext>
                </a:extLst>
              </p:cNvPr>
              <p:cNvSpPr txBox="1"/>
              <p:nvPr/>
            </p:nvSpPr>
            <p:spPr>
              <a:xfrm>
                <a:off x="3975582" y="4158304"/>
                <a:ext cx="1192768" cy="230832"/>
              </a:xfrm>
              <a:prstGeom prst="rect">
                <a:avLst/>
              </a:prstGeom>
              <a:noFill/>
              <a:ln>
                <a:noFill/>
              </a:ln>
            </p:spPr>
            <p:txBody>
              <a:bodyPr wrap="square" rtlCol="0" anchor="t">
                <a:spAutoFit/>
              </a:bodyPr>
              <a:lstStyle/>
              <a:p>
                <a:pPr marL="0" marR="0" lvl="0" indent="0" algn="ctr"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print test</a:t>
                </a:r>
              </a:p>
            </p:txBody>
          </p:sp>
          <p:sp>
            <p:nvSpPr>
              <p:cNvPr id="244" name="Right Arrow 36">
                <a:extLst>
                  <a:ext uri="{FF2B5EF4-FFF2-40B4-BE49-F238E27FC236}">
                    <a16:creationId xmlns:a16="http://schemas.microsoft.com/office/drawing/2014/main" id="{D2E9D65B-958B-311F-F6E0-D57B93B3951A}"/>
                  </a:ext>
                </a:extLst>
              </p:cNvPr>
              <p:cNvSpPr/>
              <p:nvPr/>
            </p:nvSpPr>
            <p:spPr>
              <a:xfrm>
                <a:off x="3424761" y="4802978"/>
                <a:ext cx="1280748" cy="882000"/>
              </a:xfrm>
              <a:prstGeom prst="rightArrow">
                <a:avLst>
                  <a:gd name="adj1" fmla="val 57315"/>
                  <a:gd name="adj2" fmla="val 27851"/>
                </a:avLst>
              </a:prstGeom>
              <a:noFill/>
              <a:ln w="38100" cap="flat" cmpd="sng" algn="ctr">
                <a:noFill/>
                <a:prstDash val="solid"/>
              </a:ln>
              <a:effectLst/>
            </p:spPr>
            <p:txBody>
              <a:bodyPr lIns="0" tIns="0" rIns="0" bIns="0"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fine user stories, for </a:t>
                </a:r>
                <a:r>
                  <a:rPr kumimoji="0" lang="en-US" sz="900" b="0" i="0" u="none" strike="noStrike" kern="0" cap="none" spc="0" normalizeH="0" baseline="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o.Data</a:t>
                </a: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Enhancements</a:t>
                </a:r>
              </a:p>
            </p:txBody>
          </p:sp>
          <p:sp>
            <p:nvSpPr>
              <p:cNvPr id="245" name="Right Arrow 46">
                <a:extLst>
                  <a:ext uri="{FF2B5EF4-FFF2-40B4-BE49-F238E27FC236}">
                    <a16:creationId xmlns:a16="http://schemas.microsoft.com/office/drawing/2014/main" id="{50B27368-8F7D-8C5F-EBE8-083C0F7B9B76}"/>
                  </a:ext>
                </a:extLst>
              </p:cNvPr>
              <p:cNvSpPr/>
              <p:nvPr/>
            </p:nvSpPr>
            <p:spPr>
              <a:xfrm>
                <a:off x="8634240" y="4802978"/>
                <a:ext cx="1280748" cy="882000"/>
              </a:xfrm>
              <a:prstGeom prst="rightArrow">
                <a:avLst>
                  <a:gd name="adj1" fmla="val 57315"/>
                  <a:gd name="adj2" fmla="val 27851"/>
                </a:avLst>
              </a:prstGeom>
              <a:noFill/>
              <a:ln w="38100" cap="flat" cmpd="sng" algn="ctr">
                <a:noFill/>
                <a:prstDash val="solid"/>
              </a:ln>
              <a:effectLst/>
            </p:spPr>
            <p:txBody>
              <a:bodyPr lIns="0" tIns="0" rIns="0" bIns="0"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ploy</a:t>
                </a:r>
              </a:p>
            </p:txBody>
          </p:sp>
          <p:sp>
            <p:nvSpPr>
              <p:cNvPr id="246" name="Freeform 3">
                <a:extLst>
                  <a:ext uri="{FF2B5EF4-FFF2-40B4-BE49-F238E27FC236}">
                    <a16:creationId xmlns:a16="http://schemas.microsoft.com/office/drawing/2014/main" id="{3AD9F9ED-A1BC-EF04-32B2-B827032E7C9E}"/>
                  </a:ext>
                </a:extLst>
              </p:cNvPr>
              <p:cNvSpPr>
                <a:spLocks/>
              </p:cNvSpPr>
              <p:nvPr/>
            </p:nvSpPr>
            <p:spPr bwMode="blackWhite">
              <a:xfrm flipV="1">
                <a:off x="5902944" y="3973228"/>
                <a:ext cx="864391" cy="751912"/>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noFill/>
              <a:ln w="38100" cap="flat" cmpd="sng" algn="ctr">
                <a:noFill/>
                <a:prstDash val="solid"/>
              </a:ln>
              <a:effectLst/>
            </p:spPr>
            <p:txBody>
              <a:bodyPr rtlCol="0" anchor="ctr"/>
              <a:lstStyle/>
              <a:p>
                <a:pPr marL="0" marR="0" lvl="0" indent="0" algn="ctr" defTabSz="1023827" eaLnBrk="1" fontAlgn="auto" latinLnBrk="0" hangingPunct="1">
                  <a:lnSpc>
                    <a:spcPct val="100000"/>
                  </a:lnSpc>
                  <a:spcBef>
                    <a:spcPts val="0"/>
                  </a:spcBef>
                  <a:spcAft>
                    <a:spcPts val="0"/>
                  </a:spcAft>
                  <a:buClrTx/>
                  <a:buSzTx/>
                  <a:buFontTx/>
                  <a:buNone/>
                  <a:tabLst/>
                  <a:defRPr/>
                </a:pPr>
                <a:endParaRPr kumimoji="0" lang="en-US" altLang="en-US" sz="816" b="1" i="0" u="none" strike="noStrike" kern="0" cap="none" spc="0" normalizeH="0" baseline="0" dirty="0">
                  <a:ln>
                    <a:noFill/>
                  </a:ln>
                  <a:solidFill>
                    <a:srgbClr val="FFFFFF"/>
                  </a:solidFill>
                  <a:effectLst/>
                  <a:uLnTx/>
                  <a:uFillTx/>
                  <a:latin typeface="Open Sans"/>
                  <a:ea typeface="+mn-ea"/>
                  <a:cs typeface="+mn-cs"/>
                </a:endParaRPr>
              </a:p>
            </p:txBody>
          </p:sp>
          <p:sp>
            <p:nvSpPr>
              <p:cNvPr id="247" name="TextBox 246">
                <a:extLst>
                  <a:ext uri="{FF2B5EF4-FFF2-40B4-BE49-F238E27FC236}">
                    <a16:creationId xmlns:a16="http://schemas.microsoft.com/office/drawing/2014/main" id="{9BE1EE61-332A-1E97-C2FF-BB3808FF4008}"/>
                  </a:ext>
                </a:extLst>
              </p:cNvPr>
              <p:cNvSpPr txBox="1"/>
              <p:nvPr/>
            </p:nvSpPr>
            <p:spPr>
              <a:xfrm>
                <a:off x="6933991" y="4148483"/>
                <a:ext cx="664328" cy="230832"/>
              </a:xfrm>
              <a:prstGeom prst="rect">
                <a:avLst/>
              </a:prstGeom>
              <a:noFill/>
              <a:ln>
                <a:noFill/>
              </a:ln>
            </p:spPr>
            <p:txBody>
              <a:bodyPr wrap="square" rtlCol="0" anchor="t">
                <a:spAutoFit/>
              </a:bodyPr>
              <a:lstStyle/>
              <a:p>
                <a:pPr marL="0" marR="0" lvl="0" indent="0" algn="ctr"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ioritize</a:t>
                </a:r>
              </a:p>
            </p:txBody>
          </p:sp>
          <p:sp>
            <p:nvSpPr>
              <p:cNvPr id="248" name="Line Callout 3 (Accent Bar) 34">
                <a:extLst>
                  <a:ext uri="{FF2B5EF4-FFF2-40B4-BE49-F238E27FC236}">
                    <a16:creationId xmlns:a16="http://schemas.microsoft.com/office/drawing/2014/main" id="{1EC6A5EB-3592-A084-B483-3357547A0DCE}"/>
                  </a:ext>
                </a:extLst>
              </p:cNvPr>
              <p:cNvSpPr/>
              <p:nvPr/>
            </p:nvSpPr>
            <p:spPr>
              <a:xfrm>
                <a:off x="2322698" y="3547060"/>
                <a:ext cx="1620000" cy="1240589"/>
              </a:xfrm>
              <a:prstGeom prst="accentCallout3">
                <a:avLst>
                  <a:gd name="adj1" fmla="val 27305"/>
                  <a:gd name="adj2" fmla="val 88750"/>
                  <a:gd name="adj3" fmla="val 27767"/>
                  <a:gd name="adj4" fmla="val 98566"/>
                  <a:gd name="adj5" fmla="val 93407"/>
                  <a:gd name="adj6" fmla="val 135461"/>
                  <a:gd name="adj7" fmla="val 132209"/>
                  <a:gd name="adj8" fmla="val 144717"/>
                </a:avLst>
              </a:prstGeom>
              <a:noFill/>
              <a:ln w="9525" cap="flat" cmpd="sng" algn="ctr">
                <a:noFill/>
                <a:prstDash val="solid"/>
              </a:ln>
              <a:effectLst/>
            </p:spPr>
            <p:txBody>
              <a:bodyPr lIns="82859" tIns="41429" rIns="82859" bIns="41429"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1" i="1" u="none" strike="noStrike" kern="0" cap="none" spc="0" normalizeH="0" baseline="0" dirty="0">
                    <a:ln>
                      <a:noFill/>
                    </a:ln>
                    <a:solidFill>
                      <a:srgbClr val="000000"/>
                    </a:solidFill>
                    <a:effectLst/>
                    <a:uLnTx/>
                    <a:uFillTx/>
                    <a:latin typeface="Open Sans"/>
                  </a:rPr>
                  <a:t>Discovery</a:t>
                </a:r>
              </a:p>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fine existing backlog, revisit assumption and confirm overall approach a potential changes to architecture, prepare roadmap plan</a:t>
                </a:r>
              </a:p>
            </p:txBody>
          </p:sp>
          <p:sp>
            <p:nvSpPr>
              <p:cNvPr id="249" name="Line Callout 3 (Accent Bar) 35">
                <a:extLst>
                  <a:ext uri="{FF2B5EF4-FFF2-40B4-BE49-F238E27FC236}">
                    <a16:creationId xmlns:a16="http://schemas.microsoft.com/office/drawing/2014/main" id="{9CBD59C8-832A-590C-90EC-2A368E8C060B}"/>
                  </a:ext>
                </a:extLst>
              </p:cNvPr>
              <p:cNvSpPr/>
              <p:nvPr/>
            </p:nvSpPr>
            <p:spPr>
              <a:xfrm>
                <a:off x="5136321" y="4135856"/>
                <a:ext cx="1620000" cy="728357"/>
              </a:xfrm>
              <a:prstGeom prst="accentCallout3">
                <a:avLst>
                  <a:gd name="adj1" fmla="val 25944"/>
                  <a:gd name="adj2" fmla="val 97967"/>
                  <a:gd name="adj3" fmla="val 25707"/>
                  <a:gd name="adj4" fmla="val 107879"/>
                  <a:gd name="adj5" fmla="val 27231"/>
                  <a:gd name="adj6" fmla="val 108289"/>
                  <a:gd name="adj7" fmla="val 40219"/>
                  <a:gd name="adj8" fmla="val 152112"/>
                </a:avLst>
              </a:prstGeom>
              <a:noFill/>
              <a:ln w="9525" cap="flat" cmpd="sng" algn="ctr">
                <a:noFill/>
                <a:prstDash val="solid"/>
              </a:ln>
              <a:effectLst/>
            </p:spPr>
            <p:txBody>
              <a:bodyPr lIns="82859" tIns="41429" rIns="82859" bIns="41429" rtlCol="0" anchor="t"/>
              <a:lstStyle/>
              <a:p>
                <a:pPr marL="0" marR="0" lvl="0" indent="0" algn="ctr"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teratively design, </a:t>
                </a:r>
                <a:br>
                  <a:rPr kumimoji="0" lang="en-US" sz="900" b="0" i="0" u="none" strike="noStrike" kern="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900" b="0" i="0" u="none" strike="noStrike" kern="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ild, and test enhancements within sprints</a:t>
                </a:r>
              </a:p>
            </p:txBody>
          </p:sp>
          <p:sp>
            <p:nvSpPr>
              <p:cNvPr id="250" name="Line Callout 3 (Accent Bar) 40">
                <a:extLst>
                  <a:ext uri="{FF2B5EF4-FFF2-40B4-BE49-F238E27FC236}">
                    <a16:creationId xmlns:a16="http://schemas.microsoft.com/office/drawing/2014/main" id="{A8E451E3-8DF0-3F25-4A6E-6D3C99DA8D06}"/>
                  </a:ext>
                </a:extLst>
              </p:cNvPr>
              <p:cNvSpPr/>
              <p:nvPr/>
            </p:nvSpPr>
            <p:spPr>
              <a:xfrm>
                <a:off x="8802826" y="3547060"/>
                <a:ext cx="1620000" cy="655385"/>
              </a:xfrm>
              <a:prstGeom prst="accentCallout3">
                <a:avLst>
                  <a:gd name="adj1" fmla="val 24194"/>
                  <a:gd name="adj2" fmla="val 266"/>
                  <a:gd name="adj3" fmla="val 23973"/>
                  <a:gd name="adj4" fmla="val -16094"/>
                  <a:gd name="adj5" fmla="val 23304"/>
                  <a:gd name="adj6" fmla="val -16395"/>
                  <a:gd name="adj7" fmla="val 215608"/>
                  <a:gd name="adj8" fmla="val -45509"/>
                </a:avLst>
              </a:prstGeom>
              <a:noFill/>
              <a:ln w="9525" cap="flat" cmpd="sng" algn="ctr">
                <a:noFill/>
                <a:prstDash val="solid"/>
              </a:ln>
              <a:effectLst/>
            </p:spPr>
            <p:txBody>
              <a:bodyPr lIns="82859" tIns="41429" rIns="82859" bIns="41429"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1" i="1" u="none" strike="noStrike" kern="0" cap="none" spc="0" normalizeH="0" baseline="0" dirty="0">
                    <a:ln>
                      <a:noFill/>
                    </a:ln>
                    <a:solidFill>
                      <a:srgbClr val="000000"/>
                    </a:solidFill>
                    <a:effectLst/>
                    <a:uLnTx/>
                    <a:uFillTx/>
                    <a:latin typeface="Open Sans"/>
                  </a:rPr>
                  <a:t>Release</a:t>
                </a:r>
              </a:p>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ild and deploy the updates and support updated system</a:t>
                </a:r>
              </a:p>
            </p:txBody>
          </p:sp>
          <p:sp>
            <p:nvSpPr>
              <p:cNvPr id="251" name="Right Arrow 99">
                <a:extLst>
                  <a:ext uri="{FF2B5EF4-FFF2-40B4-BE49-F238E27FC236}">
                    <a16:creationId xmlns:a16="http://schemas.microsoft.com/office/drawing/2014/main" id="{252E132B-74F5-30C6-DA1A-AC98CCB52169}"/>
                  </a:ext>
                </a:extLst>
              </p:cNvPr>
              <p:cNvSpPr/>
              <p:nvPr/>
            </p:nvSpPr>
            <p:spPr>
              <a:xfrm>
                <a:off x="7191422" y="4802978"/>
                <a:ext cx="1411199" cy="883614"/>
              </a:xfrm>
              <a:prstGeom prst="rightArrow">
                <a:avLst>
                  <a:gd name="adj1" fmla="val 57315"/>
                  <a:gd name="adj2" fmla="val 27851"/>
                </a:avLst>
              </a:prstGeom>
              <a:noFill/>
              <a:ln w="38100" cap="flat" cmpd="sng" algn="ctr">
                <a:noFill/>
                <a:prstDash val="solid"/>
              </a:ln>
              <a:effectLst/>
            </p:spPr>
            <p:txBody>
              <a:bodyPr lIns="0" tIns="0" rIns="0" bIns="0"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tegration &amp; </a:t>
                </a:r>
                <a:b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ICEF tests</a:t>
                </a:r>
              </a:p>
            </p:txBody>
          </p:sp>
          <p:sp>
            <p:nvSpPr>
              <p:cNvPr id="252" name="Right Arrow 100">
                <a:extLst>
                  <a:ext uri="{FF2B5EF4-FFF2-40B4-BE49-F238E27FC236}">
                    <a16:creationId xmlns:a16="http://schemas.microsoft.com/office/drawing/2014/main" id="{9500C547-D4E8-3406-BAE8-1AC959021883}"/>
                  </a:ext>
                </a:extLst>
              </p:cNvPr>
              <p:cNvSpPr/>
              <p:nvPr/>
            </p:nvSpPr>
            <p:spPr>
              <a:xfrm>
                <a:off x="2113068" y="4821611"/>
                <a:ext cx="762494" cy="883612"/>
              </a:xfrm>
              <a:prstGeom prst="rightArrow">
                <a:avLst>
                  <a:gd name="adj1" fmla="val 57315"/>
                  <a:gd name="adj2" fmla="val 27851"/>
                </a:avLst>
              </a:prstGeom>
              <a:noFill/>
              <a:ln w="38100" cap="flat" cmpd="sng" algn="ctr">
                <a:noFill/>
                <a:prstDash val="solid"/>
              </a:ln>
              <a:effectLst/>
            </p:spPr>
            <p:txBody>
              <a:bodyPr lIns="0" tIns="0" rIns="0" bIns="0"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alyze existing backlog </a:t>
                </a:r>
                <a:b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ith UNICEF</a:t>
                </a:r>
              </a:p>
            </p:txBody>
          </p:sp>
          <p:sp>
            <p:nvSpPr>
              <p:cNvPr id="253" name="Right Arrow 101">
                <a:extLst>
                  <a:ext uri="{FF2B5EF4-FFF2-40B4-BE49-F238E27FC236}">
                    <a16:creationId xmlns:a16="http://schemas.microsoft.com/office/drawing/2014/main" id="{4990C7F2-D571-6CDE-7AC9-F24F5421DE90}"/>
                  </a:ext>
                </a:extLst>
              </p:cNvPr>
              <p:cNvSpPr/>
              <p:nvPr/>
            </p:nvSpPr>
            <p:spPr>
              <a:xfrm>
                <a:off x="604409" y="4811847"/>
                <a:ext cx="902231" cy="883612"/>
              </a:xfrm>
              <a:prstGeom prst="rightArrow">
                <a:avLst>
                  <a:gd name="adj1" fmla="val 57315"/>
                  <a:gd name="adj2" fmla="val 27851"/>
                </a:avLst>
              </a:prstGeom>
              <a:noFill/>
              <a:ln w="38100" cap="flat" cmpd="sng" algn="ctr">
                <a:noFill/>
                <a:prstDash val="solid"/>
              </a:ln>
              <a:effectLst/>
            </p:spPr>
            <p:txBody>
              <a:bodyPr lIns="0" tIns="0" rIns="0" bIns="0"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bilize </a:t>
                </a:r>
                <a:b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ICEF and Deloitte teams</a:t>
                </a:r>
              </a:p>
            </p:txBody>
          </p:sp>
        </p:grpSp>
        <p:sp>
          <p:nvSpPr>
            <p:cNvPr id="196" name="Arc 195">
              <a:extLst>
                <a:ext uri="{FF2B5EF4-FFF2-40B4-BE49-F238E27FC236}">
                  <a16:creationId xmlns:a16="http://schemas.microsoft.com/office/drawing/2014/main" id="{0F7CAE64-E783-80E3-AB5B-E640A229A230}"/>
                </a:ext>
              </a:extLst>
            </p:cNvPr>
            <p:cNvSpPr/>
            <p:nvPr/>
          </p:nvSpPr>
          <p:spPr>
            <a:xfrm>
              <a:off x="5140304" y="1926552"/>
              <a:ext cx="2220014" cy="2220014"/>
            </a:xfrm>
            <a:prstGeom prst="arc">
              <a:avLst>
                <a:gd name="adj1" fmla="val 5547404"/>
                <a:gd name="adj2" fmla="val 4046981"/>
              </a:avLst>
            </a:prstGeom>
            <a:noFill/>
            <a:ln w="19050" cap="rnd" cmpd="sng" algn="ctr">
              <a:solidFill>
                <a:srgbClr val="6FC2B4"/>
              </a:solidFill>
              <a:prstDash val="sysDot"/>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a typeface="+mn-ea"/>
                <a:cs typeface="+mn-cs"/>
              </a:endParaRPr>
            </a:p>
          </p:txBody>
        </p:sp>
        <p:cxnSp>
          <p:nvCxnSpPr>
            <p:cNvPr id="197" name="Straight Connector 196">
              <a:extLst>
                <a:ext uri="{FF2B5EF4-FFF2-40B4-BE49-F238E27FC236}">
                  <a16:creationId xmlns:a16="http://schemas.microsoft.com/office/drawing/2014/main" id="{C2F77E01-0B03-283A-6074-5F59FCAE3EA8}"/>
                </a:ext>
              </a:extLst>
            </p:cNvPr>
            <p:cNvCxnSpPr>
              <a:cxnSpLocks/>
            </p:cNvCxnSpPr>
            <p:nvPr/>
          </p:nvCxnSpPr>
          <p:spPr>
            <a:xfrm>
              <a:off x="6283999" y="4160351"/>
              <a:ext cx="3518425" cy="8338"/>
            </a:xfrm>
            <a:prstGeom prst="line">
              <a:avLst/>
            </a:prstGeom>
            <a:noFill/>
            <a:ln w="19050" cap="rnd" cmpd="sng" algn="ctr">
              <a:solidFill>
                <a:srgbClr val="9DD4CF"/>
              </a:solidFill>
              <a:prstDash val="sysDot"/>
              <a:round/>
              <a:tailEnd type="arrow"/>
            </a:ln>
            <a:effectLst/>
          </p:spPr>
        </p:cxnSp>
        <p:cxnSp>
          <p:nvCxnSpPr>
            <p:cNvPr id="198" name="Straight Connector 197">
              <a:extLst>
                <a:ext uri="{FF2B5EF4-FFF2-40B4-BE49-F238E27FC236}">
                  <a16:creationId xmlns:a16="http://schemas.microsoft.com/office/drawing/2014/main" id="{E9B64D85-1078-5ABA-6950-EC169728CA40}"/>
                </a:ext>
              </a:extLst>
            </p:cNvPr>
            <p:cNvCxnSpPr>
              <a:cxnSpLocks/>
            </p:cNvCxnSpPr>
            <p:nvPr/>
          </p:nvCxnSpPr>
          <p:spPr>
            <a:xfrm>
              <a:off x="1092617" y="4164520"/>
              <a:ext cx="4730873" cy="0"/>
            </a:xfrm>
            <a:prstGeom prst="line">
              <a:avLst/>
            </a:prstGeom>
            <a:noFill/>
            <a:ln w="19050" cap="rnd" cmpd="sng" algn="ctr">
              <a:solidFill>
                <a:srgbClr val="9DD4CF"/>
              </a:solidFill>
              <a:prstDash val="sysDot"/>
              <a:round/>
              <a:headEnd type="none"/>
              <a:tailEnd type="none"/>
            </a:ln>
            <a:effectLst/>
          </p:spPr>
        </p:cxnSp>
        <p:sp>
          <p:nvSpPr>
            <p:cNvPr id="199" name="Oval 198">
              <a:extLst>
                <a:ext uri="{FF2B5EF4-FFF2-40B4-BE49-F238E27FC236}">
                  <a16:creationId xmlns:a16="http://schemas.microsoft.com/office/drawing/2014/main" id="{7CDA98B9-B872-DDE4-5624-8FF66E0A3FB2}"/>
                </a:ext>
              </a:extLst>
            </p:cNvPr>
            <p:cNvSpPr/>
            <p:nvPr/>
          </p:nvSpPr>
          <p:spPr>
            <a:xfrm>
              <a:off x="7174174" y="3488465"/>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00" name="Oval 199">
              <a:extLst>
                <a:ext uri="{FF2B5EF4-FFF2-40B4-BE49-F238E27FC236}">
                  <a16:creationId xmlns:a16="http://schemas.microsoft.com/office/drawing/2014/main" id="{0E008F8B-F65A-F91B-7689-DAE5FC1F11EF}"/>
                </a:ext>
              </a:extLst>
            </p:cNvPr>
            <p:cNvSpPr/>
            <p:nvPr/>
          </p:nvSpPr>
          <p:spPr>
            <a:xfrm>
              <a:off x="7134205" y="2402956"/>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01" name="Oval 200">
              <a:extLst>
                <a:ext uri="{FF2B5EF4-FFF2-40B4-BE49-F238E27FC236}">
                  <a16:creationId xmlns:a16="http://schemas.microsoft.com/office/drawing/2014/main" id="{7EF945FD-BD8A-D80E-6E3B-A4E9DA794D81}"/>
                </a:ext>
              </a:extLst>
            </p:cNvPr>
            <p:cNvSpPr/>
            <p:nvPr/>
          </p:nvSpPr>
          <p:spPr>
            <a:xfrm>
              <a:off x="6237979" y="1872384"/>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02" name="Oval 201">
              <a:extLst>
                <a:ext uri="{FF2B5EF4-FFF2-40B4-BE49-F238E27FC236}">
                  <a16:creationId xmlns:a16="http://schemas.microsoft.com/office/drawing/2014/main" id="{81593F50-439B-56DB-AD00-C72AE570606D}"/>
                </a:ext>
              </a:extLst>
            </p:cNvPr>
            <p:cNvSpPr/>
            <p:nvPr/>
          </p:nvSpPr>
          <p:spPr>
            <a:xfrm>
              <a:off x="5248255" y="2402956"/>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03" name="Oval 202">
              <a:extLst>
                <a:ext uri="{FF2B5EF4-FFF2-40B4-BE49-F238E27FC236}">
                  <a16:creationId xmlns:a16="http://schemas.microsoft.com/office/drawing/2014/main" id="{07B9A17F-44BC-584E-69B5-AFE769D5AA4E}"/>
                </a:ext>
              </a:extLst>
            </p:cNvPr>
            <p:cNvSpPr/>
            <p:nvPr/>
          </p:nvSpPr>
          <p:spPr>
            <a:xfrm>
              <a:off x="5198417" y="3488465"/>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grpSp>
          <p:nvGrpSpPr>
            <p:cNvPr id="204" name="Group 203">
              <a:extLst>
                <a:ext uri="{FF2B5EF4-FFF2-40B4-BE49-F238E27FC236}">
                  <a16:creationId xmlns:a16="http://schemas.microsoft.com/office/drawing/2014/main" id="{8A6258C7-8548-532A-F7C3-7D1A9F2E97A3}"/>
                </a:ext>
              </a:extLst>
            </p:cNvPr>
            <p:cNvGrpSpPr/>
            <p:nvPr/>
          </p:nvGrpSpPr>
          <p:grpSpPr>
            <a:xfrm>
              <a:off x="5836931" y="2277210"/>
              <a:ext cx="748783" cy="678308"/>
              <a:chOff x="5737383" y="3108035"/>
              <a:chExt cx="748783" cy="678308"/>
            </a:xfrm>
            <a:solidFill>
              <a:srgbClr val="6FC2B4"/>
            </a:solidFill>
          </p:grpSpPr>
          <p:sp>
            <p:nvSpPr>
              <p:cNvPr id="223" name="Freeform 117">
                <a:extLst>
                  <a:ext uri="{FF2B5EF4-FFF2-40B4-BE49-F238E27FC236}">
                    <a16:creationId xmlns:a16="http://schemas.microsoft.com/office/drawing/2014/main" id="{80FAA27A-4596-8949-6EA8-89B2A8CD2FBF}"/>
                  </a:ext>
                </a:extLst>
              </p:cNvPr>
              <p:cNvSpPr>
                <a:spLocks/>
              </p:cNvSpPr>
              <p:nvPr/>
            </p:nvSpPr>
            <p:spPr bwMode="auto">
              <a:xfrm>
                <a:off x="5737383" y="3464806"/>
                <a:ext cx="145353" cy="22024"/>
              </a:xfrm>
              <a:custGeom>
                <a:avLst/>
                <a:gdLst>
                  <a:gd name="T0" fmla="*/ 61 w 66"/>
                  <a:gd name="T1" fmla="*/ 11 h 11"/>
                  <a:gd name="T2" fmla="*/ 61 w 66"/>
                  <a:gd name="T3" fmla="*/ 11 h 11"/>
                  <a:gd name="T4" fmla="*/ 64 w 66"/>
                  <a:gd name="T5" fmla="*/ 11 h 11"/>
                  <a:gd name="T6" fmla="*/ 65 w 66"/>
                  <a:gd name="T7" fmla="*/ 10 h 11"/>
                  <a:gd name="T8" fmla="*/ 66 w 66"/>
                  <a:gd name="T9" fmla="*/ 7 h 11"/>
                  <a:gd name="T10" fmla="*/ 66 w 66"/>
                  <a:gd name="T11" fmla="*/ 6 h 11"/>
                  <a:gd name="T12" fmla="*/ 66 w 66"/>
                  <a:gd name="T13" fmla="*/ 6 h 11"/>
                  <a:gd name="T14" fmla="*/ 66 w 66"/>
                  <a:gd name="T15" fmla="*/ 3 h 11"/>
                  <a:gd name="T16" fmla="*/ 65 w 66"/>
                  <a:gd name="T17" fmla="*/ 1 h 11"/>
                  <a:gd name="T18" fmla="*/ 64 w 66"/>
                  <a:gd name="T19" fmla="*/ 0 h 11"/>
                  <a:gd name="T20" fmla="*/ 61 w 66"/>
                  <a:gd name="T21" fmla="*/ 0 h 11"/>
                  <a:gd name="T22" fmla="*/ 6 w 66"/>
                  <a:gd name="T23" fmla="*/ 0 h 11"/>
                  <a:gd name="T24" fmla="*/ 6 w 66"/>
                  <a:gd name="T25" fmla="*/ 0 h 11"/>
                  <a:gd name="T26" fmla="*/ 3 w 66"/>
                  <a:gd name="T27" fmla="*/ 0 h 11"/>
                  <a:gd name="T28" fmla="*/ 2 w 66"/>
                  <a:gd name="T29" fmla="*/ 1 h 11"/>
                  <a:gd name="T30" fmla="*/ 0 w 66"/>
                  <a:gd name="T31" fmla="*/ 3 h 11"/>
                  <a:gd name="T32" fmla="*/ 0 w 66"/>
                  <a:gd name="T33" fmla="*/ 6 h 11"/>
                  <a:gd name="T34" fmla="*/ 0 w 66"/>
                  <a:gd name="T35" fmla="*/ 6 h 11"/>
                  <a:gd name="T36" fmla="*/ 0 w 66"/>
                  <a:gd name="T37" fmla="*/ 7 h 11"/>
                  <a:gd name="T38" fmla="*/ 2 w 66"/>
                  <a:gd name="T39" fmla="*/ 10 h 11"/>
                  <a:gd name="T40" fmla="*/ 3 w 66"/>
                  <a:gd name="T41" fmla="*/ 11 h 11"/>
                  <a:gd name="T42" fmla="*/ 6 w 66"/>
                  <a:gd name="T43" fmla="*/ 11 h 11"/>
                  <a:gd name="T44" fmla="*/ 61 w 66"/>
                  <a:gd name="T4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11">
                    <a:moveTo>
                      <a:pt x="61" y="11"/>
                    </a:moveTo>
                    <a:lnTo>
                      <a:pt x="61" y="11"/>
                    </a:lnTo>
                    <a:lnTo>
                      <a:pt x="64" y="11"/>
                    </a:lnTo>
                    <a:lnTo>
                      <a:pt x="65" y="10"/>
                    </a:lnTo>
                    <a:lnTo>
                      <a:pt x="66" y="7"/>
                    </a:lnTo>
                    <a:lnTo>
                      <a:pt x="66" y="6"/>
                    </a:lnTo>
                    <a:lnTo>
                      <a:pt x="66" y="6"/>
                    </a:lnTo>
                    <a:lnTo>
                      <a:pt x="66" y="3"/>
                    </a:lnTo>
                    <a:lnTo>
                      <a:pt x="65" y="1"/>
                    </a:lnTo>
                    <a:lnTo>
                      <a:pt x="64" y="0"/>
                    </a:lnTo>
                    <a:lnTo>
                      <a:pt x="61" y="0"/>
                    </a:lnTo>
                    <a:lnTo>
                      <a:pt x="6" y="0"/>
                    </a:lnTo>
                    <a:lnTo>
                      <a:pt x="6" y="0"/>
                    </a:lnTo>
                    <a:lnTo>
                      <a:pt x="3" y="0"/>
                    </a:lnTo>
                    <a:lnTo>
                      <a:pt x="2" y="1"/>
                    </a:lnTo>
                    <a:lnTo>
                      <a:pt x="0" y="3"/>
                    </a:lnTo>
                    <a:lnTo>
                      <a:pt x="0" y="6"/>
                    </a:lnTo>
                    <a:lnTo>
                      <a:pt x="0" y="6"/>
                    </a:lnTo>
                    <a:lnTo>
                      <a:pt x="0" y="7"/>
                    </a:lnTo>
                    <a:lnTo>
                      <a:pt x="2" y="10"/>
                    </a:lnTo>
                    <a:lnTo>
                      <a:pt x="3" y="11"/>
                    </a:lnTo>
                    <a:lnTo>
                      <a:pt x="6" y="11"/>
                    </a:lnTo>
                    <a:lnTo>
                      <a:pt x="61"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224" name="Freeform 118">
                <a:extLst>
                  <a:ext uri="{FF2B5EF4-FFF2-40B4-BE49-F238E27FC236}">
                    <a16:creationId xmlns:a16="http://schemas.microsoft.com/office/drawing/2014/main" id="{B1F8EC5C-8E2E-AE3D-5E42-88311D01C458}"/>
                  </a:ext>
                </a:extLst>
              </p:cNvPr>
              <p:cNvSpPr>
                <a:spLocks/>
              </p:cNvSpPr>
              <p:nvPr/>
            </p:nvSpPr>
            <p:spPr bwMode="auto">
              <a:xfrm>
                <a:off x="5834284" y="3363502"/>
                <a:ext cx="149756" cy="26428"/>
              </a:xfrm>
              <a:custGeom>
                <a:avLst/>
                <a:gdLst>
                  <a:gd name="T0" fmla="*/ 5 w 67"/>
                  <a:gd name="T1" fmla="*/ 13 h 13"/>
                  <a:gd name="T2" fmla="*/ 62 w 67"/>
                  <a:gd name="T3" fmla="*/ 13 h 13"/>
                  <a:gd name="T4" fmla="*/ 62 w 67"/>
                  <a:gd name="T5" fmla="*/ 13 h 13"/>
                  <a:gd name="T6" fmla="*/ 63 w 67"/>
                  <a:gd name="T7" fmla="*/ 11 h 13"/>
                  <a:gd name="T8" fmla="*/ 66 w 67"/>
                  <a:gd name="T9" fmla="*/ 10 h 13"/>
                  <a:gd name="T10" fmla="*/ 66 w 67"/>
                  <a:gd name="T11" fmla="*/ 9 h 13"/>
                  <a:gd name="T12" fmla="*/ 67 w 67"/>
                  <a:gd name="T13" fmla="*/ 6 h 13"/>
                  <a:gd name="T14" fmla="*/ 67 w 67"/>
                  <a:gd name="T15" fmla="*/ 6 h 13"/>
                  <a:gd name="T16" fmla="*/ 66 w 67"/>
                  <a:gd name="T17" fmla="*/ 4 h 13"/>
                  <a:gd name="T18" fmla="*/ 66 w 67"/>
                  <a:gd name="T19" fmla="*/ 2 h 13"/>
                  <a:gd name="T20" fmla="*/ 63 w 67"/>
                  <a:gd name="T21" fmla="*/ 2 h 13"/>
                  <a:gd name="T22" fmla="*/ 62 w 67"/>
                  <a:gd name="T23" fmla="*/ 0 h 13"/>
                  <a:gd name="T24" fmla="*/ 5 w 67"/>
                  <a:gd name="T25" fmla="*/ 0 h 13"/>
                  <a:gd name="T26" fmla="*/ 5 w 67"/>
                  <a:gd name="T27" fmla="*/ 0 h 13"/>
                  <a:gd name="T28" fmla="*/ 2 w 67"/>
                  <a:gd name="T29" fmla="*/ 2 h 13"/>
                  <a:gd name="T30" fmla="*/ 1 w 67"/>
                  <a:gd name="T31" fmla="*/ 2 h 13"/>
                  <a:gd name="T32" fmla="*/ 0 w 67"/>
                  <a:gd name="T33" fmla="*/ 4 h 13"/>
                  <a:gd name="T34" fmla="*/ 0 w 67"/>
                  <a:gd name="T35" fmla="*/ 6 h 13"/>
                  <a:gd name="T36" fmla="*/ 0 w 67"/>
                  <a:gd name="T37" fmla="*/ 6 h 13"/>
                  <a:gd name="T38" fmla="*/ 0 w 67"/>
                  <a:gd name="T39" fmla="*/ 9 h 13"/>
                  <a:gd name="T40" fmla="*/ 1 w 67"/>
                  <a:gd name="T41" fmla="*/ 10 h 13"/>
                  <a:gd name="T42" fmla="*/ 2 w 67"/>
                  <a:gd name="T43" fmla="*/ 11 h 13"/>
                  <a:gd name="T44" fmla="*/ 5 w 67"/>
                  <a:gd name="T45" fmla="*/ 13 h 13"/>
                  <a:gd name="T46" fmla="*/ 5 w 67"/>
                  <a:gd name="T4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13">
                    <a:moveTo>
                      <a:pt x="5" y="13"/>
                    </a:moveTo>
                    <a:lnTo>
                      <a:pt x="62" y="13"/>
                    </a:lnTo>
                    <a:lnTo>
                      <a:pt x="62" y="13"/>
                    </a:lnTo>
                    <a:lnTo>
                      <a:pt x="63" y="11"/>
                    </a:lnTo>
                    <a:lnTo>
                      <a:pt x="66" y="10"/>
                    </a:lnTo>
                    <a:lnTo>
                      <a:pt x="66" y="9"/>
                    </a:lnTo>
                    <a:lnTo>
                      <a:pt x="67" y="6"/>
                    </a:lnTo>
                    <a:lnTo>
                      <a:pt x="67" y="6"/>
                    </a:lnTo>
                    <a:lnTo>
                      <a:pt x="66" y="4"/>
                    </a:lnTo>
                    <a:lnTo>
                      <a:pt x="66" y="2"/>
                    </a:lnTo>
                    <a:lnTo>
                      <a:pt x="63" y="2"/>
                    </a:lnTo>
                    <a:lnTo>
                      <a:pt x="62" y="0"/>
                    </a:lnTo>
                    <a:lnTo>
                      <a:pt x="5" y="0"/>
                    </a:lnTo>
                    <a:lnTo>
                      <a:pt x="5" y="0"/>
                    </a:lnTo>
                    <a:lnTo>
                      <a:pt x="2" y="2"/>
                    </a:lnTo>
                    <a:lnTo>
                      <a:pt x="1" y="2"/>
                    </a:lnTo>
                    <a:lnTo>
                      <a:pt x="0" y="4"/>
                    </a:lnTo>
                    <a:lnTo>
                      <a:pt x="0" y="6"/>
                    </a:lnTo>
                    <a:lnTo>
                      <a:pt x="0" y="6"/>
                    </a:lnTo>
                    <a:lnTo>
                      <a:pt x="0" y="9"/>
                    </a:lnTo>
                    <a:lnTo>
                      <a:pt x="1" y="10"/>
                    </a:lnTo>
                    <a:lnTo>
                      <a:pt x="2" y="11"/>
                    </a:lnTo>
                    <a:lnTo>
                      <a:pt x="5" y="13"/>
                    </a:lnTo>
                    <a:lnTo>
                      <a:pt x="5"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225" name="Freeform 119">
                <a:extLst>
                  <a:ext uri="{FF2B5EF4-FFF2-40B4-BE49-F238E27FC236}">
                    <a16:creationId xmlns:a16="http://schemas.microsoft.com/office/drawing/2014/main" id="{426EF946-ABF4-71DD-3C2F-E825E45364E8}"/>
                  </a:ext>
                </a:extLst>
              </p:cNvPr>
              <p:cNvSpPr>
                <a:spLocks/>
              </p:cNvSpPr>
              <p:nvPr/>
            </p:nvSpPr>
            <p:spPr bwMode="auto">
              <a:xfrm>
                <a:off x="6265934" y="3108035"/>
                <a:ext cx="171781" cy="171781"/>
              </a:xfrm>
              <a:custGeom>
                <a:avLst/>
                <a:gdLst>
                  <a:gd name="T0" fmla="*/ 39 w 78"/>
                  <a:gd name="T1" fmla="*/ 77 h 77"/>
                  <a:gd name="T2" fmla="*/ 39 w 78"/>
                  <a:gd name="T3" fmla="*/ 77 h 77"/>
                  <a:gd name="T4" fmla="*/ 47 w 78"/>
                  <a:gd name="T5" fmla="*/ 77 h 77"/>
                  <a:gd name="T6" fmla="*/ 54 w 78"/>
                  <a:gd name="T7" fmla="*/ 75 h 77"/>
                  <a:gd name="T8" fmla="*/ 60 w 78"/>
                  <a:gd name="T9" fmla="*/ 71 h 77"/>
                  <a:gd name="T10" fmla="*/ 66 w 78"/>
                  <a:gd name="T11" fmla="*/ 67 h 77"/>
                  <a:gd name="T12" fmla="*/ 71 w 78"/>
                  <a:gd name="T13" fmla="*/ 60 h 77"/>
                  <a:gd name="T14" fmla="*/ 75 w 78"/>
                  <a:gd name="T15" fmla="*/ 53 h 77"/>
                  <a:gd name="T16" fmla="*/ 76 w 78"/>
                  <a:gd name="T17" fmla="*/ 47 h 77"/>
                  <a:gd name="T18" fmla="*/ 78 w 78"/>
                  <a:gd name="T19" fmla="*/ 39 h 77"/>
                  <a:gd name="T20" fmla="*/ 78 w 78"/>
                  <a:gd name="T21" fmla="*/ 39 h 77"/>
                  <a:gd name="T22" fmla="*/ 76 w 78"/>
                  <a:gd name="T23" fmla="*/ 30 h 77"/>
                  <a:gd name="T24" fmla="*/ 75 w 78"/>
                  <a:gd name="T25" fmla="*/ 24 h 77"/>
                  <a:gd name="T26" fmla="*/ 71 w 78"/>
                  <a:gd name="T27" fmla="*/ 17 h 77"/>
                  <a:gd name="T28" fmla="*/ 66 w 78"/>
                  <a:gd name="T29" fmla="*/ 10 h 77"/>
                  <a:gd name="T30" fmla="*/ 60 w 78"/>
                  <a:gd name="T31" fmla="*/ 6 h 77"/>
                  <a:gd name="T32" fmla="*/ 54 w 78"/>
                  <a:gd name="T33" fmla="*/ 2 h 77"/>
                  <a:gd name="T34" fmla="*/ 47 w 78"/>
                  <a:gd name="T35" fmla="*/ 0 h 77"/>
                  <a:gd name="T36" fmla="*/ 39 w 78"/>
                  <a:gd name="T37" fmla="*/ 0 h 77"/>
                  <a:gd name="T38" fmla="*/ 39 w 78"/>
                  <a:gd name="T39" fmla="*/ 0 h 77"/>
                  <a:gd name="T40" fmla="*/ 31 w 78"/>
                  <a:gd name="T41" fmla="*/ 0 h 77"/>
                  <a:gd name="T42" fmla="*/ 23 w 78"/>
                  <a:gd name="T43" fmla="*/ 2 h 77"/>
                  <a:gd name="T44" fmla="*/ 16 w 78"/>
                  <a:gd name="T45" fmla="*/ 6 h 77"/>
                  <a:gd name="T46" fmla="*/ 11 w 78"/>
                  <a:gd name="T47" fmla="*/ 10 h 77"/>
                  <a:gd name="T48" fmla="*/ 7 w 78"/>
                  <a:gd name="T49" fmla="*/ 17 h 77"/>
                  <a:gd name="T50" fmla="*/ 3 w 78"/>
                  <a:gd name="T51" fmla="*/ 24 h 77"/>
                  <a:gd name="T52" fmla="*/ 0 w 78"/>
                  <a:gd name="T53" fmla="*/ 30 h 77"/>
                  <a:gd name="T54" fmla="*/ 0 w 78"/>
                  <a:gd name="T55" fmla="*/ 39 h 77"/>
                  <a:gd name="T56" fmla="*/ 0 w 78"/>
                  <a:gd name="T57" fmla="*/ 39 h 77"/>
                  <a:gd name="T58" fmla="*/ 0 w 78"/>
                  <a:gd name="T59" fmla="*/ 47 h 77"/>
                  <a:gd name="T60" fmla="*/ 3 w 78"/>
                  <a:gd name="T61" fmla="*/ 53 h 77"/>
                  <a:gd name="T62" fmla="*/ 7 w 78"/>
                  <a:gd name="T63" fmla="*/ 60 h 77"/>
                  <a:gd name="T64" fmla="*/ 11 w 78"/>
                  <a:gd name="T65" fmla="*/ 67 h 77"/>
                  <a:gd name="T66" fmla="*/ 16 w 78"/>
                  <a:gd name="T67" fmla="*/ 71 h 77"/>
                  <a:gd name="T68" fmla="*/ 23 w 78"/>
                  <a:gd name="T69" fmla="*/ 75 h 77"/>
                  <a:gd name="T70" fmla="*/ 31 w 78"/>
                  <a:gd name="T71" fmla="*/ 77 h 77"/>
                  <a:gd name="T72" fmla="*/ 39 w 78"/>
                  <a:gd name="T73" fmla="*/ 77 h 77"/>
                  <a:gd name="T74" fmla="*/ 39 w 78"/>
                  <a:gd name="T75"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39" y="77"/>
                    </a:moveTo>
                    <a:lnTo>
                      <a:pt x="39" y="77"/>
                    </a:lnTo>
                    <a:lnTo>
                      <a:pt x="47" y="77"/>
                    </a:lnTo>
                    <a:lnTo>
                      <a:pt x="54" y="75"/>
                    </a:lnTo>
                    <a:lnTo>
                      <a:pt x="60" y="71"/>
                    </a:lnTo>
                    <a:lnTo>
                      <a:pt x="66" y="67"/>
                    </a:lnTo>
                    <a:lnTo>
                      <a:pt x="71" y="60"/>
                    </a:lnTo>
                    <a:lnTo>
                      <a:pt x="75" y="53"/>
                    </a:lnTo>
                    <a:lnTo>
                      <a:pt x="76" y="47"/>
                    </a:lnTo>
                    <a:lnTo>
                      <a:pt x="78" y="39"/>
                    </a:lnTo>
                    <a:lnTo>
                      <a:pt x="78" y="39"/>
                    </a:lnTo>
                    <a:lnTo>
                      <a:pt x="76" y="30"/>
                    </a:lnTo>
                    <a:lnTo>
                      <a:pt x="75" y="24"/>
                    </a:lnTo>
                    <a:lnTo>
                      <a:pt x="71" y="17"/>
                    </a:lnTo>
                    <a:lnTo>
                      <a:pt x="66" y="10"/>
                    </a:lnTo>
                    <a:lnTo>
                      <a:pt x="60" y="6"/>
                    </a:lnTo>
                    <a:lnTo>
                      <a:pt x="54" y="2"/>
                    </a:lnTo>
                    <a:lnTo>
                      <a:pt x="47" y="0"/>
                    </a:lnTo>
                    <a:lnTo>
                      <a:pt x="39" y="0"/>
                    </a:lnTo>
                    <a:lnTo>
                      <a:pt x="39" y="0"/>
                    </a:lnTo>
                    <a:lnTo>
                      <a:pt x="31" y="0"/>
                    </a:lnTo>
                    <a:lnTo>
                      <a:pt x="23" y="2"/>
                    </a:lnTo>
                    <a:lnTo>
                      <a:pt x="16" y="6"/>
                    </a:lnTo>
                    <a:lnTo>
                      <a:pt x="11" y="10"/>
                    </a:lnTo>
                    <a:lnTo>
                      <a:pt x="7" y="17"/>
                    </a:lnTo>
                    <a:lnTo>
                      <a:pt x="3" y="24"/>
                    </a:lnTo>
                    <a:lnTo>
                      <a:pt x="0" y="30"/>
                    </a:lnTo>
                    <a:lnTo>
                      <a:pt x="0" y="39"/>
                    </a:lnTo>
                    <a:lnTo>
                      <a:pt x="0" y="39"/>
                    </a:lnTo>
                    <a:lnTo>
                      <a:pt x="0" y="47"/>
                    </a:lnTo>
                    <a:lnTo>
                      <a:pt x="3" y="53"/>
                    </a:lnTo>
                    <a:lnTo>
                      <a:pt x="7" y="60"/>
                    </a:lnTo>
                    <a:lnTo>
                      <a:pt x="11" y="67"/>
                    </a:lnTo>
                    <a:lnTo>
                      <a:pt x="16" y="71"/>
                    </a:lnTo>
                    <a:lnTo>
                      <a:pt x="23" y="75"/>
                    </a:lnTo>
                    <a:lnTo>
                      <a:pt x="31" y="77"/>
                    </a:lnTo>
                    <a:lnTo>
                      <a:pt x="39" y="77"/>
                    </a:lnTo>
                    <a:lnTo>
                      <a:pt x="39"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226" name="Freeform 120">
                <a:extLst>
                  <a:ext uri="{FF2B5EF4-FFF2-40B4-BE49-F238E27FC236}">
                    <a16:creationId xmlns:a16="http://schemas.microsoft.com/office/drawing/2014/main" id="{D6CC77B1-BF96-A4EB-DEDE-AF17FB13F014}"/>
                  </a:ext>
                </a:extLst>
              </p:cNvPr>
              <p:cNvSpPr>
                <a:spLocks/>
              </p:cNvSpPr>
              <p:nvPr/>
            </p:nvSpPr>
            <p:spPr bwMode="auto">
              <a:xfrm>
                <a:off x="5962018" y="3143272"/>
                <a:ext cx="524148" cy="643071"/>
              </a:xfrm>
              <a:custGeom>
                <a:avLst/>
                <a:gdLst>
                  <a:gd name="T0" fmla="*/ 237 w 239"/>
                  <a:gd name="T1" fmla="*/ 96 h 291"/>
                  <a:gd name="T2" fmla="*/ 226 w 239"/>
                  <a:gd name="T3" fmla="*/ 90 h 291"/>
                  <a:gd name="T4" fmla="*/ 214 w 239"/>
                  <a:gd name="T5" fmla="*/ 92 h 291"/>
                  <a:gd name="T6" fmla="*/ 135 w 239"/>
                  <a:gd name="T7" fmla="*/ 67 h 291"/>
                  <a:gd name="T8" fmla="*/ 135 w 239"/>
                  <a:gd name="T9" fmla="*/ 67 h 291"/>
                  <a:gd name="T10" fmla="*/ 135 w 239"/>
                  <a:gd name="T11" fmla="*/ 67 h 291"/>
                  <a:gd name="T12" fmla="*/ 73 w 239"/>
                  <a:gd name="T13" fmla="*/ 5 h 291"/>
                  <a:gd name="T14" fmla="*/ 62 w 239"/>
                  <a:gd name="T15" fmla="*/ 0 h 291"/>
                  <a:gd name="T16" fmla="*/ 51 w 239"/>
                  <a:gd name="T17" fmla="*/ 4 h 291"/>
                  <a:gd name="T18" fmla="*/ 7 w 239"/>
                  <a:gd name="T19" fmla="*/ 37 h 291"/>
                  <a:gd name="T20" fmla="*/ 0 w 239"/>
                  <a:gd name="T21" fmla="*/ 47 h 291"/>
                  <a:gd name="T22" fmla="*/ 2 w 239"/>
                  <a:gd name="T23" fmla="*/ 57 h 291"/>
                  <a:gd name="T24" fmla="*/ 3 w 239"/>
                  <a:gd name="T25" fmla="*/ 61 h 291"/>
                  <a:gd name="T26" fmla="*/ 12 w 239"/>
                  <a:gd name="T27" fmla="*/ 67 h 291"/>
                  <a:gd name="T28" fmla="*/ 23 w 239"/>
                  <a:gd name="T29" fmla="*/ 66 h 291"/>
                  <a:gd name="T30" fmla="*/ 59 w 239"/>
                  <a:gd name="T31" fmla="*/ 39 h 291"/>
                  <a:gd name="T32" fmla="*/ 54 w 239"/>
                  <a:gd name="T33" fmla="*/ 123 h 291"/>
                  <a:gd name="T34" fmla="*/ 50 w 239"/>
                  <a:gd name="T35" fmla="*/ 129 h 291"/>
                  <a:gd name="T36" fmla="*/ 45 w 239"/>
                  <a:gd name="T37" fmla="*/ 139 h 291"/>
                  <a:gd name="T38" fmla="*/ 43 w 239"/>
                  <a:gd name="T39" fmla="*/ 146 h 291"/>
                  <a:gd name="T40" fmla="*/ 47 w 239"/>
                  <a:gd name="T41" fmla="*/ 164 h 291"/>
                  <a:gd name="T42" fmla="*/ 59 w 239"/>
                  <a:gd name="T43" fmla="*/ 177 h 291"/>
                  <a:gd name="T44" fmla="*/ 81 w 239"/>
                  <a:gd name="T45" fmla="*/ 264 h 291"/>
                  <a:gd name="T46" fmla="*/ 78 w 239"/>
                  <a:gd name="T47" fmla="*/ 270 h 291"/>
                  <a:gd name="T48" fmla="*/ 81 w 239"/>
                  <a:gd name="T49" fmla="*/ 283 h 291"/>
                  <a:gd name="T50" fmla="*/ 85 w 239"/>
                  <a:gd name="T51" fmla="*/ 287 h 291"/>
                  <a:gd name="T52" fmla="*/ 94 w 239"/>
                  <a:gd name="T53" fmla="*/ 291 h 291"/>
                  <a:gd name="T54" fmla="*/ 98 w 239"/>
                  <a:gd name="T55" fmla="*/ 290 h 291"/>
                  <a:gd name="T56" fmla="*/ 106 w 239"/>
                  <a:gd name="T57" fmla="*/ 287 h 291"/>
                  <a:gd name="T58" fmla="*/ 153 w 239"/>
                  <a:gd name="T59" fmla="*/ 216 h 291"/>
                  <a:gd name="T60" fmla="*/ 156 w 239"/>
                  <a:gd name="T61" fmla="*/ 211 h 291"/>
                  <a:gd name="T62" fmla="*/ 156 w 239"/>
                  <a:gd name="T63" fmla="*/ 204 h 291"/>
                  <a:gd name="T64" fmla="*/ 148 w 239"/>
                  <a:gd name="T65" fmla="*/ 193 h 291"/>
                  <a:gd name="T66" fmla="*/ 82 w 239"/>
                  <a:gd name="T67" fmla="*/ 152 h 291"/>
                  <a:gd name="T68" fmla="*/ 79 w 239"/>
                  <a:gd name="T69" fmla="*/ 147 h 291"/>
                  <a:gd name="T70" fmla="*/ 82 w 239"/>
                  <a:gd name="T71" fmla="*/ 143 h 291"/>
                  <a:gd name="T72" fmla="*/ 167 w 239"/>
                  <a:gd name="T73" fmla="*/ 146 h 291"/>
                  <a:gd name="T74" fmla="*/ 172 w 239"/>
                  <a:gd name="T75" fmla="*/ 150 h 291"/>
                  <a:gd name="T76" fmla="*/ 179 w 239"/>
                  <a:gd name="T77" fmla="*/ 152 h 291"/>
                  <a:gd name="T78" fmla="*/ 187 w 239"/>
                  <a:gd name="T79" fmla="*/ 149 h 291"/>
                  <a:gd name="T80" fmla="*/ 233 w 239"/>
                  <a:gd name="T81" fmla="*/ 121 h 291"/>
                  <a:gd name="T82" fmla="*/ 239 w 239"/>
                  <a:gd name="T83" fmla="*/ 110 h 291"/>
                  <a:gd name="T84" fmla="*/ 237 w 239"/>
                  <a:gd name="T85" fmla="*/ 9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9" h="291">
                    <a:moveTo>
                      <a:pt x="237" y="96"/>
                    </a:moveTo>
                    <a:lnTo>
                      <a:pt x="237" y="96"/>
                    </a:lnTo>
                    <a:lnTo>
                      <a:pt x="233" y="92"/>
                    </a:lnTo>
                    <a:lnTo>
                      <a:pt x="226" y="90"/>
                    </a:lnTo>
                    <a:lnTo>
                      <a:pt x="219" y="90"/>
                    </a:lnTo>
                    <a:lnTo>
                      <a:pt x="214" y="92"/>
                    </a:lnTo>
                    <a:lnTo>
                      <a:pt x="180" y="113"/>
                    </a:lnTo>
                    <a:lnTo>
                      <a:pt x="135" y="67"/>
                    </a:lnTo>
                    <a:lnTo>
                      <a:pt x="135" y="67"/>
                    </a:lnTo>
                    <a:lnTo>
                      <a:pt x="135" y="67"/>
                    </a:lnTo>
                    <a:lnTo>
                      <a:pt x="135" y="67"/>
                    </a:lnTo>
                    <a:lnTo>
                      <a:pt x="135" y="67"/>
                    </a:lnTo>
                    <a:lnTo>
                      <a:pt x="73" y="5"/>
                    </a:lnTo>
                    <a:lnTo>
                      <a:pt x="73" y="5"/>
                    </a:lnTo>
                    <a:lnTo>
                      <a:pt x="67" y="1"/>
                    </a:lnTo>
                    <a:lnTo>
                      <a:pt x="62" y="0"/>
                    </a:lnTo>
                    <a:lnTo>
                      <a:pt x="57" y="1"/>
                    </a:lnTo>
                    <a:lnTo>
                      <a:pt x="51" y="4"/>
                    </a:lnTo>
                    <a:lnTo>
                      <a:pt x="7" y="37"/>
                    </a:lnTo>
                    <a:lnTo>
                      <a:pt x="7" y="37"/>
                    </a:lnTo>
                    <a:lnTo>
                      <a:pt x="3" y="41"/>
                    </a:lnTo>
                    <a:lnTo>
                      <a:pt x="0" y="47"/>
                    </a:lnTo>
                    <a:lnTo>
                      <a:pt x="0" y="52"/>
                    </a:lnTo>
                    <a:lnTo>
                      <a:pt x="2" y="57"/>
                    </a:lnTo>
                    <a:lnTo>
                      <a:pt x="2" y="57"/>
                    </a:lnTo>
                    <a:lnTo>
                      <a:pt x="3" y="61"/>
                    </a:lnTo>
                    <a:lnTo>
                      <a:pt x="6" y="64"/>
                    </a:lnTo>
                    <a:lnTo>
                      <a:pt x="12" y="67"/>
                    </a:lnTo>
                    <a:lnTo>
                      <a:pt x="19" y="67"/>
                    </a:lnTo>
                    <a:lnTo>
                      <a:pt x="23" y="66"/>
                    </a:lnTo>
                    <a:lnTo>
                      <a:pt x="26" y="64"/>
                    </a:lnTo>
                    <a:lnTo>
                      <a:pt x="59" y="39"/>
                    </a:lnTo>
                    <a:lnTo>
                      <a:pt x="98" y="79"/>
                    </a:lnTo>
                    <a:lnTo>
                      <a:pt x="54" y="123"/>
                    </a:lnTo>
                    <a:lnTo>
                      <a:pt x="54" y="123"/>
                    </a:lnTo>
                    <a:lnTo>
                      <a:pt x="50" y="129"/>
                    </a:lnTo>
                    <a:lnTo>
                      <a:pt x="46" y="134"/>
                    </a:lnTo>
                    <a:lnTo>
                      <a:pt x="45" y="139"/>
                    </a:lnTo>
                    <a:lnTo>
                      <a:pt x="43" y="146"/>
                    </a:lnTo>
                    <a:lnTo>
                      <a:pt x="43" y="146"/>
                    </a:lnTo>
                    <a:lnTo>
                      <a:pt x="43" y="156"/>
                    </a:lnTo>
                    <a:lnTo>
                      <a:pt x="47" y="164"/>
                    </a:lnTo>
                    <a:lnTo>
                      <a:pt x="51" y="170"/>
                    </a:lnTo>
                    <a:lnTo>
                      <a:pt x="59" y="177"/>
                    </a:lnTo>
                    <a:lnTo>
                      <a:pt x="116" y="212"/>
                    </a:lnTo>
                    <a:lnTo>
                      <a:pt x="81" y="264"/>
                    </a:lnTo>
                    <a:lnTo>
                      <a:pt x="81" y="264"/>
                    </a:lnTo>
                    <a:lnTo>
                      <a:pt x="78" y="270"/>
                    </a:lnTo>
                    <a:lnTo>
                      <a:pt x="78" y="276"/>
                    </a:lnTo>
                    <a:lnTo>
                      <a:pt x="81" y="283"/>
                    </a:lnTo>
                    <a:lnTo>
                      <a:pt x="85" y="287"/>
                    </a:lnTo>
                    <a:lnTo>
                      <a:pt x="85" y="287"/>
                    </a:lnTo>
                    <a:lnTo>
                      <a:pt x="89" y="290"/>
                    </a:lnTo>
                    <a:lnTo>
                      <a:pt x="94" y="291"/>
                    </a:lnTo>
                    <a:lnTo>
                      <a:pt x="94" y="291"/>
                    </a:lnTo>
                    <a:lnTo>
                      <a:pt x="98" y="290"/>
                    </a:lnTo>
                    <a:lnTo>
                      <a:pt x="102" y="289"/>
                    </a:lnTo>
                    <a:lnTo>
                      <a:pt x="106" y="287"/>
                    </a:lnTo>
                    <a:lnTo>
                      <a:pt x="109" y="283"/>
                    </a:lnTo>
                    <a:lnTo>
                      <a:pt x="153" y="216"/>
                    </a:lnTo>
                    <a:lnTo>
                      <a:pt x="153" y="216"/>
                    </a:lnTo>
                    <a:lnTo>
                      <a:pt x="156" y="211"/>
                    </a:lnTo>
                    <a:lnTo>
                      <a:pt x="156" y="204"/>
                    </a:lnTo>
                    <a:lnTo>
                      <a:pt x="156" y="204"/>
                    </a:lnTo>
                    <a:lnTo>
                      <a:pt x="153" y="197"/>
                    </a:lnTo>
                    <a:lnTo>
                      <a:pt x="148" y="193"/>
                    </a:lnTo>
                    <a:lnTo>
                      <a:pt x="82" y="152"/>
                    </a:lnTo>
                    <a:lnTo>
                      <a:pt x="82" y="152"/>
                    </a:lnTo>
                    <a:lnTo>
                      <a:pt x="81" y="150"/>
                    </a:lnTo>
                    <a:lnTo>
                      <a:pt x="79" y="147"/>
                    </a:lnTo>
                    <a:lnTo>
                      <a:pt x="81" y="145"/>
                    </a:lnTo>
                    <a:lnTo>
                      <a:pt x="82" y="143"/>
                    </a:lnTo>
                    <a:lnTo>
                      <a:pt x="122" y="102"/>
                    </a:lnTo>
                    <a:lnTo>
                      <a:pt x="167" y="146"/>
                    </a:lnTo>
                    <a:lnTo>
                      <a:pt x="167" y="146"/>
                    </a:lnTo>
                    <a:lnTo>
                      <a:pt x="172" y="150"/>
                    </a:lnTo>
                    <a:lnTo>
                      <a:pt x="179" y="152"/>
                    </a:lnTo>
                    <a:lnTo>
                      <a:pt x="179" y="152"/>
                    </a:lnTo>
                    <a:lnTo>
                      <a:pt x="183" y="150"/>
                    </a:lnTo>
                    <a:lnTo>
                      <a:pt x="187" y="149"/>
                    </a:lnTo>
                    <a:lnTo>
                      <a:pt x="233" y="121"/>
                    </a:lnTo>
                    <a:lnTo>
                      <a:pt x="233" y="121"/>
                    </a:lnTo>
                    <a:lnTo>
                      <a:pt x="237" y="115"/>
                    </a:lnTo>
                    <a:lnTo>
                      <a:pt x="239" y="110"/>
                    </a:lnTo>
                    <a:lnTo>
                      <a:pt x="239" y="103"/>
                    </a:lnTo>
                    <a:lnTo>
                      <a:pt x="237" y="96"/>
                    </a:lnTo>
                    <a:lnTo>
                      <a:pt x="23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227" name="Freeform 121">
                <a:extLst>
                  <a:ext uri="{FF2B5EF4-FFF2-40B4-BE49-F238E27FC236}">
                    <a16:creationId xmlns:a16="http://schemas.microsoft.com/office/drawing/2014/main" id="{A9825132-13BC-AB69-973D-F99143EA21B9}"/>
                  </a:ext>
                </a:extLst>
              </p:cNvPr>
              <p:cNvSpPr>
                <a:spLocks/>
              </p:cNvSpPr>
              <p:nvPr/>
            </p:nvSpPr>
            <p:spPr bwMode="auto">
              <a:xfrm>
                <a:off x="5750598" y="3526470"/>
                <a:ext cx="268682" cy="132138"/>
              </a:xfrm>
              <a:custGeom>
                <a:avLst/>
                <a:gdLst>
                  <a:gd name="T0" fmla="*/ 93 w 122"/>
                  <a:gd name="T1" fmla="*/ 6 h 61"/>
                  <a:gd name="T2" fmla="*/ 71 w 122"/>
                  <a:gd name="T3" fmla="*/ 27 h 61"/>
                  <a:gd name="T4" fmla="*/ 16 w 122"/>
                  <a:gd name="T5" fmla="*/ 27 h 61"/>
                  <a:gd name="T6" fmla="*/ 16 w 122"/>
                  <a:gd name="T7" fmla="*/ 27 h 61"/>
                  <a:gd name="T8" fmla="*/ 9 w 122"/>
                  <a:gd name="T9" fmla="*/ 29 h 61"/>
                  <a:gd name="T10" fmla="*/ 4 w 122"/>
                  <a:gd name="T11" fmla="*/ 33 h 61"/>
                  <a:gd name="T12" fmla="*/ 1 w 122"/>
                  <a:gd name="T13" fmla="*/ 38 h 61"/>
                  <a:gd name="T14" fmla="*/ 0 w 122"/>
                  <a:gd name="T15" fmla="*/ 45 h 61"/>
                  <a:gd name="T16" fmla="*/ 0 w 122"/>
                  <a:gd name="T17" fmla="*/ 45 h 61"/>
                  <a:gd name="T18" fmla="*/ 1 w 122"/>
                  <a:gd name="T19" fmla="*/ 51 h 61"/>
                  <a:gd name="T20" fmla="*/ 4 w 122"/>
                  <a:gd name="T21" fmla="*/ 57 h 61"/>
                  <a:gd name="T22" fmla="*/ 9 w 122"/>
                  <a:gd name="T23" fmla="*/ 59 h 61"/>
                  <a:gd name="T24" fmla="*/ 16 w 122"/>
                  <a:gd name="T25" fmla="*/ 61 h 61"/>
                  <a:gd name="T26" fmla="*/ 78 w 122"/>
                  <a:gd name="T27" fmla="*/ 61 h 61"/>
                  <a:gd name="T28" fmla="*/ 78 w 122"/>
                  <a:gd name="T29" fmla="*/ 61 h 61"/>
                  <a:gd name="T30" fmla="*/ 84 w 122"/>
                  <a:gd name="T31" fmla="*/ 59 h 61"/>
                  <a:gd name="T32" fmla="*/ 90 w 122"/>
                  <a:gd name="T33" fmla="*/ 57 h 61"/>
                  <a:gd name="T34" fmla="*/ 117 w 122"/>
                  <a:gd name="T35" fmla="*/ 29 h 61"/>
                  <a:gd name="T36" fmla="*/ 117 w 122"/>
                  <a:gd name="T37" fmla="*/ 29 h 61"/>
                  <a:gd name="T38" fmla="*/ 121 w 122"/>
                  <a:gd name="T39" fmla="*/ 23 h 61"/>
                  <a:gd name="T40" fmla="*/ 122 w 122"/>
                  <a:gd name="T41" fmla="*/ 16 h 61"/>
                  <a:gd name="T42" fmla="*/ 121 w 122"/>
                  <a:gd name="T43" fmla="*/ 11 h 61"/>
                  <a:gd name="T44" fmla="*/ 117 w 122"/>
                  <a:gd name="T45" fmla="*/ 6 h 61"/>
                  <a:gd name="T46" fmla="*/ 117 w 122"/>
                  <a:gd name="T47" fmla="*/ 6 h 61"/>
                  <a:gd name="T48" fmla="*/ 111 w 122"/>
                  <a:gd name="T49" fmla="*/ 2 h 61"/>
                  <a:gd name="T50" fmla="*/ 105 w 122"/>
                  <a:gd name="T51" fmla="*/ 0 h 61"/>
                  <a:gd name="T52" fmla="*/ 99 w 122"/>
                  <a:gd name="T53" fmla="*/ 2 h 61"/>
                  <a:gd name="T54" fmla="*/ 93 w 122"/>
                  <a:gd name="T55" fmla="*/ 6 h 61"/>
                  <a:gd name="T56" fmla="*/ 93 w 122"/>
                  <a:gd name="T57"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61">
                    <a:moveTo>
                      <a:pt x="93" y="6"/>
                    </a:moveTo>
                    <a:lnTo>
                      <a:pt x="71" y="27"/>
                    </a:lnTo>
                    <a:lnTo>
                      <a:pt x="16" y="27"/>
                    </a:lnTo>
                    <a:lnTo>
                      <a:pt x="16" y="27"/>
                    </a:lnTo>
                    <a:lnTo>
                      <a:pt x="9" y="29"/>
                    </a:lnTo>
                    <a:lnTo>
                      <a:pt x="4" y="33"/>
                    </a:lnTo>
                    <a:lnTo>
                      <a:pt x="1" y="38"/>
                    </a:lnTo>
                    <a:lnTo>
                      <a:pt x="0" y="45"/>
                    </a:lnTo>
                    <a:lnTo>
                      <a:pt x="0" y="45"/>
                    </a:lnTo>
                    <a:lnTo>
                      <a:pt x="1" y="51"/>
                    </a:lnTo>
                    <a:lnTo>
                      <a:pt x="4" y="57"/>
                    </a:lnTo>
                    <a:lnTo>
                      <a:pt x="9" y="59"/>
                    </a:lnTo>
                    <a:lnTo>
                      <a:pt x="16" y="61"/>
                    </a:lnTo>
                    <a:lnTo>
                      <a:pt x="78" y="61"/>
                    </a:lnTo>
                    <a:lnTo>
                      <a:pt x="78" y="61"/>
                    </a:lnTo>
                    <a:lnTo>
                      <a:pt x="84" y="59"/>
                    </a:lnTo>
                    <a:lnTo>
                      <a:pt x="90" y="57"/>
                    </a:lnTo>
                    <a:lnTo>
                      <a:pt x="117" y="29"/>
                    </a:lnTo>
                    <a:lnTo>
                      <a:pt x="117" y="29"/>
                    </a:lnTo>
                    <a:lnTo>
                      <a:pt x="121" y="23"/>
                    </a:lnTo>
                    <a:lnTo>
                      <a:pt x="122" y="16"/>
                    </a:lnTo>
                    <a:lnTo>
                      <a:pt x="121" y="11"/>
                    </a:lnTo>
                    <a:lnTo>
                      <a:pt x="117" y="6"/>
                    </a:lnTo>
                    <a:lnTo>
                      <a:pt x="117" y="6"/>
                    </a:lnTo>
                    <a:lnTo>
                      <a:pt x="111" y="2"/>
                    </a:lnTo>
                    <a:lnTo>
                      <a:pt x="105" y="0"/>
                    </a:lnTo>
                    <a:lnTo>
                      <a:pt x="99" y="2"/>
                    </a:lnTo>
                    <a:lnTo>
                      <a:pt x="93" y="6"/>
                    </a:lnTo>
                    <a:lnTo>
                      <a:pt x="9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grpSp>
        <p:cxnSp>
          <p:nvCxnSpPr>
            <p:cNvPr id="205" name="Straight Connector 204">
              <a:extLst>
                <a:ext uri="{FF2B5EF4-FFF2-40B4-BE49-F238E27FC236}">
                  <a16:creationId xmlns:a16="http://schemas.microsoft.com/office/drawing/2014/main" id="{C2C18F0E-325C-CB19-A8CC-2181B2E0E280}"/>
                </a:ext>
              </a:extLst>
            </p:cNvPr>
            <p:cNvCxnSpPr/>
            <p:nvPr/>
          </p:nvCxnSpPr>
          <p:spPr>
            <a:xfrm>
              <a:off x="2632689" y="2897511"/>
              <a:ext cx="0" cy="1186162"/>
            </a:xfrm>
            <a:prstGeom prst="line">
              <a:avLst/>
            </a:prstGeom>
            <a:noFill/>
            <a:ln w="9525" cap="flat" cmpd="sng" algn="ctr">
              <a:solidFill>
                <a:sysClr val="window" lastClr="FFFFFF">
                  <a:lumMod val="75000"/>
                </a:sysClr>
              </a:solidFill>
              <a:prstDash val="solid"/>
              <a:headEnd type="oval"/>
            </a:ln>
            <a:effectLst/>
          </p:spPr>
        </p:cxnSp>
        <p:cxnSp>
          <p:nvCxnSpPr>
            <p:cNvPr id="206" name="Straight Connector 205">
              <a:extLst>
                <a:ext uri="{FF2B5EF4-FFF2-40B4-BE49-F238E27FC236}">
                  <a16:creationId xmlns:a16="http://schemas.microsoft.com/office/drawing/2014/main" id="{E92A0670-C5FF-BB95-11E9-A116D1BAC849}"/>
                </a:ext>
              </a:extLst>
            </p:cNvPr>
            <p:cNvCxnSpPr/>
            <p:nvPr/>
          </p:nvCxnSpPr>
          <p:spPr>
            <a:xfrm>
              <a:off x="9109689" y="2897511"/>
              <a:ext cx="0" cy="1186162"/>
            </a:xfrm>
            <a:prstGeom prst="line">
              <a:avLst/>
            </a:prstGeom>
            <a:noFill/>
            <a:ln w="9525" cap="flat" cmpd="sng" algn="ctr">
              <a:solidFill>
                <a:sysClr val="window" lastClr="FFFFFF">
                  <a:lumMod val="75000"/>
                </a:sysClr>
              </a:solidFill>
              <a:prstDash val="solid"/>
              <a:headEnd type="oval"/>
            </a:ln>
            <a:effectLst/>
          </p:spPr>
        </p:cxnSp>
        <p:sp>
          <p:nvSpPr>
            <p:cNvPr id="207" name="Right Arrow 100">
              <a:extLst>
                <a:ext uri="{FF2B5EF4-FFF2-40B4-BE49-F238E27FC236}">
                  <a16:creationId xmlns:a16="http://schemas.microsoft.com/office/drawing/2014/main" id="{FB46DC69-2F2B-4E96-4AEF-4ED2163EBBD3}"/>
                </a:ext>
              </a:extLst>
            </p:cNvPr>
            <p:cNvSpPr/>
            <p:nvPr/>
          </p:nvSpPr>
          <p:spPr>
            <a:xfrm>
              <a:off x="1698530" y="3679899"/>
              <a:ext cx="935003" cy="546668"/>
            </a:xfrm>
            <a:prstGeom prst="rightArrow">
              <a:avLst>
                <a:gd name="adj1" fmla="val 57315"/>
                <a:gd name="adj2" fmla="val 27851"/>
              </a:avLst>
            </a:prstGeom>
            <a:noFill/>
            <a:ln w="38100" cap="flat" cmpd="sng" algn="ctr">
              <a:noFill/>
              <a:prstDash val="solid"/>
            </a:ln>
            <a:effectLst/>
          </p:spPr>
          <p:txBody>
            <a:bodyPr lIns="0" tIns="0" rIns="0" bIns="0"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Knowledge Transfer</a:t>
              </a:r>
            </a:p>
          </p:txBody>
        </p:sp>
        <p:sp>
          <p:nvSpPr>
            <p:cNvPr id="208" name="Right Arrow 100">
              <a:extLst>
                <a:ext uri="{FF2B5EF4-FFF2-40B4-BE49-F238E27FC236}">
                  <a16:creationId xmlns:a16="http://schemas.microsoft.com/office/drawing/2014/main" id="{0FB79231-032C-62C5-1D54-AABE8AF778B2}"/>
                </a:ext>
              </a:extLst>
            </p:cNvPr>
            <p:cNvSpPr/>
            <p:nvPr/>
          </p:nvSpPr>
          <p:spPr>
            <a:xfrm>
              <a:off x="3088431" y="4142186"/>
              <a:ext cx="918349" cy="883612"/>
            </a:xfrm>
            <a:prstGeom prst="rightArrow">
              <a:avLst>
                <a:gd name="adj1" fmla="val 57315"/>
                <a:gd name="adj2" fmla="val 27851"/>
              </a:avLst>
            </a:prstGeom>
            <a:noFill/>
            <a:ln w="38100" cap="flat" cmpd="sng" algn="ctr">
              <a:noFill/>
              <a:prstDash val="solid"/>
            </a:ln>
            <a:effectLst/>
          </p:spPr>
          <p:txBody>
            <a:bodyPr lIns="0" tIns="0" rIns="0" bIns="0" rtlCol="0" anchor="t"/>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andover</a:t>
              </a:r>
            </a:p>
          </p:txBody>
        </p:sp>
        <p:cxnSp>
          <p:nvCxnSpPr>
            <p:cNvPr id="209" name="Straight Connector 208">
              <a:extLst>
                <a:ext uri="{FF2B5EF4-FFF2-40B4-BE49-F238E27FC236}">
                  <a16:creationId xmlns:a16="http://schemas.microsoft.com/office/drawing/2014/main" id="{B0D5AE31-3583-C86C-6AFC-E6D57F8DE1E0}"/>
                </a:ext>
              </a:extLst>
            </p:cNvPr>
            <p:cNvCxnSpPr>
              <a:cxnSpLocks/>
            </p:cNvCxnSpPr>
            <p:nvPr/>
          </p:nvCxnSpPr>
          <p:spPr>
            <a:xfrm>
              <a:off x="2852599" y="4238616"/>
              <a:ext cx="510771" cy="659208"/>
            </a:xfrm>
            <a:prstGeom prst="line">
              <a:avLst/>
            </a:prstGeom>
            <a:noFill/>
            <a:ln w="19050" cap="rnd" cmpd="sng" algn="ctr">
              <a:solidFill>
                <a:srgbClr val="9DD4CF"/>
              </a:solidFill>
              <a:prstDash val="sysDot"/>
              <a:round/>
              <a:headEnd type="none"/>
              <a:tailEnd type="none"/>
            </a:ln>
            <a:effectLst/>
          </p:spPr>
        </p:cxnSp>
        <p:cxnSp>
          <p:nvCxnSpPr>
            <p:cNvPr id="210" name="Straight Connector 209">
              <a:extLst>
                <a:ext uri="{FF2B5EF4-FFF2-40B4-BE49-F238E27FC236}">
                  <a16:creationId xmlns:a16="http://schemas.microsoft.com/office/drawing/2014/main" id="{880458E8-CB93-E409-D065-E7222AA7340B}"/>
                </a:ext>
              </a:extLst>
            </p:cNvPr>
            <p:cNvCxnSpPr>
              <a:cxnSpLocks/>
            </p:cNvCxnSpPr>
            <p:nvPr/>
          </p:nvCxnSpPr>
          <p:spPr>
            <a:xfrm flipV="1">
              <a:off x="3377069" y="4876836"/>
              <a:ext cx="8078748" cy="20988"/>
            </a:xfrm>
            <a:prstGeom prst="line">
              <a:avLst/>
            </a:prstGeom>
            <a:noFill/>
            <a:ln w="19050" cap="rnd" cmpd="sng" algn="ctr">
              <a:solidFill>
                <a:srgbClr val="6FC2B4"/>
              </a:solidFill>
              <a:prstDash val="sysDot"/>
              <a:round/>
              <a:tailEnd type="arrow"/>
            </a:ln>
            <a:effectLst/>
          </p:spPr>
        </p:cxnSp>
        <p:sp>
          <p:nvSpPr>
            <p:cNvPr id="211" name="TextBox 210">
              <a:extLst>
                <a:ext uri="{FF2B5EF4-FFF2-40B4-BE49-F238E27FC236}">
                  <a16:creationId xmlns:a16="http://schemas.microsoft.com/office/drawing/2014/main" id="{4D790C5D-9E94-EFDE-2FB1-038264E7D602}"/>
                </a:ext>
              </a:extLst>
            </p:cNvPr>
            <p:cNvSpPr txBox="1"/>
            <p:nvPr/>
          </p:nvSpPr>
          <p:spPr>
            <a:xfrm>
              <a:off x="9869718" y="4972336"/>
              <a:ext cx="1464293" cy="138499"/>
            </a:xfrm>
            <a:prstGeom prst="rect">
              <a:avLst/>
            </a:prstGeom>
            <a:noFill/>
            <a:ln>
              <a:noFill/>
            </a:ln>
          </p:spPr>
          <p:txBody>
            <a:bodyPr wrap="square" lIns="0" tIns="0" rIns="0" bIns="0" rtlCol="0" anchor="t">
              <a:spAutoFit/>
            </a:bodyPr>
            <a:lstStyle/>
            <a:p>
              <a:pPr marL="0" marR="0" lvl="0" indent="0" defTabSz="102382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intenance &amp; support</a:t>
              </a:r>
            </a:p>
          </p:txBody>
        </p:sp>
        <p:sp>
          <p:nvSpPr>
            <p:cNvPr id="213" name="Freeform: Shape 212">
              <a:extLst>
                <a:ext uri="{FF2B5EF4-FFF2-40B4-BE49-F238E27FC236}">
                  <a16:creationId xmlns:a16="http://schemas.microsoft.com/office/drawing/2014/main" id="{1FDB20A1-1ADA-52FB-ABED-60657DFA22BF}"/>
                </a:ext>
              </a:extLst>
            </p:cNvPr>
            <p:cNvSpPr/>
            <p:nvPr/>
          </p:nvSpPr>
          <p:spPr bwMode="gray">
            <a:xfrm>
              <a:off x="5486522" y="1369924"/>
              <a:ext cx="2754115" cy="2774893"/>
            </a:xfrm>
            <a:custGeom>
              <a:avLst/>
              <a:gdLst>
                <a:gd name="connsiteX0" fmla="*/ 806168 w 2754115"/>
                <a:gd name="connsiteY0" fmla="*/ 2771131 h 2774893"/>
                <a:gd name="connsiteX1" fmla="*/ 861586 w 2754115"/>
                <a:gd name="connsiteY1" fmla="*/ 2771131 h 2774893"/>
                <a:gd name="connsiteX2" fmla="*/ 1803695 w 2754115"/>
                <a:gd name="connsiteY2" fmla="*/ 2669531 h 2774893"/>
                <a:gd name="connsiteX3" fmla="*/ 2385586 w 2754115"/>
                <a:gd name="connsiteY3" fmla="*/ 2161531 h 2774893"/>
                <a:gd name="connsiteX4" fmla="*/ 2718095 w 2754115"/>
                <a:gd name="connsiteY4" fmla="*/ 1505749 h 2774893"/>
                <a:gd name="connsiteX5" fmla="*/ 2718095 w 2754115"/>
                <a:gd name="connsiteY5" fmla="*/ 877677 h 2774893"/>
                <a:gd name="connsiteX6" fmla="*/ 2477950 w 2754115"/>
                <a:gd name="connsiteY6" fmla="*/ 425095 h 2774893"/>
                <a:gd name="connsiteX7" fmla="*/ 1591259 w 2754115"/>
                <a:gd name="connsiteY7" fmla="*/ 74113 h 2774893"/>
                <a:gd name="connsiteX8" fmla="*/ 806168 w 2754115"/>
                <a:gd name="connsiteY8" fmla="*/ 222 h 2774893"/>
                <a:gd name="connsiteX9" fmla="*/ 39550 w 2754115"/>
                <a:gd name="connsiteY9" fmla="*/ 83349 h 2774893"/>
                <a:gd name="connsiteX10" fmla="*/ 2099259 w 2754115"/>
                <a:gd name="connsiteY10" fmla="*/ 498986 h 277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4115" h="2774893">
                  <a:moveTo>
                    <a:pt x="806168" y="2771131"/>
                  </a:moveTo>
                  <a:cubicBezTo>
                    <a:pt x="750750" y="2779597"/>
                    <a:pt x="861586" y="2771131"/>
                    <a:pt x="861586" y="2771131"/>
                  </a:cubicBezTo>
                  <a:cubicBezTo>
                    <a:pt x="1027840" y="2754198"/>
                    <a:pt x="1549695" y="2771131"/>
                    <a:pt x="1803695" y="2669531"/>
                  </a:cubicBezTo>
                  <a:cubicBezTo>
                    <a:pt x="2057695" y="2567931"/>
                    <a:pt x="2233186" y="2355495"/>
                    <a:pt x="2385586" y="2161531"/>
                  </a:cubicBezTo>
                  <a:cubicBezTo>
                    <a:pt x="2537986" y="1967567"/>
                    <a:pt x="2662677" y="1719725"/>
                    <a:pt x="2718095" y="1505749"/>
                  </a:cubicBezTo>
                  <a:cubicBezTo>
                    <a:pt x="2773513" y="1291773"/>
                    <a:pt x="2758119" y="1057786"/>
                    <a:pt x="2718095" y="877677"/>
                  </a:cubicBezTo>
                  <a:cubicBezTo>
                    <a:pt x="2678071" y="697568"/>
                    <a:pt x="2665756" y="559022"/>
                    <a:pt x="2477950" y="425095"/>
                  </a:cubicBezTo>
                  <a:cubicBezTo>
                    <a:pt x="2290144" y="291168"/>
                    <a:pt x="1869889" y="144925"/>
                    <a:pt x="1591259" y="74113"/>
                  </a:cubicBezTo>
                  <a:cubicBezTo>
                    <a:pt x="1312629" y="3301"/>
                    <a:pt x="1064786" y="-1317"/>
                    <a:pt x="806168" y="222"/>
                  </a:cubicBezTo>
                  <a:cubicBezTo>
                    <a:pt x="547550" y="1761"/>
                    <a:pt x="-175965" y="222"/>
                    <a:pt x="39550" y="83349"/>
                  </a:cubicBezTo>
                  <a:cubicBezTo>
                    <a:pt x="255065" y="166476"/>
                    <a:pt x="1177162" y="332731"/>
                    <a:pt x="2099259" y="498986"/>
                  </a:cubicBezTo>
                </a:path>
              </a:pathLst>
            </a:custGeom>
            <a:noFill/>
            <a:ln w="19050" algn="ctr">
              <a:noFill/>
              <a:miter lim="800000"/>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214" name="Freeform: Shape 213">
              <a:extLst>
                <a:ext uri="{FF2B5EF4-FFF2-40B4-BE49-F238E27FC236}">
                  <a16:creationId xmlns:a16="http://schemas.microsoft.com/office/drawing/2014/main" id="{F22907C6-DE46-44DC-FD07-20F511F8E2F8}"/>
                </a:ext>
              </a:extLst>
            </p:cNvPr>
            <p:cNvSpPr/>
            <p:nvPr/>
          </p:nvSpPr>
          <p:spPr bwMode="gray">
            <a:xfrm>
              <a:off x="4954183" y="4184777"/>
              <a:ext cx="4751654" cy="695629"/>
            </a:xfrm>
            <a:custGeom>
              <a:avLst/>
              <a:gdLst>
                <a:gd name="connsiteX0" fmla="*/ 4327430 w 4751654"/>
                <a:gd name="connsiteY0" fmla="*/ 57658 h 695629"/>
                <a:gd name="connsiteX1" fmla="*/ 4743067 w 4751654"/>
                <a:gd name="connsiteY1" fmla="*/ 454822 h 695629"/>
                <a:gd name="connsiteX2" fmla="*/ 3985685 w 4751654"/>
                <a:gd name="connsiteY2" fmla="*/ 694967 h 695629"/>
                <a:gd name="connsiteX3" fmla="*/ 2175358 w 4751654"/>
                <a:gd name="connsiteY3" fmla="*/ 528713 h 695629"/>
                <a:gd name="connsiteX4" fmla="*/ 669830 w 4751654"/>
                <a:gd name="connsiteY4" fmla="*/ 602604 h 695629"/>
                <a:gd name="connsiteX5" fmla="*/ 41758 w 4751654"/>
                <a:gd name="connsiteY5" fmla="*/ 445586 h 695629"/>
                <a:gd name="connsiteX6" fmla="*/ 208012 w 4751654"/>
                <a:gd name="connsiteY6" fmla="*/ 66895 h 695629"/>
                <a:gd name="connsiteX7" fmla="*/ 1408739 w 4751654"/>
                <a:gd name="connsiteY7" fmla="*/ 2240 h 695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1654" h="695629">
                  <a:moveTo>
                    <a:pt x="4327430" y="57658"/>
                  </a:moveTo>
                  <a:cubicBezTo>
                    <a:pt x="4563727" y="203131"/>
                    <a:pt x="4800025" y="348604"/>
                    <a:pt x="4743067" y="454822"/>
                  </a:cubicBezTo>
                  <a:cubicBezTo>
                    <a:pt x="4686110" y="561040"/>
                    <a:pt x="4413636" y="682652"/>
                    <a:pt x="3985685" y="694967"/>
                  </a:cubicBezTo>
                  <a:cubicBezTo>
                    <a:pt x="3557734" y="707282"/>
                    <a:pt x="2728000" y="544107"/>
                    <a:pt x="2175358" y="528713"/>
                  </a:cubicBezTo>
                  <a:cubicBezTo>
                    <a:pt x="1622716" y="513319"/>
                    <a:pt x="1025430" y="616458"/>
                    <a:pt x="669830" y="602604"/>
                  </a:cubicBezTo>
                  <a:cubicBezTo>
                    <a:pt x="314230" y="588750"/>
                    <a:pt x="118728" y="534871"/>
                    <a:pt x="41758" y="445586"/>
                  </a:cubicBezTo>
                  <a:cubicBezTo>
                    <a:pt x="-35212" y="356301"/>
                    <a:pt x="-19818" y="140786"/>
                    <a:pt x="208012" y="66895"/>
                  </a:cubicBezTo>
                  <a:cubicBezTo>
                    <a:pt x="435842" y="-6996"/>
                    <a:pt x="922290" y="-2378"/>
                    <a:pt x="1408739" y="2240"/>
                  </a:cubicBezTo>
                </a:path>
              </a:pathLst>
            </a:custGeom>
            <a:noFill/>
            <a:ln w="19050" algn="ctr">
              <a:noFill/>
              <a:miter lim="800000"/>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215" name="Oval 214">
              <a:extLst>
                <a:ext uri="{FF2B5EF4-FFF2-40B4-BE49-F238E27FC236}">
                  <a16:creationId xmlns:a16="http://schemas.microsoft.com/office/drawing/2014/main" id="{F2336C76-FC99-A899-76BC-80EE0345BAE1}"/>
                </a:ext>
              </a:extLst>
            </p:cNvPr>
            <p:cNvSpPr/>
            <p:nvPr/>
          </p:nvSpPr>
          <p:spPr>
            <a:xfrm>
              <a:off x="1150503" y="4102473"/>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16" name="Oval 215">
              <a:extLst>
                <a:ext uri="{FF2B5EF4-FFF2-40B4-BE49-F238E27FC236}">
                  <a16:creationId xmlns:a16="http://schemas.microsoft.com/office/drawing/2014/main" id="{34AA3E27-7885-CF78-CD17-6B0FC20EAC06}"/>
                </a:ext>
              </a:extLst>
            </p:cNvPr>
            <p:cNvSpPr/>
            <p:nvPr/>
          </p:nvSpPr>
          <p:spPr>
            <a:xfrm>
              <a:off x="2573904" y="4102473"/>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17" name="Oval 216">
              <a:extLst>
                <a:ext uri="{FF2B5EF4-FFF2-40B4-BE49-F238E27FC236}">
                  <a16:creationId xmlns:a16="http://schemas.microsoft.com/office/drawing/2014/main" id="{FF0A9846-B49A-ADB3-44E8-318E058EE941}"/>
                </a:ext>
              </a:extLst>
            </p:cNvPr>
            <p:cNvSpPr/>
            <p:nvPr/>
          </p:nvSpPr>
          <p:spPr>
            <a:xfrm>
              <a:off x="4083437" y="4102473"/>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18" name="Oval 217">
              <a:extLst>
                <a:ext uri="{FF2B5EF4-FFF2-40B4-BE49-F238E27FC236}">
                  <a16:creationId xmlns:a16="http://schemas.microsoft.com/office/drawing/2014/main" id="{BC89334A-052F-37DC-62FE-0521AFB1852F}"/>
                </a:ext>
              </a:extLst>
            </p:cNvPr>
            <p:cNvSpPr/>
            <p:nvPr/>
          </p:nvSpPr>
          <p:spPr>
            <a:xfrm>
              <a:off x="6197393" y="4102473"/>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19" name="Oval 218">
              <a:extLst>
                <a:ext uri="{FF2B5EF4-FFF2-40B4-BE49-F238E27FC236}">
                  <a16:creationId xmlns:a16="http://schemas.microsoft.com/office/drawing/2014/main" id="{5D300F3F-D1FE-281E-FF97-6298ACF0046B}"/>
                </a:ext>
              </a:extLst>
            </p:cNvPr>
            <p:cNvSpPr/>
            <p:nvPr/>
          </p:nvSpPr>
          <p:spPr>
            <a:xfrm>
              <a:off x="7701391" y="4102473"/>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20" name="Oval 219">
              <a:extLst>
                <a:ext uri="{FF2B5EF4-FFF2-40B4-BE49-F238E27FC236}">
                  <a16:creationId xmlns:a16="http://schemas.microsoft.com/office/drawing/2014/main" id="{452B2CC8-A837-A5EA-BDDD-D50865825044}"/>
                </a:ext>
              </a:extLst>
            </p:cNvPr>
            <p:cNvSpPr/>
            <p:nvPr/>
          </p:nvSpPr>
          <p:spPr>
            <a:xfrm>
              <a:off x="9050904" y="4102473"/>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21" name="Oval 220">
              <a:extLst>
                <a:ext uri="{FF2B5EF4-FFF2-40B4-BE49-F238E27FC236}">
                  <a16:creationId xmlns:a16="http://schemas.microsoft.com/office/drawing/2014/main" id="{D5DA2636-7C81-D87B-0436-91DBE616BCC8}"/>
                </a:ext>
              </a:extLst>
            </p:cNvPr>
            <p:cNvSpPr/>
            <p:nvPr/>
          </p:nvSpPr>
          <p:spPr>
            <a:xfrm>
              <a:off x="1784411" y="4103098"/>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sp>
          <p:nvSpPr>
            <p:cNvPr id="222" name="Oval 221">
              <a:extLst>
                <a:ext uri="{FF2B5EF4-FFF2-40B4-BE49-F238E27FC236}">
                  <a16:creationId xmlns:a16="http://schemas.microsoft.com/office/drawing/2014/main" id="{3359763F-C053-CB79-B6F1-E0AA99A2F937}"/>
                </a:ext>
              </a:extLst>
            </p:cNvPr>
            <p:cNvSpPr/>
            <p:nvPr/>
          </p:nvSpPr>
          <p:spPr>
            <a:xfrm>
              <a:off x="2737165" y="4107180"/>
              <a:ext cx="124094" cy="124094"/>
            </a:xfrm>
            <a:prstGeom prst="ellipse">
              <a:avLst/>
            </a:prstGeom>
            <a:solidFill>
              <a:srgbClr val="9DD4CF">
                <a:lumMod val="60000"/>
                <a:lumOff val="40000"/>
              </a:srgbClr>
            </a:solidFill>
            <a:ln w="6350" cap="flat" cmpd="sng" algn="ctr">
              <a:solidFill>
                <a:srgbClr val="9DD4C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a:ea typeface="+mn-ea"/>
                <a:cs typeface="+mn-cs"/>
              </a:endParaRPr>
            </a:p>
          </p:txBody>
        </p:sp>
      </p:grpSp>
      <p:grpSp>
        <p:nvGrpSpPr>
          <p:cNvPr id="254" name="Group 253">
            <a:extLst>
              <a:ext uri="{FF2B5EF4-FFF2-40B4-BE49-F238E27FC236}">
                <a16:creationId xmlns:a16="http://schemas.microsoft.com/office/drawing/2014/main" id="{BE4E4C07-CB75-7EB5-5E41-2AB7A2D594E2}"/>
              </a:ext>
            </a:extLst>
          </p:cNvPr>
          <p:cNvGrpSpPr/>
          <p:nvPr/>
        </p:nvGrpSpPr>
        <p:grpSpPr>
          <a:xfrm>
            <a:off x="8818365" y="4091421"/>
            <a:ext cx="428468" cy="568755"/>
            <a:chOff x="8960764" y="4178822"/>
            <a:chExt cx="428468" cy="568755"/>
          </a:xfrm>
        </p:grpSpPr>
        <p:cxnSp>
          <p:nvCxnSpPr>
            <p:cNvPr id="255" name="Straight Connector 254">
              <a:extLst>
                <a:ext uri="{FF2B5EF4-FFF2-40B4-BE49-F238E27FC236}">
                  <a16:creationId xmlns:a16="http://schemas.microsoft.com/office/drawing/2014/main" id="{398D3739-87F0-71BD-5F83-1A611DD846DE}"/>
                </a:ext>
              </a:extLst>
            </p:cNvPr>
            <p:cNvCxnSpPr>
              <a:cxnSpLocks/>
            </p:cNvCxnSpPr>
            <p:nvPr/>
          </p:nvCxnSpPr>
          <p:spPr>
            <a:xfrm>
              <a:off x="9389232" y="4385172"/>
              <a:ext cx="0" cy="155094"/>
            </a:xfrm>
            <a:prstGeom prst="line">
              <a:avLst/>
            </a:prstGeom>
            <a:noFill/>
            <a:ln w="15875" cap="flat" cmpd="sng" algn="ctr">
              <a:solidFill>
                <a:srgbClr val="6FC2B4"/>
              </a:solidFill>
              <a:prstDash val="solid"/>
            </a:ln>
            <a:effectLst/>
          </p:spPr>
        </p:cxnSp>
        <p:grpSp>
          <p:nvGrpSpPr>
            <p:cNvPr id="256" name="Group 255">
              <a:extLst>
                <a:ext uri="{FF2B5EF4-FFF2-40B4-BE49-F238E27FC236}">
                  <a16:creationId xmlns:a16="http://schemas.microsoft.com/office/drawing/2014/main" id="{5D181CF3-DF1D-7CEB-335E-625E3059DCFB}"/>
                </a:ext>
              </a:extLst>
            </p:cNvPr>
            <p:cNvGrpSpPr/>
            <p:nvPr/>
          </p:nvGrpSpPr>
          <p:grpSpPr>
            <a:xfrm>
              <a:off x="8960764" y="4178822"/>
              <a:ext cx="428468" cy="568755"/>
              <a:chOff x="8960764" y="4178822"/>
              <a:chExt cx="428468" cy="568755"/>
            </a:xfrm>
          </p:grpSpPr>
          <p:sp>
            <p:nvSpPr>
              <p:cNvPr id="257" name="Arc 256">
                <a:extLst>
                  <a:ext uri="{FF2B5EF4-FFF2-40B4-BE49-F238E27FC236}">
                    <a16:creationId xmlns:a16="http://schemas.microsoft.com/office/drawing/2014/main" id="{F3915E40-91A6-4701-C98A-0C9B298FDC65}"/>
                  </a:ext>
                </a:extLst>
              </p:cNvPr>
              <p:cNvSpPr/>
              <p:nvPr/>
            </p:nvSpPr>
            <p:spPr>
              <a:xfrm>
                <a:off x="8960764" y="4178822"/>
                <a:ext cx="428468" cy="428468"/>
              </a:xfrm>
              <a:prstGeom prst="arc">
                <a:avLst/>
              </a:prstGeom>
              <a:noFill/>
              <a:ln w="15875" cap="flat" cmpd="sng" algn="ctr">
                <a:solidFill>
                  <a:srgbClr val="6FC2B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a typeface="+mn-ea"/>
                  <a:cs typeface="+mn-cs"/>
                </a:endParaRPr>
              </a:p>
            </p:txBody>
          </p:sp>
          <p:sp>
            <p:nvSpPr>
              <p:cNvPr id="258" name="Arc 257">
                <a:extLst>
                  <a:ext uri="{FF2B5EF4-FFF2-40B4-BE49-F238E27FC236}">
                    <a16:creationId xmlns:a16="http://schemas.microsoft.com/office/drawing/2014/main" id="{DB44D42F-81B7-8301-767E-257B04D52B0C}"/>
                  </a:ext>
                </a:extLst>
              </p:cNvPr>
              <p:cNvSpPr/>
              <p:nvPr/>
            </p:nvSpPr>
            <p:spPr>
              <a:xfrm rot="5400000">
                <a:off x="8960764" y="4319109"/>
                <a:ext cx="428468" cy="428468"/>
              </a:xfrm>
              <a:prstGeom prst="arc">
                <a:avLst/>
              </a:prstGeom>
              <a:noFill/>
              <a:ln w="15875" cap="flat" cmpd="sng" algn="ctr">
                <a:solidFill>
                  <a:srgbClr val="6FC2B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a typeface="+mn-ea"/>
                  <a:cs typeface="+mn-cs"/>
                </a:endParaRPr>
              </a:p>
            </p:txBody>
          </p:sp>
        </p:grpSp>
      </p:grpSp>
      <p:cxnSp>
        <p:nvCxnSpPr>
          <p:cNvPr id="259" name="Straight Connector 258">
            <a:extLst>
              <a:ext uri="{FF2B5EF4-FFF2-40B4-BE49-F238E27FC236}">
                <a16:creationId xmlns:a16="http://schemas.microsoft.com/office/drawing/2014/main" id="{7F1BE0BC-3188-8C8C-269F-FDCD3F1F7358}"/>
              </a:ext>
            </a:extLst>
          </p:cNvPr>
          <p:cNvCxnSpPr>
            <a:cxnSpLocks/>
          </p:cNvCxnSpPr>
          <p:nvPr/>
        </p:nvCxnSpPr>
        <p:spPr>
          <a:xfrm flipH="1">
            <a:off x="5869814" y="4660176"/>
            <a:ext cx="3166288" cy="0"/>
          </a:xfrm>
          <a:prstGeom prst="line">
            <a:avLst/>
          </a:prstGeom>
          <a:noFill/>
          <a:ln w="15875" cap="flat" cmpd="sng" algn="ctr">
            <a:solidFill>
              <a:srgbClr val="6FC2B4"/>
            </a:solidFill>
            <a:prstDash val="solid"/>
          </a:ln>
          <a:effectLst/>
        </p:spPr>
      </p:cxnSp>
      <p:grpSp>
        <p:nvGrpSpPr>
          <p:cNvPr id="260" name="Group 259">
            <a:extLst>
              <a:ext uri="{FF2B5EF4-FFF2-40B4-BE49-F238E27FC236}">
                <a16:creationId xmlns:a16="http://schemas.microsoft.com/office/drawing/2014/main" id="{37A79A39-5027-B491-1903-8F6D5CD637E1}"/>
              </a:ext>
            </a:extLst>
          </p:cNvPr>
          <p:cNvGrpSpPr/>
          <p:nvPr/>
        </p:nvGrpSpPr>
        <p:grpSpPr>
          <a:xfrm rot="10800000">
            <a:off x="5663944" y="4091421"/>
            <a:ext cx="428468" cy="568755"/>
            <a:chOff x="8960764" y="4178822"/>
            <a:chExt cx="428468" cy="568755"/>
          </a:xfrm>
        </p:grpSpPr>
        <p:cxnSp>
          <p:nvCxnSpPr>
            <p:cNvPr id="261" name="Straight Connector 260">
              <a:extLst>
                <a:ext uri="{FF2B5EF4-FFF2-40B4-BE49-F238E27FC236}">
                  <a16:creationId xmlns:a16="http://schemas.microsoft.com/office/drawing/2014/main" id="{90577238-7FE8-0818-628A-6662559A8AC6}"/>
                </a:ext>
              </a:extLst>
            </p:cNvPr>
            <p:cNvCxnSpPr>
              <a:cxnSpLocks/>
            </p:cNvCxnSpPr>
            <p:nvPr/>
          </p:nvCxnSpPr>
          <p:spPr>
            <a:xfrm>
              <a:off x="9389232" y="4385172"/>
              <a:ext cx="0" cy="155094"/>
            </a:xfrm>
            <a:prstGeom prst="line">
              <a:avLst/>
            </a:prstGeom>
            <a:noFill/>
            <a:ln w="15875" cap="flat" cmpd="sng" algn="ctr">
              <a:solidFill>
                <a:srgbClr val="6FC2B4"/>
              </a:solidFill>
              <a:prstDash val="solid"/>
            </a:ln>
            <a:effectLst/>
          </p:spPr>
        </p:cxnSp>
        <p:grpSp>
          <p:nvGrpSpPr>
            <p:cNvPr id="262" name="Group 261">
              <a:extLst>
                <a:ext uri="{FF2B5EF4-FFF2-40B4-BE49-F238E27FC236}">
                  <a16:creationId xmlns:a16="http://schemas.microsoft.com/office/drawing/2014/main" id="{C6D73B25-1647-5BD2-D72C-9A50A3D04930}"/>
                </a:ext>
              </a:extLst>
            </p:cNvPr>
            <p:cNvGrpSpPr/>
            <p:nvPr/>
          </p:nvGrpSpPr>
          <p:grpSpPr>
            <a:xfrm>
              <a:off x="8960764" y="4178822"/>
              <a:ext cx="428468" cy="568755"/>
              <a:chOff x="8960764" y="4178822"/>
              <a:chExt cx="428468" cy="568755"/>
            </a:xfrm>
          </p:grpSpPr>
          <p:sp>
            <p:nvSpPr>
              <p:cNvPr id="263" name="Arc 262">
                <a:extLst>
                  <a:ext uri="{FF2B5EF4-FFF2-40B4-BE49-F238E27FC236}">
                    <a16:creationId xmlns:a16="http://schemas.microsoft.com/office/drawing/2014/main" id="{E7BED3DB-4D5E-2707-04A7-D90B24048930}"/>
                  </a:ext>
                </a:extLst>
              </p:cNvPr>
              <p:cNvSpPr/>
              <p:nvPr/>
            </p:nvSpPr>
            <p:spPr>
              <a:xfrm>
                <a:off x="8960764" y="4178822"/>
                <a:ext cx="428468" cy="428468"/>
              </a:xfrm>
              <a:prstGeom prst="arc">
                <a:avLst/>
              </a:prstGeom>
              <a:noFill/>
              <a:ln w="15875" cap="flat" cmpd="sng" algn="ctr">
                <a:solidFill>
                  <a:srgbClr val="6FC2B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a typeface="+mn-ea"/>
                  <a:cs typeface="+mn-cs"/>
                </a:endParaRPr>
              </a:p>
            </p:txBody>
          </p:sp>
          <p:sp>
            <p:nvSpPr>
              <p:cNvPr id="264" name="Arc 263">
                <a:extLst>
                  <a:ext uri="{FF2B5EF4-FFF2-40B4-BE49-F238E27FC236}">
                    <a16:creationId xmlns:a16="http://schemas.microsoft.com/office/drawing/2014/main" id="{C914D291-19AC-563B-55E4-7ACE3A23D4DA}"/>
                  </a:ext>
                </a:extLst>
              </p:cNvPr>
              <p:cNvSpPr/>
              <p:nvPr/>
            </p:nvSpPr>
            <p:spPr>
              <a:xfrm rot="5400000">
                <a:off x="8960764" y="4319109"/>
                <a:ext cx="428468" cy="428468"/>
              </a:xfrm>
              <a:prstGeom prst="arc">
                <a:avLst/>
              </a:prstGeom>
              <a:noFill/>
              <a:ln w="15875" cap="flat" cmpd="sng" algn="ctr">
                <a:solidFill>
                  <a:srgbClr val="6FC2B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a typeface="+mn-ea"/>
                  <a:cs typeface="+mn-cs"/>
                </a:endParaRPr>
              </a:p>
            </p:txBody>
          </p:sp>
        </p:grpSp>
      </p:grpSp>
      <p:cxnSp>
        <p:nvCxnSpPr>
          <p:cNvPr id="265" name="Straight Connector 264">
            <a:extLst>
              <a:ext uri="{FF2B5EF4-FFF2-40B4-BE49-F238E27FC236}">
                <a16:creationId xmlns:a16="http://schemas.microsoft.com/office/drawing/2014/main" id="{B7C53A1A-5222-5DB2-E52D-BEEE07A374AD}"/>
              </a:ext>
            </a:extLst>
          </p:cNvPr>
          <p:cNvCxnSpPr>
            <a:cxnSpLocks/>
          </p:cNvCxnSpPr>
          <p:nvPr/>
        </p:nvCxnSpPr>
        <p:spPr>
          <a:xfrm flipH="1">
            <a:off x="5869814" y="4090444"/>
            <a:ext cx="139597" cy="0"/>
          </a:xfrm>
          <a:prstGeom prst="line">
            <a:avLst/>
          </a:prstGeom>
          <a:noFill/>
          <a:ln w="15875" cap="flat" cmpd="sng" algn="ctr">
            <a:solidFill>
              <a:srgbClr val="6FC2B4"/>
            </a:solidFill>
            <a:prstDash val="solid"/>
            <a:headEnd type="triangle"/>
          </a:ln>
          <a:effectLst/>
        </p:spPr>
      </p:cxnSp>
    </p:spTree>
    <p:extLst>
      <p:ext uri="{BB962C8B-B14F-4D97-AF65-F5344CB8AC3E}">
        <p14:creationId xmlns:p14="http://schemas.microsoft.com/office/powerpoint/2010/main" val="1083225547"/>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757255"/>
          </a:xfrm>
        </p:spPr>
        <p:txBody>
          <a:bodyPr/>
          <a:lstStyle/>
          <a:p>
            <a:r>
              <a:rPr lang="en-US" sz="1400" dirty="0">
                <a:solidFill>
                  <a:prstClr val="black"/>
                </a:solidFill>
              </a:rPr>
              <a:t>DevOps is the combination of philosophies, practices, processes, and tools that help increase </a:t>
            </a:r>
            <a:r>
              <a:rPr lang="en-US" sz="1400">
                <a:solidFill>
                  <a:prstClr val="black"/>
                </a:solidFill>
              </a:rPr>
              <a:t>your</a:t>
            </a:r>
            <a:r>
              <a:rPr lang="en-US" sz="1400" dirty="0">
                <a:solidFill>
                  <a:prstClr val="black"/>
                </a:solidFill>
              </a:rPr>
              <a:t> organization’s ability to deliver applications, enhancements, code fixes and new services consistently at high velocity via a tightly integrated orchestration layer.</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evOps Services</a:t>
            </a:r>
          </a:p>
        </p:txBody>
      </p:sp>
      <p:pic>
        <p:nvPicPr>
          <p:cNvPr id="2" name="Picture 7" descr="A close up of a sign&#10;&#10;Description generated with high confidence">
            <a:extLst>
              <a:ext uri="{FF2B5EF4-FFF2-40B4-BE49-F238E27FC236}">
                <a16:creationId xmlns:a16="http://schemas.microsoft.com/office/drawing/2014/main" id="{6C088AF9-A6D7-B3A4-2F3C-AD62CF9F8753}"/>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rot="16200000">
            <a:off x="-657734" y="2818792"/>
            <a:ext cx="4593802" cy="2566674"/>
          </a:xfrm>
          <a:prstGeom prst="rect">
            <a:avLst/>
          </a:prstGeom>
        </p:spPr>
      </p:pic>
      <p:pic>
        <p:nvPicPr>
          <p:cNvPr id="4" name="Picture 3">
            <a:hlinkClick r:id="rId4"/>
            <a:extLst>
              <a:ext uri="{FF2B5EF4-FFF2-40B4-BE49-F238E27FC236}">
                <a16:creationId xmlns:a16="http://schemas.microsoft.com/office/drawing/2014/main" id="{116C3710-4E0A-4A40-311B-6792A14A3A3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8778" y="1381928"/>
            <a:ext cx="8486320" cy="5112397"/>
          </a:xfrm>
          <a:prstGeom prst="rect">
            <a:avLst/>
          </a:prstGeom>
        </p:spPr>
      </p:pic>
    </p:spTree>
    <p:extLst>
      <p:ext uri="{BB962C8B-B14F-4D97-AF65-F5344CB8AC3E}">
        <p14:creationId xmlns:p14="http://schemas.microsoft.com/office/powerpoint/2010/main" val="3033394659"/>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757255"/>
          </a:xfrm>
        </p:spPr>
        <p:txBody>
          <a:bodyPr/>
          <a:lstStyle/>
          <a:p>
            <a:r>
              <a:rPr lang="en-US" sz="1400" dirty="0">
                <a:solidFill>
                  <a:prstClr val="black"/>
                </a:solidFill>
              </a:rPr>
              <a:t>Our DevOps approach will create the value UNICEF is looking for to ensure applications, enhancements, and services consistently perform at high capacity with a rightsized velocity though quality focused deliverables via </a:t>
            </a:r>
            <a:r>
              <a:rPr lang="en-US" sz="1400">
                <a:solidFill>
                  <a:prstClr val="black"/>
                </a:solidFill>
              </a:rPr>
              <a:t>a </a:t>
            </a:r>
            <a:r>
              <a:rPr lang="en-US" sz="1400" dirty="0">
                <a:solidFill>
                  <a:prstClr val="black"/>
                </a:solidFill>
              </a:rPr>
              <a:t>reliable ecosystem.</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evOps Approach</a:t>
            </a:r>
          </a:p>
        </p:txBody>
      </p:sp>
      <p:grpSp>
        <p:nvGrpSpPr>
          <p:cNvPr id="2" name="Group 1">
            <a:extLst>
              <a:ext uri="{FF2B5EF4-FFF2-40B4-BE49-F238E27FC236}">
                <a16:creationId xmlns:a16="http://schemas.microsoft.com/office/drawing/2014/main" id="{194C8C75-57F4-7722-049F-23C403166187}"/>
              </a:ext>
            </a:extLst>
          </p:cNvPr>
          <p:cNvGrpSpPr>
            <a:grpSpLocks noChangeAspect="1"/>
          </p:cNvGrpSpPr>
          <p:nvPr/>
        </p:nvGrpSpPr>
        <p:grpSpPr>
          <a:xfrm>
            <a:off x="633546" y="1423346"/>
            <a:ext cx="11637112" cy="5232080"/>
            <a:chOff x="884290" y="1447026"/>
            <a:chExt cx="11058464" cy="4971923"/>
          </a:xfrm>
        </p:grpSpPr>
        <p:sp>
          <p:nvSpPr>
            <p:cNvPr id="4" name="Rectangle 3">
              <a:extLst>
                <a:ext uri="{FF2B5EF4-FFF2-40B4-BE49-F238E27FC236}">
                  <a16:creationId xmlns:a16="http://schemas.microsoft.com/office/drawing/2014/main" id="{B082BA79-CCF0-DAD4-9AC3-13EB15DF8092}"/>
                </a:ext>
              </a:extLst>
            </p:cNvPr>
            <p:cNvSpPr/>
            <p:nvPr/>
          </p:nvSpPr>
          <p:spPr>
            <a:xfrm>
              <a:off x="2908013" y="5972243"/>
              <a:ext cx="8369587" cy="446706"/>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lumMod val="50000"/>
                  </a:srgbClr>
                </a:solidFill>
              </a:endParaRPr>
            </a:p>
          </p:txBody>
        </p:sp>
        <p:sp>
          <p:nvSpPr>
            <p:cNvPr id="5" name="Pentagon 3">
              <a:extLst>
                <a:ext uri="{FF2B5EF4-FFF2-40B4-BE49-F238E27FC236}">
                  <a16:creationId xmlns:a16="http://schemas.microsoft.com/office/drawing/2014/main" id="{AF41651F-7A7B-E28F-023A-9B6365AA3143}"/>
                </a:ext>
              </a:extLst>
            </p:cNvPr>
            <p:cNvSpPr/>
            <p:nvPr/>
          </p:nvSpPr>
          <p:spPr>
            <a:xfrm>
              <a:off x="914400" y="1447026"/>
              <a:ext cx="1934930" cy="368552"/>
            </a:xfrm>
            <a:prstGeom prst="homePlate">
              <a:avLst/>
            </a:prstGeom>
            <a:solidFill>
              <a:schemeClr val="bg1"/>
            </a:solid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rPr>
                <a:t>INTAKE</a:t>
              </a:r>
            </a:p>
          </p:txBody>
        </p:sp>
        <p:sp>
          <p:nvSpPr>
            <p:cNvPr id="109" name="Chevron 4">
              <a:extLst>
                <a:ext uri="{FF2B5EF4-FFF2-40B4-BE49-F238E27FC236}">
                  <a16:creationId xmlns:a16="http://schemas.microsoft.com/office/drawing/2014/main" id="{8AF294E5-E432-1A7C-A288-EDD079FAF099}"/>
                </a:ext>
              </a:extLst>
            </p:cNvPr>
            <p:cNvSpPr/>
            <p:nvPr/>
          </p:nvSpPr>
          <p:spPr>
            <a:xfrm>
              <a:off x="2805794" y="1447026"/>
              <a:ext cx="6247888" cy="368552"/>
            </a:xfrm>
            <a:prstGeom prst="chevron">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rPr>
                <a:t>DESIGN &amp; DEVELOP</a:t>
              </a:r>
            </a:p>
          </p:txBody>
        </p:sp>
        <p:sp>
          <p:nvSpPr>
            <p:cNvPr id="110" name="Chevron 22">
              <a:extLst>
                <a:ext uri="{FF2B5EF4-FFF2-40B4-BE49-F238E27FC236}">
                  <a16:creationId xmlns:a16="http://schemas.microsoft.com/office/drawing/2014/main" id="{6BF0AC50-BD30-CCDD-B88A-5361E5C7D018}"/>
                </a:ext>
              </a:extLst>
            </p:cNvPr>
            <p:cNvSpPr/>
            <p:nvPr/>
          </p:nvSpPr>
          <p:spPr>
            <a:xfrm>
              <a:off x="9010146" y="1447026"/>
              <a:ext cx="2282826" cy="368552"/>
            </a:xfrm>
            <a:prstGeom prst="chevron">
              <a:avLst/>
            </a:prstGeom>
            <a:solidFill>
              <a:schemeClr val="bg1"/>
            </a:solid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rPr>
                <a:t>TEST &amp; DEPLOY</a:t>
              </a:r>
            </a:p>
          </p:txBody>
        </p:sp>
        <p:sp>
          <p:nvSpPr>
            <p:cNvPr id="111" name="Rectangle 110">
              <a:extLst>
                <a:ext uri="{FF2B5EF4-FFF2-40B4-BE49-F238E27FC236}">
                  <a16:creationId xmlns:a16="http://schemas.microsoft.com/office/drawing/2014/main" id="{992A04A8-E830-5A7F-C69C-8C6A4F33CF05}"/>
                </a:ext>
              </a:extLst>
            </p:cNvPr>
            <p:cNvSpPr/>
            <p:nvPr/>
          </p:nvSpPr>
          <p:spPr>
            <a:xfrm>
              <a:off x="1272473" y="4198110"/>
              <a:ext cx="1347449" cy="5179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2E2E2E"/>
                  </a:solidFill>
                </a:rPr>
                <a:t>Break Fixes, Service Requests</a:t>
              </a:r>
            </a:p>
          </p:txBody>
        </p:sp>
        <p:sp>
          <p:nvSpPr>
            <p:cNvPr id="112" name="Rectangle 111">
              <a:extLst>
                <a:ext uri="{FF2B5EF4-FFF2-40B4-BE49-F238E27FC236}">
                  <a16:creationId xmlns:a16="http://schemas.microsoft.com/office/drawing/2014/main" id="{299C2271-4225-1D02-2CBB-9BE8F06793FC}"/>
                </a:ext>
              </a:extLst>
            </p:cNvPr>
            <p:cNvSpPr/>
            <p:nvPr/>
          </p:nvSpPr>
          <p:spPr>
            <a:xfrm>
              <a:off x="1272473" y="5533946"/>
              <a:ext cx="1347449" cy="5179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2E2E2E"/>
                  </a:solidFill>
                </a:rPr>
                <a:t>Customer Requirements</a:t>
              </a:r>
            </a:p>
          </p:txBody>
        </p:sp>
        <p:sp>
          <p:nvSpPr>
            <p:cNvPr id="113" name="Rectangle 112">
              <a:extLst>
                <a:ext uri="{FF2B5EF4-FFF2-40B4-BE49-F238E27FC236}">
                  <a16:creationId xmlns:a16="http://schemas.microsoft.com/office/drawing/2014/main" id="{E1780FA6-6DB4-3056-34B6-A815FA722D70}"/>
                </a:ext>
              </a:extLst>
            </p:cNvPr>
            <p:cNvSpPr/>
            <p:nvPr/>
          </p:nvSpPr>
          <p:spPr>
            <a:xfrm>
              <a:off x="1272473" y="4861558"/>
              <a:ext cx="1347449" cy="5179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2E2E2E"/>
                  </a:solidFill>
                </a:rPr>
                <a:t>Small Size</a:t>
              </a:r>
              <a:br>
                <a:rPr lang="en-US" sz="900" dirty="0">
                  <a:solidFill>
                    <a:srgbClr val="2E2E2E"/>
                  </a:solidFill>
                </a:rPr>
              </a:br>
              <a:r>
                <a:rPr lang="en-US" sz="900" dirty="0">
                  <a:solidFill>
                    <a:srgbClr val="2E2E2E"/>
                  </a:solidFill>
                </a:rPr>
                <a:t>Site Updates</a:t>
              </a:r>
            </a:p>
          </p:txBody>
        </p:sp>
        <p:sp>
          <p:nvSpPr>
            <p:cNvPr id="114" name="Rectangle 113">
              <a:extLst>
                <a:ext uri="{FF2B5EF4-FFF2-40B4-BE49-F238E27FC236}">
                  <a16:creationId xmlns:a16="http://schemas.microsoft.com/office/drawing/2014/main" id="{2633055C-27B1-7E19-F969-1900893C94A8}"/>
                </a:ext>
              </a:extLst>
            </p:cNvPr>
            <p:cNvSpPr/>
            <p:nvPr/>
          </p:nvSpPr>
          <p:spPr>
            <a:xfrm>
              <a:off x="1283496" y="2026216"/>
              <a:ext cx="1347449" cy="5179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2E2E2E"/>
                  </a:solidFill>
                </a:rPr>
                <a:t>Approved Projects</a:t>
              </a:r>
            </a:p>
          </p:txBody>
        </p:sp>
        <p:sp>
          <p:nvSpPr>
            <p:cNvPr id="115" name="Rectangle 114">
              <a:extLst>
                <a:ext uri="{FF2B5EF4-FFF2-40B4-BE49-F238E27FC236}">
                  <a16:creationId xmlns:a16="http://schemas.microsoft.com/office/drawing/2014/main" id="{84855ABE-5B88-AD77-95FD-AADCABD6471A}"/>
                </a:ext>
              </a:extLst>
            </p:cNvPr>
            <p:cNvSpPr/>
            <p:nvPr/>
          </p:nvSpPr>
          <p:spPr>
            <a:xfrm>
              <a:off x="1283496" y="2730142"/>
              <a:ext cx="1347449" cy="5179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2E2E2E"/>
                  </a:solidFill>
                </a:rPr>
                <a:t>Business Priorities</a:t>
              </a:r>
            </a:p>
          </p:txBody>
        </p:sp>
        <p:sp>
          <p:nvSpPr>
            <p:cNvPr id="116" name="Rectangle 115">
              <a:extLst>
                <a:ext uri="{FF2B5EF4-FFF2-40B4-BE49-F238E27FC236}">
                  <a16:creationId xmlns:a16="http://schemas.microsoft.com/office/drawing/2014/main" id="{169FCE29-C2F6-249A-8120-D447736C9B1A}"/>
                </a:ext>
              </a:extLst>
            </p:cNvPr>
            <p:cNvSpPr/>
            <p:nvPr/>
          </p:nvSpPr>
          <p:spPr>
            <a:xfrm>
              <a:off x="1283496" y="3416528"/>
              <a:ext cx="1347449" cy="5179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2E2E2E"/>
                  </a:solidFill>
                </a:rPr>
                <a:t>Technological and Regulatory Changes</a:t>
              </a:r>
            </a:p>
          </p:txBody>
        </p:sp>
        <p:sp>
          <p:nvSpPr>
            <p:cNvPr id="117" name="Rectangle 116">
              <a:extLst>
                <a:ext uri="{FF2B5EF4-FFF2-40B4-BE49-F238E27FC236}">
                  <a16:creationId xmlns:a16="http://schemas.microsoft.com/office/drawing/2014/main" id="{858714D3-3C97-8D75-A66B-CCA43F7FB2D6}"/>
                </a:ext>
              </a:extLst>
            </p:cNvPr>
            <p:cNvSpPr/>
            <p:nvPr/>
          </p:nvSpPr>
          <p:spPr>
            <a:xfrm>
              <a:off x="2917265" y="2000949"/>
              <a:ext cx="1412092" cy="1946327"/>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lumMod val="50000"/>
                  </a:srgbClr>
                </a:solidFill>
              </a:endParaRPr>
            </a:p>
          </p:txBody>
        </p:sp>
        <p:sp>
          <p:nvSpPr>
            <p:cNvPr id="118" name="Rectangle 117">
              <a:extLst>
                <a:ext uri="{FF2B5EF4-FFF2-40B4-BE49-F238E27FC236}">
                  <a16:creationId xmlns:a16="http://schemas.microsoft.com/office/drawing/2014/main" id="{5321FB8E-755C-E3B3-89A0-38BCEDFE09EA}"/>
                </a:ext>
              </a:extLst>
            </p:cNvPr>
            <p:cNvSpPr/>
            <p:nvPr/>
          </p:nvSpPr>
          <p:spPr>
            <a:xfrm rot="16200000">
              <a:off x="7843435" y="3637298"/>
              <a:ext cx="3645259" cy="3900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End-to-end Testing</a:t>
              </a:r>
            </a:p>
          </p:txBody>
        </p:sp>
        <p:sp>
          <p:nvSpPr>
            <p:cNvPr id="119" name="Rectangle 118">
              <a:extLst>
                <a:ext uri="{FF2B5EF4-FFF2-40B4-BE49-F238E27FC236}">
                  <a16:creationId xmlns:a16="http://schemas.microsoft.com/office/drawing/2014/main" id="{7FBA9BC3-33E1-E61D-3F57-3D2A20CEDE8E}"/>
                </a:ext>
              </a:extLst>
            </p:cNvPr>
            <p:cNvSpPr/>
            <p:nvPr/>
          </p:nvSpPr>
          <p:spPr>
            <a:xfrm rot="16200000">
              <a:off x="8322670" y="3637298"/>
              <a:ext cx="3645259" cy="3900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User Acceptance Testing</a:t>
              </a:r>
            </a:p>
          </p:txBody>
        </p:sp>
        <p:sp>
          <p:nvSpPr>
            <p:cNvPr id="120" name="Rectangle 119">
              <a:extLst>
                <a:ext uri="{FF2B5EF4-FFF2-40B4-BE49-F238E27FC236}">
                  <a16:creationId xmlns:a16="http://schemas.microsoft.com/office/drawing/2014/main" id="{94E0CEAD-AA0C-114D-A1EE-7E85562E6350}"/>
                </a:ext>
              </a:extLst>
            </p:cNvPr>
            <p:cNvSpPr/>
            <p:nvPr/>
          </p:nvSpPr>
          <p:spPr>
            <a:xfrm rot="16200000">
              <a:off x="8801905" y="3637298"/>
              <a:ext cx="3645259" cy="3900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Production Testing</a:t>
              </a:r>
            </a:p>
          </p:txBody>
        </p:sp>
        <p:sp>
          <p:nvSpPr>
            <p:cNvPr id="121" name="Rectangle 120">
              <a:extLst>
                <a:ext uri="{FF2B5EF4-FFF2-40B4-BE49-F238E27FC236}">
                  <a16:creationId xmlns:a16="http://schemas.microsoft.com/office/drawing/2014/main" id="{AEA018DA-E702-15D7-E53B-510E89556281}"/>
                </a:ext>
              </a:extLst>
            </p:cNvPr>
            <p:cNvSpPr/>
            <p:nvPr/>
          </p:nvSpPr>
          <p:spPr>
            <a:xfrm rot="16200000">
              <a:off x="9281141" y="3637298"/>
              <a:ext cx="3645259" cy="3900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Deployment</a:t>
              </a:r>
            </a:p>
          </p:txBody>
        </p:sp>
        <p:sp>
          <p:nvSpPr>
            <p:cNvPr id="122" name="Rectangle 121">
              <a:extLst>
                <a:ext uri="{FF2B5EF4-FFF2-40B4-BE49-F238E27FC236}">
                  <a16:creationId xmlns:a16="http://schemas.microsoft.com/office/drawing/2014/main" id="{C4804616-11B7-929D-D71C-1E7FB01D21C3}"/>
                </a:ext>
              </a:extLst>
            </p:cNvPr>
            <p:cNvSpPr/>
            <p:nvPr/>
          </p:nvSpPr>
          <p:spPr>
            <a:xfrm>
              <a:off x="4494282" y="2000631"/>
              <a:ext cx="4071136" cy="1946327"/>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lumMod val="50000"/>
                  </a:srgbClr>
                </a:solidFill>
              </a:endParaRPr>
            </a:p>
          </p:txBody>
        </p:sp>
        <p:sp>
          <p:nvSpPr>
            <p:cNvPr id="123" name="Rectangle 122">
              <a:extLst>
                <a:ext uri="{FF2B5EF4-FFF2-40B4-BE49-F238E27FC236}">
                  <a16:creationId xmlns:a16="http://schemas.microsoft.com/office/drawing/2014/main" id="{AE211097-4106-E8D1-DFA9-91E77F928295}"/>
                </a:ext>
              </a:extLst>
            </p:cNvPr>
            <p:cNvSpPr/>
            <p:nvPr/>
          </p:nvSpPr>
          <p:spPr>
            <a:xfrm>
              <a:off x="2924144" y="4193526"/>
              <a:ext cx="5649753" cy="146141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lumMod val="50000"/>
                  </a:srgbClr>
                </a:solidFill>
              </a:endParaRPr>
            </a:p>
          </p:txBody>
        </p:sp>
        <p:sp>
          <p:nvSpPr>
            <p:cNvPr id="124" name="Rectangle 123">
              <a:extLst>
                <a:ext uri="{FF2B5EF4-FFF2-40B4-BE49-F238E27FC236}">
                  <a16:creationId xmlns:a16="http://schemas.microsoft.com/office/drawing/2014/main" id="{59B65656-1F3B-B458-A9E7-BEC2006DEF3D}"/>
                </a:ext>
              </a:extLst>
            </p:cNvPr>
            <p:cNvSpPr/>
            <p:nvPr/>
          </p:nvSpPr>
          <p:spPr>
            <a:xfrm rot="16200000">
              <a:off x="7364200" y="3637298"/>
              <a:ext cx="3645259" cy="3900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Release Package</a:t>
              </a:r>
            </a:p>
          </p:txBody>
        </p:sp>
        <p:sp>
          <p:nvSpPr>
            <p:cNvPr id="125" name="Rectangle 124">
              <a:extLst>
                <a:ext uri="{FF2B5EF4-FFF2-40B4-BE49-F238E27FC236}">
                  <a16:creationId xmlns:a16="http://schemas.microsoft.com/office/drawing/2014/main" id="{FFB3A4F5-7087-9288-139F-85804EDCF456}"/>
                </a:ext>
              </a:extLst>
            </p:cNvPr>
            <p:cNvSpPr/>
            <p:nvPr/>
          </p:nvSpPr>
          <p:spPr>
            <a:xfrm>
              <a:off x="3136544" y="1904623"/>
              <a:ext cx="982268" cy="230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0000"/>
                  </a:solidFill>
                </a:rPr>
                <a:t>CREATIVE</a:t>
              </a:r>
            </a:p>
          </p:txBody>
        </p:sp>
        <p:sp>
          <p:nvSpPr>
            <p:cNvPr id="126" name="Rectangle 125">
              <a:extLst>
                <a:ext uri="{FF2B5EF4-FFF2-40B4-BE49-F238E27FC236}">
                  <a16:creationId xmlns:a16="http://schemas.microsoft.com/office/drawing/2014/main" id="{840BCD92-B80F-FB6A-C554-2707C62DB1C3}"/>
                </a:ext>
              </a:extLst>
            </p:cNvPr>
            <p:cNvSpPr/>
            <p:nvPr/>
          </p:nvSpPr>
          <p:spPr>
            <a:xfrm>
              <a:off x="5433116" y="1879223"/>
              <a:ext cx="2222924" cy="230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0000"/>
                  </a:solidFill>
                </a:rPr>
                <a:t>AGILE DIGITAL FACTORY</a:t>
              </a:r>
            </a:p>
          </p:txBody>
        </p:sp>
        <p:sp>
          <p:nvSpPr>
            <p:cNvPr id="127" name="TextBox 126">
              <a:extLst>
                <a:ext uri="{FF2B5EF4-FFF2-40B4-BE49-F238E27FC236}">
                  <a16:creationId xmlns:a16="http://schemas.microsoft.com/office/drawing/2014/main" id="{739E21F7-8D52-E4C4-C946-9967AC72ABF6}"/>
                </a:ext>
              </a:extLst>
            </p:cNvPr>
            <p:cNvSpPr txBox="1"/>
            <p:nvPr/>
          </p:nvSpPr>
          <p:spPr>
            <a:xfrm>
              <a:off x="3002839" y="2067889"/>
              <a:ext cx="1256344" cy="1755527"/>
            </a:xfrm>
            <a:prstGeom prst="rect">
              <a:avLst/>
            </a:prstGeom>
            <a:noFill/>
          </p:spPr>
          <p:txBody>
            <a:bodyPr wrap="square" rtlCol="0">
              <a:spAutoFit/>
            </a:bodyPr>
            <a:lstStyle/>
            <a:p>
              <a:pPr algn="ctr"/>
              <a:r>
                <a:rPr lang="en-US" sz="900" i="1" dirty="0">
                  <a:solidFill>
                    <a:srgbClr val="000000"/>
                  </a:solidFill>
                </a:rPr>
                <a:t>Creative agency drives the creative design</a:t>
              </a:r>
            </a:p>
            <a:p>
              <a:endParaRPr lang="en-US" sz="800" i="1" dirty="0">
                <a:solidFill>
                  <a:srgbClr val="787878"/>
                </a:solidFill>
              </a:endParaRPr>
            </a:p>
            <a:p>
              <a:pPr marL="365760" indent="-365760">
                <a:spcAft>
                  <a:spcPts val="600"/>
                </a:spcAft>
                <a:buClr>
                  <a:srgbClr val="FFFFFF"/>
                </a:buClr>
                <a:buFont typeface="Wingdings" panose="05000000000000000000" pitchFamily="2" charset="2"/>
                <a:buChar char="§"/>
              </a:pPr>
              <a:r>
                <a:rPr lang="en-US" sz="800" dirty="0">
                  <a:solidFill>
                    <a:srgbClr val="000000"/>
                  </a:solidFill>
                </a:rPr>
                <a:t>Ideation</a:t>
              </a:r>
              <a:br>
                <a:rPr lang="en-US" sz="800" dirty="0">
                  <a:solidFill>
                    <a:srgbClr val="000000"/>
                  </a:solidFill>
                </a:rPr>
              </a:br>
              <a:r>
                <a:rPr lang="en-US" sz="800" dirty="0">
                  <a:solidFill>
                    <a:srgbClr val="000000"/>
                  </a:solidFill>
                </a:rPr>
                <a:t>&amp; concept</a:t>
              </a:r>
            </a:p>
            <a:p>
              <a:pPr marL="365760" indent="-365760">
                <a:spcAft>
                  <a:spcPts val="600"/>
                </a:spcAft>
                <a:buClr>
                  <a:srgbClr val="FFFFFF"/>
                </a:buClr>
                <a:buFont typeface="Wingdings" panose="05000000000000000000" pitchFamily="2" charset="2"/>
                <a:buChar char="§"/>
              </a:pPr>
              <a:r>
                <a:rPr lang="en-US" sz="800" dirty="0">
                  <a:solidFill>
                    <a:srgbClr val="000000"/>
                  </a:solidFill>
                </a:rPr>
                <a:t>Layouts</a:t>
              </a:r>
              <a:br>
                <a:rPr lang="en-US" sz="800" dirty="0">
                  <a:solidFill>
                    <a:srgbClr val="000000"/>
                  </a:solidFill>
                </a:rPr>
              </a:br>
              <a:r>
                <a:rPr lang="en-US" sz="800" dirty="0">
                  <a:solidFill>
                    <a:srgbClr val="000000"/>
                  </a:solidFill>
                </a:rPr>
                <a:t>&amp; graphics</a:t>
              </a:r>
            </a:p>
            <a:p>
              <a:pPr marL="365760" indent="-365760">
                <a:spcAft>
                  <a:spcPts val="600"/>
                </a:spcAft>
                <a:buClr>
                  <a:srgbClr val="FFFFFF"/>
                </a:buClr>
                <a:buFont typeface="Wingdings" panose="05000000000000000000" pitchFamily="2" charset="2"/>
                <a:buChar char="§"/>
              </a:pPr>
              <a:r>
                <a:rPr lang="en-US" sz="800" dirty="0">
                  <a:solidFill>
                    <a:srgbClr val="000000"/>
                  </a:solidFill>
                </a:rPr>
                <a:t>Copywriting</a:t>
              </a:r>
              <a:br>
                <a:rPr lang="en-US" sz="800" dirty="0">
                  <a:solidFill>
                    <a:srgbClr val="000000"/>
                  </a:solidFill>
                </a:rPr>
              </a:br>
              <a:r>
                <a:rPr lang="en-US" sz="800" dirty="0">
                  <a:solidFill>
                    <a:srgbClr val="000000"/>
                  </a:solidFill>
                </a:rPr>
                <a:t>&amp; content authoring</a:t>
              </a:r>
            </a:p>
          </p:txBody>
        </p:sp>
        <p:sp>
          <p:nvSpPr>
            <p:cNvPr id="128" name="Rectangle 127">
              <a:extLst>
                <a:ext uri="{FF2B5EF4-FFF2-40B4-BE49-F238E27FC236}">
                  <a16:creationId xmlns:a16="http://schemas.microsoft.com/office/drawing/2014/main" id="{73D8F8F2-CCE5-746C-992C-921BA2C2E48D}"/>
                </a:ext>
              </a:extLst>
            </p:cNvPr>
            <p:cNvSpPr/>
            <p:nvPr/>
          </p:nvSpPr>
          <p:spPr>
            <a:xfrm>
              <a:off x="4231234" y="4095348"/>
              <a:ext cx="3200400" cy="230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0000"/>
                  </a:solidFill>
                </a:rPr>
                <a:t>BUSINESS AS USUAL DIGITAL FACTORY</a:t>
              </a:r>
            </a:p>
          </p:txBody>
        </p:sp>
        <p:sp>
          <p:nvSpPr>
            <p:cNvPr id="129" name="Pentagon 118">
              <a:extLst>
                <a:ext uri="{FF2B5EF4-FFF2-40B4-BE49-F238E27FC236}">
                  <a16:creationId xmlns:a16="http://schemas.microsoft.com/office/drawing/2014/main" id="{FC4F919A-DA90-5C1B-AC61-DAD97F2EB547}"/>
                </a:ext>
              </a:extLst>
            </p:cNvPr>
            <p:cNvSpPr/>
            <p:nvPr/>
          </p:nvSpPr>
          <p:spPr>
            <a:xfrm>
              <a:off x="4584957" y="2155032"/>
              <a:ext cx="1368417" cy="236352"/>
            </a:xfrm>
            <a:prstGeom prst="homePlate">
              <a:avLst/>
            </a:prstGeom>
            <a:solidFill>
              <a:schemeClr val="accent6">
                <a:lumMod val="20000"/>
                <a:lumOff val="80000"/>
              </a:schemeClr>
            </a:solidFill>
            <a:ln w="12700" cap="flat" cmpd="sng" algn="ctr">
              <a:solidFill>
                <a:sysClr val="window" lastClr="FFFFFF"/>
              </a:solidFill>
              <a:prstDash val="solid"/>
            </a:ln>
            <a:effectLst/>
          </p:spPr>
          <p:txBody>
            <a:bodyPr lIns="0" tIns="45713" rIns="0" bIns="45713" rtlCol="0" anchor="ctr"/>
            <a:lstStyle/>
            <a:p>
              <a:pPr algn="ctr" defTabSz="1463040">
                <a:defRPr/>
              </a:pPr>
              <a:r>
                <a:rPr lang="en-US" sz="800" b="1" kern="0" dirty="0">
                  <a:solidFill>
                    <a:srgbClr val="000000"/>
                  </a:solidFill>
                  <a:ea typeface="Nexa Black" charset="0"/>
                  <a:cs typeface="Nexa Black" charset="0"/>
                </a:rPr>
                <a:t>Concept and Reqs.</a:t>
              </a:r>
            </a:p>
          </p:txBody>
        </p:sp>
        <p:sp>
          <p:nvSpPr>
            <p:cNvPr id="130" name="Chevron 119">
              <a:extLst>
                <a:ext uri="{FF2B5EF4-FFF2-40B4-BE49-F238E27FC236}">
                  <a16:creationId xmlns:a16="http://schemas.microsoft.com/office/drawing/2014/main" id="{5D2D490F-C763-26A0-3D8E-374AD51E6759}"/>
                </a:ext>
              </a:extLst>
            </p:cNvPr>
            <p:cNvSpPr/>
            <p:nvPr/>
          </p:nvSpPr>
          <p:spPr>
            <a:xfrm>
              <a:off x="5899070" y="2155032"/>
              <a:ext cx="2393014" cy="236352"/>
            </a:xfrm>
            <a:prstGeom prst="chevron">
              <a:avLst/>
            </a:prstGeom>
            <a:solidFill>
              <a:schemeClr val="accent6">
                <a:lumMod val="20000"/>
                <a:lumOff val="80000"/>
              </a:schemeClr>
            </a:solidFill>
            <a:ln w="12700" cap="flat" cmpd="sng" algn="ctr">
              <a:solidFill>
                <a:sysClr val="window" lastClr="FFFFFF"/>
              </a:solidFill>
              <a:prstDash val="solid"/>
            </a:ln>
            <a:effectLst/>
          </p:spPr>
          <p:txBody>
            <a:bodyPr lIns="0" tIns="45713" rIns="0" bIns="45713" rtlCol="0" anchor="ctr"/>
            <a:lstStyle/>
            <a:p>
              <a:pPr algn="ctr" defTabSz="1463040">
                <a:defRPr/>
              </a:pPr>
              <a:r>
                <a:rPr lang="en-US" sz="800" b="1" kern="0" dirty="0">
                  <a:solidFill>
                    <a:srgbClr val="000000"/>
                  </a:solidFill>
                  <a:ea typeface="Nexa Black" charset="0"/>
                  <a:cs typeface="Nexa Black" charset="0"/>
                </a:rPr>
                <a:t>Iterative Builds</a:t>
              </a:r>
            </a:p>
          </p:txBody>
        </p:sp>
        <p:sp>
          <p:nvSpPr>
            <p:cNvPr id="131" name="Oval 130">
              <a:extLst>
                <a:ext uri="{FF2B5EF4-FFF2-40B4-BE49-F238E27FC236}">
                  <a16:creationId xmlns:a16="http://schemas.microsoft.com/office/drawing/2014/main" id="{C7B97D24-0145-02B4-7A0C-31AA20B1D2E9}"/>
                </a:ext>
              </a:extLst>
            </p:cNvPr>
            <p:cNvSpPr/>
            <p:nvPr/>
          </p:nvSpPr>
          <p:spPr>
            <a:xfrm>
              <a:off x="8300750" y="1845427"/>
              <a:ext cx="457200" cy="457200"/>
            </a:xfrm>
            <a:prstGeom prst="ellipse">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i="1" dirty="0">
                  <a:solidFill>
                    <a:sysClr val="windowText" lastClr="000000"/>
                  </a:solidFill>
                </a:rPr>
                <a:t>Scheduled Release</a:t>
              </a:r>
            </a:p>
          </p:txBody>
        </p:sp>
        <p:sp>
          <p:nvSpPr>
            <p:cNvPr id="132" name="TextBox 131">
              <a:extLst>
                <a:ext uri="{FF2B5EF4-FFF2-40B4-BE49-F238E27FC236}">
                  <a16:creationId xmlns:a16="http://schemas.microsoft.com/office/drawing/2014/main" id="{C05633EB-9B22-621E-4D63-BEC3464668B9}"/>
                </a:ext>
              </a:extLst>
            </p:cNvPr>
            <p:cNvSpPr txBox="1"/>
            <p:nvPr/>
          </p:nvSpPr>
          <p:spPr>
            <a:xfrm>
              <a:off x="4673525" y="2440086"/>
              <a:ext cx="1286637" cy="1408078"/>
            </a:xfrm>
            <a:prstGeom prst="rect">
              <a:avLst/>
            </a:prstGeom>
            <a:noFill/>
          </p:spPr>
          <p:txBody>
            <a:bodyPr wrap="square" rtlCol="0">
              <a:spAutoFit/>
            </a:bodyPr>
            <a:lstStyle/>
            <a:p>
              <a:pPr marL="171450" indent="-171450">
                <a:spcAft>
                  <a:spcPts val="900"/>
                </a:spcAft>
                <a:buClr>
                  <a:srgbClr val="FFFFFF"/>
                </a:buClr>
                <a:buFont typeface="Wingdings" panose="05000000000000000000" pitchFamily="2" charset="2"/>
                <a:buChar char="§"/>
              </a:pPr>
              <a:r>
                <a:rPr lang="en-US" sz="800" dirty="0">
                  <a:solidFill>
                    <a:srgbClr val="000000"/>
                  </a:solidFill>
                </a:rPr>
                <a:t>Refine vision with creative agency</a:t>
              </a:r>
            </a:p>
            <a:p>
              <a:pPr marL="171450" indent="-171450">
                <a:spcAft>
                  <a:spcPts val="900"/>
                </a:spcAft>
                <a:buClr>
                  <a:srgbClr val="FFFFFF"/>
                </a:buClr>
                <a:buFont typeface="Wingdings" panose="05000000000000000000" pitchFamily="2" charset="2"/>
                <a:buChar char="§"/>
              </a:pPr>
              <a:r>
                <a:rPr lang="en-US" sz="800" dirty="0">
                  <a:solidFill>
                    <a:srgbClr val="000000"/>
                  </a:solidFill>
                </a:rPr>
                <a:t>Design experience</a:t>
              </a:r>
            </a:p>
            <a:p>
              <a:pPr marL="171450" indent="-171450">
                <a:spcAft>
                  <a:spcPts val="900"/>
                </a:spcAft>
                <a:buClr>
                  <a:srgbClr val="FFFFFF"/>
                </a:buClr>
                <a:buFont typeface="Wingdings" panose="05000000000000000000" pitchFamily="2" charset="2"/>
                <a:buChar char="§"/>
              </a:pPr>
              <a:r>
                <a:rPr lang="en-US" sz="800" dirty="0">
                  <a:solidFill>
                    <a:srgbClr val="000000"/>
                  </a:solidFill>
                </a:rPr>
                <a:t>Define requirements</a:t>
              </a:r>
            </a:p>
            <a:p>
              <a:pPr marL="171450" indent="-171450">
                <a:spcAft>
                  <a:spcPts val="900"/>
                </a:spcAft>
                <a:buClr>
                  <a:srgbClr val="FFFFFF"/>
                </a:buClr>
                <a:buFont typeface="Wingdings" panose="05000000000000000000" pitchFamily="2" charset="2"/>
                <a:buChar char="§"/>
              </a:pPr>
              <a:r>
                <a:rPr lang="en-US" sz="800" dirty="0">
                  <a:solidFill>
                    <a:srgbClr val="000000"/>
                  </a:solidFill>
                </a:rPr>
                <a:t>Plan sprints</a:t>
              </a:r>
            </a:p>
          </p:txBody>
        </p:sp>
        <p:sp>
          <p:nvSpPr>
            <p:cNvPr id="133" name="TextBox 132">
              <a:extLst>
                <a:ext uri="{FF2B5EF4-FFF2-40B4-BE49-F238E27FC236}">
                  <a16:creationId xmlns:a16="http://schemas.microsoft.com/office/drawing/2014/main" id="{506CDF37-3671-4CCE-8FBC-C0285EE8DF74}"/>
                </a:ext>
              </a:extLst>
            </p:cNvPr>
            <p:cNvSpPr txBox="1"/>
            <p:nvPr/>
          </p:nvSpPr>
          <p:spPr>
            <a:xfrm>
              <a:off x="6026511" y="2428277"/>
              <a:ext cx="2138131" cy="400110"/>
            </a:xfrm>
            <a:prstGeom prst="rect">
              <a:avLst/>
            </a:prstGeom>
            <a:noFill/>
          </p:spPr>
          <p:txBody>
            <a:bodyPr wrap="square" rtlCol="0">
              <a:spAutoFit/>
            </a:bodyPr>
            <a:lstStyle/>
            <a:p>
              <a:pPr algn="ctr">
                <a:spcAft>
                  <a:spcPts val="600"/>
                </a:spcAft>
                <a:buClr>
                  <a:srgbClr val="FFFFFF"/>
                </a:buClr>
              </a:pPr>
              <a:r>
                <a:rPr lang="en-US" sz="900" i="1" dirty="0">
                  <a:solidFill>
                    <a:srgbClr val="000000"/>
                  </a:solidFill>
                </a:rPr>
                <a:t>Development sprints along with unit and integration testing</a:t>
              </a:r>
            </a:p>
          </p:txBody>
        </p:sp>
        <p:pic>
          <p:nvPicPr>
            <p:cNvPr id="134" name="Picture 3">
              <a:extLst>
                <a:ext uri="{FF2B5EF4-FFF2-40B4-BE49-F238E27FC236}">
                  <a16:creationId xmlns:a16="http://schemas.microsoft.com/office/drawing/2014/main" id="{BBBC06EE-E912-41B2-D3FA-129AF40D8195}"/>
                </a:ext>
              </a:extLst>
            </p:cNvPr>
            <p:cNvPicPr>
              <a:picLocks noChangeAspect="1" noChangeArrowheads="1"/>
            </p:cNvPicPr>
            <p:nvPr/>
          </p:nvPicPr>
          <p:blipFill>
            <a:blip r:embed="rId3" cstate="email">
              <a:duotone>
                <a:srgbClr val="00A1DE">
                  <a:shade val="45000"/>
                  <a:satMod val="135000"/>
                </a:srgbClr>
                <a:prstClr val="white"/>
              </a:duotone>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5773150" y="2729083"/>
              <a:ext cx="697761" cy="6477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35" name="Picture 3">
              <a:extLst>
                <a:ext uri="{FF2B5EF4-FFF2-40B4-BE49-F238E27FC236}">
                  <a16:creationId xmlns:a16="http://schemas.microsoft.com/office/drawing/2014/main" id="{7F562257-79C9-5A00-0887-A3C63DE3ECB8}"/>
                </a:ext>
              </a:extLst>
            </p:cNvPr>
            <p:cNvPicPr>
              <a:picLocks noChangeAspect="1" noChangeArrowheads="1"/>
            </p:cNvPicPr>
            <p:nvPr/>
          </p:nvPicPr>
          <p:blipFill>
            <a:blip r:embed="rId3" cstate="email">
              <a:duotone>
                <a:srgbClr val="00A1DE">
                  <a:shade val="45000"/>
                  <a:satMod val="135000"/>
                </a:srgbClr>
                <a:prstClr val="white"/>
              </a:duotone>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6723999" y="2902764"/>
              <a:ext cx="697761" cy="6477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36" name="Picture 3">
              <a:extLst>
                <a:ext uri="{FF2B5EF4-FFF2-40B4-BE49-F238E27FC236}">
                  <a16:creationId xmlns:a16="http://schemas.microsoft.com/office/drawing/2014/main" id="{C8480B5F-0E7F-0D97-5428-D350DEC39E48}"/>
                </a:ext>
              </a:extLst>
            </p:cNvPr>
            <p:cNvPicPr>
              <a:picLocks noChangeAspect="1" noChangeArrowheads="1"/>
            </p:cNvPicPr>
            <p:nvPr/>
          </p:nvPicPr>
          <p:blipFill>
            <a:blip r:embed="rId3" cstate="email">
              <a:duotone>
                <a:srgbClr val="00A1DE">
                  <a:shade val="45000"/>
                  <a:satMod val="135000"/>
                </a:srgbClr>
                <a:prstClr val="white"/>
              </a:duotone>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7674849" y="3076446"/>
              <a:ext cx="697761" cy="6477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7" name="TextBox 136">
              <a:extLst>
                <a:ext uri="{FF2B5EF4-FFF2-40B4-BE49-F238E27FC236}">
                  <a16:creationId xmlns:a16="http://schemas.microsoft.com/office/drawing/2014/main" id="{5A3801BB-C25D-F692-E8C2-808059E19B60}"/>
                </a:ext>
              </a:extLst>
            </p:cNvPr>
            <p:cNvSpPr txBox="1"/>
            <p:nvPr/>
          </p:nvSpPr>
          <p:spPr>
            <a:xfrm>
              <a:off x="5809939" y="3288409"/>
              <a:ext cx="610172" cy="215444"/>
            </a:xfrm>
            <a:prstGeom prst="rect">
              <a:avLst/>
            </a:prstGeom>
            <a:noFill/>
          </p:spPr>
          <p:txBody>
            <a:bodyPr wrap="square" rtlCol="0">
              <a:spAutoFit/>
            </a:bodyPr>
            <a:lstStyle/>
            <a:p>
              <a:pPr algn="ctr"/>
              <a:r>
                <a:rPr lang="en-US" sz="700" i="1" dirty="0">
                  <a:solidFill>
                    <a:srgbClr val="000000"/>
                  </a:solidFill>
                </a:rPr>
                <a:t>Sprint 1</a:t>
              </a:r>
            </a:p>
          </p:txBody>
        </p:sp>
        <p:sp>
          <p:nvSpPr>
            <p:cNvPr id="138" name="TextBox 137">
              <a:extLst>
                <a:ext uri="{FF2B5EF4-FFF2-40B4-BE49-F238E27FC236}">
                  <a16:creationId xmlns:a16="http://schemas.microsoft.com/office/drawing/2014/main" id="{EEB28605-5E19-49EA-2523-CD0D8D500475}"/>
                </a:ext>
              </a:extLst>
            </p:cNvPr>
            <p:cNvSpPr txBox="1"/>
            <p:nvPr/>
          </p:nvSpPr>
          <p:spPr>
            <a:xfrm>
              <a:off x="6767793" y="3470633"/>
              <a:ext cx="610172" cy="215444"/>
            </a:xfrm>
            <a:prstGeom prst="rect">
              <a:avLst/>
            </a:prstGeom>
            <a:noFill/>
          </p:spPr>
          <p:txBody>
            <a:bodyPr wrap="square" rtlCol="0">
              <a:spAutoFit/>
            </a:bodyPr>
            <a:lstStyle/>
            <a:p>
              <a:pPr algn="ctr"/>
              <a:r>
                <a:rPr lang="en-US" sz="700" i="1" dirty="0">
                  <a:solidFill>
                    <a:srgbClr val="000000"/>
                  </a:solidFill>
                </a:rPr>
                <a:t>Sprint 2</a:t>
              </a:r>
            </a:p>
          </p:txBody>
        </p:sp>
        <p:sp>
          <p:nvSpPr>
            <p:cNvPr id="139" name="TextBox 138">
              <a:extLst>
                <a:ext uri="{FF2B5EF4-FFF2-40B4-BE49-F238E27FC236}">
                  <a16:creationId xmlns:a16="http://schemas.microsoft.com/office/drawing/2014/main" id="{B43BB99E-3434-BDA7-9A86-58C0CB6EC8A1}"/>
                </a:ext>
              </a:extLst>
            </p:cNvPr>
            <p:cNvSpPr txBox="1"/>
            <p:nvPr/>
          </p:nvSpPr>
          <p:spPr>
            <a:xfrm>
              <a:off x="7729213" y="3613321"/>
              <a:ext cx="610172" cy="215444"/>
            </a:xfrm>
            <a:prstGeom prst="rect">
              <a:avLst/>
            </a:prstGeom>
            <a:noFill/>
          </p:spPr>
          <p:txBody>
            <a:bodyPr wrap="square" rtlCol="0">
              <a:spAutoFit/>
            </a:bodyPr>
            <a:lstStyle/>
            <a:p>
              <a:pPr algn="ctr"/>
              <a:r>
                <a:rPr lang="en-US" sz="700" i="1" dirty="0">
                  <a:solidFill>
                    <a:srgbClr val="000000"/>
                  </a:solidFill>
                </a:rPr>
                <a:t>Sprint3</a:t>
              </a:r>
            </a:p>
          </p:txBody>
        </p:sp>
        <p:sp>
          <p:nvSpPr>
            <p:cNvPr id="140" name="Pentagon 133">
              <a:extLst>
                <a:ext uri="{FF2B5EF4-FFF2-40B4-BE49-F238E27FC236}">
                  <a16:creationId xmlns:a16="http://schemas.microsoft.com/office/drawing/2014/main" id="{73E474EF-7DA1-468B-3C53-AF8946C8B5BA}"/>
                </a:ext>
              </a:extLst>
            </p:cNvPr>
            <p:cNvSpPr/>
            <p:nvPr/>
          </p:nvSpPr>
          <p:spPr>
            <a:xfrm>
              <a:off x="3001156" y="5210797"/>
              <a:ext cx="1828800" cy="272621"/>
            </a:xfrm>
            <a:prstGeom prst="homePlate">
              <a:avLst/>
            </a:prstGeom>
            <a:solidFill>
              <a:schemeClr val="accent6">
                <a:lumMod val="20000"/>
                <a:lumOff val="80000"/>
              </a:schemeClr>
            </a:solidFill>
            <a:ln w="12700" cap="flat" cmpd="sng" algn="ctr">
              <a:solidFill>
                <a:sysClr val="window" lastClr="FFFFFF"/>
              </a:solidFill>
              <a:prstDash val="solid"/>
            </a:ln>
            <a:effectLst/>
          </p:spPr>
          <p:txBody>
            <a:bodyPr lIns="0" tIns="45713" rIns="0" bIns="45713" rtlCol="0" anchor="ctr"/>
            <a:lstStyle/>
            <a:p>
              <a:pPr algn="ctr" defTabSz="1463040"/>
              <a:r>
                <a:rPr lang="en-US" sz="800" b="1" kern="0" dirty="0">
                  <a:solidFill>
                    <a:srgbClr val="000000"/>
                  </a:solidFill>
                </a:rPr>
                <a:t>Design</a:t>
              </a:r>
            </a:p>
          </p:txBody>
        </p:sp>
        <p:sp>
          <p:nvSpPr>
            <p:cNvPr id="141" name="Chevron 136">
              <a:extLst>
                <a:ext uri="{FF2B5EF4-FFF2-40B4-BE49-F238E27FC236}">
                  <a16:creationId xmlns:a16="http://schemas.microsoft.com/office/drawing/2014/main" id="{1BA7E22D-3260-4881-345B-2A1389481ACA}"/>
                </a:ext>
              </a:extLst>
            </p:cNvPr>
            <p:cNvSpPr/>
            <p:nvPr/>
          </p:nvSpPr>
          <p:spPr>
            <a:xfrm>
              <a:off x="4814756" y="5210797"/>
              <a:ext cx="1828800" cy="272621"/>
            </a:xfrm>
            <a:prstGeom prst="chevron">
              <a:avLst/>
            </a:prstGeom>
            <a:solidFill>
              <a:schemeClr val="accent6">
                <a:lumMod val="20000"/>
                <a:lumOff val="80000"/>
              </a:schemeClr>
            </a:solidFill>
            <a:ln w="12700" cap="flat" cmpd="sng" algn="ctr">
              <a:solidFill>
                <a:sysClr val="window" lastClr="FFFFFF"/>
              </a:solidFill>
              <a:prstDash val="solid"/>
            </a:ln>
            <a:effectLst/>
          </p:spPr>
          <p:txBody>
            <a:bodyPr lIns="0" tIns="45713" rIns="0" bIns="45713" rtlCol="0" anchor="ctr"/>
            <a:lstStyle/>
            <a:p>
              <a:pPr algn="ctr" defTabSz="1463040"/>
              <a:r>
                <a:rPr lang="en-US" sz="800" b="1" kern="0" dirty="0">
                  <a:solidFill>
                    <a:srgbClr val="000000"/>
                  </a:solidFill>
                </a:rPr>
                <a:t>Develop &amp; Unit Test</a:t>
              </a:r>
            </a:p>
          </p:txBody>
        </p:sp>
        <p:sp>
          <p:nvSpPr>
            <p:cNvPr id="142" name="Chevron 137">
              <a:extLst>
                <a:ext uri="{FF2B5EF4-FFF2-40B4-BE49-F238E27FC236}">
                  <a16:creationId xmlns:a16="http://schemas.microsoft.com/office/drawing/2014/main" id="{2DF2047F-D695-7B9A-A7AA-C09B110E56C0}"/>
                </a:ext>
              </a:extLst>
            </p:cNvPr>
            <p:cNvSpPr/>
            <p:nvPr/>
          </p:nvSpPr>
          <p:spPr>
            <a:xfrm>
              <a:off x="6628356" y="5210797"/>
              <a:ext cx="1680873" cy="272621"/>
            </a:xfrm>
            <a:prstGeom prst="chevron">
              <a:avLst/>
            </a:prstGeom>
            <a:solidFill>
              <a:schemeClr val="accent6">
                <a:lumMod val="20000"/>
                <a:lumOff val="80000"/>
              </a:schemeClr>
            </a:solidFill>
            <a:ln w="12700" cap="flat" cmpd="sng" algn="ctr">
              <a:solidFill>
                <a:sysClr val="window" lastClr="FFFFFF"/>
              </a:solidFill>
              <a:prstDash val="solid"/>
            </a:ln>
            <a:effectLst/>
          </p:spPr>
          <p:txBody>
            <a:bodyPr lIns="0" tIns="45713" rIns="0" bIns="45713" rtlCol="0" anchor="ctr"/>
            <a:lstStyle/>
            <a:p>
              <a:pPr algn="ctr" defTabSz="1463040"/>
              <a:r>
                <a:rPr lang="en-US" sz="800" b="1" kern="0" dirty="0">
                  <a:solidFill>
                    <a:srgbClr val="000000"/>
                  </a:solidFill>
                </a:rPr>
                <a:t>Branch/Merge</a:t>
              </a:r>
            </a:p>
          </p:txBody>
        </p:sp>
        <p:grpSp>
          <p:nvGrpSpPr>
            <p:cNvPr id="143" name="Group 142">
              <a:extLst>
                <a:ext uri="{FF2B5EF4-FFF2-40B4-BE49-F238E27FC236}">
                  <a16:creationId xmlns:a16="http://schemas.microsoft.com/office/drawing/2014/main" id="{D85AC96B-6AC7-EE9F-F655-381096B446E5}"/>
                </a:ext>
              </a:extLst>
            </p:cNvPr>
            <p:cNvGrpSpPr>
              <a:grpSpLocks noChangeAspect="1"/>
            </p:cNvGrpSpPr>
            <p:nvPr/>
          </p:nvGrpSpPr>
          <p:grpSpPr>
            <a:xfrm>
              <a:off x="10948559" y="2092253"/>
              <a:ext cx="310419" cy="310419"/>
              <a:chOff x="8474076" y="4999038"/>
              <a:chExt cx="522288" cy="522288"/>
            </a:xfrm>
          </p:grpSpPr>
          <p:sp>
            <p:nvSpPr>
              <p:cNvPr id="260" name="Freeform 83">
                <a:extLst>
                  <a:ext uri="{FF2B5EF4-FFF2-40B4-BE49-F238E27FC236}">
                    <a16:creationId xmlns:a16="http://schemas.microsoft.com/office/drawing/2014/main" id="{6B0F40A2-41FD-6137-BE74-26A63711D6E3}"/>
                  </a:ext>
                </a:extLst>
              </p:cNvPr>
              <p:cNvSpPr>
                <a:spLocks noEditPoints="1"/>
              </p:cNvSpPr>
              <p:nvPr/>
            </p:nvSpPr>
            <p:spPr bwMode="auto">
              <a:xfrm>
                <a:off x="8474076" y="4999038"/>
                <a:ext cx="522288" cy="522288"/>
              </a:xfrm>
              <a:custGeom>
                <a:avLst/>
                <a:gdLst>
                  <a:gd name="T0" fmla="*/ 313 w 658"/>
                  <a:gd name="T1" fmla="*/ 657 h 658"/>
                  <a:gd name="T2" fmla="*/ 263 w 658"/>
                  <a:gd name="T3" fmla="*/ 652 h 658"/>
                  <a:gd name="T4" fmla="*/ 201 w 658"/>
                  <a:gd name="T5" fmla="*/ 632 h 658"/>
                  <a:gd name="T6" fmla="*/ 121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2 h 658"/>
                  <a:gd name="T22" fmla="*/ 96 w 658"/>
                  <a:gd name="T23" fmla="*/ 97 h 658"/>
                  <a:gd name="T24" fmla="*/ 173 w 658"/>
                  <a:gd name="T25" fmla="*/ 41 h 658"/>
                  <a:gd name="T26" fmla="*/ 247 w 658"/>
                  <a:gd name="T27" fmla="*/ 11 h 658"/>
                  <a:gd name="T28" fmla="*/ 295 w 658"/>
                  <a:gd name="T29" fmla="*/ 2 h 658"/>
                  <a:gd name="T30" fmla="*/ 329 w 658"/>
                  <a:gd name="T31" fmla="*/ 0 h 658"/>
                  <a:gd name="T32" fmla="*/ 378 w 658"/>
                  <a:gd name="T33" fmla="*/ 4 h 658"/>
                  <a:gd name="T34" fmla="*/ 427 w 658"/>
                  <a:gd name="T35" fmla="*/ 15 h 658"/>
                  <a:gd name="T36" fmla="*/ 513 w 658"/>
                  <a:gd name="T37" fmla="*/ 57 h 658"/>
                  <a:gd name="T38" fmla="*/ 583 w 658"/>
                  <a:gd name="T39" fmla="*/ 120 h 658"/>
                  <a:gd name="T40" fmla="*/ 632 w 658"/>
                  <a:gd name="T41" fmla="*/ 202 h 658"/>
                  <a:gd name="T42" fmla="*/ 651 w 658"/>
                  <a:gd name="T43" fmla="*/ 264 h 658"/>
                  <a:gd name="T44" fmla="*/ 658 w 658"/>
                  <a:gd name="T45" fmla="*/ 312 h 658"/>
                  <a:gd name="T46" fmla="*/ 658 w 658"/>
                  <a:gd name="T47" fmla="*/ 347 h 658"/>
                  <a:gd name="T48" fmla="*/ 651 w 658"/>
                  <a:gd name="T49" fmla="*/ 395 h 658"/>
                  <a:gd name="T50" fmla="*/ 632 w 658"/>
                  <a:gd name="T51" fmla="*/ 457 h 658"/>
                  <a:gd name="T52" fmla="*/ 583 w 658"/>
                  <a:gd name="T53" fmla="*/ 539 h 658"/>
                  <a:gd name="T54" fmla="*/ 513 w 658"/>
                  <a:gd name="T55" fmla="*/ 602 h 658"/>
                  <a:gd name="T56" fmla="*/ 427 w 658"/>
                  <a:gd name="T57" fmla="*/ 644 h 658"/>
                  <a:gd name="T58" fmla="*/ 378 w 658"/>
                  <a:gd name="T59" fmla="*/ 654 h 658"/>
                  <a:gd name="T60" fmla="*/ 329 w 658"/>
                  <a:gd name="T61" fmla="*/ 658 h 658"/>
                  <a:gd name="T62" fmla="*/ 329 w 658"/>
                  <a:gd name="T63" fmla="*/ 38 h 658"/>
                  <a:gd name="T64" fmla="*/ 243 w 658"/>
                  <a:gd name="T65" fmla="*/ 51 h 658"/>
                  <a:gd name="T66" fmla="*/ 166 w 658"/>
                  <a:gd name="T67" fmla="*/ 88 h 658"/>
                  <a:gd name="T68" fmla="*/ 104 w 658"/>
                  <a:gd name="T69" fmla="*/ 144 h 658"/>
                  <a:gd name="T70" fmla="*/ 61 w 658"/>
                  <a:gd name="T71" fmla="*/ 216 h 658"/>
                  <a:gd name="T72" fmla="*/ 40 w 658"/>
                  <a:gd name="T73" fmla="*/ 300 h 658"/>
                  <a:gd name="T74" fmla="*/ 40 w 658"/>
                  <a:gd name="T75" fmla="*/ 359 h 658"/>
                  <a:gd name="T76" fmla="*/ 61 w 658"/>
                  <a:gd name="T77" fmla="*/ 442 h 658"/>
                  <a:gd name="T78" fmla="*/ 104 w 658"/>
                  <a:gd name="T79" fmla="*/ 515 h 658"/>
                  <a:gd name="T80" fmla="*/ 166 w 658"/>
                  <a:gd name="T81" fmla="*/ 571 h 658"/>
                  <a:gd name="T82" fmla="*/ 243 w 658"/>
                  <a:gd name="T83" fmla="*/ 607 h 658"/>
                  <a:gd name="T84" fmla="*/ 329 w 658"/>
                  <a:gd name="T85" fmla="*/ 621 h 658"/>
                  <a:gd name="T86" fmla="*/ 388 w 658"/>
                  <a:gd name="T87" fmla="*/ 614 h 658"/>
                  <a:gd name="T88" fmla="*/ 467 w 658"/>
                  <a:gd name="T89" fmla="*/ 585 h 658"/>
                  <a:gd name="T90" fmla="*/ 534 w 658"/>
                  <a:gd name="T91" fmla="*/ 535 h 658"/>
                  <a:gd name="T92" fmla="*/ 585 w 658"/>
                  <a:gd name="T93" fmla="*/ 468 h 658"/>
                  <a:gd name="T94" fmla="*/ 615 w 658"/>
                  <a:gd name="T95" fmla="*/ 388 h 658"/>
                  <a:gd name="T96" fmla="*/ 620 w 658"/>
                  <a:gd name="T97" fmla="*/ 329 h 658"/>
                  <a:gd name="T98" fmla="*/ 607 w 658"/>
                  <a:gd name="T99" fmla="*/ 243 h 658"/>
                  <a:gd name="T100" fmla="*/ 571 w 658"/>
                  <a:gd name="T101" fmla="*/ 167 h 658"/>
                  <a:gd name="T102" fmla="*/ 514 w 658"/>
                  <a:gd name="T103" fmla="*/ 105 h 658"/>
                  <a:gd name="T104" fmla="*/ 443 w 658"/>
                  <a:gd name="T105" fmla="*/ 61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6"/>
                    </a:lnTo>
                    <a:lnTo>
                      <a:pt x="279" y="654"/>
                    </a:lnTo>
                    <a:lnTo>
                      <a:pt x="263" y="652"/>
                    </a:lnTo>
                    <a:lnTo>
                      <a:pt x="247" y="648"/>
                    </a:lnTo>
                    <a:lnTo>
                      <a:pt x="232" y="644"/>
                    </a:lnTo>
                    <a:lnTo>
                      <a:pt x="201" y="632"/>
                    </a:lnTo>
                    <a:lnTo>
                      <a:pt x="173" y="618"/>
                    </a:lnTo>
                    <a:lnTo>
                      <a:pt x="145" y="602"/>
                    </a:lnTo>
                    <a:lnTo>
                      <a:pt x="121" y="583"/>
                    </a:lnTo>
                    <a:lnTo>
                      <a:pt x="96" y="562"/>
                    </a:lnTo>
                    <a:lnTo>
                      <a:pt x="75" y="539"/>
                    </a:lnTo>
                    <a:lnTo>
                      <a:pt x="56" y="513"/>
                    </a:lnTo>
                    <a:lnTo>
                      <a:pt x="40" y="486"/>
                    </a:lnTo>
                    <a:lnTo>
                      <a:pt x="27" y="457"/>
                    </a:lnTo>
                    <a:lnTo>
                      <a:pt x="14" y="427"/>
                    </a:lnTo>
                    <a:lnTo>
                      <a:pt x="10" y="411"/>
                    </a:lnTo>
                    <a:lnTo>
                      <a:pt x="6" y="395"/>
                    </a:lnTo>
                    <a:lnTo>
                      <a:pt x="4" y="379"/>
                    </a:lnTo>
                    <a:lnTo>
                      <a:pt x="2" y="363"/>
                    </a:lnTo>
                    <a:lnTo>
                      <a:pt x="1" y="347"/>
                    </a:lnTo>
                    <a:lnTo>
                      <a:pt x="0" y="329"/>
                    </a:lnTo>
                    <a:lnTo>
                      <a:pt x="0" y="329"/>
                    </a:lnTo>
                    <a:lnTo>
                      <a:pt x="1" y="312"/>
                    </a:lnTo>
                    <a:lnTo>
                      <a:pt x="2" y="296"/>
                    </a:lnTo>
                    <a:lnTo>
                      <a:pt x="4" y="280"/>
                    </a:lnTo>
                    <a:lnTo>
                      <a:pt x="6" y="264"/>
                    </a:lnTo>
                    <a:lnTo>
                      <a:pt x="10" y="247"/>
                    </a:lnTo>
                    <a:lnTo>
                      <a:pt x="14" y="231"/>
                    </a:lnTo>
                    <a:lnTo>
                      <a:pt x="27" y="202"/>
                    </a:lnTo>
                    <a:lnTo>
                      <a:pt x="40" y="172"/>
                    </a:lnTo>
                    <a:lnTo>
                      <a:pt x="56" y="145"/>
                    </a:lnTo>
                    <a:lnTo>
                      <a:pt x="75" y="120"/>
                    </a:lnTo>
                    <a:lnTo>
                      <a:pt x="96" y="97"/>
                    </a:lnTo>
                    <a:lnTo>
                      <a:pt x="121" y="75"/>
                    </a:lnTo>
                    <a:lnTo>
                      <a:pt x="145" y="57"/>
                    </a:lnTo>
                    <a:lnTo>
                      <a:pt x="173" y="41"/>
                    </a:lnTo>
                    <a:lnTo>
                      <a:pt x="201" y="26"/>
                    </a:lnTo>
                    <a:lnTo>
                      <a:pt x="232" y="15"/>
                    </a:lnTo>
                    <a:lnTo>
                      <a:pt x="247" y="11"/>
                    </a:lnTo>
                    <a:lnTo>
                      <a:pt x="263" y="7"/>
                    </a:lnTo>
                    <a:lnTo>
                      <a:pt x="279" y="4"/>
                    </a:lnTo>
                    <a:lnTo>
                      <a:pt x="295" y="2"/>
                    </a:lnTo>
                    <a:lnTo>
                      <a:pt x="313" y="0"/>
                    </a:lnTo>
                    <a:lnTo>
                      <a:pt x="329" y="0"/>
                    </a:lnTo>
                    <a:lnTo>
                      <a:pt x="329" y="0"/>
                    </a:lnTo>
                    <a:lnTo>
                      <a:pt x="346" y="0"/>
                    </a:lnTo>
                    <a:lnTo>
                      <a:pt x="362" y="2"/>
                    </a:lnTo>
                    <a:lnTo>
                      <a:pt x="378" y="4"/>
                    </a:lnTo>
                    <a:lnTo>
                      <a:pt x="395" y="7"/>
                    </a:lnTo>
                    <a:lnTo>
                      <a:pt x="411" y="11"/>
                    </a:lnTo>
                    <a:lnTo>
                      <a:pt x="427" y="15"/>
                    </a:lnTo>
                    <a:lnTo>
                      <a:pt x="456" y="26"/>
                    </a:lnTo>
                    <a:lnTo>
                      <a:pt x="486" y="41"/>
                    </a:lnTo>
                    <a:lnTo>
                      <a:pt x="513" y="57"/>
                    </a:lnTo>
                    <a:lnTo>
                      <a:pt x="538" y="75"/>
                    </a:lnTo>
                    <a:lnTo>
                      <a:pt x="561" y="97"/>
                    </a:lnTo>
                    <a:lnTo>
                      <a:pt x="583" y="120"/>
                    </a:lnTo>
                    <a:lnTo>
                      <a:pt x="601" y="145"/>
                    </a:lnTo>
                    <a:lnTo>
                      <a:pt x="618" y="172"/>
                    </a:lnTo>
                    <a:lnTo>
                      <a:pt x="632" y="202"/>
                    </a:lnTo>
                    <a:lnTo>
                      <a:pt x="643" y="231"/>
                    </a:lnTo>
                    <a:lnTo>
                      <a:pt x="647" y="247"/>
                    </a:lnTo>
                    <a:lnTo>
                      <a:pt x="651" y="264"/>
                    </a:lnTo>
                    <a:lnTo>
                      <a:pt x="654" y="280"/>
                    </a:lnTo>
                    <a:lnTo>
                      <a:pt x="657" y="296"/>
                    </a:lnTo>
                    <a:lnTo>
                      <a:pt x="658" y="312"/>
                    </a:lnTo>
                    <a:lnTo>
                      <a:pt x="658" y="329"/>
                    </a:lnTo>
                    <a:lnTo>
                      <a:pt x="658" y="329"/>
                    </a:lnTo>
                    <a:lnTo>
                      <a:pt x="658" y="347"/>
                    </a:lnTo>
                    <a:lnTo>
                      <a:pt x="657" y="363"/>
                    </a:lnTo>
                    <a:lnTo>
                      <a:pt x="654" y="379"/>
                    </a:lnTo>
                    <a:lnTo>
                      <a:pt x="651" y="395"/>
                    </a:lnTo>
                    <a:lnTo>
                      <a:pt x="647" y="411"/>
                    </a:lnTo>
                    <a:lnTo>
                      <a:pt x="643" y="427"/>
                    </a:lnTo>
                    <a:lnTo>
                      <a:pt x="632" y="457"/>
                    </a:lnTo>
                    <a:lnTo>
                      <a:pt x="618" y="486"/>
                    </a:lnTo>
                    <a:lnTo>
                      <a:pt x="601" y="513"/>
                    </a:lnTo>
                    <a:lnTo>
                      <a:pt x="583" y="539"/>
                    </a:lnTo>
                    <a:lnTo>
                      <a:pt x="561" y="562"/>
                    </a:lnTo>
                    <a:lnTo>
                      <a:pt x="538" y="583"/>
                    </a:lnTo>
                    <a:lnTo>
                      <a:pt x="513" y="602"/>
                    </a:lnTo>
                    <a:lnTo>
                      <a:pt x="486" y="618"/>
                    </a:lnTo>
                    <a:lnTo>
                      <a:pt x="456" y="632"/>
                    </a:lnTo>
                    <a:lnTo>
                      <a:pt x="427" y="644"/>
                    </a:lnTo>
                    <a:lnTo>
                      <a:pt x="411" y="648"/>
                    </a:lnTo>
                    <a:lnTo>
                      <a:pt x="395" y="652"/>
                    </a:lnTo>
                    <a:lnTo>
                      <a:pt x="378" y="654"/>
                    </a:lnTo>
                    <a:lnTo>
                      <a:pt x="362" y="656"/>
                    </a:lnTo>
                    <a:lnTo>
                      <a:pt x="346" y="657"/>
                    </a:lnTo>
                    <a:lnTo>
                      <a:pt x="329" y="658"/>
                    </a:lnTo>
                    <a:lnTo>
                      <a:pt x="329" y="658"/>
                    </a:lnTo>
                    <a:close/>
                    <a:moveTo>
                      <a:pt x="329" y="38"/>
                    </a:moveTo>
                    <a:lnTo>
                      <a:pt x="329" y="38"/>
                    </a:lnTo>
                    <a:lnTo>
                      <a:pt x="299" y="39"/>
                    </a:lnTo>
                    <a:lnTo>
                      <a:pt x="271" y="45"/>
                    </a:lnTo>
                    <a:lnTo>
                      <a:pt x="243" y="51"/>
                    </a:lnTo>
                    <a:lnTo>
                      <a:pt x="216" y="61"/>
                    </a:lnTo>
                    <a:lnTo>
                      <a:pt x="190" y="73"/>
                    </a:lnTo>
                    <a:lnTo>
                      <a:pt x="166" y="88"/>
                    </a:lnTo>
                    <a:lnTo>
                      <a:pt x="143" y="105"/>
                    </a:lnTo>
                    <a:lnTo>
                      <a:pt x="123" y="124"/>
                    </a:lnTo>
                    <a:lnTo>
                      <a:pt x="104" y="144"/>
                    </a:lnTo>
                    <a:lnTo>
                      <a:pt x="88" y="167"/>
                    </a:lnTo>
                    <a:lnTo>
                      <a:pt x="74" y="191"/>
                    </a:lnTo>
                    <a:lnTo>
                      <a:pt x="61" y="216"/>
                    </a:lnTo>
                    <a:lnTo>
                      <a:pt x="51" y="243"/>
                    </a:lnTo>
                    <a:lnTo>
                      <a:pt x="44" y="270"/>
                    </a:lnTo>
                    <a:lnTo>
                      <a:pt x="40" y="300"/>
                    </a:lnTo>
                    <a:lnTo>
                      <a:pt x="37" y="329"/>
                    </a:lnTo>
                    <a:lnTo>
                      <a:pt x="37" y="329"/>
                    </a:lnTo>
                    <a:lnTo>
                      <a:pt x="40" y="359"/>
                    </a:lnTo>
                    <a:lnTo>
                      <a:pt x="44" y="388"/>
                    </a:lnTo>
                    <a:lnTo>
                      <a:pt x="51" y="415"/>
                    </a:lnTo>
                    <a:lnTo>
                      <a:pt x="61" y="442"/>
                    </a:lnTo>
                    <a:lnTo>
                      <a:pt x="74" y="468"/>
                    </a:lnTo>
                    <a:lnTo>
                      <a:pt x="88" y="492"/>
                    </a:lnTo>
                    <a:lnTo>
                      <a:pt x="104" y="515"/>
                    </a:lnTo>
                    <a:lnTo>
                      <a:pt x="123" y="535"/>
                    </a:lnTo>
                    <a:lnTo>
                      <a:pt x="143" y="554"/>
                    </a:lnTo>
                    <a:lnTo>
                      <a:pt x="166" y="571"/>
                    </a:lnTo>
                    <a:lnTo>
                      <a:pt x="190" y="585"/>
                    </a:lnTo>
                    <a:lnTo>
                      <a:pt x="216" y="598"/>
                    </a:lnTo>
                    <a:lnTo>
                      <a:pt x="243" y="607"/>
                    </a:lnTo>
                    <a:lnTo>
                      <a:pt x="271" y="614"/>
                    </a:lnTo>
                    <a:lnTo>
                      <a:pt x="299" y="619"/>
                    </a:lnTo>
                    <a:lnTo>
                      <a:pt x="329" y="621"/>
                    </a:lnTo>
                    <a:lnTo>
                      <a:pt x="329" y="621"/>
                    </a:lnTo>
                    <a:lnTo>
                      <a:pt x="358" y="619"/>
                    </a:lnTo>
                    <a:lnTo>
                      <a:pt x="388" y="614"/>
                    </a:lnTo>
                    <a:lnTo>
                      <a:pt x="416" y="607"/>
                    </a:lnTo>
                    <a:lnTo>
                      <a:pt x="443" y="598"/>
                    </a:lnTo>
                    <a:lnTo>
                      <a:pt x="467" y="585"/>
                    </a:lnTo>
                    <a:lnTo>
                      <a:pt x="491" y="571"/>
                    </a:lnTo>
                    <a:lnTo>
                      <a:pt x="514" y="554"/>
                    </a:lnTo>
                    <a:lnTo>
                      <a:pt x="534" y="535"/>
                    </a:lnTo>
                    <a:lnTo>
                      <a:pt x="553" y="515"/>
                    </a:lnTo>
                    <a:lnTo>
                      <a:pt x="571" y="492"/>
                    </a:lnTo>
                    <a:lnTo>
                      <a:pt x="585" y="468"/>
                    </a:lnTo>
                    <a:lnTo>
                      <a:pt x="597" y="442"/>
                    </a:lnTo>
                    <a:lnTo>
                      <a:pt x="607" y="415"/>
                    </a:lnTo>
                    <a:lnTo>
                      <a:pt x="615" y="388"/>
                    </a:lnTo>
                    <a:lnTo>
                      <a:pt x="619" y="359"/>
                    </a:lnTo>
                    <a:lnTo>
                      <a:pt x="620" y="329"/>
                    </a:lnTo>
                    <a:lnTo>
                      <a:pt x="620" y="329"/>
                    </a:lnTo>
                    <a:lnTo>
                      <a:pt x="619" y="300"/>
                    </a:lnTo>
                    <a:lnTo>
                      <a:pt x="615" y="270"/>
                    </a:lnTo>
                    <a:lnTo>
                      <a:pt x="607" y="243"/>
                    </a:lnTo>
                    <a:lnTo>
                      <a:pt x="597" y="216"/>
                    </a:lnTo>
                    <a:lnTo>
                      <a:pt x="585" y="191"/>
                    </a:lnTo>
                    <a:lnTo>
                      <a:pt x="571" y="167"/>
                    </a:lnTo>
                    <a:lnTo>
                      <a:pt x="553" y="144"/>
                    </a:lnTo>
                    <a:lnTo>
                      <a:pt x="534" y="124"/>
                    </a:lnTo>
                    <a:lnTo>
                      <a:pt x="514" y="105"/>
                    </a:lnTo>
                    <a:lnTo>
                      <a:pt x="491" y="88"/>
                    </a:lnTo>
                    <a:lnTo>
                      <a:pt x="467" y="73"/>
                    </a:lnTo>
                    <a:lnTo>
                      <a:pt x="443" y="61"/>
                    </a:lnTo>
                    <a:lnTo>
                      <a:pt x="416" y="51"/>
                    </a:lnTo>
                    <a:lnTo>
                      <a:pt x="388" y="45"/>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61" name="Freeform 312">
                <a:extLst>
                  <a:ext uri="{FF2B5EF4-FFF2-40B4-BE49-F238E27FC236}">
                    <a16:creationId xmlns:a16="http://schemas.microsoft.com/office/drawing/2014/main" id="{CB67F66F-9A86-A0A2-7B0F-6D096DDD2018}"/>
                  </a:ext>
                </a:extLst>
              </p:cNvPr>
              <p:cNvSpPr>
                <a:spLocks/>
              </p:cNvSpPr>
              <p:nvPr/>
            </p:nvSpPr>
            <p:spPr bwMode="auto">
              <a:xfrm>
                <a:off x="8747126" y="5146675"/>
                <a:ext cx="87313" cy="36513"/>
              </a:xfrm>
              <a:custGeom>
                <a:avLst/>
                <a:gdLst>
                  <a:gd name="T0" fmla="*/ 108 w 108"/>
                  <a:gd name="T1" fmla="*/ 47 h 47"/>
                  <a:gd name="T2" fmla="*/ 55 w 108"/>
                  <a:gd name="T3" fmla="*/ 1 h 47"/>
                  <a:gd name="T4" fmla="*/ 55 w 108"/>
                  <a:gd name="T5" fmla="*/ 1 h 47"/>
                  <a:gd name="T6" fmla="*/ 52 w 108"/>
                  <a:gd name="T7" fmla="*/ 0 h 47"/>
                  <a:gd name="T8" fmla="*/ 0 w 108"/>
                  <a:gd name="T9" fmla="*/ 0 h 47"/>
                  <a:gd name="T10" fmla="*/ 22 w 108"/>
                  <a:gd name="T11" fmla="*/ 47 h 47"/>
                  <a:gd name="T12" fmla="*/ 108 w 108"/>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108" h="47">
                    <a:moveTo>
                      <a:pt x="108" y="47"/>
                    </a:moveTo>
                    <a:lnTo>
                      <a:pt x="55" y="1"/>
                    </a:lnTo>
                    <a:lnTo>
                      <a:pt x="55" y="1"/>
                    </a:lnTo>
                    <a:lnTo>
                      <a:pt x="52" y="0"/>
                    </a:lnTo>
                    <a:lnTo>
                      <a:pt x="0" y="0"/>
                    </a:lnTo>
                    <a:lnTo>
                      <a:pt x="22" y="47"/>
                    </a:lnTo>
                    <a:lnTo>
                      <a:pt x="108"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62" name="Freeform 313">
                <a:extLst>
                  <a:ext uri="{FF2B5EF4-FFF2-40B4-BE49-F238E27FC236}">
                    <a16:creationId xmlns:a16="http://schemas.microsoft.com/office/drawing/2014/main" id="{7A75B8B8-6BF0-DA5C-08B7-01011B4AB28B}"/>
                  </a:ext>
                </a:extLst>
              </p:cNvPr>
              <p:cNvSpPr>
                <a:spLocks/>
              </p:cNvSpPr>
              <p:nvPr/>
            </p:nvSpPr>
            <p:spPr bwMode="auto">
              <a:xfrm>
                <a:off x="8642351" y="5199063"/>
                <a:ext cx="192088" cy="149225"/>
              </a:xfrm>
              <a:custGeom>
                <a:avLst/>
                <a:gdLst>
                  <a:gd name="T0" fmla="*/ 156 w 242"/>
                  <a:gd name="T1" fmla="*/ 0 h 188"/>
                  <a:gd name="T2" fmla="*/ 156 w 242"/>
                  <a:gd name="T3" fmla="*/ 75 h 188"/>
                  <a:gd name="T4" fmla="*/ 156 w 242"/>
                  <a:gd name="T5" fmla="*/ 75 h 188"/>
                  <a:gd name="T6" fmla="*/ 154 w 242"/>
                  <a:gd name="T7" fmla="*/ 78 h 188"/>
                  <a:gd name="T8" fmla="*/ 152 w 242"/>
                  <a:gd name="T9" fmla="*/ 79 h 188"/>
                  <a:gd name="T10" fmla="*/ 90 w 242"/>
                  <a:gd name="T11" fmla="*/ 79 h 188"/>
                  <a:gd name="T12" fmla="*/ 90 w 242"/>
                  <a:gd name="T13" fmla="*/ 79 h 188"/>
                  <a:gd name="T14" fmla="*/ 87 w 242"/>
                  <a:gd name="T15" fmla="*/ 78 h 188"/>
                  <a:gd name="T16" fmla="*/ 86 w 242"/>
                  <a:gd name="T17" fmla="*/ 75 h 188"/>
                  <a:gd name="T18" fmla="*/ 86 w 242"/>
                  <a:gd name="T19" fmla="*/ 0 h 188"/>
                  <a:gd name="T20" fmla="*/ 0 w 242"/>
                  <a:gd name="T21" fmla="*/ 0 h 188"/>
                  <a:gd name="T22" fmla="*/ 0 w 242"/>
                  <a:gd name="T23" fmla="*/ 184 h 188"/>
                  <a:gd name="T24" fmla="*/ 0 w 242"/>
                  <a:gd name="T25" fmla="*/ 184 h 188"/>
                  <a:gd name="T26" fmla="*/ 0 w 242"/>
                  <a:gd name="T27" fmla="*/ 188 h 188"/>
                  <a:gd name="T28" fmla="*/ 3 w 242"/>
                  <a:gd name="T29" fmla="*/ 188 h 188"/>
                  <a:gd name="T30" fmla="*/ 238 w 242"/>
                  <a:gd name="T31" fmla="*/ 188 h 188"/>
                  <a:gd name="T32" fmla="*/ 238 w 242"/>
                  <a:gd name="T33" fmla="*/ 188 h 188"/>
                  <a:gd name="T34" fmla="*/ 242 w 242"/>
                  <a:gd name="T35" fmla="*/ 188 h 188"/>
                  <a:gd name="T36" fmla="*/ 242 w 242"/>
                  <a:gd name="T37" fmla="*/ 184 h 188"/>
                  <a:gd name="T38" fmla="*/ 242 w 242"/>
                  <a:gd name="T39" fmla="*/ 0 h 188"/>
                  <a:gd name="T40" fmla="*/ 156 w 242"/>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 h="188">
                    <a:moveTo>
                      <a:pt x="156" y="0"/>
                    </a:moveTo>
                    <a:lnTo>
                      <a:pt x="156" y="75"/>
                    </a:lnTo>
                    <a:lnTo>
                      <a:pt x="156" y="75"/>
                    </a:lnTo>
                    <a:lnTo>
                      <a:pt x="154" y="78"/>
                    </a:lnTo>
                    <a:lnTo>
                      <a:pt x="152" y="79"/>
                    </a:lnTo>
                    <a:lnTo>
                      <a:pt x="90" y="79"/>
                    </a:lnTo>
                    <a:lnTo>
                      <a:pt x="90" y="79"/>
                    </a:lnTo>
                    <a:lnTo>
                      <a:pt x="87" y="78"/>
                    </a:lnTo>
                    <a:lnTo>
                      <a:pt x="86" y="75"/>
                    </a:lnTo>
                    <a:lnTo>
                      <a:pt x="86" y="0"/>
                    </a:lnTo>
                    <a:lnTo>
                      <a:pt x="0" y="0"/>
                    </a:lnTo>
                    <a:lnTo>
                      <a:pt x="0" y="184"/>
                    </a:lnTo>
                    <a:lnTo>
                      <a:pt x="0" y="184"/>
                    </a:lnTo>
                    <a:lnTo>
                      <a:pt x="0" y="188"/>
                    </a:lnTo>
                    <a:lnTo>
                      <a:pt x="3" y="188"/>
                    </a:lnTo>
                    <a:lnTo>
                      <a:pt x="238" y="188"/>
                    </a:lnTo>
                    <a:lnTo>
                      <a:pt x="238" y="188"/>
                    </a:lnTo>
                    <a:lnTo>
                      <a:pt x="242" y="188"/>
                    </a:lnTo>
                    <a:lnTo>
                      <a:pt x="242" y="184"/>
                    </a:lnTo>
                    <a:lnTo>
                      <a:pt x="242" y="0"/>
                    </a:lnTo>
                    <a:lnTo>
                      <a:pt x="1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63" name="Freeform 314">
                <a:extLst>
                  <a:ext uri="{FF2B5EF4-FFF2-40B4-BE49-F238E27FC236}">
                    <a16:creationId xmlns:a16="http://schemas.microsoft.com/office/drawing/2014/main" id="{D06DFB59-0237-AB1F-1E05-9CF9F1302D02}"/>
                  </a:ext>
                </a:extLst>
              </p:cNvPr>
              <p:cNvSpPr>
                <a:spLocks/>
              </p:cNvSpPr>
              <p:nvPr/>
            </p:nvSpPr>
            <p:spPr bwMode="auto">
              <a:xfrm>
                <a:off x="8643938" y="5146675"/>
                <a:ext cx="87313" cy="36513"/>
              </a:xfrm>
              <a:custGeom>
                <a:avLst/>
                <a:gdLst>
                  <a:gd name="T0" fmla="*/ 109 w 109"/>
                  <a:gd name="T1" fmla="*/ 0 h 47"/>
                  <a:gd name="T2" fmla="*/ 57 w 109"/>
                  <a:gd name="T3" fmla="*/ 0 h 47"/>
                  <a:gd name="T4" fmla="*/ 57 w 109"/>
                  <a:gd name="T5" fmla="*/ 0 h 47"/>
                  <a:gd name="T6" fmla="*/ 54 w 109"/>
                  <a:gd name="T7" fmla="*/ 1 h 47"/>
                  <a:gd name="T8" fmla="*/ 0 w 109"/>
                  <a:gd name="T9" fmla="*/ 47 h 47"/>
                  <a:gd name="T10" fmla="*/ 86 w 109"/>
                  <a:gd name="T11" fmla="*/ 47 h 47"/>
                  <a:gd name="T12" fmla="*/ 109 w 109"/>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9" h="47">
                    <a:moveTo>
                      <a:pt x="109" y="0"/>
                    </a:moveTo>
                    <a:lnTo>
                      <a:pt x="57" y="0"/>
                    </a:lnTo>
                    <a:lnTo>
                      <a:pt x="57" y="0"/>
                    </a:lnTo>
                    <a:lnTo>
                      <a:pt x="54" y="1"/>
                    </a:lnTo>
                    <a:lnTo>
                      <a:pt x="0" y="47"/>
                    </a:lnTo>
                    <a:lnTo>
                      <a:pt x="86" y="47"/>
                    </a:lnTo>
                    <a:lnTo>
                      <a:pt x="10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44" name="Group 143">
              <a:extLst>
                <a:ext uri="{FF2B5EF4-FFF2-40B4-BE49-F238E27FC236}">
                  <a16:creationId xmlns:a16="http://schemas.microsoft.com/office/drawing/2014/main" id="{743939C5-AED5-80C8-1959-42B42D2DD6B9}"/>
                </a:ext>
              </a:extLst>
            </p:cNvPr>
            <p:cNvGrpSpPr>
              <a:grpSpLocks noChangeAspect="1"/>
            </p:cNvGrpSpPr>
            <p:nvPr/>
          </p:nvGrpSpPr>
          <p:grpSpPr>
            <a:xfrm>
              <a:off x="9034823" y="2092725"/>
              <a:ext cx="309475" cy="309475"/>
              <a:chOff x="7588251" y="5014913"/>
              <a:chExt cx="520700" cy="520700"/>
            </a:xfrm>
          </p:grpSpPr>
          <p:sp>
            <p:nvSpPr>
              <p:cNvPr id="258" name="Freeform 88">
                <a:extLst>
                  <a:ext uri="{FF2B5EF4-FFF2-40B4-BE49-F238E27FC236}">
                    <a16:creationId xmlns:a16="http://schemas.microsoft.com/office/drawing/2014/main" id="{B7AB2B32-983C-F332-164A-3E1F258C6788}"/>
                  </a:ext>
                </a:extLst>
              </p:cNvPr>
              <p:cNvSpPr>
                <a:spLocks noEditPoints="1"/>
              </p:cNvSpPr>
              <p:nvPr/>
            </p:nvSpPr>
            <p:spPr bwMode="auto">
              <a:xfrm>
                <a:off x="7588251" y="5014913"/>
                <a:ext cx="520700" cy="52070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5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5 h 657"/>
                  <a:gd name="T38" fmla="*/ 582 w 657"/>
                  <a:gd name="T39" fmla="*/ 120 h 657"/>
                  <a:gd name="T40" fmla="*/ 631 w 657"/>
                  <a:gd name="T41" fmla="*/ 201 h 657"/>
                  <a:gd name="T42" fmla="*/ 650 w 657"/>
                  <a:gd name="T43" fmla="*/ 262 h 657"/>
                  <a:gd name="T44" fmla="*/ 657 w 657"/>
                  <a:gd name="T45" fmla="*/ 312 h 657"/>
                  <a:gd name="T46" fmla="*/ 657 w 657"/>
                  <a:gd name="T47" fmla="*/ 346 h 657"/>
                  <a:gd name="T48" fmla="*/ 650 w 657"/>
                  <a:gd name="T49" fmla="*/ 395 h 657"/>
                  <a:gd name="T50" fmla="*/ 631 w 657"/>
                  <a:gd name="T51" fmla="*/ 456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8 h 657"/>
                  <a:gd name="T76" fmla="*/ 61 w 657"/>
                  <a:gd name="T77" fmla="*/ 442 h 657"/>
                  <a:gd name="T78" fmla="*/ 104 w 657"/>
                  <a:gd name="T79" fmla="*/ 513 h 657"/>
                  <a:gd name="T80" fmla="*/ 165 w 657"/>
                  <a:gd name="T81" fmla="*/ 570 h 657"/>
                  <a:gd name="T82" fmla="*/ 242 w 657"/>
                  <a:gd name="T83" fmla="*/ 606 h 657"/>
                  <a:gd name="T84" fmla="*/ 328 w 657"/>
                  <a:gd name="T85" fmla="*/ 620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6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7"/>
                    </a:lnTo>
                    <a:lnTo>
                      <a:pt x="145" y="601"/>
                    </a:lnTo>
                    <a:lnTo>
                      <a:pt x="120" y="582"/>
                    </a:lnTo>
                    <a:lnTo>
                      <a:pt x="96" y="560"/>
                    </a:lnTo>
                    <a:lnTo>
                      <a:pt x="74" y="538"/>
                    </a:lnTo>
                    <a:lnTo>
                      <a:pt x="55" y="512"/>
                    </a:lnTo>
                    <a:lnTo>
                      <a:pt x="39" y="485"/>
                    </a:lnTo>
                    <a:lnTo>
                      <a:pt x="26" y="456"/>
                    </a:lnTo>
                    <a:lnTo>
                      <a:pt x="15" y="426"/>
                    </a:lnTo>
                    <a:lnTo>
                      <a:pt x="10" y="410"/>
                    </a:lnTo>
                    <a:lnTo>
                      <a:pt x="6" y="395"/>
                    </a:lnTo>
                    <a:lnTo>
                      <a:pt x="3" y="379"/>
                    </a:lnTo>
                    <a:lnTo>
                      <a:pt x="1" y="362"/>
                    </a:lnTo>
                    <a:lnTo>
                      <a:pt x="0" y="346"/>
                    </a:lnTo>
                    <a:lnTo>
                      <a:pt x="0" y="328"/>
                    </a:lnTo>
                    <a:lnTo>
                      <a:pt x="0" y="328"/>
                    </a:lnTo>
                    <a:lnTo>
                      <a:pt x="0" y="312"/>
                    </a:lnTo>
                    <a:lnTo>
                      <a:pt x="1" y="295"/>
                    </a:lnTo>
                    <a:lnTo>
                      <a:pt x="3" y="278"/>
                    </a:lnTo>
                    <a:lnTo>
                      <a:pt x="6" y="262"/>
                    </a:lnTo>
                    <a:lnTo>
                      <a:pt x="10" y="246"/>
                    </a:lnTo>
                    <a:lnTo>
                      <a:pt x="15" y="231"/>
                    </a:lnTo>
                    <a:lnTo>
                      <a:pt x="26" y="201"/>
                    </a:lnTo>
                    <a:lnTo>
                      <a:pt x="39" y="172"/>
                    </a:lnTo>
                    <a:lnTo>
                      <a:pt x="55" y="145"/>
                    </a:lnTo>
                    <a:lnTo>
                      <a:pt x="74" y="120"/>
                    </a:lnTo>
                    <a:lnTo>
                      <a:pt x="96" y="96"/>
                    </a:lnTo>
                    <a:lnTo>
                      <a:pt x="120" y="76"/>
                    </a:lnTo>
                    <a:lnTo>
                      <a:pt x="145" y="55"/>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5"/>
                    </a:lnTo>
                    <a:lnTo>
                      <a:pt x="537" y="76"/>
                    </a:lnTo>
                    <a:lnTo>
                      <a:pt x="560" y="96"/>
                    </a:lnTo>
                    <a:lnTo>
                      <a:pt x="582" y="120"/>
                    </a:lnTo>
                    <a:lnTo>
                      <a:pt x="601" y="145"/>
                    </a:lnTo>
                    <a:lnTo>
                      <a:pt x="617" y="172"/>
                    </a:lnTo>
                    <a:lnTo>
                      <a:pt x="631" y="201"/>
                    </a:lnTo>
                    <a:lnTo>
                      <a:pt x="642" y="231"/>
                    </a:lnTo>
                    <a:lnTo>
                      <a:pt x="646" y="246"/>
                    </a:lnTo>
                    <a:lnTo>
                      <a:pt x="650" y="262"/>
                    </a:lnTo>
                    <a:lnTo>
                      <a:pt x="653" y="278"/>
                    </a:lnTo>
                    <a:lnTo>
                      <a:pt x="656" y="295"/>
                    </a:lnTo>
                    <a:lnTo>
                      <a:pt x="657" y="312"/>
                    </a:lnTo>
                    <a:lnTo>
                      <a:pt x="657" y="328"/>
                    </a:lnTo>
                    <a:lnTo>
                      <a:pt x="657" y="328"/>
                    </a:lnTo>
                    <a:lnTo>
                      <a:pt x="657" y="346"/>
                    </a:lnTo>
                    <a:lnTo>
                      <a:pt x="656" y="362"/>
                    </a:lnTo>
                    <a:lnTo>
                      <a:pt x="653" y="379"/>
                    </a:lnTo>
                    <a:lnTo>
                      <a:pt x="650" y="395"/>
                    </a:lnTo>
                    <a:lnTo>
                      <a:pt x="646" y="410"/>
                    </a:lnTo>
                    <a:lnTo>
                      <a:pt x="642" y="426"/>
                    </a:lnTo>
                    <a:lnTo>
                      <a:pt x="631" y="456"/>
                    </a:lnTo>
                    <a:lnTo>
                      <a:pt x="617" y="485"/>
                    </a:lnTo>
                    <a:lnTo>
                      <a:pt x="601" y="512"/>
                    </a:lnTo>
                    <a:lnTo>
                      <a:pt x="582" y="538"/>
                    </a:lnTo>
                    <a:lnTo>
                      <a:pt x="560" y="560"/>
                    </a:lnTo>
                    <a:lnTo>
                      <a:pt x="537" y="582"/>
                    </a:lnTo>
                    <a:lnTo>
                      <a:pt x="512" y="601"/>
                    </a:lnTo>
                    <a:lnTo>
                      <a:pt x="485" y="617"/>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3"/>
                    </a:lnTo>
                    <a:lnTo>
                      <a:pt x="104" y="144"/>
                    </a:lnTo>
                    <a:lnTo>
                      <a:pt x="87" y="166"/>
                    </a:lnTo>
                    <a:lnTo>
                      <a:pt x="73" y="190"/>
                    </a:lnTo>
                    <a:lnTo>
                      <a:pt x="61" y="215"/>
                    </a:lnTo>
                    <a:lnTo>
                      <a:pt x="50" y="242"/>
                    </a:lnTo>
                    <a:lnTo>
                      <a:pt x="43" y="270"/>
                    </a:lnTo>
                    <a:lnTo>
                      <a:pt x="39" y="299"/>
                    </a:lnTo>
                    <a:lnTo>
                      <a:pt x="38" y="328"/>
                    </a:lnTo>
                    <a:lnTo>
                      <a:pt x="38" y="328"/>
                    </a:lnTo>
                    <a:lnTo>
                      <a:pt x="39" y="358"/>
                    </a:lnTo>
                    <a:lnTo>
                      <a:pt x="43" y="387"/>
                    </a:lnTo>
                    <a:lnTo>
                      <a:pt x="50" y="415"/>
                    </a:lnTo>
                    <a:lnTo>
                      <a:pt x="61" y="442"/>
                    </a:lnTo>
                    <a:lnTo>
                      <a:pt x="73" y="468"/>
                    </a:lnTo>
                    <a:lnTo>
                      <a:pt x="87" y="491"/>
                    </a:lnTo>
                    <a:lnTo>
                      <a:pt x="104" y="513"/>
                    </a:lnTo>
                    <a:lnTo>
                      <a:pt x="122" y="535"/>
                    </a:lnTo>
                    <a:lnTo>
                      <a:pt x="143" y="554"/>
                    </a:lnTo>
                    <a:lnTo>
                      <a:pt x="165" y="570"/>
                    </a:lnTo>
                    <a:lnTo>
                      <a:pt x="190" y="585"/>
                    </a:lnTo>
                    <a:lnTo>
                      <a:pt x="215" y="597"/>
                    </a:lnTo>
                    <a:lnTo>
                      <a:pt x="242" y="606"/>
                    </a:lnTo>
                    <a:lnTo>
                      <a:pt x="270" y="614"/>
                    </a:lnTo>
                    <a:lnTo>
                      <a:pt x="298" y="618"/>
                    </a:lnTo>
                    <a:lnTo>
                      <a:pt x="328" y="620"/>
                    </a:lnTo>
                    <a:lnTo>
                      <a:pt x="328" y="620"/>
                    </a:lnTo>
                    <a:lnTo>
                      <a:pt x="357" y="618"/>
                    </a:lnTo>
                    <a:lnTo>
                      <a:pt x="387" y="614"/>
                    </a:lnTo>
                    <a:lnTo>
                      <a:pt x="415" y="606"/>
                    </a:lnTo>
                    <a:lnTo>
                      <a:pt x="442" y="597"/>
                    </a:lnTo>
                    <a:lnTo>
                      <a:pt x="468" y="585"/>
                    </a:lnTo>
                    <a:lnTo>
                      <a:pt x="490" y="570"/>
                    </a:lnTo>
                    <a:lnTo>
                      <a:pt x="513" y="554"/>
                    </a:lnTo>
                    <a:lnTo>
                      <a:pt x="533" y="535"/>
                    </a:lnTo>
                    <a:lnTo>
                      <a:pt x="552" y="513"/>
                    </a:lnTo>
                    <a:lnTo>
                      <a:pt x="570" y="491"/>
                    </a:lnTo>
                    <a:lnTo>
                      <a:pt x="584" y="468"/>
                    </a:lnTo>
                    <a:lnTo>
                      <a:pt x="597" y="442"/>
                    </a:lnTo>
                    <a:lnTo>
                      <a:pt x="606" y="415"/>
                    </a:lnTo>
                    <a:lnTo>
                      <a:pt x="614" y="387"/>
                    </a:lnTo>
                    <a:lnTo>
                      <a:pt x="618" y="358"/>
                    </a:lnTo>
                    <a:lnTo>
                      <a:pt x="619" y="328"/>
                    </a:lnTo>
                    <a:lnTo>
                      <a:pt x="619" y="328"/>
                    </a:lnTo>
                    <a:lnTo>
                      <a:pt x="618" y="299"/>
                    </a:lnTo>
                    <a:lnTo>
                      <a:pt x="614" y="270"/>
                    </a:lnTo>
                    <a:lnTo>
                      <a:pt x="606" y="242"/>
                    </a:lnTo>
                    <a:lnTo>
                      <a:pt x="597" y="215"/>
                    </a:lnTo>
                    <a:lnTo>
                      <a:pt x="584" y="190"/>
                    </a:lnTo>
                    <a:lnTo>
                      <a:pt x="570" y="166"/>
                    </a:lnTo>
                    <a:lnTo>
                      <a:pt x="552" y="144"/>
                    </a:lnTo>
                    <a:lnTo>
                      <a:pt x="533" y="123"/>
                    </a:lnTo>
                    <a:lnTo>
                      <a:pt x="513" y="104"/>
                    </a:lnTo>
                    <a:lnTo>
                      <a:pt x="490" y="88"/>
                    </a:lnTo>
                    <a:lnTo>
                      <a:pt x="468" y="73"/>
                    </a:lnTo>
                    <a:lnTo>
                      <a:pt x="442" y="61"/>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59" name="Freeform 327">
                <a:extLst>
                  <a:ext uri="{FF2B5EF4-FFF2-40B4-BE49-F238E27FC236}">
                    <a16:creationId xmlns:a16="http://schemas.microsoft.com/office/drawing/2014/main" id="{DBDB07B4-C2C2-2EEA-5A93-436B521B0159}"/>
                  </a:ext>
                </a:extLst>
              </p:cNvPr>
              <p:cNvSpPr>
                <a:spLocks noEditPoints="1"/>
              </p:cNvSpPr>
              <p:nvPr/>
            </p:nvSpPr>
            <p:spPr bwMode="auto">
              <a:xfrm>
                <a:off x="7729538" y="5160963"/>
                <a:ext cx="244475" cy="228600"/>
              </a:xfrm>
              <a:custGeom>
                <a:avLst/>
                <a:gdLst>
                  <a:gd name="T0" fmla="*/ 309 w 309"/>
                  <a:gd name="T1" fmla="*/ 88 h 289"/>
                  <a:gd name="T2" fmla="*/ 276 w 309"/>
                  <a:gd name="T3" fmla="*/ 25 h 289"/>
                  <a:gd name="T4" fmla="*/ 276 w 309"/>
                  <a:gd name="T5" fmla="*/ 25 h 289"/>
                  <a:gd name="T6" fmla="*/ 275 w 309"/>
                  <a:gd name="T7" fmla="*/ 23 h 289"/>
                  <a:gd name="T8" fmla="*/ 272 w 309"/>
                  <a:gd name="T9" fmla="*/ 22 h 289"/>
                  <a:gd name="T10" fmla="*/ 156 w 309"/>
                  <a:gd name="T11" fmla="*/ 0 h 289"/>
                  <a:gd name="T12" fmla="*/ 156 w 309"/>
                  <a:gd name="T13" fmla="*/ 0 h 289"/>
                  <a:gd name="T14" fmla="*/ 154 w 309"/>
                  <a:gd name="T15" fmla="*/ 0 h 289"/>
                  <a:gd name="T16" fmla="*/ 154 w 309"/>
                  <a:gd name="T17" fmla="*/ 0 h 289"/>
                  <a:gd name="T18" fmla="*/ 154 w 309"/>
                  <a:gd name="T19" fmla="*/ 0 h 289"/>
                  <a:gd name="T20" fmla="*/ 154 w 309"/>
                  <a:gd name="T21" fmla="*/ 0 h 289"/>
                  <a:gd name="T22" fmla="*/ 154 w 309"/>
                  <a:gd name="T23" fmla="*/ 0 h 289"/>
                  <a:gd name="T24" fmla="*/ 153 w 309"/>
                  <a:gd name="T25" fmla="*/ 0 h 289"/>
                  <a:gd name="T26" fmla="*/ 36 w 309"/>
                  <a:gd name="T27" fmla="*/ 22 h 289"/>
                  <a:gd name="T28" fmla="*/ 36 w 309"/>
                  <a:gd name="T29" fmla="*/ 22 h 289"/>
                  <a:gd name="T30" fmla="*/ 33 w 309"/>
                  <a:gd name="T31" fmla="*/ 23 h 289"/>
                  <a:gd name="T32" fmla="*/ 32 w 309"/>
                  <a:gd name="T33" fmla="*/ 25 h 289"/>
                  <a:gd name="T34" fmla="*/ 0 w 309"/>
                  <a:gd name="T35" fmla="*/ 89 h 289"/>
                  <a:gd name="T36" fmla="*/ 0 w 309"/>
                  <a:gd name="T37" fmla="*/ 89 h 289"/>
                  <a:gd name="T38" fmla="*/ 0 w 309"/>
                  <a:gd name="T39" fmla="*/ 92 h 289"/>
                  <a:gd name="T40" fmla="*/ 0 w 309"/>
                  <a:gd name="T41" fmla="*/ 94 h 289"/>
                  <a:gd name="T42" fmla="*/ 0 w 309"/>
                  <a:gd name="T43" fmla="*/ 94 h 289"/>
                  <a:gd name="T44" fmla="*/ 2 w 309"/>
                  <a:gd name="T45" fmla="*/ 96 h 289"/>
                  <a:gd name="T46" fmla="*/ 5 w 309"/>
                  <a:gd name="T47" fmla="*/ 96 h 289"/>
                  <a:gd name="T48" fmla="*/ 32 w 309"/>
                  <a:gd name="T49" fmla="*/ 96 h 289"/>
                  <a:gd name="T50" fmla="*/ 32 w 309"/>
                  <a:gd name="T51" fmla="*/ 230 h 289"/>
                  <a:gd name="T52" fmla="*/ 32 w 309"/>
                  <a:gd name="T53" fmla="*/ 230 h 289"/>
                  <a:gd name="T54" fmla="*/ 32 w 309"/>
                  <a:gd name="T55" fmla="*/ 233 h 289"/>
                  <a:gd name="T56" fmla="*/ 35 w 309"/>
                  <a:gd name="T57" fmla="*/ 235 h 289"/>
                  <a:gd name="T58" fmla="*/ 152 w 309"/>
                  <a:gd name="T59" fmla="*/ 288 h 289"/>
                  <a:gd name="T60" fmla="*/ 152 w 309"/>
                  <a:gd name="T61" fmla="*/ 288 h 289"/>
                  <a:gd name="T62" fmla="*/ 154 w 309"/>
                  <a:gd name="T63" fmla="*/ 289 h 289"/>
                  <a:gd name="T64" fmla="*/ 154 w 309"/>
                  <a:gd name="T65" fmla="*/ 289 h 289"/>
                  <a:gd name="T66" fmla="*/ 157 w 309"/>
                  <a:gd name="T67" fmla="*/ 288 h 289"/>
                  <a:gd name="T68" fmla="*/ 274 w 309"/>
                  <a:gd name="T69" fmla="*/ 235 h 289"/>
                  <a:gd name="T70" fmla="*/ 274 w 309"/>
                  <a:gd name="T71" fmla="*/ 235 h 289"/>
                  <a:gd name="T72" fmla="*/ 276 w 309"/>
                  <a:gd name="T73" fmla="*/ 233 h 289"/>
                  <a:gd name="T74" fmla="*/ 278 w 309"/>
                  <a:gd name="T75" fmla="*/ 230 h 289"/>
                  <a:gd name="T76" fmla="*/ 278 w 309"/>
                  <a:gd name="T77" fmla="*/ 96 h 289"/>
                  <a:gd name="T78" fmla="*/ 303 w 309"/>
                  <a:gd name="T79" fmla="*/ 96 h 289"/>
                  <a:gd name="T80" fmla="*/ 303 w 309"/>
                  <a:gd name="T81" fmla="*/ 96 h 289"/>
                  <a:gd name="T82" fmla="*/ 303 w 309"/>
                  <a:gd name="T83" fmla="*/ 96 h 289"/>
                  <a:gd name="T84" fmla="*/ 306 w 309"/>
                  <a:gd name="T85" fmla="*/ 96 h 289"/>
                  <a:gd name="T86" fmla="*/ 307 w 309"/>
                  <a:gd name="T87" fmla="*/ 94 h 289"/>
                  <a:gd name="T88" fmla="*/ 309 w 309"/>
                  <a:gd name="T89" fmla="*/ 93 h 289"/>
                  <a:gd name="T90" fmla="*/ 309 w 309"/>
                  <a:gd name="T91" fmla="*/ 92 h 289"/>
                  <a:gd name="T92" fmla="*/ 309 w 309"/>
                  <a:gd name="T93" fmla="*/ 92 h 289"/>
                  <a:gd name="T94" fmla="*/ 309 w 309"/>
                  <a:gd name="T95" fmla="*/ 88 h 289"/>
                  <a:gd name="T96" fmla="*/ 309 w 309"/>
                  <a:gd name="T97" fmla="*/ 88 h 289"/>
                  <a:gd name="T98" fmla="*/ 40 w 309"/>
                  <a:gd name="T99" fmla="*/ 31 h 289"/>
                  <a:gd name="T100" fmla="*/ 146 w 309"/>
                  <a:gd name="T101" fmla="*/ 12 h 289"/>
                  <a:gd name="T102" fmla="*/ 118 w 309"/>
                  <a:gd name="T103" fmla="*/ 86 h 289"/>
                  <a:gd name="T104" fmla="*/ 13 w 309"/>
                  <a:gd name="T105" fmla="*/ 86 h 289"/>
                  <a:gd name="T106" fmla="*/ 40 w 309"/>
                  <a:gd name="T107" fmla="*/ 31 h 289"/>
                  <a:gd name="T108" fmla="*/ 191 w 309"/>
                  <a:gd name="T109" fmla="*/ 86 h 289"/>
                  <a:gd name="T110" fmla="*/ 162 w 309"/>
                  <a:gd name="T111" fmla="*/ 12 h 289"/>
                  <a:gd name="T112" fmla="*/ 268 w 309"/>
                  <a:gd name="T113" fmla="*/ 31 h 289"/>
                  <a:gd name="T114" fmla="*/ 295 w 309"/>
                  <a:gd name="T115" fmla="*/ 86 h 289"/>
                  <a:gd name="T116" fmla="*/ 191 w 309"/>
                  <a:gd name="T117" fmla="*/ 8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289">
                    <a:moveTo>
                      <a:pt x="309" y="88"/>
                    </a:moveTo>
                    <a:lnTo>
                      <a:pt x="276" y="25"/>
                    </a:lnTo>
                    <a:lnTo>
                      <a:pt x="276" y="25"/>
                    </a:lnTo>
                    <a:lnTo>
                      <a:pt x="275" y="23"/>
                    </a:lnTo>
                    <a:lnTo>
                      <a:pt x="272" y="22"/>
                    </a:lnTo>
                    <a:lnTo>
                      <a:pt x="156" y="0"/>
                    </a:lnTo>
                    <a:lnTo>
                      <a:pt x="156" y="0"/>
                    </a:lnTo>
                    <a:lnTo>
                      <a:pt x="154" y="0"/>
                    </a:lnTo>
                    <a:lnTo>
                      <a:pt x="154" y="0"/>
                    </a:lnTo>
                    <a:lnTo>
                      <a:pt x="154" y="0"/>
                    </a:lnTo>
                    <a:lnTo>
                      <a:pt x="154" y="0"/>
                    </a:lnTo>
                    <a:lnTo>
                      <a:pt x="154" y="0"/>
                    </a:lnTo>
                    <a:lnTo>
                      <a:pt x="153" y="0"/>
                    </a:lnTo>
                    <a:lnTo>
                      <a:pt x="36" y="22"/>
                    </a:lnTo>
                    <a:lnTo>
                      <a:pt x="36" y="22"/>
                    </a:lnTo>
                    <a:lnTo>
                      <a:pt x="33" y="23"/>
                    </a:lnTo>
                    <a:lnTo>
                      <a:pt x="32" y="25"/>
                    </a:lnTo>
                    <a:lnTo>
                      <a:pt x="0" y="89"/>
                    </a:lnTo>
                    <a:lnTo>
                      <a:pt x="0" y="89"/>
                    </a:lnTo>
                    <a:lnTo>
                      <a:pt x="0" y="92"/>
                    </a:lnTo>
                    <a:lnTo>
                      <a:pt x="0" y="94"/>
                    </a:lnTo>
                    <a:lnTo>
                      <a:pt x="0" y="94"/>
                    </a:lnTo>
                    <a:lnTo>
                      <a:pt x="2" y="96"/>
                    </a:lnTo>
                    <a:lnTo>
                      <a:pt x="5" y="96"/>
                    </a:lnTo>
                    <a:lnTo>
                      <a:pt x="32" y="96"/>
                    </a:lnTo>
                    <a:lnTo>
                      <a:pt x="32" y="230"/>
                    </a:lnTo>
                    <a:lnTo>
                      <a:pt x="32" y="230"/>
                    </a:lnTo>
                    <a:lnTo>
                      <a:pt x="32" y="233"/>
                    </a:lnTo>
                    <a:lnTo>
                      <a:pt x="35" y="235"/>
                    </a:lnTo>
                    <a:lnTo>
                      <a:pt x="152" y="288"/>
                    </a:lnTo>
                    <a:lnTo>
                      <a:pt x="152" y="288"/>
                    </a:lnTo>
                    <a:lnTo>
                      <a:pt x="154" y="289"/>
                    </a:lnTo>
                    <a:lnTo>
                      <a:pt x="154" y="289"/>
                    </a:lnTo>
                    <a:lnTo>
                      <a:pt x="157" y="288"/>
                    </a:lnTo>
                    <a:lnTo>
                      <a:pt x="274" y="235"/>
                    </a:lnTo>
                    <a:lnTo>
                      <a:pt x="274" y="235"/>
                    </a:lnTo>
                    <a:lnTo>
                      <a:pt x="276" y="233"/>
                    </a:lnTo>
                    <a:lnTo>
                      <a:pt x="278" y="230"/>
                    </a:lnTo>
                    <a:lnTo>
                      <a:pt x="278" y="96"/>
                    </a:lnTo>
                    <a:lnTo>
                      <a:pt x="303" y="96"/>
                    </a:lnTo>
                    <a:lnTo>
                      <a:pt x="303" y="96"/>
                    </a:lnTo>
                    <a:lnTo>
                      <a:pt x="303" y="96"/>
                    </a:lnTo>
                    <a:lnTo>
                      <a:pt x="306" y="96"/>
                    </a:lnTo>
                    <a:lnTo>
                      <a:pt x="307" y="94"/>
                    </a:lnTo>
                    <a:lnTo>
                      <a:pt x="309" y="93"/>
                    </a:lnTo>
                    <a:lnTo>
                      <a:pt x="309" y="92"/>
                    </a:lnTo>
                    <a:lnTo>
                      <a:pt x="309" y="92"/>
                    </a:lnTo>
                    <a:lnTo>
                      <a:pt x="309" y="88"/>
                    </a:lnTo>
                    <a:lnTo>
                      <a:pt x="309" y="88"/>
                    </a:lnTo>
                    <a:close/>
                    <a:moveTo>
                      <a:pt x="40" y="31"/>
                    </a:moveTo>
                    <a:lnTo>
                      <a:pt x="146" y="12"/>
                    </a:lnTo>
                    <a:lnTo>
                      <a:pt x="118" y="86"/>
                    </a:lnTo>
                    <a:lnTo>
                      <a:pt x="13" y="86"/>
                    </a:lnTo>
                    <a:lnTo>
                      <a:pt x="40" y="31"/>
                    </a:lnTo>
                    <a:close/>
                    <a:moveTo>
                      <a:pt x="191" y="86"/>
                    </a:moveTo>
                    <a:lnTo>
                      <a:pt x="162" y="12"/>
                    </a:lnTo>
                    <a:lnTo>
                      <a:pt x="268" y="31"/>
                    </a:lnTo>
                    <a:lnTo>
                      <a:pt x="295" y="86"/>
                    </a:lnTo>
                    <a:lnTo>
                      <a:pt x="191"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45" name="Group 144">
              <a:extLst>
                <a:ext uri="{FF2B5EF4-FFF2-40B4-BE49-F238E27FC236}">
                  <a16:creationId xmlns:a16="http://schemas.microsoft.com/office/drawing/2014/main" id="{FE519781-D713-7CD7-2763-91A0743528F4}"/>
                </a:ext>
              </a:extLst>
            </p:cNvPr>
            <p:cNvGrpSpPr>
              <a:grpSpLocks noChangeAspect="1"/>
            </p:cNvGrpSpPr>
            <p:nvPr/>
          </p:nvGrpSpPr>
          <p:grpSpPr>
            <a:xfrm>
              <a:off x="9990560" y="2092253"/>
              <a:ext cx="309475" cy="310419"/>
              <a:chOff x="6724651" y="823913"/>
              <a:chExt cx="520700" cy="522288"/>
            </a:xfrm>
          </p:grpSpPr>
          <p:sp>
            <p:nvSpPr>
              <p:cNvPr id="251" name="Freeform 5">
                <a:extLst>
                  <a:ext uri="{FF2B5EF4-FFF2-40B4-BE49-F238E27FC236}">
                    <a16:creationId xmlns:a16="http://schemas.microsoft.com/office/drawing/2014/main" id="{EEA15538-1157-8D48-9C99-433CFAE91489}"/>
                  </a:ext>
                </a:extLst>
              </p:cNvPr>
              <p:cNvSpPr>
                <a:spLocks noEditPoints="1"/>
              </p:cNvSpPr>
              <p:nvPr/>
            </p:nvSpPr>
            <p:spPr bwMode="auto">
              <a:xfrm>
                <a:off x="6724651" y="823913"/>
                <a:ext cx="520700" cy="522288"/>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52" name="Freeform 109">
                <a:extLst>
                  <a:ext uri="{FF2B5EF4-FFF2-40B4-BE49-F238E27FC236}">
                    <a16:creationId xmlns:a16="http://schemas.microsoft.com/office/drawing/2014/main" id="{9A39C561-AE9F-23C3-D4F7-4BBDB9A4F995}"/>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53" name="Freeform 110">
                <a:extLst>
                  <a:ext uri="{FF2B5EF4-FFF2-40B4-BE49-F238E27FC236}">
                    <a16:creationId xmlns:a16="http://schemas.microsoft.com/office/drawing/2014/main" id="{242EFFAF-08D9-0417-FA98-76D08D5B1F07}"/>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54" name="Freeform 111">
                <a:extLst>
                  <a:ext uri="{FF2B5EF4-FFF2-40B4-BE49-F238E27FC236}">
                    <a16:creationId xmlns:a16="http://schemas.microsoft.com/office/drawing/2014/main" id="{475920FD-85B4-615C-C738-31199E6A6D49}"/>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55" name="Freeform 112">
                <a:extLst>
                  <a:ext uri="{FF2B5EF4-FFF2-40B4-BE49-F238E27FC236}">
                    <a16:creationId xmlns:a16="http://schemas.microsoft.com/office/drawing/2014/main" id="{5B63B383-3782-D7E2-7164-A2F99CAB15D7}"/>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56" name="Freeform 113">
                <a:extLst>
                  <a:ext uri="{FF2B5EF4-FFF2-40B4-BE49-F238E27FC236}">
                    <a16:creationId xmlns:a16="http://schemas.microsoft.com/office/drawing/2014/main" id="{3E6C8103-2115-360F-F620-F01288D057CE}"/>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57" name="Freeform 114">
                <a:extLst>
                  <a:ext uri="{FF2B5EF4-FFF2-40B4-BE49-F238E27FC236}">
                    <a16:creationId xmlns:a16="http://schemas.microsoft.com/office/drawing/2014/main" id="{82829682-4209-DCAF-3C62-DE7143200302}"/>
                  </a:ext>
                </a:extLst>
              </p:cNvPr>
              <p:cNvSpPr>
                <a:spLocks/>
              </p:cNvSpPr>
              <p:nvPr/>
            </p:nvSpPr>
            <p:spPr bwMode="auto">
              <a:xfrm>
                <a:off x="6916738" y="1000125"/>
                <a:ext cx="146050" cy="20320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46" name="Group 145">
              <a:extLst>
                <a:ext uri="{FF2B5EF4-FFF2-40B4-BE49-F238E27FC236}">
                  <a16:creationId xmlns:a16="http://schemas.microsoft.com/office/drawing/2014/main" id="{4703DD0E-6E29-D54D-3A7B-14246087B767}"/>
                </a:ext>
              </a:extLst>
            </p:cNvPr>
            <p:cNvGrpSpPr>
              <a:grpSpLocks noChangeAspect="1"/>
            </p:cNvGrpSpPr>
            <p:nvPr/>
          </p:nvGrpSpPr>
          <p:grpSpPr>
            <a:xfrm>
              <a:off x="9509975" y="2091781"/>
              <a:ext cx="310419" cy="311362"/>
              <a:chOff x="3194051" y="824548"/>
              <a:chExt cx="522288" cy="523875"/>
            </a:xfrm>
          </p:grpSpPr>
          <p:sp>
            <p:nvSpPr>
              <p:cNvPr id="248" name="Freeform 9">
                <a:extLst>
                  <a:ext uri="{FF2B5EF4-FFF2-40B4-BE49-F238E27FC236}">
                    <a16:creationId xmlns:a16="http://schemas.microsoft.com/office/drawing/2014/main" id="{DD4B783F-9B6C-5A24-6FEE-1E0625D95EA0}"/>
                  </a:ext>
                </a:extLst>
              </p:cNvPr>
              <p:cNvSpPr>
                <a:spLocks noEditPoints="1"/>
              </p:cNvSpPr>
              <p:nvPr/>
            </p:nvSpPr>
            <p:spPr bwMode="auto">
              <a:xfrm>
                <a:off x="3194051" y="824548"/>
                <a:ext cx="522288" cy="523875"/>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4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5 h 658"/>
                  <a:gd name="T104" fmla="*/ 443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6" y="56"/>
                    </a:lnTo>
                    <a:lnTo>
                      <a:pt x="172" y="40"/>
                    </a:lnTo>
                    <a:lnTo>
                      <a:pt x="202" y="27"/>
                    </a:lnTo>
                    <a:lnTo>
                      <a:pt x="232" y="14"/>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4"/>
                    </a:lnTo>
                    <a:lnTo>
                      <a:pt x="457" y="27"/>
                    </a:lnTo>
                    <a:lnTo>
                      <a:pt x="486"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6"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1"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1" y="615"/>
                    </a:lnTo>
                    <a:lnTo>
                      <a:pt x="300" y="619"/>
                    </a:lnTo>
                    <a:lnTo>
                      <a:pt x="330" y="621"/>
                    </a:lnTo>
                    <a:lnTo>
                      <a:pt x="330" y="621"/>
                    </a:lnTo>
                    <a:lnTo>
                      <a:pt x="359" y="619"/>
                    </a:lnTo>
                    <a:lnTo>
                      <a:pt x="387" y="615"/>
                    </a:lnTo>
                    <a:lnTo>
                      <a:pt x="416" y="607"/>
                    </a:lnTo>
                    <a:lnTo>
                      <a:pt x="443" y="598"/>
                    </a:lnTo>
                    <a:lnTo>
                      <a:pt x="468" y="586"/>
                    </a:lnTo>
                    <a:lnTo>
                      <a:pt x="492" y="571"/>
                    </a:lnTo>
                    <a:lnTo>
                      <a:pt x="515" y="553"/>
                    </a:lnTo>
                    <a:lnTo>
                      <a:pt x="535" y="535"/>
                    </a:lnTo>
                    <a:lnTo>
                      <a:pt x="554" y="514"/>
                    </a:lnTo>
                    <a:lnTo>
                      <a:pt x="570" y="492"/>
                    </a:lnTo>
                    <a:lnTo>
                      <a:pt x="585" y="467"/>
                    </a:lnTo>
                    <a:lnTo>
                      <a:pt x="597" y="443"/>
                    </a:lnTo>
                    <a:lnTo>
                      <a:pt x="608" y="416"/>
                    </a:lnTo>
                    <a:lnTo>
                      <a:pt x="615" y="388"/>
                    </a:lnTo>
                    <a:lnTo>
                      <a:pt x="619" y="359"/>
                    </a:lnTo>
                    <a:lnTo>
                      <a:pt x="621" y="329"/>
                    </a:lnTo>
                    <a:lnTo>
                      <a:pt x="621" y="329"/>
                    </a:lnTo>
                    <a:lnTo>
                      <a:pt x="619" y="299"/>
                    </a:lnTo>
                    <a:lnTo>
                      <a:pt x="615" y="271"/>
                    </a:lnTo>
                    <a:lnTo>
                      <a:pt x="608" y="243"/>
                    </a:lnTo>
                    <a:lnTo>
                      <a:pt x="597" y="216"/>
                    </a:lnTo>
                    <a:lnTo>
                      <a:pt x="585" y="191"/>
                    </a:lnTo>
                    <a:lnTo>
                      <a:pt x="570" y="166"/>
                    </a:lnTo>
                    <a:lnTo>
                      <a:pt x="554" y="144"/>
                    </a:lnTo>
                    <a:lnTo>
                      <a:pt x="535" y="123"/>
                    </a:lnTo>
                    <a:lnTo>
                      <a:pt x="515" y="105"/>
                    </a:lnTo>
                    <a:lnTo>
                      <a:pt x="492" y="88"/>
                    </a:lnTo>
                    <a:lnTo>
                      <a:pt x="468" y="74"/>
                    </a:lnTo>
                    <a:lnTo>
                      <a:pt x="443" y="62"/>
                    </a:lnTo>
                    <a:lnTo>
                      <a:pt x="416" y="51"/>
                    </a:lnTo>
                    <a:lnTo>
                      <a:pt x="387" y="44"/>
                    </a:lnTo>
                    <a:lnTo>
                      <a:pt x="359" y="40"/>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49" name="Freeform 109">
                <a:extLst>
                  <a:ext uri="{FF2B5EF4-FFF2-40B4-BE49-F238E27FC236}">
                    <a16:creationId xmlns:a16="http://schemas.microsoft.com/office/drawing/2014/main" id="{364D97EB-266A-8BBA-2414-0AA648DE2FBD}"/>
                  </a:ext>
                </a:extLst>
              </p:cNvPr>
              <p:cNvSpPr>
                <a:spLocks/>
              </p:cNvSpPr>
              <p:nvPr/>
            </p:nvSpPr>
            <p:spPr bwMode="auto">
              <a:xfrm>
                <a:off x="3330576" y="1084898"/>
                <a:ext cx="217488" cy="120650"/>
              </a:xfrm>
              <a:custGeom>
                <a:avLst/>
                <a:gdLst>
                  <a:gd name="T0" fmla="*/ 86 w 273"/>
                  <a:gd name="T1" fmla="*/ 14 h 152"/>
                  <a:gd name="T2" fmla="*/ 73 w 273"/>
                  <a:gd name="T3" fmla="*/ 0 h 152"/>
                  <a:gd name="T4" fmla="*/ 3 w 273"/>
                  <a:gd name="T5" fmla="*/ 69 h 152"/>
                  <a:gd name="T6" fmla="*/ 3 w 273"/>
                  <a:gd name="T7" fmla="*/ 69 h 152"/>
                  <a:gd name="T8" fmla="*/ 2 w 273"/>
                  <a:gd name="T9" fmla="*/ 73 h 152"/>
                  <a:gd name="T10" fmla="*/ 0 w 273"/>
                  <a:gd name="T11" fmla="*/ 77 h 152"/>
                  <a:gd name="T12" fmla="*/ 2 w 273"/>
                  <a:gd name="T13" fmla="*/ 80 h 152"/>
                  <a:gd name="T14" fmla="*/ 3 w 273"/>
                  <a:gd name="T15" fmla="*/ 84 h 152"/>
                  <a:gd name="T16" fmla="*/ 73 w 273"/>
                  <a:gd name="T17" fmla="*/ 152 h 152"/>
                  <a:gd name="T18" fmla="*/ 86 w 273"/>
                  <a:gd name="T19" fmla="*/ 139 h 152"/>
                  <a:gd name="T20" fmla="*/ 34 w 273"/>
                  <a:gd name="T21" fmla="*/ 86 h 152"/>
                  <a:gd name="T22" fmla="*/ 273 w 273"/>
                  <a:gd name="T23" fmla="*/ 86 h 152"/>
                  <a:gd name="T24" fmla="*/ 273 w 273"/>
                  <a:gd name="T25" fmla="*/ 66 h 152"/>
                  <a:gd name="T26" fmla="*/ 34 w 273"/>
                  <a:gd name="T27" fmla="*/ 66 h 152"/>
                  <a:gd name="T28" fmla="*/ 86 w 273"/>
                  <a:gd name="T2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3" h="152">
                    <a:moveTo>
                      <a:pt x="86" y="14"/>
                    </a:moveTo>
                    <a:lnTo>
                      <a:pt x="73" y="0"/>
                    </a:lnTo>
                    <a:lnTo>
                      <a:pt x="3" y="69"/>
                    </a:lnTo>
                    <a:lnTo>
                      <a:pt x="3" y="69"/>
                    </a:lnTo>
                    <a:lnTo>
                      <a:pt x="2" y="73"/>
                    </a:lnTo>
                    <a:lnTo>
                      <a:pt x="0" y="77"/>
                    </a:lnTo>
                    <a:lnTo>
                      <a:pt x="2" y="80"/>
                    </a:lnTo>
                    <a:lnTo>
                      <a:pt x="3" y="84"/>
                    </a:lnTo>
                    <a:lnTo>
                      <a:pt x="73" y="152"/>
                    </a:lnTo>
                    <a:lnTo>
                      <a:pt x="86" y="139"/>
                    </a:lnTo>
                    <a:lnTo>
                      <a:pt x="34" y="86"/>
                    </a:lnTo>
                    <a:lnTo>
                      <a:pt x="273" y="86"/>
                    </a:lnTo>
                    <a:lnTo>
                      <a:pt x="273" y="66"/>
                    </a:lnTo>
                    <a:lnTo>
                      <a:pt x="34" y="66"/>
                    </a:lnTo>
                    <a:lnTo>
                      <a:pt x="8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50" name="Freeform 110">
                <a:extLst>
                  <a:ext uri="{FF2B5EF4-FFF2-40B4-BE49-F238E27FC236}">
                    <a16:creationId xmlns:a16="http://schemas.microsoft.com/office/drawing/2014/main" id="{24D36ACF-F42C-C65E-D8CE-547664A70976}"/>
                  </a:ext>
                </a:extLst>
              </p:cNvPr>
              <p:cNvSpPr>
                <a:spLocks/>
              </p:cNvSpPr>
              <p:nvPr/>
            </p:nvSpPr>
            <p:spPr bwMode="auto">
              <a:xfrm>
                <a:off x="3359151" y="965835"/>
                <a:ext cx="217488" cy="120650"/>
              </a:xfrm>
              <a:custGeom>
                <a:avLst/>
                <a:gdLst>
                  <a:gd name="T0" fmla="*/ 270 w 273"/>
                  <a:gd name="T1" fmla="*/ 69 h 152"/>
                  <a:gd name="T2" fmla="*/ 200 w 273"/>
                  <a:gd name="T3" fmla="*/ 0 h 152"/>
                  <a:gd name="T4" fmla="*/ 186 w 273"/>
                  <a:gd name="T5" fmla="*/ 14 h 152"/>
                  <a:gd name="T6" fmla="*/ 239 w 273"/>
                  <a:gd name="T7" fmla="*/ 66 h 152"/>
                  <a:gd name="T8" fmla="*/ 0 w 273"/>
                  <a:gd name="T9" fmla="*/ 66 h 152"/>
                  <a:gd name="T10" fmla="*/ 0 w 273"/>
                  <a:gd name="T11" fmla="*/ 86 h 152"/>
                  <a:gd name="T12" fmla="*/ 239 w 273"/>
                  <a:gd name="T13" fmla="*/ 86 h 152"/>
                  <a:gd name="T14" fmla="*/ 186 w 273"/>
                  <a:gd name="T15" fmla="*/ 139 h 152"/>
                  <a:gd name="T16" fmla="*/ 200 w 273"/>
                  <a:gd name="T17" fmla="*/ 152 h 152"/>
                  <a:gd name="T18" fmla="*/ 270 w 273"/>
                  <a:gd name="T19" fmla="*/ 83 h 152"/>
                  <a:gd name="T20" fmla="*/ 270 w 273"/>
                  <a:gd name="T21" fmla="*/ 83 h 152"/>
                  <a:gd name="T22" fmla="*/ 271 w 273"/>
                  <a:gd name="T23" fmla="*/ 79 h 152"/>
                  <a:gd name="T24" fmla="*/ 273 w 273"/>
                  <a:gd name="T25" fmla="*/ 77 h 152"/>
                  <a:gd name="T26" fmla="*/ 271 w 273"/>
                  <a:gd name="T27" fmla="*/ 73 h 152"/>
                  <a:gd name="T28" fmla="*/ 270 w 273"/>
                  <a:gd name="T29" fmla="*/ 69 h 152"/>
                  <a:gd name="T30" fmla="*/ 270 w 273"/>
                  <a:gd name="T31"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3" h="152">
                    <a:moveTo>
                      <a:pt x="270" y="69"/>
                    </a:moveTo>
                    <a:lnTo>
                      <a:pt x="200" y="0"/>
                    </a:lnTo>
                    <a:lnTo>
                      <a:pt x="186" y="14"/>
                    </a:lnTo>
                    <a:lnTo>
                      <a:pt x="239" y="66"/>
                    </a:lnTo>
                    <a:lnTo>
                      <a:pt x="0" y="66"/>
                    </a:lnTo>
                    <a:lnTo>
                      <a:pt x="0" y="86"/>
                    </a:lnTo>
                    <a:lnTo>
                      <a:pt x="239" y="86"/>
                    </a:lnTo>
                    <a:lnTo>
                      <a:pt x="186" y="139"/>
                    </a:lnTo>
                    <a:lnTo>
                      <a:pt x="200" y="152"/>
                    </a:lnTo>
                    <a:lnTo>
                      <a:pt x="270" y="83"/>
                    </a:lnTo>
                    <a:lnTo>
                      <a:pt x="270" y="83"/>
                    </a:lnTo>
                    <a:lnTo>
                      <a:pt x="271" y="79"/>
                    </a:lnTo>
                    <a:lnTo>
                      <a:pt x="273" y="77"/>
                    </a:lnTo>
                    <a:lnTo>
                      <a:pt x="271" y="73"/>
                    </a:lnTo>
                    <a:lnTo>
                      <a:pt x="270" y="69"/>
                    </a:lnTo>
                    <a:lnTo>
                      <a:pt x="27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47" name="Group 146">
              <a:extLst>
                <a:ext uri="{FF2B5EF4-FFF2-40B4-BE49-F238E27FC236}">
                  <a16:creationId xmlns:a16="http://schemas.microsoft.com/office/drawing/2014/main" id="{B5E11B62-E53B-841C-3471-672E9EACBFA4}"/>
                </a:ext>
              </a:extLst>
            </p:cNvPr>
            <p:cNvGrpSpPr>
              <a:grpSpLocks noChangeAspect="1"/>
            </p:cNvGrpSpPr>
            <p:nvPr/>
          </p:nvGrpSpPr>
          <p:grpSpPr>
            <a:xfrm>
              <a:off x="10469795" y="2092253"/>
              <a:ext cx="309475" cy="310419"/>
              <a:chOff x="1436688" y="2498725"/>
              <a:chExt cx="520700" cy="522288"/>
            </a:xfrm>
          </p:grpSpPr>
          <p:sp>
            <p:nvSpPr>
              <p:cNvPr id="246" name="Freeform 6">
                <a:extLst>
                  <a:ext uri="{FF2B5EF4-FFF2-40B4-BE49-F238E27FC236}">
                    <a16:creationId xmlns:a16="http://schemas.microsoft.com/office/drawing/2014/main" id="{540D65C9-7D7D-6E0A-C852-C16ED17F472D}"/>
                  </a:ext>
                </a:extLst>
              </p:cNvPr>
              <p:cNvSpPr>
                <a:spLocks noEditPoints="1"/>
              </p:cNvSpPr>
              <p:nvPr/>
            </p:nvSpPr>
            <p:spPr bwMode="auto">
              <a:xfrm>
                <a:off x="1436688" y="2498725"/>
                <a:ext cx="520700" cy="522288"/>
              </a:xfrm>
              <a:custGeom>
                <a:avLst/>
                <a:gdLst>
                  <a:gd name="T0" fmla="*/ 311 w 656"/>
                  <a:gd name="T1" fmla="*/ 658 h 658"/>
                  <a:gd name="T2" fmla="*/ 262 w 656"/>
                  <a:gd name="T3" fmla="*/ 652 h 658"/>
                  <a:gd name="T4" fmla="*/ 201 w 656"/>
                  <a:gd name="T5" fmla="*/ 633 h 658"/>
                  <a:gd name="T6" fmla="*/ 119 w 656"/>
                  <a:gd name="T7" fmla="*/ 583 h 658"/>
                  <a:gd name="T8" fmla="*/ 56 w 656"/>
                  <a:gd name="T9" fmla="*/ 513 h 658"/>
                  <a:gd name="T10" fmla="*/ 15 w 656"/>
                  <a:gd name="T11" fmla="*/ 427 h 658"/>
                  <a:gd name="T12" fmla="*/ 4 w 656"/>
                  <a:gd name="T13" fmla="*/ 379 h 658"/>
                  <a:gd name="T14" fmla="*/ 0 w 656"/>
                  <a:gd name="T15" fmla="*/ 329 h 658"/>
                  <a:gd name="T16" fmla="*/ 1 w 656"/>
                  <a:gd name="T17" fmla="*/ 296 h 658"/>
                  <a:gd name="T18" fmla="*/ 10 w 656"/>
                  <a:gd name="T19" fmla="*/ 248 h 658"/>
                  <a:gd name="T20" fmla="*/ 40 w 656"/>
                  <a:gd name="T21" fmla="*/ 172 h 658"/>
                  <a:gd name="T22" fmla="*/ 96 w 656"/>
                  <a:gd name="T23" fmla="*/ 97 h 658"/>
                  <a:gd name="T24" fmla="*/ 172 w 656"/>
                  <a:gd name="T25" fmla="*/ 41 h 658"/>
                  <a:gd name="T26" fmla="*/ 247 w 656"/>
                  <a:gd name="T27" fmla="*/ 11 h 658"/>
                  <a:gd name="T28" fmla="*/ 295 w 656"/>
                  <a:gd name="T29" fmla="*/ 3 h 658"/>
                  <a:gd name="T30" fmla="*/ 329 w 656"/>
                  <a:gd name="T31" fmla="*/ 0 h 658"/>
                  <a:gd name="T32" fmla="*/ 378 w 656"/>
                  <a:gd name="T33" fmla="*/ 4 h 658"/>
                  <a:gd name="T34" fmla="*/ 425 w 656"/>
                  <a:gd name="T35" fmla="*/ 15 h 658"/>
                  <a:gd name="T36" fmla="*/ 511 w 656"/>
                  <a:gd name="T37" fmla="*/ 57 h 658"/>
                  <a:gd name="T38" fmla="*/ 582 w 656"/>
                  <a:gd name="T39" fmla="*/ 120 h 658"/>
                  <a:gd name="T40" fmla="*/ 631 w 656"/>
                  <a:gd name="T41" fmla="*/ 202 h 658"/>
                  <a:gd name="T42" fmla="*/ 651 w 656"/>
                  <a:gd name="T43" fmla="*/ 264 h 658"/>
                  <a:gd name="T44" fmla="*/ 656 w 656"/>
                  <a:gd name="T45" fmla="*/ 312 h 658"/>
                  <a:gd name="T46" fmla="*/ 656 w 656"/>
                  <a:gd name="T47" fmla="*/ 347 h 658"/>
                  <a:gd name="T48" fmla="*/ 651 w 656"/>
                  <a:gd name="T49" fmla="*/ 395 h 658"/>
                  <a:gd name="T50" fmla="*/ 631 w 656"/>
                  <a:gd name="T51" fmla="*/ 457 h 658"/>
                  <a:gd name="T52" fmla="*/ 582 w 656"/>
                  <a:gd name="T53" fmla="*/ 539 h 658"/>
                  <a:gd name="T54" fmla="*/ 511 w 656"/>
                  <a:gd name="T55" fmla="*/ 602 h 658"/>
                  <a:gd name="T56" fmla="*/ 425 w 656"/>
                  <a:gd name="T57" fmla="*/ 644 h 658"/>
                  <a:gd name="T58" fmla="*/ 378 w 656"/>
                  <a:gd name="T59" fmla="*/ 654 h 658"/>
                  <a:gd name="T60" fmla="*/ 329 w 656"/>
                  <a:gd name="T61" fmla="*/ 658 h 658"/>
                  <a:gd name="T62" fmla="*/ 329 w 656"/>
                  <a:gd name="T63" fmla="*/ 38 h 658"/>
                  <a:gd name="T64" fmla="*/ 241 w 656"/>
                  <a:gd name="T65" fmla="*/ 51 h 658"/>
                  <a:gd name="T66" fmla="*/ 166 w 656"/>
                  <a:gd name="T67" fmla="*/ 88 h 658"/>
                  <a:gd name="T68" fmla="*/ 104 w 656"/>
                  <a:gd name="T69" fmla="*/ 144 h 658"/>
                  <a:gd name="T70" fmla="*/ 60 w 656"/>
                  <a:gd name="T71" fmla="*/ 217 h 658"/>
                  <a:gd name="T72" fmla="*/ 39 w 656"/>
                  <a:gd name="T73" fmla="*/ 300 h 658"/>
                  <a:gd name="T74" fmla="*/ 39 w 656"/>
                  <a:gd name="T75" fmla="*/ 359 h 658"/>
                  <a:gd name="T76" fmla="*/ 60 w 656"/>
                  <a:gd name="T77" fmla="*/ 442 h 658"/>
                  <a:gd name="T78" fmla="*/ 104 w 656"/>
                  <a:gd name="T79" fmla="*/ 515 h 658"/>
                  <a:gd name="T80" fmla="*/ 166 w 656"/>
                  <a:gd name="T81" fmla="*/ 571 h 658"/>
                  <a:gd name="T82" fmla="*/ 241 w 656"/>
                  <a:gd name="T83" fmla="*/ 607 h 658"/>
                  <a:gd name="T84" fmla="*/ 329 w 656"/>
                  <a:gd name="T85" fmla="*/ 621 h 658"/>
                  <a:gd name="T86" fmla="*/ 386 w 656"/>
                  <a:gd name="T87" fmla="*/ 614 h 658"/>
                  <a:gd name="T88" fmla="*/ 467 w 656"/>
                  <a:gd name="T89" fmla="*/ 586 h 658"/>
                  <a:gd name="T90" fmla="*/ 534 w 656"/>
                  <a:gd name="T91" fmla="*/ 535 h 658"/>
                  <a:gd name="T92" fmla="*/ 584 w 656"/>
                  <a:gd name="T93" fmla="*/ 468 h 658"/>
                  <a:gd name="T94" fmla="*/ 613 w 656"/>
                  <a:gd name="T95" fmla="*/ 389 h 658"/>
                  <a:gd name="T96" fmla="*/ 619 w 656"/>
                  <a:gd name="T97" fmla="*/ 329 h 658"/>
                  <a:gd name="T98" fmla="*/ 607 w 656"/>
                  <a:gd name="T99" fmla="*/ 244 h 658"/>
                  <a:gd name="T100" fmla="*/ 569 w 656"/>
                  <a:gd name="T101" fmla="*/ 167 h 658"/>
                  <a:gd name="T102" fmla="*/ 514 w 656"/>
                  <a:gd name="T103" fmla="*/ 105 h 658"/>
                  <a:gd name="T104" fmla="*/ 441 w 656"/>
                  <a:gd name="T105" fmla="*/ 61 h 658"/>
                  <a:gd name="T106" fmla="*/ 358 w 656"/>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8">
                    <a:moveTo>
                      <a:pt x="329" y="658"/>
                    </a:moveTo>
                    <a:lnTo>
                      <a:pt x="329" y="658"/>
                    </a:lnTo>
                    <a:lnTo>
                      <a:pt x="311" y="658"/>
                    </a:lnTo>
                    <a:lnTo>
                      <a:pt x="295" y="657"/>
                    </a:lnTo>
                    <a:lnTo>
                      <a:pt x="278"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7"/>
                    </a:lnTo>
                    <a:lnTo>
                      <a:pt x="25" y="457"/>
                    </a:lnTo>
                    <a:lnTo>
                      <a:pt x="15" y="427"/>
                    </a:lnTo>
                    <a:lnTo>
                      <a:pt x="10" y="411"/>
                    </a:lnTo>
                    <a:lnTo>
                      <a:pt x="6" y="395"/>
                    </a:lnTo>
                    <a:lnTo>
                      <a:pt x="4" y="379"/>
                    </a:lnTo>
                    <a:lnTo>
                      <a:pt x="1" y="363"/>
                    </a:lnTo>
                    <a:lnTo>
                      <a:pt x="0" y="347"/>
                    </a:lnTo>
                    <a:lnTo>
                      <a:pt x="0" y="329"/>
                    </a:lnTo>
                    <a:lnTo>
                      <a:pt x="0" y="329"/>
                    </a:lnTo>
                    <a:lnTo>
                      <a:pt x="0" y="312"/>
                    </a:lnTo>
                    <a:lnTo>
                      <a:pt x="1" y="296"/>
                    </a:lnTo>
                    <a:lnTo>
                      <a:pt x="4" y="280"/>
                    </a:lnTo>
                    <a:lnTo>
                      <a:pt x="6" y="264"/>
                    </a:lnTo>
                    <a:lnTo>
                      <a:pt x="10" y="248"/>
                    </a:lnTo>
                    <a:lnTo>
                      <a:pt x="15" y="231"/>
                    </a:lnTo>
                    <a:lnTo>
                      <a:pt x="25" y="202"/>
                    </a:lnTo>
                    <a:lnTo>
                      <a:pt x="40" y="172"/>
                    </a:lnTo>
                    <a:lnTo>
                      <a:pt x="56" y="145"/>
                    </a:lnTo>
                    <a:lnTo>
                      <a:pt x="75" y="120"/>
                    </a:lnTo>
                    <a:lnTo>
                      <a:pt x="96" y="97"/>
                    </a:lnTo>
                    <a:lnTo>
                      <a:pt x="119" y="76"/>
                    </a:lnTo>
                    <a:lnTo>
                      <a:pt x="145" y="57"/>
                    </a:lnTo>
                    <a:lnTo>
                      <a:pt x="172" y="41"/>
                    </a:lnTo>
                    <a:lnTo>
                      <a:pt x="201" y="27"/>
                    </a:lnTo>
                    <a:lnTo>
                      <a:pt x="231" y="15"/>
                    </a:lnTo>
                    <a:lnTo>
                      <a:pt x="247"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4" y="41"/>
                    </a:lnTo>
                    <a:lnTo>
                      <a:pt x="511" y="57"/>
                    </a:lnTo>
                    <a:lnTo>
                      <a:pt x="537" y="76"/>
                    </a:lnTo>
                    <a:lnTo>
                      <a:pt x="561" y="97"/>
                    </a:lnTo>
                    <a:lnTo>
                      <a:pt x="582" y="120"/>
                    </a:lnTo>
                    <a:lnTo>
                      <a:pt x="601" y="145"/>
                    </a:lnTo>
                    <a:lnTo>
                      <a:pt x="617" y="172"/>
                    </a:lnTo>
                    <a:lnTo>
                      <a:pt x="631" y="202"/>
                    </a:lnTo>
                    <a:lnTo>
                      <a:pt x="642" y="231"/>
                    </a:lnTo>
                    <a:lnTo>
                      <a:pt x="647" y="248"/>
                    </a:lnTo>
                    <a:lnTo>
                      <a:pt x="651" y="264"/>
                    </a:lnTo>
                    <a:lnTo>
                      <a:pt x="654" y="280"/>
                    </a:lnTo>
                    <a:lnTo>
                      <a:pt x="655" y="296"/>
                    </a:lnTo>
                    <a:lnTo>
                      <a:pt x="656" y="312"/>
                    </a:lnTo>
                    <a:lnTo>
                      <a:pt x="656" y="329"/>
                    </a:lnTo>
                    <a:lnTo>
                      <a:pt x="656" y="329"/>
                    </a:lnTo>
                    <a:lnTo>
                      <a:pt x="656" y="347"/>
                    </a:lnTo>
                    <a:lnTo>
                      <a:pt x="655" y="363"/>
                    </a:lnTo>
                    <a:lnTo>
                      <a:pt x="654" y="379"/>
                    </a:lnTo>
                    <a:lnTo>
                      <a:pt x="651" y="395"/>
                    </a:lnTo>
                    <a:lnTo>
                      <a:pt x="647" y="411"/>
                    </a:lnTo>
                    <a:lnTo>
                      <a:pt x="642" y="427"/>
                    </a:lnTo>
                    <a:lnTo>
                      <a:pt x="631" y="457"/>
                    </a:lnTo>
                    <a:lnTo>
                      <a:pt x="617" y="487"/>
                    </a:lnTo>
                    <a:lnTo>
                      <a:pt x="601" y="513"/>
                    </a:lnTo>
                    <a:lnTo>
                      <a:pt x="582" y="539"/>
                    </a:lnTo>
                    <a:lnTo>
                      <a:pt x="561" y="562"/>
                    </a:lnTo>
                    <a:lnTo>
                      <a:pt x="537" y="583"/>
                    </a:lnTo>
                    <a:lnTo>
                      <a:pt x="511" y="602"/>
                    </a:lnTo>
                    <a:lnTo>
                      <a:pt x="484" y="618"/>
                    </a:lnTo>
                    <a:lnTo>
                      <a:pt x="456" y="633"/>
                    </a:lnTo>
                    <a:lnTo>
                      <a:pt x="425" y="644"/>
                    </a:lnTo>
                    <a:lnTo>
                      <a:pt x="411" y="648"/>
                    </a:lnTo>
                    <a:lnTo>
                      <a:pt x="395" y="652"/>
                    </a:lnTo>
                    <a:lnTo>
                      <a:pt x="378" y="654"/>
                    </a:lnTo>
                    <a:lnTo>
                      <a:pt x="362" y="657"/>
                    </a:lnTo>
                    <a:lnTo>
                      <a:pt x="345" y="658"/>
                    </a:lnTo>
                    <a:lnTo>
                      <a:pt x="329" y="658"/>
                    </a:lnTo>
                    <a:lnTo>
                      <a:pt x="329" y="658"/>
                    </a:lnTo>
                    <a:close/>
                    <a:moveTo>
                      <a:pt x="329" y="38"/>
                    </a:moveTo>
                    <a:lnTo>
                      <a:pt x="329" y="38"/>
                    </a:lnTo>
                    <a:lnTo>
                      <a:pt x="299" y="39"/>
                    </a:lnTo>
                    <a:lnTo>
                      <a:pt x="270" y="45"/>
                    </a:lnTo>
                    <a:lnTo>
                      <a:pt x="241" y="51"/>
                    </a:lnTo>
                    <a:lnTo>
                      <a:pt x="215" y="61"/>
                    </a:lnTo>
                    <a:lnTo>
                      <a:pt x="189" y="74"/>
                    </a:lnTo>
                    <a:lnTo>
                      <a:pt x="166" y="88"/>
                    </a:lnTo>
                    <a:lnTo>
                      <a:pt x="143" y="105"/>
                    </a:lnTo>
                    <a:lnTo>
                      <a:pt x="123" y="124"/>
                    </a:lnTo>
                    <a:lnTo>
                      <a:pt x="104"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4" y="515"/>
                    </a:lnTo>
                    <a:lnTo>
                      <a:pt x="123" y="535"/>
                    </a:lnTo>
                    <a:lnTo>
                      <a:pt x="143" y="554"/>
                    </a:lnTo>
                    <a:lnTo>
                      <a:pt x="166" y="571"/>
                    </a:lnTo>
                    <a:lnTo>
                      <a:pt x="189" y="586"/>
                    </a:lnTo>
                    <a:lnTo>
                      <a:pt x="215" y="598"/>
                    </a:lnTo>
                    <a:lnTo>
                      <a:pt x="241" y="607"/>
                    </a:lnTo>
                    <a:lnTo>
                      <a:pt x="270" y="614"/>
                    </a:lnTo>
                    <a:lnTo>
                      <a:pt x="299" y="620"/>
                    </a:lnTo>
                    <a:lnTo>
                      <a:pt x="329" y="621"/>
                    </a:lnTo>
                    <a:lnTo>
                      <a:pt x="329" y="621"/>
                    </a:lnTo>
                    <a:lnTo>
                      <a:pt x="358" y="620"/>
                    </a:lnTo>
                    <a:lnTo>
                      <a:pt x="386" y="614"/>
                    </a:lnTo>
                    <a:lnTo>
                      <a:pt x="415" y="607"/>
                    </a:lnTo>
                    <a:lnTo>
                      <a:pt x="441" y="598"/>
                    </a:lnTo>
                    <a:lnTo>
                      <a:pt x="467" y="586"/>
                    </a:lnTo>
                    <a:lnTo>
                      <a:pt x="491" y="571"/>
                    </a:lnTo>
                    <a:lnTo>
                      <a:pt x="514" y="554"/>
                    </a:lnTo>
                    <a:lnTo>
                      <a:pt x="534" y="535"/>
                    </a:lnTo>
                    <a:lnTo>
                      <a:pt x="553" y="515"/>
                    </a:lnTo>
                    <a:lnTo>
                      <a:pt x="569" y="492"/>
                    </a:lnTo>
                    <a:lnTo>
                      <a:pt x="584" y="468"/>
                    </a:lnTo>
                    <a:lnTo>
                      <a:pt x="596" y="442"/>
                    </a:lnTo>
                    <a:lnTo>
                      <a:pt x="607" y="415"/>
                    </a:lnTo>
                    <a:lnTo>
                      <a:pt x="613" y="389"/>
                    </a:lnTo>
                    <a:lnTo>
                      <a:pt x="617" y="359"/>
                    </a:lnTo>
                    <a:lnTo>
                      <a:pt x="619" y="329"/>
                    </a:lnTo>
                    <a:lnTo>
                      <a:pt x="619" y="329"/>
                    </a:lnTo>
                    <a:lnTo>
                      <a:pt x="617" y="300"/>
                    </a:lnTo>
                    <a:lnTo>
                      <a:pt x="613" y="270"/>
                    </a:lnTo>
                    <a:lnTo>
                      <a:pt x="607" y="244"/>
                    </a:lnTo>
                    <a:lnTo>
                      <a:pt x="596" y="217"/>
                    </a:lnTo>
                    <a:lnTo>
                      <a:pt x="584" y="191"/>
                    </a:lnTo>
                    <a:lnTo>
                      <a:pt x="569" y="167"/>
                    </a:lnTo>
                    <a:lnTo>
                      <a:pt x="553" y="144"/>
                    </a:lnTo>
                    <a:lnTo>
                      <a:pt x="534" y="124"/>
                    </a:lnTo>
                    <a:lnTo>
                      <a:pt x="514" y="105"/>
                    </a:lnTo>
                    <a:lnTo>
                      <a:pt x="491" y="88"/>
                    </a:lnTo>
                    <a:lnTo>
                      <a:pt x="467" y="74"/>
                    </a:lnTo>
                    <a:lnTo>
                      <a:pt x="441" y="61"/>
                    </a:lnTo>
                    <a:lnTo>
                      <a:pt x="415" y="51"/>
                    </a:lnTo>
                    <a:lnTo>
                      <a:pt x="386" y="45"/>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47" name="Freeform 344">
                <a:extLst>
                  <a:ext uri="{FF2B5EF4-FFF2-40B4-BE49-F238E27FC236}">
                    <a16:creationId xmlns:a16="http://schemas.microsoft.com/office/drawing/2014/main" id="{B282D02D-9279-EFD5-4873-F8FF507B806C}"/>
                  </a:ext>
                </a:extLst>
              </p:cNvPr>
              <p:cNvSpPr>
                <a:spLocks/>
              </p:cNvSpPr>
              <p:nvPr/>
            </p:nvSpPr>
            <p:spPr bwMode="auto">
              <a:xfrm>
                <a:off x="1566863" y="2652713"/>
                <a:ext cx="271463" cy="182563"/>
              </a:xfrm>
              <a:custGeom>
                <a:avLst/>
                <a:gdLst>
                  <a:gd name="T0" fmla="*/ 286 w 342"/>
                  <a:gd name="T1" fmla="*/ 99 h 231"/>
                  <a:gd name="T2" fmla="*/ 280 w 342"/>
                  <a:gd name="T3" fmla="*/ 79 h 231"/>
                  <a:gd name="T4" fmla="*/ 272 w 342"/>
                  <a:gd name="T5" fmla="*/ 59 h 231"/>
                  <a:gd name="T6" fmla="*/ 261 w 342"/>
                  <a:gd name="T7" fmla="*/ 43 h 231"/>
                  <a:gd name="T8" fmla="*/ 247 w 342"/>
                  <a:gd name="T9" fmla="*/ 28 h 231"/>
                  <a:gd name="T10" fmla="*/ 231 w 342"/>
                  <a:gd name="T11" fmla="*/ 16 h 231"/>
                  <a:gd name="T12" fmla="*/ 212 w 342"/>
                  <a:gd name="T13" fmla="*/ 7 h 231"/>
                  <a:gd name="T14" fmla="*/ 192 w 342"/>
                  <a:gd name="T15" fmla="*/ 1 h 231"/>
                  <a:gd name="T16" fmla="*/ 170 w 342"/>
                  <a:gd name="T17" fmla="*/ 0 h 231"/>
                  <a:gd name="T18" fmla="*/ 151 w 342"/>
                  <a:gd name="T19" fmla="*/ 1 h 231"/>
                  <a:gd name="T20" fmla="*/ 118 w 342"/>
                  <a:gd name="T21" fmla="*/ 12 h 231"/>
                  <a:gd name="T22" fmla="*/ 90 w 342"/>
                  <a:gd name="T23" fmla="*/ 32 h 231"/>
                  <a:gd name="T24" fmla="*/ 68 w 342"/>
                  <a:gd name="T25" fmla="*/ 62 h 231"/>
                  <a:gd name="T26" fmla="*/ 60 w 342"/>
                  <a:gd name="T27" fmla="*/ 78 h 231"/>
                  <a:gd name="T28" fmla="*/ 36 w 342"/>
                  <a:gd name="T29" fmla="*/ 88 h 231"/>
                  <a:gd name="T30" fmla="*/ 16 w 342"/>
                  <a:gd name="T31" fmla="*/ 105 h 231"/>
                  <a:gd name="T32" fmla="*/ 4 w 342"/>
                  <a:gd name="T33" fmla="*/ 127 h 231"/>
                  <a:gd name="T34" fmla="*/ 0 w 342"/>
                  <a:gd name="T35" fmla="*/ 154 h 231"/>
                  <a:gd name="T36" fmla="*/ 1 w 342"/>
                  <a:gd name="T37" fmla="*/ 169 h 231"/>
                  <a:gd name="T38" fmla="*/ 12 w 342"/>
                  <a:gd name="T39" fmla="*/ 196 h 231"/>
                  <a:gd name="T40" fmla="*/ 30 w 342"/>
                  <a:gd name="T41" fmla="*/ 216 h 231"/>
                  <a:gd name="T42" fmla="*/ 56 w 342"/>
                  <a:gd name="T43" fmla="*/ 228 h 231"/>
                  <a:gd name="T44" fmla="*/ 161 w 342"/>
                  <a:gd name="T45" fmla="*/ 231 h 231"/>
                  <a:gd name="T46" fmla="*/ 102 w 342"/>
                  <a:gd name="T47" fmla="*/ 154 h 231"/>
                  <a:gd name="T48" fmla="*/ 162 w 342"/>
                  <a:gd name="T49" fmla="*/ 72 h 231"/>
                  <a:gd name="T50" fmla="*/ 165 w 342"/>
                  <a:gd name="T51" fmla="*/ 71 h 231"/>
                  <a:gd name="T52" fmla="*/ 167 w 342"/>
                  <a:gd name="T53" fmla="*/ 70 h 231"/>
                  <a:gd name="T54" fmla="*/ 173 w 342"/>
                  <a:gd name="T55" fmla="*/ 72 h 231"/>
                  <a:gd name="T56" fmla="*/ 235 w 342"/>
                  <a:gd name="T57" fmla="*/ 154 h 231"/>
                  <a:gd name="T58" fmla="*/ 175 w 342"/>
                  <a:gd name="T59" fmla="*/ 231 h 231"/>
                  <a:gd name="T60" fmla="*/ 282 w 342"/>
                  <a:gd name="T61" fmla="*/ 231 h 231"/>
                  <a:gd name="T62" fmla="*/ 294 w 342"/>
                  <a:gd name="T63" fmla="*/ 229 h 231"/>
                  <a:gd name="T64" fmla="*/ 315 w 342"/>
                  <a:gd name="T65" fmla="*/ 217 h 231"/>
                  <a:gd name="T66" fmla="*/ 331 w 342"/>
                  <a:gd name="T67" fmla="*/ 200 h 231"/>
                  <a:gd name="T68" fmla="*/ 341 w 342"/>
                  <a:gd name="T69" fmla="*/ 177 h 231"/>
                  <a:gd name="T70" fmla="*/ 342 w 342"/>
                  <a:gd name="T71" fmla="*/ 165 h 231"/>
                  <a:gd name="T72" fmla="*/ 338 w 342"/>
                  <a:gd name="T73" fmla="*/ 142 h 231"/>
                  <a:gd name="T74" fmla="*/ 326 w 342"/>
                  <a:gd name="T75" fmla="*/ 122 h 231"/>
                  <a:gd name="T76" fmla="*/ 307 w 342"/>
                  <a:gd name="T77" fmla="*/ 107 h 231"/>
                  <a:gd name="T78" fmla="*/ 286 w 342"/>
                  <a:gd name="T79" fmla="*/ 9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 h="231">
                    <a:moveTo>
                      <a:pt x="286" y="99"/>
                    </a:moveTo>
                    <a:lnTo>
                      <a:pt x="286" y="99"/>
                    </a:lnTo>
                    <a:lnTo>
                      <a:pt x="283" y="88"/>
                    </a:lnTo>
                    <a:lnTo>
                      <a:pt x="280" y="79"/>
                    </a:lnTo>
                    <a:lnTo>
                      <a:pt x="276" y="68"/>
                    </a:lnTo>
                    <a:lnTo>
                      <a:pt x="272" y="59"/>
                    </a:lnTo>
                    <a:lnTo>
                      <a:pt x="267" y="51"/>
                    </a:lnTo>
                    <a:lnTo>
                      <a:pt x="261" y="43"/>
                    </a:lnTo>
                    <a:lnTo>
                      <a:pt x="255" y="35"/>
                    </a:lnTo>
                    <a:lnTo>
                      <a:pt x="247" y="28"/>
                    </a:lnTo>
                    <a:lnTo>
                      <a:pt x="239" y="21"/>
                    </a:lnTo>
                    <a:lnTo>
                      <a:pt x="231" y="16"/>
                    </a:lnTo>
                    <a:lnTo>
                      <a:pt x="221" y="11"/>
                    </a:lnTo>
                    <a:lnTo>
                      <a:pt x="212" y="7"/>
                    </a:lnTo>
                    <a:lnTo>
                      <a:pt x="202" y="4"/>
                    </a:lnTo>
                    <a:lnTo>
                      <a:pt x="192" y="1"/>
                    </a:lnTo>
                    <a:lnTo>
                      <a:pt x="181" y="0"/>
                    </a:lnTo>
                    <a:lnTo>
                      <a:pt x="170" y="0"/>
                    </a:lnTo>
                    <a:lnTo>
                      <a:pt x="170" y="0"/>
                    </a:lnTo>
                    <a:lnTo>
                      <a:pt x="151" y="1"/>
                    </a:lnTo>
                    <a:lnTo>
                      <a:pt x="134" y="5"/>
                    </a:lnTo>
                    <a:lnTo>
                      <a:pt x="118" y="12"/>
                    </a:lnTo>
                    <a:lnTo>
                      <a:pt x="103" y="21"/>
                    </a:lnTo>
                    <a:lnTo>
                      <a:pt x="90" y="32"/>
                    </a:lnTo>
                    <a:lnTo>
                      <a:pt x="77" y="45"/>
                    </a:lnTo>
                    <a:lnTo>
                      <a:pt x="68" y="62"/>
                    </a:lnTo>
                    <a:lnTo>
                      <a:pt x="60" y="78"/>
                    </a:lnTo>
                    <a:lnTo>
                      <a:pt x="60" y="78"/>
                    </a:lnTo>
                    <a:lnTo>
                      <a:pt x="48" y="82"/>
                    </a:lnTo>
                    <a:lnTo>
                      <a:pt x="36" y="88"/>
                    </a:lnTo>
                    <a:lnTo>
                      <a:pt x="25" y="97"/>
                    </a:lnTo>
                    <a:lnTo>
                      <a:pt x="16" y="105"/>
                    </a:lnTo>
                    <a:lnTo>
                      <a:pt x="9" y="115"/>
                    </a:lnTo>
                    <a:lnTo>
                      <a:pt x="4" y="127"/>
                    </a:lnTo>
                    <a:lnTo>
                      <a:pt x="0" y="141"/>
                    </a:lnTo>
                    <a:lnTo>
                      <a:pt x="0" y="154"/>
                    </a:lnTo>
                    <a:lnTo>
                      <a:pt x="0" y="154"/>
                    </a:lnTo>
                    <a:lnTo>
                      <a:pt x="1" y="169"/>
                    </a:lnTo>
                    <a:lnTo>
                      <a:pt x="5" y="182"/>
                    </a:lnTo>
                    <a:lnTo>
                      <a:pt x="12" y="196"/>
                    </a:lnTo>
                    <a:lnTo>
                      <a:pt x="20" y="207"/>
                    </a:lnTo>
                    <a:lnTo>
                      <a:pt x="30" y="216"/>
                    </a:lnTo>
                    <a:lnTo>
                      <a:pt x="43" y="224"/>
                    </a:lnTo>
                    <a:lnTo>
                      <a:pt x="56" y="228"/>
                    </a:lnTo>
                    <a:lnTo>
                      <a:pt x="71" y="231"/>
                    </a:lnTo>
                    <a:lnTo>
                      <a:pt x="161" y="231"/>
                    </a:lnTo>
                    <a:lnTo>
                      <a:pt x="161" y="95"/>
                    </a:lnTo>
                    <a:lnTo>
                      <a:pt x="102" y="154"/>
                    </a:lnTo>
                    <a:lnTo>
                      <a:pt x="91" y="144"/>
                    </a:lnTo>
                    <a:lnTo>
                      <a:pt x="162" y="72"/>
                    </a:lnTo>
                    <a:lnTo>
                      <a:pt x="162" y="72"/>
                    </a:lnTo>
                    <a:lnTo>
                      <a:pt x="165" y="71"/>
                    </a:lnTo>
                    <a:lnTo>
                      <a:pt x="167" y="70"/>
                    </a:lnTo>
                    <a:lnTo>
                      <a:pt x="167" y="70"/>
                    </a:lnTo>
                    <a:lnTo>
                      <a:pt x="170" y="71"/>
                    </a:lnTo>
                    <a:lnTo>
                      <a:pt x="173" y="72"/>
                    </a:lnTo>
                    <a:lnTo>
                      <a:pt x="244" y="144"/>
                    </a:lnTo>
                    <a:lnTo>
                      <a:pt x="235" y="154"/>
                    </a:lnTo>
                    <a:lnTo>
                      <a:pt x="175" y="95"/>
                    </a:lnTo>
                    <a:lnTo>
                      <a:pt x="175" y="231"/>
                    </a:lnTo>
                    <a:lnTo>
                      <a:pt x="280" y="231"/>
                    </a:lnTo>
                    <a:lnTo>
                      <a:pt x="282" y="231"/>
                    </a:lnTo>
                    <a:lnTo>
                      <a:pt x="282" y="231"/>
                    </a:lnTo>
                    <a:lnTo>
                      <a:pt x="294" y="229"/>
                    </a:lnTo>
                    <a:lnTo>
                      <a:pt x="304" y="224"/>
                    </a:lnTo>
                    <a:lnTo>
                      <a:pt x="315" y="217"/>
                    </a:lnTo>
                    <a:lnTo>
                      <a:pt x="324" y="209"/>
                    </a:lnTo>
                    <a:lnTo>
                      <a:pt x="331" y="200"/>
                    </a:lnTo>
                    <a:lnTo>
                      <a:pt x="337" y="189"/>
                    </a:lnTo>
                    <a:lnTo>
                      <a:pt x="341" y="177"/>
                    </a:lnTo>
                    <a:lnTo>
                      <a:pt x="342" y="165"/>
                    </a:lnTo>
                    <a:lnTo>
                      <a:pt x="342" y="165"/>
                    </a:lnTo>
                    <a:lnTo>
                      <a:pt x="341" y="153"/>
                    </a:lnTo>
                    <a:lnTo>
                      <a:pt x="338" y="142"/>
                    </a:lnTo>
                    <a:lnTo>
                      <a:pt x="333" y="131"/>
                    </a:lnTo>
                    <a:lnTo>
                      <a:pt x="326" y="122"/>
                    </a:lnTo>
                    <a:lnTo>
                      <a:pt x="318" y="114"/>
                    </a:lnTo>
                    <a:lnTo>
                      <a:pt x="307" y="107"/>
                    </a:lnTo>
                    <a:lnTo>
                      <a:pt x="296" y="102"/>
                    </a:lnTo>
                    <a:lnTo>
                      <a:pt x="286" y="99"/>
                    </a:lnTo>
                    <a:lnTo>
                      <a:pt x="286"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48" name="Group 147">
              <a:extLst>
                <a:ext uri="{FF2B5EF4-FFF2-40B4-BE49-F238E27FC236}">
                  <a16:creationId xmlns:a16="http://schemas.microsoft.com/office/drawing/2014/main" id="{DFD44360-DAA0-E5D2-9D74-895301E81A86}"/>
                </a:ext>
              </a:extLst>
            </p:cNvPr>
            <p:cNvGrpSpPr>
              <a:grpSpLocks noChangeAspect="1"/>
            </p:cNvGrpSpPr>
            <p:nvPr/>
          </p:nvGrpSpPr>
          <p:grpSpPr>
            <a:xfrm>
              <a:off x="884290" y="4260611"/>
              <a:ext cx="391752" cy="392947"/>
              <a:chOff x="5837238" y="4180523"/>
              <a:chExt cx="520700" cy="522288"/>
            </a:xfrm>
          </p:grpSpPr>
          <p:sp>
            <p:nvSpPr>
              <p:cNvPr id="242" name="Freeform 72">
                <a:extLst>
                  <a:ext uri="{FF2B5EF4-FFF2-40B4-BE49-F238E27FC236}">
                    <a16:creationId xmlns:a16="http://schemas.microsoft.com/office/drawing/2014/main" id="{F7AB8837-7D31-23CD-CEF4-8DB895D412A4}"/>
                  </a:ext>
                </a:extLst>
              </p:cNvPr>
              <p:cNvSpPr>
                <a:spLocks noEditPoints="1"/>
              </p:cNvSpPr>
              <p:nvPr/>
            </p:nvSpPr>
            <p:spPr bwMode="auto">
              <a:xfrm>
                <a:off x="5837238" y="4180523"/>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39 w 658"/>
                  <a:gd name="T21" fmla="*/ 172 h 657"/>
                  <a:gd name="T22" fmla="*/ 96 w 658"/>
                  <a:gd name="T23" fmla="*/ 97 h 657"/>
                  <a:gd name="T24" fmla="*/ 172 w 658"/>
                  <a:gd name="T25" fmla="*/ 39 h 657"/>
                  <a:gd name="T26" fmla="*/ 246 w 658"/>
                  <a:gd name="T27" fmla="*/ 9 h 657"/>
                  <a:gd name="T28" fmla="*/ 295 w 658"/>
                  <a:gd name="T29" fmla="*/ 1 h 657"/>
                  <a:gd name="T30" fmla="*/ 328 w 658"/>
                  <a:gd name="T31" fmla="*/ 0 h 657"/>
                  <a:gd name="T32" fmla="*/ 379 w 658"/>
                  <a:gd name="T33" fmla="*/ 4 h 657"/>
                  <a:gd name="T34" fmla="*/ 426 w 658"/>
                  <a:gd name="T35" fmla="*/ 15 h 657"/>
                  <a:gd name="T36" fmla="*/ 512 w 658"/>
                  <a:gd name="T37" fmla="*/ 56 h 657"/>
                  <a:gd name="T38" fmla="*/ 582 w 658"/>
                  <a:gd name="T39" fmla="*/ 119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7 h 657"/>
                  <a:gd name="T54" fmla="*/ 512 w 658"/>
                  <a:gd name="T55" fmla="*/ 601 h 657"/>
                  <a:gd name="T56" fmla="*/ 426 w 658"/>
                  <a:gd name="T57" fmla="*/ 642 h 657"/>
                  <a:gd name="T58" fmla="*/ 379 w 658"/>
                  <a:gd name="T59" fmla="*/ 653 h 657"/>
                  <a:gd name="T60" fmla="*/ 328 w 658"/>
                  <a:gd name="T61" fmla="*/ 657 h 657"/>
                  <a:gd name="T62" fmla="*/ 328 w 658"/>
                  <a:gd name="T63" fmla="*/ 37 h 657"/>
                  <a:gd name="T64" fmla="*/ 242 w 658"/>
                  <a:gd name="T65" fmla="*/ 51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7 h 657"/>
                  <a:gd name="T84" fmla="*/ 328 w 658"/>
                  <a:gd name="T85" fmla="*/ 619 h 657"/>
                  <a:gd name="T86" fmla="*/ 387 w 658"/>
                  <a:gd name="T87" fmla="*/ 614 h 657"/>
                  <a:gd name="T88" fmla="*/ 468 w 658"/>
                  <a:gd name="T89" fmla="*/ 584 h 657"/>
                  <a:gd name="T90" fmla="*/ 535 w 658"/>
                  <a:gd name="T91" fmla="*/ 535 h 657"/>
                  <a:gd name="T92" fmla="*/ 585 w 658"/>
                  <a:gd name="T93" fmla="*/ 468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8"/>
                    </a:lnTo>
                    <a:lnTo>
                      <a:pt x="232" y="642"/>
                    </a:lnTo>
                    <a:lnTo>
                      <a:pt x="201" y="632"/>
                    </a:lnTo>
                    <a:lnTo>
                      <a:pt x="172" y="618"/>
                    </a:lnTo>
                    <a:lnTo>
                      <a:pt x="146" y="601"/>
                    </a:lnTo>
                    <a:lnTo>
                      <a:pt x="120" y="582"/>
                    </a:lnTo>
                    <a:lnTo>
                      <a:pt x="96" y="562"/>
                    </a:lnTo>
                    <a:lnTo>
                      <a:pt x="76" y="537"/>
                    </a:lnTo>
                    <a:lnTo>
                      <a:pt x="57" y="512"/>
                    </a:lnTo>
                    <a:lnTo>
                      <a:pt x="39" y="485"/>
                    </a:lnTo>
                    <a:lnTo>
                      <a:pt x="26" y="457"/>
                    </a:lnTo>
                    <a:lnTo>
                      <a:pt x="15" y="426"/>
                    </a:lnTo>
                    <a:lnTo>
                      <a:pt x="10" y="411"/>
                    </a:lnTo>
                    <a:lnTo>
                      <a:pt x="7" y="395"/>
                    </a:lnTo>
                    <a:lnTo>
                      <a:pt x="4" y="379"/>
                    </a:lnTo>
                    <a:lnTo>
                      <a:pt x="2" y="361"/>
                    </a:lnTo>
                    <a:lnTo>
                      <a:pt x="0" y="345"/>
                    </a:lnTo>
                    <a:lnTo>
                      <a:pt x="0" y="329"/>
                    </a:lnTo>
                    <a:lnTo>
                      <a:pt x="0" y="329"/>
                    </a:lnTo>
                    <a:lnTo>
                      <a:pt x="0" y="312"/>
                    </a:lnTo>
                    <a:lnTo>
                      <a:pt x="2" y="296"/>
                    </a:lnTo>
                    <a:lnTo>
                      <a:pt x="4" y="278"/>
                    </a:lnTo>
                    <a:lnTo>
                      <a:pt x="7" y="262"/>
                    </a:lnTo>
                    <a:lnTo>
                      <a:pt x="10" y="246"/>
                    </a:lnTo>
                    <a:lnTo>
                      <a:pt x="15" y="231"/>
                    </a:lnTo>
                    <a:lnTo>
                      <a:pt x="26" y="200"/>
                    </a:lnTo>
                    <a:lnTo>
                      <a:pt x="39" y="172"/>
                    </a:lnTo>
                    <a:lnTo>
                      <a:pt x="57" y="145"/>
                    </a:lnTo>
                    <a:lnTo>
                      <a:pt x="76" y="119"/>
                    </a:lnTo>
                    <a:lnTo>
                      <a:pt x="96" y="97"/>
                    </a:lnTo>
                    <a:lnTo>
                      <a:pt x="120" y="75"/>
                    </a:lnTo>
                    <a:lnTo>
                      <a:pt x="146" y="56"/>
                    </a:lnTo>
                    <a:lnTo>
                      <a:pt x="172" y="39"/>
                    </a:lnTo>
                    <a:lnTo>
                      <a:pt x="201" y="25"/>
                    </a:lnTo>
                    <a:lnTo>
                      <a:pt x="232" y="15"/>
                    </a:lnTo>
                    <a:lnTo>
                      <a:pt x="246" y="9"/>
                    </a:lnTo>
                    <a:lnTo>
                      <a:pt x="262" y="7"/>
                    </a:lnTo>
                    <a:lnTo>
                      <a:pt x="279" y="4"/>
                    </a:lnTo>
                    <a:lnTo>
                      <a:pt x="295" y="1"/>
                    </a:lnTo>
                    <a:lnTo>
                      <a:pt x="312" y="0"/>
                    </a:lnTo>
                    <a:lnTo>
                      <a:pt x="328" y="0"/>
                    </a:lnTo>
                    <a:lnTo>
                      <a:pt x="328" y="0"/>
                    </a:lnTo>
                    <a:lnTo>
                      <a:pt x="346" y="0"/>
                    </a:lnTo>
                    <a:lnTo>
                      <a:pt x="362" y="1"/>
                    </a:lnTo>
                    <a:lnTo>
                      <a:pt x="379" y="4"/>
                    </a:lnTo>
                    <a:lnTo>
                      <a:pt x="396" y="7"/>
                    </a:lnTo>
                    <a:lnTo>
                      <a:pt x="412" y="9"/>
                    </a:lnTo>
                    <a:lnTo>
                      <a:pt x="426" y="15"/>
                    </a:lnTo>
                    <a:lnTo>
                      <a:pt x="457" y="25"/>
                    </a:lnTo>
                    <a:lnTo>
                      <a:pt x="486" y="39"/>
                    </a:lnTo>
                    <a:lnTo>
                      <a:pt x="512" y="56"/>
                    </a:lnTo>
                    <a:lnTo>
                      <a:pt x="538" y="75"/>
                    </a:lnTo>
                    <a:lnTo>
                      <a:pt x="561" y="97"/>
                    </a:lnTo>
                    <a:lnTo>
                      <a:pt x="582" y="119"/>
                    </a:lnTo>
                    <a:lnTo>
                      <a:pt x="601" y="145"/>
                    </a:lnTo>
                    <a:lnTo>
                      <a:pt x="619" y="172"/>
                    </a:lnTo>
                    <a:lnTo>
                      <a:pt x="632" y="200"/>
                    </a:lnTo>
                    <a:lnTo>
                      <a:pt x="643" y="231"/>
                    </a:lnTo>
                    <a:lnTo>
                      <a:pt x="648" y="246"/>
                    </a:lnTo>
                    <a:lnTo>
                      <a:pt x="651" y="262"/>
                    </a:lnTo>
                    <a:lnTo>
                      <a:pt x="654" y="278"/>
                    </a:lnTo>
                    <a:lnTo>
                      <a:pt x="656" y="296"/>
                    </a:lnTo>
                    <a:lnTo>
                      <a:pt x="658" y="312"/>
                    </a:lnTo>
                    <a:lnTo>
                      <a:pt x="658" y="329"/>
                    </a:lnTo>
                    <a:lnTo>
                      <a:pt x="658" y="329"/>
                    </a:lnTo>
                    <a:lnTo>
                      <a:pt x="658" y="345"/>
                    </a:lnTo>
                    <a:lnTo>
                      <a:pt x="656" y="361"/>
                    </a:lnTo>
                    <a:lnTo>
                      <a:pt x="654" y="379"/>
                    </a:lnTo>
                    <a:lnTo>
                      <a:pt x="651" y="395"/>
                    </a:lnTo>
                    <a:lnTo>
                      <a:pt x="648" y="411"/>
                    </a:lnTo>
                    <a:lnTo>
                      <a:pt x="643" y="426"/>
                    </a:lnTo>
                    <a:lnTo>
                      <a:pt x="632" y="457"/>
                    </a:lnTo>
                    <a:lnTo>
                      <a:pt x="619" y="485"/>
                    </a:lnTo>
                    <a:lnTo>
                      <a:pt x="601" y="512"/>
                    </a:lnTo>
                    <a:lnTo>
                      <a:pt x="582" y="537"/>
                    </a:lnTo>
                    <a:lnTo>
                      <a:pt x="561" y="562"/>
                    </a:lnTo>
                    <a:lnTo>
                      <a:pt x="538" y="582"/>
                    </a:lnTo>
                    <a:lnTo>
                      <a:pt x="512" y="601"/>
                    </a:lnTo>
                    <a:lnTo>
                      <a:pt x="486" y="618"/>
                    </a:lnTo>
                    <a:lnTo>
                      <a:pt x="457" y="632"/>
                    </a:lnTo>
                    <a:lnTo>
                      <a:pt x="426" y="642"/>
                    </a:lnTo>
                    <a:lnTo>
                      <a:pt x="412" y="648"/>
                    </a:lnTo>
                    <a:lnTo>
                      <a:pt x="396" y="650"/>
                    </a:lnTo>
                    <a:lnTo>
                      <a:pt x="379" y="653"/>
                    </a:lnTo>
                    <a:lnTo>
                      <a:pt x="362" y="656"/>
                    </a:lnTo>
                    <a:lnTo>
                      <a:pt x="346" y="657"/>
                    </a:lnTo>
                    <a:lnTo>
                      <a:pt x="328" y="657"/>
                    </a:lnTo>
                    <a:lnTo>
                      <a:pt x="328" y="657"/>
                    </a:lnTo>
                    <a:close/>
                    <a:moveTo>
                      <a:pt x="328" y="37"/>
                    </a:moveTo>
                    <a:lnTo>
                      <a:pt x="328" y="37"/>
                    </a:lnTo>
                    <a:lnTo>
                      <a:pt x="299" y="39"/>
                    </a:lnTo>
                    <a:lnTo>
                      <a:pt x="271" y="43"/>
                    </a:lnTo>
                    <a:lnTo>
                      <a:pt x="242" y="51"/>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4"/>
                    </a:lnTo>
                    <a:lnTo>
                      <a:pt x="215" y="597"/>
                    </a:lnTo>
                    <a:lnTo>
                      <a:pt x="242" y="607"/>
                    </a:lnTo>
                    <a:lnTo>
                      <a:pt x="271" y="614"/>
                    </a:lnTo>
                    <a:lnTo>
                      <a:pt x="299" y="618"/>
                    </a:lnTo>
                    <a:lnTo>
                      <a:pt x="328" y="619"/>
                    </a:lnTo>
                    <a:lnTo>
                      <a:pt x="328" y="619"/>
                    </a:lnTo>
                    <a:lnTo>
                      <a:pt x="359" y="618"/>
                    </a:lnTo>
                    <a:lnTo>
                      <a:pt x="387" y="614"/>
                    </a:lnTo>
                    <a:lnTo>
                      <a:pt x="416" y="607"/>
                    </a:lnTo>
                    <a:lnTo>
                      <a:pt x="443" y="597"/>
                    </a:lnTo>
                    <a:lnTo>
                      <a:pt x="468" y="584"/>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2"/>
                    </a:lnTo>
                    <a:lnTo>
                      <a:pt x="443" y="60"/>
                    </a:lnTo>
                    <a:lnTo>
                      <a:pt x="416" y="51"/>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43" name="Freeform 213">
                <a:extLst>
                  <a:ext uri="{FF2B5EF4-FFF2-40B4-BE49-F238E27FC236}">
                    <a16:creationId xmlns:a16="http://schemas.microsoft.com/office/drawing/2014/main" id="{F1CCF62D-025C-496E-775B-0399EB82E6DD}"/>
                  </a:ext>
                </a:extLst>
              </p:cNvPr>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44" name="Freeform 214">
                <a:extLst>
                  <a:ext uri="{FF2B5EF4-FFF2-40B4-BE49-F238E27FC236}">
                    <a16:creationId xmlns:a16="http://schemas.microsoft.com/office/drawing/2014/main" id="{12A51144-5AF4-B0DA-68B3-5B2F2D880D10}"/>
                  </a:ext>
                </a:extLst>
              </p:cNvPr>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45" name="Freeform 215">
                <a:extLst>
                  <a:ext uri="{FF2B5EF4-FFF2-40B4-BE49-F238E27FC236}">
                    <a16:creationId xmlns:a16="http://schemas.microsoft.com/office/drawing/2014/main" id="{D8F24D79-BC48-CFD7-1B5E-EA9DE18DFD5A}"/>
                  </a:ext>
                </a:extLst>
              </p:cNvPr>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sp>
          <p:nvSpPr>
            <p:cNvPr id="149" name="Chevron 49">
              <a:extLst>
                <a:ext uri="{FF2B5EF4-FFF2-40B4-BE49-F238E27FC236}">
                  <a16:creationId xmlns:a16="http://schemas.microsoft.com/office/drawing/2014/main" id="{98B40162-9204-C63F-9CD7-B2326EC5FAF2}"/>
                </a:ext>
              </a:extLst>
            </p:cNvPr>
            <p:cNvSpPr/>
            <p:nvPr/>
          </p:nvSpPr>
          <p:spPr>
            <a:xfrm>
              <a:off x="2593500" y="4978292"/>
              <a:ext cx="221416" cy="444580"/>
            </a:xfrm>
            <a:prstGeom prst="chevron">
              <a:avLst>
                <a:gd name="adj" fmla="val 74590"/>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rgbClr val="000000"/>
                </a:solidFill>
              </a:endParaRPr>
            </a:p>
          </p:txBody>
        </p:sp>
        <p:sp>
          <p:nvSpPr>
            <p:cNvPr id="150" name="Chevron 49">
              <a:extLst>
                <a:ext uri="{FF2B5EF4-FFF2-40B4-BE49-F238E27FC236}">
                  <a16:creationId xmlns:a16="http://schemas.microsoft.com/office/drawing/2014/main" id="{AB889ABB-8AD2-1A89-C74F-E0C5113BA907}"/>
                </a:ext>
              </a:extLst>
            </p:cNvPr>
            <p:cNvSpPr/>
            <p:nvPr/>
          </p:nvSpPr>
          <p:spPr>
            <a:xfrm>
              <a:off x="8691315" y="4667396"/>
              <a:ext cx="221416" cy="444580"/>
            </a:xfrm>
            <a:prstGeom prst="chevron">
              <a:avLst>
                <a:gd name="adj" fmla="val 74590"/>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rgbClr val="000000"/>
                </a:solidFill>
              </a:endParaRPr>
            </a:p>
          </p:txBody>
        </p:sp>
        <p:sp>
          <p:nvSpPr>
            <p:cNvPr id="151" name="Chevron 49">
              <a:extLst>
                <a:ext uri="{FF2B5EF4-FFF2-40B4-BE49-F238E27FC236}">
                  <a16:creationId xmlns:a16="http://schemas.microsoft.com/office/drawing/2014/main" id="{F345E12F-1213-67F7-26B6-4E3891A7A48F}"/>
                </a:ext>
              </a:extLst>
            </p:cNvPr>
            <p:cNvSpPr/>
            <p:nvPr/>
          </p:nvSpPr>
          <p:spPr>
            <a:xfrm>
              <a:off x="8691315" y="2814148"/>
              <a:ext cx="221416" cy="444580"/>
            </a:xfrm>
            <a:prstGeom prst="chevron">
              <a:avLst>
                <a:gd name="adj" fmla="val 74590"/>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rgbClr val="000000"/>
                </a:solidFill>
              </a:endParaRPr>
            </a:p>
          </p:txBody>
        </p:sp>
        <p:grpSp>
          <p:nvGrpSpPr>
            <p:cNvPr id="152" name="Group 151">
              <a:extLst>
                <a:ext uri="{FF2B5EF4-FFF2-40B4-BE49-F238E27FC236}">
                  <a16:creationId xmlns:a16="http://schemas.microsoft.com/office/drawing/2014/main" id="{BF773CBB-B4DD-CCA3-343F-5A0281E16E29}"/>
                </a:ext>
              </a:extLst>
            </p:cNvPr>
            <p:cNvGrpSpPr>
              <a:grpSpLocks noChangeAspect="1"/>
            </p:cNvGrpSpPr>
            <p:nvPr/>
          </p:nvGrpSpPr>
          <p:grpSpPr>
            <a:xfrm>
              <a:off x="3152559" y="2725749"/>
              <a:ext cx="221212" cy="221212"/>
              <a:chOff x="2316163" y="4175125"/>
              <a:chExt cx="522288" cy="522288"/>
            </a:xfrm>
          </p:grpSpPr>
          <p:sp>
            <p:nvSpPr>
              <p:cNvPr id="233" name="Freeform 38">
                <a:extLst>
                  <a:ext uri="{FF2B5EF4-FFF2-40B4-BE49-F238E27FC236}">
                    <a16:creationId xmlns:a16="http://schemas.microsoft.com/office/drawing/2014/main" id="{78C79E41-EFBE-5ED5-11F0-84AEA62AED47}"/>
                  </a:ext>
                </a:extLst>
              </p:cNvPr>
              <p:cNvSpPr>
                <a:spLocks noEditPoints="1"/>
              </p:cNvSpPr>
              <p:nvPr/>
            </p:nvSpPr>
            <p:spPr bwMode="auto">
              <a:xfrm>
                <a:off x="2316163" y="4175125"/>
                <a:ext cx="522288" cy="522288"/>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9 h 657"/>
                  <a:gd name="T16" fmla="*/ 2 w 657"/>
                  <a:gd name="T17" fmla="*/ 296 h 657"/>
                  <a:gd name="T18" fmla="*/ 10 w 657"/>
                  <a:gd name="T19" fmla="*/ 246 h 657"/>
                  <a:gd name="T20" fmla="*/ 39 w 657"/>
                  <a:gd name="T21" fmla="*/ 172 h 657"/>
                  <a:gd name="T22" fmla="*/ 96 w 657"/>
                  <a:gd name="T23" fmla="*/ 97 h 657"/>
                  <a:gd name="T24" fmla="*/ 172 w 657"/>
                  <a:gd name="T25" fmla="*/ 39 h 657"/>
                  <a:gd name="T26" fmla="*/ 246 w 657"/>
                  <a:gd name="T27" fmla="*/ 10 h 657"/>
                  <a:gd name="T28" fmla="*/ 294 w 657"/>
                  <a:gd name="T29" fmla="*/ 2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8 w 657"/>
                  <a:gd name="T61" fmla="*/ 657 h 657"/>
                  <a:gd name="T62" fmla="*/ 328 w 657"/>
                  <a:gd name="T63" fmla="*/ 38 h 657"/>
                  <a:gd name="T64" fmla="*/ 242 w 657"/>
                  <a:gd name="T65" fmla="*/ 51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7 h 657"/>
                  <a:gd name="T84" fmla="*/ 328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9 h 657"/>
                  <a:gd name="T98" fmla="*/ 606 w 657"/>
                  <a:gd name="T99" fmla="*/ 242 h 657"/>
                  <a:gd name="T100" fmla="*/ 570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8"/>
                    </a:lnTo>
                    <a:lnTo>
                      <a:pt x="231" y="642"/>
                    </a:lnTo>
                    <a:lnTo>
                      <a:pt x="200" y="632"/>
                    </a:lnTo>
                    <a:lnTo>
                      <a:pt x="172" y="618"/>
                    </a:lnTo>
                    <a:lnTo>
                      <a:pt x="145" y="601"/>
                    </a:lnTo>
                    <a:lnTo>
                      <a:pt x="120" y="582"/>
                    </a:lnTo>
                    <a:lnTo>
                      <a:pt x="96" y="562"/>
                    </a:lnTo>
                    <a:lnTo>
                      <a:pt x="76" y="538"/>
                    </a:lnTo>
                    <a:lnTo>
                      <a:pt x="55" y="512"/>
                    </a:lnTo>
                    <a:lnTo>
                      <a:pt x="39" y="485"/>
                    </a:lnTo>
                    <a:lnTo>
                      <a:pt x="26" y="457"/>
                    </a:lnTo>
                    <a:lnTo>
                      <a:pt x="15" y="426"/>
                    </a:lnTo>
                    <a:lnTo>
                      <a:pt x="10" y="411"/>
                    </a:lnTo>
                    <a:lnTo>
                      <a:pt x="7" y="395"/>
                    </a:lnTo>
                    <a:lnTo>
                      <a:pt x="3" y="379"/>
                    </a:lnTo>
                    <a:lnTo>
                      <a:pt x="2" y="362"/>
                    </a:lnTo>
                    <a:lnTo>
                      <a:pt x="0" y="346"/>
                    </a:lnTo>
                    <a:lnTo>
                      <a:pt x="0" y="329"/>
                    </a:lnTo>
                    <a:lnTo>
                      <a:pt x="0" y="329"/>
                    </a:lnTo>
                    <a:lnTo>
                      <a:pt x="0" y="312"/>
                    </a:lnTo>
                    <a:lnTo>
                      <a:pt x="2" y="296"/>
                    </a:lnTo>
                    <a:lnTo>
                      <a:pt x="3" y="278"/>
                    </a:lnTo>
                    <a:lnTo>
                      <a:pt x="7" y="262"/>
                    </a:lnTo>
                    <a:lnTo>
                      <a:pt x="10" y="246"/>
                    </a:lnTo>
                    <a:lnTo>
                      <a:pt x="15" y="231"/>
                    </a:lnTo>
                    <a:lnTo>
                      <a:pt x="26" y="200"/>
                    </a:lnTo>
                    <a:lnTo>
                      <a:pt x="39" y="172"/>
                    </a:lnTo>
                    <a:lnTo>
                      <a:pt x="55" y="145"/>
                    </a:lnTo>
                    <a:lnTo>
                      <a:pt x="76" y="120"/>
                    </a:lnTo>
                    <a:lnTo>
                      <a:pt x="96" y="97"/>
                    </a:lnTo>
                    <a:lnTo>
                      <a:pt x="120" y="76"/>
                    </a:lnTo>
                    <a:lnTo>
                      <a:pt x="145" y="57"/>
                    </a:lnTo>
                    <a:lnTo>
                      <a:pt x="172" y="39"/>
                    </a:lnTo>
                    <a:lnTo>
                      <a:pt x="200" y="26"/>
                    </a:lnTo>
                    <a:lnTo>
                      <a:pt x="231" y="15"/>
                    </a:lnTo>
                    <a:lnTo>
                      <a:pt x="246" y="10"/>
                    </a:lnTo>
                    <a:lnTo>
                      <a:pt x="262" y="7"/>
                    </a:lnTo>
                    <a:lnTo>
                      <a:pt x="278" y="4"/>
                    </a:lnTo>
                    <a:lnTo>
                      <a:pt x="294" y="2"/>
                    </a:lnTo>
                    <a:lnTo>
                      <a:pt x="312" y="0"/>
                    </a:lnTo>
                    <a:lnTo>
                      <a:pt x="328" y="0"/>
                    </a:lnTo>
                    <a:lnTo>
                      <a:pt x="328" y="0"/>
                    </a:lnTo>
                    <a:lnTo>
                      <a:pt x="346" y="0"/>
                    </a:lnTo>
                    <a:lnTo>
                      <a:pt x="362" y="2"/>
                    </a:lnTo>
                    <a:lnTo>
                      <a:pt x="379" y="4"/>
                    </a:lnTo>
                    <a:lnTo>
                      <a:pt x="395" y="7"/>
                    </a:lnTo>
                    <a:lnTo>
                      <a:pt x="410" y="10"/>
                    </a:lnTo>
                    <a:lnTo>
                      <a:pt x="426" y="15"/>
                    </a:lnTo>
                    <a:lnTo>
                      <a:pt x="457" y="26"/>
                    </a:lnTo>
                    <a:lnTo>
                      <a:pt x="485" y="39"/>
                    </a:lnTo>
                    <a:lnTo>
                      <a:pt x="512" y="57"/>
                    </a:lnTo>
                    <a:lnTo>
                      <a:pt x="538" y="76"/>
                    </a:lnTo>
                    <a:lnTo>
                      <a:pt x="560" y="97"/>
                    </a:lnTo>
                    <a:lnTo>
                      <a:pt x="582" y="120"/>
                    </a:lnTo>
                    <a:lnTo>
                      <a:pt x="601" y="145"/>
                    </a:lnTo>
                    <a:lnTo>
                      <a:pt x="618" y="172"/>
                    </a:lnTo>
                    <a:lnTo>
                      <a:pt x="632" y="200"/>
                    </a:lnTo>
                    <a:lnTo>
                      <a:pt x="642" y="231"/>
                    </a:lnTo>
                    <a:lnTo>
                      <a:pt x="646" y="246"/>
                    </a:lnTo>
                    <a:lnTo>
                      <a:pt x="650" y="262"/>
                    </a:lnTo>
                    <a:lnTo>
                      <a:pt x="653" y="278"/>
                    </a:lnTo>
                    <a:lnTo>
                      <a:pt x="656" y="296"/>
                    </a:lnTo>
                    <a:lnTo>
                      <a:pt x="657" y="312"/>
                    </a:lnTo>
                    <a:lnTo>
                      <a:pt x="657" y="329"/>
                    </a:lnTo>
                    <a:lnTo>
                      <a:pt x="657" y="329"/>
                    </a:lnTo>
                    <a:lnTo>
                      <a:pt x="657" y="346"/>
                    </a:lnTo>
                    <a:lnTo>
                      <a:pt x="656" y="362"/>
                    </a:lnTo>
                    <a:lnTo>
                      <a:pt x="653" y="379"/>
                    </a:lnTo>
                    <a:lnTo>
                      <a:pt x="650" y="395"/>
                    </a:lnTo>
                    <a:lnTo>
                      <a:pt x="646" y="411"/>
                    </a:lnTo>
                    <a:lnTo>
                      <a:pt x="642" y="426"/>
                    </a:lnTo>
                    <a:lnTo>
                      <a:pt x="632" y="457"/>
                    </a:lnTo>
                    <a:lnTo>
                      <a:pt x="618" y="485"/>
                    </a:lnTo>
                    <a:lnTo>
                      <a:pt x="601" y="512"/>
                    </a:lnTo>
                    <a:lnTo>
                      <a:pt x="582" y="538"/>
                    </a:lnTo>
                    <a:lnTo>
                      <a:pt x="560" y="562"/>
                    </a:lnTo>
                    <a:lnTo>
                      <a:pt x="538" y="582"/>
                    </a:lnTo>
                    <a:lnTo>
                      <a:pt x="512" y="601"/>
                    </a:lnTo>
                    <a:lnTo>
                      <a:pt x="485" y="618"/>
                    </a:lnTo>
                    <a:lnTo>
                      <a:pt x="457" y="632"/>
                    </a:lnTo>
                    <a:lnTo>
                      <a:pt x="426" y="642"/>
                    </a:lnTo>
                    <a:lnTo>
                      <a:pt x="410" y="648"/>
                    </a:lnTo>
                    <a:lnTo>
                      <a:pt x="395" y="650"/>
                    </a:lnTo>
                    <a:lnTo>
                      <a:pt x="379" y="653"/>
                    </a:lnTo>
                    <a:lnTo>
                      <a:pt x="362" y="656"/>
                    </a:lnTo>
                    <a:lnTo>
                      <a:pt x="346" y="657"/>
                    </a:lnTo>
                    <a:lnTo>
                      <a:pt x="328" y="657"/>
                    </a:lnTo>
                    <a:lnTo>
                      <a:pt x="328" y="657"/>
                    </a:lnTo>
                    <a:close/>
                    <a:moveTo>
                      <a:pt x="328" y="38"/>
                    </a:moveTo>
                    <a:lnTo>
                      <a:pt x="328" y="38"/>
                    </a:lnTo>
                    <a:lnTo>
                      <a:pt x="299" y="39"/>
                    </a:lnTo>
                    <a:lnTo>
                      <a:pt x="270" y="43"/>
                    </a:lnTo>
                    <a:lnTo>
                      <a:pt x="242" y="51"/>
                    </a:lnTo>
                    <a:lnTo>
                      <a:pt x="215" y="61"/>
                    </a:lnTo>
                    <a:lnTo>
                      <a:pt x="190" y="73"/>
                    </a:lnTo>
                    <a:lnTo>
                      <a:pt x="166" y="88"/>
                    </a:lnTo>
                    <a:lnTo>
                      <a:pt x="144" y="104"/>
                    </a:lnTo>
                    <a:lnTo>
                      <a:pt x="123" y="123"/>
                    </a:lnTo>
                    <a:lnTo>
                      <a:pt x="104" y="144"/>
                    </a:lnTo>
                    <a:lnTo>
                      <a:pt x="88" y="166"/>
                    </a:lnTo>
                    <a:lnTo>
                      <a:pt x="73" y="190"/>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7"/>
                    </a:lnTo>
                    <a:lnTo>
                      <a:pt x="270" y="614"/>
                    </a:lnTo>
                    <a:lnTo>
                      <a:pt x="299" y="618"/>
                    </a:lnTo>
                    <a:lnTo>
                      <a:pt x="328" y="620"/>
                    </a:lnTo>
                    <a:lnTo>
                      <a:pt x="328" y="620"/>
                    </a:lnTo>
                    <a:lnTo>
                      <a:pt x="358" y="618"/>
                    </a:lnTo>
                    <a:lnTo>
                      <a:pt x="387" y="614"/>
                    </a:lnTo>
                    <a:lnTo>
                      <a:pt x="415" y="607"/>
                    </a:lnTo>
                    <a:lnTo>
                      <a:pt x="442" y="597"/>
                    </a:lnTo>
                    <a:lnTo>
                      <a:pt x="468" y="585"/>
                    </a:lnTo>
                    <a:lnTo>
                      <a:pt x="491" y="570"/>
                    </a:lnTo>
                    <a:lnTo>
                      <a:pt x="513" y="554"/>
                    </a:lnTo>
                    <a:lnTo>
                      <a:pt x="535" y="535"/>
                    </a:lnTo>
                    <a:lnTo>
                      <a:pt x="554" y="513"/>
                    </a:lnTo>
                    <a:lnTo>
                      <a:pt x="570" y="492"/>
                    </a:lnTo>
                    <a:lnTo>
                      <a:pt x="585" y="468"/>
                    </a:lnTo>
                    <a:lnTo>
                      <a:pt x="597" y="442"/>
                    </a:lnTo>
                    <a:lnTo>
                      <a:pt x="606" y="415"/>
                    </a:lnTo>
                    <a:lnTo>
                      <a:pt x="614" y="387"/>
                    </a:lnTo>
                    <a:lnTo>
                      <a:pt x="618" y="359"/>
                    </a:lnTo>
                    <a:lnTo>
                      <a:pt x="620" y="329"/>
                    </a:lnTo>
                    <a:lnTo>
                      <a:pt x="620" y="329"/>
                    </a:lnTo>
                    <a:lnTo>
                      <a:pt x="618" y="298"/>
                    </a:lnTo>
                    <a:lnTo>
                      <a:pt x="614" y="270"/>
                    </a:lnTo>
                    <a:lnTo>
                      <a:pt x="606" y="242"/>
                    </a:lnTo>
                    <a:lnTo>
                      <a:pt x="597" y="215"/>
                    </a:lnTo>
                    <a:lnTo>
                      <a:pt x="585" y="190"/>
                    </a:lnTo>
                    <a:lnTo>
                      <a:pt x="570" y="166"/>
                    </a:lnTo>
                    <a:lnTo>
                      <a:pt x="554" y="144"/>
                    </a:lnTo>
                    <a:lnTo>
                      <a:pt x="535" y="123"/>
                    </a:lnTo>
                    <a:lnTo>
                      <a:pt x="513" y="104"/>
                    </a:lnTo>
                    <a:lnTo>
                      <a:pt x="491" y="88"/>
                    </a:lnTo>
                    <a:lnTo>
                      <a:pt x="468" y="73"/>
                    </a:lnTo>
                    <a:lnTo>
                      <a:pt x="442" y="61"/>
                    </a:lnTo>
                    <a:lnTo>
                      <a:pt x="415" y="51"/>
                    </a:lnTo>
                    <a:lnTo>
                      <a:pt x="387" y="43"/>
                    </a:lnTo>
                    <a:lnTo>
                      <a:pt x="358"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34" name="Freeform 161">
                <a:extLst>
                  <a:ext uri="{FF2B5EF4-FFF2-40B4-BE49-F238E27FC236}">
                    <a16:creationId xmlns:a16="http://schemas.microsoft.com/office/drawing/2014/main" id="{3E0C5571-B133-D1FB-CC70-3B1019BB2F3E}"/>
                  </a:ext>
                </a:extLst>
              </p:cNvPr>
              <p:cNvSpPr>
                <a:spLocks/>
              </p:cNvSpPr>
              <p:nvPr/>
            </p:nvSpPr>
            <p:spPr bwMode="auto">
              <a:xfrm>
                <a:off x="2447926" y="4430713"/>
                <a:ext cx="33338" cy="14288"/>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35" name="Freeform 162">
                <a:extLst>
                  <a:ext uri="{FF2B5EF4-FFF2-40B4-BE49-F238E27FC236}">
                    <a16:creationId xmlns:a16="http://schemas.microsoft.com/office/drawing/2014/main" id="{F9AEB818-BB6C-F6C2-5751-A69A72BD8942}"/>
                  </a:ext>
                </a:extLst>
              </p:cNvPr>
              <p:cNvSpPr>
                <a:spLocks/>
              </p:cNvSpPr>
              <p:nvPr/>
            </p:nvSpPr>
            <p:spPr bwMode="auto">
              <a:xfrm>
                <a:off x="2484438" y="4344988"/>
                <a:ext cx="26988" cy="26988"/>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36" name="Freeform 163">
                <a:extLst>
                  <a:ext uri="{FF2B5EF4-FFF2-40B4-BE49-F238E27FC236}">
                    <a16:creationId xmlns:a16="http://schemas.microsoft.com/office/drawing/2014/main" id="{F83E5847-30F7-4CE4-7C29-D06E8F0DDA3C}"/>
                  </a:ext>
                </a:extLst>
              </p:cNvPr>
              <p:cNvSpPr>
                <a:spLocks/>
              </p:cNvSpPr>
              <p:nvPr/>
            </p:nvSpPr>
            <p:spPr bwMode="auto">
              <a:xfrm>
                <a:off x="2568576" y="4310063"/>
                <a:ext cx="15875" cy="31750"/>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37" name="Freeform 164">
                <a:extLst>
                  <a:ext uri="{FF2B5EF4-FFF2-40B4-BE49-F238E27FC236}">
                    <a16:creationId xmlns:a16="http://schemas.microsoft.com/office/drawing/2014/main" id="{96C1CC65-1129-73AA-DE13-AC5180A6DE7F}"/>
                  </a:ext>
                </a:extLst>
              </p:cNvPr>
              <p:cNvSpPr>
                <a:spLocks/>
              </p:cNvSpPr>
              <p:nvPr/>
            </p:nvSpPr>
            <p:spPr bwMode="auto">
              <a:xfrm>
                <a:off x="2643188" y="4344988"/>
                <a:ext cx="25400" cy="26988"/>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38" name="Freeform 165">
                <a:extLst>
                  <a:ext uri="{FF2B5EF4-FFF2-40B4-BE49-F238E27FC236}">
                    <a16:creationId xmlns:a16="http://schemas.microsoft.com/office/drawing/2014/main" id="{85AE1A50-588B-349A-6028-C9BA55ADFB40}"/>
                  </a:ext>
                </a:extLst>
              </p:cNvPr>
              <p:cNvSpPr>
                <a:spLocks/>
              </p:cNvSpPr>
              <p:nvPr/>
            </p:nvSpPr>
            <p:spPr bwMode="auto">
              <a:xfrm>
                <a:off x="2671763" y="4430713"/>
                <a:ext cx="33338" cy="14288"/>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39" name="Freeform 166">
                <a:extLst>
                  <a:ext uri="{FF2B5EF4-FFF2-40B4-BE49-F238E27FC236}">
                    <a16:creationId xmlns:a16="http://schemas.microsoft.com/office/drawing/2014/main" id="{041609F8-4691-E2CA-9E17-3C55DD7F8BD7}"/>
                  </a:ext>
                </a:extLst>
              </p:cNvPr>
              <p:cNvSpPr>
                <a:spLocks/>
              </p:cNvSpPr>
              <p:nvPr/>
            </p:nvSpPr>
            <p:spPr bwMode="auto">
              <a:xfrm>
                <a:off x="2503488" y="4364038"/>
                <a:ext cx="146050" cy="153988"/>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40" name="Freeform 167">
                <a:extLst>
                  <a:ext uri="{FF2B5EF4-FFF2-40B4-BE49-F238E27FC236}">
                    <a16:creationId xmlns:a16="http://schemas.microsoft.com/office/drawing/2014/main" id="{86443950-8BF3-25B7-FE5D-AB77086DD7AF}"/>
                  </a:ext>
                </a:extLst>
              </p:cNvPr>
              <p:cNvSpPr>
                <a:spLocks/>
              </p:cNvSpPr>
              <p:nvPr/>
            </p:nvSpPr>
            <p:spPr bwMode="auto">
              <a:xfrm>
                <a:off x="2546351" y="4533900"/>
                <a:ext cx="61913" cy="9525"/>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41" name="Freeform 168">
                <a:extLst>
                  <a:ext uri="{FF2B5EF4-FFF2-40B4-BE49-F238E27FC236}">
                    <a16:creationId xmlns:a16="http://schemas.microsoft.com/office/drawing/2014/main" id="{D67375DF-D71E-8EA6-72BB-F75B15D1D2DB}"/>
                  </a:ext>
                </a:extLst>
              </p:cNvPr>
              <p:cNvSpPr>
                <a:spLocks/>
              </p:cNvSpPr>
              <p:nvPr/>
            </p:nvSpPr>
            <p:spPr bwMode="auto">
              <a:xfrm>
                <a:off x="2563813" y="4554538"/>
                <a:ext cx="25400" cy="7938"/>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53" name="Group 152">
              <a:extLst>
                <a:ext uri="{FF2B5EF4-FFF2-40B4-BE49-F238E27FC236}">
                  <a16:creationId xmlns:a16="http://schemas.microsoft.com/office/drawing/2014/main" id="{323E26CF-9B58-7F76-7B75-B2FA1A239CAC}"/>
                </a:ext>
              </a:extLst>
            </p:cNvPr>
            <p:cNvGrpSpPr>
              <a:grpSpLocks noChangeAspect="1"/>
            </p:cNvGrpSpPr>
            <p:nvPr/>
          </p:nvGrpSpPr>
          <p:grpSpPr>
            <a:xfrm>
              <a:off x="3153189" y="3511952"/>
              <a:ext cx="219372" cy="219372"/>
              <a:chOff x="3205163" y="2514600"/>
              <a:chExt cx="522288" cy="522288"/>
            </a:xfrm>
          </p:grpSpPr>
          <p:sp>
            <p:nvSpPr>
              <p:cNvPr id="231" name="Freeform 31">
                <a:extLst>
                  <a:ext uri="{FF2B5EF4-FFF2-40B4-BE49-F238E27FC236}">
                    <a16:creationId xmlns:a16="http://schemas.microsoft.com/office/drawing/2014/main" id="{9C39EB77-FE90-CF5E-37D2-D57FA6D9C493}"/>
                  </a:ext>
                </a:extLst>
              </p:cNvPr>
              <p:cNvSpPr>
                <a:spLocks noEditPoints="1"/>
              </p:cNvSpPr>
              <p:nvPr/>
            </p:nvSpPr>
            <p:spPr bwMode="auto">
              <a:xfrm>
                <a:off x="3205163" y="2514600"/>
                <a:ext cx="522288" cy="522288"/>
              </a:xfrm>
              <a:custGeom>
                <a:avLst/>
                <a:gdLst>
                  <a:gd name="T0" fmla="*/ 312 w 658"/>
                  <a:gd name="T1" fmla="*/ 657 h 658"/>
                  <a:gd name="T2" fmla="*/ 262 w 658"/>
                  <a:gd name="T3" fmla="*/ 652 h 658"/>
                  <a:gd name="T4" fmla="*/ 202 w 658"/>
                  <a:gd name="T5" fmla="*/ 631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2 w 658"/>
                  <a:gd name="T17" fmla="*/ 296 h 658"/>
                  <a:gd name="T18" fmla="*/ 11 w 658"/>
                  <a:gd name="T19" fmla="*/ 247 h 658"/>
                  <a:gd name="T20" fmla="*/ 41 w 658"/>
                  <a:gd name="T21" fmla="*/ 172 h 658"/>
                  <a:gd name="T22" fmla="*/ 97 w 658"/>
                  <a:gd name="T23" fmla="*/ 97 h 658"/>
                  <a:gd name="T24" fmla="*/ 172 w 658"/>
                  <a:gd name="T25" fmla="*/ 41 h 658"/>
                  <a:gd name="T26" fmla="*/ 247 w 658"/>
                  <a:gd name="T27" fmla="*/ 11 h 658"/>
                  <a:gd name="T28" fmla="*/ 296 w 658"/>
                  <a:gd name="T29" fmla="*/ 2 h 658"/>
                  <a:gd name="T30" fmla="*/ 329 w 658"/>
                  <a:gd name="T31" fmla="*/ 0 h 658"/>
                  <a:gd name="T32" fmla="*/ 379 w 658"/>
                  <a:gd name="T33" fmla="*/ 4 h 658"/>
                  <a:gd name="T34" fmla="*/ 426 w 658"/>
                  <a:gd name="T35" fmla="*/ 15 h 658"/>
                  <a:gd name="T36" fmla="*/ 513 w 658"/>
                  <a:gd name="T37" fmla="*/ 57 h 658"/>
                  <a:gd name="T38" fmla="*/ 583 w 658"/>
                  <a:gd name="T39" fmla="*/ 120 h 658"/>
                  <a:gd name="T40" fmla="*/ 631 w 658"/>
                  <a:gd name="T41" fmla="*/ 202 h 658"/>
                  <a:gd name="T42" fmla="*/ 651 w 658"/>
                  <a:gd name="T43" fmla="*/ 263 h 658"/>
                  <a:gd name="T44" fmla="*/ 657 w 658"/>
                  <a:gd name="T45" fmla="*/ 312 h 658"/>
                  <a:gd name="T46" fmla="*/ 657 w 658"/>
                  <a:gd name="T47" fmla="*/ 345 h 658"/>
                  <a:gd name="T48" fmla="*/ 651 w 658"/>
                  <a:gd name="T49" fmla="*/ 395 h 658"/>
                  <a:gd name="T50" fmla="*/ 631 w 658"/>
                  <a:gd name="T51" fmla="*/ 457 h 658"/>
                  <a:gd name="T52" fmla="*/ 583 w 658"/>
                  <a:gd name="T53" fmla="*/ 537 h 658"/>
                  <a:gd name="T54" fmla="*/ 513 w 658"/>
                  <a:gd name="T55" fmla="*/ 602 h 658"/>
                  <a:gd name="T56" fmla="*/ 426 w 658"/>
                  <a:gd name="T57" fmla="*/ 644 h 658"/>
                  <a:gd name="T58" fmla="*/ 379 w 658"/>
                  <a:gd name="T59" fmla="*/ 654 h 658"/>
                  <a:gd name="T60" fmla="*/ 329 w 658"/>
                  <a:gd name="T61" fmla="*/ 658 h 658"/>
                  <a:gd name="T62" fmla="*/ 329 w 658"/>
                  <a:gd name="T63" fmla="*/ 38 h 658"/>
                  <a:gd name="T64" fmla="*/ 242 w 658"/>
                  <a:gd name="T65" fmla="*/ 51 h 658"/>
                  <a:gd name="T66" fmla="*/ 167 w 658"/>
                  <a:gd name="T67" fmla="*/ 88 h 658"/>
                  <a:gd name="T68" fmla="*/ 105 w 658"/>
                  <a:gd name="T69" fmla="*/ 144 h 658"/>
                  <a:gd name="T70" fmla="*/ 61 w 658"/>
                  <a:gd name="T71" fmla="*/ 216 h 658"/>
                  <a:gd name="T72" fmla="*/ 39 w 658"/>
                  <a:gd name="T73" fmla="*/ 300 h 658"/>
                  <a:gd name="T74" fmla="*/ 39 w 658"/>
                  <a:gd name="T75" fmla="*/ 359 h 658"/>
                  <a:gd name="T76" fmla="*/ 61 w 658"/>
                  <a:gd name="T77" fmla="*/ 442 h 658"/>
                  <a:gd name="T78" fmla="*/ 105 w 658"/>
                  <a:gd name="T79" fmla="*/ 515 h 658"/>
                  <a:gd name="T80" fmla="*/ 167 w 658"/>
                  <a:gd name="T81" fmla="*/ 571 h 658"/>
                  <a:gd name="T82" fmla="*/ 242 w 658"/>
                  <a:gd name="T83" fmla="*/ 607 h 658"/>
                  <a:gd name="T84" fmla="*/ 329 w 658"/>
                  <a:gd name="T85" fmla="*/ 621 h 658"/>
                  <a:gd name="T86" fmla="*/ 387 w 658"/>
                  <a:gd name="T87" fmla="*/ 614 h 658"/>
                  <a:gd name="T88" fmla="*/ 468 w 658"/>
                  <a:gd name="T89" fmla="*/ 584 h 658"/>
                  <a:gd name="T90" fmla="*/ 535 w 658"/>
                  <a:gd name="T91" fmla="*/ 535 h 658"/>
                  <a:gd name="T92" fmla="*/ 584 w 658"/>
                  <a:gd name="T93" fmla="*/ 468 h 658"/>
                  <a:gd name="T94" fmla="*/ 614 w 658"/>
                  <a:gd name="T95" fmla="*/ 387 h 658"/>
                  <a:gd name="T96" fmla="*/ 621 w 658"/>
                  <a:gd name="T97" fmla="*/ 329 h 658"/>
                  <a:gd name="T98" fmla="*/ 607 w 658"/>
                  <a:gd name="T99" fmla="*/ 242 h 658"/>
                  <a:gd name="T100" fmla="*/ 570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7"/>
                    </a:lnTo>
                    <a:lnTo>
                      <a:pt x="296" y="656"/>
                    </a:lnTo>
                    <a:lnTo>
                      <a:pt x="280" y="654"/>
                    </a:lnTo>
                    <a:lnTo>
                      <a:pt x="262" y="652"/>
                    </a:lnTo>
                    <a:lnTo>
                      <a:pt x="247" y="648"/>
                    </a:lnTo>
                    <a:lnTo>
                      <a:pt x="231" y="644"/>
                    </a:lnTo>
                    <a:lnTo>
                      <a:pt x="202" y="631"/>
                    </a:lnTo>
                    <a:lnTo>
                      <a:pt x="172" y="618"/>
                    </a:lnTo>
                    <a:lnTo>
                      <a:pt x="145" y="602"/>
                    </a:lnTo>
                    <a:lnTo>
                      <a:pt x="120" y="583"/>
                    </a:lnTo>
                    <a:lnTo>
                      <a:pt x="97" y="562"/>
                    </a:lnTo>
                    <a:lnTo>
                      <a:pt x="75" y="537"/>
                    </a:lnTo>
                    <a:lnTo>
                      <a:pt x="57" y="513"/>
                    </a:lnTo>
                    <a:lnTo>
                      <a:pt x="41" y="485"/>
                    </a:lnTo>
                    <a:lnTo>
                      <a:pt x="26" y="457"/>
                    </a:lnTo>
                    <a:lnTo>
                      <a:pt x="15" y="427"/>
                    </a:lnTo>
                    <a:lnTo>
                      <a:pt x="11" y="411"/>
                    </a:lnTo>
                    <a:lnTo>
                      <a:pt x="7" y="395"/>
                    </a:lnTo>
                    <a:lnTo>
                      <a:pt x="4" y="379"/>
                    </a:lnTo>
                    <a:lnTo>
                      <a:pt x="2" y="363"/>
                    </a:lnTo>
                    <a:lnTo>
                      <a:pt x="0" y="345"/>
                    </a:lnTo>
                    <a:lnTo>
                      <a:pt x="0" y="329"/>
                    </a:lnTo>
                    <a:lnTo>
                      <a:pt x="0" y="329"/>
                    </a:lnTo>
                    <a:lnTo>
                      <a:pt x="0" y="312"/>
                    </a:lnTo>
                    <a:lnTo>
                      <a:pt x="2" y="296"/>
                    </a:lnTo>
                    <a:lnTo>
                      <a:pt x="4" y="280"/>
                    </a:lnTo>
                    <a:lnTo>
                      <a:pt x="7" y="263"/>
                    </a:lnTo>
                    <a:lnTo>
                      <a:pt x="11" y="247"/>
                    </a:lnTo>
                    <a:lnTo>
                      <a:pt x="15" y="231"/>
                    </a:lnTo>
                    <a:lnTo>
                      <a:pt x="26" y="202"/>
                    </a:lnTo>
                    <a:lnTo>
                      <a:pt x="41" y="172"/>
                    </a:lnTo>
                    <a:lnTo>
                      <a:pt x="57" y="145"/>
                    </a:lnTo>
                    <a:lnTo>
                      <a:pt x="75" y="120"/>
                    </a:lnTo>
                    <a:lnTo>
                      <a:pt x="97" y="97"/>
                    </a:lnTo>
                    <a:lnTo>
                      <a:pt x="120" y="75"/>
                    </a:lnTo>
                    <a:lnTo>
                      <a:pt x="145" y="57"/>
                    </a:lnTo>
                    <a:lnTo>
                      <a:pt x="172" y="41"/>
                    </a:lnTo>
                    <a:lnTo>
                      <a:pt x="202" y="26"/>
                    </a:lnTo>
                    <a:lnTo>
                      <a:pt x="231" y="15"/>
                    </a:lnTo>
                    <a:lnTo>
                      <a:pt x="247" y="11"/>
                    </a:lnTo>
                    <a:lnTo>
                      <a:pt x="262" y="7"/>
                    </a:lnTo>
                    <a:lnTo>
                      <a:pt x="280" y="4"/>
                    </a:lnTo>
                    <a:lnTo>
                      <a:pt x="296" y="2"/>
                    </a:lnTo>
                    <a:lnTo>
                      <a:pt x="312" y="0"/>
                    </a:lnTo>
                    <a:lnTo>
                      <a:pt x="329" y="0"/>
                    </a:lnTo>
                    <a:lnTo>
                      <a:pt x="329" y="0"/>
                    </a:lnTo>
                    <a:lnTo>
                      <a:pt x="345" y="0"/>
                    </a:lnTo>
                    <a:lnTo>
                      <a:pt x="363" y="2"/>
                    </a:lnTo>
                    <a:lnTo>
                      <a:pt x="379" y="4"/>
                    </a:lnTo>
                    <a:lnTo>
                      <a:pt x="395" y="7"/>
                    </a:lnTo>
                    <a:lnTo>
                      <a:pt x="411" y="11"/>
                    </a:lnTo>
                    <a:lnTo>
                      <a:pt x="426" y="15"/>
                    </a:lnTo>
                    <a:lnTo>
                      <a:pt x="457" y="26"/>
                    </a:lnTo>
                    <a:lnTo>
                      <a:pt x="485" y="41"/>
                    </a:lnTo>
                    <a:lnTo>
                      <a:pt x="513" y="57"/>
                    </a:lnTo>
                    <a:lnTo>
                      <a:pt x="537" y="75"/>
                    </a:lnTo>
                    <a:lnTo>
                      <a:pt x="562" y="97"/>
                    </a:lnTo>
                    <a:lnTo>
                      <a:pt x="583" y="120"/>
                    </a:lnTo>
                    <a:lnTo>
                      <a:pt x="602" y="145"/>
                    </a:lnTo>
                    <a:lnTo>
                      <a:pt x="618" y="172"/>
                    </a:lnTo>
                    <a:lnTo>
                      <a:pt x="631" y="202"/>
                    </a:lnTo>
                    <a:lnTo>
                      <a:pt x="642" y="231"/>
                    </a:lnTo>
                    <a:lnTo>
                      <a:pt x="647" y="247"/>
                    </a:lnTo>
                    <a:lnTo>
                      <a:pt x="651" y="263"/>
                    </a:lnTo>
                    <a:lnTo>
                      <a:pt x="654" y="280"/>
                    </a:lnTo>
                    <a:lnTo>
                      <a:pt x="656" y="296"/>
                    </a:lnTo>
                    <a:lnTo>
                      <a:pt x="657" y="312"/>
                    </a:lnTo>
                    <a:lnTo>
                      <a:pt x="658" y="329"/>
                    </a:lnTo>
                    <a:lnTo>
                      <a:pt x="658" y="329"/>
                    </a:lnTo>
                    <a:lnTo>
                      <a:pt x="657" y="345"/>
                    </a:lnTo>
                    <a:lnTo>
                      <a:pt x="656" y="363"/>
                    </a:lnTo>
                    <a:lnTo>
                      <a:pt x="654" y="379"/>
                    </a:lnTo>
                    <a:lnTo>
                      <a:pt x="651" y="395"/>
                    </a:lnTo>
                    <a:lnTo>
                      <a:pt x="647" y="411"/>
                    </a:lnTo>
                    <a:lnTo>
                      <a:pt x="642" y="427"/>
                    </a:lnTo>
                    <a:lnTo>
                      <a:pt x="631" y="457"/>
                    </a:lnTo>
                    <a:lnTo>
                      <a:pt x="618" y="485"/>
                    </a:lnTo>
                    <a:lnTo>
                      <a:pt x="602" y="513"/>
                    </a:lnTo>
                    <a:lnTo>
                      <a:pt x="583" y="537"/>
                    </a:lnTo>
                    <a:lnTo>
                      <a:pt x="562" y="562"/>
                    </a:lnTo>
                    <a:lnTo>
                      <a:pt x="537" y="583"/>
                    </a:lnTo>
                    <a:lnTo>
                      <a:pt x="513"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8"/>
                    </a:moveTo>
                    <a:lnTo>
                      <a:pt x="329"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6"/>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1"/>
                    </a:lnTo>
                    <a:lnTo>
                      <a:pt x="191" y="584"/>
                    </a:lnTo>
                    <a:lnTo>
                      <a:pt x="215" y="598"/>
                    </a:lnTo>
                    <a:lnTo>
                      <a:pt x="242" y="607"/>
                    </a:lnTo>
                    <a:lnTo>
                      <a:pt x="270" y="614"/>
                    </a:lnTo>
                    <a:lnTo>
                      <a:pt x="300" y="619"/>
                    </a:lnTo>
                    <a:lnTo>
                      <a:pt x="329" y="621"/>
                    </a:lnTo>
                    <a:lnTo>
                      <a:pt x="329" y="621"/>
                    </a:lnTo>
                    <a:lnTo>
                      <a:pt x="359" y="619"/>
                    </a:lnTo>
                    <a:lnTo>
                      <a:pt x="387" y="614"/>
                    </a:lnTo>
                    <a:lnTo>
                      <a:pt x="415" y="607"/>
                    </a:lnTo>
                    <a:lnTo>
                      <a:pt x="442" y="598"/>
                    </a:lnTo>
                    <a:lnTo>
                      <a:pt x="468" y="584"/>
                    </a:lnTo>
                    <a:lnTo>
                      <a:pt x="492" y="571"/>
                    </a:lnTo>
                    <a:lnTo>
                      <a:pt x="515" y="554"/>
                    </a:lnTo>
                    <a:lnTo>
                      <a:pt x="535" y="535"/>
                    </a:lnTo>
                    <a:lnTo>
                      <a:pt x="553" y="515"/>
                    </a:lnTo>
                    <a:lnTo>
                      <a:pt x="570" y="492"/>
                    </a:lnTo>
                    <a:lnTo>
                      <a:pt x="584" y="468"/>
                    </a:lnTo>
                    <a:lnTo>
                      <a:pt x="596" y="442"/>
                    </a:lnTo>
                    <a:lnTo>
                      <a:pt x="607" y="415"/>
                    </a:lnTo>
                    <a:lnTo>
                      <a:pt x="614" y="387"/>
                    </a:lnTo>
                    <a:lnTo>
                      <a:pt x="618" y="359"/>
                    </a:lnTo>
                    <a:lnTo>
                      <a:pt x="621" y="329"/>
                    </a:lnTo>
                    <a:lnTo>
                      <a:pt x="621" y="329"/>
                    </a:lnTo>
                    <a:lnTo>
                      <a:pt x="618" y="300"/>
                    </a:lnTo>
                    <a:lnTo>
                      <a:pt x="614" y="270"/>
                    </a:lnTo>
                    <a:lnTo>
                      <a:pt x="607" y="242"/>
                    </a:lnTo>
                    <a:lnTo>
                      <a:pt x="596" y="216"/>
                    </a:lnTo>
                    <a:lnTo>
                      <a:pt x="584" y="191"/>
                    </a:lnTo>
                    <a:lnTo>
                      <a:pt x="570" y="167"/>
                    </a:lnTo>
                    <a:lnTo>
                      <a:pt x="553" y="144"/>
                    </a:lnTo>
                    <a:lnTo>
                      <a:pt x="535" y="124"/>
                    </a:lnTo>
                    <a:lnTo>
                      <a:pt x="515"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32" name="Freeform 91">
                <a:extLst>
                  <a:ext uri="{FF2B5EF4-FFF2-40B4-BE49-F238E27FC236}">
                    <a16:creationId xmlns:a16="http://schemas.microsoft.com/office/drawing/2014/main" id="{DAF917F6-FCF7-6575-A857-FC094AFC0550}"/>
                  </a:ext>
                </a:extLst>
              </p:cNvPr>
              <p:cNvSpPr>
                <a:spLocks noEditPoints="1"/>
              </p:cNvSpPr>
              <p:nvPr/>
            </p:nvSpPr>
            <p:spPr bwMode="auto">
              <a:xfrm>
                <a:off x="3368676" y="2667000"/>
                <a:ext cx="179388" cy="220663"/>
              </a:xfrm>
              <a:custGeom>
                <a:avLst/>
                <a:gdLst>
                  <a:gd name="T0" fmla="*/ 218 w 227"/>
                  <a:gd name="T1" fmla="*/ 0 h 278"/>
                  <a:gd name="T2" fmla="*/ 27 w 227"/>
                  <a:gd name="T3" fmla="*/ 0 h 278"/>
                  <a:gd name="T4" fmla="*/ 27 w 227"/>
                  <a:gd name="T5" fmla="*/ 0 h 278"/>
                  <a:gd name="T6" fmla="*/ 22 w 227"/>
                  <a:gd name="T7" fmla="*/ 0 h 278"/>
                  <a:gd name="T8" fmla="*/ 16 w 227"/>
                  <a:gd name="T9" fmla="*/ 2 h 278"/>
                  <a:gd name="T10" fmla="*/ 12 w 227"/>
                  <a:gd name="T11" fmla="*/ 4 h 278"/>
                  <a:gd name="T12" fmla="*/ 8 w 227"/>
                  <a:gd name="T13" fmla="*/ 7 h 278"/>
                  <a:gd name="T14" fmla="*/ 5 w 227"/>
                  <a:gd name="T15" fmla="*/ 11 h 278"/>
                  <a:gd name="T16" fmla="*/ 3 w 227"/>
                  <a:gd name="T17" fmla="*/ 16 h 278"/>
                  <a:gd name="T18" fmla="*/ 1 w 227"/>
                  <a:gd name="T19" fmla="*/ 20 h 278"/>
                  <a:gd name="T20" fmla="*/ 0 w 227"/>
                  <a:gd name="T21" fmla="*/ 26 h 278"/>
                  <a:gd name="T22" fmla="*/ 0 w 227"/>
                  <a:gd name="T23" fmla="*/ 243 h 278"/>
                  <a:gd name="T24" fmla="*/ 0 w 227"/>
                  <a:gd name="T25" fmla="*/ 243 h 278"/>
                  <a:gd name="T26" fmla="*/ 1 w 227"/>
                  <a:gd name="T27" fmla="*/ 250 h 278"/>
                  <a:gd name="T28" fmla="*/ 3 w 227"/>
                  <a:gd name="T29" fmla="*/ 257 h 278"/>
                  <a:gd name="T30" fmla="*/ 7 w 227"/>
                  <a:gd name="T31" fmla="*/ 264 h 278"/>
                  <a:gd name="T32" fmla="*/ 11 w 227"/>
                  <a:gd name="T33" fmla="*/ 268 h 278"/>
                  <a:gd name="T34" fmla="*/ 16 w 227"/>
                  <a:gd name="T35" fmla="*/ 273 h 278"/>
                  <a:gd name="T36" fmla="*/ 22 w 227"/>
                  <a:gd name="T37" fmla="*/ 276 h 278"/>
                  <a:gd name="T38" fmla="*/ 28 w 227"/>
                  <a:gd name="T39" fmla="*/ 277 h 278"/>
                  <a:gd name="T40" fmla="*/ 35 w 227"/>
                  <a:gd name="T41" fmla="*/ 278 h 278"/>
                  <a:gd name="T42" fmla="*/ 218 w 227"/>
                  <a:gd name="T43" fmla="*/ 278 h 278"/>
                  <a:gd name="T44" fmla="*/ 218 w 227"/>
                  <a:gd name="T45" fmla="*/ 278 h 278"/>
                  <a:gd name="T46" fmla="*/ 222 w 227"/>
                  <a:gd name="T47" fmla="*/ 277 h 278"/>
                  <a:gd name="T48" fmla="*/ 224 w 227"/>
                  <a:gd name="T49" fmla="*/ 276 h 278"/>
                  <a:gd name="T50" fmla="*/ 226 w 227"/>
                  <a:gd name="T51" fmla="*/ 273 h 278"/>
                  <a:gd name="T52" fmla="*/ 227 w 227"/>
                  <a:gd name="T53" fmla="*/ 270 h 278"/>
                  <a:gd name="T54" fmla="*/ 227 w 227"/>
                  <a:gd name="T55" fmla="*/ 8 h 278"/>
                  <a:gd name="T56" fmla="*/ 227 w 227"/>
                  <a:gd name="T57" fmla="*/ 8 h 278"/>
                  <a:gd name="T58" fmla="*/ 226 w 227"/>
                  <a:gd name="T59" fmla="*/ 6 h 278"/>
                  <a:gd name="T60" fmla="*/ 224 w 227"/>
                  <a:gd name="T61" fmla="*/ 3 h 278"/>
                  <a:gd name="T62" fmla="*/ 222 w 227"/>
                  <a:gd name="T63" fmla="*/ 0 h 278"/>
                  <a:gd name="T64" fmla="*/ 218 w 227"/>
                  <a:gd name="T65" fmla="*/ 0 h 278"/>
                  <a:gd name="T66" fmla="*/ 218 w 227"/>
                  <a:gd name="T67" fmla="*/ 0 h 278"/>
                  <a:gd name="T68" fmla="*/ 95 w 227"/>
                  <a:gd name="T69" fmla="*/ 121 h 278"/>
                  <a:gd name="T70" fmla="*/ 95 w 227"/>
                  <a:gd name="T71" fmla="*/ 69 h 278"/>
                  <a:gd name="T72" fmla="*/ 97 w 227"/>
                  <a:gd name="T73" fmla="*/ 69 h 278"/>
                  <a:gd name="T74" fmla="*/ 175 w 227"/>
                  <a:gd name="T75" fmla="*/ 69 h 278"/>
                  <a:gd name="T76" fmla="*/ 175 w 227"/>
                  <a:gd name="T77" fmla="*/ 123 h 278"/>
                  <a:gd name="T78" fmla="*/ 95 w 227"/>
                  <a:gd name="T79" fmla="*/ 121 h 278"/>
                  <a:gd name="T80" fmla="*/ 210 w 227"/>
                  <a:gd name="T81" fmla="*/ 226 h 278"/>
                  <a:gd name="T82" fmla="*/ 210 w 227"/>
                  <a:gd name="T83" fmla="*/ 261 h 278"/>
                  <a:gd name="T84" fmla="*/ 35 w 227"/>
                  <a:gd name="T85" fmla="*/ 261 h 278"/>
                  <a:gd name="T86" fmla="*/ 35 w 227"/>
                  <a:gd name="T87" fmla="*/ 261 h 278"/>
                  <a:gd name="T88" fmla="*/ 28 w 227"/>
                  <a:gd name="T89" fmla="*/ 260 h 278"/>
                  <a:gd name="T90" fmla="*/ 23 w 227"/>
                  <a:gd name="T91" fmla="*/ 257 h 278"/>
                  <a:gd name="T92" fmla="*/ 19 w 227"/>
                  <a:gd name="T93" fmla="*/ 250 h 278"/>
                  <a:gd name="T94" fmla="*/ 18 w 227"/>
                  <a:gd name="T95" fmla="*/ 243 h 278"/>
                  <a:gd name="T96" fmla="*/ 18 w 227"/>
                  <a:gd name="T97" fmla="*/ 243 h 278"/>
                  <a:gd name="T98" fmla="*/ 19 w 227"/>
                  <a:gd name="T99" fmla="*/ 237 h 278"/>
                  <a:gd name="T100" fmla="*/ 23 w 227"/>
                  <a:gd name="T101" fmla="*/ 231 h 278"/>
                  <a:gd name="T102" fmla="*/ 28 w 227"/>
                  <a:gd name="T103" fmla="*/ 227 h 278"/>
                  <a:gd name="T104" fmla="*/ 35 w 227"/>
                  <a:gd name="T105" fmla="*/ 226 h 278"/>
                  <a:gd name="T106" fmla="*/ 210 w 227"/>
                  <a:gd name="T107" fmla="*/ 22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78">
                    <a:moveTo>
                      <a:pt x="218" y="0"/>
                    </a:moveTo>
                    <a:lnTo>
                      <a:pt x="27" y="0"/>
                    </a:lnTo>
                    <a:lnTo>
                      <a:pt x="27" y="0"/>
                    </a:lnTo>
                    <a:lnTo>
                      <a:pt x="22" y="0"/>
                    </a:lnTo>
                    <a:lnTo>
                      <a:pt x="16" y="2"/>
                    </a:lnTo>
                    <a:lnTo>
                      <a:pt x="12" y="4"/>
                    </a:lnTo>
                    <a:lnTo>
                      <a:pt x="8" y="7"/>
                    </a:lnTo>
                    <a:lnTo>
                      <a:pt x="5" y="11"/>
                    </a:lnTo>
                    <a:lnTo>
                      <a:pt x="3" y="16"/>
                    </a:lnTo>
                    <a:lnTo>
                      <a:pt x="1" y="20"/>
                    </a:lnTo>
                    <a:lnTo>
                      <a:pt x="0" y="26"/>
                    </a:lnTo>
                    <a:lnTo>
                      <a:pt x="0" y="243"/>
                    </a:lnTo>
                    <a:lnTo>
                      <a:pt x="0" y="243"/>
                    </a:lnTo>
                    <a:lnTo>
                      <a:pt x="1" y="250"/>
                    </a:lnTo>
                    <a:lnTo>
                      <a:pt x="3" y="257"/>
                    </a:lnTo>
                    <a:lnTo>
                      <a:pt x="7" y="264"/>
                    </a:lnTo>
                    <a:lnTo>
                      <a:pt x="11" y="268"/>
                    </a:lnTo>
                    <a:lnTo>
                      <a:pt x="16" y="273"/>
                    </a:lnTo>
                    <a:lnTo>
                      <a:pt x="22" y="276"/>
                    </a:lnTo>
                    <a:lnTo>
                      <a:pt x="28" y="277"/>
                    </a:lnTo>
                    <a:lnTo>
                      <a:pt x="35" y="278"/>
                    </a:lnTo>
                    <a:lnTo>
                      <a:pt x="218" y="278"/>
                    </a:lnTo>
                    <a:lnTo>
                      <a:pt x="218" y="278"/>
                    </a:lnTo>
                    <a:lnTo>
                      <a:pt x="222" y="277"/>
                    </a:lnTo>
                    <a:lnTo>
                      <a:pt x="224" y="276"/>
                    </a:lnTo>
                    <a:lnTo>
                      <a:pt x="226" y="273"/>
                    </a:lnTo>
                    <a:lnTo>
                      <a:pt x="227" y="270"/>
                    </a:lnTo>
                    <a:lnTo>
                      <a:pt x="227" y="8"/>
                    </a:lnTo>
                    <a:lnTo>
                      <a:pt x="227" y="8"/>
                    </a:lnTo>
                    <a:lnTo>
                      <a:pt x="226" y="6"/>
                    </a:lnTo>
                    <a:lnTo>
                      <a:pt x="224" y="3"/>
                    </a:lnTo>
                    <a:lnTo>
                      <a:pt x="222" y="0"/>
                    </a:lnTo>
                    <a:lnTo>
                      <a:pt x="218" y="0"/>
                    </a:lnTo>
                    <a:lnTo>
                      <a:pt x="218" y="0"/>
                    </a:lnTo>
                    <a:close/>
                    <a:moveTo>
                      <a:pt x="95" y="121"/>
                    </a:moveTo>
                    <a:lnTo>
                      <a:pt x="95" y="69"/>
                    </a:lnTo>
                    <a:lnTo>
                      <a:pt x="97" y="69"/>
                    </a:lnTo>
                    <a:lnTo>
                      <a:pt x="175" y="69"/>
                    </a:lnTo>
                    <a:lnTo>
                      <a:pt x="175" y="123"/>
                    </a:lnTo>
                    <a:lnTo>
                      <a:pt x="95" y="121"/>
                    </a:lnTo>
                    <a:close/>
                    <a:moveTo>
                      <a:pt x="210" y="226"/>
                    </a:moveTo>
                    <a:lnTo>
                      <a:pt x="210" y="261"/>
                    </a:lnTo>
                    <a:lnTo>
                      <a:pt x="35" y="261"/>
                    </a:lnTo>
                    <a:lnTo>
                      <a:pt x="35" y="261"/>
                    </a:lnTo>
                    <a:lnTo>
                      <a:pt x="28" y="260"/>
                    </a:lnTo>
                    <a:lnTo>
                      <a:pt x="23" y="257"/>
                    </a:lnTo>
                    <a:lnTo>
                      <a:pt x="19" y="250"/>
                    </a:lnTo>
                    <a:lnTo>
                      <a:pt x="18" y="243"/>
                    </a:lnTo>
                    <a:lnTo>
                      <a:pt x="18" y="243"/>
                    </a:lnTo>
                    <a:lnTo>
                      <a:pt x="19" y="237"/>
                    </a:lnTo>
                    <a:lnTo>
                      <a:pt x="23" y="231"/>
                    </a:lnTo>
                    <a:lnTo>
                      <a:pt x="28" y="227"/>
                    </a:lnTo>
                    <a:lnTo>
                      <a:pt x="35" y="226"/>
                    </a:lnTo>
                    <a:lnTo>
                      <a:pt x="210" y="2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54" name="Group 153">
              <a:extLst>
                <a:ext uri="{FF2B5EF4-FFF2-40B4-BE49-F238E27FC236}">
                  <a16:creationId xmlns:a16="http://schemas.microsoft.com/office/drawing/2014/main" id="{E6EE6A61-8999-7C26-8D6A-20EF4FC14B19}"/>
                </a:ext>
              </a:extLst>
            </p:cNvPr>
            <p:cNvGrpSpPr>
              <a:grpSpLocks noChangeAspect="1"/>
            </p:cNvGrpSpPr>
            <p:nvPr/>
          </p:nvGrpSpPr>
          <p:grpSpPr>
            <a:xfrm>
              <a:off x="3150843" y="3094017"/>
              <a:ext cx="226222" cy="226222"/>
              <a:chOff x="4076701" y="4176713"/>
              <a:chExt cx="522288" cy="522288"/>
            </a:xfrm>
          </p:grpSpPr>
          <p:sp>
            <p:nvSpPr>
              <p:cNvPr id="229" name="Freeform 27">
                <a:extLst>
                  <a:ext uri="{FF2B5EF4-FFF2-40B4-BE49-F238E27FC236}">
                    <a16:creationId xmlns:a16="http://schemas.microsoft.com/office/drawing/2014/main" id="{B3D2E96A-7D72-7F89-6409-96ED7EE8012B}"/>
                  </a:ext>
                </a:extLst>
              </p:cNvPr>
              <p:cNvSpPr>
                <a:spLocks noEditPoints="1"/>
              </p:cNvSpPr>
              <p:nvPr/>
            </p:nvSpPr>
            <p:spPr bwMode="auto">
              <a:xfrm>
                <a:off x="4076701" y="4176713"/>
                <a:ext cx="522288" cy="522288"/>
              </a:xfrm>
              <a:custGeom>
                <a:avLst/>
                <a:gdLst>
                  <a:gd name="T0" fmla="*/ 312 w 659"/>
                  <a:gd name="T1" fmla="*/ 657 h 658"/>
                  <a:gd name="T2" fmla="*/ 264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6 h 658"/>
                  <a:gd name="T18" fmla="*/ 11 w 659"/>
                  <a:gd name="T19" fmla="*/ 247 h 658"/>
                  <a:gd name="T20" fmla="*/ 41 w 659"/>
                  <a:gd name="T21" fmla="*/ 172 h 658"/>
                  <a:gd name="T22" fmla="*/ 97 w 659"/>
                  <a:gd name="T23" fmla="*/ 97 h 658"/>
                  <a:gd name="T24" fmla="*/ 172 w 659"/>
                  <a:gd name="T25" fmla="*/ 40 h 658"/>
                  <a:gd name="T26" fmla="*/ 248 w 659"/>
                  <a:gd name="T27" fmla="*/ 11 h 658"/>
                  <a:gd name="T28" fmla="*/ 296 w 659"/>
                  <a:gd name="T29" fmla="*/ 3 h 658"/>
                  <a:gd name="T30" fmla="*/ 330 w 659"/>
                  <a:gd name="T31" fmla="*/ 0 h 658"/>
                  <a:gd name="T32" fmla="*/ 379 w 659"/>
                  <a:gd name="T33" fmla="*/ 4 h 658"/>
                  <a:gd name="T34" fmla="*/ 428 w 659"/>
                  <a:gd name="T35" fmla="*/ 15 h 658"/>
                  <a:gd name="T36" fmla="*/ 514 w 659"/>
                  <a:gd name="T37" fmla="*/ 57 h 658"/>
                  <a:gd name="T38" fmla="*/ 583 w 659"/>
                  <a:gd name="T39" fmla="*/ 120 h 658"/>
                  <a:gd name="T40" fmla="*/ 632 w 659"/>
                  <a:gd name="T41" fmla="*/ 202 h 658"/>
                  <a:gd name="T42" fmla="*/ 652 w 659"/>
                  <a:gd name="T43" fmla="*/ 263 h 658"/>
                  <a:gd name="T44" fmla="*/ 657 w 659"/>
                  <a:gd name="T45" fmla="*/ 312 h 658"/>
                  <a:gd name="T46" fmla="*/ 657 w 659"/>
                  <a:gd name="T47" fmla="*/ 347 h 658"/>
                  <a:gd name="T48" fmla="*/ 652 w 659"/>
                  <a:gd name="T49" fmla="*/ 395 h 658"/>
                  <a:gd name="T50" fmla="*/ 632 w 659"/>
                  <a:gd name="T51" fmla="*/ 457 h 658"/>
                  <a:gd name="T52" fmla="*/ 583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8 h 658"/>
                  <a:gd name="T64" fmla="*/ 244 w 659"/>
                  <a:gd name="T65" fmla="*/ 51 h 658"/>
                  <a:gd name="T66" fmla="*/ 167 w 659"/>
                  <a:gd name="T67" fmla="*/ 87 h 658"/>
                  <a:gd name="T68" fmla="*/ 105 w 659"/>
                  <a:gd name="T69" fmla="*/ 144 h 658"/>
                  <a:gd name="T70" fmla="*/ 61 w 659"/>
                  <a:gd name="T71" fmla="*/ 216 h 658"/>
                  <a:gd name="T72" fmla="*/ 39 w 659"/>
                  <a:gd name="T73" fmla="*/ 300 h 658"/>
                  <a:gd name="T74" fmla="*/ 39 w 659"/>
                  <a:gd name="T75" fmla="*/ 359 h 658"/>
                  <a:gd name="T76" fmla="*/ 61 w 659"/>
                  <a:gd name="T77" fmla="*/ 442 h 658"/>
                  <a:gd name="T78" fmla="*/ 105 w 659"/>
                  <a:gd name="T79" fmla="*/ 515 h 658"/>
                  <a:gd name="T80" fmla="*/ 167 w 659"/>
                  <a:gd name="T81" fmla="*/ 571 h 658"/>
                  <a:gd name="T82" fmla="*/ 244 w 659"/>
                  <a:gd name="T83" fmla="*/ 607 h 658"/>
                  <a:gd name="T84" fmla="*/ 330 w 659"/>
                  <a:gd name="T85" fmla="*/ 621 h 658"/>
                  <a:gd name="T86" fmla="*/ 389 w 659"/>
                  <a:gd name="T87" fmla="*/ 614 h 658"/>
                  <a:gd name="T88" fmla="*/ 468 w 659"/>
                  <a:gd name="T89" fmla="*/ 586 h 658"/>
                  <a:gd name="T90" fmla="*/ 535 w 659"/>
                  <a:gd name="T91" fmla="*/ 535 h 658"/>
                  <a:gd name="T92" fmla="*/ 586 w 659"/>
                  <a:gd name="T93" fmla="*/ 468 h 658"/>
                  <a:gd name="T94" fmla="*/ 614 w 659"/>
                  <a:gd name="T95" fmla="*/ 388 h 658"/>
                  <a:gd name="T96" fmla="*/ 621 w 659"/>
                  <a:gd name="T97" fmla="*/ 329 h 658"/>
                  <a:gd name="T98" fmla="*/ 608 w 659"/>
                  <a:gd name="T99" fmla="*/ 243 h 658"/>
                  <a:gd name="T100" fmla="*/ 571 w 659"/>
                  <a:gd name="T101" fmla="*/ 167 h 658"/>
                  <a:gd name="T102" fmla="*/ 515 w 659"/>
                  <a:gd name="T103" fmla="*/ 105 h 658"/>
                  <a:gd name="T104" fmla="*/ 442 w 659"/>
                  <a:gd name="T105" fmla="*/ 61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7"/>
                    </a:lnTo>
                    <a:lnTo>
                      <a:pt x="280" y="654"/>
                    </a:lnTo>
                    <a:lnTo>
                      <a:pt x="264" y="652"/>
                    </a:lnTo>
                    <a:lnTo>
                      <a:pt x="248" y="648"/>
                    </a:lnTo>
                    <a:lnTo>
                      <a:pt x="231" y="644"/>
                    </a:lnTo>
                    <a:lnTo>
                      <a:pt x="202" y="633"/>
                    </a:lnTo>
                    <a:lnTo>
                      <a:pt x="172" y="618"/>
                    </a:lnTo>
                    <a:lnTo>
                      <a:pt x="145" y="602"/>
                    </a:lnTo>
                    <a:lnTo>
                      <a:pt x="120" y="583"/>
                    </a:lnTo>
                    <a:lnTo>
                      <a:pt x="97" y="562"/>
                    </a:lnTo>
                    <a:lnTo>
                      <a:pt x="76" y="539"/>
                    </a:lnTo>
                    <a:lnTo>
                      <a:pt x="57" y="513"/>
                    </a:lnTo>
                    <a:lnTo>
                      <a:pt x="41" y="486"/>
                    </a:lnTo>
                    <a:lnTo>
                      <a:pt x="26" y="457"/>
                    </a:lnTo>
                    <a:lnTo>
                      <a:pt x="15" y="427"/>
                    </a:lnTo>
                    <a:lnTo>
                      <a:pt x="11" y="411"/>
                    </a:lnTo>
                    <a:lnTo>
                      <a:pt x="7" y="395"/>
                    </a:lnTo>
                    <a:lnTo>
                      <a:pt x="4" y="379"/>
                    </a:lnTo>
                    <a:lnTo>
                      <a:pt x="2" y="363"/>
                    </a:lnTo>
                    <a:lnTo>
                      <a:pt x="2" y="347"/>
                    </a:lnTo>
                    <a:lnTo>
                      <a:pt x="0" y="329"/>
                    </a:lnTo>
                    <a:lnTo>
                      <a:pt x="0" y="329"/>
                    </a:lnTo>
                    <a:lnTo>
                      <a:pt x="2" y="312"/>
                    </a:lnTo>
                    <a:lnTo>
                      <a:pt x="2" y="296"/>
                    </a:lnTo>
                    <a:lnTo>
                      <a:pt x="4" y="280"/>
                    </a:lnTo>
                    <a:lnTo>
                      <a:pt x="7" y="263"/>
                    </a:lnTo>
                    <a:lnTo>
                      <a:pt x="11" y="247"/>
                    </a:lnTo>
                    <a:lnTo>
                      <a:pt x="15" y="231"/>
                    </a:lnTo>
                    <a:lnTo>
                      <a:pt x="26" y="202"/>
                    </a:lnTo>
                    <a:lnTo>
                      <a:pt x="41" y="172"/>
                    </a:lnTo>
                    <a:lnTo>
                      <a:pt x="57" y="145"/>
                    </a:lnTo>
                    <a:lnTo>
                      <a:pt x="76" y="120"/>
                    </a:lnTo>
                    <a:lnTo>
                      <a:pt x="97" y="97"/>
                    </a:lnTo>
                    <a:lnTo>
                      <a:pt x="120" y="75"/>
                    </a:lnTo>
                    <a:lnTo>
                      <a:pt x="145" y="57"/>
                    </a:lnTo>
                    <a:lnTo>
                      <a:pt x="172" y="40"/>
                    </a:lnTo>
                    <a:lnTo>
                      <a:pt x="202" y="27"/>
                    </a:lnTo>
                    <a:lnTo>
                      <a:pt x="231" y="15"/>
                    </a:lnTo>
                    <a:lnTo>
                      <a:pt x="248" y="11"/>
                    </a:lnTo>
                    <a:lnTo>
                      <a:pt x="264" y="7"/>
                    </a:lnTo>
                    <a:lnTo>
                      <a:pt x="280" y="4"/>
                    </a:lnTo>
                    <a:lnTo>
                      <a:pt x="296" y="3"/>
                    </a:lnTo>
                    <a:lnTo>
                      <a:pt x="312" y="1"/>
                    </a:lnTo>
                    <a:lnTo>
                      <a:pt x="330" y="0"/>
                    </a:lnTo>
                    <a:lnTo>
                      <a:pt x="330" y="0"/>
                    </a:lnTo>
                    <a:lnTo>
                      <a:pt x="347" y="1"/>
                    </a:lnTo>
                    <a:lnTo>
                      <a:pt x="363" y="3"/>
                    </a:lnTo>
                    <a:lnTo>
                      <a:pt x="379" y="4"/>
                    </a:lnTo>
                    <a:lnTo>
                      <a:pt x="395" y="7"/>
                    </a:lnTo>
                    <a:lnTo>
                      <a:pt x="411" y="11"/>
                    </a:lnTo>
                    <a:lnTo>
                      <a:pt x="428" y="15"/>
                    </a:lnTo>
                    <a:lnTo>
                      <a:pt x="457" y="27"/>
                    </a:lnTo>
                    <a:lnTo>
                      <a:pt x="487" y="40"/>
                    </a:lnTo>
                    <a:lnTo>
                      <a:pt x="514" y="57"/>
                    </a:lnTo>
                    <a:lnTo>
                      <a:pt x="539" y="75"/>
                    </a:lnTo>
                    <a:lnTo>
                      <a:pt x="562" y="97"/>
                    </a:lnTo>
                    <a:lnTo>
                      <a:pt x="583" y="120"/>
                    </a:lnTo>
                    <a:lnTo>
                      <a:pt x="602" y="145"/>
                    </a:lnTo>
                    <a:lnTo>
                      <a:pt x="618" y="172"/>
                    </a:lnTo>
                    <a:lnTo>
                      <a:pt x="632" y="202"/>
                    </a:lnTo>
                    <a:lnTo>
                      <a:pt x="644" y="231"/>
                    </a:lnTo>
                    <a:lnTo>
                      <a:pt x="648" y="247"/>
                    </a:lnTo>
                    <a:lnTo>
                      <a:pt x="652" y="263"/>
                    </a:lnTo>
                    <a:lnTo>
                      <a:pt x="655" y="280"/>
                    </a:lnTo>
                    <a:lnTo>
                      <a:pt x="656" y="296"/>
                    </a:lnTo>
                    <a:lnTo>
                      <a:pt x="657" y="312"/>
                    </a:lnTo>
                    <a:lnTo>
                      <a:pt x="659" y="329"/>
                    </a:lnTo>
                    <a:lnTo>
                      <a:pt x="659" y="329"/>
                    </a:lnTo>
                    <a:lnTo>
                      <a:pt x="657" y="347"/>
                    </a:lnTo>
                    <a:lnTo>
                      <a:pt x="656" y="363"/>
                    </a:lnTo>
                    <a:lnTo>
                      <a:pt x="655" y="379"/>
                    </a:lnTo>
                    <a:lnTo>
                      <a:pt x="652" y="395"/>
                    </a:lnTo>
                    <a:lnTo>
                      <a:pt x="648" y="411"/>
                    </a:lnTo>
                    <a:lnTo>
                      <a:pt x="644" y="427"/>
                    </a:lnTo>
                    <a:lnTo>
                      <a:pt x="632" y="457"/>
                    </a:lnTo>
                    <a:lnTo>
                      <a:pt x="618" y="486"/>
                    </a:lnTo>
                    <a:lnTo>
                      <a:pt x="602" y="513"/>
                    </a:lnTo>
                    <a:lnTo>
                      <a:pt x="583" y="539"/>
                    </a:lnTo>
                    <a:lnTo>
                      <a:pt x="562" y="562"/>
                    </a:lnTo>
                    <a:lnTo>
                      <a:pt x="539" y="583"/>
                    </a:lnTo>
                    <a:lnTo>
                      <a:pt x="514" y="602"/>
                    </a:lnTo>
                    <a:lnTo>
                      <a:pt x="487" y="618"/>
                    </a:lnTo>
                    <a:lnTo>
                      <a:pt x="457" y="633"/>
                    </a:lnTo>
                    <a:lnTo>
                      <a:pt x="428" y="644"/>
                    </a:lnTo>
                    <a:lnTo>
                      <a:pt x="411" y="648"/>
                    </a:lnTo>
                    <a:lnTo>
                      <a:pt x="395" y="652"/>
                    </a:lnTo>
                    <a:lnTo>
                      <a:pt x="379" y="654"/>
                    </a:lnTo>
                    <a:lnTo>
                      <a:pt x="363" y="657"/>
                    </a:lnTo>
                    <a:lnTo>
                      <a:pt x="347" y="657"/>
                    </a:lnTo>
                    <a:lnTo>
                      <a:pt x="330" y="658"/>
                    </a:lnTo>
                    <a:lnTo>
                      <a:pt x="330" y="658"/>
                    </a:lnTo>
                    <a:close/>
                    <a:moveTo>
                      <a:pt x="330" y="38"/>
                    </a:moveTo>
                    <a:lnTo>
                      <a:pt x="330" y="38"/>
                    </a:lnTo>
                    <a:lnTo>
                      <a:pt x="300" y="39"/>
                    </a:lnTo>
                    <a:lnTo>
                      <a:pt x="270" y="44"/>
                    </a:lnTo>
                    <a:lnTo>
                      <a:pt x="244" y="51"/>
                    </a:lnTo>
                    <a:lnTo>
                      <a:pt x="217" y="61"/>
                    </a:lnTo>
                    <a:lnTo>
                      <a:pt x="191" y="73"/>
                    </a:lnTo>
                    <a:lnTo>
                      <a:pt x="167" y="87"/>
                    </a:lnTo>
                    <a:lnTo>
                      <a:pt x="144" y="105"/>
                    </a:lnTo>
                    <a:lnTo>
                      <a:pt x="124" y="124"/>
                    </a:lnTo>
                    <a:lnTo>
                      <a:pt x="105" y="144"/>
                    </a:lnTo>
                    <a:lnTo>
                      <a:pt x="88" y="167"/>
                    </a:lnTo>
                    <a:lnTo>
                      <a:pt x="73" y="191"/>
                    </a:lnTo>
                    <a:lnTo>
                      <a:pt x="61" y="216"/>
                    </a:lnTo>
                    <a:lnTo>
                      <a:pt x="51" y="243"/>
                    </a:lnTo>
                    <a:lnTo>
                      <a:pt x="45" y="270"/>
                    </a:lnTo>
                    <a:lnTo>
                      <a:pt x="39" y="300"/>
                    </a:lnTo>
                    <a:lnTo>
                      <a:pt x="38" y="329"/>
                    </a:lnTo>
                    <a:lnTo>
                      <a:pt x="38" y="329"/>
                    </a:lnTo>
                    <a:lnTo>
                      <a:pt x="39" y="359"/>
                    </a:lnTo>
                    <a:lnTo>
                      <a:pt x="45" y="388"/>
                    </a:lnTo>
                    <a:lnTo>
                      <a:pt x="51" y="415"/>
                    </a:lnTo>
                    <a:lnTo>
                      <a:pt x="61" y="442"/>
                    </a:lnTo>
                    <a:lnTo>
                      <a:pt x="73" y="468"/>
                    </a:lnTo>
                    <a:lnTo>
                      <a:pt x="88" y="492"/>
                    </a:lnTo>
                    <a:lnTo>
                      <a:pt x="105" y="515"/>
                    </a:lnTo>
                    <a:lnTo>
                      <a:pt x="124" y="535"/>
                    </a:lnTo>
                    <a:lnTo>
                      <a:pt x="144" y="554"/>
                    </a:lnTo>
                    <a:lnTo>
                      <a:pt x="167" y="571"/>
                    </a:lnTo>
                    <a:lnTo>
                      <a:pt x="191" y="586"/>
                    </a:lnTo>
                    <a:lnTo>
                      <a:pt x="217" y="598"/>
                    </a:lnTo>
                    <a:lnTo>
                      <a:pt x="244" y="607"/>
                    </a:lnTo>
                    <a:lnTo>
                      <a:pt x="270" y="614"/>
                    </a:lnTo>
                    <a:lnTo>
                      <a:pt x="300" y="619"/>
                    </a:lnTo>
                    <a:lnTo>
                      <a:pt x="330" y="621"/>
                    </a:lnTo>
                    <a:lnTo>
                      <a:pt x="330" y="621"/>
                    </a:lnTo>
                    <a:lnTo>
                      <a:pt x="359" y="619"/>
                    </a:lnTo>
                    <a:lnTo>
                      <a:pt x="389" y="614"/>
                    </a:lnTo>
                    <a:lnTo>
                      <a:pt x="415" y="607"/>
                    </a:lnTo>
                    <a:lnTo>
                      <a:pt x="442" y="598"/>
                    </a:lnTo>
                    <a:lnTo>
                      <a:pt x="468" y="586"/>
                    </a:lnTo>
                    <a:lnTo>
                      <a:pt x="492" y="571"/>
                    </a:lnTo>
                    <a:lnTo>
                      <a:pt x="515" y="554"/>
                    </a:lnTo>
                    <a:lnTo>
                      <a:pt x="535" y="535"/>
                    </a:lnTo>
                    <a:lnTo>
                      <a:pt x="554" y="515"/>
                    </a:lnTo>
                    <a:lnTo>
                      <a:pt x="571" y="492"/>
                    </a:lnTo>
                    <a:lnTo>
                      <a:pt x="586" y="468"/>
                    </a:lnTo>
                    <a:lnTo>
                      <a:pt x="598" y="442"/>
                    </a:lnTo>
                    <a:lnTo>
                      <a:pt x="608" y="415"/>
                    </a:lnTo>
                    <a:lnTo>
                      <a:pt x="614" y="388"/>
                    </a:lnTo>
                    <a:lnTo>
                      <a:pt x="620" y="359"/>
                    </a:lnTo>
                    <a:lnTo>
                      <a:pt x="621" y="329"/>
                    </a:lnTo>
                    <a:lnTo>
                      <a:pt x="621" y="329"/>
                    </a:lnTo>
                    <a:lnTo>
                      <a:pt x="620" y="300"/>
                    </a:lnTo>
                    <a:lnTo>
                      <a:pt x="614" y="270"/>
                    </a:lnTo>
                    <a:lnTo>
                      <a:pt x="608" y="243"/>
                    </a:lnTo>
                    <a:lnTo>
                      <a:pt x="598" y="216"/>
                    </a:lnTo>
                    <a:lnTo>
                      <a:pt x="586" y="191"/>
                    </a:lnTo>
                    <a:lnTo>
                      <a:pt x="571" y="167"/>
                    </a:lnTo>
                    <a:lnTo>
                      <a:pt x="554" y="144"/>
                    </a:lnTo>
                    <a:lnTo>
                      <a:pt x="535" y="124"/>
                    </a:lnTo>
                    <a:lnTo>
                      <a:pt x="515" y="105"/>
                    </a:lnTo>
                    <a:lnTo>
                      <a:pt x="492" y="87"/>
                    </a:lnTo>
                    <a:lnTo>
                      <a:pt x="468" y="73"/>
                    </a:lnTo>
                    <a:lnTo>
                      <a:pt x="442" y="61"/>
                    </a:lnTo>
                    <a:lnTo>
                      <a:pt x="415" y="51"/>
                    </a:lnTo>
                    <a:lnTo>
                      <a:pt x="389" y="44"/>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30" name="Freeform 146">
                <a:extLst>
                  <a:ext uri="{FF2B5EF4-FFF2-40B4-BE49-F238E27FC236}">
                    <a16:creationId xmlns:a16="http://schemas.microsoft.com/office/drawing/2014/main" id="{D08DD526-968D-F66E-BB62-C9AC8AE2B4BE}"/>
                  </a:ext>
                </a:extLst>
              </p:cNvPr>
              <p:cNvSpPr>
                <a:spLocks noEditPoints="1"/>
              </p:cNvSpPr>
              <p:nvPr/>
            </p:nvSpPr>
            <p:spPr bwMode="auto">
              <a:xfrm>
                <a:off x="4230688" y="4325938"/>
                <a:ext cx="222250" cy="222250"/>
              </a:xfrm>
              <a:custGeom>
                <a:avLst/>
                <a:gdLst>
                  <a:gd name="T0" fmla="*/ 5 w 279"/>
                  <a:gd name="T1" fmla="*/ 0 h 279"/>
                  <a:gd name="T2" fmla="*/ 1 w 279"/>
                  <a:gd name="T3" fmla="*/ 1 h 279"/>
                  <a:gd name="T4" fmla="*/ 0 w 279"/>
                  <a:gd name="T5" fmla="*/ 275 h 279"/>
                  <a:gd name="T6" fmla="*/ 1 w 279"/>
                  <a:gd name="T7" fmla="*/ 278 h 279"/>
                  <a:gd name="T8" fmla="*/ 274 w 279"/>
                  <a:gd name="T9" fmla="*/ 279 h 279"/>
                  <a:gd name="T10" fmla="*/ 278 w 279"/>
                  <a:gd name="T11" fmla="*/ 278 h 279"/>
                  <a:gd name="T12" fmla="*/ 279 w 279"/>
                  <a:gd name="T13" fmla="*/ 5 h 279"/>
                  <a:gd name="T14" fmla="*/ 278 w 279"/>
                  <a:gd name="T15" fmla="*/ 1 h 279"/>
                  <a:gd name="T16" fmla="*/ 274 w 279"/>
                  <a:gd name="T17" fmla="*/ 0 h 279"/>
                  <a:gd name="T18" fmla="*/ 122 w 279"/>
                  <a:gd name="T19" fmla="*/ 45 h 279"/>
                  <a:gd name="T20" fmla="*/ 134 w 279"/>
                  <a:gd name="T21" fmla="*/ 48 h 279"/>
                  <a:gd name="T22" fmla="*/ 144 w 279"/>
                  <a:gd name="T23" fmla="*/ 55 h 279"/>
                  <a:gd name="T24" fmla="*/ 150 w 279"/>
                  <a:gd name="T25" fmla="*/ 64 h 279"/>
                  <a:gd name="T26" fmla="*/ 153 w 279"/>
                  <a:gd name="T27" fmla="*/ 76 h 279"/>
                  <a:gd name="T28" fmla="*/ 152 w 279"/>
                  <a:gd name="T29" fmla="*/ 83 h 279"/>
                  <a:gd name="T30" fmla="*/ 148 w 279"/>
                  <a:gd name="T31" fmla="*/ 94 h 279"/>
                  <a:gd name="T32" fmla="*/ 140 w 279"/>
                  <a:gd name="T33" fmla="*/ 103 h 279"/>
                  <a:gd name="T34" fmla="*/ 127 w 279"/>
                  <a:gd name="T35" fmla="*/ 107 h 279"/>
                  <a:gd name="T36" fmla="*/ 122 w 279"/>
                  <a:gd name="T37" fmla="*/ 108 h 279"/>
                  <a:gd name="T38" fmla="*/ 109 w 279"/>
                  <a:gd name="T39" fmla="*/ 106 h 279"/>
                  <a:gd name="T40" fmla="*/ 99 w 279"/>
                  <a:gd name="T41" fmla="*/ 99 h 279"/>
                  <a:gd name="T42" fmla="*/ 93 w 279"/>
                  <a:gd name="T43" fmla="*/ 90 h 279"/>
                  <a:gd name="T44" fmla="*/ 90 w 279"/>
                  <a:gd name="T45" fmla="*/ 76 h 279"/>
                  <a:gd name="T46" fmla="*/ 91 w 279"/>
                  <a:gd name="T47" fmla="*/ 71 h 279"/>
                  <a:gd name="T48" fmla="*/ 95 w 279"/>
                  <a:gd name="T49" fmla="*/ 59 h 279"/>
                  <a:gd name="T50" fmla="*/ 103 w 279"/>
                  <a:gd name="T51" fmla="*/ 51 h 279"/>
                  <a:gd name="T52" fmla="*/ 115 w 279"/>
                  <a:gd name="T53" fmla="*/ 45 h 279"/>
                  <a:gd name="T54" fmla="*/ 122 w 279"/>
                  <a:gd name="T55" fmla="*/ 45 h 279"/>
                  <a:gd name="T56" fmla="*/ 239 w 279"/>
                  <a:gd name="T57" fmla="*/ 233 h 279"/>
                  <a:gd name="T58" fmla="*/ 40 w 279"/>
                  <a:gd name="T59" fmla="*/ 233 h 279"/>
                  <a:gd name="T60" fmla="*/ 36 w 279"/>
                  <a:gd name="T61" fmla="*/ 232 h 279"/>
                  <a:gd name="T62" fmla="*/ 36 w 279"/>
                  <a:gd name="T63" fmla="*/ 229 h 279"/>
                  <a:gd name="T64" fmla="*/ 82 w 279"/>
                  <a:gd name="T65" fmla="*/ 146 h 279"/>
                  <a:gd name="T66" fmla="*/ 83 w 279"/>
                  <a:gd name="T67" fmla="*/ 145 h 279"/>
                  <a:gd name="T68" fmla="*/ 84 w 279"/>
                  <a:gd name="T69" fmla="*/ 145 h 279"/>
                  <a:gd name="T70" fmla="*/ 88 w 279"/>
                  <a:gd name="T71" fmla="*/ 145 h 279"/>
                  <a:gd name="T72" fmla="*/ 172 w 279"/>
                  <a:gd name="T73" fmla="*/ 119 h 279"/>
                  <a:gd name="T74" fmla="*/ 173 w 279"/>
                  <a:gd name="T75" fmla="*/ 118 h 279"/>
                  <a:gd name="T76" fmla="*/ 176 w 279"/>
                  <a:gd name="T77" fmla="*/ 116 h 279"/>
                  <a:gd name="T78" fmla="*/ 180 w 279"/>
                  <a:gd name="T79" fmla="*/ 119 h 279"/>
                  <a:gd name="T80" fmla="*/ 242 w 279"/>
                  <a:gd name="T81" fmla="*/ 227 h 279"/>
                  <a:gd name="T82" fmla="*/ 243 w 279"/>
                  <a:gd name="T83" fmla="*/ 229 h 279"/>
                  <a:gd name="T84" fmla="*/ 242 w 279"/>
                  <a:gd name="T85" fmla="*/ 233 h 279"/>
                  <a:gd name="T86" fmla="*/ 239 w 279"/>
                  <a:gd name="T87" fmla="*/ 23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9" h="279">
                    <a:moveTo>
                      <a:pt x="274" y="0"/>
                    </a:moveTo>
                    <a:lnTo>
                      <a:pt x="5" y="0"/>
                    </a:lnTo>
                    <a:lnTo>
                      <a:pt x="5" y="0"/>
                    </a:lnTo>
                    <a:lnTo>
                      <a:pt x="1" y="1"/>
                    </a:lnTo>
                    <a:lnTo>
                      <a:pt x="0" y="5"/>
                    </a:lnTo>
                    <a:lnTo>
                      <a:pt x="0" y="275"/>
                    </a:lnTo>
                    <a:lnTo>
                      <a:pt x="0" y="275"/>
                    </a:lnTo>
                    <a:lnTo>
                      <a:pt x="1" y="278"/>
                    </a:lnTo>
                    <a:lnTo>
                      <a:pt x="5" y="279"/>
                    </a:lnTo>
                    <a:lnTo>
                      <a:pt x="274" y="279"/>
                    </a:lnTo>
                    <a:lnTo>
                      <a:pt x="274" y="279"/>
                    </a:lnTo>
                    <a:lnTo>
                      <a:pt x="278" y="278"/>
                    </a:lnTo>
                    <a:lnTo>
                      <a:pt x="279" y="275"/>
                    </a:lnTo>
                    <a:lnTo>
                      <a:pt x="279" y="5"/>
                    </a:lnTo>
                    <a:lnTo>
                      <a:pt x="279" y="5"/>
                    </a:lnTo>
                    <a:lnTo>
                      <a:pt x="278" y="1"/>
                    </a:lnTo>
                    <a:lnTo>
                      <a:pt x="274" y="0"/>
                    </a:lnTo>
                    <a:lnTo>
                      <a:pt x="274" y="0"/>
                    </a:lnTo>
                    <a:close/>
                    <a:moveTo>
                      <a:pt x="122" y="45"/>
                    </a:moveTo>
                    <a:lnTo>
                      <a:pt x="122" y="45"/>
                    </a:lnTo>
                    <a:lnTo>
                      <a:pt x="127" y="45"/>
                    </a:lnTo>
                    <a:lnTo>
                      <a:pt x="134" y="48"/>
                    </a:lnTo>
                    <a:lnTo>
                      <a:pt x="140" y="51"/>
                    </a:lnTo>
                    <a:lnTo>
                      <a:pt x="144" y="55"/>
                    </a:lnTo>
                    <a:lnTo>
                      <a:pt x="148" y="59"/>
                    </a:lnTo>
                    <a:lnTo>
                      <a:pt x="150" y="64"/>
                    </a:lnTo>
                    <a:lnTo>
                      <a:pt x="152" y="71"/>
                    </a:lnTo>
                    <a:lnTo>
                      <a:pt x="153" y="76"/>
                    </a:lnTo>
                    <a:lnTo>
                      <a:pt x="153" y="76"/>
                    </a:lnTo>
                    <a:lnTo>
                      <a:pt x="152" y="83"/>
                    </a:lnTo>
                    <a:lnTo>
                      <a:pt x="150" y="90"/>
                    </a:lnTo>
                    <a:lnTo>
                      <a:pt x="148" y="94"/>
                    </a:lnTo>
                    <a:lnTo>
                      <a:pt x="144" y="99"/>
                    </a:lnTo>
                    <a:lnTo>
                      <a:pt x="140" y="103"/>
                    </a:lnTo>
                    <a:lnTo>
                      <a:pt x="134" y="106"/>
                    </a:lnTo>
                    <a:lnTo>
                      <a:pt x="127" y="107"/>
                    </a:lnTo>
                    <a:lnTo>
                      <a:pt x="122" y="108"/>
                    </a:lnTo>
                    <a:lnTo>
                      <a:pt x="122" y="108"/>
                    </a:lnTo>
                    <a:lnTo>
                      <a:pt x="115" y="107"/>
                    </a:lnTo>
                    <a:lnTo>
                      <a:pt x="109" y="106"/>
                    </a:lnTo>
                    <a:lnTo>
                      <a:pt x="103" y="103"/>
                    </a:lnTo>
                    <a:lnTo>
                      <a:pt x="99" y="99"/>
                    </a:lnTo>
                    <a:lnTo>
                      <a:pt x="95" y="94"/>
                    </a:lnTo>
                    <a:lnTo>
                      <a:pt x="93" y="90"/>
                    </a:lnTo>
                    <a:lnTo>
                      <a:pt x="91" y="83"/>
                    </a:lnTo>
                    <a:lnTo>
                      <a:pt x="90" y="76"/>
                    </a:lnTo>
                    <a:lnTo>
                      <a:pt x="90" y="76"/>
                    </a:lnTo>
                    <a:lnTo>
                      <a:pt x="91" y="71"/>
                    </a:lnTo>
                    <a:lnTo>
                      <a:pt x="93" y="64"/>
                    </a:lnTo>
                    <a:lnTo>
                      <a:pt x="95" y="59"/>
                    </a:lnTo>
                    <a:lnTo>
                      <a:pt x="99" y="55"/>
                    </a:lnTo>
                    <a:lnTo>
                      <a:pt x="103" y="51"/>
                    </a:lnTo>
                    <a:lnTo>
                      <a:pt x="109" y="48"/>
                    </a:lnTo>
                    <a:lnTo>
                      <a:pt x="115" y="45"/>
                    </a:lnTo>
                    <a:lnTo>
                      <a:pt x="122" y="45"/>
                    </a:lnTo>
                    <a:lnTo>
                      <a:pt x="122" y="45"/>
                    </a:lnTo>
                    <a:close/>
                    <a:moveTo>
                      <a:pt x="239" y="233"/>
                    </a:moveTo>
                    <a:lnTo>
                      <a:pt x="239" y="233"/>
                    </a:lnTo>
                    <a:lnTo>
                      <a:pt x="40" y="233"/>
                    </a:lnTo>
                    <a:lnTo>
                      <a:pt x="40" y="233"/>
                    </a:lnTo>
                    <a:lnTo>
                      <a:pt x="39" y="233"/>
                    </a:lnTo>
                    <a:lnTo>
                      <a:pt x="36" y="232"/>
                    </a:lnTo>
                    <a:lnTo>
                      <a:pt x="36" y="232"/>
                    </a:lnTo>
                    <a:lnTo>
                      <a:pt x="36" y="229"/>
                    </a:lnTo>
                    <a:lnTo>
                      <a:pt x="36" y="227"/>
                    </a:lnTo>
                    <a:lnTo>
                      <a:pt x="82" y="146"/>
                    </a:lnTo>
                    <a:lnTo>
                      <a:pt x="82" y="146"/>
                    </a:lnTo>
                    <a:lnTo>
                      <a:pt x="83" y="145"/>
                    </a:lnTo>
                    <a:lnTo>
                      <a:pt x="84" y="145"/>
                    </a:lnTo>
                    <a:lnTo>
                      <a:pt x="84" y="145"/>
                    </a:lnTo>
                    <a:lnTo>
                      <a:pt x="87" y="143"/>
                    </a:lnTo>
                    <a:lnTo>
                      <a:pt x="88" y="145"/>
                    </a:lnTo>
                    <a:lnTo>
                      <a:pt x="130" y="178"/>
                    </a:lnTo>
                    <a:lnTo>
                      <a:pt x="172" y="119"/>
                    </a:lnTo>
                    <a:lnTo>
                      <a:pt x="172" y="119"/>
                    </a:lnTo>
                    <a:lnTo>
                      <a:pt x="173" y="118"/>
                    </a:lnTo>
                    <a:lnTo>
                      <a:pt x="176" y="116"/>
                    </a:lnTo>
                    <a:lnTo>
                      <a:pt x="176" y="116"/>
                    </a:lnTo>
                    <a:lnTo>
                      <a:pt x="177" y="118"/>
                    </a:lnTo>
                    <a:lnTo>
                      <a:pt x="180" y="119"/>
                    </a:lnTo>
                    <a:lnTo>
                      <a:pt x="242" y="227"/>
                    </a:lnTo>
                    <a:lnTo>
                      <a:pt x="242" y="227"/>
                    </a:lnTo>
                    <a:lnTo>
                      <a:pt x="243" y="228"/>
                    </a:lnTo>
                    <a:lnTo>
                      <a:pt x="243" y="229"/>
                    </a:lnTo>
                    <a:lnTo>
                      <a:pt x="243" y="229"/>
                    </a:lnTo>
                    <a:lnTo>
                      <a:pt x="242" y="233"/>
                    </a:lnTo>
                    <a:lnTo>
                      <a:pt x="239" y="233"/>
                    </a:lnTo>
                    <a:lnTo>
                      <a:pt x="239" y="2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55" name="Group 154">
              <a:extLst>
                <a:ext uri="{FF2B5EF4-FFF2-40B4-BE49-F238E27FC236}">
                  <a16:creationId xmlns:a16="http://schemas.microsoft.com/office/drawing/2014/main" id="{69A7CD15-9A86-E4A0-7F37-A5D6392483C4}"/>
                </a:ext>
              </a:extLst>
            </p:cNvPr>
            <p:cNvGrpSpPr>
              <a:grpSpLocks noChangeAspect="1"/>
            </p:cNvGrpSpPr>
            <p:nvPr/>
          </p:nvGrpSpPr>
          <p:grpSpPr>
            <a:xfrm>
              <a:off x="4585305" y="2510531"/>
              <a:ext cx="245269" cy="244523"/>
              <a:chOff x="1433513" y="822325"/>
              <a:chExt cx="522288" cy="520700"/>
            </a:xfrm>
          </p:grpSpPr>
          <p:sp>
            <p:nvSpPr>
              <p:cNvPr id="227" name="Freeform 7">
                <a:extLst>
                  <a:ext uri="{FF2B5EF4-FFF2-40B4-BE49-F238E27FC236}">
                    <a16:creationId xmlns:a16="http://schemas.microsoft.com/office/drawing/2014/main" id="{A12FA25F-F63E-35B1-9BF3-DB577E832FBE}"/>
                  </a:ext>
                </a:extLst>
              </p:cNvPr>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28" name="Freeform 226">
                <a:extLst>
                  <a:ext uri="{FF2B5EF4-FFF2-40B4-BE49-F238E27FC236}">
                    <a16:creationId xmlns:a16="http://schemas.microsoft.com/office/drawing/2014/main" id="{115CB279-E109-2FFA-6AAC-232333A35786}"/>
                  </a:ext>
                </a:extLst>
              </p:cNvPr>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56" name="Group 155">
              <a:extLst>
                <a:ext uri="{FF2B5EF4-FFF2-40B4-BE49-F238E27FC236}">
                  <a16:creationId xmlns:a16="http://schemas.microsoft.com/office/drawing/2014/main" id="{7E19C260-81D1-22F5-F9F2-2FB646BE26D6}"/>
                </a:ext>
              </a:extLst>
            </p:cNvPr>
            <p:cNvGrpSpPr>
              <a:grpSpLocks noChangeAspect="1"/>
            </p:cNvGrpSpPr>
            <p:nvPr/>
          </p:nvGrpSpPr>
          <p:grpSpPr>
            <a:xfrm>
              <a:off x="4585305" y="3605425"/>
              <a:ext cx="244523" cy="245269"/>
              <a:chOff x="6710363" y="823913"/>
              <a:chExt cx="520700" cy="522288"/>
            </a:xfrm>
          </p:grpSpPr>
          <p:sp>
            <p:nvSpPr>
              <p:cNvPr id="224" name="Freeform 15">
                <a:extLst>
                  <a:ext uri="{FF2B5EF4-FFF2-40B4-BE49-F238E27FC236}">
                    <a16:creationId xmlns:a16="http://schemas.microsoft.com/office/drawing/2014/main" id="{26A368C0-1623-0341-DED9-B9B2E391FA77}"/>
                  </a:ext>
                </a:extLst>
              </p:cNvPr>
              <p:cNvSpPr>
                <a:spLocks noEditPoints="1"/>
              </p:cNvSpPr>
              <p:nvPr/>
            </p:nvSpPr>
            <p:spPr bwMode="auto">
              <a:xfrm>
                <a:off x="6710363" y="823913"/>
                <a:ext cx="520700" cy="522288"/>
              </a:xfrm>
              <a:custGeom>
                <a:avLst/>
                <a:gdLst>
                  <a:gd name="T0" fmla="*/ 311 w 657"/>
                  <a:gd name="T1" fmla="*/ 656 h 658"/>
                  <a:gd name="T2" fmla="*/ 262 w 657"/>
                  <a:gd name="T3" fmla="*/ 651 h 658"/>
                  <a:gd name="T4" fmla="*/ 201 w 657"/>
                  <a:gd name="T5" fmla="*/ 632 h 658"/>
                  <a:gd name="T6" fmla="*/ 119 w 657"/>
                  <a:gd name="T7" fmla="*/ 582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2 h 658"/>
                  <a:gd name="T22" fmla="*/ 97 w 657"/>
                  <a:gd name="T23" fmla="*/ 96 h 658"/>
                  <a:gd name="T24" fmla="*/ 172 w 657"/>
                  <a:gd name="T25" fmla="*/ 40 h 658"/>
                  <a:gd name="T26" fmla="*/ 247 w 657"/>
                  <a:gd name="T27" fmla="*/ 10 h 658"/>
                  <a:gd name="T28" fmla="*/ 295 w 657"/>
                  <a:gd name="T29" fmla="*/ 2 h 658"/>
                  <a:gd name="T30" fmla="*/ 329 w 657"/>
                  <a:gd name="T31" fmla="*/ 0 h 658"/>
                  <a:gd name="T32" fmla="*/ 379 w 657"/>
                  <a:gd name="T33" fmla="*/ 4 h 658"/>
                  <a:gd name="T34" fmla="*/ 426 w 657"/>
                  <a:gd name="T35" fmla="*/ 14 h 658"/>
                  <a:gd name="T36" fmla="*/ 512 w 657"/>
                  <a:gd name="T37" fmla="*/ 56 h 658"/>
                  <a:gd name="T38" fmla="*/ 583 w 657"/>
                  <a:gd name="T39" fmla="*/ 119 h 658"/>
                  <a:gd name="T40" fmla="*/ 631 w 657"/>
                  <a:gd name="T41" fmla="*/ 201 h 658"/>
                  <a:gd name="T42" fmla="*/ 651 w 657"/>
                  <a:gd name="T43" fmla="*/ 263 h 658"/>
                  <a:gd name="T44" fmla="*/ 657 w 657"/>
                  <a:gd name="T45" fmla="*/ 311 h 658"/>
                  <a:gd name="T46" fmla="*/ 657 w 657"/>
                  <a:gd name="T47" fmla="*/ 346 h 658"/>
                  <a:gd name="T48" fmla="*/ 651 w 657"/>
                  <a:gd name="T49" fmla="*/ 394 h 658"/>
                  <a:gd name="T50" fmla="*/ 631 w 657"/>
                  <a:gd name="T51" fmla="*/ 456 h 658"/>
                  <a:gd name="T52" fmla="*/ 583 w 657"/>
                  <a:gd name="T53" fmla="*/ 538 h 658"/>
                  <a:gd name="T54" fmla="*/ 512 w 657"/>
                  <a:gd name="T55" fmla="*/ 601 h 658"/>
                  <a:gd name="T56" fmla="*/ 426 w 657"/>
                  <a:gd name="T57" fmla="*/ 643 h 658"/>
                  <a:gd name="T58" fmla="*/ 379 w 657"/>
                  <a:gd name="T59" fmla="*/ 653 h 658"/>
                  <a:gd name="T60" fmla="*/ 329 w 657"/>
                  <a:gd name="T61" fmla="*/ 658 h 658"/>
                  <a:gd name="T62" fmla="*/ 329 w 657"/>
                  <a:gd name="T63" fmla="*/ 37 h 658"/>
                  <a:gd name="T64" fmla="*/ 242 w 657"/>
                  <a:gd name="T65" fmla="*/ 51 h 658"/>
                  <a:gd name="T66" fmla="*/ 166 w 657"/>
                  <a:gd name="T67" fmla="*/ 87 h 658"/>
                  <a:gd name="T68" fmla="*/ 105 w 657"/>
                  <a:gd name="T69" fmla="*/ 143 h 658"/>
                  <a:gd name="T70" fmla="*/ 60 w 657"/>
                  <a:gd name="T71" fmla="*/ 216 h 658"/>
                  <a:gd name="T72" fmla="*/ 39 w 657"/>
                  <a:gd name="T73" fmla="*/ 299 h 658"/>
                  <a:gd name="T74" fmla="*/ 39 w 657"/>
                  <a:gd name="T75" fmla="*/ 358 h 658"/>
                  <a:gd name="T76" fmla="*/ 60 w 657"/>
                  <a:gd name="T77" fmla="*/ 441 h 658"/>
                  <a:gd name="T78" fmla="*/ 105 w 657"/>
                  <a:gd name="T79" fmla="*/ 514 h 658"/>
                  <a:gd name="T80" fmla="*/ 166 w 657"/>
                  <a:gd name="T81" fmla="*/ 570 h 658"/>
                  <a:gd name="T82" fmla="*/ 242 w 657"/>
                  <a:gd name="T83" fmla="*/ 607 h 658"/>
                  <a:gd name="T84" fmla="*/ 329 w 657"/>
                  <a:gd name="T85" fmla="*/ 620 h 658"/>
                  <a:gd name="T86" fmla="*/ 387 w 657"/>
                  <a:gd name="T87" fmla="*/ 613 h 658"/>
                  <a:gd name="T88" fmla="*/ 467 w 657"/>
                  <a:gd name="T89" fmla="*/ 585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4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6"/>
                    </a:lnTo>
                    <a:lnTo>
                      <a:pt x="295" y="656"/>
                    </a:lnTo>
                    <a:lnTo>
                      <a:pt x="278" y="653"/>
                    </a:lnTo>
                    <a:lnTo>
                      <a:pt x="262" y="651"/>
                    </a:lnTo>
                    <a:lnTo>
                      <a:pt x="247" y="647"/>
                    </a:lnTo>
                    <a:lnTo>
                      <a:pt x="231" y="643"/>
                    </a:lnTo>
                    <a:lnTo>
                      <a:pt x="201" y="632"/>
                    </a:lnTo>
                    <a:lnTo>
                      <a:pt x="172" y="617"/>
                    </a:lnTo>
                    <a:lnTo>
                      <a:pt x="145" y="601"/>
                    </a:lnTo>
                    <a:lnTo>
                      <a:pt x="119" y="582"/>
                    </a:lnTo>
                    <a:lnTo>
                      <a:pt x="97" y="561"/>
                    </a:lnTo>
                    <a:lnTo>
                      <a:pt x="75" y="538"/>
                    </a:lnTo>
                    <a:lnTo>
                      <a:pt x="56" y="513"/>
                    </a:lnTo>
                    <a:lnTo>
                      <a:pt x="40" y="486"/>
                    </a:lnTo>
                    <a:lnTo>
                      <a:pt x="25" y="456"/>
                    </a:lnTo>
                    <a:lnTo>
                      <a:pt x="15" y="427"/>
                    </a:lnTo>
                    <a:lnTo>
                      <a:pt x="11" y="410"/>
                    </a:lnTo>
                    <a:lnTo>
                      <a:pt x="7" y="394"/>
                    </a:lnTo>
                    <a:lnTo>
                      <a:pt x="4" y="378"/>
                    </a:lnTo>
                    <a:lnTo>
                      <a:pt x="1" y="362"/>
                    </a:lnTo>
                    <a:lnTo>
                      <a:pt x="0" y="346"/>
                    </a:lnTo>
                    <a:lnTo>
                      <a:pt x="0" y="329"/>
                    </a:lnTo>
                    <a:lnTo>
                      <a:pt x="0" y="329"/>
                    </a:lnTo>
                    <a:lnTo>
                      <a:pt x="0" y="311"/>
                    </a:lnTo>
                    <a:lnTo>
                      <a:pt x="1" y="295"/>
                    </a:lnTo>
                    <a:lnTo>
                      <a:pt x="4" y="279"/>
                    </a:lnTo>
                    <a:lnTo>
                      <a:pt x="7" y="263"/>
                    </a:lnTo>
                    <a:lnTo>
                      <a:pt x="11" y="247"/>
                    </a:lnTo>
                    <a:lnTo>
                      <a:pt x="15" y="231"/>
                    </a:lnTo>
                    <a:lnTo>
                      <a:pt x="25" y="201"/>
                    </a:lnTo>
                    <a:lnTo>
                      <a:pt x="40" y="172"/>
                    </a:lnTo>
                    <a:lnTo>
                      <a:pt x="56" y="145"/>
                    </a:lnTo>
                    <a:lnTo>
                      <a:pt x="75" y="119"/>
                    </a:lnTo>
                    <a:lnTo>
                      <a:pt x="97" y="96"/>
                    </a:lnTo>
                    <a:lnTo>
                      <a:pt x="119" y="75"/>
                    </a:lnTo>
                    <a:lnTo>
                      <a:pt x="145" y="56"/>
                    </a:lnTo>
                    <a:lnTo>
                      <a:pt x="172" y="40"/>
                    </a:lnTo>
                    <a:lnTo>
                      <a:pt x="201" y="27"/>
                    </a:lnTo>
                    <a:lnTo>
                      <a:pt x="231" y="14"/>
                    </a:lnTo>
                    <a:lnTo>
                      <a:pt x="247" y="10"/>
                    </a:lnTo>
                    <a:lnTo>
                      <a:pt x="262" y="6"/>
                    </a:lnTo>
                    <a:lnTo>
                      <a:pt x="278" y="4"/>
                    </a:lnTo>
                    <a:lnTo>
                      <a:pt x="295" y="2"/>
                    </a:lnTo>
                    <a:lnTo>
                      <a:pt x="311" y="1"/>
                    </a:lnTo>
                    <a:lnTo>
                      <a:pt x="329" y="0"/>
                    </a:lnTo>
                    <a:lnTo>
                      <a:pt x="329" y="0"/>
                    </a:lnTo>
                    <a:lnTo>
                      <a:pt x="345" y="1"/>
                    </a:lnTo>
                    <a:lnTo>
                      <a:pt x="362" y="2"/>
                    </a:lnTo>
                    <a:lnTo>
                      <a:pt x="379" y="4"/>
                    </a:lnTo>
                    <a:lnTo>
                      <a:pt x="395" y="6"/>
                    </a:lnTo>
                    <a:lnTo>
                      <a:pt x="411" y="10"/>
                    </a:lnTo>
                    <a:lnTo>
                      <a:pt x="426" y="14"/>
                    </a:lnTo>
                    <a:lnTo>
                      <a:pt x="456" y="27"/>
                    </a:lnTo>
                    <a:lnTo>
                      <a:pt x="485" y="40"/>
                    </a:lnTo>
                    <a:lnTo>
                      <a:pt x="512" y="56"/>
                    </a:lnTo>
                    <a:lnTo>
                      <a:pt x="537" y="75"/>
                    </a:lnTo>
                    <a:lnTo>
                      <a:pt x="561" y="96"/>
                    </a:lnTo>
                    <a:lnTo>
                      <a:pt x="583" y="119"/>
                    </a:lnTo>
                    <a:lnTo>
                      <a:pt x="601" y="145"/>
                    </a:lnTo>
                    <a:lnTo>
                      <a:pt x="618" y="172"/>
                    </a:lnTo>
                    <a:lnTo>
                      <a:pt x="631" y="201"/>
                    </a:lnTo>
                    <a:lnTo>
                      <a:pt x="642" y="231"/>
                    </a:lnTo>
                    <a:lnTo>
                      <a:pt x="647" y="247"/>
                    </a:lnTo>
                    <a:lnTo>
                      <a:pt x="651" y="263"/>
                    </a:lnTo>
                    <a:lnTo>
                      <a:pt x="654" y="279"/>
                    </a:lnTo>
                    <a:lnTo>
                      <a:pt x="655" y="295"/>
                    </a:lnTo>
                    <a:lnTo>
                      <a:pt x="657" y="311"/>
                    </a:lnTo>
                    <a:lnTo>
                      <a:pt x="657" y="329"/>
                    </a:lnTo>
                    <a:lnTo>
                      <a:pt x="657" y="329"/>
                    </a:lnTo>
                    <a:lnTo>
                      <a:pt x="657" y="346"/>
                    </a:lnTo>
                    <a:lnTo>
                      <a:pt x="655" y="362"/>
                    </a:lnTo>
                    <a:lnTo>
                      <a:pt x="654" y="378"/>
                    </a:lnTo>
                    <a:lnTo>
                      <a:pt x="651" y="394"/>
                    </a:lnTo>
                    <a:lnTo>
                      <a:pt x="647" y="410"/>
                    </a:lnTo>
                    <a:lnTo>
                      <a:pt x="642" y="427"/>
                    </a:lnTo>
                    <a:lnTo>
                      <a:pt x="631" y="456"/>
                    </a:lnTo>
                    <a:lnTo>
                      <a:pt x="618" y="486"/>
                    </a:lnTo>
                    <a:lnTo>
                      <a:pt x="601" y="513"/>
                    </a:lnTo>
                    <a:lnTo>
                      <a:pt x="583" y="538"/>
                    </a:lnTo>
                    <a:lnTo>
                      <a:pt x="561" y="561"/>
                    </a:lnTo>
                    <a:lnTo>
                      <a:pt x="537" y="582"/>
                    </a:lnTo>
                    <a:lnTo>
                      <a:pt x="512" y="601"/>
                    </a:lnTo>
                    <a:lnTo>
                      <a:pt x="485" y="617"/>
                    </a:lnTo>
                    <a:lnTo>
                      <a:pt x="456" y="632"/>
                    </a:lnTo>
                    <a:lnTo>
                      <a:pt x="426" y="643"/>
                    </a:lnTo>
                    <a:lnTo>
                      <a:pt x="411" y="647"/>
                    </a:lnTo>
                    <a:lnTo>
                      <a:pt x="395" y="651"/>
                    </a:lnTo>
                    <a:lnTo>
                      <a:pt x="379" y="653"/>
                    </a:lnTo>
                    <a:lnTo>
                      <a:pt x="362" y="656"/>
                    </a:lnTo>
                    <a:lnTo>
                      <a:pt x="345" y="656"/>
                    </a:lnTo>
                    <a:lnTo>
                      <a:pt x="329" y="658"/>
                    </a:lnTo>
                    <a:lnTo>
                      <a:pt x="329" y="658"/>
                    </a:lnTo>
                    <a:close/>
                    <a:moveTo>
                      <a:pt x="329" y="37"/>
                    </a:moveTo>
                    <a:lnTo>
                      <a:pt x="329" y="37"/>
                    </a:lnTo>
                    <a:lnTo>
                      <a:pt x="299" y="39"/>
                    </a:lnTo>
                    <a:lnTo>
                      <a:pt x="270" y="44"/>
                    </a:lnTo>
                    <a:lnTo>
                      <a:pt x="242" y="51"/>
                    </a:lnTo>
                    <a:lnTo>
                      <a:pt x="215" y="60"/>
                    </a:lnTo>
                    <a:lnTo>
                      <a:pt x="189" y="72"/>
                    </a:lnTo>
                    <a:lnTo>
                      <a:pt x="166" y="87"/>
                    </a:lnTo>
                    <a:lnTo>
                      <a:pt x="144" y="104"/>
                    </a:lnTo>
                    <a:lnTo>
                      <a:pt x="124" y="123"/>
                    </a:lnTo>
                    <a:lnTo>
                      <a:pt x="105" y="143"/>
                    </a:lnTo>
                    <a:lnTo>
                      <a:pt x="87" y="166"/>
                    </a:lnTo>
                    <a:lnTo>
                      <a:pt x="72" y="190"/>
                    </a:lnTo>
                    <a:lnTo>
                      <a:pt x="60" y="216"/>
                    </a:lnTo>
                    <a:lnTo>
                      <a:pt x="51" y="243"/>
                    </a:lnTo>
                    <a:lnTo>
                      <a:pt x="43" y="270"/>
                    </a:lnTo>
                    <a:lnTo>
                      <a:pt x="39" y="299"/>
                    </a:lnTo>
                    <a:lnTo>
                      <a:pt x="38" y="329"/>
                    </a:lnTo>
                    <a:lnTo>
                      <a:pt x="38" y="329"/>
                    </a:lnTo>
                    <a:lnTo>
                      <a:pt x="39" y="358"/>
                    </a:lnTo>
                    <a:lnTo>
                      <a:pt x="43" y="388"/>
                    </a:lnTo>
                    <a:lnTo>
                      <a:pt x="51" y="415"/>
                    </a:lnTo>
                    <a:lnTo>
                      <a:pt x="60" y="441"/>
                    </a:lnTo>
                    <a:lnTo>
                      <a:pt x="72" y="467"/>
                    </a:lnTo>
                    <a:lnTo>
                      <a:pt x="87" y="491"/>
                    </a:lnTo>
                    <a:lnTo>
                      <a:pt x="105" y="514"/>
                    </a:lnTo>
                    <a:lnTo>
                      <a:pt x="124" y="534"/>
                    </a:lnTo>
                    <a:lnTo>
                      <a:pt x="144" y="553"/>
                    </a:lnTo>
                    <a:lnTo>
                      <a:pt x="166" y="570"/>
                    </a:lnTo>
                    <a:lnTo>
                      <a:pt x="189" y="585"/>
                    </a:lnTo>
                    <a:lnTo>
                      <a:pt x="215" y="597"/>
                    </a:lnTo>
                    <a:lnTo>
                      <a:pt x="242" y="607"/>
                    </a:lnTo>
                    <a:lnTo>
                      <a:pt x="270" y="613"/>
                    </a:lnTo>
                    <a:lnTo>
                      <a:pt x="299" y="619"/>
                    </a:lnTo>
                    <a:lnTo>
                      <a:pt x="329" y="620"/>
                    </a:lnTo>
                    <a:lnTo>
                      <a:pt x="329" y="620"/>
                    </a:lnTo>
                    <a:lnTo>
                      <a:pt x="358" y="619"/>
                    </a:lnTo>
                    <a:lnTo>
                      <a:pt x="387" y="613"/>
                    </a:lnTo>
                    <a:lnTo>
                      <a:pt x="415" y="607"/>
                    </a:lnTo>
                    <a:lnTo>
                      <a:pt x="442" y="597"/>
                    </a:lnTo>
                    <a:lnTo>
                      <a:pt x="467" y="585"/>
                    </a:lnTo>
                    <a:lnTo>
                      <a:pt x="491" y="570"/>
                    </a:lnTo>
                    <a:lnTo>
                      <a:pt x="514" y="553"/>
                    </a:lnTo>
                    <a:lnTo>
                      <a:pt x="534" y="534"/>
                    </a:lnTo>
                    <a:lnTo>
                      <a:pt x="553" y="514"/>
                    </a:lnTo>
                    <a:lnTo>
                      <a:pt x="569" y="491"/>
                    </a:lnTo>
                    <a:lnTo>
                      <a:pt x="584" y="467"/>
                    </a:lnTo>
                    <a:lnTo>
                      <a:pt x="596" y="441"/>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4" y="104"/>
                    </a:lnTo>
                    <a:lnTo>
                      <a:pt x="491" y="87"/>
                    </a:lnTo>
                    <a:lnTo>
                      <a:pt x="467" y="72"/>
                    </a:lnTo>
                    <a:lnTo>
                      <a:pt x="442" y="60"/>
                    </a:lnTo>
                    <a:lnTo>
                      <a:pt x="415" y="51"/>
                    </a:lnTo>
                    <a:lnTo>
                      <a:pt x="387" y="44"/>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25" name="Freeform 116">
                <a:extLst>
                  <a:ext uri="{FF2B5EF4-FFF2-40B4-BE49-F238E27FC236}">
                    <a16:creationId xmlns:a16="http://schemas.microsoft.com/office/drawing/2014/main" id="{11D506D7-279A-716B-B4CD-7EC10D329119}"/>
                  </a:ext>
                </a:extLst>
              </p:cNvPr>
              <p:cNvSpPr>
                <a:spLocks/>
              </p:cNvSpPr>
              <p:nvPr/>
            </p:nvSpPr>
            <p:spPr bwMode="auto">
              <a:xfrm>
                <a:off x="6908801" y="1079500"/>
                <a:ext cx="125413" cy="125413"/>
              </a:xfrm>
              <a:custGeom>
                <a:avLst/>
                <a:gdLst>
                  <a:gd name="T0" fmla="*/ 155 w 158"/>
                  <a:gd name="T1" fmla="*/ 48 h 158"/>
                  <a:gd name="T2" fmla="*/ 155 w 158"/>
                  <a:gd name="T3" fmla="*/ 48 h 158"/>
                  <a:gd name="T4" fmla="*/ 157 w 158"/>
                  <a:gd name="T5" fmla="*/ 47 h 158"/>
                  <a:gd name="T6" fmla="*/ 158 w 158"/>
                  <a:gd name="T7" fmla="*/ 44 h 158"/>
                  <a:gd name="T8" fmla="*/ 158 w 158"/>
                  <a:gd name="T9" fmla="*/ 44 h 158"/>
                  <a:gd name="T10" fmla="*/ 157 w 158"/>
                  <a:gd name="T11" fmla="*/ 41 h 158"/>
                  <a:gd name="T12" fmla="*/ 154 w 158"/>
                  <a:gd name="T13" fmla="*/ 38 h 158"/>
                  <a:gd name="T14" fmla="*/ 5 w 158"/>
                  <a:gd name="T15" fmla="*/ 0 h 158"/>
                  <a:gd name="T16" fmla="*/ 5 w 158"/>
                  <a:gd name="T17" fmla="*/ 0 h 158"/>
                  <a:gd name="T18" fmla="*/ 2 w 158"/>
                  <a:gd name="T19" fmla="*/ 0 h 158"/>
                  <a:gd name="T20" fmla="*/ 0 w 158"/>
                  <a:gd name="T21" fmla="*/ 1 h 158"/>
                  <a:gd name="T22" fmla="*/ 0 w 158"/>
                  <a:gd name="T23" fmla="*/ 1 h 158"/>
                  <a:gd name="T24" fmla="*/ 0 w 158"/>
                  <a:gd name="T25" fmla="*/ 4 h 158"/>
                  <a:gd name="T26" fmla="*/ 0 w 158"/>
                  <a:gd name="T27" fmla="*/ 5 h 158"/>
                  <a:gd name="T28" fmla="*/ 39 w 158"/>
                  <a:gd name="T29" fmla="*/ 154 h 158"/>
                  <a:gd name="T30" fmla="*/ 39 w 158"/>
                  <a:gd name="T31" fmla="*/ 154 h 158"/>
                  <a:gd name="T32" fmla="*/ 40 w 158"/>
                  <a:gd name="T33" fmla="*/ 157 h 158"/>
                  <a:gd name="T34" fmla="*/ 43 w 158"/>
                  <a:gd name="T35" fmla="*/ 158 h 158"/>
                  <a:gd name="T36" fmla="*/ 43 w 158"/>
                  <a:gd name="T37" fmla="*/ 158 h 158"/>
                  <a:gd name="T38" fmla="*/ 44 w 158"/>
                  <a:gd name="T39" fmla="*/ 158 h 158"/>
                  <a:gd name="T40" fmla="*/ 44 w 158"/>
                  <a:gd name="T41" fmla="*/ 158 h 158"/>
                  <a:gd name="T42" fmla="*/ 45 w 158"/>
                  <a:gd name="T43" fmla="*/ 157 h 158"/>
                  <a:gd name="T44" fmla="*/ 48 w 158"/>
                  <a:gd name="T45" fmla="*/ 155 h 158"/>
                  <a:gd name="T46" fmla="*/ 87 w 158"/>
                  <a:gd name="T47" fmla="*/ 87 h 158"/>
                  <a:gd name="T48" fmla="*/ 155 w 158"/>
                  <a:gd name="T49"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8" h="158">
                    <a:moveTo>
                      <a:pt x="155" y="48"/>
                    </a:moveTo>
                    <a:lnTo>
                      <a:pt x="155" y="48"/>
                    </a:lnTo>
                    <a:lnTo>
                      <a:pt x="157" y="47"/>
                    </a:lnTo>
                    <a:lnTo>
                      <a:pt x="158" y="44"/>
                    </a:lnTo>
                    <a:lnTo>
                      <a:pt x="158" y="44"/>
                    </a:lnTo>
                    <a:lnTo>
                      <a:pt x="157" y="41"/>
                    </a:lnTo>
                    <a:lnTo>
                      <a:pt x="154" y="38"/>
                    </a:lnTo>
                    <a:lnTo>
                      <a:pt x="5" y="0"/>
                    </a:lnTo>
                    <a:lnTo>
                      <a:pt x="5" y="0"/>
                    </a:lnTo>
                    <a:lnTo>
                      <a:pt x="2" y="0"/>
                    </a:lnTo>
                    <a:lnTo>
                      <a:pt x="0" y="1"/>
                    </a:lnTo>
                    <a:lnTo>
                      <a:pt x="0" y="1"/>
                    </a:lnTo>
                    <a:lnTo>
                      <a:pt x="0" y="4"/>
                    </a:lnTo>
                    <a:lnTo>
                      <a:pt x="0" y="5"/>
                    </a:lnTo>
                    <a:lnTo>
                      <a:pt x="39" y="154"/>
                    </a:lnTo>
                    <a:lnTo>
                      <a:pt x="39" y="154"/>
                    </a:lnTo>
                    <a:lnTo>
                      <a:pt x="40" y="157"/>
                    </a:lnTo>
                    <a:lnTo>
                      <a:pt x="43" y="158"/>
                    </a:lnTo>
                    <a:lnTo>
                      <a:pt x="43" y="158"/>
                    </a:lnTo>
                    <a:lnTo>
                      <a:pt x="44" y="158"/>
                    </a:lnTo>
                    <a:lnTo>
                      <a:pt x="44" y="158"/>
                    </a:lnTo>
                    <a:lnTo>
                      <a:pt x="45" y="157"/>
                    </a:lnTo>
                    <a:lnTo>
                      <a:pt x="48" y="155"/>
                    </a:lnTo>
                    <a:lnTo>
                      <a:pt x="87" y="87"/>
                    </a:lnTo>
                    <a:lnTo>
                      <a:pt x="155"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26" name="Freeform 117">
                <a:extLst>
                  <a:ext uri="{FF2B5EF4-FFF2-40B4-BE49-F238E27FC236}">
                    <a16:creationId xmlns:a16="http://schemas.microsoft.com/office/drawing/2014/main" id="{F885B239-FC99-5F57-F63B-C947C6CB2546}"/>
                  </a:ext>
                </a:extLst>
              </p:cNvPr>
              <p:cNvSpPr>
                <a:spLocks/>
              </p:cNvSpPr>
              <p:nvPr/>
            </p:nvSpPr>
            <p:spPr bwMode="auto">
              <a:xfrm>
                <a:off x="6835776" y="973138"/>
                <a:ext cx="261938" cy="214313"/>
              </a:xfrm>
              <a:custGeom>
                <a:avLst/>
                <a:gdLst>
                  <a:gd name="T0" fmla="*/ 328 w 332"/>
                  <a:gd name="T1" fmla="*/ 3 h 270"/>
                  <a:gd name="T2" fmla="*/ 324 w 332"/>
                  <a:gd name="T3" fmla="*/ 0 h 270"/>
                  <a:gd name="T4" fmla="*/ 218 w 332"/>
                  <a:gd name="T5" fmla="*/ 42 h 270"/>
                  <a:gd name="T6" fmla="*/ 117 w 332"/>
                  <a:gd name="T7" fmla="*/ 2 h 270"/>
                  <a:gd name="T8" fmla="*/ 114 w 332"/>
                  <a:gd name="T9" fmla="*/ 0 h 270"/>
                  <a:gd name="T10" fmla="*/ 113 w 332"/>
                  <a:gd name="T11" fmla="*/ 0 h 270"/>
                  <a:gd name="T12" fmla="*/ 5 w 332"/>
                  <a:gd name="T13" fmla="*/ 43 h 270"/>
                  <a:gd name="T14" fmla="*/ 4 w 332"/>
                  <a:gd name="T15" fmla="*/ 45 h 270"/>
                  <a:gd name="T16" fmla="*/ 0 w 332"/>
                  <a:gd name="T17" fmla="*/ 49 h 270"/>
                  <a:gd name="T18" fmla="*/ 0 w 332"/>
                  <a:gd name="T19" fmla="*/ 261 h 270"/>
                  <a:gd name="T20" fmla="*/ 1 w 332"/>
                  <a:gd name="T21" fmla="*/ 265 h 270"/>
                  <a:gd name="T22" fmla="*/ 4 w 332"/>
                  <a:gd name="T23" fmla="*/ 269 h 270"/>
                  <a:gd name="T24" fmla="*/ 13 w 332"/>
                  <a:gd name="T25" fmla="*/ 269 h 270"/>
                  <a:gd name="T26" fmla="*/ 97 w 332"/>
                  <a:gd name="T27" fmla="*/ 219 h 270"/>
                  <a:gd name="T28" fmla="*/ 19 w 332"/>
                  <a:gd name="T29" fmla="*/ 58 h 270"/>
                  <a:gd name="T30" fmla="*/ 105 w 332"/>
                  <a:gd name="T31" fmla="*/ 121 h 270"/>
                  <a:gd name="T32" fmla="*/ 124 w 332"/>
                  <a:gd name="T33" fmla="*/ 23 h 270"/>
                  <a:gd name="T34" fmla="*/ 210 w 332"/>
                  <a:gd name="T35" fmla="*/ 149 h 270"/>
                  <a:gd name="T36" fmla="*/ 227 w 332"/>
                  <a:gd name="T37" fmla="*/ 58 h 270"/>
                  <a:gd name="T38" fmla="*/ 313 w 332"/>
                  <a:gd name="T39" fmla="*/ 212 h 270"/>
                  <a:gd name="T40" fmla="*/ 227 w 332"/>
                  <a:gd name="T41" fmla="*/ 208 h 270"/>
                  <a:gd name="T42" fmla="*/ 210 w 332"/>
                  <a:gd name="T43" fmla="*/ 247 h 270"/>
                  <a:gd name="T44" fmla="*/ 176 w 332"/>
                  <a:gd name="T45" fmla="*/ 251 h 270"/>
                  <a:gd name="T46" fmla="*/ 215 w 332"/>
                  <a:gd name="T47" fmla="*/ 269 h 270"/>
                  <a:gd name="T48" fmla="*/ 218 w 332"/>
                  <a:gd name="T49" fmla="*/ 270 h 270"/>
                  <a:gd name="T50" fmla="*/ 219 w 332"/>
                  <a:gd name="T51" fmla="*/ 270 h 270"/>
                  <a:gd name="T52" fmla="*/ 326 w 332"/>
                  <a:gd name="T53" fmla="*/ 227 h 270"/>
                  <a:gd name="T54" fmla="*/ 329 w 332"/>
                  <a:gd name="T55" fmla="*/ 226 h 270"/>
                  <a:gd name="T56" fmla="*/ 332 w 332"/>
                  <a:gd name="T57" fmla="*/ 222 h 270"/>
                  <a:gd name="T58" fmla="*/ 332 w 332"/>
                  <a:gd name="T59" fmla="*/ 10 h 270"/>
                  <a:gd name="T60" fmla="*/ 330 w 332"/>
                  <a:gd name="T61" fmla="*/ 6 h 270"/>
                  <a:gd name="T62" fmla="*/ 328 w 332"/>
                  <a:gd name="T63" fmla="*/ 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2" h="270">
                    <a:moveTo>
                      <a:pt x="328" y="3"/>
                    </a:moveTo>
                    <a:lnTo>
                      <a:pt x="328" y="3"/>
                    </a:lnTo>
                    <a:lnTo>
                      <a:pt x="328" y="3"/>
                    </a:lnTo>
                    <a:lnTo>
                      <a:pt x="324" y="0"/>
                    </a:lnTo>
                    <a:lnTo>
                      <a:pt x="320" y="2"/>
                    </a:lnTo>
                    <a:lnTo>
                      <a:pt x="218" y="42"/>
                    </a:lnTo>
                    <a:lnTo>
                      <a:pt x="117" y="2"/>
                    </a:lnTo>
                    <a:lnTo>
                      <a:pt x="117" y="2"/>
                    </a:lnTo>
                    <a:lnTo>
                      <a:pt x="114" y="0"/>
                    </a:lnTo>
                    <a:lnTo>
                      <a:pt x="114" y="0"/>
                    </a:lnTo>
                    <a:lnTo>
                      <a:pt x="113" y="0"/>
                    </a:lnTo>
                    <a:lnTo>
                      <a:pt x="113" y="0"/>
                    </a:lnTo>
                    <a:lnTo>
                      <a:pt x="110" y="2"/>
                    </a:lnTo>
                    <a:lnTo>
                      <a:pt x="5" y="43"/>
                    </a:lnTo>
                    <a:lnTo>
                      <a:pt x="5" y="43"/>
                    </a:lnTo>
                    <a:lnTo>
                      <a:pt x="4" y="45"/>
                    </a:lnTo>
                    <a:lnTo>
                      <a:pt x="1" y="46"/>
                    </a:lnTo>
                    <a:lnTo>
                      <a:pt x="0" y="49"/>
                    </a:lnTo>
                    <a:lnTo>
                      <a:pt x="0" y="51"/>
                    </a:lnTo>
                    <a:lnTo>
                      <a:pt x="0" y="261"/>
                    </a:lnTo>
                    <a:lnTo>
                      <a:pt x="0" y="261"/>
                    </a:lnTo>
                    <a:lnTo>
                      <a:pt x="1" y="265"/>
                    </a:lnTo>
                    <a:lnTo>
                      <a:pt x="4" y="269"/>
                    </a:lnTo>
                    <a:lnTo>
                      <a:pt x="4" y="269"/>
                    </a:lnTo>
                    <a:lnTo>
                      <a:pt x="8" y="270"/>
                    </a:lnTo>
                    <a:lnTo>
                      <a:pt x="13" y="269"/>
                    </a:lnTo>
                    <a:lnTo>
                      <a:pt x="101" y="237"/>
                    </a:lnTo>
                    <a:lnTo>
                      <a:pt x="97" y="219"/>
                    </a:lnTo>
                    <a:lnTo>
                      <a:pt x="19" y="247"/>
                    </a:lnTo>
                    <a:lnTo>
                      <a:pt x="19" y="58"/>
                    </a:lnTo>
                    <a:lnTo>
                      <a:pt x="105" y="23"/>
                    </a:lnTo>
                    <a:lnTo>
                      <a:pt x="105" y="121"/>
                    </a:lnTo>
                    <a:lnTo>
                      <a:pt x="124" y="126"/>
                    </a:lnTo>
                    <a:lnTo>
                      <a:pt x="124" y="23"/>
                    </a:lnTo>
                    <a:lnTo>
                      <a:pt x="210" y="58"/>
                    </a:lnTo>
                    <a:lnTo>
                      <a:pt x="210" y="149"/>
                    </a:lnTo>
                    <a:lnTo>
                      <a:pt x="227" y="153"/>
                    </a:lnTo>
                    <a:lnTo>
                      <a:pt x="227" y="58"/>
                    </a:lnTo>
                    <a:lnTo>
                      <a:pt x="313" y="23"/>
                    </a:lnTo>
                    <a:lnTo>
                      <a:pt x="313" y="212"/>
                    </a:lnTo>
                    <a:lnTo>
                      <a:pt x="227" y="247"/>
                    </a:lnTo>
                    <a:lnTo>
                      <a:pt x="227" y="208"/>
                    </a:lnTo>
                    <a:lnTo>
                      <a:pt x="210" y="219"/>
                    </a:lnTo>
                    <a:lnTo>
                      <a:pt x="210" y="247"/>
                    </a:lnTo>
                    <a:lnTo>
                      <a:pt x="185" y="235"/>
                    </a:lnTo>
                    <a:lnTo>
                      <a:pt x="176" y="251"/>
                    </a:lnTo>
                    <a:lnTo>
                      <a:pt x="215" y="269"/>
                    </a:lnTo>
                    <a:lnTo>
                      <a:pt x="215" y="269"/>
                    </a:lnTo>
                    <a:lnTo>
                      <a:pt x="218" y="270"/>
                    </a:lnTo>
                    <a:lnTo>
                      <a:pt x="218" y="270"/>
                    </a:lnTo>
                    <a:lnTo>
                      <a:pt x="219" y="270"/>
                    </a:lnTo>
                    <a:lnTo>
                      <a:pt x="219" y="270"/>
                    </a:lnTo>
                    <a:lnTo>
                      <a:pt x="222" y="269"/>
                    </a:lnTo>
                    <a:lnTo>
                      <a:pt x="326" y="227"/>
                    </a:lnTo>
                    <a:lnTo>
                      <a:pt x="326" y="227"/>
                    </a:lnTo>
                    <a:lnTo>
                      <a:pt x="329" y="226"/>
                    </a:lnTo>
                    <a:lnTo>
                      <a:pt x="330" y="224"/>
                    </a:lnTo>
                    <a:lnTo>
                      <a:pt x="332" y="222"/>
                    </a:lnTo>
                    <a:lnTo>
                      <a:pt x="332" y="219"/>
                    </a:lnTo>
                    <a:lnTo>
                      <a:pt x="332" y="10"/>
                    </a:lnTo>
                    <a:lnTo>
                      <a:pt x="332" y="10"/>
                    </a:lnTo>
                    <a:lnTo>
                      <a:pt x="330" y="6"/>
                    </a:lnTo>
                    <a:lnTo>
                      <a:pt x="328" y="3"/>
                    </a:lnTo>
                    <a:lnTo>
                      <a:pt x="32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57" name="Group 156">
              <a:extLst>
                <a:ext uri="{FF2B5EF4-FFF2-40B4-BE49-F238E27FC236}">
                  <a16:creationId xmlns:a16="http://schemas.microsoft.com/office/drawing/2014/main" id="{B534EC5D-60A9-4E86-1A0A-5DED3F1E34BA}"/>
                </a:ext>
              </a:extLst>
            </p:cNvPr>
            <p:cNvGrpSpPr>
              <a:grpSpLocks noChangeAspect="1"/>
            </p:cNvGrpSpPr>
            <p:nvPr/>
          </p:nvGrpSpPr>
          <p:grpSpPr>
            <a:xfrm>
              <a:off x="4584559" y="3274283"/>
              <a:ext cx="245269" cy="245269"/>
              <a:chOff x="554038" y="5853748"/>
              <a:chExt cx="522288" cy="522288"/>
            </a:xfrm>
          </p:grpSpPr>
          <p:sp>
            <p:nvSpPr>
              <p:cNvPr id="217" name="Freeform 90">
                <a:extLst>
                  <a:ext uri="{FF2B5EF4-FFF2-40B4-BE49-F238E27FC236}">
                    <a16:creationId xmlns:a16="http://schemas.microsoft.com/office/drawing/2014/main" id="{8633972F-A900-FE12-09BF-109BD7D252AC}"/>
                  </a:ext>
                </a:extLst>
              </p:cNvPr>
              <p:cNvSpPr>
                <a:spLocks noEditPoints="1"/>
              </p:cNvSpPr>
              <p:nvPr/>
            </p:nvSpPr>
            <p:spPr bwMode="auto">
              <a:xfrm>
                <a:off x="554038" y="5853748"/>
                <a:ext cx="522288" cy="522288"/>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18" name="Freeform 294">
                <a:extLst>
                  <a:ext uri="{FF2B5EF4-FFF2-40B4-BE49-F238E27FC236}">
                    <a16:creationId xmlns:a16="http://schemas.microsoft.com/office/drawing/2014/main" id="{3EDE76CC-6B43-DEA4-C8DA-A446575F01A9}"/>
                  </a:ext>
                </a:extLst>
              </p:cNvPr>
              <p:cNvSpPr>
                <a:spLocks/>
              </p:cNvSpPr>
              <p:nvPr/>
            </p:nvSpPr>
            <p:spPr bwMode="auto">
              <a:xfrm>
                <a:off x="676276" y="5998210"/>
                <a:ext cx="53975" cy="53975"/>
              </a:xfrm>
              <a:custGeom>
                <a:avLst/>
                <a:gdLst>
                  <a:gd name="T0" fmla="*/ 33 w 67"/>
                  <a:gd name="T1" fmla="*/ 0 h 67"/>
                  <a:gd name="T2" fmla="*/ 33 w 67"/>
                  <a:gd name="T3" fmla="*/ 0 h 67"/>
                  <a:gd name="T4" fmla="*/ 40 w 67"/>
                  <a:gd name="T5" fmla="*/ 1 h 67"/>
                  <a:gd name="T6" fmla="*/ 47 w 67"/>
                  <a:gd name="T7" fmla="*/ 3 h 67"/>
                  <a:gd name="T8" fmla="*/ 52 w 67"/>
                  <a:gd name="T9" fmla="*/ 7 h 67"/>
                  <a:gd name="T10" fmla="*/ 56 w 67"/>
                  <a:gd name="T11" fmla="*/ 11 h 67"/>
                  <a:gd name="T12" fmla="*/ 61 w 67"/>
                  <a:gd name="T13" fmla="*/ 15 h 67"/>
                  <a:gd name="T14" fmla="*/ 64 w 67"/>
                  <a:gd name="T15" fmla="*/ 22 h 67"/>
                  <a:gd name="T16" fmla="*/ 65 w 67"/>
                  <a:gd name="T17" fmla="*/ 27 h 67"/>
                  <a:gd name="T18" fmla="*/ 67 w 67"/>
                  <a:gd name="T19" fmla="*/ 34 h 67"/>
                  <a:gd name="T20" fmla="*/ 67 w 67"/>
                  <a:gd name="T21" fmla="*/ 34 h 67"/>
                  <a:gd name="T22" fmla="*/ 65 w 67"/>
                  <a:gd name="T23" fmla="*/ 40 h 67"/>
                  <a:gd name="T24" fmla="*/ 64 w 67"/>
                  <a:gd name="T25" fmla="*/ 47 h 67"/>
                  <a:gd name="T26" fmla="*/ 61 w 67"/>
                  <a:gd name="T27" fmla="*/ 53 h 67"/>
                  <a:gd name="T28" fmla="*/ 56 w 67"/>
                  <a:gd name="T29" fmla="*/ 58 h 67"/>
                  <a:gd name="T30" fmla="*/ 52 w 67"/>
                  <a:gd name="T31" fmla="*/ 62 h 67"/>
                  <a:gd name="T32" fmla="*/ 47 w 67"/>
                  <a:gd name="T33" fmla="*/ 65 h 67"/>
                  <a:gd name="T34" fmla="*/ 40 w 67"/>
                  <a:gd name="T35" fmla="*/ 67 h 67"/>
                  <a:gd name="T36" fmla="*/ 33 w 67"/>
                  <a:gd name="T37" fmla="*/ 67 h 67"/>
                  <a:gd name="T38" fmla="*/ 33 w 67"/>
                  <a:gd name="T39" fmla="*/ 67 h 67"/>
                  <a:gd name="T40" fmla="*/ 26 w 67"/>
                  <a:gd name="T41" fmla="*/ 67 h 67"/>
                  <a:gd name="T42" fmla="*/ 20 w 67"/>
                  <a:gd name="T43" fmla="*/ 65 h 67"/>
                  <a:gd name="T44" fmla="*/ 14 w 67"/>
                  <a:gd name="T45" fmla="*/ 62 h 67"/>
                  <a:gd name="T46" fmla="*/ 9 w 67"/>
                  <a:gd name="T47" fmla="*/ 58 h 67"/>
                  <a:gd name="T48" fmla="*/ 5 w 67"/>
                  <a:gd name="T49" fmla="*/ 53 h 67"/>
                  <a:gd name="T50" fmla="*/ 2 w 67"/>
                  <a:gd name="T51" fmla="*/ 47 h 67"/>
                  <a:gd name="T52" fmla="*/ 1 w 67"/>
                  <a:gd name="T53" fmla="*/ 40 h 67"/>
                  <a:gd name="T54" fmla="*/ 0 w 67"/>
                  <a:gd name="T55" fmla="*/ 34 h 67"/>
                  <a:gd name="T56" fmla="*/ 0 w 67"/>
                  <a:gd name="T57" fmla="*/ 34 h 67"/>
                  <a:gd name="T58" fmla="*/ 1 w 67"/>
                  <a:gd name="T59" fmla="*/ 27 h 67"/>
                  <a:gd name="T60" fmla="*/ 2 w 67"/>
                  <a:gd name="T61" fmla="*/ 22 h 67"/>
                  <a:gd name="T62" fmla="*/ 5 w 67"/>
                  <a:gd name="T63" fmla="*/ 15 h 67"/>
                  <a:gd name="T64" fmla="*/ 9 w 67"/>
                  <a:gd name="T65" fmla="*/ 11 h 67"/>
                  <a:gd name="T66" fmla="*/ 14 w 67"/>
                  <a:gd name="T67" fmla="*/ 7 h 67"/>
                  <a:gd name="T68" fmla="*/ 20 w 67"/>
                  <a:gd name="T69" fmla="*/ 3 h 67"/>
                  <a:gd name="T70" fmla="*/ 26 w 67"/>
                  <a:gd name="T71" fmla="*/ 1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1"/>
                    </a:lnTo>
                    <a:lnTo>
                      <a:pt x="47" y="3"/>
                    </a:lnTo>
                    <a:lnTo>
                      <a:pt x="52" y="7"/>
                    </a:lnTo>
                    <a:lnTo>
                      <a:pt x="56" y="11"/>
                    </a:lnTo>
                    <a:lnTo>
                      <a:pt x="61" y="15"/>
                    </a:lnTo>
                    <a:lnTo>
                      <a:pt x="64" y="22"/>
                    </a:lnTo>
                    <a:lnTo>
                      <a:pt x="65" y="27"/>
                    </a:lnTo>
                    <a:lnTo>
                      <a:pt x="67" y="34"/>
                    </a:lnTo>
                    <a:lnTo>
                      <a:pt x="67" y="34"/>
                    </a:lnTo>
                    <a:lnTo>
                      <a:pt x="65" y="40"/>
                    </a:lnTo>
                    <a:lnTo>
                      <a:pt x="64" y="47"/>
                    </a:lnTo>
                    <a:lnTo>
                      <a:pt x="61" y="53"/>
                    </a:lnTo>
                    <a:lnTo>
                      <a:pt x="56" y="58"/>
                    </a:lnTo>
                    <a:lnTo>
                      <a:pt x="52" y="62"/>
                    </a:lnTo>
                    <a:lnTo>
                      <a:pt x="47" y="65"/>
                    </a:lnTo>
                    <a:lnTo>
                      <a:pt x="40" y="67"/>
                    </a:lnTo>
                    <a:lnTo>
                      <a:pt x="33" y="67"/>
                    </a:lnTo>
                    <a:lnTo>
                      <a:pt x="33" y="67"/>
                    </a:lnTo>
                    <a:lnTo>
                      <a:pt x="26" y="67"/>
                    </a:lnTo>
                    <a:lnTo>
                      <a:pt x="20" y="65"/>
                    </a:lnTo>
                    <a:lnTo>
                      <a:pt x="14" y="62"/>
                    </a:lnTo>
                    <a:lnTo>
                      <a:pt x="9" y="58"/>
                    </a:lnTo>
                    <a:lnTo>
                      <a:pt x="5" y="53"/>
                    </a:lnTo>
                    <a:lnTo>
                      <a:pt x="2" y="47"/>
                    </a:lnTo>
                    <a:lnTo>
                      <a:pt x="1" y="40"/>
                    </a:lnTo>
                    <a:lnTo>
                      <a:pt x="0" y="34"/>
                    </a:lnTo>
                    <a:lnTo>
                      <a:pt x="0" y="34"/>
                    </a:lnTo>
                    <a:lnTo>
                      <a:pt x="1" y="27"/>
                    </a:lnTo>
                    <a:lnTo>
                      <a:pt x="2" y="22"/>
                    </a:lnTo>
                    <a:lnTo>
                      <a:pt x="5" y="15"/>
                    </a:lnTo>
                    <a:lnTo>
                      <a:pt x="9" y="11"/>
                    </a:lnTo>
                    <a:lnTo>
                      <a:pt x="14" y="7"/>
                    </a:lnTo>
                    <a:lnTo>
                      <a:pt x="20" y="3"/>
                    </a:lnTo>
                    <a:lnTo>
                      <a:pt x="26" y="1"/>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19" name="Freeform 295">
                <a:extLst>
                  <a:ext uri="{FF2B5EF4-FFF2-40B4-BE49-F238E27FC236}">
                    <a16:creationId xmlns:a16="http://schemas.microsoft.com/office/drawing/2014/main" id="{765806B4-1FF2-4440-1EAB-8DE1DE274543}"/>
                  </a:ext>
                </a:extLst>
              </p:cNvPr>
              <p:cNvSpPr>
                <a:spLocks/>
              </p:cNvSpPr>
              <p:nvPr/>
            </p:nvSpPr>
            <p:spPr bwMode="auto">
              <a:xfrm>
                <a:off x="757238" y="6015673"/>
                <a:ext cx="185738" cy="19050"/>
              </a:xfrm>
              <a:custGeom>
                <a:avLst/>
                <a:gdLst>
                  <a:gd name="T0" fmla="*/ 227 w 234"/>
                  <a:gd name="T1" fmla="*/ 23 h 23"/>
                  <a:gd name="T2" fmla="*/ 6 w 234"/>
                  <a:gd name="T3" fmla="*/ 23 h 23"/>
                  <a:gd name="T4" fmla="*/ 6 w 234"/>
                  <a:gd name="T5" fmla="*/ 23 h 23"/>
                  <a:gd name="T6" fmla="*/ 3 w 234"/>
                  <a:gd name="T7" fmla="*/ 21 h 23"/>
                  <a:gd name="T8" fmla="*/ 2 w 234"/>
                  <a:gd name="T9" fmla="*/ 20 h 23"/>
                  <a:gd name="T10" fmla="*/ 0 w 234"/>
                  <a:gd name="T11" fmla="*/ 19 h 23"/>
                  <a:gd name="T12" fmla="*/ 0 w 234"/>
                  <a:gd name="T13" fmla="*/ 16 h 23"/>
                  <a:gd name="T14" fmla="*/ 0 w 234"/>
                  <a:gd name="T15" fmla="*/ 5 h 23"/>
                  <a:gd name="T16" fmla="*/ 0 w 234"/>
                  <a:gd name="T17" fmla="*/ 5 h 23"/>
                  <a:gd name="T18" fmla="*/ 0 w 234"/>
                  <a:gd name="T19" fmla="*/ 3 h 23"/>
                  <a:gd name="T20" fmla="*/ 2 w 234"/>
                  <a:gd name="T21" fmla="*/ 1 h 23"/>
                  <a:gd name="T22" fmla="*/ 3 w 234"/>
                  <a:gd name="T23" fmla="*/ 0 h 23"/>
                  <a:gd name="T24" fmla="*/ 6 w 234"/>
                  <a:gd name="T25" fmla="*/ 0 h 23"/>
                  <a:gd name="T26" fmla="*/ 227 w 234"/>
                  <a:gd name="T27" fmla="*/ 0 h 23"/>
                  <a:gd name="T28" fmla="*/ 227 w 234"/>
                  <a:gd name="T29" fmla="*/ 0 h 23"/>
                  <a:gd name="T30" fmla="*/ 230 w 234"/>
                  <a:gd name="T31" fmla="*/ 0 h 23"/>
                  <a:gd name="T32" fmla="*/ 232 w 234"/>
                  <a:gd name="T33" fmla="*/ 1 h 23"/>
                  <a:gd name="T34" fmla="*/ 233 w 234"/>
                  <a:gd name="T35" fmla="*/ 3 h 23"/>
                  <a:gd name="T36" fmla="*/ 234 w 234"/>
                  <a:gd name="T37" fmla="*/ 5 h 23"/>
                  <a:gd name="T38" fmla="*/ 234 w 234"/>
                  <a:gd name="T39" fmla="*/ 16 h 23"/>
                  <a:gd name="T40" fmla="*/ 234 w 234"/>
                  <a:gd name="T41" fmla="*/ 16 h 23"/>
                  <a:gd name="T42" fmla="*/ 233 w 234"/>
                  <a:gd name="T43" fmla="*/ 19 h 23"/>
                  <a:gd name="T44" fmla="*/ 232 w 234"/>
                  <a:gd name="T45" fmla="*/ 20 h 23"/>
                  <a:gd name="T46" fmla="*/ 230 w 234"/>
                  <a:gd name="T47" fmla="*/ 21 h 23"/>
                  <a:gd name="T48" fmla="*/ 227 w 234"/>
                  <a:gd name="T49" fmla="*/ 23 h 23"/>
                  <a:gd name="T50" fmla="*/ 227 w 234"/>
                  <a:gd name="T5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3">
                    <a:moveTo>
                      <a:pt x="227" y="23"/>
                    </a:moveTo>
                    <a:lnTo>
                      <a:pt x="6" y="23"/>
                    </a:lnTo>
                    <a:lnTo>
                      <a:pt x="6" y="23"/>
                    </a:lnTo>
                    <a:lnTo>
                      <a:pt x="3" y="21"/>
                    </a:lnTo>
                    <a:lnTo>
                      <a:pt x="2" y="20"/>
                    </a:lnTo>
                    <a:lnTo>
                      <a:pt x="0" y="19"/>
                    </a:lnTo>
                    <a:lnTo>
                      <a:pt x="0" y="16"/>
                    </a:lnTo>
                    <a:lnTo>
                      <a:pt x="0" y="5"/>
                    </a:lnTo>
                    <a:lnTo>
                      <a:pt x="0" y="5"/>
                    </a:lnTo>
                    <a:lnTo>
                      <a:pt x="0" y="3"/>
                    </a:lnTo>
                    <a:lnTo>
                      <a:pt x="2" y="1"/>
                    </a:lnTo>
                    <a:lnTo>
                      <a:pt x="3" y="0"/>
                    </a:lnTo>
                    <a:lnTo>
                      <a:pt x="6" y="0"/>
                    </a:lnTo>
                    <a:lnTo>
                      <a:pt x="227" y="0"/>
                    </a:lnTo>
                    <a:lnTo>
                      <a:pt x="227" y="0"/>
                    </a:lnTo>
                    <a:lnTo>
                      <a:pt x="230" y="0"/>
                    </a:lnTo>
                    <a:lnTo>
                      <a:pt x="232" y="1"/>
                    </a:lnTo>
                    <a:lnTo>
                      <a:pt x="233" y="3"/>
                    </a:lnTo>
                    <a:lnTo>
                      <a:pt x="234" y="5"/>
                    </a:lnTo>
                    <a:lnTo>
                      <a:pt x="234" y="16"/>
                    </a:lnTo>
                    <a:lnTo>
                      <a:pt x="234" y="16"/>
                    </a:lnTo>
                    <a:lnTo>
                      <a:pt x="233" y="19"/>
                    </a:lnTo>
                    <a:lnTo>
                      <a:pt x="232" y="20"/>
                    </a:lnTo>
                    <a:lnTo>
                      <a:pt x="230" y="21"/>
                    </a:lnTo>
                    <a:lnTo>
                      <a:pt x="227" y="23"/>
                    </a:lnTo>
                    <a:lnTo>
                      <a:pt x="227"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20" name="Freeform 296">
                <a:extLst>
                  <a:ext uri="{FF2B5EF4-FFF2-40B4-BE49-F238E27FC236}">
                    <a16:creationId xmlns:a16="http://schemas.microsoft.com/office/drawing/2014/main" id="{15A28754-BD8E-8C0D-D25D-B7F44D6B4A6D}"/>
                  </a:ext>
                </a:extLst>
              </p:cNvPr>
              <p:cNvSpPr>
                <a:spLocks/>
              </p:cNvSpPr>
              <p:nvPr/>
            </p:nvSpPr>
            <p:spPr bwMode="auto">
              <a:xfrm>
                <a:off x="676276" y="6087110"/>
                <a:ext cx="53975" cy="52388"/>
              </a:xfrm>
              <a:custGeom>
                <a:avLst/>
                <a:gdLst>
                  <a:gd name="T0" fmla="*/ 33 w 67"/>
                  <a:gd name="T1" fmla="*/ 0 h 67"/>
                  <a:gd name="T2" fmla="*/ 33 w 67"/>
                  <a:gd name="T3" fmla="*/ 0 h 67"/>
                  <a:gd name="T4" fmla="*/ 40 w 67"/>
                  <a:gd name="T5" fmla="*/ 1 h 67"/>
                  <a:gd name="T6" fmla="*/ 47 w 67"/>
                  <a:gd name="T7" fmla="*/ 2 h 67"/>
                  <a:gd name="T8" fmla="*/ 52 w 67"/>
                  <a:gd name="T9" fmla="*/ 5 h 67"/>
                  <a:gd name="T10" fmla="*/ 56 w 67"/>
                  <a:gd name="T11" fmla="*/ 10 h 67"/>
                  <a:gd name="T12" fmla="*/ 61 w 67"/>
                  <a:gd name="T13" fmla="*/ 14 h 67"/>
                  <a:gd name="T14" fmla="*/ 64 w 67"/>
                  <a:gd name="T15" fmla="*/ 20 h 67"/>
                  <a:gd name="T16" fmla="*/ 65 w 67"/>
                  <a:gd name="T17" fmla="*/ 27 h 67"/>
                  <a:gd name="T18" fmla="*/ 67 w 67"/>
                  <a:gd name="T19" fmla="*/ 33 h 67"/>
                  <a:gd name="T20" fmla="*/ 67 w 67"/>
                  <a:gd name="T21" fmla="*/ 33 h 67"/>
                  <a:gd name="T22" fmla="*/ 65 w 67"/>
                  <a:gd name="T23" fmla="*/ 40 h 67"/>
                  <a:gd name="T24" fmla="*/ 64 w 67"/>
                  <a:gd name="T25" fmla="*/ 47 h 67"/>
                  <a:gd name="T26" fmla="*/ 61 w 67"/>
                  <a:gd name="T27" fmla="*/ 52 h 67"/>
                  <a:gd name="T28" fmla="*/ 56 w 67"/>
                  <a:gd name="T29" fmla="*/ 57 h 67"/>
                  <a:gd name="T30" fmla="*/ 52 w 67"/>
                  <a:gd name="T31" fmla="*/ 62 h 67"/>
                  <a:gd name="T32" fmla="*/ 47 w 67"/>
                  <a:gd name="T33" fmla="*/ 64 h 67"/>
                  <a:gd name="T34" fmla="*/ 40 w 67"/>
                  <a:gd name="T35" fmla="*/ 66 h 67"/>
                  <a:gd name="T36" fmla="*/ 33 w 67"/>
                  <a:gd name="T37" fmla="*/ 67 h 67"/>
                  <a:gd name="T38" fmla="*/ 33 w 67"/>
                  <a:gd name="T39" fmla="*/ 67 h 67"/>
                  <a:gd name="T40" fmla="*/ 26 w 67"/>
                  <a:gd name="T41" fmla="*/ 66 h 67"/>
                  <a:gd name="T42" fmla="*/ 20 w 67"/>
                  <a:gd name="T43" fmla="*/ 64 h 67"/>
                  <a:gd name="T44" fmla="*/ 14 w 67"/>
                  <a:gd name="T45" fmla="*/ 62 h 67"/>
                  <a:gd name="T46" fmla="*/ 9 w 67"/>
                  <a:gd name="T47" fmla="*/ 57 h 67"/>
                  <a:gd name="T48" fmla="*/ 5 w 67"/>
                  <a:gd name="T49" fmla="*/ 52 h 67"/>
                  <a:gd name="T50" fmla="*/ 2 w 67"/>
                  <a:gd name="T51" fmla="*/ 47 h 67"/>
                  <a:gd name="T52" fmla="*/ 1 w 67"/>
                  <a:gd name="T53" fmla="*/ 40 h 67"/>
                  <a:gd name="T54" fmla="*/ 0 w 67"/>
                  <a:gd name="T55" fmla="*/ 33 h 67"/>
                  <a:gd name="T56" fmla="*/ 0 w 67"/>
                  <a:gd name="T57" fmla="*/ 33 h 67"/>
                  <a:gd name="T58" fmla="*/ 1 w 67"/>
                  <a:gd name="T59" fmla="*/ 27 h 67"/>
                  <a:gd name="T60" fmla="*/ 2 w 67"/>
                  <a:gd name="T61" fmla="*/ 20 h 67"/>
                  <a:gd name="T62" fmla="*/ 5 w 67"/>
                  <a:gd name="T63" fmla="*/ 14 h 67"/>
                  <a:gd name="T64" fmla="*/ 9 w 67"/>
                  <a:gd name="T65" fmla="*/ 10 h 67"/>
                  <a:gd name="T66" fmla="*/ 14 w 67"/>
                  <a:gd name="T67" fmla="*/ 5 h 67"/>
                  <a:gd name="T68" fmla="*/ 20 w 67"/>
                  <a:gd name="T69" fmla="*/ 2 h 67"/>
                  <a:gd name="T70" fmla="*/ 26 w 67"/>
                  <a:gd name="T71" fmla="*/ 1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1"/>
                    </a:lnTo>
                    <a:lnTo>
                      <a:pt x="47" y="2"/>
                    </a:lnTo>
                    <a:lnTo>
                      <a:pt x="52" y="5"/>
                    </a:lnTo>
                    <a:lnTo>
                      <a:pt x="56" y="10"/>
                    </a:lnTo>
                    <a:lnTo>
                      <a:pt x="61" y="14"/>
                    </a:lnTo>
                    <a:lnTo>
                      <a:pt x="64" y="20"/>
                    </a:lnTo>
                    <a:lnTo>
                      <a:pt x="65" y="27"/>
                    </a:lnTo>
                    <a:lnTo>
                      <a:pt x="67" y="33"/>
                    </a:lnTo>
                    <a:lnTo>
                      <a:pt x="67" y="33"/>
                    </a:lnTo>
                    <a:lnTo>
                      <a:pt x="65" y="40"/>
                    </a:lnTo>
                    <a:lnTo>
                      <a:pt x="64" y="47"/>
                    </a:lnTo>
                    <a:lnTo>
                      <a:pt x="61" y="52"/>
                    </a:lnTo>
                    <a:lnTo>
                      <a:pt x="56" y="57"/>
                    </a:lnTo>
                    <a:lnTo>
                      <a:pt x="52" y="62"/>
                    </a:lnTo>
                    <a:lnTo>
                      <a:pt x="47" y="64"/>
                    </a:lnTo>
                    <a:lnTo>
                      <a:pt x="40" y="66"/>
                    </a:lnTo>
                    <a:lnTo>
                      <a:pt x="33" y="67"/>
                    </a:lnTo>
                    <a:lnTo>
                      <a:pt x="33" y="67"/>
                    </a:lnTo>
                    <a:lnTo>
                      <a:pt x="26" y="66"/>
                    </a:lnTo>
                    <a:lnTo>
                      <a:pt x="20" y="64"/>
                    </a:lnTo>
                    <a:lnTo>
                      <a:pt x="14" y="62"/>
                    </a:lnTo>
                    <a:lnTo>
                      <a:pt x="9" y="57"/>
                    </a:lnTo>
                    <a:lnTo>
                      <a:pt x="5" y="52"/>
                    </a:lnTo>
                    <a:lnTo>
                      <a:pt x="2" y="47"/>
                    </a:lnTo>
                    <a:lnTo>
                      <a:pt x="1" y="40"/>
                    </a:lnTo>
                    <a:lnTo>
                      <a:pt x="0" y="33"/>
                    </a:lnTo>
                    <a:lnTo>
                      <a:pt x="0" y="33"/>
                    </a:lnTo>
                    <a:lnTo>
                      <a:pt x="1" y="27"/>
                    </a:lnTo>
                    <a:lnTo>
                      <a:pt x="2" y="20"/>
                    </a:lnTo>
                    <a:lnTo>
                      <a:pt x="5" y="14"/>
                    </a:lnTo>
                    <a:lnTo>
                      <a:pt x="9" y="10"/>
                    </a:lnTo>
                    <a:lnTo>
                      <a:pt x="14" y="5"/>
                    </a:lnTo>
                    <a:lnTo>
                      <a:pt x="20" y="2"/>
                    </a:lnTo>
                    <a:lnTo>
                      <a:pt x="26" y="1"/>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21" name="Freeform 297">
                <a:extLst>
                  <a:ext uri="{FF2B5EF4-FFF2-40B4-BE49-F238E27FC236}">
                    <a16:creationId xmlns:a16="http://schemas.microsoft.com/office/drawing/2014/main" id="{82658838-2148-99BE-C1EE-F440A4B2BA62}"/>
                  </a:ext>
                </a:extLst>
              </p:cNvPr>
              <p:cNvSpPr>
                <a:spLocks/>
              </p:cNvSpPr>
              <p:nvPr/>
            </p:nvSpPr>
            <p:spPr bwMode="auto">
              <a:xfrm>
                <a:off x="757238" y="6104573"/>
                <a:ext cx="185738" cy="17463"/>
              </a:xfrm>
              <a:custGeom>
                <a:avLst/>
                <a:gdLst>
                  <a:gd name="T0" fmla="*/ 227 w 234"/>
                  <a:gd name="T1" fmla="*/ 21 h 21"/>
                  <a:gd name="T2" fmla="*/ 6 w 234"/>
                  <a:gd name="T3" fmla="*/ 21 h 21"/>
                  <a:gd name="T4" fmla="*/ 6 w 234"/>
                  <a:gd name="T5" fmla="*/ 21 h 21"/>
                  <a:gd name="T6" fmla="*/ 3 w 234"/>
                  <a:gd name="T7" fmla="*/ 21 h 21"/>
                  <a:gd name="T8" fmla="*/ 2 w 234"/>
                  <a:gd name="T9" fmla="*/ 20 h 21"/>
                  <a:gd name="T10" fmla="*/ 0 w 234"/>
                  <a:gd name="T11" fmla="*/ 18 h 21"/>
                  <a:gd name="T12" fmla="*/ 0 w 234"/>
                  <a:gd name="T13" fmla="*/ 16 h 21"/>
                  <a:gd name="T14" fmla="*/ 0 w 234"/>
                  <a:gd name="T15" fmla="*/ 5 h 21"/>
                  <a:gd name="T16" fmla="*/ 0 w 234"/>
                  <a:gd name="T17" fmla="*/ 5 h 21"/>
                  <a:gd name="T18" fmla="*/ 0 w 234"/>
                  <a:gd name="T19" fmla="*/ 2 h 21"/>
                  <a:gd name="T20" fmla="*/ 2 w 234"/>
                  <a:gd name="T21" fmla="*/ 1 h 21"/>
                  <a:gd name="T22" fmla="*/ 3 w 234"/>
                  <a:gd name="T23" fmla="*/ 0 h 21"/>
                  <a:gd name="T24" fmla="*/ 6 w 234"/>
                  <a:gd name="T25" fmla="*/ 0 h 21"/>
                  <a:gd name="T26" fmla="*/ 227 w 234"/>
                  <a:gd name="T27" fmla="*/ 0 h 21"/>
                  <a:gd name="T28" fmla="*/ 227 w 234"/>
                  <a:gd name="T29" fmla="*/ 0 h 21"/>
                  <a:gd name="T30" fmla="*/ 230 w 234"/>
                  <a:gd name="T31" fmla="*/ 0 h 21"/>
                  <a:gd name="T32" fmla="*/ 232 w 234"/>
                  <a:gd name="T33" fmla="*/ 1 h 21"/>
                  <a:gd name="T34" fmla="*/ 233 w 234"/>
                  <a:gd name="T35" fmla="*/ 2 h 21"/>
                  <a:gd name="T36" fmla="*/ 234 w 234"/>
                  <a:gd name="T37" fmla="*/ 5 h 21"/>
                  <a:gd name="T38" fmla="*/ 234 w 234"/>
                  <a:gd name="T39" fmla="*/ 16 h 21"/>
                  <a:gd name="T40" fmla="*/ 234 w 234"/>
                  <a:gd name="T41" fmla="*/ 16 h 21"/>
                  <a:gd name="T42" fmla="*/ 233 w 234"/>
                  <a:gd name="T43" fmla="*/ 18 h 21"/>
                  <a:gd name="T44" fmla="*/ 232 w 234"/>
                  <a:gd name="T45" fmla="*/ 20 h 21"/>
                  <a:gd name="T46" fmla="*/ 230 w 234"/>
                  <a:gd name="T47" fmla="*/ 21 h 21"/>
                  <a:gd name="T48" fmla="*/ 227 w 234"/>
                  <a:gd name="T49" fmla="*/ 21 h 21"/>
                  <a:gd name="T50" fmla="*/ 227 w 234"/>
                  <a:gd name="T5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1">
                    <a:moveTo>
                      <a:pt x="227" y="21"/>
                    </a:moveTo>
                    <a:lnTo>
                      <a:pt x="6" y="21"/>
                    </a:lnTo>
                    <a:lnTo>
                      <a:pt x="6" y="21"/>
                    </a:lnTo>
                    <a:lnTo>
                      <a:pt x="3" y="21"/>
                    </a:lnTo>
                    <a:lnTo>
                      <a:pt x="2" y="20"/>
                    </a:lnTo>
                    <a:lnTo>
                      <a:pt x="0" y="18"/>
                    </a:lnTo>
                    <a:lnTo>
                      <a:pt x="0" y="16"/>
                    </a:lnTo>
                    <a:lnTo>
                      <a:pt x="0" y="5"/>
                    </a:lnTo>
                    <a:lnTo>
                      <a:pt x="0" y="5"/>
                    </a:lnTo>
                    <a:lnTo>
                      <a:pt x="0" y="2"/>
                    </a:lnTo>
                    <a:lnTo>
                      <a:pt x="2" y="1"/>
                    </a:lnTo>
                    <a:lnTo>
                      <a:pt x="3" y="0"/>
                    </a:lnTo>
                    <a:lnTo>
                      <a:pt x="6" y="0"/>
                    </a:lnTo>
                    <a:lnTo>
                      <a:pt x="227" y="0"/>
                    </a:lnTo>
                    <a:lnTo>
                      <a:pt x="227" y="0"/>
                    </a:lnTo>
                    <a:lnTo>
                      <a:pt x="230" y="0"/>
                    </a:lnTo>
                    <a:lnTo>
                      <a:pt x="232" y="1"/>
                    </a:lnTo>
                    <a:lnTo>
                      <a:pt x="233" y="2"/>
                    </a:lnTo>
                    <a:lnTo>
                      <a:pt x="234" y="5"/>
                    </a:lnTo>
                    <a:lnTo>
                      <a:pt x="234" y="16"/>
                    </a:lnTo>
                    <a:lnTo>
                      <a:pt x="234" y="16"/>
                    </a:lnTo>
                    <a:lnTo>
                      <a:pt x="233" y="18"/>
                    </a:lnTo>
                    <a:lnTo>
                      <a:pt x="232" y="20"/>
                    </a:lnTo>
                    <a:lnTo>
                      <a:pt x="230" y="21"/>
                    </a:lnTo>
                    <a:lnTo>
                      <a:pt x="227" y="21"/>
                    </a:lnTo>
                    <a:lnTo>
                      <a:pt x="22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22" name="Freeform 298">
                <a:extLst>
                  <a:ext uri="{FF2B5EF4-FFF2-40B4-BE49-F238E27FC236}">
                    <a16:creationId xmlns:a16="http://schemas.microsoft.com/office/drawing/2014/main" id="{53AC404C-B9D2-1B52-36E7-EFC61F3B0D85}"/>
                  </a:ext>
                </a:extLst>
              </p:cNvPr>
              <p:cNvSpPr>
                <a:spLocks/>
              </p:cNvSpPr>
              <p:nvPr/>
            </p:nvSpPr>
            <p:spPr bwMode="auto">
              <a:xfrm>
                <a:off x="676276" y="6176010"/>
                <a:ext cx="53975" cy="52388"/>
              </a:xfrm>
              <a:custGeom>
                <a:avLst/>
                <a:gdLst>
                  <a:gd name="T0" fmla="*/ 33 w 67"/>
                  <a:gd name="T1" fmla="*/ 0 h 67"/>
                  <a:gd name="T2" fmla="*/ 33 w 67"/>
                  <a:gd name="T3" fmla="*/ 0 h 67"/>
                  <a:gd name="T4" fmla="*/ 40 w 67"/>
                  <a:gd name="T5" fmla="*/ 2 h 67"/>
                  <a:gd name="T6" fmla="*/ 47 w 67"/>
                  <a:gd name="T7" fmla="*/ 3 h 67"/>
                  <a:gd name="T8" fmla="*/ 52 w 67"/>
                  <a:gd name="T9" fmla="*/ 6 h 67"/>
                  <a:gd name="T10" fmla="*/ 56 w 67"/>
                  <a:gd name="T11" fmla="*/ 10 h 67"/>
                  <a:gd name="T12" fmla="*/ 61 w 67"/>
                  <a:gd name="T13" fmla="*/ 15 h 67"/>
                  <a:gd name="T14" fmla="*/ 64 w 67"/>
                  <a:gd name="T15" fmla="*/ 20 h 67"/>
                  <a:gd name="T16" fmla="*/ 65 w 67"/>
                  <a:gd name="T17" fmla="*/ 27 h 67"/>
                  <a:gd name="T18" fmla="*/ 67 w 67"/>
                  <a:gd name="T19" fmla="*/ 34 h 67"/>
                  <a:gd name="T20" fmla="*/ 67 w 67"/>
                  <a:gd name="T21" fmla="*/ 34 h 67"/>
                  <a:gd name="T22" fmla="*/ 65 w 67"/>
                  <a:gd name="T23" fmla="*/ 41 h 67"/>
                  <a:gd name="T24" fmla="*/ 64 w 67"/>
                  <a:gd name="T25" fmla="*/ 47 h 67"/>
                  <a:gd name="T26" fmla="*/ 61 w 67"/>
                  <a:gd name="T27" fmla="*/ 53 h 67"/>
                  <a:gd name="T28" fmla="*/ 56 w 67"/>
                  <a:gd name="T29" fmla="*/ 57 h 67"/>
                  <a:gd name="T30" fmla="*/ 52 w 67"/>
                  <a:gd name="T31" fmla="*/ 62 h 67"/>
                  <a:gd name="T32" fmla="*/ 47 w 67"/>
                  <a:gd name="T33" fmla="*/ 65 h 67"/>
                  <a:gd name="T34" fmla="*/ 40 w 67"/>
                  <a:gd name="T35" fmla="*/ 66 h 67"/>
                  <a:gd name="T36" fmla="*/ 33 w 67"/>
                  <a:gd name="T37" fmla="*/ 67 h 67"/>
                  <a:gd name="T38" fmla="*/ 33 w 67"/>
                  <a:gd name="T39" fmla="*/ 67 h 67"/>
                  <a:gd name="T40" fmla="*/ 26 w 67"/>
                  <a:gd name="T41" fmla="*/ 66 h 67"/>
                  <a:gd name="T42" fmla="*/ 20 w 67"/>
                  <a:gd name="T43" fmla="*/ 65 h 67"/>
                  <a:gd name="T44" fmla="*/ 14 w 67"/>
                  <a:gd name="T45" fmla="*/ 62 h 67"/>
                  <a:gd name="T46" fmla="*/ 9 w 67"/>
                  <a:gd name="T47" fmla="*/ 57 h 67"/>
                  <a:gd name="T48" fmla="*/ 5 w 67"/>
                  <a:gd name="T49" fmla="*/ 53 h 67"/>
                  <a:gd name="T50" fmla="*/ 2 w 67"/>
                  <a:gd name="T51" fmla="*/ 47 h 67"/>
                  <a:gd name="T52" fmla="*/ 1 w 67"/>
                  <a:gd name="T53" fmla="*/ 41 h 67"/>
                  <a:gd name="T54" fmla="*/ 0 w 67"/>
                  <a:gd name="T55" fmla="*/ 34 h 67"/>
                  <a:gd name="T56" fmla="*/ 0 w 67"/>
                  <a:gd name="T57" fmla="*/ 34 h 67"/>
                  <a:gd name="T58" fmla="*/ 1 w 67"/>
                  <a:gd name="T59" fmla="*/ 27 h 67"/>
                  <a:gd name="T60" fmla="*/ 2 w 67"/>
                  <a:gd name="T61" fmla="*/ 20 h 67"/>
                  <a:gd name="T62" fmla="*/ 5 w 67"/>
                  <a:gd name="T63" fmla="*/ 15 h 67"/>
                  <a:gd name="T64" fmla="*/ 9 w 67"/>
                  <a:gd name="T65" fmla="*/ 10 h 67"/>
                  <a:gd name="T66" fmla="*/ 14 w 67"/>
                  <a:gd name="T67" fmla="*/ 6 h 67"/>
                  <a:gd name="T68" fmla="*/ 20 w 67"/>
                  <a:gd name="T69" fmla="*/ 3 h 67"/>
                  <a:gd name="T70" fmla="*/ 26 w 67"/>
                  <a:gd name="T71" fmla="*/ 2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2"/>
                    </a:lnTo>
                    <a:lnTo>
                      <a:pt x="47" y="3"/>
                    </a:lnTo>
                    <a:lnTo>
                      <a:pt x="52" y="6"/>
                    </a:lnTo>
                    <a:lnTo>
                      <a:pt x="56" y="10"/>
                    </a:lnTo>
                    <a:lnTo>
                      <a:pt x="61" y="15"/>
                    </a:lnTo>
                    <a:lnTo>
                      <a:pt x="64" y="20"/>
                    </a:lnTo>
                    <a:lnTo>
                      <a:pt x="65" y="27"/>
                    </a:lnTo>
                    <a:lnTo>
                      <a:pt x="67" y="34"/>
                    </a:lnTo>
                    <a:lnTo>
                      <a:pt x="67" y="34"/>
                    </a:lnTo>
                    <a:lnTo>
                      <a:pt x="65" y="41"/>
                    </a:lnTo>
                    <a:lnTo>
                      <a:pt x="64" y="47"/>
                    </a:lnTo>
                    <a:lnTo>
                      <a:pt x="61" y="53"/>
                    </a:lnTo>
                    <a:lnTo>
                      <a:pt x="56" y="57"/>
                    </a:lnTo>
                    <a:lnTo>
                      <a:pt x="52" y="62"/>
                    </a:lnTo>
                    <a:lnTo>
                      <a:pt x="47" y="65"/>
                    </a:lnTo>
                    <a:lnTo>
                      <a:pt x="40" y="66"/>
                    </a:lnTo>
                    <a:lnTo>
                      <a:pt x="33" y="67"/>
                    </a:lnTo>
                    <a:lnTo>
                      <a:pt x="33" y="67"/>
                    </a:lnTo>
                    <a:lnTo>
                      <a:pt x="26" y="66"/>
                    </a:lnTo>
                    <a:lnTo>
                      <a:pt x="20" y="65"/>
                    </a:lnTo>
                    <a:lnTo>
                      <a:pt x="14" y="62"/>
                    </a:lnTo>
                    <a:lnTo>
                      <a:pt x="9" y="57"/>
                    </a:lnTo>
                    <a:lnTo>
                      <a:pt x="5" y="53"/>
                    </a:lnTo>
                    <a:lnTo>
                      <a:pt x="2" y="47"/>
                    </a:lnTo>
                    <a:lnTo>
                      <a:pt x="1" y="41"/>
                    </a:lnTo>
                    <a:lnTo>
                      <a:pt x="0" y="34"/>
                    </a:lnTo>
                    <a:lnTo>
                      <a:pt x="0" y="34"/>
                    </a:lnTo>
                    <a:lnTo>
                      <a:pt x="1" y="27"/>
                    </a:lnTo>
                    <a:lnTo>
                      <a:pt x="2" y="20"/>
                    </a:lnTo>
                    <a:lnTo>
                      <a:pt x="5" y="15"/>
                    </a:lnTo>
                    <a:lnTo>
                      <a:pt x="9" y="10"/>
                    </a:lnTo>
                    <a:lnTo>
                      <a:pt x="14" y="6"/>
                    </a:lnTo>
                    <a:lnTo>
                      <a:pt x="20" y="3"/>
                    </a:lnTo>
                    <a:lnTo>
                      <a:pt x="26" y="2"/>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23" name="Freeform 299">
                <a:extLst>
                  <a:ext uri="{FF2B5EF4-FFF2-40B4-BE49-F238E27FC236}">
                    <a16:creationId xmlns:a16="http://schemas.microsoft.com/office/drawing/2014/main" id="{71BDD5F6-750F-F46A-DD45-4A5C0F00BF1C}"/>
                  </a:ext>
                </a:extLst>
              </p:cNvPr>
              <p:cNvSpPr>
                <a:spLocks/>
              </p:cNvSpPr>
              <p:nvPr/>
            </p:nvSpPr>
            <p:spPr bwMode="auto">
              <a:xfrm>
                <a:off x="757238" y="6193473"/>
                <a:ext cx="185738" cy="17463"/>
              </a:xfrm>
              <a:custGeom>
                <a:avLst/>
                <a:gdLst>
                  <a:gd name="T0" fmla="*/ 227 w 234"/>
                  <a:gd name="T1" fmla="*/ 22 h 22"/>
                  <a:gd name="T2" fmla="*/ 6 w 234"/>
                  <a:gd name="T3" fmla="*/ 22 h 22"/>
                  <a:gd name="T4" fmla="*/ 6 w 234"/>
                  <a:gd name="T5" fmla="*/ 22 h 22"/>
                  <a:gd name="T6" fmla="*/ 3 w 234"/>
                  <a:gd name="T7" fmla="*/ 22 h 22"/>
                  <a:gd name="T8" fmla="*/ 2 w 234"/>
                  <a:gd name="T9" fmla="*/ 20 h 22"/>
                  <a:gd name="T10" fmla="*/ 0 w 234"/>
                  <a:gd name="T11" fmla="*/ 19 h 22"/>
                  <a:gd name="T12" fmla="*/ 0 w 234"/>
                  <a:gd name="T13" fmla="*/ 16 h 22"/>
                  <a:gd name="T14" fmla="*/ 0 w 234"/>
                  <a:gd name="T15" fmla="*/ 5 h 22"/>
                  <a:gd name="T16" fmla="*/ 0 w 234"/>
                  <a:gd name="T17" fmla="*/ 5 h 22"/>
                  <a:gd name="T18" fmla="*/ 0 w 234"/>
                  <a:gd name="T19" fmla="*/ 3 h 22"/>
                  <a:gd name="T20" fmla="*/ 2 w 234"/>
                  <a:gd name="T21" fmla="*/ 1 h 22"/>
                  <a:gd name="T22" fmla="*/ 3 w 234"/>
                  <a:gd name="T23" fmla="*/ 0 h 22"/>
                  <a:gd name="T24" fmla="*/ 6 w 234"/>
                  <a:gd name="T25" fmla="*/ 0 h 22"/>
                  <a:gd name="T26" fmla="*/ 227 w 234"/>
                  <a:gd name="T27" fmla="*/ 0 h 22"/>
                  <a:gd name="T28" fmla="*/ 227 w 234"/>
                  <a:gd name="T29" fmla="*/ 0 h 22"/>
                  <a:gd name="T30" fmla="*/ 230 w 234"/>
                  <a:gd name="T31" fmla="*/ 0 h 22"/>
                  <a:gd name="T32" fmla="*/ 232 w 234"/>
                  <a:gd name="T33" fmla="*/ 1 h 22"/>
                  <a:gd name="T34" fmla="*/ 233 w 234"/>
                  <a:gd name="T35" fmla="*/ 3 h 22"/>
                  <a:gd name="T36" fmla="*/ 234 w 234"/>
                  <a:gd name="T37" fmla="*/ 5 h 22"/>
                  <a:gd name="T38" fmla="*/ 234 w 234"/>
                  <a:gd name="T39" fmla="*/ 16 h 22"/>
                  <a:gd name="T40" fmla="*/ 234 w 234"/>
                  <a:gd name="T41" fmla="*/ 16 h 22"/>
                  <a:gd name="T42" fmla="*/ 233 w 234"/>
                  <a:gd name="T43" fmla="*/ 19 h 22"/>
                  <a:gd name="T44" fmla="*/ 232 w 234"/>
                  <a:gd name="T45" fmla="*/ 20 h 22"/>
                  <a:gd name="T46" fmla="*/ 230 w 234"/>
                  <a:gd name="T47" fmla="*/ 22 h 22"/>
                  <a:gd name="T48" fmla="*/ 227 w 234"/>
                  <a:gd name="T49" fmla="*/ 22 h 22"/>
                  <a:gd name="T50" fmla="*/ 227 w 234"/>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2">
                    <a:moveTo>
                      <a:pt x="227" y="22"/>
                    </a:moveTo>
                    <a:lnTo>
                      <a:pt x="6" y="22"/>
                    </a:lnTo>
                    <a:lnTo>
                      <a:pt x="6" y="22"/>
                    </a:lnTo>
                    <a:lnTo>
                      <a:pt x="3" y="22"/>
                    </a:lnTo>
                    <a:lnTo>
                      <a:pt x="2" y="20"/>
                    </a:lnTo>
                    <a:lnTo>
                      <a:pt x="0" y="19"/>
                    </a:lnTo>
                    <a:lnTo>
                      <a:pt x="0" y="16"/>
                    </a:lnTo>
                    <a:lnTo>
                      <a:pt x="0" y="5"/>
                    </a:lnTo>
                    <a:lnTo>
                      <a:pt x="0" y="5"/>
                    </a:lnTo>
                    <a:lnTo>
                      <a:pt x="0" y="3"/>
                    </a:lnTo>
                    <a:lnTo>
                      <a:pt x="2" y="1"/>
                    </a:lnTo>
                    <a:lnTo>
                      <a:pt x="3" y="0"/>
                    </a:lnTo>
                    <a:lnTo>
                      <a:pt x="6" y="0"/>
                    </a:lnTo>
                    <a:lnTo>
                      <a:pt x="227" y="0"/>
                    </a:lnTo>
                    <a:lnTo>
                      <a:pt x="227" y="0"/>
                    </a:lnTo>
                    <a:lnTo>
                      <a:pt x="230" y="0"/>
                    </a:lnTo>
                    <a:lnTo>
                      <a:pt x="232" y="1"/>
                    </a:lnTo>
                    <a:lnTo>
                      <a:pt x="233" y="3"/>
                    </a:lnTo>
                    <a:lnTo>
                      <a:pt x="234" y="5"/>
                    </a:lnTo>
                    <a:lnTo>
                      <a:pt x="234" y="16"/>
                    </a:lnTo>
                    <a:lnTo>
                      <a:pt x="234" y="16"/>
                    </a:lnTo>
                    <a:lnTo>
                      <a:pt x="233" y="19"/>
                    </a:lnTo>
                    <a:lnTo>
                      <a:pt x="232" y="20"/>
                    </a:lnTo>
                    <a:lnTo>
                      <a:pt x="230" y="22"/>
                    </a:lnTo>
                    <a:lnTo>
                      <a:pt x="227" y="22"/>
                    </a:lnTo>
                    <a:lnTo>
                      <a:pt x="227"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58" name="Group 157">
              <a:extLst>
                <a:ext uri="{FF2B5EF4-FFF2-40B4-BE49-F238E27FC236}">
                  <a16:creationId xmlns:a16="http://schemas.microsoft.com/office/drawing/2014/main" id="{C751DF67-96C3-7E93-AD16-D7B2EFFFF1B0}"/>
                </a:ext>
              </a:extLst>
            </p:cNvPr>
            <p:cNvGrpSpPr>
              <a:grpSpLocks noChangeAspect="1"/>
            </p:cNvGrpSpPr>
            <p:nvPr/>
          </p:nvGrpSpPr>
          <p:grpSpPr>
            <a:xfrm>
              <a:off x="4584559" y="2880616"/>
              <a:ext cx="245269" cy="245269"/>
              <a:chOff x="4956176" y="4183698"/>
              <a:chExt cx="522288" cy="522288"/>
            </a:xfrm>
          </p:grpSpPr>
          <p:sp>
            <p:nvSpPr>
              <p:cNvPr id="215" name="Freeform 75">
                <a:extLst>
                  <a:ext uri="{FF2B5EF4-FFF2-40B4-BE49-F238E27FC236}">
                    <a16:creationId xmlns:a16="http://schemas.microsoft.com/office/drawing/2014/main" id="{FEF82776-264B-847A-D999-5456B1B97291}"/>
                  </a:ext>
                </a:extLst>
              </p:cNvPr>
              <p:cNvSpPr>
                <a:spLocks noEditPoints="1"/>
              </p:cNvSpPr>
              <p:nvPr/>
            </p:nvSpPr>
            <p:spPr bwMode="auto">
              <a:xfrm>
                <a:off x="4956176" y="4183698"/>
                <a:ext cx="522288" cy="522288"/>
              </a:xfrm>
              <a:custGeom>
                <a:avLst/>
                <a:gdLst>
                  <a:gd name="T0" fmla="*/ 311 w 657"/>
                  <a:gd name="T1" fmla="*/ 657 h 657"/>
                  <a:gd name="T2" fmla="*/ 262 w 657"/>
                  <a:gd name="T3" fmla="*/ 650 h 657"/>
                  <a:gd name="T4" fmla="*/ 200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4 h 657"/>
                  <a:gd name="T18" fmla="*/ 9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2 w 657"/>
                  <a:gd name="T83" fmla="*/ 606 h 657"/>
                  <a:gd name="T84" fmla="*/ 328 w 657"/>
                  <a:gd name="T85" fmla="*/ 619 h 657"/>
                  <a:gd name="T86" fmla="*/ 387 w 657"/>
                  <a:gd name="T87" fmla="*/ 614 h 657"/>
                  <a:gd name="T88" fmla="*/ 467 w 657"/>
                  <a:gd name="T89" fmla="*/ 585 h 657"/>
                  <a:gd name="T90" fmla="*/ 535 w 657"/>
                  <a:gd name="T91" fmla="*/ 535 h 657"/>
                  <a:gd name="T92" fmla="*/ 584 w 657"/>
                  <a:gd name="T93" fmla="*/ 468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1" y="657"/>
                    </a:lnTo>
                    <a:lnTo>
                      <a:pt x="294" y="656"/>
                    </a:lnTo>
                    <a:lnTo>
                      <a:pt x="278" y="653"/>
                    </a:lnTo>
                    <a:lnTo>
                      <a:pt x="262" y="650"/>
                    </a:lnTo>
                    <a:lnTo>
                      <a:pt x="246" y="646"/>
                    </a:lnTo>
                    <a:lnTo>
                      <a:pt x="231" y="642"/>
                    </a:lnTo>
                    <a:lnTo>
                      <a:pt x="200" y="632"/>
                    </a:lnTo>
                    <a:lnTo>
                      <a:pt x="172" y="618"/>
                    </a:lnTo>
                    <a:lnTo>
                      <a:pt x="145" y="601"/>
                    </a:lnTo>
                    <a:lnTo>
                      <a:pt x="119" y="582"/>
                    </a:lnTo>
                    <a:lnTo>
                      <a:pt x="95" y="560"/>
                    </a:lnTo>
                    <a:lnTo>
                      <a:pt x="75" y="537"/>
                    </a:lnTo>
                    <a:lnTo>
                      <a:pt x="56" y="512"/>
                    </a:lnTo>
                    <a:lnTo>
                      <a:pt x="39" y="485"/>
                    </a:lnTo>
                    <a:lnTo>
                      <a:pt x="25" y="457"/>
                    </a:lnTo>
                    <a:lnTo>
                      <a:pt x="14" y="426"/>
                    </a:lnTo>
                    <a:lnTo>
                      <a:pt x="9" y="411"/>
                    </a:lnTo>
                    <a:lnTo>
                      <a:pt x="6" y="395"/>
                    </a:lnTo>
                    <a:lnTo>
                      <a:pt x="4" y="379"/>
                    </a:lnTo>
                    <a:lnTo>
                      <a:pt x="1" y="361"/>
                    </a:lnTo>
                    <a:lnTo>
                      <a:pt x="0" y="345"/>
                    </a:lnTo>
                    <a:lnTo>
                      <a:pt x="0" y="328"/>
                    </a:lnTo>
                    <a:lnTo>
                      <a:pt x="0" y="328"/>
                    </a:lnTo>
                    <a:lnTo>
                      <a:pt x="0" y="312"/>
                    </a:lnTo>
                    <a:lnTo>
                      <a:pt x="1" y="294"/>
                    </a:lnTo>
                    <a:lnTo>
                      <a:pt x="4" y="278"/>
                    </a:lnTo>
                    <a:lnTo>
                      <a:pt x="6" y="262"/>
                    </a:lnTo>
                    <a:lnTo>
                      <a:pt x="9" y="246"/>
                    </a:lnTo>
                    <a:lnTo>
                      <a:pt x="14" y="231"/>
                    </a:lnTo>
                    <a:lnTo>
                      <a:pt x="25" y="200"/>
                    </a:lnTo>
                    <a:lnTo>
                      <a:pt x="39" y="172"/>
                    </a:lnTo>
                    <a:lnTo>
                      <a:pt x="56" y="145"/>
                    </a:lnTo>
                    <a:lnTo>
                      <a:pt x="75" y="119"/>
                    </a:lnTo>
                    <a:lnTo>
                      <a:pt x="95" y="95"/>
                    </a:lnTo>
                    <a:lnTo>
                      <a:pt x="119" y="75"/>
                    </a:lnTo>
                    <a:lnTo>
                      <a:pt x="145" y="56"/>
                    </a:lnTo>
                    <a:lnTo>
                      <a:pt x="172" y="39"/>
                    </a:lnTo>
                    <a:lnTo>
                      <a:pt x="200" y="25"/>
                    </a:lnTo>
                    <a:lnTo>
                      <a:pt x="231" y="15"/>
                    </a:lnTo>
                    <a:lnTo>
                      <a:pt x="246" y="9"/>
                    </a:lnTo>
                    <a:lnTo>
                      <a:pt x="262" y="7"/>
                    </a:lnTo>
                    <a:lnTo>
                      <a:pt x="278" y="4"/>
                    </a:lnTo>
                    <a:lnTo>
                      <a:pt x="294" y="1"/>
                    </a:lnTo>
                    <a:lnTo>
                      <a:pt x="311" y="0"/>
                    </a:lnTo>
                    <a:lnTo>
                      <a:pt x="328" y="0"/>
                    </a:lnTo>
                    <a:lnTo>
                      <a:pt x="328" y="0"/>
                    </a:lnTo>
                    <a:lnTo>
                      <a:pt x="345" y="0"/>
                    </a:lnTo>
                    <a:lnTo>
                      <a:pt x="361" y="1"/>
                    </a:lnTo>
                    <a:lnTo>
                      <a:pt x="379" y="4"/>
                    </a:lnTo>
                    <a:lnTo>
                      <a:pt x="395" y="7"/>
                    </a:lnTo>
                    <a:lnTo>
                      <a:pt x="411" y="9"/>
                    </a:lnTo>
                    <a:lnTo>
                      <a:pt x="426" y="15"/>
                    </a:lnTo>
                    <a:lnTo>
                      <a:pt x="457" y="25"/>
                    </a:lnTo>
                    <a:lnTo>
                      <a:pt x="485" y="39"/>
                    </a:lnTo>
                    <a:lnTo>
                      <a:pt x="512" y="56"/>
                    </a:lnTo>
                    <a:lnTo>
                      <a:pt x="537" y="75"/>
                    </a:lnTo>
                    <a:lnTo>
                      <a:pt x="560" y="95"/>
                    </a:lnTo>
                    <a:lnTo>
                      <a:pt x="582" y="119"/>
                    </a:lnTo>
                    <a:lnTo>
                      <a:pt x="600" y="145"/>
                    </a:lnTo>
                    <a:lnTo>
                      <a:pt x="618" y="172"/>
                    </a:lnTo>
                    <a:lnTo>
                      <a:pt x="631" y="200"/>
                    </a:lnTo>
                    <a:lnTo>
                      <a:pt x="642" y="231"/>
                    </a:lnTo>
                    <a:lnTo>
                      <a:pt x="647"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7" y="411"/>
                    </a:lnTo>
                    <a:lnTo>
                      <a:pt x="642" y="426"/>
                    </a:lnTo>
                    <a:lnTo>
                      <a:pt x="631" y="457"/>
                    </a:lnTo>
                    <a:lnTo>
                      <a:pt x="618" y="485"/>
                    </a:lnTo>
                    <a:lnTo>
                      <a:pt x="600" y="512"/>
                    </a:lnTo>
                    <a:lnTo>
                      <a:pt x="582" y="537"/>
                    </a:lnTo>
                    <a:lnTo>
                      <a:pt x="560" y="560"/>
                    </a:lnTo>
                    <a:lnTo>
                      <a:pt x="537" y="582"/>
                    </a:lnTo>
                    <a:lnTo>
                      <a:pt x="512" y="601"/>
                    </a:lnTo>
                    <a:lnTo>
                      <a:pt x="485" y="618"/>
                    </a:lnTo>
                    <a:lnTo>
                      <a:pt x="457" y="632"/>
                    </a:lnTo>
                    <a:lnTo>
                      <a:pt x="426" y="642"/>
                    </a:lnTo>
                    <a:lnTo>
                      <a:pt x="411" y="646"/>
                    </a:lnTo>
                    <a:lnTo>
                      <a:pt x="395" y="650"/>
                    </a:lnTo>
                    <a:lnTo>
                      <a:pt x="379" y="653"/>
                    </a:lnTo>
                    <a:lnTo>
                      <a:pt x="361" y="656"/>
                    </a:lnTo>
                    <a:lnTo>
                      <a:pt x="345" y="657"/>
                    </a:lnTo>
                    <a:lnTo>
                      <a:pt x="328" y="657"/>
                    </a:lnTo>
                    <a:lnTo>
                      <a:pt x="328" y="657"/>
                    </a:lnTo>
                    <a:close/>
                    <a:moveTo>
                      <a:pt x="328" y="37"/>
                    </a:moveTo>
                    <a:lnTo>
                      <a:pt x="328" y="37"/>
                    </a:lnTo>
                    <a:lnTo>
                      <a:pt x="298" y="39"/>
                    </a:lnTo>
                    <a:lnTo>
                      <a:pt x="270" y="43"/>
                    </a:lnTo>
                    <a:lnTo>
                      <a:pt x="242" y="50"/>
                    </a:lnTo>
                    <a:lnTo>
                      <a:pt x="215" y="60"/>
                    </a:lnTo>
                    <a:lnTo>
                      <a:pt x="189" y="72"/>
                    </a:lnTo>
                    <a:lnTo>
                      <a:pt x="165" y="87"/>
                    </a:lnTo>
                    <a:lnTo>
                      <a:pt x="143" y="103"/>
                    </a:lnTo>
                    <a:lnTo>
                      <a:pt x="122" y="122"/>
                    </a:lnTo>
                    <a:lnTo>
                      <a:pt x="103" y="144"/>
                    </a:lnTo>
                    <a:lnTo>
                      <a:pt x="87" y="165"/>
                    </a:lnTo>
                    <a:lnTo>
                      <a:pt x="72" y="189"/>
                    </a:lnTo>
                    <a:lnTo>
                      <a:pt x="60" y="215"/>
                    </a:lnTo>
                    <a:lnTo>
                      <a:pt x="49" y="242"/>
                    </a:lnTo>
                    <a:lnTo>
                      <a:pt x="43" y="270"/>
                    </a:lnTo>
                    <a:lnTo>
                      <a:pt x="39" y="298"/>
                    </a:lnTo>
                    <a:lnTo>
                      <a:pt x="37" y="328"/>
                    </a:lnTo>
                    <a:lnTo>
                      <a:pt x="37" y="328"/>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2" y="606"/>
                    </a:lnTo>
                    <a:lnTo>
                      <a:pt x="270" y="614"/>
                    </a:lnTo>
                    <a:lnTo>
                      <a:pt x="298" y="618"/>
                    </a:lnTo>
                    <a:lnTo>
                      <a:pt x="328" y="619"/>
                    </a:lnTo>
                    <a:lnTo>
                      <a:pt x="328" y="619"/>
                    </a:lnTo>
                    <a:lnTo>
                      <a:pt x="358" y="618"/>
                    </a:lnTo>
                    <a:lnTo>
                      <a:pt x="387" y="614"/>
                    </a:lnTo>
                    <a:lnTo>
                      <a:pt x="415" y="606"/>
                    </a:lnTo>
                    <a:lnTo>
                      <a:pt x="442" y="597"/>
                    </a:lnTo>
                    <a:lnTo>
                      <a:pt x="467" y="585"/>
                    </a:lnTo>
                    <a:lnTo>
                      <a:pt x="492" y="570"/>
                    </a:lnTo>
                    <a:lnTo>
                      <a:pt x="513" y="554"/>
                    </a:lnTo>
                    <a:lnTo>
                      <a:pt x="535" y="535"/>
                    </a:lnTo>
                    <a:lnTo>
                      <a:pt x="553" y="513"/>
                    </a:lnTo>
                    <a:lnTo>
                      <a:pt x="569" y="492"/>
                    </a:lnTo>
                    <a:lnTo>
                      <a:pt x="584" y="468"/>
                    </a:lnTo>
                    <a:lnTo>
                      <a:pt x="596" y="442"/>
                    </a:lnTo>
                    <a:lnTo>
                      <a:pt x="606" y="415"/>
                    </a:lnTo>
                    <a:lnTo>
                      <a:pt x="614" y="387"/>
                    </a:lnTo>
                    <a:lnTo>
                      <a:pt x="618" y="359"/>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2" y="87"/>
                    </a:lnTo>
                    <a:lnTo>
                      <a:pt x="467" y="72"/>
                    </a:lnTo>
                    <a:lnTo>
                      <a:pt x="442" y="60"/>
                    </a:lnTo>
                    <a:lnTo>
                      <a:pt x="415" y="50"/>
                    </a:lnTo>
                    <a:lnTo>
                      <a:pt x="387" y="43"/>
                    </a:lnTo>
                    <a:lnTo>
                      <a:pt x="358"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16" name="Freeform 198">
                <a:extLst>
                  <a:ext uri="{FF2B5EF4-FFF2-40B4-BE49-F238E27FC236}">
                    <a16:creationId xmlns:a16="http://schemas.microsoft.com/office/drawing/2014/main" id="{5576FDBE-4C88-255E-43E6-04521273AB50}"/>
                  </a:ext>
                </a:extLst>
              </p:cNvPr>
              <p:cNvSpPr>
                <a:spLocks noEditPoints="1"/>
              </p:cNvSpPr>
              <p:nvPr/>
            </p:nvSpPr>
            <p:spPr bwMode="auto">
              <a:xfrm>
                <a:off x="5110163" y="4318635"/>
                <a:ext cx="239713" cy="239713"/>
              </a:xfrm>
              <a:custGeom>
                <a:avLst/>
                <a:gdLst>
                  <a:gd name="T0" fmla="*/ 251 w 303"/>
                  <a:gd name="T1" fmla="*/ 8 h 303"/>
                  <a:gd name="T2" fmla="*/ 247 w 303"/>
                  <a:gd name="T3" fmla="*/ 6 h 303"/>
                  <a:gd name="T4" fmla="*/ 238 w 303"/>
                  <a:gd name="T5" fmla="*/ 2 h 303"/>
                  <a:gd name="T6" fmla="*/ 233 w 303"/>
                  <a:gd name="T7" fmla="*/ 0 h 303"/>
                  <a:gd name="T8" fmla="*/ 223 w 303"/>
                  <a:gd name="T9" fmla="*/ 3 h 303"/>
                  <a:gd name="T10" fmla="*/ 215 w 303"/>
                  <a:gd name="T11" fmla="*/ 8 h 303"/>
                  <a:gd name="T12" fmla="*/ 12 w 303"/>
                  <a:gd name="T13" fmla="*/ 211 h 303"/>
                  <a:gd name="T14" fmla="*/ 11 w 303"/>
                  <a:gd name="T15" fmla="*/ 213 h 303"/>
                  <a:gd name="T16" fmla="*/ 11 w 303"/>
                  <a:gd name="T17" fmla="*/ 214 h 303"/>
                  <a:gd name="T18" fmla="*/ 0 w 303"/>
                  <a:gd name="T19" fmla="*/ 296 h 303"/>
                  <a:gd name="T20" fmla="*/ 2 w 303"/>
                  <a:gd name="T21" fmla="*/ 301 h 303"/>
                  <a:gd name="T22" fmla="*/ 3 w 303"/>
                  <a:gd name="T23" fmla="*/ 301 h 303"/>
                  <a:gd name="T24" fmla="*/ 6 w 303"/>
                  <a:gd name="T25" fmla="*/ 303 h 303"/>
                  <a:gd name="T26" fmla="*/ 89 w 303"/>
                  <a:gd name="T27" fmla="*/ 292 h 303"/>
                  <a:gd name="T28" fmla="*/ 90 w 303"/>
                  <a:gd name="T29" fmla="*/ 292 h 303"/>
                  <a:gd name="T30" fmla="*/ 92 w 303"/>
                  <a:gd name="T31" fmla="*/ 291 h 303"/>
                  <a:gd name="T32" fmla="*/ 246 w 303"/>
                  <a:gd name="T33" fmla="*/ 136 h 303"/>
                  <a:gd name="T34" fmla="*/ 278 w 303"/>
                  <a:gd name="T35" fmla="*/ 105 h 303"/>
                  <a:gd name="T36" fmla="*/ 278 w 303"/>
                  <a:gd name="T37" fmla="*/ 105 h 303"/>
                  <a:gd name="T38" fmla="*/ 294 w 303"/>
                  <a:gd name="T39" fmla="*/ 88 h 303"/>
                  <a:gd name="T40" fmla="*/ 300 w 303"/>
                  <a:gd name="T41" fmla="*/ 80 h 303"/>
                  <a:gd name="T42" fmla="*/ 303 w 303"/>
                  <a:gd name="T43" fmla="*/ 70 h 303"/>
                  <a:gd name="T44" fmla="*/ 301 w 303"/>
                  <a:gd name="T45" fmla="*/ 65 h 303"/>
                  <a:gd name="T46" fmla="*/ 297 w 303"/>
                  <a:gd name="T47" fmla="*/ 55 h 303"/>
                  <a:gd name="T48" fmla="*/ 294 w 303"/>
                  <a:gd name="T49" fmla="*/ 51 h 303"/>
                  <a:gd name="T50" fmla="*/ 15 w 303"/>
                  <a:gd name="T51" fmla="*/ 262 h 303"/>
                  <a:gd name="T52" fmla="*/ 77 w 303"/>
                  <a:gd name="T53" fmla="*/ 282 h 303"/>
                  <a:gd name="T54" fmla="*/ 195 w 303"/>
                  <a:gd name="T55" fmla="*/ 114 h 303"/>
                  <a:gd name="T56" fmla="*/ 71 w 303"/>
                  <a:gd name="T57" fmla="*/ 238 h 303"/>
                  <a:gd name="T58" fmla="*/ 67 w 303"/>
                  <a:gd name="T59" fmla="*/ 241 h 303"/>
                  <a:gd name="T60" fmla="*/ 65 w 303"/>
                  <a:gd name="T61" fmla="*/ 239 h 303"/>
                  <a:gd name="T62" fmla="*/ 63 w 303"/>
                  <a:gd name="T63" fmla="*/ 238 h 303"/>
                  <a:gd name="T64" fmla="*/ 62 w 303"/>
                  <a:gd name="T65" fmla="*/ 235 h 303"/>
                  <a:gd name="T66" fmla="*/ 63 w 303"/>
                  <a:gd name="T67" fmla="*/ 231 h 303"/>
                  <a:gd name="T68" fmla="*/ 188 w 303"/>
                  <a:gd name="T69" fmla="*/ 108 h 303"/>
                  <a:gd name="T70" fmla="*/ 191 w 303"/>
                  <a:gd name="T71" fmla="*/ 105 h 303"/>
                  <a:gd name="T72" fmla="*/ 195 w 303"/>
                  <a:gd name="T73" fmla="*/ 108 h 303"/>
                  <a:gd name="T74" fmla="*/ 196 w 303"/>
                  <a:gd name="T75" fmla="*/ 109 h 303"/>
                  <a:gd name="T76" fmla="*/ 196 w 303"/>
                  <a:gd name="T77" fmla="*/ 113 h 303"/>
                  <a:gd name="T78" fmla="*/ 195 w 303"/>
                  <a:gd name="T79" fmla="*/ 114 h 303"/>
                  <a:gd name="T80" fmla="*/ 178 w 303"/>
                  <a:gd name="T81" fmla="*/ 59 h 303"/>
                  <a:gd name="T82" fmla="*/ 266 w 303"/>
                  <a:gd name="T83" fmla="*/ 10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3" h="303">
                    <a:moveTo>
                      <a:pt x="294" y="51"/>
                    </a:moveTo>
                    <a:lnTo>
                      <a:pt x="251" y="8"/>
                    </a:lnTo>
                    <a:lnTo>
                      <a:pt x="251" y="8"/>
                    </a:lnTo>
                    <a:lnTo>
                      <a:pt x="247" y="6"/>
                    </a:lnTo>
                    <a:lnTo>
                      <a:pt x="243" y="3"/>
                    </a:lnTo>
                    <a:lnTo>
                      <a:pt x="238" y="2"/>
                    </a:lnTo>
                    <a:lnTo>
                      <a:pt x="233" y="0"/>
                    </a:lnTo>
                    <a:lnTo>
                      <a:pt x="233" y="0"/>
                    </a:lnTo>
                    <a:lnTo>
                      <a:pt x="229" y="2"/>
                    </a:lnTo>
                    <a:lnTo>
                      <a:pt x="223" y="3"/>
                    </a:lnTo>
                    <a:lnTo>
                      <a:pt x="219" y="4"/>
                    </a:lnTo>
                    <a:lnTo>
                      <a:pt x="215" y="8"/>
                    </a:lnTo>
                    <a:lnTo>
                      <a:pt x="12" y="211"/>
                    </a:lnTo>
                    <a:lnTo>
                      <a:pt x="12" y="211"/>
                    </a:lnTo>
                    <a:lnTo>
                      <a:pt x="11" y="213"/>
                    </a:lnTo>
                    <a:lnTo>
                      <a:pt x="11" y="213"/>
                    </a:lnTo>
                    <a:lnTo>
                      <a:pt x="11" y="213"/>
                    </a:lnTo>
                    <a:lnTo>
                      <a:pt x="11" y="214"/>
                    </a:lnTo>
                    <a:lnTo>
                      <a:pt x="0" y="296"/>
                    </a:lnTo>
                    <a:lnTo>
                      <a:pt x="0" y="296"/>
                    </a:lnTo>
                    <a:lnTo>
                      <a:pt x="0" y="299"/>
                    </a:lnTo>
                    <a:lnTo>
                      <a:pt x="2" y="301"/>
                    </a:lnTo>
                    <a:lnTo>
                      <a:pt x="2" y="301"/>
                    </a:lnTo>
                    <a:lnTo>
                      <a:pt x="3" y="301"/>
                    </a:lnTo>
                    <a:lnTo>
                      <a:pt x="6" y="303"/>
                    </a:lnTo>
                    <a:lnTo>
                      <a:pt x="6" y="303"/>
                    </a:lnTo>
                    <a:lnTo>
                      <a:pt x="89" y="292"/>
                    </a:lnTo>
                    <a:lnTo>
                      <a:pt x="89" y="292"/>
                    </a:lnTo>
                    <a:lnTo>
                      <a:pt x="89" y="292"/>
                    </a:lnTo>
                    <a:lnTo>
                      <a:pt x="90" y="292"/>
                    </a:lnTo>
                    <a:lnTo>
                      <a:pt x="90" y="292"/>
                    </a:lnTo>
                    <a:lnTo>
                      <a:pt x="92" y="291"/>
                    </a:lnTo>
                    <a:lnTo>
                      <a:pt x="246" y="136"/>
                    </a:lnTo>
                    <a:lnTo>
                      <a:pt x="246" y="136"/>
                    </a:lnTo>
                    <a:lnTo>
                      <a:pt x="246" y="136"/>
                    </a:lnTo>
                    <a:lnTo>
                      <a:pt x="278" y="105"/>
                    </a:lnTo>
                    <a:lnTo>
                      <a:pt x="278" y="105"/>
                    </a:lnTo>
                    <a:lnTo>
                      <a:pt x="278" y="105"/>
                    </a:lnTo>
                    <a:lnTo>
                      <a:pt x="294" y="88"/>
                    </a:lnTo>
                    <a:lnTo>
                      <a:pt x="294" y="88"/>
                    </a:lnTo>
                    <a:lnTo>
                      <a:pt x="297" y="84"/>
                    </a:lnTo>
                    <a:lnTo>
                      <a:pt x="300" y="80"/>
                    </a:lnTo>
                    <a:lnTo>
                      <a:pt x="301" y="75"/>
                    </a:lnTo>
                    <a:lnTo>
                      <a:pt x="303" y="70"/>
                    </a:lnTo>
                    <a:lnTo>
                      <a:pt x="303" y="70"/>
                    </a:lnTo>
                    <a:lnTo>
                      <a:pt x="301" y="65"/>
                    </a:lnTo>
                    <a:lnTo>
                      <a:pt x="300" y="59"/>
                    </a:lnTo>
                    <a:lnTo>
                      <a:pt x="297" y="55"/>
                    </a:lnTo>
                    <a:lnTo>
                      <a:pt x="294" y="51"/>
                    </a:lnTo>
                    <a:lnTo>
                      <a:pt x="294" y="51"/>
                    </a:lnTo>
                    <a:close/>
                    <a:moveTo>
                      <a:pt x="39" y="288"/>
                    </a:moveTo>
                    <a:lnTo>
                      <a:pt x="15" y="262"/>
                    </a:lnTo>
                    <a:lnTo>
                      <a:pt x="19" y="225"/>
                    </a:lnTo>
                    <a:lnTo>
                      <a:pt x="77" y="282"/>
                    </a:lnTo>
                    <a:lnTo>
                      <a:pt x="39" y="288"/>
                    </a:lnTo>
                    <a:close/>
                    <a:moveTo>
                      <a:pt x="195" y="114"/>
                    </a:moveTo>
                    <a:lnTo>
                      <a:pt x="71" y="238"/>
                    </a:lnTo>
                    <a:lnTo>
                      <a:pt x="71" y="238"/>
                    </a:lnTo>
                    <a:lnTo>
                      <a:pt x="69" y="239"/>
                    </a:lnTo>
                    <a:lnTo>
                      <a:pt x="67" y="241"/>
                    </a:lnTo>
                    <a:lnTo>
                      <a:pt x="67" y="241"/>
                    </a:lnTo>
                    <a:lnTo>
                      <a:pt x="65" y="239"/>
                    </a:lnTo>
                    <a:lnTo>
                      <a:pt x="63" y="238"/>
                    </a:lnTo>
                    <a:lnTo>
                      <a:pt x="63" y="238"/>
                    </a:lnTo>
                    <a:lnTo>
                      <a:pt x="62" y="237"/>
                    </a:lnTo>
                    <a:lnTo>
                      <a:pt x="62" y="235"/>
                    </a:lnTo>
                    <a:lnTo>
                      <a:pt x="62" y="233"/>
                    </a:lnTo>
                    <a:lnTo>
                      <a:pt x="63" y="231"/>
                    </a:lnTo>
                    <a:lnTo>
                      <a:pt x="188" y="108"/>
                    </a:lnTo>
                    <a:lnTo>
                      <a:pt x="188" y="108"/>
                    </a:lnTo>
                    <a:lnTo>
                      <a:pt x="190" y="106"/>
                    </a:lnTo>
                    <a:lnTo>
                      <a:pt x="191" y="105"/>
                    </a:lnTo>
                    <a:lnTo>
                      <a:pt x="194" y="106"/>
                    </a:lnTo>
                    <a:lnTo>
                      <a:pt x="195" y="108"/>
                    </a:lnTo>
                    <a:lnTo>
                      <a:pt x="195" y="108"/>
                    </a:lnTo>
                    <a:lnTo>
                      <a:pt x="196" y="109"/>
                    </a:lnTo>
                    <a:lnTo>
                      <a:pt x="196" y="110"/>
                    </a:lnTo>
                    <a:lnTo>
                      <a:pt x="196" y="113"/>
                    </a:lnTo>
                    <a:lnTo>
                      <a:pt x="195" y="114"/>
                    </a:lnTo>
                    <a:lnTo>
                      <a:pt x="195" y="114"/>
                    </a:lnTo>
                    <a:close/>
                    <a:moveTo>
                      <a:pt x="243" y="124"/>
                    </a:moveTo>
                    <a:lnTo>
                      <a:pt x="178" y="59"/>
                    </a:lnTo>
                    <a:lnTo>
                      <a:pt x="202" y="35"/>
                    </a:lnTo>
                    <a:lnTo>
                      <a:pt x="266" y="101"/>
                    </a:lnTo>
                    <a:lnTo>
                      <a:pt x="243"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sp>
          <p:nvSpPr>
            <p:cNvPr id="159" name="Chevron 49">
              <a:extLst>
                <a:ext uri="{FF2B5EF4-FFF2-40B4-BE49-F238E27FC236}">
                  <a16:creationId xmlns:a16="http://schemas.microsoft.com/office/drawing/2014/main" id="{4D7B2052-75E5-857E-6B0D-D980ACD7819D}"/>
                </a:ext>
              </a:extLst>
            </p:cNvPr>
            <p:cNvSpPr/>
            <p:nvPr/>
          </p:nvSpPr>
          <p:spPr>
            <a:xfrm>
              <a:off x="2593500" y="2814148"/>
              <a:ext cx="221416" cy="444580"/>
            </a:xfrm>
            <a:prstGeom prst="chevron">
              <a:avLst>
                <a:gd name="adj" fmla="val 74590"/>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rgbClr val="000000"/>
                </a:solidFill>
              </a:endParaRPr>
            </a:p>
          </p:txBody>
        </p:sp>
        <p:sp>
          <p:nvSpPr>
            <p:cNvPr id="160" name="Chevron 49">
              <a:extLst>
                <a:ext uri="{FF2B5EF4-FFF2-40B4-BE49-F238E27FC236}">
                  <a16:creationId xmlns:a16="http://schemas.microsoft.com/office/drawing/2014/main" id="{9C93A2D9-414C-060F-F138-59ABE6014FBE}"/>
                </a:ext>
              </a:extLst>
            </p:cNvPr>
            <p:cNvSpPr/>
            <p:nvPr/>
          </p:nvSpPr>
          <p:spPr>
            <a:xfrm>
              <a:off x="6547291" y="3052944"/>
              <a:ext cx="125908" cy="252810"/>
            </a:xfrm>
            <a:prstGeom prst="chevron">
              <a:avLst>
                <a:gd name="adj" fmla="val 74590"/>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rgbClr val="000000"/>
                </a:solidFill>
              </a:endParaRPr>
            </a:p>
          </p:txBody>
        </p:sp>
        <p:sp>
          <p:nvSpPr>
            <p:cNvPr id="161" name="Chevron 49">
              <a:extLst>
                <a:ext uri="{FF2B5EF4-FFF2-40B4-BE49-F238E27FC236}">
                  <a16:creationId xmlns:a16="http://schemas.microsoft.com/office/drawing/2014/main" id="{009013F6-937F-6F30-8A2C-B75B4316A104}"/>
                </a:ext>
              </a:extLst>
            </p:cNvPr>
            <p:cNvSpPr/>
            <p:nvPr/>
          </p:nvSpPr>
          <p:spPr>
            <a:xfrm>
              <a:off x="7504334" y="3282068"/>
              <a:ext cx="125908" cy="252810"/>
            </a:xfrm>
            <a:prstGeom prst="chevron">
              <a:avLst>
                <a:gd name="adj" fmla="val 74590"/>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rgbClr val="000000"/>
                </a:solidFill>
              </a:endParaRPr>
            </a:p>
          </p:txBody>
        </p:sp>
        <p:grpSp>
          <p:nvGrpSpPr>
            <p:cNvPr id="162" name="Group 161">
              <a:extLst>
                <a:ext uri="{FF2B5EF4-FFF2-40B4-BE49-F238E27FC236}">
                  <a16:creationId xmlns:a16="http://schemas.microsoft.com/office/drawing/2014/main" id="{4A3D6A9C-82AF-B879-4AF5-65AD219A753A}"/>
                </a:ext>
              </a:extLst>
            </p:cNvPr>
            <p:cNvGrpSpPr>
              <a:grpSpLocks noChangeAspect="1"/>
            </p:cNvGrpSpPr>
            <p:nvPr/>
          </p:nvGrpSpPr>
          <p:grpSpPr>
            <a:xfrm>
              <a:off x="884290" y="4962325"/>
              <a:ext cx="391752" cy="392947"/>
              <a:chOff x="5837238" y="4180523"/>
              <a:chExt cx="520700" cy="522288"/>
            </a:xfrm>
          </p:grpSpPr>
          <p:sp>
            <p:nvSpPr>
              <p:cNvPr id="211" name="Freeform 72">
                <a:extLst>
                  <a:ext uri="{FF2B5EF4-FFF2-40B4-BE49-F238E27FC236}">
                    <a16:creationId xmlns:a16="http://schemas.microsoft.com/office/drawing/2014/main" id="{CA07072E-CF80-052B-E1C5-044625950BB2}"/>
                  </a:ext>
                </a:extLst>
              </p:cNvPr>
              <p:cNvSpPr>
                <a:spLocks noEditPoints="1"/>
              </p:cNvSpPr>
              <p:nvPr/>
            </p:nvSpPr>
            <p:spPr bwMode="auto">
              <a:xfrm>
                <a:off x="5837238" y="4180523"/>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39 w 658"/>
                  <a:gd name="T21" fmla="*/ 172 h 657"/>
                  <a:gd name="T22" fmla="*/ 96 w 658"/>
                  <a:gd name="T23" fmla="*/ 97 h 657"/>
                  <a:gd name="T24" fmla="*/ 172 w 658"/>
                  <a:gd name="T25" fmla="*/ 39 h 657"/>
                  <a:gd name="T26" fmla="*/ 246 w 658"/>
                  <a:gd name="T27" fmla="*/ 9 h 657"/>
                  <a:gd name="T28" fmla="*/ 295 w 658"/>
                  <a:gd name="T29" fmla="*/ 1 h 657"/>
                  <a:gd name="T30" fmla="*/ 328 w 658"/>
                  <a:gd name="T31" fmla="*/ 0 h 657"/>
                  <a:gd name="T32" fmla="*/ 379 w 658"/>
                  <a:gd name="T33" fmla="*/ 4 h 657"/>
                  <a:gd name="T34" fmla="*/ 426 w 658"/>
                  <a:gd name="T35" fmla="*/ 15 h 657"/>
                  <a:gd name="T36" fmla="*/ 512 w 658"/>
                  <a:gd name="T37" fmla="*/ 56 h 657"/>
                  <a:gd name="T38" fmla="*/ 582 w 658"/>
                  <a:gd name="T39" fmla="*/ 119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7 h 657"/>
                  <a:gd name="T54" fmla="*/ 512 w 658"/>
                  <a:gd name="T55" fmla="*/ 601 h 657"/>
                  <a:gd name="T56" fmla="*/ 426 w 658"/>
                  <a:gd name="T57" fmla="*/ 642 h 657"/>
                  <a:gd name="T58" fmla="*/ 379 w 658"/>
                  <a:gd name="T59" fmla="*/ 653 h 657"/>
                  <a:gd name="T60" fmla="*/ 328 w 658"/>
                  <a:gd name="T61" fmla="*/ 657 h 657"/>
                  <a:gd name="T62" fmla="*/ 328 w 658"/>
                  <a:gd name="T63" fmla="*/ 37 h 657"/>
                  <a:gd name="T64" fmla="*/ 242 w 658"/>
                  <a:gd name="T65" fmla="*/ 51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7 h 657"/>
                  <a:gd name="T84" fmla="*/ 328 w 658"/>
                  <a:gd name="T85" fmla="*/ 619 h 657"/>
                  <a:gd name="T86" fmla="*/ 387 w 658"/>
                  <a:gd name="T87" fmla="*/ 614 h 657"/>
                  <a:gd name="T88" fmla="*/ 468 w 658"/>
                  <a:gd name="T89" fmla="*/ 584 h 657"/>
                  <a:gd name="T90" fmla="*/ 535 w 658"/>
                  <a:gd name="T91" fmla="*/ 535 h 657"/>
                  <a:gd name="T92" fmla="*/ 585 w 658"/>
                  <a:gd name="T93" fmla="*/ 468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8"/>
                    </a:lnTo>
                    <a:lnTo>
                      <a:pt x="232" y="642"/>
                    </a:lnTo>
                    <a:lnTo>
                      <a:pt x="201" y="632"/>
                    </a:lnTo>
                    <a:lnTo>
                      <a:pt x="172" y="618"/>
                    </a:lnTo>
                    <a:lnTo>
                      <a:pt x="146" y="601"/>
                    </a:lnTo>
                    <a:lnTo>
                      <a:pt x="120" y="582"/>
                    </a:lnTo>
                    <a:lnTo>
                      <a:pt x="96" y="562"/>
                    </a:lnTo>
                    <a:lnTo>
                      <a:pt x="76" y="537"/>
                    </a:lnTo>
                    <a:lnTo>
                      <a:pt x="57" y="512"/>
                    </a:lnTo>
                    <a:lnTo>
                      <a:pt x="39" y="485"/>
                    </a:lnTo>
                    <a:lnTo>
                      <a:pt x="26" y="457"/>
                    </a:lnTo>
                    <a:lnTo>
                      <a:pt x="15" y="426"/>
                    </a:lnTo>
                    <a:lnTo>
                      <a:pt x="10" y="411"/>
                    </a:lnTo>
                    <a:lnTo>
                      <a:pt x="7" y="395"/>
                    </a:lnTo>
                    <a:lnTo>
                      <a:pt x="4" y="379"/>
                    </a:lnTo>
                    <a:lnTo>
                      <a:pt x="2" y="361"/>
                    </a:lnTo>
                    <a:lnTo>
                      <a:pt x="0" y="345"/>
                    </a:lnTo>
                    <a:lnTo>
                      <a:pt x="0" y="329"/>
                    </a:lnTo>
                    <a:lnTo>
                      <a:pt x="0" y="329"/>
                    </a:lnTo>
                    <a:lnTo>
                      <a:pt x="0" y="312"/>
                    </a:lnTo>
                    <a:lnTo>
                      <a:pt x="2" y="296"/>
                    </a:lnTo>
                    <a:lnTo>
                      <a:pt x="4" y="278"/>
                    </a:lnTo>
                    <a:lnTo>
                      <a:pt x="7" y="262"/>
                    </a:lnTo>
                    <a:lnTo>
                      <a:pt x="10" y="246"/>
                    </a:lnTo>
                    <a:lnTo>
                      <a:pt x="15" y="231"/>
                    </a:lnTo>
                    <a:lnTo>
                      <a:pt x="26" y="200"/>
                    </a:lnTo>
                    <a:lnTo>
                      <a:pt x="39" y="172"/>
                    </a:lnTo>
                    <a:lnTo>
                      <a:pt x="57" y="145"/>
                    </a:lnTo>
                    <a:lnTo>
                      <a:pt x="76" y="119"/>
                    </a:lnTo>
                    <a:lnTo>
                      <a:pt x="96" y="97"/>
                    </a:lnTo>
                    <a:lnTo>
                      <a:pt x="120" y="75"/>
                    </a:lnTo>
                    <a:lnTo>
                      <a:pt x="146" y="56"/>
                    </a:lnTo>
                    <a:lnTo>
                      <a:pt x="172" y="39"/>
                    </a:lnTo>
                    <a:lnTo>
                      <a:pt x="201" y="25"/>
                    </a:lnTo>
                    <a:lnTo>
                      <a:pt x="232" y="15"/>
                    </a:lnTo>
                    <a:lnTo>
                      <a:pt x="246" y="9"/>
                    </a:lnTo>
                    <a:lnTo>
                      <a:pt x="262" y="7"/>
                    </a:lnTo>
                    <a:lnTo>
                      <a:pt x="279" y="4"/>
                    </a:lnTo>
                    <a:lnTo>
                      <a:pt x="295" y="1"/>
                    </a:lnTo>
                    <a:lnTo>
                      <a:pt x="312" y="0"/>
                    </a:lnTo>
                    <a:lnTo>
                      <a:pt x="328" y="0"/>
                    </a:lnTo>
                    <a:lnTo>
                      <a:pt x="328" y="0"/>
                    </a:lnTo>
                    <a:lnTo>
                      <a:pt x="346" y="0"/>
                    </a:lnTo>
                    <a:lnTo>
                      <a:pt x="362" y="1"/>
                    </a:lnTo>
                    <a:lnTo>
                      <a:pt x="379" y="4"/>
                    </a:lnTo>
                    <a:lnTo>
                      <a:pt x="396" y="7"/>
                    </a:lnTo>
                    <a:lnTo>
                      <a:pt x="412" y="9"/>
                    </a:lnTo>
                    <a:lnTo>
                      <a:pt x="426" y="15"/>
                    </a:lnTo>
                    <a:lnTo>
                      <a:pt x="457" y="25"/>
                    </a:lnTo>
                    <a:lnTo>
                      <a:pt x="486" y="39"/>
                    </a:lnTo>
                    <a:lnTo>
                      <a:pt x="512" y="56"/>
                    </a:lnTo>
                    <a:lnTo>
                      <a:pt x="538" y="75"/>
                    </a:lnTo>
                    <a:lnTo>
                      <a:pt x="561" y="97"/>
                    </a:lnTo>
                    <a:lnTo>
                      <a:pt x="582" y="119"/>
                    </a:lnTo>
                    <a:lnTo>
                      <a:pt x="601" y="145"/>
                    </a:lnTo>
                    <a:lnTo>
                      <a:pt x="619" y="172"/>
                    </a:lnTo>
                    <a:lnTo>
                      <a:pt x="632" y="200"/>
                    </a:lnTo>
                    <a:lnTo>
                      <a:pt x="643" y="231"/>
                    </a:lnTo>
                    <a:lnTo>
                      <a:pt x="648" y="246"/>
                    </a:lnTo>
                    <a:lnTo>
                      <a:pt x="651" y="262"/>
                    </a:lnTo>
                    <a:lnTo>
                      <a:pt x="654" y="278"/>
                    </a:lnTo>
                    <a:lnTo>
                      <a:pt x="656" y="296"/>
                    </a:lnTo>
                    <a:lnTo>
                      <a:pt x="658" y="312"/>
                    </a:lnTo>
                    <a:lnTo>
                      <a:pt x="658" y="329"/>
                    </a:lnTo>
                    <a:lnTo>
                      <a:pt x="658" y="329"/>
                    </a:lnTo>
                    <a:lnTo>
                      <a:pt x="658" y="345"/>
                    </a:lnTo>
                    <a:lnTo>
                      <a:pt x="656" y="361"/>
                    </a:lnTo>
                    <a:lnTo>
                      <a:pt x="654" y="379"/>
                    </a:lnTo>
                    <a:lnTo>
                      <a:pt x="651" y="395"/>
                    </a:lnTo>
                    <a:lnTo>
                      <a:pt x="648" y="411"/>
                    </a:lnTo>
                    <a:lnTo>
                      <a:pt x="643" y="426"/>
                    </a:lnTo>
                    <a:lnTo>
                      <a:pt x="632" y="457"/>
                    </a:lnTo>
                    <a:lnTo>
                      <a:pt x="619" y="485"/>
                    </a:lnTo>
                    <a:lnTo>
                      <a:pt x="601" y="512"/>
                    </a:lnTo>
                    <a:lnTo>
                      <a:pt x="582" y="537"/>
                    </a:lnTo>
                    <a:lnTo>
                      <a:pt x="561" y="562"/>
                    </a:lnTo>
                    <a:lnTo>
                      <a:pt x="538" y="582"/>
                    </a:lnTo>
                    <a:lnTo>
                      <a:pt x="512" y="601"/>
                    </a:lnTo>
                    <a:lnTo>
                      <a:pt x="486" y="618"/>
                    </a:lnTo>
                    <a:lnTo>
                      <a:pt x="457" y="632"/>
                    </a:lnTo>
                    <a:lnTo>
                      <a:pt x="426" y="642"/>
                    </a:lnTo>
                    <a:lnTo>
                      <a:pt x="412" y="648"/>
                    </a:lnTo>
                    <a:lnTo>
                      <a:pt x="396" y="650"/>
                    </a:lnTo>
                    <a:lnTo>
                      <a:pt x="379" y="653"/>
                    </a:lnTo>
                    <a:lnTo>
                      <a:pt x="362" y="656"/>
                    </a:lnTo>
                    <a:lnTo>
                      <a:pt x="346" y="657"/>
                    </a:lnTo>
                    <a:lnTo>
                      <a:pt x="328" y="657"/>
                    </a:lnTo>
                    <a:lnTo>
                      <a:pt x="328" y="657"/>
                    </a:lnTo>
                    <a:close/>
                    <a:moveTo>
                      <a:pt x="328" y="37"/>
                    </a:moveTo>
                    <a:lnTo>
                      <a:pt x="328" y="37"/>
                    </a:lnTo>
                    <a:lnTo>
                      <a:pt x="299" y="39"/>
                    </a:lnTo>
                    <a:lnTo>
                      <a:pt x="271" y="43"/>
                    </a:lnTo>
                    <a:lnTo>
                      <a:pt x="242" y="51"/>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4"/>
                    </a:lnTo>
                    <a:lnTo>
                      <a:pt x="215" y="597"/>
                    </a:lnTo>
                    <a:lnTo>
                      <a:pt x="242" y="607"/>
                    </a:lnTo>
                    <a:lnTo>
                      <a:pt x="271" y="614"/>
                    </a:lnTo>
                    <a:lnTo>
                      <a:pt x="299" y="618"/>
                    </a:lnTo>
                    <a:lnTo>
                      <a:pt x="328" y="619"/>
                    </a:lnTo>
                    <a:lnTo>
                      <a:pt x="328" y="619"/>
                    </a:lnTo>
                    <a:lnTo>
                      <a:pt x="359" y="618"/>
                    </a:lnTo>
                    <a:lnTo>
                      <a:pt x="387" y="614"/>
                    </a:lnTo>
                    <a:lnTo>
                      <a:pt x="416" y="607"/>
                    </a:lnTo>
                    <a:lnTo>
                      <a:pt x="443" y="597"/>
                    </a:lnTo>
                    <a:lnTo>
                      <a:pt x="468" y="584"/>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2"/>
                    </a:lnTo>
                    <a:lnTo>
                      <a:pt x="443" y="60"/>
                    </a:lnTo>
                    <a:lnTo>
                      <a:pt x="416" y="51"/>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12" name="Freeform 213">
                <a:extLst>
                  <a:ext uri="{FF2B5EF4-FFF2-40B4-BE49-F238E27FC236}">
                    <a16:creationId xmlns:a16="http://schemas.microsoft.com/office/drawing/2014/main" id="{1ACD3CE9-45FD-BACB-4052-595A720E0C84}"/>
                  </a:ext>
                </a:extLst>
              </p:cNvPr>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13" name="Freeform 214">
                <a:extLst>
                  <a:ext uri="{FF2B5EF4-FFF2-40B4-BE49-F238E27FC236}">
                    <a16:creationId xmlns:a16="http://schemas.microsoft.com/office/drawing/2014/main" id="{D8574DD3-9493-DB76-C752-5A4E9A9F1B65}"/>
                  </a:ext>
                </a:extLst>
              </p:cNvPr>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14" name="Freeform 215">
                <a:extLst>
                  <a:ext uri="{FF2B5EF4-FFF2-40B4-BE49-F238E27FC236}">
                    <a16:creationId xmlns:a16="http://schemas.microsoft.com/office/drawing/2014/main" id="{24ACF0F0-DD03-9307-0A27-C6AF9815A1B2}"/>
                  </a:ext>
                </a:extLst>
              </p:cNvPr>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63" name="Group 162">
              <a:extLst>
                <a:ext uri="{FF2B5EF4-FFF2-40B4-BE49-F238E27FC236}">
                  <a16:creationId xmlns:a16="http://schemas.microsoft.com/office/drawing/2014/main" id="{96DF579A-C584-E409-E255-008DE3C11574}"/>
                </a:ext>
              </a:extLst>
            </p:cNvPr>
            <p:cNvGrpSpPr>
              <a:grpSpLocks noChangeAspect="1"/>
            </p:cNvGrpSpPr>
            <p:nvPr/>
          </p:nvGrpSpPr>
          <p:grpSpPr>
            <a:xfrm>
              <a:off x="884290" y="5609250"/>
              <a:ext cx="391752" cy="392947"/>
              <a:chOff x="5837238" y="4180523"/>
              <a:chExt cx="520700" cy="522288"/>
            </a:xfrm>
          </p:grpSpPr>
          <p:sp>
            <p:nvSpPr>
              <p:cNvPr id="207" name="Freeform 72">
                <a:extLst>
                  <a:ext uri="{FF2B5EF4-FFF2-40B4-BE49-F238E27FC236}">
                    <a16:creationId xmlns:a16="http://schemas.microsoft.com/office/drawing/2014/main" id="{F27918D0-5BDE-A8C5-3011-C69B9B58B700}"/>
                  </a:ext>
                </a:extLst>
              </p:cNvPr>
              <p:cNvSpPr>
                <a:spLocks noEditPoints="1"/>
              </p:cNvSpPr>
              <p:nvPr/>
            </p:nvSpPr>
            <p:spPr bwMode="auto">
              <a:xfrm>
                <a:off x="5837238" y="4180523"/>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39 w 658"/>
                  <a:gd name="T21" fmla="*/ 172 h 657"/>
                  <a:gd name="T22" fmla="*/ 96 w 658"/>
                  <a:gd name="T23" fmla="*/ 97 h 657"/>
                  <a:gd name="T24" fmla="*/ 172 w 658"/>
                  <a:gd name="T25" fmla="*/ 39 h 657"/>
                  <a:gd name="T26" fmla="*/ 246 w 658"/>
                  <a:gd name="T27" fmla="*/ 9 h 657"/>
                  <a:gd name="T28" fmla="*/ 295 w 658"/>
                  <a:gd name="T29" fmla="*/ 1 h 657"/>
                  <a:gd name="T30" fmla="*/ 328 w 658"/>
                  <a:gd name="T31" fmla="*/ 0 h 657"/>
                  <a:gd name="T32" fmla="*/ 379 w 658"/>
                  <a:gd name="T33" fmla="*/ 4 h 657"/>
                  <a:gd name="T34" fmla="*/ 426 w 658"/>
                  <a:gd name="T35" fmla="*/ 15 h 657"/>
                  <a:gd name="T36" fmla="*/ 512 w 658"/>
                  <a:gd name="T37" fmla="*/ 56 h 657"/>
                  <a:gd name="T38" fmla="*/ 582 w 658"/>
                  <a:gd name="T39" fmla="*/ 119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7 h 657"/>
                  <a:gd name="T54" fmla="*/ 512 w 658"/>
                  <a:gd name="T55" fmla="*/ 601 h 657"/>
                  <a:gd name="T56" fmla="*/ 426 w 658"/>
                  <a:gd name="T57" fmla="*/ 642 h 657"/>
                  <a:gd name="T58" fmla="*/ 379 w 658"/>
                  <a:gd name="T59" fmla="*/ 653 h 657"/>
                  <a:gd name="T60" fmla="*/ 328 w 658"/>
                  <a:gd name="T61" fmla="*/ 657 h 657"/>
                  <a:gd name="T62" fmla="*/ 328 w 658"/>
                  <a:gd name="T63" fmla="*/ 37 h 657"/>
                  <a:gd name="T64" fmla="*/ 242 w 658"/>
                  <a:gd name="T65" fmla="*/ 51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7 h 657"/>
                  <a:gd name="T84" fmla="*/ 328 w 658"/>
                  <a:gd name="T85" fmla="*/ 619 h 657"/>
                  <a:gd name="T86" fmla="*/ 387 w 658"/>
                  <a:gd name="T87" fmla="*/ 614 h 657"/>
                  <a:gd name="T88" fmla="*/ 468 w 658"/>
                  <a:gd name="T89" fmla="*/ 584 h 657"/>
                  <a:gd name="T90" fmla="*/ 535 w 658"/>
                  <a:gd name="T91" fmla="*/ 535 h 657"/>
                  <a:gd name="T92" fmla="*/ 585 w 658"/>
                  <a:gd name="T93" fmla="*/ 468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8"/>
                    </a:lnTo>
                    <a:lnTo>
                      <a:pt x="232" y="642"/>
                    </a:lnTo>
                    <a:lnTo>
                      <a:pt x="201" y="632"/>
                    </a:lnTo>
                    <a:lnTo>
                      <a:pt x="172" y="618"/>
                    </a:lnTo>
                    <a:lnTo>
                      <a:pt x="146" y="601"/>
                    </a:lnTo>
                    <a:lnTo>
                      <a:pt x="120" y="582"/>
                    </a:lnTo>
                    <a:lnTo>
                      <a:pt x="96" y="562"/>
                    </a:lnTo>
                    <a:lnTo>
                      <a:pt x="76" y="537"/>
                    </a:lnTo>
                    <a:lnTo>
                      <a:pt x="57" y="512"/>
                    </a:lnTo>
                    <a:lnTo>
                      <a:pt x="39" y="485"/>
                    </a:lnTo>
                    <a:lnTo>
                      <a:pt x="26" y="457"/>
                    </a:lnTo>
                    <a:lnTo>
                      <a:pt x="15" y="426"/>
                    </a:lnTo>
                    <a:lnTo>
                      <a:pt x="10" y="411"/>
                    </a:lnTo>
                    <a:lnTo>
                      <a:pt x="7" y="395"/>
                    </a:lnTo>
                    <a:lnTo>
                      <a:pt x="4" y="379"/>
                    </a:lnTo>
                    <a:lnTo>
                      <a:pt x="2" y="361"/>
                    </a:lnTo>
                    <a:lnTo>
                      <a:pt x="0" y="345"/>
                    </a:lnTo>
                    <a:lnTo>
                      <a:pt x="0" y="329"/>
                    </a:lnTo>
                    <a:lnTo>
                      <a:pt x="0" y="329"/>
                    </a:lnTo>
                    <a:lnTo>
                      <a:pt x="0" y="312"/>
                    </a:lnTo>
                    <a:lnTo>
                      <a:pt x="2" y="296"/>
                    </a:lnTo>
                    <a:lnTo>
                      <a:pt x="4" y="278"/>
                    </a:lnTo>
                    <a:lnTo>
                      <a:pt x="7" y="262"/>
                    </a:lnTo>
                    <a:lnTo>
                      <a:pt x="10" y="246"/>
                    </a:lnTo>
                    <a:lnTo>
                      <a:pt x="15" y="231"/>
                    </a:lnTo>
                    <a:lnTo>
                      <a:pt x="26" y="200"/>
                    </a:lnTo>
                    <a:lnTo>
                      <a:pt x="39" y="172"/>
                    </a:lnTo>
                    <a:lnTo>
                      <a:pt x="57" y="145"/>
                    </a:lnTo>
                    <a:lnTo>
                      <a:pt x="76" y="119"/>
                    </a:lnTo>
                    <a:lnTo>
                      <a:pt x="96" y="97"/>
                    </a:lnTo>
                    <a:lnTo>
                      <a:pt x="120" y="75"/>
                    </a:lnTo>
                    <a:lnTo>
                      <a:pt x="146" y="56"/>
                    </a:lnTo>
                    <a:lnTo>
                      <a:pt x="172" y="39"/>
                    </a:lnTo>
                    <a:lnTo>
                      <a:pt x="201" y="25"/>
                    </a:lnTo>
                    <a:lnTo>
                      <a:pt x="232" y="15"/>
                    </a:lnTo>
                    <a:lnTo>
                      <a:pt x="246" y="9"/>
                    </a:lnTo>
                    <a:lnTo>
                      <a:pt x="262" y="7"/>
                    </a:lnTo>
                    <a:lnTo>
                      <a:pt x="279" y="4"/>
                    </a:lnTo>
                    <a:lnTo>
                      <a:pt x="295" y="1"/>
                    </a:lnTo>
                    <a:lnTo>
                      <a:pt x="312" y="0"/>
                    </a:lnTo>
                    <a:lnTo>
                      <a:pt x="328" y="0"/>
                    </a:lnTo>
                    <a:lnTo>
                      <a:pt x="328" y="0"/>
                    </a:lnTo>
                    <a:lnTo>
                      <a:pt x="346" y="0"/>
                    </a:lnTo>
                    <a:lnTo>
                      <a:pt x="362" y="1"/>
                    </a:lnTo>
                    <a:lnTo>
                      <a:pt x="379" y="4"/>
                    </a:lnTo>
                    <a:lnTo>
                      <a:pt x="396" y="7"/>
                    </a:lnTo>
                    <a:lnTo>
                      <a:pt x="412" y="9"/>
                    </a:lnTo>
                    <a:lnTo>
                      <a:pt x="426" y="15"/>
                    </a:lnTo>
                    <a:lnTo>
                      <a:pt x="457" y="25"/>
                    </a:lnTo>
                    <a:lnTo>
                      <a:pt x="486" y="39"/>
                    </a:lnTo>
                    <a:lnTo>
                      <a:pt x="512" y="56"/>
                    </a:lnTo>
                    <a:lnTo>
                      <a:pt x="538" y="75"/>
                    </a:lnTo>
                    <a:lnTo>
                      <a:pt x="561" y="97"/>
                    </a:lnTo>
                    <a:lnTo>
                      <a:pt x="582" y="119"/>
                    </a:lnTo>
                    <a:lnTo>
                      <a:pt x="601" y="145"/>
                    </a:lnTo>
                    <a:lnTo>
                      <a:pt x="619" y="172"/>
                    </a:lnTo>
                    <a:lnTo>
                      <a:pt x="632" y="200"/>
                    </a:lnTo>
                    <a:lnTo>
                      <a:pt x="643" y="231"/>
                    </a:lnTo>
                    <a:lnTo>
                      <a:pt x="648" y="246"/>
                    </a:lnTo>
                    <a:lnTo>
                      <a:pt x="651" y="262"/>
                    </a:lnTo>
                    <a:lnTo>
                      <a:pt x="654" y="278"/>
                    </a:lnTo>
                    <a:lnTo>
                      <a:pt x="656" y="296"/>
                    </a:lnTo>
                    <a:lnTo>
                      <a:pt x="658" y="312"/>
                    </a:lnTo>
                    <a:lnTo>
                      <a:pt x="658" y="329"/>
                    </a:lnTo>
                    <a:lnTo>
                      <a:pt x="658" y="329"/>
                    </a:lnTo>
                    <a:lnTo>
                      <a:pt x="658" y="345"/>
                    </a:lnTo>
                    <a:lnTo>
                      <a:pt x="656" y="361"/>
                    </a:lnTo>
                    <a:lnTo>
                      <a:pt x="654" y="379"/>
                    </a:lnTo>
                    <a:lnTo>
                      <a:pt x="651" y="395"/>
                    </a:lnTo>
                    <a:lnTo>
                      <a:pt x="648" y="411"/>
                    </a:lnTo>
                    <a:lnTo>
                      <a:pt x="643" y="426"/>
                    </a:lnTo>
                    <a:lnTo>
                      <a:pt x="632" y="457"/>
                    </a:lnTo>
                    <a:lnTo>
                      <a:pt x="619" y="485"/>
                    </a:lnTo>
                    <a:lnTo>
                      <a:pt x="601" y="512"/>
                    </a:lnTo>
                    <a:lnTo>
                      <a:pt x="582" y="537"/>
                    </a:lnTo>
                    <a:lnTo>
                      <a:pt x="561" y="562"/>
                    </a:lnTo>
                    <a:lnTo>
                      <a:pt x="538" y="582"/>
                    </a:lnTo>
                    <a:lnTo>
                      <a:pt x="512" y="601"/>
                    </a:lnTo>
                    <a:lnTo>
                      <a:pt x="486" y="618"/>
                    </a:lnTo>
                    <a:lnTo>
                      <a:pt x="457" y="632"/>
                    </a:lnTo>
                    <a:lnTo>
                      <a:pt x="426" y="642"/>
                    </a:lnTo>
                    <a:lnTo>
                      <a:pt x="412" y="648"/>
                    </a:lnTo>
                    <a:lnTo>
                      <a:pt x="396" y="650"/>
                    </a:lnTo>
                    <a:lnTo>
                      <a:pt x="379" y="653"/>
                    </a:lnTo>
                    <a:lnTo>
                      <a:pt x="362" y="656"/>
                    </a:lnTo>
                    <a:lnTo>
                      <a:pt x="346" y="657"/>
                    </a:lnTo>
                    <a:lnTo>
                      <a:pt x="328" y="657"/>
                    </a:lnTo>
                    <a:lnTo>
                      <a:pt x="328" y="657"/>
                    </a:lnTo>
                    <a:close/>
                    <a:moveTo>
                      <a:pt x="328" y="37"/>
                    </a:moveTo>
                    <a:lnTo>
                      <a:pt x="328" y="37"/>
                    </a:lnTo>
                    <a:lnTo>
                      <a:pt x="299" y="39"/>
                    </a:lnTo>
                    <a:lnTo>
                      <a:pt x="271" y="43"/>
                    </a:lnTo>
                    <a:lnTo>
                      <a:pt x="242" y="51"/>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4"/>
                    </a:lnTo>
                    <a:lnTo>
                      <a:pt x="215" y="597"/>
                    </a:lnTo>
                    <a:lnTo>
                      <a:pt x="242" y="607"/>
                    </a:lnTo>
                    <a:lnTo>
                      <a:pt x="271" y="614"/>
                    </a:lnTo>
                    <a:lnTo>
                      <a:pt x="299" y="618"/>
                    </a:lnTo>
                    <a:lnTo>
                      <a:pt x="328" y="619"/>
                    </a:lnTo>
                    <a:lnTo>
                      <a:pt x="328" y="619"/>
                    </a:lnTo>
                    <a:lnTo>
                      <a:pt x="359" y="618"/>
                    </a:lnTo>
                    <a:lnTo>
                      <a:pt x="387" y="614"/>
                    </a:lnTo>
                    <a:lnTo>
                      <a:pt x="416" y="607"/>
                    </a:lnTo>
                    <a:lnTo>
                      <a:pt x="443" y="597"/>
                    </a:lnTo>
                    <a:lnTo>
                      <a:pt x="468" y="584"/>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2"/>
                    </a:lnTo>
                    <a:lnTo>
                      <a:pt x="443" y="60"/>
                    </a:lnTo>
                    <a:lnTo>
                      <a:pt x="416" y="51"/>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08" name="Freeform 213">
                <a:extLst>
                  <a:ext uri="{FF2B5EF4-FFF2-40B4-BE49-F238E27FC236}">
                    <a16:creationId xmlns:a16="http://schemas.microsoft.com/office/drawing/2014/main" id="{42DD8F01-75D7-DCE7-89FF-F4BA97BE588D}"/>
                  </a:ext>
                </a:extLst>
              </p:cNvPr>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09" name="Freeform 214">
                <a:extLst>
                  <a:ext uri="{FF2B5EF4-FFF2-40B4-BE49-F238E27FC236}">
                    <a16:creationId xmlns:a16="http://schemas.microsoft.com/office/drawing/2014/main" id="{CD5440D1-C5B6-FCCC-4094-B213BDEE2EB6}"/>
                  </a:ext>
                </a:extLst>
              </p:cNvPr>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10" name="Freeform 215">
                <a:extLst>
                  <a:ext uri="{FF2B5EF4-FFF2-40B4-BE49-F238E27FC236}">
                    <a16:creationId xmlns:a16="http://schemas.microsoft.com/office/drawing/2014/main" id="{9238D6E8-063B-FF27-002C-8EC8F8E75E25}"/>
                  </a:ext>
                </a:extLst>
              </p:cNvPr>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64" name="Group 163">
              <a:extLst>
                <a:ext uri="{FF2B5EF4-FFF2-40B4-BE49-F238E27FC236}">
                  <a16:creationId xmlns:a16="http://schemas.microsoft.com/office/drawing/2014/main" id="{E0111BAB-9E84-1A05-1B50-5285F8775F74}"/>
                </a:ext>
              </a:extLst>
            </p:cNvPr>
            <p:cNvGrpSpPr>
              <a:grpSpLocks noChangeAspect="1"/>
            </p:cNvGrpSpPr>
            <p:nvPr/>
          </p:nvGrpSpPr>
          <p:grpSpPr>
            <a:xfrm>
              <a:off x="887167" y="2104666"/>
              <a:ext cx="385998" cy="385998"/>
              <a:chOff x="3195638" y="2503488"/>
              <a:chExt cx="520700" cy="520700"/>
            </a:xfrm>
          </p:grpSpPr>
          <p:sp>
            <p:nvSpPr>
              <p:cNvPr id="201" name="Freeform 73">
                <a:extLst>
                  <a:ext uri="{FF2B5EF4-FFF2-40B4-BE49-F238E27FC236}">
                    <a16:creationId xmlns:a16="http://schemas.microsoft.com/office/drawing/2014/main" id="{9C958045-AC9D-0A27-01B0-3060C0F6E60C}"/>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02" name="Freeform 238">
                <a:extLst>
                  <a:ext uri="{FF2B5EF4-FFF2-40B4-BE49-F238E27FC236}">
                    <a16:creationId xmlns:a16="http://schemas.microsoft.com/office/drawing/2014/main" id="{DC67A36B-B4CD-4DEC-2BE0-CC64B084F6BE}"/>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03" name="Freeform 239">
                <a:extLst>
                  <a:ext uri="{FF2B5EF4-FFF2-40B4-BE49-F238E27FC236}">
                    <a16:creationId xmlns:a16="http://schemas.microsoft.com/office/drawing/2014/main" id="{31F1AC0E-10FC-2E76-CD71-485D360296D5}"/>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04" name="Freeform 240">
                <a:extLst>
                  <a:ext uri="{FF2B5EF4-FFF2-40B4-BE49-F238E27FC236}">
                    <a16:creationId xmlns:a16="http://schemas.microsoft.com/office/drawing/2014/main" id="{1481C747-73EE-560E-1737-71E8C27C57E8}"/>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05" name="Freeform 241">
                <a:extLst>
                  <a:ext uri="{FF2B5EF4-FFF2-40B4-BE49-F238E27FC236}">
                    <a16:creationId xmlns:a16="http://schemas.microsoft.com/office/drawing/2014/main" id="{3EED7BFD-DDAA-C26E-D7B3-79AF51A41AD9}"/>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06" name="Freeform 242">
                <a:extLst>
                  <a:ext uri="{FF2B5EF4-FFF2-40B4-BE49-F238E27FC236}">
                    <a16:creationId xmlns:a16="http://schemas.microsoft.com/office/drawing/2014/main" id="{8EF12A98-1E9A-B888-D4F4-A82FF06AB835}"/>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65" name="Group 164">
              <a:extLst>
                <a:ext uri="{FF2B5EF4-FFF2-40B4-BE49-F238E27FC236}">
                  <a16:creationId xmlns:a16="http://schemas.microsoft.com/office/drawing/2014/main" id="{1C636D62-F4BE-EF41-D23E-475989A3B005}"/>
                </a:ext>
              </a:extLst>
            </p:cNvPr>
            <p:cNvGrpSpPr>
              <a:grpSpLocks noChangeAspect="1"/>
            </p:cNvGrpSpPr>
            <p:nvPr/>
          </p:nvGrpSpPr>
          <p:grpSpPr>
            <a:xfrm>
              <a:off x="887167" y="2783498"/>
              <a:ext cx="385998" cy="385998"/>
              <a:chOff x="3195638" y="2503488"/>
              <a:chExt cx="520700" cy="520700"/>
            </a:xfrm>
          </p:grpSpPr>
          <p:sp>
            <p:nvSpPr>
              <p:cNvPr id="195" name="Freeform 73">
                <a:extLst>
                  <a:ext uri="{FF2B5EF4-FFF2-40B4-BE49-F238E27FC236}">
                    <a16:creationId xmlns:a16="http://schemas.microsoft.com/office/drawing/2014/main" id="{576BB65F-C164-BC6A-8EA3-69D423A0E9E1}"/>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6" name="Freeform 238">
                <a:extLst>
                  <a:ext uri="{FF2B5EF4-FFF2-40B4-BE49-F238E27FC236}">
                    <a16:creationId xmlns:a16="http://schemas.microsoft.com/office/drawing/2014/main" id="{2D910E3A-7C7E-BE60-D88C-C1FFABB92D3E}"/>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7" name="Freeform 239">
                <a:extLst>
                  <a:ext uri="{FF2B5EF4-FFF2-40B4-BE49-F238E27FC236}">
                    <a16:creationId xmlns:a16="http://schemas.microsoft.com/office/drawing/2014/main" id="{8BAB24D9-EA68-5DDB-EE14-46CFB199C374}"/>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8" name="Freeform 240">
                <a:extLst>
                  <a:ext uri="{FF2B5EF4-FFF2-40B4-BE49-F238E27FC236}">
                    <a16:creationId xmlns:a16="http://schemas.microsoft.com/office/drawing/2014/main" id="{9844FAAC-127F-51C0-6561-DF9919445B08}"/>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9" name="Freeform 241">
                <a:extLst>
                  <a:ext uri="{FF2B5EF4-FFF2-40B4-BE49-F238E27FC236}">
                    <a16:creationId xmlns:a16="http://schemas.microsoft.com/office/drawing/2014/main" id="{C7CF5FC4-EA38-345E-0EB2-0976A718E696}"/>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200" name="Freeform 242">
                <a:extLst>
                  <a:ext uri="{FF2B5EF4-FFF2-40B4-BE49-F238E27FC236}">
                    <a16:creationId xmlns:a16="http://schemas.microsoft.com/office/drawing/2014/main" id="{310909D8-73C9-5669-07C2-6676D5C646C5}"/>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166" name="Group 165">
              <a:extLst>
                <a:ext uri="{FF2B5EF4-FFF2-40B4-BE49-F238E27FC236}">
                  <a16:creationId xmlns:a16="http://schemas.microsoft.com/office/drawing/2014/main" id="{C738739F-050C-C57D-52E7-744495FE7A0B}"/>
                </a:ext>
              </a:extLst>
            </p:cNvPr>
            <p:cNvGrpSpPr>
              <a:grpSpLocks noChangeAspect="1"/>
            </p:cNvGrpSpPr>
            <p:nvPr/>
          </p:nvGrpSpPr>
          <p:grpSpPr>
            <a:xfrm>
              <a:off x="887167" y="3481529"/>
              <a:ext cx="385998" cy="385998"/>
              <a:chOff x="3195638" y="2503488"/>
              <a:chExt cx="520700" cy="520700"/>
            </a:xfrm>
          </p:grpSpPr>
          <p:sp>
            <p:nvSpPr>
              <p:cNvPr id="189" name="Freeform 73">
                <a:extLst>
                  <a:ext uri="{FF2B5EF4-FFF2-40B4-BE49-F238E27FC236}">
                    <a16:creationId xmlns:a16="http://schemas.microsoft.com/office/drawing/2014/main" id="{62C0D889-35C7-E082-777C-377550CDF9B7}"/>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0" name="Freeform 238">
                <a:extLst>
                  <a:ext uri="{FF2B5EF4-FFF2-40B4-BE49-F238E27FC236}">
                    <a16:creationId xmlns:a16="http://schemas.microsoft.com/office/drawing/2014/main" id="{9A56E666-41BD-E451-40D3-6EBF0B33D703}"/>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1" name="Freeform 239">
                <a:extLst>
                  <a:ext uri="{FF2B5EF4-FFF2-40B4-BE49-F238E27FC236}">
                    <a16:creationId xmlns:a16="http://schemas.microsoft.com/office/drawing/2014/main" id="{92EDF50B-52C1-222E-3917-8DDBDC1BF9E6}"/>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2" name="Freeform 240">
                <a:extLst>
                  <a:ext uri="{FF2B5EF4-FFF2-40B4-BE49-F238E27FC236}">
                    <a16:creationId xmlns:a16="http://schemas.microsoft.com/office/drawing/2014/main" id="{11FEB38E-13FC-107E-BA09-57A320D2FD23}"/>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3" name="Freeform 241">
                <a:extLst>
                  <a:ext uri="{FF2B5EF4-FFF2-40B4-BE49-F238E27FC236}">
                    <a16:creationId xmlns:a16="http://schemas.microsoft.com/office/drawing/2014/main" id="{02C2EE9F-F212-8F8D-8F1C-37F5C27282AE}"/>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194" name="Freeform 242">
                <a:extLst>
                  <a:ext uri="{FF2B5EF4-FFF2-40B4-BE49-F238E27FC236}">
                    <a16:creationId xmlns:a16="http://schemas.microsoft.com/office/drawing/2014/main" id="{05A7CA01-821C-A28B-9E17-552D2F8EA1A8}"/>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cxnSp>
          <p:nvCxnSpPr>
            <p:cNvPr id="167" name="Straight Connector 166">
              <a:extLst>
                <a:ext uri="{FF2B5EF4-FFF2-40B4-BE49-F238E27FC236}">
                  <a16:creationId xmlns:a16="http://schemas.microsoft.com/office/drawing/2014/main" id="{E6393AF1-9443-EC89-FD51-FC98CAF694BB}"/>
                </a:ext>
              </a:extLst>
            </p:cNvPr>
            <p:cNvCxnSpPr>
              <a:stCxn id="201" idx="30"/>
              <a:endCxn id="195" idx="15"/>
            </p:cNvCxnSpPr>
            <p:nvPr/>
          </p:nvCxnSpPr>
          <p:spPr>
            <a:xfrm>
              <a:off x="1079872" y="2490664"/>
              <a:ext cx="0" cy="292834"/>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5E6CE56B-FA7E-D29C-DDF4-C6F6A3355570}"/>
                </a:ext>
              </a:extLst>
            </p:cNvPr>
            <p:cNvCxnSpPr>
              <a:cxnSpLocks/>
              <a:stCxn id="195" idx="30"/>
              <a:endCxn id="189" idx="15"/>
            </p:cNvCxnSpPr>
            <p:nvPr/>
          </p:nvCxnSpPr>
          <p:spPr>
            <a:xfrm>
              <a:off x="1079872" y="3169496"/>
              <a:ext cx="0" cy="312033"/>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40946416-FBF5-CC4A-32AD-B52D253D148E}"/>
                </a:ext>
              </a:extLst>
            </p:cNvPr>
            <p:cNvCxnSpPr>
              <a:cxnSpLocks/>
              <a:stCxn id="242" idx="30"/>
              <a:endCxn id="211" idx="15"/>
            </p:cNvCxnSpPr>
            <p:nvPr/>
          </p:nvCxnSpPr>
          <p:spPr>
            <a:xfrm>
              <a:off x="1079571" y="4653558"/>
              <a:ext cx="0" cy="30876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B0037AE-A126-120D-62EA-2985EB181345}"/>
                </a:ext>
              </a:extLst>
            </p:cNvPr>
            <p:cNvCxnSpPr>
              <a:cxnSpLocks/>
              <a:stCxn id="211" idx="30"/>
              <a:endCxn id="207" idx="15"/>
            </p:cNvCxnSpPr>
            <p:nvPr/>
          </p:nvCxnSpPr>
          <p:spPr>
            <a:xfrm>
              <a:off x="1079571" y="5355272"/>
              <a:ext cx="0" cy="25397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A1D4B33C-80E9-6D78-E8FD-6F4511110557}"/>
                </a:ext>
              </a:extLst>
            </p:cNvPr>
            <p:cNvSpPr/>
            <p:nvPr/>
          </p:nvSpPr>
          <p:spPr>
            <a:xfrm>
              <a:off x="8300750" y="4032547"/>
              <a:ext cx="457200" cy="457200"/>
            </a:xfrm>
            <a:prstGeom prst="ellipse">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i="1" dirty="0">
                  <a:solidFill>
                    <a:sysClr val="windowText" lastClr="000000"/>
                  </a:solidFill>
                </a:rPr>
                <a:t>Ad Hoc Release</a:t>
              </a:r>
            </a:p>
          </p:txBody>
        </p:sp>
        <p:sp>
          <p:nvSpPr>
            <p:cNvPr id="172" name="Rectangle 171">
              <a:extLst>
                <a:ext uri="{FF2B5EF4-FFF2-40B4-BE49-F238E27FC236}">
                  <a16:creationId xmlns:a16="http://schemas.microsoft.com/office/drawing/2014/main" id="{BF864528-1874-E71F-1B46-FB45E742AD50}"/>
                </a:ext>
              </a:extLst>
            </p:cNvPr>
            <p:cNvSpPr/>
            <p:nvPr/>
          </p:nvSpPr>
          <p:spPr>
            <a:xfrm>
              <a:off x="2924144" y="5995422"/>
              <a:ext cx="8334834" cy="3900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0000"/>
                  </a:solidFill>
                </a:rPr>
                <a:t>DevOps (Continuous Integration/Delivery)</a:t>
              </a:r>
            </a:p>
          </p:txBody>
        </p:sp>
        <p:sp>
          <p:nvSpPr>
            <p:cNvPr id="173" name="Pentagon 167">
              <a:extLst>
                <a:ext uri="{FF2B5EF4-FFF2-40B4-BE49-F238E27FC236}">
                  <a16:creationId xmlns:a16="http://schemas.microsoft.com/office/drawing/2014/main" id="{3EB9C1D4-3A36-78EF-D3DF-37162CF3F9A8}"/>
                </a:ext>
              </a:extLst>
            </p:cNvPr>
            <p:cNvSpPr/>
            <p:nvPr/>
          </p:nvSpPr>
          <p:spPr>
            <a:xfrm>
              <a:off x="2984011" y="4595993"/>
              <a:ext cx="1828800" cy="272621"/>
            </a:xfrm>
            <a:prstGeom prst="homePlate">
              <a:avLst/>
            </a:prstGeom>
            <a:solidFill>
              <a:schemeClr val="accent6">
                <a:lumMod val="20000"/>
                <a:lumOff val="80000"/>
              </a:schemeClr>
            </a:solidFill>
            <a:ln w="12700" cap="flat" cmpd="sng" algn="ctr">
              <a:solidFill>
                <a:sysClr val="window" lastClr="FFFFFF"/>
              </a:solidFill>
              <a:prstDash val="solid"/>
            </a:ln>
            <a:effectLst/>
          </p:spPr>
          <p:txBody>
            <a:bodyPr lIns="0" tIns="45713" rIns="0" bIns="45713" rtlCol="0" anchor="ctr"/>
            <a:lstStyle/>
            <a:p>
              <a:pPr algn="ctr" defTabSz="1463040"/>
              <a:r>
                <a:rPr lang="en-US" sz="800" b="1" kern="0" dirty="0">
                  <a:solidFill>
                    <a:srgbClr val="000000"/>
                  </a:solidFill>
                </a:rPr>
                <a:t>Identify</a:t>
              </a:r>
            </a:p>
          </p:txBody>
        </p:sp>
        <p:sp>
          <p:nvSpPr>
            <p:cNvPr id="174" name="Chevron 168">
              <a:extLst>
                <a:ext uri="{FF2B5EF4-FFF2-40B4-BE49-F238E27FC236}">
                  <a16:creationId xmlns:a16="http://schemas.microsoft.com/office/drawing/2014/main" id="{0084A83E-8099-591E-B241-6994653252FB}"/>
                </a:ext>
              </a:extLst>
            </p:cNvPr>
            <p:cNvSpPr/>
            <p:nvPr/>
          </p:nvSpPr>
          <p:spPr>
            <a:xfrm>
              <a:off x="4797611" y="4595993"/>
              <a:ext cx="1828800" cy="272621"/>
            </a:xfrm>
            <a:prstGeom prst="chevron">
              <a:avLst/>
            </a:prstGeom>
            <a:solidFill>
              <a:schemeClr val="accent6">
                <a:lumMod val="20000"/>
                <a:lumOff val="80000"/>
              </a:schemeClr>
            </a:solidFill>
            <a:ln w="12700" cap="flat" cmpd="sng" algn="ctr">
              <a:solidFill>
                <a:sysClr val="window" lastClr="FFFFFF"/>
              </a:solidFill>
              <a:prstDash val="solid"/>
            </a:ln>
            <a:effectLst/>
          </p:spPr>
          <p:txBody>
            <a:bodyPr lIns="0" tIns="45713" rIns="0" bIns="45713" rtlCol="0" anchor="ctr"/>
            <a:lstStyle/>
            <a:p>
              <a:pPr algn="ctr" defTabSz="1463040"/>
              <a:r>
                <a:rPr lang="en-US" sz="800" b="1" kern="0" dirty="0">
                  <a:solidFill>
                    <a:srgbClr val="000000"/>
                  </a:solidFill>
                </a:rPr>
                <a:t>Resolve</a:t>
              </a:r>
            </a:p>
          </p:txBody>
        </p:sp>
        <p:sp>
          <p:nvSpPr>
            <p:cNvPr id="175" name="Chevron 169">
              <a:extLst>
                <a:ext uri="{FF2B5EF4-FFF2-40B4-BE49-F238E27FC236}">
                  <a16:creationId xmlns:a16="http://schemas.microsoft.com/office/drawing/2014/main" id="{BA5F927C-9C7D-D1DE-BAD3-866C6AE8839C}"/>
                </a:ext>
              </a:extLst>
            </p:cNvPr>
            <p:cNvSpPr/>
            <p:nvPr/>
          </p:nvSpPr>
          <p:spPr>
            <a:xfrm>
              <a:off x="6611211" y="4595993"/>
              <a:ext cx="1680873" cy="272621"/>
            </a:xfrm>
            <a:prstGeom prst="chevron">
              <a:avLst/>
            </a:prstGeom>
            <a:solidFill>
              <a:schemeClr val="accent6">
                <a:lumMod val="20000"/>
                <a:lumOff val="80000"/>
              </a:schemeClr>
            </a:solidFill>
            <a:ln w="12700" cap="flat" cmpd="sng" algn="ctr">
              <a:solidFill>
                <a:sysClr val="window" lastClr="FFFFFF"/>
              </a:solidFill>
              <a:prstDash val="solid"/>
            </a:ln>
            <a:effectLst/>
          </p:spPr>
          <p:txBody>
            <a:bodyPr lIns="0" tIns="45713" rIns="0" bIns="45713" rtlCol="0" anchor="ctr"/>
            <a:lstStyle/>
            <a:p>
              <a:pPr algn="ctr" defTabSz="1463040"/>
              <a:r>
                <a:rPr lang="en-US" sz="800" b="1" kern="0" dirty="0">
                  <a:solidFill>
                    <a:srgbClr val="000000"/>
                  </a:solidFill>
                </a:rPr>
                <a:t>Branch/Merge</a:t>
              </a:r>
            </a:p>
          </p:txBody>
        </p:sp>
        <p:sp>
          <p:nvSpPr>
            <p:cNvPr id="176" name="Rectangle 175">
              <a:extLst>
                <a:ext uri="{FF2B5EF4-FFF2-40B4-BE49-F238E27FC236}">
                  <a16:creationId xmlns:a16="http://schemas.microsoft.com/office/drawing/2014/main" id="{025A631E-1CC9-1D50-EE4A-EE75CAE63AFD}"/>
                </a:ext>
              </a:extLst>
            </p:cNvPr>
            <p:cNvSpPr/>
            <p:nvPr/>
          </p:nvSpPr>
          <p:spPr>
            <a:xfrm>
              <a:off x="2984010" y="4347671"/>
              <a:ext cx="1129807" cy="246221"/>
            </a:xfrm>
            <a:prstGeom prst="rect">
              <a:avLst/>
            </a:prstGeom>
          </p:spPr>
          <p:txBody>
            <a:bodyPr wrap="square">
              <a:spAutoFit/>
            </a:bodyPr>
            <a:lstStyle/>
            <a:p>
              <a:r>
                <a:rPr lang="en-US" sz="900" i="1" dirty="0">
                  <a:solidFill>
                    <a:srgbClr val="000000"/>
                  </a:solidFill>
                </a:rPr>
                <a:t>Break Fixes</a:t>
              </a:r>
            </a:p>
          </p:txBody>
        </p:sp>
        <p:sp>
          <p:nvSpPr>
            <p:cNvPr id="177" name="Rectangle 176">
              <a:extLst>
                <a:ext uri="{FF2B5EF4-FFF2-40B4-BE49-F238E27FC236}">
                  <a16:creationId xmlns:a16="http://schemas.microsoft.com/office/drawing/2014/main" id="{CA72479F-1F98-92C8-B737-3F6F4CA277BA}"/>
                </a:ext>
              </a:extLst>
            </p:cNvPr>
            <p:cNvSpPr/>
            <p:nvPr/>
          </p:nvSpPr>
          <p:spPr>
            <a:xfrm>
              <a:off x="3020288" y="4982033"/>
              <a:ext cx="2593931" cy="246221"/>
            </a:xfrm>
            <a:prstGeom prst="rect">
              <a:avLst/>
            </a:prstGeom>
          </p:spPr>
          <p:txBody>
            <a:bodyPr wrap="square">
              <a:spAutoFit/>
            </a:bodyPr>
            <a:lstStyle/>
            <a:p>
              <a:r>
                <a:rPr lang="en-US" sz="900" i="1" dirty="0">
                  <a:solidFill>
                    <a:srgbClr val="000000"/>
                  </a:solidFill>
                </a:rPr>
                <a:t>Small Updates &amp; Ad Hoc Requests</a:t>
              </a:r>
            </a:p>
          </p:txBody>
        </p:sp>
        <p:cxnSp>
          <p:nvCxnSpPr>
            <p:cNvPr id="178" name="Straight Arrow Connector 177">
              <a:extLst>
                <a:ext uri="{FF2B5EF4-FFF2-40B4-BE49-F238E27FC236}">
                  <a16:creationId xmlns:a16="http://schemas.microsoft.com/office/drawing/2014/main" id="{4A604AE8-AF45-E23C-D52B-AB6A2EF0B531}"/>
                </a:ext>
              </a:extLst>
            </p:cNvPr>
            <p:cNvCxnSpPr/>
            <p:nvPr/>
          </p:nvCxnSpPr>
          <p:spPr>
            <a:xfrm>
              <a:off x="5254789" y="5725931"/>
              <a:ext cx="0" cy="246311"/>
            </a:xfrm>
            <a:prstGeom prst="straightConnector1">
              <a:avLst/>
            </a:prstGeom>
            <a:ln w="12700" cmpd="sng">
              <a:solidFill>
                <a:schemeClr val="tx1"/>
              </a:solidFill>
              <a:prstDash val="dot"/>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79" name="Straight Arrow Connector 178">
              <a:extLst>
                <a:ext uri="{FF2B5EF4-FFF2-40B4-BE49-F238E27FC236}">
                  <a16:creationId xmlns:a16="http://schemas.microsoft.com/office/drawing/2014/main" id="{CE0CC65A-D9B1-4EDE-B3EF-D812CAB7D7CD}"/>
                </a:ext>
              </a:extLst>
            </p:cNvPr>
            <p:cNvCxnSpPr/>
            <p:nvPr/>
          </p:nvCxnSpPr>
          <p:spPr>
            <a:xfrm>
              <a:off x="5614219" y="5725931"/>
              <a:ext cx="0" cy="246311"/>
            </a:xfrm>
            <a:prstGeom prst="straightConnector1">
              <a:avLst/>
            </a:prstGeom>
            <a:ln w="12700" cmpd="sng">
              <a:solidFill>
                <a:schemeClr val="tx1"/>
              </a:solidFill>
              <a:prstDash val="dot"/>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0" name="Straight Arrow Connector 179">
              <a:extLst>
                <a:ext uri="{FF2B5EF4-FFF2-40B4-BE49-F238E27FC236}">
                  <a16:creationId xmlns:a16="http://schemas.microsoft.com/office/drawing/2014/main" id="{9CF533F2-FE53-DC82-B876-CB1EC38330DB}"/>
                </a:ext>
              </a:extLst>
            </p:cNvPr>
            <p:cNvCxnSpPr/>
            <p:nvPr/>
          </p:nvCxnSpPr>
          <p:spPr>
            <a:xfrm>
              <a:off x="9814561" y="5725931"/>
              <a:ext cx="0" cy="246311"/>
            </a:xfrm>
            <a:prstGeom prst="straightConnector1">
              <a:avLst/>
            </a:prstGeom>
            <a:ln w="12700" cmpd="sng">
              <a:solidFill>
                <a:schemeClr val="tx1"/>
              </a:solidFill>
              <a:prstDash val="dot"/>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1" name="Straight Arrow Connector 180">
              <a:extLst>
                <a:ext uri="{FF2B5EF4-FFF2-40B4-BE49-F238E27FC236}">
                  <a16:creationId xmlns:a16="http://schemas.microsoft.com/office/drawing/2014/main" id="{BF8EE65A-4A01-29F5-B4B9-623AC0C7A548}"/>
                </a:ext>
              </a:extLst>
            </p:cNvPr>
            <p:cNvCxnSpPr/>
            <p:nvPr/>
          </p:nvCxnSpPr>
          <p:spPr>
            <a:xfrm>
              <a:off x="10092460" y="5725931"/>
              <a:ext cx="0" cy="246311"/>
            </a:xfrm>
            <a:prstGeom prst="straightConnector1">
              <a:avLst/>
            </a:prstGeom>
            <a:ln w="12700" cmpd="sng">
              <a:solidFill>
                <a:schemeClr val="tx1"/>
              </a:solidFill>
              <a:prstDash val="dot"/>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182" name="Rounded Rectangle 158">
              <a:extLst>
                <a:ext uri="{FF2B5EF4-FFF2-40B4-BE49-F238E27FC236}">
                  <a16:creationId xmlns:a16="http://schemas.microsoft.com/office/drawing/2014/main" id="{CFD23B63-62DC-B300-C57E-64610C7A6010}"/>
                </a:ext>
              </a:extLst>
            </p:cNvPr>
            <p:cNvSpPr/>
            <p:nvPr/>
          </p:nvSpPr>
          <p:spPr>
            <a:xfrm>
              <a:off x="6307511" y="6013932"/>
              <a:ext cx="2238388" cy="205310"/>
            </a:xfrm>
            <a:prstGeom prst="roundRect">
              <a:avLst>
                <a:gd name="adj" fmla="val 0"/>
              </a:avLst>
            </a:prstGeom>
            <a:noFill/>
            <a:ln w="9525">
              <a:noFill/>
            </a:ln>
            <a:effectLst/>
          </p:spPr>
          <p:txBody>
            <a:bodyPr spcFirstLastPara="0" vert="horz" wrap="square" lIns="45720" tIns="45720" rIns="45720" bIns="45720" numCol="1" spcCol="1270" anchor="ctr" anchorCtr="0">
              <a:noAutofit/>
            </a:bodyPr>
            <a:lstStyle/>
            <a:p>
              <a:pPr defTabSz="666750">
                <a:spcBef>
                  <a:spcPct val="0"/>
                </a:spcBef>
                <a:spcAft>
                  <a:spcPct val="35000"/>
                </a:spcAft>
                <a:defRPr/>
              </a:pPr>
              <a:r>
                <a:rPr lang="en-US" sz="600" kern="0" dirty="0">
                  <a:solidFill>
                    <a:srgbClr val="000000"/>
                  </a:solidFill>
                </a:rPr>
                <a:t>Source Code Control</a:t>
              </a:r>
            </a:p>
          </p:txBody>
        </p:sp>
        <p:sp>
          <p:nvSpPr>
            <p:cNvPr id="183" name="Rounded Rectangle 159">
              <a:extLst>
                <a:ext uri="{FF2B5EF4-FFF2-40B4-BE49-F238E27FC236}">
                  <a16:creationId xmlns:a16="http://schemas.microsoft.com/office/drawing/2014/main" id="{9007FBEA-2DA1-9DF4-CEE9-D68C0ADE5963}"/>
                </a:ext>
              </a:extLst>
            </p:cNvPr>
            <p:cNvSpPr/>
            <p:nvPr/>
          </p:nvSpPr>
          <p:spPr>
            <a:xfrm>
              <a:off x="6307511" y="6194490"/>
              <a:ext cx="2238388" cy="205310"/>
            </a:xfrm>
            <a:prstGeom prst="roundRect">
              <a:avLst>
                <a:gd name="adj" fmla="val 0"/>
              </a:avLst>
            </a:prstGeom>
            <a:noFill/>
            <a:ln w="9525">
              <a:noFill/>
            </a:ln>
            <a:effectLst/>
          </p:spPr>
          <p:txBody>
            <a:bodyPr spcFirstLastPara="0" vert="horz" wrap="square" lIns="45720" tIns="45720" rIns="45720" bIns="45720" numCol="1" spcCol="1270" anchor="ctr" anchorCtr="0">
              <a:noAutofit/>
            </a:bodyPr>
            <a:lstStyle/>
            <a:p>
              <a:pPr defTabSz="666750">
                <a:spcBef>
                  <a:spcPct val="0"/>
                </a:spcBef>
                <a:spcAft>
                  <a:spcPct val="35000"/>
                </a:spcAft>
                <a:defRPr/>
              </a:pPr>
              <a:r>
                <a:rPr lang="en-US" sz="600" kern="0" dirty="0">
                  <a:solidFill>
                    <a:srgbClr val="000000"/>
                  </a:solidFill>
                </a:rPr>
                <a:t>Application Configuration Management</a:t>
              </a:r>
            </a:p>
          </p:txBody>
        </p:sp>
        <p:sp>
          <p:nvSpPr>
            <p:cNvPr id="184" name="Rounded Rectangle 160">
              <a:extLst>
                <a:ext uri="{FF2B5EF4-FFF2-40B4-BE49-F238E27FC236}">
                  <a16:creationId xmlns:a16="http://schemas.microsoft.com/office/drawing/2014/main" id="{1C5A0902-8DD7-BB25-7EB9-059F17EEDE20}"/>
                </a:ext>
              </a:extLst>
            </p:cNvPr>
            <p:cNvSpPr/>
            <p:nvPr/>
          </p:nvSpPr>
          <p:spPr>
            <a:xfrm>
              <a:off x="8249370" y="6013932"/>
              <a:ext cx="2238388" cy="205310"/>
            </a:xfrm>
            <a:prstGeom prst="roundRect">
              <a:avLst>
                <a:gd name="adj" fmla="val 0"/>
              </a:avLst>
            </a:prstGeom>
            <a:noFill/>
            <a:ln w="9525">
              <a:noFill/>
            </a:ln>
            <a:effectLst/>
          </p:spPr>
          <p:txBody>
            <a:bodyPr spcFirstLastPara="0" vert="horz" wrap="square" lIns="45720" tIns="45720" rIns="45720" bIns="45720" numCol="1" spcCol="1270" anchor="ctr" anchorCtr="0">
              <a:noAutofit/>
            </a:bodyPr>
            <a:lstStyle/>
            <a:p>
              <a:pPr defTabSz="666750">
                <a:spcBef>
                  <a:spcPct val="0"/>
                </a:spcBef>
                <a:spcAft>
                  <a:spcPct val="35000"/>
                </a:spcAft>
                <a:defRPr/>
              </a:pPr>
              <a:r>
                <a:rPr lang="en-US" sz="600" kern="0" dirty="0">
                  <a:solidFill>
                    <a:srgbClr val="000000"/>
                  </a:solidFill>
                </a:rPr>
                <a:t>Build Dependency Management</a:t>
              </a:r>
            </a:p>
          </p:txBody>
        </p:sp>
        <p:sp>
          <p:nvSpPr>
            <p:cNvPr id="185" name="Rounded Rectangle 170">
              <a:extLst>
                <a:ext uri="{FF2B5EF4-FFF2-40B4-BE49-F238E27FC236}">
                  <a16:creationId xmlns:a16="http://schemas.microsoft.com/office/drawing/2014/main" id="{1B5563B8-494E-10C9-FDF4-A4684B09A94F}"/>
                </a:ext>
              </a:extLst>
            </p:cNvPr>
            <p:cNvSpPr/>
            <p:nvPr/>
          </p:nvSpPr>
          <p:spPr>
            <a:xfrm>
              <a:off x="9704366" y="6013932"/>
              <a:ext cx="2238388" cy="205310"/>
            </a:xfrm>
            <a:prstGeom prst="roundRect">
              <a:avLst>
                <a:gd name="adj" fmla="val 0"/>
              </a:avLst>
            </a:prstGeom>
            <a:noFill/>
            <a:ln w="9525">
              <a:noFill/>
            </a:ln>
            <a:effectLst/>
          </p:spPr>
          <p:txBody>
            <a:bodyPr spcFirstLastPara="0" vert="horz" wrap="square" lIns="45720" tIns="45720" rIns="45720" bIns="45720" numCol="1" spcCol="1270" anchor="ctr" anchorCtr="0">
              <a:noAutofit/>
            </a:bodyPr>
            <a:lstStyle/>
            <a:p>
              <a:pPr defTabSz="666750">
                <a:spcBef>
                  <a:spcPct val="0"/>
                </a:spcBef>
                <a:spcAft>
                  <a:spcPct val="35000"/>
                </a:spcAft>
                <a:defRPr/>
              </a:pPr>
              <a:r>
                <a:rPr lang="en-US" sz="600" kern="0" dirty="0">
                  <a:solidFill>
                    <a:srgbClr val="000000"/>
                  </a:solidFill>
                </a:rPr>
                <a:t>Automated Deployment</a:t>
              </a:r>
            </a:p>
          </p:txBody>
        </p:sp>
        <p:sp>
          <p:nvSpPr>
            <p:cNvPr id="186" name="Rounded Rectangle 171">
              <a:extLst>
                <a:ext uri="{FF2B5EF4-FFF2-40B4-BE49-F238E27FC236}">
                  <a16:creationId xmlns:a16="http://schemas.microsoft.com/office/drawing/2014/main" id="{6784AC58-AA60-4969-56BD-F72D5FB933E9}"/>
                </a:ext>
              </a:extLst>
            </p:cNvPr>
            <p:cNvSpPr/>
            <p:nvPr/>
          </p:nvSpPr>
          <p:spPr>
            <a:xfrm>
              <a:off x="9704366" y="6194490"/>
              <a:ext cx="2238388" cy="205310"/>
            </a:xfrm>
            <a:prstGeom prst="roundRect">
              <a:avLst>
                <a:gd name="adj" fmla="val 0"/>
              </a:avLst>
            </a:prstGeom>
            <a:noFill/>
            <a:ln w="9525">
              <a:noFill/>
            </a:ln>
            <a:effectLst/>
          </p:spPr>
          <p:txBody>
            <a:bodyPr spcFirstLastPara="0" vert="horz" wrap="square" lIns="45720" tIns="45720" rIns="45720" bIns="45720" numCol="1" spcCol="1270" anchor="ctr" anchorCtr="0">
              <a:noAutofit/>
            </a:bodyPr>
            <a:lstStyle/>
            <a:p>
              <a:pPr defTabSz="666750">
                <a:spcBef>
                  <a:spcPct val="0"/>
                </a:spcBef>
                <a:spcAft>
                  <a:spcPct val="35000"/>
                </a:spcAft>
                <a:defRPr/>
              </a:pPr>
              <a:r>
                <a:rPr lang="en-US" sz="600" kern="0" dirty="0">
                  <a:solidFill>
                    <a:srgbClr val="000000"/>
                  </a:solidFill>
                </a:rPr>
                <a:t>Runtime Dependency Management</a:t>
              </a:r>
            </a:p>
          </p:txBody>
        </p:sp>
        <p:sp>
          <p:nvSpPr>
            <p:cNvPr id="187" name="Rounded Rectangle 172">
              <a:extLst>
                <a:ext uri="{FF2B5EF4-FFF2-40B4-BE49-F238E27FC236}">
                  <a16:creationId xmlns:a16="http://schemas.microsoft.com/office/drawing/2014/main" id="{FF6EE4B9-F897-634A-B33E-0F0F67C44493}"/>
                </a:ext>
              </a:extLst>
            </p:cNvPr>
            <p:cNvSpPr/>
            <p:nvPr/>
          </p:nvSpPr>
          <p:spPr>
            <a:xfrm>
              <a:off x="8249370" y="6194490"/>
              <a:ext cx="2238388" cy="205310"/>
            </a:xfrm>
            <a:prstGeom prst="roundRect">
              <a:avLst>
                <a:gd name="adj" fmla="val 0"/>
              </a:avLst>
            </a:prstGeom>
            <a:noFill/>
            <a:ln w="9525">
              <a:noFill/>
            </a:ln>
            <a:effectLst/>
          </p:spPr>
          <p:txBody>
            <a:bodyPr spcFirstLastPara="0" vert="horz" wrap="square" lIns="45720" tIns="45720" rIns="45720" bIns="45720" numCol="1" spcCol="1270" anchor="ctr" anchorCtr="0">
              <a:noAutofit/>
            </a:bodyPr>
            <a:lstStyle/>
            <a:p>
              <a:pPr defTabSz="666750">
                <a:spcBef>
                  <a:spcPct val="0"/>
                </a:spcBef>
                <a:spcAft>
                  <a:spcPct val="35000"/>
                </a:spcAft>
                <a:defRPr/>
              </a:pPr>
              <a:r>
                <a:rPr lang="en-US" sz="600" kern="0" dirty="0">
                  <a:solidFill>
                    <a:srgbClr val="000000"/>
                  </a:solidFill>
                </a:rPr>
                <a:t>Release Orchestration</a:t>
              </a:r>
            </a:p>
          </p:txBody>
        </p:sp>
        <p:sp>
          <p:nvSpPr>
            <p:cNvPr id="188" name="Oval 187">
              <a:extLst>
                <a:ext uri="{FF2B5EF4-FFF2-40B4-BE49-F238E27FC236}">
                  <a16:creationId xmlns:a16="http://schemas.microsoft.com/office/drawing/2014/main" id="{13451426-812A-C0B4-E425-92C041720456}"/>
                </a:ext>
              </a:extLst>
            </p:cNvPr>
            <p:cNvSpPr/>
            <p:nvPr/>
          </p:nvSpPr>
          <p:spPr>
            <a:xfrm>
              <a:off x="8321419" y="5371856"/>
              <a:ext cx="457200" cy="457200"/>
            </a:xfrm>
            <a:prstGeom prst="ellipse">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i="1" dirty="0">
                  <a:solidFill>
                    <a:sysClr val="windowText" lastClr="000000"/>
                  </a:solidFill>
                </a:rPr>
                <a:t>Scheduled Release</a:t>
              </a:r>
            </a:p>
          </p:txBody>
        </p:sp>
      </p:grpSp>
    </p:spTree>
    <p:extLst>
      <p:ext uri="{BB962C8B-B14F-4D97-AF65-F5344CB8AC3E}">
        <p14:creationId xmlns:p14="http://schemas.microsoft.com/office/powerpoint/2010/main" val="3241563983"/>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757255"/>
          </a:xfrm>
        </p:spPr>
        <p:txBody>
          <a:bodyPr/>
          <a:lstStyle/>
          <a:p>
            <a:r>
              <a:rPr lang="en-US" sz="1400" dirty="0">
                <a:solidFill>
                  <a:prstClr val="black"/>
                </a:solidFill>
              </a:rPr>
              <a:t>CI / CD pipelines are primary enablers of our DevOps approach which we plan to bring to UNICEF as part of our Support and </a:t>
            </a:r>
            <a:r>
              <a:rPr lang="en-US" sz="1400">
                <a:solidFill>
                  <a:prstClr val="black"/>
                </a:solidFill>
              </a:rPr>
              <a:t>Maintenance service offering</a:t>
            </a:r>
            <a:r>
              <a:rPr lang="en-US" sz="1400" dirty="0">
                <a:solidFill>
                  <a:prstClr val="black"/>
                </a:solidFill>
              </a:rPr>
              <a:t>.</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evOps CICD</a:t>
            </a:r>
          </a:p>
        </p:txBody>
      </p:sp>
      <p:sp>
        <p:nvSpPr>
          <p:cNvPr id="320" name="Content Placeholder 6">
            <a:extLst>
              <a:ext uri="{FF2B5EF4-FFF2-40B4-BE49-F238E27FC236}">
                <a16:creationId xmlns:a16="http://schemas.microsoft.com/office/drawing/2014/main" id="{52687345-4717-BB3D-435A-53ED8C5F788F}"/>
              </a:ext>
            </a:extLst>
          </p:cNvPr>
          <p:cNvSpPr txBox="1">
            <a:spLocks/>
          </p:cNvSpPr>
          <p:nvPr/>
        </p:nvSpPr>
        <p:spPr bwMode="gray">
          <a:xfrm>
            <a:off x="463426" y="3174038"/>
            <a:ext cx="2722472" cy="1283079"/>
          </a:xfrm>
          <a:prstGeom prst="rect">
            <a:avLst/>
          </a:prstGeom>
          <a:solidFill>
            <a:srgbClr val="FFFFFF">
              <a:lumMod val="95000"/>
            </a:srgbClr>
          </a:solidFill>
          <a:ln>
            <a:noFill/>
          </a:ln>
        </p:spPr>
        <p:txBody>
          <a:bodyPr vert="horz" wrap="square" lIns="91440" tIns="0" rIns="91440" bIns="0" numCol="1" anchor="ctr"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1588" marR="0" lvl="1" indent="0" algn="l" defTabSz="914400" rtl="0" eaLnBrk="1" fontAlgn="base" latinLnBrk="0" hangingPunct="1">
              <a:lnSpc>
                <a:spcPct val="100000"/>
              </a:lnSpc>
              <a:spcBef>
                <a:spcPts val="600"/>
              </a:spcBef>
              <a:spcAft>
                <a:spcPct val="0"/>
              </a:spcAft>
              <a:buClr>
                <a:srgbClr val="000000"/>
              </a:buClr>
              <a:buSzTx/>
              <a:buFont typeface="Wingdings 2" pitchFamily="18" charset="2"/>
              <a:buNone/>
              <a:tabLst/>
              <a:defRPr/>
            </a:pPr>
            <a:r>
              <a:rPr kumimoji="0" lang="en-US" sz="1100" b="1" i="0" u="none" strike="noStrike" kern="0" cap="none" spc="0" normalizeH="0" baseline="0" noProof="0" dirty="0">
                <a:ln>
                  <a:noFill/>
                </a:ln>
                <a:solidFill>
                  <a:srgbClr val="000000"/>
                </a:solidFill>
                <a:effectLst/>
                <a:uLnTx/>
                <a:uFillTx/>
                <a:latin typeface="Open Sans"/>
              </a:rPr>
              <a:t>CONTINOUS DELIVERY (CD)</a:t>
            </a:r>
          </a:p>
          <a:p>
            <a:pPr marL="406400" marR="0" lvl="1" indent="0" algn="l" defTabSz="914400" rtl="0" eaLnBrk="1" fontAlgn="base" latinLnBrk="0" hangingPunct="1">
              <a:lnSpc>
                <a:spcPct val="100000"/>
              </a:lnSpc>
              <a:spcBef>
                <a:spcPts val="600"/>
              </a:spcBef>
              <a:spcAft>
                <a:spcPct val="0"/>
              </a:spcAft>
              <a:buClr>
                <a:srgbClr val="000000"/>
              </a:buClr>
              <a:buSzTx/>
              <a:buFont typeface="Wingdings 2" pitchFamily="18" charset="2"/>
              <a:buNone/>
              <a:tabLst/>
              <a:defRPr/>
            </a:pPr>
            <a:r>
              <a:rPr kumimoji="0" lang="en-US" sz="800" b="0" i="0" u="none" strike="noStrike" kern="0" cap="none" spc="0" normalizeH="0" baseline="0" noProof="0" dirty="0">
                <a:ln>
                  <a:noFill/>
                </a:ln>
                <a:solidFill>
                  <a:srgbClr val="000000"/>
                </a:solidFill>
                <a:effectLst/>
                <a:uLnTx/>
                <a:uFillTx/>
                <a:latin typeface="Open Sans"/>
              </a:rPr>
              <a:t>Continuous Delivery extends the practice of continuous integration to ensure the application is kept in an always releasable state and can be quickly deployed to Production based on business needs.</a:t>
            </a:r>
          </a:p>
        </p:txBody>
      </p:sp>
      <p:sp>
        <p:nvSpPr>
          <p:cNvPr id="321" name="Content Placeholder 6">
            <a:extLst>
              <a:ext uri="{FF2B5EF4-FFF2-40B4-BE49-F238E27FC236}">
                <a16:creationId xmlns:a16="http://schemas.microsoft.com/office/drawing/2014/main" id="{9A04DD22-370F-94CA-1583-91383005FF23}"/>
              </a:ext>
            </a:extLst>
          </p:cNvPr>
          <p:cNvSpPr txBox="1">
            <a:spLocks/>
          </p:cNvSpPr>
          <p:nvPr/>
        </p:nvSpPr>
        <p:spPr bwMode="gray">
          <a:xfrm>
            <a:off x="463424" y="1599819"/>
            <a:ext cx="2722472" cy="1371364"/>
          </a:xfrm>
          <a:prstGeom prst="rect">
            <a:avLst/>
          </a:prstGeom>
          <a:solidFill>
            <a:srgbClr val="FFFFFF">
              <a:lumMod val="95000"/>
            </a:srgbClr>
          </a:solidFill>
          <a:ln>
            <a:noFill/>
          </a:ln>
        </p:spPr>
        <p:txBody>
          <a:bodyPr vert="horz" wrap="square" lIns="91440" tIns="0" rIns="91440" bIns="0" numCol="1" anchor="ctr"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1588" marR="0" lvl="1" indent="0" algn="l" defTabSz="914400" rtl="0" eaLnBrk="1" fontAlgn="base" latinLnBrk="0" hangingPunct="1">
              <a:lnSpc>
                <a:spcPct val="100000"/>
              </a:lnSpc>
              <a:spcBef>
                <a:spcPts val="600"/>
              </a:spcBef>
              <a:spcAft>
                <a:spcPct val="0"/>
              </a:spcAft>
              <a:buClr>
                <a:srgbClr val="000000"/>
              </a:buClr>
              <a:buSzTx/>
              <a:buFont typeface="Wingdings 2" pitchFamily="18" charset="2"/>
              <a:buNone/>
              <a:tabLst/>
              <a:defRPr/>
            </a:pPr>
            <a:r>
              <a:rPr kumimoji="0" lang="en-US" sz="1100" b="1" i="0" u="none" strike="noStrike" kern="0" cap="none" spc="0" normalizeH="0" baseline="0" noProof="0" dirty="0">
                <a:ln>
                  <a:noFill/>
                </a:ln>
                <a:solidFill>
                  <a:srgbClr val="000000"/>
                </a:solidFill>
                <a:effectLst/>
                <a:uLnTx/>
                <a:uFillTx/>
                <a:latin typeface="Open Sans"/>
              </a:rPr>
              <a:t>CONTINOUS INTEGRATION (CI)</a:t>
            </a:r>
          </a:p>
          <a:p>
            <a:pPr marL="406400" marR="0" lvl="1" indent="0" algn="l" defTabSz="914400" rtl="0" eaLnBrk="1" fontAlgn="base" latinLnBrk="0" hangingPunct="1">
              <a:lnSpc>
                <a:spcPct val="100000"/>
              </a:lnSpc>
              <a:spcBef>
                <a:spcPts val="600"/>
              </a:spcBef>
              <a:spcAft>
                <a:spcPct val="0"/>
              </a:spcAft>
              <a:buClr>
                <a:srgbClr val="000000"/>
              </a:buClr>
              <a:buSzTx/>
              <a:buFont typeface="Wingdings 2" pitchFamily="18" charset="2"/>
              <a:buNone/>
              <a:tabLst/>
              <a:defRPr/>
            </a:pPr>
            <a:r>
              <a:rPr kumimoji="0" lang="en-US" sz="800" b="0" i="0" u="none" strike="noStrike" kern="0" cap="none" spc="0" normalizeH="0" baseline="0" noProof="0" dirty="0">
                <a:ln>
                  <a:noFill/>
                </a:ln>
                <a:solidFill>
                  <a:srgbClr val="000000"/>
                </a:solidFill>
                <a:effectLst/>
                <a:uLnTx/>
                <a:uFillTx/>
                <a:latin typeface="Open Sans"/>
              </a:rPr>
              <a:t>Continuous Integration is a development practice where team members frequently integrate their (source) code base on a main branch on a frequent (e.g., daily) basis and validate using an automated build and tests. </a:t>
            </a:r>
          </a:p>
        </p:txBody>
      </p:sp>
      <p:sp>
        <p:nvSpPr>
          <p:cNvPr id="322" name="Content Placeholder 6">
            <a:extLst>
              <a:ext uri="{FF2B5EF4-FFF2-40B4-BE49-F238E27FC236}">
                <a16:creationId xmlns:a16="http://schemas.microsoft.com/office/drawing/2014/main" id="{983F355E-10EF-E3FD-5AA4-8AFD75387430}"/>
              </a:ext>
            </a:extLst>
          </p:cNvPr>
          <p:cNvSpPr txBox="1">
            <a:spLocks/>
          </p:cNvSpPr>
          <p:nvPr/>
        </p:nvSpPr>
        <p:spPr bwMode="gray">
          <a:xfrm>
            <a:off x="463423" y="4743356"/>
            <a:ext cx="2722472" cy="1556553"/>
          </a:xfrm>
          <a:prstGeom prst="rect">
            <a:avLst/>
          </a:prstGeom>
          <a:solidFill>
            <a:srgbClr val="FFFFFF">
              <a:lumMod val="95000"/>
            </a:srgbClr>
          </a:solidFill>
          <a:ln>
            <a:noFill/>
          </a:ln>
        </p:spPr>
        <p:txBody>
          <a:bodyPr vert="horz" wrap="square" lIns="91440" tIns="0" rIns="91440" bIns="0" numCol="1" anchor="ctr"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1588" marR="0" lvl="1" indent="0" algn="l" defTabSz="914400" rtl="0" eaLnBrk="1" fontAlgn="base" latinLnBrk="0" hangingPunct="1">
              <a:lnSpc>
                <a:spcPct val="100000"/>
              </a:lnSpc>
              <a:spcBef>
                <a:spcPts val="600"/>
              </a:spcBef>
              <a:spcAft>
                <a:spcPct val="0"/>
              </a:spcAft>
              <a:buClr>
                <a:srgbClr val="000000"/>
              </a:buClr>
              <a:buSzTx/>
              <a:buFont typeface="Wingdings 2" pitchFamily="18" charset="2"/>
              <a:buNone/>
              <a:tabLst/>
              <a:defRPr/>
            </a:pPr>
            <a:r>
              <a:rPr kumimoji="0" lang="en-US" sz="1100" b="1" i="0" u="none" strike="noStrike" kern="0" cap="none" spc="0" normalizeH="0" baseline="0" noProof="0" dirty="0">
                <a:ln>
                  <a:noFill/>
                </a:ln>
                <a:solidFill>
                  <a:srgbClr val="000000"/>
                </a:solidFill>
                <a:effectLst/>
                <a:uLnTx/>
                <a:uFillTx/>
                <a:latin typeface="Open Sans"/>
              </a:rPr>
              <a:t>AUTOMATED TESTING</a:t>
            </a:r>
          </a:p>
          <a:p>
            <a:pPr marL="406400" marR="0" lvl="1" indent="0" algn="l" defTabSz="914400" rtl="0" eaLnBrk="1" fontAlgn="base" latinLnBrk="0" hangingPunct="1">
              <a:lnSpc>
                <a:spcPct val="100000"/>
              </a:lnSpc>
              <a:spcBef>
                <a:spcPts val="600"/>
              </a:spcBef>
              <a:spcAft>
                <a:spcPct val="0"/>
              </a:spcAft>
              <a:buClr>
                <a:srgbClr val="000000"/>
              </a:buClr>
              <a:buSzTx/>
              <a:buFont typeface="Wingdings 2" pitchFamily="18" charset="2"/>
              <a:buNone/>
              <a:tabLst/>
              <a:defRPr/>
            </a:pPr>
            <a:r>
              <a:rPr kumimoji="0" lang="en-US" sz="800" b="0" i="0" u="none" strike="noStrike" kern="0" cap="none" spc="0" normalizeH="0" baseline="0" noProof="0" dirty="0">
                <a:ln>
                  <a:noFill/>
                </a:ln>
                <a:solidFill>
                  <a:srgbClr val="000000"/>
                </a:solidFill>
                <a:effectLst/>
                <a:uLnTx/>
                <a:uFillTx/>
                <a:latin typeface="Open Sans"/>
              </a:rPr>
              <a:t>Test automation alleviates much of the manual testing tedium and enables continual deliver of a steady stream of changes that have been thoroughly tested. It involves the following =:</a:t>
            </a:r>
          </a:p>
          <a:p>
            <a:pPr marL="406400" marR="0" lvl="1" indent="-161925" algn="l" defTabSz="914400" rtl="0" eaLnBrk="1" fontAlgn="base" latinLnBrk="0" hangingPunct="1">
              <a:lnSpc>
                <a:spcPct val="100000"/>
              </a:lnSpc>
              <a:spcBef>
                <a:spcPts val="600"/>
              </a:spcBef>
              <a:spcAft>
                <a:spcPct val="0"/>
              </a:spcAft>
              <a:buClr>
                <a:srgbClr val="000000"/>
              </a:buClr>
              <a:buSzTx/>
              <a:buFont typeface="Arial" panose="020B0604020202020204" pitchFamily="34" charset="0"/>
              <a:buChar char="•"/>
              <a:tabLst/>
              <a:defRPr/>
            </a:pPr>
            <a:r>
              <a:rPr kumimoji="0" lang="en-US" sz="800" b="0" i="0" u="none" strike="noStrike" kern="0" cap="none" spc="0" normalizeH="0" baseline="0" noProof="0" dirty="0">
                <a:ln>
                  <a:noFill/>
                </a:ln>
                <a:solidFill>
                  <a:srgbClr val="000000"/>
                </a:solidFill>
                <a:effectLst/>
                <a:uLnTx/>
                <a:uFillTx/>
                <a:latin typeface="Open Sans"/>
              </a:rPr>
              <a:t>Sanity checks </a:t>
            </a:r>
          </a:p>
          <a:p>
            <a:pPr marL="406400" marR="0" lvl="1" indent="-161925" algn="l" defTabSz="914400" rtl="0" eaLnBrk="1" fontAlgn="base" latinLnBrk="0" hangingPunct="1">
              <a:lnSpc>
                <a:spcPct val="100000"/>
              </a:lnSpc>
              <a:spcBef>
                <a:spcPts val="600"/>
              </a:spcBef>
              <a:spcAft>
                <a:spcPct val="0"/>
              </a:spcAft>
              <a:buClr>
                <a:srgbClr val="000000"/>
              </a:buClr>
              <a:buSzTx/>
              <a:buFont typeface="Arial" panose="020B0604020202020204" pitchFamily="34" charset="0"/>
              <a:buChar char="•"/>
              <a:tabLst/>
              <a:defRPr/>
            </a:pPr>
            <a:r>
              <a:rPr kumimoji="0" lang="en-US" sz="800" b="0" i="0" u="none" strike="noStrike" kern="0" cap="none" spc="0" normalizeH="0" baseline="0" noProof="0" dirty="0">
                <a:ln>
                  <a:noFill/>
                </a:ln>
                <a:solidFill>
                  <a:srgbClr val="000000"/>
                </a:solidFill>
                <a:effectLst/>
                <a:uLnTx/>
                <a:uFillTx/>
                <a:latin typeface="Open Sans"/>
              </a:rPr>
              <a:t>Targeted regression testing</a:t>
            </a:r>
          </a:p>
          <a:p>
            <a:pPr marL="406400" marR="0" lvl="1" indent="-161925" algn="l" defTabSz="914400" rtl="0" eaLnBrk="1" fontAlgn="base" latinLnBrk="0" hangingPunct="1">
              <a:lnSpc>
                <a:spcPct val="100000"/>
              </a:lnSpc>
              <a:spcBef>
                <a:spcPts val="600"/>
              </a:spcBef>
              <a:spcAft>
                <a:spcPct val="0"/>
              </a:spcAft>
              <a:buClr>
                <a:srgbClr val="000000"/>
              </a:buClr>
              <a:buSzTx/>
              <a:buFont typeface="Arial" panose="020B0604020202020204" pitchFamily="34" charset="0"/>
              <a:buChar char="•"/>
              <a:tabLst/>
              <a:defRPr/>
            </a:pPr>
            <a:r>
              <a:rPr kumimoji="0" lang="en-US" sz="800" b="0" i="0" u="none" strike="noStrike" kern="0" cap="none" spc="0" normalizeH="0" baseline="0" noProof="0" dirty="0">
                <a:ln>
                  <a:noFill/>
                </a:ln>
                <a:solidFill>
                  <a:srgbClr val="000000"/>
                </a:solidFill>
                <a:effectLst/>
                <a:uLnTx/>
                <a:uFillTx/>
                <a:latin typeface="Open Sans"/>
              </a:rPr>
              <a:t>Full regression testing</a:t>
            </a:r>
          </a:p>
        </p:txBody>
      </p:sp>
      <p:sp>
        <p:nvSpPr>
          <p:cNvPr id="323" name="Rectangle 322">
            <a:extLst>
              <a:ext uri="{FF2B5EF4-FFF2-40B4-BE49-F238E27FC236}">
                <a16:creationId xmlns:a16="http://schemas.microsoft.com/office/drawing/2014/main" id="{F01986E2-6F02-B776-9AAE-A7D0CB72DDB2}"/>
              </a:ext>
            </a:extLst>
          </p:cNvPr>
          <p:cNvSpPr/>
          <p:nvPr/>
        </p:nvSpPr>
        <p:spPr bwMode="gray">
          <a:xfrm>
            <a:off x="9454680" y="253185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Deploy to dev (self)</a:t>
            </a:r>
          </a:p>
        </p:txBody>
      </p:sp>
      <p:sp>
        <p:nvSpPr>
          <p:cNvPr id="324" name="TextBox 323">
            <a:extLst>
              <a:ext uri="{FF2B5EF4-FFF2-40B4-BE49-F238E27FC236}">
                <a16:creationId xmlns:a16="http://schemas.microsoft.com/office/drawing/2014/main" id="{5ECA7E5B-9DBA-1618-1D42-27A21F70058A}"/>
              </a:ext>
            </a:extLst>
          </p:cNvPr>
          <p:cNvSpPr txBox="1"/>
          <p:nvPr/>
        </p:nvSpPr>
        <p:spPr>
          <a:xfrm>
            <a:off x="10425671" y="6076866"/>
            <a:ext cx="346954" cy="230832"/>
          </a:xfrm>
          <a:prstGeom prst="rect">
            <a:avLst/>
          </a:prstGeom>
          <a:noFill/>
        </p:spPr>
        <p:txBody>
          <a:bodyPr wrap="square" rtlCol="0">
            <a:spAutoFit/>
          </a:bodyPr>
          <a:lstStyle/>
          <a:p>
            <a:pPr defTabSz="1219170">
              <a:defRPr/>
            </a:pPr>
            <a:r>
              <a:rPr lang="en-US" sz="900" dirty="0">
                <a:solidFill>
                  <a:prstClr val="black"/>
                </a:solidFill>
                <a:latin typeface="Open Sans"/>
              </a:rPr>
              <a:t>CI</a:t>
            </a:r>
          </a:p>
        </p:txBody>
      </p:sp>
      <p:sp>
        <p:nvSpPr>
          <p:cNvPr id="325" name="Rectangle 324">
            <a:extLst>
              <a:ext uri="{FF2B5EF4-FFF2-40B4-BE49-F238E27FC236}">
                <a16:creationId xmlns:a16="http://schemas.microsoft.com/office/drawing/2014/main" id="{91ADC8FC-083F-01D2-1B2C-50A70E2B8A9D}"/>
              </a:ext>
            </a:extLst>
          </p:cNvPr>
          <p:cNvSpPr/>
          <p:nvPr/>
        </p:nvSpPr>
        <p:spPr>
          <a:xfrm>
            <a:off x="10288138" y="6098212"/>
            <a:ext cx="137533" cy="188141"/>
          </a:xfrm>
          <a:prstGeom prst="rect">
            <a:avLst/>
          </a:prstGeom>
          <a:solidFill>
            <a:srgbClr val="FDD300"/>
          </a:solidFill>
          <a:ln w="12700" cap="flat" cmpd="sng" algn="ctr">
            <a:no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black"/>
              </a:solidFill>
              <a:effectLst/>
              <a:uLnTx/>
              <a:uFillTx/>
              <a:latin typeface="Open Sans"/>
              <a:ea typeface="+mn-ea"/>
              <a:cs typeface="+mn-cs"/>
            </a:endParaRPr>
          </a:p>
        </p:txBody>
      </p:sp>
      <p:sp>
        <p:nvSpPr>
          <p:cNvPr id="326" name="Rectangle 325">
            <a:extLst>
              <a:ext uri="{FF2B5EF4-FFF2-40B4-BE49-F238E27FC236}">
                <a16:creationId xmlns:a16="http://schemas.microsoft.com/office/drawing/2014/main" id="{2CD270D5-11BE-1EF6-AF5D-66E172800B14}"/>
              </a:ext>
            </a:extLst>
          </p:cNvPr>
          <p:cNvSpPr/>
          <p:nvPr/>
        </p:nvSpPr>
        <p:spPr>
          <a:xfrm>
            <a:off x="11022063" y="6098212"/>
            <a:ext cx="137534" cy="188141"/>
          </a:xfrm>
          <a:prstGeom prst="rect">
            <a:avLst/>
          </a:prstGeom>
          <a:solidFill>
            <a:srgbClr val="3EFAC5"/>
          </a:solidFill>
          <a:ln>
            <a:noFill/>
          </a:ln>
        </p:spPr>
        <p:txBody>
          <a:bodyPr wrap="square" lIns="0" tIns="0" rIns="0" bIns="0" rtlCol="0" anchor="ctr">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60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27" name="TextBox 326">
            <a:extLst>
              <a:ext uri="{FF2B5EF4-FFF2-40B4-BE49-F238E27FC236}">
                <a16:creationId xmlns:a16="http://schemas.microsoft.com/office/drawing/2014/main" id="{9053161D-1D60-B3D6-8A7F-AA8A2F81B641}"/>
              </a:ext>
            </a:extLst>
          </p:cNvPr>
          <p:cNvSpPr txBox="1"/>
          <p:nvPr/>
        </p:nvSpPr>
        <p:spPr>
          <a:xfrm>
            <a:off x="11159597" y="6076866"/>
            <a:ext cx="416911" cy="230832"/>
          </a:xfrm>
          <a:prstGeom prst="rect">
            <a:avLst/>
          </a:prstGeom>
          <a:noFill/>
        </p:spPr>
        <p:txBody>
          <a:bodyPr wrap="square" rtlCol="0">
            <a:spAutoFit/>
          </a:bodyPr>
          <a:lstStyle/>
          <a:p>
            <a:pPr defTabSz="1219170">
              <a:defRPr/>
            </a:pPr>
            <a:r>
              <a:rPr lang="en-US" sz="900" dirty="0">
                <a:solidFill>
                  <a:prstClr val="black"/>
                </a:solidFill>
                <a:latin typeface="Open Sans"/>
              </a:rPr>
              <a:t>CD</a:t>
            </a:r>
          </a:p>
        </p:txBody>
      </p:sp>
      <p:sp>
        <p:nvSpPr>
          <p:cNvPr id="328" name="Rectangle 327">
            <a:extLst>
              <a:ext uri="{FF2B5EF4-FFF2-40B4-BE49-F238E27FC236}">
                <a16:creationId xmlns:a16="http://schemas.microsoft.com/office/drawing/2014/main" id="{E24D0199-CBDC-EE02-36A9-E872B856FB68}"/>
              </a:ext>
            </a:extLst>
          </p:cNvPr>
          <p:cNvSpPr/>
          <p:nvPr/>
        </p:nvSpPr>
        <p:spPr bwMode="gray">
          <a:xfrm>
            <a:off x="10641193" y="1908153"/>
            <a:ext cx="1069842" cy="274320"/>
          </a:xfrm>
          <a:prstGeom prst="rect">
            <a:avLst/>
          </a:prstGeom>
          <a:solidFill>
            <a:srgbClr val="34F0FF"/>
          </a:solidFill>
          <a:ln w="9525">
            <a:noFill/>
            <a:round/>
            <a:headEnd/>
            <a:tailEnd/>
          </a:ln>
        </p:spPr>
        <p:txBody>
          <a:bodyPr lIns="54864" tIns="54864" rIns="54864" bIns="5486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Open Sans"/>
              </a:rPr>
              <a:t>Release</a:t>
            </a:r>
          </a:p>
        </p:txBody>
      </p:sp>
      <p:sp>
        <p:nvSpPr>
          <p:cNvPr id="329" name="Content Placeholder 1">
            <a:extLst>
              <a:ext uri="{FF2B5EF4-FFF2-40B4-BE49-F238E27FC236}">
                <a16:creationId xmlns:a16="http://schemas.microsoft.com/office/drawing/2014/main" id="{697AAB71-D669-F8FA-060B-7EB4BF23A4A6}"/>
              </a:ext>
            </a:extLst>
          </p:cNvPr>
          <p:cNvSpPr txBox="1">
            <a:spLocks/>
          </p:cNvSpPr>
          <p:nvPr/>
        </p:nvSpPr>
        <p:spPr bwMode="gray">
          <a:xfrm>
            <a:off x="3663789" y="3635705"/>
            <a:ext cx="1076484" cy="80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Poll or event based triggering in SCM and build management system</a:t>
            </a:r>
            <a:endParaRPr lang="en-US" sz="700" kern="0" dirty="0">
              <a:solidFill>
                <a:srgbClr val="FF0000"/>
              </a:solidFill>
              <a:latin typeface="Open Sans"/>
            </a:endParaRPr>
          </a:p>
        </p:txBody>
      </p:sp>
      <p:sp>
        <p:nvSpPr>
          <p:cNvPr id="330" name="Content Placeholder 1">
            <a:extLst>
              <a:ext uri="{FF2B5EF4-FFF2-40B4-BE49-F238E27FC236}">
                <a16:creationId xmlns:a16="http://schemas.microsoft.com/office/drawing/2014/main" id="{8A074C6F-0564-4FC1-6B8E-915B2A6CDCB1}"/>
              </a:ext>
            </a:extLst>
          </p:cNvPr>
          <p:cNvSpPr txBox="1">
            <a:spLocks/>
          </p:cNvSpPr>
          <p:nvPr/>
        </p:nvSpPr>
        <p:spPr bwMode="gray">
          <a:xfrm>
            <a:off x="5985354" y="3635705"/>
            <a:ext cx="1078970" cy="80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Execute scripts to compile code (ant, maven, etc.) Based on build manifests</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Perform automated unit test scripts</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Perform automated scan for binary fidelity</a:t>
            </a:r>
          </a:p>
        </p:txBody>
      </p:sp>
      <p:sp>
        <p:nvSpPr>
          <p:cNvPr id="331" name="Content Placeholder 1">
            <a:extLst>
              <a:ext uri="{FF2B5EF4-FFF2-40B4-BE49-F238E27FC236}">
                <a16:creationId xmlns:a16="http://schemas.microsoft.com/office/drawing/2014/main" id="{7DC70030-B66B-B01E-EF25-19BADDA9589F}"/>
              </a:ext>
            </a:extLst>
          </p:cNvPr>
          <p:cNvSpPr txBox="1">
            <a:spLocks/>
          </p:cNvSpPr>
          <p:nvPr/>
        </p:nvSpPr>
        <p:spPr bwMode="gray">
          <a:xfrm>
            <a:off x="7156087" y="3635705"/>
            <a:ext cx="1078970" cy="80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Execute processes to combine files </a:t>
            </a:r>
            <a:br>
              <a:rPr lang="en-US" sz="700" kern="0" dirty="0">
                <a:solidFill>
                  <a:srgbClr val="000000"/>
                </a:solidFill>
                <a:latin typeface="Open Sans"/>
              </a:rPr>
            </a:br>
            <a:r>
              <a:rPr lang="en-US" sz="700" kern="0" dirty="0">
                <a:solidFill>
                  <a:srgbClr val="000000"/>
                </a:solidFill>
                <a:latin typeface="Open Sans"/>
              </a:rPr>
              <a:t>for deployment</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Include test artifacts</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Apply specific packaging for target environment (e.g., Mulesoft, SFDC)</a:t>
            </a:r>
          </a:p>
        </p:txBody>
      </p:sp>
      <p:cxnSp>
        <p:nvCxnSpPr>
          <p:cNvPr id="332" name="Straight Connector 331">
            <a:extLst>
              <a:ext uri="{FF2B5EF4-FFF2-40B4-BE49-F238E27FC236}">
                <a16:creationId xmlns:a16="http://schemas.microsoft.com/office/drawing/2014/main" id="{26A73B18-A90D-1549-01F8-661285B98BFE}"/>
              </a:ext>
            </a:extLst>
          </p:cNvPr>
          <p:cNvCxnSpPr/>
          <p:nvPr/>
        </p:nvCxnSpPr>
        <p:spPr>
          <a:xfrm>
            <a:off x="3663449" y="4648911"/>
            <a:ext cx="8026609" cy="0"/>
          </a:xfrm>
          <a:prstGeom prst="line">
            <a:avLst/>
          </a:prstGeom>
          <a:noFill/>
          <a:ln w="19050" cap="flat" cmpd="sng" algn="ctr">
            <a:solidFill>
              <a:srgbClr val="5A5A5A">
                <a:lumMod val="60000"/>
                <a:lumOff val="40000"/>
              </a:srgbClr>
            </a:solidFill>
            <a:prstDash val="dash"/>
          </a:ln>
          <a:effectLst/>
        </p:spPr>
      </p:cxnSp>
      <p:cxnSp>
        <p:nvCxnSpPr>
          <p:cNvPr id="333" name="Straight Connector 332">
            <a:extLst>
              <a:ext uri="{FF2B5EF4-FFF2-40B4-BE49-F238E27FC236}">
                <a16:creationId xmlns:a16="http://schemas.microsoft.com/office/drawing/2014/main" id="{0E36FDCD-ADFB-D652-550E-E45BB0558F77}"/>
              </a:ext>
            </a:extLst>
          </p:cNvPr>
          <p:cNvCxnSpPr/>
          <p:nvPr/>
        </p:nvCxnSpPr>
        <p:spPr>
          <a:xfrm>
            <a:off x="3684426" y="3535524"/>
            <a:ext cx="8026609" cy="0"/>
          </a:xfrm>
          <a:prstGeom prst="line">
            <a:avLst/>
          </a:prstGeom>
          <a:noFill/>
          <a:ln w="19050" cap="flat" cmpd="sng" algn="ctr">
            <a:solidFill>
              <a:srgbClr val="5A5A5A">
                <a:lumMod val="60000"/>
                <a:lumOff val="40000"/>
              </a:srgbClr>
            </a:solidFill>
            <a:prstDash val="dash"/>
          </a:ln>
          <a:effectLst/>
        </p:spPr>
      </p:cxnSp>
      <p:sp>
        <p:nvSpPr>
          <p:cNvPr id="334" name="Content Placeholder 1">
            <a:extLst>
              <a:ext uri="{FF2B5EF4-FFF2-40B4-BE49-F238E27FC236}">
                <a16:creationId xmlns:a16="http://schemas.microsoft.com/office/drawing/2014/main" id="{0D31AE11-E32E-0E14-3E59-94A067294B55}"/>
              </a:ext>
            </a:extLst>
          </p:cNvPr>
          <p:cNvSpPr txBox="1">
            <a:spLocks/>
          </p:cNvSpPr>
          <p:nvPr/>
        </p:nvSpPr>
        <p:spPr bwMode="gray">
          <a:xfrm>
            <a:off x="8317047" y="3635705"/>
            <a:ext cx="1078970" cy="80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Perform automated acceptance test scripts</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Track UAT and other manual tests</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Code documentation</a:t>
            </a:r>
          </a:p>
        </p:txBody>
      </p:sp>
      <p:sp>
        <p:nvSpPr>
          <p:cNvPr id="335" name="Content Placeholder 1">
            <a:extLst>
              <a:ext uri="{FF2B5EF4-FFF2-40B4-BE49-F238E27FC236}">
                <a16:creationId xmlns:a16="http://schemas.microsoft.com/office/drawing/2014/main" id="{94EFB7C1-B20D-D885-988F-F5CC41E63DFC}"/>
              </a:ext>
            </a:extLst>
          </p:cNvPr>
          <p:cNvSpPr txBox="1">
            <a:spLocks/>
          </p:cNvSpPr>
          <p:nvPr/>
        </p:nvSpPr>
        <p:spPr bwMode="gray">
          <a:xfrm>
            <a:off x="10641193" y="3635705"/>
            <a:ext cx="1078970" cy="80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Report build results</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Report test results</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Code coverage reporting for test</a:t>
            </a:r>
          </a:p>
        </p:txBody>
      </p:sp>
      <p:sp>
        <p:nvSpPr>
          <p:cNvPr id="336" name="Content Placeholder 1">
            <a:extLst>
              <a:ext uri="{FF2B5EF4-FFF2-40B4-BE49-F238E27FC236}">
                <a16:creationId xmlns:a16="http://schemas.microsoft.com/office/drawing/2014/main" id="{DFD47F30-8BE6-F808-49AE-F1A139DFEB22}"/>
              </a:ext>
            </a:extLst>
          </p:cNvPr>
          <p:cNvSpPr txBox="1">
            <a:spLocks/>
          </p:cNvSpPr>
          <p:nvPr/>
        </p:nvSpPr>
        <p:spPr bwMode="gray">
          <a:xfrm>
            <a:off x="4823678" y="3635706"/>
            <a:ext cx="1078970" cy="80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Gather all required artifacts and dependencies in preparation to compile and package</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Validate code for </a:t>
            </a:r>
            <a:br>
              <a:rPr lang="en-US" sz="700" kern="0" dirty="0">
                <a:solidFill>
                  <a:srgbClr val="000000"/>
                </a:solidFill>
                <a:latin typeface="Open Sans"/>
              </a:rPr>
            </a:br>
            <a:r>
              <a:rPr lang="en-US" sz="700" kern="0" dirty="0">
                <a:solidFill>
                  <a:srgbClr val="000000"/>
                </a:solidFill>
                <a:latin typeface="Open Sans"/>
              </a:rPr>
              <a:t>standards adherence </a:t>
            </a:r>
            <a:br>
              <a:rPr lang="en-US" sz="700" kern="0" dirty="0">
                <a:solidFill>
                  <a:srgbClr val="000000"/>
                </a:solidFill>
                <a:latin typeface="Open Sans"/>
              </a:rPr>
            </a:br>
            <a:r>
              <a:rPr lang="en-US" sz="700" kern="0" dirty="0">
                <a:solidFill>
                  <a:srgbClr val="000000"/>
                </a:solidFill>
                <a:latin typeface="Open Sans"/>
              </a:rPr>
              <a:t>and completeness</a:t>
            </a:r>
          </a:p>
        </p:txBody>
      </p:sp>
      <p:sp>
        <p:nvSpPr>
          <p:cNvPr id="337" name="Content Placeholder 1">
            <a:extLst>
              <a:ext uri="{FF2B5EF4-FFF2-40B4-BE49-F238E27FC236}">
                <a16:creationId xmlns:a16="http://schemas.microsoft.com/office/drawing/2014/main" id="{234A2BDD-1BD7-9187-E107-22F9F93A9E15}"/>
              </a:ext>
            </a:extLst>
          </p:cNvPr>
          <p:cNvSpPr txBox="1">
            <a:spLocks/>
          </p:cNvSpPr>
          <p:nvPr/>
        </p:nvSpPr>
        <p:spPr bwMode="gray">
          <a:xfrm>
            <a:off x="9454675" y="3628345"/>
            <a:ext cx="1078970" cy="80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600"/>
              </a:spcBef>
              <a:spcAft>
                <a:spcPct val="0"/>
              </a:spcAft>
              <a:buClr>
                <a:schemeClr val="tx1"/>
              </a:buClr>
              <a:buSzPct val="80000"/>
              <a:defRPr sz="1100">
                <a:solidFill>
                  <a:schemeClr val="tx1"/>
                </a:solidFill>
                <a:latin typeface="+mn-lt"/>
                <a:ea typeface="+mn-ea"/>
                <a:cs typeface="+mn-cs"/>
              </a:defRPr>
            </a:lvl1pPr>
            <a:lvl2pPr marL="169743" indent="-168155" algn="l" rtl="0" eaLnBrk="1" fontAlgn="base" hangingPunct="1">
              <a:lnSpc>
                <a:spcPct val="100000"/>
              </a:lnSpc>
              <a:spcBef>
                <a:spcPts val="600"/>
              </a:spcBef>
              <a:spcAft>
                <a:spcPct val="0"/>
              </a:spcAft>
              <a:buClr>
                <a:schemeClr val="tx1"/>
              </a:buClr>
              <a:buFont typeface="Wingdings 2" pitchFamily="18" charset="2"/>
              <a:buChar char="¡"/>
              <a:defRPr sz="1100">
                <a:solidFill>
                  <a:schemeClr val="tx1"/>
                </a:solidFill>
                <a:latin typeface="+mn-lt"/>
              </a:defRPr>
            </a:lvl2pPr>
            <a:lvl3pPr marL="344245" indent="-172916" algn="l" rtl="0" eaLnBrk="1" fontAlgn="base" hangingPunct="1">
              <a:lnSpc>
                <a:spcPct val="100000"/>
              </a:lnSpc>
              <a:spcBef>
                <a:spcPts val="600"/>
              </a:spcBef>
              <a:spcAft>
                <a:spcPct val="0"/>
              </a:spcAft>
              <a:buClr>
                <a:schemeClr val="tx1"/>
              </a:buClr>
              <a:buFont typeface="Arial" pitchFamily="34" charset="0"/>
              <a:buChar char="–"/>
              <a:defRPr sz="1000">
                <a:solidFill>
                  <a:schemeClr val="tx1"/>
                </a:solidFill>
                <a:latin typeface="+mn-lt"/>
              </a:defRPr>
            </a:lvl3pPr>
            <a:lvl4pPr marL="517161" indent="-171330" algn="l" rtl="0" eaLnBrk="1" fontAlgn="base" hangingPunct="1">
              <a:lnSpc>
                <a:spcPct val="100000"/>
              </a:lnSpc>
              <a:spcBef>
                <a:spcPts val="600"/>
              </a:spcBef>
              <a:spcAft>
                <a:spcPct val="0"/>
              </a:spcAft>
              <a:buClr>
                <a:schemeClr val="tx1"/>
              </a:buClr>
              <a:buChar char="•"/>
              <a:defRPr sz="1000">
                <a:solidFill>
                  <a:schemeClr val="tx1"/>
                </a:solidFill>
                <a:latin typeface="+mn-lt"/>
              </a:defRPr>
            </a:lvl4pPr>
            <a:lvl5pPr marL="1208823" indent="0" algn="l" rtl="0" eaLnBrk="1" fontAlgn="base" hangingPunct="1">
              <a:spcBef>
                <a:spcPct val="20000"/>
              </a:spcBef>
              <a:spcAft>
                <a:spcPct val="0"/>
              </a:spcAft>
              <a:buClr>
                <a:schemeClr val="tx1"/>
              </a:buClr>
              <a:buNone/>
              <a:defRPr sz="1200">
                <a:solidFill>
                  <a:schemeClr val="tx1"/>
                </a:solidFill>
                <a:latin typeface="+mn-lt"/>
              </a:defRPr>
            </a:lvl5pPr>
            <a:lvl6pPr marL="1902073" indent="-236370" algn="l" rtl="0" eaLnBrk="1" fontAlgn="base" hangingPunct="1">
              <a:spcBef>
                <a:spcPct val="20000"/>
              </a:spcBef>
              <a:spcAft>
                <a:spcPct val="0"/>
              </a:spcAft>
              <a:buClr>
                <a:schemeClr val="tx1"/>
              </a:buClr>
              <a:buChar char="–"/>
              <a:defRPr sz="1200">
                <a:solidFill>
                  <a:schemeClr val="tx1"/>
                </a:solidFill>
                <a:latin typeface="+mn-lt"/>
              </a:defRPr>
            </a:lvl6pPr>
            <a:lvl7pPr marL="2358949" indent="-236370" algn="l" rtl="0" eaLnBrk="1" fontAlgn="base" hangingPunct="1">
              <a:spcBef>
                <a:spcPct val="20000"/>
              </a:spcBef>
              <a:spcAft>
                <a:spcPct val="0"/>
              </a:spcAft>
              <a:buClr>
                <a:schemeClr val="tx1"/>
              </a:buClr>
              <a:buChar char="–"/>
              <a:defRPr sz="1200">
                <a:solidFill>
                  <a:schemeClr val="tx1"/>
                </a:solidFill>
                <a:latin typeface="+mn-lt"/>
              </a:defRPr>
            </a:lvl7pPr>
            <a:lvl8pPr marL="2815827" indent="-236370" algn="l" rtl="0" eaLnBrk="1" fontAlgn="base" hangingPunct="1">
              <a:spcBef>
                <a:spcPct val="20000"/>
              </a:spcBef>
              <a:spcAft>
                <a:spcPct val="0"/>
              </a:spcAft>
              <a:buClr>
                <a:schemeClr val="tx1"/>
              </a:buClr>
              <a:buChar char="–"/>
              <a:defRPr sz="1200">
                <a:solidFill>
                  <a:schemeClr val="tx1"/>
                </a:solidFill>
                <a:latin typeface="+mn-lt"/>
              </a:defRPr>
            </a:lvl8pPr>
            <a:lvl9pPr marL="3272705" indent="-236370" algn="l" rtl="0" eaLnBrk="1" fontAlgn="base" hangingPunct="1">
              <a:spcBef>
                <a:spcPct val="20000"/>
              </a:spcBef>
              <a:spcAft>
                <a:spcPct val="0"/>
              </a:spcAft>
              <a:buClr>
                <a:schemeClr val="tx1"/>
              </a:buClr>
              <a:buChar char="–"/>
              <a:defRPr sz="1200">
                <a:solidFill>
                  <a:schemeClr val="tx1"/>
                </a:solidFill>
                <a:latin typeface="+mn-lt"/>
              </a:defRPr>
            </a:lvl9pPr>
          </a:lstStyle>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Deploy artifact set to target environment</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Can include release orchestration at upper env or prod</a:t>
            </a:r>
          </a:p>
          <a:p>
            <a:pPr marL="57150" indent="-57150" defTabSz="685800">
              <a:spcBef>
                <a:spcPts val="225"/>
              </a:spcBef>
              <a:buClr>
                <a:srgbClr val="000000"/>
              </a:buClr>
              <a:buSzPct val="100000"/>
              <a:buFont typeface="Arial" panose="020B0604020202020204" pitchFamily="34" charset="0"/>
              <a:buChar char="•"/>
              <a:defRPr/>
            </a:pPr>
            <a:r>
              <a:rPr lang="en-US" sz="700" kern="0" dirty="0">
                <a:solidFill>
                  <a:srgbClr val="000000"/>
                </a:solidFill>
                <a:latin typeface="Open Sans"/>
              </a:rPr>
              <a:t>Apply application or environment configuration</a:t>
            </a:r>
          </a:p>
        </p:txBody>
      </p:sp>
      <p:sp>
        <p:nvSpPr>
          <p:cNvPr id="338" name="Rectangle 337">
            <a:extLst>
              <a:ext uri="{FF2B5EF4-FFF2-40B4-BE49-F238E27FC236}">
                <a16:creationId xmlns:a16="http://schemas.microsoft.com/office/drawing/2014/main" id="{98A031BC-ACC9-F861-A339-95D8BD6E125A}"/>
              </a:ext>
            </a:extLst>
          </p:cNvPr>
          <p:cNvSpPr/>
          <p:nvPr/>
        </p:nvSpPr>
        <p:spPr bwMode="gray">
          <a:xfrm>
            <a:off x="4823678" y="2227745"/>
            <a:ext cx="1078970" cy="250763"/>
          </a:xfrm>
          <a:prstGeom prst="rect">
            <a:avLst/>
          </a:prstGeom>
          <a:solidFill>
            <a:srgbClr val="000000">
              <a:lumMod val="50000"/>
              <a:lumOff val="50000"/>
            </a:srgbClr>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Open Sans"/>
              </a:rPr>
              <a:t>Prepare</a:t>
            </a:r>
          </a:p>
        </p:txBody>
      </p:sp>
      <p:sp>
        <p:nvSpPr>
          <p:cNvPr id="339" name="Rectangle 338">
            <a:extLst>
              <a:ext uri="{FF2B5EF4-FFF2-40B4-BE49-F238E27FC236}">
                <a16:creationId xmlns:a16="http://schemas.microsoft.com/office/drawing/2014/main" id="{3BCCD5B2-FF0E-0C7B-1158-4C2E602D4C39}"/>
              </a:ext>
            </a:extLst>
          </p:cNvPr>
          <p:cNvSpPr/>
          <p:nvPr/>
        </p:nvSpPr>
        <p:spPr bwMode="gray">
          <a:xfrm>
            <a:off x="4823678" y="253185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Check-out source</a:t>
            </a:r>
          </a:p>
        </p:txBody>
      </p:sp>
      <p:sp>
        <p:nvSpPr>
          <p:cNvPr id="340" name="Rectangle 339">
            <a:extLst>
              <a:ext uri="{FF2B5EF4-FFF2-40B4-BE49-F238E27FC236}">
                <a16:creationId xmlns:a16="http://schemas.microsoft.com/office/drawing/2014/main" id="{7D31D10D-CAD8-9008-A9E3-7A28B9B638F9}"/>
              </a:ext>
            </a:extLst>
          </p:cNvPr>
          <p:cNvSpPr/>
          <p:nvPr/>
        </p:nvSpPr>
        <p:spPr bwMode="gray">
          <a:xfrm>
            <a:off x="4823678" y="2847247"/>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Prepare</a:t>
            </a:r>
            <a:br>
              <a:rPr kumimoji="0" lang="en-US" sz="700" b="0" i="0" u="none" strike="noStrike" kern="0" cap="none" spc="0" normalizeH="0" baseline="0" noProof="0" dirty="0">
                <a:ln>
                  <a:noFill/>
                </a:ln>
                <a:solidFill>
                  <a:prstClr val="white"/>
                </a:solidFill>
                <a:effectLst/>
                <a:uLnTx/>
                <a:uFillTx/>
                <a:latin typeface="Open Sans"/>
              </a:rPr>
            </a:br>
            <a:r>
              <a:rPr kumimoji="0" lang="en-US" sz="700" b="0" i="0" u="none" strike="noStrike" kern="0" cap="none" spc="0" normalizeH="0" baseline="0" noProof="0" dirty="0">
                <a:ln>
                  <a:noFill/>
                </a:ln>
                <a:solidFill>
                  <a:prstClr val="white"/>
                </a:solidFill>
                <a:effectLst/>
                <a:uLnTx/>
                <a:uFillTx/>
                <a:latin typeface="Open Sans"/>
              </a:rPr>
              <a:t>dependencies</a:t>
            </a:r>
          </a:p>
        </p:txBody>
      </p:sp>
      <p:sp>
        <p:nvSpPr>
          <p:cNvPr id="341" name="Rectangle 340">
            <a:extLst>
              <a:ext uri="{FF2B5EF4-FFF2-40B4-BE49-F238E27FC236}">
                <a16:creationId xmlns:a16="http://schemas.microsoft.com/office/drawing/2014/main" id="{305B85D4-2B94-B518-F1CF-6677253635A8}"/>
              </a:ext>
            </a:extLst>
          </p:cNvPr>
          <p:cNvSpPr/>
          <p:nvPr/>
        </p:nvSpPr>
        <p:spPr bwMode="gray">
          <a:xfrm>
            <a:off x="3662001" y="2227745"/>
            <a:ext cx="1078970" cy="250763"/>
          </a:xfrm>
          <a:prstGeom prst="rect">
            <a:avLst/>
          </a:prstGeom>
          <a:solidFill>
            <a:srgbClr val="000000">
              <a:lumMod val="50000"/>
              <a:lumOff val="50000"/>
            </a:srgbClr>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Open Sans"/>
              </a:rPr>
              <a:t>Trigger</a:t>
            </a:r>
          </a:p>
        </p:txBody>
      </p:sp>
      <p:sp>
        <p:nvSpPr>
          <p:cNvPr id="342" name="Rectangle 341">
            <a:extLst>
              <a:ext uri="{FF2B5EF4-FFF2-40B4-BE49-F238E27FC236}">
                <a16:creationId xmlns:a16="http://schemas.microsoft.com/office/drawing/2014/main" id="{03799D62-DB13-75AA-DAD9-F91AD563B4BA}"/>
              </a:ext>
            </a:extLst>
          </p:cNvPr>
          <p:cNvSpPr/>
          <p:nvPr/>
        </p:nvSpPr>
        <p:spPr bwMode="gray">
          <a:xfrm>
            <a:off x="3662001" y="253185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Check-in of code to SVC (event)</a:t>
            </a:r>
          </a:p>
        </p:txBody>
      </p:sp>
      <p:sp>
        <p:nvSpPr>
          <p:cNvPr id="343" name="Rectangle 342">
            <a:extLst>
              <a:ext uri="{FF2B5EF4-FFF2-40B4-BE49-F238E27FC236}">
                <a16:creationId xmlns:a16="http://schemas.microsoft.com/office/drawing/2014/main" id="{9DC2F5BE-785E-6B5D-063F-EE85A557B5D0}"/>
              </a:ext>
            </a:extLst>
          </p:cNvPr>
          <p:cNvSpPr/>
          <p:nvPr/>
        </p:nvSpPr>
        <p:spPr bwMode="gray">
          <a:xfrm>
            <a:off x="3662001" y="2847247"/>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Scheduled build</a:t>
            </a:r>
            <a:br>
              <a:rPr kumimoji="0" lang="en-US" sz="700" b="0" i="0" u="none" strike="noStrike" kern="0" cap="none" spc="0" normalizeH="0" baseline="0" noProof="0" dirty="0">
                <a:ln>
                  <a:noFill/>
                </a:ln>
                <a:solidFill>
                  <a:prstClr val="white"/>
                </a:solidFill>
                <a:effectLst/>
                <a:uLnTx/>
                <a:uFillTx/>
                <a:latin typeface="Open Sans"/>
              </a:rPr>
            </a:br>
            <a:r>
              <a:rPr kumimoji="0" lang="en-US" sz="700" b="0" i="0" u="none" strike="noStrike" kern="0" cap="none" spc="0" normalizeH="0" baseline="0" noProof="0" dirty="0">
                <a:ln>
                  <a:noFill/>
                </a:ln>
                <a:solidFill>
                  <a:prstClr val="white"/>
                </a:solidFill>
                <a:effectLst/>
                <a:uLnTx/>
                <a:uFillTx/>
                <a:latin typeface="Open Sans"/>
              </a:rPr>
              <a:t>(poll)</a:t>
            </a:r>
          </a:p>
        </p:txBody>
      </p:sp>
      <p:sp>
        <p:nvSpPr>
          <p:cNvPr id="344" name="Rectangle 343">
            <a:extLst>
              <a:ext uri="{FF2B5EF4-FFF2-40B4-BE49-F238E27FC236}">
                <a16:creationId xmlns:a16="http://schemas.microsoft.com/office/drawing/2014/main" id="{FB5FDBF2-D822-FA4E-CBC1-2BF027068D3A}"/>
              </a:ext>
            </a:extLst>
          </p:cNvPr>
          <p:cNvSpPr/>
          <p:nvPr/>
        </p:nvSpPr>
        <p:spPr bwMode="gray">
          <a:xfrm>
            <a:off x="3662001" y="314842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Manual trigger</a:t>
            </a:r>
            <a:br>
              <a:rPr kumimoji="0" lang="en-US" sz="700" b="0" i="0" u="none" strike="noStrike" kern="0" cap="none" spc="0" normalizeH="0" baseline="0" noProof="0" dirty="0">
                <a:ln>
                  <a:noFill/>
                </a:ln>
                <a:solidFill>
                  <a:prstClr val="white"/>
                </a:solidFill>
                <a:effectLst/>
                <a:uLnTx/>
                <a:uFillTx/>
                <a:latin typeface="Open Sans"/>
              </a:rPr>
            </a:br>
            <a:r>
              <a:rPr kumimoji="0" lang="en-US" sz="700" b="0" i="0" u="none" strike="noStrike" kern="0" cap="none" spc="0" normalizeH="0" baseline="0" noProof="0" dirty="0">
                <a:ln>
                  <a:noFill/>
                </a:ln>
                <a:solidFill>
                  <a:prstClr val="white"/>
                </a:solidFill>
                <a:effectLst/>
                <a:uLnTx/>
                <a:uFillTx/>
                <a:latin typeface="Open Sans"/>
              </a:rPr>
              <a:t>on build UI</a:t>
            </a:r>
          </a:p>
        </p:txBody>
      </p:sp>
      <p:sp>
        <p:nvSpPr>
          <p:cNvPr id="345" name="Rectangle 344">
            <a:extLst>
              <a:ext uri="{FF2B5EF4-FFF2-40B4-BE49-F238E27FC236}">
                <a16:creationId xmlns:a16="http://schemas.microsoft.com/office/drawing/2014/main" id="{6F5A3E8B-63FE-7B74-A3DB-4B842DDDAEDF}"/>
              </a:ext>
            </a:extLst>
          </p:cNvPr>
          <p:cNvSpPr/>
          <p:nvPr/>
        </p:nvSpPr>
        <p:spPr bwMode="gray">
          <a:xfrm>
            <a:off x="5985356" y="2227745"/>
            <a:ext cx="1078970" cy="250763"/>
          </a:xfrm>
          <a:prstGeom prst="rect">
            <a:avLst/>
          </a:prstGeom>
          <a:solidFill>
            <a:srgbClr val="000000">
              <a:lumMod val="50000"/>
              <a:lumOff val="50000"/>
            </a:srgbClr>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Open Sans"/>
              </a:rPr>
              <a:t>Compile</a:t>
            </a:r>
          </a:p>
        </p:txBody>
      </p:sp>
      <p:sp>
        <p:nvSpPr>
          <p:cNvPr id="346" name="Rectangle 345">
            <a:extLst>
              <a:ext uri="{FF2B5EF4-FFF2-40B4-BE49-F238E27FC236}">
                <a16:creationId xmlns:a16="http://schemas.microsoft.com/office/drawing/2014/main" id="{E292BC8F-397E-8B0D-7E5A-F847516702FA}"/>
              </a:ext>
            </a:extLst>
          </p:cNvPr>
          <p:cNvSpPr/>
          <p:nvPr/>
        </p:nvSpPr>
        <p:spPr bwMode="gray">
          <a:xfrm>
            <a:off x="5985356" y="253185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Compile source</a:t>
            </a:r>
          </a:p>
        </p:txBody>
      </p:sp>
      <p:sp>
        <p:nvSpPr>
          <p:cNvPr id="347" name="Rectangle 346">
            <a:extLst>
              <a:ext uri="{FF2B5EF4-FFF2-40B4-BE49-F238E27FC236}">
                <a16:creationId xmlns:a16="http://schemas.microsoft.com/office/drawing/2014/main" id="{99C8A4F9-81B8-A2AF-185D-7B90A25CC1E7}"/>
              </a:ext>
            </a:extLst>
          </p:cNvPr>
          <p:cNvSpPr/>
          <p:nvPr/>
        </p:nvSpPr>
        <p:spPr bwMode="gray">
          <a:xfrm>
            <a:off x="7147034" y="2227745"/>
            <a:ext cx="1078970" cy="250763"/>
          </a:xfrm>
          <a:prstGeom prst="rect">
            <a:avLst/>
          </a:prstGeom>
          <a:solidFill>
            <a:srgbClr val="000000">
              <a:lumMod val="50000"/>
              <a:lumOff val="50000"/>
            </a:srgbClr>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Open Sans"/>
              </a:rPr>
              <a:t>Package artifacts</a:t>
            </a:r>
          </a:p>
        </p:txBody>
      </p:sp>
      <p:sp>
        <p:nvSpPr>
          <p:cNvPr id="348" name="Rectangle 347">
            <a:extLst>
              <a:ext uri="{FF2B5EF4-FFF2-40B4-BE49-F238E27FC236}">
                <a16:creationId xmlns:a16="http://schemas.microsoft.com/office/drawing/2014/main" id="{84B400AE-459E-95C3-B9C9-6794426C965F}"/>
              </a:ext>
            </a:extLst>
          </p:cNvPr>
          <p:cNvSpPr/>
          <p:nvPr/>
        </p:nvSpPr>
        <p:spPr bwMode="gray">
          <a:xfrm>
            <a:off x="7147034" y="253185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Consolidate all deployment artifacts</a:t>
            </a:r>
          </a:p>
        </p:txBody>
      </p:sp>
      <p:sp>
        <p:nvSpPr>
          <p:cNvPr id="349" name="Rectangle 348">
            <a:extLst>
              <a:ext uri="{FF2B5EF4-FFF2-40B4-BE49-F238E27FC236}">
                <a16:creationId xmlns:a16="http://schemas.microsoft.com/office/drawing/2014/main" id="{DEBE7CFD-908C-0C94-9CFB-EF3F03B0E038}"/>
              </a:ext>
            </a:extLst>
          </p:cNvPr>
          <p:cNvSpPr/>
          <p:nvPr/>
        </p:nvSpPr>
        <p:spPr bwMode="gray">
          <a:xfrm>
            <a:off x="7147034" y="2847247"/>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Bundle binary &amp; </a:t>
            </a:r>
            <a:br>
              <a:rPr kumimoji="0" lang="en-US" sz="700" b="0" i="0" u="none" strike="noStrike" kern="0" cap="none" spc="0" normalizeH="0" baseline="0" noProof="0" dirty="0">
                <a:ln>
                  <a:noFill/>
                </a:ln>
                <a:solidFill>
                  <a:prstClr val="white"/>
                </a:solidFill>
                <a:effectLst/>
                <a:uLnTx/>
                <a:uFillTx/>
                <a:latin typeface="Open Sans"/>
              </a:rPr>
            </a:br>
            <a:r>
              <a:rPr kumimoji="0" lang="en-US" sz="700" b="0" i="0" u="none" strike="noStrike" kern="0" cap="none" spc="0" normalizeH="0" baseline="0" noProof="0" dirty="0">
                <a:ln>
                  <a:noFill/>
                </a:ln>
                <a:solidFill>
                  <a:prstClr val="white"/>
                </a:solidFill>
                <a:effectLst/>
                <a:uLnTx/>
                <a:uFillTx/>
                <a:latin typeface="Open Sans"/>
              </a:rPr>
              <a:t>required artifacts</a:t>
            </a:r>
          </a:p>
        </p:txBody>
      </p:sp>
      <p:sp>
        <p:nvSpPr>
          <p:cNvPr id="350" name="Rectangle 349">
            <a:extLst>
              <a:ext uri="{FF2B5EF4-FFF2-40B4-BE49-F238E27FC236}">
                <a16:creationId xmlns:a16="http://schemas.microsoft.com/office/drawing/2014/main" id="{34C2318C-0CAA-20D5-5090-362E772192AB}"/>
              </a:ext>
            </a:extLst>
          </p:cNvPr>
          <p:cNvSpPr/>
          <p:nvPr/>
        </p:nvSpPr>
        <p:spPr bwMode="gray">
          <a:xfrm>
            <a:off x="9454679" y="2227745"/>
            <a:ext cx="1078970" cy="250763"/>
          </a:xfrm>
          <a:prstGeom prst="rect">
            <a:avLst/>
          </a:prstGeom>
          <a:solidFill>
            <a:srgbClr val="000000">
              <a:lumMod val="50000"/>
              <a:lumOff val="50000"/>
            </a:srgbClr>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Open Sans"/>
              </a:rPr>
              <a:t>Deploy/release</a:t>
            </a:r>
          </a:p>
        </p:txBody>
      </p:sp>
      <p:sp>
        <p:nvSpPr>
          <p:cNvPr id="351" name="Rectangle 350">
            <a:extLst>
              <a:ext uri="{FF2B5EF4-FFF2-40B4-BE49-F238E27FC236}">
                <a16:creationId xmlns:a16="http://schemas.microsoft.com/office/drawing/2014/main" id="{58B1D922-9F88-5997-A15C-1CAE167C93A9}"/>
              </a:ext>
            </a:extLst>
          </p:cNvPr>
          <p:cNvSpPr/>
          <p:nvPr/>
        </p:nvSpPr>
        <p:spPr bwMode="gray">
          <a:xfrm>
            <a:off x="9454679" y="2847247"/>
            <a:ext cx="1078970" cy="250763"/>
          </a:xfrm>
          <a:prstGeom prst="rect">
            <a:avLst/>
          </a:prstGeom>
          <a:solidFill>
            <a:srgbClr val="3EFAC5"/>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Deploy to test</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Rel. Orchestrate)</a:t>
            </a:r>
          </a:p>
        </p:txBody>
      </p:sp>
      <p:sp>
        <p:nvSpPr>
          <p:cNvPr id="352" name="Rectangle 351">
            <a:extLst>
              <a:ext uri="{FF2B5EF4-FFF2-40B4-BE49-F238E27FC236}">
                <a16:creationId xmlns:a16="http://schemas.microsoft.com/office/drawing/2014/main" id="{F99B77F7-8816-5120-C4D3-1DDE715BB855}"/>
              </a:ext>
            </a:extLst>
          </p:cNvPr>
          <p:cNvSpPr/>
          <p:nvPr/>
        </p:nvSpPr>
        <p:spPr bwMode="gray">
          <a:xfrm>
            <a:off x="8286426" y="2227745"/>
            <a:ext cx="1078970" cy="250763"/>
          </a:xfrm>
          <a:prstGeom prst="rect">
            <a:avLst/>
          </a:prstGeom>
          <a:solidFill>
            <a:srgbClr val="000000">
              <a:lumMod val="50000"/>
              <a:lumOff val="50000"/>
            </a:srgbClr>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Open Sans"/>
              </a:rPr>
              <a:t>Validate</a:t>
            </a:r>
          </a:p>
        </p:txBody>
      </p:sp>
      <p:sp>
        <p:nvSpPr>
          <p:cNvPr id="353" name="Rectangle 352">
            <a:extLst>
              <a:ext uri="{FF2B5EF4-FFF2-40B4-BE49-F238E27FC236}">
                <a16:creationId xmlns:a16="http://schemas.microsoft.com/office/drawing/2014/main" id="{5D05554D-368A-2378-9F58-6336587F8665}"/>
              </a:ext>
            </a:extLst>
          </p:cNvPr>
          <p:cNvSpPr/>
          <p:nvPr/>
        </p:nvSpPr>
        <p:spPr bwMode="gray">
          <a:xfrm>
            <a:off x="8286426" y="2531853"/>
            <a:ext cx="1078970" cy="250763"/>
          </a:xfrm>
          <a:prstGeom prst="rect">
            <a:avLst/>
          </a:prstGeom>
          <a:solidFill>
            <a:srgbClr val="3EFAC5"/>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Part of deploy automation</a:t>
            </a:r>
          </a:p>
        </p:txBody>
      </p:sp>
      <p:sp>
        <p:nvSpPr>
          <p:cNvPr id="354" name="Rectangle 353">
            <a:extLst>
              <a:ext uri="{FF2B5EF4-FFF2-40B4-BE49-F238E27FC236}">
                <a16:creationId xmlns:a16="http://schemas.microsoft.com/office/drawing/2014/main" id="{D9CC3553-C4C1-0B22-A01D-E10275E0B7C6}"/>
              </a:ext>
            </a:extLst>
          </p:cNvPr>
          <p:cNvSpPr/>
          <p:nvPr/>
        </p:nvSpPr>
        <p:spPr bwMode="gray">
          <a:xfrm>
            <a:off x="8286426" y="2847247"/>
            <a:ext cx="1078970" cy="250763"/>
          </a:xfrm>
          <a:prstGeom prst="rect">
            <a:avLst/>
          </a:prstGeom>
          <a:solidFill>
            <a:srgbClr val="3EFAC5"/>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Execute code coverage</a:t>
            </a:r>
          </a:p>
        </p:txBody>
      </p:sp>
      <p:sp>
        <p:nvSpPr>
          <p:cNvPr id="355" name="Rectangle 354">
            <a:extLst>
              <a:ext uri="{FF2B5EF4-FFF2-40B4-BE49-F238E27FC236}">
                <a16:creationId xmlns:a16="http://schemas.microsoft.com/office/drawing/2014/main" id="{AA337A4B-BA37-1CCF-4EBF-BFD1D63918D4}"/>
              </a:ext>
            </a:extLst>
          </p:cNvPr>
          <p:cNvSpPr/>
          <p:nvPr/>
        </p:nvSpPr>
        <p:spPr bwMode="gray">
          <a:xfrm>
            <a:off x="4823678" y="314842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Execute code scan</a:t>
            </a:r>
          </a:p>
        </p:txBody>
      </p:sp>
      <p:sp>
        <p:nvSpPr>
          <p:cNvPr id="356" name="Rectangle 355">
            <a:extLst>
              <a:ext uri="{FF2B5EF4-FFF2-40B4-BE49-F238E27FC236}">
                <a16:creationId xmlns:a16="http://schemas.microsoft.com/office/drawing/2014/main" id="{B2BF2039-990D-9CDB-37B5-6B465B1E6E7F}"/>
              </a:ext>
            </a:extLst>
          </p:cNvPr>
          <p:cNvSpPr/>
          <p:nvPr/>
        </p:nvSpPr>
        <p:spPr bwMode="gray">
          <a:xfrm>
            <a:off x="10632066" y="2227745"/>
            <a:ext cx="1078970" cy="250763"/>
          </a:xfrm>
          <a:prstGeom prst="rect">
            <a:avLst/>
          </a:prstGeom>
          <a:solidFill>
            <a:srgbClr val="000000">
              <a:lumMod val="50000"/>
              <a:lumOff val="50000"/>
            </a:srgbClr>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Open Sans"/>
              </a:rPr>
              <a:t>Deliver feedback</a:t>
            </a:r>
          </a:p>
        </p:txBody>
      </p:sp>
      <p:sp>
        <p:nvSpPr>
          <p:cNvPr id="357" name="Rectangle 356">
            <a:extLst>
              <a:ext uri="{FF2B5EF4-FFF2-40B4-BE49-F238E27FC236}">
                <a16:creationId xmlns:a16="http://schemas.microsoft.com/office/drawing/2014/main" id="{FF3E7E60-085D-2445-707F-CC49DB9794EB}"/>
              </a:ext>
            </a:extLst>
          </p:cNvPr>
          <p:cNvSpPr/>
          <p:nvPr/>
        </p:nvSpPr>
        <p:spPr bwMode="gray">
          <a:xfrm>
            <a:off x="10632066" y="3148423"/>
            <a:ext cx="1078970" cy="250763"/>
          </a:xfrm>
          <a:prstGeom prst="rect">
            <a:avLst/>
          </a:prstGeom>
          <a:solidFill>
            <a:srgbClr val="3EFAC5"/>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Real-time notifications across lifecycle</a:t>
            </a:r>
          </a:p>
        </p:txBody>
      </p:sp>
      <p:sp>
        <p:nvSpPr>
          <p:cNvPr id="358" name="Rectangle 357">
            <a:extLst>
              <a:ext uri="{FF2B5EF4-FFF2-40B4-BE49-F238E27FC236}">
                <a16:creationId xmlns:a16="http://schemas.microsoft.com/office/drawing/2014/main" id="{33D867C2-F784-07B3-4C48-88AC390F984F}"/>
              </a:ext>
            </a:extLst>
          </p:cNvPr>
          <p:cNvSpPr/>
          <p:nvPr/>
        </p:nvSpPr>
        <p:spPr bwMode="gray">
          <a:xfrm>
            <a:off x="10632066" y="253185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Collect build results and calculate metrics</a:t>
            </a:r>
          </a:p>
        </p:txBody>
      </p:sp>
      <p:sp>
        <p:nvSpPr>
          <p:cNvPr id="359" name="Rectangle 358">
            <a:extLst>
              <a:ext uri="{FF2B5EF4-FFF2-40B4-BE49-F238E27FC236}">
                <a16:creationId xmlns:a16="http://schemas.microsoft.com/office/drawing/2014/main" id="{0E5902C0-A017-8B89-FC49-2021D716B94C}"/>
              </a:ext>
            </a:extLst>
          </p:cNvPr>
          <p:cNvSpPr/>
          <p:nvPr/>
        </p:nvSpPr>
        <p:spPr bwMode="gray">
          <a:xfrm>
            <a:off x="9454679" y="3148423"/>
            <a:ext cx="1078970" cy="250763"/>
          </a:xfrm>
          <a:prstGeom prst="rect">
            <a:avLst/>
          </a:prstGeom>
          <a:solidFill>
            <a:srgbClr val="3EFAC5"/>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Deploy to prod</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Rel. Orchestrate)</a:t>
            </a:r>
          </a:p>
        </p:txBody>
      </p:sp>
      <p:sp>
        <p:nvSpPr>
          <p:cNvPr id="360" name="Rectangle 359">
            <a:extLst>
              <a:ext uri="{FF2B5EF4-FFF2-40B4-BE49-F238E27FC236}">
                <a16:creationId xmlns:a16="http://schemas.microsoft.com/office/drawing/2014/main" id="{C0A2382E-98BD-4BB5-BC75-AF680E89EC7D}"/>
              </a:ext>
            </a:extLst>
          </p:cNvPr>
          <p:cNvSpPr/>
          <p:nvPr/>
        </p:nvSpPr>
        <p:spPr bwMode="gray">
          <a:xfrm>
            <a:off x="5985354" y="2847247"/>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Execute unit tests</a:t>
            </a:r>
          </a:p>
        </p:txBody>
      </p:sp>
      <p:sp>
        <p:nvSpPr>
          <p:cNvPr id="361" name="Rectangle 360">
            <a:extLst>
              <a:ext uri="{FF2B5EF4-FFF2-40B4-BE49-F238E27FC236}">
                <a16:creationId xmlns:a16="http://schemas.microsoft.com/office/drawing/2014/main" id="{E61F2F70-FEE9-25CD-48DD-1816771F2EBF}"/>
              </a:ext>
            </a:extLst>
          </p:cNvPr>
          <p:cNvSpPr/>
          <p:nvPr/>
        </p:nvSpPr>
        <p:spPr bwMode="gray">
          <a:xfrm>
            <a:off x="5985354" y="314842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Execute binary scan</a:t>
            </a:r>
          </a:p>
        </p:txBody>
      </p:sp>
      <p:sp>
        <p:nvSpPr>
          <p:cNvPr id="362" name="Rectangle 361">
            <a:extLst>
              <a:ext uri="{FF2B5EF4-FFF2-40B4-BE49-F238E27FC236}">
                <a16:creationId xmlns:a16="http://schemas.microsoft.com/office/drawing/2014/main" id="{D1E10792-4F84-E32C-3BF3-CB0417559722}"/>
              </a:ext>
            </a:extLst>
          </p:cNvPr>
          <p:cNvSpPr/>
          <p:nvPr/>
        </p:nvSpPr>
        <p:spPr bwMode="gray">
          <a:xfrm>
            <a:off x="8287736" y="3148423"/>
            <a:ext cx="1078970" cy="250763"/>
          </a:xfrm>
          <a:prstGeom prst="rect">
            <a:avLst/>
          </a:prstGeom>
          <a:solidFill>
            <a:srgbClr val="3EFAC5"/>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Functional / non functional testing</a:t>
            </a:r>
          </a:p>
        </p:txBody>
      </p:sp>
      <p:sp>
        <p:nvSpPr>
          <p:cNvPr id="363" name="Rectangle 362">
            <a:extLst>
              <a:ext uri="{FF2B5EF4-FFF2-40B4-BE49-F238E27FC236}">
                <a16:creationId xmlns:a16="http://schemas.microsoft.com/office/drawing/2014/main" id="{0D986646-7902-FCE5-BD1C-7C1381C5B8BD}"/>
              </a:ext>
            </a:extLst>
          </p:cNvPr>
          <p:cNvSpPr/>
          <p:nvPr/>
        </p:nvSpPr>
        <p:spPr bwMode="gray">
          <a:xfrm>
            <a:off x="10641193" y="2847247"/>
            <a:ext cx="1078970" cy="250763"/>
          </a:xfrm>
          <a:prstGeom prst="rect">
            <a:avLst/>
          </a:prstGeom>
          <a:solidFill>
            <a:srgbClr val="3EFAC5"/>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Collect release results and calculate metrics</a:t>
            </a:r>
          </a:p>
        </p:txBody>
      </p:sp>
      <p:sp>
        <p:nvSpPr>
          <p:cNvPr id="364" name="Rectangle 363">
            <a:extLst>
              <a:ext uri="{FF2B5EF4-FFF2-40B4-BE49-F238E27FC236}">
                <a16:creationId xmlns:a16="http://schemas.microsoft.com/office/drawing/2014/main" id="{D11E0908-7934-7F8C-C29C-350CE2275D97}"/>
              </a:ext>
            </a:extLst>
          </p:cNvPr>
          <p:cNvSpPr/>
          <p:nvPr/>
        </p:nvSpPr>
        <p:spPr bwMode="gray">
          <a:xfrm>
            <a:off x="7156161" y="3148423"/>
            <a:ext cx="1078970" cy="250763"/>
          </a:xfrm>
          <a:prstGeom prst="rect">
            <a:avLst/>
          </a:prstGeom>
          <a:solidFill>
            <a:srgbClr val="FDD300"/>
          </a:solidFill>
          <a:ln w="38100">
            <a:noFill/>
            <a:round/>
            <a:headEnd/>
            <a:tailEnd/>
          </a:ln>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Apply special packaging</a:t>
            </a:r>
          </a:p>
        </p:txBody>
      </p:sp>
      <p:sp>
        <p:nvSpPr>
          <p:cNvPr id="365" name="TextBox 364">
            <a:extLst>
              <a:ext uri="{FF2B5EF4-FFF2-40B4-BE49-F238E27FC236}">
                <a16:creationId xmlns:a16="http://schemas.microsoft.com/office/drawing/2014/main" id="{DA1D7882-5989-606C-4450-35CD451C6AF2}"/>
              </a:ext>
            </a:extLst>
          </p:cNvPr>
          <p:cNvSpPr txBox="1"/>
          <p:nvPr/>
        </p:nvSpPr>
        <p:spPr>
          <a:xfrm>
            <a:off x="10641194" y="4745948"/>
            <a:ext cx="1004456" cy="272785"/>
          </a:xfrm>
          <a:prstGeom prst="rect">
            <a:avLst/>
          </a:prstGeom>
          <a:solidFill>
            <a:srgbClr val="3EFAC5"/>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prstClr val="black"/>
                </a:solidFill>
                <a:effectLst/>
                <a:uLnTx/>
                <a:uFillTx/>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Metrics and tracking</a:t>
            </a:r>
          </a:p>
        </p:txBody>
      </p:sp>
      <p:sp>
        <p:nvSpPr>
          <p:cNvPr id="366" name="TextBox 365">
            <a:extLst>
              <a:ext uri="{FF2B5EF4-FFF2-40B4-BE49-F238E27FC236}">
                <a16:creationId xmlns:a16="http://schemas.microsoft.com/office/drawing/2014/main" id="{386C4F10-B3D9-8ACC-C32B-BE167DBC8A7D}"/>
              </a:ext>
            </a:extLst>
          </p:cNvPr>
          <p:cNvSpPr txBox="1"/>
          <p:nvPr/>
        </p:nvSpPr>
        <p:spPr>
          <a:xfrm>
            <a:off x="9454675" y="4749228"/>
            <a:ext cx="1050846" cy="272786"/>
          </a:xfrm>
          <a:prstGeom prst="rect">
            <a:avLst/>
          </a:prstGeom>
          <a:solidFill>
            <a:srgbClr val="FDD300"/>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schemeClr val="bg1"/>
                </a:solidFill>
                <a:effectLst/>
                <a:uLnTx/>
                <a:uFillTx/>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Automated deployment</a:t>
            </a:r>
          </a:p>
        </p:txBody>
      </p:sp>
      <p:sp>
        <p:nvSpPr>
          <p:cNvPr id="367" name="TextBox 366">
            <a:extLst>
              <a:ext uri="{FF2B5EF4-FFF2-40B4-BE49-F238E27FC236}">
                <a16:creationId xmlns:a16="http://schemas.microsoft.com/office/drawing/2014/main" id="{83D3B9E7-74C6-A135-5A18-A1FB314B77F2}"/>
              </a:ext>
            </a:extLst>
          </p:cNvPr>
          <p:cNvSpPr txBox="1"/>
          <p:nvPr/>
        </p:nvSpPr>
        <p:spPr>
          <a:xfrm>
            <a:off x="9454675" y="5088999"/>
            <a:ext cx="1050846" cy="279569"/>
          </a:xfrm>
          <a:prstGeom prst="rect">
            <a:avLst/>
          </a:prstGeom>
          <a:solidFill>
            <a:srgbClr val="3EFAC5"/>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prstClr val="black"/>
                </a:solidFill>
                <a:effectLst/>
                <a:uLnTx/>
                <a:uFillTx/>
                <a:latin typeface="+mj-lt"/>
              </a:defRPr>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Release </a:t>
            </a:r>
            <a:br>
              <a:rPr kumimoji="0" lang="en-US" sz="700" b="0" i="0" u="none" strike="noStrike" kern="0" cap="none" spc="0" normalizeH="0" baseline="0" noProof="0" dirty="0">
                <a:ln>
                  <a:noFill/>
                </a:ln>
                <a:solidFill>
                  <a:prstClr val="black"/>
                </a:solidFill>
                <a:effectLst/>
                <a:uLnTx/>
                <a:uFillTx/>
                <a:latin typeface="Open Sans"/>
              </a:rPr>
            </a:br>
            <a:r>
              <a:rPr kumimoji="0" lang="en-US" sz="700" b="0" i="0" u="none" strike="noStrike" kern="0" cap="none" spc="0" normalizeH="0" baseline="0" noProof="0" dirty="0">
                <a:ln>
                  <a:noFill/>
                </a:ln>
                <a:solidFill>
                  <a:prstClr val="black"/>
                </a:solidFill>
                <a:effectLst/>
                <a:uLnTx/>
                <a:uFillTx/>
                <a:latin typeface="Open Sans"/>
              </a:rPr>
              <a:t>orchestration</a:t>
            </a:r>
          </a:p>
        </p:txBody>
      </p:sp>
      <p:sp>
        <p:nvSpPr>
          <p:cNvPr id="368" name="TextBox 367">
            <a:extLst>
              <a:ext uri="{FF2B5EF4-FFF2-40B4-BE49-F238E27FC236}">
                <a16:creationId xmlns:a16="http://schemas.microsoft.com/office/drawing/2014/main" id="{BC7C2404-4B3F-73FC-87AC-0C9822485D2E}"/>
              </a:ext>
            </a:extLst>
          </p:cNvPr>
          <p:cNvSpPr txBox="1"/>
          <p:nvPr/>
        </p:nvSpPr>
        <p:spPr>
          <a:xfrm>
            <a:off x="7249902" y="5573592"/>
            <a:ext cx="2115489" cy="159955"/>
          </a:xfrm>
          <a:prstGeom prst="rect">
            <a:avLst/>
          </a:prstGeom>
          <a:solidFill>
            <a:srgbClr val="3EFAC5"/>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prstClr val="black"/>
                </a:solidFill>
                <a:effectLst/>
                <a:uLnTx/>
                <a:uFillTx/>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Runtime dependency mgmt.</a:t>
            </a:r>
          </a:p>
        </p:txBody>
      </p:sp>
      <p:sp>
        <p:nvSpPr>
          <p:cNvPr id="369" name="TextBox 368">
            <a:extLst>
              <a:ext uri="{FF2B5EF4-FFF2-40B4-BE49-F238E27FC236}">
                <a16:creationId xmlns:a16="http://schemas.microsoft.com/office/drawing/2014/main" id="{41C44D74-A666-C39D-3F72-49F5A885CFE6}"/>
              </a:ext>
            </a:extLst>
          </p:cNvPr>
          <p:cNvSpPr txBox="1"/>
          <p:nvPr/>
        </p:nvSpPr>
        <p:spPr>
          <a:xfrm>
            <a:off x="5985353" y="5780503"/>
            <a:ext cx="3380038" cy="159957"/>
          </a:xfrm>
          <a:prstGeom prst="rect">
            <a:avLst/>
          </a:prstGeom>
          <a:solidFill>
            <a:srgbClr val="FDD300"/>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schemeClr val="bg1"/>
                </a:solidFill>
                <a:effectLst/>
                <a:uLnTx/>
                <a:uFillTx/>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 App config. management</a:t>
            </a:r>
          </a:p>
        </p:txBody>
      </p:sp>
      <p:sp>
        <p:nvSpPr>
          <p:cNvPr id="370" name="TextBox 369">
            <a:extLst>
              <a:ext uri="{FF2B5EF4-FFF2-40B4-BE49-F238E27FC236}">
                <a16:creationId xmlns:a16="http://schemas.microsoft.com/office/drawing/2014/main" id="{44F8BDF7-2F65-F172-C54C-1CDAA48A73A5}"/>
              </a:ext>
            </a:extLst>
          </p:cNvPr>
          <p:cNvSpPr txBox="1"/>
          <p:nvPr/>
        </p:nvSpPr>
        <p:spPr>
          <a:xfrm>
            <a:off x="7249902" y="5987416"/>
            <a:ext cx="2115489" cy="159955"/>
          </a:xfrm>
          <a:prstGeom prst="rect">
            <a:avLst/>
          </a:prstGeom>
          <a:solidFill>
            <a:srgbClr val="3EFAC5"/>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prstClr val="black"/>
                </a:solidFill>
                <a:effectLst/>
                <a:uLnTx/>
                <a:uFillTx/>
                <a:latin typeface="+mj-lt"/>
              </a:defRPr>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Env. Configuration management</a:t>
            </a:r>
          </a:p>
        </p:txBody>
      </p:sp>
      <p:sp>
        <p:nvSpPr>
          <p:cNvPr id="371" name="TextBox 370">
            <a:extLst>
              <a:ext uri="{FF2B5EF4-FFF2-40B4-BE49-F238E27FC236}">
                <a16:creationId xmlns:a16="http://schemas.microsoft.com/office/drawing/2014/main" id="{27C52A69-0D64-976D-73B4-B700BCD23D55}"/>
              </a:ext>
            </a:extLst>
          </p:cNvPr>
          <p:cNvSpPr txBox="1"/>
          <p:nvPr/>
        </p:nvSpPr>
        <p:spPr>
          <a:xfrm>
            <a:off x="8345638" y="6194330"/>
            <a:ext cx="1019753" cy="159955"/>
          </a:xfrm>
          <a:prstGeom prst="rect">
            <a:avLst/>
          </a:prstGeom>
          <a:solidFill>
            <a:srgbClr val="3EFAC5"/>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prstClr val="black"/>
                </a:solidFill>
                <a:effectLst/>
                <a:uLnTx/>
                <a:uFillTx/>
                <a:latin typeface="+mj-lt"/>
              </a:defRPr>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Infra automation</a:t>
            </a:r>
          </a:p>
        </p:txBody>
      </p:sp>
      <p:sp>
        <p:nvSpPr>
          <p:cNvPr id="372" name="TextBox 371">
            <a:extLst>
              <a:ext uri="{FF2B5EF4-FFF2-40B4-BE49-F238E27FC236}">
                <a16:creationId xmlns:a16="http://schemas.microsoft.com/office/drawing/2014/main" id="{342FD9FE-AE42-04A5-8B88-2EA86EBC7736}"/>
              </a:ext>
            </a:extLst>
          </p:cNvPr>
          <p:cNvSpPr txBox="1"/>
          <p:nvPr/>
        </p:nvSpPr>
        <p:spPr>
          <a:xfrm>
            <a:off x="3655648" y="4745948"/>
            <a:ext cx="2246999" cy="159955"/>
          </a:xfrm>
          <a:prstGeom prst="rect">
            <a:avLst/>
          </a:prstGeom>
          <a:solidFill>
            <a:srgbClr val="FDD300"/>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schemeClr val="bg1"/>
                </a:solidFill>
                <a:effectLst/>
                <a:uLnTx/>
                <a:uFillTx/>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Source code control</a:t>
            </a:r>
          </a:p>
        </p:txBody>
      </p:sp>
      <p:sp>
        <p:nvSpPr>
          <p:cNvPr id="373" name="TextBox 372">
            <a:extLst>
              <a:ext uri="{FF2B5EF4-FFF2-40B4-BE49-F238E27FC236}">
                <a16:creationId xmlns:a16="http://schemas.microsoft.com/office/drawing/2014/main" id="{67E08F47-7B0E-9B3F-EC3A-C5C853B5B49C}"/>
              </a:ext>
            </a:extLst>
          </p:cNvPr>
          <p:cNvSpPr txBox="1"/>
          <p:nvPr/>
        </p:nvSpPr>
        <p:spPr>
          <a:xfrm>
            <a:off x="4132910" y="4952859"/>
            <a:ext cx="2931413" cy="159955"/>
          </a:xfrm>
          <a:prstGeom prst="rect">
            <a:avLst/>
          </a:prstGeom>
          <a:solidFill>
            <a:srgbClr val="FDD300"/>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schemeClr val="bg1"/>
                </a:solidFill>
                <a:effectLst/>
                <a:uLnTx/>
                <a:uFillTx/>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Automated build</a:t>
            </a:r>
          </a:p>
        </p:txBody>
      </p:sp>
      <p:sp>
        <p:nvSpPr>
          <p:cNvPr id="374" name="TextBox 373">
            <a:extLst>
              <a:ext uri="{FF2B5EF4-FFF2-40B4-BE49-F238E27FC236}">
                <a16:creationId xmlns:a16="http://schemas.microsoft.com/office/drawing/2014/main" id="{799CF13B-3B6D-C7DB-5CF3-85405B52C811}"/>
              </a:ext>
            </a:extLst>
          </p:cNvPr>
          <p:cNvSpPr txBox="1"/>
          <p:nvPr/>
        </p:nvSpPr>
        <p:spPr>
          <a:xfrm>
            <a:off x="4132910" y="5159770"/>
            <a:ext cx="2931413" cy="159955"/>
          </a:xfrm>
          <a:prstGeom prst="rect">
            <a:avLst/>
          </a:prstGeom>
          <a:solidFill>
            <a:srgbClr val="FDD300"/>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schemeClr val="bg1"/>
                </a:solidFill>
                <a:effectLst/>
                <a:uLnTx/>
                <a:uFillTx/>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Build dependency management</a:t>
            </a:r>
          </a:p>
        </p:txBody>
      </p:sp>
      <p:sp>
        <p:nvSpPr>
          <p:cNvPr id="375" name="TextBox 374">
            <a:extLst>
              <a:ext uri="{FF2B5EF4-FFF2-40B4-BE49-F238E27FC236}">
                <a16:creationId xmlns:a16="http://schemas.microsoft.com/office/drawing/2014/main" id="{ACC7A7B5-B1B5-138D-E4F2-838196DC5988}"/>
              </a:ext>
            </a:extLst>
          </p:cNvPr>
          <p:cNvSpPr txBox="1"/>
          <p:nvPr/>
        </p:nvSpPr>
        <p:spPr>
          <a:xfrm>
            <a:off x="4132910" y="5366681"/>
            <a:ext cx="2931413" cy="159955"/>
          </a:xfrm>
          <a:prstGeom prst="rect">
            <a:avLst/>
          </a:prstGeom>
          <a:solidFill>
            <a:srgbClr val="FDD300"/>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schemeClr val="bg1"/>
                </a:solidFill>
                <a:effectLst/>
                <a:uLnTx/>
                <a:uFillTx/>
                <a:latin typeface="+mj-lt"/>
              </a:defRPr>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Code scan</a:t>
            </a:r>
          </a:p>
        </p:txBody>
      </p:sp>
      <p:sp>
        <p:nvSpPr>
          <p:cNvPr id="376" name="TextBox 375">
            <a:extLst>
              <a:ext uri="{FF2B5EF4-FFF2-40B4-BE49-F238E27FC236}">
                <a16:creationId xmlns:a16="http://schemas.microsoft.com/office/drawing/2014/main" id="{107B72FC-B1FF-9BCB-8B49-E93EE95B9A74}"/>
              </a:ext>
            </a:extLst>
          </p:cNvPr>
          <p:cNvSpPr txBox="1"/>
          <p:nvPr/>
        </p:nvSpPr>
        <p:spPr>
          <a:xfrm>
            <a:off x="5985353" y="5573592"/>
            <a:ext cx="1078969" cy="159955"/>
          </a:xfrm>
          <a:prstGeom prst="rect">
            <a:avLst/>
          </a:prstGeom>
          <a:solidFill>
            <a:srgbClr val="FDD300"/>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schemeClr val="bg1"/>
                </a:solidFill>
                <a:effectLst/>
                <a:uLnTx/>
                <a:uFillTx/>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Open Sans"/>
              </a:rPr>
              <a:t>Automated unit testing</a:t>
            </a:r>
          </a:p>
        </p:txBody>
      </p:sp>
      <p:sp>
        <p:nvSpPr>
          <p:cNvPr id="377" name="TextBox 376">
            <a:extLst>
              <a:ext uri="{FF2B5EF4-FFF2-40B4-BE49-F238E27FC236}">
                <a16:creationId xmlns:a16="http://schemas.microsoft.com/office/drawing/2014/main" id="{0AAADBC8-23CA-2BAE-2A1D-87365052342F}"/>
              </a:ext>
            </a:extLst>
          </p:cNvPr>
          <p:cNvSpPr txBox="1"/>
          <p:nvPr/>
        </p:nvSpPr>
        <p:spPr>
          <a:xfrm>
            <a:off x="8383471" y="4745948"/>
            <a:ext cx="981919" cy="276067"/>
          </a:xfrm>
          <a:prstGeom prst="rect">
            <a:avLst/>
          </a:prstGeom>
          <a:solidFill>
            <a:srgbClr val="3EFAC5"/>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prstClr val="black"/>
                </a:solidFill>
                <a:effectLst/>
                <a:uLnTx/>
                <a:uFillTx/>
                <a:latin typeface="+mj-lt"/>
              </a:defRPr>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Automated functional testing</a:t>
            </a:r>
          </a:p>
        </p:txBody>
      </p:sp>
      <p:sp>
        <p:nvSpPr>
          <p:cNvPr id="378" name="TextBox 377">
            <a:extLst>
              <a:ext uri="{FF2B5EF4-FFF2-40B4-BE49-F238E27FC236}">
                <a16:creationId xmlns:a16="http://schemas.microsoft.com/office/drawing/2014/main" id="{023A2276-E2B0-5454-AC92-694CC6933612}"/>
              </a:ext>
            </a:extLst>
          </p:cNvPr>
          <p:cNvSpPr txBox="1"/>
          <p:nvPr/>
        </p:nvSpPr>
        <p:spPr>
          <a:xfrm>
            <a:off x="8383471" y="5092501"/>
            <a:ext cx="981919" cy="276067"/>
          </a:xfrm>
          <a:prstGeom prst="rect">
            <a:avLst/>
          </a:prstGeom>
          <a:solidFill>
            <a:srgbClr val="3EFAC5"/>
          </a:solidFill>
          <a:ln w="38100">
            <a:noFill/>
            <a:round/>
            <a:headEnd/>
            <a:tailEnd/>
          </a:ln>
        </p:spPr>
        <p:txBody>
          <a:bodyPr lIns="0" tIns="0" rIns="0" bIns="0" rtlCol="0" anchor="ctr"/>
          <a:lstStyle>
            <a:defPPr>
              <a:defRPr lang="en-US"/>
            </a:defPPr>
            <a:lvl1pPr marR="0" lvl="0" indent="0" algn="ctr" defTabSz="685800" fontAlgn="auto">
              <a:lnSpc>
                <a:spcPct val="100000"/>
              </a:lnSpc>
              <a:spcBef>
                <a:spcPts val="0"/>
              </a:spcBef>
              <a:spcAft>
                <a:spcPts val="0"/>
              </a:spcAft>
              <a:buClrTx/>
              <a:buSzTx/>
              <a:buFontTx/>
              <a:buNone/>
              <a:tabLst/>
              <a:defRPr kumimoji="0" sz="700" b="0" i="0" u="none" strike="noStrike" kern="0" cap="none" spc="0" normalizeH="0" baseline="0">
                <a:ln>
                  <a:noFill/>
                </a:ln>
                <a:solidFill>
                  <a:prstClr val="black"/>
                </a:solidFill>
                <a:effectLst/>
                <a:uLnTx/>
                <a:uFillTx/>
                <a:latin typeface="+mj-lt"/>
              </a:defRPr>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Open Sans"/>
              </a:rPr>
              <a:t> Automated non-functional testing</a:t>
            </a:r>
          </a:p>
        </p:txBody>
      </p:sp>
      <p:sp>
        <p:nvSpPr>
          <p:cNvPr id="379" name="TextBox 378">
            <a:extLst>
              <a:ext uri="{FF2B5EF4-FFF2-40B4-BE49-F238E27FC236}">
                <a16:creationId xmlns:a16="http://schemas.microsoft.com/office/drawing/2014/main" id="{34BD6491-60C0-93A0-D20F-C4B524BDD9D9}"/>
              </a:ext>
            </a:extLst>
          </p:cNvPr>
          <p:cNvSpPr txBox="1"/>
          <p:nvPr/>
        </p:nvSpPr>
        <p:spPr>
          <a:xfrm rot="16200000">
            <a:off x="2909598" y="2796225"/>
            <a:ext cx="1270854" cy="207749"/>
          </a:xfrm>
          <a:prstGeom prst="rect">
            <a:avLst/>
          </a:prstGeom>
          <a:noFill/>
        </p:spPr>
        <p:txBody>
          <a:bodyPr wrap="square" rtlCol="0">
            <a:spAutoFit/>
          </a:bodyPr>
          <a:lstStyle/>
          <a:p>
            <a:pPr algn="ctr" defTabSz="1219170">
              <a:defRPr/>
            </a:pPr>
            <a:r>
              <a:rPr lang="en-US" sz="750" b="1" dirty="0">
                <a:solidFill>
                  <a:prstClr val="black"/>
                </a:solidFill>
                <a:latin typeface="Open Sans"/>
              </a:rPr>
              <a:t>Key Activities</a:t>
            </a:r>
          </a:p>
        </p:txBody>
      </p:sp>
      <p:sp>
        <p:nvSpPr>
          <p:cNvPr id="380" name="TextBox 379">
            <a:extLst>
              <a:ext uri="{FF2B5EF4-FFF2-40B4-BE49-F238E27FC236}">
                <a16:creationId xmlns:a16="http://schemas.microsoft.com/office/drawing/2014/main" id="{3FEAA639-F309-54E6-CFAE-1362A7D5DEE0}"/>
              </a:ext>
            </a:extLst>
          </p:cNvPr>
          <p:cNvSpPr txBox="1"/>
          <p:nvPr/>
        </p:nvSpPr>
        <p:spPr>
          <a:xfrm rot="16200000">
            <a:off x="2909599" y="3938101"/>
            <a:ext cx="1270854" cy="207749"/>
          </a:xfrm>
          <a:prstGeom prst="rect">
            <a:avLst/>
          </a:prstGeom>
          <a:noFill/>
        </p:spPr>
        <p:txBody>
          <a:bodyPr wrap="square" rtlCol="0">
            <a:spAutoFit/>
          </a:bodyPr>
          <a:lstStyle/>
          <a:p>
            <a:pPr algn="ctr" defTabSz="1219170">
              <a:defRPr/>
            </a:pPr>
            <a:r>
              <a:rPr lang="en-US" sz="750" b="1" dirty="0">
                <a:solidFill>
                  <a:prstClr val="black"/>
                </a:solidFill>
                <a:latin typeface="Open Sans"/>
              </a:rPr>
              <a:t>Summary</a:t>
            </a:r>
          </a:p>
        </p:txBody>
      </p:sp>
      <p:sp>
        <p:nvSpPr>
          <p:cNvPr id="381" name="TextBox 380">
            <a:extLst>
              <a:ext uri="{FF2B5EF4-FFF2-40B4-BE49-F238E27FC236}">
                <a16:creationId xmlns:a16="http://schemas.microsoft.com/office/drawing/2014/main" id="{D4BB1032-57D5-8B57-3678-56548A2E677B}"/>
              </a:ext>
            </a:extLst>
          </p:cNvPr>
          <p:cNvSpPr txBox="1"/>
          <p:nvPr/>
        </p:nvSpPr>
        <p:spPr>
          <a:xfrm rot="16200000">
            <a:off x="2909599" y="5257154"/>
            <a:ext cx="1270854" cy="207749"/>
          </a:xfrm>
          <a:prstGeom prst="rect">
            <a:avLst/>
          </a:prstGeom>
          <a:noFill/>
        </p:spPr>
        <p:txBody>
          <a:bodyPr wrap="square" rtlCol="0">
            <a:spAutoFit/>
          </a:bodyPr>
          <a:lstStyle/>
          <a:p>
            <a:pPr algn="ctr" defTabSz="1219170">
              <a:defRPr/>
            </a:pPr>
            <a:r>
              <a:rPr lang="en-US" sz="750" b="1" dirty="0">
                <a:solidFill>
                  <a:prstClr val="black"/>
                </a:solidFill>
                <a:latin typeface="Open Sans"/>
              </a:rPr>
              <a:t>Capabilities</a:t>
            </a:r>
          </a:p>
        </p:txBody>
      </p:sp>
      <p:sp>
        <p:nvSpPr>
          <p:cNvPr id="382" name="Rectangle 381">
            <a:extLst>
              <a:ext uri="{FF2B5EF4-FFF2-40B4-BE49-F238E27FC236}">
                <a16:creationId xmlns:a16="http://schemas.microsoft.com/office/drawing/2014/main" id="{71E2F4BD-21F6-83EB-8F1A-10AAB16AB101}"/>
              </a:ext>
            </a:extLst>
          </p:cNvPr>
          <p:cNvSpPr/>
          <p:nvPr/>
        </p:nvSpPr>
        <p:spPr bwMode="gray">
          <a:xfrm>
            <a:off x="3662001" y="1908153"/>
            <a:ext cx="4564002" cy="274320"/>
          </a:xfrm>
          <a:prstGeom prst="rect">
            <a:avLst/>
          </a:prstGeom>
          <a:solidFill>
            <a:srgbClr val="34F0FF"/>
          </a:solidFill>
          <a:ln w="9525">
            <a:noFill/>
            <a:round/>
            <a:headEnd/>
            <a:tailEnd/>
          </a:ln>
        </p:spPr>
        <p:txBody>
          <a:bodyPr lIns="54864" tIns="54864" rIns="54864" bIns="5486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Open Sans"/>
              </a:rPr>
              <a:t>Commit stage</a:t>
            </a:r>
          </a:p>
        </p:txBody>
      </p:sp>
      <p:sp>
        <p:nvSpPr>
          <p:cNvPr id="383" name="Rectangle 382">
            <a:extLst>
              <a:ext uri="{FF2B5EF4-FFF2-40B4-BE49-F238E27FC236}">
                <a16:creationId xmlns:a16="http://schemas.microsoft.com/office/drawing/2014/main" id="{77B8924C-154D-42D8-7EE6-DB33240C23D1}"/>
              </a:ext>
            </a:extLst>
          </p:cNvPr>
          <p:cNvSpPr/>
          <p:nvPr/>
        </p:nvSpPr>
        <p:spPr bwMode="gray">
          <a:xfrm>
            <a:off x="9454674" y="1908153"/>
            <a:ext cx="1078970" cy="274320"/>
          </a:xfrm>
          <a:prstGeom prst="rect">
            <a:avLst/>
          </a:prstGeom>
          <a:solidFill>
            <a:srgbClr val="34F0FF"/>
          </a:solidFill>
          <a:ln w="9525">
            <a:noFill/>
            <a:round/>
            <a:headEnd/>
            <a:tailEnd/>
          </a:ln>
        </p:spPr>
        <p:txBody>
          <a:bodyPr lIns="54864" tIns="54864" rIns="54864" bIns="5486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Open Sans"/>
              </a:rPr>
              <a:t>Deploy</a:t>
            </a:r>
          </a:p>
        </p:txBody>
      </p:sp>
      <p:sp>
        <p:nvSpPr>
          <p:cNvPr id="384" name="Rectangle 383">
            <a:extLst>
              <a:ext uri="{FF2B5EF4-FFF2-40B4-BE49-F238E27FC236}">
                <a16:creationId xmlns:a16="http://schemas.microsoft.com/office/drawing/2014/main" id="{294FBD7A-EBCF-91F4-F78E-7726804FA872}"/>
              </a:ext>
            </a:extLst>
          </p:cNvPr>
          <p:cNvSpPr/>
          <p:nvPr/>
        </p:nvSpPr>
        <p:spPr bwMode="gray">
          <a:xfrm>
            <a:off x="8286420" y="1908153"/>
            <a:ext cx="1060240" cy="274320"/>
          </a:xfrm>
          <a:prstGeom prst="rect">
            <a:avLst/>
          </a:prstGeom>
          <a:solidFill>
            <a:srgbClr val="34F0FF"/>
          </a:solidFill>
          <a:ln w="9525">
            <a:noFill/>
            <a:round/>
            <a:headEnd/>
            <a:tailEnd/>
          </a:ln>
        </p:spPr>
        <p:txBody>
          <a:bodyPr lIns="54864" tIns="54864" rIns="54864" bIns="5486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Open Sans"/>
              </a:rPr>
              <a:t>Acceptance testing</a:t>
            </a:r>
          </a:p>
        </p:txBody>
      </p:sp>
      <p:sp>
        <p:nvSpPr>
          <p:cNvPr id="385" name="Rectangle 384">
            <a:extLst>
              <a:ext uri="{FF2B5EF4-FFF2-40B4-BE49-F238E27FC236}">
                <a16:creationId xmlns:a16="http://schemas.microsoft.com/office/drawing/2014/main" id="{A7FFB7A1-FDAE-F585-3CE3-D2B5430A9D3F}"/>
              </a:ext>
            </a:extLst>
          </p:cNvPr>
          <p:cNvSpPr/>
          <p:nvPr/>
        </p:nvSpPr>
        <p:spPr bwMode="gray">
          <a:xfrm>
            <a:off x="3655648" y="1627565"/>
            <a:ext cx="4562194" cy="222189"/>
          </a:xfrm>
          <a:prstGeom prst="rect">
            <a:avLst/>
          </a:prstGeom>
          <a:solidFill>
            <a:srgbClr val="FFFFFF">
              <a:lumMod val="85000"/>
            </a:srgbClr>
          </a:solidFill>
          <a:ln w="9525">
            <a:noFill/>
            <a:round/>
            <a:headEnd/>
            <a:tailEnd/>
          </a:ln>
        </p:spPr>
        <p:txBody>
          <a:bodyPr lIns="54864" tIns="54864" rIns="54864" bIns="5486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Open Sans"/>
              </a:rPr>
              <a:t>(Develop and build</a:t>
            </a:r>
          </a:p>
        </p:txBody>
      </p:sp>
      <p:sp>
        <p:nvSpPr>
          <p:cNvPr id="386" name="Rectangle 385">
            <a:extLst>
              <a:ext uri="{FF2B5EF4-FFF2-40B4-BE49-F238E27FC236}">
                <a16:creationId xmlns:a16="http://schemas.microsoft.com/office/drawing/2014/main" id="{CBE2CE26-B0E0-3838-3A88-53FCC8C6165B}"/>
              </a:ext>
            </a:extLst>
          </p:cNvPr>
          <p:cNvSpPr/>
          <p:nvPr/>
        </p:nvSpPr>
        <p:spPr bwMode="gray">
          <a:xfrm>
            <a:off x="9454675" y="1627565"/>
            <a:ext cx="2256360" cy="222189"/>
          </a:xfrm>
          <a:prstGeom prst="rect">
            <a:avLst/>
          </a:prstGeom>
          <a:solidFill>
            <a:srgbClr val="FFFFFF">
              <a:lumMod val="85000"/>
            </a:srgbClr>
          </a:solidFill>
          <a:ln w="9525">
            <a:noFill/>
            <a:round/>
            <a:headEnd/>
            <a:tailEnd/>
          </a:ln>
        </p:spPr>
        <p:txBody>
          <a:bodyPr lIns="54864" tIns="54864" rIns="54864" bIns="5486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Open Sans"/>
              </a:rPr>
              <a:t>Release</a:t>
            </a:r>
          </a:p>
        </p:txBody>
      </p:sp>
      <p:sp>
        <p:nvSpPr>
          <p:cNvPr id="387" name="Rectangle 386">
            <a:extLst>
              <a:ext uri="{FF2B5EF4-FFF2-40B4-BE49-F238E27FC236}">
                <a16:creationId xmlns:a16="http://schemas.microsoft.com/office/drawing/2014/main" id="{10316982-49EC-7C2A-693B-11615AD7EA62}"/>
              </a:ext>
            </a:extLst>
          </p:cNvPr>
          <p:cNvSpPr/>
          <p:nvPr/>
        </p:nvSpPr>
        <p:spPr bwMode="gray">
          <a:xfrm>
            <a:off x="8286421" y="1627565"/>
            <a:ext cx="1060240" cy="233626"/>
          </a:xfrm>
          <a:prstGeom prst="rect">
            <a:avLst/>
          </a:prstGeom>
          <a:solidFill>
            <a:srgbClr val="FFFFFF">
              <a:lumMod val="85000"/>
            </a:srgbClr>
          </a:solidFill>
          <a:ln w="9525">
            <a:noFill/>
            <a:round/>
            <a:headEnd/>
            <a:tailEnd/>
          </a:ln>
        </p:spPr>
        <p:txBody>
          <a:bodyPr lIns="54864" tIns="54864" rIns="54864" bIns="54864"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Open Sans"/>
              </a:rPr>
              <a:t>Test</a:t>
            </a:r>
          </a:p>
        </p:txBody>
      </p:sp>
      <p:cxnSp>
        <p:nvCxnSpPr>
          <p:cNvPr id="388" name="Straight Connector 387">
            <a:extLst>
              <a:ext uri="{FF2B5EF4-FFF2-40B4-BE49-F238E27FC236}">
                <a16:creationId xmlns:a16="http://schemas.microsoft.com/office/drawing/2014/main" id="{A5011EB5-B6FD-4FC2-F9AC-9DFDEB0AE3DA}"/>
              </a:ext>
            </a:extLst>
          </p:cNvPr>
          <p:cNvCxnSpPr/>
          <p:nvPr/>
        </p:nvCxnSpPr>
        <p:spPr>
          <a:xfrm>
            <a:off x="3346486" y="1599819"/>
            <a:ext cx="0" cy="4754471"/>
          </a:xfrm>
          <a:prstGeom prst="line">
            <a:avLst/>
          </a:prstGeom>
          <a:noFill/>
          <a:ln w="6350" cap="flat" cmpd="sng" algn="ctr">
            <a:solidFill>
              <a:srgbClr val="000000"/>
            </a:solidFill>
            <a:prstDash val="dash"/>
            <a:miter lim="800000"/>
          </a:ln>
          <a:effectLst/>
        </p:spPr>
      </p:cxnSp>
      <p:cxnSp>
        <p:nvCxnSpPr>
          <p:cNvPr id="389" name="Straight Connector 388">
            <a:extLst>
              <a:ext uri="{FF2B5EF4-FFF2-40B4-BE49-F238E27FC236}">
                <a16:creationId xmlns:a16="http://schemas.microsoft.com/office/drawing/2014/main" id="{283912E8-D08D-401D-A8FB-3F197185541D}"/>
              </a:ext>
            </a:extLst>
          </p:cNvPr>
          <p:cNvCxnSpPr>
            <a:cxnSpLocks/>
          </p:cNvCxnSpPr>
          <p:nvPr/>
        </p:nvCxnSpPr>
        <p:spPr>
          <a:xfrm>
            <a:off x="3662001" y="1445915"/>
            <a:ext cx="7997530" cy="1"/>
          </a:xfrm>
          <a:prstGeom prst="line">
            <a:avLst/>
          </a:prstGeom>
          <a:noFill/>
          <a:ln w="25400" cap="flat" cmpd="sng" algn="ctr">
            <a:solidFill>
              <a:srgbClr val="000000"/>
            </a:solidFill>
            <a:prstDash val="solid"/>
            <a:miter lim="800000"/>
          </a:ln>
          <a:effectLst/>
        </p:spPr>
      </p:cxnSp>
      <p:sp>
        <p:nvSpPr>
          <p:cNvPr id="390" name="TextBox 389">
            <a:extLst>
              <a:ext uri="{FF2B5EF4-FFF2-40B4-BE49-F238E27FC236}">
                <a16:creationId xmlns:a16="http://schemas.microsoft.com/office/drawing/2014/main" id="{16102585-9561-0EE3-6687-4C92CA453F41}"/>
              </a:ext>
            </a:extLst>
          </p:cNvPr>
          <p:cNvSpPr txBox="1"/>
          <p:nvPr/>
        </p:nvSpPr>
        <p:spPr>
          <a:xfrm>
            <a:off x="7100356" y="1323268"/>
            <a:ext cx="1120821" cy="261610"/>
          </a:xfrm>
          <a:prstGeom prst="rect">
            <a:avLst/>
          </a:prstGeom>
          <a:solidFill>
            <a:srgbClr val="FFFFFF"/>
          </a:solidFill>
        </p:spPr>
        <p:txBody>
          <a:bodyPr wrap="none" rtlCol="0">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Open Sans"/>
              </a:rPr>
              <a:t>Key activities</a:t>
            </a:r>
          </a:p>
        </p:txBody>
      </p:sp>
      <p:grpSp>
        <p:nvGrpSpPr>
          <p:cNvPr id="391" name="Group 390">
            <a:extLst>
              <a:ext uri="{FF2B5EF4-FFF2-40B4-BE49-F238E27FC236}">
                <a16:creationId xmlns:a16="http://schemas.microsoft.com/office/drawing/2014/main" id="{6795C9E6-F455-DD69-3636-C6AD360C36B1}"/>
              </a:ext>
            </a:extLst>
          </p:cNvPr>
          <p:cNvGrpSpPr/>
          <p:nvPr/>
        </p:nvGrpSpPr>
        <p:grpSpPr>
          <a:xfrm>
            <a:off x="485253" y="1334966"/>
            <a:ext cx="2607268" cy="261610"/>
            <a:chOff x="485253" y="1172162"/>
            <a:chExt cx="2607268" cy="261610"/>
          </a:xfrm>
        </p:grpSpPr>
        <p:cxnSp>
          <p:nvCxnSpPr>
            <p:cNvPr id="392" name="Straight Connector 391">
              <a:extLst>
                <a:ext uri="{FF2B5EF4-FFF2-40B4-BE49-F238E27FC236}">
                  <a16:creationId xmlns:a16="http://schemas.microsoft.com/office/drawing/2014/main" id="{FEE6E816-2D2B-38E3-B4D5-12D616F52728}"/>
                </a:ext>
              </a:extLst>
            </p:cNvPr>
            <p:cNvCxnSpPr>
              <a:cxnSpLocks/>
            </p:cNvCxnSpPr>
            <p:nvPr/>
          </p:nvCxnSpPr>
          <p:spPr>
            <a:xfrm>
              <a:off x="485253" y="1295617"/>
              <a:ext cx="2607268" cy="3953"/>
            </a:xfrm>
            <a:prstGeom prst="line">
              <a:avLst/>
            </a:prstGeom>
            <a:noFill/>
            <a:ln w="25400" cap="flat" cmpd="sng" algn="ctr">
              <a:solidFill>
                <a:srgbClr val="000000"/>
              </a:solidFill>
              <a:prstDash val="solid"/>
              <a:miter lim="800000"/>
            </a:ln>
            <a:effectLst/>
          </p:spPr>
        </p:cxnSp>
        <p:sp>
          <p:nvSpPr>
            <p:cNvPr id="393" name="TextBox 392">
              <a:extLst>
                <a:ext uri="{FF2B5EF4-FFF2-40B4-BE49-F238E27FC236}">
                  <a16:creationId xmlns:a16="http://schemas.microsoft.com/office/drawing/2014/main" id="{1E687D0D-DDE3-8099-DCCA-627C8AFD5978}"/>
                </a:ext>
              </a:extLst>
            </p:cNvPr>
            <p:cNvSpPr txBox="1"/>
            <p:nvPr/>
          </p:nvSpPr>
          <p:spPr>
            <a:xfrm>
              <a:off x="1351107" y="1172162"/>
              <a:ext cx="875560" cy="261610"/>
            </a:xfrm>
            <a:prstGeom prst="rect">
              <a:avLst/>
            </a:prstGeom>
            <a:solidFill>
              <a:srgbClr val="FFFFFF"/>
            </a:solidFill>
          </p:spPr>
          <p:txBody>
            <a:bodyPr wrap="square" rtlCol="0">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Open Sans"/>
                </a:rPr>
                <a:t>Principles</a:t>
              </a:r>
            </a:p>
          </p:txBody>
        </p:sp>
      </p:grpSp>
      <p:sp>
        <p:nvSpPr>
          <p:cNvPr id="394" name="Rectangle 393">
            <a:extLst>
              <a:ext uri="{FF2B5EF4-FFF2-40B4-BE49-F238E27FC236}">
                <a16:creationId xmlns:a16="http://schemas.microsoft.com/office/drawing/2014/main" id="{9FF891DC-02BC-B5D1-91DD-DCAF83A4AB02}"/>
              </a:ext>
            </a:extLst>
          </p:cNvPr>
          <p:cNvSpPr/>
          <p:nvPr/>
        </p:nvSpPr>
        <p:spPr bwMode="gray">
          <a:xfrm>
            <a:off x="10203190" y="5987416"/>
            <a:ext cx="1373318" cy="366849"/>
          </a:xfrm>
          <a:prstGeom prst="rect">
            <a:avLst/>
          </a:prstGeom>
          <a:noFill/>
          <a:ln w="19050" algn="ctr">
            <a:solidFill>
              <a:srgbClr val="FFFFFF">
                <a:lumMod val="75000"/>
              </a:srgbClr>
            </a:solid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Open Sans"/>
            </a:endParaRPr>
          </a:p>
        </p:txBody>
      </p:sp>
      <p:sp>
        <p:nvSpPr>
          <p:cNvPr id="395" name="Rectangle 394">
            <a:extLst>
              <a:ext uri="{FF2B5EF4-FFF2-40B4-BE49-F238E27FC236}">
                <a16:creationId xmlns:a16="http://schemas.microsoft.com/office/drawing/2014/main" id="{F0ECF51F-10A8-E5CA-468A-612B1E3E1A8F}"/>
              </a:ext>
            </a:extLst>
          </p:cNvPr>
          <p:cNvSpPr/>
          <p:nvPr/>
        </p:nvSpPr>
        <p:spPr bwMode="gray">
          <a:xfrm>
            <a:off x="10454451" y="5907792"/>
            <a:ext cx="929941" cy="143276"/>
          </a:xfrm>
          <a:prstGeom prst="rect">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0" cap="none" spc="0" normalizeH="0" baseline="0" noProof="0" dirty="0">
                <a:ln>
                  <a:noFill/>
                </a:ln>
                <a:solidFill>
                  <a:prstClr val="black"/>
                </a:solidFill>
                <a:effectLst/>
                <a:uLnTx/>
                <a:uFillTx/>
                <a:latin typeface="Open Sans"/>
              </a:rPr>
              <a:t>Legend</a:t>
            </a:r>
          </a:p>
        </p:txBody>
      </p:sp>
      <p:sp>
        <p:nvSpPr>
          <p:cNvPr id="396" name="Oval 395">
            <a:extLst>
              <a:ext uri="{FF2B5EF4-FFF2-40B4-BE49-F238E27FC236}">
                <a16:creationId xmlns:a16="http://schemas.microsoft.com/office/drawing/2014/main" id="{6CD73F6E-210D-0689-79CB-41F63E4EF8DE}"/>
              </a:ext>
            </a:extLst>
          </p:cNvPr>
          <p:cNvSpPr>
            <a:spLocks noChangeAspect="1"/>
          </p:cNvSpPr>
          <p:nvPr/>
        </p:nvSpPr>
        <p:spPr bwMode="gray">
          <a:xfrm>
            <a:off x="463422" y="3695037"/>
            <a:ext cx="453422" cy="453422"/>
          </a:xfrm>
          <a:prstGeom prst="ellipse">
            <a:avLst/>
          </a:prstGeom>
          <a:solidFill>
            <a:srgbClr val="3EFAC5"/>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800" b="1" i="0" u="none" strike="noStrike" kern="0" cap="none" spc="0" normalizeH="0" baseline="0" noProof="0" dirty="0">
                <a:ln>
                  <a:noFill/>
                </a:ln>
                <a:solidFill>
                  <a:prstClr val="white"/>
                </a:solidFill>
                <a:effectLst/>
                <a:uLnTx/>
                <a:uFillTx/>
                <a:latin typeface="Open Sans"/>
              </a:rPr>
              <a:t>CD</a:t>
            </a:r>
          </a:p>
        </p:txBody>
      </p:sp>
      <p:sp>
        <p:nvSpPr>
          <p:cNvPr id="397" name="Oval 396">
            <a:extLst>
              <a:ext uri="{FF2B5EF4-FFF2-40B4-BE49-F238E27FC236}">
                <a16:creationId xmlns:a16="http://schemas.microsoft.com/office/drawing/2014/main" id="{13C5FF76-8BDB-D723-EE3A-AE3383C9323B}"/>
              </a:ext>
            </a:extLst>
          </p:cNvPr>
          <p:cNvSpPr/>
          <p:nvPr/>
        </p:nvSpPr>
        <p:spPr bwMode="gray">
          <a:xfrm>
            <a:off x="480964" y="2145056"/>
            <a:ext cx="457200" cy="457200"/>
          </a:xfrm>
          <a:prstGeom prst="ellipse">
            <a:avLst/>
          </a:prstGeom>
          <a:solidFill>
            <a:srgbClr val="FDD300"/>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800" b="1" i="0" u="none" strike="noStrike" kern="0" cap="none" spc="0" normalizeH="0" baseline="0" noProof="0" dirty="0">
                <a:ln>
                  <a:noFill/>
                </a:ln>
                <a:solidFill>
                  <a:prstClr val="white"/>
                </a:solidFill>
                <a:effectLst/>
                <a:uLnTx/>
                <a:uFillTx/>
                <a:latin typeface="Open Sans"/>
              </a:rPr>
              <a:t>CI</a:t>
            </a:r>
          </a:p>
        </p:txBody>
      </p:sp>
      <p:sp>
        <p:nvSpPr>
          <p:cNvPr id="398" name="Oval 397">
            <a:extLst>
              <a:ext uri="{FF2B5EF4-FFF2-40B4-BE49-F238E27FC236}">
                <a16:creationId xmlns:a16="http://schemas.microsoft.com/office/drawing/2014/main" id="{37B54575-D816-73B7-5D9F-46645E7F394B}"/>
              </a:ext>
            </a:extLst>
          </p:cNvPr>
          <p:cNvSpPr>
            <a:spLocks/>
          </p:cNvSpPr>
          <p:nvPr/>
        </p:nvSpPr>
        <p:spPr bwMode="gray">
          <a:xfrm>
            <a:off x="480964" y="5091125"/>
            <a:ext cx="457200" cy="457200"/>
          </a:xfrm>
          <a:prstGeom prst="ellipse">
            <a:avLst/>
          </a:prstGeom>
          <a:solidFill>
            <a:srgbClr val="86F200"/>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800" b="1" i="0" u="none" strike="noStrike" kern="0" cap="none" spc="0" normalizeH="0" baseline="0" noProof="0" dirty="0">
                <a:ln>
                  <a:noFill/>
                </a:ln>
                <a:solidFill>
                  <a:prstClr val="white"/>
                </a:solidFill>
                <a:effectLst/>
                <a:uLnTx/>
                <a:uFillTx/>
                <a:latin typeface="Open Sans"/>
              </a:rPr>
              <a:t>AT</a:t>
            </a:r>
          </a:p>
        </p:txBody>
      </p:sp>
    </p:spTree>
    <p:extLst>
      <p:ext uri="{BB962C8B-B14F-4D97-AF65-F5344CB8AC3E}">
        <p14:creationId xmlns:p14="http://schemas.microsoft.com/office/powerpoint/2010/main" val="1779559785"/>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757255"/>
          </a:xfrm>
        </p:spPr>
        <p:txBody>
          <a:bodyPr/>
          <a:lstStyle/>
          <a:p>
            <a:r>
              <a:rPr lang="en-US" sz="1400" dirty="0">
                <a:solidFill>
                  <a:prstClr val="black"/>
                </a:solidFill>
              </a:rPr>
              <a:t>Five core operate service areas running end-to-end operations and one engineering service area supporting maintenance, enhancements and enrichment across </a:t>
            </a:r>
            <a:r>
              <a:rPr lang="en-US" sz="1400">
                <a:solidFill>
                  <a:prstClr val="black"/>
                </a:solidFill>
              </a:rPr>
              <a:t>your ecosystem</a:t>
            </a:r>
            <a:r>
              <a:rPr lang="en-US" sz="1400" dirty="0">
                <a:solidFill>
                  <a:prstClr val="black"/>
                </a:solidFill>
              </a:rPr>
              <a:t>. </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ata Operations Services</a:t>
            </a:r>
          </a:p>
        </p:txBody>
      </p:sp>
      <p:graphicFrame>
        <p:nvGraphicFramePr>
          <p:cNvPr id="82" name="Table 81">
            <a:extLst>
              <a:ext uri="{FF2B5EF4-FFF2-40B4-BE49-F238E27FC236}">
                <a16:creationId xmlns:a16="http://schemas.microsoft.com/office/drawing/2014/main" id="{3EEEBA34-FA14-02C4-6656-AE746CD442AD}"/>
              </a:ext>
            </a:extLst>
          </p:cNvPr>
          <p:cNvGraphicFramePr>
            <a:graphicFrameLocks noGrp="1"/>
          </p:cNvGraphicFramePr>
          <p:nvPr>
            <p:extLst>
              <p:ext uri="{D42A27DB-BD31-4B8C-83A1-F6EECF244321}">
                <p14:modId xmlns:p14="http://schemas.microsoft.com/office/powerpoint/2010/main" val="1642946124"/>
              </p:ext>
            </p:extLst>
          </p:nvPr>
        </p:nvGraphicFramePr>
        <p:xfrm>
          <a:off x="4963513" y="1477171"/>
          <a:ext cx="6913455" cy="4844497"/>
        </p:xfrm>
        <a:graphic>
          <a:graphicData uri="http://schemas.openxmlformats.org/drawingml/2006/table">
            <a:tbl>
              <a:tblPr firstRow="1" bandRow="1"/>
              <a:tblGrid>
                <a:gridCol w="1531982">
                  <a:extLst>
                    <a:ext uri="{9D8B030D-6E8A-4147-A177-3AD203B41FA5}">
                      <a16:colId xmlns:a16="http://schemas.microsoft.com/office/drawing/2014/main" val="23291953"/>
                    </a:ext>
                  </a:extLst>
                </a:gridCol>
                <a:gridCol w="5381473">
                  <a:extLst>
                    <a:ext uri="{9D8B030D-6E8A-4147-A177-3AD203B41FA5}">
                      <a16:colId xmlns:a16="http://schemas.microsoft.com/office/drawing/2014/main" val="2142694948"/>
                    </a:ext>
                  </a:extLst>
                </a:gridCol>
              </a:tblGrid>
              <a:tr h="337596">
                <a:tc>
                  <a:txBody>
                    <a:bodyPr/>
                    <a:lstStyle>
                      <a:lvl1pPr marL="0" algn="l" defTabSz="685800" rtl="0" eaLnBrk="1" latinLnBrk="0" hangingPunct="1">
                        <a:defRPr sz="1350" b="1" kern="1200">
                          <a:solidFill>
                            <a:schemeClr val="bg1"/>
                          </a:solidFill>
                          <a:latin typeface="Open Sans"/>
                        </a:defRPr>
                      </a:lvl1pPr>
                      <a:lvl2pPr marL="342900" algn="l" defTabSz="685800" rtl="0" eaLnBrk="1" latinLnBrk="0" hangingPunct="1">
                        <a:defRPr sz="1350" b="1" kern="1200">
                          <a:solidFill>
                            <a:schemeClr val="bg1"/>
                          </a:solidFill>
                          <a:latin typeface="Open Sans"/>
                        </a:defRPr>
                      </a:lvl2pPr>
                      <a:lvl3pPr marL="685800" algn="l" defTabSz="685800" rtl="0" eaLnBrk="1" latinLnBrk="0" hangingPunct="1">
                        <a:defRPr sz="1350" b="1" kern="1200">
                          <a:solidFill>
                            <a:schemeClr val="bg1"/>
                          </a:solidFill>
                          <a:latin typeface="Open Sans"/>
                        </a:defRPr>
                      </a:lvl3pPr>
                      <a:lvl4pPr marL="1028700" algn="l" defTabSz="685800" rtl="0" eaLnBrk="1" latinLnBrk="0" hangingPunct="1">
                        <a:defRPr sz="1350" b="1" kern="1200">
                          <a:solidFill>
                            <a:schemeClr val="bg1"/>
                          </a:solidFill>
                          <a:latin typeface="Open Sans"/>
                        </a:defRPr>
                      </a:lvl4pPr>
                      <a:lvl5pPr marL="1371600" algn="l" defTabSz="685800" rtl="0" eaLnBrk="1" latinLnBrk="0" hangingPunct="1">
                        <a:defRPr sz="1350" b="1" kern="1200">
                          <a:solidFill>
                            <a:schemeClr val="bg1"/>
                          </a:solidFill>
                          <a:latin typeface="Open Sans"/>
                        </a:defRPr>
                      </a:lvl5pPr>
                      <a:lvl6pPr marL="1714500" algn="l" defTabSz="685800" rtl="0" eaLnBrk="1" latinLnBrk="0" hangingPunct="1">
                        <a:defRPr sz="1350" b="1" kern="1200">
                          <a:solidFill>
                            <a:schemeClr val="bg1"/>
                          </a:solidFill>
                          <a:latin typeface="Open Sans"/>
                        </a:defRPr>
                      </a:lvl6pPr>
                      <a:lvl7pPr marL="2057400" algn="l" defTabSz="685800" rtl="0" eaLnBrk="1" latinLnBrk="0" hangingPunct="1">
                        <a:defRPr sz="1350" b="1" kern="1200">
                          <a:solidFill>
                            <a:schemeClr val="bg1"/>
                          </a:solidFill>
                          <a:latin typeface="Open Sans"/>
                        </a:defRPr>
                      </a:lvl7pPr>
                      <a:lvl8pPr marL="2400300" algn="l" defTabSz="685800" rtl="0" eaLnBrk="1" latinLnBrk="0" hangingPunct="1">
                        <a:defRPr sz="1350" b="1" kern="1200">
                          <a:solidFill>
                            <a:schemeClr val="bg1"/>
                          </a:solidFill>
                          <a:latin typeface="Open Sans"/>
                        </a:defRPr>
                      </a:lvl8pPr>
                      <a:lvl9pPr marL="2743200" algn="l" defTabSz="685800" rtl="0" eaLnBrk="1" latinLnBrk="0" hangingPunct="1">
                        <a:defRPr sz="1350" b="1" kern="1200">
                          <a:solidFill>
                            <a:schemeClr val="bg1"/>
                          </a:solidFill>
                          <a:latin typeface="Open San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bg1"/>
                          </a:solidFill>
                        </a:rPr>
                        <a:t>SERVICE AREA</a:t>
                      </a:r>
                      <a:endParaRPr lang="en-US" sz="1400" b="0">
                        <a:solidFill>
                          <a:schemeClr val="bg1"/>
                        </a:solidFill>
                        <a:latin typeface="+mj-lt"/>
                      </a:endParaRPr>
                    </a:p>
                  </a:txBody>
                  <a:tcPr>
                    <a:lnL w="9525" cap="flat" cmpd="sng" algn="ctr">
                      <a:solidFill>
                        <a:srgbClr val="E3E48D">
                          <a:shade val="95000"/>
                          <a:satMod val="105000"/>
                        </a:srgbClr>
                      </a:solidFill>
                      <a:prstDash val="solid"/>
                    </a:lnL>
                    <a:lnR>
                      <a:noFill/>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solidFill>
                      <a:srgbClr val="E3E48D"/>
                    </a:solidFill>
                  </a:tcPr>
                </a:tc>
                <a:tc>
                  <a:txBody>
                    <a:bodyPr/>
                    <a:lstStyle>
                      <a:lvl1pPr marL="0" algn="l" defTabSz="685800" rtl="0" eaLnBrk="1" latinLnBrk="0" hangingPunct="1">
                        <a:defRPr sz="1350" b="1" kern="1200">
                          <a:solidFill>
                            <a:schemeClr val="bg1"/>
                          </a:solidFill>
                          <a:latin typeface="Open Sans"/>
                        </a:defRPr>
                      </a:lvl1pPr>
                      <a:lvl2pPr marL="342900" algn="l" defTabSz="685800" rtl="0" eaLnBrk="1" latinLnBrk="0" hangingPunct="1">
                        <a:defRPr sz="1350" b="1" kern="1200">
                          <a:solidFill>
                            <a:schemeClr val="bg1"/>
                          </a:solidFill>
                          <a:latin typeface="Open Sans"/>
                        </a:defRPr>
                      </a:lvl2pPr>
                      <a:lvl3pPr marL="685800" algn="l" defTabSz="685800" rtl="0" eaLnBrk="1" latinLnBrk="0" hangingPunct="1">
                        <a:defRPr sz="1350" b="1" kern="1200">
                          <a:solidFill>
                            <a:schemeClr val="bg1"/>
                          </a:solidFill>
                          <a:latin typeface="Open Sans"/>
                        </a:defRPr>
                      </a:lvl3pPr>
                      <a:lvl4pPr marL="1028700" algn="l" defTabSz="685800" rtl="0" eaLnBrk="1" latinLnBrk="0" hangingPunct="1">
                        <a:defRPr sz="1350" b="1" kern="1200">
                          <a:solidFill>
                            <a:schemeClr val="bg1"/>
                          </a:solidFill>
                          <a:latin typeface="Open Sans"/>
                        </a:defRPr>
                      </a:lvl4pPr>
                      <a:lvl5pPr marL="1371600" algn="l" defTabSz="685800" rtl="0" eaLnBrk="1" latinLnBrk="0" hangingPunct="1">
                        <a:defRPr sz="1350" b="1" kern="1200">
                          <a:solidFill>
                            <a:schemeClr val="bg1"/>
                          </a:solidFill>
                          <a:latin typeface="Open Sans"/>
                        </a:defRPr>
                      </a:lvl5pPr>
                      <a:lvl6pPr marL="1714500" algn="l" defTabSz="685800" rtl="0" eaLnBrk="1" latinLnBrk="0" hangingPunct="1">
                        <a:defRPr sz="1350" b="1" kern="1200">
                          <a:solidFill>
                            <a:schemeClr val="bg1"/>
                          </a:solidFill>
                          <a:latin typeface="Open Sans"/>
                        </a:defRPr>
                      </a:lvl6pPr>
                      <a:lvl7pPr marL="2057400" algn="l" defTabSz="685800" rtl="0" eaLnBrk="1" latinLnBrk="0" hangingPunct="1">
                        <a:defRPr sz="1350" b="1" kern="1200">
                          <a:solidFill>
                            <a:schemeClr val="bg1"/>
                          </a:solidFill>
                          <a:latin typeface="Open Sans"/>
                        </a:defRPr>
                      </a:lvl7pPr>
                      <a:lvl8pPr marL="2400300" algn="l" defTabSz="685800" rtl="0" eaLnBrk="1" latinLnBrk="0" hangingPunct="1">
                        <a:defRPr sz="1350" b="1" kern="1200">
                          <a:solidFill>
                            <a:schemeClr val="bg1"/>
                          </a:solidFill>
                          <a:latin typeface="Open Sans"/>
                        </a:defRPr>
                      </a:lvl8pPr>
                      <a:lvl9pPr marL="2743200" algn="l" defTabSz="685800" rtl="0" eaLnBrk="1" latinLnBrk="0" hangingPunct="1">
                        <a:defRPr sz="1350" b="1" kern="1200">
                          <a:solidFill>
                            <a:schemeClr val="bg1"/>
                          </a:solidFill>
                          <a:latin typeface="Open San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bg1"/>
                          </a:solidFill>
                        </a:rPr>
                        <a:t>OBJECTIVES</a:t>
                      </a:r>
                      <a:endParaRPr lang="en-US" sz="1400" b="0">
                        <a:solidFill>
                          <a:schemeClr val="bg1"/>
                        </a:solidFill>
                        <a:latin typeface="+mj-lt"/>
                      </a:endParaRPr>
                    </a:p>
                  </a:txBody>
                  <a:tcPr>
                    <a:lnL>
                      <a:noFill/>
                    </a:lnL>
                    <a:lnR w="9525" cap="flat" cmpd="sng" algn="ctr">
                      <a:solidFill>
                        <a:srgbClr val="E3E48D">
                          <a:shade val="95000"/>
                          <a:satMod val="105000"/>
                        </a:srgbClr>
                      </a:solidFill>
                      <a:prstDash val="solid"/>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solidFill>
                      <a:srgbClr val="E3E48D"/>
                    </a:solidFill>
                  </a:tcPr>
                </a:tc>
                <a:extLst>
                  <a:ext uri="{0D108BD9-81ED-4DB2-BD59-A6C34878D82A}">
                    <a16:rowId xmlns:a16="http://schemas.microsoft.com/office/drawing/2014/main" val="1359189050"/>
                  </a:ext>
                </a:extLst>
              </a:tr>
              <a:tr h="632992">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indent="0">
                        <a:buFont typeface="Arial" panose="020B0604020202020204" pitchFamily="34" charset="0"/>
                        <a:buNone/>
                      </a:pPr>
                      <a:r>
                        <a:rPr lang="en-US" sz="1100" b="1" dirty="0">
                          <a:latin typeface="+mj-lt"/>
                        </a:rPr>
                        <a:t>1. Data Operations</a:t>
                      </a:r>
                    </a:p>
                  </a:txBody>
                  <a:tcPr anchor="ctr">
                    <a:lnL w="9525" cap="flat" cmpd="sng" algn="ctr">
                      <a:solidFill>
                        <a:srgbClr val="E3E48D">
                          <a:shade val="95000"/>
                          <a:satMod val="105000"/>
                        </a:srgbClr>
                      </a:solidFill>
                      <a:prstDash val="solid"/>
                    </a:lnL>
                    <a:lnR>
                      <a:noFill/>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Provide an end-to-end data life cycle monitoring, processing and operational support  covering multiple applications, data domains/assets and platforms over on prem, hybrid &amp; cloud environments. Support for business and tech data</a:t>
                      </a:r>
                      <a:endParaRPr kumimoji="0" lang="en-US" sz="105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lnL>
                      <a:noFill/>
                    </a:lnL>
                    <a:lnR w="9525" cap="flat" cmpd="sng" algn="ctr">
                      <a:solidFill>
                        <a:srgbClr val="E3E48D">
                          <a:shade val="95000"/>
                          <a:satMod val="105000"/>
                        </a:srgbClr>
                      </a:solidFill>
                      <a:prstDash val="solid"/>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558448467"/>
                  </a:ext>
                </a:extLst>
              </a:tr>
              <a:tr h="632992">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latin typeface="+mj-lt"/>
                        </a:rPr>
                        <a:t>2. Data Management</a:t>
                      </a:r>
                      <a:endParaRPr lang="en-US" sz="1100" b="1" kern="1200">
                        <a:solidFill>
                          <a:schemeClr val="tx1"/>
                        </a:solidFill>
                        <a:latin typeface="+mj-lt"/>
                        <a:ea typeface="+mn-ea"/>
                        <a:cs typeface="+mn-cs"/>
                      </a:endParaRPr>
                    </a:p>
                  </a:txBody>
                  <a:tcPr anchor="ctr">
                    <a:lnL w="9525" cap="flat" cmpd="sng" algn="ctr">
                      <a:solidFill>
                        <a:srgbClr val="E3E48D">
                          <a:shade val="95000"/>
                          <a:satMod val="105000"/>
                        </a:srgbClr>
                      </a:solidFill>
                      <a:prstDash val="solid"/>
                    </a:lnL>
                    <a:lnR>
                      <a:noFill/>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Manage, monitor, publish and support data management life cycle covering master data, metadata, data quality, lineage, data governance from supplying to consuming applications. Support for business and tech data users</a:t>
                      </a:r>
                      <a:endParaRPr kumimoji="0" lang="en-US" sz="1050" b="1"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lnL>
                      <a:noFill/>
                    </a:lnL>
                    <a:lnR w="9525" cap="flat" cmpd="sng" algn="ctr">
                      <a:solidFill>
                        <a:srgbClr val="E3E48D">
                          <a:shade val="95000"/>
                          <a:satMod val="105000"/>
                        </a:srgbClr>
                      </a:solidFill>
                      <a:prstDash val="solid"/>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681296898"/>
                  </a:ext>
                </a:extLst>
              </a:tr>
              <a:tr h="810229">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latin typeface="+mj-lt"/>
                        </a:rPr>
                        <a:t>3. Data Distribution</a:t>
                      </a:r>
                      <a:endParaRPr lang="en-US" sz="1100" b="1" kern="1200">
                        <a:solidFill>
                          <a:schemeClr val="tx1"/>
                        </a:solidFill>
                        <a:latin typeface="+mj-lt"/>
                        <a:ea typeface="+mn-ea"/>
                        <a:cs typeface="+mn-cs"/>
                      </a:endParaRPr>
                    </a:p>
                  </a:txBody>
                  <a:tcPr anchor="ctr">
                    <a:lnL w="9525" cap="flat" cmpd="sng" algn="ctr">
                      <a:solidFill>
                        <a:srgbClr val="E3E48D">
                          <a:shade val="95000"/>
                          <a:satMod val="105000"/>
                        </a:srgbClr>
                      </a:solidFill>
                      <a:prstDash val="solid"/>
                    </a:lnL>
                    <a:lnR>
                      <a:noFill/>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Manage, monitor and support data distribution and provisioning  for both internal and external data consumers. Additionally, support extended services including self-service analytics, reporting and querying applications as well as third party data management. Support for business and tech data users</a:t>
                      </a:r>
                      <a:endParaRPr kumimoji="0" lang="en-US" sz="105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lnL>
                      <a:noFill/>
                    </a:lnL>
                    <a:lnR w="9525" cap="flat" cmpd="sng" algn="ctr">
                      <a:solidFill>
                        <a:srgbClr val="E3E48D">
                          <a:shade val="95000"/>
                          <a:satMod val="105000"/>
                        </a:srgbClr>
                      </a:solidFill>
                      <a:prstDash val="solid"/>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591182619"/>
                  </a:ext>
                </a:extLst>
              </a:tr>
              <a:tr h="810229">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latin typeface="+mj-lt"/>
                        </a:rPr>
                        <a:t>4. Data Platform</a:t>
                      </a:r>
                      <a:endParaRPr lang="en-US" sz="1100" b="1" kern="1200" dirty="0">
                        <a:solidFill>
                          <a:schemeClr val="tx1"/>
                        </a:solidFill>
                        <a:latin typeface="+mj-lt"/>
                        <a:ea typeface="+mn-ea"/>
                        <a:cs typeface="+mn-cs"/>
                      </a:endParaRPr>
                    </a:p>
                  </a:txBody>
                  <a:tcPr anchor="ctr">
                    <a:lnL w="9525" cap="flat" cmpd="sng" algn="ctr">
                      <a:solidFill>
                        <a:srgbClr val="E3E48D">
                          <a:shade val="95000"/>
                          <a:satMod val="105000"/>
                        </a:srgbClr>
                      </a:solidFill>
                      <a:prstDash val="solid"/>
                    </a:lnL>
                    <a:lnR>
                      <a:noFill/>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Administer, manage and monitor data platforms as well as integration and enablement tools in on-prem, hybrid and cloud environments. Additionally, support infrastructure and platform management services including IaaS/PaaS automation, configuration management and backup/recovery</a:t>
                      </a:r>
                      <a:endParaRPr kumimoji="0" lang="en-US" sz="105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lnL>
                      <a:noFill/>
                    </a:lnL>
                    <a:lnR w="9525" cap="flat" cmpd="sng" algn="ctr">
                      <a:solidFill>
                        <a:srgbClr val="E3E48D">
                          <a:shade val="95000"/>
                          <a:satMod val="105000"/>
                        </a:srgbClr>
                      </a:solidFill>
                      <a:prstDash val="solid"/>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446200526"/>
                  </a:ext>
                </a:extLst>
              </a:tr>
              <a:tr h="987467">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latin typeface="+mj-lt"/>
                        </a:rPr>
                        <a:t>5. Data Security</a:t>
                      </a:r>
                      <a:endParaRPr lang="en-US" sz="1100" b="1" kern="1200">
                        <a:solidFill>
                          <a:schemeClr val="tx1"/>
                        </a:solidFill>
                        <a:latin typeface="+mj-lt"/>
                        <a:ea typeface="+mn-ea"/>
                        <a:cs typeface="+mn-cs"/>
                      </a:endParaRPr>
                    </a:p>
                  </a:txBody>
                  <a:tcPr anchor="ctr">
                    <a:lnL w="9525" cap="flat" cmpd="sng" algn="ctr">
                      <a:solidFill>
                        <a:srgbClr val="E3E48D">
                          <a:shade val="95000"/>
                          <a:satMod val="105000"/>
                        </a:srgbClr>
                      </a:solidFill>
                      <a:prstDash val="solid"/>
                    </a:lnL>
                    <a:lnR>
                      <a:noFill/>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Manage, monitor and support infrastructure, platform and data security for data domains/assets and data platforms. This includes authentication, authorization, auditing and data protection services. Additionally, support monitoring and compliance with both internal data security controls as well as regulations like GDPR, HIPPA, CCPA</a:t>
                      </a:r>
                      <a:endParaRPr kumimoji="0" lang="en-US" sz="105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lnL>
                      <a:noFill/>
                    </a:lnL>
                    <a:lnR w="9525" cap="flat" cmpd="sng" algn="ctr">
                      <a:solidFill>
                        <a:srgbClr val="E3E48D">
                          <a:shade val="95000"/>
                          <a:satMod val="105000"/>
                        </a:srgbClr>
                      </a:solidFill>
                      <a:prstDash val="solid"/>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403715196"/>
                  </a:ext>
                </a:extLst>
              </a:tr>
              <a:tr h="632992">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latin typeface="+mj-lt"/>
                        </a:rPr>
                        <a:t>6. Data Engineering</a:t>
                      </a:r>
                      <a:endParaRPr lang="en-US" sz="1100" b="1" kern="1200">
                        <a:solidFill>
                          <a:schemeClr val="tx1"/>
                        </a:solidFill>
                        <a:latin typeface="+mj-lt"/>
                        <a:ea typeface="+mn-ea"/>
                        <a:cs typeface="+mn-cs"/>
                      </a:endParaRPr>
                    </a:p>
                  </a:txBody>
                  <a:tcPr anchor="ctr">
                    <a:lnL w="9525" cap="flat" cmpd="sng" algn="ctr">
                      <a:solidFill>
                        <a:srgbClr val="E3E48D">
                          <a:shade val="95000"/>
                          <a:satMod val="105000"/>
                        </a:srgbClr>
                      </a:solidFill>
                      <a:prstDash val="solid"/>
                    </a:lnL>
                    <a:lnR>
                      <a:noFill/>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dirty="0">
                          <a:ln>
                            <a:noFill/>
                          </a:ln>
                          <a:solidFill>
                            <a:schemeClr val="tx1"/>
                          </a:solidFill>
                          <a:effectLst/>
                          <a:uLnTx/>
                          <a:uFillTx/>
                        </a:rPr>
                        <a:t>Provide the relevant data engineering support required as part of the delivering </a:t>
                      </a:r>
                      <a:r>
                        <a:rPr kumimoji="0" lang="en-US" sz="1050" b="0" u="none" strike="noStrike" kern="1200" cap="none" spc="0" normalizeH="0" baseline="0" noProof="0" dirty="0" err="1">
                          <a:ln>
                            <a:noFill/>
                          </a:ln>
                          <a:solidFill>
                            <a:schemeClr val="tx1"/>
                          </a:solidFill>
                          <a:effectLst/>
                          <a:uLnTx/>
                          <a:uFillTx/>
                        </a:rPr>
                        <a:t>DataOps</a:t>
                      </a:r>
                      <a:r>
                        <a:rPr kumimoji="0" lang="en-US" sz="1050" b="0" u="none" strike="noStrike" kern="1200" cap="none" spc="0" normalizeH="0" baseline="0" noProof="0" dirty="0">
                          <a:ln>
                            <a:noFill/>
                          </a:ln>
                          <a:solidFill>
                            <a:schemeClr val="tx1"/>
                          </a:solidFill>
                          <a:effectLst/>
                          <a:uLnTx/>
                          <a:uFillTx/>
                        </a:rPr>
                        <a:t> services. This does not include developing of new data pipelines, applications or solutions however focuses on maintenance of these assets</a:t>
                      </a:r>
                      <a:endParaRPr kumimoji="0" lang="en-US" sz="1050" b="0" i="0" u="none" strike="noStrike" kern="1200" cap="none" spc="0" normalizeH="0" baseline="0" noProof="0" dirty="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lnL>
                      <a:noFill/>
                    </a:lnL>
                    <a:lnR w="9525" cap="flat" cmpd="sng" algn="ctr">
                      <a:solidFill>
                        <a:srgbClr val="E3E48D">
                          <a:shade val="95000"/>
                          <a:satMod val="105000"/>
                        </a:srgbClr>
                      </a:solidFill>
                      <a:prstDash val="solid"/>
                    </a:lnR>
                    <a:lnT w="9525" cap="flat" cmpd="sng" algn="ctr">
                      <a:solidFill>
                        <a:srgbClr val="E3E48D">
                          <a:shade val="95000"/>
                          <a:satMod val="105000"/>
                        </a:srgbClr>
                      </a:solidFill>
                      <a:prstDash val="solid"/>
                    </a:lnT>
                    <a:lnB w="9525" cap="flat" cmpd="sng" algn="ctr">
                      <a:solidFill>
                        <a:srgbClr val="E3E48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285102527"/>
                  </a:ext>
                </a:extLst>
              </a:tr>
            </a:tbl>
          </a:graphicData>
        </a:graphic>
      </p:graphicFrame>
      <p:grpSp>
        <p:nvGrpSpPr>
          <p:cNvPr id="2" name="Group 1">
            <a:extLst>
              <a:ext uri="{FF2B5EF4-FFF2-40B4-BE49-F238E27FC236}">
                <a16:creationId xmlns:a16="http://schemas.microsoft.com/office/drawing/2014/main" id="{8FB58724-607C-771D-58F0-6752EBEDCA3C}"/>
              </a:ext>
            </a:extLst>
          </p:cNvPr>
          <p:cNvGrpSpPr/>
          <p:nvPr/>
        </p:nvGrpSpPr>
        <p:grpSpPr>
          <a:xfrm>
            <a:off x="526867" y="1919105"/>
            <a:ext cx="4218438" cy="3960628"/>
            <a:chOff x="526867" y="1640072"/>
            <a:chExt cx="4218438" cy="3960628"/>
          </a:xfrm>
        </p:grpSpPr>
        <p:grpSp>
          <p:nvGrpSpPr>
            <p:cNvPr id="83" name="Group 233">
              <a:extLst>
                <a:ext uri="{FF2B5EF4-FFF2-40B4-BE49-F238E27FC236}">
                  <a16:creationId xmlns:a16="http://schemas.microsoft.com/office/drawing/2014/main" id="{2CB2699B-C13B-2727-52D1-8C3BE49FE9F2}"/>
                </a:ext>
              </a:extLst>
            </p:cNvPr>
            <p:cNvGrpSpPr>
              <a:grpSpLocks noChangeAspect="1"/>
            </p:cNvGrpSpPr>
            <p:nvPr/>
          </p:nvGrpSpPr>
          <p:grpSpPr bwMode="auto">
            <a:xfrm>
              <a:off x="2378918" y="2037113"/>
              <a:ext cx="552166" cy="552165"/>
              <a:chOff x="3475" y="720"/>
              <a:chExt cx="340" cy="340"/>
            </a:xfrm>
            <a:solidFill>
              <a:schemeClr val="accent4"/>
            </a:solidFill>
          </p:grpSpPr>
          <p:sp>
            <p:nvSpPr>
              <p:cNvPr id="84" name="Freeform 234">
                <a:extLst>
                  <a:ext uri="{FF2B5EF4-FFF2-40B4-BE49-F238E27FC236}">
                    <a16:creationId xmlns:a16="http://schemas.microsoft.com/office/drawing/2014/main" id="{5312AC69-9148-7FC3-AAE9-71054E24894D}"/>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Freeform 235">
                <a:extLst>
                  <a:ext uri="{FF2B5EF4-FFF2-40B4-BE49-F238E27FC236}">
                    <a16:creationId xmlns:a16="http://schemas.microsoft.com/office/drawing/2014/main" id="{14D4D2BB-4259-04E9-F36C-0F9549D39A88}"/>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86" name="TextBox 85">
              <a:extLst>
                <a:ext uri="{FF2B5EF4-FFF2-40B4-BE49-F238E27FC236}">
                  <a16:creationId xmlns:a16="http://schemas.microsoft.com/office/drawing/2014/main" id="{354A61BE-C881-7DC0-E3D2-F4EEDCFC6376}"/>
                </a:ext>
              </a:extLst>
            </p:cNvPr>
            <p:cNvSpPr txBox="1"/>
            <p:nvPr/>
          </p:nvSpPr>
          <p:spPr>
            <a:xfrm>
              <a:off x="526867" y="1640072"/>
              <a:ext cx="4218438" cy="3960628"/>
            </a:xfrm>
            <a:prstGeom prst="rect">
              <a:avLst/>
            </a:prstGeom>
            <a:noFill/>
          </p:spPr>
          <p:txBody>
            <a:bodyPr wrap="square" lIns="0" tIns="0" rIns="0" bIns="0" rtlCol="0">
              <a:prstTxWarp prst="textCircle">
                <a:avLst>
                  <a:gd name="adj" fmla="val 10906472"/>
                </a:avLst>
              </a:prstTxWarp>
              <a:noAutofit/>
            </a:bodyPr>
            <a:lstStyle/>
            <a:p>
              <a:pPr algn="just">
                <a:spcBef>
                  <a:spcPts val="600"/>
                </a:spcBef>
                <a:buSzPct val="100000"/>
                <a:defRPr/>
              </a:pPr>
              <a:r>
                <a:rPr lang="en-US" sz="1700" dirty="0">
                  <a:solidFill>
                    <a:srgbClr val="E3E48D">
                      <a:lumMod val="75000"/>
                    </a:srgbClr>
                  </a:solidFill>
                  <a:latin typeface="Open Sans"/>
                </a:rPr>
                <a:t>Release Planning </a:t>
              </a:r>
              <a:r>
                <a:rPr lang="en-US" sz="1700" dirty="0">
                  <a:solidFill>
                    <a:srgbClr val="A0DCFF">
                      <a:lumMod val="75000"/>
                    </a:srgbClr>
                  </a:solidFill>
                  <a:latin typeface="Open Sans"/>
                </a:rPr>
                <a:t>Continuous Integration </a:t>
              </a:r>
              <a:r>
                <a:rPr lang="en-US" sz="1700" dirty="0">
                  <a:solidFill>
                    <a:srgbClr val="9DD4CF">
                      <a:lumMod val="75000"/>
                    </a:srgbClr>
                  </a:solidFill>
                  <a:latin typeface="Open Sans"/>
                </a:rPr>
                <a:t>Automated Testing </a:t>
              </a:r>
              <a:r>
                <a:rPr lang="en-US" sz="1700" dirty="0">
                  <a:solidFill>
                    <a:srgbClr val="62B5E5">
                      <a:lumMod val="75000"/>
                    </a:srgbClr>
                  </a:solidFill>
                  <a:latin typeface="Open Sans"/>
                </a:rPr>
                <a:t>Continuous Deployment </a:t>
              </a:r>
              <a:r>
                <a:rPr lang="en-US" sz="1700" dirty="0">
                  <a:solidFill>
                    <a:srgbClr val="00ABAB">
                      <a:lumMod val="75000"/>
                    </a:srgbClr>
                  </a:solidFill>
                  <a:latin typeface="Open Sans"/>
                </a:rPr>
                <a:t>Continuous Monitoring </a:t>
              </a:r>
              <a:r>
                <a:rPr lang="en-US" sz="1700" dirty="0">
                  <a:solidFill>
                    <a:srgbClr val="9DD4CF">
                      <a:lumMod val="75000"/>
                    </a:srgbClr>
                  </a:solidFill>
                  <a:latin typeface="Open Sans"/>
                </a:rPr>
                <a:t>Configuration Mgt</a:t>
              </a:r>
              <a:r>
                <a:rPr lang="en-US" sz="1700" dirty="0">
                  <a:solidFill>
                    <a:prstClr val="black"/>
                  </a:solidFill>
                  <a:latin typeface="Open Sans"/>
                </a:rPr>
                <a:t>. </a:t>
              </a:r>
              <a:r>
                <a:rPr lang="en-US" sz="1700" dirty="0">
                  <a:solidFill>
                    <a:srgbClr val="A0DCFF">
                      <a:lumMod val="75000"/>
                    </a:srgbClr>
                  </a:solidFill>
                  <a:latin typeface="Open Sans"/>
                </a:rPr>
                <a:t>Infrastructure as a code</a:t>
              </a:r>
            </a:p>
          </p:txBody>
        </p:sp>
        <p:sp>
          <p:nvSpPr>
            <p:cNvPr id="87" name="Oval 86">
              <a:extLst>
                <a:ext uri="{FF2B5EF4-FFF2-40B4-BE49-F238E27FC236}">
                  <a16:creationId xmlns:a16="http://schemas.microsoft.com/office/drawing/2014/main" id="{695E23C4-BD48-C3CE-7355-62A55238640E}"/>
                </a:ext>
              </a:extLst>
            </p:cNvPr>
            <p:cNvSpPr>
              <a:spLocks noChangeAspect="1"/>
            </p:cNvSpPr>
            <p:nvPr/>
          </p:nvSpPr>
          <p:spPr bwMode="gray">
            <a:xfrm>
              <a:off x="638593" y="1767002"/>
              <a:ext cx="3994988" cy="3708373"/>
            </a:xfrm>
            <a:prstGeom prst="ellipse">
              <a:avLst/>
            </a:prstGeom>
            <a:noFill/>
            <a:ln w="19050" algn="ctr">
              <a:solidFill>
                <a:srgbClr val="D0D0CE"/>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ndParaRPr>
            </a:p>
          </p:txBody>
        </p:sp>
        <p:cxnSp>
          <p:nvCxnSpPr>
            <p:cNvPr id="88" name="Straight Connector 87">
              <a:extLst>
                <a:ext uri="{FF2B5EF4-FFF2-40B4-BE49-F238E27FC236}">
                  <a16:creationId xmlns:a16="http://schemas.microsoft.com/office/drawing/2014/main" id="{1238BFA9-BD41-F7E0-2C1D-2F55F40F96E0}"/>
                </a:ext>
              </a:extLst>
            </p:cNvPr>
            <p:cNvCxnSpPr>
              <a:cxnSpLocks/>
              <a:stCxn id="108" idx="2"/>
              <a:endCxn id="107" idx="7"/>
            </p:cNvCxnSpPr>
            <p:nvPr/>
          </p:nvCxnSpPr>
          <p:spPr>
            <a:xfrm flipH="1">
              <a:off x="1861125" y="2401358"/>
              <a:ext cx="287008" cy="306244"/>
            </a:xfrm>
            <a:prstGeom prst="line">
              <a:avLst/>
            </a:prstGeom>
            <a:noFill/>
            <a:ln w="9525" cap="flat" cmpd="sng" algn="ctr">
              <a:solidFill>
                <a:srgbClr val="D0D0CE"/>
              </a:solidFill>
              <a:prstDash val="solid"/>
            </a:ln>
            <a:effectLst/>
          </p:spPr>
        </p:cxnSp>
        <p:cxnSp>
          <p:nvCxnSpPr>
            <p:cNvPr id="89" name="Straight Connector 88">
              <a:extLst>
                <a:ext uri="{FF2B5EF4-FFF2-40B4-BE49-F238E27FC236}">
                  <a16:creationId xmlns:a16="http://schemas.microsoft.com/office/drawing/2014/main" id="{E83FA860-B1E6-6E05-4110-5A2001F60A4A}"/>
                </a:ext>
              </a:extLst>
            </p:cNvPr>
            <p:cNvCxnSpPr>
              <a:cxnSpLocks/>
            </p:cNvCxnSpPr>
            <p:nvPr/>
          </p:nvCxnSpPr>
          <p:spPr>
            <a:xfrm flipV="1">
              <a:off x="1666353" y="2668481"/>
              <a:ext cx="825642" cy="1248154"/>
            </a:xfrm>
            <a:prstGeom prst="line">
              <a:avLst/>
            </a:prstGeom>
            <a:noFill/>
            <a:ln w="9525" cap="flat" cmpd="sng" algn="ctr">
              <a:solidFill>
                <a:srgbClr val="D0D0CE"/>
              </a:solidFill>
              <a:prstDash val="solid"/>
            </a:ln>
            <a:effectLst/>
          </p:spPr>
        </p:cxnSp>
        <p:cxnSp>
          <p:nvCxnSpPr>
            <p:cNvPr id="90" name="Straight Connector 89">
              <a:extLst>
                <a:ext uri="{FF2B5EF4-FFF2-40B4-BE49-F238E27FC236}">
                  <a16:creationId xmlns:a16="http://schemas.microsoft.com/office/drawing/2014/main" id="{9DDCE046-D0B9-BB18-EDF0-5C9578664FC9}"/>
                </a:ext>
              </a:extLst>
            </p:cNvPr>
            <p:cNvCxnSpPr>
              <a:cxnSpLocks/>
            </p:cNvCxnSpPr>
            <p:nvPr/>
          </p:nvCxnSpPr>
          <p:spPr>
            <a:xfrm flipH="1" flipV="1">
              <a:off x="2780177" y="2707601"/>
              <a:ext cx="854656" cy="1209033"/>
            </a:xfrm>
            <a:prstGeom prst="line">
              <a:avLst/>
            </a:prstGeom>
            <a:noFill/>
            <a:ln w="9525" cap="flat" cmpd="sng" algn="ctr">
              <a:solidFill>
                <a:srgbClr val="D0D0CE"/>
              </a:solidFill>
              <a:prstDash val="solid"/>
            </a:ln>
            <a:effectLst/>
          </p:spPr>
        </p:cxnSp>
        <p:cxnSp>
          <p:nvCxnSpPr>
            <p:cNvPr id="91" name="Straight Connector 90">
              <a:extLst>
                <a:ext uri="{FF2B5EF4-FFF2-40B4-BE49-F238E27FC236}">
                  <a16:creationId xmlns:a16="http://schemas.microsoft.com/office/drawing/2014/main" id="{595C975B-01D8-FC1B-C10C-CD3848746A3E}"/>
                </a:ext>
              </a:extLst>
            </p:cNvPr>
            <p:cNvCxnSpPr>
              <a:cxnSpLocks/>
              <a:stCxn id="104" idx="0"/>
              <a:endCxn id="108" idx="4"/>
            </p:cNvCxnSpPr>
            <p:nvPr/>
          </p:nvCxnSpPr>
          <p:spPr>
            <a:xfrm flipV="1">
              <a:off x="2636086" y="2866431"/>
              <a:ext cx="0" cy="289683"/>
            </a:xfrm>
            <a:prstGeom prst="line">
              <a:avLst/>
            </a:prstGeom>
            <a:noFill/>
            <a:ln w="9525" cap="flat" cmpd="sng" algn="ctr">
              <a:solidFill>
                <a:srgbClr val="D0D0CE"/>
              </a:solidFill>
              <a:prstDash val="solid"/>
            </a:ln>
            <a:effectLst/>
          </p:spPr>
        </p:cxnSp>
        <p:cxnSp>
          <p:nvCxnSpPr>
            <p:cNvPr id="92" name="Straight Connector 91">
              <a:extLst>
                <a:ext uri="{FF2B5EF4-FFF2-40B4-BE49-F238E27FC236}">
                  <a16:creationId xmlns:a16="http://schemas.microsoft.com/office/drawing/2014/main" id="{A90342CB-D077-C6C2-3746-364FCEA950E4}"/>
                </a:ext>
              </a:extLst>
            </p:cNvPr>
            <p:cNvCxnSpPr>
              <a:cxnSpLocks/>
              <a:stCxn id="107" idx="6"/>
              <a:endCxn id="110" idx="2"/>
            </p:cNvCxnSpPr>
            <p:nvPr/>
          </p:nvCxnSpPr>
          <p:spPr>
            <a:xfrm>
              <a:off x="2004043" y="3036458"/>
              <a:ext cx="1264087" cy="0"/>
            </a:xfrm>
            <a:prstGeom prst="line">
              <a:avLst/>
            </a:prstGeom>
            <a:noFill/>
            <a:ln w="9525" cap="flat" cmpd="sng" algn="ctr">
              <a:solidFill>
                <a:srgbClr val="D0D0CE"/>
              </a:solidFill>
              <a:prstDash val="solid"/>
            </a:ln>
            <a:effectLst/>
          </p:spPr>
        </p:cxnSp>
        <p:cxnSp>
          <p:nvCxnSpPr>
            <p:cNvPr id="93" name="Straight Connector 92">
              <a:extLst>
                <a:ext uri="{FF2B5EF4-FFF2-40B4-BE49-F238E27FC236}">
                  <a16:creationId xmlns:a16="http://schemas.microsoft.com/office/drawing/2014/main" id="{BAB1CD30-7129-04AF-171D-891250C144CB}"/>
                </a:ext>
              </a:extLst>
            </p:cNvPr>
            <p:cNvCxnSpPr>
              <a:cxnSpLocks/>
              <a:stCxn id="107" idx="4"/>
              <a:endCxn id="112" idx="0"/>
            </p:cNvCxnSpPr>
            <p:nvPr/>
          </p:nvCxnSpPr>
          <p:spPr>
            <a:xfrm>
              <a:off x="1516089" y="3501532"/>
              <a:ext cx="0" cy="237709"/>
            </a:xfrm>
            <a:prstGeom prst="line">
              <a:avLst/>
            </a:prstGeom>
            <a:noFill/>
            <a:ln w="9525" cap="flat" cmpd="sng" algn="ctr">
              <a:solidFill>
                <a:srgbClr val="D0D0CE"/>
              </a:solidFill>
              <a:prstDash val="solid"/>
            </a:ln>
            <a:effectLst/>
          </p:spPr>
        </p:cxnSp>
        <p:cxnSp>
          <p:nvCxnSpPr>
            <p:cNvPr id="94" name="Straight Connector 93">
              <a:extLst>
                <a:ext uri="{FF2B5EF4-FFF2-40B4-BE49-F238E27FC236}">
                  <a16:creationId xmlns:a16="http://schemas.microsoft.com/office/drawing/2014/main" id="{7967D892-0A65-B875-735B-206303879D26}"/>
                </a:ext>
              </a:extLst>
            </p:cNvPr>
            <p:cNvCxnSpPr>
              <a:cxnSpLocks/>
              <a:endCxn id="109" idx="1"/>
            </p:cNvCxnSpPr>
            <p:nvPr/>
          </p:nvCxnSpPr>
          <p:spPr>
            <a:xfrm>
              <a:off x="1660180" y="3302836"/>
              <a:ext cx="630871" cy="1209328"/>
            </a:xfrm>
            <a:prstGeom prst="line">
              <a:avLst/>
            </a:prstGeom>
            <a:noFill/>
            <a:ln w="9525" cap="flat" cmpd="sng" algn="ctr">
              <a:solidFill>
                <a:srgbClr val="D0D0CE"/>
              </a:solidFill>
              <a:prstDash val="solid"/>
            </a:ln>
            <a:effectLst/>
          </p:spPr>
        </p:cxnSp>
        <p:cxnSp>
          <p:nvCxnSpPr>
            <p:cNvPr id="95" name="Straight Connector 94">
              <a:extLst>
                <a:ext uri="{FF2B5EF4-FFF2-40B4-BE49-F238E27FC236}">
                  <a16:creationId xmlns:a16="http://schemas.microsoft.com/office/drawing/2014/main" id="{82D7BE4D-60B3-2693-506A-B6AB846B3E79}"/>
                </a:ext>
              </a:extLst>
            </p:cNvPr>
            <p:cNvCxnSpPr>
              <a:cxnSpLocks/>
              <a:stCxn id="107" idx="5"/>
              <a:endCxn id="111" idx="1"/>
            </p:cNvCxnSpPr>
            <p:nvPr/>
          </p:nvCxnSpPr>
          <p:spPr>
            <a:xfrm>
              <a:off x="1861125" y="3365316"/>
              <a:ext cx="1549923" cy="510142"/>
            </a:xfrm>
            <a:prstGeom prst="line">
              <a:avLst/>
            </a:prstGeom>
            <a:noFill/>
            <a:ln w="9525" cap="flat" cmpd="sng" algn="ctr">
              <a:solidFill>
                <a:srgbClr val="D0D0CE"/>
              </a:solidFill>
              <a:prstDash val="solid"/>
            </a:ln>
            <a:effectLst/>
          </p:spPr>
        </p:cxnSp>
        <p:cxnSp>
          <p:nvCxnSpPr>
            <p:cNvPr id="96" name="Straight Connector 95">
              <a:extLst>
                <a:ext uri="{FF2B5EF4-FFF2-40B4-BE49-F238E27FC236}">
                  <a16:creationId xmlns:a16="http://schemas.microsoft.com/office/drawing/2014/main" id="{2B21E016-57E4-0401-8A5A-D64EDB432EDF}"/>
                </a:ext>
              </a:extLst>
            </p:cNvPr>
            <p:cNvCxnSpPr>
              <a:cxnSpLocks/>
              <a:stCxn id="112" idx="5"/>
              <a:endCxn id="109" idx="2"/>
            </p:cNvCxnSpPr>
            <p:nvPr/>
          </p:nvCxnSpPr>
          <p:spPr>
            <a:xfrm>
              <a:off x="1861125" y="4533172"/>
              <a:ext cx="287008" cy="307849"/>
            </a:xfrm>
            <a:prstGeom prst="line">
              <a:avLst/>
            </a:prstGeom>
            <a:noFill/>
            <a:ln w="9525" cap="flat" cmpd="sng" algn="ctr">
              <a:solidFill>
                <a:srgbClr val="D0D0CE"/>
              </a:solidFill>
              <a:prstDash val="solid"/>
            </a:ln>
            <a:effectLst/>
          </p:spPr>
        </p:cxnSp>
        <p:cxnSp>
          <p:nvCxnSpPr>
            <p:cNvPr id="97" name="Straight Connector 96">
              <a:extLst>
                <a:ext uri="{FF2B5EF4-FFF2-40B4-BE49-F238E27FC236}">
                  <a16:creationId xmlns:a16="http://schemas.microsoft.com/office/drawing/2014/main" id="{9BD5DCA2-8BA9-B82E-3310-C66E4AA4CAFB}"/>
                </a:ext>
              </a:extLst>
            </p:cNvPr>
            <p:cNvCxnSpPr>
              <a:cxnSpLocks/>
              <a:stCxn id="111" idx="3"/>
              <a:endCxn id="109" idx="6"/>
            </p:cNvCxnSpPr>
            <p:nvPr/>
          </p:nvCxnSpPr>
          <p:spPr>
            <a:xfrm flipH="1">
              <a:off x="3124040" y="4533172"/>
              <a:ext cx="287008" cy="307849"/>
            </a:xfrm>
            <a:prstGeom prst="line">
              <a:avLst/>
            </a:prstGeom>
            <a:noFill/>
            <a:ln w="9525" cap="flat" cmpd="sng" algn="ctr">
              <a:solidFill>
                <a:srgbClr val="D0D0CE"/>
              </a:solidFill>
              <a:prstDash val="solid"/>
            </a:ln>
            <a:effectLst/>
          </p:spPr>
        </p:cxnSp>
        <p:cxnSp>
          <p:nvCxnSpPr>
            <p:cNvPr id="98" name="Straight Connector 97">
              <a:extLst>
                <a:ext uri="{FF2B5EF4-FFF2-40B4-BE49-F238E27FC236}">
                  <a16:creationId xmlns:a16="http://schemas.microsoft.com/office/drawing/2014/main" id="{52709D56-8589-A4B7-68A0-C13F18D53219}"/>
                </a:ext>
              </a:extLst>
            </p:cNvPr>
            <p:cNvCxnSpPr>
              <a:cxnSpLocks/>
              <a:stCxn id="110" idx="4"/>
              <a:endCxn id="111" idx="0"/>
            </p:cNvCxnSpPr>
            <p:nvPr/>
          </p:nvCxnSpPr>
          <p:spPr>
            <a:xfrm>
              <a:off x="3756083" y="3501532"/>
              <a:ext cx="0" cy="237709"/>
            </a:xfrm>
            <a:prstGeom prst="line">
              <a:avLst/>
            </a:prstGeom>
            <a:noFill/>
            <a:ln w="9525" cap="flat" cmpd="sng" algn="ctr">
              <a:solidFill>
                <a:srgbClr val="D0D0CE"/>
              </a:solidFill>
              <a:prstDash val="solid"/>
            </a:ln>
            <a:effectLst/>
          </p:spPr>
        </p:cxnSp>
        <p:cxnSp>
          <p:nvCxnSpPr>
            <p:cNvPr id="99" name="Straight Connector 98">
              <a:extLst>
                <a:ext uri="{FF2B5EF4-FFF2-40B4-BE49-F238E27FC236}">
                  <a16:creationId xmlns:a16="http://schemas.microsoft.com/office/drawing/2014/main" id="{6921C7B5-BECB-B4C7-E5A9-395C7D5BAA2E}"/>
                </a:ext>
              </a:extLst>
            </p:cNvPr>
            <p:cNvCxnSpPr>
              <a:cxnSpLocks/>
              <a:stCxn id="108" idx="6"/>
              <a:endCxn id="110" idx="1"/>
            </p:cNvCxnSpPr>
            <p:nvPr/>
          </p:nvCxnSpPr>
          <p:spPr>
            <a:xfrm>
              <a:off x="3124040" y="2401358"/>
              <a:ext cx="287008" cy="306244"/>
            </a:xfrm>
            <a:prstGeom prst="line">
              <a:avLst/>
            </a:prstGeom>
            <a:noFill/>
            <a:ln w="9525" cap="flat" cmpd="sng" algn="ctr">
              <a:solidFill>
                <a:srgbClr val="D0D0CE"/>
              </a:solidFill>
              <a:prstDash val="solid"/>
            </a:ln>
            <a:effectLst/>
          </p:spPr>
        </p:cxnSp>
        <p:cxnSp>
          <p:nvCxnSpPr>
            <p:cNvPr id="100" name="Straight Connector 99">
              <a:extLst>
                <a:ext uri="{FF2B5EF4-FFF2-40B4-BE49-F238E27FC236}">
                  <a16:creationId xmlns:a16="http://schemas.microsoft.com/office/drawing/2014/main" id="{94B8529D-CB79-4CAD-61D0-EA1A76DEDF2C}"/>
                </a:ext>
              </a:extLst>
            </p:cNvPr>
            <p:cNvCxnSpPr>
              <a:cxnSpLocks/>
              <a:stCxn id="109" idx="0"/>
              <a:endCxn id="104" idx="4"/>
            </p:cNvCxnSpPr>
            <p:nvPr/>
          </p:nvCxnSpPr>
          <p:spPr>
            <a:xfrm flipV="1">
              <a:off x="2636086" y="4086262"/>
              <a:ext cx="0" cy="289684"/>
            </a:xfrm>
            <a:prstGeom prst="line">
              <a:avLst/>
            </a:prstGeom>
            <a:noFill/>
            <a:ln w="9525" cap="flat" cmpd="sng" algn="ctr">
              <a:solidFill>
                <a:srgbClr val="D0D0CE"/>
              </a:solidFill>
              <a:prstDash val="solid"/>
            </a:ln>
            <a:effectLst/>
          </p:spPr>
        </p:cxnSp>
        <p:cxnSp>
          <p:nvCxnSpPr>
            <p:cNvPr id="101" name="Straight Connector 100">
              <a:extLst>
                <a:ext uri="{FF2B5EF4-FFF2-40B4-BE49-F238E27FC236}">
                  <a16:creationId xmlns:a16="http://schemas.microsoft.com/office/drawing/2014/main" id="{CAAD3475-F43E-ADB6-64F8-A2B7DEA11266}"/>
                </a:ext>
              </a:extLst>
            </p:cNvPr>
            <p:cNvCxnSpPr>
              <a:cxnSpLocks/>
              <a:stCxn id="112" idx="7"/>
              <a:endCxn id="110" idx="3"/>
            </p:cNvCxnSpPr>
            <p:nvPr/>
          </p:nvCxnSpPr>
          <p:spPr>
            <a:xfrm flipV="1">
              <a:off x="1861125" y="3365316"/>
              <a:ext cx="1549923" cy="510142"/>
            </a:xfrm>
            <a:prstGeom prst="line">
              <a:avLst/>
            </a:prstGeom>
            <a:noFill/>
            <a:ln w="9525" cap="flat" cmpd="sng" algn="ctr">
              <a:solidFill>
                <a:srgbClr val="D0D0CE"/>
              </a:solidFill>
              <a:prstDash val="solid"/>
            </a:ln>
            <a:effectLst/>
          </p:spPr>
        </p:cxnSp>
        <p:cxnSp>
          <p:nvCxnSpPr>
            <p:cNvPr id="102" name="Straight Connector 101">
              <a:extLst>
                <a:ext uri="{FF2B5EF4-FFF2-40B4-BE49-F238E27FC236}">
                  <a16:creationId xmlns:a16="http://schemas.microsoft.com/office/drawing/2014/main" id="{FA518FA0-9D99-EFBA-3463-CE67E911C2E1}"/>
                </a:ext>
              </a:extLst>
            </p:cNvPr>
            <p:cNvCxnSpPr>
              <a:cxnSpLocks/>
              <a:stCxn id="109" idx="7"/>
            </p:cNvCxnSpPr>
            <p:nvPr/>
          </p:nvCxnSpPr>
          <p:spPr>
            <a:xfrm flipV="1">
              <a:off x="2981122" y="3451908"/>
              <a:ext cx="574015" cy="1060256"/>
            </a:xfrm>
            <a:prstGeom prst="line">
              <a:avLst/>
            </a:prstGeom>
            <a:noFill/>
            <a:ln w="9525" cap="flat" cmpd="sng" algn="ctr">
              <a:solidFill>
                <a:srgbClr val="D0D0CE"/>
              </a:solidFill>
              <a:prstDash val="solid"/>
            </a:ln>
            <a:effectLst/>
          </p:spPr>
        </p:cxnSp>
        <p:cxnSp>
          <p:nvCxnSpPr>
            <p:cNvPr id="103" name="Straight Connector 102">
              <a:extLst>
                <a:ext uri="{FF2B5EF4-FFF2-40B4-BE49-F238E27FC236}">
                  <a16:creationId xmlns:a16="http://schemas.microsoft.com/office/drawing/2014/main" id="{B49128BB-94D9-B98C-BEDF-204CEEE919CB}"/>
                </a:ext>
              </a:extLst>
            </p:cNvPr>
            <p:cNvCxnSpPr>
              <a:cxnSpLocks/>
              <a:stCxn id="112" idx="6"/>
              <a:endCxn id="111" idx="2"/>
            </p:cNvCxnSpPr>
            <p:nvPr/>
          </p:nvCxnSpPr>
          <p:spPr>
            <a:xfrm>
              <a:off x="2004043" y="4204314"/>
              <a:ext cx="1264087" cy="0"/>
            </a:xfrm>
            <a:prstGeom prst="line">
              <a:avLst/>
            </a:prstGeom>
            <a:noFill/>
            <a:ln w="9525" cap="flat" cmpd="sng" algn="ctr">
              <a:solidFill>
                <a:srgbClr val="D0D0CE"/>
              </a:solidFill>
              <a:prstDash val="solid"/>
            </a:ln>
            <a:effectLst/>
          </p:spPr>
        </p:cxnSp>
        <p:sp>
          <p:nvSpPr>
            <p:cNvPr id="104" name="Oval 103">
              <a:extLst>
                <a:ext uri="{FF2B5EF4-FFF2-40B4-BE49-F238E27FC236}">
                  <a16:creationId xmlns:a16="http://schemas.microsoft.com/office/drawing/2014/main" id="{9BB12BC3-9395-900A-64AD-41A86C57F5C8}"/>
                </a:ext>
              </a:extLst>
            </p:cNvPr>
            <p:cNvSpPr>
              <a:spLocks noChangeAspect="1"/>
            </p:cNvSpPr>
            <p:nvPr/>
          </p:nvSpPr>
          <p:spPr bwMode="gray">
            <a:xfrm>
              <a:off x="2148132" y="3156115"/>
              <a:ext cx="975907" cy="930147"/>
            </a:xfrm>
            <a:prstGeom prst="ellipse">
              <a:avLst/>
            </a:prstGeom>
            <a:solidFill>
              <a:srgbClr val="9DD4C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ndParaRPr>
            </a:p>
          </p:txBody>
        </p:sp>
        <p:pic>
          <p:nvPicPr>
            <p:cNvPr id="105" name="Graphic 104" descr="Caret Up with solid fill">
              <a:extLst>
                <a:ext uri="{FF2B5EF4-FFF2-40B4-BE49-F238E27FC236}">
                  <a16:creationId xmlns:a16="http://schemas.microsoft.com/office/drawing/2014/main" id="{BAD8814F-6401-1A23-9340-4CA5109518E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7011801">
              <a:off x="3660474" y="1877505"/>
              <a:ext cx="427964" cy="599274"/>
            </a:xfrm>
            <a:prstGeom prst="rect">
              <a:avLst/>
            </a:prstGeom>
          </p:spPr>
        </p:pic>
        <p:pic>
          <p:nvPicPr>
            <p:cNvPr id="106" name="Graphic 105" descr="Caret Up with solid fill">
              <a:extLst>
                <a:ext uri="{FF2B5EF4-FFF2-40B4-BE49-F238E27FC236}">
                  <a16:creationId xmlns:a16="http://schemas.microsoft.com/office/drawing/2014/main" id="{57B2AC7A-F92B-44FB-30BC-B19C9D00A81B}"/>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7011801">
              <a:off x="3619069" y="1863359"/>
              <a:ext cx="427964" cy="599274"/>
            </a:xfrm>
            <a:prstGeom prst="rect">
              <a:avLst/>
            </a:prstGeom>
          </p:spPr>
        </p:pic>
        <p:sp>
          <p:nvSpPr>
            <p:cNvPr id="107" name="Oval 106">
              <a:extLst>
                <a:ext uri="{FF2B5EF4-FFF2-40B4-BE49-F238E27FC236}">
                  <a16:creationId xmlns:a16="http://schemas.microsoft.com/office/drawing/2014/main" id="{427634BA-AE78-DAA6-A6BF-8CEC8074763B}"/>
                </a:ext>
              </a:extLst>
            </p:cNvPr>
            <p:cNvSpPr>
              <a:spLocks noChangeAspect="1"/>
            </p:cNvSpPr>
            <p:nvPr/>
          </p:nvSpPr>
          <p:spPr bwMode="gray">
            <a:xfrm>
              <a:off x="1028135" y="2571385"/>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Open Sans"/>
                </a:rPr>
                <a:t>Data </a:t>
              </a:r>
              <a:r>
                <a:rPr kumimoji="0" lang="en-US" sz="850" b="0" i="0" u="none" strike="noStrike" kern="0" cap="none" spc="0" normalizeH="0" baseline="0" noProof="0" dirty="0">
                  <a:ln>
                    <a:noFill/>
                  </a:ln>
                  <a:solidFill>
                    <a:prstClr val="black"/>
                  </a:solidFill>
                  <a:effectLst/>
                  <a:uLnTx/>
                  <a:uFillTx/>
                  <a:latin typeface="Open Sans"/>
                </a:rPr>
                <a:t>Management</a:t>
              </a:r>
            </a:p>
          </p:txBody>
        </p:sp>
        <p:sp>
          <p:nvSpPr>
            <p:cNvPr id="108" name="Oval 107">
              <a:extLst>
                <a:ext uri="{FF2B5EF4-FFF2-40B4-BE49-F238E27FC236}">
                  <a16:creationId xmlns:a16="http://schemas.microsoft.com/office/drawing/2014/main" id="{B9B96862-263C-D16C-24BB-1D311D69F800}"/>
                </a:ext>
              </a:extLst>
            </p:cNvPr>
            <p:cNvSpPr>
              <a:spLocks noChangeAspect="1"/>
            </p:cNvSpPr>
            <p:nvPr/>
          </p:nvSpPr>
          <p:spPr bwMode="gray">
            <a:xfrm>
              <a:off x="2148132" y="1936284"/>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a:rPr>
                <a:t>Data Operations</a:t>
              </a:r>
            </a:p>
          </p:txBody>
        </p:sp>
        <p:sp>
          <p:nvSpPr>
            <p:cNvPr id="109" name="Oval 108">
              <a:extLst>
                <a:ext uri="{FF2B5EF4-FFF2-40B4-BE49-F238E27FC236}">
                  <a16:creationId xmlns:a16="http://schemas.microsoft.com/office/drawing/2014/main" id="{EF3A1D4F-2590-1730-E86D-CD86E897E533}"/>
                </a:ext>
              </a:extLst>
            </p:cNvPr>
            <p:cNvSpPr>
              <a:spLocks noChangeAspect="1"/>
            </p:cNvSpPr>
            <p:nvPr/>
          </p:nvSpPr>
          <p:spPr bwMode="gray">
            <a:xfrm>
              <a:off x="2148132" y="4375947"/>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a:rPr>
                <a:t>Data Security &amp; Controls</a:t>
              </a:r>
            </a:p>
          </p:txBody>
        </p:sp>
        <p:sp>
          <p:nvSpPr>
            <p:cNvPr id="110" name="Oval 109">
              <a:extLst>
                <a:ext uri="{FF2B5EF4-FFF2-40B4-BE49-F238E27FC236}">
                  <a16:creationId xmlns:a16="http://schemas.microsoft.com/office/drawing/2014/main" id="{DA0306BE-0B16-03E9-633A-FC4C794B24EB}"/>
                </a:ext>
              </a:extLst>
            </p:cNvPr>
            <p:cNvSpPr>
              <a:spLocks noChangeAspect="1"/>
            </p:cNvSpPr>
            <p:nvPr/>
          </p:nvSpPr>
          <p:spPr bwMode="gray">
            <a:xfrm>
              <a:off x="3268129" y="2571385"/>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Open Sans"/>
                </a:rPr>
                <a:t>Data </a:t>
              </a:r>
              <a:r>
                <a:rPr kumimoji="0" lang="en-US" sz="950" b="0" i="0" u="none" strike="noStrike" kern="0" cap="none" spc="0" normalizeH="0" baseline="0" noProof="0" dirty="0">
                  <a:ln>
                    <a:noFill/>
                  </a:ln>
                  <a:solidFill>
                    <a:prstClr val="black"/>
                  </a:solidFill>
                  <a:effectLst/>
                  <a:uLnTx/>
                  <a:uFillTx/>
                  <a:latin typeface="Open Sans"/>
                </a:rPr>
                <a:t>Distribution</a:t>
              </a:r>
            </a:p>
          </p:txBody>
        </p:sp>
        <p:sp>
          <p:nvSpPr>
            <p:cNvPr id="111" name="Oval 110">
              <a:extLst>
                <a:ext uri="{FF2B5EF4-FFF2-40B4-BE49-F238E27FC236}">
                  <a16:creationId xmlns:a16="http://schemas.microsoft.com/office/drawing/2014/main" id="{6EFA5BD7-A5DB-4010-E32C-8A6E9748EE97}"/>
                </a:ext>
              </a:extLst>
            </p:cNvPr>
            <p:cNvSpPr>
              <a:spLocks noChangeAspect="1"/>
            </p:cNvSpPr>
            <p:nvPr/>
          </p:nvSpPr>
          <p:spPr bwMode="gray">
            <a:xfrm>
              <a:off x="3268129" y="3739241"/>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Open Sans"/>
                </a:rPr>
                <a:t>Data Platform</a:t>
              </a:r>
            </a:p>
          </p:txBody>
        </p:sp>
        <p:sp>
          <p:nvSpPr>
            <p:cNvPr id="112" name="Oval 111">
              <a:extLst>
                <a:ext uri="{FF2B5EF4-FFF2-40B4-BE49-F238E27FC236}">
                  <a16:creationId xmlns:a16="http://schemas.microsoft.com/office/drawing/2014/main" id="{45834E19-B93F-1F8E-B620-5997567FAAC8}"/>
                </a:ext>
              </a:extLst>
            </p:cNvPr>
            <p:cNvSpPr>
              <a:spLocks noChangeAspect="1"/>
            </p:cNvSpPr>
            <p:nvPr/>
          </p:nvSpPr>
          <p:spPr bwMode="gray">
            <a:xfrm>
              <a:off x="1028135" y="3739241"/>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a:rPr>
                <a:t>Data </a:t>
              </a:r>
              <a:r>
                <a:rPr kumimoji="0" lang="en-US" sz="900" b="0" i="0" u="none" strike="noStrike" kern="0" cap="none" spc="0" normalizeH="0" baseline="0" noProof="0">
                  <a:ln>
                    <a:noFill/>
                  </a:ln>
                  <a:solidFill>
                    <a:prstClr val="black"/>
                  </a:solidFill>
                  <a:effectLst/>
                  <a:uLnTx/>
                  <a:uFillTx/>
                  <a:latin typeface="Open Sans"/>
                </a:rPr>
                <a:t>Engineering</a:t>
              </a:r>
            </a:p>
          </p:txBody>
        </p:sp>
        <p:sp>
          <p:nvSpPr>
            <p:cNvPr id="113" name="TextBox 112">
              <a:extLst>
                <a:ext uri="{FF2B5EF4-FFF2-40B4-BE49-F238E27FC236}">
                  <a16:creationId xmlns:a16="http://schemas.microsoft.com/office/drawing/2014/main" id="{38039FD5-4609-282C-B8A5-210C5146DF4E}"/>
                </a:ext>
              </a:extLst>
            </p:cNvPr>
            <p:cNvSpPr txBox="1"/>
            <p:nvPr/>
          </p:nvSpPr>
          <p:spPr>
            <a:xfrm>
              <a:off x="2192559" y="3372220"/>
              <a:ext cx="662352" cy="523220"/>
            </a:xfrm>
            <a:prstGeom prst="rect">
              <a:avLst/>
            </a:prstGeom>
            <a:noFill/>
          </p:spPr>
          <p:txBody>
            <a:bodyPr wrap="square">
              <a:spAutoFit/>
            </a:bodyPr>
            <a:lstStyle/>
            <a:p>
              <a:pPr algn="ctr">
                <a:defRPr/>
              </a:pPr>
              <a:r>
                <a:rPr lang="en-US" sz="1400" b="1">
                  <a:solidFill>
                    <a:prstClr val="black"/>
                  </a:solidFill>
                  <a:latin typeface="Open Sans"/>
                </a:rPr>
                <a:t>Data</a:t>
              </a:r>
            </a:p>
            <a:p>
              <a:pPr algn="ctr">
                <a:defRPr/>
              </a:pPr>
              <a:r>
                <a:rPr lang="en-US" sz="1400" b="1">
                  <a:solidFill>
                    <a:prstClr val="black"/>
                  </a:solidFill>
                  <a:latin typeface="Open Sans"/>
                </a:rPr>
                <a:t>Ops</a:t>
              </a:r>
            </a:p>
          </p:txBody>
        </p:sp>
        <p:pic>
          <p:nvPicPr>
            <p:cNvPr id="114" name="Graphic 113" descr="Gears outline">
              <a:extLst>
                <a:ext uri="{FF2B5EF4-FFF2-40B4-BE49-F238E27FC236}">
                  <a16:creationId xmlns:a16="http://schemas.microsoft.com/office/drawing/2014/main" id="{01190B3B-8F01-C39D-1E4A-9DFA6DC47AB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0608994">
              <a:off x="2626213" y="3412721"/>
              <a:ext cx="470889" cy="470889"/>
            </a:xfrm>
            <a:prstGeom prst="rect">
              <a:avLst/>
            </a:prstGeom>
          </p:spPr>
        </p:pic>
      </p:grpSp>
    </p:spTree>
    <p:extLst>
      <p:ext uri="{BB962C8B-B14F-4D97-AF65-F5344CB8AC3E}">
        <p14:creationId xmlns:p14="http://schemas.microsoft.com/office/powerpoint/2010/main" val="1689634307"/>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409463"/>
          </a:xfrm>
        </p:spPr>
        <p:txBody>
          <a:bodyPr/>
          <a:lstStyle/>
          <a:p>
            <a:r>
              <a:rPr lang="en-US" sz="1400" dirty="0">
                <a:solidFill>
                  <a:prstClr val="black"/>
                </a:solidFill>
              </a:rPr>
              <a:t>Our comprehensive service catalogue covers your data value chain, enables high-availability,</a:t>
            </a:r>
            <a:r>
              <a:rPr lang="en-US" sz="1400">
                <a:solidFill>
                  <a:prstClr val="black"/>
                </a:solidFill>
              </a:rPr>
              <a:t> increases</a:t>
            </a:r>
            <a:r>
              <a:rPr lang="en-US" sz="1400" dirty="0">
                <a:solidFill>
                  <a:prstClr val="black"/>
                </a:solidFill>
              </a:rPr>
              <a:t> reliability and operational excellence.</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ata Operations</a:t>
            </a:r>
            <a:r>
              <a:rPr lang="en-US"/>
              <a:t> </a:t>
            </a:r>
            <a:r>
              <a:rPr lang="en-US" dirty="0"/>
              <a:t>Framework</a:t>
            </a:r>
          </a:p>
        </p:txBody>
      </p:sp>
      <p:graphicFrame>
        <p:nvGraphicFramePr>
          <p:cNvPr id="2" name="object 9">
            <a:extLst>
              <a:ext uri="{FF2B5EF4-FFF2-40B4-BE49-F238E27FC236}">
                <a16:creationId xmlns:a16="http://schemas.microsoft.com/office/drawing/2014/main" id="{6E9AACD7-BF59-A2B0-838A-B57D37081D4F}"/>
              </a:ext>
            </a:extLst>
          </p:cNvPr>
          <p:cNvGraphicFramePr>
            <a:graphicFrameLocks noGrp="1"/>
          </p:cNvGraphicFramePr>
          <p:nvPr>
            <p:extLst>
              <p:ext uri="{D42A27DB-BD31-4B8C-83A1-F6EECF244321}">
                <p14:modId xmlns:p14="http://schemas.microsoft.com/office/powerpoint/2010/main" val="1963900788"/>
              </p:ext>
            </p:extLst>
          </p:nvPr>
        </p:nvGraphicFramePr>
        <p:xfrm>
          <a:off x="111093" y="1344128"/>
          <a:ext cx="11873384" cy="4891301"/>
        </p:xfrm>
        <a:graphic>
          <a:graphicData uri="http://schemas.openxmlformats.org/drawingml/2006/table">
            <a:tbl>
              <a:tblPr firstRow="1" bandRow="1">
                <a:tableStyleId>{2D5ABB26-0587-4C30-8999-92F81FD0307C}</a:tableStyleId>
              </a:tblPr>
              <a:tblGrid>
                <a:gridCol w="480350">
                  <a:extLst>
                    <a:ext uri="{9D8B030D-6E8A-4147-A177-3AD203B41FA5}">
                      <a16:colId xmlns:a16="http://schemas.microsoft.com/office/drawing/2014/main" val="20000"/>
                    </a:ext>
                  </a:extLst>
                </a:gridCol>
                <a:gridCol w="1683700">
                  <a:extLst>
                    <a:ext uri="{9D8B030D-6E8A-4147-A177-3AD203B41FA5}">
                      <a16:colId xmlns:a16="http://schemas.microsoft.com/office/drawing/2014/main" val="20001"/>
                    </a:ext>
                  </a:extLst>
                </a:gridCol>
                <a:gridCol w="1935430">
                  <a:extLst>
                    <a:ext uri="{9D8B030D-6E8A-4147-A177-3AD203B41FA5}">
                      <a16:colId xmlns:a16="http://schemas.microsoft.com/office/drawing/2014/main" val="20002"/>
                    </a:ext>
                  </a:extLst>
                </a:gridCol>
                <a:gridCol w="1872703">
                  <a:extLst>
                    <a:ext uri="{9D8B030D-6E8A-4147-A177-3AD203B41FA5}">
                      <a16:colId xmlns:a16="http://schemas.microsoft.com/office/drawing/2014/main" val="20003"/>
                    </a:ext>
                  </a:extLst>
                </a:gridCol>
                <a:gridCol w="1895812">
                  <a:extLst>
                    <a:ext uri="{9D8B030D-6E8A-4147-A177-3AD203B41FA5}">
                      <a16:colId xmlns:a16="http://schemas.microsoft.com/office/drawing/2014/main" val="20004"/>
                    </a:ext>
                  </a:extLst>
                </a:gridCol>
                <a:gridCol w="1989077">
                  <a:extLst>
                    <a:ext uri="{9D8B030D-6E8A-4147-A177-3AD203B41FA5}">
                      <a16:colId xmlns:a16="http://schemas.microsoft.com/office/drawing/2014/main" val="20005"/>
                    </a:ext>
                  </a:extLst>
                </a:gridCol>
                <a:gridCol w="2016312">
                  <a:extLst>
                    <a:ext uri="{9D8B030D-6E8A-4147-A177-3AD203B41FA5}">
                      <a16:colId xmlns:a16="http://schemas.microsoft.com/office/drawing/2014/main" val="20006"/>
                    </a:ext>
                  </a:extLst>
                </a:gridCol>
              </a:tblGrid>
              <a:tr h="350946">
                <a:tc>
                  <a:txBody>
                    <a:bodyPr/>
                    <a:lstStyle/>
                    <a:p>
                      <a:pPr>
                        <a:lnSpc>
                          <a:spcPct val="100000"/>
                        </a:lnSpc>
                      </a:pPr>
                      <a:endParaRPr sz="1000">
                        <a:latin typeface="Times New Roman"/>
                        <a:cs typeface="Times New Roman"/>
                      </a:endParaRPr>
                    </a:p>
                  </a:txBody>
                  <a:tcPr marL="0" marR="0" marT="0" marB="0">
                    <a:lnL w="3175">
                      <a:solidFill>
                        <a:srgbClr val="FFFFFF"/>
                      </a:solidFill>
                      <a:prstDash val="solid"/>
                    </a:lnL>
                    <a:lnT w="3175">
                      <a:solidFill>
                        <a:srgbClr val="FFFFFF"/>
                      </a:solidFill>
                      <a:prstDash val="solid"/>
                    </a:lnT>
                    <a:lnB w="3175">
                      <a:solidFill>
                        <a:srgbClr val="FFFFFF"/>
                      </a:solidFill>
                      <a:prstDash val="solid"/>
                    </a:lnB>
                    <a:solidFill>
                      <a:srgbClr val="86BC25"/>
                    </a:solidFill>
                  </a:tcPr>
                </a:tc>
                <a:tc>
                  <a:txBody>
                    <a:bodyPr/>
                    <a:lstStyle/>
                    <a:p>
                      <a:pPr marL="256540">
                        <a:lnSpc>
                          <a:spcPct val="100000"/>
                        </a:lnSpc>
                        <a:spcBef>
                          <a:spcPts val="315"/>
                        </a:spcBef>
                      </a:pPr>
                      <a:r>
                        <a:rPr sz="1100" dirty="0">
                          <a:latin typeface="Calibri"/>
                          <a:cs typeface="Calibri"/>
                        </a:rPr>
                        <a:t>1. </a:t>
                      </a:r>
                      <a:r>
                        <a:rPr sz="1100" spc="-5" dirty="0">
                          <a:latin typeface="Calibri"/>
                          <a:cs typeface="Calibri"/>
                        </a:rPr>
                        <a:t>Data</a:t>
                      </a:r>
                      <a:r>
                        <a:rPr sz="1100" spc="-15" dirty="0">
                          <a:latin typeface="Calibri"/>
                          <a:cs typeface="Calibri"/>
                        </a:rPr>
                        <a:t> </a:t>
                      </a:r>
                      <a:r>
                        <a:rPr sz="1100" dirty="0">
                          <a:latin typeface="Calibri"/>
                          <a:cs typeface="Calibri"/>
                        </a:rPr>
                        <a:t>Operations</a:t>
                      </a:r>
                      <a:endParaRPr sz="1100">
                        <a:latin typeface="Calibri"/>
                        <a:cs typeface="Calibri"/>
                      </a:endParaRPr>
                    </a:p>
                  </a:txBody>
                  <a:tcPr marL="0" marR="0" marT="54956" marB="0">
                    <a:lnR w="3175">
                      <a:solidFill>
                        <a:srgbClr val="FFFFFF"/>
                      </a:solidFill>
                      <a:prstDash val="solid"/>
                    </a:lnR>
                    <a:lnT w="3175">
                      <a:solidFill>
                        <a:srgbClr val="FFFFFF"/>
                      </a:solidFill>
                      <a:prstDash val="solid"/>
                    </a:lnT>
                    <a:lnB w="3175">
                      <a:solidFill>
                        <a:srgbClr val="FFFFFF"/>
                      </a:solidFill>
                      <a:prstDash val="solid"/>
                    </a:lnB>
                    <a:solidFill>
                      <a:srgbClr val="D0D0CE"/>
                    </a:solidFill>
                  </a:tcPr>
                </a:tc>
                <a:tc>
                  <a:txBody>
                    <a:bodyPr/>
                    <a:lstStyle/>
                    <a:p>
                      <a:pPr marL="306070">
                        <a:lnSpc>
                          <a:spcPct val="100000"/>
                        </a:lnSpc>
                        <a:spcBef>
                          <a:spcPts val="315"/>
                        </a:spcBef>
                      </a:pPr>
                      <a:r>
                        <a:rPr sz="1100" dirty="0">
                          <a:latin typeface="Calibri"/>
                          <a:cs typeface="Calibri"/>
                        </a:rPr>
                        <a:t>2. </a:t>
                      </a:r>
                      <a:r>
                        <a:rPr sz="1100" spc="-5" dirty="0">
                          <a:latin typeface="Calibri"/>
                          <a:cs typeface="Calibri"/>
                        </a:rPr>
                        <a:t>Data</a:t>
                      </a:r>
                      <a:r>
                        <a:rPr sz="1100" spc="-10" dirty="0">
                          <a:latin typeface="Calibri"/>
                          <a:cs typeface="Calibri"/>
                        </a:rPr>
                        <a:t> </a:t>
                      </a:r>
                      <a:r>
                        <a:rPr sz="1100" dirty="0">
                          <a:latin typeface="Calibri"/>
                          <a:cs typeface="Calibri"/>
                        </a:rPr>
                        <a:t>Management</a:t>
                      </a:r>
                      <a:endParaRPr sz="1100">
                        <a:latin typeface="Calibri"/>
                        <a:cs typeface="Calibri"/>
                      </a:endParaRPr>
                    </a:p>
                  </a:txBody>
                  <a:tcPr marL="0" marR="0" marT="54956" marB="0">
                    <a:lnL w="3175">
                      <a:solidFill>
                        <a:srgbClr val="FFFFFF"/>
                      </a:solidFill>
                      <a:prstDash val="solid"/>
                    </a:lnL>
                    <a:lnR w="3175">
                      <a:solidFill>
                        <a:srgbClr val="FFFFFF"/>
                      </a:solidFill>
                      <a:prstDash val="solid"/>
                    </a:lnR>
                    <a:lnT w="3175">
                      <a:solidFill>
                        <a:srgbClr val="FFFFFF"/>
                      </a:solidFill>
                      <a:prstDash val="solid"/>
                    </a:lnT>
                    <a:lnB w="3175">
                      <a:solidFill>
                        <a:srgbClr val="FFFFFF"/>
                      </a:solidFill>
                      <a:prstDash val="solid"/>
                    </a:lnB>
                    <a:solidFill>
                      <a:srgbClr val="BFBFBF"/>
                    </a:solidFill>
                  </a:tcPr>
                </a:tc>
                <a:tc>
                  <a:txBody>
                    <a:bodyPr/>
                    <a:lstStyle/>
                    <a:p>
                      <a:pPr marL="316865">
                        <a:lnSpc>
                          <a:spcPct val="100000"/>
                        </a:lnSpc>
                        <a:spcBef>
                          <a:spcPts val="315"/>
                        </a:spcBef>
                      </a:pPr>
                      <a:r>
                        <a:rPr sz="1100" dirty="0">
                          <a:latin typeface="Calibri"/>
                          <a:cs typeface="Calibri"/>
                        </a:rPr>
                        <a:t>3. </a:t>
                      </a:r>
                      <a:r>
                        <a:rPr sz="1100" spc="-5" dirty="0">
                          <a:latin typeface="Calibri"/>
                          <a:cs typeface="Calibri"/>
                        </a:rPr>
                        <a:t>Data Distribution</a:t>
                      </a:r>
                      <a:endParaRPr sz="1100">
                        <a:latin typeface="Calibri"/>
                        <a:cs typeface="Calibri"/>
                      </a:endParaRPr>
                    </a:p>
                  </a:txBody>
                  <a:tcPr marL="0" marR="0" marT="54956" marB="0">
                    <a:lnL w="3175">
                      <a:solidFill>
                        <a:srgbClr val="FFFFFF"/>
                      </a:solidFill>
                      <a:prstDash val="solid"/>
                    </a:lnL>
                    <a:lnR w="3175">
                      <a:solidFill>
                        <a:srgbClr val="FFFFFF"/>
                      </a:solidFill>
                      <a:prstDash val="solid"/>
                    </a:lnR>
                    <a:lnT w="3175">
                      <a:solidFill>
                        <a:srgbClr val="FFFFFF"/>
                      </a:solidFill>
                      <a:prstDash val="solid"/>
                    </a:lnT>
                    <a:lnB w="3175">
                      <a:solidFill>
                        <a:srgbClr val="FFFFFF"/>
                      </a:solidFill>
                      <a:prstDash val="solid"/>
                    </a:lnB>
                    <a:solidFill>
                      <a:srgbClr val="9D9D99"/>
                    </a:solidFill>
                  </a:tcPr>
                </a:tc>
                <a:tc>
                  <a:txBody>
                    <a:bodyPr/>
                    <a:lstStyle/>
                    <a:p>
                      <a:pPr marL="283845">
                        <a:lnSpc>
                          <a:spcPct val="100000"/>
                        </a:lnSpc>
                        <a:spcBef>
                          <a:spcPts val="315"/>
                        </a:spcBef>
                      </a:pPr>
                      <a:r>
                        <a:rPr sz="1100" dirty="0">
                          <a:solidFill>
                            <a:srgbClr val="FFFFFF"/>
                          </a:solidFill>
                          <a:latin typeface="Calibri"/>
                          <a:cs typeface="Calibri"/>
                        </a:rPr>
                        <a:t>4. </a:t>
                      </a:r>
                      <a:r>
                        <a:rPr sz="1100" spc="-5" dirty="0">
                          <a:solidFill>
                            <a:srgbClr val="FFFFFF"/>
                          </a:solidFill>
                          <a:latin typeface="Calibri"/>
                          <a:cs typeface="Calibri"/>
                        </a:rPr>
                        <a:t>Data Infrastructure</a:t>
                      </a:r>
                      <a:endParaRPr sz="1100">
                        <a:latin typeface="Calibri"/>
                        <a:cs typeface="Calibri"/>
                      </a:endParaRPr>
                    </a:p>
                  </a:txBody>
                  <a:tcPr marL="0" marR="0" marT="54956" marB="0">
                    <a:lnL w="3175">
                      <a:solidFill>
                        <a:srgbClr val="FFFFFF"/>
                      </a:solidFill>
                      <a:prstDash val="solid"/>
                    </a:lnL>
                    <a:lnR w="3175">
                      <a:solidFill>
                        <a:srgbClr val="FFFFFF"/>
                      </a:solidFill>
                      <a:prstDash val="solid"/>
                    </a:lnR>
                    <a:lnT w="3175">
                      <a:solidFill>
                        <a:srgbClr val="FFFFFF"/>
                      </a:solidFill>
                      <a:prstDash val="solid"/>
                    </a:lnT>
                    <a:lnB w="3175">
                      <a:solidFill>
                        <a:srgbClr val="FFFFFF"/>
                      </a:solidFill>
                      <a:prstDash val="solid"/>
                    </a:lnB>
                    <a:solidFill>
                      <a:srgbClr val="000000"/>
                    </a:solidFill>
                  </a:tcPr>
                </a:tc>
                <a:tc>
                  <a:txBody>
                    <a:bodyPr/>
                    <a:lstStyle/>
                    <a:p>
                      <a:pPr marL="208915">
                        <a:lnSpc>
                          <a:spcPct val="100000"/>
                        </a:lnSpc>
                        <a:spcBef>
                          <a:spcPts val="315"/>
                        </a:spcBef>
                      </a:pPr>
                      <a:r>
                        <a:rPr sz="1100" dirty="0">
                          <a:solidFill>
                            <a:srgbClr val="FFFFFF"/>
                          </a:solidFill>
                          <a:latin typeface="Calibri"/>
                          <a:cs typeface="Calibri"/>
                        </a:rPr>
                        <a:t>5. </a:t>
                      </a:r>
                      <a:r>
                        <a:rPr sz="1100" spc="-5" dirty="0">
                          <a:solidFill>
                            <a:srgbClr val="FFFFFF"/>
                          </a:solidFill>
                          <a:latin typeface="Calibri"/>
                          <a:cs typeface="Calibri"/>
                        </a:rPr>
                        <a:t>Data </a:t>
                      </a:r>
                      <a:r>
                        <a:rPr sz="1100" dirty="0">
                          <a:solidFill>
                            <a:srgbClr val="FFFFFF"/>
                          </a:solidFill>
                          <a:latin typeface="Calibri"/>
                          <a:cs typeface="Calibri"/>
                        </a:rPr>
                        <a:t>Security </a:t>
                      </a:r>
                      <a:r>
                        <a:rPr sz="1100" spc="-5" dirty="0">
                          <a:solidFill>
                            <a:srgbClr val="FFFFFF"/>
                          </a:solidFill>
                          <a:latin typeface="Calibri"/>
                          <a:cs typeface="Calibri"/>
                        </a:rPr>
                        <a:t>&amp;</a:t>
                      </a:r>
                      <a:r>
                        <a:rPr sz="1100" spc="5" dirty="0">
                          <a:solidFill>
                            <a:srgbClr val="FFFFFF"/>
                          </a:solidFill>
                          <a:latin typeface="Calibri"/>
                          <a:cs typeface="Calibri"/>
                        </a:rPr>
                        <a:t> </a:t>
                      </a:r>
                      <a:r>
                        <a:rPr sz="1100" spc="-5" dirty="0">
                          <a:solidFill>
                            <a:srgbClr val="FFFFFF"/>
                          </a:solidFill>
                          <a:latin typeface="Calibri"/>
                          <a:cs typeface="Calibri"/>
                        </a:rPr>
                        <a:t>Controls</a:t>
                      </a:r>
                      <a:endParaRPr sz="1100" dirty="0">
                        <a:latin typeface="Calibri"/>
                        <a:cs typeface="Calibri"/>
                      </a:endParaRPr>
                    </a:p>
                  </a:txBody>
                  <a:tcPr marL="0" marR="0" marT="54956" marB="0">
                    <a:lnL w="3175">
                      <a:solidFill>
                        <a:srgbClr val="FFFFFF"/>
                      </a:solidFill>
                      <a:prstDash val="solid"/>
                    </a:lnL>
                    <a:lnR w="3175">
                      <a:solidFill>
                        <a:srgbClr val="FFFFFF"/>
                      </a:solidFill>
                      <a:prstDash val="solid"/>
                    </a:lnR>
                    <a:lnT w="3175">
                      <a:solidFill>
                        <a:srgbClr val="FFFFFF"/>
                      </a:solidFill>
                      <a:prstDash val="solid"/>
                    </a:lnT>
                    <a:lnB w="3175">
                      <a:solidFill>
                        <a:srgbClr val="FFFFFF"/>
                      </a:solidFill>
                      <a:prstDash val="solid"/>
                    </a:lnB>
                    <a:solidFill>
                      <a:srgbClr val="000000"/>
                    </a:solidFill>
                  </a:tcPr>
                </a:tc>
                <a:tc>
                  <a:txBody>
                    <a:bodyPr/>
                    <a:lstStyle/>
                    <a:p>
                      <a:pPr marL="196850">
                        <a:lnSpc>
                          <a:spcPct val="100000"/>
                        </a:lnSpc>
                        <a:spcBef>
                          <a:spcPts val="315"/>
                        </a:spcBef>
                      </a:pPr>
                      <a:r>
                        <a:rPr sz="1100" dirty="0">
                          <a:solidFill>
                            <a:srgbClr val="FFFFFF"/>
                          </a:solidFill>
                          <a:latin typeface="Calibri"/>
                          <a:cs typeface="Calibri"/>
                        </a:rPr>
                        <a:t>6. </a:t>
                      </a:r>
                      <a:r>
                        <a:rPr sz="1100" spc="-5" dirty="0">
                          <a:solidFill>
                            <a:srgbClr val="FFFFFF"/>
                          </a:solidFill>
                          <a:latin typeface="Calibri"/>
                          <a:cs typeface="Calibri"/>
                        </a:rPr>
                        <a:t>Data </a:t>
                      </a:r>
                      <a:r>
                        <a:rPr sz="1100" dirty="0">
                          <a:solidFill>
                            <a:srgbClr val="FFFFFF"/>
                          </a:solidFill>
                          <a:latin typeface="Calibri"/>
                          <a:cs typeface="Calibri"/>
                        </a:rPr>
                        <a:t>Engineering</a:t>
                      </a:r>
                      <a:r>
                        <a:rPr sz="1100" spc="-10" dirty="0">
                          <a:solidFill>
                            <a:srgbClr val="FFFFFF"/>
                          </a:solidFill>
                          <a:latin typeface="Calibri"/>
                          <a:cs typeface="Calibri"/>
                        </a:rPr>
                        <a:t> </a:t>
                      </a:r>
                      <a:r>
                        <a:rPr sz="1100" dirty="0">
                          <a:solidFill>
                            <a:srgbClr val="FFFFFF"/>
                          </a:solidFill>
                          <a:latin typeface="Calibri"/>
                          <a:cs typeface="Calibri"/>
                        </a:rPr>
                        <a:t>Support</a:t>
                      </a:r>
                      <a:endParaRPr sz="1100">
                        <a:latin typeface="Calibri"/>
                        <a:cs typeface="Calibri"/>
                      </a:endParaRPr>
                    </a:p>
                  </a:txBody>
                  <a:tcPr marL="0" marR="0" marT="54956" marB="0">
                    <a:lnL w="3175">
                      <a:solidFill>
                        <a:srgbClr val="FFFFFF"/>
                      </a:solidFill>
                      <a:prstDash val="solid"/>
                    </a:lnL>
                    <a:lnR w="3175">
                      <a:solidFill>
                        <a:srgbClr val="FFFFFF"/>
                      </a:solidFill>
                      <a:prstDash val="solid"/>
                    </a:lnR>
                    <a:lnT w="3175">
                      <a:solidFill>
                        <a:srgbClr val="FFFFFF"/>
                      </a:solidFill>
                      <a:prstDash val="solid"/>
                    </a:lnT>
                    <a:lnB w="3175">
                      <a:solidFill>
                        <a:srgbClr val="FFFFFF"/>
                      </a:solidFill>
                      <a:prstDash val="solid"/>
                    </a:lnB>
                    <a:solidFill>
                      <a:srgbClr val="43B02A"/>
                    </a:solidFill>
                  </a:tcPr>
                </a:tc>
                <a:extLst>
                  <a:ext uri="{0D108BD9-81ED-4DB2-BD59-A6C34878D82A}">
                    <a16:rowId xmlns:a16="http://schemas.microsoft.com/office/drawing/2014/main" val="10000"/>
                  </a:ext>
                </a:extLst>
              </a:tr>
              <a:tr h="329011">
                <a:tc rowSpan="9">
                  <a:txBody>
                    <a:bodyPr/>
                    <a:lstStyle/>
                    <a:p>
                      <a:pPr marL="82550" marR="389890" indent="149225" algn="ctr">
                        <a:lnSpc>
                          <a:spcPts val="800"/>
                        </a:lnSpc>
                        <a:spcBef>
                          <a:spcPts val="745"/>
                        </a:spcBef>
                        <a:tabLst>
                          <a:tab pos="805180" algn="l"/>
                          <a:tab pos="1006475" algn="l"/>
                          <a:tab pos="2231390" algn="l"/>
                        </a:tabLst>
                      </a:pPr>
                      <a:r>
                        <a:rPr lang="en-US" sz="1100" b="1" dirty="0">
                          <a:solidFill>
                            <a:srgbClr val="FFFFFF"/>
                          </a:solidFill>
                          <a:latin typeface="Calibri"/>
                          <a:cs typeface="Calibri"/>
                        </a:rPr>
                        <a:t>Data Operations Service Catalogue</a:t>
                      </a:r>
                      <a:endParaRPr sz="800" dirty="0">
                        <a:latin typeface="Calibri"/>
                        <a:cs typeface="Calibri"/>
                      </a:endParaRPr>
                    </a:p>
                  </a:txBody>
                  <a:tcPr marL="0" marR="0" marT="129976" marB="0" vert="vert270" anchor="ctr">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ct val="100000"/>
                        </a:lnSpc>
                        <a:spcBef>
                          <a:spcPts val="30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Ingestion </a:t>
                      </a:r>
                      <a:r>
                        <a:rPr sz="900" spc="-5" dirty="0">
                          <a:latin typeface="Open Sans Light" panose="020B0306030504020204" pitchFamily="34" charset="0"/>
                          <a:ea typeface="Open Sans Light" panose="020B0306030504020204" pitchFamily="34" charset="0"/>
                          <a:cs typeface="Open Sans Light" panose="020B0306030504020204" pitchFamily="34" charset="0"/>
                        </a:rPr>
                        <a:t>- </a:t>
                      </a:r>
                      <a:r>
                        <a:rPr sz="900" dirty="0">
                          <a:latin typeface="Open Sans Light" panose="020B0306030504020204" pitchFamily="34" charset="0"/>
                          <a:ea typeface="Open Sans Light" panose="020B0306030504020204" pitchFamily="34" charset="0"/>
                          <a:cs typeface="Open Sans Light" panose="020B0306030504020204" pitchFamily="34" charset="0"/>
                        </a:rPr>
                        <a:t>Data</a:t>
                      </a:r>
                      <a:r>
                        <a:rPr sz="900" spc="3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flows</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R w="3175">
                      <a:solidFill>
                        <a:srgbClr val="FFFFFF"/>
                      </a:solidFill>
                      <a:prstDash val="solid"/>
                    </a:lnR>
                    <a:lnT w="3175">
                      <a:solidFill>
                        <a:srgbClr val="FFFFFF"/>
                      </a:solidFill>
                      <a:prstDash val="solid"/>
                    </a:lnT>
                    <a:lnB w="6350">
                      <a:solidFill>
                        <a:srgbClr val="FFFFFF"/>
                      </a:solidFill>
                      <a:prstDash val="solid"/>
                    </a:lnB>
                    <a:solidFill>
                      <a:srgbClr val="E3F5FB"/>
                    </a:solidFill>
                  </a:tcPr>
                </a:tc>
                <a:tc>
                  <a:txBody>
                    <a:bodyPr/>
                    <a:lstStyle/>
                    <a:p>
                      <a:pPr marL="74930" algn="ctr">
                        <a:lnSpc>
                          <a:spcPct val="100000"/>
                        </a:lnSpc>
                        <a:spcBef>
                          <a:spcPts val="305"/>
                        </a:spcBef>
                      </a:pPr>
                      <a:r>
                        <a:rPr sz="900" spc="10" dirty="0">
                          <a:latin typeface="Open Sans Light" panose="020B0306030504020204" pitchFamily="34" charset="0"/>
                          <a:ea typeface="Open Sans Light" panose="020B0306030504020204" pitchFamily="34" charset="0"/>
                          <a:cs typeface="Open Sans Light" panose="020B0306030504020204" pitchFamily="34" charset="0"/>
                        </a:rPr>
                        <a:t>MDM </a:t>
                      </a:r>
                      <a:r>
                        <a:rPr sz="900" spc="5" dirty="0">
                          <a:latin typeface="Open Sans Light" panose="020B0306030504020204" pitchFamily="34" charset="0"/>
                          <a:ea typeface="Open Sans Light" panose="020B0306030504020204" pitchFamily="34" charset="0"/>
                          <a:cs typeface="Open Sans Light" panose="020B0306030504020204" pitchFamily="34" charset="0"/>
                        </a:rPr>
                        <a:t>and</a:t>
                      </a:r>
                      <a:r>
                        <a:rPr sz="900" spc="25"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Conformance</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3175">
                      <a:solidFill>
                        <a:srgbClr val="FFFFFF"/>
                      </a:solidFill>
                      <a:prstDash val="solid"/>
                    </a:lnT>
                    <a:lnB w="6350">
                      <a:solidFill>
                        <a:srgbClr val="FFFFFF"/>
                      </a:solidFill>
                      <a:prstDash val="solid"/>
                    </a:lnB>
                    <a:solidFill>
                      <a:srgbClr val="E3F5FB"/>
                    </a:solidFill>
                  </a:tcPr>
                </a:tc>
                <a:tc>
                  <a:txBody>
                    <a:bodyPr/>
                    <a:lstStyle/>
                    <a:p>
                      <a:pPr marL="76200" algn="ctr">
                        <a:lnSpc>
                          <a:spcPct val="100000"/>
                        </a:lnSpc>
                        <a:spcBef>
                          <a:spcPts val="30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Self-serve</a:t>
                      </a:r>
                      <a:r>
                        <a:rPr sz="900" spc="1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analytics</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3175">
                      <a:solidFill>
                        <a:srgbClr val="FFFFFF"/>
                      </a:solidFill>
                      <a:prstDash val="solid"/>
                    </a:lnT>
                    <a:lnB w="6350">
                      <a:solidFill>
                        <a:srgbClr val="FFFFFF"/>
                      </a:solidFill>
                      <a:prstDash val="solid"/>
                    </a:lnB>
                    <a:solidFill>
                      <a:srgbClr val="E3F5FB"/>
                    </a:solidFill>
                  </a:tcPr>
                </a:tc>
                <a:tc>
                  <a:txBody>
                    <a:bodyPr/>
                    <a:lstStyle/>
                    <a:p>
                      <a:pPr marL="77470" algn="ctr">
                        <a:lnSpc>
                          <a:spcPct val="100000"/>
                        </a:lnSpc>
                        <a:spcBef>
                          <a:spcPts val="305"/>
                        </a:spcBef>
                      </a:pPr>
                      <a:r>
                        <a:rPr sz="900" spc="10" dirty="0">
                          <a:latin typeface="Open Sans Light" panose="020B0306030504020204" pitchFamily="34" charset="0"/>
                          <a:ea typeface="Open Sans Light" panose="020B0306030504020204" pitchFamily="34" charset="0"/>
                          <a:cs typeface="Open Sans Light" panose="020B0306030504020204" pitchFamily="34" charset="0"/>
                        </a:rPr>
                        <a:t>Administer, </a:t>
                      </a:r>
                      <a:r>
                        <a:rPr sz="900" spc="5" dirty="0">
                          <a:latin typeface="Open Sans Light" panose="020B0306030504020204" pitchFamily="34" charset="0"/>
                          <a:ea typeface="Open Sans Light" panose="020B0306030504020204" pitchFamily="34" charset="0"/>
                          <a:cs typeface="Open Sans Light" panose="020B0306030504020204" pitchFamily="34" charset="0"/>
                        </a:rPr>
                        <a:t>maintain,</a:t>
                      </a:r>
                      <a:r>
                        <a:rPr sz="900"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monitor</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3175">
                      <a:solidFill>
                        <a:srgbClr val="FFFFFF"/>
                      </a:solidFill>
                      <a:prstDash val="solid"/>
                    </a:lnT>
                    <a:lnB w="6350">
                      <a:solidFill>
                        <a:srgbClr val="FFFFFF"/>
                      </a:solidFill>
                      <a:prstDash val="solid"/>
                    </a:lnB>
                    <a:solidFill>
                      <a:srgbClr val="E3F5FB"/>
                    </a:solidFill>
                  </a:tcPr>
                </a:tc>
                <a:tc>
                  <a:txBody>
                    <a:bodyPr/>
                    <a:lstStyle/>
                    <a:p>
                      <a:pPr marL="78105" algn="ctr">
                        <a:lnSpc>
                          <a:spcPct val="100000"/>
                        </a:lnSpc>
                        <a:spcBef>
                          <a:spcPts val="305"/>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security </a:t>
                      </a:r>
                      <a:r>
                        <a:rPr sz="900" dirty="0">
                          <a:latin typeface="Open Sans Light" panose="020B0306030504020204" pitchFamily="34" charset="0"/>
                          <a:ea typeface="Open Sans Light" panose="020B0306030504020204" pitchFamily="34" charset="0"/>
                          <a:cs typeface="Open Sans Light" panose="020B0306030504020204" pitchFamily="34" charset="0"/>
                        </a:rPr>
                        <a:t>as </a:t>
                      </a:r>
                      <a:r>
                        <a:rPr sz="900" spc="-5" dirty="0">
                          <a:latin typeface="Open Sans Light" panose="020B0306030504020204" pitchFamily="34" charset="0"/>
                          <a:ea typeface="Open Sans Light" panose="020B0306030504020204" pitchFamily="34" charset="0"/>
                          <a:cs typeface="Open Sans Light" panose="020B0306030504020204" pitchFamily="34" charset="0"/>
                        </a:rPr>
                        <a:t>a</a:t>
                      </a:r>
                      <a:r>
                        <a:rPr sz="900" spc="3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service</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3175">
                      <a:solidFill>
                        <a:srgbClr val="FFFFFF"/>
                      </a:solidFill>
                      <a:prstDash val="solid"/>
                    </a:lnT>
                    <a:lnB w="6350">
                      <a:solidFill>
                        <a:srgbClr val="FFFFFF"/>
                      </a:solidFill>
                      <a:prstDash val="solid"/>
                    </a:lnB>
                    <a:solidFill>
                      <a:srgbClr val="E3F5FB"/>
                    </a:solidFill>
                  </a:tcPr>
                </a:tc>
                <a:tc>
                  <a:txBody>
                    <a:bodyPr/>
                    <a:lstStyle/>
                    <a:p>
                      <a:pPr marL="79375" algn="ctr">
                        <a:lnSpc>
                          <a:spcPct val="100000"/>
                        </a:lnSpc>
                        <a:spcBef>
                          <a:spcPts val="305"/>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analysis and</a:t>
                      </a:r>
                      <a:r>
                        <a:rPr sz="900" spc="20"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mapping</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3175">
                      <a:solidFill>
                        <a:srgbClr val="FFFFFF"/>
                      </a:solidFill>
                      <a:prstDash val="solid"/>
                    </a:lnT>
                    <a:lnB w="6350">
                      <a:solidFill>
                        <a:srgbClr val="FFFFFF"/>
                      </a:solidFill>
                      <a:prstDash val="solid"/>
                    </a:lnB>
                    <a:solidFill>
                      <a:srgbClr val="E3F5FB"/>
                    </a:solidFill>
                  </a:tcPr>
                </a:tc>
                <a:extLst>
                  <a:ext uri="{0D108BD9-81ED-4DB2-BD59-A6C34878D82A}">
                    <a16:rowId xmlns:a16="http://schemas.microsoft.com/office/drawing/2014/main" val="10001"/>
                  </a:ext>
                </a:extLst>
              </a:tr>
              <a:tr h="329011">
                <a:tc vMerge="1">
                  <a:txBody>
                    <a:bodyPr/>
                    <a:lstStyle/>
                    <a:p>
                      <a:endParaRPr/>
                    </a:p>
                  </a:txBody>
                  <a:tcPr marL="0" marR="0" marT="94615" marB="0" vert="vert270">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ct val="100000"/>
                        </a:lnSpc>
                        <a:spcBef>
                          <a:spcPts val="315"/>
                        </a:spcBef>
                      </a:pPr>
                      <a:r>
                        <a:rPr sz="900" spc="10" dirty="0">
                          <a:latin typeface="Open Sans Light" panose="020B0306030504020204" pitchFamily="34" charset="0"/>
                          <a:ea typeface="Open Sans Light" panose="020B0306030504020204" pitchFamily="34" charset="0"/>
                          <a:cs typeface="Open Sans Light" panose="020B0306030504020204" pitchFamily="34" charset="0"/>
                        </a:rPr>
                        <a:t>D/W/M/Y</a:t>
                      </a:r>
                      <a:r>
                        <a:rPr sz="900" spc="165"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processing</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956" marB="0">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4930" algn="ctr">
                        <a:lnSpc>
                          <a:spcPct val="100000"/>
                        </a:lnSpc>
                        <a:spcBef>
                          <a:spcPts val="315"/>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Governance,</a:t>
                      </a:r>
                      <a:r>
                        <a:rPr sz="900" spc="15"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Compliance</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956"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6200" algn="ctr">
                        <a:lnSpc>
                          <a:spcPct val="100000"/>
                        </a:lnSpc>
                        <a:spcBef>
                          <a:spcPts val="31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Self-serve reporting/data</a:t>
                      </a:r>
                      <a:r>
                        <a:rPr sz="900" spc="1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extracts</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956"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7470" algn="ctr">
                        <a:lnSpc>
                          <a:spcPct val="100000"/>
                        </a:lnSpc>
                        <a:spcBef>
                          <a:spcPts val="31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IaaS/PaaS</a:t>
                      </a:r>
                      <a:r>
                        <a:rPr sz="900" spc="1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automation</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956"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8740" algn="ctr">
                        <a:lnSpc>
                          <a:spcPct val="100000"/>
                        </a:lnSpc>
                        <a:spcBef>
                          <a:spcPts val="31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AD/ID provider/SSO</a:t>
                      </a:r>
                      <a:r>
                        <a:rPr sz="900" spc="35"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integration</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956"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9375" algn="ctr">
                        <a:lnSpc>
                          <a:spcPct val="100000"/>
                        </a:lnSpc>
                        <a:spcBef>
                          <a:spcPts val="31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Ingestion patterns </a:t>
                      </a:r>
                      <a:r>
                        <a:rPr sz="900" spc="-5" dirty="0">
                          <a:latin typeface="Open Sans Light" panose="020B0306030504020204" pitchFamily="34" charset="0"/>
                          <a:ea typeface="Open Sans Light" panose="020B0306030504020204" pitchFamily="34" charset="0"/>
                          <a:cs typeface="Open Sans Light" panose="020B0306030504020204" pitchFamily="34" charset="0"/>
                        </a:rPr>
                        <a:t>&amp;</a:t>
                      </a:r>
                      <a:r>
                        <a:rPr sz="900" spc="3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routines</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956"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extLst>
                  <a:ext uri="{0D108BD9-81ED-4DB2-BD59-A6C34878D82A}">
                    <a16:rowId xmlns:a16="http://schemas.microsoft.com/office/drawing/2014/main" val="10002"/>
                  </a:ext>
                </a:extLst>
              </a:tr>
              <a:tr h="329011">
                <a:tc vMerge="1">
                  <a:txBody>
                    <a:bodyPr/>
                    <a:lstStyle/>
                    <a:p>
                      <a:endParaRPr/>
                    </a:p>
                  </a:txBody>
                  <a:tcPr marL="0" marR="0" marT="94615" marB="0" vert="vert270">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ct val="100000"/>
                        </a:lnSpc>
                        <a:spcBef>
                          <a:spcPts val="30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Errors/Issue</a:t>
                      </a:r>
                      <a:r>
                        <a:rPr sz="900" spc="1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Mgt.</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4930" algn="ctr">
                        <a:lnSpc>
                          <a:spcPct val="100000"/>
                        </a:lnSpc>
                        <a:spcBef>
                          <a:spcPts val="305"/>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Quality</a:t>
                      </a:r>
                      <a:r>
                        <a:rPr sz="900" spc="20"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management</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6200" algn="ctr">
                        <a:lnSpc>
                          <a:spcPct val="100000"/>
                        </a:lnSpc>
                        <a:spcBef>
                          <a:spcPts val="305"/>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sharing </a:t>
                      </a:r>
                      <a:r>
                        <a:rPr sz="900" spc="-5" dirty="0">
                          <a:latin typeface="Open Sans Light" panose="020B0306030504020204" pitchFamily="34" charset="0"/>
                          <a:ea typeface="Open Sans Light" panose="020B0306030504020204" pitchFamily="34" charset="0"/>
                          <a:cs typeface="Open Sans Light" panose="020B0306030504020204" pitchFamily="34" charset="0"/>
                        </a:rPr>
                        <a:t>-</a:t>
                      </a:r>
                      <a:r>
                        <a:rPr sz="900" spc="3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external/internal</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7470" algn="ctr">
                        <a:lnSpc>
                          <a:spcPct val="100000"/>
                        </a:lnSpc>
                        <a:spcBef>
                          <a:spcPts val="30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Configuration</a:t>
                      </a:r>
                      <a:r>
                        <a:rPr sz="900" spc="10" dirty="0">
                          <a:latin typeface="Open Sans Light" panose="020B0306030504020204" pitchFamily="34" charset="0"/>
                          <a:ea typeface="Open Sans Light" panose="020B0306030504020204" pitchFamily="34" charset="0"/>
                          <a:cs typeface="Open Sans Light" panose="020B0306030504020204" pitchFamily="34" charset="0"/>
                        </a:rPr>
                        <a:t> managemen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8740" algn="ctr">
                        <a:lnSpc>
                          <a:spcPct val="100000"/>
                        </a:lnSpc>
                        <a:spcBef>
                          <a:spcPts val="305"/>
                        </a:spcBef>
                      </a:pPr>
                      <a:r>
                        <a:rPr sz="900" spc="10" dirty="0">
                          <a:latin typeface="Open Sans Light" panose="020B0306030504020204" pitchFamily="34" charset="0"/>
                          <a:ea typeface="Open Sans Light" panose="020B0306030504020204" pitchFamily="34" charset="0"/>
                          <a:cs typeface="Open Sans Light" panose="020B0306030504020204" pitchFamily="34" charset="0"/>
                        </a:rPr>
                        <a:t>RBAC/ABAC</a:t>
                      </a:r>
                      <a:r>
                        <a:rPr sz="900" spc="5"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managemen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9375" algn="ctr">
                        <a:lnSpc>
                          <a:spcPct val="100000"/>
                        </a:lnSpc>
                        <a:spcBef>
                          <a:spcPts val="305"/>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curation (ELT)</a:t>
                      </a:r>
                      <a:r>
                        <a:rPr sz="900" spc="20"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pipelines</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extLst>
                  <a:ext uri="{0D108BD9-81ED-4DB2-BD59-A6C34878D82A}">
                    <a16:rowId xmlns:a16="http://schemas.microsoft.com/office/drawing/2014/main" val="10003"/>
                  </a:ext>
                </a:extLst>
              </a:tr>
              <a:tr h="329011">
                <a:tc vMerge="1">
                  <a:txBody>
                    <a:bodyPr/>
                    <a:lstStyle/>
                    <a:p>
                      <a:endParaRPr/>
                    </a:p>
                  </a:txBody>
                  <a:tcPr marL="0" marR="0" marT="94615" marB="0" vert="vert270">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ct val="100000"/>
                        </a:lnSpc>
                        <a:spcBef>
                          <a:spcPts val="320"/>
                        </a:spcBef>
                      </a:pPr>
                      <a:r>
                        <a:rPr sz="900" spc="10" dirty="0">
                          <a:latin typeface="Open Sans Light" panose="020B0306030504020204" pitchFamily="34" charset="0"/>
                          <a:ea typeface="Open Sans Light" panose="020B0306030504020204" pitchFamily="34" charset="0"/>
                          <a:cs typeface="Open Sans Light" panose="020B0306030504020204" pitchFamily="34" charset="0"/>
                        </a:rPr>
                        <a:t>Migrations/Code </a:t>
                      </a:r>
                      <a:r>
                        <a:rPr sz="900" spc="5" dirty="0">
                          <a:latin typeface="Open Sans Light" panose="020B0306030504020204" pitchFamily="34" charset="0"/>
                          <a:ea typeface="Open Sans Light" panose="020B0306030504020204" pitchFamily="34" charset="0"/>
                          <a:cs typeface="Open Sans Light" panose="020B0306030504020204" pitchFamily="34" charset="0"/>
                        </a:rPr>
                        <a:t>Mgt.</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4930"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Metadata, catalogue, lineage</a:t>
                      </a:r>
                      <a:r>
                        <a:rPr sz="900" spc="25"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mgt.</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6200" algn="ctr">
                        <a:lnSpc>
                          <a:spcPct val="100000"/>
                        </a:lnSpc>
                        <a:spcBef>
                          <a:spcPts val="320"/>
                        </a:spcBef>
                      </a:pPr>
                      <a:r>
                        <a:rPr sz="900" spc="15" dirty="0">
                          <a:latin typeface="Open Sans Light" panose="020B0306030504020204" pitchFamily="34" charset="0"/>
                          <a:ea typeface="Open Sans Light" panose="020B0306030504020204" pitchFamily="34" charset="0"/>
                          <a:cs typeface="Open Sans Light" panose="020B0306030504020204" pitchFamily="34" charset="0"/>
                        </a:rPr>
                        <a:t>Archiving and</a:t>
                      </a:r>
                      <a:r>
                        <a:rPr sz="900" spc="35"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reinstating</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6835"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Backup and recovery (RTO,</a:t>
                      </a:r>
                      <a:r>
                        <a:rPr sz="900" spc="35"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RPO)</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8105" algn="ctr">
                        <a:lnSpc>
                          <a:spcPct val="100000"/>
                        </a:lnSpc>
                        <a:spcBef>
                          <a:spcPts val="320"/>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a:t>
                      </a:r>
                      <a:r>
                        <a:rPr sz="900" spc="1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encryption/tokenization</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9375"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Audit-Balance-Control,</a:t>
                      </a:r>
                      <a:r>
                        <a:rPr sz="900" spc="1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Orchestration</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extLst>
                  <a:ext uri="{0D108BD9-81ED-4DB2-BD59-A6C34878D82A}">
                    <a16:rowId xmlns:a16="http://schemas.microsoft.com/office/drawing/2014/main" val="10004"/>
                  </a:ext>
                </a:extLst>
              </a:tr>
              <a:tr h="329011">
                <a:tc vMerge="1">
                  <a:txBody>
                    <a:bodyPr/>
                    <a:lstStyle/>
                    <a:p>
                      <a:endParaRPr/>
                    </a:p>
                  </a:txBody>
                  <a:tcPr marL="0" marR="0" marT="94615" marB="0" vert="vert270">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ct val="100000"/>
                        </a:lnSpc>
                        <a:spcBef>
                          <a:spcPts val="30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Performance</a:t>
                      </a:r>
                      <a:r>
                        <a:rPr sz="900" spc="1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Mg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4930" algn="ctr">
                        <a:lnSpc>
                          <a:spcPct val="100000"/>
                        </a:lnSpc>
                        <a:spcBef>
                          <a:spcPts val="305"/>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search, </a:t>
                      </a:r>
                      <a:r>
                        <a:rPr sz="900" spc="10" dirty="0">
                          <a:latin typeface="Open Sans Light" panose="020B0306030504020204" pitchFamily="34" charset="0"/>
                          <a:ea typeface="Open Sans Light" panose="020B0306030504020204" pitchFamily="34" charset="0"/>
                          <a:cs typeface="Open Sans Light" panose="020B0306030504020204" pitchFamily="34" charset="0"/>
                        </a:rPr>
                        <a:t>mining,</a:t>
                      </a:r>
                      <a:r>
                        <a:rPr sz="900" spc="2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profiling</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6200" algn="ctr">
                        <a:lnSpc>
                          <a:spcPct val="100000"/>
                        </a:lnSpc>
                        <a:spcBef>
                          <a:spcPts val="30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1 </a:t>
                      </a:r>
                      <a:r>
                        <a:rPr sz="900" spc="5" dirty="0">
                          <a:latin typeface="Open Sans Light" panose="020B0306030504020204" pitchFamily="34" charset="0"/>
                          <a:ea typeface="Open Sans Light" panose="020B0306030504020204" pitchFamily="34" charset="0"/>
                          <a:cs typeface="Open Sans Light" panose="020B0306030504020204" pitchFamily="34" charset="0"/>
                        </a:rPr>
                        <a:t>view </a:t>
                      </a:r>
                      <a:r>
                        <a:rPr sz="900" spc="-5"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across tools,</a:t>
                      </a:r>
                      <a:r>
                        <a:rPr sz="900" spc="5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channels</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7470" algn="ctr">
                        <a:lnSpc>
                          <a:spcPct val="100000"/>
                        </a:lnSpc>
                        <a:spcBef>
                          <a:spcPts val="30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Performance and </a:t>
                      </a:r>
                      <a:r>
                        <a:rPr sz="900" dirty="0">
                          <a:latin typeface="Open Sans Light" panose="020B0306030504020204" pitchFamily="34" charset="0"/>
                          <a:ea typeface="Open Sans Light" panose="020B0306030504020204" pitchFamily="34" charset="0"/>
                          <a:cs typeface="Open Sans Light" panose="020B0306030504020204" pitchFamily="34" charset="0"/>
                        </a:rPr>
                        <a:t>cost</a:t>
                      </a:r>
                      <a:r>
                        <a:rPr sz="900" spc="25"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mg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8105" algn="ctr">
                        <a:lnSpc>
                          <a:spcPct val="100000"/>
                        </a:lnSpc>
                        <a:spcBef>
                          <a:spcPts val="305"/>
                        </a:spcBef>
                      </a:pPr>
                      <a:r>
                        <a:rPr sz="900" spc="10" dirty="0">
                          <a:latin typeface="Open Sans Light" panose="020B0306030504020204" pitchFamily="34" charset="0"/>
                          <a:ea typeface="Open Sans Light" panose="020B0306030504020204" pitchFamily="34" charset="0"/>
                          <a:cs typeface="Open Sans Light" panose="020B0306030504020204" pitchFamily="34" charset="0"/>
                        </a:rPr>
                        <a:t>Audit </a:t>
                      </a:r>
                      <a:r>
                        <a:rPr sz="900" spc="5" dirty="0">
                          <a:latin typeface="Open Sans Light" panose="020B0306030504020204" pitchFamily="34" charset="0"/>
                          <a:ea typeface="Open Sans Light" panose="020B0306030504020204" pitchFamily="34" charset="0"/>
                          <a:cs typeface="Open Sans Light" panose="020B0306030504020204" pitchFamily="34" charset="0"/>
                        </a:rPr>
                        <a:t>support and </a:t>
                      </a:r>
                      <a:r>
                        <a:rPr sz="900" spc="10" dirty="0">
                          <a:latin typeface="Open Sans Light" panose="020B0306030504020204" pitchFamily="34" charset="0"/>
                          <a:ea typeface="Open Sans Light" panose="020B0306030504020204" pitchFamily="34" charset="0"/>
                          <a:cs typeface="Open Sans Light" panose="020B0306030504020204" pitchFamily="34" charset="0"/>
                        </a:rPr>
                        <a:t>monitoring</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9375" algn="ctr">
                        <a:lnSpc>
                          <a:spcPct val="100000"/>
                        </a:lnSpc>
                        <a:spcBef>
                          <a:spcPts val="305"/>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Storage, </a:t>
                      </a: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10" dirty="0">
                          <a:latin typeface="Open Sans Light" panose="020B0306030504020204" pitchFamily="34" charset="0"/>
                          <a:ea typeface="Open Sans Light" panose="020B0306030504020204" pitchFamily="34" charset="0"/>
                          <a:cs typeface="Open Sans Light" panose="020B0306030504020204" pitchFamily="34" charset="0"/>
                        </a:rPr>
                        <a:t>model </a:t>
                      </a:r>
                      <a:r>
                        <a:rPr sz="900" spc="-5" dirty="0">
                          <a:latin typeface="Open Sans Light" panose="020B0306030504020204" pitchFamily="34" charset="0"/>
                          <a:ea typeface="Open Sans Light" panose="020B0306030504020204" pitchFamily="34" charset="0"/>
                          <a:cs typeface="Open Sans Light" panose="020B0306030504020204" pitchFamily="34" charset="0"/>
                        </a:rPr>
                        <a:t>&amp;</a:t>
                      </a:r>
                      <a:r>
                        <a:rPr sz="900" spc="3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metadata</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3212"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extLst>
                  <a:ext uri="{0D108BD9-81ED-4DB2-BD59-A6C34878D82A}">
                    <a16:rowId xmlns:a16="http://schemas.microsoft.com/office/drawing/2014/main" val="10005"/>
                  </a:ext>
                </a:extLst>
              </a:tr>
              <a:tr h="329011">
                <a:tc vMerge="1">
                  <a:txBody>
                    <a:bodyPr/>
                    <a:lstStyle/>
                    <a:p>
                      <a:endParaRPr/>
                    </a:p>
                  </a:txBody>
                  <a:tcPr marL="0" marR="0" marT="94615" marB="0" vert="vert270">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Reconciliations/Closing</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4930"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Test </a:t>
                      </a:r>
                      <a:r>
                        <a:rPr sz="900" dirty="0">
                          <a:latin typeface="Open Sans Light" panose="020B0306030504020204" pitchFamily="34" charset="0"/>
                          <a:ea typeface="Open Sans Light" panose="020B0306030504020204" pitchFamily="34" charset="0"/>
                          <a:cs typeface="Open Sans Light" panose="020B0306030504020204" pitchFamily="34" charset="0"/>
                        </a:rPr>
                        <a:t>Data</a:t>
                      </a:r>
                      <a:r>
                        <a:rPr sz="900" spc="10" dirty="0">
                          <a:latin typeface="Open Sans Light" panose="020B0306030504020204" pitchFamily="34" charset="0"/>
                          <a:ea typeface="Open Sans Light" panose="020B0306030504020204" pitchFamily="34" charset="0"/>
                          <a:cs typeface="Open Sans Light" panose="020B0306030504020204" pitchFamily="34" charset="0"/>
                        </a:rPr>
                        <a:t> Managemen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6200" algn="ctr">
                        <a:lnSpc>
                          <a:spcPct val="100000"/>
                        </a:lnSpc>
                        <a:spcBef>
                          <a:spcPts val="320"/>
                        </a:spcBef>
                      </a:pPr>
                      <a:r>
                        <a:rPr sz="900" spc="10" dirty="0">
                          <a:latin typeface="Open Sans Light" panose="020B0306030504020204" pitchFamily="34" charset="0"/>
                          <a:ea typeface="Open Sans Light" panose="020B0306030504020204" pitchFamily="34" charset="0"/>
                          <a:cs typeface="Open Sans Light" panose="020B0306030504020204" pitchFamily="34" charset="0"/>
                        </a:rPr>
                        <a:t>Turnkey </a:t>
                      </a:r>
                      <a:r>
                        <a:rPr sz="900" spc="5" dirty="0">
                          <a:latin typeface="Open Sans Light" panose="020B0306030504020204" pitchFamily="34" charset="0"/>
                          <a:ea typeface="Open Sans Light" panose="020B0306030504020204" pitchFamily="34" charset="0"/>
                          <a:cs typeface="Open Sans Light" panose="020B0306030504020204" pitchFamily="34" charset="0"/>
                        </a:rPr>
                        <a:t>data request </a:t>
                      </a:r>
                      <a:r>
                        <a:rPr sz="900" spc="-5" dirty="0">
                          <a:latin typeface="Open Sans Light" panose="020B0306030504020204" pitchFamily="34" charset="0"/>
                          <a:ea typeface="Open Sans Light" panose="020B0306030504020204" pitchFamily="34" charset="0"/>
                          <a:cs typeface="Open Sans Light" panose="020B0306030504020204" pitchFamily="34" charset="0"/>
                        </a:rPr>
                        <a:t>-</a:t>
                      </a:r>
                      <a:r>
                        <a:rPr sz="900" spc="10" dirty="0">
                          <a:latin typeface="Open Sans Light" panose="020B0306030504020204" pitchFamily="34" charset="0"/>
                          <a:ea typeface="Open Sans Light" panose="020B0306030504020204" pitchFamily="34" charset="0"/>
                          <a:cs typeface="Open Sans Light" panose="020B0306030504020204" pitchFamily="34" charset="0"/>
                        </a:rPr>
                        <a:t> Fulfilmen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7470"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Standards and</a:t>
                      </a:r>
                      <a:r>
                        <a:rPr sz="900" spc="10" dirty="0">
                          <a:latin typeface="Open Sans Light" panose="020B0306030504020204" pitchFamily="34" charset="0"/>
                          <a:ea typeface="Open Sans Light" panose="020B0306030504020204" pitchFamily="34" charset="0"/>
                          <a:cs typeface="Open Sans Light" panose="020B0306030504020204" pitchFamily="34" charset="0"/>
                        </a:rPr>
                        <a:t> Guidelines</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8105"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SOX controls</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9375"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Analytical </a:t>
                      </a:r>
                      <a:r>
                        <a:rPr sz="900" spc="10" dirty="0">
                          <a:latin typeface="Open Sans Light" panose="020B0306030504020204" pitchFamily="34" charset="0"/>
                          <a:ea typeface="Open Sans Light" panose="020B0306030504020204" pitchFamily="34" charset="0"/>
                          <a:cs typeface="Open Sans Light" panose="020B0306030504020204" pitchFamily="34" charset="0"/>
                        </a:rPr>
                        <a:t>models</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extLst>
                  <a:ext uri="{0D108BD9-81ED-4DB2-BD59-A6C34878D82A}">
                    <a16:rowId xmlns:a16="http://schemas.microsoft.com/office/drawing/2014/main" val="10006"/>
                  </a:ext>
                </a:extLst>
              </a:tr>
              <a:tr h="329011">
                <a:tc vMerge="1">
                  <a:txBody>
                    <a:bodyPr/>
                    <a:lstStyle/>
                    <a:p>
                      <a:endParaRPr/>
                    </a:p>
                  </a:txBody>
                  <a:tcPr marL="0" marR="0" marT="94615" marB="0" vert="vert270">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ct val="100000"/>
                        </a:lnSpc>
                        <a:spcBef>
                          <a:spcPts val="309"/>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a:t>
                      </a:r>
                      <a:r>
                        <a:rPr sz="900" spc="5" dirty="0">
                          <a:latin typeface="Open Sans Light" panose="020B0306030504020204" pitchFamily="34" charset="0"/>
                          <a:ea typeface="Open Sans Light" panose="020B0306030504020204" pitchFamily="34" charset="0"/>
                          <a:cs typeface="Open Sans Light" panose="020B0306030504020204" pitchFamily="34" charset="0"/>
                        </a:rPr>
                        <a:t> reprocessing</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083" marB="0">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4930" algn="ctr">
                        <a:lnSpc>
                          <a:spcPct val="100000"/>
                        </a:lnSpc>
                        <a:spcBef>
                          <a:spcPts val="309"/>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Literacy</a:t>
                      </a:r>
                      <a:r>
                        <a:rPr sz="900" spc="2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suppor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083"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6200" algn="ctr">
                        <a:lnSpc>
                          <a:spcPct val="100000"/>
                        </a:lnSpc>
                        <a:spcBef>
                          <a:spcPts val="309"/>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Chargeback and data</a:t>
                      </a:r>
                      <a:r>
                        <a:rPr sz="900" spc="2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subscription</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083"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7470" algn="ctr">
                        <a:lnSpc>
                          <a:spcPct val="100000"/>
                        </a:lnSpc>
                        <a:spcBef>
                          <a:spcPts val="309"/>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Automation and</a:t>
                      </a:r>
                      <a:r>
                        <a:rPr sz="900" spc="2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consolidation</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083"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8105" algn="ctr">
                        <a:lnSpc>
                          <a:spcPct val="100000"/>
                        </a:lnSpc>
                        <a:spcBef>
                          <a:spcPts val="309"/>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Internal </a:t>
                      </a:r>
                      <a:r>
                        <a:rPr sz="900" spc="10" dirty="0">
                          <a:latin typeface="Open Sans Light" panose="020B0306030504020204" pitchFamily="34" charset="0"/>
                          <a:ea typeface="Open Sans Light" panose="020B0306030504020204" pitchFamily="34" charset="0"/>
                          <a:cs typeface="Open Sans Light" panose="020B0306030504020204" pitchFamily="34" charset="0"/>
                        </a:rPr>
                        <a:t>management </a:t>
                      </a:r>
                      <a:r>
                        <a:rPr sz="900" spc="5" dirty="0">
                          <a:latin typeface="Open Sans Light" panose="020B0306030504020204" pitchFamily="34" charset="0"/>
                          <a:ea typeface="Open Sans Light" panose="020B0306030504020204" pitchFamily="34" charset="0"/>
                          <a:cs typeface="Open Sans Light" panose="020B0306030504020204" pitchFamily="34" charset="0"/>
                        </a:rPr>
                        <a:t>controls</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083"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9375" algn="ctr">
                        <a:lnSpc>
                          <a:spcPct val="100000"/>
                        </a:lnSpc>
                        <a:spcBef>
                          <a:spcPts val="309"/>
                        </a:spcBef>
                      </a:pPr>
                      <a:r>
                        <a:rPr sz="900" dirty="0">
                          <a:latin typeface="Open Sans Light" panose="020B0306030504020204" pitchFamily="34" charset="0"/>
                          <a:ea typeface="Open Sans Light" panose="020B0306030504020204" pitchFamily="34" charset="0"/>
                          <a:cs typeface="Open Sans Light" panose="020B0306030504020204" pitchFamily="34" charset="0"/>
                        </a:rPr>
                        <a:t>Data </a:t>
                      </a:r>
                      <a:r>
                        <a:rPr sz="900" spc="5" dirty="0">
                          <a:latin typeface="Open Sans Light" panose="020B0306030504020204" pitchFamily="34" charset="0"/>
                          <a:ea typeface="Open Sans Light" panose="020B0306030504020204" pitchFamily="34" charset="0"/>
                          <a:cs typeface="Open Sans Light" panose="020B0306030504020204" pitchFamily="34" charset="0"/>
                        </a:rPr>
                        <a:t>Abstraction </a:t>
                      </a:r>
                      <a:r>
                        <a:rPr sz="900" spc="-5" dirty="0">
                          <a:latin typeface="Open Sans Light" panose="020B0306030504020204" pitchFamily="34" charset="0"/>
                          <a:ea typeface="Open Sans Light" panose="020B0306030504020204" pitchFamily="34" charset="0"/>
                          <a:cs typeface="Open Sans Light" panose="020B0306030504020204" pitchFamily="34" charset="0"/>
                        </a:rPr>
                        <a:t>/</a:t>
                      </a:r>
                      <a:r>
                        <a:rPr sz="900" spc="3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Virtualization</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4083"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extLst>
                  <a:ext uri="{0D108BD9-81ED-4DB2-BD59-A6C34878D82A}">
                    <a16:rowId xmlns:a16="http://schemas.microsoft.com/office/drawing/2014/main" val="10007"/>
                  </a:ext>
                </a:extLst>
              </a:tr>
              <a:tr h="329011">
                <a:tc vMerge="1">
                  <a:txBody>
                    <a:bodyPr/>
                    <a:lstStyle/>
                    <a:p>
                      <a:endParaRPr/>
                    </a:p>
                  </a:txBody>
                  <a:tcPr marL="0" marR="0" marT="94615" marB="0" vert="vert270">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Filings and</a:t>
                      </a:r>
                      <a:r>
                        <a:rPr sz="900" spc="15"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Consolidations</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4930" algn="ctr">
                        <a:lnSpc>
                          <a:spcPct val="100000"/>
                        </a:lnSpc>
                        <a:spcBef>
                          <a:spcPts val="320"/>
                        </a:spcBef>
                      </a:pPr>
                      <a:r>
                        <a:rPr sz="900" spc="10" dirty="0">
                          <a:latin typeface="Open Sans Light" panose="020B0306030504020204" pitchFamily="34" charset="0"/>
                          <a:ea typeface="Open Sans Light" panose="020B0306030504020204" pitchFamily="34" charset="0"/>
                          <a:cs typeface="Open Sans Light" panose="020B0306030504020204" pitchFamily="34" charset="0"/>
                        </a:rPr>
                        <a:t>Demand- Governance-Supply</a:t>
                      </a:r>
                      <a:r>
                        <a:rPr sz="90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mg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6200"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Third party data</a:t>
                      </a:r>
                      <a:r>
                        <a:rPr sz="900" spc="20" dirty="0">
                          <a:latin typeface="Open Sans Light" panose="020B0306030504020204" pitchFamily="34" charset="0"/>
                          <a:ea typeface="Open Sans Light" panose="020B0306030504020204" pitchFamily="34" charset="0"/>
                          <a:cs typeface="Open Sans Light" panose="020B0306030504020204" pitchFamily="34" charset="0"/>
                        </a:rPr>
                        <a:t> </a:t>
                      </a:r>
                      <a:r>
                        <a:rPr sz="900" spc="10" dirty="0">
                          <a:latin typeface="Open Sans Light" panose="020B0306030504020204" pitchFamily="34" charset="0"/>
                          <a:ea typeface="Open Sans Light" panose="020B0306030504020204" pitchFamily="34" charset="0"/>
                          <a:cs typeface="Open Sans Light" panose="020B0306030504020204" pitchFamily="34" charset="0"/>
                        </a:rPr>
                        <a:t>management</a:t>
                      </a:r>
                      <a:endParaRPr sz="90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7470"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Tech BoM sizing, </a:t>
                      </a:r>
                      <a:r>
                        <a:rPr sz="900" dirty="0">
                          <a:latin typeface="Open Sans Light" panose="020B0306030504020204" pitchFamily="34" charset="0"/>
                          <a:ea typeface="Open Sans Light" panose="020B0306030504020204" pitchFamily="34" charset="0"/>
                          <a:cs typeface="Open Sans Light" panose="020B0306030504020204" pitchFamily="34" charset="0"/>
                        </a:rPr>
                        <a:t>cost</a:t>
                      </a:r>
                      <a:r>
                        <a:rPr sz="900" spc="40"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estimation</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8105"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GDPR/GXP/HIPPA/CCPA</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tc>
                  <a:txBody>
                    <a:bodyPr/>
                    <a:lstStyle/>
                    <a:p>
                      <a:pPr marL="79375" algn="ctr">
                        <a:lnSpc>
                          <a:spcPct val="100000"/>
                        </a:lnSpc>
                        <a:spcBef>
                          <a:spcPts val="320"/>
                        </a:spcBef>
                      </a:pPr>
                      <a:r>
                        <a:rPr sz="900" spc="5" dirty="0">
                          <a:latin typeface="Open Sans Light" panose="020B0306030504020204" pitchFamily="34" charset="0"/>
                          <a:ea typeface="Open Sans Light" panose="020B0306030504020204" pitchFamily="34" charset="0"/>
                          <a:cs typeface="Open Sans Light" panose="020B0306030504020204" pitchFamily="34" charset="0"/>
                        </a:rPr>
                        <a:t>Reporting </a:t>
                      </a:r>
                      <a:r>
                        <a:rPr sz="900" spc="-5" dirty="0">
                          <a:latin typeface="Open Sans Light" panose="020B0306030504020204" pitchFamily="34" charset="0"/>
                          <a:ea typeface="Open Sans Light" panose="020B0306030504020204" pitchFamily="34" charset="0"/>
                          <a:cs typeface="Open Sans Light" panose="020B0306030504020204" pitchFamily="34" charset="0"/>
                        </a:rPr>
                        <a:t>&amp;</a:t>
                      </a:r>
                      <a:r>
                        <a:rPr sz="900" spc="25" dirty="0">
                          <a:latin typeface="Open Sans Light" panose="020B0306030504020204" pitchFamily="34" charset="0"/>
                          <a:ea typeface="Open Sans Light" panose="020B0306030504020204" pitchFamily="34" charset="0"/>
                          <a:cs typeface="Open Sans Light" panose="020B0306030504020204" pitchFamily="34" charset="0"/>
                        </a:rPr>
                        <a:t> </a:t>
                      </a:r>
                      <a:r>
                        <a:rPr sz="900" spc="5" dirty="0">
                          <a:latin typeface="Open Sans Light" panose="020B0306030504020204" pitchFamily="34" charset="0"/>
                          <a:ea typeface="Open Sans Light" panose="020B0306030504020204" pitchFamily="34" charset="0"/>
                          <a:cs typeface="Open Sans Light" panose="020B0306030504020204" pitchFamily="34" charset="0"/>
                        </a:rPr>
                        <a:t>visualization</a:t>
                      </a:r>
                      <a:endParaRPr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5829" marB="0">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E3F5FB"/>
                    </a:solidFill>
                  </a:tcPr>
                </a:tc>
                <a:extLst>
                  <a:ext uri="{0D108BD9-81ED-4DB2-BD59-A6C34878D82A}">
                    <a16:rowId xmlns:a16="http://schemas.microsoft.com/office/drawing/2014/main" val="10008"/>
                  </a:ext>
                </a:extLst>
              </a:tr>
              <a:tr h="1908267">
                <a:tc vMerge="1">
                  <a:txBody>
                    <a:bodyPr/>
                    <a:lstStyle/>
                    <a:p>
                      <a:endParaRPr/>
                    </a:p>
                  </a:txBody>
                  <a:tcPr marL="0" marR="0" marT="94615" marB="0" vert="vert270">
                    <a:lnL w="3175">
                      <a:solidFill>
                        <a:srgbClr val="FFFFFF"/>
                      </a:solidFill>
                      <a:prstDash val="solid"/>
                    </a:lnL>
                    <a:lnT w="3175">
                      <a:solidFill>
                        <a:srgbClr val="FFFFFF"/>
                      </a:solidFill>
                      <a:prstDash val="solid"/>
                    </a:lnT>
                    <a:lnB w="3175">
                      <a:solidFill>
                        <a:srgbClr val="FFFFFF"/>
                      </a:solidFill>
                      <a:prstDash val="solid"/>
                    </a:lnB>
                    <a:solidFill>
                      <a:srgbClr val="0076A8"/>
                    </a:solidFill>
                  </a:tcPr>
                </a:tc>
                <a:tc>
                  <a:txBody>
                    <a:bodyPr/>
                    <a:lstStyle/>
                    <a:p>
                      <a:pPr marL="73660" algn="ctr">
                        <a:lnSpc>
                          <a:spcPts val="815"/>
                        </a:lnSpc>
                        <a:spcBef>
                          <a:spcPts val="335"/>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 Hybrid and</a:t>
                      </a:r>
                      <a:r>
                        <a:rPr lang="en-US" sz="900" spc="25"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n-Prem</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2090" indent="-139065" algn="ctr">
                        <a:lnSpc>
                          <a:spcPts val="815"/>
                        </a:lnSpc>
                        <a:buFont typeface="Arial"/>
                        <a:buChar char="•"/>
                        <a:tabLst>
                          <a:tab pos="21272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Informatica, Talend,</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2090" algn="ctr">
                        <a:lnSpc>
                          <a:spcPct val="100000"/>
                        </a:lnSpc>
                        <a:spcBef>
                          <a:spcPts val="45"/>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rac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2090" indent="-139065" algn="ctr">
                        <a:lnSpc>
                          <a:spcPct val="100000"/>
                        </a:lnSpc>
                        <a:spcBef>
                          <a:spcPts val="75"/>
                        </a:spcBef>
                        <a:buFont typeface="Arial"/>
                        <a:buChar char="•"/>
                        <a:tabLst>
                          <a:tab pos="212725" algn="l"/>
                        </a:tabLst>
                      </a:pP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MuleSoft</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2090" indent="-139065" algn="ctr">
                        <a:lnSpc>
                          <a:spcPts val="815"/>
                        </a:lnSpc>
                        <a:spcBef>
                          <a:spcPts val="70"/>
                        </a:spcBef>
                        <a:buFont typeface="Arial"/>
                        <a:buChar char="•"/>
                        <a:tabLst>
                          <a:tab pos="21272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era, Teradata,</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rac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2090" indent="-139065" algn="ctr">
                        <a:lnSpc>
                          <a:spcPts val="815"/>
                        </a:lnSpc>
                        <a:buFont typeface="Arial"/>
                        <a:buChar char="•"/>
                        <a:tabLst>
                          <a:tab pos="21272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Automation</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nywher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2090" indent="-139065" algn="ctr">
                        <a:lnSpc>
                          <a:spcPct val="100000"/>
                        </a:lnSpc>
                        <a:spcBef>
                          <a:spcPts val="50"/>
                        </a:spcBef>
                        <a:buFont typeface="Arial"/>
                        <a:buChar char="•"/>
                        <a:tabLst>
                          <a:tab pos="212725" algn="l"/>
                        </a:tabLst>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R, </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Python,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SA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2090" indent="-139065" algn="ctr">
                        <a:lnSpc>
                          <a:spcPts val="815"/>
                        </a:lnSpc>
                        <a:spcBef>
                          <a:spcPts val="70"/>
                        </a:spcBef>
                        <a:buFont typeface="Arial"/>
                        <a:buChar char="•"/>
                        <a:tabLst>
                          <a:tab pos="212725" algn="l"/>
                        </a:tabLst>
                      </a:pP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AWS,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Azure,</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Goog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2090" indent="-139065" algn="ctr">
                        <a:lnSpc>
                          <a:spcPts val="815"/>
                        </a:lnSpc>
                        <a:buFont typeface="Arial"/>
                        <a:buChar char="•"/>
                        <a:tabLst>
                          <a:tab pos="212725" algn="l"/>
                        </a:tabLst>
                      </a:pPr>
                      <a:r>
                        <a:rPr lang="en-US" sz="900" i="1" spc="5" dirty="0">
                          <a:latin typeface="Open Sans Light" panose="020B0306030504020204" pitchFamily="34" charset="0"/>
                          <a:ea typeface="Open Sans Light" panose="020B0306030504020204" pitchFamily="34" charset="0"/>
                          <a:cs typeface="Open Sans Light" panose="020B0306030504020204" pitchFamily="34" charset="0"/>
                        </a:rPr>
                        <a:t>Other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8446" marB="0" anchor="ctr">
                    <a:lnR w="3175">
                      <a:solidFill>
                        <a:srgbClr val="FFFFFF"/>
                      </a:solidFill>
                      <a:prstDash val="solid"/>
                    </a:lnR>
                    <a:lnT w="6350">
                      <a:solidFill>
                        <a:srgbClr val="FFFFFF"/>
                      </a:solidFill>
                      <a:prstDash val="solid"/>
                    </a:lnT>
                    <a:lnB w="6350">
                      <a:solidFill>
                        <a:srgbClr val="FFFFFF"/>
                      </a:solidFill>
                      <a:prstDash val="solid"/>
                    </a:lnB>
                    <a:solidFill>
                      <a:srgbClr val="DDEFE8"/>
                    </a:solidFill>
                  </a:tcPr>
                </a:tc>
                <a:tc>
                  <a:txBody>
                    <a:bodyPr/>
                    <a:lstStyle/>
                    <a:p>
                      <a:pPr marL="74930" algn="ctr">
                        <a:lnSpc>
                          <a:spcPts val="815"/>
                        </a:lnSpc>
                        <a:spcBef>
                          <a:spcPts val="334"/>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 Hybrid and</a:t>
                      </a:r>
                      <a:r>
                        <a:rPr lang="en-US" sz="900" spc="25"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n-Prem</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3360" indent="-139065" algn="ctr">
                        <a:lnSpc>
                          <a:spcPts val="815"/>
                        </a:lnSpc>
                        <a:buFont typeface="Arial"/>
                        <a:buChar char="•"/>
                        <a:tabLst>
                          <a:tab pos="21399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Informatica, Talend, </a:t>
                      </a:r>
                      <a:r>
                        <a:rPr lang="en-US" sz="900" spc="5" dirty="0" err="1">
                          <a:latin typeface="Open Sans Light" panose="020B0306030504020204" pitchFamily="34" charset="0"/>
                          <a:ea typeface="Open Sans Light" panose="020B0306030504020204" pitchFamily="34" charset="0"/>
                          <a:cs typeface="Open Sans Light" panose="020B0306030504020204" pitchFamily="34" charset="0"/>
                        </a:rPr>
                        <a:t>Realtio</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3360" indent="-139065" algn="ctr">
                        <a:lnSpc>
                          <a:spcPct val="100000"/>
                        </a:lnSpc>
                        <a:spcBef>
                          <a:spcPts val="45"/>
                        </a:spcBef>
                        <a:buFont typeface="Arial"/>
                        <a:buChar char="•"/>
                        <a:tabLst>
                          <a:tab pos="21399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ollibra</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3360" marR="241935" indent="-139065" algn="ctr">
                        <a:lnSpc>
                          <a:spcPct val="108500"/>
                        </a:lnSpc>
                        <a:buFont typeface="Arial"/>
                        <a:buChar char="•"/>
                        <a:tabLst>
                          <a:tab pos="21399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era, Teradata, Oracle,  SQL, Snowflak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3360" indent="-139065" algn="ctr">
                        <a:lnSpc>
                          <a:spcPts val="790"/>
                        </a:lnSpc>
                        <a:buFont typeface="Arial"/>
                        <a:buChar char="•"/>
                        <a:tabLst>
                          <a:tab pos="213995" algn="l"/>
                        </a:tabLst>
                      </a:pPr>
                      <a:r>
                        <a:rPr lang="en-US" sz="900" i="1" spc="5" dirty="0">
                          <a:latin typeface="Open Sans Light" panose="020B0306030504020204" pitchFamily="34" charset="0"/>
                          <a:ea typeface="Open Sans Light" panose="020B0306030504020204" pitchFamily="34" charset="0"/>
                          <a:cs typeface="Open Sans Light" panose="020B0306030504020204" pitchFamily="34" charset="0"/>
                        </a:rPr>
                        <a:t>Other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8444" marB="0" anchor="ctr">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DDEFE8"/>
                    </a:solidFill>
                  </a:tcPr>
                </a:tc>
                <a:tc>
                  <a:txBody>
                    <a:bodyPr/>
                    <a:lstStyle/>
                    <a:p>
                      <a:pPr marL="76200" algn="ctr">
                        <a:lnSpc>
                          <a:spcPts val="815"/>
                        </a:lnSpc>
                        <a:spcBef>
                          <a:spcPts val="330"/>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 Hybrid and</a:t>
                      </a:r>
                      <a:r>
                        <a:rPr lang="en-US" sz="900" spc="25"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n-Prem</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4629" indent="-139065" algn="ctr">
                        <a:lnSpc>
                          <a:spcPts val="815"/>
                        </a:lnSpc>
                        <a:buFont typeface="Arial"/>
                        <a:buChar char="•"/>
                        <a:tabLst>
                          <a:tab pos="21526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era, Teradata,</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rac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4629" algn="ctr">
                        <a:lnSpc>
                          <a:spcPct val="100000"/>
                        </a:lnSpc>
                        <a:spcBef>
                          <a:spcPts val="50"/>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SQL, Snowflak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4629" marR="202565" indent="-139065" algn="ctr">
                        <a:lnSpc>
                          <a:spcPct val="101400"/>
                        </a:lnSpc>
                        <a:spcBef>
                          <a:spcPts val="60"/>
                        </a:spcBef>
                        <a:buFont typeface="Arial"/>
                        <a:buChar char="•"/>
                        <a:tabLst>
                          <a:tab pos="21526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Tableau, Microsoft, Oracle,  SAP, SAS, MicroStrategy,  </a:t>
                      </a:r>
                      <a:r>
                        <a:rPr lang="en-US" sz="900" spc="10" dirty="0" err="1">
                          <a:latin typeface="Open Sans Light" panose="020B0306030504020204" pitchFamily="34" charset="0"/>
                          <a:ea typeface="Open Sans Light" panose="020B0306030504020204" pitchFamily="34" charset="0"/>
                          <a:cs typeface="Open Sans Light" panose="020B0306030504020204" pitchFamily="34" charset="0"/>
                        </a:rPr>
                        <a:t>RoamBI</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4629" indent="-139065" algn="ctr">
                        <a:lnSpc>
                          <a:spcPct val="100000"/>
                        </a:lnSpc>
                        <a:spcBef>
                          <a:spcPts val="50"/>
                        </a:spcBef>
                        <a:buFont typeface="Arial"/>
                        <a:buChar char="•"/>
                        <a:tabLst>
                          <a:tab pos="215265" algn="l"/>
                        </a:tabLst>
                      </a:pPr>
                      <a:r>
                        <a:rPr lang="en-US" sz="900" i="1" spc="5" dirty="0">
                          <a:latin typeface="Open Sans Light" panose="020B0306030504020204" pitchFamily="34" charset="0"/>
                          <a:ea typeface="Open Sans Light" panose="020B0306030504020204" pitchFamily="34" charset="0"/>
                          <a:cs typeface="Open Sans Light" panose="020B0306030504020204" pitchFamily="34" charset="0"/>
                        </a:rPr>
                        <a:t>Other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7573" marB="0" anchor="ctr">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DDEFE8"/>
                    </a:solidFill>
                  </a:tcPr>
                </a:tc>
                <a:tc>
                  <a:txBody>
                    <a:bodyPr/>
                    <a:lstStyle/>
                    <a:p>
                      <a:pPr marL="76835" algn="ctr">
                        <a:lnSpc>
                          <a:spcPts val="815"/>
                        </a:lnSpc>
                        <a:spcBef>
                          <a:spcPts val="330"/>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 Hybrid and</a:t>
                      </a:r>
                      <a:r>
                        <a:rPr lang="en-US" sz="900" spc="25"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n-Prem</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5900" indent="-139700" algn="ctr">
                        <a:lnSpc>
                          <a:spcPts val="815"/>
                        </a:lnSpc>
                        <a:buFont typeface="Arial"/>
                        <a:buChar char="•"/>
                        <a:tabLst>
                          <a:tab pos="21653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Informatica, Talend,</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rac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5900" indent="-139700" algn="ctr">
                        <a:lnSpc>
                          <a:spcPct val="100000"/>
                        </a:lnSpc>
                        <a:spcBef>
                          <a:spcPts val="50"/>
                        </a:spcBef>
                        <a:buFont typeface="Arial"/>
                        <a:buChar char="•"/>
                        <a:tabLst>
                          <a:tab pos="216535" algn="l"/>
                        </a:tabLst>
                      </a:pP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MuleSoft</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5900" indent="-139700" algn="ctr">
                        <a:lnSpc>
                          <a:spcPct val="100000"/>
                        </a:lnSpc>
                        <a:spcBef>
                          <a:spcPts val="70"/>
                        </a:spcBef>
                        <a:buFont typeface="Arial"/>
                        <a:buChar char="•"/>
                        <a:tabLst>
                          <a:tab pos="21653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era, Teradata,</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rac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5900" indent="-139700" algn="ctr">
                        <a:lnSpc>
                          <a:spcPts val="815"/>
                        </a:lnSpc>
                        <a:spcBef>
                          <a:spcPts val="75"/>
                        </a:spcBef>
                        <a:buFont typeface="Arial"/>
                        <a:buChar char="•"/>
                        <a:tabLst>
                          <a:tab pos="216535"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Automation</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nywher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5900" indent="-139700" algn="ctr">
                        <a:lnSpc>
                          <a:spcPts val="815"/>
                        </a:lnSpc>
                        <a:buFont typeface="Arial"/>
                        <a:buChar char="•"/>
                        <a:tabLst>
                          <a:tab pos="216535" algn="l"/>
                        </a:tabLst>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R, </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Python,</a:t>
                      </a:r>
                      <a:r>
                        <a:rPr lang="en-US" sz="900" spc="15"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SA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5900" indent="-139700" algn="ctr">
                        <a:lnSpc>
                          <a:spcPct val="100000"/>
                        </a:lnSpc>
                        <a:spcBef>
                          <a:spcPts val="45"/>
                        </a:spcBef>
                        <a:buFont typeface="Arial"/>
                        <a:buChar char="•"/>
                        <a:tabLst>
                          <a:tab pos="216535" algn="l"/>
                        </a:tabLst>
                      </a:pP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AWS,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Azure, Goog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5900" indent="-139700" algn="ctr">
                        <a:lnSpc>
                          <a:spcPct val="100000"/>
                        </a:lnSpc>
                        <a:spcBef>
                          <a:spcPts val="70"/>
                        </a:spcBef>
                        <a:buFont typeface="Arial"/>
                        <a:buChar char="•"/>
                        <a:tabLst>
                          <a:tab pos="216535" algn="l"/>
                        </a:tabLst>
                      </a:pPr>
                      <a:r>
                        <a:rPr lang="en-US" sz="900" i="1" spc="5" dirty="0">
                          <a:latin typeface="Open Sans Light" panose="020B0306030504020204" pitchFamily="34" charset="0"/>
                          <a:ea typeface="Open Sans Light" panose="020B0306030504020204" pitchFamily="34" charset="0"/>
                          <a:cs typeface="Open Sans Light" panose="020B0306030504020204" pitchFamily="34" charset="0"/>
                        </a:rPr>
                        <a:t>Other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7573" marB="0" anchor="ctr">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DDEFE8"/>
                    </a:solidFill>
                  </a:tcPr>
                </a:tc>
                <a:tc>
                  <a:txBody>
                    <a:bodyPr/>
                    <a:lstStyle/>
                    <a:p>
                      <a:pPr marL="78105" algn="ctr">
                        <a:lnSpc>
                          <a:spcPts val="815"/>
                        </a:lnSpc>
                        <a:spcBef>
                          <a:spcPts val="330"/>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 Hybrid and</a:t>
                      </a:r>
                      <a:r>
                        <a:rPr lang="en-US" sz="900" spc="25"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n-Prem</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6535" indent="-139065" algn="ctr">
                        <a:lnSpc>
                          <a:spcPts val="815"/>
                        </a:lnSpc>
                        <a:buFont typeface="Arial"/>
                        <a:buChar char="•"/>
                        <a:tabLst>
                          <a:tab pos="217170"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era, Teradata, Oracle,</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SQL,</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6535" algn="ctr">
                        <a:lnSpc>
                          <a:spcPct val="100000"/>
                        </a:lnSpc>
                        <a:spcBef>
                          <a:spcPts val="50"/>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Snowflak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6535" indent="-139065" algn="ctr">
                        <a:lnSpc>
                          <a:spcPct val="100000"/>
                        </a:lnSpc>
                        <a:spcBef>
                          <a:spcPts val="70"/>
                        </a:spcBef>
                        <a:buFont typeface="Arial"/>
                        <a:buChar char="•"/>
                        <a:tabLst>
                          <a:tab pos="217170" algn="l"/>
                        </a:tabLst>
                      </a:pP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AWS,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Azure, Goog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6535" indent="-139065" algn="ctr">
                        <a:lnSpc>
                          <a:spcPct val="100000"/>
                        </a:lnSpc>
                        <a:spcBef>
                          <a:spcPts val="70"/>
                        </a:spcBef>
                        <a:buFont typeface="Arial"/>
                        <a:buChar char="•"/>
                        <a:tabLst>
                          <a:tab pos="217170" algn="l"/>
                        </a:tabLst>
                      </a:pPr>
                      <a:r>
                        <a:rPr lang="en-US" sz="900" i="1" spc="5" dirty="0">
                          <a:latin typeface="Open Sans Light" panose="020B0306030504020204" pitchFamily="34" charset="0"/>
                          <a:ea typeface="Open Sans Light" panose="020B0306030504020204" pitchFamily="34" charset="0"/>
                          <a:cs typeface="Open Sans Light" panose="020B0306030504020204" pitchFamily="34" charset="0"/>
                        </a:rPr>
                        <a:t>Other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7573" marB="0" anchor="ctr">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DDEFE8"/>
                    </a:solidFill>
                  </a:tcPr>
                </a:tc>
                <a:tc>
                  <a:txBody>
                    <a:bodyPr/>
                    <a:lstStyle/>
                    <a:p>
                      <a:pPr marL="79375" algn="ctr">
                        <a:lnSpc>
                          <a:spcPts val="815"/>
                        </a:lnSpc>
                        <a:spcBef>
                          <a:spcPts val="330"/>
                        </a:spcBef>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 Hybrid and</a:t>
                      </a:r>
                      <a:r>
                        <a:rPr lang="en-US" sz="900" spc="25"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n-Prem</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7804" indent="-139065" algn="ctr">
                        <a:lnSpc>
                          <a:spcPts val="815"/>
                        </a:lnSpc>
                        <a:buFont typeface="Arial"/>
                        <a:buChar char="•"/>
                        <a:tabLst>
                          <a:tab pos="218440"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Informatica, Talend,</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rac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7804" indent="-139065" algn="ctr">
                        <a:lnSpc>
                          <a:spcPct val="100000"/>
                        </a:lnSpc>
                        <a:spcBef>
                          <a:spcPts val="45"/>
                        </a:spcBef>
                        <a:buFont typeface="Arial"/>
                        <a:buChar char="•"/>
                        <a:tabLst>
                          <a:tab pos="218440" algn="l"/>
                        </a:tabLst>
                      </a:pP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MuleSoft</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7804" indent="-139065" algn="ctr">
                        <a:lnSpc>
                          <a:spcPct val="100000"/>
                        </a:lnSpc>
                        <a:spcBef>
                          <a:spcPts val="75"/>
                        </a:spcBef>
                        <a:buFont typeface="Arial"/>
                        <a:buChar char="•"/>
                        <a:tabLst>
                          <a:tab pos="218440"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Cloudera, Teradata,</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Orac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7804" indent="-139065" algn="ctr">
                        <a:lnSpc>
                          <a:spcPts val="815"/>
                        </a:lnSpc>
                        <a:spcBef>
                          <a:spcPts val="70"/>
                        </a:spcBef>
                        <a:buFont typeface="Arial"/>
                        <a:buChar char="•"/>
                        <a:tabLst>
                          <a:tab pos="218440" algn="l"/>
                        </a:tabLst>
                      </a:pP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Automation</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 Anywher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7804" indent="-139065" algn="ctr">
                        <a:lnSpc>
                          <a:spcPts val="815"/>
                        </a:lnSpc>
                        <a:buFont typeface="Arial"/>
                        <a:buChar char="•"/>
                        <a:tabLst>
                          <a:tab pos="218440" algn="l"/>
                        </a:tabLst>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R, </a:t>
                      </a: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Python,</a:t>
                      </a:r>
                      <a:r>
                        <a:rPr lang="en-US" sz="900" spc="15"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SA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7804" indent="-139065" algn="ctr">
                        <a:lnSpc>
                          <a:spcPct val="100000"/>
                        </a:lnSpc>
                        <a:spcBef>
                          <a:spcPts val="50"/>
                        </a:spcBef>
                        <a:buFont typeface="Arial"/>
                        <a:buChar char="•"/>
                        <a:tabLst>
                          <a:tab pos="218440" algn="l"/>
                        </a:tabLst>
                      </a:pPr>
                      <a:r>
                        <a:rPr lang="en-US" sz="900" spc="10" dirty="0">
                          <a:latin typeface="Open Sans Light" panose="020B0306030504020204" pitchFamily="34" charset="0"/>
                          <a:ea typeface="Open Sans Light" panose="020B0306030504020204" pitchFamily="34" charset="0"/>
                          <a:cs typeface="Open Sans Light" panose="020B0306030504020204" pitchFamily="34" charset="0"/>
                        </a:rPr>
                        <a:t>AWS, </a:t>
                      </a:r>
                      <a:r>
                        <a:rPr lang="en-US" sz="900" spc="5" dirty="0">
                          <a:latin typeface="Open Sans Light" panose="020B0306030504020204" pitchFamily="34" charset="0"/>
                          <a:ea typeface="Open Sans Light" panose="020B0306030504020204" pitchFamily="34" charset="0"/>
                          <a:cs typeface="Open Sans Light" panose="020B0306030504020204" pitchFamily="34" charset="0"/>
                        </a:rPr>
                        <a:t>Azure, Google,</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217804" indent="-139065" algn="ctr">
                        <a:lnSpc>
                          <a:spcPct val="100000"/>
                        </a:lnSpc>
                        <a:spcBef>
                          <a:spcPts val="70"/>
                        </a:spcBef>
                        <a:buFont typeface="Arial"/>
                        <a:buChar char="•"/>
                        <a:tabLst>
                          <a:tab pos="218440" algn="l"/>
                        </a:tabLst>
                      </a:pPr>
                      <a:r>
                        <a:rPr lang="en-US" sz="900" i="1" spc="5" dirty="0">
                          <a:latin typeface="Open Sans Light" panose="020B0306030504020204" pitchFamily="34" charset="0"/>
                          <a:ea typeface="Open Sans Light" panose="020B0306030504020204" pitchFamily="34" charset="0"/>
                          <a:cs typeface="Open Sans Light" panose="020B0306030504020204" pitchFamily="34" charset="0"/>
                        </a:rPr>
                        <a:t>Others</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57573" marB="0" anchor="ctr">
                    <a:lnL w="3175">
                      <a:solidFill>
                        <a:srgbClr val="FFFFFF"/>
                      </a:solidFill>
                      <a:prstDash val="solid"/>
                    </a:lnL>
                    <a:lnR w="3175">
                      <a:solidFill>
                        <a:srgbClr val="FFFFFF"/>
                      </a:solidFill>
                      <a:prstDash val="solid"/>
                    </a:lnR>
                    <a:lnT w="6350">
                      <a:solidFill>
                        <a:srgbClr val="FFFFFF"/>
                      </a:solidFill>
                      <a:prstDash val="solid"/>
                    </a:lnT>
                    <a:lnB w="6350">
                      <a:solidFill>
                        <a:srgbClr val="FFFFFF"/>
                      </a:solidFill>
                      <a:prstDash val="solid"/>
                    </a:lnB>
                    <a:solidFill>
                      <a:srgbClr val="DDEFE8"/>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337780570"/>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approach to Operate involves identifying optimization opportunities, developing solutions, measuring results, and iterating to excellence. We can take complete ownership of the issues being faced by you. We are proud to say that we work not only to resolve them but to offer innovative ideas to mak</a:t>
            </a:r>
            <a:r>
              <a:rPr lang="en-US" sz="1400" dirty="0">
                <a:solidFill>
                  <a:prstClr val="black"/>
                </a:solidFill>
              </a:rPr>
              <a:t>e sure your strategic goals can be met </a:t>
            </a: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Continuous Improvement &amp; Innovation</a:t>
            </a:r>
          </a:p>
        </p:txBody>
      </p:sp>
      <p:graphicFrame>
        <p:nvGraphicFramePr>
          <p:cNvPr id="2" name="Chart Placeholder 36">
            <a:extLst>
              <a:ext uri="{FF2B5EF4-FFF2-40B4-BE49-F238E27FC236}">
                <a16:creationId xmlns:a16="http://schemas.microsoft.com/office/drawing/2014/main" id="{606DC124-2C7B-5595-70D8-9680AE05CF41}"/>
              </a:ext>
            </a:extLst>
          </p:cNvPr>
          <p:cNvGraphicFramePr>
            <a:graphicFrameLocks/>
          </p:cNvGraphicFramePr>
          <p:nvPr>
            <p:extLst>
              <p:ext uri="{D42A27DB-BD31-4B8C-83A1-F6EECF244321}">
                <p14:modId xmlns:p14="http://schemas.microsoft.com/office/powerpoint/2010/main" val="2999989239"/>
              </p:ext>
            </p:extLst>
          </p:nvPr>
        </p:nvGraphicFramePr>
        <p:xfrm>
          <a:off x="4188883" y="2453162"/>
          <a:ext cx="2997848" cy="2736159"/>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A4A4E352-B36B-B25C-6566-25541C261ECA}"/>
              </a:ext>
            </a:extLst>
          </p:cNvPr>
          <p:cNvSpPr/>
          <p:nvPr/>
        </p:nvSpPr>
        <p:spPr>
          <a:xfrm>
            <a:off x="748143" y="2159240"/>
            <a:ext cx="1749701" cy="600164"/>
          </a:xfrm>
          <a:prstGeom prst="rect">
            <a:avLst/>
          </a:prstGeom>
        </p:spPr>
        <p:txBody>
          <a:bodyPr wrap="square">
            <a:spAutoFit/>
          </a:bodyPr>
          <a:lstStyle/>
          <a:p>
            <a:pPr marL="0" marR="0" lvl="0" indent="0" algn="l" defTabSz="134416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ncreases tickets resolved by Super Users, and helpdesk and portal</a:t>
            </a:r>
          </a:p>
        </p:txBody>
      </p:sp>
      <p:sp>
        <p:nvSpPr>
          <p:cNvPr id="5" name="Rectangle 4">
            <a:extLst>
              <a:ext uri="{FF2B5EF4-FFF2-40B4-BE49-F238E27FC236}">
                <a16:creationId xmlns:a16="http://schemas.microsoft.com/office/drawing/2014/main" id="{1DA6E384-4963-DA58-12F7-906E9F69BB41}"/>
              </a:ext>
            </a:extLst>
          </p:cNvPr>
          <p:cNvSpPr/>
          <p:nvPr/>
        </p:nvSpPr>
        <p:spPr>
          <a:xfrm>
            <a:off x="6007283" y="1896987"/>
            <a:ext cx="1674707" cy="600164"/>
          </a:xfrm>
          <a:prstGeom prst="rect">
            <a:avLst/>
          </a:prstGeom>
        </p:spPr>
        <p:txBody>
          <a:bodyPr wrap="square">
            <a:spAutoFit/>
          </a:bodyPr>
          <a:lstStyle/>
          <a:p>
            <a:pPr marL="114300" marR="0" lvl="0" indent="-114300" algn="l" defTabSz="134396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utomate and improve by leveraging a no-collar workforce</a:t>
            </a:r>
          </a:p>
        </p:txBody>
      </p:sp>
      <p:sp>
        <p:nvSpPr>
          <p:cNvPr id="7" name="Rectangle 6">
            <a:extLst>
              <a:ext uri="{FF2B5EF4-FFF2-40B4-BE49-F238E27FC236}">
                <a16:creationId xmlns:a16="http://schemas.microsoft.com/office/drawing/2014/main" id="{FEC0A0DB-4619-2E22-B5CD-1A76292F54B7}"/>
              </a:ext>
            </a:extLst>
          </p:cNvPr>
          <p:cNvSpPr/>
          <p:nvPr/>
        </p:nvSpPr>
        <p:spPr>
          <a:xfrm>
            <a:off x="3291149" y="4079303"/>
            <a:ext cx="1397075" cy="769441"/>
          </a:xfrm>
          <a:prstGeom prst="rect">
            <a:avLst/>
          </a:prstGeom>
        </p:spPr>
        <p:txBody>
          <a:bodyPr wrap="square">
            <a:spAutoFit/>
          </a:bodyPr>
          <a:lstStyle/>
          <a:p>
            <a:pPr marL="114300" marR="0" lvl="0" indent="-114300" algn="l" defTabSz="134396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utomated monitoring</a:t>
            </a:r>
          </a:p>
          <a:p>
            <a:pPr marL="114300" marR="0" lvl="0" indent="-114300" algn="l" defTabSz="134396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Build, create, and manage BOTs</a:t>
            </a:r>
          </a:p>
        </p:txBody>
      </p:sp>
      <p:sp>
        <p:nvSpPr>
          <p:cNvPr id="8" name="Rectangle 7">
            <a:extLst>
              <a:ext uri="{FF2B5EF4-FFF2-40B4-BE49-F238E27FC236}">
                <a16:creationId xmlns:a16="http://schemas.microsoft.com/office/drawing/2014/main" id="{57C3034B-765B-12E7-3346-63FD7BD6E631}"/>
              </a:ext>
            </a:extLst>
          </p:cNvPr>
          <p:cNvSpPr/>
          <p:nvPr/>
        </p:nvSpPr>
        <p:spPr>
          <a:xfrm>
            <a:off x="6024708" y="5135548"/>
            <a:ext cx="2683288" cy="769441"/>
          </a:xfrm>
          <a:prstGeom prst="rect">
            <a:avLst/>
          </a:prstGeom>
        </p:spPr>
        <p:txBody>
          <a:bodyPr wrap="square">
            <a:spAutoFit/>
          </a:bodyPr>
          <a:lstStyle/>
          <a:p>
            <a:pPr marL="114300" marR="0" lvl="0" indent="-114300" algn="l" defTabSz="134396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ncident, Problem, Change Management Processes</a:t>
            </a:r>
          </a:p>
          <a:p>
            <a:pPr marL="114300" marR="0" lvl="0" indent="-114300" algn="l" defTabSz="134396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ntegrated tool sets (Solman, ServiceNow)</a:t>
            </a:r>
          </a:p>
          <a:p>
            <a:pPr marL="114300" marR="0" lvl="0" indent="-114300" algn="l" defTabSz="134396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ight sized structure and discipline</a:t>
            </a:r>
          </a:p>
        </p:txBody>
      </p:sp>
      <p:sp>
        <p:nvSpPr>
          <p:cNvPr id="9" name="Rectangle 8">
            <a:extLst>
              <a:ext uri="{FF2B5EF4-FFF2-40B4-BE49-F238E27FC236}">
                <a16:creationId xmlns:a16="http://schemas.microsoft.com/office/drawing/2014/main" id="{16542333-0E55-6C7E-FA30-F277699F4EDC}"/>
              </a:ext>
            </a:extLst>
          </p:cNvPr>
          <p:cNvSpPr/>
          <p:nvPr/>
        </p:nvSpPr>
        <p:spPr>
          <a:xfrm>
            <a:off x="560013" y="3412185"/>
            <a:ext cx="2224175" cy="1846659"/>
          </a:xfrm>
          <a:prstGeom prst="rect">
            <a:avLst/>
          </a:prstGeom>
        </p:spPr>
        <p:txBody>
          <a:bodyPr wrap="square">
            <a:spAutoFit/>
          </a:bodyPr>
          <a:lstStyle/>
          <a:p>
            <a:pPr marL="194304" marR="0" lvl="0" indent="-194304" algn="l" defTabSz="1343966" rtl="0" eaLnBrk="1" fontAlgn="auto" latinLnBrk="0" hangingPunct="1">
              <a:lnSpc>
                <a:spcPct val="100000"/>
              </a:lnSpc>
              <a:spcBef>
                <a:spcPts val="331"/>
              </a:spcBef>
              <a:spcAft>
                <a:spcPts val="331"/>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Leverage an effective Super User program</a:t>
            </a:r>
          </a:p>
          <a:p>
            <a:pPr marL="194304" marR="0" lvl="0" indent="-194304" algn="l" defTabSz="1343966" rtl="0" eaLnBrk="1" fontAlgn="auto" latinLnBrk="0" hangingPunct="1">
              <a:lnSpc>
                <a:spcPct val="100000"/>
              </a:lnSpc>
              <a:spcBef>
                <a:spcPts val="331"/>
              </a:spcBef>
              <a:spcAft>
                <a:spcPts val="331"/>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Create Standard operating procedures and KEDB for users, and service desk analysts to improve first call resolution</a:t>
            </a:r>
          </a:p>
          <a:p>
            <a:pPr marL="194304" marR="0" lvl="0" indent="-194304" algn="l" defTabSz="1343966" rtl="0" eaLnBrk="1" fontAlgn="auto" latinLnBrk="0" hangingPunct="1">
              <a:lnSpc>
                <a:spcPct val="100000"/>
              </a:lnSpc>
              <a:spcBef>
                <a:spcPts val="331"/>
              </a:spcBef>
              <a:spcAft>
                <a:spcPts val="331"/>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Create self service portals and chat BOTs</a:t>
            </a:r>
          </a:p>
          <a:p>
            <a:pPr marL="194304" marR="0" lvl="0" indent="-194304" algn="l" defTabSz="1343966" rtl="0" eaLnBrk="1" fontAlgn="auto" latinLnBrk="0" hangingPunct="1">
              <a:lnSpc>
                <a:spcPct val="100000"/>
              </a:lnSpc>
              <a:spcBef>
                <a:spcPts val="331"/>
              </a:spcBef>
              <a:spcAft>
                <a:spcPts val="331"/>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Enhanced end user training</a:t>
            </a:r>
          </a:p>
        </p:txBody>
      </p:sp>
      <p:sp>
        <p:nvSpPr>
          <p:cNvPr id="10" name="Rectangle 9">
            <a:extLst>
              <a:ext uri="{FF2B5EF4-FFF2-40B4-BE49-F238E27FC236}">
                <a16:creationId xmlns:a16="http://schemas.microsoft.com/office/drawing/2014/main" id="{D250AAAE-83E4-C6DF-56F1-D57D891C2281}"/>
              </a:ext>
            </a:extLst>
          </p:cNvPr>
          <p:cNvSpPr/>
          <p:nvPr/>
        </p:nvSpPr>
        <p:spPr>
          <a:xfrm>
            <a:off x="4884264" y="1591708"/>
            <a:ext cx="1767508" cy="338554"/>
          </a:xfrm>
          <a:prstGeom prst="rect">
            <a:avLst/>
          </a:prstGeom>
        </p:spPr>
        <p:txBody>
          <a:bodyPr wrap="square">
            <a:spAutoFit/>
          </a:bodyPr>
          <a:lstStyle/>
          <a:p>
            <a:pPr marL="0" marR="0" lvl="0" indent="0" algn="ctr" defTabSz="13441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nbound Tickets</a:t>
            </a:r>
          </a:p>
        </p:txBody>
      </p:sp>
      <p:sp>
        <p:nvSpPr>
          <p:cNvPr id="11" name="Rectangle 10">
            <a:extLst>
              <a:ext uri="{FF2B5EF4-FFF2-40B4-BE49-F238E27FC236}">
                <a16:creationId xmlns:a16="http://schemas.microsoft.com/office/drawing/2014/main" id="{4FC6FCA6-1514-02C1-C149-FC1D961D3983}"/>
              </a:ext>
            </a:extLst>
          </p:cNvPr>
          <p:cNvSpPr/>
          <p:nvPr/>
        </p:nvSpPr>
        <p:spPr>
          <a:xfrm>
            <a:off x="2796178" y="3201925"/>
            <a:ext cx="2019082" cy="338554"/>
          </a:xfrm>
          <a:prstGeom prst="rect">
            <a:avLst/>
          </a:prstGeom>
        </p:spPr>
        <p:txBody>
          <a:bodyPr wrap="square">
            <a:spAutoFit/>
          </a:bodyPr>
          <a:lstStyle/>
          <a:p>
            <a:pPr marL="0" marR="0" lvl="0" indent="0" algn="ctr" defTabSz="13441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utomation</a:t>
            </a:r>
          </a:p>
        </p:txBody>
      </p:sp>
      <p:sp>
        <p:nvSpPr>
          <p:cNvPr id="12" name="Rectangle 11">
            <a:extLst>
              <a:ext uri="{FF2B5EF4-FFF2-40B4-BE49-F238E27FC236}">
                <a16:creationId xmlns:a16="http://schemas.microsoft.com/office/drawing/2014/main" id="{A989A2B1-0254-2DF6-145C-ECE2E9D00CCF}"/>
              </a:ext>
            </a:extLst>
          </p:cNvPr>
          <p:cNvSpPr/>
          <p:nvPr/>
        </p:nvSpPr>
        <p:spPr>
          <a:xfrm>
            <a:off x="6811695" y="2997997"/>
            <a:ext cx="1881250" cy="584775"/>
          </a:xfrm>
          <a:prstGeom prst="rect">
            <a:avLst/>
          </a:prstGeom>
        </p:spPr>
        <p:txBody>
          <a:bodyPr wrap="square">
            <a:spAutoFit/>
          </a:bodyPr>
          <a:lstStyle/>
          <a:p>
            <a:pPr marL="0" marR="0" lvl="0" indent="0" algn="ctr" defTabSz="13441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Tools and Accelerators</a:t>
            </a:r>
          </a:p>
        </p:txBody>
      </p:sp>
      <p:sp>
        <p:nvSpPr>
          <p:cNvPr id="13" name="Rectangle 12">
            <a:extLst>
              <a:ext uri="{FF2B5EF4-FFF2-40B4-BE49-F238E27FC236}">
                <a16:creationId xmlns:a16="http://schemas.microsoft.com/office/drawing/2014/main" id="{7061A6D6-62F6-FFE2-D2B6-2558884728AF}"/>
              </a:ext>
            </a:extLst>
          </p:cNvPr>
          <p:cNvSpPr/>
          <p:nvPr/>
        </p:nvSpPr>
        <p:spPr>
          <a:xfrm>
            <a:off x="3981060" y="5378132"/>
            <a:ext cx="1836436" cy="338554"/>
          </a:xfrm>
          <a:prstGeom prst="rect">
            <a:avLst/>
          </a:prstGeom>
        </p:spPr>
        <p:txBody>
          <a:bodyPr wrap="square">
            <a:spAutoFit/>
          </a:bodyPr>
          <a:lstStyle/>
          <a:p>
            <a:pPr marL="0" marR="0" lvl="0" indent="0" algn="ctr" defTabSz="13441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TIL / ITSM</a:t>
            </a:r>
          </a:p>
        </p:txBody>
      </p:sp>
      <p:sp>
        <p:nvSpPr>
          <p:cNvPr id="14" name="Rectangle: Rounded Corners 30">
            <a:extLst>
              <a:ext uri="{FF2B5EF4-FFF2-40B4-BE49-F238E27FC236}">
                <a16:creationId xmlns:a16="http://schemas.microsoft.com/office/drawing/2014/main" id="{2365BF69-40EE-AAF4-FD26-7A0CBECC341F}"/>
              </a:ext>
            </a:extLst>
          </p:cNvPr>
          <p:cNvSpPr/>
          <p:nvPr/>
        </p:nvSpPr>
        <p:spPr>
          <a:xfrm>
            <a:off x="552979" y="3298064"/>
            <a:ext cx="2238246" cy="2190326"/>
          </a:xfrm>
          <a:prstGeom prst="roundRect">
            <a:avLst>
              <a:gd name="adj" fmla="val 12846"/>
            </a:avLst>
          </a:prstGeom>
          <a:noFill/>
          <a:ln w="9525" cap="flat" cmpd="sng" algn="ctr">
            <a:solidFill>
              <a:schemeClr val="tx1"/>
            </a:solidFill>
            <a:prstDash val="dash"/>
          </a:ln>
          <a:effectLst/>
        </p:spPr>
        <p:txBody>
          <a:bodyPr rot="0" spcFirstLastPara="0" vertOverflow="overflow" horzOverflow="overflow" vert="horz" wrap="square" lIns="100812" tIns="50406" rIns="100812" bIns="50406" numCol="1" spcCol="0" rtlCol="0" fromWordArt="0" anchor="ctr" anchorCtr="0" forceAA="0" compatLnSpc="1">
            <a:prstTxWarp prst="textNoShape">
              <a:avLst/>
            </a:prstTxWarp>
            <a:noAutofit/>
          </a:bodyPr>
          <a:lstStyle/>
          <a:p>
            <a:pPr marL="0" marR="0" lvl="0" indent="0" algn="ctr" defTabSz="134416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C5C5C"/>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15" name="Group 3">
            <a:extLst>
              <a:ext uri="{FF2B5EF4-FFF2-40B4-BE49-F238E27FC236}">
                <a16:creationId xmlns:a16="http://schemas.microsoft.com/office/drawing/2014/main" id="{8BD92673-923D-4525-189A-699A10CCF66B}"/>
              </a:ext>
            </a:extLst>
          </p:cNvPr>
          <p:cNvGrpSpPr/>
          <p:nvPr/>
        </p:nvGrpSpPr>
        <p:grpSpPr>
          <a:xfrm>
            <a:off x="9253370" y="3436210"/>
            <a:ext cx="2278128" cy="2127988"/>
            <a:chOff x="8642896" y="3462631"/>
            <a:chExt cx="2353679" cy="1725935"/>
          </a:xfrm>
        </p:grpSpPr>
        <p:sp>
          <p:nvSpPr>
            <p:cNvPr id="16" name="Rectangle 4">
              <a:extLst>
                <a:ext uri="{FF2B5EF4-FFF2-40B4-BE49-F238E27FC236}">
                  <a16:creationId xmlns:a16="http://schemas.microsoft.com/office/drawing/2014/main" id="{0D5024DF-36B7-3640-F640-F4EC098DFD56}"/>
                </a:ext>
              </a:extLst>
            </p:cNvPr>
            <p:cNvSpPr/>
            <p:nvPr/>
          </p:nvSpPr>
          <p:spPr>
            <a:xfrm>
              <a:off x="8673745" y="3562056"/>
              <a:ext cx="2291980" cy="1572647"/>
            </a:xfrm>
            <a:prstGeom prst="rect">
              <a:avLst/>
            </a:prstGeom>
            <a:ln>
              <a:noFill/>
            </a:ln>
          </p:spPr>
          <p:txBody>
            <a:bodyPr wrap="square">
              <a:spAutoFit/>
            </a:bodyPr>
            <a:lstStyle/>
            <a:p>
              <a:pPr marL="194304" marR="0" lvl="0" indent="-194304" algn="l" defTabSz="1343966" rtl="0" eaLnBrk="1" fontAlgn="auto" latinLnBrk="0" hangingPunct="1">
                <a:lnSpc>
                  <a:spcPct val="100000"/>
                </a:lnSpc>
                <a:spcBef>
                  <a:spcPts val="331"/>
                </a:spcBef>
                <a:spcAft>
                  <a:spcPts val="331"/>
                </a:spcAft>
                <a:buClrTx/>
                <a:buSzPct val="75000"/>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Manage backlog issues with capacity created through efficient and </a:t>
              </a:r>
              <a:r>
                <a:rPr kumimoji="0" lang="en-US" sz="1100" b="0" i="0" u="none" strike="noStrike" kern="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mproved</a:t>
              </a:r>
              <a:r>
                <a:rPr kumimoji="0" lang="en-US" sz="1100" b="0" i="0" u="none" strike="noStrike" kern="0" cap="none" spc="0" normalizeH="0" baseline="0" noProof="0" dirty="0">
                  <a:ln>
                    <a:noFill/>
                  </a:ln>
                  <a:solidFill>
                    <a:srgbClr val="FF0000"/>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ncident resolution</a:t>
              </a:r>
            </a:p>
            <a:p>
              <a:pPr marL="194304" marR="0" lvl="0" indent="-194304" algn="l" defTabSz="1343966" rtl="0" eaLnBrk="1" fontAlgn="auto" latinLnBrk="0" hangingPunct="1">
                <a:lnSpc>
                  <a:spcPct val="100000"/>
                </a:lnSpc>
                <a:spcBef>
                  <a:spcPts val="331"/>
                </a:spcBef>
                <a:spcAft>
                  <a:spcPts val="331"/>
                </a:spcAft>
                <a:buClrTx/>
                <a:buSzPct val="75000"/>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Continuous delivery and deployment with integrated product and incident backlog</a:t>
              </a:r>
            </a:p>
            <a:p>
              <a:pPr marL="194304" marR="0" lvl="0" indent="-194304" algn="l" defTabSz="1343966" rtl="0" eaLnBrk="1" fontAlgn="auto" latinLnBrk="0" hangingPunct="1">
                <a:lnSpc>
                  <a:spcPct val="100000"/>
                </a:lnSpc>
                <a:spcBef>
                  <a:spcPts val="331"/>
                </a:spcBef>
                <a:spcAft>
                  <a:spcPts val="331"/>
                </a:spcAft>
                <a:buClrTx/>
                <a:buSzPct val="75000"/>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Leverage existing Operate team capacity for enhancements and projects</a:t>
              </a:r>
            </a:p>
          </p:txBody>
        </p:sp>
        <p:sp>
          <p:nvSpPr>
            <p:cNvPr id="17" name="Rectangle: Rounded Corners 31">
              <a:extLst>
                <a:ext uri="{FF2B5EF4-FFF2-40B4-BE49-F238E27FC236}">
                  <a16:creationId xmlns:a16="http://schemas.microsoft.com/office/drawing/2014/main" id="{0D2AC37A-2B77-5B27-B655-DF3E83CAFF2D}"/>
                </a:ext>
              </a:extLst>
            </p:cNvPr>
            <p:cNvSpPr/>
            <p:nvPr/>
          </p:nvSpPr>
          <p:spPr>
            <a:xfrm>
              <a:off x="8642896" y="3462631"/>
              <a:ext cx="2353679" cy="1725935"/>
            </a:xfrm>
            <a:prstGeom prst="roundRect">
              <a:avLst>
                <a:gd name="adj" fmla="val 12846"/>
              </a:avLst>
            </a:prstGeom>
            <a:noFill/>
            <a:ln w="9525" cap="flat" cmpd="sng" algn="ctr">
              <a:solidFill>
                <a:schemeClr val="tx1"/>
              </a:solidFill>
              <a:prstDash val="dash"/>
            </a:ln>
            <a:effectLst/>
          </p:spPr>
          <p:txBody>
            <a:bodyPr rot="0" spcFirstLastPara="0" vertOverflow="overflow" horzOverflow="overflow" vert="horz" wrap="square" lIns="100812" tIns="50406" rIns="100812" bIns="50406" numCol="1" spcCol="0" rtlCol="0" fromWordArt="0" anchor="ctr" anchorCtr="0" forceAA="0" compatLnSpc="1">
              <a:prstTxWarp prst="textNoShape">
                <a:avLst/>
              </a:prstTxWarp>
              <a:noAutofit/>
            </a:bodyPr>
            <a:lstStyle/>
            <a:p>
              <a:pPr marL="323840" marR="0" lvl="0" indent="-323840" algn="ctr" defTabSz="1344167" rtl="0" eaLnBrk="1" fontAlgn="auto" latinLnBrk="0" hangingPunct="1">
                <a:lnSpc>
                  <a:spcPct val="100000"/>
                </a:lnSpc>
                <a:spcBef>
                  <a:spcPts val="0"/>
                </a:spcBef>
                <a:spcAft>
                  <a:spcPts val="0"/>
                </a:spcAft>
                <a:buClrTx/>
                <a:buSzPct val="75000"/>
                <a:buFont typeface="Arial" panose="020B0604020202020204" pitchFamily="34" charset="0"/>
                <a:buChar char="•"/>
                <a:tabLst/>
                <a:defRPr/>
              </a:pPr>
              <a:endParaRPr kumimoji="0" lang="en-US" sz="24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sp>
        <p:nvSpPr>
          <p:cNvPr id="18" name="Right Arrow 62">
            <a:extLst>
              <a:ext uri="{FF2B5EF4-FFF2-40B4-BE49-F238E27FC236}">
                <a16:creationId xmlns:a16="http://schemas.microsoft.com/office/drawing/2014/main" id="{2B6B0C3E-5235-BC53-3A20-A684A831D5D7}"/>
              </a:ext>
            </a:extLst>
          </p:cNvPr>
          <p:cNvSpPr/>
          <p:nvPr/>
        </p:nvSpPr>
        <p:spPr bwMode="gray">
          <a:xfrm rot="10800000">
            <a:off x="6880289" y="3757622"/>
            <a:ext cx="532157" cy="169606"/>
          </a:xfrm>
          <a:prstGeom prst="rightArrow">
            <a:avLst/>
          </a:prstGeom>
          <a:solidFill>
            <a:schemeClr val="bg1">
              <a:lumMod val="85000"/>
            </a:schemeClr>
          </a:solidFill>
          <a:ln w="19050" algn="ctr">
            <a:noFill/>
            <a:miter lim="800000"/>
            <a:headEnd/>
            <a:tailEnd/>
          </a:ln>
        </p:spPr>
        <p:txBody>
          <a:bodyPr wrap="square" lIns="98012" tIns="98012" rIns="98012" bIns="98012" rtlCol="0" anchor="ctr"/>
          <a:lstStyle/>
          <a:p>
            <a:pPr marL="0" marR="0" lvl="0" indent="0" algn="ctr" defTabSz="1344167" rtl="0" eaLnBrk="1" fontAlgn="auto" latinLnBrk="0" hangingPunct="1">
              <a:lnSpc>
                <a:spcPct val="106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19" name="Right Arrow 62">
            <a:extLst>
              <a:ext uri="{FF2B5EF4-FFF2-40B4-BE49-F238E27FC236}">
                <a16:creationId xmlns:a16="http://schemas.microsoft.com/office/drawing/2014/main" id="{CAB5A5F9-37DF-1B43-C9B7-041D32843CD3}"/>
              </a:ext>
            </a:extLst>
          </p:cNvPr>
          <p:cNvSpPr/>
          <p:nvPr/>
        </p:nvSpPr>
        <p:spPr bwMode="gray">
          <a:xfrm>
            <a:off x="3959493" y="3729290"/>
            <a:ext cx="680420" cy="169606"/>
          </a:xfrm>
          <a:prstGeom prst="rightArrow">
            <a:avLst/>
          </a:prstGeom>
          <a:solidFill>
            <a:schemeClr val="bg1">
              <a:lumMod val="85000"/>
            </a:schemeClr>
          </a:solidFill>
          <a:ln w="19050" algn="ctr">
            <a:noFill/>
            <a:miter lim="800000"/>
            <a:headEnd/>
            <a:tailEnd/>
          </a:ln>
        </p:spPr>
        <p:txBody>
          <a:bodyPr wrap="square" lIns="98012" tIns="98012" rIns="98012" bIns="98012" rtlCol="0" anchor="ctr"/>
          <a:lstStyle/>
          <a:p>
            <a:pPr marL="0" marR="0" lvl="0" indent="0" algn="ctr" defTabSz="1344167" rtl="0" eaLnBrk="1" fontAlgn="auto" latinLnBrk="0" hangingPunct="1">
              <a:lnSpc>
                <a:spcPct val="106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0" name="Right Arrow 62">
            <a:extLst>
              <a:ext uri="{FF2B5EF4-FFF2-40B4-BE49-F238E27FC236}">
                <a16:creationId xmlns:a16="http://schemas.microsoft.com/office/drawing/2014/main" id="{53C78FAA-1875-8834-9420-149729466C15}"/>
              </a:ext>
            </a:extLst>
          </p:cNvPr>
          <p:cNvSpPr/>
          <p:nvPr/>
        </p:nvSpPr>
        <p:spPr bwMode="gray">
          <a:xfrm rot="16200000">
            <a:off x="5593044" y="5041487"/>
            <a:ext cx="318011" cy="186141"/>
          </a:xfrm>
          <a:prstGeom prst="rightArrow">
            <a:avLst/>
          </a:prstGeom>
          <a:solidFill>
            <a:schemeClr val="bg1">
              <a:lumMod val="85000"/>
            </a:schemeClr>
          </a:solidFill>
          <a:ln w="19050" algn="ctr">
            <a:noFill/>
            <a:miter lim="800000"/>
            <a:headEnd/>
            <a:tailEnd/>
          </a:ln>
        </p:spPr>
        <p:txBody>
          <a:bodyPr wrap="square" lIns="98012" tIns="98012" rIns="98012" bIns="98012" rtlCol="0" anchor="ctr"/>
          <a:lstStyle/>
          <a:p>
            <a:pPr marL="0" marR="0" lvl="0" indent="0" algn="ctr" defTabSz="1344167" rtl="0" eaLnBrk="1" fontAlgn="auto" latinLnBrk="0" hangingPunct="1">
              <a:lnSpc>
                <a:spcPct val="106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21" name="Group 20">
            <a:extLst>
              <a:ext uri="{FF2B5EF4-FFF2-40B4-BE49-F238E27FC236}">
                <a16:creationId xmlns:a16="http://schemas.microsoft.com/office/drawing/2014/main" id="{2E63BE5E-E3B7-8F2A-ECE6-F048A08EB6B2}"/>
              </a:ext>
            </a:extLst>
          </p:cNvPr>
          <p:cNvGrpSpPr/>
          <p:nvPr/>
        </p:nvGrpSpPr>
        <p:grpSpPr>
          <a:xfrm>
            <a:off x="736620" y="2904742"/>
            <a:ext cx="1931526" cy="390559"/>
            <a:chOff x="453874" y="2276703"/>
            <a:chExt cx="2428015" cy="561749"/>
          </a:xfrm>
        </p:grpSpPr>
        <p:sp>
          <p:nvSpPr>
            <p:cNvPr id="22" name="Right Brace 21">
              <a:extLst>
                <a:ext uri="{FF2B5EF4-FFF2-40B4-BE49-F238E27FC236}">
                  <a16:creationId xmlns:a16="http://schemas.microsoft.com/office/drawing/2014/main" id="{FCE11C80-23FF-B5A0-6E7A-9A3F46EF1C11}"/>
                </a:ext>
              </a:extLst>
            </p:cNvPr>
            <p:cNvSpPr/>
            <p:nvPr/>
          </p:nvSpPr>
          <p:spPr>
            <a:xfrm rot="5400000">
              <a:off x="1525071" y="1205506"/>
              <a:ext cx="285622" cy="2428015"/>
            </a:xfrm>
            <a:prstGeom prst="rightBrace">
              <a:avLst>
                <a:gd name="adj1" fmla="val 42779"/>
                <a:gd name="adj2" fmla="val 79032"/>
              </a:avLst>
            </a:prstGeom>
            <a:noFill/>
            <a:ln w="9525" cap="flat" cmpd="sng" algn="ctr">
              <a:solidFill>
                <a:schemeClr val="tx1"/>
              </a:solidFill>
              <a:prstDash val="dash"/>
            </a:ln>
            <a:effectLst/>
          </p:spPr>
          <p:txBody>
            <a:bodyPr rtlCol="0" anchor="ctr"/>
            <a:lstStyle/>
            <a:p>
              <a:pPr marL="0" marR="0" lvl="0" indent="0" algn="ctr" defTabSz="134416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C5C5C"/>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cxnSp>
          <p:nvCxnSpPr>
            <p:cNvPr id="23" name="Straight Connector 22">
              <a:extLst>
                <a:ext uri="{FF2B5EF4-FFF2-40B4-BE49-F238E27FC236}">
                  <a16:creationId xmlns:a16="http://schemas.microsoft.com/office/drawing/2014/main" id="{327E4A37-01AE-1D78-318E-B6C95471FB0D}"/>
                </a:ext>
              </a:extLst>
            </p:cNvPr>
            <p:cNvCxnSpPr>
              <a:cxnSpLocks/>
              <a:stCxn id="22" idx="1"/>
            </p:cNvCxnSpPr>
            <p:nvPr/>
          </p:nvCxnSpPr>
          <p:spPr>
            <a:xfrm>
              <a:off x="962980" y="2562325"/>
              <a:ext cx="11954" cy="276127"/>
            </a:xfrm>
            <a:prstGeom prst="line">
              <a:avLst/>
            </a:prstGeom>
            <a:noFill/>
            <a:ln w="9525" cap="flat" cmpd="sng" algn="ctr">
              <a:solidFill>
                <a:schemeClr val="tx1"/>
              </a:solidFill>
              <a:prstDash val="dash"/>
            </a:ln>
            <a:effectLst/>
          </p:spPr>
        </p:cxnSp>
      </p:grpSp>
      <p:grpSp>
        <p:nvGrpSpPr>
          <p:cNvPr id="24" name="Group 56">
            <a:extLst>
              <a:ext uri="{FF2B5EF4-FFF2-40B4-BE49-F238E27FC236}">
                <a16:creationId xmlns:a16="http://schemas.microsoft.com/office/drawing/2014/main" id="{F87D5797-4FDB-F475-96EA-16A76E78DBC6}"/>
              </a:ext>
            </a:extLst>
          </p:cNvPr>
          <p:cNvGrpSpPr/>
          <p:nvPr/>
        </p:nvGrpSpPr>
        <p:grpSpPr>
          <a:xfrm>
            <a:off x="9178653" y="2077774"/>
            <a:ext cx="2157095" cy="1350963"/>
            <a:chOff x="8758756" y="2059140"/>
            <a:chExt cx="2228633" cy="1395767"/>
          </a:xfrm>
        </p:grpSpPr>
        <p:sp>
          <p:nvSpPr>
            <p:cNvPr id="25" name="Rectangle 59">
              <a:extLst>
                <a:ext uri="{FF2B5EF4-FFF2-40B4-BE49-F238E27FC236}">
                  <a16:creationId xmlns:a16="http://schemas.microsoft.com/office/drawing/2014/main" id="{A3C09430-BF93-EB07-9864-D3E87ABE9A63}"/>
                </a:ext>
              </a:extLst>
            </p:cNvPr>
            <p:cNvSpPr/>
            <p:nvPr/>
          </p:nvSpPr>
          <p:spPr>
            <a:xfrm>
              <a:off x="9038195" y="2059140"/>
              <a:ext cx="1949194" cy="794959"/>
            </a:xfrm>
            <a:prstGeom prst="rect">
              <a:avLst/>
            </a:prstGeom>
            <a:ln>
              <a:noFill/>
            </a:ln>
          </p:spPr>
          <p:txBody>
            <a:bodyPr wrap="square">
              <a:spAutoFit/>
            </a:bodyPr>
            <a:lstStyle/>
            <a:p>
              <a:pPr marL="0" marR="0" lvl="0" indent="0" algn="l" defTabSz="134416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Create capacity that enables us to address backlog issues, which leads to increased value for our clients</a:t>
              </a:r>
            </a:p>
          </p:txBody>
        </p:sp>
        <p:sp>
          <p:nvSpPr>
            <p:cNvPr id="26" name="Right Brace 60">
              <a:extLst>
                <a:ext uri="{FF2B5EF4-FFF2-40B4-BE49-F238E27FC236}">
                  <a16:creationId xmlns:a16="http://schemas.microsoft.com/office/drawing/2014/main" id="{B541DDEA-A0EF-55FD-43CA-599AD6C27E26}"/>
                </a:ext>
              </a:extLst>
            </p:cNvPr>
            <p:cNvSpPr/>
            <p:nvPr/>
          </p:nvSpPr>
          <p:spPr>
            <a:xfrm rot="5400000">
              <a:off x="9614161" y="2062296"/>
              <a:ext cx="238383" cy="1949193"/>
            </a:xfrm>
            <a:prstGeom prst="rightBrace">
              <a:avLst>
                <a:gd name="adj1" fmla="val 42779"/>
                <a:gd name="adj2" fmla="val 79032"/>
              </a:avLst>
            </a:prstGeom>
            <a:noFill/>
            <a:ln w="9525" cap="flat" cmpd="sng" algn="ctr">
              <a:solidFill>
                <a:schemeClr val="tx1"/>
              </a:solidFill>
              <a:prstDash val="dash"/>
            </a:ln>
            <a:effectLst/>
          </p:spPr>
          <p:txBody>
            <a:bodyPr rtlCol="0" anchor="ctr"/>
            <a:lstStyle/>
            <a:p>
              <a:pPr marL="0" marR="0" lvl="0" indent="0" algn="ctr" defTabSz="134416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cxnSp>
          <p:nvCxnSpPr>
            <p:cNvPr id="27" name="Straight Connector 61">
              <a:extLst>
                <a:ext uri="{FF2B5EF4-FFF2-40B4-BE49-F238E27FC236}">
                  <a16:creationId xmlns:a16="http://schemas.microsoft.com/office/drawing/2014/main" id="{2F4C8143-7B58-E9BF-0EEA-BAA4156256F5}"/>
                </a:ext>
              </a:extLst>
            </p:cNvPr>
            <p:cNvCxnSpPr>
              <a:cxnSpLocks/>
              <a:stCxn id="26" idx="1"/>
            </p:cNvCxnSpPr>
            <p:nvPr/>
          </p:nvCxnSpPr>
          <p:spPr>
            <a:xfrm flipH="1">
              <a:off x="9164852" y="3156084"/>
              <a:ext cx="2612" cy="298823"/>
            </a:xfrm>
            <a:prstGeom prst="line">
              <a:avLst/>
            </a:prstGeom>
            <a:noFill/>
            <a:ln w="9525" cap="flat" cmpd="sng" algn="ctr">
              <a:solidFill>
                <a:schemeClr val="tx1"/>
              </a:solidFill>
              <a:prstDash val="dash"/>
            </a:ln>
            <a:effectLst/>
          </p:spPr>
        </p:cxnSp>
      </p:grpSp>
      <p:sp>
        <p:nvSpPr>
          <p:cNvPr id="28" name="Right Arrow 62">
            <a:extLst>
              <a:ext uri="{FF2B5EF4-FFF2-40B4-BE49-F238E27FC236}">
                <a16:creationId xmlns:a16="http://schemas.microsoft.com/office/drawing/2014/main" id="{8493B993-BEC4-C300-BEB5-7FCA2F4B81E1}"/>
              </a:ext>
            </a:extLst>
          </p:cNvPr>
          <p:cNvSpPr/>
          <p:nvPr/>
        </p:nvSpPr>
        <p:spPr bwMode="gray">
          <a:xfrm rot="5400000">
            <a:off x="5597256" y="2503483"/>
            <a:ext cx="304177" cy="186141"/>
          </a:xfrm>
          <a:prstGeom prst="rightArrow">
            <a:avLst/>
          </a:prstGeom>
          <a:solidFill>
            <a:schemeClr val="bg1">
              <a:lumMod val="85000"/>
            </a:schemeClr>
          </a:solidFill>
          <a:ln w="19050" algn="ctr">
            <a:noFill/>
            <a:miter lim="800000"/>
            <a:headEnd/>
            <a:tailEnd/>
          </a:ln>
        </p:spPr>
        <p:txBody>
          <a:bodyPr wrap="square" lIns="98012" tIns="98012" rIns="98012" bIns="98012" rtlCol="0" anchor="ctr"/>
          <a:lstStyle/>
          <a:p>
            <a:pPr marL="0" marR="0" lvl="0" indent="0" algn="ctr" defTabSz="1344167" rtl="0" eaLnBrk="1" fontAlgn="auto" latinLnBrk="0" hangingPunct="1">
              <a:lnSpc>
                <a:spcPct val="106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9" name="TextBox 28">
            <a:extLst>
              <a:ext uri="{FF2B5EF4-FFF2-40B4-BE49-F238E27FC236}">
                <a16:creationId xmlns:a16="http://schemas.microsoft.com/office/drawing/2014/main" id="{9FA0B32B-E450-3FD7-59DC-AF493D4A3D34}"/>
              </a:ext>
            </a:extLst>
          </p:cNvPr>
          <p:cNvSpPr txBox="1"/>
          <p:nvPr/>
        </p:nvSpPr>
        <p:spPr>
          <a:xfrm>
            <a:off x="5120262" y="3530477"/>
            <a:ext cx="1279680" cy="584775"/>
          </a:xfrm>
          <a:prstGeom prst="rect">
            <a:avLst/>
          </a:prstGeom>
          <a:noFill/>
        </p:spPr>
        <p:txBody>
          <a:bodyPr wrap="square" rtlCol="0">
            <a:spAutoFit/>
          </a:bodyPr>
          <a:lstStyle/>
          <a:p>
            <a:pPr marL="0" marR="0" lvl="0" indent="0" algn="ctr" defTabSz="13441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Lean Operation</a:t>
            </a:r>
          </a:p>
        </p:txBody>
      </p:sp>
      <p:sp>
        <p:nvSpPr>
          <p:cNvPr id="30" name="Rectangle 29">
            <a:extLst>
              <a:ext uri="{FF2B5EF4-FFF2-40B4-BE49-F238E27FC236}">
                <a16:creationId xmlns:a16="http://schemas.microsoft.com/office/drawing/2014/main" id="{736F450A-5ECE-F998-F5A0-0CF6F627E471}"/>
              </a:ext>
            </a:extLst>
          </p:cNvPr>
          <p:cNvSpPr/>
          <p:nvPr/>
        </p:nvSpPr>
        <p:spPr>
          <a:xfrm>
            <a:off x="6955200" y="4120512"/>
            <a:ext cx="1544060" cy="600164"/>
          </a:xfrm>
          <a:prstGeom prst="rect">
            <a:avLst/>
          </a:prstGeom>
        </p:spPr>
        <p:txBody>
          <a:bodyPr wrap="square">
            <a:spAutoFit/>
          </a:bodyPr>
          <a:lstStyle/>
          <a:p>
            <a:pPr marL="114300" marR="0" lvl="0" indent="-114300" algn="l" defTabSz="134396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Proprietary Deloitte tools and accelerators</a:t>
            </a:r>
          </a:p>
        </p:txBody>
      </p:sp>
      <p:sp>
        <p:nvSpPr>
          <p:cNvPr id="31" name="Isosceles Triangle 30">
            <a:extLst>
              <a:ext uri="{FF2B5EF4-FFF2-40B4-BE49-F238E27FC236}">
                <a16:creationId xmlns:a16="http://schemas.microsoft.com/office/drawing/2014/main" id="{213D8DEF-D010-A898-5C7D-C3160F66562B}"/>
              </a:ext>
            </a:extLst>
          </p:cNvPr>
          <p:cNvSpPr/>
          <p:nvPr/>
        </p:nvSpPr>
        <p:spPr>
          <a:xfrm rot="16200000">
            <a:off x="1360763" y="3603538"/>
            <a:ext cx="3442033" cy="264202"/>
          </a:xfrm>
          <a:prstGeom prst="triangle">
            <a:avLst/>
          </a:prstGeom>
          <a:solidFill>
            <a:schemeClr val="bg1">
              <a:lumMod val="95000"/>
            </a:schemeClr>
          </a:solidFill>
          <a:ln w="19050" algn="ctr">
            <a:noFill/>
            <a:miter lim="800000"/>
            <a:headEnd/>
            <a:tailEnd/>
          </a:ln>
        </p:spPr>
        <p:txBody>
          <a:bodyPr wrap="square" lIns="98012" tIns="98012" rIns="98012" bIns="98012" rtlCol="0" anchor="ctr"/>
          <a:lstStyle/>
          <a:p>
            <a:pPr marL="0" marR="0" lvl="0" indent="0" algn="ctr" defTabSz="1344167" rtl="0" eaLnBrk="1" fontAlgn="auto" latinLnBrk="0" hangingPunct="1">
              <a:lnSpc>
                <a:spcPct val="106000"/>
              </a:lnSpc>
              <a:spcBef>
                <a:spcPts val="0"/>
              </a:spcBef>
              <a:spcAft>
                <a:spcPts val="0"/>
              </a:spcAft>
              <a:buClrTx/>
              <a:buSzTx/>
              <a:buFontTx/>
              <a:buNone/>
              <a:tabLst/>
              <a:defRPr/>
            </a:pPr>
            <a:endParaRPr kumimoji="0" lang="en-US" sz="1400" b="1" i="0" u="none" strike="noStrike" kern="0" cap="none" spc="0" normalizeH="0" baseline="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32" name="TextBox 31">
            <a:extLst>
              <a:ext uri="{FF2B5EF4-FFF2-40B4-BE49-F238E27FC236}">
                <a16:creationId xmlns:a16="http://schemas.microsoft.com/office/drawing/2014/main" id="{6529BD99-74D6-E26D-D1E7-B4EABCDA1FE0}"/>
              </a:ext>
            </a:extLst>
          </p:cNvPr>
          <p:cNvSpPr txBox="1"/>
          <p:nvPr/>
        </p:nvSpPr>
        <p:spPr bwMode="auto">
          <a:xfrm>
            <a:off x="0" y="5982131"/>
            <a:ext cx="12192000" cy="452580"/>
          </a:xfrm>
          <a:prstGeom prst="rect">
            <a:avLst/>
          </a:prstGeom>
          <a:solidFill>
            <a:schemeClr val="bg1">
              <a:lumMod val="95000"/>
            </a:schemeClr>
          </a:solidFill>
          <a:ln w="12700" algn="ctr">
            <a:noFill/>
            <a:miter lim="800000"/>
            <a:headEnd/>
            <a:tailEnd/>
          </a:ln>
          <a:effectLst/>
        </p:spPr>
        <p:txBody>
          <a:bodyPr wrap="square" lIns="259080" tIns="310896" rIns="51816" anchor="ctr">
            <a:noAutofit/>
          </a:bodyPr>
          <a:lstStyle/>
          <a:p>
            <a:pPr marL="0" marR="0" lvl="0" indent="0" algn="ctr" defTabSz="1036290" rtl="0" eaLnBrk="1" fontAlgn="auto" latinLnBrk="0" hangingPunct="1">
              <a:lnSpc>
                <a:spcPct val="100000"/>
              </a:lnSpc>
              <a:spcBef>
                <a:spcPts val="0"/>
              </a:spcBef>
              <a:spcAft>
                <a:spcPct val="25000"/>
              </a:spcAft>
              <a:buClr>
                <a:srgbClr val="000000"/>
              </a:buClr>
              <a:buSzTx/>
              <a:buFontTx/>
              <a:buNone/>
              <a:tabLst>
                <a:tab pos="6476810" algn="l"/>
              </a:tabLst>
              <a:defRPr/>
            </a:pPr>
            <a:r>
              <a:rPr kumimoji="0" lang="en-US" sz="1360" b="1" i="0" u="none" strike="noStrike" kern="0" cap="none" spc="0" normalizeH="0" baseline="0" noProof="0" dirty="0">
                <a:ln>
                  <a:noFill/>
                </a:ln>
                <a:solidFill>
                  <a:srgbClr val="000000"/>
                </a:solidFill>
                <a:effectLst/>
                <a:uLnTx/>
                <a:uFillTx/>
                <a:latin typeface="Calibri" panose="020F0502020204030204" pitchFamily="34" charset="0"/>
                <a:ea typeface="Open Sans" panose="020B0606030504020204" pitchFamily="34" charset="0"/>
                <a:cs typeface="Calibri" panose="020F0502020204030204" pitchFamily="34" charset="0"/>
              </a:rPr>
              <a:t>Drive end user satisfaction and pursue business objectives!</a:t>
            </a:r>
          </a:p>
          <a:p>
            <a:pPr marL="0" marR="0" lvl="0" indent="0" algn="ctr" defTabSz="1036290" rtl="0" eaLnBrk="1" fontAlgn="auto" latinLnBrk="0" hangingPunct="1">
              <a:lnSpc>
                <a:spcPct val="100000"/>
              </a:lnSpc>
              <a:spcBef>
                <a:spcPts val="0"/>
              </a:spcBef>
              <a:spcAft>
                <a:spcPct val="25000"/>
              </a:spcAft>
              <a:buClr>
                <a:srgbClr val="000000"/>
              </a:buClr>
              <a:buSzTx/>
              <a:buFontTx/>
              <a:buNone/>
              <a:tabLst>
                <a:tab pos="6476810" algn="l"/>
              </a:tabLst>
              <a:defRPr/>
            </a:pPr>
            <a:endParaRPr kumimoji="0" lang="en-US" sz="136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38" name="Group 834">
            <a:extLst>
              <a:ext uri="{FF2B5EF4-FFF2-40B4-BE49-F238E27FC236}">
                <a16:creationId xmlns:a16="http://schemas.microsoft.com/office/drawing/2014/main" id="{8E492D44-9E4E-1B5B-E61D-AFE5E00EF7A4}"/>
              </a:ext>
            </a:extLst>
          </p:cNvPr>
          <p:cNvGrpSpPr>
            <a:grpSpLocks noChangeAspect="1"/>
          </p:cNvGrpSpPr>
          <p:nvPr/>
        </p:nvGrpSpPr>
        <p:grpSpPr bwMode="auto">
          <a:xfrm>
            <a:off x="5475450" y="5274418"/>
            <a:ext cx="547204" cy="547204"/>
            <a:chOff x="5977" y="3324"/>
            <a:chExt cx="340" cy="340"/>
          </a:xfrm>
          <a:solidFill>
            <a:schemeClr val="accent3"/>
          </a:solidFill>
        </p:grpSpPr>
        <p:sp>
          <p:nvSpPr>
            <p:cNvPr id="39" name="Freeform 835">
              <a:extLst>
                <a:ext uri="{FF2B5EF4-FFF2-40B4-BE49-F238E27FC236}">
                  <a16:creationId xmlns:a16="http://schemas.microsoft.com/office/drawing/2014/main" id="{52E561B9-A42A-385B-6BFF-D7E40DD63C15}"/>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836">
              <a:extLst>
                <a:ext uri="{FF2B5EF4-FFF2-40B4-BE49-F238E27FC236}">
                  <a16:creationId xmlns:a16="http://schemas.microsoft.com/office/drawing/2014/main" id="{91647A89-4485-7AD8-DA73-1BEA1D23B037}"/>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6" name="Freeform 837">
              <a:extLst>
                <a:ext uri="{FF2B5EF4-FFF2-40B4-BE49-F238E27FC236}">
                  <a16:creationId xmlns:a16="http://schemas.microsoft.com/office/drawing/2014/main" id="{9FCF0946-6B5C-77CC-5B7B-1FCF69AA3647}"/>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47" name="Group 217">
            <a:extLst>
              <a:ext uri="{FF2B5EF4-FFF2-40B4-BE49-F238E27FC236}">
                <a16:creationId xmlns:a16="http://schemas.microsoft.com/office/drawing/2014/main" id="{9CAA41BC-B4A6-EB36-6C64-59C2A44AE317}"/>
              </a:ext>
            </a:extLst>
          </p:cNvPr>
          <p:cNvGrpSpPr>
            <a:grpSpLocks noChangeAspect="1"/>
          </p:cNvGrpSpPr>
          <p:nvPr/>
        </p:nvGrpSpPr>
        <p:grpSpPr bwMode="auto">
          <a:xfrm>
            <a:off x="5475411" y="1899639"/>
            <a:ext cx="547206" cy="547204"/>
            <a:chOff x="5807" y="746"/>
            <a:chExt cx="340" cy="340"/>
          </a:xfrm>
          <a:solidFill>
            <a:schemeClr val="accent1"/>
          </a:solidFill>
        </p:grpSpPr>
        <p:sp>
          <p:nvSpPr>
            <p:cNvPr id="48" name="Freeform 218">
              <a:extLst>
                <a:ext uri="{FF2B5EF4-FFF2-40B4-BE49-F238E27FC236}">
                  <a16:creationId xmlns:a16="http://schemas.microsoft.com/office/drawing/2014/main" id="{958E1B2D-61EC-2271-498A-33B4CE2A0D87}"/>
                </a:ext>
              </a:extLst>
            </p:cNvPr>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9" name="Freeform 219">
              <a:extLst>
                <a:ext uri="{FF2B5EF4-FFF2-40B4-BE49-F238E27FC236}">
                  <a16:creationId xmlns:a16="http://schemas.microsoft.com/office/drawing/2014/main" id="{D395C493-16ED-7E6D-5989-4198AA466D60}"/>
                </a:ext>
              </a:extLst>
            </p:cNvPr>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50" name="Group 29">
            <a:extLst>
              <a:ext uri="{FF2B5EF4-FFF2-40B4-BE49-F238E27FC236}">
                <a16:creationId xmlns:a16="http://schemas.microsoft.com/office/drawing/2014/main" id="{76B6678B-2458-C5D4-C326-E379F30324EA}"/>
              </a:ext>
            </a:extLst>
          </p:cNvPr>
          <p:cNvGrpSpPr>
            <a:grpSpLocks noChangeAspect="1"/>
          </p:cNvGrpSpPr>
          <p:nvPr/>
        </p:nvGrpSpPr>
        <p:grpSpPr bwMode="auto">
          <a:xfrm>
            <a:off x="3415916" y="3539655"/>
            <a:ext cx="547252" cy="547252"/>
            <a:chOff x="2899" y="653"/>
            <a:chExt cx="340" cy="340"/>
          </a:xfrm>
          <a:solidFill>
            <a:schemeClr val="accent5"/>
          </a:solidFill>
        </p:grpSpPr>
        <p:sp>
          <p:nvSpPr>
            <p:cNvPr id="51" name="Freeform 30">
              <a:extLst>
                <a:ext uri="{FF2B5EF4-FFF2-40B4-BE49-F238E27FC236}">
                  <a16:creationId xmlns:a16="http://schemas.microsoft.com/office/drawing/2014/main" id="{04F923BF-7B72-5F5E-00BD-90571DBD8079}"/>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52" name="Freeform 31">
              <a:extLst>
                <a:ext uri="{FF2B5EF4-FFF2-40B4-BE49-F238E27FC236}">
                  <a16:creationId xmlns:a16="http://schemas.microsoft.com/office/drawing/2014/main" id="{9BF94DA0-AE34-397C-F6FD-586A9273DF79}"/>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53" name="Freeform 32">
              <a:extLst>
                <a:ext uri="{FF2B5EF4-FFF2-40B4-BE49-F238E27FC236}">
                  <a16:creationId xmlns:a16="http://schemas.microsoft.com/office/drawing/2014/main" id="{AA8AB94E-F9F9-1AF9-D5A2-4D4C26C814D1}"/>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54" name="Freeform 79">
            <a:extLst>
              <a:ext uri="{FF2B5EF4-FFF2-40B4-BE49-F238E27FC236}">
                <a16:creationId xmlns:a16="http://schemas.microsoft.com/office/drawing/2014/main" id="{10841B8E-97D7-5E5D-5842-ACA603979FFD}"/>
              </a:ext>
            </a:extLst>
          </p:cNvPr>
          <p:cNvSpPr>
            <a:spLocks noChangeAspect="1" noEditPoints="1"/>
          </p:cNvSpPr>
          <p:nvPr/>
        </p:nvSpPr>
        <p:spPr bwMode="auto">
          <a:xfrm>
            <a:off x="7392637" y="3561240"/>
            <a:ext cx="547043" cy="547043"/>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55" name="Group 424">
            <a:extLst>
              <a:ext uri="{FF2B5EF4-FFF2-40B4-BE49-F238E27FC236}">
                <a16:creationId xmlns:a16="http://schemas.microsoft.com/office/drawing/2014/main" id="{0A4843C5-A6F1-9745-7571-922BC813F1F4}"/>
              </a:ext>
            </a:extLst>
          </p:cNvPr>
          <p:cNvGrpSpPr>
            <a:grpSpLocks noChangeAspect="1"/>
          </p:cNvGrpSpPr>
          <p:nvPr/>
        </p:nvGrpSpPr>
        <p:grpSpPr bwMode="auto">
          <a:xfrm>
            <a:off x="8884730" y="2218554"/>
            <a:ext cx="547204" cy="548814"/>
            <a:chOff x="3859" y="1900"/>
            <a:chExt cx="340" cy="341"/>
          </a:xfrm>
          <a:solidFill>
            <a:schemeClr val="accent5"/>
          </a:solidFill>
        </p:grpSpPr>
        <p:sp>
          <p:nvSpPr>
            <p:cNvPr id="56" name="Freeform 425">
              <a:extLst>
                <a:ext uri="{FF2B5EF4-FFF2-40B4-BE49-F238E27FC236}">
                  <a16:creationId xmlns:a16="http://schemas.microsoft.com/office/drawing/2014/main" id="{874DBEC1-FF83-2046-8DAF-7FDD9FA76C7E}"/>
                </a:ext>
              </a:extLst>
            </p:cNvPr>
            <p:cNvSpPr>
              <a:spLocks noEditPoints="1"/>
            </p:cNvSpPr>
            <p:nvPr/>
          </p:nvSpPr>
          <p:spPr bwMode="auto">
            <a:xfrm>
              <a:off x="3859" y="190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57" name="Freeform 426">
              <a:extLst>
                <a:ext uri="{FF2B5EF4-FFF2-40B4-BE49-F238E27FC236}">
                  <a16:creationId xmlns:a16="http://schemas.microsoft.com/office/drawing/2014/main" id="{1C8D3B3F-10F2-425D-5659-5C3770818CFD}"/>
                </a:ext>
              </a:extLst>
            </p:cNvPr>
            <p:cNvSpPr>
              <a:spLocks/>
            </p:cNvSpPr>
            <p:nvPr/>
          </p:nvSpPr>
          <p:spPr bwMode="auto">
            <a:xfrm>
              <a:off x="3923" y="2013"/>
              <a:ext cx="212" cy="114"/>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58" name="Group 233">
            <a:extLst>
              <a:ext uri="{FF2B5EF4-FFF2-40B4-BE49-F238E27FC236}">
                <a16:creationId xmlns:a16="http://schemas.microsoft.com/office/drawing/2014/main" id="{C87CA97E-B379-AFBD-9401-18BE6D99DE8D}"/>
              </a:ext>
            </a:extLst>
          </p:cNvPr>
          <p:cNvGrpSpPr>
            <a:grpSpLocks noChangeAspect="1"/>
          </p:cNvGrpSpPr>
          <p:nvPr/>
        </p:nvGrpSpPr>
        <p:grpSpPr bwMode="auto">
          <a:xfrm>
            <a:off x="2378917" y="2207239"/>
            <a:ext cx="552166" cy="552165"/>
            <a:chOff x="3475" y="720"/>
            <a:chExt cx="340" cy="340"/>
          </a:xfrm>
          <a:solidFill>
            <a:schemeClr val="accent4"/>
          </a:solidFill>
        </p:grpSpPr>
        <p:sp>
          <p:nvSpPr>
            <p:cNvPr id="59" name="Freeform 234">
              <a:extLst>
                <a:ext uri="{FF2B5EF4-FFF2-40B4-BE49-F238E27FC236}">
                  <a16:creationId xmlns:a16="http://schemas.microsoft.com/office/drawing/2014/main" id="{D52621E4-030E-1332-7853-BF4B032B1BA6}"/>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Freeform 235">
              <a:extLst>
                <a:ext uri="{FF2B5EF4-FFF2-40B4-BE49-F238E27FC236}">
                  <a16:creationId xmlns:a16="http://schemas.microsoft.com/office/drawing/2014/main" id="{0961BDA3-D791-CB47-4E33-F0A92339A02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61" name="Isosceles Triangle 60">
            <a:extLst>
              <a:ext uri="{FF2B5EF4-FFF2-40B4-BE49-F238E27FC236}">
                <a16:creationId xmlns:a16="http://schemas.microsoft.com/office/drawing/2014/main" id="{12E16DF2-9993-0BCC-B9CB-D3681776B321}"/>
              </a:ext>
            </a:extLst>
          </p:cNvPr>
          <p:cNvSpPr/>
          <p:nvPr/>
        </p:nvSpPr>
        <p:spPr>
          <a:xfrm rot="5400000">
            <a:off x="6990945" y="3597189"/>
            <a:ext cx="3442033" cy="264202"/>
          </a:xfrm>
          <a:prstGeom prst="triangle">
            <a:avLst/>
          </a:prstGeom>
          <a:solidFill>
            <a:schemeClr val="bg1">
              <a:lumMod val="95000"/>
            </a:schemeClr>
          </a:solidFill>
          <a:ln w="19050" algn="ctr">
            <a:noFill/>
            <a:miter lim="800000"/>
            <a:headEnd/>
            <a:tailEnd/>
          </a:ln>
        </p:spPr>
        <p:txBody>
          <a:bodyPr wrap="square" lIns="98012" tIns="98012" rIns="98012" bIns="98012" rtlCol="0" anchor="ctr"/>
          <a:lstStyle/>
          <a:p>
            <a:pPr marL="0" marR="0" lvl="0" indent="0" algn="ctr" defTabSz="1344167" rtl="0" eaLnBrk="1" fontAlgn="auto" latinLnBrk="0" hangingPunct="1">
              <a:lnSpc>
                <a:spcPct val="106000"/>
              </a:lnSpc>
              <a:spcBef>
                <a:spcPts val="0"/>
              </a:spcBef>
              <a:spcAft>
                <a:spcPts val="0"/>
              </a:spcAft>
              <a:buClrTx/>
              <a:buSzTx/>
              <a:buFontTx/>
              <a:buNone/>
              <a:tabLst/>
              <a:defRPr/>
            </a:pPr>
            <a:endParaRPr kumimoji="0" lang="en-US" sz="1400" b="1" i="0" u="none" strike="noStrike" kern="0" cap="none" spc="0" normalizeH="0" baseline="0" noProof="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3712850798"/>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e are consistently recognized in Support and Maintenance </a:t>
            </a:r>
            <a:r>
              <a:rPr lang="en-US" sz="1400">
                <a:solidFill>
                  <a:prstClr val="black"/>
                </a:solidFill>
              </a:rPr>
              <a:t>as our </a:t>
            </a:r>
            <a:r>
              <a:rPr lang="en-US" sz="1400" dirty="0">
                <a:solidFill>
                  <a:prstClr val="black"/>
                </a:solidFill>
              </a:rPr>
              <a:t>DNA is </a:t>
            </a:r>
            <a:r>
              <a:rPr lang="en-US" sz="1400">
                <a:solidFill>
                  <a:prstClr val="black"/>
                </a:solidFill>
              </a:rPr>
              <a:t>built around our </a:t>
            </a: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apability and client focus</a:t>
            </a:r>
            <a:r>
              <a:rPr lang="en-US"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eloitte is a leader in Operate</a:t>
            </a:r>
          </a:p>
        </p:txBody>
      </p:sp>
      <p:sp>
        <p:nvSpPr>
          <p:cNvPr id="33" name="Rectangle: Rounded Corners 32">
            <a:extLst>
              <a:ext uri="{FF2B5EF4-FFF2-40B4-BE49-F238E27FC236}">
                <a16:creationId xmlns:a16="http://schemas.microsoft.com/office/drawing/2014/main" id="{41C5AC44-1CD6-83B1-0246-3B05AF15D10E}"/>
              </a:ext>
            </a:extLst>
          </p:cNvPr>
          <p:cNvSpPr/>
          <p:nvPr/>
        </p:nvSpPr>
        <p:spPr bwMode="gray">
          <a:xfrm>
            <a:off x="414290" y="3394612"/>
            <a:ext cx="3484563" cy="823314"/>
          </a:xfrm>
          <a:prstGeom prst="roundRect">
            <a:avLst>
              <a:gd name="adj" fmla="val 13522"/>
            </a:avLst>
          </a:prstGeom>
          <a:noFill/>
          <a:ln w="9525" algn="ctr">
            <a:noFill/>
            <a:miter lim="800000"/>
            <a:headEnd/>
            <a:tailEnd/>
          </a:ln>
        </p:spPr>
        <p:txBody>
          <a:bodyPr wrap="square" lIns="88900" tIns="88900" rIns="88900" bIns="88900" rtlCol="0" anchor="t"/>
          <a:lstStyle/>
          <a:p>
            <a:pPr marL="0" marR="0" lvl="0" indent="0" defTabSz="914400" rtl="0" eaLnBrk="1" fontAlgn="auto" latinLnBrk="0" hangingPunct="1">
              <a:lnSpc>
                <a:spcPct val="107000"/>
              </a:lnSpc>
              <a:spcBef>
                <a:spcPts val="0"/>
              </a:spcBef>
              <a:spcAft>
                <a:spcPts val="1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visionary’ in 2022 Gartner Magic Quadrant™ for </a:t>
            </a:r>
            <a:r>
              <a:rPr kumimoji="0" lang="en-GB"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Data Center Outsourcing and Hybrid Infrastructure Managed Services</a:t>
            </a:r>
            <a:endParaRPr kumimoji="0" lang="en-GB"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Rectangle: Rounded Corners 33">
            <a:extLst>
              <a:ext uri="{FF2B5EF4-FFF2-40B4-BE49-F238E27FC236}">
                <a16:creationId xmlns:a16="http://schemas.microsoft.com/office/drawing/2014/main" id="{C183FAF3-AA8F-AA6E-C165-BDD654295991}"/>
              </a:ext>
            </a:extLst>
          </p:cNvPr>
          <p:cNvSpPr/>
          <p:nvPr/>
        </p:nvSpPr>
        <p:spPr bwMode="gray">
          <a:xfrm>
            <a:off x="4341525" y="5394567"/>
            <a:ext cx="3484563" cy="823314"/>
          </a:xfrm>
          <a:prstGeom prst="roundRect">
            <a:avLst>
              <a:gd name="adj" fmla="val 13522"/>
            </a:avLst>
          </a:prstGeom>
          <a:noFill/>
          <a:ln w="9525" algn="ctr">
            <a:noFill/>
            <a:miter lim="800000"/>
            <a:headEnd/>
            <a:tailEnd/>
          </a:ln>
        </p:spPr>
        <p:txBody>
          <a:bodyPr wrap="square" lIns="88900" tIns="88900" rIns="88900" bIns="88900" rtlCol="0" anchor="t"/>
          <a:lstStyle/>
          <a:p>
            <a:pPr marL="0" marR="0" lvl="0" indent="0" defTabSz="914400" rtl="0" eaLnBrk="1" fontAlgn="auto" latinLnBrk="0" hangingPunct="1">
              <a:lnSpc>
                <a:spcPct val="107000"/>
              </a:lnSpc>
              <a:spcBef>
                <a:spcPts val="0"/>
              </a:spcBef>
              <a:spcAft>
                <a:spcPts val="1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leader in Forrester Wave™: </a:t>
            </a:r>
            <a:r>
              <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4">
                  <a:extLst>
                    <a:ext uri="{A12FA001-AC4F-418D-AE19-62706E023703}">
                      <ahyp:hlinkClr xmlns:ahyp="http://schemas.microsoft.com/office/drawing/2018/hyperlinkcolor" val="tx"/>
                    </a:ext>
                  </a:extLst>
                </a:hlinkClick>
              </a:rPr>
              <a:t>Cybersecurity Incident Response Services</a:t>
            </a:r>
            <a:r>
              <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r>
              <a:rPr kumimoji="0" lang="en-US"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Q1 2022</a:t>
            </a:r>
          </a:p>
        </p:txBody>
      </p:sp>
      <p:sp>
        <p:nvSpPr>
          <p:cNvPr id="35" name="Rectangle: Rounded Corners 34">
            <a:extLst>
              <a:ext uri="{FF2B5EF4-FFF2-40B4-BE49-F238E27FC236}">
                <a16:creationId xmlns:a16="http://schemas.microsoft.com/office/drawing/2014/main" id="{E4CB17FC-B84F-3BC3-0AC4-C018039AF095}"/>
              </a:ext>
            </a:extLst>
          </p:cNvPr>
          <p:cNvSpPr/>
          <p:nvPr/>
        </p:nvSpPr>
        <p:spPr bwMode="gray">
          <a:xfrm>
            <a:off x="8337716" y="1727663"/>
            <a:ext cx="3484563" cy="823314"/>
          </a:xfrm>
          <a:prstGeom prst="roundRect">
            <a:avLst>
              <a:gd name="adj" fmla="val 13522"/>
            </a:avLst>
          </a:prstGeom>
          <a:noFill/>
          <a:ln w="9525" algn="ctr">
            <a:noFill/>
            <a:miter lim="800000"/>
            <a:headEnd/>
            <a:tailEnd/>
          </a:ln>
        </p:spPr>
        <p:txBody>
          <a:bodyPr wrap="square" lIns="88900" tIns="88900" rIns="88900" bIns="88900" rtlCol="0" anchor="ctr"/>
          <a:lstStyle/>
          <a:p>
            <a:pPr marL="0" marR="0" lvl="0" indent="0" defTabSz="914400" rtl="0" eaLnBrk="1" fontAlgn="auto" latinLnBrk="0" hangingPunct="1">
              <a:lnSpc>
                <a:spcPct val="107000"/>
              </a:lnSpc>
              <a:spcBef>
                <a:spcPts val="0"/>
              </a:spcBef>
              <a:spcAft>
                <a:spcPts val="1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leader in 2022 Gartner Magic Quadrant™ for </a:t>
            </a:r>
            <a:r>
              <a:rPr kumimoji="0" lang="en-GB"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5">
                  <a:extLst>
                    <a:ext uri="{A12FA001-AC4F-418D-AE19-62706E023703}">
                      <ahyp:hlinkClr xmlns:ahyp="http://schemas.microsoft.com/office/drawing/2018/hyperlinkcolor" val="tx"/>
                    </a:ext>
                  </a:extLst>
                </a:hlinkClick>
              </a:rPr>
              <a:t>Data and Analytics Service Providers</a:t>
            </a:r>
            <a:endParaRPr kumimoji="0" lang="en-GB"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6" name="Rectangle: Rounded Corners 35">
            <a:extLst>
              <a:ext uri="{FF2B5EF4-FFF2-40B4-BE49-F238E27FC236}">
                <a16:creationId xmlns:a16="http://schemas.microsoft.com/office/drawing/2014/main" id="{F6E3172F-6469-0F63-BD29-4876CD95EAC0}"/>
              </a:ext>
            </a:extLst>
          </p:cNvPr>
          <p:cNvSpPr/>
          <p:nvPr/>
        </p:nvSpPr>
        <p:spPr bwMode="gray">
          <a:xfrm>
            <a:off x="4341525" y="1734763"/>
            <a:ext cx="3484563" cy="823314"/>
          </a:xfrm>
          <a:prstGeom prst="roundRect">
            <a:avLst>
              <a:gd name="adj" fmla="val 13522"/>
            </a:avLst>
          </a:prstGeom>
          <a:noFill/>
          <a:ln w="9525" algn="ctr">
            <a:noFill/>
            <a:miter lim="800000"/>
            <a:headEnd/>
            <a:tailEnd/>
          </a:ln>
        </p:spPr>
        <p:txBody>
          <a:bodyPr wrap="square" lIns="88900" tIns="88900" rIns="88900" bIns="88900" rtlCol="0" anchor="ctr"/>
          <a:lstStyle/>
          <a:p>
            <a:pPr marL="0" marR="0" lvl="0" indent="0" defTabSz="914400" rtl="0" eaLnBrk="1" fontAlgn="auto" latinLnBrk="0" hangingPunct="1">
              <a:lnSpc>
                <a:spcPct val="107000"/>
              </a:lnSpc>
              <a:spcBef>
                <a:spcPts val="0"/>
              </a:spcBef>
              <a:spcAft>
                <a:spcPts val="1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leader in 2022 Gartner Magic Quadrant™ </a:t>
            </a:r>
            <a:r>
              <a:rPr kumimoji="0" lang="en-US" sz="1400" b="0"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a:t>
            </a:r>
            <a:r>
              <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6">
                  <a:extLst>
                    <a:ext uri="{A12FA001-AC4F-418D-AE19-62706E023703}">
                      <ahyp:hlinkClr xmlns:ahyp="http://schemas.microsoft.com/office/drawing/2018/hyperlinkcolor" val="tx"/>
                    </a:ext>
                  </a:extLst>
                </a:hlinkClick>
              </a:rPr>
              <a:t>Public Cloud IT Transformation Services </a:t>
            </a:r>
            <a:endPar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7" name="Rectangle: Rounded Corners 36">
            <a:extLst>
              <a:ext uri="{FF2B5EF4-FFF2-40B4-BE49-F238E27FC236}">
                <a16:creationId xmlns:a16="http://schemas.microsoft.com/office/drawing/2014/main" id="{4ABF106C-6DAA-C209-ECAB-78D1E4AD347D}"/>
              </a:ext>
            </a:extLst>
          </p:cNvPr>
          <p:cNvSpPr/>
          <p:nvPr/>
        </p:nvSpPr>
        <p:spPr bwMode="gray">
          <a:xfrm>
            <a:off x="8337716" y="3394612"/>
            <a:ext cx="3484563" cy="823314"/>
          </a:xfrm>
          <a:prstGeom prst="roundRect">
            <a:avLst>
              <a:gd name="adj" fmla="val 13522"/>
            </a:avLst>
          </a:prstGeom>
          <a:noFill/>
          <a:ln w="9525" algn="ctr">
            <a:noFill/>
            <a:miter lim="800000"/>
            <a:headEnd/>
            <a:tailEnd/>
          </a:ln>
        </p:spPr>
        <p:txBody>
          <a:bodyPr wrap="square" lIns="88900" tIns="88900" rIns="88900" bIns="88900" rtlCol="0" anchor="t"/>
          <a:lstStyle/>
          <a:p>
            <a:pPr marL="0" marR="0" lvl="0" indent="0" defTabSz="914400" rtl="0" eaLnBrk="1" fontAlgn="auto" latinLnBrk="0" hangingPunct="1">
              <a:lnSpc>
                <a:spcPct val="107000"/>
              </a:lnSpc>
              <a:spcBef>
                <a:spcPts val="0"/>
              </a:spcBef>
              <a:spcAft>
                <a:spcPts val="1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leader in 2021 IDC </a:t>
            </a:r>
            <a:r>
              <a:rPr kumimoji="0" lang="en-US" sz="1400" b="0" i="0" u="none" strike="noStrike" kern="120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rketScape</a:t>
            </a:r>
            <a:r>
              <a:rPr kumimoji="0" lang="en-US"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for </a:t>
            </a:r>
            <a:r>
              <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7">
                  <a:extLst>
                    <a:ext uri="{A12FA001-AC4F-418D-AE19-62706E023703}">
                      <ahyp:hlinkClr xmlns:ahyp="http://schemas.microsoft.com/office/drawing/2018/hyperlinkcolor" val="tx"/>
                    </a:ext>
                  </a:extLst>
                </a:hlinkClick>
              </a:rPr>
              <a:t>Worldwide Incident Readiness Services</a:t>
            </a:r>
            <a:endPar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1" name="Rectangle: Rounded Corners 40">
            <a:extLst>
              <a:ext uri="{FF2B5EF4-FFF2-40B4-BE49-F238E27FC236}">
                <a16:creationId xmlns:a16="http://schemas.microsoft.com/office/drawing/2014/main" id="{2BD71533-3840-FCE0-5608-C64A152E55C1}"/>
              </a:ext>
            </a:extLst>
          </p:cNvPr>
          <p:cNvSpPr/>
          <p:nvPr/>
        </p:nvSpPr>
        <p:spPr bwMode="gray">
          <a:xfrm>
            <a:off x="414290" y="1769406"/>
            <a:ext cx="3484563" cy="823314"/>
          </a:xfrm>
          <a:prstGeom prst="roundRect">
            <a:avLst>
              <a:gd name="adj" fmla="val 13522"/>
            </a:avLst>
          </a:prstGeom>
          <a:noFill/>
          <a:ln w="9525" algn="ctr">
            <a:noFill/>
            <a:miter lim="800000"/>
            <a:headEnd/>
            <a:tailEnd/>
          </a:ln>
        </p:spPr>
        <p:txBody>
          <a:bodyPr wrap="square" lIns="88900" tIns="88900" rIns="88900" bIns="88900" rtlCol="0" anchor="ctr"/>
          <a:lstStyle/>
          <a:p>
            <a:pPr marL="0" marR="0" lvl="0" indent="0" defTabSz="914400" rtl="0" eaLnBrk="1" fontAlgn="auto" latinLnBrk="0" hangingPunct="1">
              <a:lnSpc>
                <a:spcPct val="107000"/>
              </a:lnSpc>
              <a:spcBef>
                <a:spcPts val="0"/>
              </a:spcBef>
              <a:spcAft>
                <a:spcPts val="1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leader in 2022 Gartner Magic Quadrant™ for </a:t>
            </a:r>
            <a:r>
              <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8">
                  <a:extLst>
                    <a:ext uri="{A12FA001-AC4F-418D-AE19-62706E023703}">
                      <ahyp:hlinkClr xmlns:ahyp="http://schemas.microsoft.com/office/drawing/2018/hyperlinkcolor" val="tx"/>
                    </a:ext>
                  </a:extLst>
                </a:hlinkClick>
              </a:rPr>
              <a:t>Oracle Cloud Applications Services</a:t>
            </a:r>
            <a:endPar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2" name="Rectangle: Rounded Corners 41">
            <a:extLst>
              <a:ext uri="{FF2B5EF4-FFF2-40B4-BE49-F238E27FC236}">
                <a16:creationId xmlns:a16="http://schemas.microsoft.com/office/drawing/2014/main" id="{A78A22DD-E4F8-A38F-1DB4-5F8D738E3D69}"/>
              </a:ext>
            </a:extLst>
          </p:cNvPr>
          <p:cNvSpPr/>
          <p:nvPr/>
        </p:nvSpPr>
        <p:spPr bwMode="gray">
          <a:xfrm>
            <a:off x="4341525" y="3408900"/>
            <a:ext cx="3484563" cy="823314"/>
          </a:xfrm>
          <a:prstGeom prst="roundRect">
            <a:avLst>
              <a:gd name="adj" fmla="val 13522"/>
            </a:avLst>
          </a:prstGeom>
          <a:noFill/>
          <a:ln w="9525" algn="ctr">
            <a:noFill/>
            <a:miter lim="800000"/>
            <a:headEnd/>
            <a:tailEnd/>
          </a:ln>
        </p:spPr>
        <p:txBody>
          <a:bodyPr wrap="square" lIns="88900" tIns="88900" rIns="88900" bIns="88900" rtlCol="0" anchor="t"/>
          <a:lstStyle/>
          <a:p>
            <a:pPr marL="0" marR="0" lvl="0" indent="0" defTabSz="914400" rtl="0" eaLnBrk="1" fontAlgn="auto" latinLnBrk="0" hangingPunct="1">
              <a:lnSpc>
                <a:spcPct val="107000"/>
              </a:lnSpc>
              <a:spcBef>
                <a:spcPts val="0"/>
              </a:spcBef>
              <a:spcAft>
                <a:spcPts val="1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leader in 2022 Gartner Magic Quadrant™ for </a:t>
            </a:r>
            <a:r>
              <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9">
                  <a:extLst>
                    <a:ext uri="{A12FA001-AC4F-418D-AE19-62706E023703}">
                      <ahyp:hlinkClr xmlns:ahyp="http://schemas.microsoft.com/office/drawing/2018/hyperlinkcolor" val="tx"/>
                    </a:ext>
                  </a:extLst>
                </a:hlinkClick>
              </a:rPr>
              <a:t>SAP S/4 HANA Application Services</a:t>
            </a:r>
            <a:endParaRPr kumimoji="0" lang="en-US"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3" name="Rectangle: Rounded Corners 42">
            <a:extLst>
              <a:ext uri="{FF2B5EF4-FFF2-40B4-BE49-F238E27FC236}">
                <a16:creationId xmlns:a16="http://schemas.microsoft.com/office/drawing/2014/main" id="{AECB054C-0585-922F-DD17-C46BCD29DC1E}"/>
              </a:ext>
            </a:extLst>
          </p:cNvPr>
          <p:cNvSpPr/>
          <p:nvPr/>
        </p:nvSpPr>
        <p:spPr bwMode="gray">
          <a:xfrm>
            <a:off x="414290" y="5380279"/>
            <a:ext cx="3484563" cy="823314"/>
          </a:xfrm>
          <a:prstGeom prst="roundRect">
            <a:avLst>
              <a:gd name="adj" fmla="val 13522"/>
            </a:avLst>
          </a:prstGeom>
          <a:noFill/>
          <a:ln w="9525" algn="ctr">
            <a:noFill/>
            <a:miter lim="800000"/>
            <a:headEnd/>
            <a:tailEnd/>
          </a:ln>
        </p:spPr>
        <p:txBody>
          <a:bodyPr wrap="square" lIns="88900" tIns="88900" rIns="88900" bIns="88900" rtlCol="0" anchor="t"/>
          <a:lstStyle/>
          <a:p>
            <a:pPr marL="0" marR="0" lvl="0" indent="0" defTabSz="914400" rtl="0" eaLnBrk="1" fontAlgn="auto" latinLnBrk="0" hangingPunct="1">
              <a:lnSpc>
                <a:spcPct val="107000"/>
              </a:lnSpc>
              <a:spcBef>
                <a:spcPts val="0"/>
              </a:spcBef>
              <a:spcAft>
                <a:spcPts val="1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leader in Forrester Wave™: </a:t>
            </a:r>
            <a:r>
              <a:rPr kumimoji="0" lang="en-GB"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10">
                  <a:extLst>
                    <a:ext uri="{A12FA001-AC4F-418D-AE19-62706E023703}">
                      <ahyp:hlinkClr xmlns:ahyp="http://schemas.microsoft.com/office/drawing/2018/hyperlinkcolor" val="tx"/>
                    </a:ext>
                  </a:extLst>
                </a:hlinkClick>
              </a:rPr>
              <a:t>Innovation Consulting Services</a:t>
            </a:r>
            <a:r>
              <a:rPr kumimoji="0" lang="en-GB" sz="1400" b="1" i="0" u="none" strike="noStrike" kern="1200" cap="none" spc="0" normalizeH="0" baseline="0" noProof="0" dirty="0">
                <a:ln>
                  <a:noFill/>
                </a:ln>
                <a:solidFill>
                  <a:schemeClr val="tx1">
                    <a:lumMod val="50000"/>
                    <a:lumOff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r>
              <a:rPr kumimoji="0" lang="en-GB"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2021</a:t>
            </a:r>
          </a:p>
        </p:txBody>
      </p:sp>
      <p:grpSp>
        <p:nvGrpSpPr>
          <p:cNvPr id="44" name="Graphic 4">
            <a:extLst>
              <a:ext uri="{FF2B5EF4-FFF2-40B4-BE49-F238E27FC236}">
                <a16:creationId xmlns:a16="http://schemas.microsoft.com/office/drawing/2014/main" id="{D2282936-4BD9-9516-CC61-4215804FA7B5}"/>
              </a:ext>
            </a:extLst>
          </p:cNvPr>
          <p:cNvGrpSpPr>
            <a:grpSpLocks noChangeAspect="1"/>
          </p:cNvGrpSpPr>
          <p:nvPr/>
        </p:nvGrpSpPr>
        <p:grpSpPr>
          <a:xfrm>
            <a:off x="493370" y="1286404"/>
            <a:ext cx="532389" cy="533773"/>
            <a:chOff x="467743" y="2371173"/>
            <a:chExt cx="361670" cy="362610"/>
          </a:xfrm>
          <a:solidFill>
            <a:srgbClr val="86BC23"/>
          </a:solidFill>
        </p:grpSpPr>
        <p:sp>
          <p:nvSpPr>
            <p:cNvPr id="45" name="Graphic 4">
              <a:extLst>
                <a:ext uri="{FF2B5EF4-FFF2-40B4-BE49-F238E27FC236}">
                  <a16:creationId xmlns:a16="http://schemas.microsoft.com/office/drawing/2014/main" id="{1D76866B-98FF-D844-FCAF-153C1267D1D4}"/>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2" name="Graphic 4">
              <a:extLst>
                <a:ext uri="{FF2B5EF4-FFF2-40B4-BE49-F238E27FC236}">
                  <a16:creationId xmlns:a16="http://schemas.microsoft.com/office/drawing/2014/main" id="{20D09562-1BF9-43DA-0137-6CDFEB725835}"/>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63" name="Graphic 4">
            <a:extLst>
              <a:ext uri="{FF2B5EF4-FFF2-40B4-BE49-F238E27FC236}">
                <a16:creationId xmlns:a16="http://schemas.microsoft.com/office/drawing/2014/main" id="{750EE59B-7CC1-48B3-3E42-7D39FD76F8A0}"/>
              </a:ext>
            </a:extLst>
          </p:cNvPr>
          <p:cNvGrpSpPr>
            <a:grpSpLocks noChangeAspect="1"/>
          </p:cNvGrpSpPr>
          <p:nvPr/>
        </p:nvGrpSpPr>
        <p:grpSpPr>
          <a:xfrm>
            <a:off x="4404970" y="1286404"/>
            <a:ext cx="532389" cy="533773"/>
            <a:chOff x="467743" y="2371173"/>
            <a:chExt cx="361670" cy="362610"/>
          </a:xfrm>
          <a:solidFill>
            <a:srgbClr val="86BC23"/>
          </a:solidFill>
        </p:grpSpPr>
        <p:sp>
          <p:nvSpPr>
            <p:cNvPr id="64" name="Graphic 4">
              <a:extLst>
                <a:ext uri="{FF2B5EF4-FFF2-40B4-BE49-F238E27FC236}">
                  <a16:creationId xmlns:a16="http://schemas.microsoft.com/office/drawing/2014/main" id="{4B9CE7A2-35A7-E3FB-EA2E-9C29E6102445}"/>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5" name="Graphic 4">
              <a:extLst>
                <a:ext uri="{FF2B5EF4-FFF2-40B4-BE49-F238E27FC236}">
                  <a16:creationId xmlns:a16="http://schemas.microsoft.com/office/drawing/2014/main" id="{FCA94201-E005-8E39-8E47-60BF1CF6B37C}"/>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66" name="Graphic 4">
            <a:extLst>
              <a:ext uri="{FF2B5EF4-FFF2-40B4-BE49-F238E27FC236}">
                <a16:creationId xmlns:a16="http://schemas.microsoft.com/office/drawing/2014/main" id="{8F9BB1C1-CD36-9370-FF4B-9CA23DD405F7}"/>
              </a:ext>
            </a:extLst>
          </p:cNvPr>
          <p:cNvGrpSpPr>
            <a:grpSpLocks noChangeAspect="1"/>
          </p:cNvGrpSpPr>
          <p:nvPr/>
        </p:nvGrpSpPr>
        <p:grpSpPr>
          <a:xfrm>
            <a:off x="8418170" y="1286404"/>
            <a:ext cx="532389" cy="533773"/>
            <a:chOff x="467743" y="2371173"/>
            <a:chExt cx="361670" cy="362610"/>
          </a:xfrm>
          <a:solidFill>
            <a:srgbClr val="86BC23"/>
          </a:solidFill>
        </p:grpSpPr>
        <p:sp>
          <p:nvSpPr>
            <p:cNvPr id="67" name="Graphic 4">
              <a:extLst>
                <a:ext uri="{FF2B5EF4-FFF2-40B4-BE49-F238E27FC236}">
                  <a16:creationId xmlns:a16="http://schemas.microsoft.com/office/drawing/2014/main" id="{79ECFB23-5C27-8AE7-AA2B-B85E376A87E9}"/>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8" name="Graphic 4">
              <a:extLst>
                <a:ext uri="{FF2B5EF4-FFF2-40B4-BE49-F238E27FC236}">
                  <a16:creationId xmlns:a16="http://schemas.microsoft.com/office/drawing/2014/main" id="{D9AA15AC-6D1B-36FF-ED95-F3B32BA2D898}"/>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69" name="Graphic 4">
            <a:extLst>
              <a:ext uri="{FF2B5EF4-FFF2-40B4-BE49-F238E27FC236}">
                <a16:creationId xmlns:a16="http://schemas.microsoft.com/office/drawing/2014/main" id="{C1EA467F-7E23-010C-8B85-83F8311193DF}"/>
              </a:ext>
            </a:extLst>
          </p:cNvPr>
          <p:cNvGrpSpPr>
            <a:grpSpLocks noChangeAspect="1"/>
          </p:cNvGrpSpPr>
          <p:nvPr/>
        </p:nvGrpSpPr>
        <p:grpSpPr>
          <a:xfrm>
            <a:off x="493370" y="2867676"/>
            <a:ext cx="532389" cy="533773"/>
            <a:chOff x="467743" y="2371173"/>
            <a:chExt cx="361670" cy="362610"/>
          </a:xfrm>
          <a:solidFill>
            <a:srgbClr val="86BC23"/>
          </a:solidFill>
        </p:grpSpPr>
        <p:sp>
          <p:nvSpPr>
            <p:cNvPr id="70" name="Graphic 4">
              <a:extLst>
                <a:ext uri="{FF2B5EF4-FFF2-40B4-BE49-F238E27FC236}">
                  <a16:creationId xmlns:a16="http://schemas.microsoft.com/office/drawing/2014/main" id="{1D26A1AA-E1AF-97C1-B712-AF5FCCC6FC6F}"/>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1" name="Graphic 4">
              <a:extLst>
                <a:ext uri="{FF2B5EF4-FFF2-40B4-BE49-F238E27FC236}">
                  <a16:creationId xmlns:a16="http://schemas.microsoft.com/office/drawing/2014/main" id="{DF64091E-04A6-CC15-6560-C89B48B152FE}"/>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72" name="Graphic 4">
            <a:extLst>
              <a:ext uri="{FF2B5EF4-FFF2-40B4-BE49-F238E27FC236}">
                <a16:creationId xmlns:a16="http://schemas.microsoft.com/office/drawing/2014/main" id="{9D45E3AC-BCF8-A57C-3D46-2B2B014D897D}"/>
              </a:ext>
            </a:extLst>
          </p:cNvPr>
          <p:cNvGrpSpPr>
            <a:grpSpLocks noChangeAspect="1"/>
          </p:cNvGrpSpPr>
          <p:nvPr/>
        </p:nvGrpSpPr>
        <p:grpSpPr>
          <a:xfrm>
            <a:off x="4404970" y="2867676"/>
            <a:ext cx="532389" cy="533773"/>
            <a:chOff x="467743" y="2371173"/>
            <a:chExt cx="361670" cy="362610"/>
          </a:xfrm>
          <a:solidFill>
            <a:srgbClr val="86BC23"/>
          </a:solidFill>
        </p:grpSpPr>
        <p:sp>
          <p:nvSpPr>
            <p:cNvPr id="73" name="Graphic 4">
              <a:extLst>
                <a:ext uri="{FF2B5EF4-FFF2-40B4-BE49-F238E27FC236}">
                  <a16:creationId xmlns:a16="http://schemas.microsoft.com/office/drawing/2014/main" id="{2F49D7B7-8AF6-3B8D-B14C-79CADA2CC1F1}"/>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4" name="Graphic 4">
              <a:extLst>
                <a:ext uri="{FF2B5EF4-FFF2-40B4-BE49-F238E27FC236}">
                  <a16:creationId xmlns:a16="http://schemas.microsoft.com/office/drawing/2014/main" id="{41CF242D-BB9B-CAAC-996C-4E8669430AC0}"/>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75" name="Graphic 4">
            <a:extLst>
              <a:ext uri="{FF2B5EF4-FFF2-40B4-BE49-F238E27FC236}">
                <a16:creationId xmlns:a16="http://schemas.microsoft.com/office/drawing/2014/main" id="{C818E53B-E4E6-A75E-5666-79D699C0A27D}"/>
              </a:ext>
            </a:extLst>
          </p:cNvPr>
          <p:cNvGrpSpPr>
            <a:grpSpLocks noChangeAspect="1"/>
          </p:cNvGrpSpPr>
          <p:nvPr/>
        </p:nvGrpSpPr>
        <p:grpSpPr>
          <a:xfrm>
            <a:off x="8418170" y="2867676"/>
            <a:ext cx="532389" cy="533773"/>
            <a:chOff x="467743" y="2371173"/>
            <a:chExt cx="361670" cy="362610"/>
          </a:xfrm>
          <a:solidFill>
            <a:srgbClr val="86BC23"/>
          </a:solidFill>
        </p:grpSpPr>
        <p:sp>
          <p:nvSpPr>
            <p:cNvPr id="76" name="Graphic 4">
              <a:extLst>
                <a:ext uri="{FF2B5EF4-FFF2-40B4-BE49-F238E27FC236}">
                  <a16:creationId xmlns:a16="http://schemas.microsoft.com/office/drawing/2014/main" id="{C845D418-D320-E92A-8063-CE2E78BBD167}"/>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7" name="Graphic 4">
              <a:extLst>
                <a:ext uri="{FF2B5EF4-FFF2-40B4-BE49-F238E27FC236}">
                  <a16:creationId xmlns:a16="http://schemas.microsoft.com/office/drawing/2014/main" id="{0FEFBC45-4D9F-1E89-1FD9-2F02A337361B}"/>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78" name="Graphic 4">
            <a:extLst>
              <a:ext uri="{FF2B5EF4-FFF2-40B4-BE49-F238E27FC236}">
                <a16:creationId xmlns:a16="http://schemas.microsoft.com/office/drawing/2014/main" id="{024B90E0-DAFC-9B7D-FCD1-A41FAFE16FB6}"/>
              </a:ext>
            </a:extLst>
          </p:cNvPr>
          <p:cNvGrpSpPr>
            <a:grpSpLocks noChangeAspect="1"/>
          </p:cNvGrpSpPr>
          <p:nvPr/>
        </p:nvGrpSpPr>
        <p:grpSpPr>
          <a:xfrm>
            <a:off x="493370" y="4817004"/>
            <a:ext cx="532389" cy="533773"/>
            <a:chOff x="467743" y="2371173"/>
            <a:chExt cx="361670" cy="362610"/>
          </a:xfrm>
          <a:solidFill>
            <a:srgbClr val="86BC23"/>
          </a:solidFill>
        </p:grpSpPr>
        <p:sp>
          <p:nvSpPr>
            <p:cNvPr id="79" name="Graphic 4">
              <a:extLst>
                <a:ext uri="{FF2B5EF4-FFF2-40B4-BE49-F238E27FC236}">
                  <a16:creationId xmlns:a16="http://schemas.microsoft.com/office/drawing/2014/main" id="{36B89906-1E1F-D182-6BE7-B3F6DCD2FC30}"/>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0" name="Graphic 4">
              <a:extLst>
                <a:ext uri="{FF2B5EF4-FFF2-40B4-BE49-F238E27FC236}">
                  <a16:creationId xmlns:a16="http://schemas.microsoft.com/office/drawing/2014/main" id="{95097FF6-BFF0-4B08-0AEA-65B33EB5D44E}"/>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81" name="Graphic 4">
            <a:extLst>
              <a:ext uri="{FF2B5EF4-FFF2-40B4-BE49-F238E27FC236}">
                <a16:creationId xmlns:a16="http://schemas.microsoft.com/office/drawing/2014/main" id="{636EBF7B-611E-6545-808B-DBCBCBE983EB}"/>
              </a:ext>
            </a:extLst>
          </p:cNvPr>
          <p:cNvGrpSpPr>
            <a:grpSpLocks noChangeAspect="1"/>
          </p:cNvGrpSpPr>
          <p:nvPr/>
        </p:nvGrpSpPr>
        <p:grpSpPr>
          <a:xfrm>
            <a:off x="4404970" y="4817004"/>
            <a:ext cx="532389" cy="533773"/>
            <a:chOff x="467743" y="2371173"/>
            <a:chExt cx="361670" cy="362610"/>
          </a:xfrm>
          <a:solidFill>
            <a:srgbClr val="86BC23"/>
          </a:solidFill>
        </p:grpSpPr>
        <p:sp>
          <p:nvSpPr>
            <p:cNvPr id="82" name="Graphic 4">
              <a:extLst>
                <a:ext uri="{FF2B5EF4-FFF2-40B4-BE49-F238E27FC236}">
                  <a16:creationId xmlns:a16="http://schemas.microsoft.com/office/drawing/2014/main" id="{E9685909-1D83-48E8-A0AA-824D9195FD3D}"/>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3" name="Graphic 4">
              <a:extLst>
                <a:ext uri="{FF2B5EF4-FFF2-40B4-BE49-F238E27FC236}">
                  <a16:creationId xmlns:a16="http://schemas.microsoft.com/office/drawing/2014/main" id="{BAF8A2F5-9759-7D1B-B764-9774F860A229}"/>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84" name="Graphic 4">
            <a:extLst>
              <a:ext uri="{FF2B5EF4-FFF2-40B4-BE49-F238E27FC236}">
                <a16:creationId xmlns:a16="http://schemas.microsoft.com/office/drawing/2014/main" id="{7892622E-4B38-D46C-986E-32C0D77D3DE3}"/>
              </a:ext>
            </a:extLst>
          </p:cNvPr>
          <p:cNvGrpSpPr>
            <a:grpSpLocks noChangeAspect="1"/>
          </p:cNvGrpSpPr>
          <p:nvPr/>
        </p:nvGrpSpPr>
        <p:grpSpPr>
          <a:xfrm>
            <a:off x="8318015" y="4794674"/>
            <a:ext cx="532389" cy="533773"/>
            <a:chOff x="467743" y="2371173"/>
            <a:chExt cx="361670" cy="362610"/>
          </a:xfrm>
          <a:solidFill>
            <a:srgbClr val="86BC23"/>
          </a:solidFill>
        </p:grpSpPr>
        <p:sp>
          <p:nvSpPr>
            <p:cNvPr id="85" name="Graphic 4">
              <a:extLst>
                <a:ext uri="{FF2B5EF4-FFF2-40B4-BE49-F238E27FC236}">
                  <a16:creationId xmlns:a16="http://schemas.microsoft.com/office/drawing/2014/main" id="{99EA65F6-43F7-8D79-A333-B5BFBFA5B3B1}"/>
                </a:ext>
              </a:extLst>
            </p:cNvPr>
            <p:cNvSpPr/>
            <p:nvPr/>
          </p:nvSpPr>
          <p:spPr>
            <a:xfrm>
              <a:off x="467743" y="2371173"/>
              <a:ext cx="361670" cy="362610"/>
            </a:xfrm>
            <a:custGeom>
              <a:avLst/>
              <a:gdLst>
                <a:gd name="connsiteX0" fmla="*/ 180835 w 361670"/>
                <a:gd name="connsiteY0" fmla="*/ 349204 h 362610"/>
                <a:gd name="connsiteX1" fmla="*/ 12780 w 361670"/>
                <a:gd name="connsiteY1" fmla="*/ 180667 h 362610"/>
                <a:gd name="connsiteX2" fmla="*/ 180835 w 361670"/>
                <a:gd name="connsiteY2" fmla="*/ 12130 h 362610"/>
                <a:gd name="connsiteX3" fmla="*/ 348891 w 361670"/>
                <a:gd name="connsiteY3" fmla="*/ 180667 h 362610"/>
                <a:gd name="connsiteX4" fmla="*/ 180835 w 361670"/>
                <a:gd name="connsiteY4" fmla="*/ 349204 h 362610"/>
                <a:gd name="connsiteX5" fmla="*/ 180835 w 361670"/>
                <a:gd name="connsiteY5" fmla="*/ 0 h 362610"/>
                <a:gd name="connsiteX6" fmla="*/ 0 w 361670"/>
                <a:gd name="connsiteY6" fmla="*/ 181305 h 362610"/>
                <a:gd name="connsiteX7" fmla="*/ 180835 w 361670"/>
                <a:gd name="connsiteY7" fmla="*/ 362610 h 362610"/>
                <a:gd name="connsiteX8" fmla="*/ 361670 w 361670"/>
                <a:gd name="connsiteY8" fmla="*/ 181305 h 362610"/>
                <a:gd name="connsiteX9" fmla="*/ 361670 w 361670"/>
                <a:gd name="connsiteY9" fmla="*/ 181305 h 362610"/>
                <a:gd name="connsiteX10" fmla="*/ 180835 w 361670"/>
                <a:gd name="connsiteY10" fmla="*/ 0 h 362610"/>
                <a:gd name="connsiteX11" fmla="*/ 180835 w 361670"/>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6" name="Graphic 4">
              <a:extLst>
                <a:ext uri="{FF2B5EF4-FFF2-40B4-BE49-F238E27FC236}">
                  <a16:creationId xmlns:a16="http://schemas.microsoft.com/office/drawing/2014/main" id="{D3D863E4-696B-5A6D-CF5A-24181B1AF709}"/>
                </a:ext>
              </a:extLst>
            </p:cNvPr>
            <p:cNvSpPr/>
            <p:nvPr/>
          </p:nvSpPr>
          <p:spPr>
            <a:xfrm>
              <a:off x="544800" y="2440759"/>
              <a:ext cx="206277" cy="222800"/>
            </a:xfrm>
            <a:custGeom>
              <a:avLst/>
              <a:gdLst>
                <a:gd name="connsiteX0" fmla="*/ 170872 w 206277"/>
                <a:gd name="connsiteY0" fmla="*/ 112996 h 222800"/>
                <a:gd name="connsiteX1" fmla="*/ 147869 w 206277"/>
                <a:gd name="connsiteY1" fmla="*/ 129595 h 222800"/>
                <a:gd name="connsiteX2" fmla="*/ 161926 w 206277"/>
                <a:gd name="connsiteY2" fmla="*/ 52987 h 222800"/>
                <a:gd name="connsiteX3" fmla="*/ 190681 w 206277"/>
                <a:gd name="connsiteY3" fmla="*/ 56179 h 222800"/>
                <a:gd name="connsiteX4" fmla="*/ 170872 w 206277"/>
                <a:gd name="connsiteY4" fmla="*/ 112996 h 222800"/>
                <a:gd name="connsiteX5" fmla="*/ 103778 w 206277"/>
                <a:gd name="connsiteY5" fmla="*/ 158323 h 222800"/>
                <a:gd name="connsiteX6" fmla="*/ 85886 w 206277"/>
                <a:gd name="connsiteY6" fmla="*/ 150024 h 222800"/>
                <a:gd name="connsiteX7" fmla="*/ 57770 w 206277"/>
                <a:gd name="connsiteY7" fmla="*/ 13406 h 222800"/>
                <a:gd name="connsiteX8" fmla="*/ 149786 w 206277"/>
                <a:gd name="connsiteY8" fmla="*/ 13406 h 222800"/>
                <a:gd name="connsiteX9" fmla="*/ 121670 w 206277"/>
                <a:gd name="connsiteY9" fmla="*/ 150024 h 222800"/>
                <a:gd name="connsiteX10" fmla="*/ 103778 w 206277"/>
                <a:gd name="connsiteY10" fmla="*/ 158323 h 222800"/>
                <a:gd name="connsiteX11" fmla="*/ 90998 w 206277"/>
                <a:gd name="connsiteY11" fmla="*/ 210033 h 222800"/>
                <a:gd name="connsiteX12" fmla="*/ 103778 w 206277"/>
                <a:gd name="connsiteY12" fmla="*/ 180667 h 222800"/>
                <a:gd name="connsiteX13" fmla="*/ 116558 w 206277"/>
                <a:gd name="connsiteY13" fmla="*/ 210033 h 222800"/>
                <a:gd name="connsiteX14" fmla="*/ 90998 w 206277"/>
                <a:gd name="connsiteY14" fmla="*/ 210033 h 222800"/>
                <a:gd name="connsiteX15" fmla="*/ 36684 w 206277"/>
                <a:gd name="connsiteY15" fmla="*/ 112996 h 222800"/>
                <a:gd name="connsiteX16" fmla="*/ 17514 w 206277"/>
                <a:gd name="connsiteY16" fmla="*/ 55541 h 222800"/>
                <a:gd name="connsiteX17" fmla="*/ 46269 w 206277"/>
                <a:gd name="connsiteY17" fmla="*/ 52349 h 222800"/>
                <a:gd name="connsiteX18" fmla="*/ 60326 w 206277"/>
                <a:gd name="connsiteY18" fmla="*/ 129595 h 222800"/>
                <a:gd name="connsiteX19" fmla="*/ 36684 w 206277"/>
                <a:gd name="connsiteY19" fmla="*/ 112996 h 222800"/>
                <a:gd name="connsiteX20" fmla="*/ 162565 w 206277"/>
                <a:gd name="connsiteY20" fmla="*/ 39581 h 222800"/>
                <a:gd name="connsiteX21" fmla="*/ 162565 w 206277"/>
                <a:gd name="connsiteY21" fmla="*/ 6384 h 222800"/>
                <a:gd name="connsiteX22" fmla="*/ 156175 w 206277"/>
                <a:gd name="connsiteY22" fmla="*/ 0 h 222800"/>
                <a:gd name="connsiteX23" fmla="*/ 51381 w 206277"/>
                <a:gd name="connsiteY23" fmla="*/ 0 h 222800"/>
                <a:gd name="connsiteX24" fmla="*/ 44991 w 206277"/>
                <a:gd name="connsiteY24" fmla="*/ 6384 h 222800"/>
                <a:gd name="connsiteX25" fmla="*/ 44991 w 206277"/>
                <a:gd name="connsiteY25" fmla="*/ 39581 h 222800"/>
                <a:gd name="connsiteX26" fmla="*/ 7929 w 206277"/>
                <a:gd name="connsiteY26" fmla="*/ 47241 h 222800"/>
                <a:gd name="connsiteX27" fmla="*/ 27738 w 206277"/>
                <a:gd name="connsiteY27" fmla="*/ 122572 h 222800"/>
                <a:gd name="connsiteX28" fmla="*/ 67994 w 206277"/>
                <a:gd name="connsiteY28" fmla="*/ 147470 h 222800"/>
                <a:gd name="connsiteX29" fmla="*/ 76301 w 206277"/>
                <a:gd name="connsiteY29" fmla="*/ 158323 h 222800"/>
                <a:gd name="connsiteX30" fmla="*/ 94193 w 206277"/>
                <a:gd name="connsiteY30" fmla="*/ 169176 h 222800"/>
                <a:gd name="connsiteX31" fmla="*/ 75023 w 206277"/>
                <a:gd name="connsiteY31" fmla="*/ 213863 h 222800"/>
                <a:gd name="connsiteX32" fmla="*/ 78218 w 206277"/>
                <a:gd name="connsiteY32" fmla="*/ 222163 h 222800"/>
                <a:gd name="connsiteX33" fmla="*/ 80774 w 206277"/>
                <a:gd name="connsiteY33" fmla="*/ 222801 h 222800"/>
                <a:gd name="connsiteX34" fmla="*/ 125504 w 206277"/>
                <a:gd name="connsiteY34" fmla="*/ 222801 h 222800"/>
                <a:gd name="connsiteX35" fmla="*/ 130616 w 206277"/>
                <a:gd name="connsiteY35" fmla="*/ 219609 h 222800"/>
                <a:gd name="connsiteX36" fmla="*/ 131255 w 206277"/>
                <a:gd name="connsiteY36" fmla="*/ 213225 h 222800"/>
                <a:gd name="connsiteX37" fmla="*/ 112085 w 206277"/>
                <a:gd name="connsiteY37" fmla="*/ 168537 h 222800"/>
                <a:gd name="connsiteX38" fmla="*/ 129977 w 206277"/>
                <a:gd name="connsiteY38" fmla="*/ 157684 h 222800"/>
                <a:gd name="connsiteX39" fmla="*/ 138284 w 206277"/>
                <a:gd name="connsiteY39" fmla="*/ 146193 h 222800"/>
                <a:gd name="connsiteX40" fmla="*/ 178540 w 206277"/>
                <a:gd name="connsiteY40" fmla="*/ 121934 h 222800"/>
                <a:gd name="connsiteX41" fmla="*/ 198349 w 206277"/>
                <a:gd name="connsiteY41" fmla="*/ 46603 h 222800"/>
                <a:gd name="connsiteX42" fmla="*/ 162565 w 206277"/>
                <a:gd name="connsiteY42" fmla="*/ 39581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277" h="222800">
                  <a:moveTo>
                    <a:pt x="170872" y="112996"/>
                  </a:moveTo>
                  <a:cubicBezTo>
                    <a:pt x="163843" y="119380"/>
                    <a:pt x="156175" y="125126"/>
                    <a:pt x="147869" y="129595"/>
                  </a:cubicBezTo>
                  <a:cubicBezTo>
                    <a:pt x="156175" y="104697"/>
                    <a:pt x="160648" y="79161"/>
                    <a:pt x="161926" y="52987"/>
                  </a:cubicBezTo>
                  <a:cubicBezTo>
                    <a:pt x="174706" y="49157"/>
                    <a:pt x="184930" y="49795"/>
                    <a:pt x="190681" y="56179"/>
                  </a:cubicBezTo>
                  <a:cubicBezTo>
                    <a:pt x="200905" y="67032"/>
                    <a:pt x="191959" y="93206"/>
                    <a:pt x="170872" y="112996"/>
                  </a:cubicBezTo>
                  <a:moveTo>
                    <a:pt x="103778" y="158323"/>
                  </a:moveTo>
                  <a:cubicBezTo>
                    <a:pt x="96749" y="158323"/>
                    <a:pt x="90359" y="155131"/>
                    <a:pt x="85886" y="150024"/>
                  </a:cubicBezTo>
                  <a:cubicBezTo>
                    <a:pt x="59048" y="121934"/>
                    <a:pt x="57770" y="37027"/>
                    <a:pt x="57770" y="13406"/>
                  </a:cubicBezTo>
                  <a:lnTo>
                    <a:pt x="149786" y="13406"/>
                  </a:lnTo>
                  <a:cubicBezTo>
                    <a:pt x="149786" y="37027"/>
                    <a:pt x="148508" y="121934"/>
                    <a:pt x="121670" y="150024"/>
                  </a:cubicBezTo>
                  <a:cubicBezTo>
                    <a:pt x="117836" y="155131"/>
                    <a:pt x="110807" y="157684"/>
                    <a:pt x="103778" y="158323"/>
                  </a:cubicBezTo>
                  <a:moveTo>
                    <a:pt x="90998" y="210033"/>
                  </a:moveTo>
                  <a:lnTo>
                    <a:pt x="103778" y="180667"/>
                  </a:lnTo>
                  <a:lnTo>
                    <a:pt x="116558" y="210033"/>
                  </a:lnTo>
                  <a:lnTo>
                    <a:pt x="90998" y="210033"/>
                  </a:lnTo>
                  <a:close/>
                  <a:moveTo>
                    <a:pt x="36684" y="112996"/>
                  </a:moveTo>
                  <a:cubicBezTo>
                    <a:pt x="15597" y="93206"/>
                    <a:pt x="6651" y="67032"/>
                    <a:pt x="17514" y="55541"/>
                  </a:cubicBezTo>
                  <a:cubicBezTo>
                    <a:pt x="23265" y="49795"/>
                    <a:pt x="33489" y="48518"/>
                    <a:pt x="46269" y="52349"/>
                  </a:cubicBezTo>
                  <a:cubicBezTo>
                    <a:pt x="47547" y="78523"/>
                    <a:pt x="52020" y="104697"/>
                    <a:pt x="60326" y="129595"/>
                  </a:cubicBezTo>
                  <a:cubicBezTo>
                    <a:pt x="52020" y="125126"/>
                    <a:pt x="43713" y="119380"/>
                    <a:pt x="36684" y="112996"/>
                  </a:cubicBezTo>
                  <a:moveTo>
                    <a:pt x="162565" y="39581"/>
                  </a:moveTo>
                  <a:cubicBezTo>
                    <a:pt x="163204" y="21067"/>
                    <a:pt x="162565" y="8299"/>
                    <a:pt x="162565" y="6384"/>
                  </a:cubicBezTo>
                  <a:cubicBezTo>
                    <a:pt x="162565" y="2554"/>
                    <a:pt x="160009" y="0"/>
                    <a:pt x="156175" y="0"/>
                  </a:cubicBezTo>
                  <a:lnTo>
                    <a:pt x="51381" y="0"/>
                  </a:lnTo>
                  <a:cubicBezTo>
                    <a:pt x="47547" y="0"/>
                    <a:pt x="44991" y="2554"/>
                    <a:pt x="44991" y="6384"/>
                  </a:cubicBezTo>
                  <a:cubicBezTo>
                    <a:pt x="44991" y="7661"/>
                    <a:pt x="44352" y="21067"/>
                    <a:pt x="44991" y="39581"/>
                  </a:cubicBezTo>
                  <a:cubicBezTo>
                    <a:pt x="29655" y="35750"/>
                    <a:pt x="16236" y="38304"/>
                    <a:pt x="7929" y="47241"/>
                  </a:cubicBezTo>
                  <a:cubicBezTo>
                    <a:pt x="-8046" y="64478"/>
                    <a:pt x="900" y="97675"/>
                    <a:pt x="27738" y="122572"/>
                  </a:cubicBezTo>
                  <a:cubicBezTo>
                    <a:pt x="39240" y="133425"/>
                    <a:pt x="53297" y="142363"/>
                    <a:pt x="67994" y="147470"/>
                  </a:cubicBezTo>
                  <a:cubicBezTo>
                    <a:pt x="70550" y="151300"/>
                    <a:pt x="73106" y="155131"/>
                    <a:pt x="76301" y="158323"/>
                  </a:cubicBezTo>
                  <a:cubicBezTo>
                    <a:pt x="81413" y="163430"/>
                    <a:pt x="87803" y="167260"/>
                    <a:pt x="94193" y="169176"/>
                  </a:cubicBezTo>
                  <a:lnTo>
                    <a:pt x="75023" y="213863"/>
                  </a:lnTo>
                  <a:cubicBezTo>
                    <a:pt x="73745" y="217055"/>
                    <a:pt x="75023" y="220886"/>
                    <a:pt x="78218" y="222163"/>
                  </a:cubicBezTo>
                  <a:cubicBezTo>
                    <a:pt x="78857" y="222801"/>
                    <a:pt x="80135" y="222801"/>
                    <a:pt x="80774" y="222801"/>
                  </a:cubicBezTo>
                  <a:lnTo>
                    <a:pt x="125504" y="222801"/>
                  </a:lnTo>
                  <a:cubicBezTo>
                    <a:pt x="127421" y="222801"/>
                    <a:pt x="129977" y="221524"/>
                    <a:pt x="130616" y="219609"/>
                  </a:cubicBezTo>
                  <a:cubicBezTo>
                    <a:pt x="131894" y="217694"/>
                    <a:pt x="131894" y="215140"/>
                    <a:pt x="131255" y="213225"/>
                  </a:cubicBezTo>
                  <a:lnTo>
                    <a:pt x="112085" y="168537"/>
                  </a:lnTo>
                  <a:cubicBezTo>
                    <a:pt x="119114" y="166622"/>
                    <a:pt x="125504" y="162792"/>
                    <a:pt x="129977" y="157684"/>
                  </a:cubicBezTo>
                  <a:cubicBezTo>
                    <a:pt x="133172" y="154492"/>
                    <a:pt x="136367" y="150662"/>
                    <a:pt x="138284" y="146193"/>
                  </a:cubicBezTo>
                  <a:cubicBezTo>
                    <a:pt x="152980" y="140448"/>
                    <a:pt x="167038" y="132148"/>
                    <a:pt x="178540" y="121934"/>
                  </a:cubicBezTo>
                  <a:cubicBezTo>
                    <a:pt x="205378" y="96398"/>
                    <a:pt x="214324" y="63201"/>
                    <a:pt x="198349" y="46603"/>
                  </a:cubicBezTo>
                  <a:cubicBezTo>
                    <a:pt x="190681" y="37665"/>
                    <a:pt x="177262" y="35112"/>
                    <a:pt x="162565" y="39581"/>
                  </a:cubicBezTo>
                </a:path>
              </a:pathLst>
            </a:custGeom>
            <a:grpFill/>
            <a:ln w="6390" cap="flat">
              <a:noFill/>
              <a:prstDash val="solid"/>
              <a:miter/>
            </a:ln>
          </p:spPr>
          <p:txBody>
            <a:bodyPr rtlCol="0" anchor="ct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87" name="Rectangle: Rounded Corners 86">
            <a:extLst>
              <a:ext uri="{FF2B5EF4-FFF2-40B4-BE49-F238E27FC236}">
                <a16:creationId xmlns:a16="http://schemas.microsoft.com/office/drawing/2014/main" id="{77A6CC01-519D-4BF6-D7BF-D1052026F281}"/>
              </a:ext>
            </a:extLst>
          </p:cNvPr>
          <p:cNvSpPr/>
          <p:nvPr/>
        </p:nvSpPr>
        <p:spPr bwMode="gray">
          <a:xfrm>
            <a:off x="8268760" y="5248231"/>
            <a:ext cx="3484563" cy="823314"/>
          </a:xfrm>
          <a:prstGeom prst="roundRect">
            <a:avLst>
              <a:gd name="adj" fmla="val 13522"/>
            </a:avLst>
          </a:prstGeom>
          <a:noFill/>
          <a:ln w="9525" algn="ctr">
            <a:noFill/>
            <a:miter lim="800000"/>
            <a:headEnd/>
            <a:tailEnd/>
          </a:ln>
        </p:spPr>
        <p:txBody>
          <a:bodyPr wrap="square" lIns="88900" tIns="88900" rIns="88900" bIns="88900" rtlCol="0" anchor="ctr"/>
          <a:lstStyle/>
          <a:p>
            <a:pPr defTabSz="914400" fontAlgn="auto">
              <a:lnSpc>
                <a:spcPct val="107000"/>
              </a:lnSpc>
              <a:spcBef>
                <a:spcPts val="0"/>
              </a:spcBef>
              <a:spcAft>
                <a:spcPts val="100"/>
              </a:spcAft>
              <a:defRPr/>
            </a:pP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2022 Gartner Magic Quadrant™ for </a:t>
            </a:r>
            <a:r>
              <a:rPr lang="en-US" sz="1400" b="1" dirty="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hlinkClick r:id="rId11">
                  <a:extLst>
                    <a:ext uri="{A12FA001-AC4F-418D-AE19-62706E023703}">
                      <ahyp:hlinkClr xmlns:ahyp="http://schemas.microsoft.com/office/drawing/2018/hyperlinkcolor" val="tx"/>
                    </a:ext>
                  </a:extLst>
                </a:hlinkClick>
              </a:rPr>
              <a:t>Custom Software Development Service</a:t>
            </a:r>
            <a:endParaRPr lang="en-US" sz="1400" b="1" dirty="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4667065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7D9A11-88BE-DE5B-BDE0-61D62CE3C4A1}"/>
              </a:ext>
            </a:extLst>
          </p:cNvPr>
          <p:cNvGraphicFramePr>
            <a:graphicFrameLocks noChangeAspect="1"/>
          </p:cNvGraphicFramePr>
          <p:nvPr>
            <p:custDataLst>
              <p:tags r:id="rId1"/>
            </p:custDataLst>
            <p:extLst>
              <p:ext uri="{D42A27DB-BD31-4B8C-83A1-F6EECF244321}">
                <p14:modId xmlns:p14="http://schemas.microsoft.com/office/powerpoint/2010/main" val="307532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A17D9A11-88BE-DE5B-BDE0-61D62CE3C4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Flowchart: Connector 50">
            <a:extLst>
              <a:ext uri="{FF2B5EF4-FFF2-40B4-BE49-F238E27FC236}">
                <a16:creationId xmlns:a16="http://schemas.microsoft.com/office/drawing/2014/main" id="{8BDA4048-6431-F563-7536-01407053F149}"/>
              </a:ext>
            </a:extLst>
          </p:cNvPr>
          <p:cNvSpPr>
            <a:spLocks/>
          </p:cNvSpPr>
          <p:nvPr/>
        </p:nvSpPr>
        <p:spPr bwMode="gray">
          <a:xfrm>
            <a:off x="-618646" y="1188357"/>
            <a:ext cx="2286000" cy="2288604"/>
          </a:xfrm>
          <a:prstGeom prst="flowChartConnector">
            <a:avLst/>
          </a:prstGeom>
          <a:solidFill>
            <a:srgbClr val="00B0F2">
              <a:alpha val="24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95C49613-A4A1-E703-865E-8D398E287651}"/>
              </a:ext>
            </a:extLst>
          </p:cNvPr>
          <p:cNvSpPr>
            <a:spLocks/>
          </p:cNvSpPr>
          <p:nvPr/>
        </p:nvSpPr>
        <p:spPr bwMode="gray">
          <a:xfrm>
            <a:off x="6889815" y="1693025"/>
            <a:ext cx="4528151" cy="4335155"/>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cxnSp>
        <p:nvCxnSpPr>
          <p:cNvPr id="24" name="Straight Connector 23">
            <a:extLst>
              <a:ext uri="{FF2B5EF4-FFF2-40B4-BE49-F238E27FC236}">
                <a16:creationId xmlns:a16="http://schemas.microsoft.com/office/drawing/2014/main" id="{868481B3-1372-4DB6-103F-14546A786E33}"/>
              </a:ext>
            </a:extLst>
          </p:cNvPr>
          <p:cNvCxnSpPr>
            <a:cxnSpLocks/>
          </p:cNvCxnSpPr>
          <p:nvPr/>
        </p:nvCxnSpPr>
        <p:spPr>
          <a:xfrm>
            <a:off x="911321" y="1456373"/>
            <a:ext cx="9918604"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6D8DD7AD-FA15-265B-4E39-5BB8C973BCC3}"/>
              </a:ext>
            </a:extLst>
          </p:cNvPr>
          <p:cNvSpPr>
            <a:spLocks/>
          </p:cNvSpPr>
          <p:nvPr/>
        </p:nvSpPr>
        <p:spPr bwMode="gray">
          <a:xfrm>
            <a:off x="1840010" y="1344893"/>
            <a:ext cx="4268944"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6" name="Rectangle 5">
            <a:extLst>
              <a:ext uri="{FF2B5EF4-FFF2-40B4-BE49-F238E27FC236}">
                <a16:creationId xmlns:a16="http://schemas.microsoft.com/office/drawing/2014/main" id="{EBE77A26-978A-A1C0-C0F0-8C515B732F46}"/>
              </a:ext>
            </a:extLst>
          </p:cNvPr>
          <p:cNvSpPr>
            <a:spLocks/>
          </p:cNvSpPr>
          <p:nvPr/>
        </p:nvSpPr>
        <p:spPr bwMode="gray">
          <a:xfrm>
            <a:off x="1819273" y="1686156"/>
            <a:ext cx="4289679" cy="4335154"/>
          </a:xfrm>
          <a:prstGeom prst="rect">
            <a:avLst/>
          </a:prstGeom>
          <a:solidFill>
            <a:srgbClr val="FFFFFF"/>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7" name="Text Placeholder 5">
            <a:extLst>
              <a:ext uri="{FF2B5EF4-FFF2-40B4-BE49-F238E27FC236}">
                <a16:creationId xmlns:a16="http://schemas.microsoft.com/office/drawing/2014/main" id="{A61A0DE9-C239-31D3-9798-FA7E9251912E}"/>
              </a:ext>
            </a:extLst>
          </p:cNvPr>
          <p:cNvSpPr txBox="1">
            <a:spLocks/>
          </p:cNvSpPr>
          <p:nvPr/>
        </p:nvSpPr>
        <p:spPr>
          <a:xfrm>
            <a:off x="1799211" y="1756336"/>
            <a:ext cx="4006558" cy="266822"/>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b="1" dirty="0">
                <a:solidFill>
                  <a:srgbClr val="00B0F2"/>
                </a:solidFill>
                <a:latin typeface="Open Sans"/>
                <a:cs typeface="Calibri Light"/>
              </a:rPr>
              <a:t>MAIN GOAL OF THE PROGRAM</a:t>
            </a:r>
            <a:endParaRPr kumimoji="0" lang="en-US" sz="1100" b="1" i="0" u="none" strike="noStrike" kern="1200" cap="none" spc="0" normalizeH="0" baseline="0" dirty="0">
              <a:ln>
                <a:noFill/>
              </a:ln>
              <a:solidFill>
                <a:srgbClr val="00B0F2"/>
              </a:solidFill>
              <a:effectLst/>
              <a:uLnTx/>
              <a:uFillTx/>
              <a:latin typeface="Open Sans"/>
              <a:cs typeface="Calibri Light"/>
            </a:endParaRPr>
          </a:p>
        </p:txBody>
      </p:sp>
      <p:grpSp>
        <p:nvGrpSpPr>
          <p:cNvPr id="9" name="Graphic 4">
            <a:extLst>
              <a:ext uri="{FF2B5EF4-FFF2-40B4-BE49-F238E27FC236}">
                <a16:creationId xmlns:a16="http://schemas.microsoft.com/office/drawing/2014/main" id="{4F09D2AB-97A2-42AE-7804-73A18FBD6152}"/>
              </a:ext>
            </a:extLst>
          </p:cNvPr>
          <p:cNvGrpSpPr>
            <a:grpSpLocks/>
          </p:cNvGrpSpPr>
          <p:nvPr/>
        </p:nvGrpSpPr>
        <p:grpSpPr>
          <a:xfrm>
            <a:off x="5812889" y="1368475"/>
            <a:ext cx="231028" cy="230812"/>
            <a:chOff x="3607758" y="1893013"/>
            <a:chExt cx="362309" cy="361971"/>
          </a:xfrm>
          <a:solidFill>
            <a:srgbClr val="0097A9"/>
          </a:solidFill>
        </p:grpSpPr>
        <p:sp>
          <p:nvSpPr>
            <p:cNvPr id="10" name="Graphic 4">
              <a:extLst>
                <a:ext uri="{FF2B5EF4-FFF2-40B4-BE49-F238E27FC236}">
                  <a16:creationId xmlns:a16="http://schemas.microsoft.com/office/drawing/2014/main" id="{E7083D38-8503-2112-65D4-BA7234BD569B}"/>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1" name="Graphic 4">
              <a:extLst>
                <a:ext uri="{FF2B5EF4-FFF2-40B4-BE49-F238E27FC236}">
                  <a16:creationId xmlns:a16="http://schemas.microsoft.com/office/drawing/2014/main" id="{3BAADB84-879E-DEAD-37D0-8E9995399E55}"/>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12" name="Graphic 4">
              <a:extLst>
                <a:ext uri="{FF2B5EF4-FFF2-40B4-BE49-F238E27FC236}">
                  <a16:creationId xmlns:a16="http://schemas.microsoft.com/office/drawing/2014/main" id="{4F98A6CB-08CD-C976-595A-75650CCCCC05}"/>
                </a:ext>
              </a:extLst>
            </p:cNvPr>
            <p:cNvSpPr/>
            <p:nvPr/>
          </p:nvSpPr>
          <p:spPr>
            <a:xfrm>
              <a:off x="3668292" y="2014308"/>
              <a:ext cx="240682" cy="183858"/>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13" name="Rectangle: Rounded Corners 12">
            <a:extLst>
              <a:ext uri="{FF2B5EF4-FFF2-40B4-BE49-F238E27FC236}">
                <a16:creationId xmlns:a16="http://schemas.microsoft.com/office/drawing/2014/main" id="{446228F7-89D1-9C9E-C310-D8AF7064AE01}"/>
              </a:ext>
            </a:extLst>
          </p:cNvPr>
          <p:cNvSpPr>
            <a:spLocks/>
          </p:cNvSpPr>
          <p:nvPr/>
        </p:nvSpPr>
        <p:spPr bwMode="gray">
          <a:xfrm>
            <a:off x="1951988" y="1335368"/>
            <a:ext cx="3741964"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lang="en-US" sz="1100" dirty="0">
                <a:solidFill>
                  <a:srgbClr val="FFFFFF"/>
                </a:solidFill>
                <a:latin typeface="Open Sans Bold" panose="020B0806030504020204" pitchFamily="34" charset="0"/>
                <a:ea typeface="Open Sans Bold" panose="020B0806030504020204" pitchFamily="34" charset="0"/>
                <a:cs typeface="Open Sans Bold" panose="020B0806030504020204" pitchFamily="34" charset="0"/>
              </a:rPr>
              <a:t>COOPERATION WITH ROMAVERSITAS FOUNDATION</a:t>
            </a:r>
            <a:endParaRPr kumimoji="0" lang="en-US" sz="11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4" name="Text Placeholder 5">
            <a:extLst>
              <a:ext uri="{FF2B5EF4-FFF2-40B4-BE49-F238E27FC236}">
                <a16:creationId xmlns:a16="http://schemas.microsoft.com/office/drawing/2014/main" id="{0E240365-F6A1-87F8-8386-6F76C4CC2A3F}"/>
              </a:ext>
            </a:extLst>
          </p:cNvPr>
          <p:cNvSpPr txBox="1">
            <a:spLocks/>
          </p:cNvSpPr>
          <p:nvPr/>
        </p:nvSpPr>
        <p:spPr>
          <a:xfrm>
            <a:off x="2417223" y="3155459"/>
            <a:ext cx="3276729" cy="757541"/>
          </a:xfrm>
          <a:prstGeom prst="rect">
            <a:avLst/>
          </a:prstGeom>
          <a:noFill/>
        </p:spPr>
        <p:txBody>
          <a:bodyPr vert="horz" lIns="108000" tIns="0" rIns="108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sz="1000" b="1" dirty="0">
                <a:solidFill>
                  <a:srgbClr val="00B0F2"/>
                </a:solidFill>
                <a:latin typeface="Open Sans"/>
                <a:ea typeface="Open Sans"/>
                <a:cs typeface="Calibri Light"/>
              </a:rPr>
              <a:t>Labor market workshops for </a:t>
            </a:r>
            <a:r>
              <a:rPr lang="en-US" sz="1000" b="1" dirty="0" err="1">
                <a:solidFill>
                  <a:srgbClr val="00B0F2"/>
                </a:solidFill>
                <a:latin typeface="Open Sans"/>
                <a:ea typeface="Open Sans"/>
                <a:cs typeface="Calibri Light"/>
              </a:rPr>
              <a:t>Romaversitas</a:t>
            </a:r>
            <a:r>
              <a:rPr lang="en-US" sz="1000" b="1" dirty="0">
                <a:solidFill>
                  <a:srgbClr val="00B0F2"/>
                </a:solidFill>
                <a:latin typeface="Open Sans"/>
                <a:ea typeface="Open Sans"/>
                <a:cs typeface="Calibri Light"/>
              </a:rPr>
              <a:t> stakeholders and 32 interactive workshops for 582 participants across Hungary  </a:t>
            </a:r>
            <a:endParaRPr kumimoji="0" lang="en-US" sz="800" i="0" u="none" strike="noStrike" kern="1200" cap="none" spc="0" normalizeH="0" baseline="0" dirty="0">
              <a:ln>
                <a:noFill/>
              </a:ln>
              <a:solidFill>
                <a:srgbClr val="000000"/>
              </a:solidFill>
              <a:effectLst/>
              <a:uLnTx/>
              <a:uFillTx/>
              <a:latin typeface="Open Sans"/>
              <a:ea typeface="Open Sans"/>
              <a:cs typeface="Calibri Light"/>
            </a:endParaRPr>
          </a:p>
        </p:txBody>
      </p:sp>
      <p:sp>
        <p:nvSpPr>
          <p:cNvPr id="18" name="Title 1">
            <a:extLst>
              <a:ext uri="{FF2B5EF4-FFF2-40B4-BE49-F238E27FC236}">
                <a16:creationId xmlns:a16="http://schemas.microsoft.com/office/drawing/2014/main" id="{5411DE48-7AB2-B085-92BD-62F8FD554CA2}"/>
              </a:ext>
            </a:extLst>
          </p:cNvPr>
          <p:cNvSpPr txBox="1">
            <a:spLocks/>
          </p:cNvSpPr>
          <p:nvPr/>
        </p:nvSpPr>
        <p:spPr bwMode="gray">
          <a:xfrm>
            <a:off x="463294" y="417911"/>
            <a:ext cx="11728705" cy="586123"/>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2000" dirty="0"/>
              <a:t>In addition to cooperating with multiple external organizations like </a:t>
            </a:r>
            <a:r>
              <a:rPr lang="en-US" sz="2000" dirty="0" err="1"/>
              <a:t>Romaversitas</a:t>
            </a:r>
            <a:r>
              <a:rPr lang="en-US" sz="2000" dirty="0"/>
              <a:t>,</a:t>
            </a:r>
            <a:r>
              <a:rPr lang="hu-HU" sz="2000" dirty="0"/>
              <a:t> </a:t>
            </a:r>
            <a:r>
              <a:rPr lang="hu-HU" sz="2000" dirty="0" err="1"/>
              <a:t>at</a:t>
            </a:r>
            <a:r>
              <a:rPr lang="hu-HU" sz="2000" dirty="0"/>
              <a:t> </a:t>
            </a:r>
            <a:r>
              <a:rPr lang="hu-HU" sz="2000" dirty="0" err="1"/>
              <a:t>Deloitte</a:t>
            </a:r>
            <a:r>
              <a:rPr lang="hu-HU" sz="2000" dirty="0"/>
              <a:t> Hungary</a:t>
            </a:r>
            <a:r>
              <a:rPr lang="en-US" sz="2000" dirty="0"/>
              <a:t> we also place great emphasis on internal knowledge transfer initiatives CSR Club being one of them</a:t>
            </a:r>
          </a:p>
        </p:txBody>
      </p:sp>
      <p:sp>
        <p:nvSpPr>
          <p:cNvPr id="28" name="Rectangle: Rounded Corners 27">
            <a:extLst>
              <a:ext uri="{FF2B5EF4-FFF2-40B4-BE49-F238E27FC236}">
                <a16:creationId xmlns:a16="http://schemas.microsoft.com/office/drawing/2014/main" id="{44A581F6-5886-ED63-9C29-766587A2E77F}"/>
              </a:ext>
            </a:extLst>
          </p:cNvPr>
          <p:cNvSpPr>
            <a:spLocks/>
          </p:cNvSpPr>
          <p:nvPr/>
        </p:nvSpPr>
        <p:spPr bwMode="gray">
          <a:xfrm>
            <a:off x="6873087" y="1344893"/>
            <a:ext cx="4553355" cy="288689"/>
          </a:xfrm>
          <a:prstGeom prst="roundRect">
            <a:avLst/>
          </a:prstGeom>
          <a:solidFill>
            <a:srgbClr val="00B0F2"/>
          </a:solidFill>
          <a:ln w="19050" algn="ctr">
            <a:noFill/>
            <a:miter lim="800000"/>
            <a:headEnd/>
            <a:tailEnd/>
          </a:ln>
          <a:effectLst>
            <a:outerShdw blurRad="50800" dist="38100" dir="5400000" algn="t" rotWithShape="0">
              <a:prstClr val="black">
                <a:alpha val="20000"/>
              </a:prstClr>
            </a:outerShdw>
          </a:effectLst>
        </p:spPr>
        <p:txBody>
          <a:bodyPr wrap="square" lIns="0" tIns="0" rIns="0" bIns="0"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8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grpSp>
        <p:nvGrpSpPr>
          <p:cNvPr id="32" name="Graphic 4">
            <a:extLst>
              <a:ext uri="{FF2B5EF4-FFF2-40B4-BE49-F238E27FC236}">
                <a16:creationId xmlns:a16="http://schemas.microsoft.com/office/drawing/2014/main" id="{7EE26340-727B-29D6-2A76-E34FEE6AF612}"/>
              </a:ext>
            </a:extLst>
          </p:cNvPr>
          <p:cNvGrpSpPr>
            <a:grpSpLocks/>
          </p:cNvGrpSpPr>
          <p:nvPr/>
        </p:nvGrpSpPr>
        <p:grpSpPr>
          <a:xfrm>
            <a:off x="11123334" y="1368475"/>
            <a:ext cx="231028" cy="230812"/>
            <a:chOff x="3607758" y="1893013"/>
            <a:chExt cx="362309" cy="361971"/>
          </a:xfrm>
          <a:solidFill>
            <a:srgbClr val="0097A9"/>
          </a:solidFill>
        </p:grpSpPr>
        <p:sp>
          <p:nvSpPr>
            <p:cNvPr id="38" name="Graphic 4">
              <a:extLst>
                <a:ext uri="{FF2B5EF4-FFF2-40B4-BE49-F238E27FC236}">
                  <a16:creationId xmlns:a16="http://schemas.microsoft.com/office/drawing/2014/main" id="{2FC65799-0A49-B8E3-9912-D4D8D287D0CE}"/>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39" name="Graphic 4">
              <a:extLst>
                <a:ext uri="{FF2B5EF4-FFF2-40B4-BE49-F238E27FC236}">
                  <a16:creationId xmlns:a16="http://schemas.microsoft.com/office/drawing/2014/main" id="{D1A94A44-9E64-254D-B940-995E71A01C7B}"/>
                </a:ext>
              </a:extLst>
            </p:cNvPr>
            <p:cNvSpPr/>
            <p:nvPr/>
          </p:nvSpPr>
          <p:spPr>
            <a:xfrm>
              <a:off x="3751486"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sp>
          <p:nvSpPr>
            <p:cNvPr id="40" name="Graphic 4">
              <a:extLst>
                <a:ext uri="{FF2B5EF4-FFF2-40B4-BE49-F238E27FC236}">
                  <a16:creationId xmlns:a16="http://schemas.microsoft.com/office/drawing/2014/main" id="{E0D4FCE9-EEE6-1A7F-76AF-89D63C6E6452}"/>
                </a:ext>
              </a:extLst>
            </p:cNvPr>
            <p:cNvSpPr/>
            <p:nvPr/>
          </p:nvSpPr>
          <p:spPr>
            <a:xfrm>
              <a:off x="3668292" y="2014308"/>
              <a:ext cx="240682" cy="183858"/>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solidFill>
              <a:srgbClr val="FFFFFF"/>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Open Sans"/>
                <a:ea typeface="+mn-ea"/>
                <a:cs typeface="+mn-cs"/>
              </a:endParaRPr>
            </a:p>
          </p:txBody>
        </p:sp>
      </p:grpSp>
      <p:sp>
        <p:nvSpPr>
          <p:cNvPr id="33" name="Rectangle: Rounded Corners 32">
            <a:extLst>
              <a:ext uri="{FF2B5EF4-FFF2-40B4-BE49-F238E27FC236}">
                <a16:creationId xmlns:a16="http://schemas.microsoft.com/office/drawing/2014/main" id="{BB88BDF7-1424-69EC-DEA3-424CF747DE9E}"/>
              </a:ext>
            </a:extLst>
          </p:cNvPr>
          <p:cNvSpPr>
            <a:spLocks/>
          </p:cNvSpPr>
          <p:nvPr/>
        </p:nvSpPr>
        <p:spPr bwMode="gray">
          <a:xfrm>
            <a:off x="7017450" y="1335368"/>
            <a:ext cx="4378260" cy="290255"/>
          </a:xfrm>
          <a:prstGeom prst="roundRect">
            <a:avLst/>
          </a:prstGeom>
          <a:noFill/>
          <a:ln w="19050" algn="ctr">
            <a:noFill/>
            <a:miter lim="800000"/>
            <a:headEnd/>
            <a:tailEnd/>
          </a:ln>
          <a:effectLst/>
        </p:spPr>
        <p:txBody>
          <a:bodyPr wrap="square" lIns="0" tIns="0" rIns="0" bIns="0"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dirty="0">
                <a:ln>
                  <a:noFill/>
                </a:ln>
                <a:solidFill>
                  <a:srgbClr val="FFFFFF"/>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SR CLUB OF DELOITTE HUNGARY</a:t>
            </a:r>
          </a:p>
        </p:txBody>
      </p:sp>
      <p:sp>
        <p:nvSpPr>
          <p:cNvPr id="3" name="Text Placeholder 5">
            <a:extLst>
              <a:ext uri="{FF2B5EF4-FFF2-40B4-BE49-F238E27FC236}">
                <a16:creationId xmlns:a16="http://schemas.microsoft.com/office/drawing/2014/main" id="{4E7694C9-6EC1-88FC-7DD0-ED2E0E2DD158}"/>
              </a:ext>
            </a:extLst>
          </p:cNvPr>
          <p:cNvSpPr txBox="1">
            <a:spLocks/>
          </p:cNvSpPr>
          <p:nvPr/>
        </p:nvSpPr>
        <p:spPr>
          <a:xfrm>
            <a:off x="1808390" y="2621655"/>
            <a:ext cx="4289679" cy="383574"/>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sz="1000" dirty="0">
                <a:latin typeface="Open Sans"/>
                <a:cs typeface="Calibri Light"/>
              </a:rPr>
              <a:t>Provided venue for the student training days of the association in the Budapest Office and held group mentoring for participating students</a:t>
            </a:r>
            <a:endParaRPr kumimoji="0" lang="en-US" sz="1000" i="0" u="none" strike="noStrike" kern="1200" cap="none" spc="0" normalizeH="0" baseline="0" dirty="0">
              <a:ln>
                <a:noFill/>
              </a:ln>
              <a:effectLst/>
              <a:uLnTx/>
              <a:uFillTx/>
              <a:latin typeface="Open Sans"/>
              <a:cs typeface="Calibri Light"/>
            </a:endParaRPr>
          </a:p>
        </p:txBody>
      </p:sp>
      <p:sp>
        <p:nvSpPr>
          <p:cNvPr id="26" name="Text Placeholder 5">
            <a:extLst>
              <a:ext uri="{FF2B5EF4-FFF2-40B4-BE49-F238E27FC236}">
                <a16:creationId xmlns:a16="http://schemas.microsoft.com/office/drawing/2014/main" id="{891EB778-0F27-A7C1-90EB-1E98527FCD07}"/>
              </a:ext>
            </a:extLst>
          </p:cNvPr>
          <p:cNvSpPr txBox="1">
            <a:spLocks/>
          </p:cNvSpPr>
          <p:nvPr/>
        </p:nvSpPr>
        <p:spPr>
          <a:xfrm>
            <a:off x="1865528" y="3819199"/>
            <a:ext cx="4230472" cy="1232246"/>
          </a:xfrm>
          <a:prstGeom prst="rect">
            <a:avLst/>
          </a:prstGeom>
          <a:noFill/>
        </p:spPr>
        <p:txBody>
          <a:bodyPr vert="horz" lIns="108000" tIns="0" rIns="108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dirty="0">
                <a:ln>
                  <a:noFill/>
                </a:ln>
                <a:solidFill>
                  <a:srgbClr val="00B0F2"/>
                </a:solidFill>
                <a:effectLst/>
                <a:uLnTx/>
                <a:uFillTx/>
                <a:latin typeface="Open Sans"/>
                <a:cs typeface="Calibri Light"/>
              </a:rPr>
              <a:t>Elements of the program</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dirty="0">
                <a:ln>
                  <a:noFill/>
                </a:ln>
                <a:solidFill>
                  <a:prstClr val="black"/>
                </a:solidFill>
                <a:effectLst/>
                <a:uLnTx/>
                <a:uFillTx/>
                <a:latin typeface="Open Sans"/>
                <a:cs typeface="Calibri Light"/>
              </a:rPr>
              <a:t>Deloitte provided labor market workshops for young Roma students from university and high school</a:t>
            </a:r>
            <a:endParaRPr lang="en-US" sz="1000" dirty="0">
              <a:solidFill>
                <a:prstClr val="black"/>
              </a:solidFill>
              <a:latin typeface="Open Sans"/>
              <a:cs typeface="Calibri Light"/>
            </a:endParaRP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dirty="0">
                <a:ln>
                  <a:noFill/>
                </a:ln>
                <a:solidFill>
                  <a:prstClr val="black"/>
                </a:solidFill>
                <a:effectLst/>
                <a:uLnTx/>
                <a:uFillTx/>
                <a:latin typeface="Open Sans"/>
                <a:cs typeface="Calibri Light"/>
              </a:rPr>
              <a:t>The university students then disseminated the knowledge gained in the workshops to disadvantaged, mainly Roma, young people across Hungary in the form of peer trainings</a:t>
            </a:r>
          </a:p>
        </p:txBody>
      </p:sp>
      <p:sp>
        <p:nvSpPr>
          <p:cNvPr id="27" name="Text Placeholder 5">
            <a:extLst>
              <a:ext uri="{FF2B5EF4-FFF2-40B4-BE49-F238E27FC236}">
                <a16:creationId xmlns:a16="http://schemas.microsoft.com/office/drawing/2014/main" id="{16641150-369F-AD9B-7088-6C14E6695433}"/>
              </a:ext>
            </a:extLst>
          </p:cNvPr>
          <p:cNvSpPr txBox="1">
            <a:spLocks/>
          </p:cNvSpPr>
          <p:nvPr/>
        </p:nvSpPr>
        <p:spPr>
          <a:xfrm>
            <a:off x="1799211" y="2422865"/>
            <a:ext cx="4006558" cy="266822"/>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dirty="0">
                <a:ln>
                  <a:noFill/>
                </a:ln>
                <a:solidFill>
                  <a:srgbClr val="00B0F2"/>
                </a:solidFill>
                <a:effectLst/>
                <a:uLnTx/>
                <a:uFillTx/>
                <a:latin typeface="Open Sans"/>
                <a:ea typeface="+mn-ea"/>
                <a:cs typeface="Calibri Light"/>
              </a:rPr>
              <a:t>Deloitte’s role</a:t>
            </a:r>
          </a:p>
        </p:txBody>
      </p:sp>
      <p:sp>
        <p:nvSpPr>
          <p:cNvPr id="42" name="TextBox 41">
            <a:extLst>
              <a:ext uri="{FF2B5EF4-FFF2-40B4-BE49-F238E27FC236}">
                <a16:creationId xmlns:a16="http://schemas.microsoft.com/office/drawing/2014/main" id="{6E0C4AD0-4AC0-12EB-73E7-9E7819E78417}"/>
              </a:ext>
            </a:extLst>
          </p:cNvPr>
          <p:cNvSpPr txBox="1"/>
          <p:nvPr/>
        </p:nvSpPr>
        <p:spPr>
          <a:xfrm>
            <a:off x="1847239" y="1906294"/>
            <a:ext cx="4090387" cy="553998"/>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Help young Romani students acquire academic degrees, strengthening their skills, while shaping their identity and empowering them to build resilient communities</a:t>
            </a:r>
          </a:p>
        </p:txBody>
      </p:sp>
      <p:grpSp>
        <p:nvGrpSpPr>
          <p:cNvPr id="52" name="Group 51">
            <a:extLst>
              <a:ext uri="{FF2B5EF4-FFF2-40B4-BE49-F238E27FC236}">
                <a16:creationId xmlns:a16="http://schemas.microsoft.com/office/drawing/2014/main" id="{595DF91B-84AC-6A94-CDAD-986447F826FB}"/>
              </a:ext>
            </a:extLst>
          </p:cNvPr>
          <p:cNvGrpSpPr/>
          <p:nvPr/>
        </p:nvGrpSpPr>
        <p:grpSpPr>
          <a:xfrm>
            <a:off x="455982" y="1196767"/>
            <a:ext cx="529202" cy="529198"/>
            <a:chOff x="1623278" y="3591104"/>
            <a:chExt cx="529202" cy="529198"/>
          </a:xfrm>
        </p:grpSpPr>
        <p:sp>
          <p:nvSpPr>
            <p:cNvPr id="53" name="Flowchart: Connector 52">
              <a:extLst>
                <a:ext uri="{FF2B5EF4-FFF2-40B4-BE49-F238E27FC236}">
                  <a16:creationId xmlns:a16="http://schemas.microsoft.com/office/drawing/2014/main" id="{7A1DBB50-708F-A675-4E51-5409F7D8FA79}"/>
                </a:ext>
              </a:extLst>
            </p:cNvPr>
            <p:cNvSpPr/>
            <p:nvPr/>
          </p:nvSpPr>
          <p:spPr bwMode="gray">
            <a:xfrm>
              <a:off x="1667072" y="3591104"/>
              <a:ext cx="458774" cy="529198"/>
            </a:xfrm>
            <a:prstGeom prst="flowChartConnector">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Graphic 4">
              <a:extLst>
                <a:ext uri="{FF2B5EF4-FFF2-40B4-BE49-F238E27FC236}">
                  <a16:creationId xmlns:a16="http://schemas.microsoft.com/office/drawing/2014/main" id="{575D99B2-E666-5F4B-C7D4-51B6274C8CBA}"/>
                </a:ext>
              </a:extLst>
            </p:cNvPr>
            <p:cNvSpPr/>
            <p:nvPr/>
          </p:nvSpPr>
          <p:spPr>
            <a:xfrm>
              <a:off x="1623278" y="3591104"/>
              <a:ext cx="529202" cy="529198"/>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1 w 361670"/>
                <a:gd name="connsiteY3" fmla="*/ 180667 h 361333"/>
                <a:gd name="connsiteX4" fmla="*/ 180836 w 361670"/>
                <a:gd name="connsiteY4" fmla="*/ 0 h 361333"/>
                <a:gd name="connsiteX5" fmla="*/ 138662 w 361670"/>
                <a:gd name="connsiteY5" fmla="*/ 102144 h 361333"/>
                <a:gd name="connsiteX6" fmla="*/ 161027 w 361670"/>
                <a:gd name="connsiteY6" fmla="*/ 92568 h 361333"/>
                <a:gd name="connsiteX7" fmla="*/ 181474 w 361670"/>
                <a:gd name="connsiteY7" fmla="*/ 99590 h 361333"/>
                <a:gd name="connsiteX8" fmla="*/ 201922 w 361670"/>
                <a:gd name="connsiteY8" fmla="*/ 92568 h 361333"/>
                <a:gd name="connsiteX9" fmla="*/ 223648 w 361670"/>
                <a:gd name="connsiteY9" fmla="*/ 102144 h 361333"/>
                <a:gd name="connsiteX10" fmla="*/ 223648 w 361670"/>
                <a:gd name="connsiteY10" fmla="*/ 148108 h 361333"/>
                <a:gd name="connsiteX11" fmla="*/ 193615 w 361670"/>
                <a:gd name="connsiteY11" fmla="*/ 179390 h 361333"/>
                <a:gd name="connsiteX12" fmla="*/ 181474 w 361670"/>
                <a:gd name="connsiteY12" fmla="*/ 186412 h 361333"/>
                <a:gd name="connsiteX13" fmla="*/ 181474 w 361670"/>
                <a:gd name="connsiteY13" fmla="*/ 186412 h 361333"/>
                <a:gd name="connsiteX14" fmla="*/ 169973 w 361670"/>
                <a:gd name="connsiteY14" fmla="*/ 180028 h 361333"/>
                <a:gd name="connsiteX15" fmla="*/ 139301 w 361670"/>
                <a:gd name="connsiteY15" fmla="*/ 147470 h 361333"/>
                <a:gd name="connsiteX16" fmla="*/ 138662 w 361670"/>
                <a:gd name="connsiteY16" fmla="*/ 102144 h 361333"/>
                <a:gd name="connsiteX17" fmla="*/ 294576 w 361670"/>
                <a:gd name="connsiteY17" fmla="*/ 240038 h 361333"/>
                <a:gd name="connsiteX18" fmla="*/ 278602 w 361670"/>
                <a:gd name="connsiteY18" fmla="*/ 261743 h 361333"/>
                <a:gd name="connsiteX19" fmla="*/ 239623 w 361670"/>
                <a:gd name="connsiteY19" fmla="*/ 289833 h 361333"/>
                <a:gd name="connsiteX20" fmla="*/ 230038 w 361670"/>
                <a:gd name="connsiteY20" fmla="*/ 303239 h 361333"/>
                <a:gd name="connsiteX21" fmla="*/ 223648 w 361670"/>
                <a:gd name="connsiteY21" fmla="*/ 308985 h 361333"/>
                <a:gd name="connsiteX22" fmla="*/ 223009 w 361670"/>
                <a:gd name="connsiteY22" fmla="*/ 308985 h 361333"/>
                <a:gd name="connsiteX23" fmla="*/ 217258 w 361670"/>
                <a:gd name="connsiteY23" fmla="*/ 301962 h 361333"/>
                <a:gd name="connsiteX24" fmla="*/ 231955 w 361670"/>
                <a:gd name="connsiteY24" fmla="*/ 278980 h 361333"/>
                <a:gd name="connsiteX25" fmla="*/ 270934 w 361670"/>
                <a:gd name="connsiteY25" fmla="*/ 250891 h 361333"/>
                <a:gd name="connsiteX26" fmla="*/ 282435 w 361670"/>
                <a:gd name="connsiteY26" fmla="*/ 235569 h 361333"/>
                <a:gd name="connsiteX27" fmla="*/ 298410 w 361670"/>
                <a:gd name="connsiteY27" fmla="*/ 191519 h 361333"/>
                <a:gd name="connsiteX28" fmla="*/ 299688 w 361670"/>
                <a:gd name="connsiteY28" fmla="*/ 180667 h 361333"/>
                <a:gd name="connsiteX29" fmla="*/ 295215 w 361670"/>
                <a:gd name="connsiteY29" fmla="*/ 121296 h 361333"/>
                <a:gd name="connsiteX30" fmla="*/ 292659 w 361670"/>
                <a:gd name="connsiteY30" fmla="*/ 121296 h 361333"/>
                <a:gd name="connsiteX31" fmla="*/ 288186 w 361670"/>
                <a:gd name="connsiteY31" fmla="*/ 127041 h 361333"/>
                <a:gd name="connsiteX32" fmla="*/ 282435 w 361670"/>
                <a:gd name="connsiteY32" fmla="*/ 176198 h 361333"/>
                <a:gd name="connsiteX33" fmla="*/ 292020 w 361670"/>
                <a:gd name="connsiteY33" fmla="*/ 181944 h 361333"/>
                <a:gd name="connsiteX34" fmla="*/ 288825 w 361670"/>
                <a:gd name="connsiteY34" fmla="*/ 200457 h 361333"/>
                <a:gd name="connsiteX35" fmla="*/ 270295 w 361670"/>
                <a:gd name="connsiteY35" fmla="*/ 224078 h 361333"/>
                <a:gd name="connsiteX36" fmla="*/ 256876 w 361670"/>
                <a:gd name="connsiteY36" fmla="*/ 234931 h 361333"/>
                <a:gd name="connsiteX37" fmla="*/ 234511 w 361670"/>
                <a:gd name="connsiteY37" fmla="*/ 245783 h 361333"/>
                <a:gd name="connsiteX38" fmla="*/ 226204 w 361670"/>
                <a:gd name="connsiteY38" fmla="*/ 243230 h 361333"/>
                <a:gd name="connsiteX39" fmla="*/ 228760 w 361670"/>
                <a:gd name="connsiteY39" fmla="*/ 234931 h 361333"/>
                <a:gd name="connsiteX40" fmla="*/ 251125 w 361670"/>
                <a:gd name="connsiteY40" fmla="*/ 224078 h 361333"/>
                <a:gd name="connsiteX41" fmla="*/ 260710 w 361670"/>
                <a:gd name="connsiteY41" fmla="*/ 216417 h 361333"/>
                <a:gd name="connsiteX42" fmla="*/ 279880 w 361670"/>
                <a:gd name="connsiteY42" fmla="*/ 192796 h 361333"/>
                <a:gd name="connsiteX43" fmla="*/ 282435 w 361670"/>
                <a:gd name="connsiteY43" fmla="*/ 189604 h 361333"/>
                <a:gd name="connsiteX44" fmla="*/ 269655 w 361670"/>
                <a:gd name="connsiteY44" fmla="*/ 189604 h 361333"/>
                <a:gd name="connsiteX45" fmla="*/ 247291 w 361670"/>
                <a:gd name="connsiteY45" fmla="*/ 206841 h 361333"/>
                <a:gd name="connsiteX46" fmla="*/ 242818 w 361670"/>
                <a:gd name="connsiteY46" fmla="*/ 208756 h 361333"/>
                <a:gd name="connsiteX47" fmla="*/ 235150 w 361670"/>
                <a:gd name="connsiteY47" fmla="*/ 209395 h 361333"/>
                <a:gd name="connsiteX48" fmla="*/ 191059 w 361670"/>
                <a:gd name="connsiteY48" fmla="*/ 247699 h 361333"/>
                <a:gd name="connsiteX49" fmla="*/ 187864 w 361670"/>
                <a:gd name="connsiteY49" fmla="*/ 275150 h 361333"/>
                <a:gd name="connsiteX50" fmla="*/ 181474 w 361670"/>
                <a:gd name="connsiteY50" fmla="*/ 281534 h 361333"/>
                <a:gd name="connsiteX51" fmla="*/ 181474 w 361670"/>
                <a:gd name="connsiteY51" fmla="*/ 281534 h 361333"/>
                <a:gd name="connsiteX52" fmla="*/ 181474 w 361670"/>
                <a:gd name="connsiteY52" fmla="*/ 281534 h 361333"/>
                <a:gd name="connsiteX53" fmla="*/ 175084 w 361670"/>
                <a:gd name="connsiteY53" fmla="*/ 275150 h 361333"/>
                <a:gd name="connsiteX54" fmla="*/ 171889 w 361670"/>
                <a:gd name="connsiteY54" fmla="*/ 247699 h 361333"/>
                <a:gd name="connsiteX55" fmla="*/ 127799 w 361670"/>
                <a:gd name="connsiteY55" fmla="*/ 209395 h 361333"/>
                <a:gd name="connsiteX56" fmla="*/ 120131 w 361670"/>
                <a:gd name="connsiteY56" fmla="*/ 208756 h 361333"/>
                <a:gd name="connsiteX57" fmla="*/ 115658 w 361670"/>
                <a:gd name="connsiteY57" fmla="*/ 206841 h 361333"/>
                <a:gd name="connsiteX58" fmla="*/ 93293 w 361670"/>
                <a:gd name="connsiteY58" fmla="*/ 189604 h 361333"/>
                <a:gd name="connsiteX59" fmla="*/ 79874 w 361670"/>
                <a:gd name="connsiteY59" fmla="*/ 189604 h 361333"/>
                <a:gd name="connsiteX60" fmla="*/ 81792 w 361670"/>
                <a:gd name="connsiteY60" fmla="*/ 192158 h 361333"/>
                <a:gd name="connsiteX61" fmla="*/ 100961 w 361670"/>
                <a:gd name="connsiteY61" fmla="*/ 216417 h 361333"/>
                <a:gd name="connsiteX62" fmla="*/ 110546 w 361670"/>
                <a:gd name="connsiteY62" fmla="*/ 224078 h 361333"/>
                <a:gd name="connsiteX63" fmla="*/ 132911 w 361670"/>
                <a:gd name="connsiteY63" fmla="*/ 234931 h 361333"/>
                <a:gd name="connsiteX64" fmla="*/ 135467 w 361670"/>
                <a:gd name="connsiteY64" fmla="*/ 243230 h 361333"/>
                <a:gd name="connsiteX65" fmla="*/ 127160 w 361670"/>
                <a:gd name="connsiteY65" fmla="*/ 245783 h 361333"/>
                <a:gd name="connsiteX66" fmla="*/ 104795 w 361670"/>
                <a:gd name="connsiteY66" fmla="*/ 234931 h 361333"/>
                <a:gd name="connsiteX67" fmla="*/ 91376 w 361670"/>
                <a:gd name="connsiteY67" fmla="*/ 224078 h 361333"/>
                <a:gd name="connsiteX68" fmla="*/ 72207 w 361670"/>
                <a:gd name="connsiteY68" fmla="*/ 200457 h 361333"/>
                <a:gd name="connsiteX69" fmla="*/ 69650 w 361670"/>
                <a:gd name="connsiteY69" fmla="*/ 181944 h 361333"/>
                <a:gd name="connsiteX70" fmla="*/ 79235 w 361670"/>
                <a:gd name="connsiteY70" fmla="*/ 176198 h 361333"/>
                <a:gd name="connsiteX71" fmla="*/ 73484 w 361670"/>
                <a:gd name="connsiteY71" fmla="*/ 127041 h 361333"/>
                <a:gd name="connsiteX72" fmla="*/ 69012 w 361670"/>
                <a:gd name="connsiteY72" fmla="*/ 121296 h 361333"/>
                <a:gd name="connsiteX73" fmla="*/ 66456 w 361670"/>
                <a:gd name="connsiteY73" fmla="*/ 120657 h 361333"/>
                <a:gd name="connsiteX74" fmla="*/ 61982 w 361670"/>
                <a:gd name="connsiteY74" fmla="*/ 180667 h 361333"/>
                <a:gd name="connsiteX75" fmla="*/ 63261 w 361670"/>
                <a:gd name="connsiteY75" fmla="*/ 191519 h 361333"/>
                <a:gd name="connsiteX76" fmla="*/ 79235 w 361670"/>
                <a:gd name="connsiteY76" fmla="*/ 235569 h 361333"/>
                <a:gd name="connsiteX77" fmla="*/ 90737 w 361670"/>
                <a:gd name="connsiteY77" fmla="*/ 250891 h 361333"/>
                <a:gd name="connsiteX78" fmla="*/ 129716 w 361670"/>
                <a:gd name="connsiteY78" fmla="*/ 278980 h 361333"/>
                <a:gd name="connsiteX79" fmla="*/ 144413 w 361670"/>
                <a:gd name="connsiteY79" fmla="*/ 301962 h 361333"/>
                <a:gd name="connsiteX80" fmla="*/ 138662 w 361670"/>
                <a:gd name="connsiteY80" fmla="*/ 308985 h 361333"/>
                <a:gd name="connsiteX81" fmla="*/ 138023 w 361670"/>
                <a:gd name="connsiteY81" fmla="*/ 308985 h 361333"/>
                <a:gd name="connsiteX82" fmla="*/ 131633 w 361670"/>
                <a:gd name="connsiteY82" fmla="*/ 303239 h 361333"/>
                <a:gd name="connsiteX83" fmla="*/ 122048 w 361670"/>
                <a:gd name="connsiteY83" fmla="*/ 289833 h 361333"/>
                <a:gd name="connsiteX84" fmla="*/ 83069 w 361670"/>
                <a:gd name="connsiteY84" fmla="*/ 261743 h 361333"/>
                <a:gd name="connsiteX85" fmla="*/ 67094 w 361670"/>
                <a:gd name="connsiteY85" fmla="*/ 240038 h 361333"/>
                <a:gd name="connsiteX86" fmla="*/ 51119 w 361670"/>
                <a:gd name="connsiteY86" fmla="*/ 195988 h 361333"/>
                <a:gd name="connsiteX87" fmla="*/ 48564 w 361670"/>
                <a:gd name="connsiteY87" fmla="*/ 180028 h 361333"/>
                <a:gd name="connsiteX88" fmla="*/ 53037 w 361670"/>
                <a:gd name="connsiteY88" fmla="*/ 120657 h 361333"/>
                <a:gd name="connsiteX89" fmla="*/ 65177 w 361670"/>
                <a:gd name="connsiteY89" fmla="*/ 108528 h 361333"/>
                <a:gd name="connsiteX90" fmla="*/ 85625 w 361670"/>
                <a:gd name="connsiteY90" fmla="*/ 124488 h 361333"/>
                <a:gd name="connsiteX91" fmla="*/ 85625 w 361670"/>
                <a:gd name="connsiteY91" fmla="*/ 125126 h 361333"/>
                <a:gd name="connsiteX92" fmla="*/ 91376 w 361670"/>
                <a:gd name="connsiteY92" fmla="*/ 176198 h 361333"/>
                <a:gd name="connsiteX93" fmla="*/ 98405 w 361670"/>
                <a:gd name="connsiteY93" fmla="*/ 178752 h 361333"/>
                <a:gd name="connsiteX94" fmla="*/ 122048 w 361670"/>
                <a:gd name="connsiteY94" fmla="*/ 195988 h 361333"/>
                <a:gd name="connsiteX95" fmla="*/ 128438 w 361670"/>
                <a:gd name="connsiteY95" fmla="*/ 196627 h 361333"/>
                <a:gd name="connsiteX96" fmla="*/ 181474 w 361670"/>
                <a:gd name="connsiteY96" fmla="*/ 237484 h 361333"/>
                <a:gd name="connsiteX97" fmla="*/ 234511 w 361670"/>
                <a:gd name="connsiteY97" fmla="*/ 196627 h 361333"/>
                <a:gd name="connsiteX98" fmla="*/ 240901 w 361670"/>
                <a:gd name="connsiteY98" fmla="*/ 195988 h 361333"/>
                <a:gd name="connsiteX99" fmla="*/ 264544 w 361670"/>
                <a:gd name="connsiteY99" fmla="*/ 178113 h 361333"/>
                <a:gd name="connsiteX100" fmla="*/ 270934 w 361670"/>
                <a:gd name="connsiteY100" fmla="*/ 176198 h 361333"/>
                <a:gd name="connsiteX101" fmla="*/ 276685 w 361670"/>
                <a:gd name="connsiteY101" fmla="*/ 125126 h 361333"/>
                <a:gd name="connsiteX102" fmla="*/ 276685 w 361670"/>
                <a:gd name="connsiteY102" fmla="*/ 124488 h 361333"/>
                <a:gd name="connsiteX103" fmla="*/ 297132 w 361670"/>
                <a:gd name="connsiteY103" fmla="*/ 108528 h 361333"/>
                <a:gd name="connsiteX104" fmla="*/ 309273 w 361670"/>
                <a:gd name="connsiteY104" fmla="*/ 120657 h 361333"/>
                <a:gd name="connsiteX105" fmla="*/ 313746 w 361670"/>
                <a:gd name="connsiteY105" fmla="*/ 180028 h 361333"/>
                <a:gd name="connsiteX106" fmla="*/ 311190 w 361670"/>
                <a:gd name="connsiteY106" fmla="*/ 195988 h 361333"/>
                <a:gd name="connsiteX107" fmla="*/ 294576 w 361670"/>
                <a:gd name="connsiteY107" fmla="*/ 240038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1" y="280257"/>
                    <a:pt x="361671" y="180667"/>
                  </a:cubicBezTo>
                  <a:cubicBezTo>
                    <a:pt x="361671" y="81077"/>
                    <a:pt x="280518" y="0"/>
                    <a:pt x="180836" y="0"/>
                  </a:cubicBezTo>
                  <a:close/>
                  <a:moveTo>
                    <a:pt x="138662" y="102144"/>
                  </a:moveTo>
                  <a:cubicBezTo>
                    <a:pt x="144413" y="95760"/>
                    <a:pt x="152720" y="92568"/>
                    <a:pt x="161027" y="92568"/>
                  </a:cubicBezTo>
                  <a:cubicBezTo>
                    <a:pt x="168056" y="92568"/>
                    <a:pt x="175084" y="94483"/>
                    <a:pt x="181474" y="99590"/>
                  </a:cubicBezTo>
                  <a:cubicBezTo>
                    <a:pt x="187225" y="94483"/>
                    <a:pt x="194893" y="92568"/>
                    <a:pt x="201922" y="92568"/>
                  </a:cubicBezTo>
                  <a:cubicBezTo>
                    <a:pt x="210229" y="92568"/>
                    <a:pt x="217897" y="96398"/>
                    <a:pt x="223648" y="102144"/>
                  </a:cubicBezTo>
                  <a:cubicBezTo>
                    <a:pt x="235789" y="114912"/>
                    <a:pt x="235789" y="135340"/>
                    <a:pt x="223648" y="148108"/>
                  </a:cubicBezTo>
                  <a:lnTo>
                    <a:pt x="193615" y="179390"/>
                  </a:lnTo>
                  <a:cubicBezTo>
                    <a:pt x="191059" y="182582"/>
                    <a:pt x="187225" y="186412"/>
                    <a:pt x="181474" y="186412"/>
                  </a:cubicBezTo>
                  <a:cubicBezTo>
                    <a:pt x="181474" y="186412"/>
                    <a:pt x="181474" y="186412"/>
                    <a:pt x="181474" y="186412"/>
                  </a:cubicBezTo>
                  <a:cubicBezTo>
                    <a:pt x="175723" y="186412"/>
                    <a:pt x="171889" y="182582"/>
                    <a:pt x="169973" y="180028"/>
                  </a:cubicBezTo>
                  <a:lnTo>
                    <a:pt x="139301" y="147470"/>
                  </a:lnTo>
                  <a:cubicBezTo>
                    <a:pt x="126521" y="135340"/>
                    <a:pt x="126521" y="114912"/>
                    <a:pt x="138662" y="102144"/>
                  </a:cubicBezTo>
                  <a:close/>
                  <a:moveTo>
                    <a:pt x="294576" y="240038"/>
                  </a:moveTo>
                  <a:cubicBezTo>
                    <a:pt x="291381" y="248975"/>
                    <a:pt x="285630" y="255998"/>
                    <a:pt x="278602" y="261743"/>
                  </a:cubicBezTo>
                  <a:lnTo>
                    <a:pt x="239623" y="289833"/>
                  </a:lnTo>
                  <a:cubicBezTo>
                    <a:pt x="233872" y="294302"/>
                    <a:pt x="230677" y="298770"/>
                    <a:pt x="230038" y="303239"/>
                  </a:cubicBezTo>
                  <a:cubicBezTo>
                    <a:pt x="230038" y="306431"/>
                    <a:pt x="226843" y="308985"/>
                    <a:pt x="223648" y="308985"/>
                  </a:cubicBezTo>
                  <a:cubicBezTo>
                    <a:pt x="223648" y="308985"/>
                    <a:pt x="223009" y="308985"/>
                    <a:pt x="223009" y="308985"/>
                  </a:cubicBezTo>
                  <a:cubicBezTo>
                    <a:pt x="219814" y="308346"/>
                    <a:pt x="216619" y="305793"/>
                    <a:pt x="217258" y="301962"/>
                  </a:cubicBezTo>
                  <a:cubicBezTo>
                    <a:pt x="217897" y="293025"/>
                    <a:pt x="223009" y="285364"/>
                    <a:pt x="231955" y="278980"/>
                  </a:cubicBezTo>
                  <a:lnTo>
                    <a:pt x="270934" y="250891"/>
                  </a:lnTo>
                  <a:cubicBezTo>
                    <a:pt x="276045" y="247060"/>
                    <a:pt x="280518" y="241315"/>
                    <a:pt x="282435" y="235569"/>
                  </a:cubicBezTo>
                  <a:lnTo>
                    <a:pt x="298410" y="191519"/>
                  </a:lnTo>
                  <a:cubicBezTo>
                    <a:pt x="299688" y="187689"/>
                    <a:pt x="300327" y="184497"/>
                    <a:pt x="299688" y="180667"/>
                  </a:cubicBezTo>
                  <a:lnTo>
                    <a:pt x="295215" y="121296"/>
                  </a:lnTo>
                  <a:cubicBezTo>
                    <a:pt x="295215" y="120657"/>
                    <a:pt x="293937" y="120657"/>
                    <a:pt x="292659" y="121296"/>
                  </a:cubicBezTo>
                  <a:cubicBezTo>
                    <a:pt x="291381" y="121934"/>
                    <a:pt x="289464" y="123211"/>
                    <a:pt x="288186" y="127041"/>
                  </a:cubicBezTo>
                  <a:lnTo>
                    <a:pt x="282435" y="176198"/>
                  </a:lnTo>
                  <a:cubicBezTo>
                    <a:pt x="286270" y="177475"/>
                    <a:pt x="290103" y="179390"/>
                    <a:pt x="292020" y="181944"/>
                  </a:cubicBezTo>
                  <a:cubicBezTo>
                    <a:pt x="293298" y="183859"/>
                    <a:pt x="297771" y="191519"/>
                    <a:pt x="288825" y="200457"/>
                  </a:cubicBezTo>
                  <a:lnTo>
                    <a:pt x="270295" y="224078"/>
                  </a:lnTo>
                  <a:cubicBezTo>
                    <a:pt x="266460" y="228547"/>
                    <a:pt x="261987" y="232377"/>
                    <a:pt x="256876" y="234931"/>
                  </a:cubicBezTo>
                  <a:lnTo>
                    <a:pt x="234511" y="245783"/>
                  </a:lnTo>
                  <a:cubicBezTo>
                    <a:pt x="231316" y="247699"/>
                    <a:pt x="227482" y="245783"/>
                    <a:pt x="226204" y="243230"/>
                  </a:cubicBezTo>
                  <a:cubicBezTo>
                    <a:pt x="224926" y="240038"/>
                    <a:pt x="226204" y="236207"/>
                    <a:pt x="228760" y="234931"/>
                  </a:cubicBezTo>
                  <a:lnTo>
                    <a:pt x="251125" y="224078"/>
                  </a:lnTo>
                  <a:cubicBezTo>
                    <a:pt x="254959" y="222163"/>
                    <a:pt x="258154" y="219609"/>
                    <a:pt x="260710" y="216417"/>
                  </a:cubicBezTo>
                  <a:lnTo>
                    <a:pt x="279880" y="192796"/>
                  </a:lnTo>
                  <a:cubicBezTo>
                    <a:pt x="281796" y="190881"/>
                    <a:pt x="282435" y="189604"/>
                    <a:pt x="282435" y="189604"/>
                  </a:cubicBezTo>
                  <a:cubicBezTo>
                    <a:pt x="281796" y="188966"/>
                    <a:pt x="274767" y="187051"/>
                    <a:pt x="269655" y="189604"/>
                  </a:cubicBezTo>
                  <a:cubicBezTo>
                    <a:pt x="262627" y="192796"/>
                    <a:pt x="254959" y="199819"/>
                    <a:pt x="247291" y="206841"/>
                  </a:cubicBezTo>
                  <a:cubicBezTo>
                    <a:pt x="246013" y="208118"/>
                    <a:pt x="244735" y="208756"/>
                    <a:pt x="242818" y="208756"/>
                  </a:cubicBezTo>
                  <a:cubicBezTo>
                    <a:pt x="242818" y="208756"/>
                    <a:pt x="239623" y="208756"/>
                    <a:pt x="235150" y="209395"/>
                  </a:cubicBezTo>
                  <a:cubicBezTo>
                    <a:pt x="214063" y="211310"/>
                    <a:pt x="196171" y="226631"/>
                    <a:pt x="191059" y="247699"/>
                  </a:cubicBezTo>
                  <a:cubicBezTo>
                    <a:pt x="188503" y="257275"/>
                    <a:pt x="187864" y="263659"/>
                    <a:pt x="187864" y="275150"/>
                  </a:cubicBezTo>
                  <a:cubicBezTo>
                    <a:pt x="187864" y="278980"/>
                    <a:pt x="185308" y="281534"/>
                    <a:pt x="181474" y="281534"/>
                  </a:cubicBezTo>
                  <a:cubicBezTo>
                    <a:pt x="181474" y="281534"/>
                    <a:pt x="181474" y="281534"/>
                    <a:pt x="181474" y="281534"/>
                  </a:cubicBezTo>
                  <a:cubicBezTo>
                    <a:pt x="181474" y="281534"/>
                    <a:pt x="181474" y="281534"/>
                    <a:pt x="181474" y="281534"/>
                  </a:cubicBezTo>
                  <a:cubicBezTo>
                    <a:pt x="177641" y="281534"/>
                    <a:pt x="175084" y="278980"/>
                    <a:pt x="175084" y="275150"/>
                  </a:cubicBezTo>
                  <a:cubicBezTo>
                    <a:pt x="175084" y="263020"/>
                    <a:pt x="174446" y="257275"/>
                    <a:pt x="171889" y="247699"/>
                  </a:cubicBezTo>
                  <a:cubicBezTo>
                    <a:pt x="166138" y="227270"/>
                    <a:pt x="148247" y="211948"/>
                    <a:pt x="127799" y="209395"/>
                  </a:cubicBezTo>
                  <a:cubicBezTo>
                    <a:pt x="123326" y="208756"/>
                    <a:pt x="120131" y="208756"/>
                    <a:pt x="120131" y="208756"/>
                  </a:cubicBezTo>
                  <a:cubicBezTo>
                    <a:pt x="118214" y="208756"/>
                    <a:pt x="116936" y="208118"/>
                    <a:pt x="115658" y="206841"/>
                  </a:cubicBezTo>
                  <a:cubicBezTo>
                    <a:pt x="107990" y="199819"/>
                    <a:pt x="100322" y="192796"/>
                    <a:pt x="93293" y="189604"/>
                  </a:cubicBezTo>
                  <a:cubicBezTo>
                    <a:pt x="87542" y="187051"/>
                    <a:pt x="81152" y="188327"/>
                    <a:pt x="79874" y="189604"/>
                  </a:cubicBezTo>
                  <a:cubicBezTo>
                    <a:pt x="79874" y="189604"/>
                    <a:pt x="80513" y="190243"/>
                    <a:pt x="81792" y="192158"/>
                  </a:cubicBezTo>
                  <a:lnTo>
                    <a:pt x="100961" y="216417"/>
                  </a:lnTo>
                  <a:cubicBezTo>
                    <a:pt x="103517" y="219609"/>
                    <a:pt x="106712" y="222163"/>
                    <a:pt x="110546" y="224078"/>
                  </a:cubicBezTo>
                  <a:lnTo>
                    <a:pt x="132911" y="234931"/>
                  </a:lnTo>
                  <a:cubicBezTo>
                    <a:pt x="136106" y="236207"/>
                    <a:pt x="137384" y="240038"/>
                    <a:pt x="135467" y="243230"/>
                  </a:cubicBezTo>
                  <a:cubicBezTo>
                    <a:pt x="134189" y="246422"/>
                    <a:pt x="130355" y="247699"/>
                    <a:pt x="127160" y="245783"/>
                  </a:cubicBezTo>
                  <a:lnTo>
                    <a:pt x="104795" y="234931"/>
                  </a:lnTo>
                  <a:cubicBezTo>
                    <a:pt x="99683" y="232377"/>
                    <a:pt x="94571" y="228547"/>
                    <a:pt x="91376" y="224078"/>
                  </a:cubicBezTo>
                  <a:lnTo>
                    <a:pt x="72207" y="200457"/>
                  </a:lnTo>
                  <a:cubicBezTo>
                    <a:pt x="63899" y="191519"/>
                    <a:pt x="67734" y="184497"/>
                    <a:pt x="69650" y="181944"/>
                  </a:cubicBezTo>
                  <a:cubicBezTo>
                    <a:pt x="71567" y="179390"/>
                    <a:pt x="75402" y="176836"/>
                    <a:pt x="79235" y="176198"/>
                  </a:cubicBezTo>
                  <a:lnTo>
                    <a:pt x="73484" y="127041"/>
                  </a:lnTo>
                  <a:cubicBezTo>
                    <a:pt x="72207" y="123211"/>
                    <a:pt x="70289" y="121934"/>
                    <a:pt x="69012" y="121296"/>
                  </a:cubicBezTo>
                  <a:cubicBezTo>
                    <a:pt x="67734" y="120657"/>
                    <a:pt x="67094" y="120657"/>
                    <a:pt x="66456" y="120657"/>
                  </a:cubicBezTo>
                  <a:lnTo>
                    <a:pt x="61982" y="180667"/>
                  </a:lnTo>
                  <a:cubicBezTo>
                    <a:pt x="61982" y="184497"/>
                    <a:pt x="61982" y="188327"/>
                    <a:pt x="63261" y="191519"/>
                  </a:cubicBezTo>
                  <a:lnTo>
                    <a:pt x="79235" y="235569"/>
                  </a:lnTo>
                  <a:cubicBezTo>
                    <a:pt x="81792" y="241953"/>
                    <a:pt x="85625" y="247060"/>
                    <a:pt x="90737" y="250891"/>
                  </a:cubicBezTo>
                  <a:lnTo>
                    <a:pt x="129716" y="278980"/>
                  </a:lnTo>
                  <a:cubicBezTo>
                    <a:pt x="138662" y="285364"/>
                    <a:pt x="143135" y="293025"/>
                    <a:pt x="144413" y="301962"/>
                  </a:cubicBezTo>
                  <a:cubicBezTo>
                    <a:pt x="145052" y="305154"/>
                    <a:pt x="141857" y="308346"/>
                    <a:pt x="138662" y="308985"/>
                  </a:cubicBezTo>
                  <a:cubicBezTo>
                    <a:pt x="138662" y="308985"/>
                    <a:pt x="138023" y="308985"/>
                    <a:pt x="138023" y="308985"/>
                  </a:cubicBezTo>
                  <a:cubicBezTo>
                    <a:pt x="134828" y="308985"/>
                    <a:pt x="132272" y="306431"/>
                    <a:pt x="131633" y="303239"/>
                  </a:cubicBezTo>
                  <a:cubicBezTo>
                    <a:pt x="130994" y="298132"/>
                    <a:pt x="127799" y="293663"/>
                    <a:pt x="122048" y="289833"/>
                  </a:cubicBezTo>
                  <a:lnTo>
                    <a:pt x="83069" y="261743"/>
                  </a:lnTo>
                  <a:cubicBezTo>
                    <a:pt x="75402" y="256636"/>
                    <a:pt x="70289" y="248975"/>
                    <a:pt x="67094" y="240038"/>
                  </a:cubicBezTo>
                  <a:lnTo>
                    <a:pt x="51119" y="195988"/>
                  </a:lnTo>
                  <a:cubicBezTo>
                    <a:pt x="49203" y="190881"/>
                    <a:pt x="48564" y="185135"/>
                    <a:pt x="48564" y="180028"/>
                  </a:cubicBezTo>
                  <a:lnTo>
                    <a:pt x="53037" y="120657"/>
                  </a:lnTo>
                  <a:cubicBezTo>
                    <a:pt x="53676" y="113635"/>
                    <a:pt x="58149" y="109166"/>
                    <a:pt x="65177" y="108528"/>
                  </a:cubicBezTo>
                  <a:cubicBezTo>
                    <a:pt x="72845" y="107889"/>
                    <a:pt x="82430" y="113635"/>
                    <a:pt x="85625" y="124488"/>
                  </a:cubicBezTo>
                  <a:cubicBezTo>
                    <a:pt x="85625" y="124488"/>
                    <a:pt x="85625" y="125126"/>
                    <a:pt x="85625" y="125126"/>
                  </a:cubicBezTo>
                  <a:lnTo>
                    <a:pt x="91376" y="176198"/>
                  </a:lnTo>
                  <a:cubicBezTo>
                    <a:pt x="93932" y="176836"/>
                    <a:pt x="95849" y="177475"/>
                    <a:pt x="98405" y="178752"/>
                  </a:cubicBezTo>
                  <a:cubicBezTo>
                    <a:pt x="106712" y="182582"/>
                    <a:pt x="114380" y="188966"/>
                    <a:pt x="122048" y="195988"/>
                  </a:cubicBezTo>
                  <a:cubicBezTo>
                    <a:pt x="123326" y="195988"/>
                    <a:pt x="125882" y="195988"/>
                    <a:pt x="128438" y="196627"/>
                  </a:cubicBezTo>
                  <a:cubicBezTo>
                    <a:pt x="152081" y="199180"/>
                    <a:pt x="172528" y="215140"/>
                    <a:pt x="181474" y="237484"/>
                  </a:cubicBezTo>
                  <a:cubicBezTo>
                    <a:pt x="190420" y="215140"/>
                    <a:pt x="210868" y="199180"/>
                    <a:pt x="234511" y="196627"/>
                  </a:cubicBezTo>
                  <a:cubicBezTo>
                    <a:pt x="237067" y="196627"/>
                    <a:pt x="239623" y="195988"/>
                    <a:pt x="240901" y="195988"/>
                  </a:cubicBezTo>
                  <a:cubicBezTo>
                    <a:pt x="248569" y="188966"/>
                    <a:pt x="256237" y="181944"/>
                    <a:pt x="264544" y="178113"/>
                  </a:cubicBezTo>
                  <a:cubicBezTo>
                    <a:pt x="266460" y="176836"/>
                    <a:pt x="269017" y="176198"/>
                    <a:pt x="270934" y="176198"/>
                  </a:cubicBezTo>
                  <a:lnTo>
                    <a:pt x="276685" y="125126"/>
                  </a:lnTo>
                  <a:cubicBezTo>
                    <a:pt x="276685" y="125126"/>
                    <a:pt x="276685" y="124488"/>
                    <a:pt x="276685" y="124488"/>
                  </a:cubicBezTo>
                  <a:cubicBezTo>
                    <a:pt x="279880" y="112996"/>
                    <a:pt x="289464" y="107889"/>
                    <a:pt x="297132" y="108528"/>
                  </a:cubicBezTo>
                  <a:cubicBezTo>
                    <a:pt x="303522" y="109166"/>
                    <a:pt x="307995" y="113635"/>
                    <a:pt x="309273" y="120657"/>
                  </a:cubicBezTo>
                  <a:lnTo>
                    <a:pt x="313746" y="180028"/>
                  </a:lnTo>
                  <a:cubicBezTo>
                    <a:pt x="314385" y="185774"/>
                    <a:pt x="313107" y="190881"/>
                    <a:pt x="311190" y="195988"/>
                  </a:cubicBezTo>
                  <a:lnTo>
                    <a:pt x="294576" y="240038"/>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dirty="0">
                <a:ln>
                  <a:noFill/>
                </a:ln>
                <a:solidFill>
                  <a:prstClr val="black"/>
                </a:solidFill>
                <a:effectLst/>
                <a:uLnTx/>
                <a:uFillTx/>
                <a:latin typeface="Open Sans"/>
                <a:ea typeface="+mn-ea"/>
                <a:cs typeface="+mn-cs"/>
              </a:endParaRPr>
            </a:p>
          </p:txBody>
        </p:sp>
      </p:grpSp>
      <p:sp>
        <p:nvSpPr>
          <p:cNvPr id="55" name="Text Placeholder 5">
            <a:extLst>
              <a:ext uri="{FF2B5EF4-FFF2-40B4-BE49-F238E27FC236}">
                <a16:creationId xmlns:a16="http://schemas.microsoft.com/office/drawing/2014/main" id="{3F550ABA-BE6A-B3B8-5F90-46AA98ED12E4}"/>
              </a:ext>
            </a:extLst>
          </p:cNvPr>
          <p:cNvSpPr txBox="1">
            <a:spLocks/>
          </p:cNvSpPr>
          <p:nvPr/>
        </p:nvSpPr>
        <p:spPr>
          <a:xfrm>
            <a:off x="388291" y="1844810"/>
            <a:ext cx="1443607" cy="292841"/>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b="1" spc="300" dirty="0">
                <a:solidFill>
                  <a:srgbClr val="00B0F2"/>
                </a:solidFill>
                <a:latin typeface="Open Sans" panose="020B0606030504020204" pitchFamily="34" charset="0"/>
                <a:ea typeface="Open Sans" panose="020B0606030504020204" pitchFamily="34" charset="0"/>
                <a:cs typeface="Open Sans" panose="020B0606030504020204" pitchFamily="34" charset="0"/>
              </a:rPr>
              <a:t>CSR</a:t>
            </a:r>
            <a:r>
              <a:rPr lang="en-US" sz="800" b="1" spc="300" dirty="0">
                <a:solidFill>
                  <a:srgbClr val="00B0F2"/>
                </a:solidFill>
                <a:latin typeface="Open Sans" panose="020B0606030504020204" pitchFamily="34" charset="0"/>
                <a:ea typeface="Open Sans" panose="020B0606030504020204" pitchFamily="34" charset="0"/>
                <a:cs typeface="Open Sans" panose="020B0606030504020204" pitchFamily="34" charset="0"/>
              </a:rPr>
              <a:t> </a:t>
            </a:r>
            <a:r>
              <a:rPr lang="en-US" b="1" spc="300" dirty="0">
                <a:solidFill>
                  <a:srgbClr val="00B0F2"/>
                </a:solidFill>
                <a:latin typeface="Open Sans" panose="020B0606030504020204" pitchFamily="34" charset="0"/>
                <a:ea typeface="Open Sans" panose="020B0606030504020204" pitchFamily="34" charset="0"/>
                <a:cs typeface="Open Sans" panose="020B0606030504020204" pitchFamily="34" charset="0"/>
              </a:rPr>
              <a:t>INITIATIVES</a:t>
            </a:r>
          </a:p>
          <a:p>
            <a:r>
              <a:rPr lang="en-US" b="1" spc="300" dirty="0">
                <a:latin typeface="Open Sans" panose="020B0606030504020204" pitchFamily="34" charset="0"/>
                <a:ea typeface="Open Sans" panose="020B0606030504020204" pitchFamily="34" charset="0"/>
                <a:cs typeface="Open Sans" panose="020B0606030504020204" pitchFamily="34" charset="0"/>
              </a:rPr>
              <a:t>DEEPDIVE</a:t>
            </a:r>
          </a:p>
        </p:txBody>
      </p:sp>
      <p:grpSp>
        <p:nvGrpSpPr>
          <p:cNvPr id="56" name="Group 55">
            <a:extLst>
              <a:ext uri="{FF2B5EF4-FFF2-40B4-BE49-F238E27FC236}">
                <a16:creationId xmlns:a16="http://schemas.microsoft.com/office/drawing/2014/main" id="{50BF8F71-EF0D-1D09-0ECB-D93DB3BEDD4C}"/>
              </a:ext>
            </a:extLst>
          </p:cNvPr>
          <p:cNvGrpSpPr/>
          <p:nvPr/>
        </p:nvGrpSpPr>
        <p:grpSpPr>
          <a:xfrm>
            <a:off x="54117" y="2776682"/>
            <a:ext cx="1244714" cy="1340640"/>
            <a:chOff x="313485" y="4509531"/>
            <a:chExt cx="1058295" cy="1139858"/>
          </a:xfrm>
        </p:grpSpPr>
        <p:sp>
          <p:nvSpPr>
            <p:cNvPr id="57" name="Freeform: Shape 56">
              <a:extLst>
                <a:ext uri="{FF2B5EF4-FFF2-40B4-BE49-F238E27FC236}">
                  <a16:creationId xmlns:a16="http://schemas.microsoft.com/office/drawing/2014/main" id="{2041F3D9-1AC3-F464-BE6D-A146897359CD}"/>
                </a:ext>
              </a:extLst>
            </p:cNvPr>
            <p:cNvSpPr/>
            <p:nvPr/>
          </p:nvSpPr>
          <p:spPr bwMode="gray">
            <a:xfrm>
              <a:off x="313485" y="4682039"/>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dirty="0"/>
            </a:p>
          </p:txBody>
        </p:sp>
        <p:cxnSp>
          <p:nvCxnSpPr>
            <p:cNvPr id="58" name="Straight Connector 57">
              <a:extLst>
                <a:ext uri="{FF2B5EF4-FFF2-40B4-BE49-F238E27FC236}">
                  <a16:creationId xmlns:a16="http://schemas.microsoft.com/office/drawing/2014/main" id="{FE44D707-397B-9C15-4F59-DE14F6A9DB1F}"/>
                </a:ext>
              </a:extLst>
            </p:cNvPr>
            <p:cNvCxnSpPr/>
            <p:nvPr/>
          </p:nvCxnSpPr>
          <p:spPr>
            <a:xfrm flipV="1">
              <a:off x="791851" y="4509531"/>
              <a:ext cx="0" cy="5053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789ACF55-92FE-DA1B-F1FA-16BF8F682B48}"/>
                </a:ext>
              </a:extLst>
            </p:cNvPr>
            <p:cNvSpPr/>
            <p:nvPr/>
          </p:nvSpPr>
          <p:spPr bwMode="gray">
            <a:xfrm>
              <a:off x="742123" y="4981282"/>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60" name="Rectangle 59">
              <a:extLst>
                <a:ext uri="{FF2B5EF4-FFF2-40B4-BE49-F238E27FC236}">
                  <a16:creationId xmlns:a16="http://schemas.microsoft.com/office/drawing/2014/main" id="{15C2D0D9-39F0-78B7-A898-C69D42A6BA00}"/>
                </a:ext>
              </a:extLst>
            </p:cNvPr>
            <p:cNvSpPr/>
            <p:nvPr/>
          </p:nvSpPr>
          <p:spPr>
            <a:xfrm>
              <a:off x="465774" y="5074944"/>
              <a:ext cx="906006" cy="15700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a:t>
              </a:r>
              <a:r>
                <a:rPr lang="en-US" sz="600" i="1" spc="300" dirty="0">
                  <a:latin typeface="Open Sans"/>
                </a:rPr>
                <a:t>T</a:t>
              </a:r>
              <a:endParaRPr kumimoji="0" lang="en-US" sz="600" i="1" u="none" strike="noStrike" kern="1200" cap="none" spc="300" normalizeH="0" baseline="0" dirty="0">
                <a:ln>
                  <a:noFill/>
                </a:ln>
                <a:effectLst/>
                <a:uLnTx/>
                <a:uFillTx/>
                <a:latin typeface="Open Sans"/>
              </a:endParaRPr>
            </a:p>
          </p:txBody>
        </p:sp>
        <p:pic>
          <p:nvPicPr>
            <p:cNvPr id="61" name="Picture 4" descr="Hungary Large Flag | Gallery Yopriceville - High-Quality Free Images ...">
              <a:extLst>
                <a:ext uri="{FF2B5EF4-FFF2-40B4-BE49-F238E27FC236}">
                  <a16:creationId xmlns:a16="http://schemas.microsoft.com/office/drawing/2014/main" id="{2BAC0974-FF0C-779B-B2FA-E79245AECCF8}"/>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89759" y="451244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2" name="Text Placeholder 5">
            <a:extLst>
              <a:ext uri="{FF2B5EF4-FFF2-40B4-BE49-F238E27FC236}">
                <a16:creationId xmlns:a16="http://schemas.microsoft.com/office/drawing/2014/main" id="{0A867C23-CC9E-2DC3-3F74-11AE1438FCE4}"/>
              </a:ext>
            </a:extLst>
          </p:cNvPr>
          <p:cNvSpPr txBox="1">
            <a:spLocks/>
          </p:cNvSpPr>
          <p:nvPr/>
        </p:nvSpPr>
        <p:spPr>
          <a:xfrm>
            <a:off x="6877441" y="1756336"/>
            <a:ext cx="4006558" cy="266822"/>
          </a:xfrm>
          <a:prstGeom prst="rect">
            <a:avLst/>
          </a:prstGeom>
          <a:noFill/>
        </p:spPr>
        <p:txBody>
          <a:bodyPr vert="horz" lIns="144000" tIns="0" rIns="144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b="1" dirty="0">
                <a:solidFill>
                  <a:srgbClr val="00B0F2"/>
                </a:solidFill>
                <a:latin typeface="Open Sans"/>
                <a:cs typeface="Calibri Light"/>
              </a:rPr>
              <a:t>MAIN GOAL OF THE PROGRAM</a:t>
            </a:r>
            <a:endParaRPr kumimoji="0" lang="en-US" sz="1100" b="1" i="0" u="none" strike="noStrike" kern="1200" cap="none" spc="0" normalizeH="0" baseline="0" dirty="0">
              <a:ln>
                <a:noFill/>
              </a:ln>
              <a:solidFill>
                <a:srgbClr val="00B0F2"/>
              </a:solidFill>
              <a:effectLst/>
              <a:uLnTx/>
              <a:uFillTx/>
              <a:latin typeface="Open Sans"/>
              <a:cs typeface="Calibri Light"/>
            </a:endParaRPr>
          </a:p>
        </p:txBody>
      </p:sp>
      <p:sp>
        <p:nvSpPr>
          <p:cNvPr id="8" name="Text Placeholder 5">
            <a:extLst>
              <a:ext uri="{FF2B5EF4-FFF2-40B4-BE49-F238E27FC236}">
                <a16:creationId xmlns:a16="http://schemas.microsoft.com/office/drawing/2014/main" id="{3F21E824-8FDD-DE12-2325-80C18C7A06CA}"/>
              </a:ext>
            </a:extLst>
          </p:cNvPr>
          <p:cNvSpPr txBox="1">
            <a:spLocks/>
          </p:cNvSpPr>
          <p:nvPr/>
        </p:nvSpPr>
        <p:spPr>
          <a:xfrm>
            <a:off x="7504598" y="2625107"/>
            <a:ext cx="3664455" cy="757541"/>
          </a:xfrm>
          <a:prstGeom prst="rect">
            <a:avLst/>
          </a:prstGeom>
          <a:noFill/>
        </p:spPr>
        <p:txBody>
          <a:bodyPr vert="horz" lIns="108000" tIns="0" rIns="108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lang="en-US" sz="1000" b="1" dirty="0">
                <a:solidFill>
                  <a:srgbClr val="00B0F2"/>
                </a:solidFill>
                <a:latin typeface="Open Sans"/>
                <a:cs typeface="Calibri Light"/>
              </a:rPr>
              <a:t>CSR Club organized every two months in a hybrid way in the form of interactive lessons given by internal and external experts</a:t>
            </a:r>
            <a:endParaRPr kumimoji="0" lang="en-US" sz="800" i="0" u="none" strike="noStrike" kern="1200" cap="none" spc="0" normalizeH="0" baseline="0" dirty="0">
              <a:ln>
                <a:noFill/>
              </a:ln>
              <a:solidFill>
                <a:srgbClr val="000000"/>
              </a:solidFill>
              <a:effectLst/>
              <a:uLnTx/>
              <a:uFillTx/>
              <a:latin typeface="Open Sans"/>
              <a:ea typeface="Open Sans"/>
              <a:cs typeface="Calibri Light"/>
            </a:endParaRPr>
          </a:p>
        </p:txBody>
      </p:sp>
      <p:sp>
        <p:nvSpPr>
          <p:cNvPr id="23" name="Text Placeholder 5">
            <a:extLst>
              <a:ext uri="{FF2B5EF4-FFF2-40B4-BE49-F238E27FC236}">
                <a16:creationId xmlns:a16="http://schemas.microsoft.com/office/drawing/2014/main" id="{2EBD606C-D448-DCB2-2B8D-7A461AF819E6}"/>
              </a:ext>
            </a:extLst>
          </p:cNvPr>
          <p:cNvSpPr txBox="1">
            <a:spLocks/>
          </p:cNvSpPr>
          <p:nvPr/>
        </p:nvSpPr>
        <p:spPr>
          <a:xfrm>
            <a:off x="6907182" y="3295324"/>
            <a:ext cx="4289679" cy="1232246"/>
          </a:xfrm>
          <a:prstGeom prst="rect">
            <a:avLst/>
          </a:prstGeom>
          <a:noFill/>
        </p:spPr>
        <p:txBody>
          <a:bodyPr vert="horz" lIns="108000" tIns="0" rIns="108000" bIns="0" rtlCol="0" anchor="t">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dirty="0">
                <a:ln>
                  <a:noFill/>
                </a:ln>
                <a:solidFill>
                  <a:srgbClr val="00B0F2"/>
                </a:solidFill>
                <a:effectLst/>
                <a:uLnTx/>
                <a:uFillTx/>
                <a:latin typeface="Open Sans"/>
                <a:cs typeface="Calibri Light"/>
              </a:rPr>
              <a:t>Examples of previous events</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prstClr val="black"/>
                </a:solidFill>
                <a:effectLst/>
                <a:uLnTx/>
                <a:uFillTx/>
                <a:latin typeface="Open Sans"/>
                <a:cs typeface="Calibri Light"/>
              </a:rPr>
              <a:t>Hello, Slow fashion! Lecture with Eszter </a:t>
            </a:r>
            <a:r>
              <a:rPr kumimoji="0" lang="en-US" sz="1000" b="0" i="0" u="none" strike="noStrike" kern="1200" cap="none" spc="0" normalizeH="0" baseline="0" dirty="0" err="1">
                <a:ln>
                  <a:noFill/>
                </a:ln>
                <a:solidFill>
                  <a:prstClr val="black"/>
                </a:solidFill>
                <a:effectLst/>
                <a:uLnTx/>
                <a:uFillTx/>
                <a:latin typeface="Open Sans"/>
                <a:cs typeface="Calibri Light"/>
              </a:rPr>
              <a:t>Mengyán</a:t>
            </a:r>
            <a:endParaRPr kumimoji="0" lang="en-US" sz="1000" b="0" i="0" u="none" strike="noStrike" kern="1200" cap="none" spc="0" normalizeH="0" baseline="0" dirty="0">
              <a:ln>
                <a:noFill/>
              </a:ln>
              <a:solidFill>
                <a:prstClr val="black"/>
              </a:solidFill>
              <a:effectLst/>
              <a:uLnTx/>
              <a:uFillTx/>
              <a:latin typeface="Open Sans"/>
              <a:cs typeface="Calibri Light"/>
            </a:endParaRP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prstClr val="black"/>
                </a:solidFill>
                <a:effectLst/>
                <a:uLnTx/>
                <a:uFillTx/>
                <a:latin typeface="Open Sans"/>
                <a:cs typeface="Calibri Light"/>
              </a:rPr>
              <a:t>Delve into Green Psychology! Lecture with Máté </a:t>
            </a:r>
            <a:r>
              <a:rPr kumimoji="0" lang="en-US" sz="1000" b="0" i="0" u="none" strike="noStrike" kern="1200" cap="none" spc="0" normalizeH="0" baseline="0" dirty="0" err="1">
                <a:ln>
                  <a:noFill/>
                </a:ln>
                <a:solidFill>
                  <a:prstClr val="black"/>
                </a:solidFill>
                <a:effectLst/>
                <a:uLnTx/>
                <a:uFillTx/>
                <a:latin typeface="Open Sans"/>
                <a:cs typeface="Calibri Light"/>
              </a:rPr>
              <a:t>Csizmadia</a:t>
            </a:r>
            <a:r>
              <a:rPr kumimoji="0" lang="en-US" sz="1000" b="0" i="0" u="none" strike="noStrike" kern="1200" cap="none" spc="0" normalizeH="0" baseline="0" dirty="0">
                <a:ln>
                  <a:noFill/>
                </a:ln>
                <a:solidFill>
                  <a:prstClr val="black"/>
                </a:solidFill>
                <a:effectLst/>
                <a:uLnTx/>
                <a:uFillTx/>
                <a:latin typeface="Open Sans"/>
                <a:cs typeface="Calibri Light"/>
              </a:rPr>
              <a:t>, psychologist and agricultural economist</a:t>
            </a: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prstClr val="black"/>
                </a:solidFill>
                <a:effectLst/>
                <a:uLnTx/>
                <a:uFillTx/>
                <a:latin typeface="Open Sans"/>
                <a:cs typeface="Calibri Light"/>
              </a:rPr>
              <a:t>Food waste during the Christmas period - Lecture with the team of </a:t>
            </a:r>
            <a:r>
              <a:rPr kumimoji="0" lang="en-US" sz="1000" b="0" i="0" u="none" strike="noStrike" kern="1200" cap="none" spc="0" normalizeH="0" baseline="0" dirty="0" err="1">
                <a:ln>
                  <a:noFill/>
                </a:ln>
                <a:solidFill>
                  <a:prstClr val="black"/>
                </a:solidFill>
                <a:effectLst/>
                <a:uLnTx/>
                <a:uFillTx/>
                <a:latin typeface="Open Sans"/>
                <a:cs typeface="Calibri Light"/>
              </a:rPr>
              <a:t>Felelős</a:t>
            </a:r>
            <a:r>
              <a:rPr kumimoji="0" lang="en-US" sz="1000" b="0" i="0" u="none" strike="noStrike" kern="1200" cap="none" spc="0" normalizeH="0" baseline="0" dirty="0">
                <a:ln>
                  <a:noFill/>
                </a:ln>
                <a:solidFill>
                  <a:prstClr val="black"/>
                </a:solidFill>
                <a:effectLst/>
                <a:uLnTx/>
                <a:uFillTx/>
                <a:latin typeface="Open Sans"/>
                <a:cs typeface="Calibri Light"/>
              </a:rPr>
              <a:t> </a:t>
            </a:r>
            <a:r>
              <a:rPr kumimoji="0" lang="en-US" sz="1000" b="0" i="0" u="none" strike="noStrike" kern="1200" cap="none" spc="0" normalizeH="0" baseline="0" dirty="0" err="1">
                <a:ln>
                  <a:noFill/>
                </a:ln>
                <a:solidFill>
                  <a:prstClr val="black"/>
                </a:solidFill>
                <a:effectLst/>
                <a:uLnTx/>
                <a:uFillTx/>
                <a:latin typeface="Open Sans"/>
                <a:cs typeface="Calibri Light"/>
              </a:rPr>
              <a:t>Gasztrohős</a:t>
            </a:r>
            <a:endParaRPr lang="en-US" sz="1000" dirty="0">
              <a:solidFill>
                <a:prstClr val="black"/>
              </a:solidFill>
              <a:latin typeface="Open Sans"/>
              <a:cs typeface="Calibri Light"/>
            </a:endParaRPr>
          </a:p>
          <a:p>
            <a:pPr marL="171450" marR="0" lvl="0" indent="-171450" algn="l"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prstClr val="black"/>
                </a:solidFill>
                <a:effectLst/>
                <a:uLnTx/>
                <a:uFillTx/>
                <a:latin typeface="Open Sans"/>
                <a:cs typeface="Calibri Light"/>
              </a:rPr>
              <a:t>What is worth knowing about biodiversity? Lectur</a:t>
            </a:r>
            <a:r>
              <a:rPr lang="en-US" sz="1000" dirty="0">
                <a:solidFill>
                  <a:prstClr val="black"/>
                </a:solidFill>
                <a:latin typeface="Open Sans"/>
                <a:cs typeface="Calibri Light"/>
              </a:rPr>
              <a:t>e with </a:t>
            </a:r>
            <a:r>
              <a:rPr kumimoji="0" lang="en-US" sz="1000" b="0" i="0" u="none" strike="noStrike" kern="1200" cap="none" spc="0" normalizeH="0" baseline="0" dirty="0" err="1">
                <a:ln>
                  <a:noFill/>
                </a:ln>
                <a:solidFill>
                  <a:prstClr val="black"/>
                </a:solidFill>
                <a:effectLst/>
                <a:uLnTx/>
                <a:uFillTx/>
                <a:latin typeface="Open Sans"/>
                <a:cs typeface="Calibri Light"/>
              </a:rPr>
              <a:t>MyForest</a:t>
            </a:r>
            <a:endParaRPr kumimoji="0" lang="en-US" sz="1000" b="0" i="0" u="none" strike="noStrike" kern="1200" cap="none" spc="0" normalizeH="0" baseline="0" dirty="0">
              <a:ln>
                <a:noFill/>
              </a:ln>
              <a:solidFill>
                <a:prstClr val="black"/>
              </a:solidFill>
              <a:effectLst/>
              <a:uLnTx/>
              <a:uFillTx/>
              <a:latin typeface="Open Sans"/>
              <a:cs typeface="Calibri Light"/>
            </a:endParaRPr>
          </a:p>
        </p:txBody>
      </p:sp>
      <p:sp>
        <p:nvSpPr>
          <p:cNvPr id="34" name="TextBox 33">
            <a:extLst>
              <a:ext uri="{FF2B5EF4-FFF2-40B4-BE49-F238E27FC236}">
                <a16:creationId xmlns:a16="http://schemas.microsoft.com/office/drawing/2014/main" id="{D697C24F-D25F-B602-440E-A420FAACD802}"/>
              </a:ext>
            </a:extLst>
          </p:cNvPr>
          <p:cNvSpPr txBox="1"/>
          <p:nvPr/>
        </p:nvSpPr>
        <p:spPr>
          <a:xfrm>
            <a:off x="6934613" y="1952014"/>
            <a:ext cx="4268943" cy="553998"/>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Internal knowledge sharing program to create a community where we can learn from each other and external experts discussing important issues together at Deloitte HU Office</a:t>
            </a:r>
          </a:p>
        </p:txBody>
      </p:sp>
      <p:pic>
        <p:nvPicPr>
          <p:cNvPr id="45" name="Picture 4" descr="Roma education program - Romaversitas Foundation">
            <a:extLst>
              <a:ext uri="{FF2B5EF4-FFF2-40B4-BE49-F238E27FC236}">
                <a16:creationId xmlns:a16="http://schemas.microsoft.com/office/drawing/2014/main" id="{5491F969-F2EB-0459-00F2-4FFF1429B83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67523" y="4836927"/>
            <a:ext cx="1258858" cy="23355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F983B8C2-3164-CBA7-CB29-0755BB2C0A78}"/>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814702" y="5096768"/>
            <a:ext cx="4301480" cy="131589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834B614E-DC09-654C-CEF9-810501B8D652}"/>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6873087" y="4864950"/>
            <a:ext cx="4553355" cy="156215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Circle&#10;&#10;Description automatically generated">
            <a:extLst>
              <a:ext uri="{FF2B5EF4-FFF2-40B4-BE49-F238E27FC236}">
                <a16:creationId xmlns:a16="http://schemas.microsoft.com/office/drawing/2014/main" id="{855B3BA5-3841-540D-8EAE-FAB89521192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85661" y="4672291"/>
            <a:ext cx="629321" cy="111097"/>
          </a:xfrm>
          <a:prstGeom prst="rect">
            <a:avLst/>
          </a:prstGeom>
        </p:spPr>
      </p:pic>
      <p:sp>
        <p:nvSpPr>
          <p:cNvPr id="47" name="Freeform 783">
            <a:extLst>
              <a:ext uri="{FF2B5EF4-FFF2-40B4-BE49-F238E27FC236}">
                <a16:creationId xmlns:a16="http://schemas.microsoft.com/office/drawing/2014/main" id="{A29DE1BE-7692-2712-FD53-6DE6CB4142CD}"/>
              </a:ext>
            </a:extLst>
          </p:cNvPr>
          <p:cNvSpPr>
            <a:spLocks noChangeAspect="1" noEditPoints="1"/>
          </p:cNvSpPr>
          <p:nvPr/>
        </p:nvSpPr>
        <p:spPr bwMode="auto">
          <a:xfrm>
            <a:off x="1932382" y="3154748"/>
            <a:ext cx="530352" cy="5303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266 h 512"/>
              <a:gd name="T12" fmla="*/ 405 w 512"/>
              <a:gd name="T13" fmla="*/ 277 h 512"/>
              <a:gd name="T14" fmla="*/ 394 w 512"/>
              <a:gd name="T15" fmla="*/ 277 h 512"/>
              <a:gd name="T16" fmla="*/ 394 w 512"/>
              <a:gd name="T17" fmla="*/ 373 h 512"/>
              <a:gd name="T18" fmla="*/ 384 w 512"/>
              <a:gd name="T19" fmla="*/ 384 h 512"/>
              <a:gd name="T20" fmla="*/ 128 w 512"/>
              <a:gd name="T21" fmla="*/ 384 h 512"/>
              <a:gd name="T22" fmla="*/ 117 w 512"/>
              <a:gd name="T23" fmla="*/ 373 h 512"/>
              <a:gd name="T24" fmla="*/ 117 w 512"/>
              <a:gd name="T25" fmla="*/ 277 h 512"/>
              <a:gd name="T26" fmla="*/ 106 w 512"/>
              <a:gd name="T27" fmla="*/ 277 h 512"/>
              <a:gd name="T28" fmla="*/ 96 w 512"/>
              <a:gd name="T29" fmla="*/ 266 h 512"/>
              <a:gd name="T30" fmla="*/ 96 w 512"/>
              <a:gd name="T31" fmla="*/ 160 h 512"/>
              <a:gd name="T32" fmla="*/ 106 w 512"/>
              <a:gd name="T33" fmla="*/ 149 h 512"/>
              <a:gd name="T34" fmla="*/ 202 w 512"/>
              <a:gd name="T35" fmla="*/ 149 h 512"/>
              <a:gd name="T36" fmla="*/ 202 w 512"/>
              <a:gd name="T37" fmla="*/ 117 h 512"/>
              <a:gd name="T38" fmla="*/ 213 w 512"/>
              <a:gd name="T39" fmla="*/ 106 h 512"/>
              <a:gd name="T40" fmla="*/ 298 w 512"/>
              <a:gd name="T41" fmla="*/ 106 h 512"/>
              <a:gd name="T42" fmla="*/ 309 w 512"/>
              <a:gd name="T43" fmla="*/ 117 h 512"/>
              <a:gd name="T44" fmla="*/ 309 w 512"/>
              <a:gd name="T45" fmla="*/ 149 h 512"/>
              <a:gd name="T46" fmla="*/ 405 w 512"/>
              <a:gd name="T47" fmla="*/ 149 h 512"/>
              <a:gd name="T48" fmla="*/ 416 w 512"/>
              <a:gd name="T49" fmla="*/ 160 h 512"/>
              <a:gd name="T50" fmla="*/ 416 w 512"/>
              <a:gd name="T51" fmla="*/ 266 h 512"/>
              <a:gd name="T52" fmla="*/ 330 w 512"/>
              <a:gd name="T53" fmla="*/ 277 h 512"/>
              <a:gd name="T54" fmla="*/ 373 w 512"/>
              <a:gd name="T55" fmla="*/ 277 h 512"/>
              <a:gd name="T56" fmla="*/ 373 w 512"/>
              <a:gd name="T57" fmla="*/ 362 h 512"/>
              <a:gd name="T58" fmla="*/ 138 w 512"/>
              <a:gd name="T59" fmla="*/ 362 h 512"/>
              <a:gd name="T60" fmla="*/ 138 w 512"/>
              <a:gd name="T61" fmla="*/ 277 h 512"/>
              <a:gd name="T62" fmla="*/ 181 w 512"/>
              <a:gd name="T63" fmla="*/ 277 h 512"/>
              <a:gd name="T64" fmla="*/ 181 w 512"/>
              <a:gd name="T65" fmla="*/ 288 h 512"/>
              <a:gd name="T66" fmla="*/ 192 w 512"/>
              <a:gd name="T67" fmla="*/ 298 h 512"/>
              <a:gd name="T68" fmla="*/ 202 w 512"/>
              <a:gd name="T69" fmla="*/ 288 h 512"/>
              <a:gd name="T70" fmla="*/ 202 w 512"/>
              <a:gd name="T71" fmla="*/ 277 h 512"/>
              <a:gd name="T72" fmla="*/ 309 w 512"/>
              <a:gd name="T73" fmla="*/ 277 h 512"/>
              <a:gd name="T74" fmla="*/ 309 w 512"/>
              <a:gd name="T75" fmla="*/ 288 h 512"/>
              <a:gd name="T76" fmla="*/ 320 w 512"/>
              <a:gd name="T77" fmla="*/ 298 h 512"/>
              <a:gd name="T78" fmla="*/ 330 w 512"/>
              <a:gd name="T79" fmla="*/ 288 h 512"/>
              <a:gd name="T80" fmla="*/ 330 w 512"/>
              <a:gd name="T81" fmla="*/ 277 h 512"/>
              <a:gd name="T82" fmla="*/ 288 w 512"/>
              <a:gd name="T83" fmla="*/ 149 h 512"/>
              <a:gd name="T84" fmla="*/ 224 w 512"/>
              <a:gd name="T85" fmla="*/ 149 h 512"/>
              <a:gd name="T86" fmla="*/ 224 w 512"/>
              <a:gd name="T87" fmla="*/ 128 h 512"/>
              <a:gd name="T88" fmla="*/ 288 w 512"/>
              <a:gd name="T89" fmla="*/ 128 h 512"/>
              <a:gd name="T90" fmla="*/ 288 w 512"/>
              <a:gd name="T91" fmla="*/ 149 h 512"/>
              <a:gd name="T92" fmla="*/ 117 w 512"/>
              <a:gd name="T93" fmla="*/ 170 h 512"/>
              <a:gd name="T94" fmla="*/ 394 w 512"/>
              <a:gd name="T95" fmla="*/ 170 h 512"/>
              <a:gd name="T96" fmla="*/ 394 w 512"/>
              <a:gd name="T97" fmla="*/ 256 h 512"/>
              <a:gd name="T98" fmla="*/ 330 w 512"/>
              <a:gd name="T99" fmla="*/ 256 h 512"/>
              <a:gd name="T100" fmla="*/ 330 w 512"/>
              <a:gd name="T101" fmla="*/ 245 h 512"/>
              <a:gd name="T102" fmla="*/ 320 w 512"/>
              <a:gd name="T103" fmla="*/ 234 h 512"/>
              <a:gd name="T104" fmla="*/ 309 w 512"/>
              <a:gd name="T105" fmla="*/ 245 h 512"/>
              <a:gd name="T106" fmla="*/ 309 w 512"/>
              <a:gd name="T107" fmla="*/ 256 h 512"/>
              <a:gd name="T108" fmla="*/ 202 w 512"/>
              <a:gd name="T109" fmla="*/ 256 h 512"/>
              <a:gd name="T110" fmla="*/ 202 w 512"/>
              <a:gd name="T111" fmla="*/ 245 h 512"/>
              <a:gd name="T112" fmla="*/ 192 w 512"/>
              <a:gd name="T113" fmla="*/ 234 h 512"/>
              <a:gd name="T114" fmla="*/ 181 w 512"/>
              <a:gd name="T115" fmla="*/ 245 h 512"/>
              <a:gd name="T116" fmla="*/ 181 w 512"/>
              <a:gd name="T117" fmla="*/ 256 h 512"/>
              <a:gd name="T118" fmla="*/ 117 w 512"/>
              <a:gd name="T119" fmla="*/ 256 h 512"/>
              <a:gd name="T120" fmla="*/ 117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66"/>
                </a:moveTo>
                <a:cubicBezTo>
                  <a:pt x="416" y="272"/>
                  <a:pt x="411" y="277"/>
                  <a:pt x="405" y="277"/>
                </a:cubicBezTo>
                <a:cubicBezTo>
                  <a:pt x="394" y="277"/>
                  <a:pt x="394" y="277"/>
                  <a:pt x="394" y="277"/>
                </a:cubicBezTo>
                <a:cubicBezTo>
                  <a:pt x="394" y="373"/>
                  <a:pt x="394" y="373"/>
                  <a:pt x="394" y="373"/>
                </a:cubicBezTo>
                <a:cubicBezTo>
                  <a:pt x="394" y="379"/>
                  <a:pt x="390" y="384"/>
                  <a:pt x="384" y="384"/>
                </a:cubicBezTo>
                <a:cubicBezTo>
                  <a:pt x="128" y="384"/>
                  <a:pt x="128" y="384"/>
                  <a:pt x="128" y="384"/>
                </a:cubicBezTo>
                <a:cubicBezTo>
                  <a:pt x="122" y="384"/>
                  <a:pt x="117" y="379"/>
                  <a:pt x="117" y="373"/>
                </a:cubicBezTo>
                <a:cubicBezTo>
                  <a:pt x="117" y="277"/>
                  <a:pt x="117" y="277"/>
                  <a:pt x="117" y="277"/>
                </a:cubicBezTo>
                <a:cubicBezTo>
                  <a:pt x="106" y="277"/>
                  <a:pt x="106" y="277"/>
                  <a:pt x="106" y="277"/>
                </a:cubicBezTo>
                <a:cubicBezTo>
                  <a:pt x="100" y="277"/>
                  <a:pt x="96" y="272"/>
                  <a:pt x="96" y="266"/>
                </a:cubicBezTo>
                <a:cubicBezTo>
                  <a:pt x="96" y="160"/>
                  <a:pt x="96" y="160"/>
                  <a:pt x="96" y="160"/>
                </a:cubicBezTo>
                <a:cubicBezTo>
                  <a:pt x="96" y="154"/>
                  <a:pt x="100" y="149"/>
                  <a:pt x="106" y="149"/>
                </a:cubicBezTo>
                <a:cubicBezTo>
                  <a:pt x="202" y="149"/>
                  <a:pt x="202" y="149"/>
                  <a:pt x="202" y="149"/>
                </a:cubicBezTo>
                <a:cubicBezTo>
                  <a:pt x="202" y="117"/>
                  <a:pt x="202" y="117"/>
                  <a:pt x="202" y="117"/>
                </a:cubicBezTo>
                <a:cubicBezTo>
                  <a:pt x="202" y="111"/>
                  <a:pt x="207" y="106"/>
                  <a:pt x="213" y="106"/>
                </a:cubicBezTo>
                <a:cubicBezTo>
                  <a:pt x="298" y="106"/>
                  <a:pt x="298" y="106"/>
                  <a:pt x="298" y="106"/>
                </a:cubicBezTo>
                <a:cubicBezTo>
                  <a:pt x="304" y="106"/>
                  <a:pt x="309" y="111"/>
                  <a:pt x="309" y="117"/>
                </a:cubicBezTo>
                <a:cubicBezTo>
                  <a:pt x="309" y="149"/>
                  <a:pt x="309" y="149"/>
                  <a:pt x="309" y="149"/>
                </a:cubicBezTo>
                <a:cubicBezTo>
                  <a:pt x="405" y="149"/>
                  <a:pt x="405" y="149"/>
                  <a:pt x="405" y="149"/>
                </a:cubicBezTo>
                <a:cubicBezTo>
                  <a:pt x="411" y="149"/>
                  <a:pt x="416" y="154"/>
                  <a:pt x="416" y="160"/>
                </a:cubicBezTo>
                <a:lnTo>
                  <a:pt x="416" y="266"/>
                </a:lnTo>
                <a:close/>
                <a:moveTo>
                  <a:pt x="330" y="277"/>
                </a:moveTo>
                <a:cubicBezTo>
                  <a:pt x="373" y="277"/>
                  <a:pt x="373" y="277"/>
                  <a:pt x="373" y="277"/>
                </a:cubicBezTo>
                <a:cubicBezTo>
                  <a:pt x="373" y="362"/>
                  <a:pt x="373" y="362"/>
                  <a:pt x="373" y="362"/>
                </a:cubicBezTo>
                <a:cubicBezTo>
                  <a:pt x="138" y="362"/>
                  <a:pt x="138" y="362"/>
                  <a:pt x="138" y="362"/>
                </a:cubicBezTo>
                <a:cubicBezTo>
                  <a:pt x="138" y="277"/>
                  <a:pt x="138" y="277"/>
                  <a:pt x="138" y="277"/>
                </a:cubicBezTo>
                <a:cubicBezTo>
                  <a:pt x="181" y="277"/>
                  <a:pt x="181" y="277"/>
                  <a:pt x="181" y="277"/>
                </a:cubicBezTo>
                <a:cubicBezTo>
                  <a:pt x="181" y="288"/>
                  <a:pt x="181" y="288"/>
                  <a:pt x="181" y="288"/>
                </a:cubicBezTo>
                <a:cubicBezTo>
                  <a:pt x="181" y="294"/>
                  <a:pt x="186" y="298"/>
                  <a:pt x="192" y="298"/>
                </a:cubicBezTo>
                <a:cubicBezTo>
                  <a:pt x="198" y="298"/>
                  <a:pt x="202" y="294"/>
                  <a:pt x="202" y="288"/>
                </a:cubicBezTo>
                <a:cubicBezTo>
                  <a:pt x="202" y="277"/>
                  <a:pt x="202" y="277"/>
                  <a:pt x="202" y="277"/>
                </a:cubicBezTo>
                <a:cubicBezTo>
                  <a:pt x="309" y="277"/>
                  <a:pt x="309" y="277"/>
                  <a:pt x="309" y="277"/>
                </a:cubicBezTo>
                <a:cubicBezTo>
                  <a:pt x="309" y="288"/>
                  <a:pt x="309" y="288"/>
                  <a:pt x="309" y="288"/>
                </a:cubicBezTo>
                <a:cubicBezTo>
                  <a:pt x="309" y="294"/>
                  <a:pt x="314" y="298"/>
                  <a:pt x="320" y="298"/>
                </a:cubicBezTo>
                <a:cubicBezTo>
                  <a:pt x="326" y="298"/>
                  <a:pt x="330" y="294"/>
                  <a:pt x="330" y="288"/>
                </a:cubicBezTo>
                <a:lnTo>
                  <a:pt x="330" y="277"/>
                </a:lnTo>
                <a:close/>
                <a:moveTo>
                  <a:pt x="288" y="149"/>
                </a:moveTo>
                <a:cubicBezTo>
                  <a:pt x="224" y="149"/>
                  <a:pt x="224" y="149"/>
                  <a:pt x="224" y="149"/>
                </a:cubicBezTo>
                <a:cubicBezTo>
                  <a:pt x="224" y="128"/>
                  <a:pt x="224" y="128"/>
                  <a:pt x="224" y="128"/>
                </a:cubicBezTo>
                <a:cubicBezTo>
                  <a:pt x="288" y="128"/>
                  <a:pt x="288" y="128"/>
                  <a:pt x="288" y="128"/>
                </a:cubicBezTo>
                <a:lnTo>
                  <a:pt x="288" y="149"/>
                </a:lnTo>
                <a:close/>
                <a:moveTo>
                  <a:pt x="117" y="170"/>
                </a:moveTo>
                <a:cubicBezTo>
                  <a:pt x="394" y="170"/>
                  <a:pt x="394" y="170"/>
                  <a:pt x="394" y="170"/>
                </a:cubicBezTo>
                <a:cubicBezTo>
                  <a:pt x="394" y="256"/>
                  <a:pt x="394" y="256"/>
                  <a:pt x="394" y="256"/>
                </a:cubicBezTo>
                <a:cubicBezTo>
                  <a:pt x="330" y="256"/>
                  <a:pt x="330" y="256"/>
                  <a:pt x="330" y="256"/>
                </a:cubicBezTo>
                <a:cubicBezTo>
                  <a:pt x="330" y="245"/>
                  <a:pt x="330" y="245"/>
                  <a:pt x="330" y="245"/>
                </a:cubicBezTo>
                <a:cubicBezTo>
                  <a:pt x="330" y="239"/>
                  <a:pt x="326" y="234"/>
                  <a:pt x="320" y="234"/>
                </a:cubicBezTo>
                <a:cubicBezTo>
                  <a:pt x="314" y="234"/>
                  <a:pt x="309" y="239"/>
                  <a:pt x="309" y="245"/>
                </a:cubicBezTo>
                <a:cubicBezTo>
                  <a:pt x="309" y="256"/>
                  <a:pt x="309" y="256"/>
                  <a:pt x="309" y="256"/>
                </a:cubicBezTo>
                <a:cubicBezTo>
                  <a:pt x="202" y="256"/>
                  <a:pt x="202" y="256"/>
                  <a:pt x="202" y="256"/>
                </a:cubicBezTo>
                <a:cubicBezTo>
                  <a:pt x="202" y="245"/>
                  <a:pt x="202" y="245"/>
                  <a:pt x="202" y="245"/>
                </a:cubicBezTo>
                <a:cubicBezTo>
                  <a:pt x="202" y="239"/>
                  <a:pt x="198" y="234"/>
                  <a:pt x="192" y="234"/>
                </a:cubicBezTo>
                <a:cubicBezTo>
                  <a:pt x="186" y="234"/>
                  <a:pt x="181" y="239"/>
                  <a:pt x="181" y="245"/>
                </a:cubicBezTo>
                <a:cubicBezTo>
                  <a:pt x="181" y="256"/>
                  <a:pt x="181" y="256"/>
                  <a:pt x="181" y="256"/>
                </a:cubicBezTo>
                <a:cubicBezTo>
                  <a:pt x="117" y="256"/>
                  <a:pt x="117" y="256"/>
                  <a:pt x="117" y="256"/>
                </a:cubicBezTo>
                <a:lnTo>
                  <a:pt x="117" y="170"/>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8" name="Group 295">
            <a:extLst>
              <a:ext uri="{FF2B5EF4-FFF2-40B4-BE49-F238E27FC236}">
                <a16:creationId xmlns:a16="http://schemas.microsoft.com/office/drawing/2014/main" id="{0DE53CAC-281F-9533-5672-3B4B7DFD7294}"/>
              </a:ext>
            </a:extLst>
          </p:cNvPr>
          <p:cNvGrpSpPr>
            <a:grpSpLocks noChangeAspect="1"/>
          </p:cNvGrpSpPr>
          <p:nvPr/>
        </p:nvGrpSpPr>
        <p:grpSpPr bwMode="auto">
          <a:xfrm>
            <a:off x="7017450" y="2651828"/>
            <a:ext cx="530352" cy="530352"/>
            <a:chOff x="6958" y="1122"/>
            <a:chExt cx="340" cy="340"/>
          </a:xfrm>
          <a:solidFill>
            <a:srgbClr val="00B0F2"/>
          </a:solidFill>
        </p:grpSpPr>
        <p:sp>
          <p:nvSpPr>
            <p:cNvPr id="49" name="Freeform 296">
              <a:extLst>
                <a:ext uri="{FF2B5EF4-FFF2-40B4-BE49-F238E27FC236}">
                  <a16:creationId xmlns:a16="http://schemas.microsoft.com/office/drawing/2014/main" id="{1F6D45F6-78AB-FDE7-C109-20F243B92D6E}"/>
                </a:ext>
              </a:extLst>
            </p:cNvPr>
            <p:cNvSpPr>
              <a:spLocks noEditPoints="1"/>
            </p:cNvSpPr>
            <p:nvPr/>
          </p:nvSpPr>
          <p:spPr bwMode="auto">
            <a:xfrm>
              <a:off x="6958" y="112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297">
              <a:extLst>
                <a:ext uri="{FF2B5EF4-FFF2-40B4-BE49-F238E27FC236}">
                  <a16:creationId xmlns:a16="http://schemas.microsoft.com/office/drawing/2014/main" id="{39D1EC34-B15C-BCDE-1406-E3D9D1F39130}"/>
                </a:ext>
              </a:extLst>
            </p:cNvPr>
            <p:cNvSpPr>
              <a:spLocks/>
            </p:cNvSpPr>
            <p:nvPr/>
          </p:nvSpPr>
          <p:spPr bwMode="auto">
            <a:xfrm>
              <a:off x="7135" y="1256"/>
              <a:ext cx="42" cy="57"/>
            </a:xfrm>
            <a:custGeom>
              <a:avLst/>
              <a:gdLst>
                <a:gd name="T0" fmla="*/ 63 w 64"/>
                <a:gd name="T1" fmla="*/ 62 h 86"/>
                <a:gd name="T2" fmla="*/ 0 w 64"/>
                <a:gd name="T3" fmla="*/ 0 h 86"/>
                <a:gd name="T4" fmla="*/ 0 w 64"/>
                <a:gd name="T5" fmla="*/ 30 h 86"/>
                <a:gd name="T6" fmla="*/ 57 w 64"/>
                <a:gd name="T7" fmla="*/ 86 h 86"/>
                <a:gd name="T8" fmla="*/ 64 w 64"/>
                <a:gd name="T9" fmla="*/ 63 h 86"/>
                <a:gd name="T10" fmla="*/ 63 w 64"/>
                <a:gd name="T11" fmla="*/ 62 h 86"/>
              </a:gdLst>
              <a:ahLst/>
              <a:cxnLst>
                <a:cxn ang="0">
                  <a:pos x="T0" y="T1"/>
                </a:cxn>
                <a:cxn ang="0">
                  <a:pos x="T2" y="T3"/>
                </a:cxn>
                <a:cxn ang="0">
                  <a:pos x="T4" y="T5"/>
                </a:cxn>
                <a:cxn ang="0">
                  <a:pos x="T6" y="T7"/>
                </a:cxn>
                <a:cxn ang="0">
                  <a:pos x="T8" y="T9"/>
                </a:cxn>
                <a:cxn ang="0">
                  <a:pos x="T10" y="T11"/>
                </a:cxn>
              </a:cxnLst>
              <a:rect l="0" t="0" r="r" b="b"/>
              <a:pathLst>
                <a:path w="64" h="86">
                  <a:moveTo>
                    <a:pt x="63" y="62"/>
                  </a:moveTo>
                  <a:cubicBezTo>
                    <a:pt x="0" y="0"/>
                    <a:pt x="0" y="0"/>
                    <a:pt x="0" y="0"/>
                  </a:cubicBezTo>
                  <a:cubicBezTo>
                    <a:pt x="0" y="30"/>
                    <a:pt x="0" y="30"/>
                    <a:pt x="0" y="30"/>
                  </a:cubicBezTo>
                  <a:cubicBezTo>
                    <a:pt x="57" y="86"/>
                    <a:pt x="57" y="86"/>
                    <a:pt x="57" y="86"/>
                  </a:cubicBezTo>
                  <a:cubicBezTo>
                    <a:pt x="60" y="79"/>
                    <a:pt x="63" y="71"/>
                    <a:pt x="64" y="63"/>
                  </a:cubicBezTo>
                  <a:cubicBezTo>
                    <a:pt x="63" y="62"/>
                    <a:pt x="63" y="62"/>
                    <a:pt x="63"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298">
              <a:extLst>
                <a:ext uri="{FF2B5EF4-FFF2-40B4-BE49-F238E27FC236}">
                  <a16:creationId xmlns:a16="http://schemas.microsoft.com/office/drawing/2014/main" id="{2C9BC588-5EBE-CC7C-69D7-E446E118F370}"/>
                </a:ext>
              </a:extLst>
            </p:cNvPr>
            <p:cNvSpPr>
              <a:spLocks/>
            </p:cNvSpPr>
            <p:nvPr/>
          </p:nvSpPr>
          <p:spPr bwMode="auto">
            <a:xfrm>
              <a:off x="7135" y="1296"/>
              <a:ext cx="30" cy="38"/>
            </a:xfrm>
            <a:custGeom>
              <a:avLst/>
              <a:gdLst>
                <a:gd name="T0" fmla="*/ 0 w 45"/>
                <a:gd name="T1" fmla="*/ 30 h 58"/>
                <a:gd name="T2" fmla="*/ 28 w 45"/>
                <a:gd name="T3" fmla="*/ 58 h 58"/>
                <a:gd name="T4" fmla="*/ 45 w 45"/>
                <a:gd name="T5" fmla="*/ 44 h 58"/>
                <a:gd name="T6" fmla="*/ 0 w 45"/>
                <a:gd name="T7" fmla="*/ 0 h 58"/>
                <a:gd name="T8" fmla="*/ 0 w 45"/>
                <a:gd name="T9" fmla="*/ 30 h 58"/>
              </a:gdLst>
              <a:ahLst/>
              <a:cxnLst>
                <a:cxn ang="0">
                  <a:pos x="T0" y="T1"/>
                </a:cxn>
                <a:cxn ang="0">
                  <a:pos x="T2" y="T3"/>
                </a:cxn>
                <a:cxn ang="0">
                  <a:pos x="T4" y="T5"/>
                </a:cxn>
                <a:cxn ang="0">
                  <a:pos x="T6" y="T7"/>
                </a:cxn>
                <a:cxn ang="0">
                  <a:pos x="T8" y="T9"/>
                </a:cxn>
              </a:cxnLst>
              <a:rect l="0" t="0" r="r" b="b"/>
              <a:pathLst>
                <a:path w="45" h="58">
                  <a:moveTo>
                    <a:pt x="0" y="30"/>
                  </a:moveTo>
                  <a:cubicBezTo>
                    <a:pt x="28" y="58"/>
                    <a:pt x="28" y="58"/>
                    <a:pt x="28" y="58"/>
                  </a:cubicBezTo>
                  <a:cubicBezTo>
                    <a:pt x="34" y="54"/>
                    <a:pt x="40" y="49"/>
                    <a:pt x="45" y="44"/>
                  </a:cubicBezTo>
                  <a:cubicBezTo>
                    <a:pt x="0" y="0"/>
                    <a:pt x="0" y="0"/>
                    <a:pt x="0" y="0"/>
                  </a:cubicBezTo>
                  <a:lnTo>
                    <a:pt x="0" y="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299">
              <a:extLst>
                <a:ext uri="{FF2B5EF4-FFF2-40B4-BE49-F238E27FC236}">
                  <a16:creationId xmlns:a16="http://schemas.microsoft.com/office/drawing/2014/main" id="{10F41D30-C9A0-BFCC-88F4-C8E915A802EF}"/>
                </a:ext>
              </a:extLst>
            </p:cNvPr>
            <p:cNvSpPr>
              <a:spLocks/>
            </p:cNvSpPr>
            <p:nvPr/>
          </p:nvSpPr>
          <p:spPr bwMode="auto">
            <a:xfrm>
              <a:off x="7144" y="1245"/>
              <a:ext cx="30" cy="30"/>
            </a:xfrm>
            <a:custGeom>
              <a:avLst/>
              <a:gdLst>
                <a:gd name="T0" fmla="*/ 0 w 46"/>
                <a:gd name="T1" fmla="*/ 0 h 46"/>
                <a:gd name="T2" fmla="*/ 46 w 46"/>
                <a:gd name="T3" fmla="*/ 46 h 46"/>
                <a:gd name="T4" fmla="*/ 0 w 46"/>
                <a:gd name="T5" fmla="*/ 0 h 46"/>
              </a:gdLst>
              <a:ahLst/>
              <a:cxnLst>
                <a:cxn ang="0">
                  <a:pos x="T0" y="T1"/>
                </a:cxn>
                <a:cxn ang="0">
                  <a:pos x="T2" y="T3"/>
                </a:cxn>
                <a:cxn ang="0">
                  <a:pos x="T4" y="T5"/>
                </a:cxn>
              </a:cxnLst>
              <a:rect l="0" t="0" r="r" b="b"/>
              <a:pathLst>
                <a:path w="46" h="46">
                  <a:moveTo>
                    <a:pt x="0" y="0"/>
                  </a:moveTo>
                  <a:cubicBezTo>
                    <a:pt x="46" y="46"/>
                    <a:pt x="46" y="46"/>
                    <a:pt x="46" y="46"/>
                  </a:cubicBezTo>
                  <a:cubicBezTo>
                    <a:pt x="39" y="25"/>
                    <a:pt x="22" y="8"/>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48" name="Freeform 300">
              <a:extLst>
                <a:ext uri="{FF2B5EF4-FFF2-40B4-BE49-F238E27FC236}">
                  <a16:creationId xmlns:a16="http://schemas.microsoft.com/office/drawing/2014/main" id="{E85ADC83-F4E1-7A28-DF68-1C38C4CC8E9E}"/>
                </a:ext>
              </a:extLst>
            </p:cNvPr>
            <p:cNvSpPr>
              <a:spLocks/>
            </p:cNvSpPr>
            <p:nvPr/>
          </p:nvSpPr>
          <p:spPr bwMode="auto">
            <a:xfrm>
              <a:off x="7135" y="1336"/>
              <a:ext cx="4" cy="4"/>
            </a:xfrm>
            <a:custGeom>
              <a:avLst/>
              <a:gdLst>
                <a:gd name="T0" fmla="*/ 0 w 6"/>
                <a:gd name="T1" fmla="*/ 7 h 7"/>
                <a:gd name="T2" fmla="*/ 6 w 6"/>
                <a:gd name="T3" fmla="*/ 6 h 7"/>
                <a:gd name="T4" fmla="*/ 0 w 6"/>
                <a:gd name="T5" fmla="*/ 0 h 7"/>
                <a:gd name="T6" fmla="*/ 0 w 6"/>
                <a:gd name="T7" fmla="*/ 7 h 7"/>
              </a:gdLst>
              <a:ahLst/>
              <a:cxnLst>
                <a:cxn ang="0">
                  <a:pos x="T0" y="T1"/>
                </a:cxn>
                <a:cxn ang="0">
                  <a:pos x="T2" y="T3"/>
                </a:cxn>
                <a:cxn ang="0">
                  <a:pos x="T4" y="T5"/>
                </a:cxn>
                <a:cxn ang="0">
                  <a:pos x="T6" y="T7"/>
                </a:cxn>
              </a:cxnLst>
              <a:rect l="0" t="0" r="r" b="b"/>
              <a:pathLst>
                <a:path w="6" h="7">
                  <a:moveTo>
                    <a:pt x="0" y="7"/>
                  </a:moveTo>
                  <a:cubicBezTo>
                    <a:pt x="2" y="7"/>
                    <a:pt x="4" y="7"/>
                    <a:pt x="6" y="6"/>
                  </a:cubicBezTo>
                  <a:cubicBezTo>
                    <a:pt x="0" y="0"/>
                    <a:pt x="0" y="0"/>
                    <a:pt x="0" y="0"/>
                  </a:cubicBezTo>
                  <a:lnTo>
                    <a:pt x="0"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49" name="Freeform 301">
              <a:extLst>
                <a:ext uri="{FF2B5EF4-FFF2-40B4-BE49-F238E27FC236}">
                  <a16:creationId xmlns:a16="http://schemas.microsoft.com/office/drawing/2014/main" id="{7D7F69BE-B6C2-01CC-7BDE-48F503CE8C55}"/>
                </a:ext>
              </a:extLst>
            </p:cNvPr>
            <p:cNvSpPr>
              <a:spLocks/>
            </p:cNvSpPr>
            <p:nvPr/>
          </p:nvSpPr>
          <p:spPr bwMode="auto">
            <a:xfrm>
              <a:off x="7078" y="1243"/>
              <a:ext cx="43" cy="97"/>
            </a:xfrm>
            <a:custGeom>
              <a:avLst/>
              <a:gdLst>
                <a:gd name="T0" fmla="*/ 0 w 64"/>
                <a:gd name="T1" fmla="*/ 74 h 147"/>
                <a:gd name="T2" fmla="*/ 64 w 64"/>
                <a:gd name="T3" fmla="*/ 147 h 147"/>
                <a:gd name="T4" fmla="*/ 64 w 64"/>
                <a:gd name="T5" fmla="*/ 0 h 147"/>
                <a:gd name="T6" fmla="*/ 0 w 64"/>
                <a:gd name="T7" fmla="*/ 74 h 147"/>
              </a:gdLst>
              <a:ahLst/>
              <a:cxnLst>
                <a:cxn ang="0">
                  <a:pos x="T0" y="T1"/>
                </a:cxn>
                <a:cxn ang="0">
                  <a:pos x="T2" y="T3"/>
                </a:cxn>
                <a:cxn ang="0">
                  <a:pos x="T4" y="T5"/>
                </a:cxn>
                <a:cxn ang="0">
                  <a:pos x="T6" y="T7"/>
                </a:cxn>
              </a:cxnLst>
              <a:rect l="0" t="0" r="r" b="b"/>
              <a:pathLst>
                <a:path w="64" h="147">
                  <a:moveTo>
                    <a:pt x="0" y="74"/>
                  </a:moveTo>
                  <a:cubicBezTo>
                    <a:pt x="0" y="111"/>
                    <a:pt x="28" y="142"/>
                    <a:pt x="64" y="147"/>
                  </a:cubicBezTo>
                  <a:cubicBezTo>
                    <a:pt x="64" y="0"/>
                    <a:pt x="64" y="0"/>
                    <a:pt x="64" y="0"/>
                  </a:cubicBezTo>
                  <a:cubicBezTo>
                    <a:pt x="28" y="5"/>
                    <a:pt x="0" y="36"/>
                    <a:pt x="0" y="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51" name="Freeform 302">
              <a:extLst>
                <a:ext uri="{FF2B5EF4-FFF2-40B4-BE49-F238E27FC236}">
                  <a16:creationId xmlns:a16="http://schemas.microsoft.com/office/drawing/2014/main" id="{C79E6969-788C-3605-5B2A-A28C83A1231F}"/>
                </a:ext>
              </a:extLst>
            </p:cNvPr>
            <p:cNvSpPr>
              <a:spLocks noEditPoints="1"/>
            </p:cNvSpPr>
            <p:nvPr/>
          </p:nvSpPr>
          <p:spPr bwMode="auto">
            <a:xfrm>
              <a:off x="6958" y="112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9 h 512"/>
                <a:gd name="T10" fmla="*/ 245 w 512"/>
                <a:gd name="T11" fmla="*/ 106 h 512"/>
                <a:gd name="T12" fmla="*/ 157 w 512"/>
                <a:gd name="T13" fmla="*/ 143 h 512"/>
                <a:gd name="T14" fmla="*/ 158 w 512"/>
                <a:gd name="T15" fmla="*/ 144 h 512"/>
                <a:gd name="T16" fmla="*/ 173 w 512"/>
                <a:gd name="T17" fmla="*/ 158 h 512"/>
                <a:gd name="T18" fmla="*/ 173 w 512"/>
                <a:gd name="T19" fmla="*/ 173 h 512"/>
                <a:gd name="T20" fmla="*/ 158 w 512"/>
                <a:gd name="T21" fmla="*/ 173 h 512"/>
                <a:gd name="T22" fmla="*/ 147 w 512"/>
                <a:gd name="T23" fmla="*/ 162 h 512"/>
                <a:gd name="T24" fmla="*/ 143 w 512"/>
                <a:gd name="T25" fmla="*/ 158 h 512"/>
                <a:gd name="T26" fmla="*/ 142 w 512"/>
                <a:gd name="T27" fmla="*/ 158 h 512"/>
                <a:gd name="T28" fmla="*/ 139 w 512"/>
                <a:gd name="T29" fmla="*/ 150 h 512"/>
                <a:gd name="T30" fmla="*/ 128 w 512"/>
                <a:gd name="T31" fmla="*/ 266 h 512"/>
                <a:gd name="T32" fmla="*/ 95 w 512"/>
                <a:gd name="T33" fmla="*/ 256 h 512"/>
                <a:gd name="T34" fmla="*/ 128 w 512"/>
                <a:gd name="T35" fmla="*/ 245 h 512"/>
                <a:gd name="T36" fmla="*/ 128 w 512"/>
                <a:gd name="T37" fmla="*/ 266 h 512"/>
                <a:gd name="T38" fmla="*/ 162 w 512"/>
                <a:gd name="T39" fmla="*/ 365 h 512"/>
                <a:gd name="T40" fmla="*/ 159 w 512"/>
                <a:gd name="T41" fmla="*/ 368 h 512"/>
                <a:gd name="T42" fmla="*/ 158 w 512"/>
                <a:gd name="T43" fmla="*/ 369 h 512"/>
                <a:gd name="T44" fmla="*/ 147 w 512"/>
                <a:gd name="T45" fmla="*/ 372 h 512"/>
                <a:gd name="T46" fmla="*/ 142 w 512"/>
                <a:gd name="T47" fmla="*/ 369 h 512"/>
                <a:gd name="T48" fmla="*/ 142 w 512"/>
                <a:gd name="T49" fmla="*/ 354 h 512"/>
                <a:gd name="T50" fmla="*/ 143 w 512"/>
                <a:gd name="T51" fmla="*/ 354 h 512"/>
                <a:gd name="T52" fmla="*/ 143 w 512"/>
                <a:gd name="T53" fmla="*/ 354 h 512"/>
                <a:gd name="T54" fmla="*/ 147 w 512"/>
                <a:gd name="T55" fmla="*/ 350 h 512"/>
                <a:gd name="T56" fmla="*/ 173 w 512"/>
                <a:gd name="T57" fmla="*/ 339 h 512"/>
                <a:gd name="T58" fmla="*/ 173 w 512"/>
                <a:gd name="T59" fmla="*/ 354 h 512"/>
                <a:gd name="T60" fmla="*/ 256 w 512"/>
                <a:gd name="T61" fmla="*/ 416 h 512"/>
                <a:gd name="T62" fmla="*/ 245 w 512"/>
                <a:gd name="T63" fmla="*/ 384 h 512"/>
                <a:gd name="T64" fmla="*/ 266 w 512"/>
                <a:gd name="T65" fmla="*/ 384 h 512"/>
                <a:gd name="T66" fmla="*/ 256 w 512"/>
                <a:gd name="T67" fmla="*/ 352 h 512"/>
                <a:gd name="T68" fmla="*/ 256 w 512"/>
                <a:gd name="T69" fmla="*/ 160 h 512"/>
                <a:gd name="T70" fmla="*/ 256 w 512"/>
                <a:gd name="T71" fmla="*/ 352 h 512"/>
                <a:gd name="T72" fmla="*/ 362 w 512"/>
                <a:gd name="T73" fmla="*/ 373 h 512"/>
                <a:gd name="T74" fmla="*/ 343 w 512"/>
                <a:gd name="T75" fmla="*/ 358 h 512"/>
                <a:gd name="T76" fmla="*/ 339 w 512"/>
                <a:gd name="T77" fmla="*/ 355 h 512"/>
                <a:gd name="T78" fmla="*/ 339 w 512"/>
                <a:gd name="T79" fmla="*/ 354 h 512"/>
                <a:gd name="T80" fmla="*/ 338 w 512"/>
                <a:gd name="T81" fmla="*/ 354 h 512"/>
                <a:gd name="T82" fmla="*/ 338 w 512"/>
                <a:gd name="T83" fmla="*/ 339 h 512"/>
                <a:gd name="T84" fmla="*/ 354 w 512"/>
                <a:gd name="T85" fmla="*/ 339 h 512"/>
                <a:gd name="T86" fmla="*/ 358 w 512"/>
                <a:gd name="T87" fmla="*/ 343 h 512"/>
                <a:gd name="T88" fmla="*/ 372 w 512"/>
                <a:gd name="T89" fmla="*/ 362 h 512"/>
                <a:gd name="T90" fmla="*/ 369 w 512"/>
                <a:gd name="T91" fmla="*/ 158 h 512"/>
                <a:gd name="T92" fmla="*/ 356 w 512"/>
                <a:gd name="T93" fmla="*/ 171 h 512"/>
                <a:gd name="T94" fmla="*/ 354 w 512"/>
                <a:gd name="T95" fmla="*/ 173 h 512"/>
                <a:gd name="T96" fmla="*/ 345 w 512"/>
                <a:gd name="T97" fmla="*/ 177 h 512"/>
                <a:gd name="T98" fmla="*/ 338 w 512"/>
                <a:gd name="T99" fmla="*/ 173 h 512"/>
                <a:gd name="T100" fmla="*/ 336 w 512"/>
                <a:gd name="T101" fmla="*/ 166 h 512"/>
                <a:gd name="T102" fmla="*/ 338 w 512"/>
                <a:gd name="T103" fmla="*/ 158 h 512"/>
                <a:gd name="T104" fmla="*/ 339 w 512"/>
                <a:gd name="T105" fmla="*/ 158 h 512"/>
                <a:gd name="T106" fmla="*/ 343 w 512"/>
                <a:gd name="T107" fmla="*/ 154 h 512"/>
                <a:gd name="T108" fmla="*/ 354 w 512"/>
                <a:gd name="T109" fmla="*/ 143 h 512"/>
                <a:gd name="T110" fmla="*/ 372 w 512"/>
                <a:gd name="T111" fmla="*/ 150 h 512"/>
                <a:gd name="T112" fmla="*/ 405 w 512"/>
                <a:gd name="T113" fmla="*/ 266 h 512"/>
                <a:gd name="T114" fmla="*/ 373 w 512"/>
                <a:gd name="T115" fmla="*/ 256 h 512"/>
                <a:gd name="T116" fmla="*/ 405 w 512"/>
                <a:gd name="T117" fmla="*/ 245 h 512"/>
                <a:gd name="T118" fmla="*/ 405 w 512"/>
                <a:gd name="T11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9"/>
                    <a:pt x="256" y="139"/>
                  </a:cubicBezTo>
                  <a:cubicBezTo>
                    <a:pt x="250" y="139"/>
                    <a:pt x="245" y="134"/>
                    <a:pt x="245" y="128"/>
                  </a:cubicBezTo>
                  <a:lnTo>
                    <a:pt x="245" y="106"/>
                  </a:lnTo>
                  <a:close/>
                  <a:moveTo>
                    <a:pt x="142" y="143"/>
                  </a:moveTo>
                  <a:cubicBezTo>
                    <a:pt x="148" y="137"/>
                    <a:pt x="153" y="139"/>
                    <a:pt x="157" y="143"/>
                  </a:cubicBezTo>
                  <a:cubicBezTo>
                    <a:pt x="157" y="143"/>
                    <a:pt x="157" y="143"/>
                    <a:pt x="157" y="143"/>
                  </a:cubicBezTo>
                  <a:cubicBezTo>
                    <a:pt x="158" y="143"/>
                    <a:pt x="158" y="143"/>
                    <a:pt x="158" y="144"/>
                  </a:cubicBezTo>
                  <a:cubicBezTo>
                    <a:pt x="160" y="145"/>
                    <a:pt x="161" y="146"/>
                    <a:pt x="162" y="147"/>
                  </a:cubicBezTo>
                  <a:cubicBezTo>
                    <a:pt x="173" y="158"/>
                    <a:pt x="173" y="158"/>
                    <a:pt x="173" y="158"/>
                  </a:cubicBezTo>
                  <a:cubicBezTo>
                    <a:pt x="175" y="160"/>
                    <a:pt x="176" y="163"/>
                    <a:pt x="176" y="166"/>
                  </a:cubicBezTo>
                  <a:cubicBezTo>
                    <a:pt x="176" y="168"/>
                    <a:pt x="175" y="171"/>
                    <a:pt x="173" y="173"/>
                  </a:cubicBezTo>
                  <a:cubicBezTo>
                    <a:pt x="171" y="175"/>
                    <a:pt x="168" y="176"/>
                    <a:pt x="165" y="176"/>
                  </a:cubicBezTo>
                  <a:cubicBezTo>
                    <a:pt x="163" y="176"/>
                    <a:pt x="160" y="176"/>
                    <a:pt x="158" y="173"/>
                  </a:cubicBezTo>
                  <a:cubicBezTo>
                    <a:pt x="147" y="162"/>
                    <a:pt x="147" y="162"/>
                    <a:pt x="147" y="162"/>
                  </a:cubicBezTo>
                  <a:cubicBezTo>
                    <a:pt x="147" y="162"/>
                    <a:pt x="147" y="162"/>
                    <a:pt x="147" y="162"/>
                  </a:cubicBezTo>
                  <a:cubicBezTo>
                    <a:pt x="143" y="158"/>
                    <a:pt x="143" y="158"/>
                    <a:pt x="143" y="158"/>
                  </a:cubicBezTo>
                  <a:cubicBezTo>
                    <a:pt x="143" y="158"/>
                    <a:pt x="143" y="158"/>
                    <a:pt x="143" y="158"/>
                  </a:cubicBezTo>
                  <a:cubicBezTo>
                    <a:pt x="143" y="158"/>
                    <a:pt x="143" y="158"/>
                    <a:pt x="143" y="158"/>
                  </a:cubicBezTo>
                  <a:cubicBezTo>
                    <a:pt x="142" y="158"/>
                    <a:pt x="142" y="158"/>
                    <a:pt x="142" y="158"/>
                  </a:cubicBezTo>
                  <a:cubicBezTo>
                    <a:pt x="142" y="158"/>
                    <a:pt x="142" y="158"/>
                    <a:pt x="142" y="158"/>
                  </a:cubicBezTo>
                  <a:cubicBezTo>
                    <a:pt x="140" y="156"/>
                    <a:pt x="139" y="153"/>
                    <a:pt x="139" y="150"/>
                  </a:cubicBezTo>
                  <a:cubicBezTo>
                    <a:pt x="139" y="147"/>
                    <a:pt x="140" y="145"/>
                    <a:pt x="142" y="143"/>
                  </a:cubicBezTo>
                  <a:close/>
                  <a:moveTo>
                    <a:pt x="128" y="266"/>
                  </a:moveTo>
                  <a:cubicBezTo>
                    <a:pt x="106" y="266"/>
                    <a:pt x="106" y="266"/>
                    <a:pt x="106" y="266"/>
                  </a:cubicBezTo>
                  <a:cubicBezTo>
                    <a:pt x="100" y="266"/>
                    <a:pt x="95" y="262"/>
                    <a:pt x="95" y="256"/>
                  </a:cubicBezTo>
                  <a:cubicBezTo>
                    <a:pt x="95" y="250"/>
                    <a:pt x="100" y="245"/>
                    <a:pt x="106" y="245"/>
                  </a:cubicBezTo>
                  <a:cubicBezTo>
                    <a:pt x="128" y="245"/>
                    <a:pt x="128" y="245"/>
                    <a:pt x="128" y="245"/>
                  </a:cubicBezTo>
                  <a:cubicBezTo>
                    <a:pt x="134" y="245"/>
                    <a:pt x="139" y="250"/>
                    <a:pt x="139" y="256"/>
                  </a:cubicBezTo>
                  <a:cubicBezTo>
                    <a:pt x="139" y="262"/>
                    <a:pt x="134" y="266"/>
                    <a:pt x="128" y="266"/>
                  </a:cubicBezTo>
                  <a:close/>
                  <a:moveTo>
                    <a:pt x="173" y="354"/>
                  </a:moveTo>
                  <a:cubicBezTo>
                    <a:pt x="162" y="365"/>
                    <a:pt x="162" y="365"/>
                    <a:pt x="162" y="365"/>
                  </a:cubicBezTo>
                  <a:cubicBezTo>
                    <a:pt x="161" y="366"/>
                    <a:pt x="161" y="366"/>
                    <a:pt x="160" y="367"/>
                  </a:cubicBezTo>
                  <a:cubicBezTo>
                    <a:pt x="160" y="367"/>
                    <a:pt x="159" y="368"/>
                    <a:pt x="159" y="368"/>
                  </a:cubicBezTo>
                  <a:cubicBezTo>
                    <a:pt x="158" y="368"/>
                    <a:pt x="158" y="369"/>
                    <a:pt x="158" y="369"/>
                  </a:cubicBezTo>
                  <a:cubicBezTo>
                    <a:pt x="158" y="369"/>
                    <a:pt x="158" y="369"/>
                    <a:pt x="158" y="369"/>
                  </a:cubicBezTo>
                  <a:cubicBezTo>
                    <a:pt x="155" y="371"/>
                    <a:pt x="152" y="373"/>
                    <a:pt x="149" y="373"/>
                  </a:cubicBezTo>
                  <a:cubicBezTo>
                    <a:pt x="148" y="373"/>
                    <a:pt x="148" y="373"/>
                    <a:pt x="147" y="372"/>
                  </a:cubicBezTo>
                  <a:cubicBezTo>
                    <a:pt x="145" y="372"/>
                    <a:pt x="144" y="371"/>
                    <a:pt x="142" y="369"/>
                  </a:cubicBezTo>
                  <a:cubicBezTo>
                    <a:pt x="142" y="369"/>
                    <a:pt x="142" y="369"/>
                    <a:pt x="142" y="369"/>
                  </a:cubicBezTo>
                  <a:cubicBezTo>
                    <a:pt x="140" y="367"/>
                    <a:pt x="139" y="365"/>
                    <a:pt x="139" y="362"/>
                  </a:cubicBezTo>
                  <a:cubicBezTo>
                    <a:pt x="139" y="359"/>
                    <a:pt x="140" y="356"/>
                    <a:pt x="142" y="354"/>
                  </a:cubicBezTo>
                  <a:cubicBezTo>
                    <a:pt x="142" y="354"/>
                    <a:pt x="142" y="354"/>
                    <a:pt x="142" y="354"/>
                  </a:cubicBezTo>
                  <a:cubicBezTo>
                    <a:pt x="143" y="354"/>
                    <a:pt x="143" y="354"/>
                    <a:pt x="143" y="354"/>
                  </a:cubicBezTo>
                  <a:cubicBezTo>
                    <a:pt x="143" y="354"/>
                    <a:pt x="143" y="354"/>
                    <a:pt x="143" y="354"/>
                  </a:cubicBezTo>
                  <a:cubicBezTo>
                    <a:pt x="143" y="354"/>
                    <a:pt x="143" y="354"/>
                    <a:pt x="143" y="354"/>
                  </a:cubicBezTo>
                  <a:cubicBezTo>
                    <a:pt x="147" y="350"/>
                    <a:pt x="147" y="350"/>
                    <a:pt x="147" y="350"/>
                  </a:cubicBezTo>
                  <a:cubicBezTo>
                    <a:pt x="147" y="350"/>
                    <a:pt x="147" y="350"/>
                    <a:pt x="147" y="350"/>
                  </a:cubicBezTo>
                  <a:cubicBezTo>
                    <a:pt x="158" y="339"/>
                    <a:pt x="158" y="339"/>
                    <a:pt x="158" y="339"/>
                  </a:cubicBezTo>
                  <a:cubicBezTo>
                    <a:pt x="162" y="335"/>
                    <a:pt x="169" y="335"/>
                    <a:pt x="173" y="339"/>
                  </a:cubicBezTo>
                  <a:cubicBezTo>
                    <a:pt x="175" y="341"/>
                    <a:pt x="176" y="344"/>
                    <a:pt x="176" y="346"/>
                  </a:cubicBezTo>
                  <a:cubicBezTo>
                    <a:pt x="176" y="349"/>
                    <a:pt x="175" y="352"/>
                    <a:pt x="173" y="354"/>
                  </a:cubicBezTo>
                  <a:close/>
                  <a:moveTo>
                    <a:pt x="266" y="406"/>
                  </a:moveTo>
                  <a:cubicBezTo>
                    <a:pt x="266" y="412"/>
                    <a:pt x="262" y="416"/>
                    <a:pt x="256" y="416"/>
                  </a:cubicBezTo>
                  <a:cubicBezTo>
                    <a:pt x="250" y="416"/>
                    <a:pt x="245" y="412"/>
                    <a:pt x="245" y="406"/>
                  </a:cubicBezTo>
                  <a:cubicBezTo>
                    <a:pt x="245" y="384"/>
                    <a:pt x="245" y="384"/>
                    <a:pt x="245" y="384"/>
                  </a:cubicBezTo>
                  <a:cubicBezTo>
                    <a:pt x="245" y="378"/>
                    <a:pt x="250" y="373"/>
                    <a:pt x="256" y="373"/>
                  </a:cubicBezTo>
                  <a:cubicBezTo>
                    <a:pt x="262" y="373"/>
                    <a:pt x="266" y="378"/>
                    <a:pt x="266" y="384"/>
                  </a:cubicBezTo>
                  <a:lnTo>
                    <a:pt x="266" y="406"/>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3"/>
                    <a:pt x="362" y="373"/>
                  </a:cubicBezTo>
                  <a:cubicBezTo>
                    <a:pt x="359" y="373"/>
                    <a:pt x="356" y="372"/>
                    <a:pt x="354" y="370"/>
                  </a:cubicBezTo>
                  <a:cubicBezTo>
                    <a:pt x="343" y="358"/>
                    <a:pt x="343" y="358"/>
                    <a:pt x="343" y="358"/>
                  </a:cubicBezTo>
                  <a:cubicBezTo>
                    <a:pt x="343" y="358"/>
                    <a:pt x="343" y="358"/>
                    <a:pt x="343" y="358"/>
                  </a:cubicBezTo>
                  <a:cubicBezTo>
                    <a:pt x="339" y="355"/>
                    <a:pt x="339" y="355"/>
                    <a:pt x="339" y="355"/>
                  </a:cubicBezTo>
                  <a:cubicBezTo>
                    <a:pt x="339" y="355"/>
                    <a:pt x="339" y="354"/>
                    <a:pt x="339" y="354"/>
                  </a:cubicBezTo>
                  <a:cubicBezTo>
                    <a:pt x="339" y="354"/>
                    <a:pt x="339" y="354"/>
                    <a:pt x="339" y="354"/>
                  </a:cubicBezTo>
                  <a:cubicBezTo>
                    <a:pt x="338" y="354"/>
                    <a:pt x="338" y="354"/>
                    <a:pt x="338" y="354"/>
                  </a:cubicBezTo>
                  <a:cubicBezTo>
                    <a:pt x="338" y="354"/>
                    <a:pt x="338" y="354"/>
                    <a:pt x="338" y="354"/>
                  </a:cubicBezTo>
                  <a:cubicBezTo>
                    <a:pt x="337" y="352"/>
                    <a:pt x="335" y="349"/>
                    <a:pt x="336" y="346"/>
                  </a:cubicBezTo>
                  <a:cubicBezTo>
                    <a:pt x="336" y="343"/>
                    <a:pt x="336" y="341"/>
                    <a:pt x="338" y="339"/>
                  </a:cubicBezTo>
                  <a:cubicBezTo>
                    <a:pt x="344" y="333"/>
                    <a:pt x="349" y="335"/>
                    <a:pt x="353" y="339"/>
                  </a:cubicBezTo>
                  <a:cubicBezTo>
                    <a:pt x="354" y="339"/>
                    <a:pt x="354" y="339"/>
                    <a:pt x="354" y="339"/>
                  </a:cubicBezTo>
                  <a:cubicBezTo>
                    <a:pt x="354" y="339"/>
                    <a:pt x="354" y="339"/>
                    <a:pt x="354" y="340"/>
                  </a:cubicBezTo>
                  <a:cubicBezTo>
                    <a:pt x="356" y="341"/>
                    <a:pt x="357" y="342"/>
                    <a:pt x="358" y="343"/>
                  </a:cubicBezTo>
                  <a:cubicBezTo>
                    <a:pt x="369" y="354"/>
                    <a:pt x="369" y="354"/>
                    <a:pt x="369" y="354"/>
                  </a:cubicBezTo>
                  <a:cubicBezTo>
                    <a:pt x="371" y="356"/>
                    <a:pt x="372" y="359"/>
                    <a:pt x="372" y="362"/>
                  </a:cubicBezTo>
                  <a:cubicBezTo>
                    <a:pt x="372" y="365"/>
                    <a:pt x="371" y="367"/>
                    <a:pt x="369" y="369"/>
                  </a:cubicBezTo>
                  <a:close/>
                  <a:moveTo>
                    <a:pt x="369" y="158"/>
                  </a:moveTo>
                  <a:cubicBezTo>
                    <a:pt x="358" y="169"/>
                    <a:pt x="358" y="169"/>
                    <a:pt x="358" y="169"/>
                  </a:cubicBezTo>
                  <a:cubicBezTo>
                    <a:pt x="357" y="170"/>
                    <a:pt x="357" y="170"/>
                    <a:pt x="356" y="171"/>
                  </a:cubicBezTo>
                  <a:cubicBezTo>
                    <a:pt x="356" y="171"/>
                    <a:pt x="355" y="171"/>
                    <a:pt x="355" y="172"/>
                  </a:cubicBezTo>
                  <a:cubicBezTo>
                    <a:pt x="355" y="172"/>
                    <a:pt x="354" y="172"/>
                    <a:pt x="354" y="173"/>
                  </a:cubicBezTo>
                  <a:cubicBezTo>
                    <a:pt x="354" y="173"/>
                    <a:pt x="354" y="173"/>
                    <a:pt x="354" y="173"/>
                  </a:cubicBezTo>
                  <a:cubicBezTo>
                    <a:pt x="351" y="175"/>
                    <a:pt x="348" y="177"/>
                    <a:pt x="345" y="177"/>
                  </a:cubicBezTo>
                  <a:cubicBezTo>
                    <a:pt x="345" y="177"/>
                    <a:pt x="344" y="176"/>
                    <a:pt x="343" y="176"/>
                  </a:cubicBezTo>
                  <a:cubicBezTo>
                    <a:pt x="342" y="176"/>
                    <a:pt x="340" y="175"/>
                    <a:pt x="338" y="173"/>
                  </a:cubicBezTo>
                  <a:cubicBezTo>
                    <a:pt x="338" y="173"/>
                    <a:pt x="338" y="173"/>
                    <a:pt x="338" y="173"/>
                  </a:cubicBezTo>
                  <a:cubicBezTo>
                    <a:pt x="336" y="171"/>
                    <a:pt x="336" y="169"/>
                    <a:pt x="336" y="166"/>
                  </a:cubicBezTo>
                  <a:cubicBezTo>
                    <a:pt x="335" y="163"/>
                    <a:pt x="337" y="160"/>
                    <a:pt x="338" y="158"/>
                  </a:cubicBezTo>
                  <a:cubicBezTo>
                    <a:pt x="338" y="158"/>
                    <a:pt x="338" y="158"/>
                    <a:pt x="338" y="158"/>
                  </a:cubicBezTo>
                  <a:cubicBezTo>
                    <a:pt x="339" y="158"/>
                    <a:pt x="339" y="158"/>
                    <a:pt x="339" y="158"/>
                  </a:cubicBezTo>
                  <a:cubicBezTo>
                    <a:pt x="339" y="158"/>
                    <a:pt x="339" y="158"/>
                    <a:pt x="339" y="158"/>
                  </a:cubicBezTo>
                  <a:cubicBezTo>
                    <a:pt x="339" y="158"/>
                    <a:pt x="339" y="158"/>
                    <a:pt x="339" y="158"/>
                  </a:cubicBezTo>
                  <a:cubicBezTo>
                    <a:pt x="343" y="154"/>
                    <a:pt x="343" y="154"/>
                    <a:pt x="343" y="154"/>
                  </a:cubicBezTo>
                  <a:cubicBezTo>
                    <a:pt x="343" y="154"/>
                    <a:pt x="343" y="154"/>
                    <a:pt x="343" y="154"/>
                  </a:cubicBezTo>
                  <a:cubicBezTo>
                    <a:pt x="354" y="143"/>
                    <a:pt x="354" y="143"/>
                    <a:pt x="354" y="143"/>
                  </a:cubicBezTo>
                  <a:cubicBezTo>
                    <a:pt x="358" y="139"/>
                    <a:pt x="365" y="139"/>
                    <a:pt x="369" y="143"/>
                  </a:cubicBezTo>
                  <a:cubicBezTo>
                    <a:pt x="371" y="145"/>
                    <a:pt x="372" y="147"/>
                    <a:pt x="372" y="150"/>
                  </a:cubicBezTo>
                  <a:cubicBezTo>
                    <a:pt x="372" y="153"/>
                    <a:pt x="371" y="156"/>
                    <a:pt x="369" y="158"/>
                  </a:cubicBezTo>
                  <a:close/>
                  <a:moveTo>
                    <a:pt x="405" y="266"/>
                  </a:moveTo>
                  <a:cubicBezTo>
                    <a:pt x="383" y="266"/>
                    <a:pt x="383" y="266"/>
                    <a:pt x="383" y="266"/>
                  </a:cubicBezTo>
                  <a:cubicBezTo>
                    <a:pt x="377" y="266"/>
                    <a:pt x="373" y="262"/>
                    <a:pt x="373" y="256"/>
                  </a:cubicBezTo>
                  <a:cubicBezTo>
                    <a:pt x="373" y="250"/>
                    <a:pt x="377" y="245"/>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54746202"/>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15680070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39" name="Straight Connector 38">
            <a:extLst>
              <a:ext uri="{FF2B5EF4-FFF2-40B4-BE49-F238E27FC236}">
                <a16:creationId xmlns:a16="http://schemas.microsoft.com/office/drawing/2014/main" id="{A161A025-A9EC-8155-64DA-31ADFAD66BC9}"/>
              </a:ext>
            </a:extLst>
          </p:cNvPr>
          <p:cNvCxnSpPr>
            <a:cxnSpLocks/>
          </p:cNvCxnSpPr>
          <p:nvPr/>
        </p:nvCxnSpPr>
        <p:spPr>
          <a:xfrm>
            <a:off x="2426327" y="2503234"/>
            <a:ext cx="7829064"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D1176CCC-DBC5-3ACE-B530-1E064778C01F}"/>
              </a:ext>
            </a:extLst>
          </p:cNvPr>
          <p:cNvCxnSpPr>
            <a:cxnSpLocks/>
          </p:cNvCxnSpPr>
          <p:nvPr/>
        </p:nvCxnSpPr>
        <p:spPr>
          <a:xfrm>
            <a:off x="2426327" y="4015800"/>
            <a:ext cx="7409368"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897857" y="906411"/>
            <a:ext cx="10467780" cy="787400"/>
          </a:xfrm>
        </p:spPr>
        <p:txBody>
          <a:bodyPr vert="horz" anchor="t"/>
          <a:lstStyle/>
          <a:p>
            <a:r>
              <a:rPr lang="en-US" sz="1400" dirty="0">
                <a:solidFill>
                  <a:prstClr val="black"/>
                </a:solidFill>
              </a:rPr>
              <a:t>Deloitte has an extensive support and maintenance team with significant scaling capabilities located in the CE region focusing on a wide range of market leading technologies with the range of tools and proven methodologies that provide our clients with value-add services through our customizable deployment models that includes local, near-shore or fully virtual support.</a:t>
            </a: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Support and Maintenance – Operate CE Leadership</a:t>
            </a:r>
          </a:p>
        </p:txBody>
      </p:sp>
      <p:sp>
        <p:nvSpPr>
          <p:cNvPr id="5" name="Rectangle 4">
            <a:extLst>
              <a:ext uri="{FF2B5EF4-FFF2-40B4-BE49-F238E27FC236}">
                <a16:creationId xmlns:a16="http://schemas.microsoft.com/office/drawing/2014/main" id="{E43103C4-F4C2-17E8-E7B1-1A3A3CB90E2B}"/>
              </a:ext>
            </a:extLst>
          </p:cNvPr>
          <p:cNvSpPr/>
          <p:nvPr/>
        </p:nvSpPr>
        <p:spPr bwMode="gray">
          <a:xfrm>
            <a:off x="943129" y="2016024"/>
            <a:ext cx="2237205" cy="1006787"/>
          </a:xfrm>
          <a:prstGeom prst="rect">
            <a:avLst/>
          </a:prstGeom>
          <a:solidFill>
            <a:schemeClr val="accent4">
              <a:lumMod val="20000"/>
              <a:lumOff val="80000"/>
            </a:schemeClr>
          </a:solidFill>
          <a:ln w="19050" algn="ctr">
            <a:solidFill>
              <a:schemeClr val="accent2">
                <a:lumMod val="75000"/>
              </a:schemeClr>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 name="TextBox 6">
            <a:extLst>
              <a:ext uri="{FF2B5EF4-FFF2-40B4-BE49-F238E27FC236}">
                <a16:creationId xmlns:a16="http://schemas.microsoft.com/office/drawing/2014/main" id="{8DF60F61-383C-53B3-3718-67AFBDBAC3BA}"/>
              </a:ext>
            </a:extLst>
          </p:cNvPr>
          <p:cNvSpPr txBox="1"/>
          <p:nvPr/>
        </p:nvSpPr>
        <p:spPr>
          <a:xfrm>
            <a:off x="1759343" y="2147003"/>
            <a:ext cx="1484365" cy="738664"/>
          </a:xfrm>
          <a:prstGeom prst="rect">
            <a:avLst/>
          </a:prstGeom>
          <a:noFill/>
        </p:spPr>
        <p:txBody>
          <a:bodyPr wrap="square" lIns="0" tIns="0" rIns="0" bIns="0" rtlCol="0" anchor="t">
            <a:spAutoFit/>
          </a:bodyPr>
          <a:lstStyle/>
          <a:p>
            <a:pPr>
              <a:spcBef>
                <a:spcPts val="600"/>
              </a:spcBef>
              <a:buSzPct val="100000"/>
            </a:pPr>
            <a:r>
              <a:rPr lang="en-US" sz="1050" b="1" dirty="0" err="1">
                <a:solidFill>
                  <a:srgbClr val="313131"/>
                </a:solidFill>
                <a:ea typeface="Open Sans Light" panose="020B0306030504020204" pitchFamily="34" charset="0"/>
                <a:cs typeface="Open Sans Light" panose="020B0306030504020204" pitchFamily="34" charset="0"/>
              </a:rPr>
              <a:t>Sirokai</a:t>
            </a:r>
            <a:r>
              <a:rPr lang="en-US" sz="1050" b="1" dirty="0">
                <a:solidFill>
                  <a:srgbClr val="313131"/>
                </a:solidFill>
                <a:ea typeface="Open Sans Light" panose="020B0306030504020204" pitchFamily="34" charset="0"/>
                <a:cs typeface="Open Sans Light" panose="020B0306030504020204" pitchFamily="34" charset="0"/>
              </a:rPr>
              <a:t> József</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Director – CE Operate</a:t>
            </a:r>
          </a:p>
          <a:p>
            <a:pPr>
              <a:spcBef>
                <a:spcPts val="300"/>
              </a:spcBef>
              <a:buSzPct val="100000"/>
            </a:pPr>
            <a:r>
              <a:rPr lang="en-US" sz="1000" dirty="0">
                <a:solidFill>
                  <a:srgbClr val="313131"/>
                </a:solidFill>
                <a:latin typeface="Open Sans Light"/>
                <a:ea typeface="Open Sans Light"/>
                <a:cs typeface="Open Sans Light"/>
              </a:rPr>
              <a:t>20+ years of exp.</a:t>
            </a:r>
            <a:endPar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106" name="Rectangle 105">
            <a:extLst>
              <a:ext uri="{FF2B5EF4-FFF2-40B4-BE49-F238E27FC236}">
                <a16:creationId xmlns:a16="http://schemas.microsoft.com/office/drawing/2014/main" id="{874AF571-D978-82DE-B6CB-44751FF5ACC8}"/>
              </a:ext>
            </a:extLst>
          </p:cNvPr>
          <p:cNvSpPr/>
          <p:nvPr/>
        </p:nvSpPr>
        <p:spPr bwMode="gray">
          <a:xfrm>
            <a:off x="3659929" y="201602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5" name="Rectangle 124">
            <a:extLst>
              <a:ext uri="{FF2B5EF4-FFF2-40B4-BE49-F238E27FC236}">
                <a16:creationId xmlns:a16="http://schemas.microsoft.com/office/drawing/2014/main" id="{874C2E2D-1BD2-F67F-EA28-7A7677A3D75C}"/>
              </a:ext>
            </a:extLst>
          </p:cNvPr>
          <p:cNvSpPr/>
          <p:nvPr/>
        </p:nvSpPr>
        <p:spPr bwMode="gray">
          <a:xfrm>
            <a:off x="6259510" y="2025076"/>
            <a:ext cx="2722478"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8" name="TextBox 127">
            <a:extLst>
              <a:ext uri="{FF2B5EF4-FFF2-40B4-BE49-F238E27FC236}">
                <a16:creationId xmlns:a16="http://schemas.microsoft.com/office/drawing/2014/main" id="{BD5854A9-5BC9-045E-FEB6-D4B82213312C}"/>
              </a:ext>
            </a:extLst>
          </p:cNvPr>
          <p:cNvSpPr txBox="1"/>
          <p:nvPr/>
        </p:nvSpPr>
        <p:spPr>
          <a:xfrm>
            <a:off x="4468057" y="2147003"/>
            <a:ext cx="1484365" cy="738664"/>
          </a:xfrm>
          <a:prstGeom prst="rect">
            <a:avLst/>
          </a:prstGeom>
          <a:noFill/>
        </p:spPr>
        <p:txBody>
          <a:bodyPr wrap="square" lIns="0" tIns="0" rIns="0" bIns="0" rtlCol="0">
            <a:spAutoFit/>
          </a:bodyPr>
          <a:lstStyle/>
          <a:p>
            <a:pPr marR="0" lvl="0" indent="0" fontAlgn="auto">
              <a:lnSpc>
                <a:spcPct val="100000"/>
              </a:lnSpc>
              <a:spcBef>
                <a:spcPts val="600"/>
              </a:spcBef>
              <a:spcAft>
                <a:spcPts val="0"/>
              </a:spcAft>
              <a:buClrTx/>
              <a:buSzPct val="100000"/>
              <a:buFontTx/>
              <a:buNone/>
              <a:tabLst/>
              <a:defRPr/>
            </a:pPr>
            <a:r>
              <a:rPr lang="en-US" sz="1050" b="1" dirty="0">
                <a:solidFill>
                  <a:srgbClr val="313131"/>
                </a:solidFill>
                <a:ea typeface="Open Sans Light" panose="020B0306030504020204" pitchFamily="34" charset="0"/>
                <a:cs typeface="Open Sans Light" panose="020B0306030504020204" pitchFamily="34" charset="0"/>
              </a:rPr>
              <a:t>Krzysztof </a:t>
            </a:r>
            <a:r>
              <a:rPr lang="en-US" sz="1050" b="1" dirty="0" err="1">
                <a:solidFill>
                  <a:srgbClr val="313131"/>
                </a:solidFill>
                <a:ea typeface="Open Sans Light" panose="020B0306030504020204" pitchFamily="34" charset="0"/>
                <a:cs typeface="Open Sans Light" panose="020B0306030504020204" pitchFamily="34" charset="0"/>
              </a:rPr>
              <a:t>Stolarek</a:t>
            </a:r>
            <a:endParaRPr lang="en-US" sz="1050" b="1" dirty="0">
              <a:solidFill>
                <a:srgbClr val="313131"/>
              </a:solidFill>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Manager - Cloud</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00" dirty="0">
                <a:solidFill>
                  <a:srgbClr val="313131"/>
                </a:solidFill>
                <a:latin typeface="Open Sans Light"/>
                <a:ea typeface="Open Sans Light"/>
                <a:cs typeface="Open Sans Light"/>
              </a:rPr>
              <a:t>20</a:t>
            </a:r>
            <a:r>
              <a:rPr kumimoji="0" lang="en-US" sz="1000" b="0" i="0" u="none" strike="noStrike" kern="1200" cap="none" spc="0" normalizeH="0" baseline="0" dirty="0">
                <a:ln>
                  <a:noFill/>
                </a:ln>
                <a:solidFill>
                  <a:srgbClr val="313131"/>
                </a:solidFill>
                <a:effectLst/>
                <a:uLnTx/>
                <a:uFillTx/>
                <a:latin typeface="Open Sans Light"/>
                <a:ea typeface="Open Sans Light"/>
                <a:cs typeface="Open Sans Light"/>
              </a:rPr>
              <a:t> years of exp.</a:t>
            </a:r>
            <a:endParaRPr kumimoji="0" lang="en-US" sz="10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arsaw</a:t>
            </a:r>
          </a:p>
        </p:txBody>
      </p:sp>
      <p:sp>
        <p:nvSpPr>
          <p:cNvPr id="129" name="TextBox 128">
            <a:extLst>
              <a:ext uri="{FF2B5EF4-FFF2-40B4-BE49-F238E27FC236}">
                <a16:creationId xmlns:a16="http://schemas.microsoft.com/office/drawing/2014/main" id="{A6D46EF4-48DD-87E0-55AC-5A8DFAB52783}"/>
              </a:ext>
            </a:extLst>
          </p:cNvPr>
          <p:cNvSpPr txBox="1"/>
          <p:nvPr/>
        </p:nvSpPr>
        <p:spPr>
          <a:xfrm>
            <a:off x="7164694" y="2156397"/>
            <a:ext cx="1484365" cy="738664"/>
          </a:xfrm>
          <a:prstGeom prst="rect">
            <a:avLst/>
          </a:prstGeom>
          <a:noFill/>
        </p:spPr>
        <p:txBody>
          <a:bodyPr wrap="square" lIns="0" tIns="0" rIns="0" bIns="0" rtlCol="0">
            <a:spAutoFit/>
          </a:bodyPr>
          <a:lstStyle/>
          <a:p>
            <a:pPr>
              <a:spcBef>
                <a:spcPts val="600"/>
              </a:spcBef>
              <a:buSzPct val="100000"/>
            </a:pPr>
            <a:r>
              <a:rPr lang="en-US" sz="1050" b="1" dirty="0">
                <a:solidFill>
                  <a:srgbClr val="313131"/>
                </a:solidFill>
                <a:ea typeface="Open Sans Light" panose="020B0306030504020204" pitchFamily="34" charset="0"/>
                <a:cs typeface="Open Sans Light" panose="020B0306030504020204" pitchFamily="34" charset="0"/>
              </a:rPr>
              <a:t>Filip </a:t>
            </a:r>
            <a:r>
              <a:rPr lang="en-US" sz="1050" b="1" dirty="0" err="1">
                <a:solidFill>
                  <a:srgbClr val="313131"/>
                </a:solidFill>
                <a:ea typeface="Open Sans Light" panose="020B0306030504020204" pitchFamily="34" charset="0"/>
                <a:cs typeface="Open Sans Light" panose="020B0306030504020204" pitchFamily="34" charset="0"/>
              </a:rPr>
              <a:t>Fijal</a:t>
            </a:r>
            <a:endParaRPr lang="en-US" sz="1050" b="1" dirty="0">
              <a:solidFill>
                <a:srgbClr val="313131"/>
              </a:solidFill>
              <a:ea typeface="Open Sans Light" panose="020B0306030504020204" pitchFamily="34" charset="0"/>
              <a:cs typeface="Open Sans Light" panose="020B03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enior Manager - HRIS</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7 years of exp.</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Warsaw</a:t>
            </a:r>
          </a:p>
        </p:txBody>
      </p:sp>
      <p:sp>
        <p:nvSpPr>
          <p:cNvPr id="139" name="Rectangle 138">
            <a:extLst>
              <a:ext uri="{FF2B5EF4-FFF2-40B4-BE49-F238E27FC236}">
                <a16:creationId xmlns:a16="http://schemas.microsoft.com/office/drawing/2014/main" id="{D24F5A2A-964F-033E-A1BE-A37D9B8D9E69}"/>
              </a:ext>
            </a:extLst>
          </p:cNvPr>
          <p:cNvSpPr/>
          <p:nvPr/>
        </p:nvSpPr>
        <p:spPr bwMode="gray">
          <a:xfrm>
            <a:off x="3597788" y="3527774"/>
            <a:ext cx="2298105"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pPr>
            <a:endParaRPr lang="en-US" sz="1200" b="1" dirty="0">
              <a:solidFill>
                <a:schemeClr val="bg1"/>
              </a:solidFill>
            </a:endParaRPr>
          </a:p>
        </p:txBody>
      </p:sp>
      <p:sp>
        <p:nvSpPr>
          <p:cNvPr id="141" name="TextBox 140">
            <a:extLst>
              <a:ext uri="{FF2B5EF4-FFF2-40B4-BE49-F238E27FC236}">
                <a16:creationId xmlns:a16="http://schemas.microsoft.com/office/drawing/2014/main" id="{C1E126F8-F431-9388-C8CB-74AC231347F6}"/>
              </a:ext>
            </a:extLst>
          </p:cNvPr>
          <p:cNvSpPr txBox="1"/>
          <p:nvPr/>
        </p:nvSpPr>
        <p:spPr>
          <a:xfrm>
            <a:off x="4369701" y="3658753"/>
            <a:ext cx="1484365" cy="769441"/>
          </a:xfrm>
          <a:prstGeom prst="rect">
            <a:avLst/>
          </a:prstGeom>
          <a:noFill/>
        </p:spPr>
        <p:txBody>
          <a:bodyPr wrap="square" lIns="0" tIns="0" rIns="0" bIns="0" rtlCol="0">
            <a:spAutoFit/>
          </a:bodyPr>
          <a:lstStyle/>
          <a:p>
            <a:pPr marR="0" lvl="0" indent="0" fontAlgn="auto">
              <a:lnSpc>
                <a:spcPct val="100000"/>
              </a:lnSpc>
              <a:spcBef>
                <a:spcPts val="600"/>
              </a:spcBef>
              <a:spcAft>
                <a:spcPts val="0"/>
              </a:spcAft>
              <a:buClrTx/>
              <a:buSzPct val="100000"/>
              <a:buFontTx/>
              <a:buNone/>
              <a:tabLst/>
              <a:defRPr/>
            </a:pPr>
            <a:r>
              <a:rPr lang="en-US" sz="1050" b="1" dirty="0">
                <a:solidFill>
                  <a:srgbClr val="313131"/>
                </a:solidFill>
                <a:ea typeface="Open Sans Light" panose="020B0306030504020204" pitchFamily="34" charset="0"/>
                <a:cs typeface="Open Sans Light" panose="020B0306030504020204" pitchFamily="34" charset="0"/>
              </a:rPr>
              <a:t>File </a:t>
            </a:r>
            <a:r>
              <a:rPr lang="en-US" sz="1050" b="1" dirty="0" err="1">
                <a:solidFill>
                  <a:srgbClr val="313131"/>
                </a:solidFill>
                <a:ea typeface="Open Sans Light" panose="020B0306030504020204" pitchFamily="34" charset="0"/>
                <a:cs typeface="Open Sans Light" panose="020B0306030504020204" pitchFamily="34" charset="0"/>
              </a:rPr>
              <a:t>Ágnes</a:t>
            </a:r>
            <a:endParaRPr lang="en-US" sz="1050" b="1" dirty="0">
              <a:solidFill>
                <a:srgbClr val="313131"/>
              </a:solidFill>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Manager -  Digital</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10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5124" name="Picture 4" descr="Hungary Large Flag | Gallery Yopriceville - High-Quality Free Images ...">
            <a:extLst>
              <a:ext uri="{FF2B5EF4-FFF2-40B4-BE49-F238E27FC236}">
                <a16:creationId xmlns:a16="http://schemas.microsoft.com/office/drawing/2014/main" id="{521CB28C-95F3-7454-4F91-EDA9D87240C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59779" y="2786949"/>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56" name="Picture 4" descr="Hungary Large Flag | Gallery Yopriceville - High-Quality Free Images ...">
            <a:extLst>
              <a:ext uri="{FF2B5EF4-FFF2-40B4-BE49-F238E27FC236}">
                <a16:creationId xmlns:a16="http://schemas.microsoft.com/office/drawing/2014/main" id="{94FFD933-BE6D-850C-C5C5-E1B7CD00BEC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59279" y="4315424"/>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70FFB980-88EB-59B7-E1ED-001B72067921}"/>
              </a:ext>
            </a:extLst>
          </p:cNvPr>
          <p:cNvSpPr/>
          <p:nvPr/>
        </p:nvSpPr>
        <p:spPr bwMode="gray">
          <a:xfrm>
            <a:off x="2872767" y="2479266"/>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BA</a:t>
            </a:r>
            <a:endParaRPr lang="en-US" sz="800" b="1" dirty="0">
              <a:solidFill>
                <a:schemeClr val="accent2">
                  <a:lumMod val="50000"/>
                </a:schemeClr>
              </a:solidFill>
            </a:endParaRP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79B756F-5CA7-461C-723F-D3A46640B769}"/>
              </a:ext>
            </a:extLst>
          </p:cNvPr>
          <p:cNvSpPr txBox="1"/>
          <p:nvPr/>
        </p:nvSpPr>
        <p:spPr>
          <a:xfrm>
            <a:off x="4992364" y="6263625"/>
            <a:ext cx="1061396" cy="176139"/>
          </a:xfrm>
          <a:prstGeom prst="rect">
            <a:avLst/>
          </a:prstGeom>
          <a:noFill/>
        </p:spPr>
        <p:txBody>
          <a:bodyPr wrap="square" lIns="0" tIns="0" rIns="0" bIns="0" rtlCol="0" anchor="t">
            <a:noAutofit/>
          </a:bodyPr>
          <a:lstStyle/>
          <a:p>
            <a:pPr>
              <a:spcAft>
                <a:spcPts val="1000"/>
              </a:spcAft>
            </a:pPr>
            <a:r>
              <a:rPr lang="en-US" sz="900" dirty="0">
                <a:latin typeface="+mj-lt"/>
                <a:ea typeface="Open Sans Light" panose="020B0306030504020204" pitchFamily="34" charset="0"/>
                <a:cs typeface="Open Sans Light" panose="020B0306030504020204" pitchFamily="34" charset="0"/>
              </a:rPr>
              <a:t>SENIORITY LEVELS</a:t>
            </a:r>
          </a:p>
        </p:txBody>
      </p:sp>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Business Analys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Junior Consultan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Manager               (8+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Consultant (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Manager (10+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Project Manager (15+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Oval 35">
            <a:extLst>
              <a:ext uri="{FF2B5EF4-FFF2-40B4-BE49-F238E27FC236}">
                <a16:creationId xmlns:a16="http://schemas.microsoft.com/office/drawing/2014/main" id="{72DF33AF-DF6C-8E3F-2C17-416E75F157C3}"/>
              </a:ext>
            </a:extLst>
          </p:cNvPr>
          <p:cNvSpPr/>
          <p:nvPr/>
        </p:nvSpPr>
        <p:spPr bwMode="gray">
          <a:xfrm>
            <a:off x="5592669" y="2514092"/>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38" name="Oval 37">
            <a:extLst>
              <a:ext uri="{FF2B5EF4-FFF2-40B4-BE49-F238E27FC236}">
                <a16:creationId xmlns:a16="http://schemas.microsoft.com/office/drawing/2014/main" id="{20B78D97-C97E-4760-D25E-079E654B533E}"/>
              </a:ext>
            </a:extLst>
          </p:cNvPr>
          <p:cNvSpPr/>
          <p:nvPr/>
        </p:nvSpPr>
        <p:spPr bwMode="gray">
          <a:xfrm>
            <a:off x="8682297" y="253444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47" name="Rectangle 46">
            <a:extLst>
              <a:ext uri="{FF2B5EF4-FFF2-40B4-BE49-F238E27FC236}">
                <a16:creationId xmlns:a16="http://schemas.microsoft.com/office/drawing/2014/main" id="{C330718C-E34C-5F8E-75A6-9EF9AECC6C4C}"/>
              </a:ext>
            </a:extLst>
          </p:cNvPr>
          <p:cNvSpPr/>
          <p:nvPr/>
        </p:nvSpPr>
        <p:spPr bwMode="gray">
          <a:xfrm>
            <a:off x="9358536" y="2025076"/>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48" name="TextBox 47">
            <a:extLst>
              <a:ext uri="{FF2B5EF4-FFF2-40B4-BE49-F238E27FC236}">
                <a16:creationId xmlns:a16="http://schemas.microsoft.com/office/drawing/2014/main" id="{36FF32DC-0608-88AA-830C-9007770662C6}"/>
              </a:ext>
            </a:extLst>
          </p:cNvPr>
          <p:cNvSpPr txBox="1"/>
          <p:nvPr/>
        </p:nvSpPr>
        <p:spPr>
          <a:xfrm>
            <a:off x="10146811" y="2165108"/>
            <a:ext cx="1484365" cy="738664"/>
          </a:xfrm>
          <a:prstGeom prst="rect">
            <a:avLst/>
          </a:prstGeom>
          <a:noFill/>
        </p:spPr>
        <p:txBody>
          <a:bodyPr wrap="square" lIns="0" tIns="0" rIns="0" bIns="0" rtlCol="0">
            <a:spAutoFit/>
          </a:bodyPr>
          <a:lstStyle/>
          <a:p>
            <a:pPr>
              <a:spcBef>
                <a:spcPts val="600"/>
              </a:spcBef>
              <a:buSzPct val="100000"/>
            </a:pPr>
            <a:r>
              <a:rPr lang="en-US" sz="1050" b="1" dirty="0">
                <a:solidFill>
                  <a:srgbClr val="313131"/>
                </a:solidFill>
                <a:ea typeface="Open Sans Light" panose="020B0306030504020204" pitchFamily="34" charset="0"/>
                <a:cs typeface="Open Sans Light" panose="020B0306030504020204" pitchFamily="34" charset="0"/>
              </a:rPr>
              <a:t>Jiri </a:t>
            </a:r>
            <a:r>
              <a:rPr lang="en-US" sz="1050" b="1" dirty="0" err="1">
                <a:solidFill>
                  <a:srgbClr val="313131"/>
                </a:solidFill>
                <a:ea typeface="Open Sans Light" panose="020B0306030504020204" pitchFamily="34" charset="0"/>
                <a:cs typeface="Open Sans Light" panose="020B0306030504020204" pitchFamily="34" charset="0"/>
              </a:rPr>
              <a:t>Zarsky</a:t>
            </a:r>
            <a:endParaRPr lang="en-US" sz="1050" b="1" dirty="0">
              <a:solidFill>
                <a:srgbClr val="313131"/>
              </a:solidFill>
              <a:ea typeface="Open Sans Light" panose="020B0306030504020204" pitchFamily="34" charset="0"/>
              <a:cs typeface="Open Sans Light" panose="020B03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enior Manager - Data</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7 years of exp.</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Prague</a:t>
            </a:r>
          </a:p>
        </p:txBody>
      </p:sp>
      <p:sp>
        <p:nvSpPr>
          <p:cNvPr id="54" name="Rectangle 53">
            <a:extLst>
              <a:ext uri="{FF2B5EF4-FFF2-40B4-BE49-F238E27FC236}">
                <a16:creationId xmlns:a16="http://schemas.microsoft.com/office/drawing/2014/main" id="{B73EF687-CC29-F641-ED11-1AB0F188B59D}"/>
              </a:ext>
            </a:extLst>
          </p:cNvPr>
          <p:cNvSpPr/>
          <p:nvPr/>
        </p:nvSpPr>
        <p:spPr bwMode="gray">
          <a:xfrm>
            <a:off x="897856" y="3527774"/>
            <a:ext cx="2282477"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pPr>
            <a:endParaRPr lang="en-US" sz="1200" b="1" dirty="0">
              <a:solidFill>
                <a:schemeClr val="bg1"/>
              </a:solidFill>
            </a:endParaRPr>
          </a:p>
        </p:txBody>
      </p:sp>
      <p:sp>
        <p:nvSpPr>
          <p:cNvPr id="55" name="TextBox 54">
            <a:extLst>
              <a:ext uri="{FF2B5EF4-FFF2-40B4-BE49-F238E27FC236}">
                <a16:creationId xmlns:a16="http://schemas.microsoft.com/office/drawing/2014/main" id="{BCAC0D4D-D046-0E69-8044-BEE5F6111D72}"/>
              </a:ext>
            </a:extLst>
          </p:cNvPr>
          <p:cNvSpPr txBox="1"/>
          <p:nvPr/>
        </p:nvSpPr>
        <p:spPr>
          <a:xfrm>
            <a:off x="1724086" y="3658753"/>
            <a:ext cx="1484365" cy="761747"/>
          </a:xfrm>
          <a:prstGeom prst="rect">
            <a:avLst/>
          </a:prstGeom>
          <a:noFill/>
        </p:spPr>
        <p:txBody>
          <a:bodyPr wrap="square" lIns="0" tIns="0" rIns="0" bIns="0" rtlCol="0">
            <a:spAutoFit/>
          </a:bodyPr>
          <a:lstStyle/>
          <a:p>
            <a:pPr>
              <a:spcBef>
                <a:spcPts val="600"/>
              </a:spcBef>
              <a:buSzPct val="100000"/>
              <a:defRPr/>
            </a:pPr>
            <a:r>
              <a:rPr lang="en-US" sz="1050" b="1" dirty="0">
                <a:solidFill>
                  <a:srgbClr val="313131"/>
                </a:solidFill>
                <a:ea typeface="Open Sans Light" panose="020B0306030504020204" pitchFamily="34" charset="0"/>
                <a:cs typeface="Open Sans Light" panose="020B0306030504020204" pitchFamily="34" charset="0"/>
              </a:rPr>
              <a:t>Kiss </a:t>
            </a:r>
            <a:r>
              <a:rPr lang="en-US" sz="1050" b="1" dirty="0" err="1">
                <a:solidFill>
                  <a:srgbClr val="313131"/>
                </a:solidFill>
                <a:ea typeface="Open Sans Light" panose="020B0306030504020204" pitchFamily="34" charset="0"/>
                <a:cs typeface="Open Sans Light" panose="020B0306030504020204" pitchFamily="34" charset="0"/>
              </a:rPr>
              <a:t>Ákos</a:t>
            </a:r>
            <a:endParaRPr lang="en-US" sz="1050" b="1" dirty="0">
              <a:solidFill>
                <a:srgbClr val="313131"/>
              </a:solidFill>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Manager - SAP</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7</a:t>
            </a: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56" name="Picture 4" descr="Hungary Large Flag | Gallery Yopriceville - High-Quality Free Images ...">
            <a:extLst>
              <a:ext uri="{FF2B5EF4-FFF2-40B4-BE49-F238E27FC236}">
                <a16:creationId xmlns:a16="http://schemas.microsoft.com/office/drawing/2014/main" id="{7F72C73D-B2F0-5819-A793-C057DC0ABC8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28057" y="4315424"/>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A2AB564D-1D1C-2E33-CC2B-F0DAAC7D03D6}"/>
              </a:ext>
            </a:extLst>
          </p:cNvPr>
          <p:cNvSpPr/>
          <p:nvPr/>
        </p:nvSpPr>
        <p:spPr bwMode="gray">
          <a:xfrm>
            <a:off x="6277650" y="3527774"/>
            <a:ext cx="2661822"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pPr>
            <a:endParaRPr lang="en-US" sz="1200" b="1" dirty="0">
              <a:solidFill>
                <a:schemeClr val="bg1"/>
              </a:solidFill>
            </a:endParaRPr>
          </a:p>
        </p:txBody>
      </p:sp>
      <p:sp>
        <p:nvSpPr>
          <p:cNvPr id="62" name="TextBox 61">
            <a:extLst>
              <a:ext uri="{FF2B5EF4-FFF2-40B4-BE49-F238E27FC236}">
                <a16:creationId xmlns:a16="http://schemas.microsoft.com/office/drawing/2014/main" id="{DC0EAF42-F85E-1E08-6D19-A27095EF7F25}"/>
              </a:ext>
            </a:extLst>
          </p:cNvPr>
          <p:cNvSpPr txBox="1"/>
          <p:nvPr/>
        </p:nvSpPr>
        <p:spPr>
          <a:xfrm>
            <a:off x="7013310" y="3658753"/>
            <a:ext cx="1862751" cy="769441"/>
          </a:xfrm>
          <a:prstGeom prst="rect">
            <a:avLst/>
          </a:prstGeom>
          <a:noFill/>
        </p:spPr>
        <p:txBody>
          <a:bodyPr wrap="square" lIns="0" tIns="0" rIns="0" bIns="0" rtlCol="0">
            <a:spAutoFit/>
          </a:bodyPr>
          <a:lstStyle/>
          <a:p>
            <a:pPr marR="0" lvl="0" indent="0" fontAlgn="auto">
              <a:lnSpc>
                <a:spcPct val="100000"/>
              </a:lnSpc>
              <a:spcBef>
                <a:spcPts val="600"/>
              </a:spcBef>
              <a:spcAft>
                <a:spcPts val="0"/>
              </a:spcAft>
              <a:buClrTx/>
              <a:buSzPct val="100000"/>
              <a:buFontTx/>
              <a:buNone/>
              <a:tabLst/>
              <a:defRPr/>
            </a:pPr>
            <a:r>
              <a:rPr lang="en-US" sz="1050" b="1" dirty="0">
                <a:solidFill>
                  <a:srgbClr val="313131"/>
                </a:solidFill>
                <a:ea typeface="Open Sans Light" panose="020B0306030504020204" pitchFamily="34" charset="0"/>
                <a:cs typeface="Open Sans Light" panose="020B0306030504020204" pitchFamily="34" charset="0"/>
              </a:rPr>
              <a:t>Tomasz </a:t>
            </a:r>
            <a:r>
              <a:rPr lang="en-US" sz="1050" b="1" dirty="0" err="1">
                <a:solidFill>
                  <a:srgbClr val="313131"/>
                </a:solidFill>
                <a:ea typeface="Open Sans Light" panose="020B0306030504020204" pitchFamily="34" charset="0"/>
                <a:cs typeface="Open Sans Light" panose="020B0306030504020204" pitchFamily="34" charset="0"/>
              </a:rPr>
              <a:t>Suchanek</a:t>
            </a:r>
            <a:endParaRPr lang="en-US" sz="1050" b="1" dirty="0">
              <a:solidFill>
                <a:srgbClr val="313131"/>
              </a:solidFill>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Manager - ServiceNow</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1</a:t>
            </a: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Katowice</a:t>
            </a:r>
          </a:p>
        </p:txBody>
      </p:sp>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8" cstate="email">
            <a:duotone>
              <a:prstClr val="black"/>
              <a:schemeClr val="accent4">
                <a:tint val="45000"/>
                <a:satMod val="400000"/>
              </a:scheme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pic>
        <p:nvPicPr>
          <p:cNvPr id="8" name="Picture 7" descr="A person wearing glasses and a suit&#10;&#10;Description automatically generated">
            <a:extLst>
              <a:ext uri="{FF2B5EF4-FFF2-40B4-BE49-F238E27FC236}">
                <a16:creationId xmlns:a16="http://schemas.microsoft.com/office/drawing/2014/main" id="{D249C973-5955-E551-D012-D6096C32C7B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83926" y="2197876"/>
            <a:ext cx="628077" cy="628077"/>
          </a:xfrm>
          <a:prstGeom prst="flowChartConnector">
            <a:avLst/>
          </a:prstGeom>
          <a:noFill/>
          <a:effectLst>
            <a:outerShdw blurRad="50800" dist="38100" dir="2700000" algn="tl" rotWithShape="0">
              <a:prstClr val="black">
                <a:alpha val="40000"/>
              </a:prstClr>
            </a:outerShdw>
          </a:effectLst>
        </p:spPr>
      </p:pic>
      <p:pic>
        <p:nvPicPr>
          <p:cNvPr id="29" name="Picture Placeholder 3">
            <a:extLst>
              <a:ext uri="{FF2B5EF4-FFF2-40B4-BE49-F238E27FC236}">
                <a16:creationId xmlns:a16="http://schemas.microsoft.com/office/drawing/2014/main" id="{60B9867B-3153-FA32-B0E6-D91EA89F14B3}"/>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rot="900000">
            <a:off x="3702131" y="2184159"/>
            <a:ext cx="670605" cy="670605"/>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40" name="Picture 39" descr="A red and white flag&#10;&#10;Description automatically generated">
            <a:extLst>
              <a:ext uri="{FF2B5EF4-FFF2-40B4-BE49-F238E27FC236}">
                <a16:creationId xmlns:a16="http://schemas.microsoft.com/office/drawing/2014/main" id="{ED22F811-35FC-4E85-9935-3195D5245628}"/>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569828" y="2786317"/>
            <a:ext cx="284238" cy="174527"/>
          </a:xfrm>
          <a:prstGeom prst="rect">
            <a:avLst/>
          </a:prstGeom>
          <a:noFill/>
          <a:effectLst>
            <a:outerShdw blurRad="50800" dist="38100" dir="2700000" algn="tl" rotWithShape="0">
              <a:prstClr val="black">
                <a:alpha val="40000"/>
              </a:prstClr>
            </a:outerShdw>
          </a:effectLst>
        </p:spPr>
      </p:pic>
      <p:sp>
        <p:nvSpPr>
          <p:cNvPr id="41" name="Oval 40">
            <a:extLst>
              <a:ext uri="{FF2B5EF4-FFF2-40B4-BE49-F238E27FC236}">
                <a16:creationId xmlns:a16="http://schemas.microsoft.com/office/drawing/2014/main" id="{C7B379C9-62ED-D644-E9F2-2877C2460448}"/>
              </a:ext>
            </a:extLst>
          </p:cNvPr>
          <p:cNvSpPr/>
          <p:nvPr/>
        </p:nvSpPr>
        <p:spPr bwMode="gray">
          <a:xfrm>
            <a:off x="11287561" y="253444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44" name="Oval 43">
            <a:extLst>
              <a:ext uri="{FF2B5EF4-FFF2-40B4-BE49-F238E27FC236}">
                <a16:creationId xmlns:a16="http://schemas.microsoft.com/office/drawing/2014/main" id="{6CA3DCB7-E68C-5ABB-E198-588754107C8D}"/>
              </a:ext>
            </a:extLst>
          </p:cNvPr>
          <p:cNvSpPr/>
          <p:nvPr/>
        </p:nvSpPr>
        <p:spPr bwMode="gray">
          <a:xfrm>
            <a:off x="2821247" y="404783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pic>
        <p:nvPicPr>
          <p:cNvPr id="1026" name="Picture 2">
            <a:extLst>
              <a:ext uri="{FF2B5EF4-FFF2-40B4-BE49-F238E27FC236}">
                <a16:creationId xmlns:a16="http://schemas.microsoft.com/office/drawing/2014/main" id="{36B9F67C-419A-A201-80AE-BE25CBDE6134}"/>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965501" y="3676263"/>
            <a:ext cx="675410" cy="678017"/>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5" name="Picture 44" descr="A red and white flag&#10;&#10;Description automatically generated">
            <a:extLst>
              <a:ext uri="{FF2B5EF4-FFF2-40B4-BE49-F238E27FC236}">
                <a16:creationId xmlns:a16="http://schemas.microsoft.com/office/drawing/2014/main" id="{11A390AE-E707-E1FD-9688-4F318037DD6B}"/>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8660429" y="2800972"/>
            <a:ext cx="284238" cy="174527"/>
          </a:xfrm>
          <a:prstGeom prst="rect">
            <a:avLst/>
          </a:prstGeom>
          <a:noFill/>
          <a:effectLst>
            <a:outerShdw blurRad="50800" dist="38100" dir="2700000" algn="tl" rotWithShape="0">
              <a:prstClr val="black">
                <a:alpha val="40000"/>
              </a:prstClr>
            </a:outerShdw>
          </a:effectLst>
        </p:spPr>
      </p:pic>
      <p:pic>
        <p:nvPicPr>
          <p:cNvPr id="52" name="Picture 51" descr="A flag with a blue and red triangle&#10;&#10;Description automatically generated">
            <a:extLst>
              <a:ext uri="{FF2B5EF4-FFF2-40B4-BE49-F238E27FC236}">
                <a16:creationId xmlns:a16="http://schemas.microsoft.com/office/drawing/2014/main" id="{CFB38708-FB11-B94B-D509-FFB68064B17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285577" y="2810694"/>
            <a:ext cx="268032" cy="160819"/>
          </a:xfrm>
          <a:prstGeom prst="rect">
            <a:avLst/>
          </a:prstGeom>
          <a:noFill/>
          <a:effectLst>
            <a:outerShdw blurRad="50800" dist="38100" dir="2700000" algn="tl" rotWithShape="0">
              <a:prstClr val="black">
                <a:alpha val="40000"/>
              </a:prstClr>
            </a:outerShdw>
          </a:effectLst>
        </p:spPr>
      </p:pic>
      <p:sp>
        <p:nvSpPr>
          <p:cNvPr id="59" name="Oval 58">
            <a:extLst>
              <a:ext uri="{FF2B5EF4-FFF2-40B4-BE49-F238E27FC236}">
                <a16:creationId xmlns:a16="http://schemas.microsoft.com/office/drawing/2014/main" id="{0750EA4F-7006-9CC4-719C-E591689DA44C}"/>
              </a:ext>
            </a:extLst>
          </p:cNvPr>
          <p:cNvSpPr/>
          <p:nvPr/>
        </p:nvSpPr>
        <p:spPr bwMode="gray">
          <a:xfrm>
            <a:off x="5576592" y="405257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pic>
        <p:nvPicPr>
          <p:cNvPr id="66" name="Picture 65" descr="A person in a suit&#10;&#10;Description automatically generated">
            <a:extLst>
              <a:ext uri="{FF2B5EF4-FFF2-40B4-BE49-F238E27FC236}">
                <a16:creationId xmlns:a16="http://schemas.microsoft.com/office/drawing/2014/main" id="{EF7BA24F-8659-21FA-FA74-480577F89A2C}"/>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23947" y="2200924"/>
            <a:ext cx="659575" cy="659575"/>
          </a:xfrm>
          <a:prstGeom prst="flowChartConnector">
            <a:avLst/>
          </a:prstGeom>
          <a:noFill/>
          <a:effectLst>
            <a:outerShdw blurRad="50800" dist="38100" dir="2700000" algn="tl" rotWithShape="0">
              <a:prstClr val="black">
                <a:alpha val="40000"/>
              </a:prstClr>
            </a:outerShdw>
          </a:effectLst>
        </p:spPr>
      </p:pic>
      <p:sp>
        <p:nvSpPr>
          <p:cNvPr id="70" name="Oval 69">
            <a:extLst>
              <a:ext uri="{FF2B5EF4-FFF2-40B4-BE49-F238E27FC236}">
                <a16:creationId xmlns:a16="http://schemas.microsoft.com/office/drawing/2014/main" id="{57127A23-C926-6727-54DD-A20148284EB6}"/>
              </a:ext>
            </a:extLst>
          </p:cNvPr>
          <p:cNvSpPr/>
          <p:nvPr/>
        </p:nvSpPr>
        <p:spPr bwMode="gray">
          <a:xfrm>
            <a:off x="8594367" y="4039626"/>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pic>
        <p:nvPicPr>
          <p:cNvPr id="73" name="Picture 72" descr="A person wearing glasses and looking at the camera&#10;&#10;Description automatically generated">
            <a:extLst>
              <a:ext uri="{FF2B5EF4-FFF2-40B4-BE49-F238E27FC236}">
                <a16:creationId xmlns:a16="http://schemas.microsoft.com/office/drawing/2014/main" id="{4BD6F39B-468D-729C-3558-E690D98B1C79}"/>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6268878" y="3655865"/>
            <a:ext cx="708162" cy="700804"/>
          </a:xfrm>
          <a:prstGeom prst="flowChartConnector">
            <a:avLst/>
          </a:prstGeom>
          <a:noFill/>
          <a:effectLst>
            <a:outerShdw blurRad="50800" dist="38100" dir="2700000" algn="tl" rotWithShape="0">
              <a:prstClr val="black">
                <a:alpha val="40000"/>
              </a:prstClr>
            </a:outerShdw>
          </a:effectLst>
        </p:spPr>
      </p:pic>
      <p:pic>
        <p:nvPicPr>
          <p:cNvPr id="74" name="Picture 73" descr="A red and white flag&#10;&#10;Description automatically generated">
            <a:extLst>
              <a:ext uri="{FF2B5EF4-FFF2-40B4-BE49-F238E27FC236}">
                <a16:creationId xmlns:a16="http://schemas.microsoft.com/office/drawing/2014/main" id="{92F6B2CB-695F-4F9B-E62D-BB0FCCD6FDC7}"/>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8538729" y="4310935"/>
            <a:ext cx="284238" cy="174527"/>
          </a:xfrm>
          <a:prstGeom prst="rect">
            <a:avLst/>
          </a:prstGeom>
          <a:noFill/>
          <a:effectLst>
            <a:outerShdw blurRad="50800" dist="38100" dir="2700000" algn="tl" rotWithShape="0">
              <a:prstClr val="black">
                <a:alpha val="40000"/>
              </a:prstClr>
            </a:outerShdw>
          </a:effectLst>
        </p:spPr>
      </p:pic>
      <p:sp>
        <p:nvSpPr>
          <p:cNvPr id="75" name="Rectangle 74">
            <a:extLst>
              <a:ext uri="{FF2B5EF4-FFF2-40B4-BE49-F238E27FC236}">
                <a16:creationId xmlns:a16="http://schemas.microsoft.com/office/drawing/2014/main" id="{EE931518-E655-858C-F3BB-C9F45A5C7A53}"/>
              </a:ext>
            </a:extLst>
          </p:cNvPr>
          <p:cNvSpPr/>
          <p:nvPr/>
        </p:nvSpPr>
        <p:spPr bwMode="gray">
          <a:xfrm>
            <a:off x="9371813" y="3536232"/>
            <a:ext cx="2532803"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6" name="TextBox 75">
            <a:extLst>
              <a:ext uri="{FF2B5EF4-FFF2-40B4-BE49-F238E27FC236}">
                <a16:creationId xmlns:a16="http://schemas.microsoft.com/office/drawing/2014/main" id="{494D538B-0D63-AD37-4340-3A16D28C80CD}"/>
              </a:ext>
            </a:extLst>
          </p:cNvPr>
          <p:cNvSpPr txBox="1"/>
          <p:nvPr/>
        </p:nvSpPr>
        <p:spPr>
          <a:xfrm>
            <a:off x="10160089" y="3676264"/>
            <a:ext cx="1657442" cy="892552"/>
          </a:xfrm>
          <a:prstGeom prst="rect">
            <a:avLst/>
          </a:prstGeom>
          <a:noFill/>
        </p:spPr>
        <p:txBody>
          <a:bodyPr wrap="square" lIns="0" tIns="0" rIns="0" bIns="0" rtlCol="0">
            <a:spAutoFit/>
          </a:bodyPr>
          <a:lstStyle/>
          <a:p>
            <a:pPr>
              <a:spcBef>
                <a:spcPts val="600"/>
              </a:spcBef>
              <a:buSzPct val="100000"/>
            </a:pPr>
            <a:r>
              <a:rPr lang="en-US" sz="1050" b="1" dirty="0">
                <a:solidFill>
                  <a:srgbClr val="313131"/>
                </a:solidFill>
                <a:ea typeface="Open Sans Light" panose="020B0306030504020204" pitchFamily="34" charset="0"/>
                <a:cs typeface="Open Sans Light" panose="020B0306030504020204" pitchFamily="34" charset="0"/>
              </a:rPr>
              <a:t>Michal </a:t>
            </a:r>
            <a:r>
              <a:rPr lang="en-US" sz="1050" b="1" dirty="0" err="1">
                <a:solidFill>
                  <a:srgbClr val="313131"/>
                </a:solidFill>
                <a:ea typeface="Open Sans Light" panose="020B0306030504020204" pitchFamily="34" charset="0"/>
                <a:cs typeface="Open Sans Light" panose="020B0306030504020204" pitchFamily="34" charset="0"/>
              </a:rPr>
              <a:t>Jaskiewicz</a:t>
            </a:r>
            <a:endParaRPr lang="en-US" sz="1050" b="1" dirty="0">
              <a:solidFill>
                <a:srgbClr val="313131"/>
              </a:solidFill>
              <a:ea typeface="Open Sans Light" panose="020B0306030504020204" pitchFamily="34" charset="0"/>
              <a:cs typeface="Open Sans Light" panose="020B03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enior Manager – DevOps &amp; Full Stack </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6 years of exp.</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Gdansk</a:t>
            </a:r>
          </a:p>
        </p:txBody>
      </p:sp>
      <p:sp>
        <p:nvSpPr>
          <p:cNvPr id="77" name="Oval 76">
            <a:extLst>
              <a:ext uri="{FF2B5EF4-FFF2-40B4-BE49-F238E27FC236}">
                <a16:creationId xmlns:a16="http://schemas.microsoft.com/office/drawing/2014/main" id="{6B1673F9-9BE6-70CC-7AE6-17AB824EABD9}"/>
              </a:ext>
            </a:extLst>
          </p:cNvPr>
          <p:cNvSpPr/>
          <p:nvPr/>
        </p:nvSpPr>
        <p:spPr bwMode="gray">
          <a:xfrm>
            <a:off x="11588931" y="404892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pic>
        <p:nvPicPr>
          <p:cNvPr id="83" name="Picture 82" descr="A person with a beard&#10;&#10;Description automatically generated">
            <a:extLst>
              <a:ext uri="{FF2B5EF4-FFF2-40B4-BE49-F238E27FC236}">
                <a16:creationId xmlns:a16="http://schemas.microsoft.com/office/drawing/2014/main" id="{7935FC67-4DE0-8AA4-C3EE-ABAD039C299C}"/>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399931" y="3663775"/>
            <a:ext cx="716933" cy="716933"/>
          </a:xfrm>
          <a:prstGeom prst="flowChartConnector">
            <a:avLst/>
          </a:prstGeom>
          <a:noFill/>
          <a:effectLst>
            <a:outerShdw blurRad="50800" dist="38100" dir="2700000" algn="tl" rotWithShape="0">
              <a:prstClr val="black">
                <a:alpha val="40000"/>
              </a:prstClr>
            </a:outerShdw>
          </a:effectLst>
        </p:spPr>
      </p:pic>
      <p:pic>
        <p:nvPicPr>
          <p:cNvPr id="84" name="Picture 83" descr="A red and white flag&#10;&#10;Description automatically generated">
            <a:extLst>
              <a:ext uri="{FF2B5EF4-FFF2-40B4-BE49-F238E27FC236}">
                <a16:creationId xmlns:a16="http://schemas.microsoft.com/office/drawing/2014/main" id="{AC8808D4-B1EC-7310-7B9B-4DA88FE57163}"/>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553609" y="4330292"/>
            <a:ext cx="284238" cy="174527"/>
          </a:xfrm>
          <a:prstGeom prst="rect">
            <a:avLst/>
          </a:prstGeom>
          <a:noFill/>
          <a:effectLst>
            <a:outerShdw blurRad="50800" dist="38100" dir="2700000" algn="tl" rotWithShape="0">
              <a:prstClr val="black">
                <a:alpha val="40000"/>
              </a:prstClr>
            </a:outerShdw>
          </a:effectLst>
        </p:spPr>
      </p:pic>
      <p:sp>
        <p:nvSpPr>
          <p:cNvPr id="85" name="Title 1">
            <a:extLst>
              <a:ext uri="{FF2B5EF4-FFF2-40B4-BE49-F238E27FC236}">
                <a16:creationId xmlns:a16="http://schemas.microsoft.com/office/drawing/2014/main" id="{3010BDC8-AA3F-429D-7018-B9836629CCE2}"/>
              </a:ext>
            </a:extLst>
          </p:cNvPr>
          <p:cNvSpPr txBox="1">
            <a:spLocks/>
          </p:cNvSpPr>
          <p:nvPr/>
        </p:nvSpPr>
        <p:spPr bwMode="gray">
          <a:xfrm>
            <a:off x="934080" y="5065591"/>
            <a:ext cx="10970535" cy="787400"/>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1400" dirty="0">
                <a:solidFill>
                  <a:prstClr val="black"/>
                </a:solidFill>
              </a:rPr>
              <a:t>We have selected some of our team members that we believe will help UNICEF provide efficient and high-quality support &amp; maintenance services. </a:t>
            </a:r>
            <a:r>
              <a:rPr lang="en-US" sz="1400" b="1" dirty="0">
                <a:solidFill>
                  <a:prstClr val="black"/>
                </a:solidFill>
              </a:rPr>
              <a:t>Our team with over 200+ engineers </a:t>
            </a:r>
            <a:r>
              <a:rPr lang="en-US" sz="1400" b="1">
                <a:solidFill>
                  <a:prstClr val="black"/>
                </a:solidFill>
              </a:rPr>
              <a:t>in </a:t>
            </a:r>
            <a:r>
              <a:rPr lang="en-US" sz="1400" b="1" dirty="0">
                <a:solidFill>
                  <a:prstClr val="black"/>
                </a:solidFill>
              </a:rPr>
              <a:t>our </a:t>
            </a:r>
            <a:r>
              <a:rPr lang="en-US" sz="1400" b="1">
                <a:solidFill>
                  <a:prstClr val="black"/>
                </a:solidFill>
              </a:rPr>
              <a:t>CE </a:t>
            </a:r>
            <a:r>
              <a:rPr lang="en-US" sz="1400" b="1" dirty="0">
                <a:solidFill>
                  <a:prstClr val="black"/>
                </a:solidFill>
              </a:rPr>
              <a:t>region </a:t>
            </a:r>
            <a:r>
              <a:rPr lang="en-US" sz="1400" dirty="0">
                <a:solidFill>
                  <a:prstClr val="black"/>
                </a:solidFill>
              </a:rPr>
              <a:t>is able to answer the call, at scale, to further enable UNICEF’s success.</a:t>
            </a:r>
          </a:p>
        </p:txBody>
      </p:sp>
      <p:pic>
        <p:nvPicPr>
          <p:cNvPr id="86" name="Picture Placeholder 30">
            <a:extLst>
              <a:ext uri="{FF2B5EF4-FFF2-40B4-BE49-F238E27FC236}">
                <a16:creationId xmlns:a16="http://schemas.microsoft.com/office/drawing/2014/main" id="{287E962C-62E2-728B-7076-E82659BFB740}"/>
              </a:ext>
            </a:extLst>
          </p:cNvPr>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a:xfrm>
            <a:off x="6304679" y="2118058"/>
            <a:ext cx="767609" cy="767609"/>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87" name="Picture 86">
            <a:extLst>
              <a:ext uri="{FF2B5EF4-FFF2-40B4-BE49-F238E27FC236}">
                <a16:creationId xmlns:a16="http://schemas.microsoft.com/office/drawing/2014/main" id="{0A242115-9DC0-5BF9-C60C-691E2D35E465}"/>
              </a:ext>
            </a:extLst>
          </p:cNvPr>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3619489" y="3676244"/>
            <a:ext cx="721749" cy="723739"/>
          </a:xfrm>
          <a:prstGeom prst="flowChartConnector">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98624642"/>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a:ea typeface="+mn-ea"/>
                <a:cs typeface="+mn-cs"/>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Support and Maintenance Credential Tombstones</a:t>
            </a: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Support and Maintenance</a:t>
            </a:r>
          </a:p>
        </p:txBody>
      </p:sp>
      <p:sp>
        <p:nvSpPr>
          <p:cNvPr id="5" name="Rectangle 4">
            <a:extLst>
              <a:ext uri="{FF2B5EF4-FFF2-40B4-BE49-F238E27FC236}">
                <a16:creationId xmlns:a16="http://schemas.microsoft.com/office/drawing/2014/main" id="{23D5FFFB-7A41-86E3-5757-19AC57B1E822}"/>
              </a:ext>
            </a:extLst>
          </p:cNvPr>
          <p:cNvSpPr/>
          <p:nvPr/>
        </p:nvSpPr>
        <p:spPr bwMode="gray">
          <a:xfrm>
            <a:off x="8031211"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0" name="Rectangle 19">
            <a:extLst>
              <a:ext uri="{FF2B5EF4-FFF2-40B4-BE49-F238E27FC236}">
                <a16:creationId xmlns:a16="http://schemas.microsoft.com/office/drawing/2014/main" id="{2CC0A158-507D-267E-DD0F-2359B3CCD69A}"/>
              </a:ext>
            </a:extLst>
          </p:cNvPr>
          <p:cNvSpPr/>
          <p:nvPr/>
        </p:nvSpPr>
        <p:spPr bwMode="gray">
          <a:xfrm>
            <a:off x="8023320"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8" name="TextBox 7">
            <a:extLst>
              <a:ext uri="{FF2B5EF4-FFF2-40B4-BE49-F238E27FC236}">
                <a16:creationId xmlns:a16="http://schemas.microsoft.com/office/drawing/2014/main" id="{63282888-74DB-BEEA-8796-97E3A9B3F7BD}"/>
              </a:ext>
            </a:extLst>
          </p:cNvPr>
          <p:cNvSpPr txBox="1"/>
          <p:nvPr/>
        </p:nvSpPr>
        <p:spPr>
          <a:xfrm>
            <a:off x="8194795" y="1699835"/>
            <a:ext cx="2424997" cy="246222"/>
          </a:xfrm>
          <a:prstGeom prst="rect">
            <a:avLst/>
          </a:prstGeom>
          <a:noFill/>
        </p:spPr>
        <p:txBody>
          <a:bodyPr wrap="square" lIns="0" tIns="0" rIns="0" bIns="0" rtlCol="0" anchor="t">
            <a:noAutofit/>
          </a:bodyPr>
          <a:lstStyle/>
          <a:p>
            <a:r>
              <a:rPr lang="en-US" sz="900" b="1" dirty="0">
                <a:solidFill>
                  <a:schemeClr val="bg1"/>
                </a:solidFill>
              </a:rPr>
              <a:t>AUTOMOTIVE COMPANY</a:t>
            </a:r>
          </a:p>
        </p:txBody>
      </p:sp>
      <p:grpSp>
        <p:nvGrpSpPr>
          <p:cNvPr id="22" name="Group 21">
            <a:extLst>
              <a:ext uri="{FF2B5EF4-FFF2-40B4-BE49-F238E27FC236}">
                <a16:creationId xmlns:a16="http://schemas.microsoft.com/office/drawing/2014/main" id="{68CAB38A-8D40-D640-8DBC-A743DCC161D4}"/>
              </a:ext>
            </a:extLst>
          </p:cNvPr>
          <p:cNvGrpSpPr/>
          <p:nvPr/>
        </p:nvGrpSpPr>
        <p:grpSpPr>
          <a:xfrm>
            <a:off x="9229054" y="3339355"/>
            <a:ext cx="1704190" cy="306056"/>
            <a:chOff x="2050976" y="3519440"/>
            <a:chExt cx="1704190" cy="306056"/>
          </a:xfrm>
        </p:grpSpPr>
        <p:sp>
          <p:nvSpPr>
            <p:cNvPr id="18" name="Rectangle: Rounded Corners 17">
              <a:extLst>
                <a:ext uri="{FF2B5EF4-FFF2-40B4-BE49-F238E27FC236}">
                  <a16:creationId xmlns:a16="http://schemas.microsoft.com/office/drawing/2014/main" id="{5FBED754-A311-3D18-C57B-0CD5A35A1707}"/>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 name="TextBox 18">
              <a:extLst>
                <a:ext uri="{FF2B5EF4-FFF2-40B4-BE49-F238E27FC236}">
                  <a16:creationId xmlns:a16="http://schemas.microsoft.com/office/drawing/2014/main" id="{CB5E46A5-34D1-0CFA-C99E-7F55BA48EDCE}"/>
                </a:ext>
              </a:extLst>
            </p:cNvPr>
            <p:cNvSpPr txBox="1"/>
            <p:nvPr/>
          </p:nvSpPr>
          <p:spPr>
            <a:xfrm>
              <a:off x="2129352" y="3579274"/>
              <a:ext cx="1496350"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FULL STACK SUPPORT &amp; DEVOPS</a:t>
              </a:r>
              <a:endParaRPr lang="en-US" sz="800" b="1" dirty="0">
                <a:latin typeface="+mj-lt"/>
                <a:ea typeface="Open Sans Light" panose="020B0306030504020204" pitchFamily="34" charset="0"/>
                <a:cs typeface="Open Sans Light" panose="020B0306030504020204" pitchFamily="34" charset="0"/>
              </a:endParaRPr>
            </a:p>
          </p:txBody>
        </p:sp>
      </p:grpSp>
      <p:sp>
        <p:nvSpPr>
          <p:cNvPr id="129" name="TextBox 128">
            <a:extLst>
              <a:ext uri="{FF2B5EF4-FFF2-40B4-BE49-F238E27FC236}">
                <a16:creationId xmlns:a16="http://schemas.microsoft.com/office/drawing/2014/main" id="{7D51D67F-A064-D48F-02D5-A2115A22C22D}"/>
              </a:ext>
            </a:extLst>
          </p:cNvPr>
          <p:cNvSpPr txBox="1"/>
          <p:nvPr/>
        </p:nvSpPr>
        <p:spPr>
          <a:xfrm>
            <a:off x="8186041" y="2612833"/>
            <a:ext cx="2817796"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Implementation, systems and maintenance support for a streamlined release and deployment process using microservices through a CI/CD pipeline.</a:t>
            </a:r>
          </a:p>
        </p:txBody>
      </p:sp>
      <p:sp>
        <p:nvSpPr>
          <p:cNvPr id="13" name="TextBox 12">
            <a:extLst>
              <a:ext uri="{FF2B5EF4-FFF2-40B4-BE49-F238E27FC236}">
                <a16:creationId xmlns:a16="http://schemas.microsoft.com/office/drawing/2014/main" id="{D21B3168-0BF6-290F-DD93-E590EACE2EA1}"/>
              </a:ext>
            </a:extLst>
          </p:cNvPr>
          <p:cNvSpPr txBox="1"/>
          <p:nvPr/>
        </p:nvSpPr>
        <p:spPr>
          <a:xfrm>
            <a:off x="8186041" y="221534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FULL STACK SYSTEM PLATFORM AND DEVOPS SUPPORT</a:t>
            </a:r>
          </a:p>
        </p:txBody>
      </p:sp>
      <p:sp>
        <p:nvSpPr>
          <p:cNvPr id="14" name="Rectangle 13">
            <a:extLst>
              <a:ext uri="{FF2B5EF4-FFF2-40B4-BE49-F238E27FC236}">
                <a16:creationId xmlns:a16="http://schemas.microsoft.com/office/drawing/2014/main" id="{9DB648EF-8476-4A03-2C11-9178E2030D2C}"/>
              </a:ext>
            </a:extLst>
          </p:cNvPr>
          <p:cNvSpPr/>
          <p:nvPr/>
        </p:nvSpPr>
        <p:spPr bwMode="gray">
          <a:xfrm>
            <a:off x="1012681"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39" name="Rectangle 38">
            <a:extLst>
              <a:ext uri="{FF2B5EF4-FFF2-40B4-BE49-F238E27FC236}">
                <a16:creationId xmlns:a16="http://schemas.microsoft.com/office/drawing/2014/main" id="{30E643F9-9AFB-7F1D-A760-95B452450FC8}"/>
              </a:ext>
            </a:extLst>
          </p:cNvPr>
          <p:cNvSpPr/>
          <p:nvPr/>
        </p:nvSpPr>
        <p:spPr bwMode="gray">
          <a:xfrm>
            <a:off x="1014518"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40" name="TextBox 39">
            <a:extLst>
              <a:ext uri="{FF2B5EF4-FFF2-40B4-BE49-F238E27FC236}">
                <a16:creationId xmlns:a16="http://schemas.microsoft.com/office/drawing/2014/main" id="{0438F638-92A7-4437-0857-B8718F77E13A}"/>
              </a:ext>
            </a:extLst>
          </p:cNvPr>
          <p:cNvSpPr txBox="1"/>
          <p:nvPr/>
        </p:nvSpPr>
        <p:spPr>
          <a:xfrm>
            <a:off x="1147081" y="1699835"/>
            <a:ext cx="2424997" cy="246222"/>
          </a:xfrm>
          <a:prstGeom prst="rect">
            <a:avLst/>
          </a:prstGeom>
          <a:noFill/>
        </p:spPr>
        <p:txBody>
          <a:bodyPr wrap="square" lIns="0" tIns="0" rIns="0" bIns="0" rtlCol="0" anchor="t">
            <a:noAutofit/>
          </a:bodyPr>
          <a:lstStyle/>
          <a:p>
            <a:r>
              <a:rPr lang="ro-RO" sz="900" b="1" dirty="0">
                <a:solidFill>
                  <a:schemeClr val="bg1"/>
                </a:solidFill>
              </a:rPr>
              <a:t>INTERNATIONAL </a:t>
            </a:r>
            <a:r>
              <a:rPr lang="en-US" sz="900" b="1" dirty="0">
                <a:solidFill>
                  <a:schemeClr val="bg1"/>
                </a:solidFill>
              </a:rPr>
              <a:t>FINANCIAL </a:t>
            </a:r>
            <a:r>
              <a:rPr lang="ro-RO" sz="900" b="1" dirty="0">
                <a:solidFill>
                  <a:schemeClr val="bg1"/>
                </a:solidFill>
              </a:rPr>
              <a:t>COMPANY </a:t>
            </a:r>
            <a:endParaRPr lang="en-US" sz="900" b="1" dirty="0">
              <a:solidFill>
                <a:schemeClr val="bg1"/>
              </a:solidFill>
            </a:endParaRPr>
          </a:p>
        </p:txBody>
      </p:sp>
      <p:sp>
        <p:nvSpPr>
          <p:cNvPr id="122" name="Flowchart: Connector 121">
            <a:extLst>
              <a:ext uri="{FF2B5EF4-FFF2-40B4-BE49-F238E27FC236}">
                <a16:creationId xmlns:a16="http://schemas.microsoft.com/office/drawing/2014/main" id="{7D3078D8-E59C-B6FB-EF19-6FC84FFF05EC}"/>
              </a:ext>
            </a:extLst>
          </p:cNvPr>
          <p:cNvSpPr/>
          <p:nvPr/>
        </p:nvSpPr>
        <p:spPr bwMode="gray">
          <a:xfrm>
            <a:off x="3659356" y="1570071"/>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24" name="Group 531">
            <a:extLst>
              <a:ext uri="{FF2B5EF4-FFF2-40B4-BE49-F238E27FC236}">
                <a16:creationId xmlns:a16="http://schemas.microsoft.com/office/drawing/2014/main" id="{1F6AE038-CADC-C2F9-6D79-AFF8180F4732}"/>
              </a:ext>
            </a:extLst>
          </p:cNvPr>
          <p:cNvGrpSpPr>
            <a:grpSpLocks noChangeAspect="1"/>
          </p:cNvGrpSpPr>
          <p:nvPr/>
        </p:nvGrpSpPr>
        <p:grpSpPr bwMode="auto">
          <a:xfrm>
            <a:off x="3641897" y="1518743"/>
            <a:ext cx="489164" cy="489164"/>
            <a:chOff x="3061" y="1953"/>
            <a:chExt cx="340" cy="340"/>
          </a:xfrm>
          <a:solidFill>
            <a:srgbClr val="9DD4CF"/>
          </a:solidFill>
        </p:grpSpPr>
        <p:sp>
          <p:nvSpPr>
            <p:cNvPr id="125"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2" name="Group 141">
            <a:extLst>
              <a:ext uri="{FF2B5EF4-FFF2-40B4-BE49-F238E27FC236}">
                <a16:creationId xmlns:a16="http://schemas.microsoft.com/office/drawing/2014/main" id="{B180359B-0667-661C-787D-E013F443D110}"/>
              </a:ext>
            </a:extLst>
          </p:cNvPr>
          <p:cNvGrpSpPr/>
          <p:nvPr/>
        </p:nvGrpSpPr>
        <p:grpSpPr>
          <a:xfrm>
            <a:off x="2210524" y="3339355"/>
            <a:ext cx="1704190" cy="306056"/>
            <a:chOff x="2050976" y="3519440"/>
            <a:chExt cx="1704190" cy="306056"/>
          </a:xfrm>
        </p:grpSpPr>
        <p:sp>
          <p:nvSpPr>
            <p:cNvPr id="143" name="Rectangle: Rounded Corners 142">
              <a:extLst>
                <a:ext uri="{FF2B5EF4-FFF2-40B4-BE49-F238E27FC236}">
                  <a16:creationId xmlns:a16="http://schemas.microsoft.com/office/drawing/2014/main" id="{EF5B7140-15FD-0460-4881-C713C8767A08}"/>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4" name="TextBox 143">
              <a:extLst>
                <a:ext uri="{FF2B5EF4-FFF2-40B4-BE49-F238E27FC236}">
                  <a16:creationId xmlns:a16="http://schemas.microsoft.com/office/drawing/2014/main" id="{B1FD2A87-B822-C52F-A05B-735E59FE3A4A}"/>
                </a:ext>
              </a:extLst>
            </p:cNvPr>
            <p:cNvSpPr txBox="1"/>
            <p:nvPr/>
          </p:nvSpPr>
          <p:spPr>
            <a:xfrm>
              <a:off x="224493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DATA OPERATIONS</a:t>
              </a:r>
              <a:endParaRPr lang="en-US" sz="800" b="1" dirty="0">
                <a:latin typeface="+mj-lt"/>
                <a:ea typeface="Open Sans Light" panose="020B0306030504020204" pitchFamily="34" charset="0"/>
                <a:cs typeface="Open Sans Light" panose="020B0306030504020204" pitchFamily="34" charset="0"/>
              </a:endParaRPr>
            </a:p>
          </p:txBody>
        </p:sp>
      </p:grpSp>
      <p:sp>
        <p:nvSpPr>
          <p:cNvPr id="145" name="TextBox 144">
            <a:extLst>
              <a:ext uri="{FF2B5EF4-FFF2-40B4-BE49-F238E27FC236}">
                <a16:creationId xmlns:a16="http://schemas.microsoft.com/office/drawing/2014/main" id="{883D69FE-0988-760E-0D05-72A43C585874}"/>
              </a:ext>
            </a:extLst>
          </p:cNvPr>
          <p:cNvSpPr txBox="1"/>
          <p:nvPr/>
        </p:nvSpPr>
        <p:spPr>
          <a:xfrm>
            <a:off x="1138327" y="2612833"/>
            <a:ext cx="2780590"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Implemented and still providing automation, data operations and systems support services to an international organization enabling the client to avoid significant reputational damage.</a:t>
            </a:r>
          </a:p>
        </p:txBody>
      </p:sp>
      <p:sp>
        <p:nvSpPr>
          <p:cNvPr id="146" name="TextBox 145">
            <a:extLst>
              <a:ext uri="{FF2B5EF4-FFF2-40B4-BE49-F238E27FC236}">
                <a16:creationId xmlns:a16="http://schemas.microsoft.com/office/drawing/2014/main" id="{9C653446-6E12-F57B-15F9-1D7879EFFEE6}"/>
              </a:ext>
            </a:extLst>
          </p:cNvPr>
          <p:cNvSpPr txBox="1"/>
          <p:nvPr/>
        </p:nvSpPr>
        <p:spPr>
          <a:xfrm>
            <a:off x="1138327" y="221534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EARLY WARNING SYSTEM FOR CREDIT RISKS</a:t>
            </a:r>
          </a:p>
        </p:txBody>
      </p:sp>
      <p:sp>
        <p:nvSpPr>
          <p:cNvPr id="147" name="Rectangle 146">
            <a:extLst>
              <a:ext uri="{FF2B5EF4-FFF2-40B4-BE49-F238E27FC236}">
                <a16:creationId xmlns:a16="http://schemas.microsoft.com/office/drawing/2014/main" id="{735C1D2F-26FC-2D9A-0A41-F54EEF30FB92}"/>
              </a:ext>
            </a:extLst>
          </p:cNvPr>
          <p:cNvSpPr/>
          <p:nvPr/>
        </p:nvSpPr>
        <p:spPr bwMode="gray">
          <a:xfrm>
            <a:off x="4561134"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8" name="Rectangle 147">
            <a:extLst>
              <a:ext uri="{FF2B5EF4-FFF2-40B4-BE49-F238E27FC236}">
                <a16:creationId xmlns:a16="http://schemas.microsoft.com/office/drawing/2014/main" id="{1B6D349D-C10A-5588-8900-AF5B7C72CE8C}"/>
              </a:ext>
            </a:extLst>
          </p:cNvPr>
          <p:cNvSpPr/>
          <p:nvPr/>
        </p:nvSpPr>
        <p:spPr bwMode="gray">
          <a:xfrm>
            <a:off x="4543515"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9" name="TextBox 148">
            <a:extLst>
              <a:ext uri="{FF2B5EF4-FFF2-40B4-BE49-F238E27FC236}">
                <a16:creationId xmlns:a16="http://schemas.microsoft.com/office/drawing/2014/main" id="{DC2158EA-3D77-8F0E-2364-B8431216278E}"/>
              </a:ext>
            </a:extLst>
          </p:cNvPr>
          <p:cNvSpPr txBox="1"/>
          <p:nvPr/>
        </p:nvSpPr>
        <p:spPr>
          <a:xfrm>
            <a:off x="4695534" y="1699835"/>
            <a:ext cx="2424997" cy="246222"/>
          </a:xfrm>
          <a:prstGeom prst="rect">
            <a:avLst/>
          </a:prstGeom>
          <a:noFill/>
        </p:spPr>
        <p:txBody>
          <a:bodyPr wrap="square" lIns="0" tIns="0" rIns="0" bIns="0" rtlCol="0" anchor="t">
            <a:noAutofit/>
          </a:bodyPr>
          <a:lstStyle/>
          <a:p>
            <a:r>
              <a:rPr lang="en-US" sz="900" b="1" dirty="0">
                <a:solidFill>
                  <a:schemeClr val="bg1"/>
                </a:solidFill>
              </a:rPr>
              <a:t>AUTOMOTIVE COMPANY</a:t>
            </a:r>
          </a:p>
        </p:txBody>
      </p:sp>
      <p:sp>
        <p:nvSpPr>
          <p:cNvPr id="150" name="Flowchart: Connector 149">
            <a:extLst>
              <a:ext uri="{FF2B5EF4-FFF2-40B4-BE49-F238E27FC236}">
                <a16:creationId xmlns:a16="http://schemas.microsoft.com/office/drawing/2014/main" id="{6DE11E07-4C60-AE0B-A881-64DD14025476}"/>
              </a:ext>
            </a:extLst>
          </p:cNvPr>
          <p:cNvSpPr/>
          <p:nvPr/>
        </p:nvSpPr>
        <p:spPr bwMode="gray">
          <a:xfrm>
            <a:off x="7207809" y="1570071"/>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54" name="Group 153">
            <a:extLst>
              <a:ext uri="{FF2B5EF4-FFF2-40B4-BE49-F238E27FC236}">
                <a16:creationId xmlns:a16="http://schemas.microsoft.com/office/drawing/2014/main" id="{E2A9F0D2-8AFF-73E2-3D78-5E5D4D7F20DB}"/>
              </a:ext>
            </a:extLst>
          </p:cNvPr>
          <p:cNvGrpSpPr/>
          <p:nvPr/>
        </p:nvGrpSpPr>
        <p:grpSpPr>
          <a:xfrm>
            <a:off x="5758977" y="3339355"/>
            <a:ext cx="1704190" cy="306056"/>
            <a:chOff x="2050976" y="3519440"/>
            <a:chExt cx="1704190" cy="306056"/>
          </a:xfrm>
        </p:grpSpPr>
        <p:sp>
          <p:nvSpPr>
            <p:cNvPr id="155" name="Rectangle: Rounded Corners 154">
              <a:extLst>
                <a:ext uri="{FF2B5EF4-FFF2-40B4-BE49-F238E27FC236}">
                  <a16:creationId xmlns:a16="http://schemas.microsoft.com/office/drawing/2014/main" id="{36C419E1-E418-3805-D1CE-7C41B27D8B01}"/>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56" name="TextBox 155">
              <a:extLst>
                <a:ext uri="{FF2B5EF4-FFF2-40B4-BE49-F238E27FC236}">
                  <a16:creationId xmlns:a16="http://schemas.microsoft.com/office/drawing/2014/main" id="{2B4D19C9-4D65-FC1B-FA7E-44DA9CD9BC9B}"/>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DATA OPERATIONS</a:t>
              </a:r>
              <a:endParaRPr lang="en-US" sz="800" b="1" dirty="0">
                <a:latin typeface="+mj-lt"/>
                <a:ea typeface="Open Sans Light" panose="020B0306030504020204" pitchFamily="34" charset="0"/>
                <a:cs typeface="Open Sans Light" panose="020B0306030504020204" pitchFamily="34" charset="0"/>
              </a:endParaRPr>
            </a:p>
          </p:txBody>
        </p:sp>
      </p:grpSp>
      <p:sp>
        <p:nvSpPr>
          <p:cNvPr id="157" name="TextBox 156">
            <a:extLst>
              <a:ext uri="{FF2B5EF4-FFF2-40B4-BE49-F238E27FC236}">
                <a16:creationId xmlns:a16="http://schemas.microsoft.com/office/drawing/2014/main" id="{1ECD6F58-A535-A242-FE13-BC47D85F11BD}"/>
              </a:ext>
            </a:extLst>
          </p:cNvPr>
          <p:cNvSpPr txBox="1"/>
          <p:nvPr/>
        </p:nvSpPr>
        <p:spPr>
          <a:xfrm>
            <a:off x="4706235" y="2612833"/>
            <a:ext cx="2879518"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Delivered and still providing data operations and systems support services to a number of international automotive companies to enable compliance with regulatory reporting.</a:t>
            </a:r>
          </a:p>
        </p:txBody>
      </p:sp>
      <p:sp>
        <p:nvSpPr>
          <p:cNvPr id="158" name="TextBox 157">
            <a:extLst>
              <a:ext uri="{FF2B5EF4-FFF2-40B4-BE49-F238E27FC236}">
                <a16:creationId xmlns:a16="http://schemas.microsoft.com/office/drawing/2014/main" id="{0D684CFD-E92B-65A3-52C0-5F36B58274E6}"/>
              </a:ext>
            </a:extLst>
          </p:cNvPr>
          <p:cNvSpPr txBox="1"/>
          <p:nvPr/>
        </p:nvSpPr>
        <p:spPr>
          <a:xfrm>
            <a:off x="4706235" y="2215344"/>
            <a:ext cx="2529523" cy="233109"/>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a:spcAft>
                <a:spcPts val="1000"/>
              </a:spcAft>
            </a:pPr>
            <a:r>
              <a:rPr lang="en-US" sz="900" b="1" dirty="0">
                <a:solidFill>
                  <a:srgbClr val="00B0F2"/>
                </a:solidFill>
                <a:ea typeface="Open Sans Light" panose="020B0306030504020204" pitchFamily="34" charset="0"/>
                <a:cs typeface="Open Sans Light" panose="020B0306030504020204" pitchFamily="34" charset="0"/>
              </a:rPr>
              <a:t>REGULATORY REPORTING SOLUTION</a:t>
            </a:r>
          </a:p>
        </p:txBody>
      </p:sp>
      <p:sp>
        <p:nvSpPr>
          <p:cNvPr id="161" name="Rectangle 160">
            <a:extLst>
              <a:ext uri="{FF2B5EF4-FFF2-40B4-BE49-F238E27FC236}">
                <a16:creationId xmlns:a16="http://schemas.microsoft.com/office/drawing/2014/main" id="{188F9994-5227-1AF7-B863-35AB42AF2865}"/>
              </a:ext>
            </a:extLst>
          </p:cNvPr>
          <p:cNvSpPr/>
          <p:nvPr/>
        </p:nvSpPr>
        <p:spPr bwMode="gray">
          <a:xfrm>
            <a:off x="968905" y="4462318"/>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2" name="Rectangle 161">
            <a:extLst>
              <a:ext uri="{FF2B5EF4-FFF2-40B4-BE49-F238E27FC236}">
                <a16:creationId xmlns:a16="http://schemas.microsoft.com/office/drawing/2014/main" id="{3567DDAE-BD14-2D38-5110-561C65945373}"/>
              </a:ext>
            </a:extLst>
          </p:cNvPr>
          <p:cNvSpPr/>
          <p:nvPr/>
        </p:nvSpPr>
        <p:spPr bwMode="gray">
          <a:xfrm>
            <a:off x="961014" y="4011965"/>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3" name="TextBox 162">
            <a:extLst>
              <a:ext uri="{FF2B5EF4-FFF2-40B4-BE49-F238E27FC236}">
                <a16:creationId xmlns:a16="http://schemas.microsoft.com/office/drawing/2014/main" id="{757556D0-82C4-571F-7019-F245A0C20034}"/>
              </a:ext>
            </a:extLst>
          </p:cNvPr>
          <p:cNvSpPr txBox="1"/>
          <p:nvPr/>
        </p:nvSpPr>
        <p:spPr>
          <a:xfrm>
            <a:off x="1103305" y="4161790"/>
            <a:ext cx="2424997" cy="246222"/>
          </a:xfrm>
          <a:prstGeom prst="rect">
            <a:avLst/>
          </a:prstGeom>
          <a:noFill/>
        </p:spPr>
        <p:txBody>
          <a:bodyPr wrap="square" lIns="0" tIns="0" rIns="0" bIns="0" rtlCol="0" anchor="t">
            <a:noAutofit/>
          </a:bodyPr>
          <a:lstStyle/>
          <a:p>
            <a:r>
              <a:rPr lang="en-US" sz="900" b="1" dirty="0">
                <a:solidFill>
                  <a:schemeClr val="bg1"/>
                </a:solidFill>
              </a:rPr>
              <a:t>GLOBAL ONLINE RETAILER</a:t>
            </a:r>
          </a:p>
        </p:txBody>
      </p:sp>
      <p:sp>
        <p:nvSpPr>
          <p:cNvPr id="164" name="Flowchart: Connector 163">
            <a:extLst>
              <a:ext uri="{FF2B5EF4-FFF2-40B4-BE49-F238E27FC236}">
                <a16:creationId xmlns:a16="http://schemas.microsoft.com/office/drawing/2014/main" id="{2FD0A1D8-DFFF-25E5-CA52-9E218A46EC4B}"/>
              </a:ext>
            </a:extLst>
          </p:cNvPr>
          <p:cNvSpPr/>
          <p:nvPr/>
        </p:nvSpPr>
        <p:spPr bwMode="gray">
          <a:xfrm>
            <a:off x="3615579" y="403202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68" name="Group 167">
            <a:extLst>
              <a:ext uri="{FF2B5EF4-FFF2-40B4-BE49-F238E27FC236}">
                <a16:creationId xmlns:a16="http://schemas.microsoft.com/office/drawing/2014/main" id="{D7F91792-5860-35C1-FA34-74717D3E82E1}"/>
              </a:ext>
            </a:extLst>
          </p:cNvPr>
          <p:cNvGrpSpPr/>
          <p:nvPr/>
        </p:nvGrpSpPr>
        <p:grpSpPr>
          <a:xfrm>
            <a:off x="2166748" y="5791582"/>
            <a:ext cx="1704190" cy="306056"/>
            <a:chOff x="2050976" y="3519440"/>
            <a:chExt cx="1704190" cy="306056"/>
          </a:xfrm>
        </p:grpSpPr>
        <p:sp>
          <p:nvSpPr>
            <p:cNvPr id="169" name="Rectangle: Rounded Corners 168">
              <a:extLst>
                <a:ext uri="{FF2B5EF4-FFF2-40B4-BE49-F238E27FC236}">
                  <a16:creationId xmlns:a16="http://schemas.microsoft.com/office/drawing/2014/main" id="{B9510B86-02F5-E550-4EA2-8C825D733FF7}"/>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0" name="TextBox 169">
              <a:extLst>
                <a:ext uri="{FF2B5EF4-FFF2-40B4-BE49-F238E27FC236}">
                  <a16:creationId xmlns:a16="http://schemas.microsoft.com/office/drawing/2014/main" id="{8A287CEA-6E97-4A48-7049-3C04FDD3118F}"/>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SUPPORT &amp; MAINTENANCE</a:t>
              </a:r>
              <a:endParaRPr lang="en-US" sz="800" b="1" dirty="0">
                <a:latin typeface="+mj-lt"/>
                <a:ea typeface="Open Sans Light" panose="020B0306030504020204" pitchFamily="34" charset="0"/>
                <a:cs typeface="Open Sans Light" panose="020B0306030504020204" pitchFamily="34" charset="0"/>
              </a:endParaRPr>
            </a:p>
          </p:txBody>
        </p:sp>
      </p:grpSp>
      <p:sp>
        <p:nvSpPr>
          <p:cNvPr id="171" name="TextBox 170">
            <a:extLst>
              <a:ext uri="{FF2B5EF4-FFF2-40B4-BE49-F238E27FC236}">
                <a16:creationId xmlns:a16="http://schemas.microsoft.com/office/drawing/2014/main" id="{721D9BC5-87A7-1A57-DB42-619A9F8D967F}"/>
              </a:ext>
            </a:extLst>
          </p:cNvPr>
          <p:cNvSpPr txBox="1"/>
          <p:nvPr/>
        </p:nvSpPr>
        <p:spPr>
          <a:xfrm>
            <a:off x="1104279" y="5074786"/>
            <a:ext cx="2534326"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System support and maintenance services to enhance operational efficiency through customized HRIS solution alignment, reducing manual work and streamlining processes.</a:t>
            </a:r>
          </a:p>
        </p:txBody>
      </p:sp>
      <p:sp>
        <p:nvSpPr>
          <p:cNvPr id="172" name="TextBox 171">
            <a:extLst>
              <a:ext uri="{FF2B5EF4-FFF2-40B4-BE49-F238E27FC236}">
                <a16:creationId xmlns:a16="http://schemas.microsoft.com/office/drawing/2014/main" id="{27A02338-5481-10EB-2D56-5C27F9FE461C}"/>
              </a:ext>
            </a:extLst>
          </p:cNvPr>
          <p:cNvSpPr txBox="1"/>
          <p:nvPr/>
        </p:nvSpPr>
        <p:spPr>
          <a:xfrm>
            <a:off x="1104279" y="4667571"/>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HRIS SOLUTION PLATFORM SUPPORT</a:t>
            </a:r>
          </a:p>
        </p:txBody>
      </p:sp>
      <p:grpSp>
        <p:nvGrpSpPr>
          <p:cNvPr id="173" name="Group 172">
            <a:extLst>
              <a:ext uri="{FF2B5EF4-FFF2-40B4-BE49-F238E27FC236}">
                <a16:creationId xmlns:a16="http://schemas.microsoft.com/office/drawing/2014/main" id="{E732E4DD-B9DB-2CE0-0BF8-F48C1FBED926}"/>
              </a:ext>
            </a:extLst>
          </p:cNvPr>
          <p:cNvGrpSpPr/>
          <p:nvPr/>
        </p:nvGrpSpPr>
        <p:grpSpPr>
          <a:xfrm>
            <a:off x="3591661" y="3981789"/>
            <a:ext cx="492328" cy="493776"/>
            <a:chOff x="7366067" y="6713969"/>
            <a:chExt cx="492328" cy="493776"/>
          </a:xfrm>
        </p:grpSpPr>
        <p:sp>
          <p:nvSpPr>
            <p:cNvPr id="15" name="Flowchart: Connector 14">
              <a:extLst>
                <a:ext uri="{FF2B5EF4-FFF2-40B4-BE49-F238E27FC236}">
                  <a16:creationId xmlns:a16="http://schemas.microsoft.com/office/drawing/2014/main" id="{118F51FE-FC01-3FA7-F009-CF92B097BE5D}"/>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11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77" name="Rectangle 176">
            <a:extLst>
              <a:ext uri="{FF2B5EF4-FFF2-40B4-BE49-F238E27FC236}">
                <a16:creationId xmlns:a16="http://schemas.microsoft.com/office/drawing/2014/main" id="{9C5C4AF6-D554-A9B6-6DAA-8CD5DDB69248}"/>
              </a:ext>
            </a:extLst>
          </p:cNvPr>
          <p:cNvSpPr/>
          <p:nvPr/>
        </p:nvSpPr>
        <p:spPr bwMode="gray">
          <a:xfrm>
            <a:off x="4578635" y="4462318"/>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8" name="Rectangle 177">
            <a:extLst>
              <a:ext uri="{FF2B5EF4-FFF2-40B4-BE49-F238E27FC236}">
                <a16:creationId xmlns:a16="http://schemas.microsoft.com/office/drawing/2014/main" id="{B4C022AC-E05C-58B4-20E8-4BFAF8CB8531}"/>
              </a:ext>
            </a:extLst>
          </p:cNvPr>
          <p:cNvSpPr/>
          <p:nvPr/>
        </p:nvSpPr>
        <p:spPr bwMode="gray">
          <a:xfrm>
            <a:off x="4570744" y="4011965"/>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9" name="TextBox 178">
            <a:extLst>
              <a:ext uri="{FF2B5EF4-FFF2-40B4-BE49-F238E27FC236}">
                <a16:creationId xmlns:a16="http://schemas.microsoft.com/office/drawing/2014/main" id="{D84CF974-E33C-3D3E-31AE-70E6D82CDD9C}"/>
              </a:ext>
            </a:extLst>
          </p:cNvPr>
          <p:cNvSpPr txBox="1"/>
          <p:nvPr/>
        </p:nvSpPr>
        <p:spPr>
          <a:xfrm>
            <a:off x="4713035" y="4161790"/>
            <a:ext cx="2424997" cy="246222"/>
          </a:xfrm>
          <a:prstGeom prst="rect">
            <a:avLst/>
          </a:prstGeom>
          <a:noFill/>
        </p:spPr>
        <p:txBody>
          <a:bodyPr wrap="square" lIns="0" tIns="0" rIns="0" bIns="0" rtlCol="0" anchor="t">
            <a:noAutofit/>
          </a:bodyPr>
          <a:lstStyle/>
          <a:p>
            <a:r>
              <a:rPr lang="en-US" sz="900" b="1" dirty="0">
                <a:solidFill>
                  <a:schemeClr val="bg1"/>
                </a:solidFill>
              </a:rPr>
              <a:t>FINANCIAL SERVICES</a:t>
            </a:r>
          </a:p>
        </p:txBody>
      </p:sp>
      <p:grpSp>
        <p:nvGrpSpPr>
          <p:cNvPr id="181" name="Group 180">
            <a:extLst>
              <a:ext uri="{FF2B5EF4-FFF2-40B4-BE49-F238E27FC236}">
                <a16:creationId xmlns:a16="http://schemas.microsoft.com/office/drawing/2014/main" id="{50BCF8BE-2304-AADC-E51C-2EDE5860C917}"/>
              </a:ext>
            </a:extLst>
          </p:cNvPr>
          <p:cNvGrpSpPr/>
          <p:nvPr/>
        </p:nvGrpSpPr>
        <p:grpSpPr>
          <a:xfrm>
            <a:off x="5776478" y="5791582"/>
            <a:ext cx="1704190" cy="296328"/>
            <a:chOff x="2050976" y="3519440"/>
            <a:chExt cx="1704190" cy="296328"/>
          </a:xfrm>
        </p:grpSpPr>
        <p:sp>
          <p:nvSpPr>
            <p:cNvPr id="182" name="Rectangle: Rounded Corners 181">
              <a:extLst>
                <a:ext uri="{FF2B5EF4-FFF2-40B4-BE49-F238E27FC236}">
                  <a16:creationId xmlns:a16="http://schemas.microsoft.com/office/drawing/2014/main" id="{EF4FEBC4-5D7A-CB1B-588E-3B0D417A3DBB}"/>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83" name="TextBox 182">
              <a:extLst>
                <a:ext uri="{FF2B5EF4-FFF2-40B4-BE49-F238E27FC236}">
                  <a16:creationId xmlns:a16="http://schemas.microsoft.com/office/drawing/2014/main" id="{A36145F1-FD25-E19A-4EE6-AD3BAF02EAF0}"/>
                </a:ext>
              </a:extLst>
            </p:cNvPr>
            <p:cNvSpPr txBox="1"/>
            <p:nvPr/>
          </p:nvSpPr>
          <p:spPr>
            <a:xfrm>
              <a:off x="2165090" y="3569546"/>
              <a:ext cx="1491410"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CLOUD OPERATIONS &amp; SUPPORT</a:t>
              </a:r>
              <a:endParaRPr lang="en-US" sz="800" b="1" dirty="0">
                <a:latin typeface="+mj-lt"/>
                <a:ea typeface="Open Sans Light" panose="020B0306030504020204" pitchFamily="34" charset="0"/>
                <a:cs typeface="Open Sans Light" panose="020B0306030504020204" pitchFamily="34" charset="0"/>
              </a:endParaRPr>
            </a:p>
          </p:txBody>
        </p:sp>
      </p:grpSp>
      <p:sp>
        <p:nvSpPr>
          <p:cNvPr id="184" name="TextBox 183">
            <a:extLst>
              <a:ext uri="{FF2B5EF4-FFF2-40B4-BE49-F238E27FC236}">
                <a16:creationId xmlns:a16="http://schemas.microsoft.com/office/drawing/2014/main" id="{61027E31-F5C0-5145-59D9-67AB5008D491}"/>
              </a:ext>
            </a:extLst>
          </p:cNvPr>
          <p:cNvSpPr txBox="1"/>
          <p:nvPr/>
        </p:nvSpPr>
        <p:spPr>
          <a:xfrm>
            <a:off x="4723737" y="5074786"/>
            <a:ext cx="2534326"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Implementation and support of a comprehensive solution for IFRS9 &amp; IFRS17 for annual reporting and credit risk analysis, including Enhancement support for all future releases.</a:t>
            </a:r>
          </a:p>
        </p:txBody>
      </p:sp>
      <p:sp>
        <p:nvSpPr>
          <p:cNvPr id="185" name="TextBox 184">
            <a:extLst>
              <a:ext uri="{FF2B5EF4-FFF2-40B4-BE49-F238E27FC236}">
                <a16:creationId xmlns:a16="http://schemas.microsoft.com/office/drawing/2014/main" id="{DB5DBAE5-F587-03D9-60B5-FC50DEF1E19E}"/>
              </a:ext>
            </a:extLst>
          </p:cNvPr>
          <p:cNvSpPr txBox="1"/>
          <p:nvPr/>
        </p:nvSpPr>
        <p:spPr>
          <a:xfrm>
            <a:off x="4723737" y="4667571"/>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FINWARE CLOUD SOLUTION SUPPORT</a:t>
            </a:r>
          </a:p>
        </p:txBody>
      </p:sp>
      <p:sp>
        <p:nvSpPr>
          <p:cNvPr id="192" name="Rectangle 191">
            <a:extLst>
              <a:ext uri="{FF2B5EF4-FFF2-40B4-BE49-F238E27FC236}">
                <a16:creationId xmlns:a16="http://schemas.microsoft.com/office/drawing/2014/main" id="{2A05AA23-5FF1-2A33-4CE6-24837DC2AA96}"/>
              </a:ext>
            </a:extLst>
          </p:cNvPr>
          <p:cNvSpPr/>
          <p:nvPr/>
        </p:nvSpPr>
        <p:spPr bwMode="gray">
          <a:xfrm>
            <a:off x="8039345" y="4462318"/>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3" name="Rectangle 192">
            <a:extLst>
              <a:ext uri="{FF2B5EF4-FFF2-40B4-BE49-F238E27FC236}">
                <a16:creationId xmlns:a16="http://schemas.microsoft.com/office/drawing/2014/main" id="{98E846DD-C12A-D3B2-9F84-AB179578CA56}"/>
              </a:ext>
            </a:extLst>
          </p:cNvPr>
          <p:cNvSpPr/>
          <p:nvPr/>
        </p:nvSpPr>
        <p:spPr bwMode="gray">
          <a:xfrm>
            <a:off x="8031454" y="4011965"/>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4" name="TextBox 193">
            <a:extLst>
              <a:ext uri="{FF2B5EF4-FFF2-40B4-BE49-F238E27FC236}">
                <a16:creationId xmlns:a16="http://schemas.microsoft.com/office/drawing/2014/main" id="{7C8711B0-6613-5BFE-B7E2-028ACB12F17E}"/>
              </a:ext>
            </a:extLst>
          </p:cNvPr>
          <p:cNvSpPr txBox="1"/>
          <p:nvPr/>
        </p:nvSpPr>
        <p:spPr>
          <a:xfrm>
            <a:off x="8173745" y="4161790"/>
            <a:ext cx="2424997" cy="246222"/>
          </a:xfrm>
          <a:prstGeom prst="rect">
            <a:avLst/>
          </a:prstGeom>
          <a:noFill/>
        </p:spPr>
        <p:txBody>
          <a:bodyPr wrap="square" lIns="0" tIns="0" rIns="0" bIns="0" rtlCol="0" anchor="t">
            <a:noAutofit/>
          </a:bodyPr>
          <a:lstStyle/>
          <a:p>
            <a:r>
              <a:rPr lang="en-US" sz="900" b="1" dirty="0">
                <a:solidFill>
                  <a:schemeClr val="bg1"/>
                </a:solidFill>
              </a:rPr>
              <a:t>LIFE SCIENCE AND HEALTHCARE CLIENT</a:t>
            </a:r>
          </a:p>
        </p:txBody>
      </p:sp>
      <p:sp>
        <p:nvSpPr>
          <p:cNvPr id="195" name="Flowchart: Connector 194">
            <a:extLst>
              <a:ext uri="{FF2B5EF4-FFF2-40B4-BE49-F238E27FC236}">
                <a16:creationId xmlns:a16="http://schemas.microsoft.com/office/drawing/2014/main" id="{EAF092BA-60DE-497C-3215-A9E33B35D59E}"/>
              </a:ext>
            </a:extLst>
          </p:cNvPr>
          <p:cNvSpPr/>
          <p:nvPr/>
        </p:nvSpPr>
        <p:spPr bwMode="gray">
          <a:xfrm>
            <a:off x="10686019" y="403202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96" name="Group 195">
            <a:extLst>
              <a:ext uri="{FF2B5EF4-FFF2-40B4-BE49-F238E27FC236}">
                <a16:creationId xmlns:a16="http://schemas.microsoft.com/office/drawing/2014/main" id="{31472C03-E625-56F5-2C1B-A4B7FD30678D}"/>
              </a:ext>
            </a:extLst>
          </p:cNvPr>
          <p:cNvGrpSpPr/>
          <p:nvPr/>
        </p:nvGrpSpPr>
        <p:grpSpPr>
          <a:xfrm>
            <a:off x="9237188" y="5791582"/>
            <a:ext cx="1704190" cy="296328"/>
            <a:chOff x="2050976" y="3519440"/>
            <a:chExt cx="1704190" cy="296328"/>
          </a:xfrm>
        </p:grpSpPr>
        <p:sp>
          <p:nvSpPr>
            <p:cNvPr id="197" name="Rectangle: Rounded Corners 196">
              <a:extLst>
                <a:ext uri="{FF2B5EF4-FFF2-40B4-BE49-F238E27FC236}">
                  <a16:creationId xmlns:a16="http://schemas.microsoft.com/office/drawing/2014/main" id="{1011736E-81B9-85C7-0849-449A5D83E4E5}"/>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8" name="TextBox 197">
              <a:extLst>
                <a:ext uri="{FF2B5EF4-FFF2-40B4-BE49-F238E27FC236}">
                  <a16:creationId xmlns:a16="http://schemas.microsoft.com/office/drawing/2014/main" id="{5336F759-4849-079B-309C-A6B4F11009B6}"/>
                </a:ext>
              </a:extLst>
            </p:cNvPr>
            <p:cNvSpPr txBox="1"/>
            <p:nvPr/>
          </p:nvSpPr>
          <p:spPr>
            <a:xfrm>
              <a:off x="2291550" y="3569546"/>
              <a:ext cx="1366846"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DIGITAL PLATFORM SUPPORT</a:t>
              </a:r>
              <a:endParaRPr lang="en-US" sz="800" b="1" dirty="0">
                <a:latin typeface="+mj-lt"/>
                <a:ea typeface="Open Sans Light" panose="020B0306030504020204" pitchFamily="34" charset="0"/>
                <a:cs typeface="Open Sans Light" panose="020B0306030504020204" pitchFamily="34" charset="0"/>
              </a:endParaRPr>
            </a:p>
          </p:txBody>
        </p:sp>
      </p:grpSp>
      <p:sp>
        <p:nvSpPr>
          <p:cNvPr id="199" name="TextBox 198">
            <a:extLst>
              <a:ext uri="{FF2B5EF4-FFF2-40B4-BE49-F238E27FC236}">
                <a16:creationId xmlns:a16="http://schemas.microsoft.com/office/drawing/2014/main" id="{F3EA7091-0A4E-47EF-68A1-BC1100D33803}"/>
              </a:ext>
            </a:extLst>
          </p:cNvPr>
          <p:cNvSpPr txBox="1"/>
          <p:nvPr/>
        </p:nvSpPr>
        <p:spPr>
          <a:xfrm>
            <a:off x="8184447" y="5074786"/>
            <a:ext cx="2819390"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Deloitte was responsible for complete implementation with a support </a:t>
            </a:r>
            <a:r>
              <a:rPr lang="en-US" sz="900">
                <a:ea typeface="Open Sans Light" panose="020B0306030504020204" pitchFamily="34" charset="0"/>
                <a:cs typeface="Open Sans Light" panose="020B0306030504020204" pitchFamily="34" charset="0"/>
              </a:rPr>
              <a:t>and </a:t>
            </a:r>
            <a:r>
              <a:rPr lang="en-US" sz="900" dirty="0">
                <a:ea typeface="Open Sans Light" panose="020B0306030504020204" pitchFamily="34" charset="0"/>
                <a:cs typeface="Open Sans Light" panose="020B0306030504020204" pitchFamily="34" charset="0"/>
              </a:rPr>
              <a:t>maintenance extension via Salesforce Service </a:t>
            </a:r>
            <a:r>
              <a:rPr lang="en-US" sz="900">
                <a:ea typeface="Open Sans Light" panose="020B0306030504020204" pitchFamily="34" charset="0"/>
                <a:cs typeface="Open Sans Light" panose="020B0306030504020204" pitchFamily="34" charset="0"/>
              </a:rPr>
              <a:t>Cloud </a:t>
            </a:r>
            <a:r>
              <a:rPr lang="en-US" sz="900" dirty="0">
                <a:ea typeface="Open Sans Light" panose="020B0306030504020204" pitchFamily="34" charset="0"/>
                <a:cs typeface="Open Sans Light" panose="020B0306030504020204" pitchFamily="34" charset="0"/>
              </a:rPr>
              <a:t>with </a:t>
            </a:r>
            <a:r>
              <a:rPr lang="en-US" sz="900">
                <a:ea typeface="Open Sans Light" panose="020B0306030504020204" pitchFamily="34" charset="0"/>
                <a:cs typeface="Open Sans Light" panose="020B0306030504020204" pitchFamily="34" charset="0"/>
              </a:rPr>
              <a:t>an extended </a:t>
            </a:r>
            <a:r>
              <a:rPr lang="en-US" sz="900" dirty="0" err="1">
                <a:ea typeface="Open Sans Light" panose="020B0306030504020204" pitchFamily="34" charset="0"/>
                <a:cs typeface="Open Sans Light" panose="020B0306030504020204" pitchFamily="34" charset="0"/>
              </a:rPr>
              <a:t>CloudSense</a:t>
            </a:r>
            <a:r>
              <a:rPr lang="en-US" sz="900" dirty="0">
                <a:ea typeface="Open Sans Light" panose="020B0306030504020204" pitchFamily="34" charset="0"/>
                <a:cs typeface="Open Sans Light" panose="020B0306030504020204" pitchFamily="34" charset="0"/>
              </a:rPr>
              <a:t> CPQ and </a:t>
            </a:r>
            <a:r>
              <a:rPr lang="en-US" sz="900" dirty="0" err="1">
                <a:ea typeface="Open Sans Light" panose="020B0306030504020204" pitchFamily="34" charset="0"/>
                <a:cs typeface="Open Sans Light" panose="020B0306030504020204" pitchFamily="34" charset="0"/>
              </a:rPr>
              <a:t>CloudSense</a:t>
            </a:r>
            <a:r>
              <a:rPr lang="en-US" sz="900" dirty="0">
                <a:ea typeface="Open Sans Light" panose="020B0306030504020204" pitchFamily="34" charset="0"/>
                <a:cs typeface="Open Sans Light" panose="020B0306030504020204" pitchFamily="34" charset="0"/>
              </a:rPr>
              <a:t> Orchestrator engine as core backend system.</a:t>
            </a:r>
          </a:p>
        </p:txBody>
      </p:sp>
      <p:sp>
        <p:nvSpPr>
          <p:cNvPr id="200" name="TextBox 199">
            <a:extLst>
              <a:ext uri="{FF2B5EF4-FFF2-40B4-BE49-F238E27FC236}">
                <a16:creationId xmlns:a16="http://schemas.microsoft.com/office/drawing/2014/main" id="{85BBEE04-C2C0-8272-06B2-7A479286AD3D}"/>
              </a:ext>
            </a:extLst>
          </p:cNvPr>
          <p:cNvSpPr txBox="1"/>
          <p:nvPr/>
        </p:nvSpPr>
        <p:spPr>
          <a:xfrm>
            <a:off x="8184447" y="4667571"/>
            <a:ext cx="2593284"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DIGITAL ECOSYSTEM PLATFORM SUPPORT</a:t>
            </a:r>
          </a:p>
        </p:txBody>
      </p:sp>
      <p:sp>
        <p:nvSpPr>
          <p:cNvPr id="201" name="Freeform 787">
            <a:extLst>
              <a:ext uri="{FF2B5EF4-FFF2-40B4-BE49-F238E27FC236}">
                <a16:creationId xmlns:a16="http://schemas.microsoft.com/office/drawing/2014/main" id="{06BFBE47-44CE-E701-D0CD-601AC169CDEE}"/>
              </a:ext>
            </a:extLst>
          </p:cNvPr>
          <p:cNvSpPr>
            <a:spLocks noChangeAspect="1" noEditPoints="1"/>
          </p:cNvSpPr>
          <p:nvPr/>
        </p:nvSpPr>
        <p:spPr bwMode="auto">
          <a:xfrm>
            <a:off x="10685543" y="3984438"/>
            <a:ext cx="493776" cy="493776"/>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 name="Freeform 532">
            <a:extLst>
              <a:ext uri="{FF2B5EF4-FFF2-40B4-BE49-F238E27FC236}">
                <a16:creationId xmlns:a16="http://schemas.microsoft.com/office/drawing/2014/main" id="{B86E1DE2-9142-A18E-38F0-AFA5403DC36B}"/>
              </a:ext>
            </a:extLst>
          </p:cNvPr>
          <p:cNvSpPr>
            <a:spLocks noEditPoints="1"/>
          </p:cNvSpPr>
          <p:nvPr/>
        </p:nvSpPr>
        <p:spPr bwMode="auto">
          <a:xfrm>
            <a:off x="7190350" y="1518743"/>
            <a:ext cx="489164" cy="489164"/>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9DD4C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533">
            <a:extLst>
              <a:ext uri="{FF2B5EF4-FFF2-40B4-BE49-F238E27FC236}">
                <a16:creationId xmlns:a16="http://schemas.microsoft.com/office/drawing/2014/main" id="{055940D6-F3BC-6FFA-CEA2-DCF07EE8891E}"/>
              </a:ext>
            </a:extLst>
          </p:cNvPr>
          <p:cNvSpPr>
            <a:spLocks noEditPoints="1"/>
          </p:cNvSpPr>
          <p:nvPr/>
        </p:nvSpPr>
        <p:spPr bwMode="auto">
          <a:xfrm>
            <a:off x="7190350" y="1518743"/>
            <a:ext cx="489164" cy="489164"/>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Oval 6">
            <a:extLst>
              <a:ext uri="{FF2B5EF4-FFF2-40B4-BE49-F238E27FC236}">
                <a16:creationId xmlns:a16="http://schemas.microsoft.com/office/drawing/2014/main" id="{DF33C17F-9788-2FA1-A8CF-1EAACB4C1F33}"/>
              </a:ext>
            </a:extLst>
          </p:cNvPr>
          <p:cNvSpPr/>
          <p:nvPr/>
        </p:nvSpPr>
        <p:spPr bwMode="gray">
          <a:xfrm>
            <a:off x="7218945" y="1547705"/>
            <a:ext cx="431483" cy="421693"/>
          </a:xfrm>
          <a:prstGeom prst="ellipse">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14" descr="See the source image">
            <a:extLst>
              <a:ext uri="{FF2B5EF4-FFF2-40B4-BE49-F238E27FC236}">
                <a16:creationId xmlns:a16="http://schemas.microsoft.com/office/drawing/2014/main" id="{6047CAE3-DC18-CD9B-2628-C7B4320F2A6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233442" y="1665206"/>
            <a:ext cx="407132" cy="165053"/>
          </a:xfrm>
          <a:prstGeom prst="rect">
            <a:avLst/>
          </a:prstGeom>
          <a:noFill/>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2ED8A3D-ABA4-9CE6-9D9C-F54C9A533574}"/>
              </a:ext>
            </a:extLst>
          </p:cNvPr>
          <p:cNvSpPr/>
          <p:nvPr/>
        </p:nvSpPr>
        <p:spPr bwMode="gray">
          <a:xfrm>
            <a:off x="10766314" y="1542134"/>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3" name="Freeform 532">
            <a:extLst>
              <a:ext uri="{FF2B5EF4-FFF2-40B4-BE49-F238E27FC236}">
                <a16:creationId xmlns:a16="http://schemas.microsoft.com/office/drawing/2014/main" id="{A36C6C33-3BC1-53F0-507A-5320049D0AE5}"/>
              </a:ext>
            </a:extLst>
          </p:cNvPr>
          <p:cNvSpPr>
            <a:spLocks noEditPoints="1"/>
          </p:cNvSpPr>
          <p:nvPr/>
        </p:nvSpPr>
        <p:spPr bwMode="auto">
          <a:xfrm>
            <a:off x="10748855" y="1490806"/>
            <a:ext cx="489164" cy="489164"/>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9DD4C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533">
            <a:extLst>
              <a:ext uri="{FF2B5EF4-FFF2-40B4-BE49-F238E27FC236}">
                <a16:creationId xmlns:a16="http://schemas.microsoft.com/office/drawing/2014/main" id="{2214BC6E-D849-6584-5BD5-058C1645D1D0}"/>
              </a:ext>
            </a:extLst>
          </p:cNvPr>
          <p:cNvSpPr>
            <a:spLocks noEditPoints="1"/>
          </p:cNvSpPr>
          <p:nvPr/>
        </p:nvSpPr>
        <p:spPr bwMode="auto">
          <a:xfrm>
            <a:off x="10748855" y="1490806"/>
            <a:ext cx="489164" cy="489164"/>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Oval 10">
            <a:extLst>
              <a:ext uri="{FF2B5EF4-FFF2-40B4-BE49-F238E27FC236}">
                <a16:creationId xmlns:a16="http://schemas.microsoft.com/office/drawing/2014/main" id="{522F0A4D-4D44-77F4-0254-3500823378E1}"/>
              </a:ext>
            </a:extLst>
          </p:cNvPr>
          <p:cNvSpPr/>
          <p:nvPr/>
        </p:nvSpPr>
        <p:spPr bwMode="gray">
          <a:xfrm>
            <a:off x="10777450" y="1519768"/>
            <a:ext cx="431483" cy="421693"/>
          </a:xfrm>
          <a:prstGeom prst="ellipse">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2" name="Picture 14" descr="See the source image">
            <a:extLst>
              <a:ext uri="{FF2B5EF4-FFF2-40B4-BE49-F238E27FC236}">
                <a16:creationId xmlns:a16="http://schemas.microsoft.com/office/drawing/2014/main" id="{CCE7EDE3-DE5A-C8F0-830E-770D29F1DA3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91947" y="1637269"/>
            <a:ext cx="407132" cy="165053"/>
          </a:xfrm>
          <a:prstGeom prst="rect">
            <a:avLst/>
          </a:prstGeom>
          <a:noFill/>
          <a:extLst>
            <a:ext uri="{909E8E84-426E-40DD-AFC4-6F175D3DCCD1}">
              <a14:hiddenFill xmlns:a14="http://schemas.microsoft.com/office/drawing/2010/main">
                <a:solidFill>
                  <a:srgbClr val="FFFFFF"/>
                </a:solidFill>
              </a14:hiddenFill>
            </a:ext>
          </a:extLst>
        </p:spPr>
      </p:pic>
      <p:sp>
        <p:nvSpPr>
          <p:cNvPr id="25" name="Flowchart: Connector 24">
            <a:extLst>
              <a:ext uri="{FF2B5EF4-FFF2-40B4-BE49-F238E27FC236}">
                <a16:creationId xmlns:a16="http://schemas.microsoft.com/office/drawing/2014/main" id="{467A0006-3825-BCC6-0FB4-D1D71B61D3E0}"/>
              </a:ext>
            </a:extLst>
          </p:cNvPr>
          <p:cNvSpPr/>
          <p:nvPr/>
        </p:nvSpPr>
        <p:spPr bwMode="gray">
          <a:xfrm>
            <a:off x="7207809" y="4031151"/>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26" name="Group 531">
            <a:extLst>
              <a:ext uri="{FF2B5EF4-FFF2-40B4-BE49-F238E27FC236}">
                <a16:creationId xmlns:a16="http://schemas.microsoft.com/office/drawing/2014/main" id="{E056FE6C-B4C8-381B-EEE2-000E9F22C428}"/>
              </a:ext>
            </a:extLst>
          </p:cNvPr>
          <p:cNvGrpSpPr>
            <a:grpSpLocks noChangeAspect="1"/>
          </p:cNvGrpSpPr>
          <p:nvPr/>
        </p:nvGrpSpPr>
        <p:grpSpPr bwMode="auto">
          <a:xfrm>
            <a:off x="7190350" y="3979823"/>
            <a:ext cx="489164" cy="489164"/>
            <a:chOff x="3061" y="1953"/>
            <a:chExt cx="340" cy="340"/>
          </a:xfrm>
          <a:solidFill>
            <a:srgbClr val="9DD4CF"/>
          </a:solidFill>
        </p:grpSpPr>
        <p:sp>
          <p:nvSpPr>
            <p:cNvPr id="27" name="Freeform 532">
              <a:extLst>
                <a:ext uri="{FF2B5EF4-FFF2-40B4-BE49-F238E27FC236}">
                  <a16:creationId xmlns:a16="http://schemas.microsoft.com/office/drawing/2014/main" id="{3073CDF4-7A49-E560-9793-87BA3392F97C}"/>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33">
              <a:extLst>
                <a:ext uri="{FF2B5EF4-FFF2-40B4-BE49-F238E27FC236}">
                  <a16:creationId xmlns:a16="http://schemas.microsoft.com/office/drawing/2014/main" id="{A8BAFE06-B6FA-DA3C-1998-D1A11A2ABAC1}"/>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13611169"/>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Strategy Consulting 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6.</a:t>
            </a:r>
            <a:endParaRPr lang="en-GB" dirty="0"/>
          </a:p>
        </p:txBody>
      </p:sp>
      <p:sp>
        <p:nvSpPr>
          <p:cNvPr id="3" name="Text Placeholder 2">
            <a:extLst>
              <a:ext uri="{FF2B5EF4-FFF2-40B4-BE49-F238E27FC236}">
                <a16:creationId xmlns:a16="http://schemas.microsoft.com/office/drawing/2014/main" id="{3910B0B8-BE3A-AA8B-900C-9A305967B2C6}"/>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406717634"/>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29587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1226" y="-84277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3603945"/>
            <a:ext cx="0" cy="0"/>
          </a:xfrm>
          <a:prstGeom prst="rect">
            <a:avLst/>
          </a:prstGeom>
          <a:noFill/>
        </p:spPr>
        <p:txBody>
          <a:bodyPr wrap="none" lIns="0" tIns="0" rIns="0" bIns="0" rtlCol="0">
            <a:noAutofit/>
          </a:bodyPr>
          <a:lstStyle/>
          <a:p>
            <a:pPr algn="l">
              <a:spcBef>
                <a:spcPts val="600"/>
              </a:spcBef>
              <a:buSzPct val="100000"/>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3934491"/>
            <a:ext cx="0" cy="0"/>
          </a:xfrm>
          <a:prstGeom prst="rect">
            <a:avLst/>
          </a:prstGeom>
          <a:noFill/>
        </p:spPr>
        <p:txBody>
          <a:bodyPr wrap="none" lIns="0" tIns="0" rIns="0" bIns="0" rtlCol="0">
            <a:noAutofit/>
          </a:bodyPr>
          <a:lstStyle/>
          <a:p>
            <a:pPr algn="l">
              <a:spcBef>
                <a:spcPts val="600"/>
              </a:spcBef>
              <a:buSzPct val="100000"/>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5E35D33A-6811-BC69-383E-8FAB16E98661}"/>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47206" y="4062579"/>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36000" tIns="36000" rIns="0" bIns="3600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3. INNOVATION &amp; IT STRATEGY</a:t>
            </a:r>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377804"/>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36000" tIns="36000" rIns="0" bIns="3600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STRATEGIC PLANNING</a:t>
            </a:r>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7"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41" name="Rectangle: Rounded Corners 40">
            <a:extLst>
              <a:ext uri="{FF2B5EF4-FFF2-40B4-BE49-F238E27FC236}">
                <a16:creationId xmlns:a16="http://schemas.microsoft.com/office/drawing/2014/main" id="{9E1A5677-B5F0-B102-E3C6-47103D928637}"/>
              </a:ext>
            </a:extLst>
          </p:cNvPr>
          <p:cNvSpPr/>
          <p:nvPr/>
        </p:nvSpPr>
        <p:spPr bwMode="gray">
          <a:xfrm>
            <a:off x="4141468" y="2466748"/>
            <a:ext cx="2660702" cy="1237741"/>
          </a:xfrm>
          <a:prstGeom prst="roundRect">
            <a:avLst>
              <a:gd name="adj" fmla="val 9889"/>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525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dirty="0">
                <a:latin typeface="Open Sans" panose="020B0606030504020204" pitchFamily="34" charset="0"/>
                <a:ea typeface="Open Sans" panose="020B0606030504020204" pitchFamily="34" charset="0"/>
                <a:cs typeface="Open Sans" panose="020B0606030504020204" pitchFamily="34" charset="0"/>
              </a:rPr>
              <a:t>Strategy Consulting Services</a:t>
            </a:r>
          </a:p>
        </p:txBody>
      </p:sp>
      <p:sp>
        <p:nvSpPr>
          <p:cNvPr id="8" name="TextBox 7">
            <a:extLst>
              <a:ext uri="{FF2B5EF4-FFF2-40B4-BE49-F238E27FC236}">
                <a16:creationId xmlns:a16="http://schemas.microsoft.com/office/drawing/2014/main" id="{2A0503F6-4EF7-56CC-B9BB-BB12C10CB290}"/>
              </a:ext>
            </a:extLst>
          </p:cNvPr>
          <p:cNvSpPr txBox="1"/>
          <p:nvPr/>
        </p:nvSpPr>
        <p:spPr>
          <a:xfrm>
            <a:off x="548128"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chemeClr val="bg1"/>
                </a:solidFill>
                <a:latin typeface="Open Sans"/>
              </a:rPr>
              <a:t>SUBCHAPTERS</a:t>
            </a:r>
            <a:endParaRPr kumimoji="0" lang="en-US" sz="1200" b="1" i="0" u="none" strike="noStrike" kern="1200" cap="none" spc="300" normalizeH="0" baseline="0" dirty="0">
              <a:ln>
                <a:noFill/>
              </a:ln>
              <a:solidFill>
                <a:schemeClr val="bg1"/>
              </a:solidFill>
              <a:effectLst/>
              <a:uLnTx/>
              <a:uFillTx/>
              <a:latin typeface="Open Sans"/>
            </a:endParaRPr>
          </a:p>
        </p:txBody>
      </p:sp>
      <p:sp>
        <p:nvSpPr>
          <p:cNvPr id="15" name="Rectangle 14">
            <a:extLst>
              <a:ext uri="{FF2B5EF4-FFF2-40B4-BE49-F238E27FC236}">
                <a16:creationId xmlns:a16="http://schemas.microsoft.com/office/drawing/2014/main" id="{3EB57B1D-83EB-0D0B-449F-EC60EBAFDE32}"/>
              </a:ext>
            </a:extLst>
          </p:cNvPr>
          <p:cNvSpPr/>
          <p:nvPr/>
        </p:nvSpPr>
        <p:spPr>
          <a:xfrm>
            <a:off x="9292664" y="2012605"/>
            <a:ext cx="1277027"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Schenk Tamá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artner</a:t>
            </a:r>
            <a:endParaRPr lang="en-US" sz="12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dirty="0">
                <a:latin typeface="Open Sans" panose="020B0606030504020204" pitchFamily="34" charset="0"/>
                <a:ea typeface="Open Sans" panose="020B0606030504020204" pitchFamily="34" charset="0"/>
                <a:cs typeface="Open Sans" panose="020B0606030504020204" pitchFamily="34" charset="0"/>
              </a:rPr>
              <a:t>METHODOLOGIES</a:t>
            </a:r>
            <a:endParaRPr kumimoji="0" lang="en-US" sz="1200" b="0" i="1" u="none" strike="noStrike" kern="1200" cap="none" spc="60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a:off x="922093" y="1984051"/>
            <a:ext cx="7693" cy="224804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6" y="1840423"/>
            <a:ext cx="278631" cy="278367"/>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807850"/>
            <a:ext cx="0" cy="0"/>
          </a:xfrm>
          <a:prstGeom prst="rect">
            <a:avLst/>
          </a:prstGeom>
          <a:noFill/>
        </p:spPr>
        <p:txBody>
          <a:bodyPr wrap="none" lIns="0" tIns="0" rIns="0" bIns="0" rtlCol="0">
            <a:noAutofit/>
          </a:bodyPr>
          <a:lstStyle/>
          <a:p>
            <a:pPr algn="l">
              <a:spcBef>
                <a:spcPts val="600"/>
              </a:spcBef>
              <a:buSzPct val="100000"/>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752669"/>
            <a:ext cx="0" cy="0"/>
          </a:xfrm>
          <a:prstGeom prst="rect">
            <a:avLst/>
          </a:prstGeom>
          <a:noFill/>
        </p:spPr>
        <p:txBody>
          <a:bodyPr wrap="none" lIns="0" tIns="0" rIns="0" bIns="0" rtlCol="0">
            <a:noAutofit/>
          </a:bodyPr>
          <a:lstStyle/>
          <a:p>
            <a:pPr algn="l">
              <a:spcBef>
                <a:spcPts val="600"/>
              </a:spcBef>
              <a:buSzPct val="100000"/>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67" name="TextBox 66">
            <a:extLst>
              <a:ext uri="{FF2B5EF4-FFF2-40B4-BE49-F238E27FC236}">
                <a16:creationId xmlns:a16="http://schemas.microsoft.com/office/drawing/2014/main" id="{D7A9173E-42C8-E19F-56C2-0DA2BD60D004}"/>
              </a:ext>
            </a:extLst>
          </p:cNvPr>
          <p:cNvSpPr txBox="1"/>
          <p:nvPr/>
        </p:nvSpPr>
        <p:spPr>
          <a:xfrm>
            <a:off x="4189845" y="2507046"/>
            <a:ext cx="2184971"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STRATEGIC CHOICE CASCADE</a:t>
            </a:r>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panose="020B0606030504020204" pitchFamily="34" charset="0"/>
                <a:ea typeface="Open Sans" panose="020B0606030504020204" pitchFamily="34" charset="0"/>
                <a:cs typeface="Open Sans" panose="020B0606030504020204" pitchFamily="34" charset="0"/>
              </a:rPr>
              <a:t>CHAPTER LEAD EXPERT</a:t>
            </a:r>
            <a:endParaRPr kumimoji="0" lang="en-US" sz="1200" b="0" i="1" u="none" strike="noStrike" kern="1200" cap="none" spc="300" normalizeH="0" baseline="0" dirty="0">
              <a:ln>
                <a:noFill/>
              </a:ln>
              <a:solidFill>
                <a:srgbClr val="38B6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2845631"/>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36000" tIns="36000" rIns="0" bIns="3600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2. CORPORATE OBJECTIVES &amp; POLICY DEVELOPMENT</a:t>
            </a:r>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2939036"/>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Oval 20">
            <a:extLst>
              <a:ext uri="{FF2B5EF4-FFF2-40B4-BE49-F238E27FC236}">
                <a16:creationId xmlns:a16="http://schemas.microsoft.com/office/drawing/2014/main" id="{D219154D-E203-927A-E17E-7821D7AFA343}"/>
              </a:ext>
            </a:extLst>
          </p:cNvPr>
          <p:cNvSpPr/>
          <p:nvPr/>
        </p:nvSpPr>
        <p:spPr bwMode="gray">
          <a:xfrm>
            <a:off x="875786" y="4200671"/>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i="1" spc="300" dirty="0">
                <a:latin typeface="Open Sans" panose="020B0606030504020204" pitchFamily="34" charset="0"/>
                <a:ea typeface="Open Sans" panose="020B0606030504020204" pitchFamily="34" charset="0"/>
                <a:cs typeface="Open Sans" panose="020B0606030504020204" pitchFamily="34" charset="0"/>
              </a:rPr>
              <a:t>EXPERTS IN HUNGARY</a:t>
            </a:r>
            <a:endParaRPr kumimoji="0" lang="en-US" sz="900" i="1" u="none" strike="noStrike" kern="1200" cap="none" spc="30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800" b="1" i="1" spc="300" dirty="0">
                <a:latin typeface="Open Sans" panose="020B0606030504020204" pitchFamily="34" charset="0"/>
                <a:ea typeface="Open Sans" panose="020B0606030504020204" pitchFamily="34" charset="0"/>
                <a:cs typeface="Open Sans" panose="020B0606030504020204" pitchFamily="34" charset="0"/>
              </a:rPr>
              <a:t>20</a:t>
            </a:r>
            <a:endParaRPr kumimoji="0" lang="en-US" sz="2800" b="1" i="1" u="none" strike="noStrike" kern="1200" cap="none" spc="30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TextBox 78">
            <a:extLst>
              <a:ext uri="{FF2B5EF4-FFF2-40B4-BE49-F238E27FC236}">
                <a16:creationId xmlns:a16="http://schemas.microsoft.com/office/drawing/2014/main" id="{85D465EA-B4B6-1092-E7DC-37C3BDDC7B4B}"/>
              </a:ext>
            </a:extLst>
          </p:cNvPr>
          <p:cNvSpPr txBox="1"/>
          <p:nvPr/>
        </p:nvSpPr>
        <p:spPr>
          <a:xfrm>
            <a:off x="4189845" y="2655130"/>
            <a:ext cx="2422712" cy="984885"/>
          </a:xfrm>
          <a:prstGeom prst="rect">
            <a:avLst/>
          </a:prstGeom>
          <a:noFill/>
        </p:spPr>
        <p:txBody>
          <a:bodyPr wrap="square" lIns="0" tIns="0" rIns="0" bIns="0" rtlCol="0" anchor="t">
            <a:spAutoFit/>
          </a:bodyPr>
          <a:lstStyle/>
          <a:p>
            <a:pPr>
              <a:defRPr/>
            </a:pPr>
            <a:r>
              <a:rPr lang="en-US" sz="800" b="0" i="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We like to articulate </a:t>
            </a: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s</a:t>
            </a:r>
            <a:r>
              <a:rPr lang="en-US" sz="800" b="0" i="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rategy as a set of contextualized, integrated, and self-reinforcing choices of:</a:t>
            </a:r>
          </a:p>
          <a:p>
            <a:pPr marL="171450" indent="-171450">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Winning aspiration</a:t>
            </a:r>
          </a:p>
          <a:p>
            <a:pPr marL="171450" indent="-171450">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Where to play</a:t>
            </a:r>
          </a:p>
          <a:p>
            <a:pPr marL="171450" indent="-171450">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How to win</a:t>
            </a:r>
          </a:p>
          <a:p>
            <a:pPr marL="171450" indent="-171450">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Capabilities</a:t>
            </a:r>
          </a:p>
          <a:p>
            <a:pPr marL="171450" indent="-171450">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Management Systems</a:t>
            </a:r>
          </a:p>
        </p:txBody>
      </p:sp>
      <p:sp>
        <p:nvSpPr>
          <p:cNvPr id="106" name="Rectangle: Rounded Corners 105">
            <a:extLst>
              <a:ext uri="{FF2B5EF4-FFF2-40B4-BE49-F238E27FC236}">
                <a16:creationId xmlns:a16="http://schemas.microsoft.com/office/drawing/2014/main" id="{203B5607-7E3F-24DA-A479-534848EB7048}"/>
              </a:ext>
            </a:extLst>
          </p:cNvPr>
          <p:cNvSpPr/>
          <p:nvPr/>
        </p:nvSpPr>
        <p:spPr bwMode="gray">
          <a:xfrm>
            <a:off x="6872354" y="2466747"/>
            <a:ext cx="2099989" cy="1237741"/>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TextBox 79">
            <a:extLst>
              <a:ext uri="{FF2B5EF4-FFF2-40B4-BE49-F238E27FC236}">
                <a16:creationId xmlns:a16="http://schemas.microsoft.com/office/drawing/2014/main" id="{AA3B4BF3-9676-4F5B-EA12-53EF66777924}"/>
              </a:ext>
            </a:extLst>
          </p:cNvPr>
          <p:cNvSpPr txBox="1"/>
          <p:nvPr/>
        </p:nvSpPr>
        <p:spPr>
          <a:xfrm>
            <a:off x="6914510" y="2512738"/>
            <a:ext cx="2117669"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STRATEGY BY DESIGN</a:t>
            </a:r>
          </a:p>
        </p:txBody>
      </p:sp>
      <p:sp>
        <p:nvSpPr>
          <p:cNvPr id="81" name="TextBox 80">
            <a:extLst>
              <a:ext uri="{FF2B5EF4-FFF2-40B4-BE49-F238E27FC236}">
                <a16:creationId xmlns:a16="http://schemas.microsoft.com/office/drawing/2014/main" id="{61380BE4-8010-E0BB-F55D-55EF892C1D6E}"/>
              </a:ext>
            </a:extLst>
          </p:cNvPr>
          <p:cNvSpPr txBox="1"/>
          <p:nvPr/>
        </p:nvSpPr>
        <p:spPr>
          <a:xfrm>
            <a:off x="6914510" y="2660821"/>
            <a:ext cx="2031171" cy="900246"/>
          </a:xfrm>
          <a:prstGeom prst="rect">
            <a:avLst/>
          </a:prstGeom>
          <a:noFill/>
        </p:spPr>
        <p:txBody>
          <a:bodyPr wrap="square" lIns="0" tIns="0" rIns="0" bIns="0" rtlCol="0" anchor="t">
            <a:spAutoFit/>
          </a:bodyPr>
          <a:lstStyle/>
          <a:p>
            <a:pPr lvl="0">
              <a:spcBef>
                <a:spcPts val="300"/>
              </a:spcBef>
              <a:buClr>
                <a:srgbClr val="FFFFFF">
                  <a:lumMod val="50000"/>
                </a:srgbClr>
              </a:buCl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Strategy by design is Deloitte’s approach for developing corporate strategy. </a:t>
            </a:r>
          </a:p>
          <a:p>
            <a:pPr lvl="0">
              <a:spcBef>
                <a:spcPts val="300"/>
              </a:spcBef>
              <a:buClr>
                <a:srgbClr val="FFFFFF">
                  <a:lumMod val="50000"/>
                </a:srgbClr>
              </a:buCl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The approach is based on the concepts of competitiveness and productivity, building heavily from Deloitte Monitor co-founder Michael Porter’s theory of Competitive Advantage.</a:t>
            </a:r>
          </a:p>
        </p:txBody>
      </p:sp>
      <p:sp>
        <p:nvSpPr>
          <p:cNvPr id="165" name="Rectangle: Rounded Corners 164">
            <a:extLst>
              <a:ext uri="{FF2B5EF4-FFF2-40B4-BE49-F238E27FC236}">
                <a16:creationId xmlns:a16="http://schemas.microsoft.com/office/drawing/2014/main" id="{C8212B2A-534F-0D66-1D90-EAD3583628F9}"/>
              </a:ext>
            </a:extLst>
          </p:cNvPr>
          <p:cNvSpPr/>
          <p:nvPr/>
        </p:nvSpPr>
        <p:spPr bwMode="gray">
          <a:xfrm>
            <a:off x="4141468" y="4251919"/>
            <a:ext cx="1864526" cy="2068871"/>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6" name="TextBox 165">
            <a:extLst>
              <a:ext uri="{FF2B5EF4-FFF2-40B4-BE49-F238E27FC236}">
                <a16:creationId xmlns:a16="http://schemas.microsoft.com/office/drawing/2014/main" id="{E10A06B5-A674-4DD9-215C-B0F71C02A331}"/>
              </a:ext>
            </a:extLst>
          </p:cNvPr>
          <p:cNvSpPr txBox="1"/>
          <p:nvPr/>
        </p:nvSpPr>
        <p:spPr>
          <a:xfrm>
            <a:off x="4202104" y="4307506"/>
            <a:ext cx="1637056" cy="2769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BUSINESS LED TECHNOLOGY STRATEGY</a:t>
            </a:r>
          </a:p>
        </p:txBody>
      </p:sp>
      <p:sp>
        <p:nvSpPr>
          <p:cNvPr id="167" name="TextBox 166">
            <a:extLst>
              <a:ext uri="{FF2B5EF4-FFF2-40B4-BE49-F238E27FC236}">
                <a16:creationId xmlns:a16="http://schemas.microsoft.com/office/drawing/2014/main" id="{CD924CCF-F456-4163-279E-7C349A853F75}"/>
              </a:ext>
            </a:extLst>
          </p:cNvPr>
          <p:cNvSpPr txBox="1"/>
          <p:nvPr/>
        </p:nvSpPr>
        <p:spPr>
          <a:xfrm>
            <a:off x="4202104" y="4815474"/>
            <a:ext cx="1782749" cy="1308050"/>
          </a:xfrm>
          <a:prstGeom prst="rect">
            <a:avLst/>
          </a:prstGeom>
          <a:noFill/>
        </p:spPr>
        <p:txBody>
          <a:bodyPr wrap="square" lIns="0" tIns="0" rIns="0" bIns="0" rtlCol="0" anchor="t">
            <a:spAutoFit/>
          </a:bodyPr>
          <a:lstStyle/>
          <a:p>
            <a:pPr lvl="0">
              <a:spcBef>
                <a:spcPts val="200"/>
              </a:spcBef>
              <a:buClr>
                <a:srgbClr val="FFFFFF">
                  <a:lumMod val="50000"/>
                </a:srgbClr>
              </a:buCl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We formulate an IT strategy that is resonating with the business strategy throughout the following steps:</a:t>
            </a:r>
          </a:p>
          <a:p>
            <a:pPr marL="228600" lvl="0" indent="-228600">
              <a:spcBef>
                <a:spcPts val="200"/>
              </a:spcBef>
              <a:buClr>
                <a:srgbClr val="FFFFFF">
                  <a:lumMod val="50000"/>
                </a:srgbClr>
              </a:buClr>
              <a:buAutoNum type="arabicPeriod"/>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As-is analysis: Mapping where we are now</a:t>
            </a:r>
          </a:p>
          <a:p>
            <a:pPr marL="228600" lvl="0" indent="-228600">
              <a:spcBef>
                <a:spcPts val="200"/>
              </a:spcBef>
              <a:buClr>
                <a:srgbClr val="FFFFFF">
                  <a:lumMod val="50000"/>
                </a:srgbClr>
              </a:buClr>
              <a:buAutoNum type="arabicPeriod"/>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To-be planning: defining the vision of the IT organization</a:t>
            </a:r>
          </a:p>
          <a:p>
            <a:pPr marL="228600" lvl="0" indent="-228600">
              <a:spcBef>
                <a:spcPts val="200"/>
              </a:spcBef>
              <a:buClr>
                <a:srgbClr val="FFFFFF">
                  <a:lumMod val="50000"/>
                </a:srgbClr>
              </a:buClr>
              <a:buAutoNum type="arabicPeriod"/>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Action step formulation: planning the detailed action plan and roadmap</a:t>
            </a:r>
          </a:p>
        </p:txBody>
      </p:sp>
      <p:sp>
        <p:nvSpPr>
          <p:cNvPr id="156" name="Rectangle: Rounded Corners 155">
            <a:extLst>
              <a:ext uri="{FF2B5EF4-FFF2-40B4-BE49-F238E27FC236}">
                <a16:creationId xmlns:a16="http://schemas.microsoft.com/office/drawing/2014/main" id="{94599516-A95C-A225-3267-9BBE24217472}"/>
              </a:ext>
            </a:extLst>
          </p:cNvPr>
          <p:cNvSpPr/>
          <p:nvPr/>
        </p:nvSpPr>
        <p:spPr bwMode="gray">
          <a:xfrm>
            <a:off x="6078170" y="4251920"/>
            <a:ext cx="1410183" cy="2068868"/>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TextBox 156">
            <a:extLst>
              <a:ext uri="{FF2B5EF4-FFF2-40B4-BE49-F238E27FC236}">
                <a16:creationId xmlns:a16="http://schemas.microsoft.com/office/drawing/2014/main" id="{711772EF-E96C-2F99-95FE-9FB376C4C68C}"/>
              </a:ext>
            </a:extLst>
          </p:cNvPr>
          <p:cNvSpPr txBox="1"/>
          <p:nvPr/>
        </p:nvSpPr>
        <p:spPr>
          <a:xfrm>
            <a:off x="6176638" y="4307506"/>
            <a:ext cx="1281261" cy="2769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STAGES OF DIGITAL TRANSFORMATION</a:t>
            </a:r>
          </a:p>
        </p:txBody>
      </p:sp>
      <p:sp>
        <p:nvSpPr>
          <p:cNvPr id="158" name="TextBox 157">
            <a:extLst>
              <a:ext uri="{FF2B5EF4-FFF2-40B4-BE49-F238E27FC236}">
                <a16:creationId xmlns:a16="http://schemas.microsoft.com/office/drawing/2014/main" id="{DAE1AF42-E14B-D472-7B6B-D5BFF693A04F}"/>
              </a:ext>
            </a:extLst>
          </p:cNvPr>
          <p:cNvSpPr txBox="1"/>
          <p:nvPr/>
        </p:nvSpPr>
        <p:spPr>
          <a:xfrm>
            <a:off x="6138741" y="4815474"/>
            <a:ext cx="1317415" cy="1256754"/>
          </a:xfrm>
          <a:prstGeom prst="rect">
            <a:avLst/>
          </a:prstGeom>
          <a:noFill/>
        </p:spPr>
        <p:txBody>
          <a:bodyPr wrap="square" lIns="0" tIns="0" rIns="0" bIns="0" rtlCol="0" anchor="t">
            <a:spAutoFit/>
          </a:bodyPr>
          <a:lstStyle/>
          <a:p>
            <a:pPr>
              <a:spcBef>
                <a:spcPts val="200"/>
              </a:spcBef>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Deloitte defined 4 stages where organizations are in their digital transformation.</a:t>
            </a:r>
          </a:p>
          <a:p>
            <a:pPr>
              <a:spcBef>
                <a:spcPts val="200"/>
              </a:spcBef>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We assess where our clients are, where they want to go, and together with them, we build a strategy to continue their transformation journey and reach the next stage.</a:t>
            </a:r>
          </a:p>
        </p:txBody>
      </p:sp>
      <p:pic>
        <p:nvPicPr>
          <p:cNvPr id="5" name="Picture 4">
            <a:extLst>
              <a:ext uri="{FF2B5EF4-FFF2-40B4-BE49-F238E27FC236}">
                <a16:creationId xmlns:a16="http://schemas.microsoft.com/office/drawing/2014/main" id="{E8A39CEE-0CD5-9C9E-50CB-320EB23707A3}"/>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9402026" y="496140"/>
            <a:ext cx="1292400" cy="1292400"/>
          </a:xfrm>
          <a:prstGeom prst="rect">
            <a:avLst/>
          </a:prstGeom>
          <a:effectLst>
            <a:outerShdw blurRad="50800" dist="38100" dir="2700000" algn="tl" rotWithShape="0">
              <a:prstClr val="black">
                <a:alpha val="40000"/>
              </a:prstClr>
            </a:outerShdw>
          </a:effectLst>
        </p:spPr>
      </p:pic>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flipV="1">
            <a:off x="3591920" y="3011594"/>
            <a:ext cx="530310"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035786" y="2964529"/>
            <a:ext cx="101276"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011594"/>
            <a:ext cx="85156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13B57B1E-0FF2-81CE-6E4D-CC02BA27A2AE}"/>
              </a:ext>
            </a:extLst>
          </p:cNvPr>
          <p:cNvGrpSpPr/>
          <p:nvPr/>
        </p:nvGrpSpPr>
        <p:grpSpPr>
          <a:xfrm>
            <a:off x="2643598" y="236650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8A79F5A9-611B-8C89-8D9B-C6321AEE7097}"/>
                </a:ext>
              </a:extLst>
            </p:cNvPr>
            <p:cNvSpPr/>
            <p:nvPr/>
          </p:nvSpPr>
          <p:spPr bwMode="gray">
            <a:xfrm>
              <a:off x="6841373"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cxnSp>
        <p:nvCxnSpPr>
          <p:cNvPr id="1031" name="Straight Connector 1030">
            <a:extLst>
              <a:ext uri="{FF2B5EF4-FFF2-40B4-BE49-F238E27FC236}">
                <a16:creationId xmlns:a16="http://schemas.microsoft.com/office/drawing/2014/main" id="{E17B9138-B77D-5393-5DDF-FF48F05F5842}"/>
              </a:ext>
            </a:extLst>
          </p:cNvPr>
          <p:cNvCxnSpPr>
            <a:cxnSpLocks/>
          </p:cNvCxnSpPr>
          <p:nvPr/>
        </p:nvCxnSpPr>
        <p:spPr>
          <a:xfrm>
            <a:off x="3648455" y="4127188"/>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32" name="Oval 1031">
            <a:extLst>
              <a:ext uri="{FF2B5EF4-FFF2-40B4-BE49-F238E27FC236}">
                <a16:creationId xmlns:a16="http://schemas.microsoft.com/office/drawing/2014/main" id="{FE2853AB-686B-03CC-7900-D4AE0B782346}"/>
              </a:ext>
            </a:extLst>
          </p:cNvPr>
          <p:cNvSpPr/>
          <p:nvPr/>
        </p:nvSpPr>
        <p:spPr bwMode="gray">
          <a:xfrm>
            <a:off x="4121788" y="4080120"/>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33" name="Straight Connector 1032">
            <a:extLst>
              <a:ext uri="{FF2B5EF4-FFF2-40B4-BE49-F238E27FC236}">
                <a16:creationId xmlns:a16="http://schemas.microsoft.com/office/drawing/2014/main" id="{E85799A8-4C49-90DA-4376-48A8D9F211D0}"/>
              </a:ext>
            </a:extLst>
          </p:cNvPr>
          <p:cNvCxnSpPr>
            <a:cxnSpLocks/>
          </p:cNvCxnSpPr>
          <p:nvPr/>
        </p:nvCxnSpPr>
        <p:spPr>
          <a:xfrm>
            <a:off x="2643598" y="4127188"/>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34" name="Oval 1033">
            <a:extLst>
              <a:ext uri="{FF2B5EF4-FFF2-40B4-BE49-F238E27FC236}">
                <a16:creationId xmlns:a16="http://schemas.microsoft.com/office/drawing/2014/main" id="{51EAB5B7-75F6-CF7E-1B3D-D203C0681686}"/>
              </a:ext>
            </a:extLst>
          </p:cNvPr>
          <p:cNvSpPr/>
          <p:nvPr/>
        </p:nvSpPr>
        <p:spPr bwMode="gray">
          <a:xfrm>
            <a:off x="6037826" y="4080120"/>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1036" name="Picture 4" descr="Linkedin logo png - greorder">
            <a:hlinkClick r:id="rId9"/>
            <a:extLst>
              <a:ext uri="{FF2B5EF4-FFF2-40B4-BE49-F238E27FC236}">
                <a16:creationId xmlns:a16="http://schemas.microsoft.com/office/drawing/2014/main" id="{1D1F8576-08B0-C2D3-E711-0C4E6C0D89E1}"/>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448107" y="2069899"/>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108" name="Freeform: Shape 1107">
            <a:extLst>
              <a:ext uri="{FF2B5EF4-FFF2-40B4-BE49-F238E27FC236}">
                <a16:creationId xmlns:a16="http://schemas.microsoft.com/office/drawing/2014/main" id="{AD5D1342-2F33-36A0-EF26-97B4BB7DBC70}"/>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11" name="Rectangle 1110">
            <a:extLst>
              <a:ext uri="{FF2B5EF4-FFF2-40B4-BE49-F238E27FC236}">
                <a16:creationId xmlns:a16="http://schemas.microsoft.com/office/drawing/2014/main" id="{C3A7529B-FB76-569F-0DC1-C22DA82217DC}"/>
              </a:ext>
            </a:extLst>
          </p:cNvPr>
          <p:cNvSpPr/>
          <p:nvPr/>
        </p:nvSpPr>
        <p:spPr>
          <a:xfrm>
            <a:off x="11315684" y="4321416"/>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BUDPEST</a:t>
            </a: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a:extLst>
              <a:ext uri="{FF2B5EF4-FFF2-40B4-BE49-F238E27FC236}">
                <a16:creationId xmlns:a16="http://schemas.microsoft.com/office/drawing/2014/main" id="{D7615059-6B4F-F222-38A4-7C7D4098B526}"/>
              </a:ext>
            </a:extLst>
          </p:cNvPr>
          <p:cNvSpPr/>
          <p:nvPr/>
        </p:nvSpPr>
        <p:spPr>
          <a:xfrm>
            <a:off x="11270372" y="5563943"/>
            <a:ext cx="74599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i="1" spc="3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30</a:t>
            </a:r>
            <a:endParaRPr kumimoji="0" lang="en-US" b="1" i="1" u="none" strike="noStrike" kern="1200" cap="none" spc="300" normalizeH="0" baseline="0" dirty="0">
              <a:ln>
                <a:noFill/>
              </a:ln>
              <a:solidFill>
                <a:schemeClr val="bg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Rectangle 33">
            <a:extLst>
              <a:ext uri="{FF2B5EF4-FFF2-40B4-BE49-F238E27FC236}">
                <a16:creationId xmlns:a16="http://schemas.microsoft.com/office/drawing/2014/main" id="{02DE62AF-4526-6392-D4BC-A7AE7B1DEFD9}"/>
              </a:ext>
            </a:extLst>
          </p:cNvPr>
          <p:cNvSpPr/>
          <p:nvPr/>
        </p:nvSpPr>
        <p:spPr>
          <a:xfrm>
            <a:off x="11159174" y="5874426"/>
            <a:ext cx="122723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800" i="1" spc="3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EXPERTS IN CE REGION</a:t>
            </a:r>
            <a:endParaRPr kumimoji="0" lang="en-US" sz="800" i="1" u="none" strike="noStrike" kern="1200" cap="none" spc="300" normalizeH="0" baseline="0" dirty="0">
              <a:ln>
                <a:noFill/>
              </a:ln>
              <a:solidFill>
                <a:schemeClr val="bg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B88C12BF-C83A-D83A-08A4-81D19DD4007B}"/>
              </a:ext>
            </a:extLst>
          </p:cNvPr>
          <p:cNvSpPr/>
          <p:nvPr/>
        </p:nvSpPr>
        <p:spPr>
          <a:xfrm>
            <a:off x="9302967" y="2920152"/>
            <a:ext cx="2889029" cy="923330"/>
          </a:xfrm>
          <a:prstGeom prst="rect">
            <a:avLst/>
          </a:prstGeom>
          <a:noFill/>
        </p:spPr>
        <p:txBody>
          <a:bodyPr wrap="square">
            <a:spAutoFit/>
          </a:bodyPr>
          <a:lstStyle/>
          <a:p>
            <a:pPr>
              <a:defRPr/>
            </a:pPr>
            <a:r>
              <a:rPr lang="en-US" sz="900" dirty="0">
                <a:latin typeface="Open Sans" panose="020B0606030504020204" pitchFamily="34" charset="0"/>
                <a:ea typeface="Open Sans" panose="020B0606030504020204" pitchFamily="34" charset="0"/>
                <a:cs typeface="Open Sans" panose="020B0606030504020204" pitchFamily="34" charset="0"/>
              </a:rPr>
              <a:t>Tamás has more than 20 years of experience in guiding organizations in strategy development and driving strategic transformations. He spent over a decade as a strategic and then digital leader in the headquarter of a Central-European bank, before he became a partner at Deloitte. </a:t>
            </a:r>
          </a:p>
        </p:txBody>
      </p:sp>
      <p:sp>
        <p:nvSpPr>
          <p:cNvPr id="11" name="Rectangle 10">
            <a:extLst>
              <a:ext uri="{FF2B5EF4-FFF2-40B4-BE49-F238E27FC236}">
                <a16:creationId xmlns:a16="http://schemas.microsoft.com/office/drawing/2014/main" id="{C695A72C-7C27-F987-2688-131C85183D2B}"/>
              </a:ext>
            </a:extLst>
          </p:cNvPr>
          <p:cNvSpPr/>
          <p:nvPr/>
        </p:nvSpPr>
        <p:spPr>
          <a:xfrm>
            <a:off x="9292664" y="2384675"/>
            <a:ext cx="2899336" cy="5078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b="1" i="1" dirty="0">
                <a:latin typeface="Open Sans" panose="020B0606030504020204" pitchFamily="34" charset="0"/>
                <a:ea typeface="Open Sans" panose="020B0606030504020204" pitchFamily="34" charset="0"/>
                <a:cs typeface="Open Sans" panose="020B0606030504020204" pitchFamily="34" charset="0"/>
              </a:rPr>
              <a:t>"Every strategy begins with a mission, and that is why it is so important for me to work with someone whose mission is as noble as </a:t>
            </a:r>
            <a:r>
              <a:rPr lang="hu-HU" sz="900" b="1" i="1" dirty="0" err="1">
                <a:latin typeface="Open Sans" panose="020B0606030504020204" pitchFamily="34" charset="0"/>
                <a:ea typeface="Open Sans" panose="020B0606030504020204" pitchFamily="34" charset="0"/>
                <a:cs typeface="Open Sans" panose="020B0606030504020204" pitchFamily="34" charset="0"/>
              </a:rPr>
              <a:t>UNICEF’s</a:t>
            </a:r>
            <a:r>
              <a:rPr lang="en-US" sz="900" b="1" i="1" dirty="0">
                <a:latin typeface="Open Sans" panose="020B0606030504020204" pitchFamily="34" charset="0"/>
                <a:ea typeface="Open Sans" panose="020B0606030504020204" pitchFamily="34" charset="0"/>
                <a:cs typeface="Open Sans" panose="020B0606030504020204" pitchFamily="34" charset="0"/>
              </a:rPr>
              <a:t>."</a:t>
            </a:r>
            <a:endParaRPr kumimoji="0" lang="en-US" sz="900" b="1" i="1" u="none" strike="noStrike" kern="1200" cap="none" normalizeH="0" baseline="0" dirty="0">
              <a:ln>
                <a:noFill/>
              </a:ln>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13B648E-87FA-5ABA-7F7D-A6C83AA78047}"/>
              </a:ext>
            </a:extLst>
          </p:cNvPr>
          <p:cNvSpPr/>
          <p:nvPr/>
        </p:nvSpPr>
        <p:spPr bwMode="gray">
          <a:xfrm>
            <a:off x="7560529" y="4273042"/>
            <a:ext cx="1410183" cy="2047745"/>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626E5553-7574-B9D8-92A2-361B121C4163}"/>
              </a:ext>
            </a:extLst>
          </p:cNvPr>
          <p:cNvSpPr txBox="1"/>
          <p:nvPr/>
        </p:nvSpPr>
        <p:spPr>
          <a:xfrm>
            <a:off x="7590418" y="4307506"/>
            <a:ext cx="1410183" cy="415498"/>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12 LEVERS OF SUSTAINED INNOVATION</a:t>
            </a:r>
          </a:p>
        </p:txBody>
      </p:sp>
      <p:sp>
        <p:nvSpPr>
          <p:cNvPr id="16" name="TextBox 15">
            <a:extLst>
              <a:ext uri="{FF2B5EF4-FFF2-40B4-BE49-F238E27FC236}">
                <a16:creationId xmlns:a16="http://schemas.microsoft.com/office/drawing/2014/main" id="{CEE7AD51-A771-C558-C697-FF594683E6DF}"/>
              </a:ext>
            </a:extLst>
          </p:cNvPr>
          <p:cNvSpPr txBox="1"/>
          <p:nvPr/>
        </p:nvSpPr>
        <p:spPr>
          <a:xfrm>
            <a:off x="7595645" y="4815474"/>
            <a:ext cx="1352207" cy="1107996"/>
          </a:xfrm>
          <a:prstGeom prst="rect">
            <a:avLst/>
          </a:prstGeom>
          <a:noFill/>
        </p:spPr>
        <p:txBody>
          <a:bodyPr wrap="square" lIns="0" tIns="0" rIns="0" bIns="0" rtlCol="0" anchor="t">
            <a:spAutoFit/>
          </a:bodyPr>
          <a:lstStyle/>
          <a:p>
            <a:pPr>
              <a:spcBef>
                <a:spcPts val="1000"/>
              </a:spcBef>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We believe that long-term innovation can be created if we clearly set the innovation agenda, clear metrics, and also support our designed innovation with organizational, governance and infrastructural point of view </a:t>
            </a:r>
          </a:p>
        </p:txBody>
      </p:sp>
      <p:sp>
        <p:nvSpPr>
          <p:cNvPr id="22" name="Oval 21">
            <a:extLst>
              <a:ext uri="{FF2B5EF4-FFF2-40B4-BE49-F238E27FC236}">
                <a16:creationId xmlns:a16="http://schemas.microsoft.com/office/drawing/2014/main" id="{F165B9F7-D0C8-2BA5-8C8D-4A282EBA3C3F}"/>
              </a:ext>
            </a:extLst>
          </p:cNvPr>
          <p:cNvSpPr/>
          <p:nvPr/>
        </p:nvSpPr>
        <p:spPr bwMode="gray">
          <a:xfrm>
            <a:off x="7572465" y="4080120"/>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0017121"/>
      </p:ext>
    </p:extLst>
  </p:cSld>
  <p:clrMapOvr>
    <a:masterClrMapping/>
  </p:clrMapOvr>
  <p:transition>
    <p:fade/>
  </p:transition>
  <p:extLst>
    <p:ext uri="{6950BFC3-D8DA-4A85-94F7-54DA5524770B}">
      <p188:commentRel xmlns:p188="http://schemas.microsoft.com/office/powerpoint/2018/8/main" r:id="rId4"/>
    </p:ext>
  </p:extLs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8336497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1559AF97-C4E5-E16F-AF82-8EFCF06F10B8}"/>
              </a:ext>
            </a:extLst>
          </p:cNvPr>
          <p:cNvSpPr/>
          <p:nvPr/>
        </p:nvSpPr>
        <p:spPr bwMode="gray">
          <a:xfrm>
            <a:off x="2867891" y="2603243"/>
            <a:ext cx="4177145" cy="3475438"/>
          </a:xfrm>
          <a:prstGeom prst="rect">
            <a:avLst/>
          </a:prstGeom>
          <a:noFill/>
          <a:ln w="12700" algn="ctr">
            <a:solidFill>
              <a:schemeClr val="bg1">
                <a:lumMod val="5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latin typeface="Open Sans" panose="020B0606030504020204" pitchFamily="34" charset="0"/>
                <a:ea typeface="Open Sans" panose="020B0606030504020204" pitchFamily="34" charset="0"/>
                <a:cs typeface="Open Sans" panose="020B0606030504020204" pitchFamily="34" charset="0"/>
              </a:rPr>
              <a:t>Strategic Choice Cascade methodology</a:t>
            </a: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Our primary approach to strategy development: the integrated set of choices are laid out in a cascade of strategic choices, building a strategy entails answering all of these 5 questions in a way that ensures consistency across all the answers </a:t>
            </a:r>
          </a:p>
        </p:txBody>
      </p:sp>
      <p:sp>
        <p:nvSpPr>
          <p:cNvPr id="2" name="Rectangle 1">
            <a:extLst>
              <a:ext uri="{FF2B5EF4-FFF2-40B4-BE49-F238E27FC236}">
                <a16:creationId xmlns:a16="http://schemas.microsoft.com/office/drawing/2014/main" id="{0226A5F5-A82C-5B45-9DD1-DFCD114969C5}"/>
              </a:ext>
            </a:extLst>
          </p:cNvPr>
          <p:cNvSpPr>
            <a:spLocks/>
          </p:cNvSpPr>
          <p:nvPr/>
        </p:nvSpPr>
        <p:spPr bwMode="gray">
          <a:xfrm>
            <a:off x="1188008" y="1575967"/>
            <a:ext cx="9510111" cy="613570"/>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strategy is an </a:t>
            </a:r>
            <a:r>
              <a:rPr kumimoji="0" lang="en-US" sz="1400" i="1" u="none" strike="noStrike" kern="1200" cap="none" spc="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rPr>
              <a:t>integrated</a:t>
            </a:r>
            <a:r>
              <a:rPr kumimoji="0" lang="en-US" sz="14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set of </a:t>
            </a:r>
            <a:r>
              <a:rPr kumimoji="0" lang="en-US" sz="1400" i="1" u="none" strike="noStrike" kern="1200" cap="none" spc="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rPr>
              <a:t>choices</a:t>
            </a:r>
            <a:r>
              <a:rPr kumimoji="0" lang="en-US" sz="14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which </a:t>
            </a:r>
            <a:r>
              <a:rPr kumimoji="0" lang="en-US" sz="1400" i="1" u="none" strike="noStrike" kern="1200" cap="none" spc="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rPr>
              <a:t>positions</a:t>
            </a:r>
            <a:r>
              <a:rPr kumimoji="0" lang="en-US" sz="14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he firm in its industry so as to create </a:t>
            </a:r>
            <a:r>
              <a:rPr kumimoji="0" lang="en-US" sz="1400" i="1" u="none" strike="noStrike" kern="1200" cap="none" spc="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rPr>
              <a:t>sustainable advantage </a:t>
            </a:r>
            <a:r>
              <a:rPr kumimoji="0" lang="en-US" sz="14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lative to competition and </a:t>
            </a:r>
            <a:r>
              <a:rPr kumimoji="0" lang="en-US" sz="1400" i="1" u="none" strike="noStrike" kern="1200" cap="none" spc="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rPr>
              <a:t>superior financial returns </a:t>
            </a:r>
            <a:r>
              <a:rPr kumimoji="0" lang="en-US" sz="14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 other success metrics as defines by the organization)”</a:t>
            </a:r>
          </a:p>
        </p:txBody>
      </p:sp>
      <p:grpSp>
        <p:nvGrpSpPr>
          <p:cNvPr id="41" name="Group 40">
            <a:extLst>
              <a:ext uri="{FF2B5EF4-FFF2-40B4-BE49-F238E27FC236}">
                <a16:creationId xmlns:a16="http://schemas.microsoft.com/office/drawing/2014/main" id="{AF4225EA-E2FD-D0B6-D423-3CAF01492C92}"/>
              </a:ext>
            </a:extLst>
          </p:cNvPr>
          <p:cNvGrpSpPr/>
          <p:nvPr/>
        </p:nvGrpSpPr>
        <p:grpSpPr>
          <a:xfrm>
            <a:off x="905256" y="2345609"/>
            <a:ext cx="10275697" cy="3181931"/>
            <a:chOff x="905256" y="2602060"/>
            <a:chExt cx="10275697" cy="3181931"/>
          </a:xfrm>
        </p:grpSpPr>
        <p:grpSp>
          <p:nvGrpSpPr>
            <p:cNvPr id="15" name="Group 14">
              <a:extLst>
                <a:ext uri="{FF2B5EF4-FFF2-40B4-BE49-F238E27FC236}">
                  <a16:creationId xmlns:a16="http://schemas.microsoft.com/office/drawing/2014/main" id="{37D49DDA-C8F7-4F34-61C5-088AA5B64821}"/>
                </a:ext>
              </a:extLst>
            </p:cNvPr>
            <p:cNvGrpSpPr/>
            <p:nvPr/>
          </p:nvGrpSpPr>
          <p:grpSpPr>
            <a:xfrm>
              <a:off x="905256" y="2889691"/>
              <a:ext cx="10195560" cy="1484272"/>
              <a:chOff x="897856" y="2661090"/>
              <a:chExt cx="11665999" cy="1601121"/>
            </a:xfrm>
          </p:grpSpPr>
          <p:sp>
            <p:nvSpPr>
              <p:cNvPr id="3" name="Rectangle: Rounded Corners 2">
                <a:extLst>
                  <a:ext uri="{FF2B5EF4-FFF2-40B4-BE49-F238E27FC236}">
                    <a16:creationId xmlns:a16="http://schemas.microsoft.com/office/drawing/2014/main" id="{4AF2555E-0FAB-2017-B310-203C01779D2D}"/>
                  </a:ext>
                </a:extLst>
              </p:cNvPr>
              <p:cNvSpPr/>
              <p:nvPr/>
            </p:nvSpPr>
            <p:spPr bwMode="gray">
              <a:xfrm>
                <a:off x="897856" y="2661090"/>
                <a:ext cx="2156239" cy="613569"/>
              </a:xfrm>
              <a:prstGeom prst="roundRect">
                <a:avLst>
                  <a:gd name="adj" fmla="val 0"/>
                </a:avLst>
              </a:prstGeom>
              <a:solidFill>
                <a:srgbClr val="00B0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1142A5D1-FDE8-55B9-6AE6-37B4D2BF38CC}"/>
                  </a:ext>
                </a:extLst>
              </p:cNvPr>
              <p:cNvSpPr txBox="1"/>
              <p:nvPr/>
            </p:nvSpPr>
            <p:spPr>
              <a:xfrm>
                <a:off x="960612" y="2766806"/>
                <a:ext cx="1932004" cy="415492"/>
              </a:xfrm>
              <a:prstGeom prst="rect">
                <a:avLst/>
              </a:prstGeom>
              <a:noFill/>
            </p:spPr>
            <p:txBody>
              <a:bodyPr wrap="square" lIns="0" tIns="0" rIns="0" bIns="0" rtlCol="0" anchor="t">
                <a:noAutofit/>
              </a:bodyPr>
              <a:lstStyle/>
              <a:p>
                <a:pPr algn="ctr">
                  <a:spcAft>
                    <a:spcPts val="1000"/>
                  </a:spcAft>
                </a:pP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at is our winning aspiration?</a:t>
                </a:r>
              </a:p>
            </p:txBody>
          </p:sp>
          <p:sp>
            <p:nvSpPr>
              <p:cNvPr id="5" name="Rectangle: Rounded Corners 4">
                <a:extLst>
                  <a:ext uri="{FF2B5EF4-FFF2-40B4-BE49-F238E27FC236}">
                    <a16:creationId xmlns:a16="http://schemas.microsoft.com/office/drawing/2014/main" id="{A6E9AB91-D155-987C-F152-F821FF58F363}"/>
                  </a:ext>
                </a:extLst>
              </p:cNvPr>
              <p:cNvSpPr/>
              <p:nvPr/>
            </p:nvSpPr>
            <p:spPr bwMode="gray">
              <a:xfrm>
                <a:off x="3275296" y="2917122"/>
                <a:ext cx="2156239" cy="613569"/>
              </a:xfrm>
              <a:prstGeom prst="roundRect">
                <a:avLst>
                  <a:gd name="adj" fmla="val 0"/>
                </a:avLst>
              </a:prstGeom>
              <a:solidFill>
                <a:srgbClr val="00B0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B151CC14-D0B1-1424-052C-38A8E09FB02F}"/>
                  </a:ext>
                </a:extLst>
              </p:cNvPr>
              <p:cNvSpPr txBox="1"/>
              <p:nvPr/>
            </p:nvSpPr>
            <p:spPr>
              <a:xfrm>
                <a:off x="3338052" y="3121477"/>
                <a:ext cx="1932004" cy="246222"/>
              </a:xfrm>
              <a:prstGeom prst="rect">
                <a:avLst/>
              </a:prstGeom>
              <a:noFill/>
            </p:spPr>
            <p:txBody>
              <a:bodyPr wrap="square" lIns="0" tIns="0" rIns="0" bIns="0" rtlCol="0" anchor="t">
                <a:noAutofit/>
              </a:bodyPr>
              <a:lstStyle/>
              <a:p>
                <a:pPr algn="ctr">
                  <a:spcAft>
                    <a:spcPts val="1000"/>
                  </a:spcAft>
                </a:pP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ere will we play?</a:t>
                </a:r>
              </a:p>
            </p:txBody>
          </p:sp>
          <p:sp>
            <p:nvSpPr>
              <p:cNvPr id="7" name="Rectangle: Rounded Corners 6">
                <a:extLst>
                  <a:ext uri="{FF2B5EF4-FFF2-40B4-BE49-F238E27FC236}">
                    <a16:creationId xmlns:a16="http://schemas.microsoft.com/office/drawing/2014/main" id="{04AD5693-BA7C-7C82-AE0B-0C30BE4039E4}"/>
                  </a:ext>
                </a:extLst>
              </p:cNvPr>
              <p:cNvSpPr/>
              <p:nvPr/>
            </p:nvSpPr>
            <p:spPr bwMode="gray">
              <a:xfrm>
                <a:off x="5652736" y="3182298"/>
                <a:ext cx="2156239" cy="613569"/>
              </a:xfrm>
              <a:prstGeom prst="roundRect">
                <a:avLst>
                  <a:gd name="adj" fmla="val 0"/>
                </a:avLst>
              </a:prstGeom>
              <a:solidFill>
                <a:srgbClr val="00B0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1996DF38-1DFB-10CE-566E-C13E5AE239C0}"/>
                  </a:ext>
                </a:extLst>
              </p:cNvPr>
              <p:cNvSpPr txBox="1"/>
              <p:nvPr/>
            </p:nvSpPr>
            <p:spPr>
              <a:xfrm>
                <a:off x="5757343" y="3376788"/>
                <a:ext cx="1932004" cy="246222"/>
              </a:xfrm>
              <a:prstGeom prst="rect">
                <a:avLst/>
              </a:prstGeom>
              <a:noFill/>
            </p:spPr>
            <p:txBody>
              <a:bodyPr wrap="square" lIns="0" tIns="0" rIns="0" bIns="0" rtlCol="0" anchor="t">
                <a:noAutofit/>
              </a:bodyPr>
              <a:lstStyle/>
              <a:p>
                <a:pPr algn="ctr">
                  <a:spcAft>
                    <a:spcPts val="1000"/>
                  </a:spcAft>
                </a:pP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ow will we win?</a:t>
                </a:r>
              </a:p>
            </p:txBody>
          </p:sp>
          <p:sp>
            <p:nvSpPr>
              <p:cNvPr id="10" name="Rectangle: Rounded Corners 9">
                <a:extLst>
                  <a:ext uri="{FF2B5EF4-FFF2-40B4-BE49-F238E27FC236}">
                    <a16:creationId xmlns:a16="http://schemas.microsoft.com/office/drawing/2014/main" id="{8055C8D7-5A7D-A479-B498-DBBA66BE65DE}"/>
                  </a:ext>
                </a:extLst>
              </p:cNvPr>
              <p:cNvSpPr/>
              <p:nvPr/>
            </p:nvSpPr>
            <p:spPr bwMode="gray">
              <a:xfrm>
                <a:off x="8030176" y="3429186"/>
                <a:ext cx="2156239" cy="613569"/>
              </a:xfrm>
              <a:prstGeom prst="roundRect">
                <a:avLst>
                  <a:gd name="adj" fmla="val 0"/>
                </a:avLst>
              </a:prstGeom>
              <a:solidFill>
                <a:srgbClr val="00B0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D5D0BC46-E67D-50AD-DC8A-66A9562EABA1}"/>
                  </a:ext>
                </a:extLst>
              </p:cNvPr>
              <p:cNvSpPr txBox="1"/>
              <p:nvPr/>
            </p:nvSpPr>
            <p:spPr>
              <a:xfrm>
                <a:off x="8092932" y="3534902"/>
                <a:ext cx="1932004" cy="246222"/>
              </a:xfrm>
              <a:prstGeom prst="rect">
                <a:avLst/>
              </a:prstGeom>
              <a:noFill/>
            </p:spPr>
            <p:txBody>
              <a:bodyPr wrap="square" lIns="0" tIns="0" rIns="0" bIns="0" rtlCol="0" anchor="t">
                <a:noAutofit/>
              </a:bodyPr>
              <a:lstStyle/>
              <a:p>
                <a:pPr algn="ctr">
                  <a:spcAft>
                    <a:spcPts val="1000"/>
                  </a:spcAft>
                </a:pP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at capabilities must we have?</a:t>
                </a:r>
              </a:p>
            </p:txBody>
          </p:sp>
          <p:sp>
            <p:nvSpPr>
              <p:cNvPr id="13" name="Rectangle: Rounded Corners 12">
                <a:extLst>
                  <a:ext uri="{FF2B5EF4-FFF2-40B4-BE49-F238E27FC236}">
                    <a16:creationId xmlns:a16="http://schemas.microsoft.com/office/drawing/2014/main" id="{362ECB72-BD89-7080-C713-A2CFAE3E9D14}"/>
                  </a:ext>
                </a:extLst>
              </p:cNvPr>
              <p:cNvSpPr/>
              <p:nvPr/>
            </p:nvSpPr>
            <p:spPr bwMode="gray">
              <a:xfrm>
                <a:off x="10407616" y="3648642"/>
                <a:ext cx="2156239" cy="613569"/>
              </a:xfrm>
              <a:prstGeom prst="roundRect">
                <a:avLst>
                  <a:gd name="adj" fmla="val 0"/>
                </a:avLst>
              </a:prstGeom>
              <a:solidFill>
                <a:srgbClr val="00B0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DF5FA165-7F34-E13D-2CEF-1004C29D9401}"/>
                  </a:ext>
                </a:extLst>
              </p:cNvPr>
              <p:cNvSpPr txBox="1"/>
              <p:nvPr/>
            </p:nvSpPr>
            <p:spPr>
              <a:xfrm>
                <a:off x="10470372" y="3754358"/>
                <a:ext cx="1932004" cy="246222"/>
              </a:xfrm>
              <a:prstGeom prst="rect">
                <a:avLst/>
              </a:prstGeom>
              <a:noFill/>
            </p:spPr>
            <p:txBody>
              <a:bodyPr wrap="square" lIns="0" tIns="0" rIns="0" bIns="0" rtlCol="0" anchor="t">
                <a:noAutofit/>
              </a:bodyPr>
              <a:lstStyle/>
              <a:p>
                <a:pPr algn="ctr">
                  <a:spcAft>
                    <a:spcPts val="1000"/>
                  </a:spcAft>
                </a:pP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at management systems do we need?</a:t>
                </a:r>
              </a:p>
            </p:txBody>
          </p:sp>
        </p:grpSp>
        <p:sp>
          <p:nvSpPr>
            <p:cNvPr id="17" name="Rectangle 16">
              <a:extLst>
                <a:ext uri="{FF2B5EF4-FFF2-40B4-BE49-F238E27FC236}">
                  <a16:creationId xmlns:a16="http://schemas.microsoft.com/office/drawing/2014/main" id="{93E83D19-ACE4-292D-E7D7-1CB5F018D40D}"/>
                </a:ext>
              </a:extLst>
            </p:cNvPr>
            <p:cNvSpPr>
              <a:spLocks/>
            </p:cNvSpPr>
            <p:nvPr/>
          </p:nvSpPr>
          <p:spPr bwMode="gray">
            <a:xfrm>
              <a:off x="937727" y="3615541"/>
              <a:ext cx="1709848" cy="1195690"/>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lvl="1" eaLnBrk="0" hangingPunct="0">
                <a:buSzPct val="100000"/>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purpose of the enterprise:</a:t>
              </a:r>
            </a:p>
            <a:p>
              <a:pPr marL="171450" lvl="1" indent="-171450" eaLnBrk="0" hangingPunct="0">
                <a:buSzPct val="100000"/>
                <a:buFont typeface="Arial" panose="020B0604020202020204" pitchFamily="34" charset="0"/>
                <a:buChar cha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he mission </a:t>
              </a:r>
            </a:p>
            <a:p>
              <a:pPr marL="171450" lvl="1" indent="-171450" eaLnBrk="0" hangingPunct="0">
                <a:buSzPct val="100000"/>
                <a:buFont typeface="Arial" panose="020B0604020202020204" pitchFamily="34" charset="0"/>
                <a:buChar cha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rformance requirements</a:t>
              </a:r>
            </a:p>
            <a:p>
              <a:pPr marL="171450" lvl="1" indent="-171450" eaLnBrk="0" hangingPunct="0">
                <a:buSzPct val="100000"/>
                <a:buFont typeface="Arial" panose="020B0604020202020204" pitchFamily="34" charset="0"/>
                <a:buChar cha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Key values</a:t>
              </a:r>
              <a:endPar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lvl="1" indent="-171450" eaLnBrk="0" hangingPunct="0">
                <a:buSzPct val="100000"/>
                <a:buFont typeface="Arial" panose="020B0604020202020204" pitchFamily="34" charset="0"/>
                <a:buChar cha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ision</a:t>
              </a:r>
            </a:p>
          </p:txBody>
        </p:sp>
        <p:sp>
          <p:nvSpPr>
            <p:cNvPr id="19" name="Rectangle 18">
              <a:extLst>
                <a:ext uri="{FF2B5EF4-FFF2-40B4-BE49-F238E27FC236}">
                  <a16:creationId xmlns:a16="http://schemas.microsoft.com/office/drawing/2014/main" id="{5DEBF0E1-53F6-3C56-C388-CDD39F7984F5}"/>
                </a:ext>
              </a:extLst>
            </p:cNvPr>
            <p:cNvSpPr>
              <a:spLocks/>
            </p:cNvSpPr>
            <p:nvPr/>
          </p:nvSpPr>
          <p:spPr bwMode="gray">
            <a:xfrm>
              <a:off x="3115972" y="3863059"/>
              <a:ext cx="1541319" cy="1679782"/>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right playing field, where we will</a:t>
              </a: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 compete in terms of:</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Geographi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t categories and service offering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Consumer segmen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Channel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Vertical stages of production</a:t>
              </a:r>
              <a:endPar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5E1C43F9-1C9B-8789-2D94-01088AF6FCEB}"/>
                </a:ext>
              </a:extLst>
            </p:cNvPr>
            <p:cNvSpPr>
              <a:spLocks/>
            </p:cNvSpPr>
            <p:nvPr/>
          </p:nvSpPr>
          <p:spPr bwMode="gray">
            <a:xfrm>
              <a:off x="5178651" y="4195339"/>
              <a:ext cx="1541319" cy="949231"/>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unique right to wi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Our value propositio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Our competitors’ offering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Our competitive advantage</a:t>
              </a:r>
              <a:endPar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9BB71DC2-8777-7600-6B9A-2841BAAEBBBF}"/>
                </a:ext>
              </a:extLst>
            </p:cNvPr>
            <p:cNvSpPr>
              <a:spLocks/>
            </p:cNvSpPr>
            <p:nvPr/>
          </p:nvSpPr>
          <p:spPr bwMode="gray">
            <a:xfrm>
              <a:off x="7267012" y="4318051"/>
              <a:ext cx="1541319" cy="760957"/>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set of capabilities required to wi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ur reinforcing activiti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ur specific configuration</a:t>
              </a:r>
            </a:p>
          </p:txBody>
        </p:sp>
        <p:sp>
          <p:nvSpPr>
            <p:cNvPr id="23" name="Rectangle 22">
              <a:extLst>
                <a:ext uri="{FF2B5EF4-FFF2-40B4-BE49-F238E27FC236}">
                  <a16:creationId xmlns:a16="http://schemas.microsoft.com/office/drawing/2014/main" id="{E3E9333A-932A-42B0-6D25-96A62E243249}"/>
                </a:ext>
              </a:extLst>
            </p:cNvPr>
            <p:cNvSpPr>
              <a:spLocks/>
            </p:cNvSpPr>
            <p:nvPr/>
          </p:nvSpPr>
          <p:spPr bwMode="gray">
            <a:xfrm>
              <a:off x="9419896" y="4421519"/>
              <a:ext cx="1761057" cy="1362472"/>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support system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easurement of succes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Systems to inform decision-making</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Organizational cultur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Necessary technologies and information structures</a:t>
              </a:r>
              <a:endParaRPr kumimoji="0" lang="en-US" sz="1100" i="1"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Arrow: Circular 31">
              <a:extLst>
                <a:ext uri="{FF2B5EF4-FFF2-40B4-BE49-F238E27FC236}">
                  <a16:creationId xmlns:a16="http://schemas.microsoft.com/office/drawing/2014/main" id="{4092F28C-3500-6519-B510-436DE6C7CA54}"/>
                </a:ext>
              </a:extLst>
            </p:cNvPr>
            <p:cNvSpPr/>
            <p:nvPr/>
          </p:nvSpPr>
          <p:spPr bwMode="gray">
            <a:xfrm rot="1389407">
              <a:off x="2518696" y="2602060"/>
              <a:ext cx="697689" cy="600023"/>
            </a:xfrm>
            <a:prstGeom prst="circularArrow">
              <a:avLst>
                <a:gd name="adj1" fmla="val 5247"/>
                <a:gd name="adj2" fmla="val 1142319"/>
                <a:gd name="adj3" fmla="val 20695708"/>
                <a:gd name="adj4" fmla="val 10800000"/>
                <a:gd name="adj5" fmla="val 12500"/>
              </a:avLst>
            </a:prstGeom>
            <a:solidFill>
              <a:schemeClr val="bg1">
                <a:lumMod val="8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Arrow: Circular 32">
              <a:extLst>
                <a:ext uri="{FF2B5EF4-FFF2-40B4-BE49-F238E27FC236}">
                  <a16:creationId xmlns:a16="http://schemas.microsoft.com/office/drawing/2014/main" id="{4264FFED-E5C6-76CB-24F6-91E375646A6F}"/>
                </a:ext>
              </a:extLst>
            </p:cNvPr>
            <p:cNvSpPr/>
            <p:nvPr/>
          </p:nvSpPr>
          <p:spPr bwMode="gray">
            <a:xfrm rot="1389407">
              <a:off x="4653967" y="2839804"/>
              <a:ext cx="697689" cy="600023"/>
            </a:xfrm>
            <a:prstGeom prst="circularArrow">
              <a:avLst>
                <a:gd name="adj1" fmla="val 5247"/>
                <a:gd name="adj2" fmla="val 1142319"/>
                <a:gd name="adj3" fmla="val 20695708"/>
                <a:gd name="adj4" fmla="val 10800000"/>
                <a:gd name="adj5" fmla="val 12500"/>
              </a:avLst>
            </a:prstGeom>
            <a:solidFill>
              <a:schemeClr val="bg1">
                <a:lumMod val="8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Arrow: Circular 34">
              <a:extLst>
                <a:ext uri="{FF2B5EF4-FFF2-40B4-BE49-F238E27FC236}">
                  <a16:creationId xmlns:a16="http://schemas.microsoft.com/office/drawing/2014/main" id="{E9C5CB9D-D9DE-D9E9-D55C-731B94B82A9A}"/>
                </a:ext>
              </a:extLst>
            </p:cNvPr>
            <p:cNvSpPr/>
            <p:nvPr/>
          </p:nvSpPr>
          <p:spPr bwMode="gray">
            <a:xfrm rot="1389407">
              <a:off x="6673746" y="3077548"/>
              <a:ext cx="697689" cy="600023"/>
            </a:xfrm>
            <a:prstGeom prst="circularArrow">
              <a:avLst>
                <a:gd name="adj1" fmla="val 5247"/>
                <a:gd name="adj2" fmla="val 1142319"/>
                <a:gd name="adj3" fmla="val 20695708"/>
                <a:gd name="adj4" fmla="val 10800000"/>
                <a:gd name="adj5" fmla="val 12500"/>
              </a:avLst>
            </a:prstGeom>
            <a:solidFill>
              <a:schemeClr val="bg1">
                <a:lumMod val="8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Arrow: Circular 35">
              <a:extLst>
                <a:ext uri="{FF2B5EF4-FFF2-40B4-BE49-F238E27FC236}">
                  <a16:creationId xmlns:a16="http://schemas.microsoft.com/office/drawing/2014/main" id="{12176A8D-9CC6-37B7-D465-403F6ACCD64D}"/>
                </a:ext>
              </a:extLst>
            </p:cNvPr>
            <p:cNvSpPr/>
            <p:nvPr/>
          </p:nvSpPr>
          <p:spPr bwMode="gray">
            <a:xfrm rot="1389407">
              <a:off x="8744759" y="3297005"/>
              <a:ext cx="697689" cy="600023"/>
            </a:xfrm>
            <a:prstGeom prst="circularArrow">
              <a:avLst>
                <a:gd name="adj1" fmla="val 5247"/>
                <a:gd name="adj2" fmla="val 1142319"/>
                <a:gd name="adj3" fmla="val 20695708"/>
                <a:gd name="adj4" fmla="val 10800000"/>
                <a:gd name="adj5" fmla="val 12500"/>
              </a:avLst>
            </a:prstGeom>
            <a:solidFill>
              <a:schemeClr val="bg1">
                <a:lumMod val="85000"/>
              </a:schemeClr>
            </a:solid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Arrow: Circular 36">
              <a:extLst>
                <a:ext uri="{FF2B5EF4-FFF2-40B4-BE49-F238E27FC236}">
                  <a16:creationId xmlns:a16="http://schemas.microsoft.com/office/drawing/2014/main" id="{8533FFB4-82E1-381F-EC9F-91BC8E7D1414}"/>
                </a:ext>
              </a:extLst>
            </p:cNvPr>
            <p:cNvSpPr/>
            <p:nvPr/>
          </p:nvSpPr>
          <p:spPr bwMode="gray">
            <a:xfrm rot="11705325">
              <a:off x="8720956" y="4121508"/>
              <a:ext cx="697689" cy="600023"/>
            </a:xfrm>
            <a:prstGeom prst="circularArrow">
              <a:avLst>
                <a:gd name="adj1" fmla="val 0"/>
                <a:gd name="adj2" fmla="val 1137023"/>
                <a:gd name="adj3" fmla="val 21081212"/>
                <a:gd name="adj4" fmla="val 11337926"/>
                <a:gd name="adj5" fmla="val 12500"/>
              </a:avLst>
            </a:prstGeom>
            <a:solidFill>
              <a:schemeClr val="bg1">
                <a:lumMod val="95000"/>
              </a:schemeClr>
            </a:solidFill>
            <a:ln w="19050" algn="ctr">
              <a:solidFill>
                <a:schemeClr val="bg1">
                  <a:lumMod val="75000"/>
                </a:schemeClr>
              </a:solidFill>
              <a:prstDash val="sysDot"/>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Arrow: Circular 37">
              <a:extLst>
                <a:ext uri="{FF2B5EF4-FFF2-40B4-BE49-F238E27FC236}">
                  <a16:creationId xmlns:a16="http://schemas.microsoft.com/office/drawing/2014/main" id="{03B031D6-4555-EE34-709E-B97BC4EA2FD2}"/>
                </a:ext>
              </a:extLst>
            </p:cNvPr>
            <p:cNvSpPr/>
            <p:nvPr/>
          </p:nvSpPr>
          <p:spPr bwMode="gray">
            <a:xfrm rot="11705325">
              <a:off x="6637430" y="3883764"/>
              <a:ext cx="697689" cy="600023"/>
            </a:xfrm>
            <a:prstGeom prst="circularArrow">
              <a:avLst>
                <a:gd name="adj1" fmla="val 0"/>
                <a:gd name="adj2" fmla="val 1137023"/>
                <a:gd name="adj3" fmla="val 21081212"/>
                <a:gd name="adj4" fmla="val 11337926"/>
                <a:gd name="adj5" fmla="val 12500"/>
              </a:avLst>
            </a:prstGeom>
            <a:solidFill>
              <a:schemeClr val="bg1">
                <a:lumMod val="95000"/>
              </a:schemeClr>
            </a:solidFill>
            <a:ln w="19050" algn="ctr">
              <a:solidFill>
                <a:schemeClr val="bg1">
                  <a:lumMod val="75000"/>
                </a:schemeClr>
              </a:solidFill>
              <a:prstDash val="sysDot"/>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Arrow: Circular 38">
              <a:extLst>
                <a:ext uri="{FF2B5EF4-FFF2-40B4-BE49-F238E27FC236}">
                  <a16:creationId xmlns:a16="http://schemas.microsoft.com/office/drawing/2014/main" id="{45A87FA7-BA2E-8D2C-658E-04AF0777938F}"/>
                </a:ext>
              </a:extLst>
            </p:cNvPr>
            <p:cNvSpPr/>
            <p:nvPr/>
          </p:nvSpPr>
          <p:spPr bwMode="gray">
            <a:xfrm rot="11705325">
              <a:off x="4590330" y="3682596"/>
              <a:ext cx="697689" cy="600023"/>
            </a:xfrm>
            <a:prstGeom prst="circularArrow">
              <a:avLst>
                <a:gd name="adj1" fmla="val 0"/>
                <a:gd name="adj2" fmla="val 1137023"/>
                <a:gd name="adj3" fmla="val 21081212"/>
                <a:gd name="adj4" fmla="val 11337926"/>
                <a:gd name="adj5" fmla="val 12500"/>
              </a:avLst>
            </a:prstGeom>
            <a:solidFill>
              <a:schemeClr val="bg1">
                <a:lumMod val="95000"/>
              </a:schemeClr>
            </a:solidFill>
            <a:ln w="19050" algn="ctr">
              <a:solidFill>
                <a:schemeClr val="bg1">
                  <a:lumMod val="75000"/>
                </a:schemeClr>
              </a:solidFill>
              <a:prstDash val="sysDot"/>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Arrow: Circular 39">
              <a:extLst>
                <a:ext uri="{FF2B5EF4-FFF2-40B4-BE49-F238E27FC236}">
                  <a16:creationId xmlns:a16="http://schemas.microsoft.com/office/drawing/2014/main" id="{FB8D8E8D-377E-B9E3-5CBF-CBFCBDE71F43}"/>
                </a:ext>
              </a:extLst>
            </p:cNvPr>
            <p:cNvSpPr/>
            <p:nvPr/>
          </p:nvSpPr>
          <p:spPr bwMode="gray">
            <a:xfrm rot="11705325">
              <a:off x="2521745" y="3399131"/>
              <a:ext cx="697689" cy="600023"/>
            </a:xfrm>
            <a:prstGeom prst="circularArrow">
              <a:avLst>
                <a:gd name="adj1" fmla="val 0"/>
                <a:gd name="adj2" fmla="val 1137023"/>
                <a:gd name="adj3" fmla="val 21081212"/>
                <a:gd name="adj4" fmla="val 11337926"/>
                <a:gd name="adj5" fmla="val 12500"/>
              </a:avLst>
            </a:prstGeom>
            <a:solidFill>
              <a:schemeClr val="bg1">
                <a:lumMod val="95000"/>
              </a:schemeClr>
            </a:solidFill>
            <a:ln w="19050" algn="ctr">
              <a:solidFill>
                <a:schemeClr val="bg1">
                  <a:lumMod val="75000"/>
                </a:schemeClr>
              </a:solidFill>
              <a:prstDash val="sysDot"/>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Rectangle 24">
            <a:extLst>
              <a:ext uri="{FF2B5EF4-FFF2-40B4-BE49-F238E27FC236}">
                <a16:creationId xmlns:a16="http://schemas.microsoft.com/office/drawing/2014/main" id="{55BFF62F-8D49-DC5B-D281-323A5CEC3BB3}"/>
              </a:ext>
            </a:extLst>
          </p:cNvPr>
          <p:cNvSpPr/>
          <p:nvPr/>
        </p:nvSpPr>
        <p:spPr bwMode="gray">
          <a:xfrm>
            <a:off x="2878282" y="5746173"/>
            <a:ext cx="4177145" cy="318954"/>
          </a:xfrm>
          <a:prstGeom prst="rect">
            <a:avLst/>
          </a:prstGeom>
          <a:noFill/>
          <a:ln w="19050" algn="ctr">
            <a:noFill/>
            <a:miter lim="800000"/>
            <a:headEnd/>
            <a:tailEnd/>
          </a:ln>
        </p:spPr>
        <p:txBody>
          <a:bodyPr wrap="square" lIns="88900" tIns="88900" rIns="88900" bIns="88900" rtlCol="0" anchor="ctr"/>
          <a:lstStyle/>
          <a:p>
            <a:pPr algn="ctr" eaLnBrk="0" hangingPunct="0">
              <a:lnSpc>
                <a:spcPct val="106000"/>
              </a:lnSpc>
            </a:pPr>
            <a:r>
              <a:rPr lang="en-US" sz="900" i="1" dirty="0">
                <a:latin typeface="Open Sans" panose="020B0606030504020204" pitchFamily="34" charset="0"/>
                <a:ea typeface="Open Sans" panose="020B0606030504020204" pitchFamily="34" charset="0"/>
                <a:cs typeface="Open Sans" panose="020B0606030504020204" pitchFamily="34" charset="0"/>
                <a:sym typeface="Frutiger Next Pro"/>
              </a:rPr>
              <a:t>Your Where-to-Play / How-to-Win choices, along with the underlying economic model, forms your business model</a:t>
            </a:r>
          </a:p>
        </p:txBody>
      </p:sp>
      <p:sp>
        <p:nvSpPr>
          <p:cNvPr id="26" name="Rectangle 25">
            <a:extLst>
              <a:ext uri="{FF2B5EF4-FFF2-40B4-BE49-F238E27FC236}">
                <a16:creationId xmlns:a16="http://schemas.microsoft.com/office/drawing/2014/main" id="{5544C759-2230-0A80-612D-1E954AF94486}"/>
              </a:ext>
            </a:extLst>
          </p:cNvPr>
          <p:cNvSpPr/>
          <p:nvPr/>
        </p:nvSpPr>
        <p:spPr bwMode="gray">
          <a:xfrm>
            <a:off x="7084503" y="2603242"/>
            <a:ext cx="4177145" cy="3475439"/>
          </a:xfrm>
          <a:prstGeom prst="rect">
            <a:avLst/>
          </a:prstGeom>
          <a:noFill/>
          <a:ln w="12700" algn="ctr">
            <a:solidFill>
              <a:schemeClr val="bg1">
                <a:lumMod val="5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3F81E3B7-E052-4D7F-EE32-792873F88771}"/>
              </a:ext>
            </a:extLst>
          </p:cNvPr>
          <p:cNvSpPr/>
          <p:nvPr/>
        </p:nvSpPr>
        <p:spPr bwMode="gray">
          <a:xfrm>
            <a:off x="7160959" y="5757427"/>
            <a:ext cx="4177145" cy="318954"/>
          </a:xfrm>
          <a:prstGeom prst="rect">
            <a:avLst/>
          </a:prstGeom>
          <a:noFill/>
          <a:ln w="19050" algn="ctr">
            <a:noFill/>
            <a:miter lim="800000"/>
            <a:headEnd/>
            <a:tailEnd/>
          </a:ln>
        </p:spPr>
        <p:txBody>
          <a:bodyPr wrap="square" lIns="88900" tIns="88900" rIns="88900" bIns="88900" rtlCol="0" anchor="ctr"/>
          <a:lstStyle/>
          <a:p>
            <a:pPr algn="ctr" eaLnBrk="0" hangingPunct="0">
              <a:lnSpc>
                <a:spcPct val="106000"/>
              </a:lnSpc>
            </a:pPr>
            <a:r>
              <a:rPr lang="en-US" sz="900" i="1" dirty="0">
                <a:latin typeface="Open Sans" panose="020B0606030504020204" pitchFamily="34" charset="0"/>
                <a:ea typeface="Open Sans" panose="020B0606030504020204" pitchFamily="34" charset="0"/>
                <a:cs typeface="Open Sans" panose="020B0606030504020204" pitchFamily="34" charset="0"/>
                <a:sym typeface="Frutiger Next Pro"/>
              </a:rPr>
              <a:t>Capabilities and management systems are critical to enabling the business model and may need to be considered to understand economic implications</a:t>
            </a:r>
          </a:p>
        </p:txBody>
      </p:sp>
    </p:spTree>
    <p:extLst>
      <p:ext uri="{BB962C8B-B14F-4D97-AF65-F5344CB8AC3E}">
        <p14:creationId xmlns:p14="http://schemas.microsoft.com/office/powerpoint/2010/main" val="350783860"/>
      </p:ext>
    </p:extLst>
  </p:cSld>
  <p:clrMapOvr>
    <a:masterClrMapping/>
  </p:clrMapOvr>
  <p:transition>
    <p:fade/>
  </p:transition>
  <p:extLst>
    <p:ext uri="{6950BFC3-D8DA-4A85-94F7-54DA5524770B}">
      <p188:commentRel xmlns:p188="http://schemas.microsoft.com/office/powerpoint/2018/8/main" r:id="rId4"/>
    </p:ext>
  </p:extLs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1675577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err="1">
                <a:latin typeface="Open Sans" panose="020B0606030504020204" pitchFamily="34" charset="0"/>
                <a:ea typeface="Open Sans" panose="020B0606030504020204" pitchFamily="34" charset="0"/>
                <a:cs typeface="Open Sans" panose="020B0606030504020204" pitchFamily="34" charset="0"/>
              </a:rPr>
              <a:t>StrategyByDesign</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Our </a:t>
            </a:r>
            <a:r>
              <a:rPr lang="en-US" sz="14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StrategyByDesign</a:t>
            </a: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process is appropriate to drive the analysis and decisions in the right order</a:t>
            </a:r>
          </a:p>
        </p:txBody>
      </p:sp>
      <p:sp>
        <p:nvSpPr>
          <p:cNvPr id="3" name="Rectangle: Rounded Corners 2">
            <a:extLst>
              <a:ext uri="{FF2B5EF4-FFF2-40B4-BE49-F238E27FC236}">
                <a16:creationId xmlns:a16="http://schemas.microsoft.com/office/drawing/2014/main" id="{3EAB1B88-AC10-79E6-9A8B-C59DFC11E90D}"/>
              </a:ext>
            </a:extLst>
          </p:cNvPr>
          <p:cNvSpPr/>
          <p:nvPr/>
        </p:nvSpPr>
        <p:spPr bwMode="gray">
          <a:xfrm>
            <a:off x="897857" y="1468777"/>
            <a:ext cx="3149027" cy="334100"/>
          </a:xfrm>
          <a:prstGeom prst="roundRect">
            <a:avLst>
              <a:gd name="adj" fmla="val 0"/>
            </a:avLst>
          </a:prstGeom>
          <a:solidFill>
            <a:srgbClr val="00B0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Rounded Corners 3">
            <a:extLst>
              <a:ext uri="{FF2B5EF4-FFF2-40B4-BE49-F238E27FC236}">
                <a16:creationId xmlns:a16="http://schemas.microsoft.com/office/drawing/2014/main" id="{156E4DBC-A2F5-3AAC-4EB0-4612A8FC1002}"/>
              </a:ext>
            </a:extLst>
          </p:cNvPr>
          <p:cNvSpPr/>
          <p:nvPr/>
        </p:nvSpPr>
        <p:spPr bwMode="gray">
          <a:xfrm>
            <a:off x="4378590" y="1468777"/>
            <a:ext cx="3149027" cy="334100"/>
          </a:xfrm>
          <a:prstGeom prst="roundRect">
            <a:avLst>
              <a:gd name="adj" fmla="val 0"/>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Rounded Corners 4">
            <a:extLst>
              <a:ext uri="{FF2B5EF4-FFF2-40B4-BE49-F238E27FC236}">
                <a16:creationId xmlns:a16="http://schemas.microsoft.com/office/drawing/2014/main" id="{92C3B76C-77B5-FF63-9075-6E92AC9C1578}"/>
              </a:ext>
            </a:extLst>
          </p:cNvPr>
          <p:cNvSpPr/>
          <p:nvPr/>
        </p:nvSpPr>
        <p:spPr bwMode="gray">
          <a:xfrm>
            <a:off x="7869494" y="1468777"/>
            <a:ext cx="3149027" cy="334100"/>
          </a:xfrm>
          <a:prstGeom prst="roundRect">
            <a:avLst>
              <a:gd name="adj" fmla="val 0"/>
            </a:avLst>
          </a:prstGeom>
          <a:solidFill>
            <a:srgbClr val="64646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Rounded Corners 6">
            <a:extLst>
              <a:ext uri="{FF2B5EF4-FFF2-40B4-BE49-F238E27FC236}">
                <a16:creationId xmlns:a16="http://schemas.microsoft.com/office/drawing/2014/main" id="{20BCB615-D35D-B441-8C84-4B919CF01079}"/>
              </a:ext>
            </a:extLst>
          </p:cNvPr>
          <p:cNvSpPr/>
          <p:nvPr/>
        </p:nvSpPr>
        <p:spPr bwMode="gray">
          <a:xfrm>
            <a:off x="897857" y="1876341"/>
            <a:ext cx="1462148" cy="334100"/>
          </a:xfrm>
          <a:prstGeom prst="roundRect">
            <a:avLst>
              <a:gd name="adj" fmla="val 0"/>
            </a:avLst>
          </a:prstGeom>
          <a:solidFill>
            <a:srgbClr val="00B0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Rounded Corners 7">
            <a:extLst>
              <a:ext uri="{FF2B5EF4-FFF2-40B4-BE49-F238E27FC236}">
                <a16:creationId xmlns:a16="http://schemas.microsoft.com/office/drawing/2014/main" id="{16662A4E-6DE7-64B8-7FFE-F03370134D93}"/>
              </a:ext>
            </a:extLst>
          </p:cNvPr>
          <p:cNvSpPr/>
          <p:nvPr/>
        </p:nvSpPr>
        <p:spPr bwMode="gray">
          <a:xfrm>
            <a:off x="2584737" y="1876341"/>
            <a:ext cx="1462148" cy="334100"/>
          </a:xfrm>
          <a:prstGeom prst="roundRect">
            <a:avLst>
              <a:gd name="adj" fmla="val 0"/>
            </a:avLst>
          </a:prstGeom>
          <a:solidFill>
            <a:srgbClr val="00B0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Rounded Corners 9">
            <a:extLst>
              <a:ext uri="{FF2B5EF4-FFF2-40B4-BE49-F238E27FC236}">
                <a16:creationId xmlns:a16="http://schemas.microsoft.com/office/drawing/2014/main" id="{58D209E0-ECF8-0D72-6E54-2F870A4BEAFF}"/>
              </a:ext>
            </a:extLst>
          </p:cNvPr>
          <p:cNvSpPr/>
          <p:nvPr/>
        </p:nvSpPr>
        <p:spPr bwMode="gray">
          <a:xfrm>
            <a:off x="4378590" y="1876341"/>
            <a:ext cx="1462148" cy="334100"/>
          </a:xfrm>
          <a:prstGeom prst="roundRect">
            <a:avLst>
              <a:gd name="adj" fmla="val 0"/>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21D24226-345B-9241-5406-45CF2183DD83}"/>
              </a:ext>
            </a:extLst>
          </p:cNvPr>
          <p:cNvSpPr/>
          <p:nvPr/>
        </p:nvSpPr>
        <p:spPr bwMode="gray">
          <a:xfrm>
            <a:off x="6065470" y="1876341"/>
            <a:ext cx="1462148" cy="334100"/>
          </a:xfrm>
          <a:prstGeom prst="roundRect">
            <a:avLst>
              <a:gd name="adj" fmla="val 0"/>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98C4BF9C-7712-E579-2639-F66E8C9D09E8}"/>
              </a:ext>
            </a:extLst>
          </p:cNvPr>
          <p:cNvSpPr/>
          <p:nvPr/>
        </p:nvSpPr>
        <p:spPr bwMode="gray">
          <a:xfrm>
            <a:off x="7869493" y="1876341"/>
            <a:ext cx="1462148" cy="334100"/>
          </a:xfrm>
          <a:prstGeom prst="roundRect">
            <a:avLst>
              <a:gd name="adj" fmla="val 0"/>
            </a:avLst>
          </a:prstGeom>
          <a:solidFill>
            <a:srgbClr val="64646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Rounded Corners 13">
            <a:extLst>
              <a:ext uri="{FF2B5EF4-FFF2-40B4-BE49-F238E27FC236}">
                <a16:creationId xmlns:a16="http://schemas.microsoft.com/office/drawing/2014/main" id="{22AFD165-B24B-866C-5A70-24A37AB49A63}"/>
              </a:ext>
            </a:extLst>
          </p:cNvPr>
          <p:cNvSpPr/>
          <p:nvPr/>
        </p:nvSpPr>
        <p:spPr bwMode="gray">
          <a:xfrm>
            <a:off x="9556373" y="1876341"/>
            <a:ext cx="1462148" cy="334100"/>
          </a:xfrm>
          <a:prstGeom prst="roundRect">
            <a:avLst>
              <a:gd name="adj" fmla="val 0"/>
            </a:avLst>
          </a:prstGeom>
          <a:solidFill>
            <a:srgbClr val="64646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7" name="Straight Arrow Connector 16">
            <a:extLst>
              <a:ext uri="{FF2B5EF4-FFF2-40B4-BE49-F238E27FC236}">
                <a16:creationId xmlns:a16="http://schemas.microsoft.com/office/drawing/2014/main" id="{65CE0F67-5026-A325-1E14-C042042D3736}"/>
              </a:ext>
            </a:extLst>
          </p:cNvPr>
          <p:cNvCxnSpPr>
            <a:cxnSpLocks/>
          </p:cNvCxnSpPr>
          <p:nvPr/>
        </p:nvCxnSpPr>
        <p:spPr>
          <a:xfrm>
            <a:off x="2360005" y="2043391"/>
            <a:ext cx="224732"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2428559D-54C0-F929-7869-B138F4FF36DD}"/>
              </a:ext>
            </a:extLst>
          </p:cNvPr>
          <p:cNvCxnSpPr>
            <a:cxnSpLocks/>
          </p:cNvCxnSpPr>
          <p:nvPr/>
        </p:nvCxnSpPr>
        <p:spPr>
          <a:xfrm>
            <a:off x="5840738" y="2043391"/>
            <a:ext cx="224732"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51534ED-9E72-71B2-A5B9-EBEFA07F5D84}"/>
              </a:ext>
            </a:extLst>
          </p:cNvPr>
          <p:cNvCxnSpPr>
            <a:cxnSpLocks/>
          </p:cNvCxnSpPr>
          <p:nvPr/>
        </p:nvCxnSpPr>
        <p:spPr>
          <a:xfrm>
            <a:off x="9322497" y="2043391"/>
            <a:ext cx="224732"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CB858E8-3F46-17FB-128D-F21AC4D3812F}"/>
              </a:ext>
            </a:extLst>
          </p:cNvPr>
          <p:cNvCxnSpPr>
            <a:cxnSpLocks/>
          </p:cNvCxnSpPr>
          <p:nvPr/>
        </p:nvCxnSpPr>
        <p:spPr>
          <a:xfrm>
            <a:off x="4098994" y="2043391"/>
            <a:ext cx="224732"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A14461C-CD93-9977-09FB-B56D47A82C83}"/>
              </a:ext>
            </a:extLst>
          </p:cNvPr>
          <p:cNvCxnSpPr>
            <a:cxnSpLocks/>
          </p:cNvCxnSpPr>
          <p:nvPr/>
        </p:nvCxnSpPr>
        <p:spPr>
          <a:xfrm>
            <a:off x="7591625" y="2043391"/>
            <a:ext cx="224732"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6A2914A-75F0-6CBD-1927-83EACA1D6463}"/>
              </a:ext>
            </a:extLst>
          </p:cNvPr>
          <p:cNvCxnSpPr/>
          <p:nvPr/>
        </p:nvCxnSpPr>
        <p:spPr>
          <a:xfrm>
            <a:off x="897857" y="2633472"/>
            <a:ext cx="10120664"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10959278-B02B-76FC-BF66-D729A0A26C5F}"/>
              </a:ext>
            </a:extLst>
          </p:cNvPr>
          <p:cNvSpPr/>
          <p:nvPr/>
        </p:nvSpPr>
        <p:spPr bwMode="gray">
          <a:xfrm>
            <a:off x="897856" y="2839557"/>
            <a:ext cx="10120664" cy="229160"/>
          </a:xfrm>
          <a:prstGeom prst="roundRect">
            <a:avLst>
              <a:gd name="adj" fmla="val 0"/>
            </a:avLst>
          </a:prstGeom>
          <a:solidFill>
            <a:srgbClr val="F2F2F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Rectangle 25">
            <a:extLst>
              <a:ext uri="{FF2B5EF4-FFF2-40B4-BE49-F238E27FC236}">
                <a16:creationId xmlns:a16="http://schemas.microsoft.com/office/drawing/2014/main" id="{12B975CE-50DE-4898-5CD0-4CA76C92A59B}"/>
              </a:ext>
            </a:extLst>
          </p:cNvPr>
          <p:cNvSpPr/>
          <p:nvPr/>
        </p:nvSpPr>
        <p:spPr bwMode="gray">
          <a:xfrm>
            <a:off x="897856" y="3208036"/>
            <a:ext cx="3149028" cy="2909300"/>
          </a:xfrm>
          <a:prstGeom prst="rect">
            <a:avLst/>
          </a:prstGeom>
          <a:noFill/>
          <a:ln w="19050" algn="ctr">
            <a:solidFill>
              <a:schemeClr val="bg1">
                <a:lumMod val="85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BA5FCE76-01E9-D583-3674-78B42E11987F}"/>
              </a:ext>
            </a:extLst>
          </p:cNvPr>
          <p:cNvSpPr/>
          <p:nvPr/>
        </p:nvSpPr>
        <p:spPr bwMode="gray">
          <a:xfrm>
            <a:off x="4378590" y="3208036"/>
            <a:ext cx="3149028" cy="2909300"/>
          </a:xfrm>
          <a:prstGeom prst="rect">
            <a:avLst/>
          </a:prstGeom>
          <a:noFill/>
          <a:ln w="19050" algn="ctr">
            <a:solidFill>
              <a:schemeClr val="bg1">
                <a:lumMod val="85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13DDB28E-6FFE-FAB0-AA81-4EDFF2320FE9}"/>
              </a:ext>
            </a:extLst>
          </p:cNvPr>
          <p:cNvSpPr/>
          <p:nvPr/>
        </p:nvSpPr>
        <p:spPr bwMode="gray">
          <a:xfrm>
            <a:off x="7869493" y="3208036"/>
            <a:ext cx="3149028" cy="2909300"/>
          </a:xfrm>
          <a:prstGeom prst="rect">
            <a:avLst/>
          </a:prstGeom>
          <a:noFill/>
          <a:ln w="19050" algn="ctr">
            <a:solidFill>
              <a:schemeClr val="bg1">
                <a:lumMod val="85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9AC6D210-4CA6-E1C6-6EA1-9390759044C0}"/>
              </a:ext>
            </a:extLst>
          </p:cNvPr>
          <p:cNvSpPr txBox="1"/>
          <p:nvPr/>
        </p:nvSpPr>
        <p:spPr>
          <a:xfrm>
            <a:off x="1681615" y="1525122"/>
            <a:ext cx="1688485" cy="250024"/>
          </a:xfrm>
          <a:prstGeom prst="rect">
            <a:avLst/>
          </a:prstGeom>
          <a:noFill/>
        </p:spPr>
        <p:txBody>
          <a:bodyPr wrap="square" lIns="0" tIns="0" rIns="0" bIns="0" rtlCol="0" anchor="t">
            <a:noAutofit/>
          </a:bodyPr>
          <a:lstStyle/>
          <a:p>
            <a:pPr algn="ctr">
              <a:spcAft>
                <a:spcPts val="1000"/>
              </a:spcAft>
            </a:pP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urrent Strategy</a:t>
            </a:r>
          </a:p>
        </p:txBody>
      </p:sp>
      <p:sp>
        <p:nvSpPr>
          <p:cNvPr id="31" name="TextBox 30">
            <a:extLst>
              <a:ext uri="{FF2B5EF4-FFF2-40B4-BE49-F238E27FC236}">
                <a16:creationId xmlns:a16="http://schemas.microsoft.com/office/drawing/2014/main" id="{DD110C9F-D6D6-5B6C-D3D0-0207F0BF1CF9}"/>
              </a:ext>
            </a:extLst>
          </p:cNvPr>
          <p:cNvSpPr txBox="1"/>
          <p:nvPr/>
        </p:nvSpPr>
        <p:spPr>
          <a:xfrm>
            <a:off x="5165828" y="1525122"/>
            <a:ext cx="1688485" cy="250024"/>
          </a:xfrm>
          <a:prstGeom prst="rect">
            <a:avLst/>
          </a:prstGeom>
          <a:noFill/>
        </p:spPr>
        <p:txBody>
          <a:bodyPr wrap="square" lIns="0" tIns="0" rIns="0" bIns="0" rtlCol="0" anchor="t">
            <a:noAutofit/>
          </a:bodyPr>
          <a:lstStyle/>
          <a:p>
            <a:pPr algn="ctr">
              <a:spcAft>
                <a:spcPts val="1000"/>
              </a:spcAft>
            </a:pPr>
            <a:r>
              <a:rPr lang="en-US" sz="1200" b="1" dirty="0">
                <a:latin typeface="Open Sans" panose="020B0606030504020204" pitchFamily="34" charset="0"/>
                <a:ea typeface="Open Sans" panose="020B0606030504020204" pitchFamily="34" charset="0"/>
                <a:cs typeface="Open Sans" panose="020B0606030504020204" pitchFamily="34" charset="0"/>
              </a:rPr>
              <a:t>Strategic Options</a:t>
            </a:r>
          </a:p>
        </p:txBody>
      </p:sp>
      <p:sp>
        <p:nvSpPr>
          <p:cNvPr id="32" name="TextBox 31">
            <a:extLst>
              <a:ext uri="{FF2B5EF4-FFF2-40B4-BE49-F238E27FC236}">
                <a16:creationId xmlns:a16="http://schemas.microsoft.com/office/drawing/2014/main" id="{18E1187A-DE28-5EE8-4359-30616CBB0912}"/>
              </a:ext>
            </a:extLst>
          </p:cNvPr>
          <p:cNvSpPr txBox="1"/>
          <p:nvPr/>
        </p:nvSpPr>
        <p:spPr>
          <a:xfrm>
            <a:off x="8590620" y="1525122"/>
            <a:ext cx="1688485" cy="250024"/>
          </a:xfrm>
          <a:prstGeom prst="rect">
            <a:avLst/>
          </a:prstGeom>
          <a:noFill/>
        </p:spPr>
        <p:txBody>
          <a:bodyPr wrap="square" lIns="0" tIns="0" rIns="0" bIns="0" rtlCol="0" anchor="t">
            <a:noAutofit/>
          </a:bodyPr>
          <a:lstStyle/>
          <a:p>
            <a:pPr algn="ctr">
              <a:spcAft>
                <a:spcPts val="1000"/>
              </a:spcAft>
            </a:pP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uture Strategy</a:t>
            </a:r>
          </a:p>
        </p:txBody>
      </p:sp>
      <p:sp>
        <p:nvSpPr>
          <p:cNvPr id="33" name="TextBox 32">
            <a:extLst>
              <a:ext uri="{FF2B5EF4-FFF2-40B4-BE49-F238E27FC236}">
                <a16:creationId xmlns:a16="http://schemas.microsoft.com/office/drawing/2014/main" id="{AB136FF5-97D7-ACE2-A221-E536B4284A3A}"/>
              </a:ext>
            </a:extLst>
          </p:cNvPr>
          <p:cNvSpPr txBox="1"/>
          <p:nvPr/>
        </p:nvSpPr>
        <p:spPr>
          <a:xfrm>
            <a:off x="1233364" y="1950173"/>
            <a:ext cx="768464" cy="186436"/>
          </a:xfrm>
          <a:prstGeom prst="rect">
            <a:avLst/>
          </a:prstGeom>
          <a:noFill/>
        </p:spPr>
        <p:txBody>
          <a:bodyPr wrap="square" lIns="0" tIns="0" rIns="0" bIns="0" rtlCol="0" anchor="t">
            <a:noAutofit/>
          </a:bodyPr>
          <a:lstStyle/>
          <a:p>
            <a:pPr algn="ctr">
              <a:spcAft>
                <a:spcPts val="10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xpress</a:t>
            </a:r>
          </a:p>
        </p:txBody>
      </p:sp>
      <p:sp>
        <p:nvSpPr>
          <p:cNvPr id="35" name="TextBox 34">
            <a:extLst>
              <a:ext uri="{FF2B5EF4-FFF2-40B4-BE49-F238E27FC236}">
                <a16:creationId xmlns:a16="http://schemas.microsoft.com/office/drawing/2014/main" id="{525CA139-30EA-F2D9-611C-B9B744425DE0}"/>
              </a:ext>
            </a:extLst>
          </p:cNvPr>
          <p:cNvSpPr txBox="1"/>
          <p:nvPr/>
        </p:nvSpPr>
        <p:spPr>
          <a:xfrm>
            <a:off x="2940945" y="1950173"/>
            <a:ext cx="768464" cy="186436"/>
          </a:xfrm>
          <a:prstGeom prst="rect">
            <a:avLst/>
          </a:prstGeom>
          <a:noFill/>
        </p:spPr>
        <p:txBody>
          <a:bodyPr wrap="square" lIns="0" tIns="0" rIns="0" bIns="0" rtlCol="0" anchor="t">
            <a:noAutofit/>
          </a:bodyPr>
          <a:lstStyle/>
          <a:p>
            <a:pPr algn="ctr">
              <a:spcAft>
                <a:spcPts val="10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ssess</a:t>
            </a:r>
          </a:p>
        </p:txBody>
      </p:sp>
      <p:sp>
        <p:nvSpPr>
          <p:cNvPr id="36" name="TextBox 35">
            <a:extLst>
              <a:ext uri="{FF2B5EF4-FFF2-40B4-BE49-F238E27FC236}">
                <a16:creationId xmlns:a16="http://schemas.microsoft.com/office/drawing/2014/main" id="{E027BD73-CCEC-F5B2-0A37-3347C05A79CA}"/>
              </a:ext>
            </a:extLst>
          </p:cNvPr>
          <p:cNvSpPr txBox="1"/>
          <p:nvPr/>
        </p:nvSpPr>
        <p:spPr>
          <a:xfrm>
            <a:off x="8219702" y="1950173"/>
            <a:ext cx="768464" cy="186436"/>
          </a:xfrm>
          <a:prstGeom prst="rect">
            <a:avLst/>
          </a:prstGeom>
          <a:noFill/>
        </p:spPr>
        <p:txBody>
          <a:bodyPr wrap="square" lIns="0" tIns="0" rIns="0" bIns="0" rtlCol="0" anchor="t">
            <a:noAutofit/>
          </a:bodyPr>
          <a:lstStyle/>
          <a:p>
            <a:pPr algn="ctr">
              <a:spcAft>
                <a:spcPts val="10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tail</a:t>
            </a:r>
          </a:p>
        </p:txBody>
      </p:sp>
      <p:sp>
        <p:nvSpPr>
          <p:cNvPr id="37" name="TextBox 36">
            <a:extLst>
              <a:ext uri="{FF2B5EF4-FFF2-40B4-BE49-F238E27FC236}">
                <a16:creationId xmlns:a16="http://schemas.microsoft.com/office/drawing/2014/main" id="{37F8C81F-522A-1CE5-CA60-0EDB7912988E}"/>
              </a:ext>
            </a:extLst>
          </p:cNvPr>
          <p:cNvSpPr txBox="1"/>
          <p:nvPr/>
        </p:nvSpPr>
        <p:spPr>
          <a:xfrm>
            <a:off x="9894873" y="1950173"/>
            <a:ext cx="768464" cy="186436"/>
          </a:xfrm>
          <a:prstGeom prst="rect">
            <a:avLst/>
          </a:prstGeom>
          <a:noFill/>
        </p:spPr>
        <p:txBody>
          <a:bodyPr wrap="square" lIns="0" tIns="0" rIns="0" bIns="0" rtlCol="0" anchor="t">
            <a:noAutofit/>
          </a:bodyPr>
          <a:lstStyle/>
          <a:p>
            <a:pPr algn="ctr">
              <a:spcAft>
                <a:spcPts val="10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t</a:t>
            </a:r>
          </a:p>
        </p:txBody>
      </p:sp>
      <p:sp>
        <p:nvSpPr>
          <p:cNvPr id="38" name="TextBox 37">
            <a:extLst>
              <a:ext uri="{FF2B5EF4-FFF2-40B4-BE49-F238E27FC236}">
                <a16:creationId xmlns:a16="http://schemas.microsoft.com/office/drawing/2014/main" id="{B23B03A2-AA3C-5A71-7D32-E3F41EA113EC}"/>
              </a:ext>
            </a:extLst>
          </p:cNvPr>
          <p:cNvSpPr txBox="1"/>
          <p:nvPr/>
        </p:nvSpPr>
        <p:spPr>
          <a:xfrm>
            <a:off x="6399801" y="1950173"/>
            <a:ext cx="768464" cy="186436"/>
          </a:xfrm>
          <a:prstGeom prst="rect">
            <a:avLst/>
          </a:prstGeom>
          <a:noFill/>
        </p:spPr>
        <p:txBody>
          <a:bodyPr wrap="square" lIns="0" tIns="0" rIns="0" bIns="0" rtlCol="0" anchor="t">
            <a:noAutofit/>
          </a:bodyPr>
          <a:lstStyle/>
          <a:p>
            <a:pPr algn="ct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Choose</a:t>
            </a:r>
          </a:p>
        </p:txBody>
      </p:sp>
      <p:sp>
        <p:nvSpPr>
          <p:cNvPr id="39" name="TextBox 38">
            <a:extLst>
              <a:ext uri="{FF2B5EF4-FFF2-40B4-BE49-F238E27FC236}">
                <a16:creationId xmlns:a16="http://schemas.microsoft.com/office/drawing/2014/main" id="{E60E7E75-F9F7-0CEB-685A-11C52412B397}"/>
              </a:ext>
            </a:extLst>
          </p:cNvPr>
          <p:cNvSpPr txBox="1"/>
          <p:nvPr/>
        </p:nvSpPr>
        <p:spPr>
          <a:xfrm>
            <a:off x="4683470" y="1950173"/>
            <a:ext cx="768464" cy="186436"/>
          </a:xfrm>
          <a:prstGeom prst="rect">
            <a:avLst/>
          </a:prstGeom>
          <a:noFill/>
        </p:spPr>
        <p:txBody>
          <a:bodyPr wrap="square" lIns="0" tIns="0" rIns="0" bIns="0" rtlCol="0" anchor="t">
            <a:noAutofit/>
          </a:bodyPr>
          <a:lstStyle/>
          <a:p>
            <a:pPr algn="ct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Develop</a:t>
            </a:r>
          </a:p>
        </p:txBody>
      </p:sp>
      <p:sp>
        <p:nvSpPr>
          <p:cNvPr id="40" name="TextBox 39">
            <a:extLst>
              <a:ext uri="{FF2B5EF4-FFF2-40B4-BE49-F238E27FC236}">
                <a16:creationId xmlns:a16="http://schemas.microsoft.com/office/drawing/2014/main" id="{B319DBA3-8F53-2D0D-7E4C-78F9E4038B1E}"/>
              </a:ext>
            </a:extLst>
          </p:cNvPr>
          <p:cNvSpPr txBox="1"/>
          <p:nvPr/>
        </p:nvSpPr>
        <p:spPr>
          <a:xfrm>
            <a:off x="4596017" y="2275651"/>
            <a:ext cx="2650831" cy="298917"/>
          </a:xfrm>
          <a:prstGeom prst="rect">
            <a:avLst/>
          </a:prstGeom>
          <a:noFill/>
        </p:spPr>
        <p:txBody>
          <a:bodyPr wrap="square" lIns="0" tIns="0" rIns="0" bIns="0" rtlCol="0" anchor="ctr">
            <a:noAutofit/>
          </a:bodyPr>
          <a:lstStyle/>
          <a:p>
            <a:pPr algn="ctr">
              <a:spcAft>
                <a:spcPts val="1000"/>
              </a:spcAft>
            </a:pPr>
            <a:r>
              <a:rPr lang="en-US" sz="1000" i="1" dirty="0">
                <a:latin typeface="Open Sans" panose="020B0606030504020204" pitchFamily="34" charset="0"/>
                <a:ea typeface="Open Sans" panose="020B0606030504020204" pitchFamily="34" charset="0"/>
                <a:cs typeface="Open Sans" panose="020B0606030504020204" pitchFamily="34" charset="0"/>
              </a:rPr>
              <a:t>Explore and select strategic options</a:t>
            </a:r>
          </a:p>
        </p:txBody>
      </p:sp>
      <p:sp>
        <p:nvSpPr>
          <p:cNvPr id="41" name="TextBox 40">
            <a:extLst>
              <a:ext uri="{FF2B5EF4-FFF2-40B4-BE49-F238E27FC236}">
                <a16:creationId xmlns:a16="http://schemas.microsoft.com/office/drawing/2014/main" id="{D2B46630-E9DF-0A6A-09D0-EE1F205B1341}"/>
              </a:ext>
            </a:extLst>
          </p:cNvPr>
          <p:cNvSpPr txBox="1"/>
          <p:nvPr/>
        </p:nvSpPr>
        <p:spPr>
          <a:xfrm>
            <a:off x="7869493" y="2275651"/>
            <a:ext cx="3149027" cy="298917"/>
          </a:xfrm>
          <a:prstGeom prst="rect">
            <a:avLst/>
          </a:prstGeom>
          <a:noFill/>
        </p:spPr>
        <p:txBody>
          <a:bodyPr wrap="square" lIns="0" tIns="0" rIns="0" bIns="0" rtlCol="0" anchor="ctr">
            <a:noAutofit/>
          </a:bodyPr>
          <a:lstStyle/>
          <a:p>
            <a:pPr algn="ctr">
              <a:spcAft>
                <a:spcPts val="1000"/>
              </a:spcAft>
            </a:pPr>
            <a:r>
              <a:rPr lang="en-US" sz="1000" i="1" dirty="0">
                <a:latin typeface="Open Sans" panose="020B0606030504020204" pitchFamily="34" charset="0"/>
                <a:ea typeface="Open Sans" panose="020B0606030504020204" pitchFamily="34" charset="0"/>
                <a:cs typeface="Open Sans" panose="020B0606030504020204" pitchFamily="34" charset="0"/>
              </a:rPr>
              <a:t>Strategy articulation, actionable initiatives and implementation roadmap</a:t>
            </a:r>
          </a:p>
        </p:txBody>
      </p:sp>
      <p:sp>
        <p:nvSpPr>
          <p:cNvPr id="42" name="TextBox 41">
            <a:extLst>
              <a:ext uri="{FF2B5EF4-FFF2-40B4-BE49-F238E27FC236}">
                <a16:creationId xmlns:a16="http://schemas.microsoft.com/office/drawing/2014/main" id="{B408088B-64AE-04DE-EE17-71E6E693A0A3}"/>
              </a:ext>
            </a:extLst>
          </p:cNvPr>
          <p:cNvSpPr txBox="1"/>
          <p:nvPr/>
        </p:nvSpPr>
        <p:spPr>
          <a:xfrm>
            <a:off x="1146954" y="2275651"/>
            <a:ext cx="2650831" cy="298917"/>
          </a:xfrm>
          <a:prstGeom prst="rect">
            <a:avLst/>
          </a:prstGeom>
          <a:noFill/>
        </p:spPr>
        <p:txBody>
          <a:bodyPr wrap="square" lIns="0" tIns="0" rIns="0" bIns="0" rtlCol="0" anchor="ctr">
            <a:noAutofit/>
          </a:bodyPr>
          <a:lstStyle/>
          <a:p>
            <a:pPr algn="ctr">
              <a:spcAft>
                <a:spcPts val="1000"/>
              </a:spcAft>
            </a:pPr>
            <a:r>
              <a:rPr lang="en-US" sz="1000" i="1" dirty="0">
                <a:latin typeface="Open Sans" panose="020B0606030504020204" pitchFamily="34" charset="0"/>
                <a:ea typeface="Open Sans" panose="020B0606030504020204" pitchFamily="34" charset="0"/>
                <a:cs typeface="Open Sans" panose="020B0606030504020204" pitchFamily="34" charset="0"/>
              </a:rPr>
              <a:t>Strategy articulation, problem definition and disaggregation</a:t>
            </a:r>
          </a:p>
        </p:txBody>
      </p:sp>
      <p:sp>
        <p:nvSpPr>
          <p:cNvPr id="43" name="TextBox 42">
            <a:extLst>
              <a:ext uri="{FF2B5EF4-FFF2-40B4-BE49-F238E27FC236}">
                <a16:creationId xmlns:a16="http://schemas.microsoft.com/office/drawing/2014/main" id="{53B44D87-9426-8C94-08E4-86D06BC49DA7}"/>
              </a:ext>
            </a:extLst>
          </p:cNvPr>
          <p:cNvSpPr txBox="1"/>
          <p:nvPr/>
        </p:nvSpPr>
        <p:spPr>
          <a:xfrm>
            <a:off x="4945536" y="2892640"/>
            <a:ext cx="2077055" cy="250024"/>
          </a:xfrm>
          <a:prstGeom prst="rect">
            <a:avLst/>
          </a:prstGeom>
          <a:noFill/>
        </p:spPr>
        <p:txBody>
          <a:bodyPr wrap="square" lIns="0" tIns="0" rIns="0" bIns="0" rtlCol="0" anchor="t">
            <a:noAutofit/>
          </a:bodyPr>
          <a:lstStyle/>
          <a:p>
            <a:pPr algn="ct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Performed analyses and activities</a:t>
            </a:r>
          </a:p>
        </p:txBody>
      </p:sp>
      <p:sp>
        <p:nvSpPr>
          <p:cNvPr id="45" name="Flowchart: Connector 44">
            <a:extLst>
              <a:ext uri="{FF2B5EF4-FFF2-40B4-BE49-F238E27FC236}">
                <a16:creationId xmlns:a16="http://schemas.microsoft.com/office/drawing/2014/main" id="{E8824605-A8E4-452C-B49B-D61BD3D4C893}"/>
              </a:ext>
            </a:extLst>
          </p:cNvPr>
          <p:cNvSpPr/>
          <p:nvPr/>
        </p:nvSpPr>
        <p:spPr bwMode="gray">
          <a:xfrm>
            <a:off x="1033385" y="3399935"/>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46" name="Flowchart: Connector 45">
            <a:extLst>
              <a:ext uri="{FF2B5EF4-FFF2-40B4-BE49-F238E27FC236}">
                <a16:creationId xmlns:a16="http://schemas.microsoft.com/office/drawing/2014/main" id="{5B2FF887-F96C-7C90-3A8F-75ABC73647F4}"/>
              </a:ext>
            </a:extLst>
          </p:cNvPr>
          <p:cNvSpPr/>
          <p:nvPr/>
        </p:nvSpPr>
        <p:spPr bwMode="gray">
          <a:xfrm>
            <a:off x="1033385" y="4112948"/>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47" name="Flowchart: Connector 46">
            <a:extLst>
              <a:ext uri="{FF2B5EF4-FFF2-40B4-BE49-F238E27FC236}">
                <a16:creationId xmlns:a16="http://schemas.microsoft.com/office/drawing/2014/main" id="{E65AFE57-7893-403A-959B-836FDF100124}"/>
              </a:ext>
            </a:extLst>
          </p:cNvPr>
          <p:cNvSpPr/>
          <p:nvPr/>
        </p:nvSpPr>
        <p:spPr bwMode="gray">
          <a:xfrm>
            <a:off x="1033385" y="4825961"/>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48" name="Flowchart: Connector 47">
            <a:extLst>
              <a:ext uri="{FF2B5EF4-FFF2-40B4-BE49-F238E27FC236}">
                <a16:creationId xmlns:a16="http://schemas.microsoft.com/office/drawing/2014/main" id="{6BF931EC-B237-89EB-644A-5350BCB4787C}"/>
              </a:ext>
            </a:extLst>
          </p:cNvPr>
          <p:cNvSpPr/>
          <p:nvPr/>
        </p:nvSpPr>
        <p:spPr bwMode="gray">
          <a:xfrm>
            <a:off x="1033385" y="5538975"/>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49" name="Flowchart: Connector 48">
            <a:extLst>
              <a:ext uri="{FF2B5EF4-FFF2-40B4-BE49-F238E27FC236}">
                <a16:creationId xmlns:a16="http://schemas.microsoft.com/office/drawing/2014/main" id="{96FC916F-7F70-D239-1E9C-86F9197C5FF8}"/>
              </a:ext>
            </a:extLst>
          </p:cNvPr>
          <p:cNvSpPr/>
          <p:nvPr/>
        </p:nvSpPr>
        <p:spPr bwMode="gray">
          <a:xfrm>
            <a:off x="4543376" y="3399935"/>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50" name="Flowchart: Connector 49">
            <a:extLst>
              <a:ext uri="{FF2B5EF4-FFF2-40B4-BE49-F238E27FC236}">
                <a16:creationId xmlns:a16="http://schemas.microsoft.com/office/drawing/2014/main" id="{6A79F3C6-25B7-A2FA-0048-344936051FF3}"/>
              </a:ext>
            </a:extLst>
          </p:cNvPr>
          <p:cNvSpPr/>
          <p:nvPr/>
        </p:nvSpPr>
        <p:spPr bwMode="gray">
          <a:xfrm>
            <a:off x="4543376" y="4112948"/>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sp>
        <p:nvSpPr>
          <p:cNvPr id="51" name="Flowchart: Connector 50">
            <a:extLst>
              <a:ext uri="{FF2B5EF4-FFF2-40B4-BE49-F238E27FC236}">
                <a16:creationId xmlns:a16="http://schemas.microsoft.com/office/drawing/2014/main" id="{62FD0083-773A-6CA0-A95C-082D480EAF34}"/>
              </a:ext>
            </a:extLst>
          </p:cNvPr>
          <p:cNvSpPr/>
          <p:nvPr/>
        </p:nvSpPr>
        <p:spPr bwMode="gray">
          <a:xfrm>
            <a:off x="4543376" y="4825961"/>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sp>
        <p:nvSpPr>
          <p:cNvPr id="52" name="Flowchart: Connector 51">
            <a:extLst>
              <a:ext uri="{FF2B5EF4-FFF2-40B4-BE49-F238E27FC236}">
                <a16:creationId xmlns:a16="http://schemas.microsoft.com/office/drawing/2014/main" id="{9E4BA6FB-9A79-6BAD-1196-B7851BA84B16}"/>
              </a:ext>
            </a:extLst>
          </p:cNvPr>
          <p:cNvSpPr/>
          <p:nvPr/>
        </p:nvSpPr>
        <p:spPr bwMode="gray">
          <a:xfrm>
            <a:off x="4543376" y="5538975"/>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p>
        </p:txBody>
      </p:sp>
      <p:sp>
        <p:nvSpPr>
          <p:cNvPr id="53" name="Flowchart: Connector 52">
            <a:extLst>
              <a:ext uri="{FF2B5EF4-FFF2-40B4-BE49-F238E27FC236}">
                <a16:creationId xmlns:a16="http://schemas.microsoft.com/office/drawing/2014/main" id="{5B9C4405-38E2-638B-5B16-ACC1A19DEF9C}"/>
              </a:ext>
            </a:extLst>
          </p:cNvPr>
          <p:cNvSpPr/>
          <p:nvPr/>
        </p:nvSpPr>
        <p:spPr bwMode="gray">
          <a:xfrm>
            <a:off x="7978790" y="3399935"/>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sp>
        <p:nvSpPr>
          <p:cNvPr id="54" name="Flowchart: Connector 53">
            <a:extLst>
              <a:ext uri="{FF2B5EF4-FFF2-40B4-BE49-F238E27FC236}">
                <a16:creationId xmlns:a16="http://schemas.microsoft.com/office/drawing/2014/main" id="{CEBA4204-C9E6-8A4E-7852-DA09B4B110A8}"/>
              </a:ext>
            </a:extLst>
          </p:cNvPr>
          <p:cNvSpPr/>
          <p:nvPr/>
        </p:nvSpPr>
        <p:spPr bwMode="gray">
          <a:xfrm>
            <a:off x="7978790" y="4112948"/>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p>
        </p:txBody>
      </p:sp>
      <p:sp>
        <p:nvSpPr>
          <p:cNvPr id="55" name="Flowchart: Connector 54">
            <a:extLst>
              <a:ext uri="{FF2B5EF4-FFF2-40B4-BE49-F238E27FC236}">
                <a16:creationId xmlns:a16="http://schemas.microsoft.com/office/drawing/2014/main" id="{68372696-E0F6-0473-FF55-75E6071669E5}"/>
              </a:ext>
            </a:extLst>
          </p:cNvPr>
          <p:cNvSpPr/>
          <p:nvPr/>
        </p:nvSpPr>
        <p:spPr bwMode="gray">
          <a:xfrm>
            <a:off x="7978790" y="4825961"/>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sp>
        <p:nvSpPr>
          <p:cNvPr id="56" name="Flowchart: Connector 55">
            <a:extLst>
              <a:ext uri="{FF2B5EF4-FFF2-40B4-BE49-F238E27FC236}">
                <a16:creationId xmlns:a16="http://schemas.microsoft.com/office/drawing/2014/main" id="{E1BFB589-6B55-75BE-9203-71FCFD20E27A}"/>
              </a:ext>
            </a:extLst>
          </p:cNvPr>
          <p:cNvSpPr/>
          <p:nvPr/>
        </p:nvSpPr>
        <p:spPr bwMode="gray">
          <a:xfrm>
            <a:off x="7978790" y="5538975"/>
            <a:ext cx="280188" cy="280188"/>
          </a:xfrm>
          <a:prstGeom prst="flowChartConnector">
            <a:avLst/>
          </a:prstGeom>
          <a:solidFill>
            <a:srgbClr val="00B0F2"/>
          </a:solidFill>
          <a:ln w="19050" algn="ctr">
            <a:noFill/>
            <a:miter lim="800000"/>
            <a:headEnd/>
            <a:tailEnd/>
          </a:ln>
        </p:spPr>
        <p:txBody>
          <a:bodyPr wrap="square" lIns="0" tIns="0" rIns="0" bIns="0" rtlCol="0" anchor="ctr"/>
          <a:lstStyle/>
          <a:p>
            <a:pPr algn="ct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p>
        </p:txBody>
      </p:sp>
      <p:sp>
        <p:nvSpPr>
          <p:cNvPr id="57" name="TextBox 56">
            <a:extLst>
              <a:ext uri="{FF2B5EF4-FFF2-40B4-BE49-F238E27FC236}">
                <a16:creationId xmlns:a16="http://schemas.microsoft.com/office/drawing/2014/main" id="{FAB470A2-6663-A809-C605-DCE64A2FA585}"/>
              </a:ext>
            </a:extLst>
          </p:cNvPr>
          <p:cNvSpPr txBox="1"/>
          <p:nvPr/>
        </p:nvSpPr>
        <p:spPr>
          <a:xfrm>
            <a:off x="1393842" y="3371703"/>
            <a:ext cx="2650831"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Analysis of existing strategy: </a:t>
            </a:r>
            <a:r>
              <a:rPr lang="en-US" sz="1000" dirty="0">
                <a:latin typeface="Open Sans" panose="020B0606030504020204" pitchFamily="34" charset="0"/>
                <a:ea typeface="Open Sans" panose="020B0606030504020204" pitchFamily="34" charset="0"/>
                <a:cs typeface="Open Sans" panose="020B0606030504020204" pitchFamily="34" charset="0"/>
              </a:rPr>
              <a:t>Does the current strategy deliver on the client’s aspiration?</a:t>
            </a:r>
          </a:p>
        </p:txBody>
      </p:sp>
      <p:sp>
        <p:nvSpPr>
          <p:cNvPr id="58" name="TextBox 57">
            <a:extLst>
              <a:ext uri="{FF2B5EF4-FFF2-40B4-BE49-F238E27FC236}">
                <a16:creationId xmlns:a16="http://schemas.microsoft.com/office/drawing/2014/main" id="{E352848A-B81C-C549-0468-9602A98CC450}"/>
              </a:ext>
            </a:extLst>
          </p:cNvPr>
          <p:cNvSpPr txBox="1"/>
          <p:nvPr/>
        </p:nvSpPr>
        <p:spPr>
          <a:xfrm>
            <a:off x="1393843" y="4099895"/>
            <a:ext cx="2650831"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Value chain analysis </a:t>
            </a:r>
            <a:r>
              <a:rPr lang="en-US" sz="1000" dirty="0">
                <a:latin typeface="Open Sans" panose="020B0606030504020204" pitchFamily="34" charset="0"/>
                <a:ea typeface="Open Sans" panose="020B0606030504020204" pitchFamily="34" charset="0"/>
                <a:cs typeface="Open Sans" panose="020B0606030504020204" pitchFamily="34" charset="0"/>
              </a:rPr>
              <a:t>(decompose the problem into its component parts): what is the root cause of the problem?</a:t>
            </a:r>
          </a:p>
        </p:txBody>
      </p:sp>
      <p:sp>
        <p:nvSpPr>
          <p:cNvPr id="59" name="TextBox 58">
            <a:extLst>
              <a:ext uri="{FF2B5EF4-FFF2-40B4-BE49-F238E27FC236}">
                <a16:creationId xmlns:a16="http://schemas.microsoft.com/office/drawing/2014/main" id="{2D4D8FCF-81D3-A1B7-77B5-9276A85A8385}"/>
              </a:ext>
            </a:extLst>
          </p:cNvPr>
          <p:cNvSpPr txBox="1"/>
          <p:nvPr/>
        </p:nvSpPr>
        <p:spPr>
          <a:xfrm>
            <a:off x="1393843" y="4788209"/>
            <a:ext cx="2650831"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Customer analysis: </a:t>
            </a:r>
            <a:r>
              <a:rPr lang="en-US" sz="1000" dirty="0">
                <a:latin typeface="Open Sans" panose="020B0606030504020204" pitchFamily="34" charset="0"/>
                <a:ea typeface="Open Sans" panose="020B0606030504020204" pitchFamily="34" charset="0"/>
                <a:cs typeface="Open Sans" panose="020B0606030504020204" pitchFamily="34" charset="0"/>
              </a:rPr>
              <a:t>What is the customers understanding of the problem?</a:t>
            </a:r>
          </a:p>
        </p:txBody>
      </p:sp>
      <p:sp>
        <p:nvSpPr>
          <p:cNvPr id="60" name="TextBox 59">
            <a:extLst>
              <a:ext uri="{FF2B5EF4-FFF2-40B4-BE49-F238E27FC236}">
                <a16:creationId xmlns:a16="http://schemas.microsoft.com/office/drawing/2014/main" id="{43AD277F-9F00-CC80-F8DD-A368E6156982}"/>
              </a:ext>
            </a:extLst>
          </p:cNvPr>
          <p:cNvSpPr txBox="1"/>
          <p:nvPr/>
        </p:nvSpPr>
        <p:spPr>
          <a:xfrm>
            <a:off x="1393843" y="5538975"/>
            <a:ext cx="2650831"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Ambition level and goal setting: what is the client’s winning aspiration?</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C22A2E96-0737-66C3-1C3F-11199FBD7F9D}"/>
              </a:ext>
            </a:extLst>
          </p:cNvPr>
          <p:cNvSpPr txBox="1"/>
          <p:nvPr/>
        </p:nvSpPr>
        <p:spPr>
          <a:xfrm>
            <a:off x="4914927" y="3371703"/>
            <a:ext cx="2453512"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Competitive landscape assessment: </a:t>
            </a:r>
            <a:r>
              <a:rPr lang="en-US" sz="1000" dirty="0">
                <a:latin typeface="Open Sans" panose="020B0606030504020204" pitchFamily="34" charset="0"/>
                <a:ea typeface="Open Sans" panose="020B0606030504020204" pitchFamily="34" charset="0"/>
                <a:cs typeface="Open Sans" panose="020B0606030504020204" pitchFamily="34" charset="0"/>
              </a:rPr>
              <a:t>Which strategic choices do our main competitors use?</a:t>
            </a:r>
          </a:p>
        </p:txBody>
      </p:sp>
      <p:sp>
        <p:nvSpPr>
          <p:cNvPr id="62" name="TextBox 61">
            <a:extLst>
              <a:ext uri="{FF2B5EF4-FFF2-40B4-BE49-F238E27FC236}">
                <a16:creationId xmlns:a16="http://schemas.microsoft.com/office/drawing/2014/main" id="{4DF12A97-5C99-B7A5-AC3E-D4357F6A66BA}"/>
              </a:ext>
            </a:extLst>
          </p:cNvPr>
          <p:cNvSpPr txBox="1"/>
          <p:nvPr/>
        </p:nvSpPr>
        <p:spPr>
          <a:xfrm>
            <a:off x="4914927" y="4099895"/>
            <a:ext cx="2453512"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Best practice analysis: </a:t>
            </a:r>
            <a:r>
              <a:rPr lang="en-US" sz="1000" dirty="0">
                <a:latin typeface="Open Sans" panose="020B0606030504020204" pitchFamily="34" charset="0"/>
                <a:ea typeface="Open Sans" panose="020B0606030504020204" pitchFamily="34" charset="0"/>
                <a:cs typeface="Open Sans" panose="020B0606030504020204" pitchFamily="34" charset="0"/>
              </a:rPr>
              <a:t>Which strategic choices are state of the art?</a:t>
            </a:r>
          </a:p>
        </p:txBody>
      </p:sp>
      <p:sp>
        <p:nvSpPr>
          <p:cNvPr id="63" name="TextBox 62">
            <a:extLst>
              <a:ext uri="{FF2B5EF4-FFF2-40B4-BE49-F238E27FC236}">
                <a16:creationId xmlns:a16="http://schemas.microsoft.com/office/drawing/2014/main" id="{3DB781F3-FF15-83B5-AB6C-078409B6FE5B}"/>
              </a:ext>
            </a:extLst>
          </p:cNvPr>
          <p:cNvSpPr txBox="1"/>
          <p:nvPr/>
        </p:nvSpPr>
        <p:spPr>
          <a:xfrm>
            <a:off x="4914927" y="4788209"/>
            <a:ext cx="2453512"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Effect model: </a:t>
            </a:r>
            <a:r>
              <a:rPr lang="en-US" sz="1000" dirty="0">
                <a:latin typeface="Open Sans" panose="020B0606030504020204" pitchFamily="34" charset="0"/>
                <a:ea typeface="Open Sans" panose="020B0606030504020204" pitchFamily="34" charset="0"/>
                <a:cs typeface="Open Sans" panose="020B0606030504020204" pitchFamily="34" charset="0"/>
              </a:rPr>
              <a:t>What is the commercial vis-à-vis climate effect of different strategic options? </a:t>
            </a:r>
          </a:p>
        </p:txBody>
      </p:sp>
      <p:sp>
        <p:nvSpPr>
          <p:cNvPr id="64" name="TextBox 63">
            <a:extLst>
              <a:ext uri="{FF2B5EF4-FFF2-40B4-BE49-F238E27FC236}">
                <a16:creationId xmlns:a16="http://schemas.microsoft.com/office/drawing/2014/main" id="{EE9F5D3B-2C90-12F4-AE45-6AE4C8398248}"/>
              </a:ext>
            </a:extLst>
          </p:cNvPr>
          <p:cNvSpPr txBox="1"/>
          <p:nvPr/>
        </p:nvSpPr>
        <p:spPr>
          <a:xfrm>
            <a:off x="4914927" y="5538975"/>
            <a:ext cx="2453512"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Down selection: </a:t>
            </a:r>
            <a:r>
              <a:rPr lang="en-US" sz="1000" dirty="0">
                <a:latin typeface="Open Sans" panose="020B0606030504020204" pitchFamily="34" charset="0"/>
                <a:ea typeface="Open Sans" panose="020B0606030504020204" pitchFamily="34" charset="0"/>
                <a:cs typeface="Open Sans" panose="020B0606030504020204" pitchFamily="34" charset="0"/>
              </a:rPr>
              <a:t>Which strategic options are desirable, viable and feasible?</a:t>
            </a:r>
          </a:p>
        </p:txBody>
      </p:sp>
      <p:sp>
        <p:nvSpPr>
          <p:cNvPr id="65" name="TextBox 64">
            <a:extLst>
              <a:ext uri="{FF2B5EF4-FFF2-40B4-BE49-F238E27FC236}">
                <a16:creationId xmlns:a16="http://schemas.microsoft.com/office/drawing/2014/main" id="{1EC65918-57FB-943B-F524-D2EF334CD07B}"/>
              </a:ext>
            </a:extLst>
          </p:cNvPr>
          <p:cNvSpPr txBox="1"/>
          <p:nvPr/>
        </p:nvSpPr>
        <p:spPr>
          <a:xfrm>
            <a:off x="8320473" y="3371703"/>
            <a:ext cx="2453512"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Strategy formulation and key supporting initiatives: </a:t>
            </a:r>
            <a:r>
              <a:rPr lang="en-US" sz="1000" dirty="0">
                <a:latin typeface="Open Sans" panose="020B0606030504020204" pitchFamily="34" charset="0"/>
                <a:ea typeface="Open Sans" panose="020B0606030504020204" pitchFamily="34" charset="0"/>
                <a:cs typeface="Open Sans" panose="020B0606030504020204" pitchFamily="34" charset="0"/>
              </a:rPr>
              <a:t>How does our new strategy translate into discrete, high impact, actionable initiatives?</a:t>
            </a:r>
          </a:p>
        </p:txBody>
      </p:sp>
      <p:sp>
        <p:nvSpPr>
          <p:cNvPr id="66" name="TextBox 65">
            <a:extLst>
              <a:ext uri="{FF2B5EF4-FFF2-40B4-BE49-F238E27FC236}">
                <a16:creationId xmlns:a16="http://schemas.microsoft.com/office/drawing/2014/main" id="{579F2A60-EB22-168E-62F6-67F87BC8842D}"/>
              </a:ext>
            </a:extLst>
          </p:cNvPr>
          <p:cNvSpPr txBox="1"/>
          <p:nvPr/>
        </p:nvSpPr>
        <p:spPr>
          <a:xfrm>
            <a:off x="8320472" y="4099895"/>
            <a:ext cx="2453512"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Analyze capability gaps: </a:t>
            </a:r>
            <a:r>
              <a:rPr lang="en-US" sz="1000" dirty="0">
                <a:latin typeface="Open Sans" panose="020B0606030504020204" pitchFamily="34" charset="0"/>
                <a:ea typeface="Open Sans" panose="020B0606030504020204" pitchFamily="34" charset="0"/>
                <a:cs typeface="Open Sans" panose="020B0606030504020204" pitchFamily="34" charset="0"/>
              </a:rPr>
              <a:t>Which capabilities must be in place to realize the strategy?</a:t>
            </a:r>
          </a:p>
        </p:txBody>
      </p:sp>
      <p:sp>
        <p:nvSpPr>
          <p:cNvPr id="67" name="TextBox 66">
            <a:extLst>
              <a:ext uri="{FF2B5EF4-FFF2-40B4-BE49-F238E27FC236}">
                <a16:creationId xmlns:a16="http://schemas.microsoft.com/office/drawing/2014/main" id="{C560EED9-7EF2-45B4-4801-F1701D529E63}"/>
              </a:ext>
            </a:extLst>
          </p:cNvPr>
          <p:cNvSpPr txBox="1"/>
          <p:nvPr/>
        </p:nvSpPr>
        <p:spPr>
          <a:xfrm>
            <a:off x="8320472" y="4788209"/>
            <a:ext cx="2453512" cy="625714"/>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Roadmap and milestones: </a:t>
            </a:r>
            <a:r>
              <a:rPr lang="en-US" sz="1000" dirty="0">
                <a:latin typeface="Open Sans" panose="020B0606030504020204" pitchFamily="34" charset="0"/>
                <a:ea typeface="Open Sans" panose="020B0606030504020204" pitchFamily="34" charset="0"/>
                <a:cs typeface="Open Sans" panose="020B0606030504020204" pitchFamily="34" charset="0"/>
              </a:rPr>
              <a:t>How and when should the strategic initiatives be implemented?</a:t>
            </a:r>
          </a:p>
        </p:txBody>
      </p:sp>
      <p:sp>
        <p:nvSpPr>
          <p:cNvPr id="68" name="TextBox 67">
            <a:extLst>
              <a:ext uri="{FF2B5EF4-FFF2-40B4-BE49-F238E27FC236}">
                <a16:creationId xmlns:a16="http://schemas.microsoft.com/office/drawing/2014/main" id="{A623738D-A0D0-7F13-F5F4-7FD24375E60C}"/>
              </a:ext>
            </a:extLst>
          </p:cNvPr>
          <p:cNvSpPr txBox="1"/>
          <p:nvPr/>
        </p:nvSpPr>
        <p:spPr>
          <a:xfrm>
            <a:off x="8320472" y="5538975"/>
            <a:ext cx="2453512" cy="321498"/>
          </a:xfrm>
          <a:prstGeom prst="rect">
            <a:avLst/>
          </a:prstGeom>
          <a:noFill/>
        </p:spPr>
        <p:txBody>
          <a:bodyPr wrap="square" lIns="0" tIns="0" rIns="0" bIns="0" rtlCol="0" anchor="t">
            <a:noAutofit/>
          </a:bodyPr>
          <a:lstStyle/>
          <a:p>
            <a:pPr>
              <a:spcAft>
                <a:spcPts val="1000"/>
              </a:spcAft>
            </a:pPr>
            <a:r>
              <a:rPr lang="en-US" sz="1000" b="1" dirty="0">
                <a:latin typeface="Open Sans" panose="020B0606030504020204" pitchFamily="34" charset="0"/>
                <a:ea typeface="Open Sans" panose="020B0606030504020204" pitchFamily="34" charset="0"/>
                <a:cs typeface="Open Sans" panose="020B0606030504020204" pitchFamily="34" charset="0"/>
              </a:rPr>
              <a:t>Investment plan: </a:t>
            </a:r>
            <a:r>
              <a:rPr lang="en-US" sz="1000" dirty="0">
                <a:latin typeface="Open Sans" panose="020B0606030504020204" pitchFamily="34" charset="0"/>
                <a:ea typeface="Open Sans" panose="020B0606030504020204" pitchFamily="34" charset="0"/>
                <a:cs typeface="Open Sans" panose="020B0606030504020204" pitchFamily="34" charset="0"/>
              </a:rPr>
              <a:t>Which investments does the strategy require and when?</a:t>
            </a:r>
          </a:p>
        </p:txBody>
      </p:sp>
    </p:spTree>
    <p:extLst>
      <p:ext uri="{BB962C8B-B14F-4D97-AF65-F5344CB8AC3E}">
        <p14:creationId xmlns:p14="http://schemas.microsoft.com/office/powerpoint/2010/main" val="856899762"/>
      </p:ext>
    </p:extLst>
  </p:cSld>
  <p:clrMapOvr>
    <a:masterClrMapping/>
  </p:clrMapOvr>
  <p:transition>
    <p:fade/>
  </p:transition>
  <p:extLst>
    <p:ext uri="{6950BFC3-D8DA-4A85-94F7-54DA5524770B}">
      <p188:commentRel xmlns:p188="http://schemas.microsoft.com/office/powerpoint/2018/8/main" r:id="rId4"/>
    </p:ext>
  </p:extLs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3C0F13F-7E46-10D1-1FFB-6B3E78CC187E}"/>
              </a:ext>
            </a:extLst>
          </p:cNvPr>
          <p:cNvGraphicFramePr>
            <a:graphicFrameLocks noChangeAspect="1"/>
          </p:cNvGraphicFramePr>
          <p:nvPr>
            <p:custDataLst>
              <p:tags r:id="rId1"/>
            </p:custDataLst>
            <p:extLst>
              <p:ext uri="{D42A27DB-BD31-4B8C-83A1-F6EECF244321}">
                <p14:modId xmlns:p14="http://schemas.microsoft.com/office/powerpoint/2010/main" val="2534857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6" name="think-cell data - do not delete" hidden="1">
                        <a:extLst>
                          <a:ext uri="{FF2B5EF4-FFF2-40B4-BE49-F238E27FC236}">
                            <a16:creationId xmlns:a16="http://schemas.microsoft.com/office/drawing/2014/main" id="{83C0F13F-7E46-10D1-1FFB-6B3E78CC18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E47C59D-6CDA-4AAF-8F55-AEA99127E076}"/>
              </a:ext>
            </a:extLst>
          </p:cNvPr>
          <p:cNvSpPr>
            <a:spLocks noGrp="1"/>
          </p:cNvSpPr>
          <p:nvPr>
            <p:ph type="body" sz="quarter" idx="22"/>
          </p:nvPr>
        </p:nvSpPr>
        <p:spPr>
          <a:xfrm>
            <a:off x="463295" y="936001"/>
            <a:ext cx="11277600" cy="304094"/>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team has great expertise in developing IT strategies for various</a:t>
            </a:r>
            <a:r>
              <a:rPr lang="en-US"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lients in a wide array of service</a:t>
            </a:r>
            <a:r>
              <a:rPr lang="hu-HU"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ines.</a:t>
            </a:r>
          </a:p>
        </p:txBody>
      </p:sp>
      <p:sp>
        <p:nvSpPr>
          <p:cNvPr id="3" name="Title 2">
            <a:extLst>
              <a:ext uri="{FF2B5EF4-FFF2-40B4-BE49-F238E27FC236}">
                <a16:creationId xmlns:a16="http://schemas.microsoft.com/office/drawing/2014/main" id="{2EA41D89-0305-437C-A594-9E2C8586FECB}"/>
              </a:ext>
            </a:extLst>
          </p:cNvPr>
          <p:cNvSpPr>
            <a:spLocks noGrp="1"/>
          </p:cNvSpPr>
          <p:nvPr>
            <p:ph type="title"/>
          </p:nvPr>
        </p:nvSpPr>
        <p:spPr/>
        <p:txBody>
          <a:bodyPr vert="horz"/>
          <a:lstStyle/>
          <a:p>
            <a:r>
              <a:rPr kumimoji="0" lang="en-US" sz="2800" b="0" i="0" u="none" strike="noStrike" kern="1200" cap="none" spc="0" normalizeH="0" baseline="0">
                <a:ln>
                  <a:noFill/>
                </a:ln>
                <a:solidFill>
                  <a:prstClr val="black"/>
                </a:solidFill>
                <a:effectLst/>
                <a:uLnTx/>
                <a:uFillTx/>
                <a:latin typeface="Open Sans Light"/>
                <a:ea typeface="+mj-ea"/>
                <a:cs typeface="Calibri Light"/>
              </a:rPr>
              <a:t>Strategic planning consulting services</a:t>
            </a:r>
            <a:r>
              <a:rPr lang="en-US" dirty="0">
                <a:solidFill>
                  <a:prstClr val="black"/>
                </a:solidFill>
                <a:latin typeface="Open Sans Light"/>
                <a:ea typeface="+mj-ea"/>
                <a:cs typeface="Calibri Light"/>
              </a:rPr>
              <a:t>: IT strategy</a:t>
            </a:r>
            <a:endParaRPr lang="en-US"/>
          </a:p>
        </p:txBody>
      </p:sp>
      <p:grpSp>
        <p:nvGrpSpPr>
          <p:cNvPr id="80" name="Group 79">
            <a:extLst>
              <a:ext uri="{FF2B5EF4-FFF2-40B4-BE49-F238E27FC236}">
                <a16:creationId xmlns:a16="http://schemas.microsoft.com/office/drawing/2014/main" id="{32406A96-67C1-9726-39F8-B91A19D8D9C0}"/>
              </a:ext>
            </a:extLst>
          </p:cNvPr>
          <p:cNvGrpSpPr/>
          <p:nvPr/>
        </p:nvGrpSpPr>
        <p:grpSpPr>
          <a:xfrm>
            <a:off x="0" y="1240095"/>
            <a:ext cx="12192000" cy="2109156"/>
            <a:chOff x="0" y="1014391"/>
            <a:chExt cx="12192000" cy="2109156"/>
          </a:xfrm>
        </p:grpSpPr>
        <p:grpSp>
          <p:nvGrpSpPr>
            <p:cNvPr id="81" name="Group 80">
              <a:extLst>
                <a:ext uri="{FF2B5EF4-FFF2-40B4-BE49-F238E27FC236}">
                  <a16:creationId xmlns:a16="http://schemas.microsoft.com/office/drawing/2014/main" id="{E88E2F74-F008-71C6-B8AF-54D557FAA166}"/>
                </a:ext>
              </a:extLst>
            </p:cNvPr>
            <p:cNvGrpSpPr/>
            <p:nvPr/>
          </p:nvGrpSpPr>
          <p:grpSpPr>
            <a:xfrm>
              <a:off x="0" y="1780075"/>
              <a:ext cx="12192000" cy="725422"/>
              <a:chOff x="0" y="1780075"/>
              <a:chExt cx="12192000" cy="725422"/>
            </a:xfrm>
            <a:solidFill>
              <a:sysClr val="window" lastClr="FFFFFF">
                <a:lumMod val="95000"/>
              </a:sysClr>
            </a:solidFill>
          </p:grpSpPr>
          <p:sp>
            <p:nvSpPr>
              <p:cNvPr id="149" name="Rectangle 148">
                <a:extLst>
                  <a:ext uri="{FF2B5EF4-FFF2-40B4-BE49-F238E27FC236}">
                    <a16:creationId xmlns:a16="http://schemas.microsoft.com/office/drawing/2014/main" id="{9E3FBA6A-1FCF-6A9D-BFEF-AD48D82492D2}"/>
                  </a:ext>
                </a:extLst>
              </p:cNvPr>
              <p:cNvSpPr/>
              <p:nvPr/>
            </p:nvSpPr>
            <p:spPr>
              <a:xfrm>
                <a:off x="0" y="1780075"/>
                <a:ext cx="12192000" cy="725422"/>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50" name="Straight Connector 149">
                <a:extLst>
                  <a:ext uri="{FF2B5EF4-FFF2-40B4-BE49-F238E27FC236}">
                    <a16:creationId xmlns:a16="http://schemas.microsoft.com/office/drawing/2014/main" id="{8A515DC7-6339-25A0-DE47-B5122FCF124F}"/>
                  </a:ext>
                </a:extLst>
              </p:cNvPr>
              <p:cNvCxnSpPr>
                <a:cxnSpLocks/>
              </p:cNvCxnSpPr>
              <p:nvPr/>
            </p:nvCxnSpPr>
            <p:spPr>
              <a:xfrm flipH="1">
                <a:off x="0" y="2138159"/>
                <a:ext cx="12192000" cy="0"/>
              </a:xfrm>
              <a:prstGeom prst="line">
                <a:avLst/>
              </a:prstGeom>
              <a:grpFill/>
              <a:ln w="76200" cap="flat" cmpd="sng" algn="ctr">
                <a:solidFill>
                  <a:sysClr val="window" lastClr="FFFFFF"/>
                </a:solidFill>
                <a:prstDash val="solid"/>
              </a:ln>
              <a:effectLst/>
            </p:spPr>
          </p:cxnSp>
        </p:grpSp>
        <p:grpSp>
          <p:nvGrpSpPr>
            <p:cNvPr id="82" name="Group 81">
              <a:extLst>
                <a:ext uri="{FF2B5EF4-FFF2-40B4-BE49-F238E27FC236}">
                  <a16:creationId xmlns:a16="http://schemas.microsoft.com/office/drawing/2014/main" id="{5C6E4722-51F5-E1E7-8544-F23CFDED67CA}"/>
                </a:ext>
              </a:extLst>
            </p:cNvPr>
            <p:cNvGrpSpPr/>
            <p:nvPr/>
          </p:nvGrpSpPr>
          <p:grpSpPr>
            <a:xfrm>
              <a:off x="4194871" y="1775116"/>
              <a:ext cx="297854" cy="743518"/>
              <a:chOff x="4122581" y="2310261"/>
              <a:chExt cx="576000" cy="1437838"/>
            </a:xfrm>
            <a:solidFill>
              <a:sysClr val="window" lastClr="FFFFFF"/>
            </a:solidFill>
          </p:grpSpPr>
          <p:sp>
            <p:nvSpPr>
              <p:cNvPr id="147" name="Diagonal Stripe 146">
                <a:extLst>
                  <a:ext uri="{FF2B5EF4-FFF2-40B4-BE49-F238E27FC236}">
                    <a16:creationId xmlns:a16="http://schemas.microsoft.com/office/drawing/2014/main" id="{85B53AFB-3CC2-0339-A5B2-ECCEEEE08BCC}"/>
                  </a:ext>
                </a:extLst>
              </p:cNvPr>
              <p:cNvSpPr/>
              <p:nvPr/>
            </p:nvSpPr>
            <p:spPr>
              <a:xfrm>
                <a:off x="4122581" y="3028099"/>
                <a:ext cx="576000" cy="720000"/>
              </a:xfrm>
              <a:prstGeom prst="diagStripe">
                <a:avLst/>
              </a:prstGeom>
              <a:grpFill/>
              <a:ln w="381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8" name="Diagonal Stripe 147">
                <a:extLst>
                  <a:ext uri="{FF2B5EF4-FFF2-40B4-BE49-F238E27FC236}">
                    <a16:creationId xmlns:a16="http://schemas.microsoft.com/office/drawing/2014/main" id="{C2F21CF3-3965-B90C-D1BF-0E93D96B383F}"/>
                  </a:ext>
                </a:extLst>
              </p:cNvPr>
              <p:cNvSpPr/>
              <p:nvPr/>
            </p:nvSpPr>
            <p:spPr>
              <a:xfrm flipV="1">
                <a:off x="4122581" y="2310261"/>
                <a:ext cx="576000" cy="720000"/>
              </a:xfrm>
              <a:prstGeom prst="diagStripe">
                <a:avLst/>
              </a:prstGeom>
              <a:grpFill/>
              <a:ln w="381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83" name="Group 82">
              <a:extLst>
                <a:ext uri="{FF2B5EF4-FFF2-40B4-BE49-F238E27FC236}">
                  <a16:creationId xmlns:a16="http://schemas.microsoft.com/office/drawing/2014/main" id="{810C8DCF-75AF-07B5-7D82-C384CC0E001C}"/>
                </a:ext>
              </a:extLst>
            </p:cNvPr>
            <p:cNvGrpSpPr/>
            <p:nvPr/>
          </p:nvGrpSpPr>
          <p:grpSpPr>
            <a:xfrm>
              <a:off x="2024183" y="1486631"/>
              <a:ext cx="1280160" cy="1280160"/>
              <a:chOff x="2024183" y="1486631"/>
              <a:chExt cx="1280160" cy="1280160"/>
            </a:xfrm>
          </p:grpSpPr>
          <p:sp>
            <p:nvSpPr>
              <p:cNvPr id="142" name="Oval 141">
                <a:extLst>
                  <a:ext uri="{FF2B5EF4-FFF2-40B4-BE49-F238E27FC236}">
                    <a16:creationId xmlns:a16="http://schemas.microsoft.com/office/drawing/2014/main" id="{52C7A50D-700F-1E38-39B8-1666F58A2C85}"/>
                  </a:ext>
                </a:extLst>
              </p:cNvPr>
              <p:cNvSpPr/>
              <p:nvPr/>
            </p:nvSpPr>
            <p:spPr bwMode="gray">
              <a:xfrm>
                <a:off x="2024183" y="1486631"/>
                <a:ext cx="1280160" cy="1280160"/>
              </a:xfrm>
              <a:prstGeom prst="ellipse">
                <a:avLst/>
              </a:prstGeom>
              <a:solidFill>
                <a:sysClr val="window" lastClr="FFFFFF"/>
              </a:solidFill>
              <a:ln w="76200" algn="ctr">
                <a:solidFill>
                  <a:srgbClr val="D4D4D4"/>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3" name="Oval 142">
                <a:extLst>
                  <a:ext uri="{FF2B5EF4-FFF2-40B4-BE49-F238E27FC236}">
                    <a16:creationId xmlns:a16="http://schemas.microsoft.com/office/drawing/2014/main" id="{64E8ABC4-8419-AD21-1111-17EE7C12191C}"/>
                  </a:ext>
                </a:extLst>
              </p:cNvPr>
              <p:cNvSpPr/>
              <p:nvPr/>
            </p:nvSpPr>
            <p:spPr bwMode="gray">
              <a:xfrm>
                <a:off x="2161343" y="1637182"/>
                <a:ext cx="1005840" cy="1005840"/>
              </a:xfrm>
              <a:prstGeom prst="ellipse">
                <a:avLst/>
              </a:prstGeom>
              <a:solidFill>
                <a:srgbClr val="62B5E5"/>
              </a:solidFill>
              <a:ln w="19050" algn="ctr">
                <a:noFill/>
                <a:miter lim="800000"/>
                <a:headEnd/>
                <a:tailEnd/>
              </a:ln>
            </p:spPr>
            <p:txBody>
              <a:bodyPr wrap="none" lIns="0" tIns="0" rIns="0" bIns="1800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400" b="0"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44" name="Group 892">
                <a:extLst>
                  <a:ext uri="{FF2B5EF4-FFF2-40B4-BE49-F238E27FC236}">
                    <a16:creationId xmlns:a16="http://schemas.microsoft.com/office/drawing/2014/main" id="{C07318DF-837F-2491-078C-0A1365D7B784}"/>
                  </a:ext>
                </a:extLst>
              </p:cNvPr>
              <p:cNvGrpSpPr>
                <a:grpSpLocks/>
              </p:cNvGrpSpPr>
              <p:nvPr/>
            </p:nvGrpSpPr>
            <p:grpSpPr bwMode="auto">
              <a:xfrm>
                <a:off x="2230960" y="1704869"/>
                <a:ext cx="866580" cy="866580"/>
                <a:chOff x="4270" y="3457"/>
                <a:chExt cx="340" cy="341"/>
              </a:xfrm>
              <a:solidFill>
                <a:sysClr val="window" lastClr="FFFFFF"/>
              </a:solidFill>
            </p:grpSpPr>
            <p:sp>
              <p:nvSpPr>
                <p:cNvPr id="145" name="Freeform 893">
                  <a:extLst>
                    <a:ext uri="{FF2B5EF4-FFF2-40B4-BE49-F238E27FC236}">
                      <a16:creationId xmlns:a16="http://schemas.microsoft.com/office/drawing/2014/main" id="{EA6C0406-3766-87EA-2C78-795400D16A7C}"/>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6" name="Freeform 894">
                  <a:extLst>
                    <a:ext uri="{FF2B5EF4-FFF2-40B4-BE49-F238E27FC236}">
                      <a16:creationId xmlns:a16="http://schemas.microsoft.com/office/drawing/2014/main" id="{0DCAF8DD-124D-FD4A-20D0-76594D8B3970}"/>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grpSp>
          <p:nvGrpSpPr>
            <p:cNvPr id="84" name="Group 83">
              <a:extLst>
                <a:ext uri="{FF2B5EF4-FFF2-40B4-BE49-F238E27FC236}">
                  <a16:creationId xmlns:a16="http://schemas.microsoft.com/office/drawing/2014/main" id="{30D57098-E2C0-A996-39A5-27A5EF531CC5}"/>
                </a:ext>
              </a:extLst>
            </p:cNvPr>
            <p:cNvGrpSpPr/>
            <p:nvPr/>
          </p:nvGrpSpPr>
          <p:grpSpPr>
            <a:xfrm>
              <a:off x="7716440" y="1775116"/>
              <a:ext cx="297854" cy="743518"/>
              <a:chOff x="4122581" y="2310261"/>
              <a:chExt cx="576000" cy="1437838"/>
            </a:xfrm>
            <a:solidFill>
              <a:sysClr val="window" lastClr="FFFFFF"/>
            </a:solidFill>
          </p:grpSpPr>
          <p:sp>
            <p:nvSpPr>
              <p:cNvPr id="140" name="Diagonal Stripe 139">
                <a:extLst>
                  <a:ext uri="{FF2B5EF4-FFF2-40B4-BE49-F238E27FC236}">
                    <a16:creationId xmlns:a16="http://schemas.microsoft.com/office/drawing/2014/main" id="{42FD5929-BC2A-6126-304B-5AA92709CAB3}"/>
                  </a:ext>
                </a:extLst>
              </p:cNvPr>
              <p:cNvSpPr/>
              <p:nvPr/>
            </p:nvSpPr>
            <p:spPr>
              <a:xfrm>
                <a:off x="4122581" y="3028099"/>
                <a:ext cx="576000" cy="720000"/>
              </a:xfrm>
              <a:prstGeom prst="diagStripe">
                <a:avLst/>
              </a:prstGeom>
              <a:grpFill/>
              <a:ln w="381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1" name="Diagonal Stripe 140">
                <a:extLst>
                  <a:ext uri="{FF2B5EF4-FFF2-40B4-BE49-F238E27FC236}">
                    <a16:creationId xmlns:a16="http://schemas.microsoft.com/office/drawing/2014/main" id="{F6D0D180-05F3-3F9B-FFAF-3E197DE789FB}"/>
                  </a:ext>
                </a:extLst>
              </p:cNvPr>
              <p:cNvSpPr/>
              <p:nvPr/>
            </p:nvSpPr>
            <p:spPr>
              <a:xfrm flipV="1">
                <a:off x="4122581" y="2310261"/>
                <a:ext cx="576000" cy="720000"/>
              </a:xfrm>
              <a:prstGeom prst="diagStripe">
                <a:avLst/>
              </a:prstGeom>
              <a:grpFill/>
              <a:ln w="381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87" name="TextBox 86">
              <a:extLst>
                <a:ext uri="{FF2B5EF4-FFF2-40B4-BE49-F238E27FC236}">
                  <a16:creationId xmlns:a16="http://schemas.microsoft.com/office/drawing/2014/main" id="{75ECD3AF-5E3E-39AD-A2B8-C0DCEC91E2C8}"/>
                </a:ext>
              </a:extLst>
            </p:cNvPr>
            <p:cNvSpPr txBox="1"/>
            <p:nvPr/>
          </p:nvSpPr>
          <p:spPr>
            <a:xfrm>
              <a:off x="1940509" y="1014392"/>
              <a:ext cx="1447512" cy="27699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800" b="0" i="0" u="none" strike="noStrike" kern="0" cap="none" spc="0" normalizeH="0" baseline="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AS-IS analysis</a:t>
              </a:r>
            </a:p>
          </p:txBody>
        </p:sp>
        <p:sp>
          <p:nvSpPr>
            <p:cNvPr id="88" name="TextBox 87">
              <a:extLst>
                <a:ext uri="{FF2B5EF4-FFF2-40B4-BE49-F238E27FC236}">
                  <a16:creationId xmlns:a16="http://schemas.microsoft.com/office/drawing/2014/main" id="{CB940B99-1719-82D7-DD9E-C43744879B38}"/>
                </a:ext>
              </a:extLst>
            </p:cNvPr>
            <p:cNvSpPr txBox="1"/>
            <p:nvPr/>
          </p:nvSpPr>
          <p:spPr>
            <a:xfrm>
              <a:off x="5279653" y="1014392"/>
              <a:ext cx="1652697" cy="27699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800" b="0" i="0" u="none" strike="noStrike" kern="0" cap="none" spc="0" normalizeH="0" baseline="0" dirty="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rPr>
                <a:t>TO-BE planning</a:t>
              </a:r>
            </a:p>
          </p:txBody>
        </p:sp>
        <p:sp>
          <p:nvSpPr>
            <p:cNvPr id="89" name="TextBox 88">
              <a:extLst>
                <a:ext uri="{FF2B5EF4-FFF2-40B4-BE49-F238E27FC236}">
                  <a16:creationId xmlns:a16="http://schemas.microsoft.com/office/drawing/2014/main" id="{88E2F794-852B-2A4C-EA26-16EEE3DC8FF0}"/>
                </a:ext>
              </a:extLst>
            </p:cNvPr>
            <p:cNvSpPr txBox="1"/>
            <p:nvPr/>
          </p:nvSpPr>
          <p:spPr>
            <a:xfrm>
              <a:off x="8303792" y="1014391"/>
              <a:ext cx="2532746" cy="27699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800" b="0" i="0" u="none" strike="noStrike" kern="0" cap="none" spc="0" normalizeH="0" baseline="0" dirty="0">
                  <a:ln>
                    <a:noFill/>
                  </a:ln>
                  <a:solidFill>
                    <a:srgbClr val="0076A8"/>
                  </a:solidFill>
                  <a:effectLst/>
                  <a:uLnTx/>
                  <a:uFillTx/>
                  <a:latin typeface="Open Sans" panose="020B0606030504020204" pitchFamily="34" charset="0"/>
                  <a:ea typeface="Open Sans" panose="020B0606030504020204" pitchFamily="34" charset="0"/>
                  <a:cs typeface="Open Sans" panose="020B0606030504020204" pitchFamily="34" charset="0"/>
                </a:rPr>
                <a:t>Action step formulation</a:t>
              </a:r>
            </a:p>
          </p:txBody>
        </p:sp>
        <p:grpSp>
          <p:nvGrpSpPr>
            <p:cNvPr id="90" name="Group 89">
              <a:extLst>
                <a:ext uri="{FF2B5EF4-FFF2-40B4-BE49-F238E27FC236}">
                  <a16:creationId xmlns:a16="http://schemas.microsoft.com/office/drawing/2014/main" id="{12BB6D90-A6A1-D85A-BC6A-DC72203A8B40}"/>
                </a:ext>
              </a:extLst>
            </p:cNvPr>
            <p:cNvGrpSpPr/>
            <p:nvPr/>
          </p:nvGrpSpPr>
          <p:grpSpPr>
            <a:xfrm>
              <a:off x="5470020" y="1486631"/>
              <a:ext cx="1280160" cy="1280160"/>
              <a:chOff x="5470020" y="1486631"/>
              <a:chExt cx="1280160" cy="1280160"/>
            </a:xfrm>
          </p:grpSpPr>
          <p:sp>
            <p:nvSpPr>
              <p:cNvPr id="130" name="Oval 129">
                <a:extLst>
                  <a:ext uri="{FF2B5EF4-FFF2-40B4-BE49-F238E27FC236}">
                    <a16:creationId xmlns:a16="http://schemas.microsoft.com/office/drawing/2014/main" id="{24E3B8CE-31A6-D513-F296-4F650568E9F1}"/>
                  </a:ext>
                </a:extLst>
              </p:cNvPr>
              <p:cNvSpPr/>
              <p:nvPr/>
            </p:nvSpPr>
            <p:spPr bwMode="gray">
              <a:xfrm>
                <a:off x="5526361" y="1559156"/>
                <a:ext cx="1167478" cy="1167478"/>
              </a:xfrm>
              <a:prstGeom prst="ellipse">
                <a:avLst/>
              </a:prstGeom>
              <a:solidFill>
                <a:srgbClr val="43B02A"/>
              </a:solidFill>
              <a:ln w="19050" algn="ctr">
                <a:noFill/>
                <a:miter lim="800000"/>
                <a:headEnd/>
                <a:tailEnd/>
              </a:ln>
            </p:spPr>
            <p:txBody>
              <a:bodyPr wrap="none" lIns="0" tIns="0" rIns="0" bIns="1800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1400" b="0"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ÍZIÓ ÉS </a:t>
                </a:r>
              </a:p>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400" b="0"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1" name="Oval 130">
                <a:extLst>
                  <a:ext uri="{FF2B5EF4-FFF2-40B4-BE49-F238E27FC236}">
                    <a16:creationId xmlns:a16="http://schemas.microsoft.com/office/drawing/2014/main" id="{E2DA4721-089B-B72B-EF51-82AE6F5D53D5}"/>
                  </a:ext>
                </a:extLst>
              </p:cNvPr>
              <p:cNvSpPr/>
              <p:nvPr/>
            </p:nvSpPr>
            <p:spPr bwMode="gray">
              <a:xfrm>
                <a:off x="5470020" y="1486631"/>
                <a:ext cx="1280160" cy="1280160"/>
              </a:xfrm>
              <a:prstGeom prst="ellipse">
                <a:avLst/>
              </a:prstGeom>
              <a:solidFill>
                <a:sysClr val="window" lastClr="FFFFFF"/>
              </a:solidFill>
              <a:ln w="76200" algn="ctr">
                <a:solidFill>
                  <a:srgbClr val="D4D4D4"/>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2" name="Oval 17">
                <a:extLst>
                  <a:ext uri="{FF2B5EF4-FFF2-40B4-BE49-F238E27FC236}">
                    <a16:creationId xmlns:a16="http://schemas.microsoft.com/office/drawing/2014/main" id="{CAE8F7ED-00F2-55A6-4BE5-8D7CF98CE34F}"/>
                  </a:ext>
                </a:extLst>
              </p:cNvPr>
              <p:cNvSpPr/>
              <p:nvPr/>
            </p:nvSpPr>
            <p:spPr bwMode="gray">
              <a:xfrm>
                <a:off x="5607180" y="1637182"/>
                <a:ext cx="1005840" cy="1005840"/>
              </a:xfrm>
              <a:prstGeom prst="ellipse">
                <a:avLst/>
              </a:prstGeom>
              <a:solidFill>
                <a:srgbClr val="00A3E0"/>
              </a:solidFill>
              <a:ln w="19050" algn="ctr">
                <a:noFill/>
                <a:miter lim="800000"/>
                <a:headEnd/>
                <a:tailEnd/>
              </a:ln>
            </p:spPr>
            <p:txBody>
              <a:bodyPr wrap="none" lIns="0" tIns="0" rIns="0" bIns="1800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33" name="Group 243">
                <a:extLst>
                  <a:ext uri="{FF2B5EF4-FFF2-40B4-BE49-F238E27FC236}">
                    <a16:creationId xmlns:a16="http://schemas.microsoft.com/office/drawing/2014/main" id="{FDE59DFB-34F1-1539-6800-DB5CBE3CA210}"/>
                  </a:ext>
                </a:extLst>
              </p:cNvPr>
              <p:cNvGrpSpPr>
                <a:grpSpLocks/>
              </p:cNvGrpSpPr>
              <p:nvPr/>
            </p:nvGrpSpPr>
            <p:grpSpPr bwMode="auto">
              <a:xfrm>
                <a:off x="5676310" y="1706302"/>
                <a:ext cx="867601" cy="867600"/>
                <a:chOff x="3476" y="785"/>
                <a:chExt cx="340" cy="341"/>
              </a:xfrm>
              <a:solidFill>
                <a:sysClr val="window" lastClr="FFFFFF"/>
              </a:solidFill>
            </p:grpSpPr>
            <p:sp>
              <p:nvSpPr>
                <p:cNvPr id="134" name="Freeform 244">
                  <a:extLst>
                    <a:ext uri="{FF2B5EF4-FFF2-40B4-BE49-F238E27FC236}">
                      <a16:creationId xmlns:a16="http://schemas.microsoft.com/office/drawing/2014/main" id="{35A8CFB0-AABF-CF03-6C3E-15BEC758BB06}"/>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5" name="Freeform 245">
                  <a:extLst>
                    <a:ext uri="{FF2B5EF4-FFF2-40B4-BE49-F238E27FC236}">
                      <a16:creationId xmlns:a16="http://schemas.microsoft.com/office/drawing/2014/main" id="{01EAD201-6E54-41D3-47FD-5D2C86706DC9}"/>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grpSp>
          <p:nvGrpSpPr>
            <p:cNvPr id="91" name="Group 90">
              <a:extLst>
                <a:ext uri="{FF2B5EF4-FFF2-40B4-BE49-F238E27FC236}">
                  <a16:creationId xmlns:a16="http://schemas.microsoft.com/office/drawing/2014/main" id="{576BC2B8-48F8-756A-E17F-C541BF8BA038}"/>
                </a:ext>
              </a:extLst>
            </p:cNvPr>
            <p:cNvGrpSpPr/>
            <p:nvPr/>
          </p:nvGrpSpPr>
          <p:grpSpPr>
            <a:xfrm>
              <a:off x="8921648" y="1486631"/>
              <a:ext cx="1280160" cy="1280160"/>
              <a:chOff x="8921648" y="1486631"/>
              <a:chExt cx="1280160" cy="1280160"/>
            </a:xfrm>
          </p:grpSpPr>
          <p:sp>
            <p:nvSpPr>
              <p:cNvPr id="120" name="Oval 119">
                <a:extLst>
                  <a:ext uri="{FF2B5EF4-FFF2-40B4-BE49-F238E27FC236}">
                    <a16:creationId xmlns:a16="http://schemas.microsoft.com/office/drawing/2014/main" id="{CBF51D91-66AD-8C35-28F5-045FF215F9F0}"/>
                  </a:ext>
                </a:extLst>
              </p:cNvPr>
              <p:cNvSpPr/>
              <p:nvPr/>
            </p:nvSpPr>
            <p:spPr bwMode="gray">
              <a:xfrm>
                <a:off x="8977989" y="1559156"/>
                <a:ext cx="1167478" cy="1167478"/>
              </a:xfrm>
              <a:prstGeom prst="ellipse">
                <a:avLst/>
              </a:prstGeom>
              <a:solidFill>
                <a:srgbClr val="046A38"/>
              </a:solidFill>
              <a:ln w="19050" algn="ctr">
                <a:noFill/>
                <a:miter lim="800000"/>
                <a:headEnd/>
                <a:tailEnd/>
              </a:ln>
            </p:spPr>
            <p:txBody>
              <a:bodyPr wrap="none" lIns="0" tIns="0" rIns="0" bIns="1800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400" b="0"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1" name="Oval 120">
                <a:extLst>
                  <a:ext uri="{FF2B5EF4-FFF2-40B4-BE49-F238E27FC236}">
                    <a16:creationId xmlns:a16="http://schemas.microsoft.com/office/drawing/2014/main" id="{25E2BA1D-C649-30D1-E12F-5FD9C3AA4EA7}"/>
                  </a:ext>
                </a:extLst>
              </p:cNvPr>
              <p:cNvSpPr/>
              <p:nvPr/>
            </p:nvSpPr>
            <p:spPr bwMode="gray">
              <a:xfrm>
                <a:off x="8921648" y="1486631"/>
                <a:ext cx="1280160" cy="1280160"/>
              </a:xfrm>
              <a:prstGeom prst="ellipse">
                <a:avLst/>
              </a:prstGeom>
              <a:solidFill>
                <a:sysClr val="window" lastClr="FFFFFF"/>
              </a:solidFill>
              <a:ln w="76200" algn="ctr">
                <a:solidFill>
                  <a:srgbClr val="D4D4D4"/>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2" name="Oval 21">
                <a:extLst>
                  <a:ext uri="{FF2B5EF4-FFF2-40B4-BE49-F238E27FC236}">
                    <a16:creationId xmlns:a16="http://schemas.microsoft.com/office/drawing/2014/main" id="{AADE2845-39FD-D8EA-7A79-C7FCD524807A}"/>
                  </a:ext>
                </a:extLst>
              </p:cNvPr>
              <p:cNvSpPr/>
              <p:nvPr/>
            </p:nvSpPr>
            <p:spPr bwMode="gray">
              <a:xfrm>
                <a:off x="9058808" y="1637182"/>
                <a:ext cx="1005840" cy="1005840"/>
              </a:xfrm>
              <a:prstGeom prst="ellipse">
                <a:avLst/>
              </a:prstGeom>
              <a:solidFill>
                <a:srgbClr val="0076A8"/>
              </a:solidFill>
              <a:ln w="19050" algn="ctr">
                <a:noFill/>
                <a:miter lim="800000"/>
                <a:headEnd/>
                <a:tailEnd/>
              </a:ln>
            </p:spPr>
            <p:txBody>
              <a:bodyPr wrap="none" lIns="0" tIns="0" rIns="0" bIns="1800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0"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23" name="Group 336">
                <a:extLst>
                  <a:ext uri="{FF2B5EF4-FFF2-40B4-BE49-F238E27FC236}">
                    <a16:creationId xmlns:a16="http://schemas.microsoft.com/office/drawing/2014/main" id="{5CAFF436-21F5-2BE5-D014-AA77F5D0F4AA}"/>
                  </a:ext>
                </a:extLst>
              </p:cNvPr>
              <p:cNvGrpSpPr>
                <a:grpSpLocks/>
              </p:cNvGrpSpPr>
              <p:nvPr/>
            </p:nvGrpSpPr>
            <p:grpSpPr bwMode="auto">
              <a:xfrm>
                <a:off x="9127928" y="1706302"/>
                <a:ext cx="867600" cy="867600"/>
                <a:chOff x="4220" y="1197"/>
                <a:chExt cx="340" cy="340"/>
              </a:xfrm>
              <a:solidFill>
                <a:sysClr val="window" lastClr="FFFFFF"/>
              </a:solidFill>
            </p:grpSpPr>
            <p:sp>
              <p:nvSpPr>
                <p:cNvPr id="124" name="Freeform 337">
                  <a:extLst>
                    <a:ext uri="{FF2B5EF4-FFF2-40B4-BE49-F238E27FC236}">
                      <a16:creationId xmlns:a16="http://schemas.microsoft.com/office/drawing/2014/main" id="{1D0E6F1F-312F-1284-CFEA-B2AFFB1231AA}"/>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12700">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5" name="Freeform 338">
                  <a:extLst>
                    <a:ext uri="{FF2B5EF4-FFF2-40B4-BE49-F238E27FC236}">
                      <a16:creationId xmlns:a16="http://schemas.microsoft.com/office/drawing/2014/main" id="{87F2D52A-5049-00EE-6B00-DAC004A19846}"/>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w="12700">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6" name="Freeform 339">
                  <a:extLst>
                    <a:ext uri="{FF2B5EF4-FFF2-40B4-BE49-F238E27FC236}">
                      <a16:creationId xmlns:a16="http://schemas.microsoft.com/office/drawing/2014/main" id="{7B692803-E729-1990-99FD-843FD61096D3}"/>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w="12700">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7" name="Freeform 340">
                  <a:extLst>
                    <a:ext uri="{FF2B5EF4-FFF2-40B4-BE49-F238E27FC236}">
                      <a16:creationId xmlns:a16="http://schemas.microsoft.com/office/drawing/2014/main" id="{6AE628C6-2212-E99A-46B2-D77A8EFCC8E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w="12700">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8" name="Freeform 341">
                  <a:extLst>
                    <a:ext uri="{FF2B5EF4-FFF2-40B4-BE49-F238E27FC236}">
                      <a16:creationId xmlns:a16="http://schemas.microsoft.com/office/drawing/2014/main" id="{1F6BA45C-0F8A-C9BD-1749-57F47DB52E7A}"/>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w="12700">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9" name="Freeform 342">
                  <a:extLst>
                    <a:ext uri="{FF2B5EF4-FFF2-40B4-BE49-F238E27FC236}">
                      <a16:creationId xmlns:a16="http://schemas.microsoft.com/office/drawing/2014/main" id="{3D328122-FD4A-4A3B-F08A-AEED022A7843}"/>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w="12700">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sp>
          <p:nvSpPr>
            <p:cNvPr id="92" name="TextBox 91">
              <a:extLst>
                <a:ext uri="{FF2B5EF4-FFF2-40B4-BE49-F238E27FC236}">
                  <a16:creationId xmlns:a16="http://schemas.microsoft.com/office/drawing/2014/main" id="{CA2DC660-FA80-7F7B-7B60-428D3122E752}"/>
                </a:ext>
              </a:extLst>
            </p:cNvPr>
            <p:cNvSpPr txBox="1"/>
            <p:nvPr/>
          </p:nvSpPr>
          <p:spPr>
            <a:xfrm>
              <a:off x="1961390" y="2896509"/>
              <a:ext cx="1405746"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000" b="0" i="1" u="none" strike="noStrike" kern="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ere are we now?</a:t>
              </a:r>
            </a:p>
          </p:txBody>
        </p:sp>
        <p:sp>
          <p:nvSpPr>
            <p:cNvPr id="93" name="TextBox 92">
              <a:extLst>
                <a:ext uri="{FF2B5EF4-FFF2-40B4-BE49-F238E27FC236}">
                  <a16:creationId xmlns:a16="http://schemas.microsoft.com/office/drawing/2014/main" id="{C43927BE-741F-C622-83DB-12C46B24D7A0}"/>
                </a:ext>
              </a:extLst>
            </p:cNvPr>
            <p:cNvSpPr txBox="1"/>
            <p:nvPr/>
          </p:nvSpPr>
          <p:spPr>
            <a:xfrm>
              <a:off x="5238427" y="2896509"/>
              <a:ext cx="1740080"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000" b="0" i="1" u="none" strike="noStrike" kern="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ere do we need to be?</a:t>
              </a:r>
            </a:p>
          </p:txBody>
        </p:sp>
        <p:sp>
          <p:nvSpPr>
            <p:cNvPr id="94" name="TextBox 93">
              <a:extLst>
                <a:ext uri="{FF2B5EF4-FFF2-40B4-BE49-F238E27FC236}">
                  <a16:creationId xmlns:a16="http://schemas.microsoft.com/office/drawing/2014/main" id="{A8237F41-955C-0234-AEE9-A0B23666AD99}"/>
                </a:ext>
              </a:extLst>
            </p:cNvPr>
            <p:cNvSpPr txBox="1"/>
            <p:nvPr/>
          </p:nvSpPr>
          <p:spPr>
            <a:xfrm>
              <a:off x="8805113" y="2896509"/>
              <a:ext cx="1511478"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000" b="0" i="1" u="none" strike="noStrike" kern="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ow will we get there?</a:t>
              </a:r>
            </a:p>
          </p:txBody>
        </p:sp>
        <p:grpSp>
          <p:nvGrpSpPr>
            <p:cNvPr id="95" name="Group 94">
              <a:extLst>
                <a:ext uri="{FF2B5EF4-FFF2-40B4-BE49-F238E27FC236}">
                  <a16:creationId xmlns:a16="http://schemas.microsoft.com/office/drawing/2014/main" id="{14DCBF0A-E8BF-E352-DB46-1C27F8A137C0}"/>
                </a:ext>
              </a:extLst>
            </p:cNvPr>
            <p:cNvGrpSpPr/>
            <p:nvPr/>
          </p:nvGrpSpPr>
          <p:grpSpPr>
            <a:xfrm>
              <a:off x="10799163" y="2823360"/>
              <a:ext cx="975762" cy="300187"/>
              <a:chOff x="7875372" y="536546"/>
              <a:chExt cx="1085847" cy="300187"/>
            </a:xfrm>
          </p:grpSpPr>
          <p:grpSp>
            <p:nvGrpSpPr>
              <p:cNvPr id="116" name="Group 115">
                <a:extLst>
                  <a:ext uri="{FF2B5EF4-FFF2-40B4-BE49-F238E27FC236}">
                    <a16:creationId xmlns:a16="http://schemas.microsoft.com/office/drawing/2014/main" id="{24139EFB-FED8-99DD-4F95-8D3039BF3E5D}"/>
                  </a:ext>
                </a:extLst>
              </p:cNvPr>
              <p:cNvGrpSpPr>
                <a:grpSpLocks noChangeAspect="1"/>
              </p:cNvGrpSpPr>
              <p:nvPr/>
            </p:nvGrpSpPr>
            <p:grpSpPr>
              <a:xfrm>
                <a:off x="7875372" y="536546"/>
                <a:ext cx="1085847" cy="300187"/>
                <a:chOff x="6502017" y="2072427"/>
                <a:chExt cx="3611953" cy="998538"/>
              </a:xfrm>
              <a:solidFill>
                <a:srgbClr val="86BC25"/>
              </a:solidFill>
            </p:grpSpPr>
            <p:sp>
              <p:nvSpPr>
                <p:cNvPr id="118" name="Freeform 32">
                  <a:extLst>
                    <a:ext uri="{FF2B5EF4-FFF2-40B4-BE49-F238E27FC236}">
                      <a16:creationId xmlns:a16="http://schemas.microsoft.com/office/drawing/2014/main" id="{3E2DC78E-A098-5968-CCD8-749DC96FEBEE}"/>
                    </a:ext>
                  </a:extLst>
                </p:cNvPr>
                <p:cNvSpPr>
                  <a:spLocks noEditPoints="1"/>
                </p:cNvSpPr>
                <p:nvPr/>
              </p:nvSpPr>
              <p:spPr bwMode="auto">
                <a:xfrm>
                  <a:off x="9229732" y="2072427"/>
                  <a:ext cx="884238" cy="819149"/>
                </a:xfrm>
                <a:custGeom>
                  <a:avLst/>
                  <a:gdLst>
                    <a:gd name="T0" fmla="*/ 92 w 93"/>
                    <a:gd name="T1" fmla="*/ 40 h 86"/>
                    <a:gd name="T2" fmla="*/ 64 w 93"/>
                    <a:gd name="T3" fmla="*/ 12 h 86"/>
                    <a:gd name="T4" fmla="*/ 32 w 93"/>
                    <a:gd name="T5" fmla="*/ 5 h 86"/>
                    <a:gd name="T6" fmla="*/ 31 w 93"/>
                    <a:gd name="T7" fmla="*/ 11 h 86"/>
                    <a:gd name="T8" fmla="*/ 2 w 93"/>
                    <a:gd name="T9" fmla="*/ 51 h 86"/>
                    <a:gd name="T10" fmla="*/ 5 w 93"/>
                    <a:gd name="T11" fmla="*/ 61 h 86"/>
                    <a:gd name="T12" fmla="*/ 10 w 93"/>
                    <a:gd name="T13" fmla="*/ 66 h 86"/>
                    <a:gd name="T14" fmla="*/ 13 w 93"/>
                    <a:gd name="T15" fmla="*/ 72 h 86"/>
                    <a:gd name="T16" fmla="*/ 24 w 93"/>
                    <a:gd name="T17" fmla="*/ 77 h 86"/>
                    <a:gd name="T18" fmla="*/ 41 w 93"/>
                    <a:gd name="T19" fmla="*/ 81 h 86"/>
                    <a:gd name="T20" fmla="*/ 92 w 93"/>
                    <a:gd name="T21" fmla="*/ 54 h 86"/>
                    <a:gd name="T22" fmla="*/ 92 w 93"/>
                    <a:gd name="T23" fmla="*/ 40 h 86"/>
                    <a:gd name="T24" fmla="*/ 64 w 93"/>
                    <a:gd name="T25" fmla="*/ 73 h 86"/>
                    <a:gd name="T26" fmla="*/ 54 w 93"/>
                    <a:gd name="T27" fmla="*/ 71 h 86"/>
                    <a:gd name="T28" fmla="*/ 54 w 93"/>
                    <a:gd name="T29" fmla="*/ 76 h 86"/>
                    <a:gd name="T30" fmla="*/ 52 w 93"/>
                    <a:gd name="T31" fmla="*/ 73 h 86"/>
                    <a:gd name="T32" fmla="*/ 55 w 93"/>
                    <a:gd name="T33" fmla="*/ 65 h 86"/>
                    <a:gd name="T34" fmla="*/ 47 w 93"/>
                    <a:gd name="T35" fmla="*/ 63 h 86"/>
                    <a:gd name="T36" fmla="*/ 45 w 93"/>
                    <a:gd name="T37" fmla="*/ 76 h 86"/>
                    <a:gd name="T38" fmla="*/ 40 w 93"/>
                    <a:gd name="T39" fmla="*/ 75 h 86"/>
                    <a:gd name="T40" fmla="*/ 44 w 93"/>
                    <a:gd name="T41" fmla="*/ 61 h 86"/>
                    <a:gd name="T42" fmla="*/ 38 w 93"/>
                    <a:gd name="T43" fmla="*/ 59 h 86"/>
                    <a:gd name="T44" fmla="*/ 31 w 93"/>
                    <a:gd name="T45" fmla="*/ 72 h 86"/>
                    <a:gd name="T46" fmla="*/ 33 w 93"/>
                    <a:gd name="T47" fmla="*/ 59 h 86"/>
                    <a:gd name="T48" fmla="*/ 36 w 93"/>
                    <a:gd name="T49" fmla="*/ 55 h 86"/>
                    <a:gd name="T50" fmla="*/ 21 w 93"/>
                    <a:gd name="T51" fmla="*/ 67 h 86"/>
                    <a:gd name="T52" fmla="*/ 22 w 93"/>
                    <a:gd name="T53" fmla="*/ 59 h 86"/>
                    <a:gd name="T54" fmla="*/ 30 w 93"/>
                    <a:gd name="T55" fmla="*/ 45 h 86"/>
                    <a:gd name="T56" fmla="*/ 12 w 93"/>
                    <a:gd name="T57" fmla="*/ 56 h 86"/>
                    <a:gd name="T58" fmla="*/ 15 w 93"/>
                    <a:gd name="T59" fmla="*/ 31 h 86"/>
                    <a:gd name="T60" fmla="*/ 28 w 93"/>
                    <a:gd name="T61" fmla="*/ 20 h 86"/>
                    <a:gd name="T62" fmla="*/ 52 w 93"/>
                    <a:gd name="T63" fmla="*/ 12 h 86"/>
                    <a:gd name="T64" fmla="*/ 81 w 93"/>
                    <a:gd name="T65" fmla="*/ 31 h 86"/>
                    <a:gd name="T66" fmla="*/ 87 w 93"/>
                    <a:gd name="T67" fmla="*/ 45 h 86"/>
                    <a:gd name="T68" fmla="*/ 64 w 93"/>
                    <a:gd name="T69"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3" h="86">
                      <a:moveTo>
                        <a:pt x="92" y="40"/>
                      </a:moveTo>
                      <a:cubicBezTo>
                        <a:pt x="88" y="26"/>
                        <a:pt x="76" y="19"/>
                        <a:pt x="64" y="12"/>
                      </a:cubicBezTo>
                      <a:cubicBezTo>
                        <a:pt x="56" y="7"/>
                        <a:pt x="43" y="0"/>
                        <a:pt x="32" y="5"/>
                      </a:cubicBezTo>
                      <a:cubicBezTo>
                        <a:pt x="32" y="7"/>
                        <a:pt x="31" y="9"/>
                        <a:pt x="31" y="11"/>
                      </a:cubicBezTo>
                      <a:cubicBezTo>
                        <a:pt x="17" y="17"/>
                        <a:pt x="0" y="32"/>
                        <a:pt x="2" y="51"/>
                      </a:cubicBezTo>
                      <a:cubicBezTo>
                        <a:pt x="2" y="54"/>
                        <a:pt x="3" y="58"/>
                        <a:pt x="5" y="61"/>
                      </a:cubicBezTo>
                      <a:cubicBezTo>
                        <a:pt x="6" y="63"/>
                        <a:pt x="9" y="63"/>
                        <a:pt x="10" y="66"/>
                      </a:cubicBezTo>
                      <a:cubicBezTo>
                        <a:pt x="11" y="68"/>
                        <a:pt x="11" y="70"/>
                        <a:pt x="13" y="72"/>
                      </a:cubicBezTo>
                      <a:cubicBezTo>
                        <a:pt x="19" y="70"/>
                        <a:pt x="21" y="76"/>
                        <a:pt x="24" y="77"/>
                      </a:cubicBezTo>
                      <a:cubicBezTo>
                        <a:pt x="28" y="79"/>
                        <a:pt x="37" y="81"/>
                        <a:pt x="41" y="81"/>
                      </a:cubicBezTo>
                      <a:cubicBezTo>
                        <a:pt x="68" y="86"/>
                        <a:pt x="84" y="69"/>
                        <a:pt x="92" y="54"/>
                      </a:cubicBezTo>
                      <a:cubicBezTo>
                        <a:pt x="92" y="49"/>
                        <a:pt x="93" y="44"/>
                        <a:pt x="92" y="40"/>
                      </a:cubicBezTo>
                      <a:close/>
                      <a:moveTo>
                        <a:pt x="64" y="73"/>
                      </a:moveTo>
                      <a:cubicBezTo>
                        <a:pt x="63" y="70"/>
                        <a:pt x="57" y="67"/>
                        <a:pt x="54" y="71"/>
                      </a:cubicBezTo>
                      <a:cubicBezTo>
                        <a:pt x="53" y="73"/>
                        <a:pt x="55" y="75"/>
                        <a:pt x="54" y="76"/>
                      </a:cubicBezTo>
                      <a:cubicBezTo>
                        <a:pt x="54" y="75"/>
                        <a:pt x="52" y="75"/>
                        <a:pt x="52" y="73"/>
                      </a:cubicBezTo>
                      <a:cubicBezTo>
                        <a:pt x="52" y="69"/>
                        <a:pt x="56" y="68"/>
                        <a:pt x="55" y="65"/>
                      </a:cubicBezTo>
                      <a:cubicBezTo>
                        <a:pt x="54" y="62"/>
                        <a:pt x="48" y="63"/>
                        <a:pt x="47" y="63"/>
                      </a:cubicBezTo>
                      <a:cubicBezTo>
                        <a:pt x="43" y="65"/>
                        <a:pt x="44" y="71"/>
                        <a:pt x="45" y="76"/>
                      </a:cubicBezTo>
                      <a:cubicBezTo>
                        <a:pt x="43" y="76"/>
                        <a:pt x="41" y="76"/>
                        <a:pt x="40" y="75"/>
                      </a:cubicBezTo>
                      <a:cubicBezTo>
                        <a:pt x="36" y="70"/>
                        <a:pt x="45" y="66"/>
                        <a:pt x="44" y="61"/>
                      </a:cubicBezTo>
                      <a:cubicBezTo>
                        <a:pt x="43" y="59"/>
                        <a:pt x="40" y="58"/>
                        <a:pt x="38" y="59"/>
                      </a:cubicBezTo>
                      <a:cubicBezTo>
                        <a:pt x="33" y="59"/>
                        <a:pt x="31" y="68"/>
                        <a:pt x="31" y="72"/>
                      </a:cubicBezTo>
                      <a:cubicBezTo>
                        <a:pt x="27" y="70"/>
                        <a:pt x="33" y="63"/>
                        <a:pt x="33" y="59"/>
                      </a:cubicBezTo>
                      <a:cubicBezTo>
                        <a:pt x="34" y="58"/>
                        <a:pt x="35" y="57"/>
                        <a:pt x="36" y="55"/>
                      </a:cubicBezTo>
                      <a:cubicBezTo>
                        <a:pt x="29" y="41"/>
                        <a:pt x="24" y="62"/>
                        <a:pt x="21" y="67"/>
                      </a:cubicBezTo>
                      <a:cubicBezTo>
                        <a:pt x="17" y="66"/>
                        <a:pt x="20" y="62"/>
                        <a:pt x="22" y="59"/>
                      </a:cubicBezTo>
                      <a:cubicBezTo>
                        <a:pt x="24" y="54"/>
                        <a:pt x="27" y="48"/>
                        <a:pt x="30" y="45"/>
                      </a:cubicBezTo>
                      <a:cubicBezTo>
                        <a:pt x="22" y="32"/>
                        <a:pt x="18" y="52"/>
                        <a:pt x="12" y="56"/>
                      </a:cubicBezTo>
                      <a:cubicBezTo>
                        <a:pt x="11" y="46"/>
                        <a:pt x="28" y="36"/>
                        <a:pt x="15" y="31"/>
                      </a:cubicBezTo>
                      <a:cubicBezTo>
                        <a:pt x="17" y="26"/>
                        <a:pt x="22" y="24"/>
                        <a:pt x="28" y="20"/>
                      </a:cubicBezTo>
                      <a:cubicBezTo>
                        <a:pt x="34" y="17"/>
                        <a:pt x="41" y="11"/>
                        <a:pt x="52" y="12"/>
                      </a:cubicBezTo>
                      <a:cubicBezTo>
                        <a:pt x="59" y="13"/>
                        <a:pt x="76" y="24"/>
                        <a:pt x="81" y="31"/>
                      </a:cubicBezTo>
                      <a:cubicBezTo>
                        <a:pt x="83" y="33"/>
                        <a:pt x="87" y="41"/>
                        <a:pt x="87" y="45"/>
                      </a:cubicBezTo>
                      <a:cubicBezTo>
                        <a:pt x="88" y="60"/>
                        <a:pt x="75" y="67"/>
                        <a:pt x="64" y="73"/>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9" name="Freeform 34">
                  <a:extLst>
                    <a:ext uri="{FF2B5EF4-FFF2-40B4-BE49-F238E27FC236}">
                      <a16:creationId xmlns:a16="http://schemas.microsoft.com/office/drawing/2014/main" id="{17B53761-E9F9-3AF1-94D8-365CB89926F4}"/>
                    </a:ext>
                  </a:extLst>
                </p:cNvPr>
                <p:cNvSpPr>
                  <a:spLocks noEditPoints="1"/>
                </p:cNvSpPr>
                <p:nvPr/>
              </p:nvSpPr>
              <p:spPr bwMode="auto">
                <a:xfrm>
                  <a:off x="6502017" y="2139102"/>
                  <a:ext cx="941388" cy="931863"/>
                </a:xfrm>
                <a:custGeom>
                  <a:avLst/>
                  <a:gdLst>
                    <a:gd name="T0" fmla="*/ 99 w 99"/>
                    <a:gd name="T1" fmla="*/ 20 h 98"/>
                    <a:gd name="T2" fmla="*/ 97 w 99"/>
                    <a:gd name="T3" fmla="*/ 14 h 98"/>
                    <a:gd name="T4" fmla="*/ 93 w 99"/>
                    <a:gd name="T5" fmla="*/ 12 h 98"/>
                    <a:gd name="T6" fmla="*/ 85 w 99"/>
                    <a:gd name="T7" fmla="*/ 12 h 98"/>
                    <a:gd name="T8" fmla="*/ 54 w 99"/>
                    <a:gd name="T9" fmla="*/ 4 h 98"/>
                    <a:gd name="T10" fmla="*/ 42 w 99"/>
                    <a:gd name="T11" fmla="*/ 2 h 98"/>
                    <a:gd name="T12" fmla="*/ 40 w 99"/>
                    <a:gd name="T13" fmla="*/ 6 h 98"/>
                    <a:gd name="T14" fmla="*/ 3 w 99"/>
                    <a:gd name="T15" fmla="*/ 17 h 98"/>
                    <a:gd name="T16" fmla="*/ 5 w 99"/>
                    <a:gd name="T17" fmla="*/ 46 h 98"/>
                    <a:gd name="T18" fmla="*/ 5 w 99"/>
                    <a:gd name="T19" fmla="*/ 63 h 98"/>
                    <a:gd name="T20" fmla="*/ 1 w 99"/>
                    <a:gd name="T21" fmla="*/ 66 h 98"/>
                    <a:gd name="T22" fmla="*/ 15 w 99"/>
                    <a:gd name="T23" fmla="*/ 78 h 98"/>
                    <a:gd name="T24" fmla="*/ 30 w 99"/>
                    <a:gd name="T25" fmla="*/ 83 h 98"/>
                    <a:gd name="T26" fmla="*/ 37 w 99"/>
                    <a:gd name="T27" fmla="*/ 91 h 98"/>
                    <a:gd name="T28" fmla="*/ 44 w 99"/>
                    <a:gd name="T29" fmla="*/ 97 h 98"/>
                    <a:gd name="T30" fmla="*/ 82 w 99"/>
                    <a:gd name="T31" fmla="*/ 83 h 98"/>
                    <a:gd name="T32" fmla="*/ 85 w 99"/>
                    <a:gd name="T33" fmla="*/ 88 h 98"/>
                    <a:gd name="T34" fmla="*/ 91 w 99"/>
                    <a:gd name="T35" fmla="*/ 88 h 98"/>
                    <a:gd name="T36" fmla="*/ 96 w 99"/>
                    <a:gd name="T37" fmla="*/ 77 h 98"/>
                    <a:gd name="T38" fmla="*/ 93 w 99"/>
                    <a:gd name="T39" fmla="*/ 70 h 98"/>
                    <a:gd name="T40" fmla="*/ 99 w 99"/>
                    <a:gd name="T41" fmla="*/ 20 h 98"/>
                    <a:gd name="T42" fmla="*/ 13 w 99"/>
                    <a:gd name="T43" fmla="*/ 26 h 98"/>
                    <a:gd name="T44" fmla="*/ 23 w 99"/>
                    <a:gd name="T45" fmla="*/ 32 h 98"/>
                    <a:gd name="T46" fmla="*/ 15 w 99"/>
                    <a:gd name="T47" fmla="*/ 43 h 98"/>
                    <a:gd name="T48" fmla="*/ 13 w 99"/>
                    <a:gd name="T49" fmla="*/ 26 h 98"/>
                    <a:gd name="T50" fmla="*/ 34 w 99"/>
                    <a:gd name="T51" fmla="*/ 75 h 98"/>
                    <a:gd name="T52" fmla="*/ 36 w 99"/>
                    <a:gd name="T53" fmla="*/ 72 h 98"/>
                    <a:gd name="T54" fmla="*/ 38 w 99"/>
                    <a:gd name="T55" fmla="*/ 76 h 98"/>
                    <a:gd name="T56" fmla="*/ 34 w 99"/>
                    <a:gd name="T57" fmla="*/ 75 h 98"/>
                    <a:gd name="T58" fmla="*/ 38 w 99"/>
                    <a:gd name="T59" fmla="*/ 66 h 98"/>
                    <a:gd name="T60" fmla="*/ 34 w 99"/>
                    <a:gd name="T61" fmla="*/ 65 h 98"/>
                    <a:gd name="T62" fmla="*/ 22 w 99"/>
                    <a:gd name="T63" fmla="*/ 72 h 98"/>
                    <a:gd name="T64" fmla="*/ 32 w 99"/>
                    <a:gd name="T65" fmla="*/ 58 h 98"/>
                    <a:gd name="T66" fmla="*/ 34 w 99"/>
                    <a:gd name="T67" fmla="*/ 48 h 98"/>
                    <a:gd name="T68" fmla="*/ 29 w 99"/>
                    <a:gd name="T69" fmla="*/ 50 h 98"/>
                    <a:gd name="T70" fmla="*/ 15 w 99"/>
                    <a:gd name="T71" fmla="*/ 67 h 98"/>
                    <a:gd name="T72" fmla="*/ 21 w 99"/>
                    <a:gd name="T73" fmla="*/ 53 h 98"/>
                    <a:gd name="T74" fmla="*/ 31 w 99"/>
                    <a:gd name="T75" fmla="*/ 39 h 98"/>
                    <a:gd name="T76" fmla="*/ 33 w 99"/>
                    <a:gd name="T77" fmla="*/ 38 h 98"/>
                    <a:gd name="T78" fmla="*/ 33 w 99"/>
                    <a:gd name="T79" fmla="*/ 37 h 98"/>
                    <a:gd name="T80" fmla="*/ 35 w 99"/>
                    <a:gd name="T81" fmla="*/ 37 h 98"/>
                    <a:gd name="T82" fmla="*/ 34 w 99"/>
                    <a:gd name="T83" fmla="*/ 43 h 98"/>
                    <a:gd name="T84" fmla="*/ 39 w 99"/>
                    <a:gd name="T85" fmla="*/ 51 h 98"/>
                    <a:gd name="T86" fmla="*/ 38 w 99"/>
                    <a:gd name="T87" fmla="*/ 66 h 98"/>
                    <a:gd name="T88" fmla="*/ 15 w 99"/>
                    <a:gd name="T89" fmla="*/ 19 h 98"/>
                    <a:gd name="T90" fmla="*/ 49 w 99"/>
                    <a:gd name="T91" fmla="*/ 12 h 98"/>
                    <a:gd name="T92" fmla="*/ 51 w 99"/>
                    <a:gd name="T93" fmla="*/ 11 h 98"/>
                    <a:gd name="T94" fmla="*/ 84 w 99"/>
                    <a:gd name="T95" fmla="*/ 19 h 98"/>
                    <a:gd name="T96" fmla="*/ 49 w 99"/>
                    <a:gd name="T97" fmla="*/ 34 h 98"/>
                    <a:gd name="T98" fmla="*/ 15 w 99"/>
                    <a:gd name="T99" fmla="*/ 19 h 98"/>
                    <a:gd name="T100" fmla="*/ 86 w 99"/>
                    <a:gd name="T101" fmla="*/ 56 h 98"/>
                    <a:gd name="T102" fmla="*/ 83 w 99"/>
                    <a:gd name="T103" fmla="*/ 76 h 98"/>
                    <a:gd name="T104" fmla="*/ 47 w 99"/>
                    <a:gd name="T105" fmla="*/ 86 h 98"/>
                    <a:gd name="T106" fmla="*/ 47 w 99"/>
                    <a:gd name="T107" fmla="*/ 71 h 98"/>
                    <a:gd name="T108" fmla="*/ 45 w 99"/>
                    <a:gd name="T109" fmla="*/ 66 h 98"/>
                    <a:gd name="T110" fmla="*/ 52 w 99"/>
                    <a:gd name="T111" fmla="*/ 43 h 98"/>
                    <a:gd name="T112" fmla="*/ 52 w 99"/>
                    <a:gd name="T113" fmla="*/ 40 h 98"/>
                    <a:gd name="T114" fmla="*/ 88 w 99"/>
                    <a:gd name="T115" fmla="*/ 24 h 98"/>
                    <a:gd name="T116" fmla="*/ 89 w 99"/>
                    <a:gd name="T117" fmla="*/ 25 h 98"/>
                    <a:gd name="T118" fmla="*/ 86 w 99"/>
                    <a:gd name="T119" fmla="*/ 5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98">
                      <a:moveTo>
                        <a:pt x="99" y="20"/>
                      </a:moveTo>
                      <a:cubicBezTo>
                        <a:pt x="97" y="19"/>
                        <a:pt x="99" y="16"/>
                        <a:pt x="97" y="14"/>
                      </a:cubicBezTo>
                      <a:cubicBezTo>
                        <a:pt x="95" y="14"/>
                        <a:pt x="95" y="12"/>
                        <a:pt x="93" y="12"/>
                      </a:cubicBezTo>
                      <a:cubicBezTo>
                        <a:pt x="91" y="11"/>
                        <a:pt x="88" y="12"/>
                        <a:pt x="85" y="12"/>
                      </a:cubicBezTo>
                      <a:cubicBezTo>
                        <a:pt x="75" y="11"/>
                        <a:pt x="64" y="5"/>
                        <a:pt x="54" y="4"/>
                      </a:cubicBezTo>
                      <a:cubicBezTo>
                        <a:pt x="52" y="0"/>
                        <a:pt x="45" y="0"/>
                        <a:pt x="42" y="2"/>
                      </a:cubicBezTo>
                      <a:cubicBezTo>
                        <a:pt x="41" y="3"/>
                        <a:pt x="41" y="5"/>
                        <a:pt x="40" y="6"/>
                      </a:cubicBezTo>
                      <a:cubicBezTo>
                        <a:pt x="27" y="9"/>
                        <a:pt x="13" y="11"/>
                        <a:pt x="3" y="17"/>
                      </a:cubicBezTo>
                      <a:cubicBezTo>
                        <a:pt x="8" y="25"/>
                        <a:pt x="5" y="36"/>
                        <a:pt x="5" y="46"/>
                      </a:cubicBezTo>
                      <a:cubicBezTo>
                        <a:pt x="5" y="51"/>
                        <a:pt x="5" y="57"/>
                        <a:pt x="5" y="63"/>
                      </a:cubicBezTo>
                      <a:cubicBezTo>
                        <a:pt x="2" y="62"/>
                        <a:pt x="1" y="64"/>
                        <a:pt x="1" y="66"/>
                      </a:cubicBezTo>
                      <a:cubicBezTo>
                        <a:pt x="0" y="72"/>
                        <a:pt x="15" y="72"/>
                        <a:pt x="15" y="78"/>
                      </a:cubicBezTo>
                      <a:cubicBezTo>
                        <a:pt x="23" y="76"/>
                        <a:pt x="22" y="84"/>
                        <a:pt x="30" y="83"/>
                      </a:cubicBezTo>
                      <a:cubicBezTo>
                        <a:pt x="32" y="86"/>
                        <a:pt x="33" y="90"/>
                        <a:pt x="37" y="91"/>
                      </a:cubicBezTo>
                      <a:cubicBezTo>
                        <a:pt x="36" y="96"/>
                        <a:pt x="40" y="98"/>
                        <a:pt x="44" y="97"/>
                      </a:cubicBezTo>
                      <a:cubicBezTo>
                        <a:pt x="53" y="89"/>
                        <a:pt x="67" y="86"/>
                        <a:pt x="82" y="83"/>
                      </a:cubicBezTo>
                      <a:cubicBezTo>
                        <a:pt x="83" y="85"/>
                        <a:pt x="84" y="87"/>
                        <a:pt x="85" y="88"/>
                      </a:cubicBezTo>
                      <a:cubicBezTo>
                        <a:pt x="87" y="88"/>
                        <a:pt x="88" y="89"/>
                        <a:pt x="91" y="88"/>
                      </a:cubicBezTo>
                      <a:cubicBezTo>
                        <a:pt x="93" y="84"/>
                        <a:pt x="93" y="80"/>
                        <a:pt x="96" y="77"/>
                      </a:cubicBezTo>
                      <a:cubicBezTo>
                        <a:pt x="95" y="74"/>
                        <a:pt x="94" y="72"/>
                        <a:pt x="93" y="70"/>
                      </a:cubicBezTo>
                      <a:cubicBezTo>
                        <a:pt x="93" y="51"/>
                        <a:pt x="94" y="33"/>
                        <a:pt x="99" y="20"/>
                      </a:cubicBezTo>
                      <a:close/>
                      <a:moveTo>
                        <a:pt x="13" y="26"/>
                      </a:moveTo>
                      <a:cubicBezTo>
                        <a:pt x="23" y="32"/>
                        <a:pt x="23" y="32"/>
                        <a:pt x="23" y="32"/>
                      </a:cubicBezTo>
                      <a:cubicBezTo>
                        <a:pt x="15" y="43"/>
                        <a:pt x="15" y="43"/>
                        <a:pt x="15" y="43"/>
                      </a:cubicBezTo>
                      <a:cubicBezTo>
                        <a:pt x="13" y="26"/>
                        <a:pt x="13" y="26"/>
                        <a:pt x="13" y="26"/>
                      </a:cubicBezTo>
                      <a:close/>
                      <a:moveTo>
                        <a:pt x="34" y="75"/>
                      </a:moveTo>
                      <a:cubicBezTo>
                        <a:pt x="34" y="73"/>
                        <a:pt x="36" y="73"/>
                        <a:pt x="36" y="72"/>
                      </a:cubicBezTo>
                      <a:cubicBezTo>
                        <a:pt x="37" y="73"/>
                        <a:pt x="37" y="74"/>
                        <a:pt x="38" y="76"/>
                      </a:cubicBezTo>
                      <a:cubicBezTo>
                        <a:pt x="36" y="76"/>
                        <a:pt x="36" y="75"/>
                        <a:pt x="34" y="75"/>
                      </a:cubicBezTo>
                      <a:close/>
                      <a:moveTo>
                        <a:pt x="38" y="66"/>
                      </a:moveTo>
                      <a:cubicBezTo>
                        <a:pt x="36" y="67"/>
                        <a:pt x="36" y="64"/>
                        <a:pt x="34" y="65"/>
                      </a:cubicBezTo>
                      <a:cubicBezTo>
                        <a:pt x="28" y="65"/>
                        <a:pt x="28" y="74"/>
                        <a:pt x="22" y="72"/>
                      </a:cubicBezTo>
                      <a:cubicBezTo>
                        <a:pt x="25" y="67"/>
                        <a:pt x="28" y="63"/>
                        <a:pt x="32" y="58"/>
                      </a:cubicBezTo>
                      <a:cubicBezTo>
                        <a:pt x="35" y="55"/>
                        <a:pt x="40" y="50"/>
                        <a:pt x="34" y="48"/>
                      </a:cubicBezTo>
                      <a:cubicBezTo>
                        <a:pt x="32" y="47"/>
                        <a:pt x="30" y="49"/>
                        <a:pt x="29" y="50"/>
                      </a:cubicBezTo>
                      <a:cubicBezTo>
                        <a:pt x="23" y="53"/>
                        <a:pt x="19" y="65"/>
                        <a:pt x="15" y="67"/>
                      </a:cubicBezTo>
                      <a:cubicBezTo>
                        <a:pt x="12" y="63"/>
                        <a:pt x="18" y="57"/>
                        <a:pt x="21" y="53"/>
                      </a:cubicBezTo>
                      <a:cubicBezTo>
                        <a:pt x="24" y="48"/>
                        <a:pt x="28" y="44"/>
                        <a:pt x="31" y="39"/>
                      </a:cubicBezTo>
                      <a:cubicBezTo>
                        <a:pt x="31" y="39"/>
                        <a:pt x="33" y="39"/>
                        <a:pt x="33" y="38"/>
                      </a:cubicBezTo>
                      <a:cubicBezTo>
                        <a:pt x="33" y="37"/>
                        <a:pt x="34" y="37"/>
                        <a:pt x="33" y="37"/>
                      </a:cubicBezTo>
                      <a:cubicBezTo>
                        <a:pt x="33" y="35"/>
                        <a:pt x="35" y="36"/>
                        <a:pt x="35" y="37"/>
                      </a:cubicBezTo>
                      <a:cubicBezTo>
                        <a:pt x="35" y="39"/>
                        <a:pt x="33" y="41"/>
                        <a:pt x="34" y="43"/>
                      </a:cubicBezTo>
                      <a:cubicBezTo>
                        <a:pt x="35" y="46"/>
                        <a:pt x="38" y="48"/>
                        <a:pt x="39" y="51"/>
                      </a:cubicBezTo>
                      <a:cubicBezTo>
                        <a:pt x="40" y="56"/>
                        <a:pt x="36" y="59"/>
                        <a:pt x="38" y="66"/>
                      </a:cubicBezTo>
                      <a:close/>
                      <a:moveTo>
                        <a:pt x="15" y="19"/>
                      </a:moveTo>
                      <a:cubicBezTo>
                        <a:pt x="24" y="15"/>
                        <a:pt x="37" y="10"/>
                        <a:pt x="49" y="12"/>
                      </a:cubicBezTo>
                      <a:cubicBezTo>
                        <a:pt x="51" y="13"/>
                        <a:pt x="50" y="11"/>
                        <a:pt x="51" y="11"/>
                      </a:cubicBezTo>
                      <a:cubicBezTo>
                        <a:pt x="62" y="12"/>
                        <a:pt x="73" y="16"/>
                        <a:pt x="84" y="19"/>
                      </a:cubicBezTo>
                      <a:cubicBezTo>
                        <a:pt x="72" y="24"/>
                        <a:pt x="60" y="29"/>
                        <a:pt x="49" y="34"/>
                      </a:cubicBezTo>
                      <a:cubicBezTo>
                        <a:pt x="38" y="30"/>
                        <a:pt x="23" y="27"/>
                        <a:pt x="15" y="19"/>
                      </a:cubicBezTo>
                      <a:close/>
                      <a:moveTo>
                        <a:pt x="86" y="56"/>
                      </a:moveTo>
                      <a:cubicBezTo>
                        <a:pt x="85" y="63"/>
                        <a:pt x="87" y="71"/>
                        <a:pt x="83" y="76"/>
                      </a:cubicBezTo>
                      <a:cubicBezTo>
                        <a:pt x="72" y="80"/>
                        <a:pt x="59" y="82"/>
                        <a:pt x="47" y="86"/>
                      </a:cubicBezTo>
                      <a:cubicBezTo>
                        <a:pt x="42" y="83"/>
                        <a:pt x="47" y="76"/>
                        <a:pt x="47" y="71"/>
                      </a:cubicBezTo>
                      <a:cubicBezTo>
                        <a:pt x="47" y="70"/>
                        <a:pt x="46" y="68"/>
                        <a:pt x="45" y="66"/>
                      </a:cubicBezTo>
                      <a:cubicBezTo>
                        <a:pt x="44" y="58"/>
                        <a:pt x="45" y="48"/>
                        <a:pt x="52" y="43"/>
                      </a:cubicBezTo>
                      <a:cubicBezTo>
                        <a:pt x="51" y="42"/>
                        <a:pt x="51" y="41"/>
                        <a:pt x="52" y="40"/>
                      </a:cubicBezTo>
                      <a:cubicBezTo>
                        <a:pt x="61" y="32"/>
                        <a:pt x="77" y="30"/>
                        <a:pt x="88" y="24"/>
                      </a:cubicBezTo>
                      <a:cubicBezTo>
                        <a:pt x="89" y="24"/>
                        <a:pt x="89" y="24"/>
                        <a:pt x="89" y="25"/>
                      </a:cubicBezTo>
                      <a:cubicBezTo>
                        <a:pt x="90" y="33"/>
                        <a:pt x="87" y="45"/>
                        <a:pt x="86" y="56"/>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17" name="Freeform 18">
                <a:extLst>
                  <a:ext uri="{FF2B5EF4-FFF2-40B4-BE49-F238E27FC236}">
                    <a16:creationId xmlns:a16="http://schemas.microsoft.com/office/drawing/2014/main" id="{0C8B8331-A662-7098-1277-C9B5657FB671}"/>
                  </a:ext>
                </a:extLst>
              </p:cNvPr>
              <p:cNvSpPr>
                <a:spLocks/>
              </p:cNvSpPr>
              <p:nvPr/>
            </p:nvSpPr>
            <p:spPr bwMode="auto">
              <a:xfrm>
                <a:off x="8194257" y="594900"/>
                <a:ext cx="423193" cy="129549"/>
              </a:xfrm>
              <a:custGeom>
                <a:avLst/>
                <a:gdLst>
                  <a:gd name="T0" fmla="*/ 115 w 131"/>
                  <a:gd name="T1" fmla="*/ 1 h 40"/>
                  <a:gd name="T2" fmla="*/ 110 w 131"/>
                  <a:gd name="T3" fmla="*/ 4 h 40"/>
                  <a:gd name="T4" fmla="*/ 119 w 131"/>
                  <a:gd name="T5" fmla="*/ 17 h 40"/>
                  <a:gd name="T6" fmla="*/ 81 w 131"/>
                  <a:gd name="T7" fmla="*/ 13 h 40"/>
                  <a:gd name="T8" fmla="*/ 41 w 131"/>
                  <a:gd name="T9" fmla="*/ 15 h 40"/>
                  <a:gd name="T10" fmla="*/ 7 w 131"/>
                  <a:gd name="T11" fmla="*/ 26 h 40"/>
                  <a:gd name="T12" fmla="*/ 0 w 131"/>
                  <a:gd name="T13" fmla="*/ 31 h 40"/>
                  <a:gd name="T14" fmla="*/ 10 w 131"/>
                  <a:gd name="T15" fmla="*/ 30 h 40"/>
                  <a:gd name="T16" fmla="*/ 88 w 131"/>
                  <a:gd name="T17" fmla="*/ 18 h 40"/>
                  <a:gd name="T18" fmla="*/ 118 w 131"/>
                  <a:gd name="T19" fmla="*/ 24 h 40"/>
                  <a:gd name="T20" fmla="*/ 112 w 131"/>
                  <a:gd name="T21" fmla="*/ 40 h 40"/>
                  <a:gd name="T22" fmla="*/ 126 w 131"/>
                  <a:gd name="T23" fmla="*/ 26 h 40"/>
                  <a:gd name="T24" fmla="*/ 131 w 131"/>
                  <a:gd name="T25" fmla="*/ 20 h 40"/>
                  <a:gd name="T26" fmla="*/ 115 w 131"/>
                  <a:gd name="T27"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40">
                    <a:moveTo>
                      <a:pt x="115" y="1"/>
                    </a:moveTo>
                    <a:cubicBezTo>
                      <a:pt x="112" y="0"/>
                      <a:pt x="110" y="1"/>
                      <a:pt x="110" y="4"/>
                    </a:cubicBezTo>
                    <a:cubicBezTo>
                      <a:pt x="109" y="9"/>
                      <a:pt x="120" y="13"/>
                      <a:pt x="119" y="17"/>
                    </a:cubicBezTo>
                    <a:cubicBezTo>
                      <a:pt x="107" y="16"/>
                      <a:pt x="94" y="14"/>
                      <a:pt x="81" y="13"/>
                    </a:cubicBezTo>
                    <a:cubicBezTo>
                      <a:pt x="68" y="12"/>
                      <a:pt x="53" y="13"/>
                      <a:pt x="41" y="15"/>
                    </a:cubicBezTo>
                    <a:cubicBezTo>
                      <a:pt x="27" y="17"/>
                      <a:pt x="17" y="21"/>
                      <a:pt x="7" y="26"/>
                    </a:cubicBezTo>
                    <a:cubicBezTo>
                      <a:pt x="5" y="27"/>
                      <a:pt x="0" y="28"/>
                      <a:pt x="0" y="31"/>
                    </a:cubicBezTo>
                    <a:cubicBezTo>
                      <a:pt x="0" y="36"/>
                      <a:pt x="9" y="35"/>
                      <a:pt x="10" y="30"/>
                    </a:cubicBezTo>
                    <a:cubicBezTo>
                      <a:pt x="29" y="18"/>
                      <a:pt x="60" y="15"/>
                      <a:pt x="88" y="18"/>
                    </a:cubicBezTo>
                    <a:cubicBezTo>
                      <a:pt x="99" y="19"/>
                      <a:pt x="110" y="20"/>
                      <a:pt x="118" y="24"/>
                    </a:cubicBezTo>
                    <a:cubicBezTo>
                      <a:pt x="115" y="28"/>
                      <a:pt x="101" y="35"/>
                      <a:pt x="112" y="40"/>
                    </a:cubicBezTo>
                    <a:cubicBezTo>
                      <a:pt x="116" y="35"/>
                      <a:pt x="120" y="29"/>
                      <a:pt x="126" y="26"/>
                    </a:cubicBezTo>
                    <a:cubicBezTo>
                      <a:pt x="128" y="24"/>
                      <a:pt x="131" y="24"/>
                      <a:pt x="131" y="20"/>
                    </a:cubicBezTo>
                    <a:cubicBezTo>
                      <a:pt x="125" y="14"/>
                      <a:pt x="119" y="9"/>
                      <a:pt x="115" y="1"/>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96" name="Group 95">
              <a:extLst>
                <a:ext uri="{FF2B5EF4-FFF2-40B4-BE49-F238E27FC236}">
                  <a16:creationId xmlns:a16="http://schemas.microsoft.com/office/drawing/2014/main" id="{D79B5B9B-DC3D-DB47-35A4-8BCE1D1B007F}"/>
                </a:ext>
              </a:extLst>
            </p:cNvPr>
            <p:cNvGrpSpPr/>
            <p:nvPr/>
          </p:nvGrpSpPr>
          <p:grpSpPr>
            <a:xfrm>
              <a:off x="368899" y="2823360"/>
              <a:ext cx="975762" cy="300187"/>
              <a:chOff x="7875372" y="536546"/>
              <a:chExt cx="1085847" cy="300187"/>
            </a:xfrm>
            <a:solidFill>
              <a:srgbClr val="D0D0CE"/>
            </a:solidFill>
          </p:grpSpPr>
          <p:grpSp>
            <p:nvGrpSpPr>
              <p:cNvPr id="108" name="Group 107">
                <a:extLst>
                  <a:ext uri="{FF2B5EF4-FFF2-40B4-BE49-F238E27FC236}">
                    <a16:creationId xmlns:a16="http://schemas.microsoft.com/office/drawing/2014/main" id="{7E7FB0A9-073D-A795-35AA-97B1BF1C3244}"/>
                  </a:ext>
                </a:extLst>
              </p:cNvPr>
              <p:cNvGrpSpPr>
                <a:grpSpLocks noChangeAspect="1"/>
              </p:cNvGrpSpPr>
              <p:nvPr/>
            </p:nvGrpSpPr>
            <p:grpSpPr>
              <a:xfrm>
                <a:off x="7875372" y="536546"/>
                <a:ext cx="1085847" cy="300187"/>
                <a:chOff x="6502017" y="2072427"/>
                <a:chExt cx="3611953" cy="998538"/>
              </a:xfrm>
              <a:grpFill/>
            </p:grpSpPr>
            <p:sp>
              <p:nvSpPr>
                <p:cNvPr id="110" name="Freeform 32">
                  <a:extLst>
                    <a:ext uri="{FF2B5EF4-FFF2-40B4-BE49-F238E27FC236}">
                      <a16:creationId xmlns:a16="http://schemas.microsoft.com/office/drawing/2014/main" id="{A731C8DA-AEEC-1B60-6B3E-1C079FE55535}"/>
                    </a:ext>
                  </a:extLst>
                </p:cNvPr>
                <p:cNvSpPr>
                  <a:spLocks noEditPoints="1"/>
                </p:cNvSpPr>
                <p:nvPr/>
              </p:nvSpPr>
              <p:spPr bwMode="auto">
                <a:xfrm>
                  <a:off x="9229732" y="2072427"/>
                  <a:ext cx="884238" cy="819149"/>
                </a:xfrm>
                <a:custGeom>
                  <a:avLst/>
                  <a:gdLst>
                    <a:gd name="T0" fmla="*/ 92 w 93"/>
                    <a:gd name="T1" fmla="*/ 40 h 86"/>
                    <a:gd name="T2" fmla="*/ 64 w 93"/>
                    <a:gd name="T3" fmla="*/ 12 h 86"/>
                    <a:gd name="T4" fmla="*/ 32 w 93"/>
                    <a:gd name="T5" fmla="*/ 5 h 86"/>
                    <a:gd name="T6" fmla="*/ 31 w 93"/>
                    <a:gd name="T7" fmla="*/ 11 h 86"/>
                    <a:gd name="T8" fmla="*/ 2 w 93"/>
                    <a:gd name="T9" fmla="*/ 51 h 86"/>
                    <a:gd name="T10" fmla="*/ 5 w 93"/>
                    <a:gd name="T11" fmla="*/ 61 h 86"/>
                    <a:gd name="T12" fmla="*/ 10 w 93"/>
                    <a:gd name="T13" fmla="*/ 66 h 86"/>
                    <a:gd name="T14" fmla="*/ 13 w 93"/>
                    <a:gd name="T15" fmla="*/ 72 h 86"/>
                    <a:gd name="T16" fmla="*/ 24 w 93"/>
                    <a:gd name="T17" fmla="*/ 77 h 86"/>
                    <a:gd name="T18" fmla="*/ 41 w 93"/>
                    <a:gd name="T19" fmla="*/ 81 h 86"/>
                    <a:gd name="T20" fmla="*/ 92 w 93"/>
                    <a:gd name="T21" fmla="*/ 54 h 86"/>
                    <a:gd name="T22" fmla="*/ 92 w 93"/>
                    <a:gd name="T23" fmla="*/ 40 h 86"/>
                    <a:gd name="T24" fmla="*/ 64 w 93"/>
                    <a:gd name="T25" fmla="*/ 73 h 86"/>
                    <a:gd name="T26" fmla="*/ 54 w 93"/>
                    <a:gd name="T27" fmla="*/ 71 h 86"/>
                    <a:gd name="T28" fmla="*/ 54 w 93"/>
                    <a:gd name="T29" fmla="*/ 76 h 86"/>
                    <a:gd name="T30" fmla="*/ 52 w 93"/>
                    <a:gd name="T31" fmla="*/ 73 h 86"/>
                    <a:gd name="T32" fmla="*/ 55 w 93"/>
                    <a:gd name="T33" fmla="*/ 65 h 86"/>
                    <a:gd name="T34" fmla="*/ 47 w 93"/>
                    <a:gd name="T35" fmla="*/ 63 h 86"/>
                    <a:gd name="T36" fmla="*/ 45 w 93"/>
                    <a:gd name="T37" fmla="*/ 76 h 86"/>
                    <a:gd name="T38" fmla="*/ 40 w 93"/>
                    <a:gd name="T39" fmla="*/ 75 h 86"/>
                    <a:gd name="T40" fmla="*/ 44 w 93"/>
                    <a:gd name="T41" fmla="*/ 61 h 86"/>
                    <a:gd name="T42" fmla="*/ 38 w 93"/>
                    <a:gd name="T43" fmla="*/ 59 h 86"/>
                    <a:gd name="T44" fmla="*/ 31 w 93"/>
                    <a:gd name="T45" fmla="*/ 72 h 86"/>
                    <a:gd name="T46" fmla="*/ 33 w 93"/>
                    <a:gd name="T47" fmla="*/ 59 h 86"/>
                    <a:gd name="T48" fmla="*/ 36 w 93"/>
                    <a:gd name="T49" fmla="*/ 55 h 86"/>
                    <a:gd name="T50" fmla="*/ 21 w 93"/>
                    <a:gd name="T51" fmla="*/ 67 h 86"/>
                    <a:gd name="T52" fmla="*/ 22 w 93"/>
                    <a:gd name="T53" fmla="*/ 59 h 86"/>
                    <a:gd name="T54" fmla="*/ 30 w 93"/>
                    <a:gd name="T55" fmla="*/ 45 h 86"/>
                    <a:gd name="T56" fmla="*/ 12 w 93"/>
                    <a:gd name="T57" fmla="*/ 56 h 86"/>
                    <a:gd name="T58" fmla="*/ 15 w 93"/>
                    <a:gd name="T59" fmla="*/ 31 h 86"/>
                    <a:gd name="T60" fmla="*/ 28 w 93"/>
                    <a:gd name="T61" fmla="*/ 20 h 86"/>
                    <a:gd name="T62" fmla="*/ 52 w 93"/>
                    <a:gd name="T63" fmla="*/ 12 h 86"/>
                    <a:gd name="T64" fmla="*/ 81 w 93"/>
                    <a:gd name="T65" fmla="*/ 31 h 86"/>
                    <a:gd name="T66" fmla="*/ 87 w 93"/>
                    <a:gd name="T67" fmla="*/ 45 h 86"/>
                    <a:gd name="T68" fmla="*/ 64 w 93"/>
                    <a:gd name="T69"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3" h="86">
                      <a:moveTo>
                        <a:pt x="92" y="40"/>
                      </a:moveTo>
                      <a:cubicBezTo>
                        <a:pt x="88" y="26"/>
                        <a:pt x="76" y="19"/>
                        <a:pt x="64" y="12"/>
                      </a:cubicBezTo>
                      <a:cubicBezTo>
                        <a:pt x="56" y="7"/>
                        <a:pt x="43" y="0"/>
                        <a:pt x="32" y="5"/>
                      </a:cubicBezTo>
                      <a:cubicBezTo>
                        <a:pt x="32" y="7"/>
                        <a:pt x="31" y="9"/>
                        <a:pt x="31" y="11"/>
                      </a:cubicBezTo>
                      <a:cubicBezTo>
                        <a:pt x="17" y="17"/>
                        <a:pt x="0" y="32"/>
                        <a:pt x="2" y="51"/>
                      </a:cubicBezTo>
                      <a:cubicBezTo>
                        <a:pt x="2" y="54"/>
                        <a:pt x="3" y="58"/>
                        <a:pt x="5" y="61"/>
                      </a:cubicBezTo>
                      <a:cubicBezTo>
                        <a:pt x="6" y="63"/>
                        <a:pt x="9" y="63"/>
                        <a:pt x="10" y="66"/>
                      </a:cubicBezTo>
                      <a:cubicBezTo>
                        <a:pt x="11" y="68"/>
                        <a:pt x="11" y="70"/>
                        <a:pt x="13" y="72"/>
                      </a:cubicBezTo>
                      <a:cubicBezTo>
                        <a:pt x="19" y="70"/>
                        <a:pt x="21" y="76"/>
                        <a:pt x="24" y="77"/>
                      </a:cubicBezTo>
                      <a:cubicBezTo>
                        <a:pt x="28" y="79"/>
                        <a:pt x="37" y="81"/>
                        <a:pt x="41" y="81"/>
                      </a:cubicBezTo>
                      <a:cubicBezTo>
                        <a:pt x="68" y="86"/>
                        <a:pt x="84" y="69"/>
                        <a:pt x="92" y="54"/>
                      </a:cubicBezTo>
                      <a:cubicBezTo>
                        <a:pt x="92" y="49"/>
                        <a:pt x="93" y="44"/>
                        <a:pt x="92" y="40"/>
                      </a:cubicBezTo>
                      <a:close/>
                      <a:moveTo>
                        <a:pt x="64" y="73"/>
                      </a:moveTo>
                      <a:cubicBezTo>
                        <a:pt x="63" y="70"/>
                        <a:pt x="57" y="67"/>
                        <a:pt x="54" y="71"/>
                      </a:cubicBezTo>
                      <a:cubicBezTo>
                        <a:pt x="53" y="73"/>
                        <a:pt x="55" y="75"/>
                        <a:pt x="54" y="76"/>
                      </a:cubicBezTo>
                      <a:cubicBezTo>
                        <a:pt x="54" y="75"/>
                        <a:pt x="52" y="75"/>
                        <a:pt x="52" y="73"/>
                      </a:cubicBezTo>
                      <a:cubicBezTo>
                        <a:pt x="52" y="69"/>
                        <a:pt x="56" y="68"/>
                        <a:pt x="55" y="65"/>
                      </a:cubicBezTo>
                      <a:cubicBezTo>
                        <a:pt x="54" y="62"/>
                        <a:pt x="48" y="63"/>
                        <a:pt x="47" y="63"/>
                      </a:cubicBezTo>
                      <a:cubicBezTo>
                        <a:pt x="43" y="65"/>
                        <a:pt x="44" y="71"/>
                        <a:pt x="45" y="76"/>
                      </a:cubicBezTo>
                      <a:cubicBezTo>
                        <a:pt x="43" y="76"/>
                        <a:pt x="41" y="76"/>
                        <a:pt x="40" y="75"/>
                      </a:cubicBezTo>
                      <a:cubicBezTo>
                        <a:pt x="36" y="70"/>
                        <a:pt x="45" y="66"/>
                        <a:pt x="44" y="61"/>
                      </a:cubicBezTo>
                      <a:cubicBezTo>
                        <a:pt x="43" y="59"/>
                        <a:pt x="40" y="58"/>
                        <a:pt x="38" y="59"/>
                      </a:cubicBezTo>
                      <a:cubicBezTo>
                        <a:pt x="33" y="59"/>
                        <a:pt x="31" y="68"/>
                        <a:pt x="31" y="72"/>
                      </a:cubicBezTo>
                      <a:cubicBezTo>
                        <a:pt x="27" y="70"/>
                        <a:pt x="33" y="63"/>
                        <a:pt x="33" y="59"/>
                      </a:cubicBezTo>
                      <a:cubicBezTo>
                        <a:pt x="34" y="58"/>
                        <a:pt x="35" y="57"/>
                        <a:pt x="36" y="55"/>
                      </a:cubicBezTo>
                      <a:cubicBezTo>
                        <a:pt x="29" y="41"/>
                        <a:pt x="24" y="62"/>
                        <a:pt x="21" y="67"/>
                      </a:cubicBezTo>
                      <a:cubicBezTo>
                        <a:pt x="17" y="66"/>
                        <a:pt x="20" y="62"/>
                        <a:pt x="22" y="59"/>
                      </a:cubicBezTo>
                      <a:cubicBezTo>
                        <a:pt x="24" y="54"/>
                        <a:pt x="27" y="48"/>
                        <a:pt x="30" y="45"/>
                      </a:cubicBezTo>
                      <a:cubicBezTo>
                        <a:pt x="22" y="32"/>
                        <a:pt x="18" y="52"/>
                        <a:pt x="12" y="56"/>
                      </a:cubicBezTo>
                      <a:cubicBezTo>
                        <a:pt x="11" y="46"/>
                        <a:pt x="28" y="36"/>
                        <a:pt x="15" y="31"/>
                      </a:cubicBezTo>
                      <a:cubicBezTo>
                        <a:pt x="17" y="26"/>
                        <a:pt x="22" y="24"/>
                        <a:pt x="28" y="20"/>
                      </a:cubicBezTo>
                      <a:cubicBezTo>
                        <a:pt x="34" y="17"/>
                        <a:pt x="41" y="11"/>
                        <a:pt x="52" y="12"/>
                      </a:cubicBezTo>
                      <a:cubicBezTo>
                        <a:pt x="59" y="13"/>
                        <a:pt x="76" y="24"/>
                        <a:pt x="81" y="31"/>
                      </a:cubicBezTo>
                      <a:cubicBezTo>
                        <a:pt x="83" y="33"/>
                        <a:pt x="87" y="41"/>
                        <a:pt x="87" y="45"/>
                      </a:cubicBezTo>
                      <a:cubicBezTo>
                        <a:pt x="88" y="60"/>
                        <a:pt x="75" y="67"/>
                        <a:pt x="64"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5" name="Freeform 34">
                  <a:extLst>
                    <a:ext uri="{FF2B5EF4-FFF2-40B4-BE49-F238E27FC236}">
                      <a16:creationId xmlns:a16="http://schemas.microsoft.com/office/drawing/2014/main" id="{76B49140-D3D6-3F40-AE86-48E94650E781}"/>
                    </a:ext>
                  </a:extLst>
                </p:cNvPr>
                <p:cNvSpPr>
                  <a:spLocks noEditPoints="1"/>
                </p:cNvSpPr>
                <p:nvPr/>
              </p:nvSpPr>
              <p:spPr bwMode="auto">
                <a:xfrm>
                  <a:off x="6502017" y="2139102"/>
                  <a:ext cx="941388" cy="931863"/>
                </a:xfrm>
                <a:custGeom>
                  <a:avLst/>
                  <a:gdLst>
                    <a:gd name="T0" fmla="*/ 99 w 99"/>
                    <a:gd name="T1" fmla="*/ 20 h 98"/>
                    <a:gd name="T2" fmla="*/ 97 w 99"/>
                    <a:gd name="T3" fmla="*/ 14 h 98"/>
                    <a:gd name="T4" fmla="*/ 93 w 99"/>
                    <a:gd name="T5" fmla="*/ 12 h 98"/>
                    <a:gd name="T6" fmla="*/ 85 w 99"/>
                    <a:gd name="T7" fmla="*/ 12 h 98"/>
                    <a:gd name="T8" fmla="*/ 54 w 99"/>
                    <a:gd name="T9" fmla="*/ 4 h 98"/>
                    <a:gd name="T10" fmla="*/ 42 w 99"/>
                    <a:gd name="T11" fmla="*/ 2 h 98"/>
                    <a:gd name="T12" fmla="*/ 40 w 99"/>
                    <a:gd name="T13" fmla="*/ 6 h 98"/>
                    <a:gd name="T14" fmla="*/ 3 w 99"/>
                    <a:gd name="T15" fmla="*/ 17 h 98"/>
                    <a:gd name="T16" fmla="*/ 5 w 99"/>
                    <a:gd name="T17" fmla="*/ 46 h 98"/>
                    <a:gd name="T18" fmla="*/ 5 w 99"/>
                    <a:gd name="T19" fmla="*/ 63 h 98"/>
                    <a:gd name="T20" fmla="*/ 1 w 99"/>
                    <a:gd name="T21" fmla="*/ 66 h 98"/>
                    <a:gd name="T22" fmla="*/ 15 w 99"/>
                    <a:gd name="T23" fmla="*/ 78 h 98"/>
                    <a:gd name="T24" fmla="*/ 30 w 99"/>
                    <a:gd name="T25" fmla="*/ 83 h 98"/>
                    <a:gd name="T26" fmla="*/ 37 w 99"/>
                    <a:gd name="T27" fmla="*/ 91 h 98"/>
                    <a:gd name="T28" fmla="*/ 44 w 99"/>
                    <a:gd name="T29" fmla="*/ 97 h 98"/>
                    <a:gd name="T30" fmla="*/ 82 w 99"/>
                    <a:gd name="T31" fmla="*/ 83 h 98"/>
                    <a:gd name="T32" fmla="*/ 85 w 99"/>
                    <a:gd name="T33" fmla="*/ 88 h 98"/>
                    <a:gd name="T34" fmla="*/ 91 w 99"/>
                    <a:gd name="T35" fmla="*/ 88 h 98"/>
                    <a:gd name="T36" fmla="*/ 96 w 99"/>
                    <a:gd name="T37" fmla="*/ 77 h 98"/>
                    <a:gd name="T38" fmla="*/ 93 w 99"/>
                    <a:gd name="T39" fmla="*/ 70 h 98"/>
                    <a:gd name="T40" fmla="*/ 99 w 99"/>
                    <a:gd name="T41" fmla="*/ 20 h 98"/>
                    <a:gd name="T42" fmla="*/ 13 w 99"/>
                    <a:gd name="T43" fmla="*/ 26 h 98"/>
                    <a:gd name="T44" fmla="*/ 23 w 99"/>
                    <a:gd name="T45" fmla="*/ 32 h 98"/>
                    <a:gd name="T46" fmla="*/ 15 w 99"/>
                    <a:gd name="T47" fmla="*/ 43 h 98"/>
                    <a:gd name="T48" fmla="*/ 13 w 99"/>
                    <a:gd name="T49" fmla="*/ 26 h 98"/>
                    <a:gd name="T50" fmla="*/ 34 w 99"/>
                    <a:gd name="T51" fmla="*/ 75 h 98"/>
                    <a:gd name="T52" fmla="*/ 36 w 99"/>
                    <a:gd name="T53" fmla="*/ 72 h 98"/>
                    <a:gd name="T54" fmla="*/ 38 w 99"/>
                    <a:gd name="T55" fmla="*/ 76 h 98"/>
                    <a:gd name="T56" fmla="*/ 34 w 99"/>
                    <a:gd name="T57" fmla="*/ 75 h 98"/>
                    <a:gd name="T58" fmla="*/ 38 w 99"/>
                    <a:gd name="T59" fmla="*/ 66 h 98"/>
                    <a:gd name="T60" fmla="*/ 34 w 99"/>
                    <a:gd name="T61" fmla="*/ 65 h 98"/>
                    <a:gd name="T62" fmla="*/ 22 w 99"/>
                    <a:gd name="T63" fmla="*/ 72 h 98"/>
                    <a:gd name="T64" fmla="*/ 32 w 99"/>
                    <a:gd name="T65" fmla="*/ 58 h 98"/>
                    <a:gd name="T66" fmla="*/ 34 w 99"/>
                    <a:gd name="T67" fmla="*/ 48 h 98"/>
                    <a:gd name="T68" fmla="*/ 29 w 99"/>
                    <a:gd name="T69" fmla="*/ 50 h 98"/>
                    <a:gd name="T70" fmla="*/ 15 w 99"/>
                    <a:gd name="T71" fmla="*/ 67 h 98"/>
                    <a:gd name="T72" fmla="*/ 21 w 99"/>
                    <a:gd name="T73" fmla="*/ 53 h 98"/>
                    <a:gd name="T74" fmla="*/ 31 w 99"/>
                    <a:gd name="T75" fmla="*/ 39 h 98"/>
                    <a:gd name="T76" fmla="*/ 33 w 99"/>
                    <a:gd name="T77" fmla="*/ 38 h 98"/>
                    <a:gd name="T78" fmla="*/ 33 w 99"/>
                    <a:gd name="T79" fmla="*/ 37 h 98"/>
                    <a:gd name="T80" fmla="*/ 35 w 99"/>
                    <a:gd name="T81" fmla="*/ 37 h 98"/>
                    <a:gd name="T82" fmla="*/ 34 w 99"/>
                    <a:gd name="T83" fmla="*/ 43 h 98"/>
                    <a:gd name="T84" fmla="*/ 39 w 99"/>
                    <a:gd name="T85" fmla="*/ 51 h 98"/>
                    <a:gd name="T86" fmla="*/ 38 w 99"/>
                    <a:gd name="T87" fmla="*/ 66 h 98"/>
                    <a:gd name="T88" fmla="*/ 15 w 99"/>
                    <a:gd name="T89" fmla="*/ 19 h 98"/>
                    <a:gd name="T90" fmla="*/ 49 w 99"/>
                    <a:gd name="T91" fmla="*/ 12 h 98"/>
                    <a:gd name="T92" fmla="*/ 51 w 99"/>
                    <a:gd name="T93" fmla="*/ 11 h 98"/>
                    <a:gd name="T94" fmla="*/ 84 w 99"/>
                    <a:gd name="T95" fmla="*/ 19 h 98"/>
                    <a:gd name="T96" fmla="*/ 49 w 99"/>
                    <a:gd name="T97" fmla="*/ 34 h 98"/>
                    <a:gd name="T98" fmla="*/ 15 w 99"/>
                    <a:gd name="T99" fmla="*/ 19 h 98"/>
                    <a:gd name="T100" fmla="*/ 86 w 99"/>
                    <a:gd name="T101" fmla="*/ 56 h 98"/>
                    <a:gd name="T102" fmla="*/ 83 w 99"/>
                    <a:gd name="T103" fmla="*/ 76 h 98"/>
                    <a:gd name="T104" fmla="*/ 47 w 99"/>
                    <a:gd name="T105" fmla="*/ 86 h 98"/>
                    <a:gd name="T106" fmla="*/ 47 w 99"/>
                    <a:gd name="T107" fmla="*/ 71 h 98"/>
                    <a:gd name="T108" fmla="*/ 45 w 99"/>
                    <a:gd name="T109" fmla="*/ 66 h 98"/>
                    <a:gd name="T110" fmla="*/ 52 w 99"/>
                    <a:gd name="T111" fmla="*/ 43 h 98"/>
                    <a:gd name="T112" fmla="*/ 52 w 99"/>
                    <a:gd name="T113" fmla="*/ 40 h 98"/>
                    <a:gd name="T114" fmla="*/ 88 w 99"/>
                    <a:gd name="T115" fmla="*/ 24 h 98"/>
                    <a:gd name="T116" fmla="*/ 89 w 99"/>
                    <a:gd name="T117" fmla="*/ 25 h 98"/>
                    <a:gd name="T118" fmla="*/ 86 w 99"/>
                    <a:gd name="T119" fmla="*/ 5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98">
                      <a:moveTo>
                        <a:pt x="99" y="20"/>
                      </a:moveTo>
                      <a:cubicBezTo>
                        <a:pt x="97" y="19"/>
                        <a:pt x="99" y="16"/>
                        <a:pt x="97" y="14"/>
                      </a:cubicBezTo>
                      <a:cubicBezTo>
                        <a:pt x="95" y="14"/>
                        <a:pt x="95" y="12"/>
                        <a:pt x="93" y="12"/>
                      </a:cubicBezTo>
                      <a:cubicBezTo>
                        <a:pt x="91" y="11"/>
                        <a:pt x="88" y="12"/>
                        <a:pt x="85" y="12"/>
                      </a:cubicBezTo>
                      <a:cubicBezTo>
                        <a:pt x="75" y="11"/>
                        <a:pt x="64" y="5"/>
                        <a:pt x="54" y="4"/>
                      </a:cubicBezTo>
                      <a:cubicBezTo>
                        <a:pt x="52" y="0"/>
                        <a:pt x="45" y="0"/>
                        <a:pt x="42" y="2"/>
                      </a:cubicBezTo>
                      <a:cubicBezTo>
                        <a:pt x="41" y="3"/>
                        <a:pt x="41" y="5"/>
                        <a:pt x="40" y="6"/>
                      </a:cubicBezTo>
                      <a:cubicBezTo>
                        <a:pt x="27" y="9"/>
                        <a:pt x="13" y="11"/>
                        <a:pt x="3" y="17"/>
                      </a:cubicBezTo>
                      <a:cubicBezTo>
                        <a:pt x="8" y="25"/>
                        <a:pt x="5" y="36"/>
                        <a:pt x="5" y="46"/>
                      </a:cubicBezTo>
                      <a:cubicBezTo>
                        <a:pt x="5" y="51"/>
                        <a:pt x="5" y="57"/>
                        <a:pt x="5" y="63"/>
                      </a:cubicBezTo>
                      <a:cubicBezTo>
                        <a:pt x="2" y="62"/>
                        <a:pt x="1" y="64"/>
                        <a:pt x="1" y="66"/>
                      </a:cubicBezTo>
                      <a:cubicBezTo>
                        <a:pt x="0" y="72"/>
                        <a:pt x="15" y="72"/>
                        <a:pt x="15" y="78"/>
                      </a:cubicBezTo>
                      <a:cubicBezTo>
                        <a:pt x="23" y="76"/>
                        <a:pt x="22" y="84"/>
                        <a:pt x="30" y="83"/>
                      </a:cubicBezTo>
                      <a:cubicBezTo>
                        <a:pt x="32" y="86"/>
                        <a:pt x="33" y="90"/>
                        <a:pt x="37" y="91"/>
                      </a:cubicBezTo>
                      <a:cubicBezTo>
                        <a:pt x="36" y="96"/>
                        <a:pt x="40" y="98"/>
                        <a:pt x="44" y="97"/>
                      </a:cubicBezTo>
                      <a:cubicBezTo>
                        <a:pt x="53" y="89"/>
                        <a:pt x="67" y="86"/>
                        <a:pt x="82" y="83"/>
                      </a:cubicBezTo>
                      <a:cubicBezTo>
                        <a:pt x="83" y="85"/>
                        <a:pt x="84" y="87"/>
                        <a:pt x="85" y="88"/>
                      </a:cubicBezTo>
                      <a:cubicBezTo>
                        <a:pt x="87" y="88"/>
                        <a:pt x="88" y="89"/>
                        <a:pt x="91" y="88"/>
                      </a:cubicBezTo>
                      <a:cubicBezTo>
                        <a:pt x="93" y="84"/>
                        <a:pt x="93" y="80"/>
                        <a:pt x="96" y="77"/>
                      </a:cubicBezTo>
                      <a:cubicBezTo>
                        <a:pt x="95" y="74"/>
                        <a:pt x="94" y="72"/>
                        <a:pt x="93" y="70"/>
                      </a:cubicBezTo>
                      <a:cubicBezTo>
                        <a:pt x="93" y="51"/>
                        <a:pt x="94" y="33"/>
                        <a:pt x="99" y="20"/>
                      </a:cubicBezTo>
                      <a:close/>
                      <a:moveTo>
                        <a:pt x="13" y="26"/>
                      </a:moveTo>
                      <a:cubicBezTo>
                        <a:pt x="23" y="32"/>
                        <a:pt x="23" y="32"/>
                        <a:pt x="23" y="32"/>
                      </a:cubicBezTo>
                      <a:cubicBezTo>
                        <a:pt x="15" y="43"/>
                        <a:pt x="15" y="43"/>
                        <a:pt x="15" y="43"/>
                      </a:cubicBezTo>
                      <a:cubicBezTo>
                        <a:pt x="13" y="26"/>
                        <a:pt x="13" y="26"/>
                        <a:pt x="13" y="26"/>
                      </a:cubicBezTo>
                      <a:close/>
                      <a:moveTo>
                        <a:pt x="34" y="75"/>
                      </a:moveTo>
                      <a:cubicBezTo>
                        <a:pt x="34" y="73"/>
                        <a:pt x="36" y="73"/>
                        <a:pt x="36" y="72"/>
                      </a:cubicBezTo>
                      <a:cubicBezTo>
                        <a:pt x="37" y="73"/>
                        <a:pt x="37" y="74"/>
                        <a:pt x="38" y="76"/>
                      </a:cubicBezTo>
                      <a:cubicBezTo>
                        <a:pt x="36" y="76"/>
                        <a:pt x="36" y="75"/>
                        <a:pt x="34" y="75"/>
                      </a:cubicBezTo>
                      <a:close/>
                      <a:moveTo>
                        <a:pt x="38" y="66"/>
                      </a:moveTo>
                      <a:cubicBezTo>
                        <a:pt x="36" y="67"/>
                        <a:pt x="36" y="64"/>
                        <a:pt x="34" y="65"/>
                      </a:cubicBezTo>
                      <a:cubicBezTo>
                        <a:pt x="28" y="65"/>
                        <a:pt x="28" y="74"/>
                        <a:pt x="22" y="72"/>
                      </a:cubicBezTo>
                      <a:cubicBezTo>
                        <a:pt x="25" y="67"/>
                        <a:pt x="28" y="63"/>
                        <a:pt x="32" y="58"/>
                      </a:cubicBezTo>
                      <a:cubicBezTo>
                        <a:pt x="35" y="55"/>
                        <a:pt x="40" y="50"/>
                        <a:pt x="34" y="48"/>
                      </a:cubicBezTo>
                      <a:cubicBezTo>
                        <a:pt x="32" y="47"/>
                        <a:pt x="30" y="49"/>
                        <a:pt x="29" y="50"/>
                      </a:cubicBezTo>
                      <a:cubicBezTo>
                        <a:pt x="23" y="53"/>
                        <a:pt x="19" y="65"/>
                        <a:pt x="15" y="67"/>
                      </a:cubicBezTo>
                      <a:cubicBezTo>
                        <a:pt x="12" y="63"/>
                        <a:pt x="18" y="57"/>
                        <a:pt x="21" y="53"/>
                      </a:cubicBezTo>
                      <a:cubicBezTo>
                        <a:pt x="24" y="48"/>
                        <a:pt x="28" y="44"/>
                        <a:pt x="31" y="39"/>
                      </a:cubicBezTo>
                      <a:cubicBezTo>
                        <a:pt x="31" y="39"/>
                        <a:pt x="33" y="39"/>
                        <a:pt x="33" y="38"/>
                      </a:cubicBezTo>
                      <a:cubicBezTo>
                        <a:pt x="33" y="37"/>
                        <a:pt x="34" y="37"/>
                        <a:pt x="33" y="37"/>
                      </a:cubicBezTo>
                      <a:cubicBezTo>
                        <a:pt x="33" y="35"/>
                        <a:pt x="35" y="36"/>
                        <a:pt x="35" y="37"/>
                      </a:cubicBezTo>
                      <a:cubicBezTo>
                        <a:pt x="35" y="39"/>
                        <a:pt x="33" y="41"/>
                        <a:pt x="34" y="43"/>
                      </a:cubicBezTo>
                      <a:cubicBezTo>
                        <a:pt x="35" y="46"/>
                        <a:pt x="38" y="48"/>
                        <a:pt x="39" y="51"/>
                      </a:cubicBezTo>
                      <a:cubicBezTo>
                        <a:pt x="40" y="56"/>
                        <a:pt x="36" y="59"/>
                        <a:pt x="38" y="66"/>
                      </a:cubicBezTo>
                      <a:close/>
                      <a:moveTo>
                        <a:pt x="15" y="19"/>
                      </a:moveTo>
                      <a:cubicBezTo>
                        <a:pt x="24" y="15"/>
                        <a:pt x="37" y="10"/>
                        <a:pt x="49" y="12"/>
                      </a:cubicBezTo>
                      <a:cubicBezTo>
                        <a:pt x="51" y="13"/>
                        <a:pt x="50" y="11"/>
                        <a:pt x="51" y="11"/>
                      </a:cubicBezTo>
                      <a:cubicBezTo>
                        <a:pt x="62" y="12"/>
                        <a:pt x="73" y="16"/>
                        <a:pt x="84" y="19"/>
                      </a:cubicBezTo>
                      <a:cubicBezTo>
                        <a:pt x="72" y="24"/>
                        <a:pt x="60" y="29"/>
                        <a:pt x="49" y="34"/>
                      </a:cubicBezTo>
                      <a:cubicBezTo>
                        <a:pt x="38" y="30"/>
                        <a:pt x="23" y="27"/>
                        <a:pt x="15" y="19"/>
                      </a:cubicBezTo>
                      <a:close/>
                      <a:moveTo>
                        <a:pt x="86" y="56"/>
                      </a:moveTo>
                      <a:cubicBezTo>
                        <a:pt x="85" y="63"/>
                        <a:pt x="87" y="71"/>
                        <a:pt x="83" y="76"/>
                      </a:cubicBezTo>
                      <a:cubicBezTo>
                        <a:pt x="72" y="80"/>
                        <a:pt x="59" y="82"/>
                        <a:pt x="47" y="86"/>
                      </a:cubicBezTo>
                      <a:cubicBezTo>
                        <a:pt x="42" y="83"/>
                        <a:pt x="47" y="76"/>
                        <a:pt x="47" y="71"/>
                      </a:cubicBezTo>
                      <a:cubicBezTo>
                        <a:pt x="47" y="70"/>
                        <a:pt x="46" y="68"/>
                        <a:pt x="45" y="66"/>
                      </a:cubicBezTo>
                      <a:cubicBezTo>
                        <a:pt x="44" y="58"/>
                        <a:pt x="45" y="48"/>
                        <a:pt x="52" y="43"/>
                      </a:cubicBezTo>
                      <a:cubicBezTo>
                        <a:pt x="51" y="42"/>
                        <a:pt x="51" y="41"/>
                        <a:pt x="52" y="40"/>
                      </a:cubicBezTo>
                      <a:cubicBezTo>
                        <a:pt x="61" y="32"/>
                        <a:pt x="77" y="30"/>
                        <a:pt x="88" y="24"/>
                      </a:cubicBezTo>
                      <a:cubicBezTo>
                        <a:pt x="89" y="24"/>
                        <a:pt x="89" y="24"/>
                        <a:pt x="89" y="25"/>
                      </a:cubicBezTo>
                      <a:cubicBezTo>
                        <a:pt x="90" y="33"/>
                        <a:pt x="87" y="45"/>
                        <a:pt x="86"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09" name="Freeform 18">
                <a:extLst>
                  <a:ext uri="{FF2B5EF4-FFF2-40B4-BE49-F238E27FC236}">
                    <a16:creationId xmlns:a16="http://schemas.microsoft.com/office/drawing/2014/main" id="{E224B4FD-1029-38D6-9E44-3E2D22D5F6BE}"/>
                  </a:ext>
                </a:extLst>
              </p:cNvPr>
              <p:cNvSpPr>
                <a:spLocks/>
              </p:cNvSpPr>
              <p:nvPr/>
            </p:nvSpPr>
            <p:spPr bwMode="auto">
              <a:xfrm>
                <a:off x="8194257" y="594900"/>
                <a:ext cx="423193" cy="129549"/>
              </a:xfrm>
              <a:custGeom>
                <a:avLst/>
                <a:gdLst>
                  <a:gd name="T0" fmla="*/ 115 w 131"/>
                  <a:gd name="T1" fmla="*/ 1 h 40"/>
                  <a:gd name="T2" fmla="*/ 110 w 131"/>
                  <a:gd name="T3" fmla="*/ 4 h 40"/>
                  <a:gd name="T4" fmla="*/ 119 w 131"/>
                  <a:gd name="T5" fmla="*/ 17 h 40"/>
                  <a:gd name="T6" fmla="*/ 81 w 131"/>
                  <a:gd name="T7" fmla="*/ 13 h 40"/>
                  <a:gd name="T8" fmla="*/ 41 w 131"/>
                  <a:gd name="T9" fmla="*/ 15 h 40"/>
                  <a:gd name="T10" fmla="*/ 7 w 131"/>
                  <a:gd name="T11" fmla="*/ 26 h 40"/>
                  <a:gd name="T12" fmla="*/ 0 w 131"/>
                  <a:gd name="T13" fmla="*/ 31 h 40"/>
                  <a:gd name="T14" fmla="*/ 10 w 131"/>
                  <a:gd name="T15" fmla="*/ 30 h 40"/>
                  <a:gd name="T16" fmla="*/ 88 w 131"/>
                  <a:gd name="T17" fmla="*/ 18 h 40"/>
                  <a:gd name="T18" fmla="*/ 118 w 131"/>
                  <a:gd name="T19" fmla="*/ 24 h 40"/>
                  <a:gd name="T20" fmla="*/ 112 w 131"/>
                  <a:gd name="T21" fmla="*/ 40 h 40"/>
                  <a:gd name="T22" fmla="*/ 126 w 131"/>
                  <a:gd name="T23" fmla="*/ 26 h 40"/>
                  <a:gd name="T24" fmla="*/ 131 w 131"/>
                  <a:gd name="T25" fmla="*/ 20 h 40"/>
                  <a:gd name="T26" fmla="*/ 115 w 131"/>
                  <a:gd name="T27"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40">
                    <a:moveTo>
                      <a:pt x="115" y="1"/>
                    </a:moveTo>
                    <a:cubicBezTo>
                      <a:pt x="112" y="0"/>
                      <a:pt x="110" y="1"/>
                      <a:pt x="110" y="4"/>
                    </a:cubicBezTo>
                    <a:cubicBezTo>
                      <a:pt x="109" y="9"/>
                      <a:pt x="120" y="13"/>
                      <a:pt x="119" y="17"/>
                    </a:cubicBezTo>
                    <a:cubicBezTo>
                      <a:pt x="107" y="16"/>
                      <a:pt x="94" y="14"/>
                      <a:pt x="81" y="13"/>
                    </a:cubicBezTo>
                    <a:cubicBezTo>
                      <a:pt x="68" y="12"/>
                      <a:pt x="53" y="13"/>
                      <a:pt x="41" y="15"/>
                    </a:cubicBezTo>
                    <a:cubicBezTo>
                      <a:pt x="27" y="17"/>
                      <a:pt x="17" y="21"/>
                      <a:pt x="7" y="26"/>
                    </a:cubicBezTo>
                    <a:cubicBezTo>
                      <a:pt x="5" y="27"/>
                      <a:pt x="0" y="28"/>
                      <a:pt x="0" y="31"/>
                    </a:cubicBezTo>
                    <a:cubicBezTo>
                      <a:pt x="0" y="36"/>
                      <a:pt x="9" y="35"/>
                      <a:pt x="10" y="30"/>
                    </a:cubicBezTo>
                    <a:cubicBezTo>
                      <a:pt x="29" y="18"/>
                      <a:pt x="60" y="15"/>
                      <a:pt x="88" y="18"/>
                    </a:cubicBezTo>
                    <a:cubicBezTo>
                      <a:pt x="99" y="19"/>
                      <a:pt x="110" y="20"/>
                      <a:pt x="118" y="24"/>
                    </a:cubicBezTo>
                    <a:cubicBezTo>
                      <a:pt x="115" y="28"/>
                      <a:pt x="101" y="35"/>
                      <a:pt x="112" y="40"/>
                    </a:cubicBezTo>
                    <a:cubicBezTo>
                      <a:pt x="116" y="35"/>
                      <a:pt x="120" y="29"/>
                      <a:pt x="126" y="26"/>
                    </a:cubicBezTo>
                    <a:cubicBezTo>
                      <a:pt x="128" y="24"/>
                      <a:pt x="131" y="24"/>
                      <a:pt x="131" y="20"/>
                    </a:cubicBezTo>
                    <a:cubicBezTo>
                      <a:pt x="125" y="14"/>
                      <a:pt x="119" y="9"/>
                      <a:pt x="1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97" name="Group 96">
              <a:extLst>
                <a:ext uri="{FF2B5EF4-FFF2-40B4-BE49-F238E27FC236}">
                  <a16:creationId xmlns:a16="http://schemas.microsoft.com/office/drawing/2014/main" id="{308E3D55-1BAA-88DD-C7D6-9AC38735D3E1}"/>
                </a:ext>
              </a:extLst>
            </p:cNvPr>
            <p:cNvGrpSpPr/>
            <p:nvPr/>
          </p:nvGrpSpPr>
          <p:grpSpPr>
            <a:xfrm>
              <a:off x="3780092" y="2823360"/>
              <a:ext cx="975762" cy="300187"/>
              <a:chOff x="7875372" y="536546"/>
              <a:chExt cx="1085847" cy="300187"/>
            </a:xfrm>
            <a:solidFill>
              <a:srgbClr val="D0D0CE"/>
            </a:solidFill>
          </p:grpSpPr>
          <p:grpSp>
            <p:nvGrpSpPr>
              <p:cNvPr id="103" name="Group 102">
                <a:extLst>
                  <a:ext uri="{FF2B5EF4-FFF2-40B4-BE49-F238E27FC236}">
                    <a16:creationId xmlns:a16="http://schemas.microsoft.com/office/drawing/2014/main" id="{CA83C9F9-76AB-2B42-46FD-DBC1C60B841C}"/>
                  </a:ext>
                </a:extLst>
              </p:cNvPr>
              <p:cNvGrpSpPr>
                <a:grpSpLocks noChangeAspect="1"/>
              </p:cNvGrpSpPr>
              <p:nvPr/>
            </p:nvGrpSpPr>
            <p:grpSpPr>
              <a:xfrm>
                <a:off x="7875372" y="536546"/>
                <a:ext cx="1085847" cy="300187"/>
                <a:chOff x="6502017" y="2072427"/>
                <a:chExt cx="3611953" cy="998538"/>
              </a:xfrm>
              <a:grpFill/>
            </p:grpSpPr>
            <p:sp>
              <p:nvSpPr>
                <p:cNvPr id="105" name="Freeform 32">
                  <a:extLst>
                    <a:ext uri="{FF2B5EF4-FFF2-40B4-BE49-F238E27FC236}">
                      <a16:creationId xmlns:a16="http://schemas.microsoft.com/office/drawing/2014/main" id="{683074DC-8423-20B3-DDEC-A912ADFCFC23}"/>
                    </a:ext>
                  </a:extLst>
                </p:cNvPr>
                <p:cNvSpPr>
                  <a:spLocks noEditPoints="1"/>
                </p:cNvSpPr>
                <p:nvPr/>
              </p:nvSpPr>
              <p:spPr bwMode="auto">
                <a:xfrm>
                  <a:off x="9229732" y="2072427"/>
                  <a:ext cx="884238" cy="819149"/>
                </a:xfrm>
                <a:custGeom>
                  <a:avLst/>
                  <a:gdLst>
                    <a:gd name="T0" fmla="*/ 92 w 93"/>
                    <a:gd name="T1" fmla="*/ 40 h 86"/>
                    <a:gd name="T2" fmla="*/ 64 w 93"/>
                    <a:gd name="T3" fmla="*/ 12 h 86"/>
                    <a:gd name="T4" fmla="*/ 32 w 93"/>
                    <a:gd name="T5" fmla="*/ 5 h 86"/>
                    <a:gd name="T6" fmla="*/ 31 w 93"/>
                    <a:gd name="T7" fmla="*/ 11 h 86"/>
                    <a:gd name="T8" fmla="*/ 2 w 93"/>
                    <a:gd name="T9" fmla="*/ 51 h 86"/>
                    <a:gd name="T10" fmla="*/ 5 w 93"/>
                    <a:gd name="T11" fmla="*/ 61 h 86"/>
                    <a:gd name="T12" fmla="*/ 10 w 93"/>
                    <a:gd name="T13" fmla="*/ 66 h 86"/>
                    <a:gd name="T14" fmla="*/ 13 w 93"/>
                    <a:gd name="T15" fmla="*/ 72 h 86"/>
                    <a:gd name="T16" fmla="*/ 24 w 93"/>
                    <a:gd name="T17" fmla="*/ 77 h 86"/>
                    <a:gd name="T18" fmla="*/ 41 w 93"/>
                    <a:gd name="T19" fmla="*/ 81 h 86"/>
                    <a:gd name="T20" fmla="*/ 92 w 93"/>
                    <a:gd name="T21" fmla="*/ 54 h 86"/>
                    <a:gd name="T22" fmla="*/ 92 w 93"/>
                    <a:gd name="T23" fmla="*/ 40 h 86"/>
                    <a:gd name="T24" fmla="*/ 64 w 93"/>
                    <a:gd name="T25" fmla="*/ 73 h 86"/>
                    <a:gd name="T26" fmla="*/ 54 w 93"/>
                    <a:gd name="T27" fmla="*/ 71 h 86"/>
                    <a:gd name="T28" fmla="*/ 54 w 93"/>
                    <a:gd name="T29" fmla="*/ 76 h 86"/>
                    <a:gd name="T30" fmla="*/ 52 w 93"/>
                    <a:gd name="T31" fmla="*/ 73 h 86"/>
                    <a:gd name="T32" fmla="*/ 55 w 93"/>
                    <a:gd name="T33" fmla="*/ 65 h 86"/>
                    <a:gd name="T34" fmla="*/ 47 w 93"/>
                    <a:gd name="T35" fmla="*/ 63 h 86"/>
                    <a:gd name="T36" fmla="*/ 45 w 93"/>
                    <a:gd name="T37" fmla="*/ 76 h 86"/>
                    <a:gd name="T38" fmla="*/ 40 w 93"/>
                    <a:gd name="T39" fmla="*/ 75 h 86"/>
                    <a:gd name="T40" fmla="*/ 44 w 93"/>
                    <a:gd name="T41" fmla="*/ 61 h 86"/>
                    <a:gd name="T42" fmla="*/ 38 w 93"/>
                    <a:gd name="T43" fmla="*/ 59 h 86"/>
                    <a:gd name="T44" fmla="*/ 31 w 93"/>
                    <a:gd name="T45" fmla="*/ 72 h 86"/>
                    <a:gd name="T46" fmla="*/ 33 w 93"/>
                    <a:gd name="T47" fmla="*/ 59 h 86"/>
                    <a:gd name="T48" fmla="*/ 36 w 93"/>
                    <a:gd name="T49" fmla="*/ 55 h 86"/>
                    <a:gd name="T50" fmla="*/ 21 w 93"/>
                    <a:gd name="T51" fmla="*/ 67 h 86"/>
                    <a:gd name="T52" fmla="*/ 22 w 93"/>
                    <a:gd name="T53" fmla="*/ 59 h 86"/>
                    <a:gd name="T54" fmla="*/ 30 w 93"/>
                    <a:gd name="T55" fmla="*/ 45 h 86"/>
                    <a:gd name="T56" fmla="*/ 12 w 93"/>
                    <a:gd name="T57" fmla="*/ 56 h 86"/>
                    <a:gd name="T58" fmla="*/ 15 w 93"/>
                    <a:gd name="T59" fmla="*/ 31 h 86"/>
                    <a:gd name="T60" fmla="*/ 28 w 93"/>
                    <a:gd name="T61" fmla="*/ 20 h 86"/>
                    <a:gd name="T62" fmla="*/ 52 w 93"/>
                    <a:gd name="T63" fmla="*/ 12 h 86"/>
                    <a:gd name="T64" fmla="*/ 81 w 93"/>
                    <a:gd name="T65" fmla="*/ 31 h 86"/>
                    <a:gd name="T66" fmla="*/ 87 w 93"/>
                    <a:gd name="T67" fmla="*/ 45 h 86"/>
                    <a:gd name="T68" fmla="*/ 64 w 93"/>
                    <a:gd name="T69"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3" h="86">
                      <a:moveTo>
                        <a:pt x="92" y="40"/>
                      </a:moveTo>
                      <a:cubicBezTo>
                        <a:pt x="88" y="26"/>
                        <a:pt x="76" y="19"/>
                        <a:pt x="64" y="12"/>
                      </a:cubicBezTo>
                      <a:cubicBezTo>
                        <a:pt x="56" y="7"/>
                        <a:pt x="43" y="0"/>
                        <a:pt x="32" y="5"/>
                      </a:cubicBezTo>
                      <a:cubicBezTo>
                        <a:pt x="32" y="7"/>
                        <a:pt x="31" y="9"/>
                        <a:pt x="31" y="11"/>
                      </a:cubicBezTo>
                      <a:cubicBezTo>
                        <a:pt x="17" y="17"/>
                        <a:pt x="0" y="32"/>
                        <a:pt x="2" y="51"/>
                      </a:cubicBezTo>
                      <a:cubicBezTo>
                        <a:pt x="2" y="54"/>
                        <a:pt x="3" y="58"/>
                        <a:pt x="5" y="61"/>
                      </a:cubicBezTo>
                      <a:cubicBezTo>
                        <a:pt x="6" y="63"/>
                        <a:pt x="9" y="63"/>
                        <a:pt x="10" y="66"/>
                      </a:cubicBezTo>
                      <a:cubicBezTo>
                        <a:pt x="11" y="68"/>
                        <a:pt x="11" y="70"/>
                        <a:pt x="13" y="72"/>
                      </a:cubicBezTo>
                      <a:cubicBezTo>
                        <a:pt x="19" y="70"/>
                        <a:pt x="21" y="76"/>
                        <a:pt x="24" y="77"/>
                      </a:cubicBezTo>
                      <a:cubicBezTo>
                        <a:pt x="28" y="79"/>
                        <a:pt x="37" y="81"/>
                        <a:pt x="41" y="81"/>
                      </a:cubicBezTo>
                      <a:cubicBezTo>
                        <a:pt x="68" y="86"/>
                        <a:pt x="84" y="69"/>
                        <a:pt x="92" y="54"/>
                      </a:cubicBezTo>
                      <a:cubicBezTo>
                        <a:pt x="92" y="49"/>
                        <a:pt x="93" y="44"/>
                        <a:pt x="92" y="40"/>
                      </a:cubicBezTo>
                      <a:close/>
                      <a:moveTo>
                        <a:pt x="64" y="73"/>
                      </a:moveTo>
                      <a:cubicBezTo>
                        <a:pt x="63" y="70"/>
                        <a:pt x="57" y="67"/>
                        <a:pt x="54" y="71"/>
                      </a:cubicBezTo>
                      <a:cubicBezTo>
                        <a:pt x="53" y="73"/>
                        <a:pt x="55" y="75"/>
                        <a:pt x="54" y="76"/>
                      </a:cubicBezTo>
                      <a:cubicBezTo>
                        <a:pt x="54" y="75"/>
                        <a:pt x="52" y="75"/>
                        <a:pt x="52" y="73"/>
                      </a:cubicBezTo>
                      <a:cubicBezTo>
                        <a:pt x="52" y="69"/>
                        <a:pt x="56" y="68"/>
                        <a:pt x="55" y="65"/>
                      </a:cubicBezTo>
                      <a:cubicBezTo>
                        <a:pt x="54" y="62"/>
                        <a:pt x="48" y="63"/>
                        <a:pt x="47" y="63"/>
                      </a:cubicBezTo>
                      <a:cubicBezTo>
                        <a:pt x="43" y="65"/>
                        <a:pt x="44" y="71"/>
                        <a:pt x="45" y="76"/>
                      </a:cubicBezTo>
                      <a:cubicBezTo>
                        <a:pt x="43" y="76"/>
                        <a:pt x="41" y="76"/>
                        <a:pt x="40" y="75"/>
                      </a:cubicBezTo>
                      <a:cubicBezTo>
                        <a:pt x="36" y="70"/>
                        <a:pt x="45" y="66"/>
                        <a:pt x="44" y="61"/>
                      </a:cubicBezTo>
                      <a:cubicBezTo>
                        <a:pt x="43" y="59"/>
                        <a:pt x="40" y="58"/>
                        <a:pt x="38" y="59"/>
                      </a:cubicBezTo>
                      <a:cubicBezTo>
                        <a:pt x="33" y="59"/>
                        <a:pt x="31" y="68"/>
                        <a:pt x="31" y="72"/>
                      </a:cubicBezTo>
                      <a:cubicBezTo>
                        <a:pt x="27" y="70"/>
                        <a:pt x="33" y="63"/>
                        <a:pt x="33" y="59"/>
                      </a:cubicBezTo>
                      <a:cubicBezTo>
                        <a:pt x="34" y="58"/>
                        <a:pt x="35" y="57"/>
                        <a:pt x="36" y="55"/>
                      </a:cubicBezTo>
                      <a:cubicBezTo>
                        <a:pt x="29" y="41"/>
                        <a:pt x="24" y="62"/>
                        <a:pt x="21" y="67"/>
                      </a:cubicBezTo>
                      <a:cubicBezTo>
                        <a:pt x="17" y="66"/>
                        <a:pt x="20" y="62"/>
                        <a:pt x="22" y="59"/>
                      </a:cubicBezTo>
                      <a:cubicBezTo>
                        <a:pt x="24" y="54"/>
                        <a:pt x="27" y="48"/>
                        <a:pt x="30" y="45"/>
                      </a:cubicBezTo>
                      <a:cubicBezTo>
                        <a:pt x="22" y="32"/>
                        <a:pt x="18" y="52"/>
                        <a:pt x="12" y="56"/>
                      </a:cubicBezTo>
                      <a:cubicBezTo>
                        <a:pt x="11" y="46"/>
                        <a:pt x="28" y="36"/>
                        <a:pt x="15" y="31"/>
                      </a:cubicBezTo>
                      <a:cubicBezTo>
                        <a:pt x="17" y="26"/>
                        <a:pt x="22" y="24"/>
                        <a:pt x="28" y="20"/>
                      </a:cubicBezTo>
                      <a:cubicBezTo>
                        <a:pt x="34" y="17"/>
                        <a:pt x="41" y="11"/>
                        <a:pt x="52" y="12"/>
                      </a:cubicBezTo>
                      <a:cubicBezTo>
                        <a:pt x="59" y="13"/>
                        <a:pt x="76" y="24"/>
                        <a:pt x="81" y="31"/>
                      </a:cubicBezTo>
                      <a:cubicBezTo>
                        <a:pt x="83" y="33"/>
                        <a:pt x="87" y="41"/>
                        <a:pt x="87" y="45"/>
                      </a:cubicBezTo>
                      <a:cubicBezTo>
                        <a:pt x="88" y="60"/>
                        <a:pt x="75" y="67"/>
                        <a:pt x="64"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6" name="Freeform 34">
                  <a:extLst>
                    <a:ext uri="{FF2B5EF4-FFF2-40B4-BE49-F238E27FC236}">
                      <a16:creationId xmlns:a16="http://schemas.microsoft.com/office/drawing/2014/main" id="{6A39698E-7149-946B-0225-4ED30E5F106A}"/>
                    </a:ext>
                  </a:extLst>
                </p:cNvPr>
                <p:cNvSpPr>
                  <a:spLocks noEditPoints="1"/>
                </p:cNvSpPr>
                <p:nvPr/>
              </p:nvSpPr>
              <p:spPr bwMode="auto">
                <a:xfrm>
                  <a:off x="6502017" y="2139102"/>
                  <a:ext cx="941388" cy="931863"/>
                </a:xfrm>
                <a:custGeom>
                  <a:avLst/>
                  <a:gdLst>
                    <a:gd name="T0" fmla="*/ 99 w 99"/>
                    <a:gd name="T1" fmla="*/ 20 h 98"/>
                    <a:gd name="T2" fmla="*/ 97 w 99"/>
                    <a:gd name="T3" fmla="*/ 14 h 98"/>
                    <a:gd name="T4" fmla="*/ 93 w 99"/>
                    <a:gd name="T5" fmla="*/ 12 h 98"/>
                    <a:gd name="T6" fmla="*/ 85 w 99"/>
                    <a:gd name="T7" fmla="*/ 12 h 98"/>
                    <a:gd name="T8" fmla="*/ 54 w 99"/>
                    <a:gd name="T9" fmla="*/ 4 h 98"/>
                    <a:gd name="T10" fmla="*/ 42 w 99"/>
                    <a:gd name="T11" fmla="*/ 2 h 98"/>
                    <a:gd name="T12" fmla="*/ 40 w 99"/>
                    <a:gd name="T13" fmla="*/ 6 h 98"/>
                    <a:gd name="T14" fmla="*/ 3 w 99"/>
                    <a:gd name="T15" fmla="*/ 17 h 98"/>
                    <a:gd name="T16" fmla="*/ 5 w 99"/>
                    <a:gd name="T17" fmla="*/ 46 h 98"/>
                    <a:gd name="T18" fmla="*/ 5 w 99"/>
                    <a:gd name="T19" fmla="*/ 63 h 98"/>
                    <a:gd name="T20" fmla="*/ 1 w 99"/>
                    <a:gd name="T21" fmla="*/ 66 h 98"/>
                    <a:gd name="T22" fmla="*/ 15 w 99"/>
                    <a:gd name="T23" fmla="*/ 78 h 98"/>
                    <a:gd name="T24" fmla="*/ 30 w 99"/>
                    <a:gd name="T25" fmla="*/ 83 h 98"/>
                    <a:gd name="T26" fmla="*/ 37 w 99"/>
                    <a:gd name="T27" fmla="*/ 91 h 98"/>
                    <a:gd name="T28" fmla="*/ 44 w 99"/>
                    <a:gd name="T29" fmla="*/ 97 h 98"/>
                    <a:gd name="T30" fmla="*/ 82 w 99"/>
                    <a:gd name="T31" fmla="*/ 83 h 98"/>
                    <a:gd name="T32" fmla="*/ 85 w 99"/>
                    <a:gd name="T33" fmla="*/ 88 h 98"/>
                    <a:gd name="T34" fmla="*/ 91 w 99"/>
                    <a:gd name="T35" fmla="*/ 88 h 98"/>
                    <a:gd name="T36" fmla="*/ 96 w 99"/>
                    <a:gd name="T37" fmla="*/ 77 h 98"/>
                    <a:gd name="T38" fmla="*/ 93 w 99"/>
                    <a:gd name="T39" fmla="*/ 70 h 98"/>
                    <a:gd name="T40" fmla="*/ 99 w 99"/>
                    <a:gd name="T41" fmla="*/ 20 h 98"/>
                    <a:gd name="T42" fmla="*/ 13 w 99"/>
                    <a:gd name="T43" fmla="*/ 26 h 98"/>
                    <a:gd name="T44" fmla="*/ 23 w 99"/>
                    <a:gd name="T45" fmla="*/ 32 h 98"/>
                    <a:gd name="T46" fmla="*/ 15 w 99"/>
                    <a:gd name="T47" fmla="*/ 43 h 98"/>
                    <a:gd name="T48" fmla="*/ 13 w 99"/>
                    <a:gd name="T49" fmla="*/ 26 h 98"/>
                    <a:gd name="T50" fmla="*/ 34 w 99"/>
                    <a:gd name="T51" fmla="*/ 75 h 98"/>
                    <a:gd name="T52" fmla="*/ 36 w 99"/>
                    <a:gd name="T53" fmla="*/ 72 h 98"/>
                    <a:gd name="T54" fmla="*/ 38 w 99"/>
                    <a:gd name="T55" fmla="*/ 76 h 98"/>
                    <a:gd name="T56" fmla="*/ 34 w 99"/>
                    <a:gd name="T57" fmla="*/ 75 h 98"/>
                    <a:gd name="T58" fmla="*/ 38 w 99"/>
                    <a:gd name="T59" fmla="*/ 66 h 98"/>
                    <a:gd name="T60" fmla="*/ 34 w 99"/>
                    <a:gd name="T61" fmla="*/ 65 h 98"/>
                    <a:gd name="T62" fmla="*/ 22 w 99"/>
                    <a:gd name="T63" fmla="*/ 72 h 98"/>
                    <a:gd name="T64" fmla="*/ 32 w 99"/>
                    <a:gd name="T65" fmla="*/ 58 h 98"/>
                    <a:gd name="T66" fmla="*/ 34 w 99"/>
                    <a:gd name="T67" fmla="*/ 48 h 98"/>
                    <a:gd name="T68" fmla="*/ 29 w 99"/>
                    <a:gd name="T69" fmla="*/ 50 h 98"/>
                    <a:gd name="T70" fmla="*/ 15 w 99"/>
                    <a:gd name="T71" fmla="*/ 67 h 98"/>
                    <a:gd name="T72" fmla="*/ 21 w 99"/>
                    <a:gd name="T73" fmla="*/ 53 h 98"/>
                    <a:gd name="T74" fmla="*/ 31 w 99"/>
                    <a:gd name="T75" fmla="*/ 39 h 98"/>
                    <a:gd name="T76" fmla="*/ 33 w 99"/>
                    <a:gd name="T77" fmla="*/ 38 h 98"/>
                    <a:gd name="T78" fmla="*/ 33 w 99"/>
                    <a:gd name="T79" fmla="*/ 37 h 98"/>
                    <a:gd name="T80" fmla="*/ 35 w 99"/>
                    <a:gd name="T81" fmla="*/ 37 h 98"/>
                    <a:gd name="T82" fmla="*/ 34 w 99"/>
                    <a:gd name="T83" fmla="*/ 43 h 98"/>
                    <a:gd name="T84" fmla="*/ 39 w 99"/>
                    <a:gd name="T85" fmla="*/ 51 h 98"/>
                    <a:gd name="T86" fmla="*/ 38 w 99"/>
                    <a:gd name="T87" fmla="*/ 66 h 98"/>
                    <a:gd name="T88" fmla="*/ 15 w 99"/>
                    <a:gd name="T89" fmla="*/ 19 h 98"/>
                    <a:gd name="T90" fmla="*/ 49 w 99"/>
                    <a:gd name="T91" fmla="*/ 12 h 98"/>
                    <a:gd name="T92" fmla="*/ 51 w 99"/>
                    <a:gd name="T93" fmla="*/ 11 h 98"/>
                    <a:gd name="T94" fmla="*/ 84 w 99"/>
                    <a:gd name="T95" fmla="*/ 19 h 98"/>
                    <a:gd name="T96" fmla="*/ 49 w 99"/>
                    <a:gd name="T97" fmla="*/ 34 h 98"/>
                    <a:gd name="T98" fmla="*/ 15 w 99"/>
                    <a:gd name="T99" fmla="*/ 19 h 98"/>
                    <a:gd name="T100" fmla="*/ 86 w 99"/>
                    <a:gd name="T101" fmla="*/ 56 h 98"/>
                    <a:gd name="T102" fmla="*/ 83 w 99"/>
                    <a:gd name="T103" fmla="*/ 76 h 98"/>
                    <a:gd name="T104" fmla="*/ 47 w 99"/>
                    <a:gd name="T105" fmla="*/ 86 h 98"/>
                    <a:gd name="T106" fmla="*/ 47 w 99"/>
                    <a:gd name="T107" fmla="*/ 71 h 98"/>
                    <a:gd name="T108" fmla="*/ 45 w 99"/>
                    <a:gd name="T109" fmla="*/ 66 h 98"/>
                    <a:gd name="T110" fmla="*/ 52 w 99"/>
                    <a:gd name="T111" fmla="*/ 43 h 98"/>
                    <a:gd name="T112" fmla="*/ 52 w 99"/>
                    <a:gd name="T113" fmla="*/ 40 h 98"/>
                    <a:gd name="T114" fmla="*/ 88 w 99"/>
                    <a:gd name="T115" fmla="*/ 24 h 98"/>
                    <a:gd name="T116" fmla="*/ 89 w 99"/>
                    <a:gd name="T117" fmla="*/ 25 h 98"/>
                    <a:gd name="T118" fmla="*/ 86 w 99"/>
                    <a:gd name="T119" fmla="*/ 5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98">
                      <a:moveTo>
                        <a:pt x="99" y="20"/>
                      </a:moveTo>
                      <a:cubicBezTo>
                        <a:pt x="97" y="19"/>
                        <a:pt x="99" y="16"/>
                        <a:pt x="97" y="14"/>
                      </a:cubicBezTo>
                      <a:cubicBezTo>
                        <a:pt x="95" y="14"/>
                        <a:pt x="95" y="12"/>
                        <a:pt x="93" y="12"/>
                      </a:cubicBezTo>
                      <a:cubicBezTo>
                        <a:pt x="91" y="11"/>
                        <a:pt x="88" y="12"/>
                        <a:pt x="85" y="12"/>
                      </a:cubicBezTo>
                      <a:cubicBezTo>
                        <a:pt x="75" y="11"/>
                        <a:pt x="64" y="5"/>
                        <a:pt x="54" y="4"/>
                      </a:cubicBezTo>
                      <a:cubicBezTo>
                        <a:pt x="52" y="0"/>
                        <a:pt x="45" y="0"/>
                        <a:pt x="42" y="2"/>
                      </a:cubicBezTo>
                      <a:cubicBezTo>
                        <a:pt x="41" y="3"/>
                        <a:pt x="41" y="5"/>
                        <a:pt x="40" y="6"/>
                      </a:cubicBezTo>
                      <a:cubicBezTo>
                        <a:pt x="27" y="9"/>
                        <a:pt x="13" y="11"/>
                        <a:pt x="3" y="17"/>
                      </a:cubicBezTo>
                      <a:cubicBezTo>
                        <a:pt x="8" y="25"/>
                        <a:pt x="5" y="36"/>
                        <a:pt x="5" y="46"/>
                      </a:cubicBezTo>
                      <a:cubicBezTo>
                        <a:pt x="5" y="51"/>
                        <a:pt x="5" y="57"/>
                        <a:pt x="5" y="63"/>
                      </a:cubicBezTo>
                      <a:cubicBezTo>
                        <a:pt x="2" y="62"/>
                        <a:pt x="1" y="64"/>
                        <a:pt x="1" y="66"/>
                      </a:cubicBezTo>
                      <a:cubicBezTo>
                        <a:pt x="0" y="72"/>
                        <a:pt x="15" y="72"/>
                        <a:pt x="15" y="78"/>
                      </a:cubicBezTo>
                      <a:cubicBezTo>
                        <a:pt x="23" y="76"/>
                        <a:pt x="22" y="84"/>
                        <a:pt x="30" y="83"/>
                      </a:cubicBezTo>
                      <a:cubicBezTo>
                        <a:pt x="32" y="86"/>
                        <a:pt x="33" y="90"/>
                        <a:pt x="37" y="91"/>
                      </a:cubicBezTo>
                      <a:cubicBezTo>
                        <a:pt x="36" y="96"/>
                        <a:pt x="40" y="98"/>
                        <a:pt x="44" y="97"/>
                      </a:cubicBezTo>
                      <a:cubicBezTo>
                        <a:pt x="53" y="89"/>
                        <a:pt x="67" y="86"/>
                        <a:pt x="82" y="83"/>
                      </a:cubicBezTo>
                      <a:cubicBezTo>
                        <a:pt x="83" y="85"/>
                        <a:pt x="84" y="87"/>
                        <a:pt x="85" y="88"/>
                      </a:cubicBezTo>
                      <a:cubicBezTo>
                        <a:pt x="87" y="88"/>
                        <a:pt x="88" y="89"/>
                        <a:pt x="91" y="88"/>
                      </a:cubicBezTo>
                      <a:cubicBezTo>
                        <a:pt x="93" y="84"/>
                        <a:pt x="93" y="80"/>
                        <a:pt x="96" y="77"/>
                      </a:cubicBezTo>
                      <a:cubicBezTo>
                        <a:pt x="95" y="74"/>
                        <a:pt x="94" y="72"/>
                        <a:pt x="93" y="70"/>
                      </a:cubicBezTo>
                      <a:cubicBezTo>
                        <a:pt x="93" y="51"/>
                        <a:pt x="94" y="33"/>
                        <a:pt x="99" y="20"/>
                      </a:cubicBezTo>
                      <a:close/>
                      <a:moveTo>
                        <a:pt x="13" y="26"/>
                      </a:moveTo>
                      <a:cubicBezTo>
                        <a:pt x="23" y="32"/>
                        <a:pt x="23" y="32"/>
                        <a:pt x="23" y="32"/>
                      </a:cubicBezTo>
                      <a:cubicBezTo>
                        <a:pt x="15" y="43"/>
                        <a:pt x="15" y="43"/>
                        <a:pt x="15" y="43"/>
                      </a:cubicBezTo>
                      <a:cubicBezTo>
                        <a:pt x="13" y="26"/>
                        <a:pt x="13" y="26"/>
                        <a:pt x="13" y="26"/>
                      </a:cubicBezTo>
                      <a:close/>
                      <a:moveTo>
                        <a:pt x="34" y="75"/>
                      </a:moveTo>
                      <a:cubicBezTo>
                        <a:pt x="34" y="73"/>
                        <a:pt x="36" y="73"/>
                        <a:pt x="36" y="72"/>
                      </a:cubicBezTo>
                      <a:cubicBezTo>
                        <a:pt x="37" y="73"/>
                        <a:pt x="37" y="74"/>
                        <a:pt x="38" y="76"/>
                      </a:cubicBezTo>
                      <a:cubicBezTo>
                        <a:pt x="36" y="76"/>
                        <a:pt x="36" y="75"/>
                        <a:pt x="34" y="75"/>
                      </a:cubicBezTo>
                      <a:close/>
                      <a:moveTo>
                        <a:pt x="38" y="66"/>
                      </a:moveTo>
                      <a:cubicBezTo>
                        <a:pt x="36" y="67"/>
                        <a:pt x="36" y="64"/>
                        <a:pt x="34" y="65"/>
                      </a:cubicBezTo>
                      <a:cubicBezTo>
                        <a:pt x="28" y="65"/>
                        <a:pt x="28" y="74"/>
                        <a:pt x="22" y="72"/>
                      </a:cubicBezTo>
                      <a:cubicBezTo>
                        <a:pt x="25" y="67"/>
                        <a:pt x="28" y="63"/>
                        <a:pt x="32" y="58"/>
                      </a:cubicBezTo>
                      <a:cubicBezTo>
                        <a:pt x="35" y="55"/>
                        <a:pt x="40" y="50"/>
                        <a:pt x="34" y="48"/>
                      </a:cubicBezTo>
                      <a:cubicBezTo>
                        <a:pt x="32" y="47"/>
                        <a:pt x="30" y="49"/>
                        <a:pt x="29" y="50"/>
                      </a:cubicBezTo>
                      <a:cubicBezTo>
                        <a:pt x="23" y="53"/>
                        <a:pt x="19" y="65"/>
                        <a:pt x="15" y="67"/>
                      </a:cubicBezTo>
                      <a:cubicBezTo>
                        <a:pt x="12" y="63"/>
                        <a:pt x="18" y="57"/>
                        <a:pt x="21" y="53"/>
                      </a:cubicBezTo>
                      <a:cubicBezTo>
                        <a:pt x="24" y="48"/>
                        <a:pt x="28" y="44"/>
                        <a:pt x="31" y="39"/>
                      </a:cubicBezTo>
                      <a:cubicBezTo>
                        <a:pt x="31" y="39"/>
                        <a:pt x="33" y="39"/>
                        <a:pt x="33" y="38"/>
                      </a:cubicBezTo>
                      <a:cubicBezTo>
                        <a:pt x="33" y="37"/>
                        <a:pt x="34" y="37"/>
                        <a:pt x="33" y="37"/>
                      </a:cubicBezTo>
                      <a:cubicBezTo>
                        <a:pt x="33" y="35"/>
                        <a:pt x="35" y="36"/>
                        <a:pt x="35" y="37"/>
                      </a:cubicBezTo>
                      <a:cubicBezTo>
                        <a:pt x="35" y="39"/>
                        <a:pt x="33" y="41"/>
                        <a:pt x="34" y="43"/>
                      </a:cubicBezTo>
                      <a:cubicBezTo>
                        <a:pt x="35" y="46"/>
                        <a:pt x="38" y="48"/>
                        <a:pt x="39" y="51"/>
                      </a:cubicBezTo>
                      <a:cubicBezTo>
                        <a:pt x="40" y="56"/>
                        <a:pt x="36" y="59"/>
                        <a:pt x="38" y="66"/>
                      </a:cubicBezTo>
                      <a:close/>
                      <a:moveTo>
                        <a:pt x="15" y="19"/>
                      </a:moveTo>
                      <a:cubicBezTo>
                        <a:pt x="24" y="15"/>
                        <a:pt x="37" y="10"/>
                        <a:pt x="49" y="12"/>
                      </a:cubicBezTo>
                      <a:cubicBezTo>
                        <a:pt x="51" y="13"/>
                        <a:pt x="50" y="11"/>
                        <a:pt x="51" y="11"/>
                      </a:cubicBezTo>
                      <a:cubicBezTo>
                        <a:pt x="62" y="12"/>
                        <a:pt x="73" y="16"/>
                        <a:pt x="84" y="19"/>
                      </a:cubicBezTo>
                      <a:cubicBezTo>
                        <a:pt x="72" y="24"/>
                        <a:pt x="60" y="29"/>
                        <a:pt x="49" y="34"/>
                      </a:cubicBezTo>
                      <a:cubicBezTo>
                        <a:pt x="38" y="30"/>
                        <a:pt x="23" y="27"/>
                        <a:pt x="15" y="19"/>
                      </a:cubicBezTo>
                      <a:close/>
                      <a:moveTo>
                        <a:pt x="86" y="56"/>
                      </a:moveTo>
                      <a:cubicBezTo>
                        <a:pt x="85" y="63"/>
                        <a:pt x="87" y="71"/>
                        <a:pt x="83" y="76"/>
                      </a:cubicBezTo>
                      <a:cubicBezTo>
                        <a:pt x="72" y="80"/>
                        <a:pt x="59" y="82"/>
                        <a:pt x="47" y="86"/>
                      </a:cubicBezTo>
                      <a:cubicBezTo>
                        <a:pt x="42" y="83"/>
                        <a:pt x="47" y="76"/>
                        <a:pt x="47" y="71"/>
                      </a:cubicBezTo>
                      <a:cubicBezTo>
                        <a:pt x="47" y="70"/>
                        <a:pt x="46" y="68"/>
                        <a:pt x="45" y="66"/>
                      </a:cubicBezTo>
                      <a:cubicBezTo>
                        <a:pt x="44" y="58"/>
                        <a:pt x="45" y="48"/>
                        <a:pt x="52" y="43"/>
                      </a:cubicBezTo>
                      <a:cubicBezTo>
                        <a:pt x="51" y="42"/>
                        <a:pt x="51" y="41"/>
                        <a:pt x="52" y="40"/>
                      </a:cubicBezTo>
                      <a:cubicBezTo>
                        <a:pt x="61" y="32"/>
                        <a:pt x="77" y="30"/>
                        <a:pt x="88" y="24"/>
                      </a:cubicBezTo>
                      <a:cubicBezTo>
                        <a:pt x="89" y="24"/>
                        <a:pt x="89" y="24"/>
                        <a:pt x="89" y="25"/>
                      </a:cubicBezTo>
                      <a:cubicBezTo>
                        <a:pt x="90" y="33"/>
                        <a:pt x="87" y="45"/>
                        <a:pt x="86" y="56"/>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04" name="Freeform 18">
                <a:extLst>
                  <a:ext uri="{FF2B5EF4-FFF2-40B4-BE49-F238E27FC236}">
                    <a16:creationId xmlns:a16="http://schemas.microsoft.com/office/drawing/2014/main" id="{A240A623-7807-B450-0F6B-4CEF2B89C646}"/>
                  </a:ext>
                </a:extLst>
              </p:cNvPr>
              <p:cNvSpPr>
                <a:spLocks/>
              </p:cNvSpPr>
              <p:nvPr/>
            </p:nvSpPr>
            <p:spPr bwMode="auto">
              <a:xfrm>
                <a:off x="8194257" y="594900"/>
                <a:ext cx="423193" cy="129549"/>
              </a:xfrm>
              <a:custGeom>
                <a:avLst/>
                <a:gdLst>
                  <a:gd name="T0" fmla="*/ 115 w 131"/>
                  <a:gd name="T1" fmla="*/ 1 h 40"/>
                  <a:gd name="T2" fmla="*/ 110 w 131"/>
                  <a:gd name="T3" fmla="*/ 4 h 40"/>
                  <a:gd name="T4" fmla="*/ 119 w 131"/>
                  <a:gd name="T5" fmla="*/ 17 h 40"/>
                  <a:gd name="T6" fmla="*/ 81 w 131"/>
                  <a:gd name="T7" fmla="*/ 13 h 40"/>
                  <a:gd name="T8" fmla="*/ 41 w 131"/>
                  <a:gd name="T9" fmla="*/ 15 h 40"/>
                  <a:gd name="T10" fmla="*/ 7 w 131"/>
                  <a:gd name="T11" fmla="*/ 26 h 40"/>
                  <a:gd name="T12" fmla="*/ 0 w 131"/>
                  <a:gd name="T13" fmla="*/ 31 h 40"/>
                  <a:gd name="T14" fmla="*/ 10 w 131"/>
                  <a:gd name="T15" fmla="*/ 30 h 40"/>
                  <a:gd name="T16" fmla="*/ 88 w 131"/>
                  <a:gd name="T17" fmla="*/ 18 h 40"/>
                  <a:gd name="T18" fmla="*/ 118 w 131"/>
                  <a:gd name="T19" fmla="*/ 24 h 40"/>
                  <a:gd name="T20" fmla="*/ 112 w 131"/>
                  <a:gd name="T21" fmla="*/ 40 h 40"/>
                  <a:gd name="T22" fmla="*/ 126 w 131"/>
                  <a:gd name="T23" fmla="*/ 26 h 40"/>
                  <a:gd name="T24" fmla="*/ 131 w 131"/>
                  <a:gd name="T25" fmla="*/ 20 h 40"/>
                  <a:gd name="T26" fmla="*/ 115 w 131"/>
                  <a:gd name="T27"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40">
                    <a:moveTo>
                      <a:pt x="115" y="1"/>
                    </a:moveTo>
                    <a:cubicBezTo>
                      <a:pt x="112" y="0"/>
                      <a:pt x="110" y="1"/>
                      <a:pt x="110" y="4"/>
                    </a:cubicBezTo>
                    <a:cubicBezTo>
                      <a:pt x="109" y="9"/>
                      <a:pt x="120" y="13"/>
                      <a:pt x="119" y="17"/>
                    </a:cubicBezTo>
                    <a:cubicBezTo>
                      <a:pt x="107" y="16"/>
                      <a:pt x="94" y="14"/>
                      <a:pt x="81" y="13"/>
                    </a:cubicBezTo>
                    <a:cubicBezTo>
                      <a:pt x="68" y="12"/>
                      <a:pt x="53" y="13"/>
                      <a:pt x="41" y="15"/>
                    </a:cubicBezTo>
                    <a:cubicBezTo>
                      <a:pt x="27" y="17"/>
                      <a:pt x="17" y="21"/>
                      <a:pt x="7" y="26"/>
                    </a:cubicBezTo>
                    <a:cubicBezTo>
                      <a:pt x="5" y="27"/>
                      <a:pt x="0" y="28"/>
                      <a:pt x="0" y="31"/>
                    </a:cubicBezTo>
                    <a:cubicBezTo>
                      <a:pt x="0" y="36"/>
                      <a:pt x="9" y="35"/>
                      <a:pt x="10" y="30"/>
                    </a:cubicBezTo>
                    <a:cubicBezTo>
                      <a:pt x="29" y="18"/>
                      <a:pt x="60" y="15"/>
                      <a:pt x="88" y="18"/>
                    </a:cubicBezTo>
                    <a:cubicBezTo>
                      <a:pt x="99" y="19"/>
                      <a:pt x="110" y="20"/>
                      <a:pt x="118" y="24"/>
                    </a:cubicBezTo>
                    <a:cubicBezTo>
                      <a:pt x="115" y="28"/>
                      <a:pt x="101" y="35"/>
                      <a:pt x="112" y="40"/>
                    </a:cubicBezTo>
                    <a:cubicBezTo>
                      <a:pt x="116" y="35"/>
                      <a:pt x="120" y="29"/>
                      <a:pt x="126" y="26"/>
                    </a:cubicBezTo>
                    <a:cubicBezTo>
                      <a:pt x="128" y="24"/>
                      <a:pt x="131" y="24"/>
                      <a:pt x="131" y="20"/>
                    </a:cubicBezTo>
                    <a:cubicBezTo>
                      <a:pt x="125" y="14"/>
                      <a:pt x="119" y="9"/>
                      <a:pt x="1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98" name="Group 97">
              <a:extLst>
                <a:ext uri="{FF2B5EF4-FFF2-40B4-BE49-F238E27FC236}">
                  <a16:creationId xmlns:a16="http://schemas.microsoft.com/office/drawing/2014/main" id="{27A2F015-D9E7-538B-82FB-B1776704E616}"/>
                </a:ext>
              </a:extLst>
            </p:cNvPr>
            <p:cNvGrpSpPr/>
            <p:nvPr/>
          </p:nvGrpSpPr>
          <p:grpSpPr>
            <a:xfrm>
              <a:off x="7346778" y="2820398"/>
              <a:ext cx="975762" cy="300187"/>
              <a:chOff x="7875372" y="536546"/>
              <a:chExt cx="1085847" cy="300187"/>
            </a:xfrm>
            <a:solidFill>
              <a:srgbClr val="D0D0CE"/>
            </a:solidFill>
          </p:grpSpPr>
          <p:grpSp>
            <p:nvGrpSpPr>
              <p:cNvPr id="99" name="Group 98">
                <a:extLst>
                  <a:ext uri="{FF2B5EF4-FFF2-40B4-BE49-F238E27FC236}">
                    <a16:creationId xmlns:a16="http://schemas.microsoft.com/office/drawing/2014/main" id="{D64B927C-D298-2105-9EE8-CED8036629CD}"/>
                  </a:ext>
                </a:extLst>
              </p:cNvPr>
              <p:cNvGrpSpPr>
                <a:grpSpLocks noChangeAspect="1"/>
              </p:cNvGrpSpPr>
              <p:nvPr/>
            </p:nvGrpSpPr>
            <p:grpSpPr>
              <a:xfrm>
                <a:off x="7875372" y="536546"/>
                <a:ext cx="1085847" cy="300187"/>
                <a:chOff x="6502017" y="2072427"/>
                <a:chExt cx="3611953" cy="998538"/>
              </a:xfrm>
              <a:grpFill/>
            </p:grpSpPr>
            <p:sp>
              <p:nvSpPr>
                <p:cNvPr id="101" name="Freeform 32">
                  <a:extLst>
                    <a:ext uri="{FF2B5EF4-FFF2-40B4-BE49-F238E27FC236}">
                      <a16:creationId xmlns:a16="http://schemas.microsoft.com/office/drawing/2014/main" id="{C998B07B-3A72-9E76-7D81-F7980C5120F1}"/>
                    </a:ext>
                  </a:extLst>
                </p:cNvPr>
                <p:cNvSpPr>
                  <a:spLocks noEditPoints="1"/>
                </p:cNvSpPr>
                <p:nvPr/>
              </p:nvSpPr>
              <p:spPr bwMode="auto">
                <a:xfrm>
                  <a:off x="9229732" y="2072427"/>
                  <a:ext cx="884238" cy="819149"/>
                </a:xfrm>
                <a:custGeom>
                  <a:avLst/>
                  <a:gdLst>
                    <a:gd name="T0" fmla="*/ 92 w 93"/>
                    <a:gd name="T1" fmla="*/ 40 h 86"/>
                    <a:gd name="T2" fmla="*/ 64 w 93"/>
                    <a:gd name="T3" fmla="*/ 12 h 86"/>
                    <a:gd name="T4" fmla="*/ 32 w 93"/>
                    <a:gd name="T5" fmla="*/ 5 h 86"/>
                    <a:gd name="T6" fmla="*/ 31 w 93"/>
                    <a:gd name="T7" fmla="*/ 11 h 86"/>
                    <a:gd name="T8" fmla="*/ 2 w 93"/>
                    <a:gd name="T9" fmla="*/ 51 h 86"/>
                    <a:gd name="T10" fmla="*/ 5 w 93"/>
                    <a:gd name="T11" fmla="*/ 61 h 86"/>
                    <a:gd name="T12" fmla="*/ 10 w 93"/>
                    <a:gd name="T13" fmla="*/ 66 h 86"/>
                    <a:gd name="T14" fmla="*/ 13 w 93"/>
                    <a:gd name="T15" fmla="*/ 72 h 86"/>
                    <a:gd name="T16" fmla="*/ 24 w 93"/>
                    <a:gd name="T17" fmla="*/ 77 h 86"/>
                    <a:gd name="T18" fmla="*/ 41 w 93"/>
                    <a:gd name="T19" fmla="*/ 81 h 86"/>
                    <a:gd name="T20" fmla="*/ 92 w 93"/>
                    <a:gd name="T21" fmla="*/ 54 h 86"/>
                    <a:gd name="T22" fmla="*/ 92 w 93"/>
                    <a:gd name="T23" fmla="*/ 40 h 86"/>
                    <a:gd name="T24" fmla="*/ 64 w 93"/>
                    <a:gd name="T25" fmla="*/ 73 h 86"/>
                    <a:gd name="T26" fmla="*/ 54 w 93"/>
                    <a:gd name="T27" fmla="*/ 71 h 86"/>
                    <a:gd name="T28" fmla="*/ 54 w 93"/>
                    <a:gd name="T29" fmla="*/ 76 h 86"/>
                    <a:gd name="T30" fmla="*/ 52 w 93"/>
                    <a:gd name="T31" fmla="*/ 73 h 86"/>
                    <a:gd name="T32" fmla="*/ 55 w 93"/>
                    <a:gd name="T33" fmla="*/ 65 h 86"/>
                    <a:gd name="T34" fmla="*/ 47 w 93"/>
                    <a:gd name="T35" fmla="*/ 63 h 86"/>
                    <a:gd name="T36" fmla="*/ 45 w 93"/>
                    <a:gd name="T37" fmla="*/ 76 h 86"/>
                    <a:gd name="T38" fmla="*/ 40 w 93"/>
                    <a:gd name="T39" fmla="*/ 75 h 86"/>
                    <a:gd name="T40" fmla="*/ 44 w 93"/>
                    <a:gd name="T41" fmla="*/ 61 h 86"/>
                    <a:gd name="T42" fmla="*/ 38 w 93"/>
                    <a:gd name="T43" fmla="*/ 59 h 86"/>
                    <a:gd name="T44" fmla="*/ 31 w 93"/>
                    <a:gd name="T45" fmla="*/ 72 h 86"/>
                    <a:gd name="T46" fmla="*/ 33 w 93"/>
                    <a:gd name="T47" fmla="*/ 59 h 86"/>
                    <a:gd name="T48" fmla="*/ 36 w 93"/>
                    <a:gd name="T49" fmla="*/ 55 h 86"/>
                    <a:gd name="T50" fmla="*/ 21 w 93"/>
                    <a:gd name="T51" fmla="*/ 67 h 86"/>
                    <a:gd name="T52" fmla="*/ 22 w 93"/>
                    <a:gd name="T53" fmla="*/ 59 h 86"/>
                    <a:gd name="T54" fmla="*/ 30 w 93"/>
                    <a:gd name="T55" fmla="*/ 45 h 86"/>
                    <a:gd name="T56" fmla="*/ 12 w 93"/>
                    <a:gd name="T57" fmla="*/ 56 h 86"/>
                    <a:gd name="T58" fmla="*/ 15 w 93"/>
                    <a:gd name="T59" fmla="*/ 31 h 86"/>
                    <a:gd name="T60" fmla="*/ 28 w 93"/>
                    <a:gd name="T61" fmla="*/ 20 h 86"/>
                    <a:gd name="T62" fmla="*/ 52 w 93"/>
                    <a:gd name="T63" fmla="*/ 12 h 86"/>
                    <a:gd name="T64" fmla="*/ 81 w 93"/>
                    <a:gd name="T65" fmla="*/ 31 h 86"/>
                    <a:gd name="T66" fmla="*/ 87 w 93"/>
                    <a:gd name="T67" fmla="*/ 45 h 86"/>
                    <a:gd name="T68" fmla="*/ 64 w 93"/>
                    <a:gd name="T69"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3" h="86">
                      <a:moveTo>
                        <a:pt x="92" y="40"/>
                      </a:moveTo>
                      <a:cubicBezTo>
                        <a:pt x="88" y="26"/>
                        <a:pt x="76" y="19"/>
                        <a:pt x="64" y="12"/>
                      </a:cubicBezTo>
                      <a:cubicBezTo>
                        <a:pt x="56" y="7"/>
                        <a:pt x="43" y="0"/>
                        <a:pt x="32" y="5"/>
                      </a:cubicBezTo>
                      <a:cubicBezTo>
                        <a:pt x="32" y="7"/>
                        <a:pt x="31" y="9"/>
                        <a:pt x="31" y="11"/>
                      </a:cubicBezTo>
                      <a:cubicBezTo>
                        <a:pt x="17" y="17"/>
                        <a:pt x="0" y="32"/>
                        <a:pt x="2" y="51"/>
                      </a:cubicBezTo>
                      <a:cubicBezTo>
                        <a:pt x="2" y="54"/>
                        <a:pt x="3" y="58"/>
                        <a:pt x="5" y="61"/>
                      </a:cubicBezTo>
                      <a:cubicBezTo>
                        <a:pt x="6" y="63"/>
                        <a:pt x="9" y="63"/>
                        <a:pt x="10" y="66"/>
                      </a:cubicBezTo>
                      <a:cubicBezTo>
                        <a:pt x="11" y="68"/>
                        <a:pt x="11" y="70"/>
                        <a:pt x="13" y="72"/>
                      </a:cubicBezTo>
                      <a:cubicBezTo>
                        <a:pt x="19" y="70"/>
                        <a:pt x="21" y="76"/>
                        <a:pt x="24" y="77"/>
                      </a:cubicBezTo>
                      <a:cubicBezTo>
                        <a:pt x="28" y="79"/>
                        <a:pt x="37" y="81"/>
                        <a:pt x="41" y="81"/>
                      </a:cubicBezTo>
                      <a:cubicBezTo>
                        <a:pt x="68" y="86"/>
                        <a:pt x="84" y="69"/>
                        <a:pt x="92" y="54"/>
                      </a:cubicBezTo>
                      <a:cubicBezTo>
                        <a:pt x="92" y="49"/>
                        <a:pt x="93" y="44"/>
                        <a:pt x="92" y="40"/>
                      </a:cubicBezTo>
                      <a:close/>
                      <a:moveTo>
                        <a:pt x="64" y="73"/>
                      </a:moveTo>
                      <a:cubicBezTo>
                        <a:pt x="63" y="70"/>
                        <a:pt x="57" y="67"/>
                        <a:pt x="54" y="71"/>
                      </a:cubicBezTo>
                      <a:cubicBezTo>
                        <a:pt x="53" y="73"/>
                        <a:pt x="55" y="75"/>
                        <a:pt x="54" y="76"/>
                      </a:cubicBezTo>
                      <a:cubicBezTo>
                        <a:pt x="54" y="75"/>
                        <a:pt x="52" y="75"/>
                        <a:pt x="52" y="73"/>
                      </a:cubicBezTo>
                      <a:cubicBezTo>
                        <a:pt x="52" y="69"/>
                        <a:pt x="56" y="68"/>
                        <a:pt x="55" y="65"/>
                      </a:cubicBezTo>
                      <a:cubicBezTo>
                        <a:pt x="54" y="62"/>
                        <a:pt x="48" y="63"/>
                        <a:pt x="47" y="63"/>
                      </a:cubicBezTo>
                      <a:cubicBezTo>
                        <a:pt x="43" y="65"/>
                        <a:pt x="44" y="71"/>
                        <a:pt x="45" y="76"/>
                      </a:cubicBezTo>
                      <a:cubicBezTo>
                        <a:pt x="43" y="76"/>
                        <a:pt x="41" y="76"/>
                        <a:pt x="40" y="75"/>
                      </a:cubicBezTo>
                      <a:cubicBezTo>
                        <a:pt x="36" y="70"/>
                        <a:pt x="45" y="66"/>
                        <a:pt x="44" y="61"/>
                      </a:cubicBezTo>
                      <a:cubicBezTo>
                        <a:pt x="43" y="59"/>
                        <a:pt x="40" y="58"/>
                        <a:pt x="38" y="59"/>
                      </a:cubicBezTo>
                      <a:cubicBezTo>
                        <a:pt x="33" y="59"/>
                        <a:pt x="31" y="68"/>
                        <a:pt x="31" y="72"/>
                      </a:cubicBezTo>
                      <a:cubicBezTo>
                        <a:pt x="27" y="70"/>
                        <a:pt x="33" y="63"/>
                        <a:pt x="33" y="59"/>
                      </a:cubicBezTo>
                      <a:cubicBezTo>
                        <a:pt x="34" y="58"/>
                        <a:pt x="35" y="57"/>
                        <a:pt x="36" y="55"/>
                      </a:cubicBezTo>
                      <a:cubicBezTo>
                        <a:pt x="29" y="41"/>
                        <a:pt x="24" y="62"/>
                        <a:pt x="21" y="67"/>
                      </a:cubicBezTo>
                      <a:cubicBezTo>
                        <a:pt x="17" y="66"/>
                        <a:pt x="20" y="62"/>
                        <a:pt x="22" y="59"/>
                      </a:cubicBezTo>
                      <a:cubicBezTo>
                        <a:pt x="24" y="54"/>
                        <a:pt x="27" y="48"/>
                        <a:pt x="30" y="45"/>
                      </a:cubicBezTo>
                      <a:cubicBezTo>
                        <a:pt x="22" y="32"/>
                        <a:pt x="18" y="52"/>
                        <a:pt x="12" y="56"/>
                      </a:cubicBezTo>
                      <a:cubicBezTo>
                        <a:pt x="11" y="46"/>
                        <a:pt x="28" y="36"/>
                        <a:pt x="15" y="31"/>
                      </a:cubicBezTo>
                      <a:cubicBezTo>
                        <a:pt x="17" y="26"/>
                        <a:pt x="22" y="24"/>
                        <a:pt x="28" y="20"/>
                      </a:cubicBezTo>
                      <a:cubicBezTo>
                        <a:pt x="34" y="17"/>
                        <a:pt x="41" y="11"/>
                        <a:pt x="52" y="12"/>
                      </a:cubicBezTo>
                      <a:cubicBezTo>
                        <a:pt x="59" y="13"/>
                        <a:pt x="76" y="24"/>
                        <a:pt x="81" y="31"/>
                      </a:cubicBezTo>
                      <a:cubicBezTo>
                        <a:pt x="83" y="33"/>
                        <a:pt x="87" y="41"/>
                        <a:pt x="87" y="45"/>
                      </a:cubicBezTo>
                      <a:cubicBezTo>
                        <a:pt x="88" y="60"/>
                        <a:pt x="75" y="67"/>
                        <a:pt x="64" y="73"/>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2" name="Freeform 34">
                  <a:extLst>
                    <a:ext uri="{FF2B5EF4-FFF2-40B4-BE49-F238E27FC236}">
                      <a16:creationId xmlns:a16="http://schemas.microsoft.com/office/drawing/2014/main" id="{3D438E75-0C41-1C18-8412-24EFED39CC45}"/>
                    </a:ext>
                  </a:extLst>
                </p:cNvPr>
                <p:cNvSpPr>
                  <a:spLocks noEditPoints="1"/>
                </p:cNvSpPr>
                <p:nvPr/>
              </p:nvSpPr>
              <p:spPr bwMode="auto">
                <a:xfrm>
                  <a:off x="6502017" y="2139102"/>
                  <a:ext cx="941388" cy="931863"/>
                </a:xfrm>
                <a:custGeom>
                  <a:avLst/>
                  <a:gdLst>
                    <a:gd name="T0" fmla="*/ 99 w 99"/>
                    <a:gd name="T1" fmla="*/ 20 h 98"/>
                    <a:gd name="T2" fmla="*/ 97 w 99"/>
                    <a:gd name="T3" fmla="*/ 14 h 98"/>
                    <a:gd name="T4" fmla="*/ 93 w 99"/>
                    <a:gd name="T5" fmla="*/ 12 h 98"/>
                    <a:gd name="T6" fmla="*/ 85 w 99"/>
                    <a:gd name="T7" fmla="*/ 12 h 98"/>
                    <a:gd name="T8" fmla="*/ 54 w 99"/>
                    <a:gd name="T9" fmla="*/ 4 h 98"/>
                    <a:gd name="T10" fmla="*/ 42 w 99"/>
                    <a:gd name="T11" fmla="*/ 2 h 98"/>
                    <a:gd name="T12" fmla="*/ 40 w 99"/>
                    <a:gd name="T13" fmla="*/ 6 h 98"/>
                    <a:gd name="T14" fmla="*/ 3 w 99"/>
                    <a:gd name="T15" fmla="*/ 17 h 98"/>
                    <a:gd name="T16" fmla="*/ 5 w 99"/>
                    <a:gd name="T17" fmla="*/ 46 h 98"/>
                    <a:gd name="T18" fmla="*/ 5 w 99"/>
                    <a:gd name="T19" fmla="*/ 63 h 98"/>
                    <a:gd name="T20" fmla="*/ 1 w 99"/>
                    <a:gd name="T21" fmla="*/ 66 h 98"/>
                    <a:gd name="T22" fmla="*/ 15 w 99"/>
                    <a:gd name="T23" fmla="*/ 78 h 98"/>
                    <a:gd name="T24" fmla="*/ 30 w 99"/>
                    <a:gd name="T25" fmla="*/ 83 h 98"/>
                    <a:gd name="T26" fmla="*/ 37 w 99"/>
                    <a:gd name="T27" fmla="*/ 91 h 98"/>
                    <a:gd name="T28" fmla="*/ 44 w 99"/>
                    <a:gd name="T29" fmla="*/ 97 h 98"/>
                    <a:gd name="T30" fmla="*/ 82 w 99"/>
                    <a:gd name="T31" fmla="*/ 83 h 98"/>
                    <a:gd name="T32" fmla="*/ 85 w 99"/>
                    <a:gd name="T33" fmla="*/ 88 h 98"/>
                    <a:gd name="T34" fmla="*/ 91 w 99"/>
                    <a:gd name="T35" fmla="*/ 88 h 98"/>
                    <a:gd name="T36" fmla="*/ 96 w 99"/>
                    <a:gd name="T37" fmla="*/ 77 h 98"/>
                    <a:gd name="T38" fmla="*/ 93 w 99"/>
                    <a:gd name="T39" fmla="*/ 70 h 98"/>
                    <a:gd name="T40" fmla="*/ 99 w 99"/>
                    <a:gd name="T41" fmla="*/ 20 h 98"/>
                    <a:gd name="T42" fmla="*/ 13 w 99"/>
                    <a:gd name="T43" fmla="*/ 26 h 98"/>
                    <a:gd name="T44" fmla="*/ 23 w 99"/>
                    <a:gd name="T45" fmla="*/ 32 h 98"/>
                    <a:gd name="T46" fmla="*/ 15 w 99"/>
                    <a:gd name="T47" fmla="*/ 43 h 98"/>
                    <a:gd name="T48" fmla="*/ 13 w 99"/>
                    <a:gd name="T49" fmla="*/ 26 h 98"/>
                    <a:gd name="T50" fmla="*/ 34 w 99"/>
                    <a:gd name="T51" fmla="*/ 75 h 98"/>
                    <a:gd name="T52" fmla="*/ 36 w 99"/>
                    <a:gd name="T53" fmla="*/ 72 h 98"/>
                    <a:gd name="T54" fmla="*/ 38 w 99"/>
                    <a:gd name="T55" fmla="*/ 76 h 98"/>
                    <a:gd name="T56" fmla="*/ 34 w 99"/>
                    <a:gd name="T57" fmla="*/ 75 h 98"/>
                    <a:gd name="T58" fmla="*/ 38 w 99"/>
                    <a:gd name="T59" fmla="*/ 66 h 98"/>
                    <a:gd name="T60" fmla="*/ 34 w 99"/>
                    <a:gd name="T61" fmla="*/ 65 h 98"/>
                    <a:gd name="T62" fmla="*/ 22 w 99"/>
                    <a:gd name="T63" fmla="*/ 72 h 98"/>
                    <a:gd name="T64" fmla="*/ 32 w 99"/>
                    <a:gd name="T65" fmla="*/ 58 h 98"/>
                    <a:gd name="T66" fmla="*/ 34 w 99"/>
                    <a:gd name="T67" fmla="*/ 48 h 98"/>
                    <a:gd name="T68" fmla="*/ 29 w 99"/>
                    <a:gd name="T69" fmla="*/ 50 h 98"/>
                    <a:gd name="T70" fmla="*/ 15 w 99"/>
                    <a:gd name="T71" fmla="*/ 67 h 98"/>
                    <a:gd name="T72" fmla="*/ 21 w 99"/>
                    <a:gd name="T73" fmla="*/ 53 h 98"/>
                    <a:gd name="T74" fmla="*/ 31 w 99"/>
                    <a:gd name="T75" fmla="*/ 39 h 98"/>
                    <a:gd name="T76" fmla="*/ 33 w 99"/>
                    <a:gd name="T77" fmla="*/ 38 h 98"/>
                    <a:gd name="T78" fmla="*/ 33 w 99"/>
                    <a:gd name="T79" fmla="*/ 37 h 98"/>
                    <a:gd name="T80" fmla="*/ 35 w 99"/>
                    <a:gd name="T81" fmla="*/ 37 h 98"/>
                    <a:gd name="T82" fmla="*/ 34 w 99"/>
                    <a:gd name="T83" fmla="*/ 43 h 98"/>
                    <a:gd name="T84" fmla="*/ 39 w 99"/>
                    <a:gd name="T85" fmla="*/ 51 h 98"/>
                    <a:gd name="T86" fmla="*/ 38 w 99"/>
                    <a:gd name="T87" fmla="*/ 66 h 98"/>
                    <a:gd name="T88" fmla="*/ 15 w 99"/>
                    <a:gd name="T89" fmla="*/ 19 h 98"/>
                    <a:gd name="T90" fmla="*/ 49 w 99"/>
                    <a:gd name="T91" fmla="*/ 12 h 98"/>
                    <a:gd name="T92" fmla="*/ 51 w 99"/>
                    <a:gd name="T93" fmla="*/ 11 h 98"/>
                    <a:gd name="T94" fmla="*/ 84 w 99"/>
                    <a:gd name="T95" fmla="*/ 19 h 98"/>
                    <a:gd name="T96" fmla="*/ 49 w 99"/>
                    <a:gd name="T97" fmla="*/ 34 h 98"/>
                    <a:gd name="T98" fmla="*/ 15 w 99"/>
                    <a:gd name="T99" fmla="*/ 19 h 98"/>
                    <a:gd name="T100" fmla="*/ 86 w 99"/>
                    <a:gd name="T101" fmla="*/ 56 h 98"/>
                    <a:gd name="T102" fmla="*/ 83 w 99"/>
                    <a:gd name="T103" fmla="*/ 76 h 98"/>
                    <a:gd name="T104" fmla="*/ 47 w 99"/>
                    <a:gd name="T105" fmla="*/ 86 h 98"/>
                    <a:gd name="T106" fmla="*/ 47 w 99"/>
                    <a:gd name="T107" fmla="*/ 71 h 98"/>
                    <a:gd name="T108" fmla="*/ 45 w 99"/>
                    <a:gd name="T109" fmla="*/ 66 h 98"/>
                    <a:gd name="T110" fmla="*/ 52 w 99"/>
                    <a:gd name="T111" fmla="*/ 43 h 98"/>
                    <a:gd name="T112" fmla="*/ 52 w 99"/>
                    <a:gd name="T113" fmla="*/ 40 h 98"/>
                    <a:gd name="T114" fmla="*/ 88 w 99"/>
                    <a:gd name="T115" fmla="*/ 24 h 98"/>
                    <a:gd name="T116" fmla="*/ 89 w 99"/>
                    <a:gd name="T117" fmla="*/ 25 h 98"/>
                    <a:gd name="T118" fmla="*/ 86 w 99"/>
                    <a:gd name="T119" fmla="*/ 5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98">
                      <a:moveTo>
                        <a:pt x="99" y="20"/>
                      </a:moveTo>
                      <a:cubicBezTo>
                        <a:pt x="97" y="19"/>
                        <a:pt x="99" y="16"/>
                        <a:pt x="97" y="14"/>
                      </a:cubicBezTo>
                      <a:cubicBezTo>
                        <a:pt x="95" y="14"/>
                        <a:pt x="95" y="12"/>
                        <a:pt x="93" y="12"/>
                      </a:cubicBezTo>
                      <a:cubicBezTo>
                        <a:pt x="91" y="11"/>
                        <a:pt x="88" y="12"/>
                        <a:pt x="85" y="12"/>
                      </a:cubicBezTo>
                      <a:cubicBezTo>
                        <a:pt x="75" y="11"/>
                        <a:pt x="64" y="5"/>
                        <a:pt x="54" y="4"/>
                      </a:cubicBezTo>
                      <a:cubicBezTo>
                        <a:pt x="52" y="0"/>
                        <a:pt x="45" y="0"/>
                        <a:pt x="42" y="2"/>
                      </a:cubicBezTo>
                      <a:cubicBezTo>
                        <a:pt x="41" y="3"/>
                        <a:pt x="41" y="5"/>
                        <a:pt x="40" y="6"/>
                      </a:cubicBezTo>
                      <a:cubicBezTo>
                        <a:pt x="27" y="9"/>
                        <a:pt x="13" y="11"/>
                        <a:pt x="3" y="17"/>
                      </a:cubicBezTo>
                      <a:cubicBezTo>
                        <a:pt x="8" y="25"/>
                        <a:pt x="5" y="36"/>
                        <a:pt x="5" y="46"/>
                      </a:cubicBezTo>
                      <a:cubicBezTo>
                        <a:pt x="5" y="51"/>
                        <a:pt x="5" y="57"/>
                        <a:pt x="5" y="63"/>
                      </a:cubicBezTo>
                      <a:cubicBezTo>
                        <a:pt x="2" y="62"/>
                        <a:pt x="1" y="64"/>
                        <a:pt x="1" y="66"/>
                      </a:cubicBezTo>
                      <a:cubicBezTo>
                        <a:pt x="0" y="72"/>
                        <a:pt x="15" y="72"/>
                        <a:pt x="15" y="78"/>
                      </a:cubicBezTo>
                      <a:cubicBezTo>
                        <a:pt x="23" y="76"/>
                        <a:pt x="22" y="84"/>
                        <a:pt x="30" y="83"/>
                      </a:cubicBezTo>
                      <a:cubicBezTo>
                        <a:pt x="32" y="86"/>
                        <a:pt x="33" y="90"/>
                        <a:pt x="37" y="91"/>
                      </a:cubicBezTo>
                      <a:cubicBezTo>
                        <a:pt x="36" y="96"/>
                        <a:pt x="40" y="98"/>
                        <a:pt x="44" y="97"/>
                      </a:cubicBezTo>
                      <a:cubicBezTo>
                        <a:pt x="53" y="89"/>
                        <a:pt x="67" y="86"/>
                        <a:pt x="82" y="83"/>
                      </a:cubicBezTo>
                      <a:cubicBezTo>
                        <a:pt x="83" y="85"/>
                        <a:pt x="84" y="87"/>
                        <a:pt x="85" y="88"/>
                      </a:cubicBezTo>
                      <a:cubicBezTo>
                        <a:pt x="87" y="88"/>
                        <a:pt x="88" y="89"/>
                        <a:pt x="91" y="88"/>
                      </a:cubicBezTo>
                      <a:cubicBezTo>
                        <a:pt x="93" y="84"/>
                        <a:pt x="93" y="80"/>
                        <a:pt x="96" y="77"/>
                      </a:cubicBezTo>
                      <a:cubicBezTo>
                        <a:pt x="95" y="74"/>
                        <a:pt x="94" y="72"/>
                        <a:pt x="93" y="70"/>
                      </a:cubicBezTo>
                      <a:cubicBezTo>
                        <a:pt x="93" y="51"/>
                        <a:pt x="94" y="33"/>
                        <a:pt x="99" y="20"/>
                      </a:cubicBezTo>
                      <a:close/>
                      <a:moveTo>
                        <a:pt x="13" y="26"/>
                      </a:moveTo>
                      <a:cubicBezTo>
                        <a:pt x="23" y="32"/>
                        <a:pt x="23" y="32"/>
                        <a:pt x="23" y="32"/>
                      </a:cubicBezTo>
                      <a:cubicBezTo>
                        <a:pt x="15" y="43"/>
                        <a:pt x="15" y="43"/>
                        <a:pt x="15" y="43"/>
                      </a:cubicBezTo>
                      <a:cubicBezTo>
                        <a:pt x="13" y="26"/>
                        <a:pt x="13" y="26"/>
                        <a:pt x="13" y="26"/>
                      </a:cubicBezTo>
                      <a:close/>
                      <a:moveTo>
                        <a:pt x="34" y="75"/>
                      </a:moveTo>
                      <a:cubicBezTo>
                        <a:pt x="34" y="73"/>
                        <a:pt x="36" y="73"/>
                        <a:pt x="36" y="72"/>
                      </a:cubicBezTo>
                      <a:cubicBezTo>
                        <a:pt x="37" y="73"/>
                        <a:pt x="37" y="74"/>
                        <a:pt x="38" y="76"/>
                      </a:cubicBezTo>
                      <a:cubicBezTo>
                        <a:pt x="36" y="76"/>
                        <a:pt x="36" y="75"/>
                        <a:pt x="34" y="75"/>
                      </a:cubicBezTo>
                      <a:close/>
                      <a:moveTo>
                        <a:pt x="38" y="66"/>
                      </a:moveTo>
                      <a:cubicBezTo>
                        <a:pt x="36" y="67"/>
                        <a:pt x="36" y="64"/>
                        <a:pt x="34" y="65"/>
                      </a:cubicBezTo>
                      <a:cubicBezTo>
                        <a:pt x="28" y="65"/>
                        <a:pt x="28" y="74"/>
                        <a:pt x="22" y="72"/>
                      </a:cubicBezTo>
                      <a:cubicBezTo>
                        <a:pt x="25" y="67"/>
                        <a:pt x="28" y="63"/>
                        <a:pt x="32" y="58"/>
                      </a:cubicBezTo>
                      <a:cubicBezTo>
                        <a:pt x="35" y="55"/>
                        <a:pt x="40" y="50"/>
                        <a:pt x="34" y="48"/>
                      </a:cubicBezTo>
                      <a:cubicBezTo>
                        <a:pt x="32" y="47"/>
                        <a:pt x="30" y="49"/>
                        <a:pt x="29" y="50"/>
                      </a:cubicBezTo>
                      <a:cubicBezTo>
                        <a:pt x="23" y="53"/>
                        <a:pt x="19" y="65"/>
                        <a:pt x="15" y="67"/>
                      </a:cubicBezTo>
                      <a:cubicBezTo>
                        <a:pt x="12" y="63"/>
                        <a:pt x="18" y="57"/>
                        <a:pt x="21" y="53"/>
                      </a:cubicBezTo>
                      <a:cubicBezTo>
                        <a:pt x="24" y="48"/>
                        <a:pt x="28" y="44"/>
                        <a:pt x="31" y="39"/>
                      </a:cubicBezTo>
                      <a:cubicBezTo>
                        <a:pt x="31" y="39"/>
                        <a:pt x="33" y="39"/>
                        <a:pt x="33" y="38"/>
                      </a:cubicBezTo>
                      <a:cubicBezTo>
                        <a:pt x="33" y="37"/>
                        <a:pt x="34" y="37"/>
                        <a:pt x="33" y="37"/>
                      </a:cubicBezTo>
                      <a:cubicBezTo>
                        <a:pt x="33" y="35"/>
                        <a:pt x="35" y="36"/>
                        <a:pt x="35" y="37"/>
                      </a:cubicBezTo>
                      <a:cubicBezTo>
                        <a:pt x="35" y="39"/>
                        <a:pt x="33" y="41"/>
                        <a:pt x="34" y="43"/>
                      </a:cubicBezTo>
                      <a:cubicBezTo>
                        <a:pt x="35" y="46"/>
                        <a:pt x="38" y="48"/>
                        <a:pt x="39" y="51"/>
                      </a:cubicBezTo>
                      <a:cubicBezTo>
                        <a:pt x="40" y="56"/>
                        <a:pt x="36" y="59"/>
                        <a:pt x="38" y="66"/>
                      </a:cubicBezTo>
                      <a:close/>
                      <a:moveTo>
                        <a:pt x="15" y="19"/>
                      </a:moveTo>
                      <a:cubicBezTo>
                        <a:pt x="24" y="15"/>
                        <a:pt x="37" y="10"/>
                        <a:pt x="49" y="12"/>
                      </a:cubicBezTo>
                      <a:cubicBezTo>
                        <a:pt x="51" y="13"/>
                        <a:pt x="50" y="11"/>
                        <a:pt x="51" y="11"/>
                      </a:cubicBezTo>
                      <a:cubicBezTo>
                        <a:pt x="62" y="12"/>
                        <a:pt x="73" y="16"/>
                        <a:pt x="84" y="19"/>
                      </a:cubicBezTo>
                      <a:cubicBezTo>
                        <a:pt x="72" y="24"/>
                        <a:pt x="60" y="29"/>
                        <a:pt x="49" y="34"/>
                      </a:cubicBezTo>
                      <a:cubicBezTo>
                        <a:pt x="38" y="30"/>
                        <a:pt x="23" y="27"/>
                        <a:pt x="15" y="19"/>
                      </a:cubicBezTo>
                      <a:close/>
                      <a:moveTo>
                        <a:pt x="86" y="56"/>
                      </a:moveTo>
                      <a:cubicBezTo>
                        <a:pt x="85" y="63"/>
                        <a:pt x="87" y="71"/>
                        <a:pt x="83" y="76"/>
                      </a:cubicBezTo>
                      <a:cubicBezTo>
                        <a:pt x="72" y="80"/>
                        <a:pt x="59" y="82"/>
                        <a:pt x="47" y="86"/>
                      </a:cubicBezTo>
                      <a:cubicBezTo>
                        <a:pt x="42" y="83"/>
                        <a:pt x="47" y="76"/>
                        <a:pt x="47" y="71"/>
                      </a:cubicBezTo>
                      <a:cubicBezTo>
                        <a:pt x="47" y="70"/>
                        <a:pt x="46" y="68"/>
                        <a:pt x="45" y="66"/>
                      </a:cubicBezTo>
                      <a:cubicBezTo>
                        <a:pt x="44" y="58"/>
                        <a:pt x="45" y="48"/>
                        <a:pt x="52" y="43"/>
                      </a:cubicBezTo>
                      <a:cubicBezTo>
                        <a:pt x="51" y="42"/>
                        <a:pt x="51" y="41"/>
                        <a:pt x="52" y="40"/>
                      </a:cubicBezTo>
                      <a:cubicBezTo>
                        <a:pt x="61" y="32"/>
                        <a:pt x="77" y="30"/>
                        <a:pt x="88" y="24"/>
                      </a:cubicBezTo>
                      <a:cubicBezTo>
                        <a:pt x="89" y="24"/>
                        <a:pt x="89" y="24"/>
                        <a:pt x="89" y="25"/>
                      </a:cubicBezTo>
                      <a:cubicBezTo>
                        <a:pt x="90" y="33"/>
                        <a:pt x="87" y="45"/>
                        <a:pt x="86" y="56"/>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00" name="Freeform 18">
                <a:extLst>
                  <a:ext uri="{FF2B5EF4-FFF2-40B4-BE49-F238E27FC236}">
                    <a16:creationId xmlns:a16="http://schemas.microsoft.com/office/drawing/2014/main" id="{E3B2F77A-5A38-E58B-772E-1273288DAD9D}"/>
                  </a:ext>
                </a:extLst>
              </p:cNvPr>
              <p:cNvSpPr>
                <a:spLocks/>
              </p:cNvSpPr>
              <p:nvPr/>
            </p:nvSpPr>
            <p:spPr bwMode="auto">
              <a:xfrm>
                <a:off x="8194257" y="594900"/>
                <a:ext cx="423193" cy="129549"/>
              </a:xfrm>
              <a:custGeom>
                <a:avLst/>
                <a:gdLst>
                  <a:gd name="T0" fmla="*/ 115 w 131"/>
                  <a:gd name="T1" fmla="*/ 1 h 40"/>
                  <a:gd name="T2" fmla="*/ 110 w 131"/>
                  <a:gd name="T3" fmla="*/ 4 h 40"/>
                  <a:gd name="T4" fmla="*/ 119 w 131"/>
                  <a:gd name="T5" fmla="*/ 17 h 40"/>
                  <a:gd name="T6" fmla="*/ 81 w 131"/>
                  <a:gd name="T7" fmla="*/ 13 h 40"/>
                  <a:gd name="T8" fmla="*/ 41 w 131"/>
                  <a:gd name="T9" fmla="*/ 15 h 40"/>
                  <a:gd name="T10" fmla="*/ 7 w 131"/>
                  <a:gd name="T11" fmla="*/ 26 h 40"/>
                  <a:gd name="T12" fmla="*/ 0 w 131"/>
                  <a:gd name="T13" fmla="*/ 31 h 40"/>
                  <a:gd name="T14" fmla="*/ 10 w 131"/>
                  <a:gd name="T15" fmla="*/ 30 h 40"/>
                  <a:gd name="T16" fmla="*/ 88 w 131"/>
                  <a:gd name="T17" fmla="*/ 18 h 40"/>
                  <a:gd name="T18" fmla="*/ 118 w 131"/>
                  <a:gd name="T19" fmla="*/ 24 h 40"/>
                  <a:gd name="T20" fmla="*/ 112 w 131"/>
                  <a:gd name="T21" fmla="*/ 40 h 40"/>
                  <a:gd name="T22" fmla="*/ 126 w 131"/>
                  <a:gd name="T23" fmla="*/ 26 h 40"/>
                  <a:gd name="T24" fmla="*/ 131 w 131"/>
                  <a:gd name="T25" fmla="*/ 20 h 40"/>
                  <a:gd name="T26" fmla="*/ 115 w 131"/>
                  <a:gd name="T27"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40">
                    <a:moveTo>
                      <a:pt x="115" y="1"/>
                    </a:moveTo>
                    <a:cubicBezTo>
                      <a:pt x="112" y="0"/>
                      <a:pt x="110" y="1"/>
                      <a:pt x="110" y="4"/>
                    </a:cubicBezTo>
                    <a:cubicBezTo>
                      <a:pt x="109" y="9"/>
                      <a:pt x="120" y="13"/>
                      <a:pt x="119" y="17"/>
                    </a:cubicBezTo>
                    <a:cubicBezTo>
                      <a:pt x="107" y="16"/>
                      <a:pt x="94" y="14"/>
                      <a:pt x="81" y="13"/>
                    </a:cubicBezTo>
                    <a:cubicBezTo>
                      <a:pt x="68" y="12"/>
                      <a:pt x="53" y="13"/>
                      <a:pt x="41" y="15"/>
                    </a:cubicBezTo>
                    <a:cubicBezTo>
                      <a:pt x="27" y="17"/>
                      <a:pt x="17" y="21"/>
                      <a:pt x="7" y="26"/>
                    </a:cubicBezTo>
                    <a:cubicBezTo>
                      <a:pt x="5" y="27"/>
                      <a:pt x="0" y="28"/>
                      <a:pt x="0" y="31"/>
                    </a:cubicBezTo>
                    <a:cubicBezTo>
                      <a:pt x="0" y="36"/>
                      <a:pt x="9" y="35"/>
                      <a:pt x="10" y="30"/>
                    </a:cubicBezTo>
                    <a:cubicBezTo>
                      <a:pt x="29" y="18"/>
                      <a:pt x="60" y="15"/>
                      <a:pt x="88" y="18"/>
                    </a:cubicBezTo>
                    <a:cubicBezTo>
                      <a:pt x="99" y="19"/>
                      <a:pt x="110" y="20"/>
                      <a:pt x="118" y="24"/>
                    </a:cubicBezTo>
                    <a:cubicBezTo>
                      <a:pt x="115" y="28"/>
                      <a:pt x="101" y="35"/>
                      <a:pt x="112" y="40"/>
                    </a:cubicBezTo>
                    <a:cubicBezTo>
                      <a:pt x="116" y="35"/>
                      <a:pt x="120" y="29"/>
                      <a:pt x="126" y="26"/>
                    </a:cubicBezTo>
                    <a:cubicBezTo>
                      <a:pt x="128" y="24"/>
                      <a:pt x="131" y="24"/>
                      <a:pt x="131" y="20"/>
                    </a:cubicBezTo>
                    <a:cubicBezTo>
                      <a:pt x="125" y="14"/>
                      <a:pt x="119" y="9"/>
                      <a:pt x="1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sp>
        <p:nvSpPr>
          <p:cNvPr id="151" name="TextBox 150">
            <a:extLst>
              <a:ext uri="{FF2B5EF4-FFF2-40B4-BE49-F238E27FC236}">
                <a16:creationId xmlns:a16="http://schemas.microsoft.com/office/drawing/2014/main" id="{D049AEDB-A387-7879-6ED7-32714C6876C1}"/>
              </a:ext>
            </a:extLst>
          </p:cNvPr>
          <p:cNvSpPr txBox="1"/>
          <p:nvPr/>
        </p:nvSpPr>
        <p:spPr>
          <a:xfrm>
            <a:off x="368899" y="4205210"/>
            <a:ext cx="4040259" cy="2221612"/>
          </a:xfrm>
          <a:prstGeom prst="rect">
            <a:avLst/>
          </a:prstGeom>
          <a:noFill/>
        </p:spPr>
        <p:txBody>
          <a:bodyPr wrap="square" lIns="121899" tIns="60949" rIns="121899" bIns="60949" rtlCol="0">
            <a:spAutoFit/>
          </a:bodyPr>
          <a:lstStyle/>
          <a:p>
            <a:pPr marL="228600" indent="-228600" defTabSz="992718">
              <a:lnSpc>
                <a:spcPct val="114000"/>
              </a:lnSpc>
              <a:spcBef>
                <a:spcPts val="200"/>
              </a:spcBef>
              <a:spcAft>
                <a:spcPts val="0"/>
              </a:spcAft>
              <a:buSzTx/>
              <a:buFont typeface="+mj-lt"/>
              <a:buAutoNum type="arabicPeriod"/>
              <a:defRPr/>
            </a:pPr>
            <a:r>
              <a:rPr lang="en-US" sz="1000" b="1"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Project initialization</a:t>
            </a:r>
          </a:p>
          <a:p>
            <a:pPr marL="432000" lvl="1" indent="-228600" defTabSz="992718">
              <a:lnSpc>
                <a:spcPct val="114000"/>
              </a:lnSpc>
              <a:spcBef>
                <a:spcPts val="200"/>
              </a:spcBef>
              <a:buFont typeface="Arial" panose="020B0604020202020204" pitchFamily="34" charset="0"/>
              <a:buChar char="•"/>
              <a:defRP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Kick-off, mobilization</a:t>
            </a:r>
          </a:p>
          <a:p>
            <a:pPr marL="432000" lvl="1" indent="-228600" defTabSz="992718">
              <a:lnSpc>
                <a:spcPct val="114000"/>
              </a:lnSpc>
              <a:spcBef>
                <a:spcPts val="200"/>
              </a:spcBef>
              <a:buFont typeface="Arial" panose="020B0604020202020204" pitchFamily="34" charset="0"/>
              <a:buChar char="•"/>
              <a:defRP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Scope, project plan finalization, Project Charter foundation</a:t>
            </a:r>
          </a:p>
          <a:p>
            <a:pPr marL="432000" lvl="1" indent="-228600" defTabSz="992718">
              <a:lnSpc>
                <a:spcPct val="114000"/>
              </a:lnSpc>
              <a:spcBef>
                <a:spcPts val="200"/>
              </a:spcBef>
              <a:buFont typeface="Arial" panose="020B0604020202020204" pitchFamily="34" charset="0"/>
              <a:buChar char="•"/>
              <a:defRP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dentifying all available documents, necessary information and key stakeholders</a:t>
            </a:r>
          </a:p>
          <a:p>
            <a:pPr marL="230400" lvl="1" indent="-228600" defTabSz="992718">
              <a:lnSpc>
                <a:spcPct val="114000"/>
              </a:lnSpc>
              <a:spcBef>
                <a:spcPts val="200"/>
              </a:spcBef>
              <a:buFont typeface="+mj-lt"/>
              <a:buAutoNum type="arabicPeriod" startAt="2"/>
              <a:defRPr/>
            </a:pPr>
            <a:r>
              <a:rPr lang="en-US" sz="1000" b="1"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Current state and requirement mapping, data consolidation</a:t>
            </a:r>
          </a:p>
          <a:p>
            <a:pPr marL="432000" lvl="1" indent="-228600" defTabSz="992718">
              <a:lnSpc>
                <a:spcPct val="114000"/>
              </a:lnSpc>
              <a:spcBef>
                <a:spcPts val="200"/>
              </a:spcBef>
              <a:buFont typeface="Arial" panose="020B0604020202020204" pitchFamily="34" charset="0"/>
              <a:buChar char="•"/>
              <a:defRP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Conducting management interviews</a:t>
            </a:r>
          </a:p>
          <a:p>
            <a:pPr marL="432000" lvl="1" indent="-228600" defTabSz="992718">
              <a:lnSpc>
                <a:spcPct val="114000"/>
              </a:lnSpc>
              <a:spcBef>
                <a:spcPts val="200"/>
              </a:spcBef>
              <a:buFont typeface="Arial" panose="020B0604020202020204" pitchFamily="34" charset="0"/>
              <a:buChar char="•"/>
              <a:defRP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Processing relevant documents (e.g., business strategy, process descriptions, organizational chart, etc.)</a:t>
            </a:r>
          </a:p>
          <a:p>
            <a:pPr marL="432000" lvl="1" indent="-228600" defTabSz="992718">
              <a:lnSpc>
                <a:spcPct val="114000"/>
              </a:lnSpc>
              <a:spcBef>
                <a:spcPts val="200"/>
              </a:spcBef>
              <a:buFont typeface="Arial" panose="020B0604020202020204" pitchFamily="34" charset="0"/>
              <a:buChar char="•"/>
              <a:defRP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Workshops with relevant stakeholders (in smaller groups by functions)</a:t>
            </a:r>
          </a:p>
        </p:txBody>
      </p:sp>
      <p:sp>
        <p:nvSpPr>
          <p:cNvPr id="152" name="TextBox 151">
            <a:extLst>
              <a:ext uri="{FF2B5EF4-FFF2-40B4-BE49-F238E27FC236}">
                <a16:creationId xmlns:a16="http://schemas.microsoft.com/office/drawing/2014/main" id="{30B98E41-12C8-4E9D-6798-0329E780C20B}"/>
              </a:ext>
            </a:extLst>
          </p:cNvPr>
          <p:cNvSpPr txBox="1"/>
          <p:nvPr/>
        </p:nvSpPr>
        <p:spPr>
          <a:xfrm>
            <a:off x="4522268" y="4205210"/>
            <a:ext cx="3240000" cy="1669666"/>
          </a:xfrm>
          <a:prstGeom prst="rect">
            <a:avLst/>
          </a:prstGeom>
          <a:noFill/>
        </p:spPr>
        <p:txBody>
          <a:bodyPr wrap="square" lIns="121899" tIns="60949" rIns="121899" bIns="60949" rtlCol="0">
            <a:spAutoFit/>
          </a:bodyPr>
          <a:lstStyle/>
          <a:p>
            <a:pPr marL="228600" indent="-228600">
              <a:lnSpc>
                <a:spcPct val="114000"/>
              </a:lnSpc>
              <a:spcBef>
                <a:spcPts val="200"/>
              </a:spcBef>
              <a:spcAft>
                <a:spcPts val="0"/>
              </a:spcAft>
              <a:buFont typeface="+mj-lt"/>
              <a:buAutoNum type="arabicPeriod" startAt="3"/>
            </a:pPr>
            <a:r>
              <a:rPr lang="en-US" sz="1000" b="1"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Future state planning</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dentifying and consolidating alternatives</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Management workshops</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Stream workshops</a:t>
            </a:r>
          </a:p>
          <a:p>
            <a:pPr marL="228600" indent="-228600">
              <a:lnSpc>
                <a:spcPct val="114000"/>
              </a:lnSpc>
              <a:spcBef>
                <a:spcPts val="200"/>
              </a:spcBef>
              <a:spcAft>
                <a:spcPts val="0"/>
              </a:spcAft>
              <a:buFont typeface="+mj-lt"/>
              <a:buAutoNum type="arabicPeriod" startAt="4"/>
            </a:pPr>
            <a:r>
              <a:rPr lang="en-US" sz="1000" b="1"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GAP analysis</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dentifying and evaluating the gaps between the current and future states</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Developing roadmap scenarios</a:t>
            </a:r>
          </a:p>
        </p:txBody>
      </p:sp>
      <p:cxnSp>
        <p:nvCxnSpPr>
          <p:cNvPr id="153" name="Straight Connector 152">
            <a:extLst>
              <a:ext uri="{FF2B5EF4-FFF2-40B4-BE49-F238E27FC236}">
                <a16:creationId xmlns:a16="http://schemas.microsoft.com/office/drawing/2014/main" id="{5EF823E9-9CA1-80FC-DF70-9FD4B0771F2F}"/>
              </a:ext>
            </a:extLst>
          </p:cNvPr>
          <p:cNvCxnSpPr>
            <a:cxnSpLocks/>
          </p:cNvCxnSpPr>
          <p:nvPr/>
        </p:nvCxnSpPr>
        <p:spPr>
          <a:xfrm>
            <a:off x="603290" y="4000370"/>
            <a:ext cx="10972800" cy="0"/>
          </a:xfrm>
          <a:prstGeom prst="line">
            <a:avLst/>
          </a:prstGeom>
          <a:noFill/>
          <a:ln w="9525" cap="flat" cmpd="sng" algn="ctr">
            <a:solidFill>
              <a:srgbClr val="BFBFBF"/>
            </a:solidFill>
            <a:prstDash val="sysDot"/>
            <a:miter lim="800000"/>
          </a:ln>
          <a:effectLst/>
        </p:spPr>
      </p:cxnSp>
      <p:sp>
        <p:nvSpPr>
          <p:cNvPr id="154" name="TextBox 153">
            <a:extLst>
              <a:ext uri="{FF2B5EF4-FFF2-40B4-BE49-F238E27FC236}">
                <a16:creationId xmlns:a16="http://schemas.microsoft.com/office/drawing/2014/main" id="{A51CB7EB-61AA-6DEC-AF9E-B1F93BFAD766}"/>
              </a:ext>
            </a:extLst>
          </p:cNvPr>
          <p:cNvSpPr txBox="1"/>
          <p:nvPr/>
        </p:nvSpPr>
        <p:spPr>
          <a:xfrm>
            <a:off x="1504866" y="3362162"/>
            <a:ext cx="2226934" cy="461665"/>
          </a:xfrm>
          <a:prstGeom prst="rect">
            <a:avLst/>
          </a:prstGeom>
          <a:noFill/>
        </p:spPr>
        <p:txBody>
          <a:bodyPr wrap="square" lIns="0" tIns="0" rIns="0" bIns="0" rtlCol="0" anchor="t">
            <a:spAutoFit/>
          </a:bodyPr>
          <a:lstStyle/>
          <a:p>
            <a:pPr algn="ctr">
              <a:spcBef>
                <a:spcPts val="200"/>
              </a:spcBef>
              <a:spcAft>
                <a:spcPts val="0"/>
              </a:spcAft>
            </a:pPr>
            <a:r>
              <a:rPr lang="en-US" sz="1000" i="1" dirty="0">
                <a:solidFill>
                  <a:srgbClr val="53565A"/>
                </a:solidFill>
                <a:latin typeface="Open Sans Light" panose="020B0306030504020204" pitchFamily="34" charset="0"/>
                <a:ea typeface="Open Sans Light" panose="020B0306030504020204" pitchFamily="34" charset="0"/>
                <a:cs typeface="Open Sans Light" panose="020B0306030504020204" pitchFamily="34" charset="0"/>
              </a:rPr>
              <a:t>Project kick-off and assessment of the current state of IT based on our Deloitte strategy methodology.</a:t>
            </a:r>
          </a:p>
        </p:txBody>
      </p:sp>
      <p:sp>
        <p:nvSpPr>
          <p:cNvPr id="155" name="TextBox 154">
            <a:extLst>
              <a:ext uri="{FF2B5EF4-FFF2-40B4-BE49-F238E27FC236}">
                <a16:creationId xmlns:a16="http://schemas.microsoft.com/office/drawing/2014/main" id="{00AF8476-9387-724B-4ED2-5176F4ED6D3E}"/>
              </a:ext>
            </a:extLst>
          </p:cNvPr>
          <p:cNvSpPr txBox="1"/>
          <p:nvPr/>
        </p:nvSpPr>
        <p:spPr>
          <a:xfrm>
            <a:off x="4647851" y="3356805"/>
            <a:ext cx="2743200" cy="615553"/>
          </a:xfrm>
          <a:prstGeom prst="rect">
            <a:avLst/>
          </a:prstGeom>
          <a:noFill/>
        </p:spPr>
        <p:txBody>
          <a:bodyPr wrap="square" lIns="0" tIns="0" rIns="0" bIns="0" rtlCol="0" anchor="t">
            <a:spAutoFit/>
          </a:bodyPr>
          <a:lstStyle/>
          <a:p>
            <a:pPr algn="ctr">
              <a:spcBef>
                <a:spcPts val="200"/>
              </a:spcBef>
              <a:buSzPct val="25000"/>
              <a:defRPr/>
            </a:pPr>
            <a:r>
              <a:rPr lang="en-US" sz="1000" i="1" dirty="0">
                <a:solidFill>
                  <a:srgbClr val="53565A"/>
                </a:solidFill>
                <a:latin typeface="Open Sans Light" panose="020B0306030504020204" pitchFamily="34" charset="0"/>
                <a:ea typeface="Open Sans Light" panose="020B0306030504020204" pitchFamily="34" charset="0"/>
                <a:cs typeface="Open Sans Light" panose="020B0306030504020204" pitchFamily="34" charset="0"/>
              </a:rPr>
              <a:t>Collecting alternative future paths for the IT organization based on opportunities and strengths of the company, as well as industry standards and stakeholder expectations. </a:t>
            </a:r>
          </a:p>
        </p:txBody>
      </p:sp>
      <p:sp>
        <p:nvSpPr>
          <p:cNvPr id="156" name="TextBox 155">
            <a:extLst>
              <a:ext uri="{FF2B5EF4-FFF2-40B4-BE49-F238E27FC236}">
                <a16:creationId xmlns:a16="http://schemas.microsoft.com/office/drawing/2014/main" id="{2E5436FC-DFC9-2F5C-652D-C6A1EF4D7DAD}"/>
              </a:ext>
            </a:extLst>
          </p:cNvPr>
          <p:cNvSpPr txBox="1"/>
          <p:nvPr/>
        </p:nvSpPr>
        <p:spPr>
          <a:xfrm>
            <a:off x="8191396" y="3356805"/>
            <a:ext cx="2743200" cy="461665"/>
          </a:xfrm>
          <a:prstGeom prst="rect">
            <a:avLst/>
          </a:prstGeom>
          <a:noFill/>
        </p:spPr>
        <p:txBody>
          <a:bodyPr wrap="square" lIns="0" tIns="0" rIns="0" bIns="0" rtlCol="0" anchor="t">
            <a:spAutoFit/>
          </a:bodyPr>
          <a:lstStyle>
            <a:defPPr>
              <a:defRPr lang="en-US"/>
            </a:defPPr>
            <a:lvl1pPr algn="ctr">
              <a:lnSpc>
                <a:spcPct val="107000"/>
              </a:lnSpc>
              <a:spcBef>
                <a:spcPts val="200"/>
              </a:spcBef>
              <a:buSzPct val="25000"/>
              <a:defRPr sz="900" i="1">
                <a:solidFill>
                  <a:srgbClr val="53565A"/>
                </a:solidFill>
                <a:latin typeface="Open Sans"/>
              </a:defRPr>
            </a:lvl1pPr>
          </a:lstStyle>
          <a:p>
            <a:pPr>
              <a:lnSpc>
                <a:spcPct val="100000"/>
              </a:lnSpc>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Developing a detailed strategic action plan, including a measurement methodology for  implementation.</a:t>
            </a:r>
          </a:p>
        </p:txBody>
      </p:sp>
      <p:sp>
        <p:nvSpPr>
          <p:cNvPr id="157" name="TextBox 156">
            <a:extLst>
              <a:ext uri="{FF2B5EF4-FFF2-40B4-BE49-F238E27FC236}">
                <a16:creationId xmlns:a16="http://schemas.microsoft.com/office/drawing/2014/main" id="{95802BA6-89A7-99AD-1E7A-87377C4B811E}"/>
              </a:ext>
            </a:extLst>
          </p:cNvPr>
          <p:cNvSpPr txBox="1"/>
          <p:nvPr/>
        </p:nvSpPr>
        <p:spPr>
          <a:xfrm>
            <a:off x="8035812" y="4205210"/>
            <a:ext cx="3540273" cy="2071827"/>
          </a:xfrm>
          <a:prstGeom prst="rect">
            <a:avLst/>
          </a:prstGeom>
          <a:noFill/>
        </p:spPr>
        <p:txBody>
          <a:bodyPr wrap="square" lIns="121899" tIns="60949" rIns="121899" bIns="60949" rtlCol="0">
            <a:spAutoFit/>
          </a:bodyPr>
          <a:lstStyle/>
          <a:p>
            <a:pPr marL="228600" indent="-228600">
              <a:lnSpc>
                <a:spcPct val="114000"/>
              </a:lnSpc>
              <a:spcBef>
                <a:spcPts val="200"/>
              </a:spcBef>
              <a:spcAft>
                <a:spcPts val="0"/>
              </a:spcAft>
              <a:buFont typeface="+mj-lt"/>
              <a:buAutoNum type="arabicPeriod" startAt="5"/>
            </a:pPr>
            <a:r>
              <a:rPr lang="en-US" sz="1000" b="1"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mplementation planning and capability assessment</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Outlining and validating roadmap</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dentifying requirements and cost structure</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Roadmap planning</a:t>
            </a:r>
          </a:p>
          <a:p>
            <a:pPr marL="228600" indent="-228600">
              <a:lnSpc>
                <a:spcPct val="114000"/>
              </a:lnSpc>
              <a:spcBef>
                <a:spcPts val="200"/>
              </a:spcBef>
              <a:spcAft>
                <a:spcPts val="0"/>
              </a:spcAft>
              <a:buFont typeface="+mj-lt"/>
              <a:buAutoNum type="arabicPeriod" startAt="6"/>
            </a:pPr>
            <a:r>
              <a:rPr lang="en-US" sz="1000" b="1"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Monitoring planning</a:t>
            </a:r>
          </a:p>
          <a:p>
            <a:pPr marL="432000" indent="-228600">
              <a:lnSpc>
                <a:spcPct val="114000"/>
              </a:lnSpc>
              <a:spcBef>
                <a:spcPts val="200"/>
              </a:spcBef>
              <a:spcAft>
                <a:spcPts val="0"/>
              </a:spcAft>
              <a:buFont typeface="Arial" panose="020B0604020202020204" pitchFamily="34" charset="0"/>
              <a:buChar char="•"/>
            </a:pPr>
            <a:r>
              <a:rPr lang="en-US" sz="1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Developing an implementation methodology for tracking and measuring of the strategy</a:t>
            </a:r>
          </a:p>
          <a:p>
            <a:pPr marL="228600" indent="-228600">
              <a:lnSpc>
                <a:spcPct val="114000"/>
              </a:lnSpc>
              <a:spcBef>
                <a:spcPts val="200"/>
              </a:spcBef>
              <a:buFont typeface="+mj-lt"/>
              <a:buAutoNum type="arabicPeriod" startAt="7"/>
            </a:pPr>
            <a:r>
              <a:rPr lang="en-US" sz="1000" b="1" dirty="0">
                <a:solidFill>
                  <a:srgbClr val="53565A"/>
                </a:solidFill>
                <a:latin typeface="Open Sans Light" panose="020B0306030504020204" pitchFamily="34" charset="0"/>
                <a:ea typeface="Open Sans Light" panose="020B0306030504020204" pitchFamily="34" charset="0"/>
                <a:cs typeface="Open Sans Light" panose="020B0306030504020204" pitchFamily="34" charset="0"/>
              </a:rPr>
              <a:t>Finalizing strategic action plan</a:t>
            </a:r>
          </a:p>
          <a:p>
            <a:pPr marL="228600" indent="-228600">
              <a:lnSpc>
                <a:spcPct val="114000"/>
              </a:lnSpc>
              <a:spcBef>
                <a:spcPts val="200"/>
              </a:spcBef>
              <a:buFont typeface="+mj-lt"/>
              <a:buAutoNum type="arabicPeriod" startAt="8"/>
            </a:pPr>
            <a:r>
              <a:rPr lang="en-US" sz="1000" b="1" dirty="0">
                <a:solidFill>
                  <a:srgbClr val="53565A"/>
                </a:solidFill>
                <a:latin typeface="Open Sans Light" panose="020B0306030504020204" pitchFamily="34" charset="0"/>
                <a:ea typeface="Open Sans Light" panose="020B0306030504020204" pitchFamily="34" charset="0"/>
                <a:cs typeface="Open Sans Light" panose="020B0306030504020204" pitchFamily="34" charset="0"/>
              </a:rPr>
              <a:t>Presentation of results for the management</a:t>
            </a:r>
          </a:p>
          <a:p>
            <a:pPr marL="228600" indent="-228600">
              <a:lnSpc>
                <a:spcPct val="114000"/>
              </a:lnSpc>
              <a:spcBef>
                <a:spcPts val="200"/>
              </a:spcBef>
              <a:buFont typeface="+mj-lt"/>
              <a:buAutoNum type="arabicPeriod" startAt="8"/>
            </a:pPr>
            <a:r>
              <a:rPr lang="en-US" sz="1000" b="1" dirty="0">
                <a:solidFill>
                  <a:srgbClr val="53565A"/>
                </a:solidFill>
                <a:latin typeface="Open Sans Light" panose="020B0306030504020204" pitchFamily="34" charset="0"/>
                <a:ea typeface="Open Sans Light" panose="020B0306030504020204" pitchFamily="34" charset="0"/>
                <a:cs typeface="Open Sans Light" panose="020B0306030504020204" pitchFamily="34" charset="0"/>
              </a:rPr>
              <a:t>Project closing</a:t>
            </a:r>
          </a:p>
        </p:txBody>
      </p:sp>
      <p:cxnSp>
        <p:nvCxnSpPr>
          <p:cNvPr id="158" name="Straight Connector 157">
            <a:extLst>
              <a:ext uri="{FF2B5EF4-FFF2-40B4-BE49-F238E27FC236}">
                <a16:creationId xmlns:a16="http://schemas.microsoft.com/office/drawing/2014/main" id="{76269E84-0991-3D16-FB71-A81D06F65A2C}"/>
              </a:ext>
            </a:extLst>
          </p:cNvPr>
          <p:cNvCxnSpPr/>
          <p:nvPr/>
        </p:nvCxnSpPr>
        <p:spPr>
          <a:xfrm>
            <a:off x="4380199" y="4138864"/>
            <a:ext cx="0" cy="2117579"/>
          </a:xfrm>
          <a:prstGeom prst="line">
            <a:avLst/>
          </a:prstGeom>
          <a:noFill/>
          <a:ln w="9525" cap="flat" cmpd="sng" algn="ctr">
            <a:solidFill>
              <a:srgbClr val="BFBFBF"/>
            </a:solidFill>
            <a:prstDash val="sysDot"/>
            <a:miter lim="800000"/>
          </a:ln>
          <a:effectLst/>
        </p:spPr>
      </p:cxnSp>
      <p:cxnSp>
        <p:nvCxnSpPr>
          <p:cNvPr id="159" name="Straight Connector 158">
            <a:extLst>
              <a:ext uri="{FF2B5EF4-FFF2-40B4-BE49-F238E27FC236}">
                <a16:creationId xmlns:a16="http://schemas.microsoft.com/office/drawing/2014/main" id="{34C7302D-A658-EC90-4FF7-B5AD21C70AD9}"/>
              </a:ext>
            </a:extLst>
          </p:cNvPr>
          <p:cNvCxnSpPr/>
          <p:nvPr/>
        </p:nvCxnSpPr>
        <p:spPr>
          <a:xfrm>
            <a:off x="7875372" y="4138864"/>
            <a:ext cx="0" cy="2117579"/>
          </a:xfrm>
          <a:prstGeom prst="line">
            <a:avLst/>
          </a:prstGeom>
          <a:noFill/>
          <a:ln w="9525" cap="flat" cmpd="sng" algn="ctr">
            <a:solidFill>
              <a:srgbClr val="BFBFBF"/>
            </a:solidFill>
            <a:prstDash val="sysDot"/>
            <a:miter lim="800000"/>
          </a:ln>
          <a:effectLst/>
        </p:spPr>
      </p:cxnSp>
    </p:spTree>
    <p:extLst>
      <p:ext uri="{BB962C8B-B14F-4D97-AF65-F5344CB8AC3E}">
        <p14:creationId xmlns:p14="http://schemas.microsoft.com/office/powerpoint/2010/main" val="3480094206"/>
      </p:ext>
    </p:extLst>
  </p:cSld>
  <p:clrMapOvr>
    <a:masterClrMapping/>
  </p:clrMapOvr>
  <p:transition>
    <p:fade/>
  </p:transition>
  <p:extLst>
    <p:ext uri="{6950BFC3-D8DA-4A85-94F7-54DA5524770B}">
      <p188:commentRel xmlns:p188="http://schemas.microsoft.com/office/powerpoint/2018/8/main" r:id="rId4"/>
    </p:ext>
  </p:extLs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3C0F13F-7E46-10D1-1FFB-6B3E78CC1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6" name="think-cell data - do not delete" hidden="1">
                        <a:extLst>
                          <a:ext uri="{FF2B5EF4-FFF2-40B4-BE49-F238E27FC236}">
                            <a16:creationId xmlns:a16="http://schemas.microsoft.com/office/drawing/2014/main" id="{83C0F13F-7E46-10D1-1FFB-6B3E78CC18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E47C59D-6CDA-4AAF-8F55-AEA99127E076}"/>
              </a:ext>
            </a:extLst>
          </p:cNvPr>
          <p:cNvSpPr>
            <a:spLocks noGrp="1"/>
          </p:cNvSpPr>
          <p:nvPr>
            <p:ph type="body" sz="quarter" idx="22"/>
          </p:nvPr>
        </p:nvSpPr>
        <p:spPr>
          <a:xfrm>
            <a:off x="463295" y="936001"/>
            <a:ext cx="11277600" cy="304094"/>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oitte’s IT strategy framework provides a systematic approach to assess all relevant topics.</a:t>
            </a:r>
          </a:p>
        </p:txBody>
      </p:sp>
      <p:sp>
        <p:nvSpPr>
          <p:cNvPr id="3" name="Title 2">
            <a:extLst>
              <a:ext uri="{FF2B5EF4-FFF2-40B4-BE49-F238E27FC236}">
                <a16:creationId xmlns:a16="http://schemas.microsoft.com/office/drawing/2014/main" id="{2EA41D89-0305-437C-A594-9E2C8586FECB}"/>
              </a:ext>
            </a:extLst>
          </p:cNvPr>
          <p:cNvSpPr>
            <a:spLocks noGrp="1"/>
          </p:cNvSpPr>
          <p:nvPr>
            <p:ph type="title"/>
          </p:nvPr>
        </p:nvSpPr>
        <p:spPr/>
        <p:txBody>
          <a:bodyPr vert="horz"/>
          <a:lstStyle/>
          <a:p>
            <a:r>
              <a:rPr kumimoji="0" lang="en-US" sz="2800" b="0" i="0" u="none" strike="noStrike" kern="1200" cap="none" spc="0" normalizeH="0" baseline="0" dirty="0">
                <a:ln>
                  <a:noFill/>
                </a:ln>
                <a:solidFill>
                  <a:prstClr val="black"/>
                </a:solidFill>
                <a:effectLst/>
                <a:uLnTx/>
                <a:uFillTx/>
                <a:latin typeface="Open Sans Light"/>
                <a:ea typeface="+mj-ea"/>
                <a:cs typeface="Calibri Light"/>
              </a:rPr>
              <a:t>Strategic planning consulting services</a:t>
            </a:r>
            <a:r>
              <a:rPr lang="en-US" dirty="0">
                <a:solidFill>
                  <a:prstClr val="black"/>
                </a:solidFill>
                <a:latin typeface="Open Sans Light"/>
                <a:ea typeface="+mj-ea"/>
                <a:cs typeface="Calibri Light"/>
              </a:rPr>
              <a:t>: IT strategy</a:t>
            </a:r>
            <a:endParaRPr lang="en-US" dirty="0"/>
          </a:p>
        </p:txBody>
      </p:sp>
      <p:graphicFrame>
        <p:nvGraphicFramePr>
          <p:cNvPr id="5" name="Chart 4">
            <a:extLst>
              <a:ext uri="{FF2B5EF4-FFF2-40B4-BE49-F238E27FC236}">
                <a16:creationId xmlns:a16="http://schemas.microsoft.com/office/drawing/2014/main" id="{8EF2E09B-EF62-A5CE-2E78-537D58165446}"/>
              </a:ext>
            </a:extLst>
          </p:cNvPr>
          <p:cNvGraphicFramePr/>
          <p:nvPr/>
        </p:nvGraphicFramePr>
        <p:xfrm>
          <a:off x="3683852" y="2026763"/>
          <a:ext cx="4805048" cy="3169809"/>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Placeholder 2">
            <a:extLst>
              <a:ext uri="{FF2B5EF4-FFF2-40B4-BE49-F238E27FC236}">
                <a16:creationId xmlns:a16="http://schemas.microsoft.com/office/drawing/2014/main" id="{D464C506-66D7-2543-7F25-3881C2C0EDCB}"/>
              </a:ext>
            </a:extLst>
          </p:cNvPr>
          <p:cNvSpPr txBox="1">
            <a:spLocks/>
          </p:cNvSpPr>
          <p:nvPr/>
        </p:nvSpPr>
        <p:spPr>
          <a:xfrm>
            <a:off x="947011" y="1812997"/>
            <a:ext cx="3096000" cy="33349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85000"/>
              </a:lnSpc>
              <a:spcBef>
                <a:spcPts val="1000"/>
              </a:spcBef>
              <a:spcAft>
                <a:spcPts val="0"/>
              </a:spcAft>
              <a:buClr>
                <a:srgbClr val="787878"/>
              </a:buClr>
              <a:buSzPct val="75000"/>
              <a:buFont typeface="Arial" panose="020B0604020202020204" pitchFamily="34" charset="0"/>
              <a:buNone/>
              <a:tabLst/>
              <a:defRPr/>
            </a:pPr>
            <a:r>
              <a:rPr kumimoji="0" lang="en-US" sz="1200" b="1" i="0" u="none" strike="noStrike" kern="1200" cap="none" spc="50" normalizeH="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echnology Capabilities &amp; Methodologies</a:t>
            </a:r>
          </a:p>
        </p:txBody>
      </p:sp>
      <p:sp>
        <p:nvSpPr>
          <p:cNvPr id="7" name="Text Placeholder 2">
            <a:extLst>
              <a:ext uri="{FF2B5EF4-FFF2-40B4-BE49-F238E27FC236}">
                <a16:creationId xmlns:a16="http://schemas.microsoft.com/office/drawing/2014/main" id="{58A5101C-4A26-7332-5574-075BB0017830}"/>
              </a:ext>
            </a:extLst>
          </p:cNvPr>
          <p:cNvSpPr txBox="1">
            <a:spLocks/>
          </p:cNvSpPr>
          <p:nvPr/>
        </p:nvSpPr>
        <p:spPr>
          <a:xfrm>
            <a:off x="8191745" y="1812997"/>
            <a:ext cx="3096000" cy="33349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buClr>
                <a:srgbClr val="787878"/>
              </a:buClr>
              <a:defRPr/>
            </a:pPr>
            <a:r>
              <a:rPr lang="en-US" sz="1200" b="1" spc="5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oordination of Business &amp; IT Strategies</a:t>
            </a:r>
          </a:p>
        </p:txBody>
      </p:sp>
      <p:sp>
        <p:nvSpPr>
          <p:cNvPr id="8" name="Text Placeholder 2">
            <a:extLst>
              <a:ext uri="{FF2B5EF4-FFF2-40B4-BE49-F238E27FC236}">
                <a16:creationId xmlns:a16="http://schemas.microsoft.com/office/drawing/2014/main" id="{5C3E2A14-DBDC-660E-DE9A-01C37A0C5E33}"/>
              </a:ext>
            </a:extLst>
          </p:cNvPr>
          <p:cNvSpPr txBox="1">
            <a:spLocks/>
          </p:cNvSpPr>
          <p:nvPr/>
        </p:nvSpPr>
        <p:spPr>
          <a:xfrm>
            <a:off x="8191745" y="3500203"/>
            <a:ext cx="3096000" cy="33349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lnSpc>
                <a:spcPct val="85000"/>
              </a:lnSpc>
              <a:spcAft>
                <a:spcPts val="0"/>
              </a:spcAft>
              <a:buClr>
                <a:srgbClr val="787878"/>
              </a:buClr>
              <a:tabLst/>
              <a:defRPr/>
            </a:pPr>
            <a:r>
              <a:rPr lang="en-US" sz="1200" b="1" spc="5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Enterprise Architecture</a:t>
            </a:r>
          </a:p>
        </p:txBody>
      </p:sp>
      <p:sp>
        <p:nvSpPr>
          <p:cNvPr id="9" name="Text Placeholder 2">
            <a:extLst>
              <a:ext uri="{FF2B5EF4-FFF2-40B4-BE49-F238E27FC236}">
                <a16:creationId xmlns:a16="http://schemas.microsoft.com/office/drawing/2014/main" id="{17377C1B-3441-E1D1-791C-9E7D92BD405D}"/>
              </a:ext>
            </a:extLst>
          </p:cNvPr>
          <p:cNvSpPr txBox="1">
            <a:spLocks/>
          </p:cNvSpPr>
          <p:nvPr/>
        </p:nvSpPr>
        <p:spPr>
          <a:xfrm>
            <a:off x="8191745" y="5373544"/>
            <a:ext cx="3096000" cy="33349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buClr>
                <a:srgbClr val="787878"/>
              </a:buClr>
              <a:defRPr/>
            </a:pPr>
            <a:r>
              <a:rPr lang="en-US" sz="1200" b="1" spc="5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Partners &amp; Vendors</a:t>
            </a:r>
          </a:p>
        </p:txBody>
      </p:sp>
      <p:sp>
        <p:nvSpPr>
          <p:cNvPr id="10" name="Text Placeholder 2">
            <a:extLst>
              <a:ext uri="{FF2B5EF4-FFF2-40B4-BE49-F238E27FC236}">
                <a16:creationId xmlns:a16="http://schemas.microsoft.com/office/drawing/2014/main" id="{C04C0A05-FBB3-08F1-922B-3A25F2C247E5}"/>
              </a:ext>
            </a:extLst>
          </p:cNvPr>
          <p:cNvSpPr txBox="1">
            <a:spLocks/>
          </p:cNvSpPr>
          <p:nvPr/>
        </p:nvSpPr>
        <p:spPr>
          <a:xfrm>
            <a:off x="947011" y="5385801"/>
            <a:ext cx="3096000" cy="33349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lnSpc>
                <a:spcPct val="85000"/>
              </a:lnSpc>
              <a:spcAft>
                <a:spcPts val="0"/>
              </a:spcAft>
              <a:buClr>
                <a:srgbClr val="787878"/>
              </a:buClr>
              <a:tabLst/>
              <a:defRPr/>
            </a:pPr>
            <a:r>
              <a:rPr lang="en-US" sz="1200" b="1" spc="5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Organization &amp; Governance</a:t>
            </a:r>
          </a:p>
        </p:txBody>
      </p:sp>
      <p:sp>
        <p:nvSpPr>
          <p:cNvPr id="11" name="Text Placeholder 2">
            <a:extLst>
              <a:ext uri="{FF2B5EF4-FFF2-40B4-BE49-F238E27FC236}">
                <a16:creationId xmlns:a16="http://schemas.microsoft.com/office/drawing/2014/main" id="{3BC73966-C526-59CD-2433-E3F3FC0CB210}"/>
              </a:ext>
            </a:extLst>
          </p:cNvPr>
          <p:cNvSpPr txBox="1">
            <a:spLocks/>
          </p:cNvSpPr>
          <p:nvPr/>
        </p:nvSpPr>
        <p:spPr>
          <a:xfrm>
            <a:off x="947011" y="3500203"/>
            <a:ext cx="3096000" cy="33349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buClr>
                <a:srgbClr val="787878"/>
              </a:buClr>
              <a:defRPr/>
            </a:pPr>
            <a:r>
              <a:rPr lang="en-US" sz="1200" b="1" spc="5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ost Management &amp; Quality Assurance</a:t>
            </a:r>
          </a:p>
        </p:txBody>
      </p:sp>
      <p:sp>
        <p:nvSpPr>
          <p:cNvPr id="51" name="Rectangle 50">
            <a:extLst>
              <a:ext uri="{FF2B5EF4-FFF2-40B4-BE49-F238E27FC236}">
                <a16:creationId xmlns:a16="http://schemas.microsoft.com/office/drawing/2014/main" id="{FC8FA6CE-A14F-2B8E-39E6-3D896C1FA730}"/>
              </a:ext>
            </a:extLst>
          </p:cNvPr>
          <p:cNvSpPr/>
          <p:nvPr/>
        </p:nvSpPr>
        <p:spPr bwMode="gray">
          <a:xfrm>
            <a:off x="860687" y="1709486"/>
            <a:ext cx="3240000" cy="36000"/>
          </a:xfrm>
          <a:prstGeom prst="rect">
            <a:avLst/>
          </a:prstGeom>
          <a:solidFill>
            <a:srgbClr val="D0D0CE">
              <a:lumMod val="90000"/>
            </a:srgbClr>
          </a:solidFill>
          <a:ln w="19050" algn="ctr">
            <a:noFill/>
            <a:miter lim="800000"/>
            <a:headEnd/>
            <a:tailEnd/>
          </a:ln>
        </p:spPr>
        <p:txBody>
          <a:bodyPr wrap="square" lIns="76030" tIns="76030" rIns="76030" bIns="7603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898"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52" name="Straight Connector 51">
            <a:extLst>
              <a:ext uri="{FF2B5EF4-FFF2-40B4-BE49-F238E27FC236}">
                <a16:creationId xmlns:a16="http://schemas.microsoft.com/office/drawing/2014/main" id="{B832D67C-68C0-BF6C-EC05-96E9EC6943C7}"/>
              </a:ext>
            </a:extLst>
          </p:cNvPr>
          <p:cNvCxnSpPr/>
          <p:nvPr/>
        </p:nvCxnSpPr>
        <p:spPr>
          <a:xfrm flipV="1">
            <a:off x="860687" y="2097913"/>
            <a:ext cx="3240000" cy="0"/>
          </a:xfrm>
          <a:prstGeom prst="line">
            <a:avLst/>
          </a:prstGeom>
          <a:solidFill>
            <a:srgbClr val="D0D0CE">
              <a:lumMod val="90000"/>
            </a:srgbClr>
          </a:solidFill>
          <a:ln w="9525" cap="flat" cmpd="sng" algn="ctr">
            <a:solidFill>
              <a:srgbClr val="D0D0CE"/>
            </a:solidFill>
            <a:prstDash val="sysDot"/>
          </a:ln>
          <a:effectLst/>
        </p:spPr>
      </p:cxnSp>
      <p:sp>
        <p:nvSpPr>
          <p:cNvPr id="49" name="Rectangle 48">
            <a:extLst>
              <a:ext uri="{FF2B5EF4-FFF2-40B4-BE49-F238E27FC236}">
                <a16:creationId xmlns:a16="http://schemas.microsoft.com/office/drawing/2014/main" id="{81D3F780-7EFC-A8C9-9BFB-CECEA360222C}"/>
              </a:ext>
            </a:extLst>
          </p:cNvPr>
          <p:cNvSpPr/>
          <p:nvPr/>
        </p:nvSpPr>
        <p:spPr bwMode="gray">
          <a:xfrm>
            <a:off x="906348" y="3395401"/>
            <a:ext cx="3240000" cy="36000"/>
          </a:xfrm>
          <a:prstGeom prst="rect">
            <a:avLst/>
          </a:prstGeom>
          <a:solidFill>
            <a:srgbClr val="D0D0CE">
              <a:lumMod val="90000"/>
            </a:srgbClr>
          </a:solidFill>
          <a:ln w="19050" algn="ctr">
            <a:noFill/>
            <a:miter lim="800000"/>
            <a:headEnd/>
            <a:tailEnd/>
          </a:ln>
        </p:spPr>
        <p:txBody>
          <a:bodyPr wrap="square" lIns="76030" tIns="76030" rIns="76030" bIns="7603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898"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50" name="Straight Connector 49">
            <a:extLst>
              <a:ext uri="{FF2B5EF4-FFF2-40B4-BE49-F238E27FC236}">
                <a16:creationId xmlns:a16="http://schemas.microsoft.com/office/drawing/2014/main" id="{E568532E-AE6E-B7D5-8D33-A1067B47A7B4}"/>
              </a:ext>
            </a:extLst>
          </p:cNvPr>
          <p:cNvCxnSpPr/>
          <p:nvPr/>
        </p:nvCxnSpPr>
        <p:spPr>
          <a:xfrm flipV="1">
            <a:off x="906348" y="3871749"/>
            <a:ext cx="3240000" cy="0"/>
          </a:xfrm>
          <a:prstGeom prst="line">
            <a:avLst/>
          </a:prstGeom>
          <a:solidFill>
            <a:srgbClr val="D0D0CE">
              <a:lumMod val="90000"/>
            </a:srgbClr>
          </a:solidFill>
          <a:ln w="9525" cap="flat" cmpd="sng" algn="ctr">
            <a:solidFill>
              <a:srgbClr val="D0D0CE"/>
            </a:solidFill>
            <a:prstDash val="sysDot"/>
          </a:ln>
          <a:effectLst/>
        </p:spPr>
      </p:cxnSp>
      <p:sp>
        <p:nvSpPr>
          <p:cNvPr id="47" name="Rectangle 46">
            <a:extLst>
              <a:ext uri="{FF2B5EF4-FFF2-40B4-BE49-F238E27FC236}">
                <a16:creationId xmlns:a16="http://schemas.microsoft.com/office/drawing/2014/main" id="{7850143E-0D2B-9B99-D267-555539B1DB3F}"/>
              </a:ext>
            </a:extLst>
          </p:cNvPr>
          <p:cNvSpPr/>
          <p:nvPr/>
        </p:nvSpPr>
        <p:spPr bwMode="gray">
          <a:xfrm>
            <a:off x="896685" y="5254180"/>
            <a:ext cx="3240000" cy="36000"/>
          </a:xfrm>
          <a:prstGeom prst="rect">
            <a:avLst/>
          </a:prstGeom>
          <a:solidFill>
            <a:srgbClr val="D0D0CE">
              <a:lumMod val="90000"/>
            </a:srgbClr>
          </a:solidFill>
          <a:ln w="19050" algn="ctr">
            <a:noFill/>
            <a:miter lim="800000"/>
            <a:headEnd/>
            <a:tailEnd/>
          </a:ln>
        </p:spPr>
        <p:txBody>
          <a:bodyPr wrap="square" lIns="76030" tIns="76030" rIns="76030" bIns="7603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898"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8" name="Straight Connector 47">
            <a:extLst>
              <a:ext uri="{FF2B5EF4-FFF2-40B4-BE49-F238E27FC236}">
                <a16:creationId xmlns:a16="http://schemas.microsoft.com/office/drawing/2014/main" id="{2CDE1EFC-8888-7F27-D662-5FE95B767A05}"/>
              </a:ext>
            </a:extLst>
          </p:cNvPr>
          <p:cNvCxnSpPr/>
          <p:nvPr/>
        </p:nvCxnSpPr>
        <p:spPr>
          <a:xfrm flipV="1">
            <a:off x="896685" y="5686568"/>
            <a:ext cx="3240000" cy="0"/>
          </a:xfrm>
          <a:prstGeom prst="line">
            <a:avLst/>
          </a:prstGeom>
          <a:solidFill>
            <a:srgbClr val="D0D0CE">
              <a:lumMod val="90000"/>
            </a:srgbClr>
          </a:solidFill>
          <a:ln w="9525" cap="flat" cmpd="sng" algn="ctr">
            <a:solidFill>
              <a:srgbClr val="D0D0CE"/>
            </a:solidFill>
            <a:prstDash val="sysDot"/>
          </a:ln>
          <a:effectLst/>
        </p:spPr>
      </p:cxnSp>
      <p:sp>
        <p:nvSpPr>
          <p:cNvPr id="45" name="Rectangle 44">
            <a:extLst>
              <a:ext uri="{FF2B5EF4-FFF2-40B4-BE49-F238E27FC236}">
                <a16:creationId xmlns:a16="http://schemas.microsoft.com/office/drawing/2014/main" id="{115F465A-7D59-8B36-A41A-49196E9BEBA8}"/>
              </a:ext>
            </a:extLst>
          </p:cNvPr>
          <p:cNvSpPr/>
          <p:nvPr/>
        </p:nvSpPr>
        <p:spPr bwMode="gray">
          <a:xfrm>
            <a:off x="8091314" y="1709486"/>
            <a:ext cx="3240000" cy="36000"/>
          </a:xfrm>
          <a:prstGeom prst="rect">
            <a:avLst/>
          </a:prstGeom>
          <a:solidFill>
            <a:srgbClr val="D0D0CE">
              <a:lumMod val="90000"/>
            </a:srgbClr>
          </a:solidFill>
          <a:ln w="19050" algn="ctr">
            <a:noFill/>
            <a:miter lim="800000"/>
            <a:headEnd/>
            <a:tailEnd/>
          </a:ln>
        </p:spPr>
        <p:txBody>
          <a:bodyPr wrap="square" lIns="76030" tIns="76030" rIns="76030" bIns="7603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898"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6" name="Straight Connector 45">
            <a:extLst>
              <a:ext uri="{FF2B5EF4-FFF2-40B4-BE49-F238E27FC236}">
                <a16:creationId xmlns:a16="http://schemas.microsoft.com/office/drawing/2014/main" id="{E82F9483-EB35-4B34-2432-0BFDCF29FF05}"/>
              </a:ext>
            </a:extLst>
          </p:cNvPr>
          <p:cNvCxnSpPr/>
          <p:nvPr/>
        </p:nvCxnSpPr>
        <p:spPr>
          <a:xfrm flipV="1">
            <a:off x="8091314" y="2150666"/>
            <a:ext cx="3240000" cy="0"/>
          </a:xfrm>
          <a:prstGeom prst="line">
            <a:avLst/>
          </a:prstGeom>
          <a:solidFill>
            <a:srgbClr val="D0D0CE">
              <a:lumMod val="90000"/>
            </a:srgbClr>
          </a:solidFill>
          <a:ln w="9525" cap="flat" cmpd="sng" algn="ctr">
            <a:solidFill>
              <a:srgbClr val="D0D0CE"/>
            </a:solidFill>
            <a:prstDash val="sysDot"/>
          </a:ln>
          <a:effectLst/>
        </p:spPr>
      </p:cxnSp>
      <p:sp>
        <p:nvSpPr>
          <p:cNvPr id="43" name="Rectangle 42">
            <a:extLst>
              <a:ext uri="{FF2B5EF4-FFF2-40B4-BE49-F238E27FC236}">
                <a16:creationId xmlns:a16="http://schemas.microsoft.com/office/drawing/2014/main" id="{0348E7DC-4256-D200-4E7D-70BBEEAE2925}"/>
              </a:ext>
            </a:extLst>
          </p:cNvPr>
          <p:cNvSpPr/>
          <p:nvPr/>
        </p:nvSpPr>
        <p:spPr bwMode="gray">
          <a:xfrm>
            <a:off x="8091314" y="3360233"/>
            <a:ext cx="3240000" cy="36000"/>
          </a:xfrm>
          <a:prstGeom prst="rect">
            <a:avLst/>
          </a:prstGeom>
          <a:solidFill>
            <a:srgbClr val="D0D0CE">
              <a:lumMod val="90000"/>
            </a:srgbClr>
          </a:solidFill>
          <a:ln w="19050" algn="ctr">
            <a:noFill/>
            <a:miter lim="800000"/>
            <a:headEnd/>
            <a:tailEnd/>
          </a:ln>
        </p:spPr>
        <p:txBody>
          <a:bodyPr wrap="square" lIns="76030" tIns="76030" rIns="76030" bIns="7603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898"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4" name="Straight Connector 43">
            <a:extLst>
              <a:ext uri="{FF2B5EF4-FFF2-40B4-BE49-F238E27FC236}">
                <a16:creationId xmlns:a16="http://schemas.microsoft.com/office/drawing/2014/main" id="{C231FA28-9DBC-B8AC-8CA6-E7CE90BE813C}"/>
              </a:ext>
            </a:extLst>
          </p:cNvPr>
          <p:cNvCxnSpPr/>
          <p:nvPr/>
        </p:nvCxnSpPr>
        <p:spPr>
          <a:xfrm flipV="1">
            <a:off x="8091314" y="3871749"/>
            <a:ext cx="3240000" cy="0"/>
          </a:xfrm>
          <a:prstGeom prst="line">
            <a:avLst/>
          </a:prstGeom>
          <a:solidFill>
            <a:srgbClr val="D0D0CE">
              <a:lumMod val="90000"/>
            </a:srgbClr>
          </a:solidFill>
          <a:ln w="9525" cap="flat" cmpd="sng" algn="ctr">
            <a:solidFill>
              <a:srgbClr val="D0D0CE"/>
            </a:solidFill>
            <a:prstDash val="sysDot"/>
          </a:ln>
          <a:effectLst/>
        </p:spPr>
      </p:cxnSp>
      <p:sp>
        <p:nvSpPr>
          <p:cNvPr id="41" name="Rectangle 40">
            <a:extLst>
              <a:ext uri="{FF2B5EF4-FFF2-40B4-BE49-F238E27FC236}">
                <a16:creationId xmlns:a16="http://schemas.microsoft.com/office/drawing/2014/main" id="{C8CC8B3B-D8A0-DC34-FAF4-DB0574DDF2D6}"/>
              </a:ext>
            </a:extLst>
          </p:cNvPr>
          <p:cNvSpPr/>
          <p:nvPr/>
        </p:nvSpPr>
        <p:spPr bwMode="gray">
          <a:xfrm>
            <a:off x="8112988" y="5254180"/>
            <a:ext cx="3240000" cy="36000"/>
          </a:xfrm>
          <a:prstGeom prst="rect">
            <a:avLst/>
          </a:prstGeom>
          <a:solidFill>
            <a:srgbClr val="D0D0CE">
              <a:lumMod val="90000"/>
            </a:srgbClr>
          </a:solidFill>
          <a:ln w="19050" algn="ctr">
            <a:noFill/>
            <a:miter lim="800000"/>
            <a:headEnd/>
            <a:tailEnd/>
          </a:ln>
        </p:spPr>
        <p:txBody>
          <a:bodyPr wrap="square" lIns="76030" tIns="76030" rIns="76030" bIns="7603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898"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2" name="Straight Connector 41">
            <a:extLst>
              <a:ext uri="{FF2B5EF4-FFF2-40B4-BE49-F238E27FC236}">
                <a16:creationId xmlns:a16="http://schemas.microsoft.com/office/drawing/2014/main" id="{7176B56A-B5E3-5AFB-E908-FCB5FDD1469D}"/>
              </a:ext>
            </a:extLst>
          </p:cNvPr>
          <p:cNvCxnSpPr/>
          <p:nvPr/>
        </p:nvCxnSpPr>
        <p:spPr>
          <a:xfrm flipV="1">
            <a:off x="8112988" y="5686568"/>
            <a:ext cx="3240000" cy="0"/>
          </a:xfrm>
          <a:prstGeom prst="line">
            <a:avLst/>
          </a:prstGeom>
          <a:solidFill>
            <a:srgbClr val="D0D0CE">
              <a:lumMod val="90000"/>
            </a:srgbClr>
          </a:solidFill>
          <a:ln w="9525" cap="flat" cmpd="sng" algn="ctr">
            <a:solidFill>
              <a:srgbClr val="D0D0CE"/>
            </a:solidFill>
            <a:prstDash val="sysDot"/>
          </a:ln>
          <a:effectLst/>
        </p:spPr>
      </p:cxnSp>
      <p:cxnSp>
        <p:nvCxnSpPr>
          <p:cNvPr id="19" name="Straight Connector 18">
            <a:extLst>
              <a:ext uri="{FF2B5EF4-FFF2-40B4-BE49-F238E27FC236}">
                <a16:creationId xmlns:a16="http://schemas.microsoft.com/office/drawing/2014/main" id="{D92D8656-5245-7C1D-5BFC-DD0B33CE1A4D}"/>
              </a:ext>
            </a:extLst>
          </p:cNvPr>
          <p:cNvCxnSpPr>
            <a:cxnSpLocks/>
            <a:stCxn id="51" idx="3"/>
          </p:cNvCxnSpPr>
          <p:nvPr/>
        </p:nvCxnSpPr>
        <p:spPr>
          <a:xfrm>
            <a:off x="4100687" y="1727486"/>
            <a:ext cx="644185" cy="885145"/>
          </a:xfrm>
          <a:prstGeom prst="line">
            <a:avLst/>
          </a:prstGeom>
          <a:noFill/>
          <a:ln w="12700" cap="rnd" cmpd="sng" algn="ctr">
            <a:solidFill>
              <a:srgbClr val="53565A"/>
            </a:solidFill>
            <a:prstDash val="sysDot"/>
          </a:ln>
          <a:effectLst/>
        </p:spPr>
      </p:cxnSp>
      <p:cxnSp>
        <p:nvCxnSpPr>
          <p:cNvPr id="20" name="Straight Connector 19">
            <a:extLst>
              <a:ext uri="{FF2B5EF4-FFF2-40B4-BE49-F238E27FC236}">
                <a16:creationId xmlns:a16="http://schemas.microsoft.com/office/drawing/2014/main" id="{753EDAC4-8378-0C7A-774C-B9D48E259A98}"/>
              </a:ext>
            </a:extLst>
          </p:cNvPr>
          <p:cNvCxnSpPr>
            <a:cxnSpLocks/>
            <a:endCxn id="26" idx="0"/>
          </p:cNvCxnSpPr>
          <p:nvPr/>
        </p:nvCxnSpPr>
        <p:spPr>
          <a:xfrm flipH="1">
            <a:off x="7378067" y="1727486"/>
            <a:ext cx="693997" cy="874601"/>
          </a:xfrm>
          <a:prstGeom prst="line">
            <a:avLst/>
          </a:prstGeom>
          <a:noFill/>
          <a:ln w="12700" cap="rnd" cmpd="sng" algn="ctr">
            <a:solidFill>
              <a:srgbClr val="53565A"/>
            </a:solidFill>
            <a:prstDash val="sysDot"/>
          </a:ln>
          <a:effectLst/>
        </p:spPr>
      </p:cxnSp>
      <p:sp>
        <p:nvSpPr>
          <p:cNvPr id="21" name="Oval 20">
            <a:extLst>
              <a:ext uri="{FF2B5EF4-FFF2-40B4-BE49-F238E27FC236}">
                <a16:creationId xmlns:a16="http://schemas.microsoft.com/office/drawing/2014/main" id="{86A2B2B0-B6EF-8524-CDAB-5EAB6E033396}"/>
              </a:ext>
            </a:extLst>
          </p:cNvPr>
          <p:cNvSpPr/>
          <p:nvPr/>
        </p:nvSpPr>
        <p:spPr bwMode="gray">
          <a:xfrm>
            <a:off x="4734328" y="4565306"/>
            <a:ext cx="72000" cy="72000"/>
          </a:xfrm>
          <a:prstGeom prst="ellipse">
            <a:avLst/>
          </a:prstGeom>
          <a:solidFill>
            <a:srgbClr val="53565A"/>
          </a:solidFill>
          <a:ln w="63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Oval 21">
            <a:extLst>
              <a:ext uri="{FF2B5EF4-FFF2-40B4-BE49-F238E27FC236}">
                <a16:creationId xmlns:a16="http://schemas.microsoft.com/office/drawing/2014/main" id="{6A9E49A8-0C66-8975-28FB-99B5F9A10459}"/>
              </a:ext>
            </a:extLst>
          </p:cNvPr>
          <p:cNvSpPr/>
          <p:nvPr/>
        </p:nvSpPr>
        <p:spPr bwMode="gray">
          <a:xfrm>
            <a:off x="7342067" y="4565306"/>
            <a:ext cx="72000" cy="72000"/>
          </a:xfrm>
          <a:prstGeom prst="ellipse">
            <a:avLst/>
          </a:prstGeom>
          <a:solidFill>
            <a:srgbClr val="53565A"/>
          </a:solidFill>
          <a:ln w="63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3" name="Arc 22">
            <a:extLst>
              <a:ext uri="{FF2B5EF4-FFF2-40B4-BE49-F238E27FC236}">
                <a16:creationId xmlns:a16="http://schemas.microsoft.com/office/drawing/2014/main" id="{053AFE7C-33D2-0B78-5DA7-D7FFE12D95E7}"/>
              </a:ext>
            </a:extLst>
          </p:cNvPr>
          <p:cNvSpPr/>
          <p:nvPr/>
        </p:nvSpPr>
        <p:spPr>
          <a:xfrm rot="5400000">
            <a:off x="4438586" y="1971920"/>
            <a:ext cx="3276000" cy="3276000"/>
          </a:xfrm>
          <a:prstGeom prst="arc">
            <a:avLst>
              <a:gd name="adj1" fmla="val 16812435"/>
              <a:gd name="adj2" fmla="val 4781030"/>
            </a:avLst>
          </a:prstGeom>
          <a:noFill/>
          <a:ln w="12700" cap="rnd" cmpd="sng" algn="ctr">
            <a:solidFill>
              <a:srgbClr val="53565A"/>
            </a:solidFill>
            <a:prstDash val="sysDot"/>
            <a:headEnd type="oval" w="sm" len="sm"/>
            <a:tailEnd type="oval"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Arc 23">
            <a:extLst>
              <a:ext uri="{FF2B5EF4-FFF2-40B4-BE49-F238E27FC236}">
                <a16:creationId xmlns:a16="http://schemas.microsoft.com/office/drawing/2014/main" id="{2DFCCC29-D641-B231-0B1B-0CE6F0D844F7}"/>
              </a:ext>
            </a:extLst>
          </p:cNvPr>
          <p:cNvSpPr/>
          <p:nvPr/>
        </p:nvSpPr>
        <p:spPr>
          <a:xfrm rot="5400000" flipH="1">
            <a:off x="4438586" y="1992572"/>
            <a:ext cx="3276000" cy="3276000"/>
          </a:xfrm>
          <a:prstGeom prst="arc">
            <a:avLst>
              <a:gd name="adj1" fmla="val 16812435"/>
              <a:gd name="adj2" fmla="val 4781841"/>
            </a:avLst>
          </a:prstGeom>
          <a:noFill/>
          <a:ln w="12700" cap="rnd" cmpd="sng" algn="ctr">
            <a:solidFill>
              <a:srgbClr val="53565A"/>
            </a:solidFill>
            <a:prstDash val="sysDot"/>
            <a:headEnd type="oval" w="sm" len="sm"/>
            <a:tailEnd type="oval"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val 24">
            <a:extLst>
              <a:ext uri="{FF2B5EF4-FFF2-40B4-BE49-F238E27FC236}">
                <a16:creationId xmlns:a16="http://schemas.microsoft.com/office/drawing/2014/main" id="{7948CD87-9E3B-8177-0D4C-8A376D9822C6}"/>
              </a:ext>
            </a:extLst>
          </p:cNvPr>
          <p:cNvSpPr/>
          <p:nvPr/>
        </p:nvSpPr>
        <p:spPr bwMode="gray">
          <a:xfrm>
            <a:off x="4734328" y="2602087"/>
            <a:ext cx="72000" cy="72000"/>
          </a:xfrm>
          <a:prstGeom prst="ellipse">
            <a:avLst/>
          </a:prstGeom>
          <a:solidFill>
            <a:srgbClr val="53565A"/>
          </a:solidFill>
          <a:ln w="63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Oval 25">
            <a:extLst>
              <a:ext uri="{FF2B5EF4-FFF2-40B4-BE49-F238E27FC236}">
                <a16:creationId xmlns:a16="http://schemas.microsoft.com/office/drawing/2014/main" id="{679F7C01-1421-1C1A-E5C6-9D5588136C33}"/>
              </a:ext>
            </a:extLst>
          </p:cNvPr>
          <p:cNvSpPr/>
          <p:nvPr/>
        </p:nvSpPr>
        <p:spPr bwMode="gray">
          <a:xfrm>
            <a:off x="7342067" y="2602087"/>
            <a:ext cx="72000" cy="72000"/>
          </a:xfrm>
          <a:prstGeom prst="ellipse">
            <a:avLst/>
          </a:prstGeom>
          <a:solidFill>
            <a:srgbClr val="53565A"/>
          </a:solidFill>
          <a:ln w="63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7" name="Group 26">
            <a:extLst>
              <a:ext uri="{FF2B5EF4-FFF2-40B4-BE49-F238E27FC236}">
                <a16:creationId xmlns:a16="http://schemas.microsoft.com/office/drawing/2014/main" id="{E0590071-0B9C-B9EE-5545-46841772A1F4}"/>
              </a:ext>
            </a:extLst>
          </p:cNvPr>
          <p:cNvGrpSpPr/>
          <p:nvPr/>
        </p:nvGrpSpPr>
        <p:grpSpPr>
          <a:xfrm>
            <a:off x="7717464" y="3348223"/>
            <a:ext cx="141219" cy="564701"/>
            <a:chOff x="4122581" y="2310261"/>
            <a:chExt cx="576000" cy="1437838"/>
          </a:xfrm>
          <a:solidFill>
            <a:srgbClr val="D4D4D4"/>
          </a:solidFill>
        </p:grpSpPr>
        <p:sp>
          <p:nvSpPr>
            <p:cNvPr id="39" name="Diagonal Stripe 38">
              <a:extLst>
                <a:ext uri="{FF2B5EF4-FFF2-40B4-BE49-F238E27FC236}">
                  <a16:creationId xmlns:a16="http://schemas.microsoft.com/office/drawing/2014/main" id="{56AB1B82-6784-D385-672D-EAACB945C02B}"/>
                </a:ext>
              </a:extLst>
            </p:cNvPr>
            <p:cNvSpPr/>
            <p:nvPr/>
          </p:nvSpPr>
          <p:spPr>
            <a:xfrm>
              <a:off x="4122581" y="3028099"/>
              <a:ext cx="576000" cy="720000"/>
            </a:xfrm>
            <a:prstGeom prst="diagStripe">
              <a:avLst/>
            </a:prstGeom>
            <a:grpFill/>
            <a:ln w="381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0" name="Diagonal Stripe 39">
              <a:extLst>
                <a:ext uri="{FF2B5EF4-FFF2-40B4-BE49-F238E27FC236}">
                  <a16:creationId xmlns:a16="http://schemas.microsoft.com/office/drawing/2014/main" id="{EB69AF26-9B54-671A-7309-35AE17F917C1}"/>
                </a:ext>
              </a:extLst>
            </p:cNvPr>
            <p:cNvSpPr/>
            <p:nvPr/>
          </p:nvSpPr>
          <p:spPr>
            <a:xfrm flipV="1">
              <a:off x="4122581" y="2310261"/>
              <a:ext cx="576000" cy="720000"/>
            </a:xfrm>
            <a:prstGeom prst="diagStripe">
              <a:avLst/>
            </a:prstGeom>
            <a:grpFill/>
            <a:ln w="381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8" name="Group 27">
            <a:extLst>
              <a:ext uri="{FF2B5EF4-FFF2-40B4-BE49-F238E27FC236}">
                <a16:creationId xmlns:a16="http://schemas.microsoft.com/office/drawing/2014/main" id="{CE124380-FC0F-D02E-AF89-822DF50EC564}"/>
              </a:ext>
            </a:extLst>
          </p:cNvPr>
          <p:cNvGrpSpPr/>
          <p:nvPr/>
        </p:nvGrpSpPr>
        <p:grpSpPr>
          <a:xfrm flipH="1">
            <a:off x="4295928" y="3348223"/>
            <a:ext cx="141219" cy="564701"/>
            <a:chOff x="4122581" y="2310261"/>
            <a:chExt cx="576000" cy="1437838"/>
          </a:xfrm>
          <a:solidFill>
            <a:srgbClr val="D4D4D4"/>
          </a:solidFill>
        </p:grpSpPr>
        <p:sp>
          <p:nvSpPr>
            <p:cNvPr id="37" name="Diagonal Stripe 36">
              <a:extLst>
                <a:ext uri="{FF2B5EF4-FFF2-40B4-BE49-F238E27FC236}">
                  <a16:creationId xmlns:a16="http://schemas.microsoft.com/office/drawing/2014/main" id="{0B7411FD-CF0B-A97A-4243-898F351A6FC2}"/>
                </a:ext>
              </a:extLst>
            </p:cNvPr>
            <p:cNvSpPr/>
            <p:nvPr/>
          </p:nvSpPr>
          <p:spPr>
            <a:xfrm>
              <a:off x="4122581" y="3028099"/>
              <a:ext cx="576000" cy="720000"/>
            </a:xfrm>
            <a:prstGeom prst="diagStripe">
              <a:avLst/>
            </a:prstGeom>
            <a:grpFill/>
            <a:ln w="381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8" name="Diagonal Stripe 37">
              <a:extLst>
                <a:ext uri="{FF2B5EF4-FFF2-40B4-BE49-F238E27FC236}">
                  <a16:creationId xmlns:a16="http://schemas.microsoft.com/office/drawing/2014/main" id="{30FCA448-4FBC-C9A5-A487-30D2CF12435D}"/>
                </a:ext>
              </a:extLst>
            </p:cNvPr>
            <p:cNvSpPr/>
            <p:nvPr/>
          </p:nvSpPr>
          <p:spPr>
            <a:xfrm flipV="1">
              <a:off x="4122581" y="2310261"/>
              <a:ext cx="576000" cy="720000"/>
            </a:xfrm>
            <a:prstGeom prst="diagStripe">
              <a:avLst/>
            </a:prstGeom>
            <a:grpFill/>
            <a:ln w="381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cxnSp>
        <p:nvCxnSpPr>
          <p:cNvPr id="29" name="Straight Connector 28">
            <a:extLst>
              <a:ext uri="{FF2B5EF4-FFF2-40B4-BE49-F238E27FC236}">
                <a16:creationId xmlns:a16="http://schemas.microsoft.com/office/drawing/2014/main" id="{031A1B90-4D2A-B4D6-F137-BCF5AAB575AC}"/>
              </a:ext>
            </a:extLst>
          </p:cNvPr>
          <p:cNvCxnSpPr>
            <a:cxnSpLocks/>
          </p:cNvCxnSpPr>
          <p:nvPr/>
        </p:nvCxnSpPr>
        <p:spPr>
          <a:xfrm flipV="1">
            <a:off x="4130663" y="4637306"/>
            <a:ext cx="614209" cy="616874"/>
          </a:xfrm>
          <a:prstGeom prst="line">
            <a:avLst/>
          </a:prstGeom>
          <a:noFill/>
          <a:ln w="12700" cap="rnd" cmpd="sng" algn="ctr">
            <a:solidFill>
              <a:srgbClr val="53565A"/>
            </a:solidFill>
            <a:prstDash val="sysDot"/>
          </a:ln>
          <a:effectLst/>
        </p:spPr>
      </p:cxnSp>
      <p:cxnSp>
        <p:nvCxnSpPr>
          <p:cNvPr id="30" name="Straight Connector 29">
            <a:extLst>
              <a:ext uri="{FF2B5EF4-FFF2-40B4-BE49-F238E27FC236}">
                <a16:creationId xmlns:a16="http://schemas.microsoft.com/office/drawing/2014/main" id="{4C27057D-89B5-DF9D-31C3-6513F4CAFCE9}"/>
              </a:ext>
            </a:extLst>
          </p:cNvPr>
          <p:cNvCxnSpPr>
            <a:cxnSpLocks/>
            <a:stCxn id="41" idx="1"/>
          </p:cNvCxnSpPr>
          <p:nvPr/>
        </p:nvCxnSpPr>
        <p:spPr>
          <a:xfrm flipH="1" flipV="1">
            <a:off x="7414067" y="4637306"/>
            <a:ext cx="698921" cy="634874"/>
          </a:xfrm>
          <a:prstGeom prst="line">
            <a:avLst/>
          </a:prstGeom>
          <a:noFill/>
          <a:ln w="12700" cap="rnd" cmpd="sng" algn="ctr">
            <a:solidFill>
              <a:srgbClr val="53565A"/>
            </a:solidFill>
            <a:prstDash val="sysDot"/>
          </a:ln>
          <a:effectLst/>
        </p:spPr>
      </p:cxnSp>
      <p:sp>
        <p:nvSpPr>
          <p:cNvPr id="31" name="Rectangle 30">
            <a:extLst>
              <a:ext uri="{FF2B5EF4-FFF2-40B4-BE49-F238E27FC236}">
                <a16:creationId xmlns:a16="http://schemas.microsoft.com/office/drawing/2014/main" id="{CB8C6B01-8D3A-26F2-71BC-D8B2E9EE64A6}"/>
              </a:ext>
            </a:extLst>
          </p:cNvPr>
          <p:cNvSpPr/>
          <p:nvPr/>
        </p:nvSpPr>
        <p:spPr>
          <a:xfrm>
            <a:off x="8133520" y="2147692"/>
            <a:ext cx="3096000" cy="849224"/>
          </a:xfrm>
          <a:prstGeom prst="rect">
            <a:avLst/>
          </a:prstGeom>
          <a:noFill/>
        </p:spPr>
        <p:txBody>
          <a:bodyPr wrap="square" lIns="37709" tIns="47891" rIns="37709" bIns="47891"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xamining business strategy objectives to reflect them in the IT strategy. High level analysis of IT budget and business priorities, examining the IT processes and the embeddedness of the organization. Analysis of data management practices and IT capabilities in light of business goals.</a:t>
            </a: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 name="Rectangle 31">
            <a:extLst>
              <a:ext uri="{FF2B5EF4-FFF2-40B4-BE49-F238E27FC236}">
                <a16:creationId xmlns:a16="http://schemas.microsoft.com/office/drawing/2014/main" id="{4290B5C1-39FE-D402-F7D0-D49713946338}"/>
              </a:ext>
            </a:extLst>
          </p:cNvPr>
          <p:cNvSpPr/>
          <p:nvPr/>
        </p:nvSpPr>
        <p:spPr>
          <a:xfrm>
            <a:off x="8133520" y="3929028"/>
            <a:ext cx="3096000" cy="931310"/>
          </a:xfrm>
          <a:prstGeom prst="rect">
            <a:avLst/>
          </a:prstGeom>
          <a:noFill/>
        </p:spPr>
        <p:txBody>
          <a:bodyPr wrap="square" lIns="0" tIns="0" rIns="0" bIns="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amination of the current state of hardware and application infrastructure, possibilities</a:t>
            </a:r>
            <a:r>
              <a:rPr lang="en-US" sz="105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for improvement and reconfiguration of integration layers. The current procedures and standards could be examined from IT Security and business continuity perspectives. </a:t>
            </a: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Rectangle 32">
            <a:extLst>
              <a:ext uri="{FF2B5EF4-FFF2-40B4-BE49-F238E27FC236}">
                <a16:creationId xmlns:a16="http://schemas.microsoft.com/office/drawing/2014/main" id="{69D9B193-373F-D216-3826-702515FD3A72}"/>
              </a:ext>
            </a:extLst>
          </p:cNvPr>
          <p:cNvSpPr/>
          <p:nvPr/>
        </p:nvSpPr>
        <p:spPr>
          <a:xfrm>
            <a:off x="947011" y="5733557"/>
            <a:ext cx="3096000" cy="525827"/>
          </a:xfrm>
          <a:prstGeom prst="rect">
            <a:avLst/>
          </a:prstGeom>
          <a:noFill/>
        </p:spPr>
        <p:txBody>
          <a:bodyPr wrap="square" lIns="0" tIns="0" rIns="0" bIns="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nalyzing the IT organizational structure, culture and governance, including IT project management methodologies and service management model. </a:t>
            </a: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Rectangle 33">
            <a:extLst>
              <a:ext uri="{FF2B5EF4-FFF2-40B4-BE49-F238E27FC236}">
                <a16:creationId xmlns:a16="http://schemas.microsoft.com/office/drawing/2014/main" id="{CC56E2F0-BBE6-6686-790E-2D4969313DA6}"/>
              </a:ext>
            </a:extLst>
          </p:cNvPr>
          <p:cNvSpPr/>
          <p:nvPr/>
        </p:nvSpPr>
        <p:spPr>
          <a:xfrm>
            <a:off x="947011" y="3929028"/>
            <a:ext cx="3096000" cy="969178"/>
          </a:xfrm>
          <a:prstGeom prst="rect">
            <a:avLst/>
          </a:prstGeom>
          <a:noFill/>
        </p:spPr>
        <p:txBody>
          <a:bodyPr wrap="square" lIns="0" tIns="0" rIns="0" bIns="0" anchor="t">
            <a:noAutofit/>
          </a:bodyPr>
          <a:lstStyle/>
          <a:p>
            <a:pPr marL="0" marR="0" lvl="0" indent="0" defTabSz="914400" eaLnBrk="1" fontAlgn="auto" latinLnBrk="0" hangingPunct="1">
              <a:lnSpc>
                <a:spcPct val="100000"/>
              </a:lnSpc>
              <a:spcBef>
                <a:spcPts val="0"/>
              </a:spcBef>
              <a:spcAft>
                <a:spcPts val="314"/>
              </a:spcAft>
              <a:buClrTx/>
              <a:buSzTx/>
              <a:buFontTx/>
              <a:buNone/>
              <a:tabLst/>
              <a:defRPr/>
            </a:pPr>
            <a:r>
              <a:rPr lang="en-US" sz="105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ocuses on examining the decision mechanisms of IT budgeting in light of business value and strategic fit, while analyzing the availability of resources for technology initiatives and future resource expansion possibilities. </a:t>
            </a: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5" name="Rectangle 34">
            <a:extLst>
              <a:ext uri="{FF2B5EF4-FFF2-40B4-BE49-F238E27FC236}">
                <a16:creationId xmlns:a16="http://schemas.microsoft.com/office/drawing/2014/main" id="{1247C662-085A-10D8-9D1D-7B0C050DDB21}"/>
              </a:ext>
            </a:extLst>
          </p:cNvPr>
          <p:cNvSpPr/>
          <p:nvPr/>
        </p:nvSpPr>
        <p:spPr>
          <a:xfrm>
            <a:off x="947011" y="2147692"/>
            <a:ext cx="3096000" cy="798075"/>
          </a:xfrm>
          <a:prstGeom prst="rect">
            <a:avLst/>
          </a:prstGeom>
          <a:noFill/>
        </p:spPr>
        <p:txBody>
          <a:bodyPr wrap="square" lIns="0" tIns="0" rIns="0" bIns="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ims to evaluate the digital skills and technological maturity within IT by analyzing the applied development, environment management, service request management and innovation practice</a:t>
            </a:r>
            <a:r>
              <a:rPr lang="en-US" sz="105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 and business-IT coordination.</a:t>
            </a: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6" name="Rectangle 35">
            <a:extLst>
              <a:ext uri="{FF2B5EF4-FFF2-40B4-BE49-F238E27FC236}">
                <a16:creationId xmlns:a16="http://schemas.microsoft.com/office/drawing/2014/main" id="{2BD72555-63AE-FA94-AFB7-AC69842ACE3B}"/>
              </a:ext>
            </a:extLst>
          </p:cNvPr>
          <p:cNvSpPr/>
          <p:nvPr/>
        </p:nvSpPr>
        <p:spPr>
          <a:xfrm>
            <a:off x="8133520" y="5733557"/>
            <a:ext cx="3096000" cy="626254"/>
          </a:xfrm>
          <a:prstGeom prst="rect">
            <a:avLst/>
          </a:prstGeom>
          <a:noFill/>
        </p:spPr>
        <p:txBody>
          <a:bodyPr wrap="square" lIns="0" tIns="0" rIns="0" bIns="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amination </a:t>
            </a:r>
            <a:r>
              <a:rPr lang="en-US" sz="105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f relationships with partners and vendors, analysis of dependencies, vendor evaluation methodologies and possible transformation of operating models. </a:t>
            </a: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82073716"/>
      </p:ext>
    </p:extLst>
  </p:cSld>
  <p:clrMapOvr>
    <a:masterClrMapping/>
  </p:clrMapOvr>
  <p:transition>
    <p:fade/>
  </p:transition>
  <p:extLst>
    <p:ext uri="{6950BFC3-D8DA-4A85-94F7-54DA5524770B}">
      <p188:commentRel xmlns:p188="http://schemas.microsoft.com/office/powerpoint/2018/8/main" r:id="rId4"/>
    </p:ext>
  </p:extLs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33581404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defTabSz="685800">
              <a:spcBef>
                <a:spcPct val="0"/>
              </a:spcBef>
              <a:buNone/>
              <a:defRPr kumimoji="0" sz="2800" b="0" i="0" u="none" strike="noStrike" cap="none" spc="0" normalizeH="0" baseline="0">
                <a:ln>
                  <a:noFill/>
                </a:ln>
                <a:solidFill>
                  <a:prstClr val="black"/>
                </a:solidFill>
                <a:effectLst/>
                <a:uLnTx/>
                <a:uFillTx/>
                <a:latin typeface="Open Sans Light"/>
                <a:ea typeface="+mj-ea"/>
                <a:cs typeface="Calibri Light"/>
              </a:defRPr>
            </a:lvl1pPr>
          </a:lstStyle>
          <a:p>
            <a:r>
              <a:rPr lang="en-US" dirty="0"/>
              <a:t>Deloitte’s Stages of Digital Transformation</a:t>
            </a: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defined 4 stages where organizations are in their digital transformation</a:t>
            </a:r>
            <a:r>
              <a:rPr lang="hu-HU"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 w</a:t>
            </a: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e assess where our clients are, where they want to go</a:t>
            </a:r>
            <a:r>
              <a:rPr lang="hu-HU"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hu-HU" sz="14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to</a:t>
            </a: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 and together with them, we build a strategy to continue their transformation journey and reach the next stage</a:t>
            </a:r>
          </a:p>
        </p:txBody>
      </p:sp>
      <p:sp>
        <p:nvSpPr>
          <p:cNvPr id="3" name="object 11">
            <a:extLst>
              <a:ext uri="{FF2B5EF4-FFF2-40B4-BE49-F238E27FC236}">
                <a16:creationId xmlns:a16="http://schemas.microsoft.com/office/drawing/2014/main" id="{EEACD863-A42E-176A-C992-126017CAE743}"/>
              </a:ext>
            </a:extLst>
          </p:cNvPr>
          <p:cNvSpPr/>
          <p:nvPr/>
        </p:nvSpPr>
        <p:spPr>
          <a:xfrm>
            <a:off x="897857" y="1585918"/>
            <a:ext cx="9457510" cy="3039523"/>
          </a:xfrm>
          <a:custGeom>
            <a:avLst/>
            <a:gdLst/>
            <a:ahLst/>
            <a:cxnLst/>
            <a:rect l="l" t="t" r="r" b="b"/>
            <a:pathLst>
              <a:path w="4234180" h="1596389">
                <a:moveTo>
                  <a:pt x="570268" y="1550670"/>
                </a:moveTo>
                <a:lnTo>
                  <a:pt x="381863" y="1559052"/>
                </a:lnTo>
                <a:lnTo>
                  <a:pt x="382193" y="1559052"/>
                </a:lnTo>
                <a:lnTo>
                  <a:pt x="191884" y="1563497"/>
                </a:lnTo>
                <a:lnTo>
                  <a:pt x="0" y="1563878"/>
                </a:lnTo>
                <a:lnTo>
                  <a:pt x="88" y="1595882"/>
                </a:lnTo>
                <a:lnTo>
                  <a:pt x="192468" y="1595501"/>
                </a:lnTo>
                <a:lnTo>
                  <a:pt x="383108" y="1590929"/>
                </a:lnTo>
                <a:lnTo>
                  <a:pt x="571842" y="1582674"/>
                </a:lnTo>
                <a:lnTo>
                  <a:pt x="758291" y="1570609"/>
                </a:lnTo>
                <a:lnTo>
                  <a:pt x="942416" y="1554861"/>
                </a:lnTo>
                <a:lnTo>
                  <a:pt x="980346" y="1550797"/>
                </a:lnTo>
                <a:lnTo>
                  <a:pt x="569937" y="1550797"/>
                </a:lnTo>
                <a:lnTo>
                  <a:pt x="570268" y="1550670"/>
                </a:lnTo>
                <a:close/>
              </a:path>
              <a:path w="4234180" h="1596389">
                <a:moveTo>
                  <a:pt x="1644472" y="1424813"/>
                </a:moveTo>
                <a:lnTo>
                  <a:pt x="1472514" y="1454531"/>
                </a:lnTo>
                <a:lnTo>
                  <a:pt x="1472895" y="1454531"/>
                </a:lnTo>
                <a:lnTo>
                  <a:pt x="1297762" y="1480820"/>
                </a:lnTo>
                <a:lnTo>
                  <a:pt x="1298016" y="1480820"/>
                </a:lnTo>
                <a:lnTo>
                  <a:pt x="1119835" y="1503680"/>
                </a:lnTo>
                <a:lnTo>
                  <a:pt x="1120216" y="1503680"/>
                </a:lnTo>
                <a:lnTo>
                  <a:pt x="939114" y="1522984"/>
                </a:lnTo>
                <a:lnTo>
                  <a:pt x="939495" y="1522984"/>
                </a:lnTo>
                <a:lnTo>
                  <a:pt x="755726" y="1538605"/>
                </a:lnTo>
                <a:lnTo>
                  <a:pt x="756056" y="1538605"/>
                </a:lnTo>
                <a:lnTo>
                  <a:pt x="569937" y="1550797"/>
                </a:lnTo>
                <a:lnTo>
                  <a:pt x="980346" y="1550797"/>
                </a:lnTo>
                <a:lnTo>
                  <a:pt x="1123772" y="1535430"/>
                </a:lnTo>
                <a:lnTo>
                  <a:pt x="1302334" y="1512570"/>
                </a:lnTo>
                <a:lnTo>
                  <a:pt x="1477848" y="1486154"/>
                </a:lnTo>
                <a:lnTo>
                  <a:pt x="1650060" y="1456309"/>
                </a:lnTo>
                <a:lnTo>
                  <a:pt x="1809909" y="1424940"/>
                </a:lnTo>
                <a:lnTo>
                  <a:pt x="1644091" y="1424940"/>
                </a:lnTo>
                <a:lnTo>
                  <a:pt x="1644472" y="1424813"/>
                </a:lnTo>
                <a:close/>
              </a:path>
              <a:path w="4234180" h="1596389">
                <a:moveTo>
                  <a:pt x="1812620" y="1391793"/>
                </a:moveTo>
                <a:lnTo>
                  <a:pt x="1644091" y="1424940"/>
                </a:lnTo>
                <a:lnTo>
                  <a:pt x="1809909" y="1424940"/>
                </a:lnTo>
                <a:lnTo>
                  <a:pt x="1818970" y="1423162"/>
                </a:lnTo>
                <a:lnTo>
                  <a:pt x="1960979" y="1391920"/>
                </a:lnTo>
                <a:lnTo>
                  <a:pt x="1812239" y="1391920"/>
                </a:lnTo>
                <a:lnTo>
                  <a:pt x="1812620" y="1391793"/>
                </a:lnTo>
                <a:close/>
              </a:path>
              <a:path w="4234180" h="1596389">
                <a:moveTo>
                  <a:pt x="1977085" y="1355598"/>
                </a:moveTo>
                <a:lnTo>
                  <a:pt x="1812239" y="1391920"/>
                </a:lnTo>
                <a:lnTo>
                  <a:pt x="1960979" y="1391920"/>
                </a:lnTo>
                <a:lnTo>
                  <a:pt x="1984070" y="1386840"/>
                </a:lnTo>
                <a:lnTo>
                  <a:pt x="2111231" y="1355725"/>
                </a:lnTo>
                <a:lnTo>
                  <a:pt x="1976704" y="1355725"/>
                </a:lnTo>
                <a:lnTo>
                  <a:pt x="1977085" y="1355598"/>
                </a:lnTo>
                <a:close/>
              </a:path>
              <a:path w="4234180" h="1596389">
                <a:moveTo>
                  <a:pt x="2137613" y="1316228"/>
                </a:moveTo>
                <a:lnTo>
                  <a:pt x="1976704" y="1355725"/>
                </a:lnTo>
                <a:lnTo>
                  <a:pt x="2111231" y="1355725"/>
                </a:lnTo>
                <a:lnTo>
                  <a:pt x="2145487" y="1347343"/>
                </a:lnTo>
                <a:lnTo>
                  <a:pt x="2259663" y="1316355"/>
                </a:lnTo>
                <a:lnTo>
                  <a:pt x="2137232" y="1316355"/>
                </a:lnTo>
                <a:lnTo>
                  <a:pt x="2137613" y="1316228"/>
                </a:lnTo>
                <a:close/>
              </a:path>
              <a:path w="4234180" h="1596389">
                <a:moveTo>
                  <a:pt x="2689124" y="1180211"/>
                </a:moveTo>
                <a:lnTo>
                  <a:pt x="2594051" y="1180211"/>
                </a:lnTo>
                <a:lnTo>
                  <a:pt x="2445969" y="1228725"/>
                </a:lnTo>
                <a:lnTo>
                  <a:pt x="2293823" y="1273937"/>
                </a:lnTo>
                <a:lnTo>
                  <a:pt x="2294204" y="1273937"/>
                </a:lnTo>
                <a:lnTo>
                  <a:pt x="2137232" y="1316355"/>
                </a:lnTo>
                <a:lnTo>
                  <a:pt x="2259663" y="1316355"/>
                </a:lnTo>
                <a:lnTo>
                  <a:pt x="2302713" y="1304671"/>
                </a:lnTo>
                <a:lnTo>
                  <a:pt x="2455748" y="1259205"/>
                </a:lnTo>
                <a:lnTo>
                  <a:pt x="2604211" y="1210564"/>
                </a:lnTo>
                <a:lnTo>
                  <a:pt x="2689124" y="1180211"/>
                </a:lnTo>
                <a:close/>
              </a:path>
              <a:path w="4234180" h="1596389">
                <a:moveTo>
                  <a:pt x="2446350" y="1228598"/>
                </a:moveTo>
                <a:lnTo>
                  <a:pt x="2445922" y="1228725"/>
                </a:lnTo>
                <a:lnTo>
                  <a:pt x="2446350" y="1228598"/>
                </a:lnTo>
                <a:close/>
              </a:path>
              <a:path w="4234180" h="1596389">
                <a:moveTo>
                  <a:pt x="2825072" y="1129157"/>
                </a:moveTo>
                <a:lnTo>
                  <a:pt x="2737053" y="1129157"/>
                </a:lnTo>
                <a:lnTo>
                  <a:pt x="2593744" y="1180311"/>
                </a:lnTo>
                <a:lnTo>
                  <a:pt x="2594051" y="1180211"/>
                </a:lnTo>
                <a:lnTo>
                  <a:pt x="2689124" y="1180211"/>
                </a:lnTo>
                <a:lnTo>
                  <a:pt x="2748102" y="1159129"/>
                </a:lnTo>
                <a:lnTo>
                  <a:pt x="2825072" y="1129157"/>
                </a:lnTo>
                <a:close/>
              </a:path>
              <a:path w="4234180" h="1596389">
                <a:moveTo>
                  <a:pt x="2956957" y="1075309"/>
                </a:moveTo>
                <a:lnTo>
                  <a:pt x="2875102" y="1075309"/>
                </a:lnTo>
                <a:lnTo>
                  <a:pt x="2736672" y="1129284"/>
                </a:lnTo>
                <a:lnTo>
                  <a:pt x="2737053" y="1129157"/>
                </a:lnTo>
                <a:lnTo>
                  <a:pt x="2825072" y="1129157"/>
                </a:lnTo>
                <a:lnTo>
                  <a:pt x="2887040" y="1105027"/>
                </a:lnTo>
                <a:lnTo>
                  <a:pt x="2956957" y="1075309"/>
                </a:lnTo>
                <a:close/>
              </a:path>
              <a:path w="4234180" h="1596389">
                <a:moveTo>
                  <a:pt x="3084263" y="1018794"/>
                </a:moveTo>
                <a:lnTo>
                  <a:pt x="3008198" y="1018794"/>
                </a:lnTo>
                <a:lnTo>
                  <a:pt x="2874721" y="1075436"/>
                </a:lnTo>
                <a:lnTo>
                  <a:pt x="2875102" y="1075309"/>
                </a:lnTo>
                <a:lnTo>
                  <a:pt x="2956957" y="1075309"/>
                </a:lnTo>
                <a:lnTo>
                  <a:pt x="3020898" y="1048131"/>
                </a:lnTo>
                <a:lnTo>
                  <a:pt x="3084263" y="1018794"/>
                </a:lnTo>
                <a:close/>
              </a:path>
              <a:path w="4234180" h="1596389">
                <a:moveTo>
                  <a:pt x="3206811" y="959612"/>
                </a:moveTo>
                <a:lnTo>
                  <a:pt x="3135833" y="959612"/>
                </a:lnTo>
                <a:lnTo>
                  <a:pt x="3135325" y="959866"/>
                </a:lnTo>
                <a:lnTo>
                  <a:pt x="3007690" y="1018921"/>
                </a:lnTo>
                <a:lnTo>
                  <a:pt x="3008198" y="1018794"/>
                </a:lnTo>
                <a:lnTo>
                  <a:pt x="3084263" y="1018794"/>
                </a:lnTo>
                <a:lnTo>
                  <a:pt x="3149549" y="988568"/>
                </a:lnTo>
                <a:lnTo>
                  <a:pt x="3206811" y="959612"/>
                </a:lnTo>
                <a:close/>
              </a:path>
              <a:path w="4234180" h="1596389">
                <a:moveTo>
                  <a:pt x="3135776" y="959638"/>
                </a:moveTo>
                <a:lnTo>
                  <a:pt x="3135284" y="959866"/>
                </a:lnTo>
                <a:lnTo>
                  <a:pt x="3135776" y="959638"/>
                </a:lnTo>
                <a:close/>
              </a:path>
              <a:path w="4234180" h="1596389">
                <a:moveTo>
                  <a:pt x="3324125" y="898017"/>
                </a:moveTo>
                <a:lnTo>
                  <a:pt x="3257880" y="898017"/>
                </a:lnTo>
                <a:lnTo>
                  <a:pt x="3135776" y="959638"/>
                </a:lnTo>
                <a:lnTo>
                  <a:pt x="3206811" y="959612"/>
                </a:lnTo>
                <a:lnTo>
                  <a:pt x="3272612" y="926338"/>
                </a:lnTo>
                <a:lnTo>
                  <a:pt x="3324125" y="898017"/>
                </a:lnTo>
                <a:close/>
              </a:path>
              <a:path w="4234180" h="1596389">
                <a:moveTo>
                  <a:pt x="3437415" y="833882"/>
                </a:moveTo>
                <a:lnTo>
                  <a:pt x="3374339" y="833882"/>
                </a:lnTo>
                <a:lnTo>
                  <a:pt x="3257372" y="898271"/>
                </a:lnTo>
                <a:lnTo>
                  <a:pt x="3257880" y="898017"/>
                </a:lnTo>
                <a:lnTo>
                  <a:pt x="3324125" y="898017"/>
                </a:lnTo>
                <a:lnTo>
                  <a:pt x="3389960" y="861822"/>
                </a:lnTo>
                <a:lnTo>
                  <a:pt x="3437415" y="833882"/>
                </a:lnTo>
                <a:close/>
              </a:path>
              <a:path w="4234180" h="1596389">
                <a:moveTo>
                  <a:pt x="3491129" y="801116"/>
                </a:moveTo>
                <a:lnTo>
                  <a:pt x="3430092" y="801116"/>
                </a:lnTo>
                <a:lnTo>
                  <a:pt x="3373831" y="834136"/>
                </a:lnTo>
                <a:lnTo>
                  <a:pt x="3374339" y="833882"/>
                </a:lnTo>
                <a:lnTo>
                  <a:pt x="3437415" y="833882"/>
                </a:lnTo>
                <a:lnTo>
                  <a:pt x="3446475" y="828548"/>
                </a:lnTo>
                <a:lnTo>
                  <a:pt x="3491129" y="801116"/>
                </a:lnTo>
                <a:close/>
              </a:path>
              <a:path w="4234180" h="1596389">
                <a:moveTo>
                  <a:pt x="3484575" y="767588"/>
                </a:moveTo>
                <a:lnTo>
                  <a:pt x="3429838" y="801243"/>
                </a:lnTo>
                <a:lnTo>
                  <a:pt x="3430092" y="801116"/>
                </a:lnTo>
                <a:lnTo>
                  <a:pt x="3491129" y="801116"/>
                </a:lnTo>
                <a:lnTo>
                  <a:pt x="3501466" y="794766"/>
                </a:lnTo>
                <a:lnTo>
                  <a:pt x="3543447" y="767842"/>
                </a:lnTo>
                <a:lnTo>
                  <a:pt x="3484321" y="767842"/>
                </a:lnTo>
                <a:lnTo>
                  <a:pt x="3484575" y="767588"/>
                </a:lnTo>
                <a:close/>
              </a:path>
              <a:path w="4234180" h="1596389">
                <a:moveTo>
                  <a:pt x="3594643" y="733679"/>
                </a:moveTo>
                <a:lnTo>
                  <a:pt x="3537407" y="733679"/>
                </a:lnTo>
                <a:lnTo>
                  <a:pt x="3484321" y="767842"/>
                </a:lnTo>
                <a:lnTo>
                  <a:pt x="3543447" y="767842"/>
                </a:lnTo>
                <a:lnTo>
                  <a:pt x="3554933" y="760476"/>
                </a:lnTo>
                <a:lnTo>
                  <a:pt x="3594643" y="733679"/>
                </a:lnTo>
                <a:close/>
              </a:path>
              <a:path w="4234180" h="1596389">
                <a:moveTo>
                  <a:pt x="3644235" y="699008"/>
                </a:moveTo>
                <a:lnTo>
                  <a:pt x="3588715" y="699008"/>
                </a:lnTo>
                <a:lnTo>
                  <a:pt x="3537153" y="733806"/>
                </a:lnTo>
                <a:lnTo>
                  <a:pt x="3537407" y="733679"/>
                </a:lnTo>
                <a:lnTo>
                  <a:pt x="3594643" y="733679"/>
                </a:lnTo>
                <a:lnTo>
                  <a:pt x="3606876" y="725424"/>
                </a:lnTo>
                <a:lnTo>
                  <a:pt x="3644235" y="699008"/>
                </a:lnTo>
                <a:close/>
              </a:path>
              <a:path w="4234180" h="1596389">
                <a:moveTo>
                  <a:pt x="3692246" y="663829"/>
                </a:moveTo>
                <a:lnTo>
                  <a:pt x="3638626" y="663829"/>
                </a:lnTo>
                <a:lnTo>
                  <a:pt x="3588461" y="699135"/>
                </a:lnTo>
                <a:lnTo>
                  <a:pt x="3588715" y="699008"/>
                </a:lnTo>
                <a:lnTo>
                  <a:pt x="3644235" y="699008"/>
                </a:lnTo>
                <a:lnTo>
                  <a:pt x="3657168" y="689864"/>
                </a:lnTo>
                <a:lnTo>
                  <a:pt x="3692246" y="663829"/>
                </a:lnTo>
                <a:close/>
              </a:path>
              <a:path w="4234180" h="1596389">
                <a:moveTo>
                  <a:pt x="3738819" y="628142"/>
                </a:moveTo>
                <a:lnTo>
                  <a:pt x="3686632" y="628142"/>
                </a:lnTo>
                <a:lnTo>
                  <a:pt x="3638245" y="664083"/>
                </a:lnTo>
                <a:lnTo>
                  <a:pt x="3638626" y="663829"/>
                </a:lnTo>
                <a:lnTo>
                  <a:pt x="3692246" y="663829"/>
                </a:lnTo>
                <a:lnTo>
                  <a:pt x="3705936" y="653669"/>
                </a:lnTo>
                <a:lnTo>
                  <a:pt x="3738819" y="628142"/>
                </a:lnTo>
                <a:close/>
              </a:path>
              <a:path w="4234180" h="1596389">
                <a:moveTo>
                  <a:pt x="3868729" y="518033"/>
                </a:moveTo>
                <a:lnTo>
                  <a:pt x="3821252" y="518033"/>
                </a:lnTo>
                <a:lnTo>
                  <a:pt x="3777818" y="555498"/>
                </a:lnTo>
                <a:lnTo>
                  <a:pt x="3732987" y="592201"/>
                </a:lnTo>
                <a:lnTo>
                  <a:pt x="3686378" y="628269"/>
                </a:lnTo>
                <a:lnTo>
                  <a:pt x="3686632" y="628142"/>
                </a:lnTo>
                <a:lnTo>
                  <a:pt x="3738819" y="628142"/>
                </a:lnTo>
                <a:lnTo>
                  <a:pt x="3753053" y="617093"/>
                </a:lnTo>
                <a:lnTo>
                  <a:pt x="3798519" y="579882"/>
                </a:lnTo>
                <a:lnTo>
                  <a:pt x="3842334" y="542036"/>
                </a:lnTo>
                <a:lnTo>
                  <a:pt x="3868729" y="518033"/>
                </a:lnTo>
                <a:close/>
              </a:path>
              <a:path w="4234180" h="1596389">
                <a:moveTo>
                  <a:pt x="3733241" y="591947"/>
                </a:moveTo>
                <a:lnTo>
                  <a:pt x="3732913" y="592201"/>
                </a:lnTo>
                <a:lnTo>
                  <a:pt x="3733241" y="591947"/>
                </a:lnTo>
                <a:close/>
              </a:path>
              <a:path w="4234180" h="1596389">
                <a:moveTo>
                  <a:pt x="3778072" y="555244"/>
                </a:moveTo>
                <a:lnTo>
                  <a:pt x="3777762" y="555498"/>
                </a:lnTo>
                <a:lnTo>
                  <a:pt x="3778072" y="555244"/>
                </a:lnTo>
                <a:close/>
              </a:path>
              <a:path w="4234180" h="1596389">
                <a:moveTo>
                  <a:pt x="3908710" y="480314"/>
                </a:moveTo>
                <a:lnTo>
                  <a:pt x="3862654" y="480314"/>
                </a:lnTo>
                <a:lnTo>
                  <a:pt x="3820871" y="518287"/>
                </a:lnTo>
                <a:lnTo>
                  <a:pt x="3821252" y="518033"/>
                </a:lnTo>
                <a:lnTo>
                  <a:pt x="3868729" y="518033"/>
                </a:lnTo>
                <a:lnTo>
                  <a:pt x="3884371" y="503809"/>
                </a:lnTo>
                <a:lnTo>
                  <a:pt x="3908710" y="480314"/>
                </a:lnTo>
                <a:close/>
              </a:path>
              <a:path w="4234180" h="1596389">
                <a:moveTo>
                  <a:pt x="3902278" y="442087"/>
                </a:moveTo>
                <a:lnTo>
                  <a:pt x="3862273" y="480568"/>
                </a:lnTo>
                <a:lnTo>
                  <a:pt x="3862654" y="480314"/>
                </a:lnTo>
                <a:lnTo>
                  <a:pt x="3908710" y="480314"/>
                </a:lnTo>
                <a:lnTo>
                  <a:pt x="3924630" y="464947"/>
                </a:lnTo>
                <a:lnTo>
                  <a:pt x="3946672" y="442468"/>
                </a:lnTo>
                <a:lnTo>
                  <a:pt x="3902024" y="442468"/>
                </a:lnTo>
                <a:lnTo>
                  <a:pt x="3902278" y="442087"/>
                </a:lnTo>
                <a:close/>
              </a:path>
              <a:path w="4234180" h="1596389">
                <a:moveTo>
                  <a:pt x="3983703" y="403479"/>
                </a:moveTo>
                <a:lnTo>
                  <a:pt x="3940124" y="403479"/>
                </a:lnTo>
                <a:lnTo>
                  <a:pt x="3902024" y="442468"/>
                </a:lnTo>
                <a:lnTo>
                  <a:pt x="3946672" y="442468"/>
                </a:lnTo>
                <a:lnTo>
                  <a:pt x="3963111" y="425704"/>
                </a:lnTo>
                <a:lnTo>
                  <a:pt x="3983703" y="403479"/>
                </a:lnTo>
                <a:close/>
              </a:path>
              <a:path w="4234180" h="1596389">
                <a:moveTo>
                  <a:pt x="4018611" y="364363"/>
                </a:moveTo>
                <a:lnTo>
                  <a:pt x="3976319" y="364363"/>
                </a:lnTo>
                <a:lnTo>
                  <a:pt x="3939870" y="403733"/>
                </a:lnTo>
                <a:lnTo>
                  <a:pt x="3940124" y="403479"/>
                </a:lnTo>
                <a:lnTo>
                  <a:pt x="3983703" y="403479"/>
                </a:lnTo>
                <a:lnTo>
                  <a:pt x="3999941" y="385953"/>
                </a:lnTo>
                <a:lnTo>
                  <a:pt x="4018611" y="364363"/>
                </a:lnTo>
                <a:close/>
              </a:path>
              <a:path w="4234180" h="1596389">
                <a:moveTo>
                  <a:pt x="4051762" y="324866"/>
                </a:moveTo>
                <a:lnTo>
                  <a:pt x="4010609" y="324866"/>
                </a:lnTo>
                <a:lnTo>
                  <a:pt x="3975938" y="364744"/>
                </a:lnTo>
                <a:lnTo>
                  <a:pt x="3976319" y="364363"/>
                </a:lnTo>
                <a:lnTo>
                  <a:pt x="4018611" y="364363"/>
                </a:lnTo>
                <a:lnTo>
                  <a:pt x="4034866" y="345567"/>
                </a:lnTo>
                <a:lnTo>
                  <a:pt x="4051762" y="324866"/>
                </a:lnTo>
                <a:close/>
              </a:path>
              <a:path w="4234180" h="1596389">
                <a:moveTo>
                  <a:pt x="4083171" y="284861"/>
                </a:moveTo>
                <a:lnTo>
                  <a:pt x="4043121" y="284861"/>
                </a:lnTo>
                <a:lnTo>
                  <a:pt x="4010228" y="325247"/>
                </a:lnTo>
                <a:lnTo>
                  <a:pt x="4010609" y="324866"/>
                </a:lnTo>
                <a:lnTo>
                  <a:pt x="4051762" y="324866"/>
                </a:lnTo>
                <a:lnTo>
                  <a:pt x="4068140" y="304800"/>
                </a:lnTo>
                <a:lnTo>
                  <a:pt x="4083171" y="284861"/>
                </a:lnTo>
                <a:close/>
              </a:path>
              <a:path w="4234180" h="1596389">
                <a:moveTo>
                  <a:pt x="4112688" y="244475"/>
                </a:moveTo>
                <a:lnTo>
                  <a:pt x="4073601" y="244475"/>
                </a:lnTo>
                <a:lnTo>
                  <a:pt x="4042740" y="285242"/>
                </a:lnTo>
                <a:lnTo>
                  <a:pt x="4043121" y="284861"/>
                </a:lnTo>
                <a:lnTo>
                  <a:pt x="4083171" y="284861"/>
                </a:lnTo>
                <a:lnTo>
                  <a:pt x="4099255" y="263525"/>
                </a:lnTo>
                <a:lnTo>
                  <a:pt x="4112688" y="244475"/>
                </a:lnTo>
                <a:close/>
              </a:path>
              <a:path w="4234180" h="1596389">
                <a:moveTo>
                  <a:pt x="4140499" y="203581"/>
                </a:moveTo>
                <a:lnTo>
                  <a:pt x="4102303" y="203581"/>
                </a:lnTo>
                <a:lnTo>
                  <a:pt x="4073220" y="244856"/>
                </a:lnTo>
                <a:lnTo>
                  <a:pt x="4073601" y="244475"/>
                </a:lnTo>
                <a:lnTo>
                  <a:pt x="4112688" y="244475"/>
                </a:lnTo>
                <a:lnTo>
                  <a:pt x="4128719" y="221742"/>
                </a:lnTo>
                <a:lnTo>
                  <a:pt x="4140499" y="203581"/>
                </a:lnTo>
                <a:close/>
              </a:path>
              <a:path w="4234180" h="1596389">
                <a:moveTo>
                  <a:pt x="4190138" y="120650"/>
                </a:moveTo>
                <a:lnTo>
                  <a:pt x="4153992" y="120650"/>
                </a:lnTo>
                <a:lnTo>
                  <a:pt x="4128846" y="162814"/>
                </a:lnTo>
                <a:lnTo>
                  <a:pt x="4102219" y="203700"/>
                </a:lnTo>
                <a:lnTo>
                  <a:pt x="4140499" y="203581"/>
                </a:lnTo>
                <a:lnTo>
                  <a:pt x="4156151" y="179451"/>
                </a:lnTo>
                <a:lnTo>
                  <a:pt x="4181678" y="136779"/>
                </a:lnTo>
                <a:lnTo>
                  <a:pt x="4190138" y="120650"/>
                </a:lnTo>
                <a:close/>
              </a:path>
              <a:path w="4234180" h="1596389">
                <a:moveTo>
                  <a:pt x="4129100" y="162306"/>
                </a:moveTo>
                <a:lnTo>
                  <a:pt x="4128770" y="162814"/>
                </a:lnTo>
                <a:lnTo>
                  <a:pt x="4129100" y="162306"/>
                </a:lnTo>
                <a:close/>
              </a:path>
              <a:path w="4234180" h="1596389">
                <a:moveTo>
                  <a:pt x="4175314" y="79813"/>
                </a:moveTo>
                <a:lnTo>
                  <a:pt x="4153484" y="121412"/>
                </a:lnTo>
                <a:lnTo>
                  <a:pt x="4153992" y="120650"/>
                </a:lnTo>
                <a:lnTo>
                  <a:pt x="4190138" y="120650"/>
                </a:lnTo>
                <a:lnTo>
                  <a:pt x="4204408" y="93446"/>
                </a:lnTo>
                <a:lnTo>
                  <a:pt x="4175314" y="79813"/>
                </a:lnTo>
                <a:close/>
              </a:path>
              <a:path w="4234180" h="1596389">
                <a:moveTo>
                  <a:pt x="4232901" y="65024"/>
                </a:moveTo>
                <a:lnTo>
                  <a:pt x="4183075" y="65024"/>
                </a:lnTo>
                <a:lnTo>
                  <a:pt x="4211523" y="79883"/>
                </a:lnTo>
                <a:lnTo>
                  <a:pt x="4204408" y="93446"/>
                </a:lnTo>
                <a:lnTo>
                  <a:pt x="4234002" y="107315"/>
                </a:lnTo>
                <a:lnTo>
                  <a:pt x="4232901" y="65024"/>
                </a:lnTo>
                <a:close/>
              </a:path>
              <a:path w="4234180" h="1596389">
                <a:moveTo>
                  <a:pt x="4183075" y="65024"/>
                </a:moveTo>
                <a:lnTo>
                  <a:pt x="4175314" y="79813"/>
                </a:lnTo>
                <a:lnTo>
                  <a:pt x="4204408" y="93446"/>
                </a:lnTo>
                <a:lnTo>
                  <a:pt x="4211523" y="79883"/>
                </a:lnTo>
                <a:lnTo>
                  <a:pt x="4183075" y="65024"/>
                </a:lnTo>
                <a:close/>
              </a:path>
              <a:path w="4234180" h="1596389">
                <a:moveTo>
                  <a:pt x="4231208" y="0"/>
                </a:moveTo>
                <a:lnTo>
                  <a:pt x="4147007" y="66548"/>
                </a:lnTo>
                <a:lnTo>
                  <a:pt x="4175314" y="79813"/>
                </a:lnTo>
                <a:lnTo>
                  <a:pt x="4183075" y="65024"/>
                </a:lnTo>
                <a:lnTo>
                  <a:pt x="4232901" y="65024"/>
                </a:lnTo>
                <a:lnTo>
                  <a:pt x="4231208" y="0"/>
                </a:lnTo>
                <a:close/>
              </a:path>
            </a:pathLst>
          </a:custGeom>
          <a:gradFill>
            <a:gsLst>
              <a:gs pos="44000">
                <a:schemeClr val="accent3">
                  <a:lumMod val="75000"/>
                </a:schemeClr>
              </a:gs>
              <a:gs pos="100000">
                <a:schemeClr val="accent1">
                  <a:lumMod val="20000"/>
                  <a:lumOff val="80000"/>
                </a:schemeClr>
              </a:gs>
            </a:gsLst>
            <a:lin ang="5400000" scaled="1"/>
          </a:gradFill>
        </p:spPr>
        <p:txBody>
          <a:bodyPr wrap="square" lIns="0" tIns="0" rIns="0" bIns="0" rtlCol="0"/>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grpSp>
        <p:nvGrpSpPr>
          <p:cNvPr id="4" name="Group 3">
            <a:extLst>
              <a:ext uri="{FF2B5EF4-FFF2-40B4-BE49-F238E27FC236}">
                <a16:creationId xmlns:a16="http://schemas.microsoft.com/office/drawing/2014/main" id="{36209232-8A95-CEB6-2799-0450EA026B77}"/>
              </a:ext>
            </a:extLst>
          </p:cNvPr>
          <p:cNvGrpSpPr>
            <a:grpSpLocks noChangeAspect="1"/>
          </p:cNvGrpSpPr>
          <p:nvPr/>
        </p:nvGrpSpPr>
        <p:grpSpPr>
          <a:xfrm>
            <a:off x="3724818" y="4132314"/>
            <a:ext cx="548640" cy="548640"/>
            <a:chOff x="3348271" y="3022028"/>
            <a:chExt cx="520700" cy="522288"/>
          </a:xfrm>
        </p:grpSpPr>
        <p:sp>
          <p:nvSpPr>
            <p:cNvPr id="5" name="Oval 4">
              <a:extLst>
                <a:ext uri="{FF2B5EF4-FFF2-40B4-BE49-F238E27FC236}">
                  <a16:creationId xmlns:a16="http://schemas.microsoft.com/office/drawing/2014/main" id="{28036946-E628-8A2D-68E2-28CE85740EA5}"/>
                </a:ext>
              </a:extLst>
            </p:cNvPr>
            <p:cNvSpPr/>
            <p:nvPr/>
          </p:nvSpPr>
          <p:spPr>
            <a:xfrm>
              <a:off x="3368206" y="3098029"/>
              <a:ext cx="475440" cy="41588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FFFFFF"/>
                </a:solidFill>
                <a:effectLst/>
                <a:uLnTx/>
                <a:uFillTx/>
                <a:latin typeface="Open Sans"/>
                <a:ea typeface="+mn-ea"/>
                <a:cs typeface="+mn-cs"/>
              </a:endParaRPr>
            </a:p>
          </p:txBody>
        </p:sp>
        <p:grpSp>
          <p:nvGrpSpPr>
            <p:cNvPr id="11" name="Group 10">
              <a:extLst>
                <a:ext uri="{FF2B5EF4-FFF2-40B4-BE49-F238E27FC236}">
                  <a16:creationId xmlns:a16="http://schemas.microsoft.com/office/drawing/2014/main" id="{8B518C6D-1AA3-4924-DEDC-940E8F21672D}"/>
                </a:ext>
              </a:extLst>
            </p:cNvPr>
            <p:cNvGrpSpPr>
              <a:grpSpLocks noChangeAspect="1"/>
            </p:cNvGrpSpPr>
            <p:nvPr/>
          </p:nvGrpSpPr>
          <p:grpSpPr>
            <a:xfrm>
              <a:off x="3348271" y="3022028"/>
              <a:ext cx="520700" cy="522288"/>
              <a:chOff x="6724651" y="823913"/>
              <a:chExt cx="520700" cy="522288"/>
            </a:xfrm>
          </p:grpSpPr>
          <p:sp>
            <p:nvSpPr>
              <p:cNvPr id="12" name="Freeform 5">
                <a:extLst>
                  <a:ext uri="{FF2B5EF4-FFF2-40B4-BE49-F238E27FC236}">
                    <a16:creationId xmlns:a16="http://schemas.microsoft.com/office/drawing/2014/main" id="{E9EBBDC8-A5BA-3001-6A80-A99D0FDDADEF}"/>
                  </a:ext>
                </a:extLst>
              </p:cNvPr>
              <p:cNvSpPr>
                <a:spLocks noEditPoints="1"/>
              </p:cNvSpPr>
              <p:nvPr/>
            </p:nvSpPr>
            <p:spPr bwMode="auto">
              <a:xfrm>
                <a:off x="6724651" y="823913"/>
                <a:ext cx="520700" cy="522288"/>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3" name="Freeform 109">
                <a:extLst>
                  <a:ext uri="{FF2B5EF4-FFF2-40B4-BE49-F238E27FC236}">
                    <a16:creationId xmlns:a16="http://schemas.microsoft.com/office/drawing/2014/main" id="{D1B81977-8ECD-6659-CAE5-CF79095F4ED4}"/>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4" name="Freeform 110">
                <a:extLst>
                  <a:ext uri="{FF2B5EF4-FFF2-40B4-BE49-F238E27FC236}">
                    <a16:creationId xmlns:a16="http://schemas.microsoft.com/office/drawing/2014/main" id="{AEA77CD9-CBD8-7BE4-813A-FF0A30B3EFB5}"/>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5" name="Freeform 111">
                <a:extLst>
                  <a:ext uri="{FF2B5EF4-FFF2-40B4-BE49-F238E27FC236}">
                    <a16:creationId xmlns:a16="http://schemas.microsoft.com/office/drawing/2014/main" id="{2CFBB328-5856-DDA9-269F-6340AA93A6B0}"/>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6" name="Freeform 112">
                <a:extLst>
                  <a:ext uri="{FF2B5EF4-FFF2-40B4-BE49-F238E27FC236}">
                    <a16:creationId xmlns:a16="http://schemas.microsoft.com/office/drawing/2014/main" id="{C5D5EF23-C3A0-F166-F14E-9CE20E4C9ACB}"/>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7" name="Freeform 113">
                <a:extLst>
                  <a:ext uri="{FF2B5EF4-FFF2-40B4-BE49-F238E27FC236}">
                    <a16:creationId xmlns:a16="http://schemas.microsoft.com/office/drawing/2014/main" id="{6511C8BC-3143-B07E-417D-8F644F5DA6AE}"/>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8" name="Freeform 114">
                <a:extLst>
                  <a:ext uri="{FF2B5EF4-FFF2-40B4-BE49-F238E27FC236}">
                    <a16:creationId xmlns:a16="http://schemas.microsoft.com/office/drawing/2014/main" id="{AA5D41E0-217D-3BB0-D86A-51DA20F89993}"/>
                  </a:ext>
                </a:extLst>
              </p:cNvPr>
              <p:cNvSpPr>
                <a:spLocks/>
              </p:cNvSpPr>
              <p:nvPr/>
            </p:nvSpPr>
            <p:spPr bwMode="auto">
              <a:xfrm>
                <a:off x="6916738" y="1000125"/>
                <a:ext cx="146050" cy="20320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grpSp>
      </p:grpSp>
      <p:grpSp>
        <p:nvGrpSpPr>
          <p:cNvPr id="19" name="Group 18">
            <a:extLst>
              <a:ext uri="{FF2B5EF4-FFF2-40B4-BE49-F238E27FC236}">
                <a16:creationId xmlns:a16="http://schemas.microsoft.com/office/drawing/2014/main" id="{7A91D25F-2087-3D07-25F7-340C3D5EEB48}"/>
              </a:ext>
            </a:extLst>
          </p:cNvPr>
          <p:cNvGrpSpPr>
            <a:grpSpLocks noChangeAspect="1"/>
          </p:cNvGrpSpPr>
          <p:nvPr/>
        </p:nvGrpSpPr>
        <p:grpSpPr>
          <a:xfrm>
            <a:off x="897857" y="4306485"/>
            <a:ext cx="548640" cy="548640"/>
            <a:chOff x="661377" y="3024157"/>
            <a:chExt cx="522288" cy="522288"/>
          </a:xfrm>
        </p:grpSpPr>
        <p:sp>
          <p:nvSpPr>
            <p:cNvPr id="20" name="Oval 19">
              <a:extLst>
                <a:ext uri="{FF2B5EF4-FFF2-40B4-BE49-F238E27FC236}">
                  <a16:creationId xmlns:a16="http://schemas.microsoft.com/office/drawing/2014/main" id="{FD4979B3-AC85-8C55-2441-0DA99069C7EF}"/>
                </a:ext>
              </a:extLst>
            </p:cNvPr>
            <p:cNvSpPr/>
            <p:nvPr/>
          </p:nvSpPr>
          <p:spPr>
            <a:xfrm>
              <a:off x="695120" y="3070216"/>
              <a:ext cx="475440" cy="41588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FFFFFF"/>
                </a:solidFill>
                <a:effectLst/>
                <a:uLnTx/>
                <a:uFillTx/>
                <a:latin typeface="Open Sans"/>
                <a:ea typeface="+mn-ea"/>
                <a:cs typeface="+mn-cs"/>
              </a:endParaRPr>
            </a:p>
          </p:txBody>
        </p:sp>
        <p:grpSp>
          <p:nvGrpSpPr>
            <p:cNvPr id="22" name="Group 21">
              <a:extLst>
                <a:ext uri="{FF2B5EF4-FFF2-40B4-BE49-F238E27FC236}">
                  <a16:creationId xmlns:a16="http://schemas.microsoft.com/office/drawing/2014/main" id="{51AD1745-BC93-2477-450F-B750026403AE}"/>
                </a:ext>
              </a:extLst>
            </p:cNvPr>
            <p:cNvGrpSpPr>
              <a:grpSpLocks noChangeAspect="1"/>
            </p:cNvGrpSpPr>
            <p:nvPr/>
          </p:nvGrpSpPr>
          <p:grpSpPr>
            <a:xfrm>
              <a:off x="661377" y="3024157"/>
              <a:ext cx="522288" cy="522288"/>
              <a:chOff x="560388" y="1663700"/>
              <a:chExt cx="522288" cy="522288"/>
            </a:xfrm>
          </p:grpSpPr>
          <p:sp>
            <p:nvSpPr>
              <p:cNvPr id="23" name="Freeform 7">
                <a:extLst>
                  <a:ext uri="{FF2B5EF4-FFF2-40B4-BE49-F238E27FC236}">
                    <a16:creationId xmlns:a16="http://schemas.microsoft.com/office/drawing/2014/main" id="{0827AC1C-F61D-CB92-7BB8-E9210678ED30}"/>
                  </a:ext>
                </a:extLst>
              </p:cNvPr>
              <p:cNvSpPr>
                <a:spLocks noEditPoints="1"/>
              </p:cNvSpPr>
              <p:nvPr/>
            </p:nvSpPr>
            <p:spPr bwMode="auto">
              <a:xfrm>
                <a:off x="560388" y="1663700"/>
                <a:ext cx="522288" cy="522288"/>
              </a:xfrm>
              <a:custGeom>
                <a:avLst/>
                <a:gdLst>
                  <a:gd name="T0" fmla="*/ 313 w 658"/>
                  <a:gd name="T1" fmla="*/ 656 h 656"/>
                  <a:gd name="T2" fmla="*/ 263 w 658"/>
                  <a:gd name="T3" fmla="*/ 649 h 656"/>
                  <a:gd name="T4" fmla="*/ 201 w 658"/>
                  <a:gd name="T5" fmla="*/ 631 h 656"/>
                  <a:gd name="T6" fmla="*/ 121 w 658"/>
                  <a:gd name="T7" fmla="*/ 581 h 656"/>
                  <a:gd name="T8" fmla="*/ 56 w 658"/>
                  <a:gd name="T9" fmla="*/ 511 h 656"/>
                  <a:gd name="T10" fmla="*/ 15 w 658"/>
                  <a:gd name="T11" fmla="*/ 425 h 656"/>
                  <a:gd name="T12" fmla="*/ 4 w 658"/>
                  <a:gd name="T13" fmla="*/ 378 h 656"/>
                  <a:gd name="T14" fmla="*/ 0 w 658"/>
                  <a:gd name="T15" fmla="*/ 327 h 656"/>
                  <a:gd name="T16" fmla="*/ 3 w 658"/>
                  <a:gd name="T17" fmla="*/ 294 h 656"/>
                  <a:gd name="T18" fmla="*/ 11 w 658"/>
                  <a:gd name="T19" fmla="*/ 245 h 656"/>
                  <a:gd name="T20" fmla="*/ 40 w 658"/>
                  <a:gd name="T21" fmla="*/ 171 h 656"/>
                  <a:gd name="T22" fmla="*/ 97 w 658"/>
                  <a:gd name="T23" fmla="*/ 95 h 656"/>
                  <a:gd name="T24" fmla="*/ 173 w 658"/>
                  <a:gd name="T25" fmla="*/ 39 h 656"/>
                  <a:gd name="T26" fmla="*/ 247 w 658"/>
                  <a:gd name="T27" fmla="*/ 9 h 656"/>
                  <a:gd name="T28" fmla="*/ 295 w 658"/>
                  <a:gd name="T29" fmla="*/ 1 h 656"/>
                  <a:gd name="T30" fmla="*/ 329 w 658"/>
                  <a:gd name="T31" fmla="*/ 0 h 656"/>
                  <a:gd name="T32" fmla="*/ 379 w 658"/>
                  <a:gd name="T33" fmla="*/ 4 h 656"/>
                  <a:gd name="T34" fmla="*/ 427 w 658"/>
                  <a:gd name="T35" fmla="*/ 14 h 656"/>
                  <a:gd name="T36" fmla="*/ 513 w 658"/>
                  <a:gd name="T37" fmla="*/ 56 h 656"/>
                  <a:gd name="T38" fmla="*/ 583 w 658"/>
                  <a:gd name="T39" fmla="*/ 119 h 656"/>
                  <a:gd name="T40" fmla="*/ 632 w 658"/>
                  <a:gd name="T41" fmla="*/ 200 h 656"/>
                  <a:gd name="T42" fmla="*/ 651 w 658"/>
                  <a:gd name="T43" fmla="*/ 261 h 656"/>
                  <a:gd name="T44" fmla="*/ 658 w 658"/>
                  <a:gd name="T45" fmla="*/ 311 h 656"/>
                  <a:gd name="T46" fmla="*/ 658 w 658"/>
                  <a:gd name="T47" fmla="*/ 345 h 656"/>
                  <a:gd name="T48" fmla="*/ 651 w 658"/>
                  <a:gd name="T49" fmla="*/ 394 h 656"/>
                  <a:gd name="T50" fmla="*/ 632 w 658"/>
                  <a:gd name="T51" fmla="*/ 456 h 656"/>
                  <a:gd name="T52" fmla="*/ 583 w 658"/>
                  <a:gd name="T53" fmla="*/ 537 h 656"/>
                  <a:gd name="T54" fmla="*/ 513 w 658"/>
                  <a:gd name="T55" fmla="*/ 600 h 656"/>
                  <a:gd name="T56" fmla="*/ 427 w 658"/>
                  <a:gd name="T57" fmla="*/ 641 h 656"/>
                  <a:gd name="T58" fmla="*/ 379 w 658"/>
                  <a:gd name="T59" fmla="*/ 652 h 656"/>
                  <a:gd name="T60" fmla="*/ 329 w 658"/>
                  <a:gd name="T61" fmla="*/ 656 h 656"/>
                  <a:gd name="T62" fmla="*/ 329 w 658"/>
                  <a:gd name="T63" fmla="*/ 37 h 656"/>
                  <a:gd name="T64" fmla="*/ 243 w 658"/>
                  <a:gd name="T65" fmla="*/ 49 h 656"/>
                  <a:gd name="T66" fmla="*/ 167 w 658"/>
                  <a:gd name="T67" fmla="*/ 87 h 656"/>
                  <a:gd name="T68" fmla="*/ 105 w 658"/>
                  <a:gd name="T69" fmla="*/ 143 h 656"/>
                  <a:gd name="T70" fmla="*/ 62 w 658"/>
                  <a:gd name="T71" fmla="*/ 214 h 656"/>
                  <a:gd name="T72" fmla="*/ 40 w 658"/>
                  <a:gd name="T73" fmla="*/ 298 h 656"/>
                  <a:gd name="T74" fmla="*/ 40 w 658"/>
                  <a:gd name="T75" fmla="*/ 358 h 656"/>
                  <a:gd name="T76" fmla="*/ 62 w 658"/>
                  <a:gd name="T77" fmla="*/ 441 h 656"/>
                  <a:gd name="T78" fmla="*/ 105 w 658"/>
                  <a:gd name="T79" fmla="*/ 512 h 656"/>
                  <a:gd name="T80" fmla="*/ 167 w 658"/>
                  <a:gd name="T81" fmla="*/ 569 h 656"/>
                  <a:gd name="T82" fmla="*/ 243 w 658"/>
                  <a:gd name="T83" fmla="*/ 605 h 656"/>
                  <a:gd name="T84" fmla="*/ 329 w 658"/>
                  <a:gd name="T85" fmla="*/ 618 h 656"/>
                  <a:gd name="T86" fmla="*/ 388 w 658"/>
                  <a:gd name="T87" fmla="*/ 613 h 656"/>
                  <a:gd name="T88" fmla="*/ 467 w 658"/>
                  <a:gd name="T89" fmla="*/ 584 h 656"/>
                  <a:gd name="T90" fmla="*/ 534 w 658"/>
                  <a:gd name="T91" fmla="*/ 534 h 656"/>
                  <a:gd name="T92" fmla="*/ 585 w 658"/>
                  <a:gd name="T93" fmla="*/ 467 h 656"/>
                  <a:gd name="T94" fmla="*/ 615 w 658"/>
                  <a:gd name="T95" fmla="*/ 386 h 656"/>
                  <a:gd name="T96" fmla="*/ 620 w 658"/>
                  <a:gd name="T97" fmla="*/ 327 h 656"/>
                  <a:gd name="T98" fmla="*/ 607 w 658"/>
                  <a:gd name="T99" fmla="*/ 241 h 656"/>
                  <a:gd name="T100" fmla="*/ 571 w 658"/>
                  <a:gd name="T101" fmla="*/ 165 h 656"/>
                  <a:gd name="T102" fmla="*/ 514 w 658"/>
                  <a:gd name="T103" fmla="*/ 103 h 656"/>
                  <a:gd name="T104" fmla="*/ 443 w 658"/>
                  <a:gd name="T105" fmla="*/ 60 h 656"/>
                  <a:gd name="T106" fmla="*/ 359 w 658"/>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6">
                    <a:moveTo>
                      <a:pt x="329" y="656"/>
                    </a:moveTo>
                    <a:lnTo>
                      <a:pt x="329" y="656"/>
                    </a:lnTo>
                    <a:lnTo>
                      <a:pt x="313" y="656"/>
                    </a:lnTo>
                    <a:lnTo>
                      <a:pt x="295" y="655"/>
                    </a:lnTo>
                    <a:lnTo>
                      <a:pt x="279" y="652"/>
                    </a:lnTo>
                    <a:lnTo>
                      <a:pt x="263" y="649"/>
                    </a:lnTo>
                    <a:lnTo>
                      <a:pt x="247" y="647"/>
                    </a:lnTo>
                    <a:lnTo>
                      <a:pt x="232" y="641"/>
                    </a:lnTo>
                    <a:lnTo>
                      <a:pt x="201" y="631"/>
                    </a:lnTo>
                    <a:lnTo>
                      <a:pt x="173" y="617"/>
                    </a:lnTo>
                    <a:lnTo>
                      <a:pt x="145" y="600"/>
                    </a:lnTo>
                    <a:lnTo>
                      <a:pt x="121" y="581"/>
                    </a:lnTo>
                    <a:lnTo>
                      <a:pt x="97" y="559"/>
                    </a:lnTo>
                    <a:lnTo>
                      <a:pt x="75" y="537"/>
                    </a:lnTo>
                    <a:lnTo>
                      <a:pt x="56" y="511"/>
                    </a:lnTo>
                    <a:lnTo>
                      <a:pt x="40" y="484"/>
                    </a:lnTo>
                    <a:lnTo>
                      <a:pt x="27" y="456"/>
                    </a:lnTo>
                    <a:lnTo>
                      <a:pt x="15" y="425"/>
                    </a:lnTo>
                    <a:lnTo>
                      <a:pt x="11" y="410"/>
                    </a:lnTo>
                    <a:lnTo>
                      <a:pt x="7" y="394"/>
                    </a:lnTo>
                    <a:lnTo>
                      <a:pt x="4" y="378"/>
                    </a:lnTo>
                    <a:lnTo>
                      <a:pt x="3" y="361"/>
                    </a:lnTo>
                    <a:lnTo>
                      <a:pt x="1" y="345"/>
                    </a:lnTo>
                    <a:lnTo>
                      <a:pt x="0" y="327"/>
                    </a:lnTo>
                    <a:lnTo>
                      <a:pt x="0" y="327"/>
                    </a:lnTo>
                    <a:lnTo>
                      <a:pt x="1" y="311"/>
                    </a:lnTo>
                    <a:lnTo>
                      <a:pt x="3" y="294"/>
                    </a:lnTo>
                    <a:lnTo>
                      <a:pt x="4" y="277"/>
                    </a:lnTo>
                    <a:lnTo>
                      <a:pt x="7" y="261"/>
                    </a:lnTo>
                    <a:lnTo>
                      <a:pt x="11" y="245"/>
                    </a:lnTo>
                    <a:lnTo>
                      <a:pt x="15" y="231"/>
                    </a:lnTo>
                    <a:lnTo>
                      <a:pt x="27" y="200"/>
                    </a:lnTo>
                    <a:lnTo>
                      <a:pt x="40" y="171"/>
                    </a:lnTo>
                    <a:lnTo>
                      <a:pt x="56" y="145"/>
                    </a:lnTo>
                    <a:lnTo>
                      <a:pt x="75" y="119"/>
                    </a:lnTo>
                    <a:lnTo>
                      <a:pt x="97" y="95"/>
                    </a:lnTo>
                    <a:lnTo>
                      <a:pt x="121" y="75"/>
                    </a:lnTo>
                    <a:lnTo>
                      <a:pt x="145" y="56"/>
                    </a:lnTo>
                    <a:lnTo>
                      <a:pt x="173" y="39"/>
                    </a:lnTo>
                    <a:lnTo>
                      <a:pt x="201" y="25"/>
                    </a:lnTo>
                    <a:lnTo>
                      <a:pt x="232" y="14"/>
                    </a:lnTo>
                    <a:lnTo>
                      <a:pt x="247" y="9"/>
                    </a:lnTo>
                    <a:lnTo>
                      <a:pt x="263" y="6"/>
                    </a:lnTo>
                    <a:lnTo>
                      <a:pt x="279" y="4"/>
                    </a:lnTo>
                    <a:lnTo>
                      <a:pt x="295" y="1"/>
                    </a:lnTo>
                    <a:lnTo>
                      <a:pt x="313" y="0"/>
                    </a:lnTo>
                    <a:lnTo>
                      <a:pt x="329" y="0"/>
                    </a:lnTo>
                    <a:lnTo>
                      <a:pt x="329" y="0"/>
                    </a:lnTo>
                    <a:lnTo>
                      <a:pt x="346" y="0"/>
                    </a:lnTo>
                    <a:lnTo>
                      <a:pt x="363" y="1"/>
                    </a:lnTo>
                    <a:lnTo>
                      <a:pt x="379" y="4"/>
                    </a:lnTo>
                    <a:lnTo>
                      <a:pt x="395" y="6"/>
                    </a:lnTo>
                    <a:lnTo>
                      <a:pt x="411" y="9"/>
                    </a:lnTo>
                    <a:lnTo>
                      <a:pt x="427" y="14"/>
                    </a:lnTo>
                    <a:lnTo>
                      <a:pt x="457" y="25"/>
                    </a:lnTo>
                    <a:lnTo>
                      <a:pt x="486" y="39"/>
                    </a:lnTo>
                    <a:lnTo>
                      <a:pt x="513" y="56"/>
                    </a:lnTo>
                    <a:lnTo>
                      <a:pt x="538" y="75"/>
                    </a:lnTo>
                    <a:lnTo>
                      <a:pt x="561" y="95"/>
                    </a:lnTo>
                    <a:lnTo>
                      <a:pt x="583" y="119"/>
                    </a:lnTo>
                    <a:lnTo>
                      <a:pt x="602" y="145"/>
                    </a:lnTo>
                    <a:lnTo>
                      <a:pt x="618" y="171"/>
                    </a:lnTo>
                    <a:lnTo>
                      <a:pt x="632" y="200"/>
                    </a:lnTo>
                    <a:lnTo>
                      <a:pt x="643" y="231"/>
                    </a:lnTo>
                    <a:lnTo>
                      <a:pt x="647" y="245"/>
                    </a:lnTo>
                    <a:lnTo>
                      <a:pt x="651" y="261"/>
                    </a:lnTo>
                    <a:lnTo>
                      <a:pt x="654" y="277"/>
                    </a:lnTo>
                    <a:lnTo>
                      <a:pt x="657" y="294"/>
                    </a:lnTo>
                    <a:lnTo>
                      <a:pt x="658" y="311"/>
                    </a:lnTo>
                    <a:lnTo>
                      <a:pt x="658" y="327"/>
                    </a:lnTo>
                    <a:lnTo>
                      <a:pt x="658" y="327"/>
                    </a:lnTo>
                    <a:lnTo>
                      <a:pt x="658" y="345"/>
                    </a:lnTo>
                    <a:lnTo>
                      <a:pt x="657" y="361"/>
                    </a:lnTo>
                    <a:lnTo>
                      <a:pt x="654" y="378"/>
                    </a:lnTo>
                    <a:lnTo>
                      <a:pt x="651" y="394"/>
                    </a:lnTo>
                    <a:lnTo>
                      <a:pt x="647" y="410"/>
                    </a:lnTo>
                    <a:lnTo>
                      <a:pt x="643" y="425"/>
                    </a:lnTo>
                    <a:lnTo>
                      <a:pt x="632" y="456"/>
                    </a:lnTo>
                    <a:lnTo>
                      <a:pt x="618" y="484"/>
                    </a:lnTo>
                    <a:lnTo>
                      <a:pt x="602" y="511"/>
                    </a:lnTo>
                    <a:lnTo>
                      <a:pt x="583" y="537"/>
                    </a:lnTo>
                    <a:lnTo>
                      <a:pt x="561" y="559"/>
                    </a:lnTo>
                    <a:lnTo>
                      <a:pt x="538" y="581"/>
                    </a:lnTo>
                    <a:lnTo>
                      <a:pt x="513" y="600"/>
                    </a:lnTo>
                    <a:lnTo>
                      <a:pt x="486" y="617"/>
                    </a:lnTo>
                    <a:lnTo>
                      <a:pt x="457" y="631"/>
                    </a:lnTo>
                    <a:lnTo>
                      <a:pt x="427" y="641"/>
                    </a:lnTo>
                    <a:lnTo>
                      <a:pt x="411" y="647"/>
                    </a:lnTo>
                    <a:lnTo>
                      <a:pt x="395" y="649"/>
                    </a:lnTo>
                    <a:lnTo>
                      <a:pt x="379" y="652"/>
                    </a:lnTo>
                    <a:lnTo>
                      <a:pt x="363" y="655"/>
                    </a:lnTo>
                    <a:lnTo>
                      <a:pt x="346" y="656"/>
                    </a:lnTo>
                    <a:lnTo>
                      <a:pt x="329" y="656"/>
                    </a:lnTo>
                    <a:lnTo>
                      <a:pt x="329" y="656"/>
                    </a:lnTo>
                    <a:close/>
                    <a:moveTo>
                      <a:pt x="329" y="37"/>
                    </a:moveTo>
                    <a:lnTo>
                      <a:pt x="329" y="37"/>
                    </a:lnTo>
                    <a:lnTo>
                      <a:pt x="299" y="39"/>
                    </a:lnTo>
                    <a:lnTo>
                      <a:pt x="271" y="43"/>
                    </a:lnTo>
                    <a:lnTo>
                      <a:pt x="243" y="49"/>
                    </a:lnTo>
                    <a:lnTo>
                      <a:pt x="216" y="60"/>
                    </a:lnTo>
                    <a:lnTo>
                      <a:pt x="191" y="72"/>
                    </a:lnTo>
                    <a:lnTo>
                      <a:pt x="167" y="87"/>
                    </a:lnTo>
                    <a:lnTo>
                      <a:pt x="144" y="103"/>
                    </a:lnTo>
                    <a:lnTo>
                      <a:pt x="124" y="122"/>
                    </a:lnTo>
                    <a:lnTo>
                      <a:pt x="105" y="143"/>
                    </a:lnTo>
                    <a:lnTo>
                      <a:pt x="89" y="165"/>
                    </a:lnTo>
                    <a:lnTo>
                      <a:pt x="74" y="189"/>
                    </a:lnTo>
                    <a:lnTo>
                      <a:pt x="62" y="214"/>
                    </a:lnTo>
                    <a:lnTo>
                      <a:pt x="51" y="241"/>
                    </a:lnTo>
                    <a:lnTo>
                      <a:pt x="44" y="269"/>
                    </a:lnTo>
                    <a:lnTo>
                      <a:pt x="40" y="298"/>
                    </a:lnTo>
                    <a:lnTo>
                      <a:pt x="38" y="327"/>
                    </a:lnTo>
                    <a:lnTo>
                      <a:pt x="38" y="327"/>
                    </a:lnTo>
                    <a:lnTo>
                      <a:pt x="40" y="358"/>
                    </a:lnTo>
                    <a:lnTo>
                      <a:pt x="44" y="386"/>
                    </a:lnTo>
                    <a:lnTo>
                      <a:pt x="51" y="414"/>
                    </a:lnTo>
                    <a:lnTo>
                      <a:pt x="62" y="441"/>
                    </a:lnTo>
                    <a:lnTo>
                      <a:pt x="74" y="467"/>
                    </a:lnTo>
                    <a:lnTo>
                      <a:pt x="89" y="491"/>
                    </a:lnTo>
                    <a:lnTo>
                      <a:pt x="105" y="512"/>
                    </a:lnTo>
                    <a:lnTo>
                      <a:pt x="124" y="534"/>
                    </a:lnTo>
                    <a:lnTo>
                      <a:pt x="144" y="553"/>
                    </a:lnTo>
                    <a:lnTo>
                      <a:pt x="167" y="569"/>
                    </a:lnTo>
                    <a:lnTo>
                      <a:pt x="191" y="584"/>
                    </a:lnTo>
                    <a:lnTo>
                      <a:pt x="216" y="596"/>
                    </a:lnTo>
                    <a:lnTo>
                      <a:pt x="243" y="605"/>
                    </a:lnTo>
                    <a:lnTo>
                      <a:pt x="271" y="613"/>
                    </a:lnTo>
                    <a:lnTo>
                      <a:pt x="299" y="617"/>
                    </a:lnTo>
                    <a:lnTo>
                      <a:pt x="329" y="618"/>
                    </a:lnTo>
                    <a:lnTo>
                      <a:pt x="329" y="618"/>
                    </a:lnTo>
                    <a:lnTo>
                      <a:pt x="359" y="617"/>
                    </a:lnTo>
                    <a:lnTo>
                      <a:pt x="388" y="613"/>
                    </a:lnTo>
                    <a:lnTo>
                      <a:pt x="416" y="605"/>
                    </a:lnTo>
                    <a:lnTo>
                      <a:pt x="443" y="596"/>
                    </a:lnTo>
                    <a:lnTo>
                      <a:pt x="467" y="584"/>
                    </a:lnTo>
                    <a:lnTo>
                      <a:pt x="491" y="569"/>
                    </a:lnTo>
                    <a:lnTo>
                      <a:pt x="514" y="553"/>
                    </a:lnTo>
                    <a:lnTo>
                      <a:pt x="534" y="534"/>
                    </a:lnTo>
                    <a:lnTo>
                      <a:pt x="553" y="512"/>
                    </a:lnTo>
                    <a:lnTo>
                      <a:pt x="571" y="491"/>
                    </a:lnTo>
                    <a:lnTo>
                      <a:pt x="585" y="467"/>
                    </a:lnTo>
                    <a:lnTo>
                      <a:pt x="597" y="441"/>
                    </a:lnTo>
                    <a:lnTo>
                      <a:pt x="607" y="414"/>
                    </a:lnTo>
                    <a:lnTo>
                      <a:pt x="615" y="386"/>
                    </a:lnTo>
                    <a:lnTo>
                      <a:pt x="619" y="358"/>
                    </a:lnTo>
                    <a:lnTo>
                      <a:pt x="620" y="327"/>
                    </a:lnTo>
                    <a:lnTo>
                      <a:pt x="620" y="327"/>
                    </a:lnTo>
                    <a:lnTo>
                      <a:pt x="619" y="298"/>
                    </a:lnTo>
                    <a:lnTo>
                      <a:pt x="615" y="269"/>
                    </a:lnTo>
                    <a:lnTo>
                      <a:pt x="607" y="241"/>
                    </a:lnTo>
                    <a:lnTo>
                      <a:pt x="597" y="214"/>
                    </a:lnTo>
                    <a:lnTo>
                      <a:pt x="585" y="189"/>
                    </a:lnTo>
                    <a:lnTo>
                      <a:pt x="571" y="165"/>
                    </a:lnTo>
                    <a:lnTo>
                      <a:pt x="553" y="143"/>
                    </a:lnTo>
                    <a:lnTo>
                      <a:pt x="534" y="122"/>
                    </a:lnTo>
                    <a:lnTo>
                      <a:pt x="514" y="103"/>
                    </a:lnTo>
                    <a:lnTo>
                      <a:pt x="491" y="87"/>
                    </a:lnTo>
                    <a:lnTo>
                      <a:pt x="467" y="72"/>
                    </a:lnTo>
                    <a:lnTo>
                      <a:pt x="443" y="60"/>
                    </a:lnTo>
                    <a:lnTo>
                      <a:pt x="416"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24" name="Freeform 79">
                <a:extLst>
                  <a:ext uri="{FF2B5EF4-FFF2-40B4-BE49-F238E27FC236}">
                    <a16:creationId xmlns:a16="http://schemas.microsoft.com/office/drawing/2014/main" id="{C9957B59-B335-5507-1F70-BF09AA9F38E7}"/>
                  </a:ext>
                </a:extLst>
              </p:cNvPr>
              <p:cNvSpPr>
                <a:spLocks noEditPoints="1"/>
              </p:cNvSpPr>
              <p:nvPr/>
            </p:nvSpPr>
            <p:spPr bwMode="auto">
              <a:xfrm>
                <a:off x="727076" y="1827213"/>
                <a:ext cx="195263" cy="195263"/>
              </a:xfrm>
              <a:custGeom>
                <a:avLst/>
                <a:gdLst>
                  <a:gd name="T0" fmla="*/ 6 w 246"/>
                  <a:gd name="T1" fmla="*/ 246 h 246"/>
                  <a:gd name="T2" fmla="*/ 184 w 246"/>
                  <a:gd name="T3" fmla="*/ 187 h 246"/>
                  <a:gd name="T4" fmla="*/ 186 w 246"/>
                  <a:gd name="T5" fmla="*/ 185 h 246"/>
                  <a:gd name="T6" fmla="*/ 246 w 246"/>
                  <a:gd name="T7" fmla="*/ 8 h 246"/>
                  <a:gd name="T8" fmla="*/ 246 w 246"/>
                  <a:gd name="T9" fmla="*/ 4 h 246"/>
                  <a:gd name="T10" fmla="*/ 245 w 246"/>
                  <a:gd name="T11" fmla="*/ 1 h 246"/>
                  <a:gd name="T12" fmla="*/ 239 w 246"/>
                  <a:gd name="T13" fmla="*/ 0 h 246"/>
                  <a:gd name="T14" fmla="*/ 64 w 246"/>
                  <a:gd name="T15" fmla="*/ 59 h 246"/>
                  <a:gd name="T16" fmla="*/ 60 w 246"/>
                  <a:gd name="T17" fmla="*/ 62 h 246"/>
                  <a:gd name="T18" fmla="*/ 0 w 246"/>
                  <a:gd name="T19" fmla="*/ 238 h 246"/>
                  <a:gd name="T20" fmla="*/ 2 w 246"/>
                  <a:gd name="T21" fmla="*/ 244 h 246"/>
                  <a:gd name="T22" fmla="*/ 5 w 246"/>
                  <a:gd name="T23" fmla="*/ 246 h 246"/>
                  <a:gd name="T24" fmla="*/ 6 w 246"/>
                  <a:gd name="T25" fmla="*/ 246 h 246"/>
                  <a:gd name="T26" fmla="*/ 124 w 246"/>
                  <a:gd name="T27" fmla="*/ 94 h 246"/>
                  <a:gd name="T28" fmla="*/ 135 w 246"/>
                  <a:gd name="T29" fmla="*/ 95 h 246"/>
                  <a:gd name="T30" fmla="*/ 144 w 246"/>
                  <a:gd name="T31" fmla="*/ 102 h 246"/>
                  <a:gd name="T32" fmla="*/ 151 w 246"/>
                  <a:gd name="T33" fmla="*/ 111 h 246"/>
                  <a:gd name="T34" fmla="*/ 154 w 246"/>
                  <a:gd name="T35" fmla="*/ 122 h 246"/>
                  <a:gd name="T36" fmla="*/ 152 w 246"/>
                  <a:gd name="T37" fmla="*/ 129 h 246"/>
                  <a:gd name="T38" fmla="*/ 148 w 246"/>
                  <a:gd name="T39" fmla="*/ 140 h 246"/>
                  <a:gd name="T40" fmla="*/ 140 w 246"/>
                  <a:gd name="T41" fmla="*/ 148 h 246"/>
                  <a:gd name="T42" fmla="*/ 129 w 246"/>
                  <a:gd name="T43" fmla="*/ 152 h 246"/>
                  <a:gd name="T44" fmla="*/ 124 w 246"/>
                  <a:gd name="T45" fmla="*/ 152 h 246"/>
                  <a:gd name="T46" fmla="*/ 112 w 246"/>
                  <a:gd name="T47" fmla="*/ 150 h 246"/>
                  <a:gd name="T48" fmla="*/ 103 w 246"/>
                  <a:gd name="T49" fmla="*/ 144 h 246"/>
                  <a:gd name="T50" fmla="*/ 97 w 246"/>
                  <a:gd name="T51" fmla="*/ 134 h 246"/>
                  <a:gd name="T52" fmla="*/ 94 w 246"/>
                  <a:gd name="T53" fmla="*/ 122 h 246"/>
                  <a:gd name="T54" fmla="*/ 94 w 246"/>
                  <a:gd name="T55" fmla="*/ 117 h 246"/>
                  <a:gd name="T56" fmla="*/ 100 w 246"/>
                  <a:gd name="T57" fmla="*/ 106 h 246"/>
                  <a:gd name="T58" fmla="*/ 107 w 246"/>
                  <a:gd name="T59" fmla="*/ 98 h 246"/>
                  <a:gd name="T60" fmla="*/ 117 w 246"/>
                  <a:gd name="T61" fmla="*/ 94 h 246"/>
                  <a:gd name="T62" fmla="*/ 124 w 246"/>
                  <a:gd name="T63" fmla="*/ 9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6" y="246"/>
                    </a:moveTo>
                    <a:lnTo>
                      <a:pt x="6" y="246"/>
                    </a:lnTo>
                    <a:lnTo>
                      <a:pt x="9" y="246"/>
                    </a:lnTo>
                    <a:lnTo>
                      <a:pt x="184" y="187"/>
                    </a:lnTo>
                    <a:lnTo>
                      <a:pt x="184" y="187"/>
                    </a:lnTo>
                    <a:lnTo>
                      <a:pt x="186" y="185"/>
                    </a:lnTo>
                    <a:lnTo>
                      <a:pt x="188" y="184"/>
                    </a:lnTo>
                    <a:lnTo>
                      <a:pt x="246" y="8"/>
                    </a:lnTo>
                    <a:lnTo>
                      <a:pt x="246" y="8"/>
                    </a:lnTo>
                    <a:lnTo>
                      <a:pt x="246" y="4"/>
                    </a:lnTo>
                    <a:lnTo>
                      <a:pt x="245" y="1"/>
                    </a:lnTo>
                    <a:lnTo>
                      <a:pt x="245" y="1"/>
                    </a:lnTo>
                    <a:lnTo>
                      <a:pt x="242" y="0"/>
                    </a:lnTo>
                    <a:lnTo>
                      <a:pt x="239" y="0"/>
                    </a:lnTo>
                    <a:lnTo>
                      <a:pt x="64" y="59"/>
                    </a:lnTo>
                    <a:lnTo>
                      <a:pt x="64" y="59"/>
                    </a:lnTo>
                    <a:lnTo>
                      <a:pt x="61" y="60"/>
                    </a:lnTo>
                    <a:lnTo>
                      <a:pt x="60" y="62"/>
                    </a:lnTo>
                    <a:lnTo>
                      <a:pt x="0" y="238"/>
                    </a:lnTo>
                    <a:lnTo>
                      <a:pt x="0" y="238"/>
                    </a:lnTo>
                    <a:lnTo>
                      <a:pt x="0" y="242"/>
                    </a:lnTo>
                    <a:lnTo>
                      <a:pt x="2" y="244"/>
                    </a:lnTo>
                    <a:lnTo>
                      <a:pt x="2" y="244"/>
                    </a:lnTo>
                    <a:lnTo>
                      <a:pt x="5" y="246"/>
                    </a:lnTo>
                    <a:lnTo>
                      <a:pt x="6" y="246"/>
                    </a:lnTo>
                    <a:lnTo>
                      <a:pt x="6" y="246"/>
                    </a:lnTo>
                    <a:close/>
                    <a:moveTo>
                      <a:pt x="124" y="94"/>
                    </a:moveTo>
                    <a:lnTo>
                      <a:pt x="124" y="94"/>
                    </a:lnTo>
                    <a:lnTo>
                      <a:pt x="129" y="94"/>
                    </a:lnTo>
                    <a:lnTo>
                      <a:pt x="135" y="95"/>
                    </a:lnTo>
                    <a:lnTo>
                      <a:pt x="140" y="98"/>
                    </a:lnTo>
                    <a:lnTo>
                      <a:pt x="144" y="102"/>
                    </a:lnTo>
                    <a:lnTo>
                      <a:pt x="148" y="106"/>
                    </a:lnTo>
                    <a:lnTo>
                      <a:pt x="151" y="111"/>
                    </a:lnTo>
                    <a:lnTo>
                      <a:pt x="152" y="117"/>
                    </a:lnTo>
                    <a:lnTo>
                      <a:pt x="154" y="122"/>
                    </a:lnTo>
                    <a:lnTo>
                      <a:pt x="154" y="122"/>
                    </a:lnTo>
                    <a:lnTo>
                      <a:pt x="152" y="129"/>
                    </a:lnTo>
                    <a:lnTo>
                      <a:pt x="151" y="134"/>
                    </a:lnTo>
                    <a:lnTo>
                      <a:pt x="148" y="140"/>
                    </a:lnTo>
                    <a:lnTo>
                      <a:pt x="144" y="144"/>
                    </a:lnTo>
                    <a:lnTo>
                      <a:pt x="140" y="148"/>
                    </a:lnTo>
                    <a:lnTo>
                      <a:pt x="135" y="150"/>
                    </a:lnTo>
                    <a:lnTo>
                      <a:pt x="129" y="152"/>
                    </a:lnTo>
                    <a:lnTo>
                      <a:pt x="124" y="152"/>
                    </a:lnTo>
                    <a:lnTo>
                      <a:pt x="124" y="152"/>
                    </a:lnTo>
                    <a:lnTo>
                      <a:pt x="117" y="152"/>
                    </a:lnTo>
                    <a:lnTo>
                      <a:pt x="112" y="150"/>
                    </a:lnTo>
                    <a:lnTo>
                      <a:pt x="107" y="148"/>
                    </a:lnTo>
                    <a:lnTo>
                      <a:pt x="103" y="144"/>
                    </a:lnTo>
                    <a:lnTo>
                      <a:pt x="100" y="140"/>
                    </a:lnTo>
                    <a:lnTo>
                      <a:pt x="97" y="134"/>
                    </a:lnTo>
                    <a:lnTo>
                      <a:pt x="94" y="129"/>
                    </a:lnTo>
                    <a:lnTo>
                      <a:pt x="94" y="122"/>
                    </a:lnTo>
                    <a:lnTo>
                      <a:pt x="94" y="122"/>
                    </a:lnTo>
                    <a:lnTo>
                      <a:pt x="94" y="117"/>
                    </a:lnTo>
                    <a:lnTo>
                      <a:pt x="97" y="111"/>
                    </a:lnTo>
                    <a:lnTo>
                      <a:pt x="100" y="106"/>
                    </a:lnTo>
                    <a:lnTo>
                      <a:pt x="103" y="102"/>
                    </a:lnTo>
                    <a:lnTo>
                      <a:pt x="107" y="98"/>
                    </a:lnTo>
                    <a:lnTo>
                      <a:pt x="112" y="95"/>
                    </a:lnTo>
                    <a:lnTo>
                      <a:pt x="117" y="94"/>
                    </a:lnTo>
                    <a:lnTo>
                      <a:pt x="124" y="94"/>
                    </a:lnTo>
                    <a:lnTo>
                      <a:pt x="124"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25" name="Freeform 80">
                <a:extLst>
                  <a:ext uri="{FF2B5EF4-FFF2-40B4-BE49-F238E27FC236}">
                    <a16:creationId xmlns:a16="http://schemas.microsoft.com/office/drawing/2014/main" id="{0E47BB4E-3E2B-FC2D-7E34-CCCDA4F4F1C8}"/>
                  </a:ext>
                </a:extLst>
              </p:cNvPr>
              <p:cNvSpPr>
                <a:spLocks/>
              </p:cNvSpPr>
              <p:nvPr/>
            </p:nvSpPr>
            <p:spPr bwMode="auto">
              <a:xfrm>
                <a:off x="817563" y="1763713"/>
                <a:ext cx="14288" cy="47625"/>
              </a:xfrm>
              <a:custGeom>
                <a:avLst/>
                <a:gdLst>
                  <a:gd name="T0" fmla="*/ 9 w 17"/>
                  <a:gd name="T1" fmla="*/ 0 h 59"/>
                  <a:gd name="T2" fmla="*/ 9 w 17"/>
                  <a:gd name="T3" fmla="*/ 0 h 59"/>
                  <a:gd name="T4" fmla="*/ 5 w 17"/>
                  <a:gd name="T5" fmla="*/ 0 h 59"/>
                  <a:gd name="T6" fmla="*/ 2 w 17"/>
                  <a:gd name="T7" fmla="*/ 2 h 59"/>
                  <a:gd name="T8" fmla="*/ 0 w 17"/>
                  <a:gd name="T9" fmla="*/ 5 h 59"/>
                  <a:gd name="T10" fmla="*/ 0 w 17"/>
                  <a:gd name="T11" fmla="*/ 9 h 59"/>
                  <a:gd name="T12" fmla="*/ 0 w 17"/>
                  <a:gd name="T13" fmla="*/ 49 h 59"/>
                  <a:gd name="T14" fmla="*/ 0 w 17"/>
                  <a:gd name="T15" fmla="*/ 49 h 59"/>
                  <a:gd name="T16" fmla="*/ 0 w 17"/>
                  <a:gd name="T17" fmla="*/ 53 h 59"/>
                  <a:gd name="T18" fmla="*/ 2 w 17"/>
                  <a:gd name="T19" fmla="*/ 56 h 59"/>
                  <a:gd name="T20" fmla="*/ 5 w 17"/>
                  <a:gd name="T21" fmla="*/ 58 h 59"/>
                  <a:gd name="T22" fmla="*/ 9 w 17"/>
                  <a:gd name="T23" fmla="*/ 59 h 59"/>
                  <a:gd name="T24" fmla="*/ 9 w 17"/>
                  <a:gd name="T25" fmla="*/ 59 h 59"/>
                  <a:gd name="T26" fmla="*/ 12 w 17"/>
                  <a:gd name="T27" fmla="*/ 58 h 59"/>
                  <a:gd name="T28" fmla="*/ 14 w 17"/>
                  <a:gd name="T29" fmla="*/ 56 h 59"/>
                  <a:gd name="T30" fmla="*/ 17 w 17"/>
                  <a:gd name="T31" fmla="*/ 53 h 59"/>
                  <a:gd name="T32" fmla="*/ 17 w 17"/>
                  <a:gd name="T33" fmla="*/ 49 h 59"/>
                  <a:gd name="T34" fmla="*/ 17 w 17"/>
                  <a:gd name="T35" fmla="*/ 9 h 59"/>
                  <a:gd name="T36" fmla="*/ 17 w 17"/>
                  <a:gd name="T37" fmla="*/ 9 h 59"/>
                  <a:gd name="T38" fmla="*/ 17 w 17"/>
                  <a:gd name="T39" fmla="*/ 5 h 59"/>
                  <a:gd name="T40" fmla="*/ 14 w 17"/>
                  <a:gd name="T41" fmla="*/ 2 h 59"/>
                  <a:gd name="T42" fmla="*/ 12 w 17"/>
                  <a:gd name="T43" fmla="*/ 0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0"/>
                    </a:lnTo>
                    <a:lnTo>
                      <a:pt x="2" y="2"/>
                    </a:lnTo>
                    <a:lnTo>
                      <a:pt x="0" y="5"/>
                    </a:lnTo>
                    <a:lnTo>
                      <a:pt x="0" y="9"/>
                    </a:lnTo>
                    <a:lnTo>
                      <a:pt x="0" y="49"/>
                    </a:lnTo>
                    <a:lnTo>
                      <a:pt x="0" y="49"/>
                    </a:lnTo>
                    <a:lnTo>
                      <a:pt x="0" y="53"/>
                    </a:lnTo>
                    <a:lnTo>
                      <a:pt x="2" y="56"/>
                    </a:lnTo>
                    <a:lnTo>
                      <a:pt x="5" y="58"/>
                    </a:lnTo>
                    <a:lnTo>
                      <a:pt x="9" y="59"/>
                    </a:lnTo>
                    <a:lnTo>
                      <a:pt x="9" y="59"/>
                    </a:lnTo>
                    <a:lnTo>
                      <a:pt x="12" y="58"/>
                    </a:lnTo>
                    <a:lnTo>
                      <a:pt x="14" y="56"/>
                    </a:lnTo>
                    <a:lnTo>
                      <a:pt x="17" y="53"/>
                    </a:lnTo>
                    <a:lnTo>
                      <a:pt x="17" y="49"/>
                    </a:lnTo>
                    <a:lnTo>
                      <a:pt x="17" y="9"/>
                    </a:lnTo>
                    <a:lnTo>
                      <a:pt x="17" y="9"/>
                    </a:lnTo>
                    <a:lnTo>
                      <a:pt x="17" y="5"/>
                    </a:lnTo>
                    <a:lnTo>
                      <a:pt x="14" y="2"/>
                    </a:lnTo>
                    <a:lnTo>
                      <a:pt x="12" y="0"/>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26" name="Freeform 81">
                <a:extLst>
                  <a:ext uri="{FF2B5EF4-FFF2-40B4-BE49-F238E27FC236}">
                    <a16:creationId xmlns:a16="http://schemas.microsoft.com/office/drawing/2014/main" id="{A886FF20-5632-9E9A-D3E1-F2571059A337}"/>
                  </a:ext>
                </a:extLst>
              </p:cNvPr>
              <p:cNvSpPr>
                <a:spLocks/>
              </p:cNvSpPr>
              <p:nvPr/>
            </p:nvSpPr>
            <p:spPr bwMode="auto">
              <a:xfrm>
                <a:off x="938213" y="1917700"/>
                <a:ext cx="46038" cy="14288"/>
              </a:xfrm>
              <a:custGeom>
                <a:avLst/>
                <a:gdLst>
                  <a:gd name="T0" fmla="*/ 51 w 59"/>
                  <a:gd name="T1" fmla="*/ 0 h 18"/>
                  <a:gd name="T2" fmla="*/ 10 w 59"/>
                  <a:gd name="T3" fmla="*/ 0 h 18"/>
                  <a:gd name="T4" fmla="*/ 10 w 59"/>
                  <a:gd name="T5" fmla="*/ 0 h 18"/>
                  <a:gd name="T6" fmla="*/ 7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7 w 59"/>
                  <a:gd name="T21" fmla="*/ 18 h 18"/>
                  <a:gd name="T22" fmla="*/ 10 w 59"/>
                  <a:gd name="T23" fmla="*/ 18 h 18"/>
                  <a:gd name="T24" fmla="*/ 51 w 59"/>
                  <a:gd name="T25" fmla="*/ 18 h 18"/>
                  <a:gd name="T26" fmla="*/ 51 w 59"/>
                  <a:gd name="T27" fmla="*/ 18 h 18"/>
                  <a:gd name="T28" fmla="*/ 54 w 59"/>
                  <a:gd name="T29" fmla="*/ 18 h 18"/>
                  <a:gd name="T30" fmla="*/ 57 w 59"/>
                  <a:gd name="T31" fmla="*/ 15 h 18"/>
                  <a:gd name="T32" fmla="*/ 59 w 59"/>
                  <a:gd name="T33" fmla="*/ 12 h 18"/>
                  <a:gd name="T34" fmla="*/ 59 w 59"/>
                  <a:gd name="T35" fmla="*/ 8 h 18"/>
                  <a:gd name="T36" fmla="*/ 59 w 59"/>
                  <a:gd name="T37" fmla="*/ 8 h 18"/>
                  <a:gd name="T38" fmla="*/ 59 w 59"/>
                  <a:gd name="T39" fmla="*/ 5 h 18"/>
                  <a:gd name="T40" fmla="*/ 57 w 59"/>
                  <a:gd name="T41" fmla="*/ 3 h 18"/>
                  <a:gd name="T42" fmla="*/ 54 w 59"/>
                  <a:gd name="T43" fmla="*/ 0 h 18"/>
                  <a:gd name="T44" fmla="*/ 51 w 59"/>
                  <a:gd name="T45" fmla="*/ 0 h 18"/>
                  <a:gd name="T46" fmla="*/ 51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1" y="0"/>
                    </a:moveTo>
                    <a:lnTo>
                      <a:pt x="10" y="0"/>
                    </a:lnTo>
                    <a:lnTo>
                      <a:pt x="10" y="0"/>
                    </a:lnTo>
                    <a:lnTo>
                      <a:pt x="7" y="0"/>
                    </a:lnTo>
                    <a:lnTo>
                      <a:pt x="3" y="3"/>
                    </a:lnTo>
                    <a:lnTo>
                      <a:pt x="2" y="5"/>
                    </a:lnTo>
                    <a:lnTo>
                      <a:pt x="0" y="8"/>
                    </a:lnTo>
                    <a:lnTo>
                      <a:pt x="0" y="8"/>
                    </a:lnTo>
                    <a:lnTo>
                      <a:pt x="2" y="12"/>
                    </a:lnTo>
                    <a:lnTo>
                      <a:pt x="3" y="15"/>
                    </a:lnTo>
                    <a:lnTo>
                      <a:pt x="7" y="18"/>
                    </a:lnTo>
                    <a:lnTo>
                      <a:pt x="10" y="18"/>
                    </a:lnTo>
                    <a:lnTo>
                      <a:pt x="51" y="18"/>
                    </a:lnTo>
                    <a:lnTo>
                      <a:pt x="51" y="18"/>
                    </a:lnTo>
                    <a:lnTo>
                      <a:pt x="54" y="18"/>
                    </a:lnTo>
                    <a:lnTo>
                      <a:pt x="57" y="15"/>
                    </a:lnTo>
                    <a:lnTo>
                      <a:pt x="59" y="12"/>
                    </a:lnTo>
                    <a:lnTo>
                      <a:pt x="59" y="8"/>
                    </a:lnTo>
                    <a:lnTo>
                      <a:pt x="59" y="8"/>
                    </a:lnTo>
                    <a:lnTo>
                      <a:pt x="59" y="5"/>
                    </a:lnTo>
                    <a:lnTo>
                      <a:pt x="57" y="3"/>
                    </a:lnTo>
                    <a:lnTo>
                      <a:pt x="54"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27" name="Freeform 82">
                <a:extLst>
                  <a:ext uri="{FF2B5EF4-FFF2-40B4-BE49-F238E27FC236}">
                    <a16:creationId xmlns:a16="http://schemas.microsoft.com/office/drawing/2014/main" id="{2930A7DC-8832-9E07-BE2E-357255DC964E}"/>
                  </a:ext>
                </a:extLst>
              </p:cNvPr>
              <p:cNvSpPr>
                <a:spLocks/>
              </p:cNvSpPr>
              <p:nvPr/>
            </p:nvSpPr>
            <p:spPr bwMode="auto">
              <a:xfrm>
                <a:off x="817563" y="2038350"/>
                <a:ext cx="14288" cy="46038"/>
              </a:xfrm>
              <a:custGeom>
                <a:avLst/>
                <a:gdLst>
                  <a:gd name="T0" fmla="*/ 9 w 17"/>
                  <a:gd name="T1" fmla="*/ 0 h 59"/>
                  <a:gd name="T2" fmla="*/ 9 w 17"/>
                  <a:gd name="T3" fmla="*/ 0 h 59"/>
                  <a:gd name="T4" fmla="*/ 5 w 17"/>
                  <a:gd name="T5" fmla="*/ 1 h 59"/>
                  <a:gd name="T6" fmla="*/ 2 w 17"/>
                  <a:gd name="T7" fmla="*/ 3 h 59"/>
                  <a:gd name="T8" fmla="*/ 0 w 17"/>
                  <a:gd name="T9" fmla="*/ 5 h 59"/>
                  <a:gd name="T10" fmla="*/ 0 w 17"/>
                  <a:gd name="T11" fmla="*/ 9 h 59"/>
                  <a:gd name="T12" fmla="*/ 0 w 17"/>
                  <a:gd name="T13" fmla="*/ 49 h 59"/>
                  <a:gd name="T14" fmla="*/ 0 w 17"/>
                  <a:gd name="T15" fmla="*/ 49 h 59"/>
                  <a:gd name="T16" fmla="*/ 0 w 17"/>
                  <a:gd name="T17" fmla="*/ 54 h 59"/>
                  <a:gd name="T18" fmla="*/ 2 w 17"/>
                  <a:gd name="T19" fmla="*/ 56 h 59"/>
                  <a:gd name="T20" fmla="*/ 5 w 17"/>
                  <a:gd name="T21" fmla="*/ 59 h 59"/>
                  <a:gd name="T22" fmla="*/ 9 w 17"/>
                  <a:gd name="T23" fmla="*/ 59 h 59"/>
                  <a:gd name="T24" fmla="*/ 9 w 17"/>
                  <a:gd name="T25" fmla="*/ 59 h 59"/>
                  <a:gd name="T26" fmla="*/ 12 w 17"/>
                  <a:gd name="T27" fmla="*/ 59 h 59"/>
                  <a:gd name="T28" fmla="*/ 14 w 17"/>
                  <a:gd name="T29" fmla="*/ 56 h 59"/>
                  <a:gd name="T30" fmla="*/ 17 w 17"/>
                  <a:gd name="T31" fmla="*/ 54 h 59"/>
                  <a:gd name="T32" fmla="*/ 17 w 17"/>
                  <a:gd name="T33" fmla="*/ 49 h 59"/>
                  <a:gd name="T34" fmla="*/ 17 w 17"/>
                  <a:gd name="T35" fmla="*/ 9 h 59"/>
                  <a:gd name="T36" fmla="*/ 17 w 17"/>
                  <a:gd name="T37" fmla="*/ 9 h 59"/>
                  <a:gd name="T38" fmla="*/ 17 w 17"/>
                  <a:gd name="T39" fmla="*/ 5 h 59"/>
                  <a:gd name="T40" fmla="*/ 14 w 17"/>
                  <a:gd name="T41" fmla="*/ 3 h 59"/>
                  <a:gd name="T42" fmla="*/ 12 w 17"/>
                  <a:gd name="T43" fmla="*/ 1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1"/>
                    </a:lnTo>
                    <a:lnTo>
                      <a:pt x="2" y="3"/>
                    </a:lnTo>
                    <a:lnTo>
                      <a:pt x="0" y="5"/>
                    </a:lnTo>
                    <a:lnTo>
                      <a:pt x="0" y="9"/>
                    </a:lnTo>
                    <a:lnTo>
                      <a:pt x="0" y="49"/>
                    </a:lnTo>
                    <a:lnTo>
                      <a:pt x="0" y="49"/>
                    </a:lnTo>
                    <a:lnTo>
                      <a:pt x="0" y="54"/>
                    </a:lnTo>
                    <a:lnTo>
                      <a:pt x="2" y="56"/>
                    </a:lnTo>
                    <a:lnTo>
                      <a:pt x="5" y="59"/>
                    </a:lnTo>
                    <a:lnTo>
                      <a:pt x="9" y="59"/>
                    </a:lnTo>
                    <a:lnTo>
                      <a:pt x="9" y="59"/>
                    </a:lnTo>
                    <a:lnTo>
                      <a:pt x="12" y="59"/>
                    </a:lnTo>
                    <a:lnTo>
                      <a:pt x="14" y="56"/>
                    </a:lnTo>
                    <a:lnTo>
                      <a:pt x="17" y="54"/>
                    </a:lnTo>
                    <a:lnTo>
                      <a:pt x="17" y="49"/>
                    </a:lnTo>
                    <a:lnTo>
                      <a:pt x="17" y="9"/>
                    </a:lnTo>
                    <a:lnTo>
                      <a:pt x="17" y="9"/>
                    </a:lnTo>
                    <a:lnTo>
                      <a:pt x="17" y="5"/>
                    </a:lnTo>
                    <a:lnTo>
                      <a:pt x="14" y="3"/>
                    </a:lnTo>
                    <a:lnTo>
                      <a:pt x="12" y="1"/>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36" name="Freeform 83">
                <a:extLst>
                  <a:ext uri="{FF2B5EF4-FFF2-40B4-BE49-F238E27FC236}">
                    <a16:creationId xmlns:a16="http://schemas.microsoft.com/office/drawing/2014/main" id="{9B8380A5-8224-402A-F4E4-B67BB7749CE6}"/>
                  </a:ext>
                </a:extLst>
              </p:cNvPr>
              <p:cNvSpPr>
                <a:spLocks/>
              </p:cNvSpPr>
              <p:nvPr/>
            </p:nvSpPr>
            <p:spPr bwMode="auto">
              <a:xfrm>
                <a:off x="663576" y="1917700"/>
                <a:ext cx="47625" cy="14288"/>
              </a:xfrm>
              <a:custGeom>
                <a:avLst/>
                <a:gdLst>
                  <a:gd name="T0" fmla="*/ 50 w 59"/>
                  <a:gd name="T1" fmla="*/ 0 h 18"/>
                  <a:gd name="T2" fmla="*/ 10 w 59"/>
                  <a:gd name="T3" fmla="*/ 0 h 18"/>
                  <a:gd name="T4" fmla="*/ 10 w 59"/>
                  <a:gd name="T5" fmla="*/ 0 h 18"/>
                  <a:gd name="T6" fmla="*/ 6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6 w 59"/>
                  <a:gd name="T21" fmla="*/ 18 h 18"/>
                  <a:gd name="T22" fmla="*/ 10 w 59"/>
                  <a:gd name="T23" fmla="*/ 18 h 18"/>
                  <a:gd name="T24" fmla="*/ 50 w 59"/>
                  <a:gd name="T25" fmla="*/ 18 h 18"/>
                  <a:gd name="T26" fmla="*/ 50 w 59"/>
                  <a:gd name="T27" fmla="*/ 18 h 18"/>
                  <a:gd name="T28" fmla="*/ 54 w 59"/>
                  <a:gd name="T29" fmla="*/ 18 h 18"/>
                  <a:gd name="T30" fmla="*/ 57 w 59"/>
                  <a:gd name="T31" fmla="*/ 15 h 18"/>
                  <a:gd name="T32" fmla="*/ 58 w 59"/>
                  <a:gd name="T33" fmla="*/ 12 h 18"/>
                  <a:gd name="T34" fmla="*/ 59 w 59"/>
                  <a:gd name="T35" fmla="*/ 8 h 18"/>
                  <a:gd name="T36" fmla="*/ 59 w 59"/>
                  <a:gd name="T37" fmla="*/ 8 h 18"/>
                  <a:gd name="T38" fmla="*/ 58 w 59"/>
                  <a:gd name="T39" fmla="*/ 5 h 18"/>
                  <a:gd name="T40" fmla="*/ 57 w 59"/>
                  <a:gd name="T41" fmla="*/ 3 h 18"/>
                  <a:gd name="T42" fmla="*/ 54 w 59"/>
                  <a:gd name="T43" fmla="*/ 0 h 18"/>
                  <a:gd name="T44" fmla="*/ 50 w 59"/>
                  <a:gd name="T45" fmla="*/ 0 h 18"/>
                  <a:gd name="T46" fmla="*/ 50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0" y="0"/>
                    </a:moveTo>
                    <a:lnTo>
                      <a:pt x="10" y="0"/>
                    </a:lnTo>
                    <a:lnTo>
                      <a:pt x="10" y="0"/>
                    </a:lnTo>
                    <a:lnTo>
                      <a:pt x="6" y="0"/>
                    </a:lnTo>
                    <a:lnTo>
                      <a:pt x="3" y="3"/>
                    </a:lnTo>
                    <a:lnTo>
                      <a:pt x="2" y="5"/>
                    </a:lnTo>
                    <a:lnTo>
                      <a:pt x="0" y="8"/>
                    </a:lnTo>
                    <a:lnTo>
                      <a:pt x="0" y="8"/>
                    </a:lnTo>
                    <a:lnTo>
                      <a:pt x="2" y="12"/>
                    </a:lnTo>
                    <a:lnTo>
                      <a:pt x="3" y="15"/>
                    </a:lnTo>
                    <a:lnTo>
                      <a:pt x="6" y="18"/>
                    </a:lnTo>
                    <a:lnTo>
                      <a:pt x="10" y="18"/>
                    </a:lnTo>
                    <a:lnTo>
                      <a:pt x="50" y="18"/>
                    </a:lnTo>
                    <a:lnTo>
                      <a:pt x="50" y="18"/>
                    </a:lnTo>
                    <a:lnTo>
                      <a:pt x="54" y="18"/>
                    </a:lnTo>
                    <a:lnTo>
                      <a:pt x="57" y="15"/>
                    </a:lnTo>
                    <a:lnTo>
                      <a:pt x="58" y="12"/>
                    </a:lnTo>
                    <a:lnTo>
                      <a:pt x="59" y="8"/>
                    </a:lnTo>
                    <a:lnTo>
                      <a:pt x="59" y="8"/>
                    </a:lnTo>
                    <a:lnTo>
                      <a:pt x="58" y="5"/>
                    </a:lnTo>
                    <a:lnTo>
                      <a:pt x="57" y="3"/>
                    </a:lnTo>
                    <a:lnTo>
                      <a:pt x="54" y="0"/>
                    </a:lnTo>
                    <a:lnTo>
                      <a:pt x="5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grpSp>
      </p:grpSp>
      <p:grpSp>
        <p:nvGrpSpPr>
          <p:cNvPr id="37" name="Group 36">
            <a:extLst>
              <a:ext uri="{FF2B5EF4-FFF2-40B4-BE49-F238E27FC236}">
                <a16:creationId xmlns:a16="http://schemas.microsoft.com/office/drawing/2014/main" id="{E43562C2-C310-36DA-7334-6210DE4E44B9}"/>
              </a:ext>
            </a:extLst>
          </p:cNvPr>
          <p:cNvGrpSpPr>
            <a:grpSpLocks noChangeAspect="1"/>
          </p:cNvGrpSpPr>
          <p:nvPr/>
        </p:nvGrpSpPr>
        <p:grpSpPr>
          <a:xfrm>
            <a:off x="6555907" y="3522715"/>
            <a:ext cx="548640" cy="548640"/>
            <a:chOff x="5110864" y="2608847"/>
            <a:chExt cx="520700" cy="522288"/>
          </a:xfrm>
        </p:grpSpPr>
        <p:sp>
          <p:nvSpPr>
            <p:cNvPr id="38" name="Oval 37">
              <a:extLst>
                <a:ext uri="{FF2B5EF4-FFF2-40B4-BE49-F238E27FC236}">
                  <a16:creationId xmlns:a16="http://schemas.microsoft.com/office/drawing/2014/main" id="{FF5D41BE-D3DC-7562-37C8-3B60D6AE6F3A}"/>
                </a:ext>
              </a:extLst>
            </p:cNvPr>
            <p:cNvSpPr/>
            <p:nvPr/>
          </p:nvSpPr>
          <p:spPr>
            <a:xfrm>
              <a:off x="5141761" y="2676165"/>
              <a:ext cx="475440" cy="41588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FFFFFF"/>
                </a:solidFill>
                <a:effectLst/>
                <a:uLnTx/>
                <a:uFillTx/>
                <a:latin typeface="Open Sans"/>
                <a:ea typeface="+mn-ea"/>
                <a:cs typeface="+mn-cs"/>
              </a:endParaRPr>
            </a:p>
          </p:txBody>
        </p:sp>
        <p:grpSp>
          <p:nvGrpSpPr>
            <p:cNvPr id="39" name="Group 38">
              <a:extLst>
                <a:ext uri="{FF2B5EF4-FFF2-40B4-BE49-F238E27FC236}">
                  <a16:creationId xmlns:a16="http://schemas.microsoft.com/office/drawing/2014/main" id="{FC1902EC-4A5D-1185-7BFC-A86019EFDA37}"/>
                </a:ext>
              </a:extLst>
            </p:cNvPr>
            <p:cNvGrpSpPr>
              <a:grpSpLocks noChangeAspect="1"/>
            </p:cNvGrpSpPr>
            <p:nvPr/>
          </p:nvGrpSpPr>
          <p:grpSpPr>
            <a:xfrm>
              <a:off x="5110864" y="2608847"/>
              <a:ext cx="520700" cy="522288"/>
              <a:chOff x="11117263" y="3351213"/>
              <a:chExt cx="520700" cy="522288"/>
            </a:xfrm>
          </p:grpSpPr>
          <p:sp>
            <p:nvSpPr>
              <p:cNvPr id="41" name="Freeform 40">
                <a:extLst>
                  <a:ext uri="{FF2B5EF4-FFF2-40B4-BE49-F238E27FC236}">
                    <a16:creationId xmlns:a16="http://schemas.microsoft.com/office/drawing/2014/main" id="{4AE51648-C4A0-3E1A-511B-5AFB87A09156}"/>
                  </a:ext>
                </a:extLst>
              </p:cNvPr>
              <p:cNvSpPr>
                <a:spLocks noEditPoints="1"/>
              </p:cNvSpPr>
              <p:nvPr/>
            </p:nvSpPr>
            <p:spPr bwMode="auto">
              <a:xfrm>
                <a:off x="11117263" y="3351213"/>
                <a:ext cx="520700" cy="522288"/>
              </a:xfrm>
              <a:custGeom>
                <a:avLst/>
                <a:gdLst>
                  <a:gd name="T0" fmla="*/ 312 w 657"/>
                  <a:gd name="T1" fmla="*/ 657 h 657"/>
                  <a:gd name="T2" fmla="*/ 262 w 657"/>
                  <a:gd name="T3" fmla="*/ 650 h 657"/>
                  <a:gd name="T4" fmla="*/ 202 w 657"/>
                  <a:gd name="T5" fmla="*/ 631 h 657"/>
                  <a:gd name="T6" fmla="*/ 120 w 657"/>
                  <a:gd name="T7" fmla="*/ 581 h 657"/>
                  <a:gd name="T8" fmla="*/ 57 w 657"/>
                  <a:gd name="T9" fmla="*/ 511 h 657"/>
                  <a:gd name="T10" fmla="*/ 15 w 657"/>
                  <a:gd name="T11" fmla="*/ 426 h 657"/>
                  <a:gd name="T12" fmla="*/ 4 w 657"/>
                  <a:gd name="T13" fmla="*/ 379 h 657"/>
                  <a:gd name="T14" fmla="*/ 0 w 657"/>
                  <a:gd name="T15" fmla="*/ 329 h 657"/>
                  <a:gd name="T16" fmla="*/ 2 w 657"/>
                  <a:gd name="T17" fmla="*/ 295 h 657"/>
                  <a:gd name="T18" fmla="*/ 11 w 657"/>
                  <a:gd name="T19" fmla="*/ 246 h 657"/>
                  <a:gd name="T20" fmla="*/ 41 w 657"/>
                  <a:gd name="T21" fmla="*/ 172 h 657"/>
                  <a:gd name="T22" fmla="*/ 97 w 657"/>
                  <a:gd name="T23" fmla="*/ 97 h 657"/>
                  <a:gd name="T24" fmla="*/ 172 w 657"/>
                  <a:gd name="T25" fmla="*/ 39 h 657"/>
                  <a:gd name="T26" fmla="*/ 247 w 657"/>
                  <a:gd name="T27" fmla="*/ 9 h 657"/>
                  <a:gd name="T28" fmla="*/ 296 w 657"/>
                  <a:gd name="T29" fmla="*/ 1 h 657"/>
                  <a:gd name="T30" fmla="*/ 329 w 657"/>
                  <a:gd name="T31" fmla="*/ 0 h 657"/>
                  <a:gd name="T32" fmla="*/ 379 w 657"/>
                  <a:gd name="T33" fmla="*/ 4 h 657"/>
                  <a:gd name="T34" fmla="*/ 426 w 657"/>
                  <a:gd name="T35" fmla="*/ 15 h 657"/>
                  <a:gd name="T36" fmla="*/ 512 w 657"/>
                  <a:gd name="T37" fmla="*/ 56 h 657"/>
                  <a:gd name="T38" fmla="*/ 583 w 657"/>
                  <a:gd name="T39" fmla="*/ 119 h 657"/>
                  <a:gd name="T40" fmla="*/ 631 w 657"/>
                  <a:gd name="T41" fmla="*/ 200 h 657"/>
                  <a:gd name="T42" fmla="*/ 650 w 657"/>
                  <a:gd name="T43" fmla="*/ 262 h 657"/>
                  <a:gd name="T44" fmla="*/ 657 w 657"/>
                  <a:gd name="T45" fmla="*/ 311 h 657"/>
                  <a:gd name="T46" fmla="*/ 657 w 657"/>
                  <a:gd name="T47" fmla="*/ 345 h 657"/>
                  <a:gd name="T48" fmla="*/ 650 w 657"/>
                  <a:gd name="T49" fmla="*/ 395 h 657"/>
                  <a:gd name="T50" fmla="*/ 631 w 657"/>
                  <a:gd name="T51" fmla="*/ 456 h 657"/>
                  <a:gd name="T52" fmla="*/ 583 w 657"/>
                  <a:gd name="T53" fmla="*/ 537 h 657"/>
                  <a:gd name="T54" fmla="*/ 512 w 657"/>
                  <a:gd name="T55" fmla="*/ 600 h 657"/>
                  <a:gd name="T56" fmla="*/ 426 w 657"/>
                  <a:gd name="T57" fmla="*/ 642 h 657"/>
                  <a:gd name="T58" fmla="*/ 379 w 657"/>
                  <a:gd name="T59" fmla="*/ 653 h 657"/>
                  <a:gd name="T60" fmla="*/ 329 w 657"/>
                  <a:gd name="T61" fmla="*/ 657 h 657"/>
                  <a:gd name="T62" fmla="*/ 329 w 657"/>
                  <a:gd name="T63" fmla="*/ 37 h 657"/>
                  <a:gd name="T64" fmla="*/ 242 w 657"/>
                  <a:gd name="T65" fmla="*/ 51 h 657"/>
                  <a:gd name="T66" fmla="*/ 167 w 657"/>
                  <a:gd name="T67" fmla="*/ 87 h 657"/>
                  <a:gd name="T68" fmla="*/ 105 w 657"/>
                  <a:gd name="T69" fmla="*/ 144 h 657"/>
                  <a:gd name="T70" fmla="*/ 61 w 657"/>
                  <a:gd name="T71" fmla="*/ 215 h 657"/>
                  <a:gd name="T72" fmla="*/ 39 w 657"/>
                  <a:gd name="T73" fmla="*/ 298 h 657"/>
                  <a:gd name="T74" fmla="*/ 39 w 657"/>
                  <a:gd name="T75" fmla="*/ 358 h 657"/>
                  <a:gd name="T76" fmla="*/ 61 w 657"/>
                  <a:gd name="T77" fmla="*/ 442 h 657"/>
                  <a:gd name="T78" fmla="*/ 105 w 657"/>
                  <a:gd name="T79" fmla="*/ 513 h 657"/>
                  <a:gd name="T80" fmla="*/ 167 w 657"/>
                  <a:gd name="T81" fmla="*/ 569 h 657"/>
                  <a:gd name="T82" fmla="*/ 242 w 657"/>
                  <a:gd name="T83" fmla="*/ 607 h 657"/>
                  <a:gd name="T84" fmla="*/ 329 w 657"/>
                  <a:gd name="T85" fmla="*/ 619 h 657"/>
                  <a:gd name="T86" fmla="*/ 387 w 657"/>
                  <a:gd name="T87" fmla="*/ 614 h 657"/>
                  <a:gd name="T88" fmla="*/ 468 w 657"/>
                  <a:gd name="T89" fmla="*/ 584 h 657"/>
                  <a:gd name="T90" fmla="*/ 535 w 657"/>
                  <a:gd name="T91" fmla="*/ 534 h 657"/>
                  <a:gd name="T92" fmla="*/ 584 w 657"/>
                  <a:gd name="T93" fmla="*/ 467 h 657"/>
                  <a:gd name="T94" fmla="*/ 614 w 657"/>
                  <a:gd name="T95" fmla="*/ 387 h 657"/>
                  <a:gd name="T96" fmla="*/ 619 w 657"/>
                  <a:gd name="T97" fmla="*/ 329 h 657"/>
                  <a:gd name="T98" fmla="*/ 607 w 657"/>
                  <a:gd name="T99" fmla="*/ 242 h 657"/>
                  <a:gd name="T100" fmla="*/ 570 w 657"/>
                  <a:gd name="T101" fmla="*/ 165 h 657"/>
                  <a:gd name="T102" fmla="*/ 515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5"/>
                    </a:lnTo>
                    <a:lnTo>
                      <a:pt x="278" y="653"/>
                    </a:lnTo>
                    <a:lnTo>
                      <a:pt x="262" y="650"/>
                    </a:lnTo>
                    <a:lnTo>
                      <a:pt x="247" y="647"/>
                    </a:lnTo>
                    <a:lnTo>
                      <a:pt x="231" y="642"/>
                    </a:lnTo>
                    <a:lnTo>
                      <a:pt x="202" y="631"/>
                    </a:lnTo>
                    <a:lnTo>
                      <a:pt x="172" y="618"/>
                    </a:lnTo>
                    <a:lnTo>
                      <a:pt x="145" y="600"/>
                    </a:lnTo>
                    <a:lnTo>
                      <a:pt x="120" y="581"/>
                    </a:lnTo>
                    <a:lnTo>
                      <a:pt x="97" y="561"/>
                    </a:lnTo>
                    <a:lnTo>
                      <a:pt x="76" y="537"/>
                    </a:lnTo>
                    <a:lnTo>
                      <a:pt x="57" y="511"/>
                    </a:lnTo>
                    <a:lnTo>
                      <a:pt x="41" y="485"/>
                    </a:lnTo>
                    <a:lnTo>
                      <a:pt x="26" y="456"/>
                    </a:lnTo>
                    <a:lnTo>
                      <a:pt x="15" y="426"/>
                    </a:lnTo>
                    <a:lnTo>
                      <a:pt x="11" y="411"/>
                    </a:lnTo>
                    <a:lnTo>
                      <a:pt x="7" y="395"/>
                    </a:lnTo>
                    <a:lnTo>
                      <a:pt x="4" y="379"/>
                    </a:lnTo>
                    <a:lnTo>
                      <a:pt x="2" y="361"/>
                    </a:lnTo>
                    <a:lnTo>
                      <a:pt x="0" y="345"/>
                    </a:lnTo>
                    <a:lnTo>
                      <a:pt x="0" y="329"/>
                    </a:lnTo>
                    <a:lnTo>
                      <a:pt x="0" y="329"/>
                    </a:lnTo>
                    <a:lnTo>
                      <a:pt x="0" y="311"/>
                    </a:lnTo>
                    <a:lnTo>
                      <a:pt x="2" y="295"/>
                    </a:lnTo>
                    <a:lnTo>
                      <a:pt x="4" y="278"/>
                    </a:lnTo>
                    <a:lnTo>
                      <a:pt x="7" y="262"/>
                    </a:lnTo>
                    <a:lnTo>
                      <a:pt x="11" y="246"/>
                    </a:lnTo>
                    <a:lnTo>
                      <a:pt x="15" y="231"/>
                    </a:lnTo>
                    <a:lnTo>
                      <a:pt x="26" y="200"/>
                    </a:lnTo>
                    <a:lnTo>
                      <a:pt x="41" y="172"/>
                    </a:lnTo>
                    <a:lnTo>
                      <a:pt x="57" y="145"/>
                    </a:lnTo>
                    <a:lnTo>
                      <a:pt x="76" y="119"/>
                    </a:lnTo>
                    <a:lnTo>
                      <a:pt x="97" y="97"/>
                    </a:lnTo>
                    <a:lnTo>
                      <a:pt x="120" y="75"/>
                    </a:lnTo>
                    <a:lnTo>
                      <a:pt x="145" y="56"/>
                    </a:lnTo>
                    <a:lnTo>
                      <a:pt x="172" y="39"/>
                    </a:lnTo>
                    <a:lnTo>
                      <a:pt x="202" y="25"/>
                    </a:lnTo>
                    <a:lnTo>
                      <a:pt x="231" y="15"/>
                    </a:lnTo>
                    <a:lnTo>
                      <a:pt x="247" y="9"/>
                    </a:lnTo>
                    <a:lnTo>
                      <a:pt x="262" y="7"/>
                    </a:lnTo>
                    <a:lnTo>
                      <a:pt x="278" y="4"/>
                    </a:lnTo>
                    <a:lnTo>
                      <a:pt x="296" y="1"/>
                    </a:lnTo>
                    <a:lnTo>
                      <a:pt x="312" y="0"/>
                    </a:lnTo>
                    <a:lnTo>
                      <a:pt x="329" y="0"/>
                    </a:lnTo>
                    <a:lnTo>
                      <a:pt x="329" y="0"/>
                    </a:lnTo>
                    <a:lnTo>
                      <a:pt x="345" y="0"/>
                    </a:lnTo>
                    <a:lnTo>
                      <a:pt x="363" y="1"/>
                    </a:lnTo>
                    <a:lnTo>
                      <a:pt x="379" y="4"/>
                    </a:lnTo>
                    <a:lnTo>
                      <a:pt x="395" y="7"/>
                    </a:lnTo>
                    <a:lnTo>
                      <a:pt x="411" y="9"/>
                    </a:lnTo>
                    <a:lnTo>
                      <a:pt x="426" y="15"/>
                    </a:lnTo>
                    <a:lnTo>
                      <a:pt x="457" y="25"/>
                    </a:lnTo>
                    <a:lnTo>
                      <a:pt x="485" y="39"/>
                    </a:lnTo>
                    <a:lnTo>
                      <a:pt x="512" y="56"/>
                    </a:lnTo>
                    <a:lnTo>
                      <a:pt x="538" y="75"/>
                    </a:lnTo>
                    <a:lnTo>
                      <a:pt x="562" y="97"/>
                    </a:lnTo>
                    <a:lnTo>
                      <a:pt x="583" y="119"/>
                    </a:lnTo>
                    <a:lnTo>
                      <a:pt x="602" y="145"/>
                    </a:lnTo>
                    <a:lnTo>
                      <a:pt x="618" y="172"/>
                    </a:lnTo>
                    <a:lnTo>
                      <a:pt x="631" y="200"/>
                    </a:lnTo>
                    <a:lnTo>
                      <a:pt x="642" y="231"/>
                    </a:lnTo>
                    <a:lnTo>
                      <a:pt x="648" y="246"/>
                    </a:lnTo>
                    <a:lnTo>
                      <a:pt x="650" y="262"/>
                    </a:lnTo>
                    <a:lnTo>
                      <a:pt x="654" y="278"/>
                    </a:lnTo>
                    <a:lnTo>
                      <a:pt x="656" y="295"/>
                    </a:lnTo>
                    <a:lnTo>
                      <a:pt x="657" y="311"/>
                    </a:lnTo>
                    <a:lnTo>
                      <a:pt x="657" y="329"/>
                    </a:lnTo>
                    <a:lnTo>
                      <a:pt x="657" y="329"/>
                    </a:lnTo>
                    <a:lnTo>
                      <a:pt x="657" y="345"/>
                    </a:lnTo>
                    <a:lnTo>
                      <a:pt x="656" y="361"/>
                    </a:lnTo>
                    <a:lnTo>
                      <a:pt x="654" y="379"/>
                    </a:lnTo>
                    <a:lnTo>
                      <a:pt x="650" y="395"/>
                    </a:lnTo>
                    <a:lnTo>
                      <a:pt x="648" y="411"/>
                    </a:lnTo>
                    <a:lnTo>
                      <a:pt x="642" y="426"/>
                    </a:lnTo>
                    <a:lnTo>
                      <a:pt x="631" y="456"/>
                    </a:lnTo>
                    <a:lnTo>
                      <a:pt x="618" y="485"/>
                    </a:lnTo>
                    <a:lnTo>
                      <a:pt x="602" y="511"/>
                    </a:lnTo>
                    <a:lnTo>
                      <a:pt x="583" y="537"/>
                    </a:lnTo>
                    <a:lnTo>
                      <a:pt x="562" y="561"/>
                    </a:lnTo>
                    <a:lnTo>
                      <a:pt x="538" y="581"/>
                    </a:lnTo>
                    <a:lnTo>
                      <a:pt x="512" y="600"/>
                    </a:lnTo>
                    <a:lnTo>
                      <a:pt x="485" y="618"/>
                    </a:lnTo>
                    <a:lnTo>
                      <a:pt x="457" y="631"/>
                    </a:lnTo>
                    <a:lnTo>
                      <a:pt x="426" y="642"/>
                    </a:lnTo>
                    <a:lnTo>
                      <a:pt x="411" y="647"/>
                    </a:lnTo>
                    <a:lnTo>
                      <a:pt x="395" y="650"/>
                    </a:lnTo>
                    <a:lnTo>
                      <a:pt x="379" y="653"/>
                    </a:lnTo>
                    <a:lnTo>
                      <a:pt x="363" y="655"/>
                    </a:lnTo>
                    <a:lnTo>
                      <a:pt x="345" y="657"/>
                    </a:lnTo>
                    <a:lnTo>
                      <a:pt x="329" y="657"/>
                    </a:lnTo>
                    <a:lnTo>
                      <a:pt x="329" y="657"/>
                    </a:lnTo>
                    <a:close/>
                    <a:moveTo>
                      <a:pt x="329" y="37"/>
                    </a:moveTo>
                    <a:lnTo>
                      <a:pt x="329" y="37"/>
                    </a:lnTo>
                    <a:lnTo>
                      <a:pt x="300" y="39"/>
                    </a:lnTo>
                    <a:lnTo>
                      <a:pt x="270" y="43"/>
                    </a:lnTo>
                    <a:lnTo>
                      <a:pt x="242" y="51"/>
                    </a:lnTo>
                    <a:lnTo>
                      <a:pt x="215" y="60"/>
                    </a:lnTo>
                    <a:lnTo>
                      <a:pt x="190"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8"/>
                    </a:lnTo>
                    <a:lnTo>
                      <a:pt x="43" y="387"/>
                    </a:lnTo>
                    <a:lnTo>
                      <a:pt x="51" y="415"/>
                    </a:lnTo>
                    <a:lnTo>
                      <a:pt x="61" y="442"/>
                    </a:lnTo>
                    <a:lnTo>
                      <a:pt x="73" y="467"/>
                    </a:lnTo>
                    <a:lnTo>
                      <a:pt x="88" y="491"/>
                    </a:lnTo>
                    <a:lnTo>
                      <a:pt x="105" y="513"/>
                    </a:lnTo>
                    <a:lnTo>
                      <a:pt x="124" y="534"/>
                    </a:lnTo>
                    <a:lnTo>
                      <a:pt x="144" y="553"/>
                    </a:lnTo>
                    <a:lnTo>
                      <a:pt x="167" y="569"/>
                    </a:lnTo>
                    <a:lnTo>
                      <a:pt x="190"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69"/>
                    </a:lnTo>
                    <a:lnTo>
                      <a:pt x="515" y="553"/>
                    </a:lnTo>
                    <a:lnTo>
                      <a:pt x="535" y="534"/>
                    </a:lnTo>
                    <a:lnTo>
                      <a:pt x="554" y="513"/>
                    </a:lnTo>
                    <a:lnTo>
                      <a:pt x="570" y="491"/>
                    </a:lnTo>
                    <a:lnTo>
                      <a:pt x="584" y="467"/>
                    </a:lnTo>
                    <a:lnTo>
                      <a:pt x="597" y="442"/>
                    </a:lnTo>
                    <a:lnTo>
                      <a:pt x="607" y="415"/>
                    </a:lnTo>
                    <a:lnTo>
                      <a:pt x="614" y="387"/>
                    </a:lnTo>
                    <a:lnTo>
                      <a:pt x="618" y="358"/>
                    </a:lnTo>
                    <a:lnTo>
                      <a:pt x="619" y="329"/>
                    </a:lnTo>
                    <a:lnTo>
                      <a:pt x="619" y="329"/>
                    </a:lnTo>
                    <a:lnTo>
                      <a:pt x="618" y="298"/>
                    </a:lnTo>
                    <a:lnTo>
                      <a:pt x="614" y="270"/>
                    </a:lnTo>
                    <a:lnTo>
                      <a:pt x="607" y="242"/>
                    </a:lnTo>
                    <a:lnTo>
                      <a:pt x="597" y="215"/>
                    </a:lnTo>
                    <a:lnTo>
                      <a:pt x="584" y="189"/>
                    </a:lnTo>
                    <a:lnTo>
                      <a:pt x="570" y="165"/>
                    </a:lnTo>
                    <a:lnTo>
                      <a:pt x="554" y="144"/>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42" name="Freeform 200">
                <a:extLst>
                  <a:ext uri="{FF2B5EF4-FFF2-40B4-BE49-F238E27FC236}">
                    <a16:creationId xmlns:a16="http://schemas.microsoft.com/office/drawing/2014/main" id="{A5B96D68-DCA3-66EB-B9CF-4E91D2741E8F}"/>
                  </a:ext>
                </a:extLst>
              </p:cNvPr>
              <p:cNvSpPr>
                <a:spLocks/>
              </p:cNvSpPr>
              <p:nvPr/>
            </p:nvSpPr>
            <p:spPr bwMode="auto">
              <a:xfrm>
                <a:off x="11385551" y="3524250"/>
                <a:ext cx="25400" cy="12700"/>
              </a:xfrm>
              <a:custGeom>
                <a:avLst/>
                <a:gdLst>
                  <a:gd name="T0" fmla="*/ 8 w 32"/>
                  <a:gd name="T1" fmla="*/ 16 h 16"/>
                  <a:gd name="T2" fmla="*/ 24 w 32"/>
                  <a:gd name="T3" fmla="*/ 16 h 16"/>
                  <a:gd name="T4" fmla="*/ 24 w 32"/>
                  <a:gd name="T5" fmla="*/ 16 h 16"/>
                  <a:gd name="T6" fmla="*/ 28 w 32"/>
                  <a:gd name="T7" fmla="*/ 15 h 16"/>
                  <a:gd name="T8" fmla="*/ 31 w 32"/>
                  <a:gd name="T9" fmla="*/ 13 h 16"/>
                  <a:gd name="T10" fmla="*/ 32 w 32"/>
                  <a:gd name="T11" fmla="*/ 11 h 16"/>
                  <a:gd name="T12" fmla="*/ 32 w 32"/>
                  <a:gd name="T13" fmla="*/ 8 h 16"/>
                  <a:gd name="T14" fmla="*/ 32 w 32"/>
                  <a:gd name="T15" fmla="*/ 8 h 16"/>
                  <a:gd name="T16" fmla="*/ 32 w 32"/>
                  <a:gd name="T17" fmla="*/ 4 h 16"/>
                  <a:gd name="T18" fmla="*/ 31 w 32"/>
                  <a:gd name="T19" fmla="*/ 1 h 16"/>
                  <a:gd name="T20" fmla="*/ 28 w 32"/>
                  <a:gd name="T21" fmla="*/ 0 h 16"/>
                  <a:gd name="T22" fmla="*/ 24 w 32"/>
                  <a:gd name="T23" fmla="*/ 0 h 16"/>
                  <a:gd name="T24" fmla="*/ 8 w 32"/>
                  <a:gd name="T25" fmla="*/ 0 h 16"/>
                  <a:gd name="T26" fmla="*/ 8 w 32"/>
                  <a:gd name="T27" fmla="*/ 0 h 16"/>
                  <a:gd name="T28" fmla="*/ 5 w 32"/>
                  <a:gd name="T29" fmla="*/ 0 h 16"/>
                  <a:gd name="T30" fmla="*/ 2 w 32"/>
                  <a:gd name="T31" fmla="*/ 1 h 16"/>
                  <a:gd name="T32" fmla="*/ 0 w 32"/>
                  <a:gd name="T33" fmla="*/ 4 h 16"/>
                  <a:gd name="T34" fmla="*/ 0 w 32"/>
                  <a:gd name="T35" fmla="*/ 8 h 16"/>
                  <a:gd name="T36" fmla="*/ 0 w 32"/>
                  <a:gd name="T37" fmla="*/ 8 h 16"/>
                  <a:gd name="T38" fmla="*/ 0 w 32"/>
                  <a:gd name="T39" fmla="*/ 11 h 16"/>
                  <a:gd name="T40" fmla="*/ 2 w 32"/>
                  <a:gd name="T41" fmla="*/ 13 h 16"/>
                  <a:gd name="T42" fmla="*/ 5 w 32"/>
                  <a:gd name="T43" fmla="*/ 15 h 16"/>
                  <a:gd name="T44" fmla="*/ 8 w 32"/>
                  <a:gd name="T45" fmla="*/ 16 h 16"/>
                  <a:gd name="T46" fmla="*/ 8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8" y="16"/>
                    </a:moveTo>
                    <a:lnTo>
                      <a:pt x="24" y="16"/>
                    </a:lnTo>
                    <a:lnTo>
                      <a:pt x="24" y="16"/>
                    </a:lnTo>
                    <a:lnTo>
                      <a:pt x="28" y="15"/>
                    </a:lnTo>
                    <a:lnTo>
                      <a:pt x="31" y="13"/>
                    </a:lnTo>
                    <a:lnTo>
                      <a:pt x="32" y="11"/>
                    </a:lnTo>
                    <a:lnTo>
                      <a:pt x="32" y="8"/>
                    </a:lnTo>
                    <a:lnTo>
                      <a:pt x="32" y="8"/>
                    </a:lnTo>
                    <a:lnTo>
                      <a:pt x="32" y="4"/>
                    </a:lnTo>
                    <a:lnTo>
                      <a:pt x="31" y="1"/>
                    </a:lnTo>
                    <a:lnTo>
                      <a:pt x="28" y="0"/>
                    </a:lnTo>
                    <a:lnTo>
                      <a:pt x="24" y="0"/>
                    </a:lnTo>
                    <a:lnTo>
                      <a:pt x="8" y="0"/>
                    </a:lnTo>
                    <a:lnTo>
                      <a:pt x="8" y="0"/>
                    </a:lnTo>
                    <a:lnTo>
                      <a:pt x="5" y="0"/>
                    </a:lnTo>
                    <a:lnTo>
                      <a:pt x="2" y="1"/>
                    </a:lnTo>
                    <a:lnTo>
                      <a:pt x="0" y="4"/>
                    </a:lnTo>
                    <a:lnTo>
                      <a:pt x="0" y="8"/>
                    </a:lnTo>
                    <a:lnTo>
                      <a:pt x="0" y="8"/>
                    </a:lnTo>
                    <a:lnTo>
                      <a:pt x="0" y="11"/>
                    </a:lnTo>
                    <a:lnTo>
                      <a:pt x="2"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43" name="Freeform 201">
                <a:extLst>
                  <a:ext uri="{FF2B5EF4-FFF2-40B4-BE49-F238E27FC236}">
                    <a16:creationId xmlns:a16="http://schemas.microsoft.com/office/drawing/2014/main" id="{E0F2DF16-0C2C-A727-E588-83B93E95B2D1}"/>
                  </a:ext>
                </a:extLst>
              </p:cNvPr>
              <p:cNvSpPr>
                <a:spLocks/>
              </p:cNvSpPr>
              <p:nvPr/>
            </p:nvSpPr>
            <p:spPr bwMode="auto">
              <a:xfrm>
                <a:off x="11342688" y="3524250"/>
                <a:ext cx="25400" cy="12700"/>
              </a:xfrm>
              <a:custGeom>
                <a:avLst/>
                <a:gdLst>
                  <a:gd name="T0" fmla="*/ 24 w 32"/>
                  <a:gd name="T1" fmla="*/ 0 h 16"/>
                  <a:gd name="T2" fmla="*/ 8 w 32"/>
                  <a:gd name="T3" fmla="*/ 0 h 16"/>
                  <a:gd name="T4" fmla="*/ 8 w 32"/>
                  <a:gd name="T5" fmla="*/ 0 h 16"/>
                  <a:gd name="T6" fmla="*/ 4 w 32"/>
                  <a:gd name="T7" fmla="*/ 0 h 16"/>
                  <a:gd name="T8" fmla="*/ 3 w 32"/>
                  <a:gd name="T9" fmla="*/ 1 h 16"/>
                  <a:gd name="T10" fmla="*/ 0 w 32"/>
                  <a:gd name="T11" fmla="*/ 4 h 16"/>
                  <a:gd name="T12" fmla="*/ 0 w 32"/>
                  <a:gd name="T13" fmla="*/ 8 h 16"/>
                  <a:gd name="T14" fmla="*/ 0 w 32"/>
                  <a:gd name="T15" fmla="*/ 8 h 16"/>
                  <a:gd name="T16" fmla="*/ 0 w 32"/>
                  <a:gd name="T17" fmla="*/ 11 h 16"/>
                  <a:gd name="T18" fmla="*/ 3 w 32"/>
                  <a:gd name="T19" fmla="*/ 13 h 16"/>
                  <a:gd name="T20" fmla="*/ 4 w 32"/>
                  <a:gd name="T21" fmla="*/ 15 h 16"/>
                  <a:gd name="T22" fmla="*/ 8 w 32"/>
                  <a:gd name="T23" fmla="*/ 16 h 16"/>
                  <a:gd name="T24" fmla="*/ 24 w 32"/>
                  <a:gd name="T25" fmla="*/ 16 h 16"/>
                  <a:gd name="T26" fmla="*/ 24 w 32"/>
                  <a:gd name="T27" fmla="*/ 16 h 16"/>
                  <a:gd name="T28" fmla="*/ 28 w 32"/>
                  <a:gd name="T29" fmla="*/ 15 h 16"/>
                  <a:gd name="T30" fmla="*/ 30 w 32"/>
                  <a:gd name="T31" fmla="*/ 13 h 16"/>
                  <a:gd name="T32" fmla="*/ 32 w 32"/>
                  <a:gd name="T33" fmla="*/ 11 h 16"/>
                  <a:gd name="T34" fmla="*/ 32 w 32"/>
                  <a:gd name="T35" fmla="*/ 8 h 16"/>
                  <a:gd name="T36" fmla="*/ 32 w 32"/>
                  <a:gd name="T37" fmla="*/ 8 h 16"/>
                  <a:gd name="T38" fmla="*/ 32 w 32"/>
                  <a:gd name="T39" fmla="*/ 4 h 16"/>
                  <a:gd name="T40" fmla="*/ 30 w 32"/>
                  <a:gd name="T41" fmla="*/ 1 h 16"/>
                  <a:gd name="T42" fmla="*/ 28 w 32"/>
                  <a:gd name="T43" fmla="*/ 0 h 16"/>
                  <a:gd name="T44" fmla="*/ 24 w 32"/>
                  <a:gd name="T45" fmla="*/ 0 h 16"/>
                  <a:gd name="T46" fmla="*/ 24 w 32"/>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24" y="0"/>
                    </a:moveTo>
                    <a:lnTo>
                      <a:pt x="8" y="0"/>
                    </a:lnTo>
                    <a:lnTo>
                      <a:pt x="8" y="0"/>
                    </a:lnTo>
                    <a:lnTo>
                      <a:pt x="4" y="0"/>
                    </a:lnTo>
                    <a:lnTo>
                      <a:pt x="3" y="1"/>
                    </a:lnTo>
                    <a:lnTo>
                      <a:pt x="0" y="4"/>
                    </a:lnTo>
                    <a:lnTo>
                      <a:pt x="0" y="8"/>
                    </a:lnTo>
                    <a:lnTo>
                      <a:pt x="0" y="8"/>
                    </a:lnTo>
                    <a:lnTo>
                      <a:pt x="0" y="11"/>
                    </a:lnTo>
                    <a:lnTo>
                      <a:pt x="3" y="13"/>
                    </a:lnTo>
                    <a:lnTo>
                      <a:pt x="4" y="15"/>
                    </a:lnTo>
                    <a:lnTo>
                      <a:pt x="8" y="16"/>
                    </a:lnTo>
                    <a:lnTo>
                      <a:pt x="24" y="16"/>
                    </a:lnTo>
                    <a:lnTo>
                      <a:pt x="24" y="16"/>
                    </a:lnTo>
                    <a:lnTo>
                      <a:pt x="28" y="15"/>
                    </a:lnTo>
                    <a:lnTo>
                      <a:pt x="30" y="13"/>
                    </a:lnTo>
                    <a:lnTo>
                      <a:pt x="32" y="11"/>
                    </a:lnTo>
                    <a:lnTo>
                      <a:pt x="32" y="8"/>
                    </a:lnTo>
                    <a:lnTo>
                      <a:pt x="32" y="8"/>
                    </a:lnTo>
                    <a:lnTo>
                      <a:pt x="32" y="4"/>
                    </a:lnTo>
                    <a:lnTo>
                      <a:pt x="30" y="1"/>
                    </a:lnTo>
                    <a:lnTo>
                      <a:pt x="28" y="0"/>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44" name="Freeform 202">
                <a:extLst>
                  <a:ext uri="{FF2B5EF4-FFF2-40B4-BE49-F238E27FC236}">
                    <a16:creationId xmlns:a16="http://schemas.microsoft.com/office/drawing/2014/main" id="{6FB982FC-F63C-5967-D0AC-5C90D60FF801}"/>
                  </a:ext>
                </a:extLst>
              </p:cNvPr>
              <p:cNvSpPr>
                <a:spLocks/>
              </p:cNvSpPr>
              <p:nvPr/>
            </p:nvSpPr>
            <p:spPr bwMode="auto">
              <a:xfrm>
                <a:off x="11428413" y="3524250"/>
                <a:ext cx="30163" cy="28575"/>
              </a:xfrm>
              <a:custGeom>
                <a:avLst/>
                <a:gdLst>
                  <a:gd name="T0" fmla="*/ 9 w 38"/>
                  <a:gd name="T1" fmla="*/ 16 h 38"/>
                  <a:gd name="T2" fmla="*/ 22 w 38"/>
                  <a:gd name="T3" fmla="*/ 16 h 38"/>
                  <a:gd name="T4" fmla="*/ 22 w 38"/>
                  <a:gd name="T5" fmla="*/ 30 h 38"/>
                  <a:gd name="T6" fmla="*/ 22 w 38"/>
                  <a:gd name="T7" fmla="*/ 30 h 38"/>
                  <a:gd name="T8" fmla="*/ 22 w 38"/>
                  <a:gd name="T9" fmla="*/ 34 h 38"/>
                  <a:gd name="T10" fmla="*/ 23 w 38"/>
                  <a:gd name="T11" fmla="*/ 36 h 38"/>
                  <a:gd name="T12" fmla="*/ 26 w 38"/>
                  <a:gd name="T13" fmla="*/ 38 h 38"/>
                  <a:gd name="T14" fmla="*/ 30 w 38"/>
                  <a:gd name="T15" fmla="*/ 38 h 38"/>
                  <a:gd name="T16" fmla="*/ 30 w 38"/>
                  <a:gd name="T17" fmla="*/ 38 h 38"/>
                  <a:gd name="T18" fmla="*/ 33 w 38"/>
                  <a:gd name="T19" fmla="*/ 38 h 38"/>
                  <a:gd name="T20" fmla="*/ 35 w 38"/>
                  <a:gd name="T21" fmla="*/ 36 h 38"/>
                  <a:gd name="T22" fmla="*/ 37 w 38"/>
                  <a:gd name="T23" fmla="*/ 34 h 38"/>
                  <a:gd name="T24" fmla="*/ 38 w 38"/>
                  <a:gd name="T25" fmla="*/ 30 h 38"/>
                  <a:gd name="T26" fmla="*/ 38 w 38"/>
                  <a:gd name="T27" fmla="*/ 8 h 38"/>
                  <a:gd name="T28" fmla="*/ 38 w 38"/>
                  <a:gd name="T29" fmla="*/ 8 h 38"/>
                  <a:gd name="T30" fmla="*/ 37 w 38"/>
                  <a:gd name="T31" fmla="*/ 4 h 38"/>
                  <a:gd name="T32" fmla="*/ 35 w 38"/>
                  <a:gd name="T33" fmla="*/ 1 h 38"/>
                  <a:gd name="T34" fmla="*/ 33 w 38"/>
                  <a:gd name="T35" fmla="*/ 0 h 38"/>
                  <a:gd name="T36" fmla="*/ 30 w 38"/>
                  <a:gd name="T37" fmla="*/ 0 h 38"/>
                  <a:gd name="T38" fmla="*/ 30 w 38"/>
                  <a:gd name="T39" fmla="*/ 0 h 38"/>
                  <a:gd name="T40" fmla="*/ 27 w 38"/>
                  <a:gd name="T41" fmla="*/ 0 h 38"/>
                  <a:gd name="T42" fmla="*/ 27 w 38"/>
                  <a:gd name="T43" fmla="*/ 0 h 38"/>
                  <a:gd name="T44" fmla="*/ 26 w 38"/>
                  <a:gd name="T45" fmla="*/ 0 h 38"/>
                  <a:gd name="T46" fmla="*/ 9 w 38"/>
                  <a:gd name="T47" fmla="*/ 0 h 38"/>
                  <a:gd name="T48" fmla="*/ 9 w 38"/>
                  <a:gd name="T49" fmla="*/ 0 h 38"/>
                  <a:gd name="T50" fmla="*/ 6 w 38"/>
                  <a:gd name="T51" fmla="*/ 0 h 38"/>
                  <a:gd name="T52" fmla="*/ 3 w 38"/>
                  <a:gd name="T53" fmla="*/ 1 h 38"/>
                  <a:gd name="T54" fmla="*/ 2 w 38"/>
                  <a:gd name="T55" fmla="*/ 4 h 38"/>
                  <a:gd name="T56" fmla="*/ 0 w 38"/>
                  <a:gd name="T57" fmla="*/ 8 h 38"/>
                  <a:gd name="T58" fmla="*/ 0 w 38"/>
                  <a:gd name="T59" fmla="*/ 8 h 38"/>
                  <a:gd name="T60" fmla="*/ 2 w 38"/>
                  <a:gd name="T61" fmla="*/ 11 h 38"/>
                  <a:gd name="T62" fmla="*/ 3 w 38"/>
                  <a:gd name="T63" fmla="*/ 13 h 38"/>
                  <a:gd name="T64" fmla="*/ 6 w 38"/>
                  <a:gd name="T65" fmla="*/ 15 h 38"/>
                  <a:gd name="T66" fmla="*/ 9 w 38"/>
                  <a:gd name="T67" fmla="*/ 16 h 38"/>
                  <a:gd name="T68" fmla="*/ 9 w 38"/>
                  <a:gd name="T69"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8">
                    <a:moveTo>
                      <a:pt x="9" y="16"/>
                    </a:moveTo>
                    <a:lnTo>
                      <a:pt x="22" y="16"/>
                    </a:lnTo>
                    <a:lnTo>
                      <a:pt x="22" y="30"/>
                    </a:lnTo>
                    <a:lnTo>
                      <a:pt x="22" y="30"/>
                    </a:lnTo>
                    <a:lnTo>
                      <a:pt x="22" y="34"/>
                    </a:lnTo>
                    <a:lnTo>
                      <a:pt x="23" y="36"/>
                    </a:lnTo>
                    <a:lnTo>
                      <a:pt x="26" y="38"/>
                    </a:lnTo>
                    <a:lnTo>
                      <a:pt x="30" y="38"/>
                    </a:lnTo>
                    <a:lnTo>
                      <a:pt x="30" y="38"/>
                    </a:lnTo>
                    <a:lnTo>
                      <a:pt x="33" y="38"/>
                    </a:lnTo>
                    <a:lnTo>
                      <a:pt x="35" y="36"/>
                    </a:lnTo>
                    <a:lnTo>
                      <a:pt x="37" y="34"/>
                    </a:lnTo>
                    <a:lnTo>
                      <a:pt x="38" y="30"/>
                    </a:lnTo>
                    <a:lnTo>
                      <a:pt x="38" y="8"/>
                    </a:lnTo>
                    <a:lnTo>
                      <a:pt x="38" y="8"/>
                    </a:lnTo>
                    <a:lnTo>
                      <a:pt x="37" y="4"/>
                    </a:lnTo>
                    <a:lnTo>
                      <a:pt x="35" y="1"/>
                    </a:lnTo>
                    <a:lnTo>
                      <a:pt x="33" y="0"/>
                    </a:lnTo>
                    <a:lnTo>
                      <a:pt x="30" y="0"/>
                    </a:lnTo>
                    <a:lnTo>
                      <a:pt x="30" y="0"/>
                    </a:lnTo>
                    <a:lnTo>
                      <a:pt x="27" y="0"/>
                    </a:lnTo>
                    <a:lnTo>
                      <a:pt x="27" y="0"/>
                    </a:lnTo>
                    <a:lnTo>
                      <a:pt x="26" y="0"/>
                    </a:lnTo>
                    <a:lnTo>
                      <a:pt x="9" y="0"/>
                    </a:lnTo>
                    <a:lnTo>
                      <a:pt x="9" y="0"/>
                    </a:lnTo>
                    <a:lnTo>
                      <a:pt x="6" y="0"/>
                    </a:lnTo>
                    <a:lnTo>
                      <a:pt x="3" y="1"/>
                    </a:lnTo>
                    <a:lnTo>
                      <a:pt x="2" y="4"/>
                    </a:lnTo>
                    <a:lnTo>
                      <a:pt x="0" y="8"/>
                    </a:lnTo>
                    <a:lnTo>
                      <a:pt x="0" y="8"/>
                    </a:lnTo>
                    <a:lnTo>
                      <a:pt x="2" y="11"/>
                    </a:lnTo>
                    <a:lnTo>
                      <a:pt x="3" y="13"/>
                    </a:lnTo>
                    <a:lnTo>
                      <a:pt x="6" y="15"/>
                    </a:lnTo>
                    <a:lnTo>
                      <a:pt x="9" y="16"/>
                    </a:lnTo>
                    <a:lnTo>
                      <a:pt x="9"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45" name="Freeform 203">
                <a:extLst>
                  <a:ext uri="{FF2B5EF4-FFF2-40B4-BE49-F238E27FC236}">
                    <a16:creationId xmlns:a16="http://schemas.microsoft.com/office/drawing/2014/main" id="{A8260DAD-B87A-BC2A-1548-3F08512FDA9B}"/>
                  </a:ext>
                </a:extLst>
              </p:cNvPr>
              <p:cNvSpPr>
                <a:spLocks/>
              </p:cNvSpPr>
              <p:nvPr/>
            </p:nvSpPr>
            <p:spPr bwMode="auto">
              <a:xfrm>
                <a:off x="11396663" y="3622675"/>
                <a:ext cx="107950" cy="107950"/>
              </a:xfrm>
              <a:custGeom>
                <a:avLst/>
                <a:gdLst>
                  <a:gd name="T0" fmla="*/ 136 w 137"/>
                  <a:gd name="T1" fmla="*/ 114 h 137"/>
                  <a:gd name="T2" fmla="*/ 90 w 137"/>
                  <a:gd name="T3" fmla="*/ 67 h 137"/>
                  <a:gd name="T4" fmla="*/ 136 w 137"/>
                  <a:gd name="T5" fmla="*/ 46 h 137"/>
                  <a:gd name="T6" fmla="*/ 136 w 137"/>
                  <a:gd name="T7" fmla="*/ 46 h 137"/>
                  <a:gd name="T8" fmla="*/ 137 w 137"/>
                  <a:gd name="T9" fmla="*/ 43 h 137"/>
                  <a:gd name="T10" fmla="*/ 137 w 137"/>
                  <a:gd name="T11" fmla="*/ 42 h 137"/>
                  <a:gd name="T12" fmla="*/ 137 w 137"/>
                  <a:gd name="T13" fmla="*/ 42 h 137"/>
                  <a:gd name="T14" fmla="*/ 137 w 137"/>
                  <a:gd name="T15" fmla="*/ 39 h 137"/>
                  <a:gd name="T16" fmla="*/ 134 w 137"/>
                  <a:gd name="T17" fmla="*/ 38 h 137"/>
                  <a:gd name="T18" fmla="*/ 6 w 137"/>
                  <a:gd name="T19" fmla="*/ 0 h 137"/>
                  <a:gd name="T20" fmla="*/ 6 w 137"/>
                  <a:gd name="T21" fmla="*/ 0 h 137"/>
                  <a:gd name="T22" fmla="*/ 3 w 137"/>
                  <a:gd name="T23" fmla="*/ 0 h 137"/>
                  <a:gd name="T24" fmla="*/ 2 w 137"/>
                  <a:gd name="T25" fmla="*/ 1 h 137"/>
                  <a:gd name="T26" fmla="*/ 2 w 137"/>
                  <a:gd name="T27" fmla="*/ 1 h 137"/>
                  <a:gd name="T28" fmla="*/ 0 w 137"/>
                  <a:gd name="T29" fmla="*/ 3 h 137"/>
                  <a:gd name="T30" fmla="*/ 0 w 137"/>
                  <a:gd name="T31" fmla="*/ 5 h 137"/>
                  <a:gd name="T32" fmla="*/ 38 w 137"/>
                  <a:gd name="T33" fmla="*/ 134 h 137"/>
                  <a:gd name="T34" fmla="*/ 38 w 137"/>
                  <a:gd name="T35" fmla="*/ 134 h 137"/>
                  <a:gd name="T36" fmla="*/ 39 w 137"/>
                  <a:gd name="T37" fmla="*/ 137 h 137"/>
                  <a:gd name="T38" fmla="*/ 40 w 137"/>
                  <a:gd name="T39" fmla="*/ 137 h 137"/>
                  <a:gd name="T40" fmla="*/ 40 w 137"/>
                  <a:gd name="T41" fmla="*/ 137 h 137"/>
                  <a:gd name="T42" fmla="*/ 42 w 137"/>
                  <a:gd name="T43" fmla="*/ 137 h 137"/>
                  <a:gd name="T44" fmla="*/ 42 w 137"/>
                  <a:gd name="T45" fmla="*/ 137 h 137"/>
                  <a:gd name="T46" fmla="*/ 43 w 137"/>
                  <a:gd name="T47" fmla="*/ 137 h 137"/>
                  <a:gd name="T48" fmla="*/ 46 w 137"/>
                  <a:gd name="T49" fmla="*/ 136 h 137"/>
                  <a:gd name="T50" fmla="*/ 67 w 137"/>
                  <a:gd name="T51" fmla="*/ 90 h 137"/>
                  <a:gd name="T52" fmla="*/ 114 w 137"/>
                  <a:gd name="T53" fmla="*/ 137 h 137"/>
                  <a:gd name="T54" fmla="*/ 114 w 137"/>
                  <a:gd name="T55" fmla="*/ 137 h 137"/>
                  <a:gd name="T56" fmla="*/ 117 w 137"/>
                  <a:gd name="T57" fmla="*/ 137 h 137"/>
                  <a:gd name="T58" fmla="*/ 120 w 137"/>
                  <a:gd name="T59" fmla="*/ 137 h 137"/>
                  <a:gd name="T60" fmla="*/ 136 w 137"/>
                  <a:gd name="T61" fmla="*/ 119 h 137"/>
                  <a:gd name="T62" fmla="*/ 136 w 137"/>
                  <a:gd name="T63" fmla="*/ 119 h 137"/>
                  <a:gd name="T64" fmla="*/ 137 w 137"/>
                  <a:gd name="T65" fmla="*/ 117 h 137"/>
                  <a:gd name="T66" fmla="*/ 136 w 137"/>
                  <a:gd name="T67" fmla="*/ 114 h 137"/>
                  <a:gd name="T68" fmla="*/ 136 w 137"/>
                  <a:gd name="T69" fmla="*/ 1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37">
                    <a:moveTo>
                      <a:pt x="136" y="114"/>
                    </a:moveTo>
                    <a:lnTo>
                      <a:pt x="90" y="67"/>
                    </a:lnTo>
                    <a:lnTo>
                      <a:pt x="136" y="46"/>
                    </a:lnTo>
                    <a:lnTo>
                      <a:pt x="136" y="46"/>
                    </a:lnTo>
                    <a:lnTo>
                      <a:pt x="137" y="43"/>
                    </a:lnTo>
                    <a:lnTo>
                      <a:pt x="137" y="42"/>
                    </a:lnTo>
                    <a:lnTo>
                      <a:pt x="137" y="42"/>
                    </a:lnTo>
                    <a:lnTo>
                      <a:pt x="137" y="39"/>
                    </a:lnTo>
                    <a:lnTo>
                      <a:pt x="134" y="38"/>
                    </a:lnTo>
                    <a:lnTo>
                      <a:pt x="6" y="0"/>
                    </a:lnTo>
                    <a:lnTo>
                      <a:pt x="6" y="0"/>
                    </a:lnTo>
                    <a:lnTo>
                      <a:pt x="3" y="0"/>
                    </a:lnTo>
                    <a:lnTo>
                      <a:pt x="2" y="1"/>
                    </a:lnTo>
                    <a:lnTo>
                      <a:pt x="2" y="1"/>
                    </a:lnTo>
                    <a:lnTo>
                      <a:pt x="0" y="3"/>
                    </a:lnTo>
                    <a:lnTo>
                      <a:pt x="0" y="5"/>
                    </a:lnTo>
                    <a:lnTo>
                      <a:pt x="38" y="134"/>
                    </a:lnTo>
                    <a:lnTo>
                      <a:pt x="38" y="134"/>
                    </a:lnTo>
                    <a:lnTo>
                      <a:pt x="39" y="137"/>
                    </a:lnTo>
                    <a:lnTo>
                      <a:pt x="40" y="137"/>
                    </a:lnTo>
                    <a:lnTo>
                      <a:pt x="40" y="137"/>
                    </a:lnTo>
                    <a:lnTo>
                      <a:pt x="42" y="137"/>
                    </a:lnTo>
                    <a:lnTo>
                      <a:pt x="42" y="137"/>
                    </a:lnTo>
                    <a:lnTo>
                      <a:pt x="43" y="137"/>
                    </a:lnTo>
                    <a:lnTo>
                      <a:pt x="46" y="136"/>
                    </a:lnTo>
                    <a:lnTo>
                      <a:pt x="67" y="90"/>
                    </a:lnTo>
                    <a:lnTo>
                      <a:pt x="114" y="137"/>
                    </a:lnTo>
                    <a:lnTo>
                      <a:pt x="114" y="137"/>
                    </a:lnTo>
                    <a:lnTo>
                      <a:pt x="117" y="137"/>
                    </a:lnTo>
                    <a:lnTo>
                      <a:pt x="120" y="137"/>
                    </a:lnTo>
                    <a:lnTo>
                      <a:pt x="136" y="119"/>
                    </a:lnTo>
                    <a:lnTo>
                      <a:pt x="136" y="119"/>
                    </a:lnTo>
                    <a:lnTo>
                      <a:pt x="137" y="117"/>
                    </a:lnTo>
                    <a:lnTo>
                      <a:pt x="136" y="114"/>
                    </a:lnTo>
                    <a:lnTo>
                      <a:pt x="136"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46" name="Freeform 204">
                <a:extLst>
                  <a:ext uri="{FF2B5EF4-FFF2-40B4-BE49-F238E27FC236}">
                    <a16:creationId xmlns:a16="http://schemas.microsoft.com/office/drawing/2014/main" id="{BB698AF6-6B6B-943A-81D3-B4F48F950081}"/>
                  </a:ext>
                </a:extLst>
              </p:cNvPr>
              <p:cNvSpPr>
                <a:spLocks/>
              </p:cNvSpPr>
              <p:nvPr/>
            </p:nvSpPr>
            <p:spPr bwMode="auto">
              <a:xfrm>
                <a:off x="11379201" y="3673475"/>
                <a:ext cx="26988" cy="12700"/>
              </a:xfrm>
              <a:custGeom>
                <a:avLst/>
                <a:gdLst>
                  <a:gd name="T0" fmla="*/ 25 w 33"/>
                  <a:gd name="T1" fmla="*/ 0 h 16"/>
                  <a:gd name="T2" fmla="*/ 8 w 33"/>
                  <a:gd name="T3" fmla="*/ 0 h 16"/>
                  <a:gd name="T4" fmla="*/ 8 w 33"/>
                  <a:gd name="T5" fmla="*/ 0 h 16"/>
                  <a:gd name="T6" fmla="*/ 5 w 33"/>
                  <a:gd name="T7" fmla="*/ 0 h 16"/>
                  <a:gd name="T8" fmla="*/ 2 w 33"/>
                  <a:gd name="T9" fmla="*/ 1 h 16"/>
                  <a:gd name="T10" fmla="*/ 1 w 33"/>
                  <a:gd name="T11" fmla="*/ 4 h 16"/>
                  <a:gd name="T12" fmla="*/ 0 w 33"/>
                  <a:gd name="T13" fmla="*/ 8 h 16"/>
                  <a:gd name="T14" fmla="*/ 0 w 33"/>
                  <a:gd name="T15" fmla="*/ 8 h 16"/>
                  <a:gd name="T16" fmla="*/ 1 w 33"/>
                  <a:gd name="T17" fmla="*/ 11 h 16"/>
                  <a:gd name="T18" fmla="*/ 2 w 33"/>
                  <a:gd name="T19" fmla="*/ 13 h 16"/>
                  <a:gd name="T20" fmla="*/ 5 w 33"/>
                  <a:gd name="T21" fmla="*/ 15 h 16"/>
                  <a:gd name="T22" fmla="*/ 8 w 33"/>
                  <a:gd name="T23" fmla="*/ 16 h 16"/>
                  <a:gd name="T24" fmla="*/ 25 w 33"/>
                  <a:gd name="T25" fmla="*/ 16 h 16"/>
                  <a:gd name="T26" fmla="*/ 25 w 33"/>
                  <a:gd name="T27" fmla="*/ 16 h 16"/>
                  <a:gd name="T28" fmla="*/ 28 w 33"/>
                  <a:gd name="T29" fmla="*/ 15 h 16"/>
                  <a:gd name="T30" fmla="*/ 31 w 33"/>
                  <a:gd name="T31" fmla="*/ 13 h 16"/>
                  <a:gd name="T32" fmla="*/ 32 w 33"/>
                  <a:gd name="T33" fmla="*/ 11 h 16"/>
                  <a:gd name="T34" fmla="*/ 33 w 33"/>
                  <a:gd name="T35" fmla="*/ 8 h 16"/>
                  <a:gd name="T36" fmla="*/ 33 w 33"/>
                  <a:gd name="T37" fmla="*/ 8 h 16"/>
                  <a:gd name="T38" fmla="*/ 32 w 33"/>
                  <a:gd name="T39" fmla="*/ 4 h 16"/>
                  <a:gd name="T40" fmla="*/ 31 w 33"/>
                  <a:gd name="T41" fmla="*/ 1 h 16"/>
                  <a:gd name="T42" fmla="*/ 28 w 33"/>
                  <a:gd name="T43" fmla="*/ 0 h 16"/>
                  <a:gd name="T44" fmla="*/ 25 w 33"/>
                  <a:gd name="T45" fmla="*/ 0 h 16"/>
                  <a:gd name="T46" fmla="*/ 25 w 3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6">
                    <a:moveTo>
                      <a:pt x="25" y="0"/>
                    </a:moveTo>
                    <a:lnTo>
                      <a:pt x="8" y="0"/>
                    </a:lnTo>
                    <a:lnTo>
                      <a:pt x="8" y="0"/>
                    </a:lnTo>
                    <a:lnTo>
                      <a:pt x="5" y="0"/>
                    </a:lnTo>
                    <a:lnTo>
                      <a:pt x="2" y="1"/>
                    </a:lnTo>
                    <a:lnTo>
                      <a:pt x="1" y="4"/>
                    </a:lnTo>
                    <a:lnTo>
                      <a:pt x="0" y="8"/>
                    </a:lnTo>
                    <a:lnTo>
                      <a:pt x="0" y="8"/>
                    </a:lnTo>
                    <a:lnTo>
                      <a:pt x="1" y="11"/>
                    </a:lnTo>
                    <a:lnTo>
                      <a:pt x="2" y="13"/>
                    </a:lnTo>
                    <a:lnTo>
                      <a:pt x="5" y="15"/>
                    </a:lnTo>
                    <a:lnTo>
                      <a:pt x="8" y="16"/>
                    </a:lnTo>
                    <a:lnTo>
                      <a:pt x="25" y="16"/>
                    </a:lnTo>
                    <a:lnTo>
                      <a:pt x="25" y="16"/>
                    </a:lnTo>
                    <a:lnTo>
                      <a:pt x="28" y="15"/>
                    </a:lnTo>
                    <a:lnTo>
                      <a:pt x="31" y="13"/>
                    </a:lnTo>
                    <a:lnTo>
                      <a:pt x="32" y="11"/>
                    </a:lnTo>
                    <a:lnTo>
                      <a:pt x="33" y="8"/>
                    </a:lnTo>
                    <a:lnTo>
                      <a:pt x="33" y="8"/>
                    </a:lnTo>
                    <a:lnTo>
                      <a:pt x="32" y="4"/>
                    </a:lnTo>
                    <a:lnTo>
                      <a:pt x="31" y="1"/>
                    </a:lnTo>
                    <a:lnTo>
                      <a:pt x="28" y="0"/>
                    </a:lnTo>
                    <a:lnTo>
                      <a:pt x="25" y="0"/>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47" name="Freeform 206">
                <a:extLst>
                  <a:ext uri="{FF2B5EF4-FFF2-40B4-BE49-F238E27FC236}">
                    <a16:creationId xmlns:a16="http://schemas.microsoft.com/office/drawing/2014/main" id="{2138C6E6-884A-057C-94B7-0D5965EDC4E6}"/>
                  </a:ext>
                </a:extLst>
              </p:cNvPr>
              <p:cNvSpPr>
                <a:spLocks/>
              </p:cNvSpPr>
              <p:nvPr/>
            </p:nvSpPr>
            <p:spPr bwMode="auto">
              <a:xfrm>
                <a:off x="11339513" y="3673475"/>
                <a:ext cx="25400" cy="12700"/>
              </a:xfrm>
              <a:custGeom>
                <a:avLst/>
                <a:gdLst>
                  <a:gd name="T0" fmla="*/ 24 w 32"/>
                  <a:gd name="T1" fmla="*/ 0 h 17"/>
                  <a:gd name="T2" fmla="*/ 8 w 32"/>
                  <a:gd name="T3" fmla="*/ 0 h 17"/>
                  <a:gd name="T4" fmla="*/ 8 w 32"/>
                  <a:gd name="T5" fmla="*/ 0 h 17"/>
                  <a:gd name="T6" fmla="*/ 5 w 32"/>
                  <a:gd name="T7" fmla="*/ 0 h 17"/>
                  <a:gd name="T8" fmla="*/ 3 w 32"/>
                  <a:gd name="T9" fmla="*/ 2 h 17"/>
                  <a:gd name="T10" fmla="*/ 0 w 32"/>
                  <a:gd name="T11" fmla="*/ 4 h 17"/>
                  <a:gd name="T12" fmla="*/ 0 w 32"/>
                  <a:gd name="T13" fmla="*/ 8 h 17"/>
                  <a:gd name="T14" fmla="*/ 0 w 32"/>
                  <a:gd name="T15" fmla="*/ 8 h 17"/>
                  <a:gd name="T16" fmla="*/ 0 w 32"/>
                  <a:gd name="T17" fmla="*/ 11 h 17"/>
                  <a:gd name="T18" fmla="*/ 3 w 32"/>
                  <a:gd name="T19" fmla="*/ 14 h 17"/>
                  <a:gd name="T20" fmla="*/ 5 w 32"/>
                  <a:gd name="T21" fmla="*/ 15 h 17"/>
                  <a:gd name="T22" fmla="*/ 8 w 32"/>
                  <a:gd name="T23" fmla="*/ 17 h 17"/>
                  <a:gd name="T24" fmla="*/ 24 w 32"/>
                  <a:gd name="T25" fmla="*/ 17 h 17"/>
                  <a:gd name="T26" fmla="*/ 24 w 32"/>
                  <a:gd name="T27" fmla="*/ 17 h 17"/>
                  <a:gd name="T28" fmla="*/ 28 w 32"/>
                  <a:gd name="T29" fmla="*/ 15 h 17"/>
                  <a:gd name="T30" fmla="*/ 31 w 32"/>
                  <a:gd name="T31" fmla="*/ 14 h 17"/>
                  <a:gd name="T32" fmla="*/ 32 w 32"/>
                  <a:gd name="T33" fmla="*/ 11 h 17"/>
                  <a:gd name="T34" fmla="*/ 32 w 32"/>
                  <a:gd name="T35" fmla="*/ 8 h 17"/>
                  <a:gd name="T36" fmla="*/ 32 w 32"/>
                  <a:gd name="T37" fmla="*/ 8 h 17"/>
                  <a:gd name="T38" fmla="*/ 32 w 32"/>
                  <a:gd name="T39" fmla="*/ 4 h 17"/>
                  <a:gd name="T40" fmla="*/ 31 w 32"/>
                  <a:gd name="T41" fmla="*/ 2 h 17"/>
                  <a:gd name="T42" fmla="*/ 28 w 32"/>
                  <a:gd name="T43" fmla="*/ 0 h 17"/>
                  <a:gd name="T44" fmla="*/ 24 w 32"/>
                  <a:gd name="T45" fmla="*/ 0 h 17"/>
                  <a:gd name="T46" fmla="*/ 24 w 32"/>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7">
                    <a:moveTo>
                      <a:pt x="24" y="0"/>
                    </a:moveTo>
                    <a:lnTo>
                      <a:pt x="8" y="0"/>
                    </a:lnTo>
                    <a:lnTo>
                      <a:pt x="8" y="0"/>
                    </a:lnTo>
                    <a:lnTo>
                      <a:pt x="5" y="0"/>
                    </a:lnTo>
                    <a:lnTo>
                      <a:pt x="3" y="2"/>
                    </a:lnTo>
                    <a:lnTo>
                      <a:pt x="0" y="4"/>
                    </a:lnTo>
                    <a:lnTo>
                      <a:pt x="0" y="8"/>
                    </a:lnTo>
                    <a:lnTo>
                      <a:pt x="0" y="8"/>
                    </a:lnTo>
                    <a:lnTo>
                      <a:pt x="0" y="11"/>
                    </a:lnTo>
                    <a:lnTo>
                      <a:pt x="3" y="14"/>
                    </a:lnTo>
                    <a:lnTo>
                      <a:pt x="5" y="15"/>
                    </a:lnTo>
                    <a:lnTo>
                      <a:pt x="8" y="17"/>
                    </a:lnTo>
                    <a:lnTo>
                      <a:pt x="24" y="17"/>
                    </a:lnTo>
                    <a:lnTo>
                      <a:pt x="24" y="17"/>
                    </a:lnTo>
                    <a:lnTo>
                      <a:pt x="28" y="15"/>
                    </a:lnTo>
                    <a:lnTo>
                      <a:pt x="31" y="14"/>
                    </a:lnTo>
                    <a:lnTo>
                      <a:pt x="32" y="11"/>
                    </a:lnTo>
                    <a:lnTo>
                      <a:pt x="32" y="8"/>
                    </a:lnTo>
                    <a:lnTo>
                      <a:pt x="32" y="8"/>
                    </a:lnTo>
                    <a:lnTo>
                      <a:pt x="32" y="4"/>
                    </a:lnTo>
                    <a:lnTo>
                      <a:pt x="31" y="2"/>
                    </a:lnTo>
                    <a:lnTo>
                      <a:pt x="28" y="0"/>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96" name="Freeform 207">
                <a:extLst>
                  <a:ext uri="{FF2B5EF4-FFF2-40B4-BE49-F238E27FC236}">
                    <a16:creationId xmlns:a16="http://schemas.microsoft.com/office/drawing/2014/main" id="{1C1BD383-4A72-237D-7D84-7968D022CFCA}"/>
                  </a:ext>
                </a:extLst>
              </p:cNvPr>
              <p:cNvSpPr>
                <a:spLocks/>
              </p:cNvSpPr>
              <p:nvPr/>
            </p:nvSpPr>
            <p:spPr bwMode="auto">
              <a:xfrm>
                <a:off x="11295063" y="3656013"/>
                <a:ext cx="30163" cy="30163"/>
              </a:xfrm>
              <a:custGeom>
                <a:avLst/>
                <a:gdLst>
                  <a:gd name="T0" fmla="*/ 30 w 38"/>
                  <a:gd name="T1" fmla="*/ 22 h 39"/>
                  <a:gd name="T2" fmla="*/ 16 w 38"/>
                  <a:gd name="T3" fmla="*/ 22 h 39"/>
                  <a:gd name="T4" fmla="*/ 16 w 38"/>
                  <a:gd name="T5" fmla="*/ 8 h 39"/>
                  <a:gd name="T6" fmla="*/ 16 w 38"/>
                  <a:gd name="T7" fmla="*/ 8 h 39"/>
                  <a:gd name="T8" fmla="*/ 16 w 38"/>
                  <a:gd name="T9" fmla="*/ 5 h 39"/>
                  <a:gd name="T10" fmla="*/ 15 w 38"/>
                  <a:gd name="T11" fmla="*/ 2 h 39"/>
                  <a:gd name="T12" fmla="*/ 12 w 38"/>
                  <a:gd name="T13" fmla="*/ 1 h 39"/>
                  <a:gd name="T14" fmla="*/ 8 w 38"/>
                  <a:gd name="T15" fmla="*/ 0 h 39"/>
                  <a:gd name="T16" fmla="*/ 8 w 38"/>
                  <a:gd name="T17" fmla="*/ 0 h 39"/>
                  <a:gd name="T18" fmla="*/ 5 w 38"/>
                  <a:gd name="T19" fmla="*/ 1 h 39"/>
                  <a:gd name="T20" fmla="*/ 3 w 38"/>
                  <a:gd name="T21" fmla="*/ 2 h 39"/>
                  <a:gd name="T22" fmla="*/ 1 w 38"/>
                  <a:gd name="T23" fmla="*/ 5 h 39"/>
                  <a:gd name="T24" fmla="*/ 0 w 38"/>
                  <a:gd name="T25" fmla="*/ 8 h 39"/>
                  <a:gd name="T26" fmla="*/ 0 w 38"/>
                  <a:gd name="T27" fmla="*/ 30 h 39"/>
                  <a:gd name="T28" fmla="*/ 0 w 38"/>
                  <a:gd name="T29" fmla="*/ 30 h 39"/>
                  <a:gd name="T30" fmla="*/ 1 w 38"/>
                  <a:gd name="T31" fmla="*/ 33 h 39"/>
                  <a:gd name="T32" fmla="*/ 3 w 38"/>
                  <a:gd name="T33" fmla="*/ 36 h 39"/>
                  <a:gd name="T34" fmla="*/ 5 w 38"/>
                  <a:gd name="T35" fmla="*/ 37 h 39"/>
                  <a:gd name="T36" fmla="*/ 8 w 38"/>
                  <a:gd name="T37" fmla="*/ 39 h 39"/>
                  <a:gd name="T38" fmla="*/ 8 w 38"/>
                  <a:gd name="T39" fmla="*/ 39 h 39"/>
                  <a:gd name="T40" fmla="*/ 11 w 38"/>
                  <a:gd name="T41" fmla="*/ 39 h 39"/>
                  <a:gd name="T42" fmla="*/ 11 w 38"/>
                  <a:gd name="T43" fmla="*/ 39 h 39"/>
                  <a:gd name="T44" fmla="*/ 13 w 38"/>
                  <a:gd name="T45" fmla="*/ 39 h 39"/>
                  <a:gd name="T46" fmla="*/ 30 w 38"/>
                  <a:gd name="T47" fmla="*/ 39 h 39"/>
                  <a:gd name="T48" fmla="*/ 30 w 38"/>
                  <a:gd name="T49" fmla="*/ 39 h 39"/>
                  <a:gd name="T50" fmla="*/ 32 w 38"/>
                  <a:gd name="T51" fmla="*/ 37 h 39"/>
                  <a:gd name="T52" fmla="*/ 35 w 38"/>
                  <a:gd name="T53" fmla="*/ 36 h 39"/>
                  <a:gd name="T54" fmla="*/ 38 w 38"/>
                  <a:gd name="T55" fmla="*/ 33 h 39"/>
                  <a:gd name="T56" fmla="*/ 38 w 38"/>
                  <a:gd name="T57" fmla="*/ 30 h 39"/>
                  <a:gd name="T58" fmla="*/ 38 w 38"/>
                  <a:gd name="T59" fmla="*/ 30 h 39"/>
                  <a:gd name="T60" fmla="*/ 38 w 38"/>
                  <a:gd name="T61" fmla="*/ 26 h 39"/>
                  <a:gd name="T62" fmla="*/ 35 w 38"/>
                  <a:gd name="T63" fmla="*/ 24 h 39"/>
                  <a:gd name="T64" fmla="*/ 32 w 38"/>
                  <a:gd name="T65" fmla="*/ 22 h 39"/>
                  <a:gd name="T66" fmla="*/ 30 w 38"/>
                  <a:gd name="T67" fmla="*/ 22 h 39"/>
                  <a:gd name="T68" fmla="*/ 30 w 38"/>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9">
                    <a:moveTo>
                      <a:pt x="30" y="22"/>
                    </a:moveTo>
                    <a:lnTo>
                      <a:pt x="16" y="22"/>
                    </a:lnTo>
                    <a:lnTo>
                      <a:pt x="16" y="8"/>
                    </a:lnTo>
                    <a:lnTo>
                      <a:pt x="16" y="8"/>
                    </a:lnTo>
                    <a:lnTo>
                      <a:pt x="16" y="5"/>
                    </a:lnTo>
                    <a:lnTo>
                      <a:pt x="15" y="2"/>
                    </a:lnTo>
                    <a:lnTo>
                      <a:pt x="12" y="1"/>
                    </a:lnTo>
                    <a:lnTo>
                      <a:pt x="8" y="0"/>
                    </a:lnTo>
                    <a:lnTo>
                      <a:pt x="8" y="0"/>
                    </a:lnTo>
                    <a:lnTo>
                      <a:pt x="5" y="1"/>
                    </a:lnTo>
                    <a:lnTo>
                      <a:pt x="3" y="2"/>
                    </a:lnTo>
                    <a:lnTo>
                      <a:pt x="1" y="5"/>
                    </a:lnTo>
                    <a:lnTo>
                      <a:pt x="0" y="8"/>
                    </a:lnTo>
                    <a:lnTo>
                      <a:pt x="0" y="30"/>
                    </a:lnTo>
                    <a:lnTo>
                      <a:pt x="0" y="30"/>
                    </a:lnTo>
                    <a:lnTo>
                      <a:pt x="1" y="33"/>
                    </a:lnTo>
                    <a:lnTo>
                      <a:pt x="3" y="36"/>
                    </a:lnTo>
                    <a:lnTo>
                      <a:pt x="5" y="37"/>
                    </a:lnTo>
                    <a:lnTo>
                      <a:pt x="8" y="39"/>
                    </a:lnTo>
                    <a:lnTo>
                      <a:pt x="8" y="39"/>
                    </a:lnTo>
                    <a:lnTo>
                      <a:pt x="11" y="39"/>
                    </a:lnTo>
                    <a:lnTo>
                      <a:pt x="11" y="39"/>
                    </a:lnTo>
                    <a:lnTo>
                      <a:pt x="13" y="39"/>
                    </a:lnTo>
                    <a:lnTo>
                      <a:pt x="30" y="39"/>
                    </a:lnTo>
                    <a:lnTo>
                      <a:pt x="30" y="39"/>
                    </a:lnTo>
                    <a:lnTo>
                      <a:pt x="32" y="37"/>
                    </a:lnTo>
                    <a:lnTo>
                      <a:pt x="35" y="36"/>
                    </a:lnTo>
                    <a:lnTo>
                      <a:pt x="38" y="33"/>
                    </a:lnTo>
                    <a:lnTo>
                      <a:pt x="38" y="30"/>
                    </a:lnTo>
                    <a:lnTo>
                      <a:pt x="38" y="30"/>
                    </a:lnTo>
                    <a:lnTo>
                      <a:pt x="38" y="26"/>
                    </a:lnTo>
                    <a:lnTo>
                      <a:pt x="35" y="24"/>
                    </a:lnTo>
                    <a:lnTo>
                      <a:pt x="32" y="22"/>
                    </a:lnTo>
                    <a:lnTo>
                      <a:pt x="30" y="22"/>
                    </a:lnTo>
                    <a:lnTo>
                      <a:pt x="3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97" name="Freeform 208">
                <a:extLst>
                  <a:ext uri="{FF2B5EF4-FFF2-40B4-BE49-F238E27FC236}">
                    <a16:creationId xmlns:a16="http://schemas.microsoft.com/office/drawing/2014/main" id="{2D15318F-4F59-BDC0-3D3E-7B8C10A11D7F}"/>
                  </a:ext>
                </a:extLst>
              </p:cNvPr>
              <p:cNvSpPr>
                <a:spLocks/>
              </p:cNvSpPr>
              <p:nvPr/>
            </p:nvSpPr>
            <p:spPr bwMode="auto">
              <a:xfrm>
                <a:off x="11295063" y="3611563"/>
                <a:ext cx="14288" cy="30163"/>
              </a:xfrm>
              <a:custGeom>
                <a:avLst/>
                <a:gdLst>
                  <a:gd name="T0" fmla="*/ 8 w 16"/>
                  <a:gd name="T1" fmla="*/ 37 h 37"/>
                  <a:gd name="T2" fmla="*/ 8 w 16"/>
                  <a:gd name="T3" fmla="*/ 37 h 37"/>
                  <a:gd name="T4" fmla="*/ 12 w 16"/>
                  <a:gd name="T5" fmla="*/ 37 h 37"/>
                  <a:gd name="T6" fmla="*/ 15 w 16"/>
                  <a:gd name="T7" fmla="*/ 34 h 37"/>
                  <a:gd name="T8" fmla="*/ 16 w 16"/>
                  <a:gd name="T9" fmla="*/ 33 h 37"/>
                  <a:gd name="T10" fmla="*/ 16 w 16"/>
                  <a:gd name="T11" fmla="*/ 29 h 37"/>
                  <a:gd name="T12" fmla="*/ 16 w 16"/>
                  <a:gd name="T13" fmla="*/ 8 h 37"/>
                  <a:gd name="T14" fmla="*/ 16 w 16"/>
                  <a:gd name="T15" fmla="*/ 8 h 37"/>
                  <a:gd name="T16" fmla="*/ 16 w 16"/>
                  <a:gd name="T17" fmla="*/ 4 h 37"/>
                  <a:gd name="T18" fmla="*/ 15 w 16"/>
                  <a:gd name="T19" fmla="*/ 1 h 37"/>
                  <a:gd name="T20" fmla="*/ 12 w 16"/>
                  <a:gd name="T21" fmla="*/ 0 h 37"/>
                  <a:gd name="T22" fmla="*/ 8 w 16"/>
                  <a:gd name="T23" fmla="*/ 0 h 37"/>
                  <a:gd name="T24" fmla="*/ 8 w 16"/>
                  <a:gd name="T25" fmla="*/ 0 h 37"/>
                  <a:gd name="T26" fmla="*/ 5 w 16"/>
                  <a:gd name="T27" fmla="*/ 0 h 37"/>
                  <a:gd name="T28" fmla="*/ 3 w 16"/>
                  <a:gd name="T29" fmla="*/ 1 h 37"/>
                  <a:gd name="T30" fmla="*/ 1 w 16"/>
                  <a:gd name="T31" fmla="*/ 4 h 37"/>
                  <a:gd name="T32" fmla="*/ 0 w 16"/>
                  <a:gd name="T33" fmla="*/ 8 h 37"/>
                  <a:gd name="T34" fmla="*/ 0 w 16"/>
                  <a:gd name="T35" fmla="*/ 29 h 37"/>
                  <a:gd name="T36" fmla="*/ 0 w 16"/>
                  <a:gd name="T37" fmla="*/ 29 h 37"/>
                  <a:gd name="T38" fmla="*/ 1 w 16"/>
                  <a:gd name="T39" fmla="*/ 33 h 37"/>
                  <a:gd name="T40" fmla="*/ 3 w 16"/>
                  <a:gd name="T41" fmla="*/ 34 h 37"/>
                  <a:gd name="T42" fmla="*/ 5 w 16"/>
                  <a:gd name="T43" fmla="*/ 37 h 37"/>
                  <a:gd name="T44" fmla="*/ 8 w 16"/>
                  <a:gd name="T45" fmla="*/ 37 h 37"/>
                  <a:gd name="T46" fmla="*/ 8 w 16"/>
                  <a:gd name="T4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7">
                    <a:moveTo>
                      <a:pt x="8" y="37"/>
                    </a:moveTo>
                    <a:lnTo>
                      <a:pt x="8" y="37"/>
                    </a:lnTo>
                    <a:lnTo>
                      <a:pt x="12" y="37"/>
                    </a:lnTo>
                    <a:lnTo>
                      <a:pt x="15" y="34"/>
                    </a:lnTo>
                    <a:lnTo>
                      <a:pt x="16" y="33"/>
                    </a:lnTo>
                    <a:lnTo>
                      <a:pt x="16" y="29"/>
                    </a:lnTo>
                    <a:lnTo>
                      <a:pt x="16" y="8"/>
                    </a:lnTo>
                    <a:lnTo>
                      <a:pt x="16" y="8"/>
                    </a:lnTo>
                    <a:lnTo>
                      <a:pt x="16" y="4"/>
                    </a:lnTo>
                    <a:lnTo>
                      <a:pt x="15" y="1"/>
                    </a:lnTo>
                    <a:lnTo>
                      <a:pt x="12" y="0"/>
                    </a:lnTo>
                    <a:lnTo>
                      <a:pt x="8" y="0"/>
                    </a:lnTo>
                    <a:lnTo>
                      <a:pt x="8" y="0"/>
                    </a:lnTo>
                    <a:lnTo>
                      <a:pt x="5" y="0"/>
                    </a:lnTo>
                    <a:lnTo>
                      <a:pt x="3" y="1"/>
                    </a:lnTo>
                    <a:lnTo>
                      <a:pt x="1" y="4"/>
                    </a:lnTo>
                    <a:lnTo>
                      <a:pt x="0" y="8"/>
                    </a:lnTo>
                    <a:lnTo>
                      <a:pt x="0" y="29"/>
                    </a:lnTo>
                    <a:lnTo>
                      <a:pt x="0" y="29"/>
                    </a:lnTo>
                    <a:lnTo>
                      <a:pt x="1" y="33"/>
                    </a:lnTo>
                    <a:lnTo>
                      <a:pt x="3" y="34"/>
                    </a:lnTo>
                    <a:lnTo>
                      <a:pt x="5" y="37"/>
                    </a:lnTo>
                    <a:lnTo>
                      <a:pt x="8" y="37"/>
                    </a:lnTo>
                    <a:lnTo>
                      <a:pt x="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98" name="Freeform 209">
                <a:extLst>
                  <a:ext uri="{FF2B5EF4-FFF2-40B4-BE49-F238E27FC236}">
                    <a16:creationId xmlns:a16="http://schemas.microsoft.com/office/drawing/2014/main" id="{5E91CFA7-EA1F-1B5A-3C44-0432C38C9310}"/>
                  </a:ext>
                </a:extLst>
              </p:cNvPr>
              <p:cNvSpPr>
                <a:spLocks/>
              </p:cNvSpPr>
              <p:nvPr/>
            </p:nvSpPr>
            <p:spPr bwMode="auto">
              <a:xfrm>
                <a:off x="11295063" y="3567113"/>
                <a:ext cx="14288" cy="31750"/>
              </a:xfrm>
              <a:custGeom>
                <a:avLst/>
                <a:gdLst>
                  <a:gd name="T0" fmla="*/ 8 w 16"/>
                  <a:gd name="T1" fmla="*/ 39 h 39"/>
                  <a:gd name="T2" fmla="*/ 8 w 16"/>
                  <a:gd name="T3" fmla="*/ 39 h 39"/>
                  <a:gd name="T4" fmla="*/ 12 w 16"/>
                  <a:gd name="T5" fmla="*/ 38 h 39"/>
                  <a:gd name="T6" fmla="*/ 15 w 16"/>
                  <a:gd name="T7" fmla="*/ 36 h 39"/>
                  <a:gd name="T8" fmla="*/ 16 w 16"/>
                  <a:gd name="T9" fmla="*/ 34 h 39"/>
                  <a:gd name="T10" fmla="*/ 16 w 16"/>
                  <a:gd name="T11" fmla="*/ 31 h 39"/>
                  <a:gd name="T12" fmla="*/ 16 w 16"/>
                  <a:gd name="T13" fmla="*/ 8 h 39"/>
                  <a:gd name="T14" fmla="*/ 16 w 16"/>
                  <a:gd name="T15" fmla="*/ 8 h 39"/>
                  <a:gd name="T16" fmla="*/ 16 w 16"/>
                  <a:gd name="T17" fmla="*/ 5 h 39"/>
                  <a:gd name="T18" fmla="*/ 15 w 16"/>
                  <a:gd name="T19" fmla="*/ 3 h 39"/>
                  <a:gd name="T20" fmla="*/ 12 w 16"/>
                  <a:gd name="T21" fmla="*/ 1 h 39"/>
                  <a:gd name="T22" fmla="*/ 8 w 16"/>
                  <a:gd name="T23" fmla="*/ 0 h 39"/>
                  <a:gd name="T24" fmla="*/ 8 w 16"/>
                  <a:gd name="T25" fmla="*/ 0 h 39"/>
                  <a:gd name="T26" fmla="*/ 5 w 16"/>
                  <a:gd name="T27" fmla="*/ 1 h 39"/>
                  <a:gd name="T28" fmla="*/ 3 w 16"/>
                  <a:gd name="T29" fmla="*/ 3 h 39"/>
                  <a:gd name="T30" fmla="*/ 1 w 16"/>
                  <a:gd name="T31" fmla="*/ 5 h 39"/>
                  <a:gd name="T32" fmla="*/ 0 w 16"/>
                  <a:gd name="T33" fmla="*/ 8 h 39"/>
                  <a:gd name="T34" fmla="*/ 0 w 16"/>
                  <a:gd name="T35" fmla="*/ 31 h 39"/>
                  <a:gd name="T36" fmla="*/ 0 w 16"/>
                  <a:gd name="T37" fmla="*/ 31 h 39"/>
                  <a:gd name="T38" fmla="*/ 1 w 16"/>
                  <a:gd name="T39" fmla="*/ 34 h 39"/>
                  <a:gd name="T40" fmla="*/ 3 w 16"/>
                  <a:gd name="T41" fmla="*/ 36 h 39"/>
                  <a:gd name="T42" fmla="*/ 5 w 16"/>
                  <a:gd name="T43" fmla="*/ 38 h 39"/>
                  <a:gd name="T44" fmla="*/ 8 w 16"/>
                  <a:gd name="T45" fmla="*/ 39 h 39"/>
                  <a:gd name="T46" fmla="*/ 8 w 16"/>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39"/>
                    </a:moveTo>
                    <a:lnTo>
                      <a:pt x="8" y="39"/>
                    </a:lnTo>
                    <a:lnTo>
                      <a:pt x="12" y="38"/>
                    </a:lnTo>
                    <a:lnTo>
                      <a:pt x="15" y="36"/>
                    </a:lnTo>
                    <a:lnTo>
                      <a:pt x="16" y="34"/>
                    </a:lnTo>
                    <a:lnTo>
                      <a:pt x="16" y="31"/>
                    </a:lnTo>
                    <a:lnTo>
                      <a:pt x="16" y="8"/>
                    </a:lnTo>
                    <a:lnTo>
                      <a:pt x="16" y="8"/>
                    </a:lnTo>
                    <a:lnTo>
                      <a:pt x="16" y="5"/>
                    </a:lnTo>
                    <a:lnTo>
                      <a:pt x="15" y="3"/>
                    </a:lnTo>
                    <a:lnTo>
                      <a:pt x="12" y="1"/>
                    </a:lnTo>
                    <a:lnTo>
                      <a:pt x="8" y="0"/>
                    </a:lnTo>
                    <a:lnTo>
                      <a:pt x="8" y="0"/>
                    </a:lnTo>
                    <a:lnTo>
                      <a:pt x="5" y="1"/>
                    </a:lnTo>
                    <a:lnTo>
                      <a:pt x="3" y="3"/>
                    </a:lnTo>
                    <a:lnTo>
                      <a:pt x="1" y="5"/>
                    </a:lnTo>
                    <a:lnTo>
                      <a:pt x="0" y="8"/>
                    </a:lnTo>
                    <a:lnTo>
                      <a:pt x="0" y="31"/>
                    </a:lnTo>
                    <a:lnTo>
                      <a:pt x="0" y="31"/>
                    </a:lnTo>
                    <a:lnTo>
                      <a:pt x="1" y="34"/>
                    </a:lnTo>
                    <a:lnTo>
                      <a:pt x="3" y="36"/>
                    </a:lnTo>
                    <a:lnTo>
                      <a:pt x="5" y="38"/>
                    </a:lnTo>
                    <a:lnTo>
                      <a:pt x="8" y="39"/>
                    </a:lnTo>
                    <a:lnTo>
                      <a:pt x="8"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99" name="Freeform 210">
                <a:extLst>
                  <a:ext uri="{FF2B5EF4-FFF2-40B4-BE49-F238E27FC236}">
                    <a16:creationId xmlns:a16="http://schemas.microsoft.com/office/drawing/2014/main" id="{189958BD-AE98-F3DE-6E3C-92610DDC3134}"/>
                  </a:ext>
                </a:extLst>
              </p:cNvPr>
              <p:cNvSpPr>
                <a:spLocks/>
              </p:cNvSpPr>
              <p:nvPr/>
            </p:nvSpPr>
            <p:spPr bwMode="auto">
              <a:xfrm>
                <a:off x="11444288" y="3562350"/>
                <a:ext cx="14288" cy="30163"/>
              </a:xfrm>
              <a:custGeom>
                <a:avLst/>
                <a:gdLst>
                  <a:gd name="T0" fmla="*/ 16 w 16"/>
                  <a:gd name="T1" fmla="*/ 8 h 39"/>
                  <a:gd name="T2" fmla="*/ 16 w 16"/>
                  <a:gd name="T3" fmla="*/ 8 h 39"/>
                  <a:gd name="T4" fmla="*/ 16 w 16"/>
                  <a:gd name="T5" fmla="*/ 6 h 39"/>
                  <a:gd name="T6" fmla="*/ 15 w 16"/>
                  <a:gd name="T7" fmla="*/ 3 h 39"/>
                  <a:gd name="T8" fmla="*/ 12 w 16"/>
                  <a:gd name="T9" fmla="*/ 2 h 39"/>
                  <a:gd name="T10" fmla="*/ 8 w 16"/>
                  <a:gd name="T11" fmla="*/ 0 h 39"/>
                  <a:gd name="T12" fmla="*/ 8 w 16"/>
                  <a:gd name="T13" fmla="*/ 0 h 39"/>
                  <a:gd name="T14" fmla="*/ 5 w 16"/>
                  <a:gd name="T15" fmla="*/ 2 h 39"/>
                  <a:gd name="T16" fmla="*/ 3 w 16"/>
                  <a:gd name="T17" fmla="*/ 3 h 39"/>
                  <a:gd name="T18" fmla="*/ 1 w 16"/>
                  <a:gd name="T19" fmla="*/ 6 h 39"/>
                  <a:gd name="T20" fmla="*/ 0 w 16"/>
                  <a:gd name="T21" fmla="*/ 8 h 39"/>
                  <a:gd name="T22" fmla="*/ 0 w 16"/>
                  <a:gd name="T23" fmla="*/ 31 h 39"/>
                  <a:gd name="T24" fmla="*/ 0 w 16"/>
                  <a:gd name="T25" fmla="*/ 31 h 39"/>
                  <a:gd name="T26" fmla="*/ 1 w 16"/>
                  <a:gd name="T27" fmla="*/ 34 h 39"/>
                  <a:gd name="T28" fmla="*/ 3 w 16"/>
                  <a:gd name="T29" fmla="*/ 37 h 39"/>
                  <a:gd name="T30" fmla="*/ 5 w 16"/>
                  <a:gd name="T31" fmla="*/ 38 h 39"/>
                  <a:gd name="T32" fmla="*/ 8 w 16"/>
                  <a:gd name="T33" fmla="*/ 39 h 39"/>
                  <a:gd name="T34" fmla="*/ 8 w 16"/>
                  <a:gd name="T35" fmla="*/ 39 h 39"/>
                  <a:gd name="T36" fmla="*/ 12 w 16"/>
                  <a:gd name="T37" fmla="*/ 38 h 39"/>
                  <a:gd name="T38" fmla="*/ 15 w 16"/>
                  <a:gd name="T39" fmla="*/ 37 h 39"/>
                  <a:gd name="T40" fmla="*/ 16 w 16"/>
                  <a:gd name="T41" fmla="*/ 34 h 39"/>
                  <a:gd name="T42" fmla="*/ 16 w 16"/>
                  <a:gd name="T43" fmla="*/ 31 h 39"/>
                  <a:gd name="T44" fmla="*/ 16 w 16"/>
                  <a:gd name="T4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9">
                    <a:moveTo>
                      <a:pt x="16" y="8"/>
                    </a:moveTo>
                    <a:lnTo>
                      <a:pt x="16" y="8"/>
                    </a:lnTo>
                    <a:lnTo>
                      <a:pt x="16" y="6"/>
                    </a:lnTo>
                    <a:lnTo>
                      <a:pt x="15" y="3"/>
                    </a:lnTo>
                    <a:lnTo>
                      <a:pt x="12" y="2"/>
                    </a:lnTo>
                    <a:lnTo>
                      <a:pt x="8" y="0"/>
                    </a:lnTo>
                    <a:lnTo>
                      <a:pt x="8" y="0"/>
                    </a:lnTo>
                    <a:lnTo>
                      <a:pt x="5" y="2"/>
                    </a:lnTo>
                    <a:lnTo>
                      <a:pt x="3" y="3"/>
                    </a:lnTo>
                    <a:lnTo>
                      <a:pt x="1" y="6"/>
                    </a:lnTo>
                    <a:lnTo>
                      <a:pt x="0" y="8"/>
                    </a:lnTo>
                    <a:lnTo>
                      <a:pt x="0" y="31"/>
                    </a:lnTo>
                    <a:lnTo>
                      <a:pt x="0" y="31"/>
                    </a:lnTo>
                    <a:lnTo>
                      <a:pt x="1" y="34"/>
                    </a:lnTo>
                    <a:lnTo>
                      <a:pt x="3" y="37"/>
                    </a:lnTo>
                    <a:lnTo>
                      <a:pt x="5" y="38"/>
                    </a:lnTo>
                    <a:lnTo>
                      <a:pt x="8" y="39"/>
                    </a:lnTo>
                    <a:lnTo>
                      <a:pt x="8" y="39"/>
                    </a:lnTo>
                    <a:lnTo>
                      <a:pt x="12" y="38"/>
                    </a:lnTo>
                    <a:lnTo>
                      <a:pt x="15" y="37"/>
                    </a:lnTo>
                    <a:lnTo>
                      <a:pt x="16" y="34"/>
                    </a:lnTo>
                    <a:lnTo>
                      <a:pt x="16" y="31"/>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00" name="Freeform 211">
                <a:extLst>
                  <a:ext uri="{FF2B5EF4-FFF2-40B4-BE49-F238E27FC236}">
                    <a16:creationId xmlns:a16="http://schemas.microsoft.com/office/drawing/2014/main" id="{0D4757B8-C7B4-68C9-B0E4-8866258D8BFA}"/>
                  </a:ext>
                </a:extLst>
              </p:cNvPr>
              <p:cNvSpPr>
                <a:spLocks/>
              </p:cNvSpPr>
              <p:nvPr/>
            </p:nvSpPr>
            <p:spPr bwMode="auto">
              <a:xfrm>
                <a:off x="11444288" y="3602038"/>
                <a:ext cx="14288" cy="30163"/>
              </a:xfrm>
              <a:custGeom>
                <a:avLst/>
                <a:gdLst>
                  <a:gd name="T0" fmla="*/ 8 w 16"/>
                  <a:gd name="T1" fmla="*/ 0 h 39"/>
                  <a:gd name="T2" fmla="*/ 8 w 16"/>
                  <a:gd name="T3" fmla="*/ 0 h 39"/>
                  <a:gd name="T4" fmla="*/ 4 w 16"/>
                  <a:gd name="T5" fmla="*/ 1 h 39"/>
                  <a:gd name="T6" fmla="*/ 1 w 16"/>
                  <a:gd name="T7" fmla="*/ 3 h 39"/>
                  <a:gd name="T8" fmla="*/ 0 w 16"/>
                  <a:gd name="T9" fmla="*/ 5 h 39"/>
                  <a:gd name="T10" fmla="*/ 0 w 16"/>
                  <a:gd name="T11" fmla="*/ 8 h 39"/>
                  <a:gd name="T12" fmla="*/ 0 w 16"/>
                  <a:gd name="T13" fmla="*/ 31 h 39"/>
                  <a:gd name="T14" fmla="*/ 0 w 16"/>
                  <a:gd name="T15" fmla="*/ 31 h 39"/>
                  <a:gd name="T16" fmla="*/ 0 w 16"/>
                  <a:gd name="T17" fmla="*/ 34 h 39"/>
                  <a:gd name="T18" fmla="*/ 1 w 16"/>
                  <a:gd name="T19" fmla="*/ 36 h 39"/>
                  <a:gd name="T20" fmla="*/ 4 w 16"/>
                  <a:gd name="T21" fmla="*/ 38 h 39"/>
                  <a:gd name="T22" fmla="*/ 8 w 16"/>
                  <a:gd name="T23" fmla="*/ 39 h 39"/>
                  <a:gd name="T24" fmla="*/ 8 w 16"/>
                  <a:gd name="T25" fmla="*/ 39 h 39"/>
                  <a:gd name="T26" fmla="*/ 11 w 16"/>
                  <a:gd name="T27" fmla="*/ 38 h 39"/>
                  <a:gd name="T28" fmla="*/ 13 w 16"/>
                  <a:gd name="T29" fmla="*/ 36 h 39"/>
                  <a:gd name="T30" fmla="*/ 15 w 16"/>
                  <a:gd name="T31" fmla="*/ 34 h 39"/>
                  <a:gd name="T32" fmla="*/ 16 w 16"/>
                  <a:gd name="T33" fmla="*/ 31 h 39"/>
                  <a:gd name="T34" fmla="*/ 16 w 16"/>
                  <a:gd name="T35" fmla="*/ 8 h 39"/>
                  <a:gd name="T36" fmla="*/ 16 w 16"/>
                  <a:gd name="T37" fmla="*/ 8 h 39"/>
                  <a:gd name="T38" fmla="*/ 15 w 16"/>
                  <a:gd name="T39" fmla="*/ 5 h 39"/>
                  <a:gd name="T40" fmla="*/ 13 w 16"/>
                  <a:gd name="T41" fmla="*/ 3 h 39"/>
                  <a:gd name="T42" fmla="*/ 11 w 16"/>
                  <a:gd name="T43" fmla="*/ 1 h 39"/>
                  <a:gd name="T44" fmla="*/ 8 w 16"/>
                  <a:gd name="T45" fmla="*/ 0 h 39"/>
                  <a:gd name="T46" fmla="*/ 8 w 16"/>
                  <a:gd name="T4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0"/>
                    </a:moveTo>
                    <a:lnTo>
                      <a:pt x="8" y="0"/>
                    </a:lnTo>
                    <a:lnTo>
                      <a:pt x="4" y="1"/>
                    </a:lnTo>
                    <a:lnTo>
                      <a:pt x="1" y="3"/>
                    </a:lnTo>
                    <a:lnTo>
                      <a:pt x="0" y="5"/>
                    </a:lnTo>
                    <a:lnTo>
                      <a:pt x="0" y="8"/>
                    </a:lnTo>
                    <a:lnTo>
                      <a:pt x="0" y="31"/>
                    </a:lnTo>
                    <a:lnTo>
                      <a:pt x="0" y="31"/>
                    </a:lnTo>
                    <a:lnTo>
                      <a:pt x="0" y="34"/>
                    </a:lnTo>
                    <a:lnTo>
                      <a:pt x="1" y="36"/>
                    </a:lnTo>
                    <a:lnTo>
                      <a:pt x="4" y="38"/>
                    </a:lnTo>
                    <a:lnTo>
                      <a:pt x="8" y="39"/>
                    </a:lnTo>
                    <a:lnTo>
                      <a:pt x="8" y="39"/>
                    </a:lnTo>
                    <a:lnTo>
                      <a:pt x="11" y="38"/>
                    </a:lnTo>
                    <a:lnTo>
                      <a:pt x="13" y="36"/>
                    </a:lnTo>
                    <a:lnTo>
                      <a:pt x="15" y="34"/>
                    </a:lnTo>
                    <a:lnTo>
                      <a:pt x="16" y="31"/>
                    </a:lnTo>
                    <a:lnTo>
                      <a:pt x="16" y="8"/>
                    </a:lnTo>
                    <a:lnTo>
                      <a:pt x="16" y="8"/>
                    </a:lnTo>
                    <a:lnTo>
                      <a:pt x="15" y="5"/>
                    </a:lnTo>
                    <a:lnTo>
                      <a:pt x="13" y="3"/>
                    </a:lnTo>
                    <a:lnTo>
                      <a:pt x="11"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01" name="Freeform 212">
                <a:extLst>
                  <a:ext uri="{FF2B5EF4-FFF2-40B4-BE49-F238E27FC236}">
                    <a16:creationId xmlns:a16="http://schemas.microsoft.com/office/drawing/2014/main" id="{5C10D3D6-41E4-84BF-4A91-7068E946CCC7}"/>
                  </a:ext>
                </a:extLst>
              </p:cNvPr>
              <p:cNvSpPr>
                <a:spLocks/>
              </p:cNvSpPr>
              <p:nvPr/>
            </p:nvSpPr>
            <p:spPr bwMode="auto">
              <a:xfrm>
                <a:off x="11295063" y="3524250"/>
                <a:ext cx="33338" cy="28575"/>
              </a:xfrm>
              <a:custGeom>
                <a:avLst/>
                <a:gdLst>
                  <a:gd name="T0" fmla="*/ 32 w 40"/>
                  <a:gd name="T1" fmla="*/ 0 h 38"/>
                  <a:gd name="T2" fmla="*/ 11 w 40"/>
                  <a:gd name="T3" fmla="*/ 0 h 38"/>
                  <a:gd name="T4" fmla="*/ 11 w 40"/>
                  <a:gd name="T5" fmla="*/ 0 h 38"/>
                  <a:gd name="T6" fmla="*/ 9 w 40"/>
                  <a:gd name="T7" fmla="*/ 0 h 38"/>
                  <a:gd name="T8" fmla="*/ 9 w 40"/>
                  <a:gd name="T9" fmla="*/ 0 h 38"/>
                  <a:gd name="T10" fmla="*/ 8 w 40"/>
                  <a:gd name="T11" fmla="*/ 0 h 38"/>
                  <a:gd name="T12" fmla="*/ 8 w 40"/>
                  <a:gd name="T13" fmla="*/ 0 h 38"/>
                  <a:gd name="T14" fmla="*/ 5 w 40"/>
                  <a:gd name="T15" fmla="*/ 0 h 38"/>
                  <a:gd name="T16" fmla="*/ 3 w 40"/>
                  <a:gd name="T17" fmla="*/ 1 h 38"/>
                  <a:gd name="T18" fmla="*/ 1 w 40"/>
                  <a:gd name="T19" fmla="*/ 4 h 38"/>
                  <a:gd name="T20" fmla="*/ 0 w 40"/>
                  <a:gd name="T21" fmla="*/ 8 h 38"/>
                  <a:gd name="T22" fmla="*/ 0 w 40"/>
                  <a:gd name="T23" fmla="*/ 30 h 38"/>
                  <a:gd name="T24" fmla="*/ 0 w 40"/>
                  <a:gd name="T25" fmla="*/ 30 h 38"/>
                  <a:gd name="T26" fmla="*/ 1 w 40"/>
                  <a:gd name="T27" fmla="*/ 34 h 38"/>
                  <a:gd name="T28" fmla="*/ 3 w 40"/>
                  <a:gd name="T29" fmla="*/ 36 h 38"/>
                  <a:gd name="T30" fmla="*/ 5 w 40"/>
                  <a:gd name="T31" fmla="*/ 38 h 38"/>
                  <a:gd name="T32" fmla="*/ 8 w 40"/>
                  <a:gd name="T33" fmla="*/ 38 h 38"/>
                  <a:gd name="T34" fmla="*/ 8 w 40"/>
                  <a:gd name="T35" fmla="*/ 38 h 38"/>
                  <a:gd name="T36" fmla="*/ 12 w 40"/>
                  <a:gd name="T37" fmla="*/ 38 h 38"/>
                  <a:gd name="T38" fmla="*/ 15 w 40"/>
                  <a:gd name="T39" fmla="*/ 36 h 38"/>
                  <a:gd name="T40" fmla="*/ 16 w 40"/>
                  <a:gd name="T41" fmla="*/ 34 h 38"/>
                  <a:gd name="T42" fmla="*/ 16 w 40"/>
                  <a:gd name="T43" fmla="*/ 30 h 38"/>
                  <a:gd name="T44" fmla="*/ 16 w 40"/>
                  <a:gd name="T45" fmla="*/ 16 h 38"/>
                  <a:gd name="T46" fmla="*/ 32 w 40"/>
                  <a:gd name="T47" fmla="*/ 16 h 38"/>
                  <a:gd name="T48" fmla="*/ 32 w 40"/>
                  <a:gd name="T49" fmla="*/ 16 h 38"/>
                  <a:gd name="T50" fmla="*/ 35 w 40"/>
                  <a:gd name="T51" fmla="*/ 15 h 38"/>
                  <a:gd name="T52" fmla="*/ 38 w 40"/>
                  <a:gd name="T53" fmla="*/ 13 h 38"/>
                  <a:gd name="T54" fmla="*/ 40 w 40"/>
                  <a:gd name="T55" fmla="*/ 11 h 38"/>
                  <a:gd name="T56" fmla="*/ 40 w 40"/>
                  <a:gd name="T57" fmla="*/ 8 h 38"/>
                  <a:gd name="T58" fmla="*/ 40 w 40"/>
                  <a:gd name="T59" fmla="*/ 8 h 38"/>
                  <a:gd name="T60" fmla="*/ 40 w 40"/>
                  <a:gd name="T61" fmla="*/ 4 h 38"/>
                  <a:gd name="T62" fmla="*/ 38 w 40"/>
                  <a:gd name="T63" fmla="*/ 1 h 38"/>
                  <a:gd name="T64" fmla="*/ 35 w 40"/>
                  <a:gd name="T65" fmla="*/ 0 h 38"/>
                  <a:gd name="T66" fmla="*/ 32 w 40"/>
                  <a:gd name="T67" fmla="*/ 0 h 38"/>
                  <a:gd name="T68" fmla="*/ 32 w 40"/>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8">
                    <a:moveTo>
                      <a:pt x="32" y="0"/>
                    </a:moveTo>
                    <a:lnTo>
                      <a:pt x="11" y="0"/>
                    </a:lnTo>
                    <a:lnTo>
                      <a:pt x="11" y="0"/>
                    </a:lnTo>
                    <a:lnTo>
                      <a:pt x="9" y="0"/>
                    </a:lnTo>
                    <a:lnTo>
                      <a:pt x="9" y="0"/>
                    </a:lnTo>
                    <a:lnTo>
                      <a:pt x="8" y="0"/>
                    </a:lnTo>
                    <a:lnTo>
                      <a:pt x="8" y="0"/>
                    </a:lnTo>
                    <a:lnTo>
                      <a:pt x="5" y="0"/>
                    </a:lnTo>
                    <a:lnTo>
                      <a:pt x="3" y="1"/>
                    </a:lnTo>
                    <a:lnTo>
                      <a:pt x="1" y="4"/>
                    </a:lnTo>
                    <a:lnTo>
                      <a:pt x="0" y="8"/>
                    </a:lnTo>
                    <a:lnTo>
                      <a:pt x="0" y="30"/>
                    </a:lnTo>
                    <a:lnTo>
                      <a:pt x="0" y="30"/>
                    </a:lnTo>
                    <a:lnTo>
                      <a:pt x="1" y="34"/>
                    </a:lnTo>
                    <a:lnTo>
                      <a:pt x="3" y="36"/>
                    </a:lnTo>
                    <a:lnTo>
                      <a:pt x="5" y="38"/>
                    </a:lnTo>
                    <a:lnTo>
                      <a:pt x="8" y="38"/>
                    </a:lnTo>
                    <a:lnTo>
                      <a:pt x="8" y="38"/>
                    </a:lnTo>
                    <a:lnTo>
                      <a:pt x="12" y="38"/>
                    </a:lnTo>
                    <a:lnTo>
                      <a:pt x="15" y="36"/>
                    </a:lnTo>
                    <a:lnTo>
                      <a:pt x="16" y="34"/>
                    </a:lnTo>
                    <a:lnTo>
                      <a:pt x="16" y="30"/>
                    </a:lnTo>
                    <a:lnTo>
                      <a:pt x="16" y="16"/>
                    </a:lnTo>
                    <a:lnTo>
                      <a:pt x="32" y="16"/>
                    </a:lnTo>
                    <a:lnTo>
                      <a:pt x="32" y="16"/>
                    </a:lnTo>
                    <a:lnTo>
                      <a:pt x="35" y="15"/>
                    </a:lnTo>
                    <a:lnTo>
                      <a:pt x="38" y="13"/>
                    </a:lnTo>
                    <a:lnTo>
                      <a:pt x="40" y="11"/>
                    </a:lnTo>
                    <a:lnTo>
                      <a:pt x="40" y="8"/>
                    </a:lnTo>
                    <a:lnTo>
                      <a:pt x="40" y="8"/>
                    </a:lnTo>
                    <a:lnTo>
                      <a:pt x="40" y="4"/>
                    </a:lnTo>
                    <a:lnTo>
                      <a:pt x="38" y="1"/>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grpSp>
      </p:grpSp>
      <p:grpSp>
        <p:nvGrpSpPr>
          <p:cNvPr id="102" name="Group 101">
            <a:extLst>
              <a:ext uri="{FF2B5EF4-FFF2-40B4-BE49-F238E27FC236}">
                <a16:creationId xmlns:a16="http://schemas.microsoft.com/office/drawing/2014/main" id="{B27245F2-F255-AF4E-68D6-6CB7FE24FFAC}"/>
              </a:ext>
            </a:extLst>
          </p:cNvPr>
          <p:cNvGrpSpPr>
            <a:grpSpLocks noChangeAspect="1"/>
          </p:cNvGrpSpPr>
          <p:nvPr/>
        </p:nvGrpSpPr>
        <p:grpSpPr>
          <a:xfrm>
            <a:off x="9378741" y="2151114"/>
            <a:ext cx="548640" cy="548640"/>
            <a:chOff x="6501456" y="1029344"/>
            <a:chExt cx="522807" cy="520700"/>
          </a:xfrm>
        </p:grpSpPr>
        <p:sp>
          <p:nvSpPr>
            <p:cNvPr id="103" name="Oval 102">
              <a:extLst>
                <a:ext uri="{FF2B5EF4-FFF2-40B4-BE49-F238E27FC236}">
                  <a16:creationId xmlns:a16="http://schemas.microsoft.com/office/drawing/2014/main" id="{4D525C12-0C92-B3C6-11F6-CD6B043DE3C6}"/>
                </a:ext>
              </a:extLst>
            </p:cNvPr>
            <p:cNvSpPr/>
            <p:nvPr/>
          </p:nvSpPr>
          <p:spPr>
            <a:xfrm>
              <a:off x="6501456" y="1066216"/>
              <a:ext cx="499383" cy="436825"/>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FFFFFF"/>
                </a:solidFill>
                <a:effectLst/>
                <a:uLnTx/>
                <a:uFillTx/>
                <a:latin typeface="Open Sans"/>
                <a:ea typeface="+mn-ea"/>
                <a:cs typeface="+mn-cs"/>
              </a:endParaRPr>
            </a:p>
          </p:txBody>
        </p:sp>
        <p:grpSp>
          <p:nvGrpSpPr>
            <p:cNvPr id="104" name="Group 103">
              <a:extLst>
                <a:ext uri="{FF2B5EF4-FFF2-40B4-BE49-F238E27FC236}">
                  <a16:creationId xmlns:a16="http://schemas.microsoft.com/office/drawing/2014/main" id="{24F6CB6B-E4BC-ABD2-EC9C-87EE303E7075}"/>
                </a:ext>
              </a:extLst>
            </p:cNvPr>
            <p:cNvGrpSpPr>
              <a:grpSpLocks noChangeAspect="1"/>
            </p:cNvGrpSpPr>
            <p:nvPr/>
          </p:nvGrpSpPr>
          <p:grpSpPr>
            <a:xfrm>
              <a:off x="6501975" y="1029344"/>
              <a:ext cx="522288" cy="520700"/>
              <a:chOff x="2328863" y="2627483"/>
              <a:chExt cx="522288" cy="520700"/>
            </a:xfrm>
          </p:grpSpPr>
          <p:sp>
            <p:nvSpPr>
              <p:cNvPr id="105" name="Freeform 21">
                <a:extLst>
                  <a:ext uri="{FF2B5EF4-FFF2-40B4-BE49-F238E27FC236}">
                    <a16:creationId xmlns:a16="http://schemas.microsoft.com/office/drawing/2014/main" id="{E0BF6F92-0519-E574-3929-B4B66087BED0}"/>
                  </a:ext>
                </a:extLst>
              </p:cNvPr>
              <p:cNvSpPr>
                <a:spLocks noEditPoints="1"/>
              </p:cNvSpPr>
              <p:nvPr/>
            </p:nvSpPr>
            <p:spPr bwMode="auto">
              <a:xfrm>
                <a:off x="2328863" y="262748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9 h 657"/>
                  <a:gd name="T16" fmla="*/ 1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11 h 657"/>
                  <a:gd name="T28" fmla="*/ 295 w 658"/>
                  <a:gd name="T29" fmla="*/ 2 h 657"/>
                  <a:gd name="T30" fmla="*/ 329 w 658"/>
                  <a:gd name="T31" fmla="*/ 0 h 657"/>
                  <a:gd name="T32" fmla="*/ 378 w 658"/>
                  <a:gd name="T33" fmla="*/ 4 h 657"/>
                  <a:gd name="T34" fmla="*/ 427 w 658"/>
                  <a:gd name="T35" fmla="*/ 15 h 657"/>
                  <a:gd name="T36" fmla="*/ 513 w 658"/>
                  <a:gd name="T37" fmla="*/ 57 h 657"/>
                  <a:gd name="T38" fmla="*/ 582 w 658"/>
                  <a:gd name="T39" fmla="*/ 120 h 657"/>
                  <a:gd name="T40" fmla="*/ 631 w 658"/>
                  <a:gd name="T41" fmla="*/ 200 h 657"/>
                  <a:gd name="T42" fmla="*/ 651 w 658"/>
                  <a:gd name="T43" fmla="*/ 262 h 657"/>
                  <a:gd name="T44" fmla="*/ 656 w 658"/>
                  <a:gd name="T45" fmla="*/ 312 h 657"/>
                  <a:gd name="T46" fmla="*/ 656 w 658"/>
                  <a:gd name="T47" fmla="*/ 345 h 657"/>
                  <a:gd name="T48" fmla="*/ 651 w 658"/>
                  <a:gd name="T49" fmla="*/ 395 h 657"/>
                  <a:gd name="T50" fmla="*/ 631 w 658"/>
                  <a:gd name="T51" fmla="*/ 457 h 657"/>
                  <a:gd name="T52" fmla="*/ 582 w 658"/>
                  <a:gd name="T53" fmla="*/ 537 h 657"/>
                  <a:gd name="T54" fmla="*/ 513 w 658"/>
                  <a:gd name="T55" fmla="*/ 600 h 657"/>
                  <a:gd name="T56" fmla="*/ 427 w 658"/>
                  <a:gd name="T57" fmla="*/ 642 h 657"/>
                  <a:gd name="T58" fmla="*/ 378 w 658"/>
                  <a:gd name="T59" fmla="*/ 654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0 w 658"/>
                  <a:gd name="T71" fmla="*/ 215 h 657"/>
                  <a:gd name="T72" fmla="*/ 39 w 658"/>
                  <a:gd name="T73" fmla="*/ 298 h 657"/>
                  <a:gd name="T74" fmla="*/ 39 w 658"/>
                  <a:gd name="T75" fmla="*/ 359 h 657"/>
                  <a:gd name="T76" fmla="*/ 60 w 658"/>
                  <a:gd name="T77" fmla="*/ 442 h 657"/>
                  <a:gd name="T78" fmla="*/ 104 w 658"/>
                  <a:gd name="T79" fmla="*/ 513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3 w 658"/>
                  <a:gd name="T95" fmla="*/ 387 h 657"/>
                  <a:gd name="T96" fmla="*/ 620 w 658"/>
                  <a:gd name="T97" fmla="*/ 329 h 657"/>
                  <a:gd name="T98" fmla="*/ 607 w 658"/>
                  <a:gd name="T99" fmla="*/ 242 h 657"/>
                  <a:gd name="T100" fmla="*/ 570 w 658"/>
                  <a:gd name="T101" fmla="*/ 165 h 657"/>
                  <a:gd name="T102" fmla="*/ 514 w 658"/>
                  <a:gd name="T103" fmla="*/ 104 h 657"/>
                  <a:gd name="T104" fmla="*/ 441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4"/>
                    </a:lnTo>
                    <a:lnTo>
                      <a:pt x="263" y="650"/>
                    </a:lnTo>
                    <a:lnTo>
                      <a:pt x="247" y="647"/>
                    </a:lnTo>
                    <a:lnTo>
                      <a:pt x="231" y="642"/>
                    </a:lnTo>
                    <a:lnTo>
                      <a:pt x="201" y="631"/>
                    </a:lnTo>
                    <a:lnTo>
                      <a:pt x="172" y="618"/>
                    </a:lnTo>
                    <a:lnTo>
                      <a:pt x="145" y="600"/>
                    </a:lnTo>
                    <a:lnTo>
                      <a:pt x="119" y="582"/>
                    </a:lnTo>
                    <a:lnTo>
                      <a:pt x="96" y="561"/>
                    </a:lnTo>
                    <a:lnTo>
                      <a:pt x="75" y="537"/>
                    </a:lnTo>
                    <a:lnTo>
                      <a:pt x="56" y="512"/>
                    </a:lnTo>
                    <a:lnTo>
                      <a:pt x="40" y="485"/>
                    </a:lnTo>
                    <a:lnTo>
                      <a:pt x="25" y="457"/>
                    </a:lnTo>
                    <a:lnTo>
                      <a:pt x="14" y="426"/>
                    </a:lnTo>
                    <a:lnTo>
                      <a:pt x="10" y="411"/>
                    </a:lnTo>
                    <a:lnTo>
                      <a:pt x="6" y="395"/>
                    </a:lnTo>
                    <a:lnTo>
                      <a:pt x="4" y="379"/>
                    </a:lnTo>
                    <a:lnTo>
                      <a:pt x="1" y="363"/>
                    </a:lnTo>
                    <a:lnTo>
                      <a:pt x="0" y="345"/>
                    </a:lnTo>
                    <a:lnTo>
                      <a:pt x="0" y="329"/>
                    </a:lnTo>
                    <a:lnTo>
                      <a:pt x="0" y="329"/>
                    </a:lnTo>
                    <a:lnTo>
                      <a:pt x="0" y="312"/>
                    </a:lnTo>
                    <a:lnTo>
                      <a:pt x="1" y="296"/>
                    </a:lnTo>
                    <a:lnTo>
                      <a:pt x="4" y="278"/>
                    </a:lnTo>
                    <a:lnTo>
                      <a:pt x="6" y="262"/>
                    </a:lnTo>
                    <a:lnTo>
                      <a:pt x="10" y="246"/>
                    </a:lnTo>
                    <a:lnTo>
                      <a:pt x="14" y="231"/>
                    </a:lnTo>
                    <a:lnTo>
                      <a:pt x="25" y="200"/>
                    </a:lnTo>
                    <a:lnTo>
                      <a:pt x="40" y="172"/>
                    </a:lnTo>
                    <a:lnTo>
                      <a:pt x="56" y="145"/>
                    </a:lnTo>
                    <a:lnTo>
                      <a:pt x="75" y="120"/>
                    </a:lnTo>
                    <a:lnTo>
                      <a:pt x="96" y="97"/>
                    </a:lnTo>
                    <a:lnTo>
                      <a:pt x="119" y="75"/>
                    </a:lnTo>
                    <a:lnTo>
                      <a:pt x="145" y="57"/>
                    </a:lnTo>
                    <a:lnTo>
                      <a:pt x="172" y="39"/>
                    </a:lnTo>
                    <a:lnTo>
                      <a:pt x="201" y="26"/>
                    </a:lnTo>
                    <a:lnTo>
                      <a:pt x="231" y="15"/>
                    </a:lnTo>
                    <a:lnTo>
                      <a:pt x="247" y="11"/>
                    </a:lnTo>
                    <a:lnTo>
                      <a:pt x="263" y="7"/>
                    </a:lnTo>
                    <a:lnTo>
                      <a:pt x="279" y="4"/>
                    </a:lnTo>
                    <a:lnTo>
                      <a:pt x="295" y="2"/>
                    </a:lnTo>
                    <a:lnTo>
                      <a:pt x="311" y="0"/>
                    </a:lnTo>
                    <a:lnTo>
                      <a:pt x="329" y="0"/>
                    </a:lnTo>
                    <a:lnTo>
                      <a:pt x="329" y="0"/>
                    </a:lnTo>
                    <a:lnTo>
                      <a:pt x="346" y="0"/>
                    </a:lnTo>
                    <a:lnTo>
                      <a:pt x="362" y="2"/>
                    </a:lnTo>
                    <a:lnTo>
                      <a:pt x="378" y="4"/>
                    </a:lnTo>
                    <a:lnTo>
                      <a:pt x="394" y="7"/>
                    </a:lnTo>
                    <a:lnTo>
                      <a:pt x="411" y="11"/>
                    </a:lnTo>
                    <a:lnTo>
                      <a:pt x="427" y="15"/>
                    </a:lnTo>
                    <a:lnTo>
                      <a:pt x="456" y="26"/>
                    </a:lnTo>
                    <a:lnTo>
                      <a:pt x="486" y="39"/>
                    </a:lnTo>
                    <a:lnTo>
                      <a:pt x="513" y="57"/>
                    </a:lnTo>
                    <a:lnTo>
                      <a:pt x="538" y="75"/>
                    </a:lnTo>
                    <a:lnTo>
                      <a:pt x="561" y="97"/>
                    </a:lnTo>
                    <a:lnTo>
                      <a:pt x="582" y="120"/>
                    </a:lnTo>
                    <a:lnTo>
                      <a:pt x="601" y="145"/>
                    </a:lnTo>
                    <a:lnTo>
                      <a:pt x="617" y="172"/>
                    </a:lnTo>
                    <a:lnTo>
                      <a:pt x="631" y="200"/>
                    </a:lnTo>
                    <a:lnTo>
                      <a:pt x="643" y="231"/>
                    </a:lnTo>
                    <a:lnTo>
                      <a:pt x="647" y="246"/>
                    </a:lnTo>
                    <a:lnTo>
                      <a:pt x="651" y="262"/>
                    </a:lnTo>
                    <a:lnTo>
                      <a:pt x="654" y="278"/>
                    </a:lnTo>
                    <a:lnTo>
                      <a:pt x="655" y="296"/>
                    </a:lnTo>
                    <a:lnTo>
                      <a:pt x="656" y="312"/>
                    </a:lnTo>
                    <a:lnTo>
                      <a:pt x="658" y="329"/>
                    </a:lnTo>
                    <a:lnTo>
                      <a:pt x="658" y="329"/>
                    </a:lnTo>
                    <a:lnTo>
                      <a:pt x="656" y="345"/>
                    </a:lnTo>
                    <a:lnTo>
                      <a:pt x="655" y="363"/>
                    </a:lnTo>
                    <a:lnTo>
                      <a:pt x="654" y="379"/>
                    </a:lnTo>
                    <a:lnTo>
                      <a:pt x="651" y="395"/>
                    </a:lnTo>
                    <a:lnTo>
                      <a:pt x="647" y="411"/>
                    </a:lnTo>
                    <a:lnTo>
                      <a:pt x="643" y="426"/>
                    </a:lnTo>
                    <a:lnTo>
                      <a:pt x="631" y="457"/>
                    </a:lnTo>
                    <a:lnTo>
                      <a:pt x="617" y="485"/>
                    </a:lnTo>
                    <a:lnTo>
                      <a:pt x="601" y="512"/>
                    </a:lnTo>
                    <a:lnTo>
                      <a:pt x="582" y="537"/>
                    </a:lnTo>
                    <a:lnTo>
                      <a:pt x="561" y="561"/>
                    </a:lnTo>
                    <a:lnTo>
                      <a:pt x="538" y="582"/>
                    </a:lnTo>
                    <a:lnTo>
                      <a:pt x="513" y="600"/>
                    </a:lnTo>
                    <a:lnTo>
                      <a:pt x="486" y="618"/>
                    </a:lnTo>
                    <a:lnTo>
                      <a:pt x="456" y="631"/>
                    </a:lnTo>
                    <a:lnTo>
                      <a:pt x="427" y="642"/>
                    </a:lnTo>
                    <a:lnTo>
                      <a:pt x="411" y="647"/>
                    </a:lnTo>
                    <a:lnTo>
                      <a:pt x="394" y="650"/>
                    </a:lnTo>
                    <a:lnTo>
                      <a:pt x="378" y="654"/>
                    </a:lnTo>
                    <a:lnTo>
                      <a:pt x="362" y="655"/>
                    </a:lnTo>
                    <a:lnTo>
                      <a:pt x="346" y="657"/>
                    </a:lnTo>
                    <a:lnTo>
                      <a:pt x="329" y="657"/>
                    </a:lnTo>
                    <a:lnTo>
                      <a:pt x="329" y="657"/>
                    </a:lnTo>
                    <a:close/>
                    <a:moveTo>
                      <a:pt x="329" y="38"/>
                    </a:moveTo>
                    <a:lnTo>
                      <a:pt x="329" y="38"/>
                    </a:lnTo>
                    <a:lnTo>
                      <a:pt x="299" y="39"/>
                    </a:lnTo>
                    <a:lnTo>
                      <a:pt x="270" y="43"/>
                    </a:lnTo>
                    <a:lnTo>
                      <a:pt x="243" y="51"/>
                    </a:lnTo>
                    <a:lnTo>
                      <a:pt x="216" y="61"/>
                    </a:lnTo>
                    <a:lnTo>
                      <a:pt x="190" y="73"/>
                    </a:lnTo>
                    <a:lnTo>
                      <a:pt x="166" y="87"/>
                    </a:lnTo>
                    <a:lnTo>
                      <a:pt x="143" y="104"/>
                    </a:lnTo>
                    <a:lnTo>
                      <a:pt x="123" y="122"/>
                    </a:lnTo>
                    <a:lnTo>
                      <a:pt x="104" y="144"/>
                    </a:lnTo>
                    <a:lnTo>
                      <a:pt x="87" y="165"/>
                    </a:lnTo>
                    <a:lnTo>
                      <a:pt x="72" y="190"/>
                    </a:lnTo>
                    <a:lnTo>
                      <a:pt x="60" y="215"/>
                    </a:lnTo>
                    <a:lnTo>
                      <a:pt x="51" y="242"/>
                    </a:lnTo>
                    <a:lnTo>
                      <a:pt x="44" y="270"/>
                    </a:lnTo>
                    <a:lnTo>
                      <a:pt x="39" y="298"/>
                    </a:lnTo>
                    <a:lnTo>
                      <a:pt x="37" y="329"/>
                    </a:lnTo>
                    <a:lnTo>
                      <a:pt x="37" y="329"/>
                    </a:lnTo>
                    <a:lnTo>
                      <a:pt x="39" y="359"/>
                    </a:lnTo>
                    <a:lnTo>
                      <a:pt x="44" y="387"/>
                    </a:lnTo>
                    <a:lnTo>
                      <a:pt x="51" y="415"/>
                    </a:lnTo>
                    <a:lnTo>
                      <a:pt x="60" y="442"/>
                    </a:lnTo>
                    <a:lnTo>
                      <a:pt x="72" y="467"/>
                    </a:lnTo>
                    <a:lnTo>
                      <a:pt x="87" y="492"/>
                    </a:lnTo>
                    <a:lnTo>
                      <a:pt x="104" y="513"/>
                    </a:lnTo>
                    <a:lnTo>
                      <a:pt x="123" y="535"/>
                    </a:lnTo>
                    <a:lnTo>
                      <a:pt x="143" y="553"/>
                    </a:lnTo>
                    <a:lnTo>
                      <a:pt x="166" y="569"/>
                    </a:lnTo>
                    <a:lnTo>
                      <a:pt x="190" y="584"/>
                    </a:lnTo>
                    <a:lnTo>
                      <a:pt x="216" y="596"/>
                    </a:lnTo>
                    <a:lnTo>
                      <a:pt x="243" y="607"/>
                    </a:lnTo>
                    <a:lnTo>
                      <a:pt x="270" y="614"/>
                    </a:lnTo>
                    <a:lnTo>
                      <a:pt x="299" y="618"/>
                    </a:lnTo>
                    <a:lnTo>
                      <a:pt x="329" y="619"/>
                    </a:lnTo>
                    <a:lnTo>
                      <a:pt x="329" y="619"/>
                    </a:lnTo>
                    <a:lnTo>
                      <a:pt x="358" y="618"/>
                    </a:lnTo>
                    <a:lnTo>
                      <a:pt x="388" y="614"/>
                    </a:lnTo>
                    <a:lnTo>
                      <a:pt x="415" y="607"/>
                    </a:lnTo>
                    <a:lnTo>
                      <a:pt x="441" y="596"/>
                    </a:lnTo>
                    <a:lnTo>
                      <a:pt x="467" y="584"/>
                    </a:lnTo>
                    <a:lnTo>
                      <a:pt x="491" y="569"/>
                    </a:lnTo>
                    <a:lnTo>
                      <a:pt x="514" y="553"/>
                    </a:lnTo>
                    <a:lnTo>
                      <a:pt x="534" y="535"/>
                    </a:lnTo>
                    <a:lnTo>
                      <a:pt x="553" y="513"/>
                    </a:lnTo>
                    <a:lnTo>
                      <a:pt x="570" y="492"/>
                    </a:lnTo>
                    <a:lnTo>
                      <a:pt x="585" y="467"/>
                    </a:lnTo>
                    <a:lnTo>
                      <a:pt x="597" y="442"/>
                    </a:lnTo>
                    <a:lnTo>
                      <a:pt x="607" y="415"/>
                    </a:lnTo>
                    <a:lnTo>
                      <a:pt x="613" y="387"/>
                    </a:lnTo>
                    <a:lnTo>
                      <a:pt x="619" y="359"/>
                    </a:lnTo>
                    <a:lnTo>
                      <a:pt x="620" y="329"/>
                    </a:lnTo>
                    <a:lnTo>
                      <a:pt x="620" y="329"/>
                    </a:lnTo>
                    <a:lnTo>
                      <a:pt x="619" y="298"/>
                    </a:lnTo>
                    <a:lnTo>
                      <a:pt x="613" y="270"/>
                    </a:lnTo>
                    <a:lnTo>
                      <a:pt x="607" y="242"/>
                    </a:lnTo>
                    <a:lnTo>
                      <a:pt x="597" y="215"/>
                    </a:lnTo>
                    <a:lnTo>
                      <a:pt x="585" y="190"/>
                    </a:lnTo>
                    <a:lnTo>
                      <a:pt x="570" y="165"/>
                    </a:lnTo>
                    <a:lnTo>
                      <a:pt x="553" y="144"/>
                    </a:lnTo>
                    <a:lnTo>
                      <a:pt x="534" y="122"/>
                    </a:lnTo>
                    <a:lnTo>
                      <a:pt x="514" y="104"/>
                    </a:lnTo>
                    <a:lnTo>
                      <a:pt x="491" y="87"/>
                    </a:lnTo>
                    <a:lnTo>
                      <a:pt x="467" y="73"/>
                    </a:lnTo>
                    <a:lnTo>
                      <a:pt x="441" y="61"/>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sp>
            <p:nvSpPr>
              <p:cNvPr id="106" name="Freeform 136">
                <a:extLst>
                  <a:ext uri="{FF2B5EF4-FFF2-40B4-BE49-F238E27FC236}">
                    <a16:creationId xmlns:a16="http://schemas.microsoft.com/office/drawing/2014/main" id="{164F10E2-2473-F006-F245-AB17F7860B80}"/>
                  </a:ext>
                </a:extLst>
              </p:cNvPr>
              <p:cNvSpPr>
                <a:spLocks noEditPoints="1"/>
              </p:cNvSpPr>
              <p:nvPr/>
            </p:nvSpPr>
            <p:spPr bwMode="auto">
              <a:xfrm>
                <a:off x="2503488" y="2733845"/>
                <a:ext cx="173038" cy="307975"/>
              </a:xfrm>
              <a:custGeom>
                <a:avLst/>
                <a:gdLst>
                  <a:gd name="T0" fmla="*/ 217 w 217"/>
                  <a:gd name="T1" fmla="*/ 11 h 388"/>
                  <a:gd name="T2" fmla="*/ 211 w 217"/>
                  <a:gd name="T3" fmla="*/ 2 h 388"/>
                  <a:gd name="T4" fmla="*/ 203 w 217"/>
                  <a:gd name="T5" fmla="*/ 2 h 388"/>
                  <a:gd name="T6" fmla="*/ 196 w 217"/>
                  <a:gd name="T7" fmla="*/ 11 h 388"/>
                  <a:gd name="T8" fmla="*/ 21 w 217"/>
                  <a:gd name="T9" fmla="*/ 11 h 388"/>
                  <a:gd name="T10" fmla="*/ 19 w 217"/>
                  <a:gd name="T11" fmla="*/ 4 h 388"/>
                  <a:gd name="T12" fmla="*/ 11 w 217"/>
                  <a:gd name="T13" fmla="*/ 0 h 388"/>
                  <a:gd name="T14" fmla="*/ 1 w 217"/>
                  <a:gd name="T15" fmla="*/ 7 h 388"/>
                  <a:gd name="T16" fmla="*/ 0 w 217"/>
                  <a:gd name="T17" fmla="*/ 73 h 388"/>
                  <a:gd name="T18" fmla="*/ 4 w 217"/>
                  <a:gd name="T19" fmla="*/ 102 h 388"/>
                  <a:gd name="T20" fmla="*/ 16 w 217"/>
                  <a:gd name="T21" fmla="*/ 128 h 388"/>
                  <a:gd name="T22" fmla="*/ 55 w 217"/>
                  <a:gd name="T23" fmla="*/ 170 h 388"/>
                  <a:gd name="T24" fmla="*/ 90 w 217"/>
                  <a:gd name="T25" fmla="*/ 195 h 388"/>
                  <a:gd name="T26" fmla="*/ 39 w 217"/>
                  <a:gd name="T27" fmla="*/ 233 h 388"/>
                  <a:gd name="T28" fmla="*/ 11 w 217"/>
                  <a:gd name="T29" fmla="*/ 270 h 388"/>
                  <a:gd name="T30" fmla="*/ 3 w 217"/>
                  <a:gd name="T31" fmla="*/ 296 h 388"/>
                  <a:gd name="T32" fmla="*/ 0 w 217"/>
                  <a:gd name="T33" fmla="*/ 378 h 388"/>
                  <a:gd name="T34" fmla="*/ 4 w 217"/>
                  <a:gd name="T35" fmla="*/ 386 h 388"/>
                  <a:gd name="T36" fmla="*/ 11 w 217"/>
                  <a:gd name="T37" fmla="*/ 388 h 388"/>
                  <a:gd name="T38" fmla="*/ 21 w 217"/>
                  <a:gd name="T39" fmla="*/ 382 h 388"/>
                  <a:gd name="T40" fmla="*/ 196 w 217"/>
                  <a:gd name="T41" fmla="*/ 340 h 388"/>
                  <a:gd name="T42" fmla="*/ 196 w 217"/>
                  <a:gd name="T43" fmla="*/ 382 h 388"/>
                  <a:gd name="T44" fmla="*/ 207 w 217"/>
                  <a:gd name="T45" fmla="*/ 388 h 388"/>
                  <a:gd name="T46" fmla="*/ 213 w 217"/>
                  <a:gd name="T47" fmla="*/ 386 h 388"/>
                  <a:gd name="T48" fmla="*/ 217 w 217"/>
                  <a:gd name="T49" fmla="*/ 317 h 388"/>
                  <a:gd name="T50" fmla="*/ 215 w 217"/>
                  <a:gd name="T51" fmla="*/ 296 h 388"/>
                  <a:gd name="T52" fmla="*/ 207 w 217"/>
                  <a:gd name="T53" fmla="*/ 270 h 388"/>
                  <a:gd name="T54" fmla="*/ 177 w 217"/>
                  <a:gd name="T55" fmla="*/ 233 h 388"/>
                  <a:gd name="T56" fmla="*/ 127 w 217"/>
                  <a:gd name="T57" fmla="*/ 195 h 388"/>
                  <a:gd name="T58" fmla="*/ 162 w 217"/>
                  <a:gd name="T59" fmla="*/ 170 h 388"/>
                  <a:gd name="T60" fmla="*/ 201 w 217"/>
                  <a:gd name="T61" fmla="*/ 128 h 388"/>
                  <a:gd name="T62" fmla="*/ 213 w 217"/>
                  <a:gd name="T63" fmla="*/ 102 h 388"/>
                  <a:gd name="T64" fmla="*/ 217 w 217"/>
                  <a:gd name="T65" fmla="*/ 73 h 388"/>
                  <a:gd name="T66" fmla="*/ 21 w 217"/>
                  <a:gd name="T67" fmla="*/ 317 h 388"/>
                  <a:gd name="T68" fmla="*/ 24 w 217"/>
                  <a:gd name="T69" fmla="*/ 297 h 388"/>
                  <a:gd name="T70" fmla="*/ 187 w 217"/>
                  <a:gd name="T71" fmla="*/ 278 h 388"/>
                  <a:gd name="T72" fmla="*/ 193 w 217"/>
                  <a:gd name="T73" fmla="*/ 297 h 388"/>
                  <a:gd name="T74" fmla="*/ 196 w 217"/>
                  <a:gd name="T75" fmla="*/ 319 h 388"/>
                  <a:gd name="T76" fmla="*/ 46 w 217"/>
                  <a:gd name="T77" fmla="*/ 257 h 388"/>
                  <a:gd name="T78" fmla="*/ 90 w 217"/>
                  <a:gd name="T79" fmla="*/ 219 h 388"/>
                  <a:gd name="T80" fmla="*/ 127 w 217"/>
                  <a:gd name="T81" fmla="*/ 219 h 388"/>
                  <a:gd name="T82" fmla="*/ 172 w 217"/>
                  <a:gd name="T83" fmla="*/ 257 h 388"/>
                  <a:gd name="T84" fmla="*/ 109 w 217"/>
                  <a:gd name="T85" fmla="*/ 182 h 388"/>
                  <a:gd name="T86" fmla="*/ 58 w 217"/>
                  <a:gd name="T87" fmla="*/ 145 h 388"/>
                  <a:gd name="T88" fmla="*/ 172 w 217"/>
                  <a:gd name="T89" fmla="*/ 132 h 388"/>
                  <a:gd name="T90" fmla="*/ 127 w 217"/>
                  <a:gd name="T91" fmla="*/ 170 h 388"/>
                  <a:gd name="T92" fmla="*/ 196 w 217"/>
                  <a:gd name="T93" fmla="*/ 72 h 388"/>
                  <a:gd name="T94" fmla="*/ 195 w 217"/>
                  <a:gd name="T95" fmla="*/ 82 h 388"/>
                  <a:gd name="T96" fmla="*/ 187 w 217"/>
                  <a:gd name="T97" fmla="*/ 111 h 388"/>
                  <a:gd name="T98" fmla="*/ 27 w 217"/>
                  <a:gd name="T99" fmla="*/ 101 h 388"/>
                  <a:gd name="T100" fmla="*/ 21 w 217"/>
                  <a:gd name="T101" fmla="*/ 7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7" h="388">
                    <a:moveTo>
                      <a:pt x="217" y="73"/>
                    </a:moveTo>
                    <a:lnTo>
                      <a:pt x="217" y="11"/>
                    </a:lnTo>
                    <a:lnTo>
                      <a:pt x="217" y="11"/>
                    </a:lnTo>
                    <a:lnTo>
                      <a:pt x="216" y="7"/>
                    </a:lnTo>
                    <a:lnTo>
                      <a:pt x="213" y="4"/>
                    </a:lnTo>
                    <a:lnTo>
                      <a:pt x="211" y="2"/>
                    </a:lnTo>
                    <a:lnTo>
                      <a:pt x="207" y="0"/>
                    </a:lnTo>
                    <a:lnTo>
                      <a:pt x="207" y="0"/>
                    </a:lnTo>
                    <a:lnTo>
                      <a:pt x="203" y="2"/>
                    </a:lnTo>
                    <a:lnTo>
                      <a:pt x="199" y="4"/>
                    </a:lnTo>
                    <a:lnTo>
                      <a:pt x="196" y="7"/>
                    </a:lnTo>
                    <a:lnTo>
                      <a:pt x="196" y="11"/>
                    </a:lnTo>
                    <a:lnTo>
                      <a:pt x="196" y="50"/>
                    </a:lnTo>
                    <a:lnTo>
                      <a:pt x="21" y="50"/>
                    </a:lnTo>
                    <a:lnTo>
                      <a:pt x="21" y="11"/>
                    </a:lnTo>
                    <a:lnTo>
                      <a:pt x="21" y="11"/>
                    </a:lnTo>
                    <a:lnTo>
                      <a:pt x="21" y="7"/>
                    </a:lnTo>
                    <a:lnTo>
                      <a:pt x="19" y="4"/>
                    </a:lnTo>
                    <a:lnTo>
                      <a:pt x="15" y="2"/>
                    </a:lnTo>
                    <a:lnTo>
                      <a:pt x="11" y="0"/>
                    </a:lnTo>
                    <a:lnTo>
                      <a:pt x="11" y="0"/>
                    </a:lnTo>
                    <a:lnTo>
                      <a:pt x="7" y="2"/>
                    </a:lnTo>
                    <a:lnTo>
                      <a:pt x="4" y="4"/>
                    </a:lnTo>
                    <a:lnTo>
                      <a:pt x="1" y="7"/>
                    </a:lnTo>
                    <a:lnTo>
                      <a:pt x="0" y="11"/>
                    </a:lnTo>
                    <a:lnTo>
                      <a:pt x="0" y="73"/>
                    </a:lnTo>
                    <a:lnTo>
                      <a:pt x="0" y="73"/>
                    </a:lnTo>
                    <a:lnTo>
                      <a:pt x="1" y="82"/>
                    </a:lnTo>
                    <a:lnTo>
                      <a:pt x="3" y="93"/>
                    </a:lnTo>
                    <a:lnTo>
                      <a:pt x="4" y="102"/>
                    </a:lnTo>
                    <a:lnTo>
                      <a:pt x="7" y="111"/>
                    </a:lnTo>
                    <a:lnTo>
                      <a:pt x="11" y="120"/>
                    </a:lnTo>
                    <a:lnTo>
                      <a:pt x="16" y="128"/>
                    </a:lnTo>
                    <a:lnTo>
                      <a:pt x="27" y="143"/>
                    </a:lnTo>
                    <a:lnTo>
                      <a:pt x="39" y="156"/>
                    </a:lnTo>
                    <a:lnTo>
                      <a:pt x="55" y="170"/>
                    </a:lnTo>
                    <a:lnTo>
                      <a:pt x="71" y="182"/>
                    </a:lnTo>
                    <a:lnTo>
                      <a:pt x="90" y="195"/>
                    </a:lnTo>
                    <a:lnTo>
                      <a:pt x="90" y="195"/>
                    </a:lnTo>
                    <a:lnTo>
                      <a:pt x="71" y="207"/>
                    </a:lnTo>
                    <a:lnTo>
                      <a:pt x="55" y="219"/>
                    </a:lnTo>
                    <a:lnTo>
                      <a:pt x="39" y="233"/>
                    </a:lnTo>
                    <a:lnTo>
                      <a:pt x="27" y="246"/>
                    </a:lnTo>
                    <a:lnTo>
                      <a:pt x="16" y="262"/>
                    </a:lnTo>
                    <a:lnTo>
                      <a:pt x="11" y="270"/>
                    </a:lnTo>
                    <a:lnTo>
                      <a:pt x="7" y="278"/>
                    </a:lnTo>
                    <a:lnTo>
                      <a:pt x="4" y="288"/>
                    </a:lnTo>
                    <a:lnTo>
                      <a:pt x="3" y="296"/>
                    </a:lnTo>
                    <a:lnTo>
                      <a:pt x="1" y="307"/>
                    </a:lnTo>
                    <a:lnTo>
                      <a:pt x="0" y="317"/>
                    </a:lnTo>
                    <a:lnTo>
                      <a:pt x="0" y="378"/>
                    </a:lnTo>
                    <a:lnTo>
                      <a:pt x="0" y="378"/>
                    </a:lnTo>
                    <a:lnTo>
                      <a:pt x="1" y="382"/>
                    </a:lnTo>
                    <a:lnTo>
                      <a:pt x="4" y="386"/>
                    </a:lnTo>
                    <a:lnTo>
                      <a:pt x="7" y="387"/>
                    </a:lnTo>
                    <a:lnTo>
                      <a:pt x="11" y="388"/>
                    </a:lnTo>
                    <a:lnTo>
                      <a:pt x="11" y="388"/>
                    </a:lnTo>
                    <a:lnTo>
                      <a:pt x="15" y="387"/>
                    </a:lnTo>
                    <a:lnTo>
                      <a:pt x="19" y="386"/>
                    </a:lnTo>
                    <a:lnTo>
                      <a:pt x="21" y="382"/>
                    </a:lnTo>
                    <a:lnTo>
                      <a:pt x="21" y="378"/>
                    </a:lnTo>
                    <a:lnTo>
                      <a:pt x="21" y="340"/>
                    </a:lnTo>
                    <a:lnTo>
                      <a:pt x="196" y="340"/>
                    </a:lnTo>
                    <a:lnTo>
                      <a:pt x="196" y="378"/>
                    </a:lnTo>
                    <a:lnTo>
                      <a:pt x="196" y="378"/>
                    </a:lnTo>
                    <a:lnTo>
                      <a:pt x="196" y="382"/>
                    </a:lnTo>
                    <a:lnTo>
                      <a:pt x="199" y="386"/>
                    </a:lnTo>
                    <a:lnTo>
                      <a:pt x="203" y="387"/>
                    </a:lnTo>
                    <a:lnTo>
                      <a:pt x="207" y="388"/>
                    </a:lnTo>
                    <a:lnTo>
                      <a:pt x="207" y="388"/>
                    </a:lnTo>
                    <a:lnTo>
                      <a:pt x="211" y="387"/>
                    </a:lnTo>
                    <a:lnTo>
                      <a:pt x="213" y="386"/>
                    </a:lnTo>
                    <a:lnTo>
                      <a:pt x="216" y="382"/>
                    </a:lnTo>
                    <a:lnTo>
                      <a:pt x="217" y="378"/>
                    </a:lnTo>
                    <a:lnTo>
                      <a:pt x="217" y="317"/>
                    </a:lnTo>
                    <a:lnTo>
                      <a:pt x="217" y="317"/>
                    </a:lnTo>
                    <a:lnTo>
                      <a:pt x="216" y="307"/>
                    </a:lnTo>
                    <a:lnTo>
                      <a:pt x="215" y="296"/>
                    </a:lnTo>
                    <a:lnTo>
                      <a:pt x="213" y="288"/>
                    </a:lnTo>
                    <a:lnTo>
                      <a:pt x="209" y="278"/>
                    </a:lnTo>
                    <a:lnTo>
                      <a:pt x="207" y="270"/>
                    </a:lnTo>
                    <a:lnTo>
                      <a:pt x="201" y="262"/>
                    </a:lnTo>
                    <a:lnTo>
                      <a:pt x="191" y="246"/>
                    </a:lnTo>
                    <a:lnTo>
                      <a:pt x="177" y="233"/>
                    </a:lnTo>
                    <a:lnTo>
                      <a:pt x="162" y="219"/>
                    </a:lnTo>
                    <a:lnTo>
                      <a:pt x="146" y="207"/>
                    </a:lnTo>
                    <a:lnTo>
                      <a:pt x="127" y="195"/>
                    </a:lnTo>
                    <a:lnTo>
                      <a:pt x="127" y="195"/>
                    </a:lnTo>
                    <a:lnTo>
                      <a:pt x="146" y="182"/>
                    </a:lnTo>
                    <a:lnTo>
                      <a:pt x="162" y="170"/>
                    </a:lnTo>
                    <a:lnTo>
                      <a:pt x="177" y="156"/>
                    </a:lnTo>
                    <a:lnTo>
                      <a:pt x="191" y="143"/>
                    </a:lnTo>
                    <a:lnTo>
                      <a:pt x="201" y="128"/>
                    </a:lnTo>
                    <a:lnTo>
                      <a:pt x="207" y="120"/>
                    </a:lnTo>
                    <a:lnTo>
                      <a:pt x="209" y="111"/>
                    </a:lnTo>
                    <a:lnTo>
                      <a:pt x="213" y="102"/>
                    </a:lnTo>
                    <a:lnTo>
                      <a:pt x="215" y="93"/>
                    </a:lnTo>
                    <a:lnTo>
                      <a:pt x="216" y="82"/>
                    </a:lnTo>
                    <a:lnTo>
                      <a:pt x="217" y="73"/>
                    </a:lnTo>
                    <a:lnTo>
                      <a:pt x="217" y="73"/>
                    </a:lnTo>
                    <a:close/>
                    <a:moveTo>
                      <a:pt x="21" y="319"/>
                    </a:moveTo>
                    <a:lnTo>
                      <a:pt x="21" y="317"/>
                    </a:lnTo>
                    <a:lnTo>
                      <a:pt x="21" y="317"/>
                    </a:lnTo>
                    <a:lnTo>
                      <a:pt x="23" y="307"/>
                    </a:lnTo>
                    <a:lnTo>
                      <a:pt x="24" y="297"/>
                    </a:lnTo>
                    <a:lnTo>
                      <a:pt x="27" y="288"/>
                    </a:lnTo>
                    <a:lnTo>
                      <a:pt x="31" y="278"/>
                    </a:lnTo>
                    <a:lnTo>
                      <a:pt x="187" y="278"/>
                    </a:lnTo>
                    <a:lnTo>
                      <a:pt x="187" y="278"/>
                    </a:lnTo>
                    <a:lnTo>
                      <a:pt x="191" y="288"/>
                    </a:lnTo>
                    <a:lnTo>
                      <a:pt x="193" y="297"/>
                    </a:lnTo>
                    <a:lnTo>
                      <a:pt x="195" y="307"/>
                    </a:lnTo>
                    <a:lnTo>
                      <a:pt x="196" y="317"/>
                    </a:lnTo>
                    <a:lnTo>
                      <a:pt x="196" y="319"/>
                    </a:lnTo>
                    <a:lnTo>
                      <a:pt x="21" y="319"/>
                    </a:lnTo>
                    <a:close/>
                    <a:moveTo>
                      <a:pt x="46" y="257"/>
                    </a:moveTo>
                    <a:lnTo>
                      <a:pt x="46" y="257"/>
                    </a:lnTo>
                    <a:lnTo>
                      <a:pt x="58" y="245"/>
                    </a:lnTo>
                    <a:lnTo>
                      <a:pt x="72" y="231"/>
                    </a:lnTo>
                    <a:lnTo>
                      <a:pt x="90" y="219"/>
                    </a:lnTo>
                    <a:lnTo>
                      <a:pt x="109" y="207"/>
                    </a:lnTo>
                    <a:lnTo>
                      <a:pt x="109" y="207"/>
                    </a:lnTo>
                    <a:lnTo>
                      <a:pt x="127" y="219"/>
                    </a:lnTo>
                    <a:lnTo>
                      <a:pt x="144" y="231"/>
                    </a:lnTo>
                    <a:lnTo>
                      <a:pt x="158" y="245"/>
                    </a:lnTo>
                    <a:lnTo>
                      <a:pt x="172" y="257"/>
                    </a:lnTo>
                    <a:lnTo>
                      <a:pt x="46" y="257"/>
                    </a:lnTo>
                    <a:close/>
                    <a:moveTo>
                      <a:pt x="109" y="182"/>
                    </a:moveTo>
                    <a:lnTo>
                      <a:pt x="109" y="182"/>
                    </a:lnTo>
                    <a:lnTo>
                      <a:pt x="90" y="170"/>
                    </a:lnTo>
                    <a:lnTo>
                      <a:pt x="72" y="158"/>
                    </a:lnTo>
                    <a:lnTo>
                      <a:pt x="58" y="145"/>
                    </a:lnTo>
                    <a:lnTo>
                      <a:pt x="46" y="132"/>
                    </a:lnTo>
                    <a:lnTo>
                      <a:pt x="172" y="132"/>
                    </a:lnTo>
                    <a:lnTo>
                      <a:pt x="172" y="132"/>
                    </a:lnTo>
                    <a:lnTo>
                      <a:pt x="158" y="145"/>
                    </a:lnTo>
                    <a:lnTo>
                      <a:pt x="144" y="158"/>
                    </a:lnTo>
                    <a:lnTo>
                      <a:pt x="127" y="170"/>
                    </a:lnTo>
                    <a:lnTo>
                      <a:pt x="109" y="182"/>
                    </a:lnTo>
                    <a:lnTo>
                      <a:pt x="109" y="182"/>
                    </a:lnTo>
                    <a:close/>
                    <a:moveTo>
                      <a:pt x="196" y="72"/>
                    </a:moveTo>
                    <a:lnTo>
                      <a:pt x="196" y="73"/>
                    </a:lnTo>
                    <a:lnTo>
                      <a:pt x="196" y="73"/>
                    </a:lnTo>
                    <a:lnTo>
                      <a:pt x="195" y="82"/>
                    </a:lnTo>
                    <a:lnTo>
                      <a:pt x="193" y="92"/>
                    </a:lnTo>
                    <a:lnTo>
                      <a:pt x="191" y="101"/>
                    </a:lnTo>
                    <a:lnTo>
                      <a:pt x="187" y="111"/>
                    </a:lnTo>
                    <a:lnTo>
                      <a:pt x="31" y="111"/>
                    </a:lnTo>
                    <a:lnTo>
                      <a:pt x="31" y="111"/>
                    </a:lnTo>
                    <a:lnTo>
                      <a:pt x="27" y="101"/>
                    </a:lnTo>
                    <a:lnTo>
                      <a:pt x="24" y="92"/>
                    </a:lnTo>
                    <a:lnTo>
                      <a:pt x="23" y="82"/>
                    </a:lnTo>
                    <a:lnTo>
                      <a:pt x="21" y="73"/>
                    </a:lnTo>
                    <a:lnTo>
                      <a:pt x="21" y="72"/>
                    </a:lnTo>
                    <a:lnTo>
                      <a:pt x="19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dirty="0">
                  <a:ln>
                    <a:noFill/>
                  </a:ln>
                  <a:solidFill>
                    <a:srgbClr val="000000"/>
                  </a:solidFill>
                  <a:effectLst/>
                  <a:uLnTx/>
                  <a:uFillTx/>
                  <a:latin typeface="Open Sans"/>
                  <a:ea typeface="+mn-ea"/>
                  <a:cs typeface="+mn-cs"/>
                </a:endParaRPr>
              </a:p>
            </p:txBody>
          </p:sp>
        </p:grpSp>
      </p:grpSp>
      <p:sp>
        <p:nvSpPr>
          <p:cNvPr id="109" name="Rectangle 108">
            <a:extLst>
              <a:ext uri="{FF2B5EF4-FFF2-40B4-BE49-F238E27FC236}">
                <a16:creationId xmlns:a16="http://schemas.microsoft.com/office/drawing/2014/main" id="{5ED8FCE1-A7D1-5B36-B404-88C2C226F3F2}"/>
              </a:ext>
            </a:extLst>
          </p:cNvPr>
          <p:cNvSpPr/>
          <p:nvPr/>
        </p:nvSpPr>
        <p:spPr>
          <a:xfrm>
            <a:off x="897857" y="4855125"/>
            <a:ext cx="2092926" cy="12626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u="sng" dirty="0">
                <a:solidFill>
                  <a:schemeClr val="tx1"/>
                </a:solidFill>
              </a:rPr>
              <a:t>Exploring</a:t>
            </a:r>
          </a:p>
          <a:p>
            <a:r>
              <a:rPr lang="en-US" sz="1100" dirty="0">
                <a:solidFill>
                  <a:schemeClr val="tx1"/>
                </a:solidFill>
              </a:rPr>
              <a:t>Using traditional technologies to support the automation of existing functions, with no real changes to the services provided by the organization.</a:t>
            </a:r>
          </a:p>
        </p:txBody>
      </p:sp>
      <p:sp>
        <p:nvSpPr>
          <p:cNvPr id="110" name="Rectangle 109">
            <a:extLst>
              <a:ext uri="{FF2B5EF4-FFF2-40B4-BE49-F238E27FC236}">
                <a16:creationId xmlns:a16="http://schemas.microsoft.com/office/drawing/2014/main" id="{0B8CE1BF-8EF0-8473-5841-91CBE043EA91}"/>
              </a:ext>
            </a:extLst>
          </p:cNvPr>
          <p:cNvSpPr/>
          <p:nvPr/>
        </p:nvSpPr>
        <p:spPr>
          <a:xfrm>
            <a:off x="3724818" y="4679013"/>
            <a:ext cx="2092926" cy="10577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u="sng" dirty="0">
                <a:solidFill>
                  <a:schemeClr val="tx1"/>
                </a:solidFill>
              </a:rPr>
              <a:t>Doing</a:t>
            </a:r>
          </a:p>
          <a:p>
            <a:r>
              <a:rPr lang="en-US" sz="1100" dirty="0">
                <a:solidFill>
                  <a:schemeClr val="tx1"/>
                </a:solidFill>
              </a:rPr>
              <a:t>Using digital technologies to expand existing or similar services. Driven by data and platform are still unrea</a:t>
            </a:r>
            <a:r>
              <a:rPr lang="en-US" sz="1100">
                <a:solidFill>
                  <a:schemeClr val="tx1"/>
                </a:solidFill>
              </a:rPr>
              <a:t>lized</a:t>
            </a:r>
            <a:r>
              <a:rPr lang="en-US" sz="1100" dirty="0">
                <a:solidFill>
                  <a:schemeClr val="tx1"/>
                </a:solidFill>
              </a:rPr>
              <a:t> ideals.</a:t>
            </a:r>
          </a:p>
        </p:txBody>
      </p:sp>
      <p:sp>
        <p:nvSpPr>
          <p:cNvPr id="111" name="Rectangle 110">
            <a:extLst>
              <a:ext uri="{FF2B5EF4-FFF2-40B4-BE49-F238E27FC236}">
                <a16:creationId xmlns:a16="http://schemas.microsoft.com/office/drawing/2014/main" id="{ABE91BD6-B5D1-C41D-ADB3-729DF1094615}"/>
              </a:ext>
            </a:extLst>
          </p:cNvPr>
          <p:cNvSpPr/>
          <p:nvPr/>
        </p:nvSpPr>
        <p:spPr>
          <a:xfrm>
            <a:off x="6588462" y="4071355"/>
            <a:ext cx="2092926" cy="17525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u="sng" dirty="0">
                <a:solidFill>
                  <a:schemeClr val="tx1"/>
                </a:solidFill>
              </a:rPr>
              <a:t>Becoming</a:t>
            </a:r>
          </a:p>
          <a:p>
            <a:r>
              <a:rPr lang="en-US" sz="1100" dirty="0">
                <a:solidFill>
                  <a:schemeClr val="tx1"/>
                </a:solidFill>
              </a:rPr>
              <a:t>Integration digital technologies into the organization’s operations, such as reducing the need of repeated manual work and implementing digital technologies into everyday tasks like data-driven platforms.</a:t>
            </a:r>
          </a:p>
        </p:txBody>
      </p:sp>
      <p:sp>
        <p:nvSpPr>
          <p:cNvPr id="112" name="Rectangle 111">
            <a:extLst>
              <a:ext uri="{FF2B5EF4-FFF2-40B4-BE49-F238E27FC236}">
                <a16:creationId xmlns:a16="http://schemas.microsoft.com/office/drawing/2014/main" id="{FDD93AE5-D715-E098-785D-5739757A2C1C}"/>
              </a:ext>
            </a:extLst>
          </p:cNvPr>
          <p:cNvSpPr/>
          <p:nvPr/>
        </p:nvSpPr>
        <p:spPr>
          <a:xfrm>
            <a:off x="9386235" y="2700571"/>
            <a:ext cx="2092926" cy="21545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u="sng" dirty="0">
                <a:solidFill>
                  <a:schemeClr val="tx1"/>
                </a:solidFill>
              </a:rPr>
              <a:t>Being</a:t>
            </a:r>
          </a:p>
          <a:p>
            <a:r>
              <a:rPr lang="en-US" sz="1100" dirty="0">
                <a:solidFill>
                  <a:schemeClr val="tx1"/>
                </a:solidFill>
              </a:rPr>
              <a:t>Optimizing the digitalization of everyday business, operating procedures, and customer service. Transforming existing services into one with customers at its core, data-driven, and platform-centric, without needing to change the corporate image or operating processes.</a:t>
            </a:r>
          </a:p>
        </p:txBody>
      </p:sp>
      <p:grpSp>
        <p:nvGrpSpPr>
          <p:cNvPr id="114" name="Group 113">
            <a:extLst>
              <a:ext uri="{FF2B5EF4-FFF2-40B4-BE49-F238E27FC236}">
                <a16:creationId xmlns:a16="http://schemas.microsoft.com/office/drawing/2014/main" id="{A0A26F88-3CAA-AF17-FCDD-33A3CF596B26}"/>
              </a:ext>
            </a:extLst>
          </p:cNvPr>
          <p:cNvGrpSpPr>
            <a:grpSpLocks noChangeAspect="1"/>
          </p:cNvGrpSpPr>
          <p:nvPr/>
        </p:nvGrpSpPr>
        <p:grpSpPr>
          <a:xfrm>
            <a:off x="3745823" y="2307872"/>
            <a:ext cx="500473" cy="515337"/>
            <a:chOff x="2991820" y="1152966"/>
            <a:chExt cx="189365" cy="301752"/>
          </a:xfrm>
        </p:grpSpPr>
        <p:sp>
          <p:nvSpPr>
            <p:cNvPr id="115" name="Arc 114">
              <a:extLst>
                <a:ext uri="{FF2B5EF4-FFF2-40B4-BE49-F238E27FC236}">
                  <a16:creationId xmlns:a16="http://schemas.microsoft.com/office/drawing/2014/main" id="{2BF198A5-71CC-55EA-0488-AE4A4A1D8774}"/>
                </a:ext>
              </a:extLst>
            </p:cNvPr>
            <p:cNvSpPr/>
            <p:nvPr/>
          </p:nvSpPr>
          <p:spPr bwMode="gray">
            <a:xfrm>
              <a:off x="2995480" y="1152966"/>
              <a:ext cx="185705" cy="263176"/>
            </a:xfrm>
            <a:prstGeom prst="arc">
              <a:avLst>
                <a:gd name="adj1" fmla="val 11400237"/>
                <a:gd name="adj2" fmla="val 21235583"/>
              </a:avLst>
            </a:prstGeom>
            <a:noFill/>
            <a:ln w="38100" cap="flat" cmpd="sng" algn="ctr">
              <a:solidFill>
                <a:srgbClr val="000000"/>
              </a:solidFill>
              <a:prstDash val="solid"/>
              <a:miter lim="800000"/>
              <a:headEnd type="none" w="med" len="med"/>
              <a:tailEnd type="triangle" w="med" len="med"/>
            </a:ln>
            <a:effectLst/>
          </p:spPr>
          <p:txBody>
            <a:bodyPr rtlCol="0" anchor="ct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dirty="0">
                <a:ln>
                  <a:noFill/>
                </a:ln>
                <a:solidFill>
                  <a:srgbClr val="000000"/>
                </a:solidFill>
                <a:effectLst/>
                <a:uLnTx/>
                <a:uFillTx/>
                <a:latin typeface="Open Sans"/>
                <a:ea typeface="+mn-ea"/>
                <a:cs typeface="+mn-cs"/>
              </a:endParaRPr>
            </a:p>
          </p:txBody>
        </p:sp>
        <p:sp>
          <p:nvSpPr>
            <p:cNvPr id="116" name="Arc 115">
              <a:extLst>
                <a:ext uri="{FF2B5EF4-FFF2-40B4-BE49-F238E27FC236}">
                  <a16:creationId xmlns:a16="http://schemas.microsoft.com/office/drawing/2014/main" id="{3AF9321C-B880-96B7-9367-EC2CCDE4DB1A}"/>
                </a:ext>
              </a:extLst>
            </p:cNvPr>
            <p:cNvSpPr/>
            <p:nvPr/>
          </p:nvSpPr>
          <p:spPr bwMode="gray">
            <a:xfrm rot="10800000">
              <a:off x="2991820" y="1200258"/>
              <a:ext cx="182563" cy="254460"/>
            </a:xfrm>
            <a:prstGeom prst="arc">
              <a:avLst>
                <a:gd name="adj1" fmla="val 11400237"/>
                <a:gd name="adj2" fmla="val 21235583"/>
              </a:avLst>
            </a:prstGeom>
            <a:noFill/>
            <a:ln w="38100" cap="flat" cmpd="sng" algn="ctr">
              <a:solidFill>
                <a:srgbClr val="000000"/>
              </a:solidFill>
              <a:prstDash val="solid"/>
              <a:miter lim="800000"/>
              <a:headEnd type="none" w="med" len="med"/>
              <a:tailEnd type="triangle" w="med" len="med"/>
            </a:ln>
            <a:effectLst/>
          </p:spPr>
          <p:txBody>
            <a:bodyPr rtlCol="0" anchor="ctr"/>
            <a:lstStyle/>
            <a:p>
              <a:pPr marL="0" marR="0" lvl="0" indent="0" algn="l" defTabSz="544222"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dirty="0">
                <a:ln>
                  <a:noFill/>
                </a:ln>
                <a:solidFill>
                  <a:srgbClr val="000000"/>
                </a:solidFill>
                <a:effectLst/>
                <a:uLnTx/>
                <a:uFillTx/>
                <a:latin typeface="Open Sans"/>
                <a:ea typeface="+mn-ea"/>
                <a:cs typeface="+mn-cs"/>
              </a:endParaRPr>
            </a:p>
          </p:txBody>
        </p:sp>
      </p:grpSp>
      <p:sp>
        <p:nvSpPr>
          <p:cNvPr id="117" name="Title 18">
            <a:extLst>
              <a:ext uri="{FF2B5EF4-FFF2-40B4-BE49-F238E27FC236}">
                <a16:creationId xmlns:a16="http://schemas.microsoft.com/office/drawing/2014/main" id="{03DC07AD-6BCF-64EC-532A-20F93D7DAB82}"/>
              </a:ext>
            </a:extLst>
          </p:cNvPr>
          <p:cNvSpPr txBox="1">
            <a:spLocks/>
          </p:cNvSpPr>
          <p:nvPr/>
        </p:nvSpPr>
        <p:spPr>
          <a:xfrm>
            <a:off x="1611086" y="2335878"/>
            <a:ext cx="2045183" cy="431470"/>
          </a:xfrm>
          <a:prstGeom prst="homePlate">
            <a:avLst>
              <a:gd name="adj" fmla="val 33359"/>
            </a:avLst>
          </a:prstGeom>
          <a:noFill/>
          <a:ln w="28575">
            <a:solidFill>
              <a:srgbClr val="9EE6EC"/>
            </a:solidFill>
          </a:ln>
        </p:spPr>
        <p:txBody>
          <a:bodyPr vert="horz" lIns="121920" tIns="121920" rIns="121920" bIns="121920" rtlCol="0" anchor="ctr"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marL="0" marR="0" lvl="0" indent="0" algn="l" defTabSz="544222" eaLnBrk="1" fontAlgn="base" latinLnBrk="0" hangingPunct="1">
              <a:lnSpc>
                <a:spcPct val="100000"/>
              </a:lnSpc>
              <a:spcBef>
                <a:spcPct val="0"/>
              </a:spcBef>
              <a:spcAft>
                <a:spcPts val="600"/>
              </a:spcAft>
              <a:buClrTx/>
              <a:buSzTx/>
              <a:buFontTx/>
              <a:buNone/>
              <a:tabLst/>
              <a:defRPr/>
            </a:pPr>
            <a:r>
              <a:rPr kumimoji="0" lang="en-US" sz="1400" b="1" i="0" u="none" strike="noStrike" kern="1200" cap="none" spc="-11"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You can’t stop here</a:t>
            </a:r>
          </a:p>
        </p:txBody>
      </p:sp>
      <p:cxnSp>
        <p:nvCxnSpPr>
          <p:cNvPr id="118" name="Straight Connector 117">
            <a:extLst>
              <a:ext uri="{FF2B5EF4-FFF2-40B4-BE49-F238E27FC236}">
                <a16:creationId xmlns:a16="http://schemas.microsoft.com/office/drawing/2014/main" id="{3F3E02CB-DE3C-80E2-EE6C-0A9276D9562C}"/>
              </a:ext>
            </a:extLst>
          </p:cNvPr>
          <p:cNvCxnSpPr>
            <a:cxnSpLocks/>
            <a:stCxn id="119" idx="6"/>
          </p:cNvCxnSpPr>
          <p:nvPr/>
        </p:nvCxnSpPr>
        <p:spPr>
          <a:xfrm flipH="1">
            <a:off x="3996059" y="2582272"/>
            <a:ext cx="0" cy="1566071"/>
          </a:xfrm>
          <a:prstGeom prst="line">
            <a:avLst/>
          </a:prstGeom>
          <a:noFill/>
          <a:ln w="28575" cap="flat" cmpd="sng" algn="ctr">
            <a:solidFill>
              <a:srgbClr val="000000"/>
            </a:solidFill>
            <a:prstDash val="solid"/>
            <a:miter lim="800000"/>
          </a:ln>
          <a:effectLst/>
        </p:spPr>
      </p:cxnSp>
      <p:sp>
        <p:nvSpPr>
          <p:cNvPr id="119" name="Oval 118">
            <a:extLst>
              <a:ext uri="{FF2B5EF4-FFF2-40B4-BE49-F238E27FC236}">
                <a16:creationId xmlns:a16="http://schemas.microsoft.com/office/drawing/2014/main" id="{570D1E49-B61D-E2F0-8B24-553624A1234B}"/>
              </a:ext>
            </a:extLst>
          </p:cNvPr>
          <p:cNvSpPr/>
          <p:nvPr/>
        </p:nvSpPr>
        <p:spPr>
          <a:xfrm>
            <a:off x="3894582" y="2483045"/>
            <a:ext cx="198455" cy="198453"/>
          </a:xfrm>
          <a:prstGeom prst="ellipse">
            <a:avLst/>
          </a:prstGeom>
          <a:solidFill>
            <a:srgbClr val="000000"/>
          </a:solidFill>
          <a:ln w="12700" cap="flat" cmpd="sng" algn="ctr">
            <a:solidFill>
              <a:srgbClr val="F7F5F3"/>
            </a:solidFill>
            <a:prstDash val="solid"/>
            <a:miter lim="800000"/>
          </a:ln>
          <a:effectLst/>
        </p:spPr>
        <p:txBody>
          <a:bodyPr rtlCol="0" anchor="ctr"/>
          <a:lstStyle/>
          <a:p>
            <a:pPr marL="0" marR="0" lvl="0" indent="0" algn="ctr" defTabSz="544222"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dirty="0">
              <a:ln>
                <a:noFill/>
              </a:ln>
              <a:solidFill>
                <a:srgbClr val="FFFFFF"/>
              </a:solidFill>
              <a:effectLst/>
              <a:uLnTx/>
              <a:uFillTx/>
              <a:latin typeface="Open Sans"/>
              <a:ea typeface="+mn-ea"/>
              <a:cs typeface="+mn-cs"/>
            </a:endParaRPr>
          </a:p>
        </p:txBody>
      </p:sp>
      <p:sp>
        <p:nvSpPr>
          <p:cNvPr id="120" name="TextBox 119">
            <a:extLst>
              <a:ext uri="{FF2B5EF4-FFF2-40B4-BE49-F238E27FC236}">
                <a16:creationId xmlns:a16="http://schemas.microsoft.com/office/drawing/2014/main" id="{BE25A6E3-1B09-7C4C-A887-964C6AB4D8E8}"/>
              </a:ext>
            </a:extLst>
          </p:cNvPr>
          <p:cNvSpPr txBox="1"/>
          <p:nvPr/>
        </p:nvSpPr>
        <p:spPr>
          <a:xfrm>
            <a:off x="4419600" y="2068288"/>
            <a:ext cx="3526106" cy="1107996"/>
          </a:xfrm>
          <a:prstGeom prst="rect">
            <a:avLst/>
          </a:prstGeom>
          <a:noFill/>
        </p:spPr>
        <p:txBody>
          <a:bodyPr wrap="square" rtlCol="0">
            <a:spAutoFit/>
          </a:bodyPr>
          <a:lstStyle/>
          <a:p>
            <a:r>
              <a:rPr lang="en-US" sz="1100" dirty="0"/>
              <a:t>Many organizations are „doing” digital services thinking that they have achieved digitalization. However, they are missing out on the actual digital transformation and the associated benefits, such as enhancing operating procedures and optimizing customer experience.</a:t>
            </a:r>
          </a:p>
        </p:txBody>
      </p:sp>
    </p:spTree>
    <p:extLst>
      <p:ext uri="{BB962C8B-B14F-4D97-AF65-F5344CB8AC3E}">
        <p14:creationId xmlns:p14="http://schemas.microsoft.com/office/powerpoint/2010/main" val="471438064"/>
      </p:ext>
    </p:extLst>
  </p:cSld>
  <p:clrMapOvr>
    <a:masterClrMapping/>
  </p:clrMapOvr>
  <p:transition>
    <p:fade/>
  </p:transition>
  <p:extLst>
    <p:ext uri="{6950BFC3-D8DA-4A85-94F7-54DA5524770B}">
      <p188:commentRel xmlns:p188="http://schemas.microsoft.com/office/powerpoint/2018/8/main" r:id="rId4"/>
    </p:ext>
  </p:extLs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9204324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96" name="Group 95">
            <a:extLst>
              <a:ext uri="{FF2B5EF4-FFF2-40B4-BE49-F238E27FC236}">
                <a16:creationId xmlns:a16="http://schemas.microsoft.com/office/drawing/2014/main" id="{AE539C70-E35F-B565-F14F-743DDA759EEE}"/>
              </a:ext>
            </a:extLst>
          </p:cNvPr>
          <p:cNvGrpSpPr/>
          <p:nvPr/>
        </p:nvGrpSpPr>
        <p:grpSpPr>
          <a:xfrm>
            <a:off x="903996" y="2349877"/>
            <a:ext cx="1377951" cy="3601712"/>
            <a:chOff x="903996" y="2958636"/>
            <a:chExt cx="1377951" cy="2222409"/>
          </a:xfrm>
        </p:grpSpPr>
        <p:grpSp>
          <p:nvGrpSpPr>
            <p:cNvPr id="105" name="Group 104">
              <a:extLst>
                <a:ext uri="{FF2B5EF4-FFF2-40B4-BE49-F238E27FC236}">
                  <a16:creationId xmlns:a16="http://schemas.microsoft.com/office/drawing/2014/main" id="{55C4773B-8F89-9437-DA97-D8872D0B85ED}"/>
                </a:ext>
              </a:extLst>
            </p:cNvPr>
            <p:cNvGrpSpPr/>
            <p:nvPr/>
          </p:nvGrpSpPr>
          <p:grpSpPr>
            <a:xfrm flipH="1" flipV="1">
              <a:off x="903996" y="2958636"/>
              <a:ext cx="1377951" cy="2222409"/>
              <a:chOff x="1671226" y="2958433"/>
              <a:chExt cx="1377951" cy="2222409"/>
            </a:xfrm>
          </p:grpSpPr>
          <p:sp>
            <p:nvSpPr>
              <p:cNvPr id="106" name="Arc 105">
                <a:extLst>
                  <a:ext uri="{FF2B5EF4-FFF2-40B4-BE49-F238E27FC236}">
                    <a16:creationId xmlns:a16="http://schemas.microsoft.com/office/drawing/2014/main" id="{3AAFF900-1CCE-EAA5-83B7-A3311579951F}"/>
                  </a:ext>
                </a:extLst>
              </p:cNvPr>
              <p:cNvSpPr/>
              <p:nvPr/>
            </p:nvSpPr>
            <p:spPr>
              <a:xfrm>
                <a:off x="1673519" y="3187012"/>
                <a:ext cx="1375658" cy="1993830"/>
              </a:xfrm>
              <a:prstGeom prst="arc">
                <a:avLst/>
              </a:prstGeom>
              <a:ln w="19050">
                <a:solidFill>
                  <a:srgbClr val="BFBFB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7" name="Arc 106">
                <a:extLst>
                  <a:ext uri="{FF2B5EF4-FFF2-40B4-BE49-F238E27FC236}">
                    <a16:creationId xmlns:a16="http://schemas.microsoft.com/office/drawing/2014/main" id="{FB77CE61-23D4-B6E7-2FA5-D013AB5906AB}"/>
                  </a:ext>
                </a:extLst>
              </p:cNvPr>
              <p:cNvSpPr/>
              <p:nvPr/>
            </p:nvSpPr>
            <p:spPr>
              <a:xfrm flipV="1">
                <a:off x="1671226" y="2958433"/>
                <a:ext cx="1375658" cy="1993830"/>
              </a:xfrm>
              <a:prstGeom prst="arc">
                <a:avLst/>
              </a:prstGeom>
              <a:ln w="19050">
                <a:solidFill>
                  <a:srgbClr val="BFBFB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108" name="Isosceles Triangle 107">
              <a:extLst>
                <a:ext uri="{FF2B5EF4-FFF2-40B4-BE49-F238E27FC236}">
                  <a16:creationId xmlns:a16="http://schemas.microsoft.com/office/drawing/2014/main" id="{90C65B56-AE6D-9AB5-3661-E1EB31938595}"/>
                </a:ext>
              </a:extLst>
            </p:cNvPr>
            <p:cNvSpPr/>
            <p:nvPr/>
          </p:nvSpPr>
          <p:spPr>
            <a:xfrm rot="3912861">
              <a:off x="1526590" y="3121174"/>
              <a:ext cx="102331" cy="95572"/>
            </a:xfrm>
            <a:prstGeom prst="triangle">
              <a:avLst/>
            </a:prstGeom>
            <a:solidFill>
              <a:srgbClr val="BFBFBF"/>
            </a:solidFill>
            <a:ln>
              <a:solidFill>
                <a:srgbClr val="BFBF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 name="Group 1">
            <a:extLst>
              <a:ext uri="{FF2B5EF4-FFF2-40B4-BE49-F238E27FC236}">
                <a16:creationId xmlns:a16="http://schemas.microsoft.com/office/drawing/2014/main" id="{63BB7A4A-CC83-B0AC-E35B-F23592B6AE41}"/>
              </a:ext>
            </a:extLst>
          </p:cNvPr>
          <p:cNvGrpSpPr/>
          <p:nvPr/>
        </p:nvGrpSpPr>
        <p:grpSpPr>
          <a:xfrm>
            <a:off x="1524929" y="2079116"/>
            <a:ext cx="1473459" cy="3872473"/>
            <a:chOff x="1524929" y="2079116"/>
            <a:chExt cx="1473459" cy="3872473"/>
          </a:xfrm>
        </p:grpSpPr>
        <p:grpSp>
          <p:nvGrpSpPr>
            <p:cNvPr id="104" name="Group 103">
              <a:extLst>
                <a:ext uri="{FF2B5EF4-FFF2-40B4-BE49-F238E27FC236}">
                  <a16:creationId xmlns:a16="http://schemas.microsoft.com/office/drawing/2014/main" id="{E1269C26-C1E7-AF08-B8B5-F873BFDFE8EF}"/>
                </a:ext>
              </a:extLst>
            </p:cNvPr>
            <p:cNvGrpSpPr/>
            <p:nvPr/>
          </p:nvGrpSpPr>
          <p:grpSpPr>
            <a:xfrm>
              <a:off x="1524929" y="2079116"/>
              <a:ext cx="1473459" cy="3872473"/>
              <a:chOff x="1673519" y="2941266"/>
              <a:chExt cx="1385439" cy="2239576"/>
            </a:xfrm>
          </p:grpSpPr>
          <p:sp>
            <p:nvSpPr>
              <p:cNvPr id="102" name="Arc 101">
                <a:extLst>
                  <a:ext uri="{FF2B5EF4-FFF2-40B4-BE49-F238E27FC236}">
                    <a16:creationId xmlns:a16="http://schemas.microsoft.com/office/drawing/2014/main" id="{D1EB190D-75C6-440C-AEA9-C7352F2EC5ED}"/>
                  </a:ext>
                </a:extLst>
              </p:cNvPr>
              <p:cNvSpPr/>
              <p:nvPr/>
            </p:nvSpPr>
            <p:spPr>
              <a:xfrm>
                <a:off x="1673519" y="3187012"/>
                <a:ext cx="1375658" cy="1993830"/>
              </a:xfrm>
              <a:prstGeom prst="arc">
                <a:avLst/>
              </a:prstGeom>
              <a:ln w="19050">
                <a:solidFill>
                  <a:srgbClr val="BFBFB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3" name="Arc 102">
                <a:extLst>
                  <a:ext uri="{FF2B5EF4-FFF2-40B4-BE49-F238E27FC236}">
                    <a16:creationId xmlns:a16="http://schemas.microsoft.com/office/drawing/2014/main" id="{E5E98213-BF93-6B5D-A321-B1034622327B}"/>
                  </a:ext>
                </a:extLst>
              </p:cNvPr>
              <p:cNvSpPr/>
              <p:nvPr/>
            </p:nvSpPr>
            <p:spPr>
              <a:xfrm flipV="1">
                <a:off x="1926996" y="2941266"/>
                <a:ext cx="1131962" cy="1957322"/>
              </a:xfrm>
              <a:prstGeom prst="arc">
                <a:avLst/>
              </a:prstGeom>
              <a:ln w="19050">
                <a:solidFill>
                  <a:srgbClr val="BFBFB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110" name="Isosceles Triangle 109">
              <a:extLst>
                <a:ext uri="{FF2B5EF4-FFF2-40B4-BE49-F238E27FC236}">
                  <a16:creationId xmlns:a16="http://schemas.microsoft.com/office/drawing/2014/main" id="{17261EC7-3FF9-A119-0ABB-34A1E80DE01D}"/>
                </a:ext>
              </a:extLst>
            </p:cNvPr>
            <p:cNvSpPr/>
            <p:nvPr/>
          </p:nvSpPr>
          <p:spPr>
            <a:xfrm rot="14839754">
              <a:off x="2354701" y="5408861"/>
              <a:ext cx="102331" cy="95572"/>
            </a:xfrm>
            <a:prstGeom prst="triangle">
              <a:avLst/>
            </a:prstGeom>
            <a:solidFill>
              <a:srgbClr val="BFBFBF"/>
            </a:solidFill>
            <a:ln>
              <a:solidFill>
                <a:srgbClr val="BFBFB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latin typeface="+mn-lt"/>
                <a:cs typeface="Calibri Light"/>
              </a:rPr>
              <a:t>Twelve Levers of Sustained Innovation</a:t>
            </a:r>
            <a:endParaRPr lang="en-US" dirty="0">
              <a:latin typeface="+mn-lt"/>
              <a:cs typeface="Calibri Light"/>
            </a:endParaRP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defined a methodology where, starting from agenda setting, sustained innovation can be achieved for organizations with the help of 12 levers</a:t>
            </a:r>
          </a:p>
        </p:txBody>
      </p:sp>
      <p:sp>
        <p:nvSpPr>
          <p:cNvPr id="28" name="TextBox 27">
            <a:extLst>
              <a:ext uri="{FF2B5EF4-FFF2-40B4-BE49-F238E27FC236}">
                <a16:creationId xmlns:a16="http://schemas.microsoft.com/office/drawing/2014/main" id="{B7592664-8144-7FE0-35F6-D49F977BD6C9}"/>
              </a:ext>
            </a:extLst>
          </p:cNvPr>
          <p:cNvSpPr txBox="1"/>
          <p:nvPr/>
        </p:nvSpPr>
        <p:spPr>
          <a:xfrm>
            <a:off x="897857" y="1497872"/>
            <a:ext cx="1801800" cy="215444"/>
          </a:xfrm>
          <a:prstGeom prst="rect">
            <a:avLst/>
          </a:prstGeom>
          <a:noFill/>
        </p:spPr>
        <p:txBody>
          <a:bodyPr wrap="square" lIns="0" tIns="0" rIns="0" bIns="0" rtlCol="0">
            <a:spAutoFit/>
          </a:bodyPr>
          <a:lstStyle/>
          <a:p>
            <a:pPr>
              <a:spcBef>
                <a:spcPts val="600"/>
              </a:spcBef>
              <a:buSzPct val="100000"/>
            </a:pPr>
            <a:r>
              <a:rPr lang="en-US" sz="1400" b="1" dirty="0">
                <a:solidFill>
                  <a:schemeClr val="accent4">
                    <a:lumMod val="75000"/>
                  </a:schemeClr>
                </a:solidFill>
                <a:ea typeface="Open Sans" panose="020B0606030504020204" pitchFamily="34" charset="0"/>
                <a:cs typeface="Open Sans" panose="020B0606030504020204" pitchFamily="34" charset="0"/>
              </a:rPr>
              <a:t>SET an AGENDA</a:t>
            </a:r>
          </a:p>
        </p:txBody>
      </p:sp>
      <p:sp>
        <p:nvSpPr>
          <p:cNvPr id="29" name="TextBox 28">
            <a:extLst>
              <a:ext uri="{FF2B5EF4-FFF2-40B4-BE49-F238E27FC236}">
                <a16:creationId xmlns:a16="http://schemas.microsoft.com/office/drawing/2014/main" id="{0B1AAC37-8F5C-6922-22C8-32230253143C}"/>
              </a:ext>
            </a:extLst>
          </p:cNvPr>
          <p:cNvSpPr txBox="1"/>
          <p:nvPr/>
        </p:nvSpPr>
        <p:spPr>
          <a:xfrm>
            <a:off x="3600981" y="1495684"/>
            <a:ext cx="1801800" cy="430887"/>
          </a:xfrm>
          <a:prstGeom prst="rect">
            <a:avLst/>
          </a:prstGeom>
          <a:solidFill>
            <a:srgbClr val="FFFFFF"/>
          </a:solidFill>
        </p:spPr>
        <p:txBody>
          <a:bodyPr wrap="square" lIns="0" tIns="0" rIns="0" bIns="0" rtlCol="0">
            <a:spAutoFit/>
          </a:bodyPr>
          <a:lstStyle/>
          <a:p>
            <a:pPr>
              <a:spcBef>
                <a:spcPts val="600"/>
              </a:spcBef>
              <a:buSzPct val="100000"/>
            </a:pPr>
            <a:r>
              <a:rPr lang="en-US" sz="1400" b="1" dirty="0">
                <a:solidFill>
                  <a:srgbClr val="6FC2B4"/>
                </a:solidFill>
                <a:ea typeface="Open Sans" panose="020B0606030504020204" pitchFamily="34" charset="0"/>
                <a:cs typeface="Open Sans" panose="020B0606030504020204" pitchFamily="34" charset="0"/>
              </a:rPr>
              <a:t>MANAGE the PORTFOLIO</a:t>
            </a:r>
          </a:p>
        </p:txBody>
      </p:sp>
      <p:cxnSp>
        <p:nvCxnSpPr>
          <p:cNvPr id="30" name="Straight Connector 29">
            <a:extLst>
              <a:ext uri="{FF2B5EF4-FFF2-40B4-BE49-F238E27FC236}">
                <a16:creationId xmlns:a16="http://schemas.microsoft.com/office/drawing/2014/main" id="{0379256F-3F96-7AC1-1134-96254F82B2EA}"/>
              </a:ext>
            </a:extLst>
          </p:cNvPr>
          <p:cNvCxnSpPr>
            <a:cxnSpLocks/>
          </p:cNvCxnSpPr>
          <p:nvPr/>
        </p:nvCxnSpPr>
        <p:spPr>
          <a:xfrm>
            <a:off x="3404097" y="1495684"/>
            <a:ext cx="0" cy="4461075"/>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C5418B9-1ED9-B400-4F73-E0326F589137}"/>
              </a:ext>
            </a:extLst>
          </p:cNvPr>
          <p:cNvSpPr/>
          <p:nvPr/>
        </p:nvSpPr>
        <p:spPr bwMode="gray">
          <a:xfrm>
            <a:off x="897857" y="1778724"/>
            <a:ext cx="2151320" cy="807934"/>
          </a:xfrm>
          <a:prstGeom prst="rect">
            <a:avLst/>
          </a:prstGeom>
          <a:solidFill>
            <a:schemeClr val="bg1"/>
          </a:solidFill>
          <a:ln w="28575" algn="ctr">
            <a:solidFill>
              <a:schemeClr val="accent4">
                <a:lumMod val="75000"/>
              </a:schemeClr>
            </a:solidFill>
            <a:miter lim="800000"/>
            <a:headEnd/>
            <a:tailEnd/>
          </a:ln>
        </p:spPr>
        <p:txBody>
          <a:bodyPr wrap="square" lIns="88900" tIns="88900" rIns="88900" bIns="88900" rtlCol="0" anchor="t"/>
          <a:lstStyle/>
          <a:p>
            <a:pPr marL="228600" indent="-228600">
              <a:lnSpc>
                <a:spcPct val="106000"/>
              </a:lnSpc>
              <a:buFont typeface="Wingdings 2" pitchFamily="18" charset="2"/>
              <a:buAutoNum type="arabicPeriod"/>
            </a:pPr>
            <a:r>
              <a:rPr lang="en-US" sz="1000" b="1" dirty="0">
                <a:ea typeface="Open Sans" panose="020B0606030504020204" pitchFamily="34" charset="0"/>
                <a:cs typeface="Open Sans" panose="020B0606030504020204" pitchFamily="34" charset="0"/>
              </a:rPr>
              <a:t>Innovation Intent</a:t>
            </a:r>
          </a:p>
          <a:p>
            <a:pPr>
              <a:lnSpc>
                <a:spcPct val="106000"/>
              </a:lnSpc>
            </a:pPr>
            <a:r>
              <a:rPr lang="en-US" sz="1000" dirty="0">
                <a:ea typeface="Open Sans" panose="020B0606030504020204" pitchFamily="34" charset="0"/>
                <a:cs typeface="Open Sans" panose="020B0606030504020204" pitchFamily="34" charset="0"/>
              </a:rPr>
              <a:t>Clearly articulated goals, aspirations and definitions for innovation</a:t>
            </a:r>
          </a:p>
        </p:txBody>
      </p:sp>
      <p:sp>
        <p:nvSpPr>
          <p:cNvPr id="33" name="Rectangle 32">
            <a:extLst>
              <a:ext uri="{FF2B5EF4-FFF2-40B4-BE49-F238E27FC236}">
                <a16:creationId xmlns:a16="http://schemas.microsoft.com/office/drawing/2014/main" id="{8FDFEBD1-C281-8131-4BBD-DA91854CF1A6}"/>
              </a:ext>
            </a:extLst>
          </p:cNvPr>
          <p:cNvSpPr/>
          <p:nvPr/>
        </p:nvSpPr>
        <p:spPr bwMode="gray">
          <a:xfrm>
            <a:off x="892355" y="5499370"/>
            <a:ext cx="2151320" cy="1064716"/>
          </a:xfrm>
          <a:prstGeom prst="rect">
            <a:avLst/>
          </a:prstGeom>
          <a:solidFill>
            <a:schemeClr val="bg1"/>
          </a:solidFill>
          <a:ln w="28575" algn="ctr">
            <a:solidFill>
              <a:schemeClr val="accent4">
                <a:lumMod val="75000"/>
              </a:schemeClr>
            </a:solidFill>
            <a:miter lim="800000"/>
            <a:headEnd/>
            <a:tailEnd/>
          </a:ln>
        </p:spPr>
        <p:txBody>
          <a:bodyPr wrap="square" lIns="88900" tIns="88900" rIns="88900" bIns="88900" rtlCol="0" anchor="t"/>
          <a:lstStyle/>
          <a:p>
            <a:pPr marL="228600" indent="-228600">
              <a:lnSpc>
                <a:spcPct val="106000"/>
              </a:lnSpc>
              <a:buFont typeface="+mj-lt"/>
              <a:buAutoNum type="arabicPeriod" startAt="3"/>
            </a:pPr>
            <a:r>
              <a:rPr lang="en-US" sz="1000" b="1" dirty="0">
                <a:ea typeface="Open Sans" panose="020B0606030504020204" pitchFamily="34" charset="0"/>
                <a:cs typeface="Open Sans" panose="020B0606030504020204" pitchFamily="34" charset="0"/>
              </a:rPr>
              <a:t>Sensing + Scanning</a:t>
            </a:r>
          </a:p>
          <a:p>
            <a:pPr>
              <a:lnSpc>
                <a:spcPct val="106000"/>
              </a:lnSpc>
            </a:pPr>
            <a:r>
              <a:rPr lang="en-US" sz="1000" dirty="0">
                <a:ea typeface="Open Sans" panose="020B0606030504020204" pitchFamily="34" charset="0"/>
                <a:cs typeface="Open Sans" panose="020B0606030504020204" pitchFamily="34" charset="0"/>
              </a:rPr>
              <a:t>Techniques to track performance and anticipate and respond to trends, opportunities and threats</a:t>
            </a:r>
          </a:p>
        </p:txBody>
      </p:sp>
      <p:sp>
        <p:nvSpPr>
          <p:cNvPr id="51" name="Rectangle 50">
            <a:extLst>
              <a:ext uri="{FF2B5EF4-FFF2-40B4-BE49-F238E27FC236}">
                <a16:creationId xmlns:a16="http://schemas.microsoft.com/office/drawing/2014/main" id="{2A919E01-1701-10CA-9A05-6A0CF9D1FCC6}"/>
              </a:ext>
            </a:extLst>
          </p:cNvPr>
          <p:cNvSpPr/>
          <p:nvPr/>
        </p:nvSpPr>
        <p:spPr bwMode="gray">
          <a:xfrm>
            <a:off x="6962461" y="1541604"/>
            <a:ext cx="1915321" cy="713725"/>
          </a:xfrm>
          <a:prstGeom prst="rect">
            <a:avLst/>
          </a:prstGeom>
          <a:solidFill>
            <a:schemeClr val="bg1"/>
          </a:solidFill>
          <a:ln w="28575" algn="ctr">
            <a:solidFill>
              <a:srgbClr val="9FD6CD"/>
            </a:solidFill>
            <a:miter lim="800000"/>
            <a:headEnd/>
            <a:tailEnd/>
          </a:ln>
        </p:spPr>
        <p:txBody>
          <a:bodyPr wrap="square" lIns="88900" tIns="88900" rIns="88900" bIns="88900" rtlCol="0" anchor="t"/>
          <a:lstStyle/>
          <a:p>
            <a:pPr marL="228600" indent="-228600">
              <a:lnSpc>
                <a:spcPct val="106000"/>
              </a:lnSpc>
              <a:buFont typeface="+mj-lt"/>
              <a:buAutoNum type="arabicPeriod" startAt="5"/>
            </a:pPr>
            <a:r>
              <a:rPr lang="en-US" sz="1000" b="1" dirty="0">
                <a:ea typeface="Open Sans" panose="020B0606030504020204" pitchFamily="34" charset="0"/>
                <a:cs typeface="Open Sans" panose="020B0606030504020204" pitchFamily="34" charset="0"/>
              </a:rPr>
              <a:t>Governance</a:t>
            </a:r>
          </a:p>
          <a:p>
            <a:pPr>
              <a:lnSpc>
                <a:spcPct val="106000"/>
              </a:lnSpc>
            </a:pPr>
            <a:r>
              <a:rPr lang="en-US" sz="1000" dirty="0">
                <a:ea typeface="Open Sans" panose="020B0606030504020204" pitchFamily="34" charset="0"/>
                <a:cs typeface="Open Sans" panose="020B0606030504020204" pitchFamily="34" charset="0"/>
              </a:rPr>
              <a:t>How and by whom decisions are made to initiate, extend or terminate innovations</a:t>
            </a:r>
          </a:p>
        </p:txBody>
      </p:sp>
      <p:sp>
        <p:nvSpPr>
          <p:cNvPr id="52" name="Rectangle 51">
            <a:extLst>
              <a:ext uri="{FF2B5EF4-FFF2-40B4-BE49-F238E27FC236}">
                <a16:creationId xmlns:a16="http://schemas.microsoft.com/office/drawing/2014/main" id="{DF79DA45-3FC4-30B6-04F2-8C6F6DF93C89}"/>
              </a:ext>
            </a:extLst>
          </p:cNvPr>
          <p:cNvSpPr/>
          <p:nvPr/>
        </p:nvSpPr>
        <p:spPr bwMode="gray">
          <a:xfrm>
            <a:off x="3842639" y="2410586"/>
            <a:ext cx="1801798" cy="850294"/>
          </a:xfrm>
          <a:prstGeom prst="rect">
            <a:avLst/>
          </a:prstGeom>
          <a:solidFill>
            <a:schemeClr val="bg1"/>
          </a:solidFill>
          <a:ln w="28575" algn="ctr">
            <a:solidFill>
              <a:srgbClr val="9FD6CD"/>
            </a:solidFill>
            <a:miter lim="800000"/>
            <a:headEnd/>
            <a:tailEnd/>
          </a:ln>
        </p:spPr>
        <p:txBody>
          <a:bodyPr wrap="square" lIns="88900" tIns="88900" rIns="88900" bIns="88900" rtlCol="0" anchor="t"/>
          <a:lstStyle/>
          <a:p>
            <a:pPr marL="228600" indent="-228600">
              <a:lnSpc>
                <a:spcPct val="106000"/>
              </a:lnSpc>
              <a:buFont typeface="+mj-lt"/>
              <a:buAutoNum type="arabicPeriod" startAt="4"/>
            </a:pPr>
            <a:r>
              <a:rPr lang="en-US" sz="1000" b="1" dirty="0">
                <a:ea typeface="Open Sans" panose="020B0606030504020204" pitchFamily="34" charset="0"/>
                <a:cs typeface="Open Sans" panose="020B0606030504020204" pitchFamily="34" charset="0"/>
              </a:rPr>
              <a:t>Metrics</a:t>
            </a:r>
          </a:p>
          <a:p>
            <a:pPr>
              <a:lnSpc>
                <a:spcPct val="106000"/>
              </a:lnSpc>
            </a:pPr>
            <a:r>
              <a:rPr lang="en-US" sz="1000" dirty="0">
                <a:ea typeface="Open Sans" panose="020B0606030504020204" pitchFamily="34" charset="0"/>
                <a:cs typeface="Open Sans" panose="020B0606030504020204" pitchFamily="34" charset="0"/>
              </a:rPr>
              <a:t>Targets and indicators guide innovation decisions and measure progress</a:t>
            </a:r>
          </a:p>
        </p:txBody>
      </p:sp>
      <p:sp>
        <p:nvSpPr>
          <p:cNvPr id="53" name="Rectangle 52">
            <a:extLst>
              <a:ext uri="{FF2B5EF4-FFF2-40B4-BE49-F238E27FC236}">
                <a16:creationId xmlns:a16="http://schemas.microsoft.com/office/drawing/2014/main" id="{E13DC649-5911-2353-3B87-C23EDA938D0F}"/>
              </a:ext>
            </a:extLst>
          </p:cNvPr>
          <p:cNvSpPr/>
          <p:nvPr/>
        </p:nvSpPr>
        <p:spPr bwMode="gray">
          <a:xfrm>
            <a:off x="9693286" y="2410585"/>
            <a:ext cx="1801798" cy="850294"/>
          </a:xfrm>
          <a:prstGeom prst="rect">
            <a:avLst/>
          </a:prstGeom>
          <a:solidFill>
            <a:schemeClr val="bg1"/>
          </a:solidFill>
          <a:ln w="28575" algn="ctr">
            <a:solidFill>
              <a:srgbClr val="9FD6CD"/>
            </a:solidFill>
            <a:miter lim="800000"/>
            <a:headEnd/>
            <a:tailEnd/>
          </a:ln>
        </p:spPr>
        <p:txBody>
          <a:bodyPr wrap="square" lIns="88900" tIns="88900" rIns="88900" bIns="88900" rtlCol="0" anchor="t"/>
          <a:lstStyle/>
          <a:p>
            <a:pPr marL="228600" indent="-228600">
              <a:lnSpc>
                <a:spcPct val="106000"/>
              </a:lnSpc>
              <a:buFont typeface="+mj-lt"/>
              <a:buAutoNum type="arabicPeriod" startAt="6"/>
            </a:pPr>
            <a:r>
              <a:rPr lang="en-US" sz="1000" b="1" dirty="0">
                <a:ea typeface="Open Sans" panose="020B0606030504020204" pitchFamily="34" charset="0"/>
                <a:cs typeface="Open Sans" panose="020B0606030504020204" pitchFamily="34" charset="0"/>
              </a:rPr>
              <a:t>Funding</a:t>
            </a:r>
          </a:p>
          <a:p>
            <a:pPr>
              <a:lnSpc>
                <a:spcPct val="106000"/>
              </a:lnSpc>
            </a:pPr>
            <a:r>
              <a:rPr lang="en-US" sz="1000" dirty="0">
                <a:ea typeface="Open Sans" panose="020B0606030504020204" pitchFamily="34" charset="0"/>
                <a:cs typeface="Open Sans" panose="020B0606030504020204" pitchFamily="34" charset="0"/>
              </a:rPr>
              <a:t>The financial resources and allocation mechanism devoted to innovation</a:t>
            </a:r>
          </a:p>
        </p:txBody>
      </p:sp>
      <p:sp>
        <p:nvSpPr>
          <p:cNvPr id="54" name="Rectangle 53">
            <a:extLst>
              <a:ext uri="{FF2B5EF4-FFF2-40B4-BE49-F238E27FC236}">
                <a16:creationId xmlns:a16="http://schemas.microsoft.com/office/drawing/2014/main" id="{45F92CC5-502C-827C-C506-A0BFAA68807E}"/>
              </a:ext>
            </a:extLst>
          </p:cNvPr>
          <p:cNvSpPr/>
          <p:nvPr/>
        </p:nvSpPr>
        <p:spPr bwMode="gray">
          <a:xfrm>
            <a:off x="7208942" y="2432150"/>
            <a:ext cx="919838" cy="850294"/>
          </a:xfrm>
          <a:prstGeom prst="rect">
            <a:avLst/>
          </a:prstGeom>
          <a:solidFill>
            <a:schemeClr val="bg1"/>
          </a:solidFill>
          <a:ln w="28575" algn="ctr">
            <a:solidFill>
              <a:srgbClr val="9FD6CD"/>
            </a:solidFill>
            <a:miter lim="800000"/>
            <a:headEnd/>
            <a:tailEnd/>
          </a:ln>
        </p:spPr>
        <p:txBody>
          <a:bodyPr wrap="square" lIns="88900" tIns="88900" rIns="88900" bIns="88900" rtlCol="0" anchor="ctr"/>
          <a:lstStyle/>
          <a:p>
            <a:pPr>
              <a:lnSpc>
                <a:spcPct val="106000"/>
              </a:lnSpc>
            </a:pPr>
            <a:r>
              <a:rPr lang="en-US" sz="1000" b="1" dirty="0">
                <a:ea typeface="Open Sans" panose="020B0606030504020204" pitchFamily="34" charset="0"/>
                <a:cs typeface="Open Sans" panose="020B0606030504020204" pitchFamily="34" charset="0"/>
              </a:rPr>
              <a:t>The PORTFOLIO balance</a:t>
            </a:r>
          </a:p>
        </p:txBody>
      </p:sp>
      <p:cxnSp>
        <p:nvCxnSpPr>
          <p:cNvPr id="55" name="Straight Arrow Connector 54">
            <a:extLst>
              <a:ext uri="{FF2B5EF4-FFF2-40B4-BE49-F238E27FC236}">
                <a16:creationId xmlns:a16="http://schemas.microsoft.com/office/drawing/2014/main" id="{F77268C2-ACFE-0D37-C57D-BC15BE0ED0D5}"/>
              </a:ext>
            </a:extLst>
          </p:cNvPr>
          <p:cNvCxnSpPr>
            <a:cxnSpLocks/>
          </p:cNvCxnSpPr>
          <p:nvPr/>
        </p:nvCxnSpPr>
        <p:spPr>
          <a:xfrm flipH="1">
            <a:off x="5676035" y="2843440"/>
            <a:ext cx="146304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A379091-E550-115A-A6F3-BC9D8F365861}"/>
              </a:ext>
            </a:extLst>
          </p:cNvPr>
          <p:cNvCxnSpPr>
            <a:cxnSpLocks/>
          </p:cNvCxnSpPr>
          <p:nvPr/>
        </p:nvCxnSpPr>
        <p:spPr>
          <a:xfrm flipH="1">
            <a:off x="8168752" y="2843440"/>
            <a:ext cx="146304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Arc 57">
            <a:extLst>
              <a:ext uri="{FF2B5EF4-FFF2-40B4-BE49-F238E27FC236}">
                <a16:creationId xmlns:a16="http://schemas.microsoft.com/office/drawing/2014/main" id="{17F75954-8306-0D3E-2D23-41F647BA1E2D}"/>
              </a:ext>
            </a:extLst>
          </p:cNvPr>
          <p:cNvSpPr/>
          <p:nvPr/>
        </p:nvSpPr>
        <p:spPr>
          <a:xfrm flipH="1">
            <a:off x="4870056" y="1859339"/>
            <a:ext cx="3798089" cy="850294"/>
          </a:xfrm>
          <a:prstGeom prst="arc">
            <a:avLst>
              <a:gd name="adj1" fmla="val 15741503"/>
              <a:gd name="adj2" fmla="val 0"/>
            </a:avLst>
          </a:prstGeom>
          <a:ln>
            <a:solidFill>
              <a:srgbClr val="BFBFB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ea typeface="Open Sans" panose="020B0606030504020204" pitchFamily="34" charset="0"/>
              <a:cs typeface="Open Sans" panose="020B0606030504020204" pitchFamily="34" charset="0"/>
            </a:endParaRPr>
          </a:p>
        </p:txBody>
      </p:sp>
      <p:sp>
        <p:nvSpPr>
          <p:cNvPr id="59" name="Isosceles Triangle 58">
            <a:extLst>
              <a:ext uri="{FF2B5EF4-FFF2-40B4-BE49-F238E27FC236}">
                <a16:creationId xmlns:a16="http://schemas.microsoft.com/office/drawing/2014/main" id="{2978AA5D-D601-0F90-6B1B-F66FDF106726}"/>
              </a:ext>
            </a:extLst>
          </p:cNvPr>
          <p:cNvSpPr/>
          <p:nvPr/>
        </p:nvSpPr>
        <p:spPr bwMode="gray">
          <a:xfrm rot="5400000">
            <a:off x="6804522" y="1832793"/>
            <a:ext cx="104501" cy="63280"/>
          </a:xfrm>
          <a:prstGeom prst="triangle">
            <a:avLst/>
          </a:prstGeom>
          <a:solidFill>
            <a:srgbClr val="ACB2B5"/>
          </a:solidFill>
          <a:ln w="19050" algn="ctr">
            <a:solidFill>
              <a:srgbClr val="ACB2B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a typeface="Open Sans" panose="020B0606030504020204" pitchFamily="34" charset="0"/>
              <a:cs typeface="Open Sans" panose="020B0606030504020204" pitchFamily="34" charset="0"/>
            </a:endParaRPr>
          </a:p>
        </p:txBody>
      </p:sp>
      <p:sp>
        <p:nvSpPr>
          <p:cNvPr id="60" name="Isosceles Triangle 59">
            <a:extLst>
              <a:ext uri="{FF2B5EF4-FFF2-40B4-BE49-F238E27FC236}">
                <a16:creationId xmlns:a16="http://schemas.microsoft.com/office/drawing/2014/main" id="{F49DF042-7A7C-BD6B-123F-914A0DC76D1E}"/>
              </a:ext>
            </a:extLst>
          </p:cNvPr>
          <p:cNvSpPr/>
          <p:nvPr/>
        </p:nvSpPr>
        <p:spPr bwMode="gray">
          <a:xfrm rot="10800000">
            <a:off x="10640249" y="2286597"/>
            <a:ext cx="104501" cy="63280"/>
          </a:xfrm>
          <a:prstGeom prst="triangle">
            <a:avLst/>
          </a:prstGeom>
          <a:solidFill>
            <a:srgbClr val="ACB2B5"/>
          </a:solidFill>
          <a:ln w="19050" algn="ctr">
            <a:solidFill>
              <a:srgbClr val="ACB2B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a typeface="Open Sans" panose="020B0606030504020204" pitchFamily="34" charset="0"/>
              <a:cs typeface="Open Sans" panose="020B0606030504020204" pitchFamily="34" charset="0"/>
            </a:endParaRPr>
          </a:p>
        </p:txBody>
      </p:sp>
      <p:sp>
        <p:nvSpPr>
          <p:cNvPr id="61" name="Rectangle 60">
            <a:extLst>
              <a:ext uri="{FF2B5EF4-FFF2-40B4-BE49-F238E27FC236}">
                <a16:creationId xmlns:a16="http://schemas.microsoft.com/office/drawing/2014/main" id="{DD391784-B329-7ADC-24A0-D5E54C50BBE7}"/>
              </a:ext>
            </a:extLst>
          </p:cNvPr>
          <p:cNvSpPr/>
          <p:nvPr/>
        </p:nvSpPr>
        <p:spPr bwMode="gray">
          <a:xfrm>
            <a:off x="5357307" y="1796034"/>
            <a:ext cx="1171518" cy="20157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pPr>
            <a:r>
              <a:rPr lang="en-US" sz="900" b="1" dirty="0">
                <a:ea typeface="Open Sans" panose="020B0606030504020204" pitchFamily="34" charset="0"/>
                <a:cs typeface="Open Sans" panose="020B0606030504020204" pitchFamily="34" charset="0"/>
              </a:rPr>
              <a:t>Adjust  initiatives based on metrics</a:t>
            </a:r>
          </a:p>
        </p:txBody>
      </p:sp>
      <p:sp>
        <p:nvSpPr>
          <p:cNvPr id="63" name="Rectangle 62">
            <a:extLst>
              <a:ext uri="{FF2B5EF4-FFF2-40B4-BE49-F238E27FC236}">
                <a16:creationId xmlns:a16="http://schemas.microsoft.com/office/drawing/2014/main" id="{95E5671A-C06D-2671-34DC-454A5AF0EEF6}"/>
              </a:ext>
            </a:extLst>
          </p:cNvPr>
          <p:cNvSpPr/>
          <p:nvPr/>
        </p:nvSpPr>
        <p:spPr bwMode="gray">
          <a:xfrm>
            <a:off x="5707897" y="2639184"/>
            <a:ext cx="1527422" cy="2610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ea typeface="Open Sans" panose="020B0606030504020204" pitchFamily="34" charset="0"/>
                <a:cs typeface="Open Sans" panose="020B0606030504020204" pitchFamily="34" charset="0"/>
              </a:rPr>
              <a:t>Adjust metrics and governance based on the initiative's ambition level</a:t>
            </a:r>
          </a:p>
        </p:txBody>
      </p:sp>
      <p:sp>
        <p:nvSpPr>
          <p:cNvPr id="64" name="Rectangle 63">
            <a:extLst>
              <a:ext uri="{FF2B5EF4-FFF2-40B4-BE49-F238E27FC236}">
                <a16:creationId xmlns:a16="http://schemas.microsoft.com/office/drawing/2014/main" id="{ABCFB998-11FC-F6EB-875E-C786D670C01D}"/>
              </a:ext>
            </a:extLst>
          </p:cNvPr>
          <p:cNvSpPr/>
          <p:nvPr/>
        </p:nvSpPr>
        <p:spPr bwMode="gray">
          <a:xfrm>
            <a:off x="8225970" y="2556475"/>
            <a:ext cx="1441518" cy="277685"/>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US" sz="900" b="1" dirty="0">
                <a:ea typeface="Open Sans" panose="020B0606030504020204" pitchFamily="34" charset="0"/>
                <a:cs typeface="Open Sans" panose="020B0606030504020204" pitchFamily="34" charset="0"/>
              </a:rPr>
              <a:t>Monitor and manage the balance of initiatives, across ambition levels and themes</a:t>
            </a:r>
          </a:p>
        </p:txBody>
      </p:sp>
      <p:sp>
        <p:nvSpPr>
          <p:cNvPr id="65" name="Isosceles Triangle 64">
            <a:extLst>
              <a:ext uri="{FF2B5EF4-FFF2-40B4-BE49-F238E27FC236}">
                <a16:creationId xmlns:a16="http://schemas.microsoft.com/office/drawing/2014/main" id="{D524E15B-CE56-7CB1-02DC-7999C2612099}"/>
              </a:ext>
            </a:extLst>
          </p:cNvPr>
          <p:cNvSpPr/>
          <p:nvPr/>
        </p:nvSpPr>
        <p:spPr bwMode="gray">
          <a:xfrm rot="5400000">
            <a:off x="3280190" y="2238101"/>
            <a:ext cx="347710" cy="200297"/>
          </a:xfrm>
          <a:prstGeom prst="triangle">
            <a:avLst/>
          </a:prstGeom>
          <a:solidFill>
            <a:schemeClr val="tx2">
              <a:lumMod val="20000"/>
              <a:lumOff val="80000"/>
            </a:schemeClr>
          </a:solidFill>
          <a:ln w="1905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a typeface="Open Sans" panose="020B0606030504020204" pitchFamily="34" charset="0"/>
              <a:cs typeface="Open Sans" panose="020B0606030504020204" pitchFamily="34" charset="0"/>
            </a:endParaRPr>
          </a:p>
        </p:txBody>
      </p:sp>
      <p:sp>
        <p:nvSpPr>
          <p:cNvPr id="66" name="Isosceles Triangle 65">
            <a:extLst>
              <a:ext uri="{FF2B5EF4-FFF2-40B4-BE49-F238E27FC236}">
                <a16:creationId xmlns:a16="http://schemas.microsoft.com/office/drawing/2014/main" id="{BEAB0845-BDB1-830A-BC13-E382F56432A0}"/>
              </a:ext>
            </a:extLst>
          </p:cNvPr>
          <p:cNvSpPr/>
          <p:nvPr/>
        </p:nvSpPr>
        <p:spPr bwMode="gray">
          <a:xfrm rot="5400000">
            <a:off x="3280189" y="3681547"/>
            <a:ext cx="347710" cy="200297"/>
          </a:xfrm>
          <a:prstGeom prst="triangle">
            <a:avLst/>
          </a:prstGeom>
          <a:solidFill>
            <a:schemeClr val="tx2">
              <a:lumMod val="20000"/>
              <a:lumOff val="80000"/>
            </a:schemeClr>
          </a:solidFill>
          <a:ln w="1905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a typeface="Open Sans" panose="020B0606030504020204" pitchFamily="34" charset="0"/>
              <a:cs typeface="Open Sans" panose="020B0606030504020204" pitchFamily="34" charset="0"/>
            </a:endParaRPr>
          </a:p>
        </p:txBody>
      </p:sp>
      <p:sp>
        <p:nvSpPr>
          <p:cNvPr id="67" name="Isosceles Triangle 66">
            <a:extLst>
              <a:ext uri="{FF2B5EF4-FFF2-40B4-BE49-F238E27FC236}">
                <a16:creationId xmlns:a16="http://schemas.microsoft.com/office/drawing/2014/main" id="{0472720A-2E24-90D0-8B7E-CF7354F69CBF}"/>
              </a:ext>
            </a:extLst>
          </p:cNvPr>
          <p:cNvSpPr/>
          <p:nvPr/>
        </p:nvSpPr>
        <p:spPr bwMode="gray">
          <a:xfrm rot="5400000">
            <a:off x="3281200" y="5124993"/>
            <a:ext cx="347710" cy="200297"/>
          </a:xfrm>
          <a:prstGeom prst="triangle">
            <a:avLst/>
          </a:prstGeom>
          <a:solidFill>
            <a:schemeClr val="tx2">
              <a:lumMod val="20000"/>
              <a:lumOff val="80000"/>
            </a:schemeClr>
          </a:solidFill>
          <a:ln w="1905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a typeface="Open Sans" panose="020B0606030504020204" pitchFamily="34" charset="0"/>
              <a:cs typeface="Open Sans" panose="020B0606030504020204" pitchFamily="34" charset="0"/>
            </a:endParaRPr>
          </a:p>
        </p:txBody>
      </p:sp>
      <p:cxnSp>
        <p:nvCxnSpPr>
          <p:cNvPr id="68" name="Straight Connector 67">
            <a:extLst>
              <a:ext uri="{FF2B5EF4-FFF2-40B4-BE49-F238E27FC236}">
                <a16:creationId xmlns:a16="http://schemas.microsoft.com/office/drawing/2014/main" id="{A76D22C6-57EA-735A-5174-38E56FCBEC33}"/>
              </a:ext>
            </a:extLst>
          </p:cNvPr>
          <p:cNvCxnSpPr>
            <a:cxnSpLocks/>
          </p:cNvCxnSpPr>
          <p:nvPr/>
        </p:nvCxnSpPr>
        <p:spPr>
          <a:xfrm rot="16200000" flipH="1">
            <a:off x="7578621" y="-655159"/>
            <a:ext cx="0" cy="7955280"/>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8CF0D03F-8DF9-2C0C-E3BD-BD384B04C8C9}"/>
              </a:ext>
            </a:extLst>
          </p:cNvPr>
          <p:cNvSpPr txBox="1"/>
          <p:nvPr/>
        </p:nvSpPr>
        <p:spPr>
          <a:xfrm>
            <a:off x="3609200" y="3383764"/>
            <a:ext cx="1801800" cy="430887"/>
          </a:xfrm>
          <a:prstGeom prst="rect">
            <a:avLst/>
          </a:prstGeom>
          <a:noFill/>
        </p:spPr>
        <p:txBody>
          <a:bodyPr wrap="square" lIns="0" tIns="0" rIns="0" bIns="0" rtlCol="0">
            <a:spAutoFit/>
          </a:bodyPr>
          <a:lstStyle/>
          <a:p>
            <a:pPr>
              <a:spcBef>
                <a:spcPts val="600"/>
              </a:spcBef>
              <a:buSzPct val="100000"/>
            </a:pPr>
            <a:r>
              <a:rPr lang="en-US" sz="1400" b="1" dirty="0">
                <a:solidFill>
                  <a:schemeClr val="accent3">
                    <a:lumMod val="75000"/>
                  </a:schemeClr>
                </a:solidFill>
                <a:ea typeface="Open Sans" panose="020B0606030504020204" pitchFamily="34" charset="0"/>
                <a:cs typeface="Open Sans" panose="020B0606030504020204" pitchFamily="34" charset="0"/>
              </a:rPr>
              <a:t>DESIGN and SCALE INNOVATIONS</a:t>
            </a:r>
          </a:p>
        </p:txBody>
      </p:sp>
      <p:cxnSp>
        <p:nvCxnSpPr>
          <p:cNvPr id="70" name="Straight Connector 69">
            <a:extLst>
              <a:ext uri="{FF2B5EF4-FFF2-40B4-BE49-F238E27FC236}">
                <a16:creationId xmlns:a16="http://schemas.microsoft.com/office/drawing/2014/main" id="{4DEA8A94-5991-DFF0-A596-EB983C269AFA}"/>
              </a:ext>
            </a:extLst>
          </p:cNvPr>
          <p:cNvCxnSpPr>
            <a:cxnSpLocks/>
          </p:cNvCxnSpPr>
          <p:nvPr/>
        </p:nvCxnSpPr>
        <p:spPr>
          <a:xfrm rot="16200000" flipH="1">
            <a:off x="7578131" y="944560"/>
            <a:ext cx="0" cy="7955280"/>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C281E8F-7596-B6F2-C044-D4AD5FE27AA3}"/>
              </a:ext>
            </a:extLst>
          </p:cNvPr>
          <p:cNvSpPr txBox="1"/>
          <p:nvPr/>
        </p:nvSpPr>
        <p:spPr>
          <a:xfrm>
            <a:off x="3608710" y="4942358"/>
            <a:ext cx="1801800" cy="215444"/>
          </a:xfrm>
          <a:prstGeom prst="rect">
            <a:avLst/>
          </a:prstGeom>
          <a:noFill/>
        </p:spPr>
        <p:txBody>
          <a:bodyPr wrap="square" lIns="0" tIns="0" rIns="0" bIns="0" rtlCol="0">
            <a:spAutoFit/>
          </a:bodyPr>
          <a:lstStyle/>
          <a:p>
            <a:pPr>
              <a:spcBef>
                <a:spcPts val="600"/>
              </a:spcBef>
              <a:buSzPct val="100000"/>
            </a:pPr>
            <a:r>
              <a:rPr lang="en-US" sz="1400" b="1" dirty="0">
                <a:solidFill>
                  <a:srgbClr val="0076A8"/>
                </a:solidFill>
                <a:ea typeface="Open Sans" panose="020B0606030504020204" pitchFamily="34" charset="0"/>
                <a:cs typeface="Open Sans" panose="020B0606030504020204" pitchFamily="34" charset="0"/>
              </a:rPr>
              <a:t>FUEL</a:t>
            </a:r>
            <a:r>
              <a:rPr lang="en-US" sz="1400" b="1" dirty="0">
                <a:solidFill>
                  <a:srgbClr val="6FC2B4"/>
                </a:solidFill>
                <a:ea typeface="Open Sans" panose="020B0606030504020204" pitchFamily="34" charset="0"/>
                <a:cs typeface="Open Sans" panose="020B0606030504020204" pitchFamily="34" charset="0"/>
              </a:rPr>
              <a:t> </a:t>
            </a:r>
            <a:r>
              <a:rPr lang="en-US" sz="1400" b="1" dirty="0">
                <a:solidFill>
                  <a:srgbClr val="0076A8"/>
                </a:solidFill>
                <a:ea typeface="Open Sans" panose="020B0606030504020204" pitchFamily="34" charset="0"/>
                <a:cs typeface="Open Sans" panose="020B0606030504020204" pitchFamily="34" charset="0"/>
              </a:rPr>
              <a:t>INNOVATION</a:t>
            </a:r>
          </a:p>
        </p:txBody>
      </p:sp>
      <p:sp>
        <p:nvSpPr>
          <p:cNvPr id="73" name="Rectangle 72">
            <a:extLst>
              <a:ext uri="{FF2B5EF4-FFF2-40B4-BE49-F238E27FC236}">
                <a16:creationId xmlns:a16="http://schemas.microsoft.com/office/drawing/2014/main" id="{3AA870A0-E6D2-83C4-02DF-32B4E755F0EE}"/>
              </a:ext>
            </a:extLst>
          </p:cNvPr>
          <p:cNvSpPr/>
          <p:nvPr/>
        </p:nvSpPr>
        <p:spPr bwMode="gray">
          <a:xfrm>
            <a:off x="5410511" y="3422182"/>
            <a:ext cx="4339444" cy="1414917"/>
          </a:xfrm>
          <a:prstGeom prst="rect">
            <a:avLst/>
          </a:prstGeom>
          <a:solidFill>
            <a:schemeClr val="bg1"/>
          </a:solidFill>
          <a:ln w="28575" algn="ctr">
            <a:solidFill>
              <a:srgbClr val="34FFFF"/>
            </a:solidFill>
            <a:miter lim="800000"/>
            <a:headEnd/>
            <a:tailEnd/>
          </a:ln>
        </p:spPr>
        <p:txBody>
          <a:bodyPr wrap="square" lIns="88900" tIns="88900" rIns="88900" bIns="88900" rtlCol="0" anchor="t"/>
          <a:lstStyle/>
          <a:p>
            <a:pPr marL="228600" indent="-228600">
              <a:lnSpc>
                <a:spcPct val="106000"/>
              </a:lnSpc>
              <a:buFont typeface="+mj-lt"/>
              <a:buAutoNum type="arabicPeriod" startAt="7"/>
            </a:pPr>
            <a:r>
              <a:rPr lang="en-US" sz="1050" b="1" dirty="0">
                <a:ea typeface="Open Sans" panose="020B0606030504020204" pitchFamily="34" charset="0"/>
                <a:cs typeface="Open Sans" panose="020B0606030504020204" pitchFamily="34" charset="0"/>
              </a:rPr>
              <a:t>Process</a:t>
            </a:r>
          </a:p>
          <a:p>
            <a:pPr>
              <a:lnSpc>
                <a:spcPct val="106000"/>
              </a:lnSpc>
            </a:pPr>
            <a:r>
              <a:rPr lang="en-US" sz="900" dirty="0">
                <a:ea typeface="Open Sans" panose="020B0606030504020204" pitchFamily="34" charset="0"/>
                <a:cs typeface="Open Sans" panose="020B0606030504020204" pitchFamily="34" charset="0"/>
              </a:rPr>
              <a:t>Methods and approaches to drive core, and-</a:t>
            </a:r>
          </a:p>
          <a:p>
            <a:pPr>
              <a:lnSpc>
                <a:spcPct val="106000"/>
              </a:lnSpc>
            </a:pPr>
            <a:r>
              <a:rPr lang="en-US" sz="900" dirty="0">
                <a:ea typeface="Open Sans" panose="020B0606030504020204" pitchFamily="34" charset="0"/>
                <a:cs typeface="Open Sans" panose="020B0606030504020204" pitchFamily="34" charset="0"/>
              </a:rPr>
              <a:t>Transformational innovations from insight-to-market and beyond</a:t>
            </a:r>
          </a:p>
        </p:txBody>
      </p:sp>
      <p:sp>
        <p:nvSpPr>
          <p:cNvPr id="74" name="Rectangle 73">
            <a:extLst>
              <a:ext uri="{FF2B5EF4-FFF2-40B4-BE49-F238E27FC236}">
                <a16:creationId xmlns:a16="http://schemas.microsoft.com/office/drawing/2014/main" id="{F4C94E36-3306-1113-EB93-62E828999029}"/>
              </a:ext>
            </a:extLst>
          </p:cNvPr>
          <p:cNvSpPr/>
          <p:nvPr/>
        </p:nvSpPr>
        <p:spPr bwMode="gray">
          <a:xfrm>
            <a:off x="5528884" y="4301045"/>
            <a:ext cx="676851" cy="208796"/>
          </a:xfrm>
          <a:prstGeom prst="rect">
            <a:avLst/>
          </a:prstGeom>
          <a:noFill/>
          <a:ln w="19050" algn="ctr">
            <a:solidFill>
              <a:schemeClr val="accent1">
                <a:lumMod val="60000"/>
                <a:lumOff val="4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ea typeface="Open Sans" panose="020B0606030504020204" pitchFamily="34" charset="0"/>
                <a:cs typeface="Open Sans" panose="020B0606030504020204" pitchFamily="34" charset="0"/>
              </a:rPr>
              <a:t>Frame</a:t>
            </a:r>
          </a:p>
        </p:txBody>
      </p:sp>
      <p:sp>
        <p:nvSpPr>
          <p:cNvPr id="75" name="Rectangle 74">
            <a:extLst>
              <a:ext uri="{FF2B5EF4-FFF2-40B4-BE49-F238E27FC236}">
                <a16:creationId xmlns:a16="http://schemas.microsoft.com/office/drawing/2014/main" id="{A6C15CF8-418B-DCE3-A8AE-67896C2B3830}"/>
              </a:ext>
            </a:extLst>
          </p:cNvPr>
          <p:cNvSpPr/>
          <p:nvPr/>
        </p:nvSpPr>
        <p:spPr bwMode="gray">
          <a:xfrm>
            <a:off x="6370783" y="4301045"/>
            <a:ext cx="676851" cy="208796"/>
          </a:xfrm>
          <a:prstGeom prst="rect">
            <a:avLst/>
          </a:prstGeom>
          <a:noFill/>
          <a:ln w="19050" algn="ctr">
            <a:solidFill>
              <a:schemeClr val="accent1">
                <a:lumMod val="60000"/>
                <a:lumOff val="4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ea typeface="Open Sans" panose="020B0606030504020204" pitchFamily="34" charset="0"/>
                <a:cs typeface="Open Sans" panose="020B0606030504020204" pitchFamily="34" charset="0"/>
              </a:rPr>
              <a:t>Design</a:t>
            </a:r>
          </a:p>
        </p:txBody>
      </p:sp>
      <p:sp>
        <p:nvSpPr>
          <p:cNvPr id="76" name="Rectangle 75">
            <a:extLst>
              <a:ext uri="{FF2B5EF4-FFF2-40B4-BE49-F238E27FC236}">
                <a16:creationId xmlns:a16="http://schemas.microsoft.com/office/drawing/2014/main" id="{84BD0A7E-F420-C3C0-4308-993B649CDC96}"/>
              </a:ext>
            </a:extLst>
          </p:cNvPr>
          <p:cNvSpPr/>
          <p:nvPr/>
        </p:nvSpPr>
        <p:spPr bwMode="gray">
          <a:xfrm>
            <a:off x="7212682" y="4301045"/>
            <a:ext cx="676851" cy="208796"/>
          </a:xfrm>
          <a:prstGeom prst="rect">
            <a:avLst/>
          </a:prstGeom>
          <a:noFill/>
          <a:ln w="19050" algn="ctr">
            <a:solidFill>
              <a:schemeClr val="accent1">
                <a:lumMod val="60000"/>
                <a:lumOff val="4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ea typeface="Open Sans" panose="020B0606030504020204" pitchFamily="34" charset="0"/>
                <a:cs typeface="Open Sans" panose="020B0606030504020204" pitchFamily="34" charset="0"/>
              </a:rPr>
              <a:t>Pilot</a:t>
            </a:r>
          </a:p>
        </p:txBody>
      </p:sp>
      <p:sp>
        <p:nvSpPr>
          <p:cNvPr id="77" name="Rectangle 76">
            <a:extLst>
              <a:ext uri="{FF2B5EF4-FFF2-40B4-BE49-F238E27FC236}">
                <a16:creationId xmlns:a16="http://schemas.microsoft.com/office/drawing/2014/main" id="{B7B04041-430E-0685-839B-75BCB86A9EB8}"/>
              </a:ext>
            </a:extLst>
          </p:cNvPr>
          <p:cNvSpPr/>
          <p:nvPr/>
        </p:nvSpPr>
        <p:spPr bwMode="gray">
          <a:xfrm>
            <a:off x="8054580" y="4301045"/>
            <a:ext cx="676851" cy="208796"/>
          </a:xfrm>
          <a:prstGeom prst="rect">
            <a:avLst/>
          </a:prstGeom>
          <a:noFill/>
          <a:ln w="19050" algn="ctr">
            <a:solidFill>
              <a:schemeClr val="accent1">
                <a:lumMod val="60000"/>
                <a:lumOff val="4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ea typeface="Open Sans" panose="020B0606030504020204" pitchFamily="34" charset="0"/>
                <a:cs typeface="Open Sans" panose="020B0606030504020204" pitchFamily="34" charset="0"/>
              </a:rPr>
              <a:t>Launch</a:t>
            </a:r>
          </a:p>
        </p:txBody>
      </p:sp>
      <p:sp>
        <p:nvSpPr>
          <p:cNvPr id="78" name="Rectangle 77">
            <a:extLst>
              <a:ext uri="{FF2B5EF4-FFF2-40B4-BE49-F238E27FC236}">
                <a16:creationId xmlns:a16="http://schemas.microsoft.com/office/drawing/2014/main" id="{313A6999-80C7-6C14-8EAB-5C3532465E9D}"/>
              </a:ext>
            </a:extLst>
          </p:cNvPr>
          <p:cNvSpPr/>
          <p:nvPr/>
        </p:nvSpPr>
        <p:spPr bwMode="gray">
          <a:xfrm>
            <a:off x="8896479" y="4301045"/>
            <a:ext cx="676851" cy="208796"/>
          </a:xfrm>
          <a:prstGeom prst="rect">
            <a:avLst/>
          </a:prstGeom>
          <a:noFill/>
          <a:ln w="19050" algn="ctr">
            <a:solidFill>
              <a:schemeClr val="accent1">
                <a:lumMod val="60000"/>
                <a:lumOff val="4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ea typeface="Open Sans" panose="020B0606030504020204" pitchFamily="34" charset="0"/>
                <a:cs typeface="Open Sans" panose="020B0606030504020204" pitchFamily="34" charset="0"/>
              </a:rPr>
              <a:t>Scale</a:t>
            </a:r>
          </a:p>
        </p:txBody>
      </p:sp>
      <p:sp>
        <p:nvSpPr>
          <p:cNvPr id="79" name="Arrow: Chevron 78">
            <a:extLst>
              <a:ext uri="{FF2B5EF4-FFF2-40B4-BE49-F238E27FC236}">
                <a16:creationId xmlns:a16="http://schemas.microsoft.com/office/drawing/2014/main" id="{09BE59DF-FD96-94C7-D4F3-C3DE5935C904}"/>
              </a:ext>
            </a:extLst>
          </p:cNvPr>
          <p:cNvSpPr/>
          <p:nvPr/>
        </p:nvSpPr>
        <p:spPr bwMode="gray">
          <a:xfrm>
            <a:off x="6233147" y="4267623"/>
            <a:ext cx="105789" cy="276395"/>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ea typeface="Open Sans" panose="020B0606030504020204" pitchFamily="34" charset="0"/>
              <a:cs typeface="Open Sans" panose="020B0606030504020204" pitchFamily="34" charset="0"/>
            </a:endParaRPr>
          </a:p>
        </p:txBody>
      </p:sp>
      <p:sp>
        <p:nvSpPr>
          <p:cNvPr id="80" name="Arrow: Chevron 79">
            <a:extLst>
              <a:ext uri="{FF2B5EF4-FFF2-40B4-BE49-F238E27FC236}">
                <a16:creationId xmlns:a16="http://schemas.microsoft.com/office/drawing/2014/main" id="{03C7B26D-51FB-628D-E1AA-EED0174A0793}"/>
              </a:ext>
            </a:extLst>
          </p:cNvPr>
          <p:cNvSpPr/>
          <p:nvPr/>
        </p:nvSpPr>
        <p:spPr bwMode="gray">
          <a:xfrm>
            <a:off x="7078208" y="4267245"/>
            <a:ext cx="105789" cy="276395"/>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ea typeface="Open Sans" panose="020B0606030504020204" pitchFamily="34" charset="0"/>
              <a:cs typeface="Open Sans" panose="020B0606030504020204" pitchFamily="34" charset="0"/>
            </a:endParaRPr>
          </a:p>
        </p:txBody>
      </p:sp>
      <p:sp>
        <p:nvSpPr>
          <p:cNvPr id="81" name="Arrow: Chevron 80">
            <a:extLst>
              <a:ext uri="{FF2B5EF4-FFF2-40B4-BE49-F238E27FC236}">
                <a16:creationId xmlns:a16="http://schemas.microsoft.com/office/drawing/2014/main" id="{FD0E502C-1E38-2107-8BAE-6F165E3E592C}"/>
              </a:ext>
            </a:extLst>
          </p:cNvPr>
          <p:cNvSpPr/>
          <p:nvPr/>
        </p:nvSpPr>
        <p:spPr bwMode="gray">
          <a:xfrm>
            <a:off x="7915902" y="4267245"/>
            <a:ext cx="105789" cy="276395"/>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ea typeface="Open Sans" panose="020B0606030504020204" pitchFamily="34" charset="0"/>
              <a:cs typeface="Open Sans" panose="020B0606030504020204" pitchFamily="34" charset="0"/>
            </a:endParaRPr>
          </a:p>
        </p:txBody>
      </p:sp>
      <p:sp>
        <p:nvSpPr>
          <p:cNvPr id="82" name="Arrow: Chevron 81">
            <a:extLst>
              <a:ext uri="{FF2B5EF4-FFF2-40B4-BE49-F238E27FC236}">
                <a16:creationId xmlns:a16="http://schemas.microsoft.com/office/drawing/2014/main" id="{F35AF80C-345E-238F-8F49-118073DD2F55}"/>
              </a:ext>
            </a:extLst>
          </p:cNvPr>
          <p:cNvSpPr/>
          <p:nvPr/>
        </p:nvSpPr>
        <p:spPr bwMode="gray">
          <a:xfrm>
            <a:off x="8761060" y="4267244"/>
            <a:ext cx="105789" cy="276395"/>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ea typeface="Open Sans" panose="020B0606030504020204" pitchFamily="34" charset="0"/>
              <a:cs typeface="Open Sans" panose="020B0606030504020204" pitchFamily="34" charset="0"/>
            </a:endParaRPr>
          </a:p>
        </p:txBody>
      </p:sp>
      <p:cxnSp>
        <p:nvCxnSpPr>
          <p:cNvPr id="83" name="Straight Arrow Connector 82">
            <a:extLst>
              <a:ext uri="{FF2B5EF4-FFF2-40B4-BE49-F238E27FC236}">
                <a16:creationId xmlns:a16="http://schemas.microsoft.com/office/drawing/2014/main" id="{D95C8E93-8646-9E90-2380-DBC7A4EE72AE}"/>
              </a:ext>
            </a:extLst>
          </p:cNvPr>
          <p:cNvCxnSpPr>
            <a:cxnSpLocks/>
          </p:cNvCxnSpPr>
          <p:nvPr/>
        </p:nvCxnSpPr>
        <p:spPr>
          <a:xfrm>
            <a:off x="9816741" y="4129108"/>
            <a:ext cx="1751518"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4C33346-714E-B134-1721-B61B49F15E20}"/>
              </a:ext>
            </a:extLst>
          </p:cNvPr>
          <p:cNvSpPr txBox="1"/>
          <p:nvPr/>
        </p:nvSpPr>
        <p:spPr>
          <a:xfrm>
            <a:off x="9807984" y="3806029"/>
            <a:ext cx="1789532" cy="276999"/>
          </a:xfrm>
          <a:prstGeom prst="rect">
            <a:avLst/>
          </a:prstGeom>
          <a:noFill/>
        </p:spPr>
        <p:txBody>
          <a:bodyPr wrap="square" lIns="0" tIns="0" rIns="0" bIns="0" rtlCol="0">
            <a:spAutoFit/>
          </a:bodyPr>
          <a:lstStyle/>
          <a:p>
            <a:pPr>
              <a:spcBef>
                <a:spcPts val="600"/>
              </a:spcBef>
              <a:buSzPct val="100000"/>
            </a:pPr>
            <a:r>
              <a:rPr lang="en-US" sz="900" b="1" dirty="0">
                <a:ea typeface="Open Sans" panose="020B0606030504020204" pitchFamily="34" charset="0"/>
                <a:cs typeface="Open Sans" panose="020B0606030504020204" pitchFamily="34" charset="0"/>
              </a:rPr>
              <a:t>Drives innovative performance outcomes and learning</a:t>
            </a:r>
            <a:endParaRPr lang="en-US" sz="1100" b="1" dirty="0">
              <a:ea typeface="Open Sans" panose="020B0606030504020204" pitchFamily="34" charset="0"/>
              <a:cs typeface="Open Sans" panose="020B0606030504020204" pitchFamily="34" charset="0"/>
            </a:endParaRPr>
          </a:p>
        </p:txBody>
      </p:sp>
      <p:sp>
        <p:nvSpPr>
          <p:cNvPr id="85" name="Rectangle 84">
            <a:extLst>
              <a:ext uri="{FF2B5EF4-FFF2-40B4-BE49-F238E27FC236}">
                <a16:creationId xmlns:a16="http://schemas.microsoft.com/office/drawing/2014/main" id="{B8D52AFB-3276-EECA-70B9-77961BA5445B}"/>
              </a:ext>
            </a:extLst>
          </p:cNvPr>
          <p:cNvSpPr/>
          <p:nvPr/>
        </p:nvSpPr>
        <p:spPr bwMode="gray">
          <a:xfrm>
            <a:off x="3608710" y="5307393"/>
            <a:ext cx="1501577" cy="1256693"/>
          </a:xfrm>
          <a:prstGeom prst="rect">
            <a:avLst/>
          </a:prstGeom>
          <a:solidFill>
            <a:schemeClr val="bg1"/>
          </a:solidFill>
          <a:ln w="28575" algn="ctr">
            <a:solidFill>
              <a:srgbClr val="34FFFF"/>
            </a:solidFill>
            <a:miter lim="800000"/>
            <a:headEnd/>
            <a:tailEnd/>
          </a:ln>
        </p:spPr>
        <p:txBody>
          <a:bodyPr wrap="square" lIns="88900" tIns="88900" rIns="88900" bIns="88900" rtlCol="0" anchor="t"/>
          <a:lstStyle/>
          <a:p>
            <a:pPr marL="228600" indent="-228600">
              <a:lnSpc>
                <a:spcPct val="106000"/>
              </a:lnSpc>
              <a:buFont typeface="+mj-lt"/>
              <a:buAutoNum type="arabicPeriod" startAt="8"/>
            </a:pPr>
            <a:r>
              <a:rPr lang="en-US" sz="1000" b="1" dirty="0">
                <a:ea typeface="Open Sans" panose="020B0606030504020204" pitchFamily="34" charset="0"/>
                <a:cs typeface="Open Sans" panose="020B0606030504020204" pitchFamily="34" charset="0"/>
              </a:rPr>
              <a:t>Senior Leadership</a:t>
            </a:r>
          </a:p>
          <a:p>
            <a:pPr>
              <a:lnSpc>
                <a:spcPct val="106000"/>
              </a:lnSpc>
            </a:pPr>
            <a:r>
              <a:rPr lang="en-US" sz="1000" dirty="0">
                <a:ea typeface="Open Sans" panose="020B0606030504020204" pitchFamily="34" charset="0"/>
                <a:cs typeface="Open Sans" panose="020B0606030504020204" pitchFamily="34" charset="0"/>
              </a:rPr>
              <a:t>Leadership who can foster a culture of innovation discipline and remove roadblocks</a:t>
            </a:r>
          </a:p>
        </p:txBody>
      </p:sp>
      <p:sp>
        <p:nvSpPr>
          <p:cNvPr id="86" name="Rectangle 85">
            <a:extLst>
              <a:ext uri="{FF2B5EF4-FFF2-40B4-BE49-F238E27FC236}">
                <a16:creationId xmlns:a16="http://schemas.microsoft.com/office/drawing/2014/main" id="{7F18815B-9A59-4612-4BC8-843E2F593BCB}"/>
              </a:ext>
            </a:extLst>
          </p:cNvPr>
          <p:cNvSpPr/>
          <p:nvPr/>
        </p:nvSpPr>
        <p:spPr bwMode="gray">
          <a:xfrm>
            <a:off x="5220081" y="5307393"/>
            <a:ext cx="1501577" cy="1256691"/>
          </a:xfrm>
          <a:prstGeom prst="rect">
            <a:avLst/>
          </a:prstGeom>
          <a:solidFill>
            <a:schemeClr val="bg1"/>
          </a:solidFill>
          <a:ln w="28575" algn="ctr">
            <a:solidFill>
              <a:srgbClr val="34FFFF"/>
            </a:solidFill>
            <a:miter lim="800000"/>
            <a:headEnd/>
            <a:tailEnd/>
          </a:ln>
        </p:spPr>
        <p:txBody>
          <a:bodyPr wrap="square" lIns="88900" tIns="88900" rIns="88900" bIns="88900" rtlCol="0" anchor="t"/>
          <a:lstStyle/>
          <a:p>
            <a:pPr marL="228600" indent="-228600">
              <a:lnSpc>
                <a:spcPct val="106000"/>
              </a:lnSpc>
              <a:buFont typeface="+mj-lt"/>
              <a:buAutoNum type="arabicPeriod" startAt="9"/>
            </a:pPr>
            <a:r>
              <a:rPr lang="en-US" sz="1000" b="1" dirty="0">
                <a:ea typeface="Open Sans" panose="020B0606030504020204" pitchFamily="34" charset="0"/>
                <a:cs typeface="Open Sans" panose="020B0606030504020204" pitchFamily="34" charset="0"/>
              </a:rPr>
              <a:t>Talent Management</a:t>
            </a:r>
          </a:p>
          <a:p>
            <a:pPr>
              <a:lnSpc>
                <a:spcPct val="106000"/>
              </a:lnSpc>
            </a:pPr>
            <a:r>
              <a:rPr lang="en-US" sz="1000" dirty="0">
                <a:ea typeface="Open Sans" panose="020B0606030504020204" pitchFamily="34" charset="0"/>
                <a:cs typeface="Open Sans" panose="020B0606030504020204" pitchFamily="34" charset="0"/>
              </a:rPr>
              <a:t>System to attract, develop and deploy innovation specialists</a:t>
            </a:r>
          </a:p>
        </p:txBody>
      </p:sp>
      <p:sp>
        <p:nvSpPr>
          <p:cNvPr id="87" name="Rectangle 86">
            <a:extLst>
              <a:ext uri="{FF2B5EF4-FFF2-40B4-BE49-F238E27FC236}">
                <a16:creationId xmlns:a16="http://schemas.microsoft.com/office/drawing/2014/main" id="{14AC186D-2B9B-9E46-8401-E6F93F24C4A7}"/>
              </a:ext>
            </a:extLst>
          </p:cNvPr>
          <p:cNvSpPr/>
          <p:nvPr/>
        </p:nvSpPr>
        <p:spPr bwMode="gray">
          <a:xfrm>
            <a:off x="6831452" y="5307393"/>
            <a:ext cx="1501577" cy="1256688"/>
          </a:xfrm>
          <a:prstGeom prst="rect">
            <a:avLst/>
          </a:prstGeom>
          <a:solidFill>
            <a:schemeClr val="bg1"/>
          </a:solidFill>
          <a:ln w="28575" algn="ctr">
            <a:solidFill>
              <a:srgbClr val="34FFFF"/>
            </a:solidFill>
            <a:miter lim="800000"/>
            <a:headEnd/>
            <a:tailEnd/>
          </a:ln>
        </p:spPr>
        <p:txBody>
          <a:bodyPr wrap="square" lIns="88900" tIns="88900" rIns="88900" bIns="88900" rtlCol="0" anchor="t"/>
          <a:lstStyle/>
          <a:p>
            <a:pPr marL="228600" indent="-228600">
              <a:lnSpc>
                <a:spcPct val="106000"/>
              </a:lnSpc>
              <a:buFont typeface="+mj-lt"/>
              <a:buAutoNum type="arabicPeriod" startAt="10"/>
            </a:pPr>
            <a:r>
              <a:rPr lang="en-US" sz="1000" b="1" dirty="0">
                <a:ea typeface="Open Sans" panose="020B0606030504020204" pitchFamily="34" charset="0"/>
                <a:cs typeface="Open Sans" panose="020B0606030504020204" pitchFamily="34" charset="0"/>
              </a:rPr>
              <a:t>Incentives</a:t>
            </a:r>
          </a:p>
          <a:p>
            <a:pPr>
              <a:lnSpc>
                <a:spcPct val="106000"/>
              </a:lnSpc>
            </a:pPr>
            <a:r>
              <a:rPr lang="en-US" sz="1000" dirty="0">
                <a:ea typeface="Open Sans" panose="020B0606030504020204" pitchFamily="34" charset="0"/>
                <a:cs typeface="Open Sans" panose="020B0606030504020204" pitchFamily="34" charset="0"/>
              </a:rPr>
              <a:t>Mechanisms to reward innovation behaviors and hold people accountable to the innovation strategy</a:t>
            </a:r>
          </a:p>
        </p:txBody>
      </p:sp>
      <p:sp>
        <p:nvSpPr>
          <p:cNvPr id="88" name="Rectangle 87">
            <a:extLst>
              <a:ext uri="{FF2B5EF4-FFF2-40B4-BE49-F238E27FC236}">
                <a16:creationId xmlns:a16="http://schemas.microsoft.com/office/drawing/2014/main" id="{E92EA634-DF1E-449E-5981-F26A3934DA9F}"/>
              </a:ext>
            </a:extLst>
          </p:cNvPr>
          <p:cNvSpPr/>
          <p:nvPr/>
        </p:nvSpPr>
        <p:spPr bwMode="gray">
          <a:xfrm>
            <a:off x="8442823" y="5307393"/>
            <a:ext cx="1501577" cy="1256688"/>
          </a:xfrm>
          <a:prstGeom prst="rect">
            <a:avLst/>
          </a:prstGeom>
          <a:solidFill>
            <a:schemeClr val="bg1"/>
          </a:solidFill>
          <a:ln w="28575" algn="ctr">
            <a:solidFill>
              <a:srgbClr val="34FFFF"/>
            </a:solidFill>
            <a:miter lim="800000"/>
            <a:headEnd/>
            <a:tailEnd/>
          </a:ln>
        </p:spPr>
        <p:txBody>
          <a:bodyPr wrap="square" lIns="88900" tIns="88900" rIns="88900" bIns="88900" rtlCol="0" anchor="t"/>
          <a:lstStyle/>
          <a:p>
            <a:pPr marL="228600" indent="-228600">
              <a:lnSpc>
                <a:spcPct val="106000"/>
              </a:lnSpc>
              <a:buFont typeface="+mj-lt"/>
              <a:buAutoNum type="arabicPeriod" startAt="11"/>
            </a:pPr>
            <a:r>
              <a:rPr lang="en-US" sz="1000" b="1" dirty="0">
                <a:ea typeface="Open Sans" panose="020B0606030504020204" pitchFamily="34" charset="0"/>
                <a:cs typeface="Open Sans" panose="020B0606030504020204" pitchFamily="34" charset="0"/>
              </a:rPr>
              <a:t>Tools + Infrastructure</a:t>
            </a:r>
          </a:p>
          <a:p>
            <a:pPr>
              <a:lnSpc>
                <a:spcPct val="106000"/>
              </a:lnSpc>
            </a:pPr>
            <a:r>
              <a:rPr lang="en-US" sz="1000" dirty="0">
                <a:ea typeface="Open Sans" panose="020B0606030504020204" pitchFamily="34" charset="0"/>
                <a:cs typeface="Open Sans" panose="020B0606030504020204" pitchFamily="34" charset="0"/>
              </a:rPr>
              <a:t>Physical and digital systems and spaces that support the practice of innovation</a:t>
            </a:r>
          </a:p>
        </p:txBody>
      </p:sp>
      <p:sp>
        <p:nvSpPr>
          <p:cNvPr id="89" name="Rectangle 88">
            <a:extLst>
              <a:ext uri="{FF2B5EF4-FFF2-40B4-BE49-F238E27FC236}">
                <a16:creationId xmlns:a16="http://schemas.microsoft.com/office/drawing/2014/main" id="{93CDCF47-07DE-8E52-4330-11B99FE7A970}"/>
              </a:ext>
            </a:extLst>
          </p:cNvPr>
          <p:cNvSpPr/>
          <p:nvPr/>
        </p:nvSpPr>
        <p:spPr bwMode="gray">
          <a:xfrm>
            <a:off x="10054194" y="5307393"/>
            <a:ext cx="1501577" cy="1256688"/>
          </a:xfrm>
          <a:prstGeom prst="rect">
            <a:avLst/>
          </a:prstGeom>
          <a:solidFill>
            <a:schemeClr val="bg1"/>
          </a:solidFill>
          <a:ln w="28575" algn="ctr">
            <a:solidFill>
              <a:srgbClr val="34FFFF"/>
            </a:solidFill>
            <a:miter lim="800000"/>
            <a:headEnd/>
            <a:tailEnd/>
          </a:ln>
        </p:spPr>
        <p:txBody>
          <a:bodyPr wrap="square" lIns="88900" tIns="88900" rIns="88900" bIns="88900" rtlCol="0" anchor="t"/>
          <a:lstStyle/>
          <a:p>
            <a:pPr marL="228600" indent="-228600">
              <a:lnSpc>
                <a:spcPct val="106000"/>
              </a:lnSpc>
              <a:buFont typeface="+mj-lt"/>
              <a:buAutoNum type="arabicPeriod" startAt="12"/>
            </a:pPr>
            <a:r>
              <a:rPr lang="en-US" sz="1000" b="1" dirty="0">
                <a:ea typeface="Open Sans" panose="020B0606030504020204" pitchFamily="34" charset="0"/>
                <a:cs typeface="Open Sans" panose="020B0606030504020204" pitchFamily="34" charset="0"/>
              </a:rPr>
              <a:t>Network</a:t>
            </a:r>
          </a:p>
          <a:p>
            <a:pPr>
              <a:lnSpc>
                <a:spcPct val="106000"/>
              </a:lnSpc>
            </a:pPr>
            <a:r>
              <a:rPr lang="en-US" sz="1000" dirty="0">
                <a:ea typeface="Open Sans" panose="020B0606030504020204" pitchFamily="34" charset="0"/>
                <a:cs typeface="Open Sans" panose="020B0606030504020204" pitchFamily="34" charset="0"/>
              </a:rPr>
              <a:t>Connections to international and external resources and partnerships who can augment and amplify initiatives</a:t>
            </a:r>
          </a:p>
        </p:txBody>
      </p:sp>
      <p:cxnSp>
        <p:nvCxnSpPr>
          <p:cNvPr id="90" name="Connector: Elbow 89">
            <a:extLst>
              <a:ext uri="{FF2B5EF4-FFF2-40B4-BE49-F238E27FC236}">
                <a16:creationId xmlns:a16="http://schemas.microsoft.com/office/drawing/2014/main" id="{E1E568DB-5E50-2076-23AC-2E21CE36131A}"/>
              </a:ext>
            </a:extLst>
          </p:cNvPr>
          <p:cNvCxnSpPr>
            <a:cxnSpLocks/>
            <a:stCxn id="73" idx="2"/>
            <a:endCxn id="85" idx="0"/>
          </p:cNvCxnSpPr>
          <p:nvPr/>
        </p:nvCxnSpPr>
        <p:spPr>
          <a:xfrm rot="5400000">
            <a:off x="5734719" y="3461879"/>
            <a:ext cx="470294" cy="3220734"/>
          </a:xfrm>
          <a:prstGeom prst="bentConnector3">
            <a:avLst>
              <a:gd name="adj1" fmla="val 76329"/>
            </a:avLst>
          </a:prstGeom>
          <a:ln w="19050">
            <a:solidFill>
              <a:srgbClr val="34FFFF"/>
            </a:solidFill>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6ADA60E4-88D7-0646-447B-CACA8B36DD23}"/>
              </a:ext>
            </a:extLst>
          </p:cNvPr>
          <p:cNvCxnSpPr>
            <a:cxnSpLocks/>
            <a:stCxn id="73" idx="2"/>
            <a:endCxn id="86" idx="0"/>
          </p:cNvCxnSpPr>
          <p:nvPr/>
        </p:nvCxnSpPr>
        <p:spPr>
          <a:xfrm rot="5400000">
            <a:off x="6540405" y="4267565"/>
            <a:ext cx="470294" cy="1609363"/>
          </a:xfrm>
          <a:prstGeom prst="bentConnector3">
            <a:avLst>
              <a:gd name="adj1" fmla="val 76329"/>
            </a:avLst>
          </a:prstGeom>
          <a:ln w="19050">
            <a:solidFill>
              <a:srgbClr val="34FFFF"/>
            </a:solidFill>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9C929D21-0F77-4835-86A8-FB8903B7D3D7}"/>
              </a:ext>
            </a:extLst>
          </p:cNvPr>
          <p:cNvCxnSpPr>
            <a:cxnSpLocks/>
            <a:stCxn id="73" idx="2"/>
            <a:endCxn id="88" idx="0"/>
          </p:cNvCxnSpPr>
          <p:nvPr/>
        </p:nvCxnSpPr>
        <p:spPr>
          <a:xfrm rot="16200000" flipH="1">
            <a:off x="8151775" y="4265556"/>
            <a:ext cx="470294" cy="1613379"/>
          </a:xfrm>
          <a:prstGeom prst="bentConnector3">
            <a:avLst>
              <a:gd name="adj1" fmla="val 76330"/>
            </a:avLst>
          </a:prstGeom>
          <a:ln w="19050">
            <a:solidFill>
              <a:srgbClr val="34FFFF"/>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C4208B02-B12F-DC99-CC98-1F7C1E2900EC}"/>
              </a:ext>
            </a:extLst>
          </p:cNvPr>
          <p:cNvCxnSpPr>
            <a:cxnSpLocks/>
            <a:stCxn id="73" idx="2"/>
            <a:endCxn id="89" idx="0"/>
          </p:cNvCxnSpPr>
          <p:nvPr/>
        </p:nvCxnSpPr>
        <p:spPr>
          <a:xfrm rot="16200000" flipH="1">
            <a:off x="8957461" y="3459871"/>
            <a:ext cx="470294" cy="3224750"/>
          </a:xfrm>
          <a:prstGeom prst="bentConnector3">
            <a:avLst>
              <a:gd name="adj1" fmla="val 76329"/>
            </a:avLst>
          </a:prstGeom>
          <a:ln w="19050">
            <a:solidFill>
              <a:srgbClr val="34FFFF"/>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29C687E-CD2F-C61F-F289-F05E2FBBD857}"/>
              </a:ext>
            </a:extLst>
          </p:cNvPr>
          <p:cNvCxnSpPr>
            <a:cxnSpLocks/>
            <a:stCxn id="73" idx="2"/>
            <a:endCxn id="87" idx="0"/>
          </p:cNvCxnSpPr>
          <p:nvPr/>
        </p:nvCxnSpPr>
        <p:spPr>
          <a:xfrm>
            <a:off x="7580233" y="4837099"/>
            <a:ext cx="2008" cy="470294"/>
          </a:xfrm>
          <a:prstGeom prst="line">
            <a:avLst/>
          </a:prstGeom>
          <a:ln w="19050">
            <a:solidFill>
              <a:srgbClr val="34FFFF"/>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2515E3C7-B33F-40CE-E07C-D833929E1E02}"/>
              </a:ext>
            </a:extLst>
          </p:cNvPr>
          <p:cNvSpPr txBox="1"/>
          <p:nvPr/>
        </p:nvSpPr>
        <p:spPr>
          <a:xfrm>
            <a:off x="7671909" y="4995894"/>
            <a:ext cx="4066978" cy="138499"/>
          </a:xfrm>
          <a:prstGeom prst="rect">
            <a:avLst/>
          </a:prstGeom>
          <a:noFill/>
        </p:spPr>
        <p:txBody>
          <a:bodyPr wrap="square" lIns="0" tIns="0" rIns="0" bIns="0" rtlCol="0">
            <a:spAutoFit/>
          </a:bodyPr>
          <a:lstStyle/>
          <a:p>
            <a:pPr>
              <a:spcBef>
                <a:spcPts val="600"/>
              </a:spcBef>
              <a:buSzPct val="100000"/>
            </a:pPr>
            <a:r>
              <a:rPr lang="en-US" sz="900" b="1" dirty="0">
                <a:solidFill>
                  <a:srgbClr val="313131"/>
                </a:solidFill>
                <a:ea typeface="Open Sans" panose="020B0606030504020204" pitchFamily="34" charset="0"/>
                <a:cs typeface="Open Sans" panose="020B0606030504020204" pitchFamily="34" charset="0"/>
              </a:rPr>
              <a:t>Work together as a system to provide resources for innovation efforts </a:t>
            </a:r>
            <a:endParaRPr lang="en-US" sz="1100" b="1" dirty="0">
              <a:solidFill>
                <a:srgbClr val="313131"/>
              </a:solidFill>
              <a:ea typeface="Open Sans" panose="020B0606030504020204" pitchFamily="34" charset="0"/>
              <a:cs typeface="Open Sans" panose="020B0606030504020204" pitchFamily="34" charset="0"/>
            </a:endParaRPr>
          </a:p>
        </p:txBody>
      </p:sp>
      <p:sp>
        <p:nvSpPr>
          <p:cNvPr id="48" name="Rectangle 47">
            <a:extLst>
              <a:ext uri="{FF2B5EF4-FFF2-40B4-BE49-F238E27FC236}">
                <a16:creationId xmlns:a16="http://schemas.microsoft.com/office/drawing/2014/main" id="{535BB273-C5FD-B525-BE3D-75615B844E99}"/>
              </a:ext>
            </a:extLst>
          </p:cNvPr>
          <p:cNvSpPr/>
          <p:nvPr/>
        </p:nvSpPr>
        <p:spPr bwMode="gray">
          <a:xfrm>
            <a:off x="2419004" y="2863127"/>
            <a:ext cx="980902" cy="512752"/>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900" b="1" dirty="0">
                <a:highlight>
                  <a:srgbClr val="FFFFFF"/>
                </a:highlight>
                <a:ea typeface="Open Sans" panose="020B0606030504020204" pitchFamily="34" charset="0"/>
                <a:cs typeface="Open Sans" panose="020B0606030504020204" pitchFamily="34" charset="0"/>
              </a:rPr>
              <a:t>Informs direction of ongoing learning </a:t>
            </a:r>
          </a:p>
        </p:txBody>
      </p:sp>
      <p:sp>
        <p:nvSpPr>
          <p:cNvPr id="49" name="Rectangle 48">
            <a:extLst>
              <a:ext uri="{FF2B5EF4-FFF2-40B4-BE49-F238E27FC236}">
                <a16:creationId xmlns:a16="http://schemas.microsoft.com/office/drawing/2014/main" id="{915E8765-5D22-6694-F171-B6BD88A5DEFA}"/>
              </a:ext>
            </a:extLst>
          </p:cNvPr>
          <p:cNvSpPr/>
          <p:nvPr/>
        </p:nvSpPr>
        <p:spPr bwMode="gray">
          <a:xfrm>
            <a:off x="-45226" y="4811523"/>
            <a:ext cx="1316598" cy="522351"/>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900" b="1" dirty="0">
                <a:ea typeface="Open Sans" panose="020B0606030504020204" pitchFamily="34" charset="0"/>
                <a:cs typeface="Open Sans" panose="020B0606030504020204" pitchFamily="34" charset="0"/>
              </a:rPr>
              <a:t>Informs periodic refresh of themes to pursue</a:t>
            </a:r>
          </a:p>
        </p:txBody>
      </p:sp>
      <p:sp>
        <p:nvSpPr>
          <p:cNvPr id="32" name="Rectangle 31">
            <a:extLst>
              <a:ext uri="{FF2B5EF4-FFF2-40B4-BE49-F238E27FC236}">
                <a16:creationId xmlns:a16="http://schemas.microsoft.com/office/drawing/2014/main" id="{C90FE2C1-A229-C872-9DA1-B3E885E30905}"/>
              </a:ext>
            </a:extLst>
          </p:cNvPr>
          <p:cNvSpPr/>
          <p:nvPr/>
        </p:nvSpPr>
        <p:spPr bwMode="gray">
          <a:xfrm>
            <a:off x="898866" y="3639047"/>
            <a:ext cx="2151320" cy="1064716"/>
          </a:xfrm>
          <a:prstGeom prst="rect">
            <a:avLst/>
          </a:prstGeom>
          <a:solidFill>
            <a:schemeClr val="bg1"/>
          </a:solidFill>
          <a:ln w="28575" algn="ctr">
            <a:solidFill>
              <a:schemeClr val="accent4">
                <a:lumMod val="75000"/>
              </a:schemeClr>
            </a:solidFill>
            <a:miter lim="800000"/>
            <a:headEnd/>
            <a:tailEnd/>
          </a:ln>
        </p:spPr>
        <p:txBody>
          <a:bodyPr wrap="square" lIns="88900" tIns="88900" rIns="88900" bIns="88900" rtlCol="0" anchor="t"/>
          <a:lstStyle/>
          <a:p>
            <a:pPr marL="228600" indent="-228600">
              <a:lnSpc>
                <a:spcPct val="106000"/>
              </a:lnSpc>
              <a:buFont typeface="+mj-lt"/>
              <a:buAutoNum type="arabicPeriod" startAt="2"/>
            </a:pPr>
            <a:r>
              <a:rPr lang="en-US" sz="1000" b="1" dirty="0">
                <a:ea typeface="Open Sans" panose="020B0606030504020204" pitchFamily="34" charset="0"/>
                <a:cs typeface="Open Sans" panose="020B0606030504020204" pitchFamily="34" charset="0"/>
              </a:rPr>
              <a:t>Strategic Themes</a:t>
            </a:r>
          </a:p>
          <a:p>
            <a:pPr>
              <a:lnSpc>
                <a:spcPct val="106000"/>
              </a:lnSpc>
            </a:pPr>
            <a:r>
              <a:rPr lang="en-US" sz="1000" dirty="0">
                <a:ea typeface="Open Sans" panose="020B0606030504020204" pitchFamily="34" charset="0"/>
                <a:cs typeface="Open Sans" panose="020B0606030504020204" pitchFamily="34" charset="0"/>
              </a:rPr>
              <a:t>Declared thematic areas for where the organization needs to grow and stretch</a:t>
            </a:r>
          </a:p>
        </p:txBody>
      </p:sp>
      <p:sp>
        <p:nvSpPr>
          <p:cNvPr id="50" name="Rectangle 49">
            <a:extLst>
              <a:ext uri="{FF2B5EF4-FFF2-40B4-BE49-F238E27FC236}">
                <a16:creationId xmlns:a16="http://schemas.microsoft.com/office/drawing/2014/main" id="{C429EAA9-4E05-8B69-D7AA-228D9F400812}"/>
              </a:ext>
            </a:extLst>
          </p:cNvPr>
          <p:cNvSpPr/>
          <p:nvPr/>
        </p:nvSpPr>
        <p:spPr bwMode="gray">
          <a:xfrm>
            <a:off x="2279654" y="5006255"/>
            <a:ext cx="1096660" cy="1440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ea typeface="Open Sans" panose="020B0606030504020204" pitchFamily="34" charset="0"/>
                <a:cs typeface="Open Sans" panose="020B0606030504020204" pitchFamily="34" charset="0"/>
              </a:rPr>
              <a:t>Cascaded down throughout the organization</a:t>
            </a:r>
          </a:p>
        </p:txBody>
      </p:sp>
      <p:sp>
        <p:nvSpPr>
          <p:cNvPr id="126" name="Arc 125">
            <a:extLst>
              <a:ext uri="{FF2B5EF4-FFF2-40B4-BE49-F238E27FC236}">
                <a16:creationId xmlns:a16="http://schemas.microsoft.com/office/drawing/2014/main" id="{59C6F685-5EDB-EF00-5B98-E06FD8F14F2D}"/>
              </a:ext>
            </a:extLst>
          </p:cNvPr>
          <p:cNvSpPr/>
          <p:nvPr/>
        </p:nvSpPr>
        <p:spPr>
          <a:xfrm>
            <a:off x="7362821" y="1876678"/>
            <a:ext cx="3329678" cy="850294"/>
          </a:xfrm>
          <a:prstGeom prst="arc">
            <a:avLst>
              <a:gd name="adj1" fmla="val 15741503"/>
              <a:gd name="adj2" fmla="val 0"/>
            </a:avLst>
          </a:prstGeom>
          <a:ln>
            <a:solidFill>
              <a:srgbClr val="BFBFB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ea typeface="Open Sans" panose="020B0606030504020204" pitchFamily="34" charset="0"/>
              <a:cs typeface="Open Sans" panose="020B0606030504020204" pitchFamily="34" charset="0"/>
            </a:endParaRPr>
          </a:p>
        </p:txBody>
      </p:sp>
      <p:sp>
        <p:nvSpPr>
          <p:cNvPr id="62" name="Rectangle 61">
            <a:extLst>
              <a:ext uri="{FF2B5EF4-FFF2-40B4-BE49-F238E27FC236}">
                <a16:creationId xmlns:a16="http://schemas.microsoft.com/office/drawing/2014/main" id="{F6243FB9-F79F-0B4F-BB16-E46721B80C28}"/>
              </a:ext>
            </a:extLst>
          </p:cNvPr>
          <p:cNvSpPr/>
          <p:nvPr/>
        </p:nvSpPr>
        <p:spPr bwMode="gray">
          <a:xfrm>
            <a:off x="9129564" y="1883008"/>
            <a:ext cx="2341611" cy="19610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pPr>
            <a:r>
              <a:rPr lang="en-US" sz="900" b="1" dirty="0">
                <a:highlight>
                  <a:srgbClr val="FFFFFF"/>
                </a:highlight>
                <a:ea typeface="Open Sans" panose="020B0606030504020204" pitchFamily="34" charset="0"/>
                <a:cs typeface="Open Sans" panose="020B0606030504020204" pitchFamily="34" charset="0"/>
              </a:rPr>
              <a:t>Provide clear guidelines around which initiatives should be pursued and evaluate progress along the way</a:t>
            </a:r>
          </a:p>
        </p:txBody>
      </p:sp>
    </p:spTree>
    <p:extLst>
      <p:ext uri="{BB962C8B-B14F-4D97-AF65-F5344CB8AC3E}">
        <p14:creationId xmlns:p14="http://schemas.microsoft.com/office/powerpoint/2010/main" val="20837266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7586520D-180A-9530-F485-5853FA68B72E}"/>
              </a:ext>
            </a:extLst>
          </p:cNvPr>
          <p:cNvGraphicFramePr>
            <a:graphicFrameLocks noChangeAspect="1"/>
          </p:cNvGraphicFramePr>
          <p:nvPr>
            <p:custDataLst>
              <p:tags r:id="rId1"/>
            </p:custDataLst>
            <p:extLst>
              <p:ext uri="{D42A27DB-BD31-4B8C-83A1-F6EECF244321}">
                <p14:modId xmlns:p14="http://schemas.microsoft.com/office/powerpoint/2010/main" val="377058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6" name="think-cell data - do not delete" hidden="1">
                        <a:extLst>
                          <a:ext uri="{FF2B5EF4-FFF2-40B4-BE49-F238E27FC236}">
                            <a16:creationId xmlns:a16="http://schemas.microsoft.com/office/drawing/2014/main" id="{7586520D-180A-9530-F485-5853FA68B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02BCA6-D01E-99E4-BC13-B0274BC39361}"/>
              </a:ext>
            </a:extLst>
          </p:cNvPr>
          <p:cNvSpPr>
            <a:spLocks noGrp="1"/>
          </p:cNvSpPr>
          <p:nvPr>
            <p:ph type="title"/>
          </p:nvPr>
        </p:nvSpPr>
        <p:spPr>
          <a:xfrm>
            <a:off x="463294" y="417911"/>
            <a:ext cx="11728705" cy="604301"/>
          </a:xfrm>
        </p:spPr>
        <p:txBody>
          <a:bodyPr vert="horz"/>
          <a:lstStyle/>
          <a:p>
            <a:r>
              <a:rPr lang="en-US" sz="2000" dirty="0"/>
              <a:t>Our global impact initiatives aim</a:t>
            </a:r>
            <a:r>
              <a:rPr lang="en-US" sz="2000"/>
              <a:t> </a:t>
            </a:r>
            <a:r>
              <a:rPr lang="en-US" sz="2000" dirty="0"/>
              <a:t>to promote </a:t>
            </a:r>
            <a:r>
              <a:rPr lang="en-US" sz="2000"/>
              <a:t>ethical </a:t>
            </a:r>
            <a:r>
              <a:rPr lang="en-US" sz="2000" dirty="0"/>
              <a:t>behavior</a:t>
            </a:r>
            <a:r>
              <a:rPr lang="en-US" sz="2000"/>
              <a:t>, </a:t>
            </a:r>
            <a:r>
              <a:rPr lang="en-US" sz="2000" dirty="0"/>
              <a:t>learning and culture,</a:t>
            </a:r>
            <a:r>
              <a:rPr lang="en-US" sz="2000"/>
              <a:t> </a:t>
            </a:r>
            <a:r>
              <a:rPr lang="en-US" sz="2000" dirty="0"/>
              <a:t>sustainable resourcing demonstrating all this by how we run </a:t>
            </a:r>
            <a:r>
              <a:rPr lang="en-US" sz="2000"/>
              <a:t>our </a:t>
            </a:r>
            <a:r>
              <a:rPr lang="en-US" sz="2000" dirty="0"/>
              <a:t>operations and our commitments to communities</a:t>
            </a:r>
          </a:p>
        </p:txBody>
      </p:sp>
      <p:sp>
        <p:nvSpPr>
          <p:cNvPr id="4" name="Rectangular Callout 55">
            <a:extLst>
              <a:ext uri="{FF2B5EF4-FFF2-40B4-BE49-F238E27FC236}">
                <a16:creationId xmlns:a16="http://schemas.microsoft.com/office/drawing/2014/main" id="{DE14FC3A-8366-0EFE-9099-D6CE04F8D2BB}"/>
              </a:ext>
            </a:extLst>
          </p:cNvPr>
          <p:cNvSpPr/>
          <p:nvPr/>
        </p:nvSpPr>
        <p:spPr bwMode="gray">
          <a:xfrm>
            <a:off x="9374101" y="1759491"/>
            <a:ext cx="2374233" cy="990973"/>
          </a:xfrm>
          <a:prstGeom prst="wedgeRectCallout">
            <a:avLst>
              <a:gd name="adj1" fmla="val -33548"/>
              <a:gd name="adj2" fmla="val 72158"/>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5" name="Rectangular Callout 42">
            <a:extLst>
              <a:ext uri="{FF2B5EF4-FFF2-40B4-BE49-F238E27FC236}">
                <a16:creationId xmlns:a16="http://schemas.microsoft.com/office/drawing/2014/main" id="{AF4FD962-0E20-11B9-DDC5-D8F79CA3EB97}"/>
              </a:ext>
            </a:extLst>
          </p:cNvPr>
          <p:cNvSpPr/>
          <p:nvPr/>
        </p:nvSpPr>
        <p:spPr bwMode="gray">
          <a:xfrm>
            <a:off x="4528718" y="3214839"/>
            <a:ext cx="2580445" cy="990973"/>
          </a:xfrm>
          <a:prstGeom prst="wedgeRectCallout">
            <a:avLst>
              <a:gd name="adj1" fmla="val -33548"/>
              <a:gd name="adj2" fmla="val 72158"/>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6" name="Rectangular Callout 16">
            <a:extLst>
              <a:ext uri="{FF2B5EF4-FFF2-40B4-BE49-F238E27FC236}">
                <a16:creationId xmlns:a16="http://schemas.microsoft.com/office/drawing/2014/main" id="{18BC6C98-7A22-D7E9-C11B-286D3DA83D72}"/>
              </a:ext>
            </a:extLst>
          </p:cNvPr>
          <p:cNvSpPr/>
          <p:nvPr/>
        </p:nvSpPr>
        <p:spPr bwMode="gray">
          <a:xfrm>
            <a:off x="4528719" y="1797640"/>
            <a:ext cx="2580445" cy="990973"/>
          </a:xfrm>
          <a:prstGeom prst="wedgeRectCallout">
            <a:avLst>
              <a:gd name="adj1" fmla="val -33548"/>
              <a:gd name="adj2" fmla="val 72158"/>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H" sz="1600" b="1" dirty="0">
              <a:solidFill>
                <a:schemeClr val="bg1"/>
              </a:solidFill>
            </a:endParaRPr>
          </a:p>
        </p:txBody>
      </p:sp>
      <p:sp>
        <p:nvSpPr>
          <p:cNvPr id="7" name="TextBox 6">
            <a:extLst>
              <a:ext uri="{FF2B5EF4-FFF2-40B4-BE49-F238E27FC236}">
                <a16:creationId xmlns:a16="http://schemas.microsoft.com/office/drawing/2014/main" id="{761103DA-BD86-9585-BC56-1D8495DEF57D}"/>
              </a:ext>
            </a:extLst>
          </p:cNvPr>
          <p:cNvSpPr txBox="1"/>
          <p:nvPr/>
        </p:nvSpPr>
        <p:spPr>
          <a:xfrm>
            <a:off x="457199" y="1617580"/>
            <a:ext cx="3895725" cy="4660900"/>
          </a:xfrm>
          <a:prstGeom prst="rect">
            <a:avLst/>
          </a:prstGeom>
          <a:noFill/>
        </p:spPr>
        <p:txBody>
          <a:bodyPr wrap="square" lIns="0" tIns="0" rIns="0" bIns="0" rtlCol="0">
            <a:noAutofit/>
          </a:bodyPr>
          <a:lstStyle/>
          <a:p>
            <a:pPr>
              <a:spcAft>
                <a:spcPts val="600"/>
              </a:spcAft>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We are as committed to our communities as we are to our clients. Our scale, knowledge and tools help transform and safeguard organizations across the globe, but we also use them, and other mechanisms, to promote human dignity and ethical behavior, advance learning and culture, and advocate the sustainable use of natural resources to protect the environment. We demonstrate this through investments in our people, the advice and services we provide to our clients, the way we run our internal operations and commitment to our communities. Examples of our professionals’ involvement in multiple social programs include:</a:t>
            </a:r>
          </a:p>
          <a:p>
            <a:pPr>
              <a:spcAft>
                <a:spcPts val="600"/>
              </a:spcAft>
            </a:pPr>
            <a:r>
              <a:rPr lang="en-US" sz="1000" b="1" dirty="0">
                <a:latin typeface="Open Sans SemiBold" panose="020B0606030504020204" pitchFamily="34" charset="0"/>
                <a:ea typeface="Open Sans SemiBold" panose="020B0606030504020204" pitchFamily="34" charset="0"/>
                <a:cs typeface="Open Sans SemiBold" panose="020B0606030504020204" pitchFamily="34" charset="0"/>
              </a:rPr>
              <a:t>WorldClass</a:t>
            </a:r>
            <a:r>
              <a:rPr lang="en-US" sz="1000" dirty="0">
                <a:ea typeface="Verdana" panose="020B0604030504040204" pitchFamily="34" charset="0"/>
              </a:rPr>
              <a:t>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is Deloitte’s social impact goal. Our goal is to support 100 million people to get to where they want to be; whether it’s in the </a:t>
            </a:r>
            <a:r>
              <a:rPr lang="en-US" sz="1000" spc="-10" dirty="0">
                <a:latin typeface="Open Sans Light" panose="020B0306030504020204" pitchFamily="34" charset="0"/>
                <a:ea typeface="Open Sans Light" panose="020B0306030504020204" pitchFamily="34" charset="0"/>
                <a:cs typeface="Open Sans Light" panose="020B0306030504020204" pitchFamily="34" charset="0"/>
              </a:rPr>
              <a:t>classroom, the workplace or the boardroom, through raising aspirations,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improving skills and developing leaders. In </a:t>
            </a:r>
            <a:r>
              <a:rPr lang="en-US" sz="1000">
                <a:latin typeface="Open Sans Light" panose="020B0306030504020204" pitchFamily="34" charset="0"/>
                <a:ea typeface="Open Sans Light" panose="020B0306030504020204" pitchFamily="34" charset="0"/>
                <a:cs typeface="Open Sans Light" panose="020B0306030504020204" pitchFamily="34" charset="0"/>
              </a:rPr>
              <a:t>2022</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through the WorldClass program we reached 34M individuals from 100M goal (2030) and contributed with 1000+ programs worldwide.</a:t>
            </a:r>
          </a:p>
          <a:p>
            <a:pPr>
              <a:spcAft>
                <a:spcPts val="600"/>
              </a:spcAft>
            </a:pPr>
            <a:r>
              <a:rPr lang="en-US" sz="1000" b="1" dirty="0">
                <a:latin typeface="Open Sans SemiBold" panose="020B0606030504020204" pitchFamily="34" charset="0"/>
                <a:ea typeface="Open Sans SemiBold" panose="020B0606030504020204" pitchFamily="34" charset="0"/>
                <a:cs typeface="Open Sans SemiBold" panose="020B0606030504020204" pitchFamily="34" charset="0"/>
              </a:rPr>
              <a:t>Humanitarian and disaster relief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projects have been supported by Deloitte member firms working alongside organizations such as AtrocityWatch, BRAC South Sudan, the International Organization for Migration, MercyCorps, Oxfam New Zealand, Save the Children International, the United Nations Office for the Co-ordination of Humanitarian Affairs (UN OCHA) and the World Humanitarian Summit; and</a:t>
            </a:r>
          </a:p>
          <a:p>
            <a:pPr>
              <a:spcAft>
                <a:spcPts val="600"/>
              </a:spcAft>
            </a:pPr>
            <a:r>
              <a:rPr lang="en-US" sz="1000" b="1" dirty="0">
                <a:latin typeface="Open Sans SemiBold" panose="020B0606030504020204" pitchFamily="34" charset="0"/>
                <a:ea typeface="Open Sans SemiBold" panose="020B0606030504020204" pitchFamily="34" charset="0"/>
                <a:cs typeface="Open Sans SemiBold" panose="020B0606030504020204" pitchFamily="34" charset="0"/>
              </a:rPr>
              <a:t>Global sustainability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has never been more important or more at the forefront of how we operate. In the last year, we have worked tireless to reduce our impact on the environment. Several member firms now own or lease space in smart, green buildings such as The Edge in the Netherlands, from where the HACT LTA, as well as this particular project, will be coordinated from, which is the world’s most sustainable building.</a:t>
            </a:r>
          </a:p>
        </p:txBody>
      </p:sp>
      <p:sp>
        <p:nvSpPr>
          <p:cNvPr id="8" name="TextBox 7">
            <a:extLst>
              <a:ext uri="{FF2B5EF4-FFF2-40B4-BE49-F238E27FC236}">
                <a16:creationId xmlns:a16="http://schemas.microsoft.com/office/drawing/2014/main" id="{F3A98880-8DE0-68C3-1E9D-4E193848FC7F}"/>
              </a:ext>
            </a:extLst>
          </p:cNvPr>
          <p:cNvSpPr txBox="1"/>
          <p:nvPr/>
        </p:nvSpPr>
        <p:spPr bwMode="gray">
          <a:xfrm>
            <a:off x="4555975" y="1295806"/>
            <a:ext cx="3199688" cy="184666"/>
          </a:xfrm>
          <a:prstGeom prst="rect">
            <a:avLst/>
          </a:prstGeom>
        </p:spPr>
        <p:txBody>
          <a:bodyPr wrap="square" lIns="0" tIns="0" rIns="0" bIns="0" rtlCol="0" anchor="t" anchorCtr="0">
            <a:spAutoFit/>
          </a:bodyPr>
          <a:lstStyle/>
          <a:p>
            <a:pPr>
              <a:spcAft>
                <a:spcPts val="600"/>
              </a:spcAft>
            </a:pPr>
            <a:r>
              <a:rPr lang="en-US" sz="1200" b="1" spc="5"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Making an impact that matters</a:t>
            </a:r>
          </a:p>
        </p:txBody>
      </p:sp>
      <p:sp>
        <p:nvSpPr>
          <p:cNvPr id="9" name="object 6">
            <a:extLst>
              <a:ext uri="{FF2B5EF4-FFF2-40B4-BE49-F238E27FC236}">
                <a16:creationId xmlns:a16="http://schemas.microsoft.com/office/drawing/2014/main" id="{499A4460-93C3-B23C-5EBB-2BBFEF9E1524}"/>
              </a:ext>
            </a:extLst>
          </p:cNvPr>
          <p:cNvSpPr txBox="1"/>
          <p:nvPr/>
        </p:nvSpPr>
        <p:spPr>
          <a:xfrm>
            <a:off x="5272689" y="1850927"/>
            <a:ext cx="1937736" cy="861774"/>
          </a:xfrm>
          <a:prstGeom prst="rect">
            <a:avLst/>
          </a:prstGeom>
        </p:spPr>
        <p:txBody>
          <a:bodyPr vert="horz" wrap="square" lIns="0" tIns="0" rIns="0" bIns="0" rtlCol="0">
            <a:spAutoFit/>
          </a:bodyPr>
          <a:lstStyle/>
          <a:p>
            <a:pPr marL="12700"/>
            <a:r>
              <a:rPr lang="en-US" sz="1200" b="1" spc="-20" dirty="0">
                <a:latin typeface="Open Sans SemiBold" panose="020B0606030504020204" pitchFamily="34" charset="0"/>
                <a:ea typeface="Open Sans SemiBold" panose="020B0606030504020204" pitchFamily="34" charset="0"/>
                <a:cs typeface="Open Sans SemiBold" panose="020B0606030504020204" pitchFamily="34" charset="0"/>
              </a:rPr>
              <a:t>Im</a:t>
            </a:r>
            <a:r>
              <a:rPr lang="en-US" sz="1200" b="1" spc="-15" dirty="0">
                <a:latin typeface="Open Sans SemiBold" panose="020B0606030504020204" pitchFamily="34" charset="0"/>
                <a:ea typeface="Open Sans SemiBold" panose="020B0606030504020204" pitchFamily="34" charset="0"/>
                <a:cs typeface="Open Sans SemiBold" panose="020B0606030504020204" pitchFamily="34" charset="0"/>
              </a:rPr>
              <a:t>pa</a:t>
            </a:r>
            <a:r>
              <a:rPr lang="en-US" sz="1200" b="1" spc="5" dirty="0">
                <a:latin typeface="Open Sans SemiBold" panose="020B0606030504020204" pitchFamily="34" charset="0"/>
                <a:ea typeface="Open Sans SemiBold" panose="020B0606030504020204" pitchFamily="34" charset="0"/>
                <a:cs typeface="Open Sans SemiBold" panose="020B0606030504020204" pitchFamily="34" charset="0"/>
              </a:rPr>
              <a:t>c</a:t>
            </a:r>
            <a:r>
              <a:rPr lang="en-US" sz="1200" b="1" dirty="0">
                <a:latin typeface="Open Sans SemiBold" panose="020B0606030504020204" pitchFamily="34" charset="0"/>
                <a:ea typeface="Open Sans SemiBold" panose="020B0606030504020204" pitchFamily="34" charset="0"/>
                <a:cs typeface="Open Sans SemiBold" panose="020B0606030504020204" pitchFamily="34" charset="0"/>
              </a:rPr>
              <a:t>t</a:t>
            </a:r>
            <a:r>
              <a:rPr lang="en-US" sz="1200" b="1" spc="-25" dirty="0">
                <a:latin typeface="Open Sans SemiBold" panose="020B0606030504020204" pitchFamily="34" charset="0"/>
                <a:ea typeface="Open Sans SemiBold" panose="020B0606030504020204" pitchFamily="34" charset="0"/>
                <a:cs typeface="Open Sans SemiBold" panose="020B0606030504020204" pitchFamily="34" charset="0"/>
              </a:rPr>
              <a:t> D</a:t>
            </a:r>
            <a:r>
              <a:rPr lang="en-US" sz="1200" b="1" spc="-35" dirty="0">
                <a:latin typeface="Open Sans SemiBold" panose="020B0606030504020204" pitchFamily="34" charset="0"/>
                <a:ea typeface="Open Sans SemiBold" panose="020B0606030504020204" pitchFamily="34" charset="0"/>
                <a:cs typeface="Open Sans SemiBold" panose="020B0606030504020204" pitchFamily="34" charset="0"/>
              </a:rPr>
              <a:t>a</a:t>
            </a:r>
            <a:r>
              <a:rPr lang="en-US" sz="1200" b="1" dirty="0">
                <a:latin typeface="Open Sans SemiBold" panose="020B0606030504020204" pitchFamily="34" charset="0"/>
                <a:ea typeface="Open Sans SemiBold" panose="020B0606030504020204" pitchFamily="34" charset="0"/>
                <a:cs typeface="Open Sans SemiBold" panose="020B0606030504020204" pitchFamily="34" charset="0"/>
              </a:rPr>
              <a:t>y</a:t>
            </a:r>
          </a:p>
          <a:p>
            <a:pPr marL="12700"/>
            <a:r>
              <a:rPr lang="en-US" sz="2400" b="1" spc="-100"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7</a:t>
            </a:r>
            <a:r>
              <a:rPr lang="en-US" sz="2400" b="1" spc="-40"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0,</a:t>
            </a:r>
            <a:r>
              <a:rPr lang="en-US" sz="2400" b="1" spc="5"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00</a:t>
            </a:r>
            <a:r>
              <a:rPr lang="en-US" sz="2400" b="1"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0</a:t>
            </a:r>
          </a:p>
          <a:p>
            <a:pPr marL="12700"/>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D</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e</a:t>
            </a:r>
            <a:r>
              <a:rPr lang="en-US" sz="100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lo</a:t>
            </a:r>
            <a:r>
              <a:rPr lang="en-US" sz="1000" spc="1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i</a:t>
            </a:r>
            <a:r>
              <a:rPr lang="en-US" sz="1000" spc="2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t</a:t>
            </a:r>
            <a:r>
              <a:rPr lang="en-US" sz="1000" spc="-1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t</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e</a:t>
            </a:r>
            <a:r>
              <a:rPr lang="en-US" sz="1000" spc="-2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p</a:t>
            </a:r>
            <a:r>
              <a:rPr lang="en-US" sz="1000" spc="-1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rof</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e</a:t>
            </a:r>
            <a:r>
              <a:rPr lang="en-US" sz="1000" spc="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s</a:t>
            </a:r>
            <a:r>
              <a:rPr lang="en-US" sz="1000" spc="-1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s</a:t>
            </a:r>
            <a:r>
              <a:rPr lang="en-US" sz="100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i</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onals</a:t>
            </a: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a:p>
            <a:pPr marL="12700" marR="113664"/>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vol</a:t>
            </a:r>
            <a:r>
              <a:rPr lang="en-US" sz="1000" spc="-1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u</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n</a:t>
            </a:r>
            <a:r>
              <a:rPr lang="en-US" sz="1000" spc="-1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t</a:t>
            </a:r>
            <a:r>
              <a:rPr lang="en-US" sz="100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e</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e</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r</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i</a:t>
            </a:r>
            <a:r>
              <a:rPr lang="en-US" sz="1000" spc="-1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n</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g</a:t>
            </a:r>
            <a:r>
              <a:rPr lang="en-US" sz="1000" spc="-2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d</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u</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r</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i</a:t>
            </a:r>
            <a:r>
              <a:rPr lang="en-US" sz="1000" spc="-1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ng Im</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p</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a</a:t>
            </a:r>
            <a:r>
              <a:rPr lang="en-US" sz="1000" spc="3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c</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t</a:t>
            </a:r>
            <a:r>
              <a:rPr lang="en-US" sz="1000" spc="-20"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Day</a:t>
            </a: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object 11">
            <a:extLst>
              <a:ext uri="{FF2B5EF4-FFF2-40B4-BE49-F238E27FC236}">
                <a16:creationId xmlns:a16="http://schemas.microsoft.com/office/drawing/2014/main" id="{A1CAA60B-A137-E710-82FB-C1C47A5372FF}"/>
              </a:ext>
            </a:extLst>
          </p:cNvPr>
          <p:cNvSpPr txBox="1"/>
          <p:nvPr/>
        </p:nvSpPr>
        <p:spPr>
          <a:xfrm>
            <a:off x="7613720" y="3195998"/>
            <a:ext cx="1511593" cy="677108"/>
          </a:xfrm>
          <a:prstGeom prst="rect">
            <a:avLst/>
          </a:prstGeom>
        </p:spPr>
        <p:txBody>
          <a:bodyPr vert="horz" wrap="square" lIns="0" tIns="0" rIns="0" bIns="0" rtlCol="0">
            <a:spAutoFit/>
          </a:bodyPr>
          <a:lstStyle/>
          <a:p>
            <a:pPr marL="12700" marR="5080"/>
            <a:r>
              <a:rPr lang="en-US" sz="1000" b="1" spc="-7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T</a:t>
            </a:r>
            <a:r>
              <a:rPr lang="en-US"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o</a:t>
            </a:r>
            <a:r>
              <a:rPr lang="en-US"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t</a:t>
            </a:r>
            <a:r>
              <a:rPr lang="en-US"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a</a:t>
            </a:r>
            <a:r>
              <a:rPr lang="en-US" sz="1000" b="1"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l v</a:t>
            </a:r>
            <a:r>
              <a:rPr lang="en-US"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o</a:t>
            </a:r>
            <a:r>
              <a:rPr lang="en-US"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luntee</a:t>
            </a:r>
            <a:r>
              <a:rPr lang="en-US" sz="1000" b="1"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r</a:t>
            </a:r>
            <a:br>
              <a:rPr lang="en-US" sz="1000" b="1" spc="-2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br>
            <a:r>
              <a:rPr lang="en-US"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a</a:t>
            </a:r>
            <a:r>
              <a:rPr lang="en-US"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n</a:t>
            </a:r>
            <a:r>
              <a:rPr lang="en-US"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d</a:t>
            </a:r>
            <a:r>
              <a:rPr lang="en-US"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 pr</a:t>
            </a:r>
            <a:r>
              <a:rPr lang="en-US" sz="1000" b="1"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o</a:t>
            </a:r>
            <a:r>
              <a:rPr lang="en-US" sz="1000" b="1" spc="-2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 </a:t>
            </a:r>
            <a:r>
              <a:rPr lang="en-US" sz="1000" b="1"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b</a:t>
            </a:r>
            <a:r>
              <a:rPr lang="en-US"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on</a:t>
            </a:r>
            <a:r>
              <a:rPr lang="en-US" sz="1000" b="1"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d</a:t>
            </a:r>
            <a:r>
              <a:rPr lang="en-US" sz="1000" b="1" spc="-2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 </a:t>
            </a:r>
            <a:r>
              <a:rPr lang="en-US" sz="1000" b="1" spc="-1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w</a:t>
            </a:r>
            <a:r>
              <a:rPr lang="en-US"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o</a:t>
            </a:r>
            <a:r>
              <a:rPr lang="en-US"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r</a:t>
            </a:r>
            <a:r>
              <a:rPr lang="en-US" sz="1000" b="1"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k</a:t>
            </a:r>
            <a:endParaRPr lang="en-US" sz="1000"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a:r>
              <a:rPr lang="en-US" sz="2400" b="1" spc="-145"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a:t>
            </a:r>
            <a:r>
              <a:rPr lang="en-US" sz="2400" b="1" spc="-200"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1</a:t>
            </a:r>
            <a:r>
              <a:rPr lang="en-US" sz="2400" b="1" spc="-170"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30</a:t>
            </a:r>
            <a:r>
              <a:rPr lang="en-US" sz="2400" b="1" spc="-225"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M</a:t>
            </a:r>
            <a:endParaRPr lang="en-US" sz="2400" b="1"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1" name="object 12">
            <a:extLst>
              <a:ext uri="{FF2B5EF4-FFF2-40B4-BE49-F238E27FC236}">
                <a16:creationId xmlns:a16="http://schemas.microsoft.com/office/drawing/2014/main" id="{ADF6A60A-F53E-BE91-27EA-A6881C1B717D}"/>
              </a:ext>
            </a:extLst>
          </p:cNvPr>
          <p:cNvSpPr txBox="1"/>
          <p:nvPr/>
        </p:nvSpPr>
        <p:spPr>
          <a:xfrm>
            <a:off x="10189241" y="1871365"/>
            <a:ext cx="1511593" cy="738664"/>
          </a:xfrm>
          <a:prstGeom prst="rect">
            <a:avLst/>
          </a:prstGeom>
        </p:spPr>
        <p:txBody>
          <a:bodyPr vert="horz" wrap="square" lIns="0" tIns="0" rIns="0" bIns="0" rtlCol="0">
            <a:spAutoFit/>
          </a:bodyPr>
          <a:lstStyle/>
          <a:p>
            <a:pPr marL="12700" marR="5080"/>
            <a:r>
              <a:rPr lang="en-US" sz="1200" b="1" spc="-25" dirty="0">
                <a:latin typeface="Open Sans SemiBold" panose="020B0606030504020204" pitchFamily="34" charset="0"/>
                <a:ea typeface="Open Sans SemiBold" panose="020B0606030504020204" pitchFamily="34" charset="0"/>
                <a:cs typeface="Open Sans SemiBold" panose="020B0606030504020204" pitchFamily="34" charset="0"/>
              </a:rPr>
              <a:t>P</a:t>
            </a:r>
            <a:r>
              <a:rPr lang="en-US" sz="1200" b="1" spc="-5" dirty="0">
                <a:latin typeface="Open Sans SemiBold" panose="020B0606030504020204" pitchFamily="34" charset="0"/>
                <a:ea typeface="Open Sans SemiBold" panose="020B0606030504020204" pitchFamily="34" charset="0"/>
                <a:cs typeface="Open Sans SemiBold" panose="020B0606030504020204" pitchFamily="34" charset="0"/>
              </a:rPr>
              <a:t>rog</a:t>
            </a:r>
            <a:r>
              <a:rPr lang="en-US" sz="1200" b="1" spc="-15" dirty="0">
                <a:latin typeface="Open Sans SemiBold" panose="020B0606030504020204" pitchFamily="34" charset="0"/>
                <a:ea typeface="Open Sans SemiBold" panose="020B0606030504020204" pitchFamily="34" charset="0"/>
                <a:cs typeface="Open Sans SemiBold" panose="020B0606030504020204" pitchFamily="34" charset="0"/>
              </a:rPr>
              <a:t>r</a:t>
            </a:r>
            <a:r>
              <a:rPr lang="en-US" sz="1200" b="1" spc="-10" dirty="0">
                <a:latin typeface="Open Sans SemiBold" panose="020B0606030504020204" pitchFamily="34" charset="0"/>
                <a:ea typeface="Open Sans SemiBold" panose="020B0606030504020204" pitchFamily="34" charset="0"/>
                <a:cs typeface="Open Sans SemiBold" panose="020B0606030504020204" pitchFamily="34" charset="0"/>
              </a:rPr>
              <a:t>am</a:t>
            </a:r>
            <a:r>
              <a:rPr lang="en-US" sz="1200" b="1" spc="-5" dirty="0">
                <a:latin typeface="Open Sans SemiBold" panose="020B0606030504020204" pitchFamily="34" charset="0"/>
                <a:ea typeface="Open Sans SemiBold" panose="020B0606030504020204" pitchFamily="34" charset="0"/>
                <a:cs typeface="Open Sans SemiBold" panose="020B0606030504020204" pitchFamily="34" charset="0"/>
              </a:rPr>
              <a:t> </a:t>
            </a:r>
            <a:r>
              <a:rPr lang="en-US" sz="1200" b="1" spc="-10" dirty="0">
                <a:latin typeface="Open Sans SemiBold" panose="020B0606030504020204" pitchFamily="34" charset="0"/>
                <a:ea typeface="Open Sans SemiBold" panose="020B0606030504020204" pitchFamily="34" charset="0"/>
                <a:cs typeface="Open Sans SemiBold" panose="020B0606030504020204" pitchFamily="34" charset="0"/>
              </a:rPr>
              <a:t>man</a:t>
            </a:r>
            <a:r>
              <a:rPr lang="en-US" sz="1200" b="1" spc="-5" dirty="0">
                <a:latin typeface="Open Sans SemiBold" panose="020B0606030504020204" pitchFamily="34" charset="0"/>
                <a:ea typeface="Open Sans SemiBold" panose="020B0606030504020204" pitchFamily="34" charset="0"/>
                <a:cs typeface="Open Sans SemiBold" panose="020B0606030504020204" pitchFamily="34" charset="0"/>
              </a:rPr>
              <a:t>a</a:t>
            </a:r>
            <a:r>
              <a:rPr lang="en-US" sz="1200" b="1" spc="-20" dirty="0">
                <a:latin typeface="Open Sans SemiBold" panose="020B0606030504020204" pitchFamily="34" charset="0"/>
                <a:ea typeface="Open Sans SemiBold" panose="020B0606030504020204" pitchFamily="34" charset="0"/>
                <a:cs typeface="Open Sans SemiBold" panose="020B0606030504020204" pitchFamily="34" charset="0"/>
              </a:rPr>
              <a:t>g</a:t>
            </a:r>
            <a:r>
              <a:rPr lang="en-US" sz="1200" b="1" spc="-10" dirty="0">
                <a:latin typeface="Open Sans SemiBold" panose="020B0606030504020204" pitchFamily="34" charset="0"/>
                <a:ea typeface="Open Sans SemiBold" panose="020B0606030504020204" pitchFamily="34" charset="0"/>
                <a:cs typeface="Open Sans SemiBold" panose="020B0606030504020204" pitchFamily="34" charset="0"/>
              </a:rPr>
              <a:t>e</a:t>
            </a:r>
            <a:r>
              <a:rPr lang="en-US" sz="1200" b="1" spc="-15" dirty="0">
                <a:latin typeface="Open Sans SemiBold" panose="020B0606030504020204" pitchFamily="34" charset="0"/>
                <a:ea typeface="Open Sans SemiBold" panose="020B0606030504020204" pitchFamily="34" charset="0"/>
                <a:cs typeface="Open Sans SemiBold" panose="020B0606030504020204" pitchFamily="34" charset="0"/>
              </a:rPr>
              <a:t>m</a:t>
            </a:r>
            <a:r>
              <a:rPr lang="en-US" sz="1200" b="1" spc="-10" dirty="0">
                <a:latin typeface="Open Sans SemiBold" panose="020B0606030504020204" pitchFamily="34" charset="0"/>
                <a:ea typeface="Open Sans SemiBold" panose="020B0606030504020204" pitchFamily="34" charset="0"/>
                <a:cs typeface="Open Sans SemiBold" panose="020B0606030504020204" pitchFamily="34" charset="0"/>
              </a:rPr>
              <a:t>en</a:t>
            </a:r>
            <a:r>
              <a:rPr lang="en-US" sz="1200" b="1" dirty="0">
                <a:latin typeface="Open Sans SemiBold" panose="020B0606030504020204" pitchFamily="34" charset="0"/>
                <a:ea typeface="Open Sans SemiBold" panose="020B0606030504020204" pitchFamily="34" charset="0"/>
                <a:cs typeface="Open Sans SemiBold" panose="020B0606030504020204" pitchFamily="34" charset="0"/>
              </a:rPr>
              <a:t>t</a:t>
            </a:r>
            <a:r>
              <a:rPr lang="en-US" sz="1200" b="1" spc="-20" dirty="0">
                <a:latin typeface="Open Sans SemiBold" panose="020B0606030504020204" pitchFamily="34" charset="0"/>
                <a:ea typeface="Open Sans SemiBold" panose="020B0606030504020204" pitchFamily="34" charset="0"/>
                <a:cs typeface="Open Sans SemiBold" panose="020B0606030504020204" pitchFamily="34" charset="0"/>
              </a:rPr>
              <a:t> </a:t>
            </a:r>
            <a:r>
              <a:rPr lang="en-US" sz="1200" b="1" spc="-10" dirty="0">
                <a:latin typeface="Open Sans SemiBold" panose="020B0606030504020204" pitchFamily="34" charset="0"/>
                <a:ea typeface="Open Sans SemiBold" panose="020B0606030504020204" pitchFamily="34" charset="0"/>
                <a:cs typeface="Open Sans SemiBold" panose="020B0606030504020204" pitchFamily="34" charset="0"/>
              </a:rPr>
              <a:t>c</a:t>
            </a:r>
            <a:r>
              <a:rPr lang="en-US" sz="1200" b="1" spc="-5" dirty="0">
                <a:latin typeface="Open Sans SemiBold" panose="020B0606030504020204" pitchFamily="34" charset="0"/>
                <a:ea typeface="Open Sans SemiBold" panose="020B0606030504020204" pitchFamily="34" charset="0"/>
                <a:cs typeface="Open Sans SemiBold" panose="020B0606030504020204" pitchFamily="34" charset="0"/>
              </a:rPr>
              <a:t>o</a:t>
            </a:r>
            <a:r>
              <a:rPr lang="en-US" sz="1200" b="1" spc="5" dirty="0">
                <a:latin typeface="Open Sans SemiBold" panose="020B0606030504020204" pitchFamily="34" charset="0"/>
                <a:ea typeface="Open Sans SemiBold" panose="020B0606030504020204" pitchFamily="34" charset="0"/>
                <a:cs typeface="Open Sans SemiBold" panose="020B0606030504020204" pitchFamily="34" charset="0"/>
              </a:rPr>
              <a:t>s</a:t>
            </a:r>
            <a:r>
              <a:rPr lang="en-US" sz="1200" b="1" dirty="0">
                <a:latin typeface="Open Sans SemiBold" panose="020B0606030504020204" pitchFamily="34" charset="0"/>
                <a:ea typeface="Open Sans SemiBold" panose="020B0606030504020204" pitchFamily="34" charset="0"/>
                <a:cs typeface="Open Sans SemiBold" panose="020B0606030504020204" pitchFamily="34" charset="0"/>
              </a:rPr>
              <a:t>ts</a:t>
            </a:r>
          </a:p>
          <a:p>
            <a:pPr marL="12700"/>
            <a:r>
              <a:rPr lang="en-US" sz="2400" b="1" spc="-145"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a:t>
            </a:r>
            <a:r>
              <a:rPr lang="en-US" sz="2400" b="1" spc="-240"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20</a:t>
            </a:r>
            <a:r>
              <a:rPr lang="en-US" sz="2400" b="1"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M</a:t>
            </a:r>
          </a:p>
        </p:txBody>
      </p:sp>
      <p:graphicFrame>
        <p:nvGraphicFramePr>
          <p:cNvPr id="12" name="Table 11">
            <a:extLst>
              <a:ext uri="{FF2B5EF4-FFF2-40B4-BE49-F238E27FC236}">
                <a16:creationId xmlns:a16="http://schemas.microsoft.com/office/drawing/2014/main" id="{295A1F00-9BDD-77CE-1CCC-F31A28659E9A}"/>
              </a:ext>
            </a:extLst>
          </p:cNvPr>
          <p:cNvGraphicFramePr>
            <a:graphicFrameLocks noGrp="1"/>
          </p:cNvGraphicFramePr>
          <p:nvPr>
            <p:extLst>
              <p:ext uri="{D42A27DB-BD31-4B8C-83A1-F6EECF244321}">
                <p14:modId xmlns:p14="http://schemas.microsoft.com/office/powerpoint/2010/main" val="3706354616"/>
              </p:ext>
            </p:extLst>
          </p:nvPr>
        </p:nvGraphicFramePr>
        <p:xfrm>
          <a:off x="4709975" y="4923224"/>
          <a:ext cx="1226660" cy="901056"/>
        </p:xfrm>
        <a:graphic>
          <a:graphicData uri="http://schemas.openxmlformats.org/drawingml/2006/table">
            <a:tbl>
              <a:tblPr firstRow="1" bandRow="1">
                <a:tableStyleId>{5C22544A-7EE6-4342-B048-85BDC9FD1C3A}</a:tableStyleId>
              </a:tblPr>
              <a:tblGrid>
                <a:gridCol w="1226660">
                  <a:extLst>
                    <a:ext uri="{9D8B030D-6E8A-4147-A177-3AD203B41FA5}">
                      <a16:colId xmlns:a16="http://schemas.microsoft.com/office/drawing/2014/main" val="2625283868"/>
                    </a:ext>
                  </a:extLst>
                </a:gridCol>
              </a:tblGrid>
              <a:tr h="900000">
                <a:tc>
                  <a:txBody>
                    <a:bodyPr/>
                    <a:lstStyle/>
                    <a:p>
                      <a:pPr marL="12700" marR="532765">
                        <a:lnSpc>
                          <a:spcPct val="110000"/>
                        </a:lnSpc>
                      </a:pPr>
                      <a:r>
                        <a:rPr lang="en-GB" sz="1000" b="0" i="0" spc="-2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a:t>
                      </a:r>
                      <a: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o </a:t>
                      </a:r>
                      <a:b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br>
                      <a:r>
                        <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b</a:t>
                      </a: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n</a:t>
                      </a:r>
                      <a:r>
                        <a:rPr lang="hu-HU"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a:t>
                      </a:r>
                      <a:endPar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12700">
                        <a:lnSpc>
                          <a:spcPct val="110000"/>
                        </a:lnSpc>
                      </a:pPr>
                      <a:r>
                        <a:rPr lang="en-GB" sz="2000" b="0" i="0" spc="-6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a:t>
                      </a:r>
                      <a:r>
                        <a:rPr lang="en-GB" sz="2000" b="0" i="0" spc="-25"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42</a:t>
                      </a:r>
                      <a:r>
                        <a:rPr lang="en-GB" sz="2000" b="0"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M</a:t>
                      </a:r>
                    </a:p>
                    <a:p>
                      <a:pPr marL="12700">
                        <a:lnSpc>
                          <a:spcPct val="110000"/>
                        </a:lnSpc>
                      </a:pP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346</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00</a:t>
                      </a:r>
                      <a:r>
                        <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0</a:t>
                      </a:r>
                      <a: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ho</a:t>
                      </a:r>
                      <a:r>
                        <a:rPr lang="en-GB" sz="1000" b="0" i="0" spc="-1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a:t>
                      </a:r>
                      <a:r>
                        <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a:t>
                      </a:r>
                      <a:endParaRPr lang="en-CH"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744343"/>
                  </a:ext>
                </a:extLst>
              </a:tr>
            </a:tbl>
          </a:graphicData>
        </a:graphic>
      </p:graphicFrame>
      <p:graphicFrame>
        <p:nvGraphicFramePr>
          <p:cNvPr id="13" name="Table 12">
            <a:extLst>
              <a:ext uri="{FF2B5EF4-FFF2-40B4-BE49-F238E27FC236}">
                <a16:creationId xmlns:a16="http://schemas.microsoft.com/office/drawing/2014/main" id="{E378DCCE-642A-56BC-BA82-CF391737F275}"/>
              </a:ext>
            </a:extLst>
          </p:cNvPr>
          <p:cNvGraphicFramePr>
            <a:graphicFrameLocks noGrp="1"/>
          </p:cNvGraphicFramePr>
          <p:nvPr>
            <p:extLst>
              <p:ext uri="{D42A27DB-BD31-4B8C-83A1-F6EECF244321}">
                <p14:modId xmlns:p14="http://schemas.microsoft.com/office/powerpoint/2010/main" val="2837199899"/>
              </p:ext>
            </p:extLst>
          </p:nvPr>
        </p:nvGraphicFramePr>
        <p:xfrm>
          <a:off x="7447413" y="4923224"/>
          <a:ext cx="1226660" cy="901056"/>
        </p:xfrm>
        <a:graphic>
          <a:graphicData uri="http://schemas.openxmlformats.org/drawingml/2006/table">
            <a:tbl>
              <a:tblPr firstRow="1" bandRow="1">
                <a:tableStyleId>{5C22544A-7EE6-4342-B048-85BDC9FD1C3A}</a:tableStyleId>
              </a:tblPr>
              <a:tblGrid>
                <a:gridCol w="1226660">
                  <a:extLst>
                    <a:ext uri="{9D8B030D-6E8A-4147-A177-3AD203B41FA5}">
                      <a16:colId xmlns:a16="http://schemas.microsoft.com/office/drawing/2014/main" val="2625283868"/>
                    </a:ext>
                  </a:extLst>
                </a:gridCol>
              </a:tblGrid>
              <a:tr h="900000">
                <a:tc>
                  <a:txBody>
                    <a:bodyPr/>
                    <a:lstStyle/>
                    <a:p>
                      <a:pPr marL="12700" marR="532765">
                        <a:lnSpc>
                          <a:spcPct val="110000"/>
                        </a:lnSpc>
                      </a:pPr>
                      <a:r>
                        <a:rPr lang="en-GB" sz="1000" b="0" i="0" spc="-2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raditional volunteering</a:t>
                      </a:r>
                    </a:p>
                    <a:p>
                      <a:pPr marL="12700">
                        <a:lnSpc>
                          <a:spcPct val="110000"/>
                        </a:lnSpc>
                      </a:pPr>
                      <a:r>
                        <a:rPr lang="en-GB" sz="2000" b="0" i="0" spc="-6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a:t>
                      </a:r>
                      <a:r>
                        <a:rPr lang="en-GB" sz="2000" b="0" i="0" spc="-25"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44</a:t>
                      </a:r>
                      <a:r>
                        <a:rPr lang="en-GB" sz="2000" b="0"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M</a:t>
                      </a:r>
                    </a:p>
                    <a:p>
                      <a:pPr marL="12700">
                        <a:lnSpc>
                          <a:spcPct val="110000"/>
                        </a:lnSpc>
                      </a:pP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444</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00</a:t>
                      </a:r>
                      <a:r>
                        <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0</a:t>
                      </a:r>
                      <a: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ho</a:t>
                      </a:r>
                      <a:r>
                        <a:rPr lang="en-GB" sz="1000" b="0" i="0" spc="-1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a:t>
                      </a:r>
                      <a:r>
                        <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a:t>
                      </a:r>
                      <a:endParaRPr lang="en-CH"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744343"/>
                  </a:ext>
                </a:extLst>
              </a:tr>
            </a:tbl>
          </a:graphicData>
        </a:graphic>
      </p:graphicFrame>
      <p:graphicFrame>
        <p:nvGraphicFramePr>
          <p:cNvPr id="14" name="Table 13">
            <a:extLst>
              <a:ext uri="{FF2B5EF4-FFF2-40B4-BE49-F238E27FC236}">
                <a16:creationId xmlns:a16="http://schemas.microsoft.com/office/drawing/2014/main" id="{F5115BD3-CB5E-CC33-1C71-15BFDC22CF3A}"/>
              </a:ext>
            </a:extLst>
          </p:cNvPr>
          <p:cNvGraphicFramePr>
            <a:graphicFrameLocks noGrp="1"/>
          </p:cNvGraphicFramePr>
          <p:nvPr>
            <p:extLst>
              <p:ext uri="{D42A27DB-BD31-4B8C-83A1-F6EECF244321}">
                <p14:modId xmlns:p14="http://schemas.microsoft.com/office/powerpoint/2010/main" val="3456936691"/>
              </p:ext>
            </p:extLst>
          </p:nvPr>
        </p:nvGraphicFramePr>
        <p:xfrm>
          <a:off x="6078694" y="4923224"/>
          <a:ext cx="1226660" cy="901056"/>
        </p:xfrm>
        <a:graphic>
          <a:graphicData uri="http://schemas.openxmlformats.org/drawingml/2006/table">
            <a:tbl>
              <a:tblPr firstRow="1" bandRow="1">
                <a:tableStyleId>{5C22544A-7EE6-4342-B048-85BDC9FD1C3A}</a:tableStyleId>
              </a:tblPr>
              <a:tblGrid>
                <a:gridCol w="1226660">
                  <a:extLst>
                    <a:ext uri="{9D8B030D-6E8A-4147-A177-3AD203B41FA5}">
                      <a16:colId xmlns:a16="http://schemas.microsoft.com/office/drawing/2014/main" val="2625283868"/>
                    </a:ext>
                  </a:extLst>
                </a:gridCol>
              </a:tblGrid>
              <a:tr h="900000">
                <a:tc>
                  <a:txBody>
                    <a:bodyPr/>
                    <a:lstStyle/>
                    <a:p>
                      <a:pPr marL="12700" marR="532765">
                        <a:lnSpc>
                          <a:spcPct val="110000"/>
                        </a:lnSpc>
                      </a:pPr>
                      <a:r>
                        <a:rPr lang="en-GB" sz="1000" b="0" i="0" spc="-2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kills-based volunteering</a:t>
                      </a:r>
                    </a:p>
                    <a:p>
                      <a:pPr marL="12700">
                        <a:lnSpc>
                          <a:spcPct val="110000"/>
                        </a:lnSpc>
                      </a:pPr>
                      <a:r>
                        <a:rPr lang="en-GB" sz="2000" b="0" i="0" spc="-6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a:t>
                      </a:r>
                      <a:r>
                        <a:rPr lang="en-GB" sz="2000" b="0" i="0" spc="-25"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43</a:t>
                      </a:r>
                      <a:r>
                        <a:rPr lang="en-GB" sz="2000" b="0"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M</a:t>
                      </a:r>
                    </a:p>
                    <a:p>
                      <a:pPr marL="12700">
                        <a:lnSpc>
                          <a:spcPct val="110000"/>
                        </a:lnSpc>
                      </a:pP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568</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00</a:t>
                      </a:r>
                      <a:r>
                        <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0</a:t>
                      </a:r>
                      <a: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ho</a:t>
                      </a:r>
                      <a:r>
                        <a:rPr lang="en-GB" sz="1000" b="0" i="0" spc="-1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a:t>
                      </a:r>
                      <a:r>
                        <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a:t>
                      </a:r>
                      <a:endParaRPr lang="en-CH"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744343"/>
                  </a:ext>
                </a:extLst>
              </a:tr>
            </a:tbl>
          </a:graphicData>
        </a:graphic>
      </p:graphicFrame>
      <p:graphicFrame>
        <p:nvGraphicFramePr>
          <p:cNvPr id="15" name="Table 14">
            <a:extLst>
              <a:ext uri="{FF2B5EF4-FFF2-40B4-BE49-F238E27FC236}">
                <a16:creationId xmlns:a16="http://schemas.microsoft.com/office/drawing/2014/main" id="{36C4CDBA-5BB6-D808-A0F9-DC76B64C5D30}"/>
              </a:ext>
            </a:extLst>
          </p:cNvPr>
          <p:cNvGraphicFramePr>
            <a:graphicFrameLocks noGrp="1"/>
          </p:cNvGraphicFramePr>
          <p:nvPr>
            <p:extLst>
              <p:ext uri="{D42A27DB-BD31-4B8C-83A1-F6EECF244321}">
                <p14:modId xmlns:p14="http://schemas.microsoft.com/office/powerpoint/2010/main" val="1240245018"/>
              </p:ext>
            </p:extLst>
          </p:nvPr>
        </p:nvGraphicFramePr>
        <p:xfrm>
          <a:off x="9155991" y="4923224"/>
          <a:ext cx="1226660" cy="900000"/>
        </p:xfrm>
        <a:graphic>
          <a:graphicData uri="http://schemas.openxmlformats.org/drawingml/2006/table">
            <a:tbl>
              <a:tblPr firstRow="1" bandRow="1">
                <a:tableStyleId>{5C22544A-7EE6-4342-B048-85BDC9FD1C3A}</a:tableStyleId>
              </a:tblPr>
              <a:tblGrid>
                <a:gridCol w="1226660">
                  <a:extLst>
                    <a:ext uri="{9D8B030D-6E8A-4147-A177-3AD203B41FA5}">
                      <a16:colId xmlns:a16="http://schemas.microsoft.com/office/drawing/2014/main" val="2625283868"/>
                    </a:ext>
                  </a:extLst>
                </a:gridCol>
              </a:tblGrid>
              <a:tr h="900000">
                <a:tc>
                  <a:txBody>
                    <a:bodyPr/>
                    <a:lstStyle/>
                    <a:p>
                      <a:pPr marL="12700" marR="532765">
                        <a:lnSpc>
                          <a:spcPct val="110000"/>
                        </a:lnSpc>
                      </a:pPr>
                      <a:r>
                        <a:rPr lang="en-GB" sz="1000" b="0" i="0" spc="-2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loitte donations</a:t>
                      </a:r>
                    </a:p>
                    <a:p>
                      <a:pPr marL="12700">
                        <a:lnSpc>
                          <a:spcPct val="110000"/>
                        </a:lnSpc>
                      </a:pPr>
                      <a:r>
                        <a:rPr lang="en-GB" sz="2000" b="0" i="0" spc="-6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a:t>
                      </a:r>
                      <a:r>
                        <a:rPr lang="en-GB" sz="2000" b="0" i="0" spc="-25"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60</a:t>
                      </a:r>
                      <a:r>
                        <a:rPr lang="en-GB" sz="2000" b="0"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M</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744343"/>
                  </a:ext>
                </a:extLst>
              </a:tr>
            </a:tbl>
          </a:graphicData>
        </a:graphic>
      </p:graphicFrame>
      <p:graphicFrame>
        <p:nvGraphicFramePr>
          <p:cNvPr id="16" name="Table 15">
            <a:extLst>
              <a:ext uri="{FF2B5EF4-FFF2-40B4-BE49-F238E27FC236}">
                <a16:creationId xmlns:a16="http://schemas.microsoft.com/office/drawing/2014/main" id="{2E259237-BFC5-34E5-64B1-CCCA9B935CFE}"/>
              </a:ext>
            </a:extLst>
          </p:cNvPr>
          <p:cNvGraphicFramePr>
            <a:graphicFrameLocks noGrp="1"/>
          </p:cNvGraphicFramePr>
          <p:nvPr>
            <p:extLst>
              <p:ext uri="{D42A27DB-BD31-4B8C-83A1-F6EECF244321}">
                <p14:modId xmlns:p14="http://schemas.microsoft.com/office/powerpoint/2010/main" val="8690373"/>
              </p:ext>
            </p:extLst>
          </p:nvPr>
        </p:nvGraphicFramePr>
        <p:xfrm>
          <a:off x="10505804" y="4923224"/>
          <a:ext cx="1226660" cy="900000"/>
        </p:xfrm>
        <a:graphic>
          <a:graphicData uri="http://schemas.openxmlformats.org/drawingml/2006/table">
            <a:tbl>
              <a:tblPr firstRow="1" bandRow="1">
                <a:tableStyleId>{5C22544A-7EE6-4342-B048-85BDC9FD1C3A}</a:tableStyleId>
              </a:tblPr>
              <a:tblGrid>
                <a:gridCol w="1226660">
                  <a:extLst>
                    <a:ext uri="{9D8B030D-6E8A-4147-A177-3AD203B41FA5}">
                      <a16:colId xmlns:a16="http://schemas.microsoft.com/office/drawing/2014/main" val="2625283868"/>
                    </a:ext>
                  </a:extLst>
                </a:gridCol>
              </a:tblGrid>
              <a:tr h="900000">
                <a:tc>
                  <a:txBody>
                    <a:bodyPr/>
                    <a:lstStyle/>
                    <a:p>
                      <a:pPr marL="12700" marR="5080"/>
                      <a:r>
                        <a:rPr lang="en-GB" sz="1000" b="0" i="0" spc="-1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a:t>
                      </a:r>
                      <a: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a:t>
                      </a:r>
                      <a: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a:t>
                      </a:r>
                      <a:r>
                        <a:rPr lang="en-GB" sz="1000" b="0" i="0" spc="2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a:t>
                      </a:r>
                      <a:r>
                        <a:rPr lang="en-GB" sz="1000" b="0" i="0" spc="-2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a:t>
                      </a:r>
                      <a:r>
                        <a:rPr lang="en-GB" sz="1000" b="0" i="0" spc="-1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a:t>
                      </a:r>
                      <a: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eo</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l</a:t>
                      </a:r>
                      <a:r>
                        <a:rPr lang="en-GB" sz="1000" b="0" i="0" spc="-1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000" b="0" i="0" spc="-1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a:t>
                      </a: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a:t>
                      </a:r>
                      <a:r>
                        <a:rPr lang="en-GB" sz="1000" b="0" i="0" spc="-2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a:t>
                      </a: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a:t>
                      </a:r>
                      <a:r>
                        <a:rPr lang="en-GB" sz="1000" b="0" i="0" spc="-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a:t>
                      </a:r>
                      <a:r>
                        <a:rPr lang="en-GB" sz="1000" b="0" i="0" spc="-1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a:t>
                      </a:r>
                      <a:r>
                        <a:rPr lang="en-GB" sz="1000" b="0" i="0" spc="-15"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ns</a:t>
                      </a:r>
                      <a:endParaRPr lang="en-GB" sz="1000" b="0" i="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12700">
                        <a:lnSpc>
                          <a:spcPct val="110000"/>
                        </a:lnSpc>
                      </a:pPr>
                      <a:r>
                        <a:rPr lang="en-GB" sz="2000" b="0" i="0" spc="-6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a:t>
                      </a:r>
                      <a:r>
                        <a:rPr lang="en-GB" sz="2000" b="0" i="0" spc="-25"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29</a:t>
                      </a:r>
                      <a:r>
                        <a:rPr lang="en-GB" sz="2000" b="0"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M</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744343"/>
                  </a:ext>
                </a:extLst>
              </a:tr>
            </a:tbl>
          </a:graphicData>
        </a:graphic>
      </p:graphicFrame>
      <p:grpSp>
        <p:nvGrpSpPr>
          <p:cNvPr id="17" name="Group 16">
            <a:extLst>
              <a:ext uri="{FF2B5EF4-FFF2-40B4-BE49-F238E27FC236}">
                <a16:creationId xmlns:a16="http://schemas.microsoft.com/office/drawing/2014/main" id="{36452C4F-6FE2-5565-EE46-7A2313340138}"/>
              </a:ext>
            </a:extLst>
          </p:cNvPr>
          <p:cNvGrpSpPr/>
          <p:nvPr/>
        </p:nvGrpSpPr>
        <p:grpSpPr>
          <a:xfrm>
            <a:off x="4629811" y="1926208"/>
            <a:ext cx="580918" cy="580918"/>
            <a:chOff x="5471383" y="235023"/>
            <a:chExt cx="972000" cy="972000"/>
          </a:xfrm>
        </p:grpSpPr>
        <p:grpSp>
          <p:nvGrpSpPr>
            <p:cNvPr id="18" name="Group 17">
              <a:extLst>
                <a:ext uri="{FF2B5EF4-FFF2-40B4-BE49-F238E27FC236}">
                  <a16:creationId xmlns:a16="http://schemas.microsoft.com/office/drawing/2014/main" id="{A9D46E70-E336-C7AD-A1A7-4C922BA2E395}"/>
                </a:ext>
              </a:extLst>
            </p:cNvPr>
            <p:cNvGrpSpPr>
              <a:grpSpLocks noChangeAspect="1"/>
            </p:cNvGrpSpPr>
            <p:nvPr/>
          </p:nvGrpSpPr>
          <p:grpSpPr>
            <a:xfrm>
              <a:off x="5471383" y="235023"/>
              <a:ext cx="972000" cy="972000"/>
              <a:chOff x="4755935" y="5155978"/>
              <a:chExt cx="758821" cy="758821"/>
            </a:xfrm>
          </p:grpSpPr>
          <p:sp>
            <p:nvSpPr>
              <p:cNvPr id="20" name="Oval 19">
                <a:extLst>
                  <a:ext uri="{FF2B5EF4-FFF2-40B4-BE49-F238E27FC236}">
                    <a16:creationId xmlns:a16="http://schemas.microsoft.com/office/drawing/2014/main" id="{4961C808-E8EA-3AAC-45A0-6DA7FAC20CA2}"/>
                  </a:ext>
                </a:extLst>
              </p:cNvPr>
              <p:cNvSpPr/>
              <p:nvPr/>
            </p:nvSpPr>
            <p:spPr bwMode="gray">
              <a:xfrm>
                <a:off x="4755935" y="5155978"/>
                <a:ext cx="758821" cy="758821"/>
              </a:xfrm>
              <a:prstGeom prst="ellipse">
                <a:avLst/>
              </a:prstGeom>
              <a:solidFill>
                <a:srgbClr val="00B0F2">
                  <a:alpha val="26811"/>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1" name="Oval 20">
                <a:extLst>
                  <a:ext uri="{FF2B5EF4-FFF2-40B4-BE49-F238E27FC236}">
                    <a16:creationId xmlns:a16="http://schemas.microsoft.com/office/drawing/2014/main" id="{0E2E346C-C164-8617-97AB-3FD215169E4B}"/>
                  </a:ext>
                </a:extLst>
              </p:cNvPr>
              <p:cNvSpPr/>
              <p:nvPr/>
            </p:nvSpPr>
            <p:spPr bwMode="gray">
              <a:xfrm>
                <a:off x="4826854" y="5226897"/>
                <a:ext cx="616985" cy="616985"/>
              </a:xfrm>
              <a:prstGeom prst="ellipse">
                <a:avLst/>
              </a:prstGeom>
              <a:solidFill>
                <a:srgbClr val="00B0F2">
                  <a:alpha val="45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2" name="Oval 21">
                <a:extLst>
                  <a:ext uri="{FF2B5EF4-FFF2-40B4-BE49-F238E27FC236}">
                    <a16:creationId xmlns:a16="http://schemas.microsoft.com/office/drawing/2014/main" id="{93B3CBB2-9CE6-3039-7036-88CAD2BC9C87}"/>
                  </a:ext>
                </a:extLst>
              </p:cNvPr>
              <p:cNvSpPr>
                <a:spLocks noChangeAspect="1"/>
              </p:cNvSpPr>
              <p:nvPr/>
            </p:nvSpPr>
            <p:spPr bwMode="gray">
              <a:xfrm>
                <a:off x="4888301" y="5288342"/>
                <a:ext cx="494089" cy="494089"/>
              </a:xfrm>
              <a:prstGeom prst="ellipse">
                <a:avLst/>
              </a:prstGeom>
              <a:solidFill>
                <a:srgbClr val="00B0F2">
                  <a:alpha val="81254"/>
                </a:srgbClr>
              </a:solidFill>
              <a:ln w="19050" algn="ctr">
                <a:noFill/>
                <a:miter lim="800000"/>
                <a:headEnd/>
                <a:tailEnd/>
              </a:ln>
            </p:spPr>
            <p:txBody>
              <a:bodyPr wrap="none" lIns="88900" tIns="88900" rIns="88900" bIns="88900" rtlCol="0" anchor="ctr"/>
              <a:lstStyle/>
              <a:p>
                <a:pPr algn="ctr">
                  <a:lnSpc>
                    <a:spcPct val="90000"/>
                  </a:lnSpc>
                  <a:buFont typeface="Wingdings 2" pitchFamily="18" charset="2"/>
                  <a:buNone/>
                </a:pPr>
                <a:endParaRPr lang="en-GB" sz="9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grpSp>
        <p:sp>
          <p:nvSpPr>
            <p:cNvPr id="19" name="Graphic 6">
              <a:extLst>
                <a:ext uri="{FF2B5EF4-FFF2-40B4-BE49-F238E27FC236}">
                  <a16:creationId xmlns:a16="http://schemas.microsoft.com/office/drawing/2014/main" id="{6D6D5547-5971-07C0-47CC-410A93B49FE2}"/>
                </a:ext>
              </a:extLst>
            </p:cNvPr>
            <p:cNvSpPr/>
            <p:nvPr/>
          </p:nvSpPr>
          <p:spPr>
            <a:xfrm>
              <a:off x="5818045" y="508384"/>
              <a:ext cx="278676" cy="425279"/>
            </a:xfrm>
            <a:custGeom>
              <a:avLst/>
              <a:gdLst>
                <a:gd name="connsiteX0" fmla="*/ 112057 w 137211"/>
                <a:gd name="connsiteY0" fmla="*/ 181305 h 209394"/>
                <a:gd name="connsiteX1" fmla="*/ 73718 w 137211"/>
                <a:gd name="connsiteY1" fmla="*/ 194073 h 209394"/>
                <a:gd name="connsiteX2" fmla="*/ 83941 w 137211"/>
                <a:gd name="connsiteY2" fmla="*/ 165984 h 209394"/>
                <a:gd name="connsiteX3" fmla="*/ 122281 w 137211"/>
                <a:gd name="connsiteY3" fmla="*/ 151939 h 209394"/>
                <a:gd name="connsiteX4" fmla="*/ 112057 w 137211"/>
                <a:gd name="connsiteY4" fmla="*/ 181305 h 209394"/>
                <a:gd name="connsiteX5" fmla="*/ 22598 w 137211"/>
                <a:gd name="connsiteY5" fmla="*/ 181305 h 209394"/>
                <a:gd name="connsiteX6" fmla="*/ 11736 w 137211"/>
                <a:gd name="connsiteY6" fmla="*/ 151939 h 209394"/>
                <a:gd name="connsiteX7" fmla="*/ 50075 w 137211"/>
                <a:gd name="connsiteY7" fmla="*/ 165984 h 209394"/>
                <a:gd name="connsiteX8" fmla="*/ 60299 w 137211"/>
                <a:gd name="connsiteY8" fmla="*/ 194073 h 209394"/>
                <a:gd name="connsiteX9" fmla="*/ 22598 w 137211"/>
                <a:gd name="connsiteY9" fmla="*/ 181305 h 209394"/>
                <a:gd name="connsiteX10" fmla="*/ 34739 w 137211"/>
                <a:gd name="connsiteY10" fmla="*/ 113635 h 209394"/>
                <a:gd name="connsiteX11" fmla="*/ 34100 w 137211"/>
                <a:gd name="connsiteY11" fmla="*/ 101505 h 209394"/>
                <a:gd name="connsiteX12" fmla="*/ 44324 w 137211"/>
                <a:gd name="connsiteY12" fmla="*/ 89376 h 209394"/>
                <a:gd name="connsiteX13" fmla="*/ 56465 w 137211"/>
                <a:gd name="connsiteY13" fmla="*/ 98313 h 209394"/>
                <a:gd name="connsiteX14" fmla="*/ 48158 w 137211"/>
                <a:gd name="connsiteY14" fmla="*/ 111081 h 209394"/>
                <a:gd name="connsiteX15" fmla="*/ 34739 w 137211"/>
                <a:gd name="connsiteY15" fmla="*/ 113635 h 209394"/>
                <a:gd name="connsiteX16" fmla="*/ 21959 w 137211"/>
                <a:gd name="connsiteY16" fmla="*/ 61925 h 209394"/>
                <a:gd name="connsiteX17" fmla="*/ 14291 w 137211"/>
                <a:gd name="connsiteY17" fmla="*/ 50433 h 209394"/>
                <a:gd name="connsiteX18" fmla="*/ 25793 w 137211"/>
                <a:gd name="connsiteY18" fmla="*/ 45965 h 209394"/>
                <a:gd name="connsiteX19" fmla="*/ 40490 w 137211"/>
                <a:gd name="connsiteY19" fmla="*/ 51710 h 209394"/>
                <a:gd name="connsiteX20" fmla="*/ 36017 w 137211"/>
                <a:gd name="connsiteY20" fmla="*/ 65755 h 209394"/>
                <a:gd name="connsiteX21" fmla="*/ 21959 w 137211"/>
                <a:gd name="connsiteY21" fmla="*/ 61925 h 209394"/>
                <a:gd name="connsiteX22" fmla="*/ 59020 w 137211"/>
                <a:gd name="connsiteY22" fmla="*/ 22344 h 209394"/>
                <a:gd name="connsiteX23" fmla="*/ 67967 w 137211"/>
                <a:gd name="connsiteY23" fmla="*/ 11491 h 209394"/>
                <a:gd name="connsiteX24" fmla="*/ 76274 w 137211"/>
                <a:gd name="connsiteY24" fmla="*/ 21067 h 209394"/>
                <a:gd name="connsiteX25" fmla="*/ 75635 w 137211"/>
                <a:gd name="connsiteY25" fmla="*/ 37027 h 209394"/>
                <a:gd name="connsiteX26" fmla="*/ 67967 w 137211"/>
                <a:gd name="connsiteY26" fmla="*/ 35750 h 209394"/>
                <a:gd name="connsiteX27" fmla="*/ 60299 w 137211"/>
                <a:gd name="connsiteY27" fmla="*/ 37027 h 209394"/>
                <a:gd name="connsiteX28" fmla="*/ 59020 w 137211"/>
                <a:gd name="connsiteY28" fmla="*/ 22344 h 209394"/>
                <a:gd name="connsiteX29" fmla="*/ 108223 w 137211"/>
                <a:gd name="connsiteY29" fmla="*/ 45326 h 209394"/>
                <a:gd name="connsiteX30" fmla="*/ 121642 w 137211"/>
                <a:gd name="connsiteY30" fmla="*/ 49795 h 209394"/>
                <a:gd name="connsiteX31" fmla="*/ 115252 w 137211"/>
                <a:gd name="connsiteY31" fmla="*/ 60648 h 209394"/>
                <a:gd name="connsiteX32" fmla="*/ 99916 w 137211"/>
                <a:gd name="connsiteY32" fmla="*/ 65117 h 209394"/>
                <a:gd name="connsiteX33" fmla="*/ 95444 w 137211"/>
                <a:gd name="connsiteY33" fmla="*/ 51072 h 209394"/>
                <a:gd name="connsiteX34" fmla="*/ 108223 w 137211"/>
                <a:gd name="connsiteY34" fmla="*/ 45326 h 209394"/>
                <a:gd name="connsiteX35" fmla="*/ 101834 w 137211"/>
                <a:gd name="connsiteY35" fmla="*/ 112996 h 209394"/>
                <a:gd name="connsiteX36" fmla="*/ 89693 w 137211"/>
                <a:gd name="connsiteY36" fmla="*/ 110443 h 209394"/>
                <a:gd name="connsiteX37" fmla="*/ 80746 w 137211"/>
                <a:gd name="connsiteY37" fmla="*/ 97037 h 209394"/>
                <a:gd name="connsiteX38" fmla="*/ 92249 w 137211"/>
                <a:gd name="connsiteY38" fmla="*/ 88099 h 209394"/>
                <a:gd name="connsiteX39" fmla="*/ 101834 w 137211"/>
                <a:gd name="connsiteY39" fmla="*/ 98952 h 209394"/>
                <a:gd name="connsiteX40" fmla="*/ 101834 w 137211"/>
                <a:gd name="connsiteY40" fmla="*/ 112996 h 209394"/>
                <a:gd name="connsiteX41" fmla="*/ 48797 w 137211"/>
                <a:gd name="connsiteY41" fmla="*/ 67670 h 209394"/>
                <a:gd name="connsiteX42" fmla="*/ 67967 w 137211"/>
                <a:gd name="connsiteY42" fmla="*/ 48518 h 209394"/>
                <a:gd name="connsiteX43" fmla="*/ 87136 w 137211"/>
                <a:gd name="connsiteY43" fmla="*/ 67670 h 209394"/>
                <a:gd name="connsiteX44" fmla="*/ 67967 w 137211"/>
                <a:gd name="connsiteY44" fmla="*/ 86822 h 209394"/>
                <a:gd name="connsiteX45" fmla="*/ 48797 w 137211"/>
                <a:gd name="connsiteY45" fmla="*/ 67670 h 209394"/>
                <a:gd name="connsiteX46" fmla="*/ 129310 w 137211"/>
                <a:gd name="connsiteY46" fmla="*/ 139809 h 209394"/>
                <a:gd name="connsiteX47" fmla="*/ 74995 w 137211"/>
                <a:gd name="connsiteY47" fmla="*/ 157684 h 209394"/>
                <a:gd name="connsiteX48" fmla="*/ 74995 w 137211"/>
                <a:gd name="connsiteY48" fmla="*/ 158323 h 209394"/>
                <a:gd name="connsiteX49" fmla="*/ 74995 w 137211"/>
                <a:gd name="connsiteY49" fmla="*/ 112358 h 209394"/>
                <a:gd name="connsiteX50" fmla="*/ 80746 w 137211"/>
                <a:gd name="connsiteY50" fmla="*/ 119380 h 209394"/>
                <a:gd name="connsiteX51" fmla="*/ 98000 w 137211"/>
                <a:gd name="connsiteY51" fmla="*/ 126403 h 209394"/>
                <a:gd name="connsiteX52" fmla="*/ 109501 w 137211"/>
                <a:gd name="connsiteY52" fmla="*/ 123849 h 209394"/>
                <a:gd name="connsiteX53" fmla="*/ 111418 w 137211"/>
                <a:gd name="connsiteY53" fmla="*/ 122572 h 209394"/>
                <a:gd name="connsiteX54" fmla="*/ 113975 w 137211"/>
                <a:gd name="connsiteY54" fmla="*/ 92568 h 209394"/>
                <a:gd name="connsiteX55" fmla="*/ 101195 w 137211"/>
                <a:gd name="connsiteY55" fmla="*/ 78523 h 209394"/>
                <a:gd name="connsiteX56" fmla="*/ 121642 w 137211"/>
                <a:gd name="connsiteY56" fmla="*/ 72777 h 209394"/>
                <a:gd name="connsiteX57" fmla="*/ 135061 w 137211"/>
                <a:gd name="connsiteY57" fmla="*/ 47241 h 209394"/>
                <a:gd name="connsiteX58" fmla="*/ 134422 w 137211"/>
                <a:gd name="connsiteY58" fmla="*/ 45326 h 209394"/>
                <a:gd name="connsiteX59" fmla="*/ 106306 w 137211"/>
                <a:gd name="connsiteY59" fmla="*/ 33835 h 209394"/>
                <a:gd name="connsiteX60" fmla="*/ 88415 w 137211"/>
                <a:gd name="connsiteY60" fmla="*/ 41496 h 209394"/>
                <a:gd name="connsiteX61" fmla="*/ 89693 w 137211"/>
                <a:gd name="connsiteY61" fmla="*/ 20429 h 209394"/>
                <a:gd name="connsiteX62" fmla="*/ 69884 w 137211"/>
                <a:gd name="connsiteY62" fmla="*/ 0 h 209394"/>
                <a:gd name="connsiteX63" fmla="*/ 67967 w 137211"/>
                <a:gd name="connsiteY63" fmla="*/ 0 h 209394"/>
                <a:gd name="connsiteX64" fmla="*/ 48158 w 137211"/>
                <a:gd name="connsiteY64" fmla="*/ 22982 h 209394"/>
                <a:gd name="connsiteX65" fmla="*/ 50075 w 137211"/>
                <a:gd name="connsiteY65" fmla="*/ 42773 h 209394"/>
                <a:gd name="connsiteX66" fmla="*/ 30266 w 137211"/>
                <a:gd name="connsiteY66" fmla="*/ 35112 h 209394"/>
                <a:gd name="connsiteX67" fmla="*/ 4067 w 137211"/>
                <a:gd name="connsiteY67" fmla="*/ 47241 h 209394"/>
                <a:gd name="connsiteX68" fmla="*/ 3428 w 137211"/>
                <a:gd name="connsiteY68" fmla="*/ 49157 h 209394"/>
                <a:gd name="connsiteX69" fmla="*/ 18764 w 137211"/>
                <a:gd name="connsiteY69" fmla="*/ 75969 h 209394"/>
                <a:gd name="connsiteX70" fmla="*/ 37295 w 137211"/>
                <a:gd name="connsiteY70" fmla="*/ 80438 h 209394"/>
                <a:gd name="connsiteX71" fmla="*/ 37934 w 137211"/>
                <a:gd name="connsiteY71" fmla="*/ 80438 h 209394"/>
                <a:gd name="connsiteX72" fmla="*/ 23876 w 137211"/>
                <a:gd name="connsiteY72" fmla="*/ 97037 h 209394"/>
                <a:gd name="connsiteX73" fmla="*/ 27071 w 137211"/>
                <a:gd name="connsiteY73" fmla="*/ 125126 h 209394"/>
                <a:gd name="connsiteX74" fmla="*/ 28988 w 137211"/>
                <a:gd name="connsiteY74" fmla="*/ 126403 h 209394"/>
                <a:gd name="connsiteX75" fmla="*/ 39851 w 137211"/>
                <a:gd name="connsiteY75" fmla="*/ 128956 h 209394"/>
                <a:gd name="connsiteX76" fmla="*/ 58382 w 137211"/>
                <a:gd name="connsiteY76" fmla="*/ 120657 h 209394"/>
                <a:gd name="connsiteX77" fmla="*/ 62855 w 137211"/>
                <a:gd name="connsiteY77" fmla="*/ 115550 h 209394"/>
                <a:gd name="connsiteX78" fmla="*/ 62855 w 137211"/>
                <a:gd name="connsiteY78" fmla="*/ 162153 h 209394"/>
                <a:gd name="connsiteX79" fmla="*/ 60938 w 137211"/>
                <a:gd name="connsiteY79" fmla="*/ 160238 h 209394"/>
                <a:gd name="connsiteX80" fmla="*/ 6623 w 137211"/>
                <a:gd name="connsiteY80" fmla="*/ 141724 h 209394"/>
                <a:gd name="connsiteX81" fmla="*/ 233 w 137211"/>
                <a:gd name="connsiteY81" fmla="*/ 147470 h 209394"/>
                <a:gd name="connsiteX82" fmla="*/ 14291 w 137211"/>
                <a:gd name="connsiteY82" fmla="*/ 192796 h 209394"/>
                <a:gd name="connsiteX83" fmla="*/ 60299 w 137211"/>
                <a:gd name="connsiteY83" fmla="*/ 209395 h 209394"/>
                <a:gd name="connsiteX84" fmla="*/ 68605 w 137211"/>
                <a:gd name="connsiteY84" fmla="*/ 209395 h 209394"/>
                <a:gd name="connsiteX85" fmla="*/ 68605 w 137211"/>
                <a:gd name="connsiteY85" fmla="*/ 209395 h 209394"/>
                <a:gd name="connsiteX86" fmla="*/ 68605 w 137211"/>
                <a:gd name="connsiteY86" fmla="*/ 209395 h 209394"/>
                <a:gd name="connsiteX87" fmla="*/ 76913 w 137211"/>
                <a:gd name="connsiteY87" fmla="*/ 209395 h 209394"/>
                <a:gd name="connsiteX88" fmla="*/ 122920 w 137211"/>
                <a:gd name="connsiteY88" fmla="*/ 192796 h 209394"/>
                <a:gd name="connsiteX89" fmla="*/ 136978 w 137211"/>
                <a:gd name="connsiteY89" fmla="*/ 147470 h 209394"/>
                <a:gd name="connsiteX90" fmla="*/ 129310 w 137211"/>
                <a:gd name="connsiteY90" fmla="*/ 139809 h 2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37211" h="209394">
                  <a:moveTo>
                    <a:pt x="112057" y="181305"/>
                  </a:moveTo>
                  <a:cubicBezTo>
                    <a:pt x="103750" y="190243"/>
                    <a:pt x="90970" y="194073"/>
                    <a:pt x="73718" y="194073"/>
                  </a:cubicBezTo>
                  <a:cubicBezTo>
                    <a:pt x="73718" y="187051"/>
                    <a:pt x="75635" y="175560"/>
                    <a:pt x="83941" y="165984"/>
                  </a:cubicBezTo>
                  <a:cubicBezTo>
                    <a:pt x="92249" y="157046"/>
                    <a:pt x="105029" y="152577"/>
                    <a:pt x="122281" y="151939"/>
                  </a:cubicBezTo>
                  <a:cubicBezTo>
                    <a:pt x="122281" y="159600"/>
                    <a:pt x="121003" y="171729"/>
                    <a:pt x="112057" y="181305"/>
                  </a:cubicBezTo>
                  <a:moveTo>
                    <a:pt x="22598" y="181305"/>
                  </a:moveTo>
                  <a:cubicBezTo>
                    <a:pt x="13652" y="171729"/>
                    <a:pt x="12374" y="158961"/>
                    <a:pt x="11736" y="151939"/>
                  </a:cubicBezTo>
                  <a:cubicBezTo>
                    <a:pt x="28988" y="152577"/>
                    <a:pt x="41768" y="157046"/>
                    <a:pt x="50075" y="165984"/>
                  </a:cubicBezTo>
                  <a:cubicBezTo>
                    <a:pt x="58382" y="174921"/>
                    <a:pt x="60299" y="187051"/>
                    <a:pt x="60299" y="194073"/>
                  </a:cubicBezTo>
                  <a:cubicBezTo>
                    <a:pt x="43685" y="194073"/>
                    <a:pt x="30905" y="190243"/>
                    <a:pt x="22598" y="181305"/>
                  </a:cubicBezTo>
                  <a:moveTo>
                    <a:pt x="34739" y="113635"/>
                  </a:moveTo>
                  <a:cubicBezTo>
                    <a:pt x="33461" y="111720"/>
                    <a:pt x="30905" y="107251"/>
                    <a:pt x="34100" y="101505"/>
                  </a:cubicBezTo>
                  <a:cubicBezTo>
                    <a:pt x="37934" y="95121"/>
                    <a:pt x="41768" y="91291"/>
                    <a:pt x="44324" y="89376"/>
                  </a:cubicBezTo>
                  <a:cubicBezTo>
                    <a:pt x="47519" y="93206"/>
                    <a:pt x="51992" y="96398"/>
                    <a:pt x="56465" y="98313"/>
                  </a:cubicBezTo>
                  <a:cubicBezTo>
                    <a:pt x="55187" y="100867"/>
                    <a:pt x="53270" y="105336"/>
                    <a:pt x="48158" y="111081"/>
                  </a:cubicBezTo>
                  <a:cubicBezTo>
                    <a:pt x="43046" y="115550"/>
                    <a:pt x="36656" y="114273"/>
                    <a:pt x="34739" y="113635"/>
                  </a:cubicBezTo>
                  <a:moveTo>
                    <a:pt x="21959" y="61925"/>
                  </a:moveTo>
                  <a:cubicBezTo>
                    <a:pt x="14931" y="58733"/>
                    <a:pt x="14291" y="52987"/>
                    <a:pt x="14291" y="50433"/>
                  </a:cubicBezTo>
                  <a:cubicBezTo>
                    <a:pt x="15569" y="48518"/>
                    <a:pt x="19403" y="44688"/>
                    <a:pt x="25793" y="45965"/>
                  </a:cubicBezTo>
                  <a:cubicBezTo>
                    <a:pt x="34100" y="47241"/>
                    <a:pt x="38573" y="49795"/>
                    <a:pt x="40490" y="51710"/>
                  </a:cubicBezTo>
                  <a:cubicBezTo>
                    <a:pt x="37934" y="56179"/>
                    <a:pt x="36656" y="60648"/>
                    <a:pt x="36017" y="65755"/>
                  </a:cubicBezTo>
                  <a:cubicBezTo>
                    <a:pt x="34100" y="65755"/>
                    <a:pt x="29627" y="65117"/>
                    <a:pt x="21959" y="61925"/>
                  </a:cubicBezTo>
                  <a:moveTo>
                    <a:pt x="59020" y="22344"/>
                  </a:moveTo>
                  <a:cubicBezTo>
                    <a:pt x="59660" y="14683"/>
                    <a:pt x="65410" y="12130"/>
                    <a:pt x="67967" y="11491"/>
                  </a:cubicBezTo>
                  <a:cubicBezTo>
                    <a:pt x="69884" y="12130"/>
                    <a:pt x="74995" y="14683"/>
                    <a:pt x="76274" y="21067"/>
                  </a:cubicBezTo>
                  <a:cubicBezTo>
                    <a:pt x="77551" y="28728"/>
                    <a:pt x="76274" y="33835"/>
                    <a:pt x="75635" y="37027"/>
                  </a:cubicBezTo>
                  <a:cubicBezTo>
                    <a:pt x="73079" y="36389"/>
                    <a:pt x="70523" y="35750"/>
                    <a:pt x="67967" y="35750"/>
                  </a:cubicBezTo>
                  <a:cubicBezTo>
                    <a:pt x="65410" y="35750"/>
                    <a:pt x="62855" y="36389"/>
                    <a:pt x="60299" y="37027"/>
                  </a:cubicBezTo>
                  <a:cubicBezTo>
                    <a:pt x="59660" y="33835"/>
                    <a:pt x="58382" y="29366"/>
                    <a:pt x="59020" y="22344"/>
                  </a:cubicBezTo>
                  <a:moveTo>
                    <a:pt x="108223" y="45326"/>
                  </a:moveTo>
                  <a:cubicBezTo>
                    <a:pt x="115891" y="43411"/>
                    <a:pt x="119725" y="47880"/>
                    <a:pt x="121642" y="49795"/>
                  </a:cubicBezTo>
                  <a:cubicBezTo>
                    <a:pt x="121642" y="52349"/>
                    <a:pt x="121003" y="57456"/>
                    <a:pt x="115252" y="60648"/>
                  </a:cubicBezTo>
                  <a:cubicBezTo>
                    <a:pt x="108223" y="63840"/>
                    <a:pt x="103111" y="65117"/>
                    <a:pt x="99916" y="65117"/>
                  </a:cubicBezTo>
                  <a:cubicBezTo>
                    <a:pt x="99277" y="60009"/>
                    <a:pt x="98000" y="54902"/>
                    <a:pt x="95444" y="51072"/>
                  </a:cubicBezTo>
                  <a:cubicBezTo>
                    <a:pt x="97360" y="49157"/>
                    <a:pt x="101834" y="46603"/>
                    <a:pt x="108223" y="45326"/>
                  </a:cubicBezTo>
                  <a:moveTo>
                    <a:pt x="101834" y="112996"/>
                  </a:moveTo>
                  <a:cubicBezTo>
                    <a:pt x="99916" y="113635"/>
                    <a:pt x="94165" y="114912"/>
                    <a:pt x="89693" y="110443"/>
                  </a:cubicBezTo>
                  <a:cubicBezTo>
                    <a:pt x="84580" y="105336"/>
                    <a:pt x="82025" y="100229"/>
                    <a:pt x="80746" y="97037"/>
                  </a:cubicBezTo>
                  <a:cubicBezTo>
                    <a:pt x="85220" y="95121"/>
                    <a:pt x="89054" y="91929"/>
                    <a:pt x="92249" y="88099"/>
                  </a:cubicBezTo>
                  <a:cubicBezTo>
                    <a:pt x="94805" y="90014"/>
                    <a:pt x="98639" y="93206"/>
                    <a:pt x="101834" y="98952"/>
                  </a:cubicBezTo>
                  <a:cubicBezTo>
                    <a:pt x="105667" y="105336"/>
                    <a:pt x="103111" y="110443"/>
                    <a:pt x="101834" y="112996"/>
                  </a:cubicBezTo>
                  <a:moveTo>
                    <a:pt x="48797" y="67670"/>
                  </a:moveTo>
                  <a:cubicBezTo>
                    <a:pt x="48797" y="57456"/>
                    <a:pt x="57104" y="48518"/>
                    <a:pt x="67967" y="48518"/>
                  </a:cubicBezTo>
                  <a:cubicBezTo>
                    <a:pt x="78190" y="48518"/>
                    <a:pt x="87136" y="56817"/>
                    <a:pt x="87136" y="67670"/>
                  </a:cubicBezTo>
                  <a:cubicBezTo>
                    <a:pt x="87136" y="77885"/>
                    <a:pt x="78830" y="86822"/>
                    <a:pt x="67967" y="86822"/>
                  </a:cubicBezTo>
                  <a:cubicBezTo>
                    <a:pt x="57104" y="86822"/>
                    <a:pt x="48797" y="77885"/>
                    <a:pt x="48797" y="67670"/>
                  </a:cubicBezTo>
                  <a:moveTo>
                    <a:pt x="129310" y="139809"/>
                  </a:moveTo>
                  <a:cubicBezTo>
                    <a:pt x="105029" y="139171"/>
                    <a:pt x="86498" y="144916"/>
                    <a:pt x="74995" y="157684"/>
                  </a:cubicBezTo>
                  <a:cubicBezTo>
                    <a:pt x="74995" y="157684"/>
                    <a:pt x="74995" y="157684"/>
                    <a:pt x="74995" y="158323"/>
                  </a:cubicBezTo>
                  <a:lnTo>
                    <a:pt x="74995" y="112358"/>
                  </a:lnTo>
                  <a:cubicBezTo>
                    <a:pt x="76913" y="114912"/>
                    <a:pt x="78830" y="116827"/>
                    <a:pt x="80746" y="119380"/>
                  </a:cubicBezTo>
                  <a:cubicBezTo>
                    <a:pt x="85859" y="125126"/>
                    <a:pt x="92249" y="126403"/>
                    <a:pt x="98000" y="126403"/>
                  </a:cubicBezTo>
                  <a:cubicBezTo>
                    <a:pt x="102472" y="126403"/>
                    <a:pt x="106945" y="125126"/>
                    <a:pt x="109501" y="123849"/>
                  </a:cubicBezTo>
                  <a:cubicBezTo>
                    <a:pt x="110140" y="123211"/>
                    <a:pt x="110780" y="123211"/>
                    <a:pt x="111418" y="122572"/>
                  </a:cubicBezTo>
                  <a:cubicBezTo>
                    <a:pt x="115891" y="118104"/>
                    <a:pt x="121642" y="105336"/>
                    <a:pt x="113975" y="92568"/>
                  </a:cubicBezTo>
                  <a:cubicBezTo>
                    <a:pt x="109501" y="85545"/>
                    <a:pt x="105029" y="81077"/>
                    <a:pt x="101195" y="78523"/>
                  </a:cubicBezTo>
                  <a:cubicBezTo>
                    <a:pt x="105667" y="78523"/>
                    <a:pt x="113335" y="77246"/>
                    <a:pt x="121642" y="72777"/>
                  </a:cubicBezTo>
                  <a:cubicBezTo>
                    <a:pt x="134422" y="66393"/>
                    <a:pt x="135700" y="53625"/>
                    <a:pt x="135061" y="47241"/>
                  </a:cubicBezTo>
                  <a:cubicBezTo>
                    <a:pt x="135061" y="46603"/>
                    <a:pt x="134422" y="45965"/>
                    <a:pt x="134422" y="45326"/>
                  </a:cubicBezTo>
                  <a:cubicBezTo>
                    <a:pt x="131227" y="39581"/>
                    <a:pt x="121642" y="30005"/>
                    <a:pt x="106306" y="33835"/>
                  </a:cubicBezTo>
                  <a:cubicBezTo>
                    <a:pt x="98000" y="35750"/>
                    <a:pt x="92887" y="38304"/>
                    <a:pt x="88415" y="41496"/>
                  </a:cubicBezTo>
                  <a:cubicBezTo>
                    <a:pt x="89693" y="37027"/>
                    <a:pt x="90970" y="30005"/>
                    <a:pt x="89693" y="20429"/>
                  </a:cubicBezTo>
                  <a:cubicBezTo>
                    <a:pt x="87775" y="6384"/>
                    <a:pt x="75635" y="638"/>
                    <a:pt x="69884" y="0"/>
                  </a:cubicBezTo>
                  <a:cubicBezTo>
                    <a:pt x="69245" y="0"/>
                    <a:pt x="68605" y="0"/>
                    <a:pt x="67967" y="0"/>
                  </a:cubicBezTo>
                  <a:cubicBezTo>
                    <a:pt x="61577" y="1277"/>
                    <a:pt x="49436" y="7661"/>
                    <a:pt x="48158" y="22982"/>
                  </a:cubicBezTo>
                  <a:cubicBezTo>
                    <a:pt x="47519" y="31920"/>
                    <a:pt x="48158" y="38304"/>
                    <a:pt x="50075" y="42773"/>
                  </a:cubicBezTo>
                  <a:cubicBezTo>
                    <a:pt x="46880" y="40219"/>
                    <a:pt x="40490" y="37027"/>
                    <a:pt x="30266" y="35112"/>
                  </a:cubicBezTo>
                  <a:cubicBezTo>
                    <a:pt x="16208" y="32558"/>
                    <a:pt x="7262" y="41496"/>
                    <a:pt x="4067" y="47241"/>
                  </a:cubicBezTo>
                  <a:cubicBezTo>
                    <a:pt x="3428" y="47880"/>
                    <a:pt x="3428" y="48518"/>
                    <a:pt x="3428" y="49157"/>
                  </a:cubicBezTo>
                  <a:cubicBezTo>
                    <a:pt x="2151" y="55541"/>
                    <a:pt x="4067" y="69585"/>
                    <a:pt x="18764" y="75969"/>
                  </a:cubicBezTo>
                  <a:cubicBezTo>
                    <a:pt x="27071" y="79800"/>
                    <a:pt x="33461" y="80438"/>
                    <a:pt x="37295" y="80438"/>
                  </a:cubicBezTo>
                  <a:cubicBezTo>
                    <a:pt x="37934" y="80438"/>
                    <a:pt x="37934" y="80438"/>
                    <a:pt x="37934" y="80438"/>
                  </a:cubicBezTo>
                  <a:cubicBezTo>
                    <a:pt x="34100" y="82992"/>
                    <a:pt x="28988" y="88099"/>
                    <a:pt x="23876" y="97037"/>
                  </a:cubicBezTo>
                  <a:cubicBezTo>
                    <a:pt x="16847" y="109166"/>
                    <a:pt x="23237" y="121296"/>
                    <a:pt x="27071" y="125126"/>
                  </a:cubicBezTo>
                  <a:cubicBezTo>
                    <a:pt x="27710" y="125764"/>
                    <a:pt x="28349" y="126403"/>
                    <a:pt x="28988" y="126403"/>
                  </a:cubicBezTo>
                  <a:cubicBezTo>
                    <a:pt x="31544" y="127680"/>
                    <a:pt x="35378" y="128956"/>
                    <a:pt x="39851" y="128956"/>
                  </a:cubicBezTo>
                  <a:cubicBezTo>
                    <a:pt x="45602" y="128956"/>
                    <a:pt x="52631" y="127041"/>
                    <a:pt x="58382" y="120657"/>
                  </a:cubicBezTo>
                  <a:cubicBezTo>
                    <a:pt x="60299" y="118742"/>
                    <a:pt x="61577" y="117465"/>
                    <a:pt x="62855" y="115550"/>
                  </a:cubicBezTo>
                  <a:lnTo>
                    <a:pt x="62855" y="162153"/>
                  </a:lnTo>
                  <a:cubicBezTo>
                    <a:pt x="62215" y="161515"/>
                    <a:pt x="61577" y="160876"/>
                    <a:pt x="60938" y="160238"/>
                  </a:cubicBezTo>
                  <a:cubicBezTo>
                    <a:pt x="49436" y="147470"/>
                    <a:pt x="30905" y="141086"/>
                    <a:pt x="6623" y="141724"/>
                  </a:cubicBezTo>
                  <a:cubicBezTo>
                    <a:pt x="3428" y="141724"/>
                    <a:pt x="872" y="144278"/>
                    <a:pt x="233" y="147470"/>
                  </a:cubicBezTo>
                  <a:cubicBezTo>
                    <a:pt x="233" y="148747"/>
                    <a:pt x="-2962" y="174283"/>
                    <a:pt x="14291" y="192796"/>
                  </a:cubicBezTo>
                  <a:cubicBezTo>
                    <a:pt x="24515" y="203649"/>
                    <a:pt x="40490" y="209395"/>
                    <a:pt x="60299" y="209395"/>
                  </a:cubicBezTo>
                  <a:cubicBezTo>
                    <a:pt x="62855" y="209395"/>
                    <a:pt x="65410" y="209395"/>
                    <a:pt x="68605" y="209395"/>
                  </a:cubicBezTo>
                  <a:lnTo>
                    <a:pt x="68605" y="209395"/>
                  </a:lnTo>
                  <a:lnTo>
                    <a:pt x="68605" y="209395"/>
                  </a:lnTo>
                  <a:cubicBezTo>
                    <a:pt x="71162" y="209395"/>
                    <a:pt x="74357" y="209395"/>
                    <a:pt x="76913" y="209395"/>
                  </a:cubicBezTo>
                  <a:cubicBezTo>
                    <a:pt x="96721" y="209395"/>
                    <a:pt x="112696" y="203649"/>
                    <a:pt x="122920" y="192796"/>
                  </a:cubicBezTo>
                  <a:cubicBezTo>
                    <a:pt x="140173" y="174921"/>
                    <a:pt x="136978" y="148747"/>
                    <a:pt x="136978" y="147470"/>
                  </a:cubicBezTo>
                  <a:cubicBezTo>
                    <a:pt x="135061" y="141724"/>
                    <a:pt x="132505" y="139809"/>
                    <a:pt x="129310" y="139809"/>
                  </a:cubicBezTo>
                </a:path>
              </a:pathLst>
            </a:custGeom>
            <a:solidFill>
              <a:schemeClr val="bg1"/>
            </a:solidFill>
            <a:ln w="6390"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338C68F2-F228-CA2A-3E8E-2EDF085E7FEC}"/>
              </a:ext>
            </a:extLst>
          </p:cNvPr>
          <p:cNvGrpSpPr/>
          <p:nvPr/>
        </p:nvGrpSpPr>
        <p:grpSpPr>
          <a:xfrm>
            <a:off x="4617626" y="3373118"/>
            <a:ext cx="593104" cy="593104"/>
            <a:chOff x="4617625" y="4020733"/>
            <a:chExt cx="683805" cy="683805"/>
          </a:xfrm>
        </p:grpSpPr>
        <p:grpSp>
          <p:nvGrpSpPr>
            <p:cNvPr id="24" name="Group 23">
              <a:extLst>
                <a:ext uri="{FF2B5EF4-FFF2-40B4-BE49-F238E27FC236}">
                  <a16:creationId xmlns:a16="http://schemas.microsoft.com/office/drawing/2014/main" id="{F3047237-C7B6-0348-48BF-86AADAE04E10}"/>
                </a:ext>
              </a:extLst>
            </p:cNvPr>
            <p:cNvGrpSpPr>
              <a:grpSpLocks noChangeAspect="1"/>
            </p:cNvGrpSpPr>
            <p:nvPr/>
          </p:nvGrpSpPr>
          <p:grpSpPr>
            <a:xfrm>
              <a:off x="4617625" y="4020733"/>
              <a:ext cx="683805" cy="683805"/>
              <a:chOff x="4755935" y="5155978"/>
              <a:chExt cx="758821" cy="758821"/>
            </a:xfrm>
          </p:grpSpPr>
          <p:sp>
            <p:nvSpPr>
              <p:cNvPr id="28" name="Oval 27">
                <a:extLst>
                  <a:ext uri="{FF2B5EF4-FFF2-40B4-BE49-F238E27FC236}">
                    <a16:creationId xmlns:a16="http://schemas.microsoft.com/office/drawing/2014/main" id="{1CED46DB-0B70-61FE-F82A-D88FF2DF1E89}"/>
                  </a:ext>
                </a:extLst>
              </p:cNvPr>
              <p:cNvSpPr/>
              <p:nvPr/>
            </p:nvSpPr>
            <p:spPr bwMode="gray">
              <a:xfrm>
                <a:off x="4755935" y="5155978"/>
                <a:ext cx="758821" cy="758821"/>
              </a:xfrm>
              <a:prstGeom prst="ellipse">
                <a:avLst/>
              </a:prstGeom>
              <a:solidFill>
                <a:srgbClr val="00B0F2">
                  <a:alpha val="26811"/>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Oval 28">
                <a:extLst>
                  <a:ext uri="{FF2B5EF4-FFF2-40B4-BE49-F238E27FC236}">
                    <a16:creationId xmlns:a16="http://schemas.microsoft.com/office/drawing/2014/main" id="{F5049478-4C95-0A2C-E9E1-699249A41E77}"/>
                  </a:ext>
                </a:extLst>
              </p:cNvPr>
              <p:cNvSpPr/>
              <p:nvPr/>
            </p:nvSpPr>
            <p:spPr bwMode="gray">
              <a:xfrm>
                <a:off x="4826854" y="5226897"/>
                <a:ext cx="616985" cy="616985"/>
              </a:xfrm>
              <a:prstGeom prst="ellipse">
                <a:avLst/>
              </a:prstGeom>
              <a:solidFill>
                <a:srgbClr val="00B0F2">
                  <a:alpha val="45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0" name="Oval 29">
                <a:extLst>
                  <a:ext uri="{FF2B5EF4-FFF2-40B4-BE49-F238E27FC236}">
                    <a16:creationId xmlns:a16="http://schemas.microsoft.com/office/drawing/2014/main" id="{EC176C21-18DA-A336-6796-485E2B3C92F1}"/>
                  </a:ext>
                </a:extLst>
              </p:cNvPr>
              <p:cNvSpPr>
                <a:spLocks noChangeAspect="1"/>
              </p:cNvSpPr>
              <p:nvPr/>
            </p:nvSpPr>
            <p:spPr bwMode="gray">
              <a:xfrm>
                <a:off x="4888300" y="5288342"/>
                <a:ext cx="494089" cy="494089"/>
              </a:xfrm>
              <a:prstGeom prst="ellipse">
                <a:avLst/>
              </a:prstGeom>
              <a:solidFill>
                <a:srgbClr val="00B0F2">
                  <a:alpha val="81254"/>
                </a:srgbClr>
              </a:solidFill>
              <a:ln w="19050" algn="ctr">
                <a:noFill/>
                <a:miter lim="800000"/>
                <a:headEnd/>
                <a:tailEnd/>
              </a:ln>
            </p:spPr>
            <p:txBody>
              <a:bodyPr wrap="none" lIns="88900" tIns="88900" rIns="88900" bIns="88900" rtlCol="0" anchor="ctr"/>
              <a:lstStyle/>
              <a:p>
                <a:pPr algn="ctr">
                  <a:lnSpc>
                    <a:spcPct val="90000"/>
                  </a:lnSpc>
                  <a:buFont typeface="Wingdings 2" pitchFamily="18" charset="2"/>
                  <a:buNone/>
                </a:pPr>
                <a:endParaRPr lang="en-GB" sz="9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grpSp>
        <p:grpSp>
          <p:nvGrpSpPr>
            <p:cNvPr id="25" name="Graphic 4">
              <a:extLst>
                <a:ext uri="{FF2B5EF4-FFF2-40B4-BE49-F238E27FC236}">
                  <a16:creationId xmlns:a16="http://schemas.microsoft.com/office/drawing/2014/main" id="{7681246F-C240-2E4A-BB23-8311E0C0C532}"/>
                </a:ext>
              </a:extLst>
            </p:cNvPr>
            <p:cNvGrpSpPr/>
            <p:nvPr/>
          </p:nvGrpSpPr>
          <p:grpSpPr>
            <a:xfrm>
              <a:off x="4796857" y="4234156"/>
              <a:ext cx="325341" cy="256958"/>
              <a:chOff x="2617404" y="2458634"/>
              <a:chExt cx="249760" cy="197264"/>
            </a:xfrm>
            <a:solidFill>
              <a:schemeClr val="bg1"/>
            </a:solidFill>
          </p:grpSpPr>
          <p:sp>
            <p:nvSpPr>
              <p:cNvPr id="26" name="Graphic 4">
                <a:extLst>
                  <a:ext uri="{FF2B5EF4-FFF2-40B4-BE49-F238E27FC236}">
                    <a16:creationId xmlns:a16="http://schemas.microsoft.com/office/drawing/2014/main" id="{8A7F810B-273E-9F42-702E-FD6B0C947A1F}"/>
                  </a:ext>
                </a:extLst>
              </p:cNvPr>
              <p:cNvSpPr/>
              <p:nvPr/>
            </p:nvSpPr>
            <p:spPr>
              <a:xfrm>
                <a:off x="2617404" y="2537795"/>
                <a:ext cx="249760" cy="118103"/>
              </a:xfrm>
              <a:custGeom>
                <a:avLst/>
                <a:gdLst>
                  <a:gd name="connsiteX0" fmla="*/ 242731 w 249760"/>
                  <a:gd name="connsiteY0" fmla="*/ 59371 h 118103"/>
                  <a:gd name="connsiteX1" fmla="*/ 240175 w 249760"/>
                  <a:gd name="connsiteY1" fmla="*/ 59371 h 118103"/>
                  <a:gd name="connsiteX2" fmla="*/ 211420 w 249760"/>
                  <a:gd name="connsiteY2" fmla="*/ 68309 h 118103"/>
                  <a:gd name="connsiteX3" fmla="*/ 165413 w 249760"/>
                  <a:gd name="connsiteY3" fmla="*/ 98952 h 118103"/>
                  <a:gd name="connsiteX4" fmla="*/ 143048 w 249760"/>
                  <a:gd name="connsiteY4" fmla="*/ 105974 h 118103"/>
                  <a:gd name="connsiteX5" fmla="*/ 88734 w 249760"/>
                  <a:gd name="connsiteY5" fmla="*/ 105974 h 118103"/>
                  <a:gd name="connsiteX6" fmla="*/ 75954 w 249760"/>
                  <a:gd name="connsiteY6" fmla="*/ 103421 h 118103"/>
                  <a:gd name="connsiteX7" fmla="*/ 13332 w 249760"/>
                  <a:gd name="connsiteY7" fmla="*/ 75331 h 118103"/>
                  <a:gd name="connsiteX8" fmla="*/ 12054 w 249760"/>
                  <a:gd name="connsiteY8" fmla="*/ 74054 h 118103"/>
                  <a:gd name="connsiteX9" fmla="*/ 22278 w 249760"/>
                  <a:gd name="connsiteY9" fmla="*/ 68309 h 118103"/>
                  <a:gd name="connsiteX10" fmla="*/ 79788 w 249760"/>
                  <a:gd name="connsiteY10" fmla="*/ 82353 h 118103"/>
                  <a:gd name="connsiteX11" fmla="*/ 81705 w 249760"/>
                  <a:gd name="connsiteY11" fmla="*/ 90653 h 118103"/>
                  <a:gd name="connsiteX12" fmla="*/ 93845 w 249760"/>
                  <a:gd name="connsiteY12" fmla="*/ 97675 h 118103"/>
                  <a:gd name="connsiteX13" fmla="*/ 100874 w 249760"/>
                  <a:gd name="connsiteY13" fmla="*/ 96398 h 118103"/>
                  <a:gd name="connsiteX14" fmla="*/ 135380 w 249760"/>
                  <a:gd name="connsiteY14" fmla="*/ 88737 h 118103"/>
                  <a:gd name="connsiteX15" fmla="*/ 153272 w 249760"/>
                  <a:gd name="connsiteY15" fmla="*/ 80438 h 118103"/>
                  <a:gd name="connsiteX16" fmla="*/ 175637 w 249760"/>
                  <a:gd name="connsiteY16" fmla="*/ 63201 h 118103"/>
                  <a:gd name="connsiteX17" fmla="*/ 176915 w 249760"/>
                  <a:gd name="connsiteY17" fmla="*/ 54264 h 118103"/>
                  <a:gd name="connsiteX18" fmla="*/ 167969 w 249760"/>
                  <a:gd name="connsiteY18" fmla="*/ 52987 h 118103"/>
                  <a:gd name="connsiteX19" fmla="*/ 145604 w 249760"/>
                  <a:gd name="connsiteY19" fmla="*/ 70224 h 118103"/>
                  <a:gd name="connsiteX20" fmla="*/ 132824 w 249760"/>
                  <a:gd name="connsiteY20" fmla="*/ 76608 h 118103"/>
                  <a:gd name="connsiteX21" fmla="*/ 97679 w 249760"/>
                  <a:gd name="connsiteY21" fmla="*/ 84269 h 118103"/>
                  <a:gd name="connsiteX22" fmla="*/ 93207 w 249760"/>
                  <a:gd name="connsiteY22" fmla="*/ 84907 h 118103"/>
                  <a:gd name="connsiteX23" fmla="*/ 92568 w 249760"/>
                  <a:gd name="connsiteY23" fmla="*/ 81715 h 118103"/>
                  <a:gd name="connsiteX24" fmla="*/ 99597 w 249760"/>
                  <a:gd name="connsiteY24" fmla="*/ 69585 h 118103"/>
                  <a:gd name="connsiteX25" fmla="*/ 128990 w 249760"/>
                  <a:gd name="connsiteY25" fmla="*/ 54902 h 118103"/>
                  <a:gd name="connsiteX26" fmla="*/ 132185 w 249760"/>
                  <a:gd name="connsiteY26" fmla="*/ 51710 h 118103"/>
                  <a:gd name="connsiteX27" fmla="*/ 177554 w 249760"/>
                  <a:gd name="connsiteY27" fmla="*/ 12768 h 118103"/>
                  <a:gd name="connsiteX28" fmla="*/ 240814 w 249760"/>
                  <a:gd name="connsiteY28" fmla="*/ 12768 h 118103"/>
                  <a:gd name="connsiteX29" fmla="*/ 247204 w 249760"/>
                  <a:gd name="connsiteY29" fmla="*/ 6384 h 118103"/>
                  <a:gd name="connsiteX30" fmla="*/ 240814 w 249760"/>
                  <a:gd name="connsiteY30" fmla="*/ 0 h 118103"/>
                  <a:gd name="connsiteX31" fmla="*/ 177554 w 249760"/>
                  <a:gd name="connsiteY31" fmla="*/ 0 h 118103"/>
                  <a:gd name="connsiteX32" fmla="*/ 121961 w 249760"/>
                  <a:gd name="connsiteY32" fmla="*/ 43411 h 118103"/>
                  <a:gd name="connsiteX33" fmla="*/ 91929 w 249760"/>
                  <a:gd name="connsiteY33" fmla="*/ 58733 h 118103"/>
                  <a:gd name="connsiteX34" fmla="*/ 83622 w 249760"/>
                  <a:gd name="connsiteY34" fmla="*/ 68947 h 118103"/>
                  <a:gd name="connsiteX35" fmla="*/ 25473 w 249760"/>
                  <a:gd name="connsiteY35" fmla="*/ 54902 h 118103"/>
                  <a:gd name="connsiteX36" fmla="*/ 24834 w 249760"/>
                  <a:gd name="connsiteY36" fmla="*/ 54902 h 118103"/>
                  <a:gd name="connsiteX37" fmla="*/ 553 w 249760"/>
                  <a:gd name="connsiteY37" fmla="*/ 69585 h 118103"/>
                  <a:gd name="connsiteX38" fmla="*/ 8220 w 249760"/>
                  <a:gd name="connsiteY38" fmla="*/ 86184 h 118103"/>
                  <a:gd name="connsiteX39" fmla="*/ 71481 w 249760"/>
                  <a:gd name="connsiteY39" fmla="*/ 114273 h 118103"/>
                  <a:gd name="connsiteX40" fmla="*/ 89373 w 249760"/>
                  <a:gd name="connsiteY40" fmla="*/ 118104 h 118103"/>
                  <a:gd name="connsiteX41" fmla="*/ 143687 w 249760"/>
                  <a:gd name="connsiteY41" fmla="*/ 118104 h 118103"/>
                  <a:gd name="connsiteX42" fmla="*/ 173081 w 249760"/>
                  <a:gd name="connsiteY42" fmla="*/ 109166 h 118103"/>
                  <a:gd name="connsiteX43" fmla="*/ 219088 w 249760"/>
                  <a:gd name="connsiteY43" fmla="*/ 78523 h 118103"/>
                  <a:gd name="connsiteX44" fmla="*/ 240814 w 249760"/>
                  <a:gd name="connsiteY44" fmla="*/ 72139 h 118103"/>
                  <a:gd name="connsiteX45" fmla="*/ 243370 w 249760"/>
                  <a:gd name="connsiteY45" fmla="*/ 72139 h 118103"/>
                  <a:gd name="connsiteX46" fmla="*/ 249760 w 249760"/>
                  <a:gd name="connsiteY46" fmla="*/ 65755 h 118103"/>
                  <a:gd name="connsiteX47" fmla="*/ 242731 w 249760"/>
                  <a:gd name="connsiteY47" fmla="*/ 59371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9760" h="118103">
                    <a:moveTo>
                      <a:pt x="242731" y="59371"/>
                    </a:moveTo>
                    <a:lnTo>
                      <a:pt x="240175" y="59371"/>
                    </a:lnTo>
                    <a:cubicBezTo>
                      <a:pt x="229951" y="59371"/>
                      <a:pt x="219727" y="62563"/>
                      <a:pt x="211420" y="68309"/>
                    </a:cubicBezTo>
                    <a:lnTo>
                      <a:pt x="165413" y="98952"/>
                    </a:lnTo>
                    <a:cubicBezTo>
                      <a:pt x="159023" y="103421"/>
                      <a:pt x="151355" y="105974"/>
                      <a:pt x="143048" y="105974"/>
                    </a:cubicBezTo>
                    <a:lnTo>
                      <a:pt x="88734" y="105974"/>
                    </a:lnTo>
                    <a:cubicBezTo>
                      <a:pt x="84261" y="105974"/>
                      <a:pt x="79788" y="105336"/>
                      <a:pt x="75954" y="103421"/>
                    </a:cubicBezTo>
                    <a:lnTo>
                      <a:pt x="13332" y="75331"/>
                    </a:lnTo>
                    <a:cubicBezTo>
                      <a:pt x="12054" y="74693"/>
                      <a:pt x="12054" y="74693"/>
                      <a:pt x="12054" y="74054"/>
                    </a:cubicBezTo>
                    <a:cubicBezTo>
                      <a:pt x="12693" y="71501"/>
                      <a:pt x="17166" y="68309"/>
                      <a:pt x="22278" y="68309"/>
                    </a:cubicBezTo>
                    <a:lnTo>
                      <a:pt x="79788" y="82353"/>
                    </a:lnTo>
                    <a:cubicBezTo>
                      <a:pt x="79788" y="85545"/>
                      <a:pt x="80427" y="88099"/>
                      <a:pt x="81705" y="90653"/>
                    </a:cubicBezTo>
                    <a:cubicBezTo>
                      <a:pt x="82983" y="92568"/>
                      <a:pt x="86178" y="97675"/>
                      <a:pt x="93845" y="97675"/>
                    </a:cubicBezTo>
                    <a:cubicBezTo>
                      <a:pt x="95763" y="97675"/>
                      <a:pt x="98319" y="97037"/>
                      <a:pt x="100874" y="96398"/>
                    </a:cubicBezTo>
                    <a:lnTo>
                      <a:pt x="135380" y="88737"/>
                    </a:lnTo>
                    <a:cubicBezTo>
                      <a:pt x="141770" y="87461"/>
                      <a:pt x="148160" y="84269"/>
                      <a:pt x="153272" y="80438"/>
                    </a:cubicBezTo>
                    <a:lnTo>
                      <a:pt x="175637" y="63201"/>
                    </a:lnTo>
                    <a:cubicBezTo>
                      <a:pt x="178193" y="61286"/>
                      <a:pt x="178832" y="56817"/>
                      <a:pt x="176915" y="54264"/>
                    </a:cubicBezTo>
                    <a:cubicBezTo>
                      <a:pt x="174998" y="51710"/>
                      <a:pt x="170525" y="51072"/>
                      <a:pt x="167969" y="52987"/>
                    </a:cubicBezTo>
                    <a:lnTo>
                      <a:pt x="145604" y="70224"/>
                    </a:lnTo>
                    <a:cubicBezTo>
                      <a:pt x="141770" y="73416"/>
                      <a:pt x="137297" y="75331"/>
                      <a:pt x="132824" y="76608"/>
                    </a:cubicBezTo>
                    <a:lnTo>
                      <a:pt x="97679" y="84269"/>
                    </a:lnTo>
                    <a:cubicBezTo>
                      <a:pt x="94485" y="85545"/>
                      <a:pt x="93207" y="84907"/>
                      <a:pt x="93207" y="84907"/>
                    </a:cubicBezTo>
                    <a:cubicBezTo>
                      <a:pt x="93207" y="84907"/>
                      <a:pt x="92568" y="83630"/>
                      <a:pt x="92568" y="81715"/>
                    </a:cubicBezTo>
                    <a:cubicBezTo>
                      <a:pt x="93207" y="77885"/>
                      <a:pt x="95124" y="72777"/>
                      <a:pt x="99597" y="69585"/>
                    </a:cubicBezTo>
                    <a:cubicBezTo>
                      <a:pt x="106625" y="63840"/>
                      <a:pt x="117488" y="59371"/>
                      <a:pt x="128990" y="54902"/>
                    </a:cubicBezTo>
                    <a:cubicBezTo>
                      <a:pt x="130268" y="54264"/>
                      <a:pt x="131546" y="52987"/>
                      <a:pt x="132185" y="51710"/>
                    </a:cubicBezTo>
                    <a:cubicBezTo>
                      <a:pt x="132185" y="51072"/>
                      <a:pt x="150077" y="14045"/>
                      <a:pt x="177554" y="12768"/>
                    </a:cubicBezTo>
                    <a:lnTo>
                      <a:pt x="240814" y="12768"/>
                    </a:lnTo>
                    <a:cubicBezTo>
                      <a:pt x="244648" y="12768"/>
                      <a:pt x="247204" y="10214"/>
                      <a:pt x="247204" y="6384"/>
                    </a:cubicBezTo>
                    <a:cubicBezTo>
                      <a:pt x="247204" y="2554"/>
                      <a:pt x="244648" y="0"/>
                      <a:pt x="240814" y="0"/>
                    </a:cubicBezTo>
                    <a:lnTo>
                      <a:pt x="177554" y="0"/>
                    </a:lnTo>
                    <a:cubicBezTo>
                      <a:pt x="146243" y="1277"/>
                      <a:pt x="127073" y="34473"/>
                      <a:pt x="121961" y="43411"/>
                    </a:cubicBezTo>
                    <a:cubicBezTo>
                      <a:pt x="110459" y="47880"/>
                      <a:pt x="99597" y="52349"/>
                      <a:pt x="91929" y="58733"/>
                    </a:cubicBezTo>
                    <a:cubicBezTo>
                      <a:pt x="88095" y="61286"/>
                      <a:pt x="85539" y="65117"/>
                      <a:pt x="83622" y="68947"/>
                    </a:cubicBezTo>
                    <a:lnTo>
                      <a:pt x="25473" y="54902"/>
                    </a:lnTo>
                    <a:cubicBezTo>
                      <a:pt x="25473" y="54902"/>
                      <a:pt x="24834" y="54902"/>
                      <a:pt x="24834" y="54902"/>
                    </a:cubicBezTo>
                    <a:cubicBezTo>
                      <a:pt x="12054" y="53625"/>
                      <a:pt x="2469" y="61925"/>
                      <a:pt x="553" y="69585"/>
                    </a:cubicBezTo>
                    <a:cubicBezTo>
                      <a:pt x="-1365" y="76608"/>
                      <a:pt x="1830" y="82992"/>
                      <a:pt x="8220" y="86184"/>
                    </a:cubicBezTo>
                    <a:lnTo>
                      <a:pt x="71481" y="114273"/>
                    </a:lnTo>
                    <a:cubicBezTo>
                      <a:pt x="77232" y="116827"/>
                      <a:pt x="83622" y="118104"/>
                      <a:pt x="89373" y="118104"/>
                    </a:cubicBezTo>
                    <a:lnTo>
                      <a:pt x="143687" y="118104"/>
                    </a:lnTo>
                    <a:cubicBezTo>
                      <a:pt x="153911" y="118104"/>
                      <a:pt x="164135" y="114912"/>
                      <a:pt x="173081" y="109166"/>
                    </a:cubicBezTo>
                    <a:lnTo>
                      <a:pt x="219088" y="78523"/>
                    </a:lnTo>
                    <a:cubicBezTo>
                      <a:pt x="225478" y="74054"/>
                      <a:pt x="233146" y="72139"/>
                      <a:pt x="240814" y="72139"/>
                    </a:cubicBezTo>
                    <a:lnTo>
                      <a:pt x="243370" y="72139"/>
                    </a:lnTo>
                    <a:cubicBezTo>
                      <a:pt x="247204" y="72139"/>
                      <a:pt x="249760" y="69585"/>
                      <a:pt x="249760" y="65755"/>
                    </a:cubicBezTo>
                    <a:cubicBezTo>
                      <a:pt x="249760" y="61925"/>
                      <a:pt x="246565" y="59371"/>
                      <a:pt x="242731" y="59371"/>
                    </a:cubicBezTo>
                    <a:close/>
                  </a:path>
                </a:pathLst>
              </a:custGeom>
              <a:grpFill/>
              <a:ln w="6390"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C4154ABA-8A6D-9A28-E074-73BF8BD9783A}"/>
                  </a:ext>
                </a:extLst>
              </p:cNvPr>
              <p:cNvSpPr/>
              <p:nvPr/>
            </p:nvSpPr>
            <p:spPr>
              <a:xfrm>
                <a:off x="2631832" y="2458634"/>
                <a:ext cx="121773" cy="113634"/>
              </a:xfrm>
              <a:custGeom>
                <a:avLst/>
                <a:gdLst>
                  <a:gd name="connsiteX0" fmla="*/ 57053 w 121773"/>
                  <a:gd name="connsiteY0" fmla="*/ 111720 h 113634"/>
                  <a:gd name="connsiteX1" fmla="*/ 61526 w 121773"/>
                  <a:gd name="connsiteY1" fmla="*/ 113635 h 113634"/>
                  <a:gd name="connsiteX2" fmla="*/ 65999 w 121773"/>
                  <a:gd name="connsiteY2" fmla="*/ 111720 h 113634"/>
                  <a:gd name="connsiteX3" fmla="*/ 110729 w 121773"/>
                  <a:gd name="connsiteY3" fmla="*/ 67032 h 113634"/>
                  <a:gd name="connsiteX4" fmla="*/ 112646 w 121773"/>
                  <a:gd name="connsiteY4" fmla="*/ 12768 h 113634"/>
                  <a:gd name="connsiteX5" fmla="*/ 85808 w 121773"/>
                  <a:gd name="connsiteY5" fmla="*/ 0 h 113634"/>
                  <a:gd name="connsiteX6" fmla="*/ 60887 w 121773"/>
                  <a:gd name="connsiteY6" fmla="*/ 9576 h 113634"/>
                  <a:gd name="connsiteX7" fmla="*/ 35966 w 121773"/>
                  <a:gd name="connsiteY7" fmla="*/ 0 h 113634"/>
                  <a:gd name="connsiteX8" fmla="*/ 9128 w 121773"/>
                  <a:gd name="connsiteY8" fmla="*/ 12768 h 113634"/>
                  <a:gd name="connsiteX9" fmla="*/ 11046 w 121773"/>
                  <a:gd name="connsiteY9" fmla="*/ 67032 h 113634"/>
                  <a:gd name="connsiteX10" fmla="*/ 57053 w 121773"/>
                  <a:gd name="connsiteY10" fmla="*/ 111720 h 11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773" h="113634">
                    <a:moveTo>
                      <a:pt x="57053" y="111720"/>
                    </a:moveTo>
                    <a:cubicBezTo>
                      <a:pt x="58331" y="112997"/>
                      <a:pt x="59609" y="113635"/>
                      <a:pt x="61526" y="113635"/>
                    </a:cubicBezTo>
                    <a:cubicBezTo>
                      <a:pt x="63443" y="113635"/>
                      <a:pt x="64721" y="112997"/>
                      <a:pt x="65999" y="111720"/>
                    </a:cubicBezTo>
                    <a:lnTo>
                      <a:pt x="110729" y="67032"/>
                    </a:lnTo>
                    <a:cubicBezTo>
                      <a:pt x="124786" y="51710"/>
                      <a:pt x="125425" y="28089"/>
                      <a:pt x="112646" y="12768"/>
                    </a:cubicBezTo>
                    <a:cubicBezTo>
                      <a:pt x="105617" y="4469"/>
                      <a:pt x="96671" y="0"/>
                      <a:pt x="85808" y="0"/>
                    </a:cubicBezTo>
                    <a:cubicBezTo>
                      <a:pt x="76862" y="0"/>
                      <a:pt x="67916" y="3192"/>
                      <a:pt x="60887" y="9576"/>
                    </a:cubicBezTo>
                    <a:cubicBezTo>
                      <a:pt x="53858" y="3192"/>
                      <a:pt x="44912" y="0"/>
                      <a:pt x="35966" y="0"/>
                    </a:cubicBezTo>
                    <a:cubicBezTo>
                      <a:pt x="25742" y="0"/>
                      <a:pt x="16157" y="5107"/>
                      <a:pt x="9128" y="12768"/>
                    </a:cubicBezTo>
                    <a:cubicBezTo>
                      <a:pt x="-3651" y="28089"/>
                      <a:pt x="-3012" y="51710"/>
                      <a:pt x="11046" y="67032"/>
                    </a:cubicBezTo>
                    <a:lnTo>
                      <a:pt x="57053" y="111720"/>
                    </a:lnTo>
                    <a:close/>
                  </a:path>
                </a:pathLst>
              </a:custGeom>
              <a:grpFill/>
              <a:ln w="6390" cap="flat">
                <a:noFill/>
                <a:prstDash val="solid"/>
                <a:miter/>
              </a:ln>
            </p:spPr>
            <p:txBody>
              <a:bodyPr rtlCol="0" anchor="ctr"/>
              <a:lstStyle/>
              <a:p>
                <a:endParaRPr lang="en-US"/>
              </a:p>
            </p:txBody>
          </p:sp>
        </p:grpSp>
      </p:grpSp>
      <p:sp>
        <p:nvSpPr>
          <p:cNvPr id="31" name="object 6">
            <a:extLst>
              <a:ext uri="{FF2B5EF4-FFF2-40B4-BE49-F238E27FC236}">
                <a16:creationId xmlns:a16="http://schemas.microsoft.com/office/drawing/2014/main" id="{A8630608-645C-4380-D8B8-CC14FF3778E0}"/>
              </a:ext>
            </a:extLst>
          </p:cNvPr>
          <p:cNvSpPr txBox="1"/>
          <p:nvPr/>
        </p:nvSpPr>
        <p:spPr>
          <a:xfrm>
            <a:off x="5268585" y="3289517"/>
            <a:ext cx="1739131" cy="861774"/>
          </a:xfrm>
          <a:prstGeom prst="rect">
            <a:avLst/>
          </a:prstGeom>
        </p:spPr>
        <p:txBody>
          <a:bodyPr vert="horz" wrap="square" lIns="0" tIns="0" rIns="0" bIns="0" rtlCol="0">
            <a:spAutoFit/>
          </a:bodyPr>
          <a:lstStyle/>
          <a:p>
            <a:pPr marL="12700"/>
            <a:r>
              <a:rPr lang="de-CH" sz="1200" b="1" spc="-20" dirty="0">
                <a:latin typeface="Open Sans SemiBold" panose="020B0606030504020204" pitchFamily="34" charset="0"/>
                <a:ea typeface="Open Sans SemiBold" panose="020B0606030504020204" pitchFamily="34" charset="0"/>
                <a:cs typeface="Open Sans SemiBold" panose="020B0606030504020204" pitchFamily="34" charset="0"/>
              </a:rPr>
              <a:t>Humanitarian Action</a:t>
            </a:r>
            <a:endParaRPr lang="de-CH" sz="1200"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a:r>
              <a:rPr lang="de-CH" sz="2400" b="1" spc="-100"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50+</a:t>
            </a:r>
            <a:endParaRPr lang="de-CH" sz="2400" b="1"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a:r>
              <a:rPr lang="en-US" sz="1000" spc="-5" dirty="0">
                <a:solidFill>
                  <a:srgbClr val="1D1D1B"/>
                </a:solidFill>
                <a:latin typeface="Open Sans Light" panose="020B0306030504020204" pitchFamily="34" charset="0"/>
                <a:ea typeface="Open Sans Light" panose="020B0306030504020204" pitchFamily="34" charset="0"/>
                <a:cs typeface="Open Sans Light" panose="020B0306030504020204" pitchFamily="34" charset="0"/>
              </a:rPr>
              <a:t>humanitarian organizations supported</a:t>
            </a: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32" name="Group 31">
            <a:extLst>
              <a:ext uri="{FF2B5EF4-FFF2-40B4-BE49-F238E27FC236}">
                <a16:creationId xmlns:a16="http://schemas.microsoft.com/office/drawing/2014/main" id="{900E6635-9CE9-E3E7-91A1-F98826574EAB}"/>
              </a:ext>
            </a:extLst>
          </p:cNvPr>
          <p:cNvGrpSpPr/>
          <p:nvPr/>
        </p:nvGrpSpPr>
        <p:grpSpPr>
          <a:xfrm>
            <a:off x="9489221" y="1893112"/>
            <a:ext cx="614014" cy="614014"/>
            <a:chOff x="8585811" y="2782180"/>
            <a:chExt cx="568539" cy="568539"/>
          </a:xfrm>
        </p:grpSpPr>
        <p:grpSp>
          <p:nvGrpSpPr>
            <p:cNvPr id="33" name="Group 32">
              <a:extLst>
                <a:ext uri="{FF2B5EF4-FFF2-40B4-BE49-F238E27FC236}">
                  <a16:creationId xmlns:a16="http://schemas.microsoft.com/office/drawing/2014/main" id="{DE2FBCF9-501E-A0FD-154C-494EAC958A0A}"/>
                </a:ext>
              </a:extLst>
            </p:cNvPr>
            <p:cNvGrpSpPr>
              <a:grpSpLocks noChangeAspect="1"/>
            </p:cNvGrpSpPr>
            <p:nvPr/>
          </p:nvGrpSpPr>
          <p:grpSpPr>
            <a:xfrm>
              <a:off x="8585811" y="2782180"/>
              <a:ext cx="568539" cy="568539"/>
              <a:chOff x="4755935" y="5155978"/>
              <a:chExt cx="758821" cy="758821"/>
            </a:xfrm>
          </p:grpSpPr>
          <p:sp>
            <p:nvSpPr>
              <p:cNvPr id="39" name="Oval 38">
                <a:extLst>
                  <a:ext uri="{FF2B5EF4-FFF2-40B4-BE49-F238E27FC236}">
                    <a16:creationId xmlns:a16="http://schemas.microsoft.com/office/drawing/2014/main" id="{036B5B2B-22D2-379B-4A17-9AED03325FB8}"/>
                  </a:ext>
                </a:extLst>
              </p:cNvPr>
              <p:cNvSpPr/>
              <p:nvPr/>
            </p:nvSpPr>
            <p:spPr bwMode="gray">
              <a:xfrm>
                <a:off x="4755935" y="5155978"/>
                <a:ext cx="758821" cy="758821"/>
              </a:xfrm>
              <a:prstGeom prst="ellipse">
                <a:avLst/>
              </a:prstGeom>
              <a:solidFill>
                <a:srgbClr val="00B0F2">
                  <a:alpha val="26811"/>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Oval 39">
                <a:extLst>
                  <a:ext uri="{FF2B5EF4-FFF2-40B4-BE49-F238E27FC236}">
                    <a16:creationId xmlns:a16="http://schemas.microsoft.com/office/drawing/2014/main" id="{25D9A978-6709-A626-1BCE-8B7CFCBB7F1D}"/>
                  </a:ext>
                </a:extLst>
              </p:cNvPr>
              <p:cNvSpPr/>
              <p:nvPr/>
            </p:nvSpPr>
            <p:spPr bwMode="gray">
              <a:xfrm>
                <a:off x="4826854" y="5226897"/>
                <a:ext cx="616985" cy="616985"/>
              </a:xfrm>
              <a:prstGeom prst="ellipse">
                <a:avLst/>
              </a:prstGeom>
              <a:solidFill>
                <a:srgbClr val="00B0F2">
                  <a:alpha val="45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Oval 40">
                <a:extLst>
                  <a:ext uri="{FF2B5EF4-FFF2-40B4-BE49-F238E27FC236}">
                    <a16:creationId xmlns:a16="http://schemas.microsoft.com/office/drawing/2014/main" id="{807D7B97-4CEF-DA49-BF0B-54BA28436C4F}"/>
                  </a:ext>
                </a:extLst>
              </p:cNvPr>
              <p:cNvSpPr>
                <a:spLocks noChangeAspect="1"/>
              </p:cNvSpPr>
              <p:nvPr/>
            </p:nvSpPr>
            <p:spPr bwMode="gray">
              <a:xfrm>
                <a:off x="4888301" y="5288342"/>
                <a:ext cx="494089" cy="494089"/>
              </a:xfrm>
              <a:prstGeom prst="ellipse">
                <a:avLst/>
              </a:prstGeom>
              <a:solidFill>
                <a:srgbClr val="00B0F2">
                  <a:alpha val="81254"/>
                </a:srgbClr>
              </a:solidFill>
              <a:ln w="19050" algn="ctr">
                <a:noFill/>
                <a:miter lim="800000"/>
                <a:headEnd/>
                <a:tailEnd/>
              </a:ln>
            </p:spPr>
            <p:txBody>
              <a:bodyPr wrap="none" lIns="88900" tIns="88900" rIns="88900" bIns="88900" rtlCol="0" anchor="ctr"/>
              <a:lstStyle/>
              <a:p>
                <a:pPr algn="ctr">
                  <a:lnSpc>
                    <a:spcPct val="90000"/>
                  </a:lnSpc>
                  <a:buFont typeface="Wingdings 2" pitchFamily="18" charset="2"/>
                  <a:buNone/>
                </a:pPr>
                <a:endParaRPr lang="en-GB" sz="9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grpSp>
        <p:grpSp>
          <p:nvGrpSpPr>
            <p:cNvPr id="34" name="Graphic 4">
              <a:extLst>
                <a:ext uri="{FF2B5EF4-FFF2-40B4-BE49-F238E27FC236}">
                  <a16:creationId xmlns:a16="http://schemas.microsoft.com/office/drawing/2014/main" id="{5D21A8AB-CA66-38B2-B196-AC3B2F33B0A6}"/>
                </a:ext>
              </a:extLst>
            </p:cNvPr>
            <p:cNvGrpSpPr>
              <a:grpSpLocks noChangeAspect="1"/>
            </p:cNvGrpSpPr>
            <p:nvPr/>
          </p:nvGrpSpPr>
          <p:grpSpPr>
            <a:xfrm>
              <a:off x="8751303" y="2991752"/>
              <a:ext cx="237555" cy="149395"/>
              <a:chOff x="5770901" y="2477626"/>
              <a:chExt cx="237555" cy="149395"/>
            </a:xfrm>
            <a:solidFill>
              <a:schemeClr val="bg1"/>
            </a:solidFill>
          </p:grpSpPr>
          <p:sp>
            <p:nvSpPr>
              <p:cNvPr id="35" name="Graphic 4">
                <a:extLst>
                  <a:ext uri="{FF2B5EF4-FFF2-40B4-BE49-F238E27FC236}">
                    <a16:creationId xmlns:a16="http://schemas.microsoft.com/office/drawing/2014/main" id="{FEFCB589-5A5F-1321-2DA6-B5FCD9F1AB6A}"/>
                  </a:ext>
                </a:extLst>
              </p:cNvPr>
              <p:cNvSpPr/>
              <p:nvPr/>
            </p:nvSpPr>
            <p:spPr>
              <a:xfrm>
                <a:off x="5770901" y="2477626"/>
                <a:ext cx="157124" cy="149395"/>
              </a:xfrm>
              <a:custGeom>
                <a:avLst/>
                <a:gdLst>
                  <a:gd name="connsiteX0" fmla="*/ 153848 w 157124"/>
                  <a:gd name="connsiteY0" fmla="*/ 136777 h 149395"/>
                  <a:gd name="connsiteX1" fmla="*/ 127010 w 157124"/>
                  <a:gd name="connsiteY1" fmla="*/ 131031 h 149395"/>
                  <a:gd name="connsiteX2" fmla="*/ 112953 w 157124"/>
                  <a:gd name="connsiteY2" fmla="*/ 128478 h 149395"/>
                  <a:gd name="connsiteX3" fmla="*/ 104007 w 157124"/>
                  <a:gd name="connsiteY3" fmla="*/ 104218 h 149395"/>
                  <a:gd name="connsiteX4" fmla="*/ 120621 w 157124"/>
                  <a:gd name="connsiteY4" fmla="*/ 67830 h 149395"/>
                  <a:gd name="connsiteX5" fmla="*/ 114231 w 157124"/>
                  <a:gd name="connsiteY5" fmla="*/ 14843 h 149395"/>
                  <a:gd name="connsiteX6" fmla="*/ 43302 w 157124"/>
                  <a:gd name="connsiteY6" fmla="*/ 14843 h 149395"/>
                  <a:gd name="connsiteX7" fmla="*/ 43302 w 157124"/>
                  <a:gd name="connsiteY7" fmla="*/ 14843 h 149395"/>
                  <a:gd name="connsiteX8" fmla="*/ 36912 w 157124"/>
                  <a:gd name="connsiteY8" fmla="*/ 67830 h 149395"/>
                  <a:gd name="connsiteX9" fmla="*/ 52887 w 157124"/>
                  <a:gd name="connsiteY9" fmla="*/ 104857 h 149395"/>
                  <a:gd name="connsiteX10" fmla="*/ 43941 w 157124"/>
                  <a:gd name="connsiteY10" fmla="*/ 129116 h 149395"/>
                  <a:gd name="connsiteX11" fmla="*/ 29883 w 157124"/>
                  <a:gd name="connsiteY11" fmla="*/ 131670 h 149395"/>
                  <a:gd name="connsiteX12" fmla="*/ 3685 w 157124"/>
                  <a:gd name="connsiteY12" fmla="*/ 137415 h 149395"/>
                  <a:gd name="connsiteX13" fmla="*/ 490 w 157124"/>
                  <a:gd name="connsiteY13" fmla="*/ 145714 h 149395"/>
                  <a:gd name="connsiteX14" fmla="*/ 8797 w 157124"/>
                  <a:gd name="connsiteY14" fmla="*/ 148906 h 149395"/>
                  <a:gd name="connsiteX15" fmla="*/ 9435 w 157124"/>
                  <a:gd name="connsiteY15" fmla="*/ 148268 h 149395"/>
                  <a:gd name="connsiteX16" fmla="*/ 31161 w 157124"/>
                  <a:gd name="connsiteY16" fmla="*/ 143799 h 149395"/>
                  <a:gd name="connsiteX17" fmla="*/ 49692 w 157124"/>
                  <a:gd name="connsiteY17" fmla="*/ 140607 h 149395"/>
                  <a:gd name="connsiteX18" fmla="*/ 64389 w 157124"/>
                  <a:gd name="connsiteY18" fmla="*/ 117625 h 149395"/>
                  <a:gd name="connsiteX19" fmla="*/ 63111 w 157124"/>
                  <a:gd name="connsiteY19" fmla="*/ 97834 h 149395"/>
                  <a:gd name="connsiteX20" fmla="*/ 48414 w 157124"/>
                  <a:gd name="connsiteY20" fmla="*/ 64638 h 149395"/>
                  <a:gd name="connsiteX21" fmla="*/ 52248 w 157124"/>
                  <a:gd name="connsiteY21" fmla="*/ 22503 h 149395"/>
                  <a:gd name="connsiteX22" fmla="*/ 77808 w 157124"/>
                  <a:gd name="connsiteY22" fmla="*/ 12289 h 149395"/>
                  <a:gd name="connsiteX23" fmla="*/ 78447 w 157124"/>
                  <a:gd name="connsiteY23" fmla="*/ 12289 h 149395"/>
                  <a:gd name="connsiteX24" fmla="*/ 104007 w 157124"/>
                  <a:gd name="connsiteY24" fmla="*/ 22503 h 149395"/>
                  <a:gd name="connsiteX25" fmla="*/ 107841 w 157124"/>
                  <a:gd name="connsiteY25" fmla="*/ 64638 h 149395"/>
                  <a:gd name="connsiteX26" fmla="*/ 93144 w 157124"/>
                  <a:gd name="connsiteY26" fmla="*/ 96558 h 149395"/>
                  <a:gd name="connsiteX27" fmla="*/ 91866 w 157124"/>
                  <a:gd name="connsiteY27" fmla="*/ 116348 h 149395"/>
                  <a:gd name="connsiteX28" fmla="*/ 106563 w 157124"/>
                  <a:gd name="connsiteY28" fmla="*/ 139969 h 149395"/>
                  <a:gd name="connsiteX29" fmla="*/ 125094 w 157124"/>
                  <a:gd name="connsiteY29" fmla="*/ 143161 h 149395"/>
                  <a:gd name="connsiteX30" fmla="*/ 146819 w 157124"/>
                  <a:gd name="connsiteY30" fmla="*/ 147630 h 149395"/>
                  <a:gd name="connsiteX31" fmla="*/ 155765 w 157124"/>
                  <a:gd name="connsiteY31" fmla="*/ 145076 h 149395"/>
                  <a:gd name="connsiteX32" fmla="*/ 153848 w 157124"/>
                  <a:gd name="connsiteY32" fmla="*/ 136777 h 149395"/>
                  <a:gd name="connsiteX33" fmla="*/ 153848 w 157124"/>
                  <a:gd name="connsiteY33" fmla="*/ 136777 h 1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7124" h="149395">
                    <a:moveTo>
                      <a:pt x="153848" y="136777"/>
                    </a:moveTo>
                    <a:cubicBezTo>
                      <a:pt x="145541" y="132946"/>
                      <a:pt x="136595" y="131031"/>
                      <a:pt x="127010" y="131031"/>
                    </a:cubicBezTo>
                    <a:cubicBezTo>
                      <a:pt x="122537" y="131031"/>
                      <a:pt x="117426" y="130393"/>
                      <a:pt x="112953" y="128478"/>
                    </a:cubicBezTo>
                    <a:cubicBezTo>
                      <a:pt x="107202" y="125286"/>
                      <a:pt x="102729" y="107410"/>
                      <a:pt x="104007" y="104218"/>
                    </a:cubicBezTo>
                    <a:cubicBezTo>
                      <a:pt x="111674" y="93366"/>
                      <a:pt x="117426" y="80598"/>
                      <a:pt x="120621" y="67830"/>
                    </a:cubicBezTo>
                    <a:cubicBezTo>
                      <a:pt x="126372" y="44847"/>
                      <a:pt x="123815" y="26334"/>
                      <a:pt x="114231" y="14843"/>
                    </a:cubicBezTo>
                    <a:cubicBezTo>
                      <a:pt x="94422" y="-4948"/>
                      <a:pt x="62472" y="-4948"/>
                      <a:pt x="43302" y="14843"/>
                    </a:cubicBezTo>
                    <a:cubicBezTo>
                      <a:pt x="43302" y="14843"/>
                      <a:pt x="43302" y="14843"/>
                      <a:pt x="43302" y="14843"/>
                    </a:cubicBezTo>
                    <a:cubicBezTo>
                      <a:pt x="33078" y="26972"/>
                      <a:pt x="31161" y="44847"/>
                      <a:pt x="36912" y="67830"/>
                    </a:cubicBezTo>
                    <a:cubicBezTo>
                      <a:pt x="40107" y="81236"/>
                      <a:pt x="45858" y="93366"/>
                      <a:pt x="52887" y="104857"/>
                    </a:cubicBezTo>
                    <a:cubicBezTo>
                      <a:pt x="54165" y="108687"/>
                      <a:pt x="49692" y="125924"/>
                      <a:pt x="43941" y="129116"/>
                    </a:cubicBezTo>
                    <a:cubicBezTo>
                      <a:pt x="39468" y="130393"/>
                      <a:pt x="34995" y="131031"/>
                      <a:pt x="29883" y="131670"/>
                    </a:cubicBezTo>
                    <a:cubicBezTo>
                      <a:pt x="20938" y="131670"/>
                      <a:pt x="11992" y="133585"/>
                      <a:pt x="3685" y="137415"/>
                    </a:cubicBezTo>
                    <a:cubicBezTo>
                      <a:pt x="490" y="138692"/>
                      <a:pt x="-788" y="142522"/>
                      <a:pt x="490" y="145714"/>
                    </a:cubicBezTo>
                    <a:cubicBezTo>
                      <a:pt x="1768" y="148906"/>
                      <a:pt x="5602" y="150183"/>
                      <a:pt x="8797" y="148906"/>
                    </a:cubicBezTo>
                    <a:cubicBezTo>
                      <a:pt x="8797" y="148906"/>
                      <a:pt x="9435" y="148906"/>
                      <a:pt x="9435" y="148268"/>
                    </a:cubicBezTo>
                    <a:cubicBezTo>
                      <a:pt x="16465" y="145714"/>
                      <a:pt x="23493" y="144438"/>
                      <a:pt x="31161" y="143799"/>
                    </a:cubicBezTo>
                    <a:cubicBezTo>
                      <a:pt x="37551" y="143799"/>
                      <a:pt x="43941" y="142522"/>
                      <a:pt x="49692" y="140607"/>
                    </a:cubicBezTo>
                    <a:cubicBezTo>
                      <a:pt x="59277" y="135500"/>
                      <a:pt x="63750" y="121455"/>
                      <a:pt x="64389" y="117625"/>
                    </a:cubicBezTo>
                    <a:cubicBezTo>
                      <a:pt x="65028" y="113794"/>
                      <a:pt x="66945" y="103580"/>
                      <a:pt x="63111" y="97834"/>
                    </a:cubicBezTo>
                    <a:cubicBezTo>
                      <a:pt x="56721" y="87620"/>
                      <a:pt x="51609" y="76767"/>
                      <a:pt x="48414" y="64638"/>
                    </a:cubicBezTo>
                    <a:cubicBezTo>
                      <a:pt x="43941" y="45486"/>
                      <a:pt x="45219" y="31441"/>
                      <a:pt x="52248" y="22503"/>
                    </a:cubicBezTo>
                    <a:cubicBezTo>
                      <a:pt x="58638" y="15481"/>
                      <a:pt x="68223" y="11651"/>
                      <a:pt x="77808" y="12289"/>
                    </a:cubicBezTo>
                    <a:lnTo>
                      <a:pt x="78447" y="12289"/>
                    </a:lnTo>
                    <a:cubicBezTo>
                      <a:pt x="88032" y="12289"/>
                      <a:pt x="97617" y="15481"/>
                      <a:pt x="104007" y="22503"/>
                    </a:cubicBezTo>
                    <a:cubicBezTo>
                      <a:pt x="111036" y="31441"/>
                      <a:pt x="112314" y="45486"/>
                      <a:pt x="107841" y="64638"/>
                    </a:cubicBezTo>
                    <a:cubicBezTo>
                      <a:pt x="104646" y="76129"/>
                      <a:pt x="100173" y="86982"/>
                      <a:pt x="93144" y="96558"/>
                    </a:cubicBezTo>
                    <a:cubicBezTo>
                      <a:pt x="89310" y="101665"/>
                      <a:pt x="90588" y="111241"/>
                      <a:pt x="91866" y="116348"/>
                    </a:cubicBezTo>
                    <a:cubicBezTo>
                      <a:pt x="93144" y="121455"/>
                      <a:pt x="96978" y="134862"/>
                      <a:pt x="106563" y="139969"/>
                    </a:cubicBezTo>
                    <a:cubicBezTo>
                      <a:pt x="112314" y="141884"/>
                      <a:pt x="118704" y="143161"/>
                      <a:pt x="125094" y="143161"/>
                    </a:cubicBezTo>
                    <a:cubicBezTo>
                      <a:pt x="132762" y="143161"/>
                      <a:pt x="139790" y="145076"/>
                      <a:pt x="146819" y="147630"/>
                    </a:cubicBezTo>
                    <a:cubicBezTo>
                      <a:pt x="150014" y="149545"/>
                      <a:pt x="153848" y="148268"/>
                      <a:pt x="155765" y="145076"/>
                    </a:cubicBezTo>
                    <a:cubicBezTo>
                      <a:pt x="158321" y="141884"/>
                      <a:pt x="157043" y="138054"/>
                      <a:pt x="153848" y="136777"/>
                    </a:cubicBezTo>
                    <a:lnTo>
                      <a:pt x="153848" y="136777"/>
                    </a:lnTo>
                    <a:close/>
                  </a:path>
                </a:pathLst>
              </a:custGeom>
              <a:grp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2EAE8F6A-58E1-EC7F-BC45-DEC059C8375D}"/>
                  </a:ext>
                </a:extLst>
              </p:cNvPr>
              <p:cNvSpPr/>
              <p:nvPr/>
            </p:nvSpPr>
            <p:spPr>
              <a:xfrm>
                <a:off x="5915164" y="2493746"/>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21FE2BA0-C410-90D6-EB3B-B3BCA1CEE1F6}"/>
                  </a:ext>
                </a:extLst>
              </p:cNvPr>
              <p:cNvSpPr/>
              <p:nvPr/>
            </p:nvSpPr>
            <p:spPr>
              <a:xfrm>
                <a:off x="5915164" y="2525666"/>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71E01B94-7C40-A9FF-1764-7F4FC61BA1F1}"/>
                  </a:ext>
                </a:extLst>
              </p:cNvPr>
              <p:cNvSpPr/>
              <p:nvPr/>
            </p:nvSpPr>
            <p:spPr>
              <a:xfrm>
                <a:off x="5915164" y="2557585"/>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en-US"/>
              </a:p>
            </p:txBody>
          </p:sp>
        </p:grpSp>
      </p:grpSp>
      <p:grpSp>
        <p:nvGrpSpPr>
          <p:cNvPr id="42" name="Group 41">
            <a:extLst>
              <a:ext uri="{FF2B5EF4-FFF2-40B4-BE49-F238E27FC236}">
                <a16:creationId xmlns:a16="http://schemas.microsoft.com/office/drawing/2014/main" id="{39C489CA-797D-B225-9F1C-06C4617D06ED}"/>
              </a:ext>
            </a:extLst>
          </p:cNvPr>
          <p:cNvGrpSpPr/>
          <p:nvPr/>
        </p:nvGrpSpPr>
        <p:grpSpPr>
          <a:xfrm>
            <a:off x="7389187" y="3195998"/>
            <a:ext cx="149689" cy="1636774"/>
            <a:chOff x="7235187" y="3831127"/>
            <a:chExt cx="149689" cy="1636774"/>
          </a:xfrm>
        </p:grpSpPr>
        <p:cxnSp>
          <p:nvCxnSpPr>
            <p:cNvPr id="43" name="Straight Connector 42">
              <a:extLst>
                <a:ext uri="{FF2B5EF4-FFF2-40B4-BE49-F238E27FC236}">
                  <a16:creationId xmlns:a16="http://schemas.microsoft.com/office/drawing/2014/main" id="{6B6BB5E7-4857-4C83-C68C-9A1A18037A14}"/>
                </a:ext>
              </a:extLst>
            </p:cNvPr>
            <p:cNvCxnSpPr>
              <a:cxnSpLocks/>
              <a:endCxn id="47" idx="4"/>
            </p:cNvCxnSpPr>
            <p:nvPr/>
          </p:nvCxnSpPr>
          <p:spPr>
            <a:xfrm flipV="1">
              <a:off x="7310031" y="3941971"/>
              <a:ext cx="0" cy="152593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52BE6466-843B-39DD-D54D-9C98BD421AB1}"/>
                </a:ext>
              </a:extLst>
            </p:cNvPr>
            <p:cNvGrpSpPr/>
            <p:nvPr/>
          </p:nvGrpSpPr>
          <p:grpSpPr>
            <a:xfrm>
              <a:off x="7235187" y="3831127"/>
              <a:ext cx="149689" cy="149689"/>
              <a:chOff x="7397032" y="4167390"/>
              <a:chExt cx="149689" cy="149689"/>
            </a:xfrm>
          </p:grpSpPr>
          <p:sp>
            <p:nvSpPr>
              <p:cNvPr id="45" name="Oval 44">
                <a:extLst>
                  <a:ext uri="{FF2B5EF4-FFF2-40B4-BE49-F238E27FC236}">
                    <a16:creationId xmlns:a16="http://schemas.microsoft.com/office/drawing/2014/main" id="{CFF748C5-F460-64DC-683D-EDA21830CFCF}"/>
                  </a:ext>
                </a:extLst>
              </p:cNvPr>
              <p:cNvSpPr/>
              <p:nvPr/>
            </p:nvSpPr>
            <p:spPr bwMode="gray">
              <a:xfrm>
                <a:off x="7397032" y="4167390"/>
                <a:ext cx="149689" cy="149689"/>
              </a:xfrm>
              <a:prstGeom prst="ellipse">
                <a:avLst/>
              </a:prstGeom>
              <a:solidFill>
                <a:schemeClr val="bg2">
                  <a:lumMod val="75000"/>
                  <a:alpha val="26811"/>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6" name="Oval 45">
                <a:extLst>
                  <a:ext uri="{FF2B5EF4-FFF2-40B4-BE49-F238E27FC236}">
                    <a16:creationId xmlns:a16="http://schemas.microsoft.com/office/drawing/2014/main" id="{1CC5B84D-E303-BA53-87E4-1D75A83EF656}"/>
                  </a:ext>
                </a:extLst>
              </p:cNvPr>
              <p:cNvSpPr/>
              <p:nvPr/>
            </p:nvSpPr>
            <p:spPr bwMode="gray">
              <a:xfrm>
                <a:off x="7417006" y="4187364"/>
                <a:ext cx="109740" cy="109740"/>
              </a:xfrm>
              <a:prstGeom prst="ellipse">
                <a:avLst/>
              </a:prstGeom>
              <a:solidFill>
                <a:schemeClr val="bg2">
                  <a:lumMod val="75000"/>
                  <a:alpha val="4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7" name="Oval 46">
                <a:extLst>
                  <a:ext uri="{FF2B5EF4-FFF2-40B4-BE49-F238E27FC236}">
                    <a16:creationId xmlns:a16="http://schemas.microsoft.com/office/drawing/2014/main" id="{63769C33-0FD2-E78B-37C5-B39069498221}"/>
                  </a:ext>
                </a:extLst>
              </p:cNvPr>
              <p:cNvSpPr>
                <a:spLocks noChangeAspect="1"/>
              </p:cNvSpPr>
              <p:nvPr/>
            </p:nvSpPr>
            <p:spPr bwMode="gray">
              <a:xfrm>
                <a:off x="7435876" y="4206234"/>
                <a:ext cx="72000" cy="72000"/>
              </a:xfrm>
              <a:prstGeom prst="ellipse">
                <a:avLst/>
              </a:prstGeom>
              <a:solidFill>
                <a:schemeClr val="bg2">
                  <a:lumMod val="75000"/>
                  <a:alpha val="81254"/>
                </a:schemeClr>
              </a:solidFill>
              <a:ln w="19050" algn="ctr">
                <a:noFill/>
                <a:miter lim="800000"/>
                <a:headEnd/>
                <a:tailEnd/>
              </a:ln>
            </p:spPr>
            <p:txBody>
              <a:bodyPr wrap="none" lIns="88900" tIns="88900" rIns="88900" bIns="88900" rtlCol="0" anchor="ctr"/>
              <a:lstStyle/>
              <a:p>
                <a:pPr algn="ctr">
                  <a:lnSpc>
                    <a:spcPct val="90000"/>
                  </a:lnSpc>
                  <a:buFont typeface="Wingdings 2" pitchFamily="18" charset="2"/>
                  <a:buNone/>
                </a:pPr>
                <a:endParaRPr lang="en-GB" sz="9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grpSp>
      </p:grpSp>
      <p:grpSp>
        <p:nvGrpSpPr>
          <p:cNvPr id="48" name="Group 47">
            <a:extLst>
              <a:ext uri="{FF2B5EF4-FFF2-40B4-BE49-F238E27FC236}">
                <a16:creationId xmlns:a16="http://schemas.microsoft.com/office/drawing/2014/main" id="{67F7A65A-6F34-53A1-6B79-A14781343399}"/>
              </a:ext>
            </a:extLst>
          </p:cNvPr>
          <p:cNvGrpSpPr/>
          <p:nvPr/>
        </p:nvGrpSpPr>
        <p:grpSpPr>
          <a:xfrm>
            <a:off x="11637112" y="3173929"/>
            <a:ext cx="149689" cy="1658843"/>
            <a:chOff x="7235187" y="3831127"/>
            <a:chExt cx="149689" cy="1658843"/>
          </a:xfrm>
        </p:grpSpPr>
        <p:cxnSp>
          <p:nvCxnSpPr>
            <p:cNvPr id="49" name="Straight Connector 48">
              <a:extLst>
                <a:ext uri="{FF2B5EF4-FFF2-40B4-BE49-F238E27FC236}">
                  <a16:creationId xmlns:a16="http://schemas.microsoft.com/office/drawing/2014/main" id="{C2839DB6-94D0-B83A-AD5F-059D1008AFB9}"/>
                </a:ext>
              </a:extLst>
            </p:cNvPr>
            <p:cNvCxnSpPr>
              <a:cxnSpLocks/>
              <a:endCxn id="53" idx="4"/>
            </p:cNvCxnSpPr>
            <p:nvPr/>
          </p:nvCxnSpPr>
          <p:spPr>
            <a:xfrm flipV="1">
              <a:off x="7310031" y="3941970"/>
              <a:ext cx="0" cy="15480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0FC783B9-FFDF-7A09-DB87-5E8F99557C86}"/>
                </a:ext>
              </a:extLst>
            </p:cNvPr>
            <p:cNvGrpSpPr/>
            <p:nvPr/>
          </p:nvGrpSpPr>
          <p:grpSpPr>
            <a:xfrm>
              <a:off x="7235187" y="3831127"/>
              <a:ext cx="149689" cy="149689"/>
              <a:chOff x="7397032" y="4167390"/>
              <a:chExt cx="149689" cy="149689"/>
            </a:xfrm>
          </p:grpSpPr>
          <p:sp>
            <p:nvSpPr>
              <p:cNvPr id="51" name="Oval 50">
                <a:extLst>
                  <a:ext uri="{FF2B5EF4-FFF2-40B4-BE49-F238E27FC236}">
                    <a16:creationId xmlns:a16="http://schemas.microsoft.com/office/drawing/2014/main" id="{11F499AE-3E52-E003-6D26-73EDFCE512DF}"/>
                  </a:ext>
                </a:extLst>
              </p:cNvPr>
              <p:cNvSpPr/>
              <p:nvPr/>
            </p:nvSpPr>
            <p:spPr bwMode="gray">
              <a:xfrm>
                <a:off x="7397032" y="4167390"/>
                <a:ext cx="149689" cy="149689"/>
              </a:xfrm>
              <a:prstGeom prst="ellipse">
                <a:avLst/>
              </a:prstGeom>
              <a:solidFill>
                <a:schemeClr val="bg2">
                  <a:lumMod val="75000"/>
                  <a:alpha val="26811"/>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2" name="Oval 51">
                <a:extLst>
                  <a:ext uri="{FF2B5EF4-FFF2-40B4-BE49-F238E27FC236}">
                    <a16:creationId xmlns:a16="http://schemas.microsoft.com/office/drawing/2014/main" id="{D2ACAD86-BA63-648D-831D-F3B8D8EB6C37}"/>
                  </a:ext>
                </a:extLst>
              </p:cNvPr>
              <p:cNvSpPr/>
              <p:nvPr/>
            </p:nvSpPr>
            <p:spPr bwMode="gray">
              <a:xfrm>
                <a:off x="7417006" y="4187364"/>
                <a:ext cx="109740" cy="109740"/>
              </a:xfrm>
              <a:prstGeom prst="ellipse">
                <a:avLst/>
              </a:prstGeom>
              <a:solidFill>
                <a:schemeClr val="bg2">
                  <a:lumMod val="75000"/>
                  <a:alpha val="4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Oval 52">
                <a:extLst>
                  <a:ext uri="{FF2B5EF4-FFF2-40B4-BE49-F238E27FC236}">
                    <a16:creationId xmlns:a16="http://schemas.microsoft.com/office/drawing/2014/main" id="{EC03D7C7-C282-8CBD-815B-B5E45848D9D7}"/>
                  </a:ext>
                </a:extLst>
              </p:cNvPr>
              <p:cNvSpPr>
                <a:spLocks noChangeAspect="1"/>
              </p:cNvSpPr>
              <p:nvPr/>
            </p:nvSpPr>
            <p:spPr bwMode="gray">
              <a:xfrm>
                <a:off x="7435876" y="4206234"/>
                <a:ext cx="72000" cy="72000"/>
              </a:xfrm>
              <a:prstGeom prst="ellipse">
                <a:avLst/>
              </a:prstGeom>
              <a:solidFill>
                <a:schemeClr val="bg2">
                  <a:lumMod val="75000"/>
                  <a:alpha val="81254"/>
                </a:schemeClr>
              </a:solidFill>
              <a:ln w="19050" algn="ctr">
                <a:noFill/>
                <a:miter lim="800000"/>
                <a:headEnd/>
                <a:tailEnd/>
              </a:ln>
            </p:spPr>
            <p:txBody>
              <a:bodyPr wrap="none" lIns="88900" tIns="88900" rIns="88900" bIns="88900" rtlCol="0" anchor="ctr"/>
              <a:lstStyle/>
              <a:p>
                <a:pPr algn="ctr">
                  <a:lnSpc>
                    <a:spcPct val="90000"/>
                  </a:lnSpc>
                  <a:buFont typeface="Wingdings 2" pitchFamily="18" charset="2"/>
                  <a:buNone/>
                </a:pPr>
                <a:endParaRPr lang="en-GB" sz="9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grpSp>
      </p:grpSp>
      <p:sp>
        <p:nvSpPr>
          <p:cNvPr id="54" name="object 11">
            <a:extLst>
              <a:ext uri="{FF2B5EF4-FFF2-40B4-BE49-F238E27FC236}">
                <a16:creationId xmlns:a16="http://schemas.microsoft.com/office/drawing/2014/main" id="{E1BAA989-C7D4-5888-8F6D-EB30EDD96BAB}"/>
              </a:ext>
            </a:extLst>
          </p:cNvPr>
          <p:cNvSpPr txBox="1"/>
          <p:nvPr/>
        </p:nvSpPr>
        <p:spPr>
          <a:xfrm>
            <a:off x="10798099" y="3179559"/>
            <a:ext cx="1112144" cy="677108"/>
          </a:xfrm>
          <a:prstGeom prst="rect">
            <a:avLst/>
          </a:prstGeom>
        </p:spPr>
        <p:txBody>
          <a:bodyPr vert="horz" wrap="square" lIns="0" tIns="0" rIns="0" bIns="0" rtlCol="0">
            <a:spAutoFit/>
          </a:bodyPr>
          <a:lstStyle/>
          <a:p>
            <a:pPr marL="12700"/>
            <a:r>
              <a:rPr lang="en-GB" sz="1000" b="1" spc="-7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T</a:t>
            </a:r>
            <a:r>
              <a:rPr lang="en-GB"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o</a:t>
            </a:r>
            <a:r>
              <a:rPr lang="en-GB"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t</a:t>
            </a:r>
            <a:r>
              <a:rPr lang="en-GB"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a</a:t>
            </a:r>
            <a:r>
              <a:rPr lang="en-GB" sz="1000" b="1"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l</a:t>
            </a:r>
            <a:r>
              <a:rPr lang="en-GB" sz="1000" b="1" spc="-2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 </a:t>
            </a:r>
            <a:br>
              <a:rPr lang="en-GB" sz="1000" b="1" spc="-2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br>
            <a:r>
              <a:rPr lang="en-GB" sz="1000" b="1" spc="-1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d</a:t>
            </a:r>
            <a:r>
              <a:rPr lang="en-GB"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o</a:t>
            </a:r>
            <a:r>
              <a:rPr lang="en-GB" sz="1000" b="1" spc="-10"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nati</a:t>
            </a:r>
            <a:r>
              <a:rPr lang="en-GB" sz="1000" b="1" spc="-5"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o</a:t>
            </a:r>
            <a:r>
              <a:rPr lang="en-GB" sz="1000" b="1" dirty="0">
                <a:solidFill>
                  <a:srgbClr val="020203"/>
                </a:solidFill>
                <a:latin typeface="Open Sans SemiBold" panose="020B0606030504020204" pitchFamily="34" charset="0"/>
                <a:ea typeface="Open Sans SemiBold" panose="020B0606030504020204" pitchFamily="34" charset="0"/>
                <a:cs typeface="Open Sans SemiBold" panose="020B0606030504020204" pitchFamily="34" charset="0"/>
              </a:rPr>
              <a:t>ns</a:t>
            </a:r>
            <a:endParaRPr lang="en-GB" sz="1000"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a:r>
              <a:rPr lang="en-US" sz="2400" b="1" spc="-145"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a:t>
            </a:r>
            <a:r>
              <a:rPr lang="en-US" sz="2400" b="1" spc="-200"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89</a:t>
            </a:r>
            <a:r>
              <a:rPr lang="en-US" sz="2400" b="1" spc="-225"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M</a:t>
            </a:r>
            <a:endParaRPr lang="en-US" sz="2400" b="1"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cxnSp>
        <p:nvCxnSpPr>
          <p:cNvPr id="58" name="Straight Connector 57">
            <a:extLst>
              <a:ext uri="{FF2B5EF4-FFF2-40B4-BE49-F238E27FC236}">
                <a16:creationId xmlns:a16="http://schemas.microsoft.com/office/drawing/2014/main" id="{FE993C41-957D-A6F1-247B-9CA8212CAA8E}"/>
              </a:ext>
            </a:extLst>
          </p:cNvPr>
          <p:cNvCxnSpPr>
            <a:cxnSpLocks/>
          </p:cNvCxnSpPr>
          <p:nvPr/>
        </p:nvCxnSpPr>
        <p:spPr>
          <a:xfrm>
            <a:off x="4689094" y="4876421"/>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81B94AB-6536-822D-39DA-DC62F65FCE32}"/>
              </a:ext>
            </a:extLst>
          </p:cNvPr>
          <p:cNvCxnSpPr>
            <a:cxnSpLocks/>
          </p:cNvCxnSpPr>
          <p:nvPr/>
        </p:nvCxnSpPr>
        <p:spPr>
          <a:xfrm>
            <a:off x="6096000" y="4876421"/>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B0C75EC-6D72-AAEB-72AC-C0EBFAB1F299}"/>
              </a:ext>
            </a:extLst>
          </p:cNvPr>
          <p:cNvCxnSpPr>
            <a:cxnSpLocks/>
          </p:cNvCxnSpPr>
          <p:nvPr/>
        </p:nvCxnSpPr>
        <p:spPr>
          <a:xfrm>
            <a:off x="7440787" y="4876421"/>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F734A9-68EB-69A7-4486-528BE7DBB061}"/>
              </a:ext>
            </a:extLst>
          </p:cNvPr>
          <p:cNvCxnSpPr>
            <a:cxnSpLocks/>
          </p:cNvCxnSpPr>
          <p:nvPr/>
        </p:nvCxnSpPr>
        <p:spPr>
          <a:xfrm>
            <a:off x="9149365" y="4876421"/>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25AB424-C0F9-CF8F-4E6B-618E424885B5}"/>
              </a:ext>
            </a:extLst>
          </p:cNvPr>
          <p:cNvCxnSpPr>
            <a:cxnSpLocks/>
          </p:cNvCxnSpPr>
          <p:nvPr/>
        </p:nvCxnSpPr>
        <p:spPr>
          <a:xfrm>
            <a:off x="10496660" y="4876421"/>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2CC98B1-D0A7-49F1-7331-B8CC338D373D}"/>
              </a:ext>
            </a:extLst>
          </p:cNvPr>
          <p:cNvCxnSpPr>
            <a:cxnSpLocks/>
          </p:cNvCxnSpPr>
          <p:nvPr/>
        </p:nvCxnSpPr>
        <p:spPr>
          <a:xfrm>
            <a:off x="10496660" y="5854427"/>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3E6F7CB-EC3C-9D08-DE16-D2D7B86C3C1D}"/>
              </a:ext>
            </a:extLst>
          </p:cNvPr>
          <p:cNvCxnSpPr>
            <a:cxnSpLocks/>
          </p:cNvCxnSpPr>
          <p:nvPr/>
        </p:nvCxnSpPr>
        <p:spPr>
          <a:xfrm>
            <a:off x="9155991" y="5854427"/>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AB970BF-A581-3E0C-8A66-6BC3551BF223}"/>
              </a:ext>
            </a:extLst>
          </p:cNvPr>
          <p:cNvCxnSpPr>
            <a:cxnSpLocks/>
          </p:cNvCxnSpPr>
          <p:nvPr/>
        </p:nvCxnSpPr>
        <p:spPr>
          <a:xfrm>
            <a:off x="7447413" y="5854427"/>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84CB389-694E-9880-D032-DA25F828A372}"/>
              </a:ext>
            </a:extLst>
          </p:cNvPr>
          <p:cNvCxnSpPr>
            <a:cxnSpLocks/>
          </p:cNvCxnSpPr>
          <p:nvPr/>
        </p:nvCxnSpPr>
        <p:spPr>
          <a:xfrm>
            <a:off x="6078694" y="5854427"/>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6650B40-85FD-13C2-D5D0-F9E5CC617771}"/>
              </a:ext>
            </a:extLst>
          </p:cNvPr>
          <p:cNvCxnSpPr>
            <a:cxnSpLocks/>
          </p:cNvCxnSpPr>
          <p:nvPr/>
        </p:nvCxnSpPr>
        <p:spPr>
          <a:xfrm>
            <a:off x="4709975" y="5854427"/>
            <a:ext cx="1239912"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194C5E62-A78E-B76F-B0EA-63A955F4B57A}"/>
              </a:ext>
            </a:extLst>
          </p:cNvPr>
          <p:cNvSpPr txBox="1"/>
          <p:nvPr/>
        </p:nvSpPr>
        <p:spPr bwMode="gray">
          <a:xfrm>
            <a:off x="441174" y="1295806"/>
            <a:ext cx="4130825" cy="184666"/>
          </a:xfrm>
          <a:prstGeom prst="rect">
            <a:avLst/>
          </a:prstGeom>
        </p:spPr>
        <p:txBody>
          <a:bodyPr wrap="square" lIns="0" tIns="0" rIns="0" bIns="0" rtlCol="0" anchor="t" anchorCtr="0">
            <a:spAutoFit/>
          </a:bodyPr>
          <a:lstStyle/>
          <a:p>
            <a:pPr>
              <a:spcAft>
                <a:spcPts val="600"/>
              </a:spcAft>
            </a:pPr>
            <a:r>
              <a:rPr lang="en-US" sz="1200" b="1" spc="5" dirty="0">
                <a:solidFill>
                  <a:srgbClr val="00B0F2"/>
                </a:solidFill>
                <a:latin typeface="Open Sans SemiBold" panose="020B0606030504020204" pitchFamily="34" charset="0"/>
                <a:ea typeface="Open Sans SemiBold" panose="020B0606030504020204" pitchFamily="34" charset="0"/>
                <a:cs typeface="Open Sans SemiBold" panose="020B0606030504020204" pitchFamily="34" charset="0"/>
              </a:rPr>
              <a:t>Fully committed to our communities </a:t>
            </a:r>
          </a:p>
        </p:txBody>
      </p:sp>
    </p:spTree>
    <p:extLst>
      <p:ext uri="{BB962C8B-B14F-4D97-AF65-F5344CB8AC3E}">
        <p14:creationId xmlns:p14="http://schemas.microsoft.com/office/powerpoint/2010/main" val="64224534"/>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534597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39" name="Straight Connector 38">
            <a:extLst>
              <a:ext uri="{FF2B5EF4-FFF2-40B4-BE49-F238E27FC236}">
                <a16:creationId xmlns:a16="http://schemas.microsoft.com/office/drawing/2014/main" id="{A161A025-A9EC-8155-64DA-31ADFAD66BC9}"/>
              </a:ext>
            </a:extLst>
          </p:cNvPr>
          <p:cNvCxnSpPr>
            <a:cxnSpLocks/>
          </p:cNvCxnSpPr>
          <p:nvPr/>
        </p:nvCxnSpPr>
        <p:spPr>
          <a:xfrm>
            <a:off x="2426327" y="2181022"/>
            <a:ext cx="7829064"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D1176CCC-DBC5-3ACE-B530-1E064778C01F}"/>
              </a:ext>
            </a:extLst>
          </p:cNvPr>
          <p:cNvCxnSpPr>
            <a:cxnSpLocks/>
          </p:cNvCxnSpPr>
          <p:nvPr/>
        </p:nvCxnSpPr>
        <p:spPr>
          <a:xfrm>
            <a:off x="2426327" y="3693588"/>
            <a:ext cx="5990082" cy="2516"/>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897857" y="906411"/>
            <a:ext cx="10467780" cy="787400"/>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has a strong strategy and business design practitioner team in Hungary, Budapest with a relevant service portfolio, leveraging a wide range of tools and methodologies to create solutions that are effective, efficient and sustainable.</a:t>
            </a: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latin typeface="Open Sans" panose="020B0606030504020204" pitchFamily="34" charset="0"/>
                <a:ea typeface="Open Sans" panose="020B0606030504020204" pitchFamily="34" charset="0"/>
                <a:cs typeface="Open Sans" panose="020B0606030504020204" pitchFamily="34" charset="0"/>
              </a:rPr>
              <a:t>Strategy Consulting Services</a:t>
            </a:r>
            <a:r>
              <a:rPr lang="en-US">
                <a:latin typeface="Open Sans" panose="020B0606030504020204" pitchFamily="34" charset="0"/>
                <a:ea typeface="Open Sans" panose="020B0606030504020204" pitchFamily="34" charset="0"/>
                <a:cs typeface="Open Sans" panose="020B0606030504020204" pitchFamily="34" charset="0"/>
              </a:rPr>
              <a:t> Team</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E43103C4-F4C2-17E8-E7B1-1A3A3CB90E2B}"/>
              </a:ext>
            </a:extLst>
          </p:cNvPr>
          <p:cNvSpPr/>
          <p:nvPr/>
        </p:nvSpPr>
        <p:spPr bwMode="gray">
          <a:xfrm>
            <a:off x="943129" y="1693812"/>
            <a:ext cx="2237205" cy="1006787"/>
          </a:xfrm>
          <a:prstGeom prst="rect">
            <a:avLst/>
          </a:prstGeom>
          <a:solidFill>
            <a:schemeClr val="accent4">
              <a:lumMod val="20000"/>
              <a:lumOff val="80000"/>
            </a:schemeClr>
          </a:solidFill>
          <a:ln w="19050" algn="ctr">
            <a:solidFill>
              <a:schemeClr val="accent2">
                <a:lumMod val="75000"/>
              </a:schemeClr>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8DF60F61-383C-53B3-3718-67AFBDBAC3BA}"/>
              </a:ext>
            </a:extLst>
          </p:cNvPr>
          <p:cNvSpPr txBox="1"/>
          <p:nvPr/>
        </p:nvSpPr>
        <p:spPr>
          <a:xfrm>
            <a:off x="1759343" y="1824791"/>
            <a:ext cx="1484365" cy="738664"/>
          </a:xfrm>
          <a:prstGeom prst="rect">
            <a:avLst/>
          </a:prstGeom>
          <a:noFill/>
        </p:spPr>
        <p:txBody>
          <a:bodyPr wrap="square" lIns="0" tIns="0" rIns="0" bIns="0" rtlCol="0" anchor="t">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Schenk Tamás</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Partner</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20+ years of exp.</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Budapest</a:t>
            </a:r>
          </a:p>
        </p:txBody>
      </p:sp>
      <p:sp>
        <p:nvSpPr>
          <p:cNvPr id="106" name="Rectangle 105">
            <a:extLst>
              <a:ext uri="{FF2B5EF4-FFF2-40B4-BE49-F238E27FC236}">
                <a16:creationId xmlns:a16="http://schemas.microsoft.com/office/drawing/2014/main" id="{874AF571-D978-82DE-B6CB-44751FF5ACC8}"/>
              </a:ext>
            </a:extLst>
          </p:cNvPr>
          <p:cNvSpPr/>
          <p:nvPr/>
        </p:nvSpPr>
        <p:spPr bwMode="gray">
          <a:xfrm>
            <a:off x="3659929" y="1693812"/>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Rectangle 124">
            <a:extLst>
              <a:ext uri="{FF2B5EF4-FFF2-40B4-BE49-F238E27FC236}">
                <a16:creationId xmlns:a16="http://schemas.microsoft.com/office/drawing/2014/main" id="{874C2E2D-1BD2-F67F-EA28-7A7677A3D75C}"/>
              </a:ext>
            </a:extLst>
          </p:cNvPr>
          <p:cNvSpPr/>
          <p:nvPr/>
        </p:nvSpPr>
        <p:spPr bwMode="gray">
          <a:xfrm>
            <a:off x="6259510"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BD5854A9-5BC9-045E-FEB6-D4B82213312C}"/>
              </a:ext>
            </a:extLst>
          </p:cNvPr>
          <p:cNvSpPr txBox="1"/>
          <p:nvPr/>
        </p:nvSpPr>
        <p:spPr>
          <a:xfrm>
            <a:off x="4468057" y="1824791"/>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rácz Dániel</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0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sp>
        <p:nvSpPr>
          <p:cNvPr id="129" name="TextBox 128">
            <a:extLst>
              <a:ext uri="{FF2B5EF4-FFF2-40B4-BE49-F238E27FC236}">
                <a16:creationId xmlns:a16="http://schemas.microsoft.com/office/drawing/2014/main" id="{A6D46EF4-48DD-87E0-55AC-5A8DFAB52783}"/>
              </a:ext>
            </a:extLst>
          </p:cNvPr>
          <p:cNvSpPr txBox="1"/>
          <p:nvPr/>
        </p:nvSpPr>
        <p:spPr>
          <a:xfrm>
            <a:off x="7047785" y="1842896"/>
            <a:ext cx="1484365" cy="738664"/>
          </a:xfrm>
          <a:prstGeom prst="rect">
            <a:avLst/>
          </a:prstGeom>
          <a:noFill/>
        </p:spPr>
        <p:txBody>
          <a:bodyPr wrap="square" lIns="0" tIns="0" rIns="0" bIns="0" rtlCol="0">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Németh Annamária</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Manager</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10 years of exp.</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Budapest</a:t>
            </a:r>
          </a:p>
        </p:txBody>
      </p:sp>
      <p:sp>
        <p:nvSpPr>
          <p:cNvPr id="139" name="Rectangle 138">
            <a:extLst>
              <a:ext uri="{FF2B5EF4-FFF2-40B4-BE49-F238E27FC236}">
                <a16:creationId xmlns:a16="http://schemas.microsoft.com/office/drawing/2014/main" id="{D24F5A2A-964F-033E-A1BE-A37D9B8D9E69}"/>
              </a:ext>
            </a:extLst>
          </p:cNvPr>
          <p:cNvSpPr/>
          <p:nvPr/>
        </p:nvSpPr>
        <p:spPr bwMode="gray">
          <a:xfrm>
            <a:off x="359778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TextBox 140">
            <a:extLst>
              <a:ext uri="{FF2B5EF4-FFF2-40B4-BE49-F238E27FC236}">
                <a16:creationId xmlns:a16="http://schemas.microsoft.com/office/drawing/2014/main" id="{C1E126F8-F431-9388-C8CB-74AC231347F6}"/>
              </a:ext>
            </a:extLst>
          </p:cNvPr>
          <p:cNvSpPr txBox="1"/>
          <p:nvPr/>
        </p:nvSpPr>
        <p:spPr>
          <a:xfrm>
            <a:off x="4369701"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Réti</a:t>
            </a:r>
            <a:r>
              <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nn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4</a:t>
            </a: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cxnSp>
        <p:nvCxnSpPr>
          <p:cNvPr id="145" name="Straight Connector 144">
            <a:extLst>
              <a:ext uri="{FF2B5EF4-FFF2-40B4-BE49-F238E27FC236}">
                <a16:creationId xmlns:a16="http://schemas.microsoft.com/office/drawing/2014/main" id="{FB907A28-5A73-F586-0ABE-8B94A3568479}"/>
              </a:ext>
            </a:extLst>
          </p:cNvPr>
          <p:cNvCxnSpPr>
            <a:cxnSpLocks/>
          </p:cNvCxnSpPr>
          <p:nvPr/>
        </p:nvCxnSpPr>
        <p:spPr>
          <a:xfrm>
            <a:off x="1810693" y="5244871"/>
            <a:ext cx="8890492"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92C02D16-163B-7953-F72B-DC573C407A31}"/>
              </a:ext>
            </a:extLst>
          </p:cNvPr>
          <p:cNvSpPr/>
          <p:nvPr/>
        </p:nvSpPr>
        <p:spPr bwMode="gray">
          <a:xfrm>
            <a:off x="897859"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4" name="TextBox 153">
            <a:extLst>
              <a:ext uri="{FF2B5EF4-FFF2-40B4-BE49-F238E27FC236}">
                <a16:creationId xmlns:a16="http://schemas.microsoft.com/office/drawing/2014/main" id="{FBE76922-A8C8-868A-8844-C826086DDCAA}"/>
              </a:ext>
            </a:extLst>
          </p:cNvPr>
          <p:cNvSpPr txBox="1"/>
          <p:nvPr/>
        </p:nvSpPr>
        <p:spPr>
          <a:xfrm>
            <a:off x="1608481" y="4973232"/>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Kozma Nór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hu-HU"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5124" name="Picture 4" descr="Hungary Large Flag | Gallery Yopriceville - High-Quality Free Images ...">
            <a:extLst>
              <a:ext uri="{FF2B5EF4-FFF2-40B4-BE49-F238E27FC236}">
                <a16:creationId xmlns:a16="http://schemas.microsoft.com/office/drawing/2014/main" id="{521CB28C-95F3-7454-4F91-EDA9D87240C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59779" y="246473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56" name="Picture 4" descr="Hungary Large Flag | Gallery Yopriceville - High-Quality Free Images ...">
            <a:extLst>
              <a:ext uri="{FF2B5EF4-FFF2-40B4-BE49-F238E27FC236}">
                <a16:creationId xmlns:a16="http://schemas.microsoft.com/office/drawing/2014/main" id="{94FFD933-BE6D-850C-C5C5-E1B7CD00BEC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59279"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70FFB980-88EB-59B7-E1ED-001B72067921}"/>
              </a:ext>
            </a:extLst>
          </p:cNvPr>
          <p:cNvSpPr/>
          <p:nvPr/>
        </p:nvSpPr>
        <p:spPr bwMode="gray">
          <a:xfrm>
            <a:off x="2872767"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PM</a:t>
            </a:r>
          </a:p>
        </p:txBody>
      </p:sp>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BA</a:t>
            </a: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79B756F-5CA7-461C-723F-D3A46640B769}"/>
              </a:ext>
            </a:extLst>
          </p:cNvPr>
          <p:cNvSpPr txBox="1"/>
          <p:nvPr/>
        </p:nvSpPr>
        <p:spPr>
          <a:xfrm>
            <a:off x="4992364" y="6263625"/>
            <a:ext cx="1061396" cy="176139"/>
          </a:xfrm>
          <a:prstGeom prst="rect">
            <a:avLst/>
          </a:prstGeom>
          <a:noFill/>
        </p:spPr>
        <p:txBody>
          <a:bodyPr wrap="square" lIns="0" tIns="0" rIns="0" bIns="0" rtlCol="0" anchor="t">
            <a:noAutofit/>
          </a:bodyPr>
          <a:lstStyle/>
          <a:p>
            <a:pPr>
              <a:spcAft>
                <a:spcPts val="1000"/>
              </a:spcAft>
            </a:pPr>
            <a:r>
              <a:rPr lang="en-US" sz="900" dirty="0">
                <a:latin typeface="Open Sans" panose="020B0606030504020204" pitchFamily="34" charset="0"/>
                <a:ea typeface="Open Sans" panose="020B0606030504020204" pitchFamily="34" charset="0"/>
                <a:cs typeface="Open Sans" panose="020B0606030504020204" pitchFamily="34" charset="0"/>
              </a:rPr>
              <a:t>SENIORITY LEVELS</a:t>
            </a:r>
          </a:p>
        </p:txBody>
      </p:sp>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Business Analys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Junior Consultan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M</a:t>
            </a: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Manager               (8+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C</a:t>
            </a: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Consultant (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M</a:t>
            </a: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Manager (10+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PM</a:t>
            </a: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Project Manager (15+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Picture 4" descr="Hungary Large Flag | Gallery Yopriceville - High-Quality Free Images ...">
            <a:extLst>
              <a:ext uri="{FF2B5EF4-FFF2-40B4-BE49-F238E27FC236}">
                <a16:creationId xmlns:a16="http://schemas.microsoft.com/office/drawing/2014/main" id="{E277B3CA-DD37-2A92-5022-215D24387CB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68332" y="245651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Picture 4" descr="Hungary Large Flag | Gallery Yopriceville - High-Quality Free Images ...">
            <a:extLst>
              <a:ext uri="{FF2B5EF4-FFF2-40B4-BE49-F238E27FC236}">
                <a16:creationId xmlns:a16="http://schemas.microsoft.com/office/drawing/2014/main" id="{460219FC-39B9-1DBC-D25A-E60C5561B4A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191356" y="247501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1" name="Picture 4" descr="Hungary Large Flag | Gallery Yopriceville - High-Quality Free Images ...">
            <a:extLst>
              <a:ext uri="{FF2B5EF4-FFF2-40B4-BE49-F238E27FC236}">
                <a16:creationId xmlns:a16="http://schemas.microsoft.com/office/drawing/2014/main" id="{AF1ECC5C-35AA-AD1C-700D-0C559420166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84374"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3" name="Picture 4" descr="Hungary Large Flag | Gallery Yopriceville - High-Quality Free Images ...">
            <a:extLst>
              <a:ext uri="{FF2B5EF4-FFF2-40B4-BE49-F238E27FC236}">
                <a16:creationId xmlns:a16="http://schemas.microsoft.com/office/drawing/2014/main" id="{019FA043-B4E8-B54D-4578-17BFFA1D25E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22134" y="6485356"/>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349386B-F880-0C53-DE2D-537CFCF784B6}"/>
              </a:ext>
            </a:extLst>
          </p:cNvPr>
          <p:cNvSpPr txBox="1"/>
          <p:nvPr/>
        </p:nvSpPr>
        <p:spPr>
          <a:xfrm>
            <a:off x="1181282" y="6481568"/>
            <a:ext cx="2483526" cy="284693"/>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Deloitte Hungary</a:t>
            </a:r>
          </a:p>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For detailed CVs see Appendix</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5" name="Picture 24" descr="Drácz Dániel | Szenior menedzser | Deloitte Magyarország">
            <a:extLst>
              <a:ext uri="{FF2B5EF4-FFF2-40B4-BE49-F238E27FC236}">
                <a16:creationId xmlns:a16="http://schemas.microsoft.com/office/drawing/2014/main" id="{E5A70616-06F1-6D9F-8942-61287D50FC3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750770" y="1883348"/>
            <a:ext cx="640080" cy="64008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692C5C4E-E7C4-C71F-6FB4-C39545E7BFA7}"/>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07908" y="1862277"/>
            <a:ext cx="641954" cy="641954"/>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 name="Picture 64">
            <a:extLst>
              <a:ext uri="{FF2B5EF4-FFF2-40B4-BE49-F238E27FC236}">
                <a16:creationId xmlns:a16="http://schemas.microsoft.com/office/drawing/2014/main" id="{1702D16F-FFB8-84CC-12E0-4DCE1D5BDA0C}"/>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338172" y="1898523"/>
            <a:ext cx="640080"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6" name="Oval 35">
            <a:extLst>
              <a:ext uri="{FF2B5EF4-FFF2-40B4-BE49-F238E27FC236}">
                <a16:creationId xmlns:a16="http://schemas.microsoft.com/office/drawing/2014/main" id="{72DF33AF-DF6C-8E3F-2C17-416E75F157C3}"/>
              </a:ext>
            </a:extLst>
          </p:cNvPr>
          <p:cNvSpPr/>
          <p:nvPr/>
        </p:nvSpPr>
        <p:spPr bwMode="gray">
          <a:xfrm>
            <a:off x="5594249"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M</a:t>
            </a:r>
          </a:p>
        </p:txBody>
      </p:sp>
      <p:sp>
        <p:nvSpPr>
          <p:cNvPr id="38" name="Oval 37">
            <a:extLst>
              <a:ext uri="{FF2B5EF4-FFF2-40B4-BE49-F238E27FC236}">
                <a16:creationId xmlns:a16="http://schemas.microsoft.com/office/drawing/2014/main" id="{20B78D97-C97E-4760-D25E-079E654B533E}"/>
              </a:ext>
            </a:extLst>
          </p:cNvPr>
          <p:cNvSpPr/>
          <p:nvPr/>
        </p:nvSpPr>
        <p:spPr bwMode="gray">
          <a:xfrm>
            <a:off x="8213709" y="217516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M</a:t>
            </a:r>
          </a:p>
        </p:txBody>
      </p:sp>
      <p:pic>
        <p:nvPicPr>
          <p:cNvPr id="43" name="Picture 4">
            <a:extLst>
              <a:ext uri="{FF2B5EF4-FFF2-40B4-BE49-F238E27FC236}">
                <a16:creationId xmlns:a16="http://schemas.microsoft.com/office/drawing/2014/main" id="{90CFFDEE-FAFD-B9A4-6A9F-2C1602B84C7D}"/>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flipH="1">
            <a:off x="3664808" y="3429000"/>
            <a:ext cx="640080"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C330718C-E34C-5F8E-75A6-9EF9AECC6C4C}"/>
              </a:ext>
            </a:extLst>
          </p:cNvPr>
          <p:cNvSpPr/>
          <p:nvPr/>
        </p:nvSpPr>
        <p:spPr bwMode="gray">
          <a:xfrm>
            <a:off x="8957940"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TextBox 47">
            <a:extLst>
              <a:ext uri="{FF2B5EF4-FFF2-40B4-BE49-F238E27FC236}">
                <a16:creationId xmlns:a16="http://schemas.microsoft.com/office/drawing/2014/main" id="{36FF32DC-0608-88AA-830C-9007770662C6}"/>
              </a:ext>
            </a:extLst>
          </p:cNvPr>
          <p:cNvSpPr txBox="1"/>
          <p:nvPr/>
        </p:nvSpPr>
        <p:spPr>
          <a:xfrm>
            <a:off x="9746215" y="1842896"/>
            <a:ext cx="1484365" cy="738664"/>
          </a:xfrm>
          <a:prstGeom prst="rect">
            <a:avLst/>
          </a:prstGeom>
          <a:noFill/>
        </p:spPr>
        <p:txBody>
          <a:bodyPr wrap="square" lIns="0" tIns="0" rIns="0" bIns="0" rtlCol="0">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Fischer András</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Manager</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8 years of exp.</a:t>
            </a:r>
          </a:p>
          <a:p>
            <a:pPr>
              <a:spcBef>
                <a:spcPts val="300"/>
              </a:spcBef>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Budapest</a:t>
            </a:r>
          </a:p>
        </p:txBody>
      </p:sp>
      <p:pic>
        <p:nvPicPr>
          <p:cNvPr id="49" name="Picture 4" descr="Hungary Large Flag | Gallery Yopriceville - High-Quality Free Images ...">
            <a:extLst>
              <a:ext uri="{FF2B5EF4-FFF2-40B4-BE49-F238E27FC236}">
                <a16:creationId xmlns:a16="http://schemas.microsoft.com/office/drawing/2014/main" id="{D5605A27-066A-EFB7-FA69-43EA274AC20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889786" y="247501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1" name="Oval 50">
            <a:extLst>
              <a:ext uri="{FF2B5EF4-FFF2-40B4-BE49-F238E27FC236}">
                <a16:creationId xmlns:a16="http://schemas.microsoft.com/office/drawing/2014/main" id="{7CA5DFAB-1F2E-CCBC-B430-36376DF07305}"/>
              </a:ext>
            </a:extLst>
          </p:cNvPr>
          <p:cNvSpPr/>
          <p:nvPr/>
        </p:nvSpPr>
        <p:spPr bwMode="gray">
          <a:xfrm>
            <a:off x="10912139" y="216610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M</a:t>
            </a:r>
          </a:p>
        </p:txBody>
      </p:sp>
      <p:sp>
        <p:nvSpPr>
          <p:cNvPr id="54" name="Rectangle 53">
            <a:extLst>
              <a:ext uri="{FF2B5EF4-FFF2-40B4-BE49-F238E27FC236}">
                <a16:creationId xmlns:a16="http://schemas.microsoft.com/office/drawing/2014/main" id="{B73EF687-CC29-F641-ED11-1AB0F188B59D}"/>
              </a:ext>
            </a:extLst>
          </p:cNvPr>
          <p:cNvSpPr/>
          <p:nvPr/>
        </p:nvSpPr>
        <p:spPr bwMode="gray">
          <a:xfrm>
            <a:off x="897857" y="3205562"/>
            <a:ext cx="224028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TextBox 54">
            <a:extLst>
              <a:ext uri="{FF2B5EF4-FFF2-40B4-BE49-F238E27FC236}">
                <a16:creationId xmlns:a16="http://schemas.microsoft.com/office/drawing/2014/main" id="{BCAC0D4D-D046-0E69-8044-BEE5F6111D72}"/>
              </a:ext>
            </a:extLst>
          </p:cNvPr>
          <p:cNvSpPr txBox="1"/>
          <p:nvPr/>
        </p:nvSpPr>
        <p:spPr>
          <a:xfrm>
            <a:off x="1724086"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llanicz Tádé</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5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56" name="Picture 4" descr="Hungary Large Flag | Gallery Yopriceville - High-Quality Free Images ...">
            <a:extLst>
              <a:ext uri="{FF2B5EF4-FFF2-40B4-BE49-F238E27FC236}">
                <a16:creationId xmlns:a16="http://schemas.microsoft.com/office/drawing/2014/main" id="{7F72C73D-B2F0-5819-A793-C057DC0ABC8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28057"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6D0D643B-998A-94E1-457E-6D36FF2BECC9}"/>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959380" y="3381489"/>
            <a:ext cx="640080"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8" name="Oval 57">
            <a:extLst>
              <a:ext uri="{FF2B5EF4-FFF2-40B4-BE49-F238E27FC236}">
                <a16:creationId xmlns:a16="http://schemas.microsoft.com/office/drawing/2014/main" id="{3B6B7AA7-B405-B2FB-EDB5-C8A286DAF38F}"/>
              </a:ext>
            </a:extLst>
          </p:cNvPr>
          <p:cNvSpPr/>
          <p:nvPr/>
        </p:nvSpPr>
        <p:spPr bwMode="gray">
          <a:xfrm>
            <a:off x="284628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SC</a:t>
            </a:r>
          </a:p>
        </p:txBody>
      </p:sp>
      <p:sp>
        <p:nvSpPr>
          <p:cNvPr id="60" name="Oval 59">
            <a:extLst>
              <a:ext uri="{FF2B5EF4-FFF2-40B4-BE49-F238E27FC236}">
                <a16:creationId xmlns:a16="http://schemas.microsoft.com/office/drawing/2014/main" id="{DDD8E259-5CDD-ABCB-61E3-60A7EC634566}"/>
              </a:ext>
            </a:extLst>
          </p:cNvPr>
          <p:cNvSpPr/>
          <p:nvPr/>
        </p:nvSpPr>
        <p:spPr bwMode="gray">
          <a:xfrm>
            <a:off x="557135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61" name="Rectangle 60">
            <a:extLst>
              <a:ext uri="{FF2B5EF4-FFF2-40B4-BE49-F238E27FC236}">
                <a16:creationId xmlns:a16="http://schemas.microsoft.com/office/drawing/2014/main" id="{A2AB564D-1D1C-2E33-CC2B-F0DAAC7D03D6}"/>
              </a:ext>
            </a:extLst>
          </p:cNvPr>
          <p:cNvSpPr/>
          <p:nvPr/>
        </p:nvSpPr>
        <p:spPr bwMode="gray">
          <a:xfrm>
            <a:off x="621423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61">
            <a:extLst>
              <a:ext uri="{FF2B5EF4-FFF2-40B4-BE49-F238E27FC236}">
                <a16:creationId xmlns:a16="http://schemas.microsoft.com/office/drawing/2014/main" id="{DC0EAF42-F85E-1E08-6D19-A27095EF7F25}"/>
              </a:ext>
            </a:extLst>
          </p:cNvPr>
          <p:cNvSpPr txBox="1"/>
          <p:nvPr/>
        </p:nvSpPr>
        <p:spPr>
          <a:xfrm>
            <a:off x="7013310"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arkas Vilibald</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4</a:t>
            </a: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63" name="Picture 4" descr="Hungary Large Flag | Gallery Yopriceville - High-Quality Free Images ...">
            <a:extLst>
              <a:ext uri="{FF2B5EF4-FFF2-40B4-BE49-F238E27FC236}">
                <a16:creationId xmlns:a16="http://schemas.microsoft.com/office/drawing/2014/main" id="{1A0B5DCA-64B8-3111-7F44-A33C9793866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175729"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5" name="Oval 64">
            <a:extLst>
              <a:ext uri="{FF2B5EF4-FFF2-40B4-BE49-F238E27FC236}">
                <a16:creationId xmlns:a16="http://schemas.microsoft.com/office/drawing/2014/main" id="{AFBB43CE-5FFB-D6B6-2D91-23F60956C48A}"/>
              </a:ext>
            </a:extLst>
          </p:cNvPr>
          <p:cNvSpPr/>
          <p:nvPr/>
        </p:nvSpPr>
        <p:spPr bwMode="gray">
          <a:xfrm>
            <a:off x="818780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pic>
        <p:nvPicPr>
          <p:cNvPr id="42" name="Picture 8">
            <a:extLst>
              <a:ext uri="{FF2B5EF4-FFF2-40B4-BE49-F238E27FC236}">
                <a16:creationId xmlns:a16="http://schemas.microsoft.com/office/drawing/2014/main" id="{388B73D8-7B3F-BD17-CCB0-AD4155295071}"/>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flipH="1">
            <a:off x="6300912" y="3426405"/>
            <a:ext cx="640080"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 name="Picture 14">
            <a:extLst>
              <a:ext uri="{FF2B5EF4-FFF2-40B4-BE49-F238E27FC236}">
                <a16:creationId xmlns:a16="http://schemas.microsoft.com/office/drawing/2014/main" id="{9695DD24-C56A-789B-D5EE-33CFDFDEC55C}"/>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64214" y="5002992"/>
            <a:ext cx="527223" cy="527223"/>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2" name="Oval 71">
            <a:extLst>
              <a:ext uri="{FF2B5EF4-FFF2-40B4-BE49-F238E27FC236}">
                <a16:creationId xmlns:a16="http://schemas.microsoft.com/office/drawing/2014/main" id="{51169A17-EB78-41B8-75A1-77706FE573C3}"/>
              </a:ext>
            </a:extLst>
          </p:cNvPr>
          <p:cNvSpPr/>
          <p:nvPr/>
        </p:nvSpPr>
        <p:spPr bwMode="gray">
          <a:xfrm>
            <a:off x="2501033"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89" name="Rectangle 88">
            <a:extLst>
              <a:ext uri="{FF2B5EF4-FFF2-40B4-BE49-F238E27FC236}">
                <a16:creationId xmlns:a16="http://schemas.microsoft.com/office/drawing/2014/main" id="{BC1472F9-DCB3-CE77-9D5F-69FD5964909C}"/>
              </a:ext>
            </a:extLst>
          </p:cNvPr>
          <p:cNvSpPr/>
          <p:nvPr/>
        </p:nvSpPr>
        <p:spPr bwMode="gray">
          <a:xfrm>
            <a:off x="2993753"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TextBox 89">
            <a:extLst>
              <a:ext uri="{FF2B5EF4-FFF2-40B4-BE49-F238E27FC236}">
                <a16:creationId xmlns:a16="http://schemas.microsoft.com/office/drawing/2014/main" id="{1E77CFA2-EC17-7340-832D-33404683085C}"/>
              </a:ext>
            </a:extLst>
          </p:cNvPr>
          <p:cNvSpPr txBox="1"/>
          <p:nvPr/>
        </p:nvSpPr>
        <p:spPr>
          <a:xfrm>
            <a:off x="3704375" y="4973232"/>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encsés</a:t>
            </a: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Edin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91" name="Picture 4" descr="Hungary Large Flag | Gallery Yopriceville - High-Quality Free Images ...">
            <a:extLst>
              <a:ext uri="{FF2B5EF4-FFF2-40B4-BE49-F238E27FC236}">
                <a16:creationId xmlns:a16="http://schemas.microsoft.com/office/drawing/2014/main" id="{93502A47-9ABC-00EE-FDF9-615A1538964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0268"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3" name="Oval 92">
            <a:extLst>
              <a:ext uri="{FF2B5EF4-FFF2-40B4-BE49-F238E27FC236}">
                <a16:creationId xmlns:a16="http://schemas.microsoft.com/office/drawing/2014/main" id="{E236F179-01F0-9ECC-C494-6A4B0FB669A6}"/>
              </a:ext>
            </a:extLst>
          </p:cNvPr>
          <p:cNvSpPr/>
          <p:nvPr/>
        </p:nvSpPr>
        <p:spPr bwMode="gray">
          <a:xfrm>
            <a:off x="4596927"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94" name="Rectangle 93">
            <a:extLst>
              <a:ext uri="{FF2B5EF4-FFF2-40B4-BE49-F238E27FC236}">
                <a16:creationId xmlns:a16="http://schemas.microsoft.com/office/drawing/2014/main" id="{E4DE9A55-B624-DE98-0101-A8B42FE9C0C3}"/>
              </a:ext>
            </a:extLst>
          </p:cNvPr>
          <p:cNvSpPr/>
          <p:nvPr/>
        </p:nvSpPr>
        <p:spPr bwMode="gray">
          <a:xfrm>
            <a:off x="7150214"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TextBox 94">
            <a:extLst>
              <a:ext uri="{FF2B5EF4-FFF2-40B4-BE49-F238E27FC236}">
                <a16:creationId xmlns:a16="http://schemas.microsoft.com/office/drawing/2014/main" id="{7F3FADD7-A655-F99F-B6BF-6DEE95A14F67}"/>
              </a:ext>
            </a:extLst>
          </p:cNvPr>
          <p:cNvSpPr txBox="1"/>
          <p:nvPr/>
        </p:nvSpPr>
        <p:spPr>
          <a:xfrm>
            <a:off x="7860836" y="4973232"/>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áll</a:t>
            </a: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Dór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2</a:t>
            </a: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96" name="Picture 4" descr="Hungary Large Flag | Gallery Yopriceville - High-Quality Free Images ...">
            <a:extLst>
              <a:ext uri="{FF2B5EF4-FFF2-40B4-BE49-F238E27FC236}">
                <a16:creationId xmlns:a16="http://schemas.microsoft.com/office/drawing/2014/main" id="{259E8329-2E14-7E60-2187-267CC91CE67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736729"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8" name="Oval 97">
            <a:extLst>
              <a:ext uri="{FF2B5EF4-FFF2-40B4-BE49-F238E27FC236}">
                <a16:creationId xmlns:a16="http://schemas.microsoft.com/office/drawing/2014/main" id="{047DF9AD-381D-4685-48C5-6FA34163C1CC}"/>
              </a:ext>
            </a:extLst>
          </p:cNvPr>
          <p:cNvSpPr/>
          <p:nvPr/>
        </p:nvSpPr>
        <p:spPr bwMode="gray">
          <a:xfrm>
            <a:off x="8753388"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99" name="Rectangle 98">
            <a:extLst>
              <a:ext uri="{FF2B5EF4-FFF2-40B4-BE49-F238E27FC236}">
                <a16:creationId xmlns:a16="http://schemas.microsoft.com/office/drawing/2014/main" id="{6F4104F4-640A-346A-36BB-C9C0D879FA7A}"/>
              </a:ext>
            </a:extLst>
          </p:cNvPr>
          <p:cNvSpPr/>
          <p:nvPr/>
        </p:nvSpPr>
        <p:spPr bwMode="gray">
          <a:xfrm>
            <a:off x="5082569"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0" name="TextBox 99">
            <a:extLst>
              <a:ext uri="{FF2B5EF4-FFF2-40B4-BE49-F238E27FC236}">
                <a16:creationId xmlns:a16="http://schemas.microsoft.com/office/drawing/2014/main" id="{58A6F8CF-0877-1D0D-F6ED-CE60687E9D8F}"/>
              </a:ext>
            </a:extLst>
          </p:cNvPr>
          <p:cNvSpPr txBox="1"/>
          <p:nvPr/>
        </p:nvSpPr>
        <p:spPr>
          <a:xfrm>
            <a:off x="5793192" y="4973232"/>
            <a:ext cx="11276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alamon Pét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01" name="Picture 4" descr="Hungary Large Flag | Gallery Yopriceville - High-Quality Free Images ...">
            <a:extLst>
              <a:ext uri="{FF2B5EF4-FFF2-40B4-BE49-F238E27FC236}">
                <a16:creationId xmlns:a16="http://schemas.microsoft.com/office/drawing/2014/main" id="{776D9254-E25D-D5C8-202F-CD90BC5A1F7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669084"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3" name="Oval 102">
            <a:extLst>
              <a:ext uri="{FF2B5EF4-FFF2-40B4-BE49-F238E27FC236}">
                <a16:creationId xmlns:a16="http://schemas.microsoft.com/office/drawing/2014/main" id="{BA80C24D-2AA8-38DE-D33D-CFE299C8842B}"/>
              </a:ext>
            </a:extLst>
          </p:cNvPr>
          <p:cNvSpPr/>
          <p:nvPr/>
        </p:nvSpPr>
        <p:spPr bwMode="gray">
          <a:xfrm>
            <a:off x="6685743"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JC</a:t>
            </a:r>
          </a:p>
        </p:txBody>
      </p:sp>
      <p:sp>
        <p:nvSpPr>
          <p:cNvPr id="104" name="Rectangle 103">
            <a:extLst>
              <a:ext uri="{FF2B5EF4-FFF2-40B4-BE49-F238E27FC236}">
                <a16:creationId xmlns:a16="http://schemas.microsoft.com/office/drawing/2014/main" id="{2C62EBE5-5B63-18C0-2CBA-B59C2FBD69DF}"/>
              </a:ext>
            </a:extLst>
          </p:cNvPr>
          <p:cNvSpPr/>
          <p:nvPr/>
        </p:nvSpPr>
        <p:spPr bwMode="gray">
          <a:xfrm>
            <a:off x="9206517"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5" name="TextBox 104">
            <a:extLst>
              <a:ext uri="{FF2B5EF4-FFF2-40B4-BE49-F238E27FC236}">
                <a16:creationId xmlns:a16="http://schemas.microsoft.com/office/drawing/2014/main" id="{3CE209C2-EEE3-025B-D0FA-06AA9097AC8D}"/>
              </a:ext>
            </a:extLst>
          </p:cNvPr>
          <p:cNvSpPr txBox="1"/>
          <p:nvPr/>
        </p:nvSpPr>
        <p:spPr>
          <a:xfrm>
            <a:off x="9917139" y="4973232"/>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olyovic</a:t>
            </a:r>
            <a:r>
              <a:rPr lang="en-US" sz="9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h Péter</a:t>
            </a:r>
            <a:endParaRPr kumimoji="0" lang="en-US" sz="9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nalys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07" name="Picture 4" descr="Hungary Large Flag | Gallery Yopriceville - High-Quality Free Images ...">
            <a:extLst>
              <a:ext uri="{FF2B5EF4-FFF2-40B4-BE49-F238E27FC236}">
                <a16:creationId xmlns:a16="http://schemas.microsoft.com/office/drawing/2014/main" id="{173E4106-FF27-A027-6640-1FFEC7C67C8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793032"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9" name="Oval 108">
            <a:extLst>
              <a:ext uri="{FF2B5EF4-FFF2-40B4-BE49-F238E27FC236}">
                <a16:creationId xmlns:a16="http://schemas.microsoft.com/office/drawing/2014/main" id="{2E4B2EA4-4C8F-3FD6-83C9-47D258DACA54}"/>
              </a:ext>
            </a:extLst>
          </p:cNvPr>
          <p:cNvSpPr/>
          <p:nvPr/>
        </p:nvSpPr>
        <p:spPr bwMode="gray">
          <a:xfrm>
            <a:off x="10809691"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BA</a:t>
            </a:r>
          </a:p>
        </p:txBody>
      </p:sp>
      <p:pic>
        <p:nvPicPr>
          <p:cNvPr id="53" name="Picture 52">
            <a:extLst>
              <a:ext uri="{FF2B5EF4-FFF2-40B4-BE49-F238E27FC236}">
                <a16:creationId xmlns:a16="http://schemas.microsoft.com/office/drawing/2014/main" id="{C70D9E87-9F45-3BAC-E8EF-FAEE10BF0290}"/>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229378" y="4991893"/>
            <a:ext cx="530352" cy="530352"/>
          </a:xfrm>
          <a:custGeom>
            <a:avLst/>
            <a:gdLst>
              <a:gd name="connsiteX0" fmla="*/ 558204 w 1116408"/>
              <a:gd name="connsiteY0" fmla="*/ 0 h 1116408"/>
              <a:gd name="connsiteX1" fmla="*/ 1116408 w 1116408"/>
              <a:gd name="connsiteY1" fmla="*/ 558204 h 1116408"/>
              <a:gd name="connsiteX2" fmla="*/ 558204 w 1116408"/>
              <a:gd name="connsiteY2" fmla="*/ 1116408 h 1116408"/>
              <a:gd name="connsiteX3" fmla="*/ 0 w 1116408"/>
              <a:gd name="connsiteY3" fmla="*/ 558204 h 1116408"/>
              <a:gd name="connsiteX4" fmla="*/ 558204 w 1116408"/>
              <a:gd name="connsiteY4" fmla="*/ 0 h 111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408" h="1116408">
                <a:moveTo>
                  <a:pt x="558204" y="0"/>
                </a:moveTo>
                <a:cubicBezTo>
                  <a:pt x="866492" y="0"/>
                  <a:pt x="1116408" y="249916"/>
                  <a:pt x="1116408" y="558204"/>
                </a:cubicBezTo>
                <a:cubicBezTo>
                  <a:pt x="1116408" y="866492"/>
                  <a:pt x="866492" y="1116408"/>
                  <a:pt x="558204" y="1116408"/>
                </a:cubicBezTo>
                <a:cubicBezTo>
                  <a:pt x="249916" y="1116408"/>
                  <a:pt x="0" y="866492"/>
                  <a:pt x="0" y="558204"/>
                </a:cubicBezTo>
                <a:cubicBezTo>
                  <a:pt x="0" y="249916"/>
                  <a:pt x="249916" y="0"/>
                  <a:pt x="558204"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4" name="Picture 113">
            <a:extLst>
              <a:ext uri="{FF2B5EF4-FFF2-40B4-BE49-F238E27FC236}">
                <a16:creationId xmlns:a16="http://schemas.microsoft.com/office/drawing/2014/main" id="{5194BE7B-1212-0D40-9141-0AF5F20F43C7}"/>
              </a:ext>
            </a:extLst>
          </p:cNvPr>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a:xfrm rot="16200000">
            <a:off x="9285718" y="4967430"/>
            <a:ext cx="530352" cy="530352"/>
          </a:xfrm>
          <a:custGeom>
            <a:avLst/>
            <a:gdLst>
              <a:gd name="connsiteX0" fmla="*/ 3754960 w 3754960"/>
              <a:gd name="connsiteY0" fmla="*/ 1877480 h 3754960"/>
              <a:gd name="connsiteX1" fmla="*/ 1877480 w 3754960"/>
              <a:gd name="connsiteY1" fmla="*/ 3754960 h 3754960"/>
              <a:gd name="connsiteX2" fmla="*/ 0 w 3754960"/>
              <a:gd name="connsiteY2" fmla="*/ 1877480 h 3754960"/>
              <a:gd name="connsiteX3" fmla="*/ 1877480 w 3754960"/>
              <a:gd name="connsiteY3" fmla="*/ 0 h 3754960"/>
              <a:gd name="connsiteX4" fmla="*/ 3754960 w 3754960"/>
              <a:gd name="connsiteY4" fmla="*/ 1877480 h 375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4960" h="3754960">
                <a:moveTo>
                  <a:pt x="3754960" y="1877480"/>
                </a:moveTo>
                <a:cubicBezTo>
                  <a:pt x="3754960" y="2914384"/>
                  <a:pt x="2914384" y="3754960"/>
                  <a:pt x="1877480" y="3754960"/>
                </a:cubicBezTo>
                <a:cubicBezTo>
                  <a:pt x="840576" y="3754960"/>
                  <a:pt x="0" y="2914384"/>
                  <a:pt x="0" y="1877480"/>
                </a:cubicBezTo>
                <a:cubicBezTo>
                  <a:pt x="0" y="840576"/>
                  <a:pt x="840576" y="0"/>
                  <a:pt x="1877480" y="0"/>
                </a:cubicBezTo>
                <a:cubicBezTo>
                  <a:pt x="2914384" y="0"/>
                  <a:pt x="3754960" y="840576"/>
                  <a:pt x="3754960" y="1877480"/>
                </a:cubicBezTo>
                <a:close/>
              </a:path>
            </a:pathLst>
          </a:custGeom>
          <a:effectLst>
            <a:outerShdw blurRad="50800" dist="38100" dir="2700000" algn="tl" rotWithShape="0">
              <a:prstClr val="black">
                <a:alpha val="40000"/>
              </a:prstClr>
            </a:outerShdw>
          </a:effectLst>
        </p:spPr>
      </p:pic>
      <p:pic>
        <p:nvPicPr>
          <p:cNvPr id="115" name="Picture 6">
            <a:extLst>
              <a:ext uri="{FF2B5EF4-FFF2-40B4-BE49-F238E27FC236}">
                <a16:creationId xmlns:a16="http://schemas.microsoft.com/office/drawing/2014/main" id="{2820F2EE-25D3-8D8A-D644-FCD5A69EE148}"/>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5168673" y="4998711"/>
            <a:ext cx="530352" cy="530352"/>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8" name="Picture 16">
            <a:extLst>
              <a:ext uri="{FF2B5EF4-FFF2-40B4-BE49-F238E27FC236}">
                <a16:creationId xmlns:a16="http://schemas.microsoft.com/office/drawing/2014/main" id="{5D6DCBFF-A859-645E-B8DF-73660D9110F4}"/>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093936" y="5016957"/>
            <a:ext cx="502920" cy="50292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0" name="Picture 119">
            <a:extLst>
              <a:ext uri="{FF2B5EF4-FFF2-40B4-BE49-F238E27FC236}">
                <a16:creationId xmlns:a16="http://schemas.microsoft.com/office/drawing/2014/main" id="{E8E07AA4-B7A0-9449-AA26-D88BFD1B8474}"/>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9029055" y="1889611"/>
            <a:ext cx="640080" cy="640080"/>
          </a:xfrm>
          <a:custGeom>
            <a:avLst/>
            <a:gdLst>
              <a:gd name="connsiteX0" fmla="*/ 3042915 w 6085830"/>
              <a:gd name="connsiteY0" fmla="*/ 0 h 6085830"/>
              <a:gd name="connsiteX1" fmla="*/ 6085830 w 6085830"/>
              <a:gd name="connsiteY1" fmla="*/ 3042915 h 6085830"/>
              <a:gd name="connsiteX2" fmla="*/ 3042915 w 6085830"/>
              <a:gd name="connsiteY2" fmla="*/ 6085830 h 6085830"/>
              <a:gd name="connsiteX3" fmla="*/ 0 w 6085830"/>
              <a:gd name="connsiteY3" fmla="*/ 3042915 h 6085830"/>
              <a:gd name="connsiteX4" fmla="*/ 3042915 w 6085830"/>
              <a:gd name="connsiteY4" fmla="*/ 0 h 6085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830" h="6085830">
                <a:moveTo>
                  <a:pt x="3042915" y="0"/>
                </a:moveTo>
                <a:cubicBezTo>
                  <a:pt x="4723471" y="0"/>
                  <a:pt x="6085830" y="1362359"/>
                  <a:pt x="6085830" y="3042915"/>
                </a:cubicBezTo>
                <a:cubicBezTo>
                  <a:pt x="6085830" y="4723471"/>
                  <a:pt x="4723471" y="6085830"/>
                  <a:pt x="3042915" y="6085830"/>
                </a:cubicBezTo>
                <a:cubicBezTo>
                  <a:pt x="1362359" y="6085830"/>
                  <a:pt x="0" y="4723471"/>
                  <a:pt x="0" y="3042915"/>
                </a:cubicBezTo>
                <a:cubicBezTo>
                  <a:pt x="0" y="1362359"/>
                  <a:pt x="1362359" y="0"/>
                  <a:pt x="3042915"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21" cstate="email">
            <a:duotone>
              <a:prstClr val="black"/>
              <a:schemeClr val="accent4">
                <a:tint val="45000"/>
                <a:satMod val="400000"/>
              </a:schemeClr>
            </a:duotone>
            <a:extLst>
              <a:ext uri="{BEBA8EAE-BF5A-486C-A8C5-ECC9F3942E4B}">
                <a14:imgProps xmlns:a14="http://schemas.microsoft.com/office/drawing/2010/main">
                  <a14:imgLayer r:embed="rId22">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spTree>
    <p:extLst>
      <p:ext uri="{BB962C8B-B14F-4D97-AF65-F5344CB8AC3E}">
        <p14:creationId xmlns:p14="http://schemas.microsoft.com/office/powerpoint/2010/main" val="1169412907"/>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22439637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36" name="Straight Connector 35">
            <a:extLst>
              <a:ext uri="{FF2B5EF4-FFF2-40B4-BE49-F238E27FC236}">
                <a16:creationId xmlns:a16="http://schemas.microsoft.com/office/drawing/2014/main" id="{239D4149-9E57-67D2-1462-73BA6F725017}"/>
              </a:ext>
            </a:extLst>
          </p:cNvPr>
          <p:cNvCxnSpPr>
            <a:cxnSpLocks/>
          </p:cNvCxnSpPr>
          <p:nvPr/>
        </p:nvCxnSpPr>
        <p:spPr>
          <a:xfrm flipV="1">
            <a:off x="2426327" y="3710739"/>
            <a:ext cx="2580679"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E6C5E3-CF2B-6FDF-D00C-F2CDA3312DD0}"/>
              </a:ext>
            </a:extLst>
          </p:cNvPr>
          <p:cNvCxnSpPr>
            <a:cxnSpLocks/>
          </p:cNvCxnSpPr>
          <p:nvPr/>
        </p:nvCxnSpPr>
        <p:spPr>
          <a:xfrm>
            <a:off x="2426327" y="2181022"/>
            <a:ext cx="4888873"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897857" y="906411"/>
            <a:ext cx="10467780" cy="787400"/>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has a strong IT strategy team in Hungary, Budapest with a relevant service portfolio, leveraging a wide range of tools and methodologies to create solutions that are effective, efficient and sustainable.</a:t>
            </a:r>
            <a:endParaRPr lang="en-US" sz="1400" dirty="0">
              <a:solidFill>
                <a:prstClr val="black"/>
              </a:solidFill>
            </a:endParaRP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IT strategy</a:t>
            </a:r>
          </a:p>
        </p:txBody>
      </p:sp>
      <p:sp>
        <p:nvSpPr>
          <p:cNvPr id="5" name="Rectangle 4">
            <a:extLst>
              <a:ext uri="{FF2B5EF4-FFF2-40B4-BE49-F238E27FC236}">
                <a16:creationId xmlns:a16="http://schemas.microsoft.com/office/drawing/2014/main" id="{E43103C4-F4C2-17E8-E7B1-1A3A3CB90E2B}"/>
              </a:ext>
            </a:extLst>
          </p:cNvPr>
          <p:cNvSpPr/>
          <p:nvPr/>
        </p:nvSpPr>
        <p:spPr bwMode="gray">
          <a:xfrm>
            <a:off x="4030223" y="1693812"/>
            <a:ext cx="2237205" cy="1006787"/>
          </a:xfrm>
          <a:prstGeom prst="rect">
            <a:avLst/>
          </a:prstGeom>
          <a:solidFill>
            <a:schemeClr val="accent4">
              <a:lumMod val="20000"/>
              <a:lumOff val="80000"/>
            </a:schemeClr>
          </a:solidFill>
          <a:ln w="19050" algn="ctr">
            <a:solidFill>
              <a:schemeClr val="accent2">
                <a:lumMod val="75000"/>
              </a:schemeClr>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 name="TextBox 6">
            <a:extLst>
              <a:ext uri="{FF2B5EF4-FFF2-40B4-BE49-F238E27FC236}">
                <a16:creationId xmlns:a16="http://schemas.microsoft.com/office/drawing/2014/main" id="{8DF60F61-383C-53B3-3718-67AFBDBAC3BA}"/>
              </a:ext>
            </a:extLst>
          </p:cNvPr>
          <p:cNvSpPr txBox="1"/>
          <p:nvPr/>
        </p:nvSpPr>
        <p:spPr>
          <a:xfrm>
            <a:off x="4846437" y="1824791"/>
            <a:ext cx="1484365" cy="738664"/>
          </a:xfrm>
          <a:prstGeom prst="rect">
            <a:avLst/>
          </a:prstGeom>
          <a:noFill/>
        </p:spPr>
        <p:txBody>
          <a:bodyPr wrap="square" lIns="0" tIns="0" rIns="0" bIns="0" rtlCol="0" anchor="t">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András </a:t>
            </a:r>
            <a:r>
              <a:rPr lang="en-US" sz="1050" b="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Szathmáry</a:t>
            </a:r>
            <a:endPar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Director</a:t>
            </a:r>
          </a:p>
          <a:p>
            <a:pPr>
              <a:spcBef>
                <a:spcPts val="300"/>
              </a:spcBef>
              <a:buSzPct val="100000"/>
            </a:pPr>
            <a:r>
              <a:rPr lang="en-US" sz="1000" dirty="0">
                <a:solidFill>
                  <a:srgbClr val="313131"/>
                </a:solidFill>
                <a:latin typeface="Open Sans Light"/>
                <a:ea typeface="Open Sans Light"/>
                <a:cs typeface="Open Sans Light"/>
              </a:rPr>
              <a:t>15+ years of exp.</a:t>
            </a:r>
            <a:endPar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125" name="Rectangle 124">
            <a:extLst>
              <a:ext uri="{FF2B5EF4-FFF2-40B4-BE49-F238E27FC236}">
                <a16:creationId xmlns:a16="http://schemas.microsoft.com/office/drawing/2014/main" id="{874C2E2D-1BD2-F67F-EA28-7A7677A3D75C}"/>
              </a:ext>
            </a:extLst>
          </p:cNvPr>
          <p:cNvSpPr/>
          <p:nvPr/>
        </p:nvSpPr>
        <p:spPr bwMode="gray">
          <a:xfrm>
            <a:off x="6885772"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9" name="TextBox 128">
            <a:extLst>
              <a:ext uri="{FF2B5EF4-FFF2-40B4-BE49-F238E27FC236}">
                <a16:creationId xmlns:a16="http://schemas.microsoft.com/office/drawing/2014/main" id="{A6D46EF4-48DD-87E0-55AC-5A8DFAB52783}"/>
              </a:ext>
            </a:extLst>
          </p:cNvPr>
          <p:cNvSpPr txBox="1"/>
          <p:nvPr/>
        </p:nvSpPr>
        <p:spPr>
          <a:xfrm>
            <a:off x="7674047" y="1842896"/>
            <a:ext cx="1484365" cy="738664"/>
          </a:xfrm>
          <a:prstGeom prst="rect">
            <a:avLst/>
          </a:prstGeom>
          <a:noFill/>
        </p:spPr>
        <p:txBody>
          <a:bodyPr wrap="square" lIns="0" tIns="0" rIns="0" bIns="0" rtlCol="0">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Tamás Eperjesi</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enior manager</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5+ years of exp.</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5124" name="Picture 4" descr="Hungary Large Flag | Gallery Yopriceville - High-Quality Free Images ...">
            <a:extLst>
              <a:ext uri="{FF2B5EF4-FFF2-40B4-BE49-F238E27FC236}">
                <a16:creationId xmlns:a16="http://schemas.microsoft.com/office/drawing/2014/main" id="{521CB28C-95F3-7454-4F91-EDA9D87240C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946873" y="246473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70FFB980-88EB-59B7-E1ED-001B72067921}"/>
              </a:ext>
            </a:extLst>
          </p:cNvPr>
          <p:cNvSpPr/>
          <p:nvPr/>
        </p:nvSpPr>
        <p:spPr bwMode="gray">
          <a:xfrm>
            <a:off x="5959861"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BA</a:t>
            </a:r>
            <a:endParaRPr lang="en-US" sz="800" b="1" dirty="0">
              <a:solidFill>
                <a:schemeClr val="accent2">
                  <a:lumMod val="50000"/>
                </a:schemeClr>
              </a:solidFill>
            </a:endParaRP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79B756F-5CA7-461C-723F-D3A46640B769}"/>
              </a:ext>
            </a:extLst>
          </p:cNvPr>
          <p:cNvSpPr txBox="1"/>
          <p:nvPr/>
        </p:nvSpPr>
        <p:spPr>
          <a:xfrm>
            <a:off x="4992364" y="6263625"/>
            <a:ext cx="1061396" cy="176139"/>
          </a:xfrm>
          <a:prstGeom prst="rect">
            <a:avLst/>
          </a:prstGeom>
          <a:noFill/>
        </p:spPr>
        <p:txBody>
          <a:bodyPr wrap="square" lIns="0" tIns="0" rIns="0" bIns="0" rtlCol="0" anchor="t">
            <a:noAutofit/>
          </a:bodyPr>
          <a:lstStyle/>
          <a:p>
            <a:pPr>
              <a:spcAft>
                <a:spcPts val="1000"/>
              </a:spcAft>
            </a:pPr>
            <a:r>
              <a:rPr lang="en-US" sz="900" dirty="0">
                <a:latin typeface="+mj-lt"/>
                <a:ea typeface="Open Sans Light" panose="020B0306030504020204" pitchFamily="34" charset="0"/>
                <a:cs typeface="Open Sans Light" panose="020B0306030504020204" pitchFamily="34" charset="0"/>
              </a:rPr>
              <a:t>SENIORITY LEVELS</a:t>
            </a:r>
          </a:p>
        </p:txBody>
      </p:sp>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Business Analys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Junior Consultan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Manager               (8+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Consultant (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Manager (10+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Project Manager (15+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4" descr="Hungary Large Flag | Gallery Yopriceville - High-Quality Free Images ...">
            <a:extLst>
              <a:ext uri="{FF2B5EF4-FFF2-40B4-BE49-F238E27FC236}">
                <a16:creationId xmlns:a16="http://schemas.microsoft.com/office/drawing/2014/main" id="{460219FC-39B9-1DBC-D25A-E60C5561B4A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817618" y="247501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3" name="Picture 4" descr="Hungary Large Flag | Gallery Yopriceville - High-Quality Free Images ...">
            <a:extLst>
              <a:ext uri="{FF2B5EF4-FFF2-40B4-BE49-F238E27FC236}">
                <a16:creationId xmlns:a16="http://schemas.microsoft.com/office/drawing/2014/main" id="{019FA043-B4E8-B54D-4578-17BFFA1D25E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22134" y="6485356"/>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349386B-F880-0C53-DE2D-537CFCF784B6}"/>
              </a:ext>
            </a:extLst>
          </p:cNvPr>
          <p:cNvSpPr txBox="1"/>
          <p:nvPr/>
        </p:nvSpPr>
        <p:spPr>
          <a:xfrm>
            <a:off x="1181282" y="6481568"/>
            <a:ext cx="2483526" cy="284693"/>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Deloitte Hungary</a:t>
            </a:r>
          </a:p>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For detailed CVs see Appendix</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Oval 37">
            <a:extLst>
              <a:ext uri="{FF2B5EF4-FFF2-40B4-BE49-F238E27FC236}">
                <a16:creationId xmlns:a16="http://schemas.microsoft.com/office/drawing/2014/main" id="{20B78D97-C97E-4760-D25E-079E654B533E}"/>
              </a:ext>
            </a:extLst>
          </p:cNvPr>
          <p:cNvSpPr/>
          <p:nvPr/>
        </p:nvSpPr>
        <p:spPr bwMode="gray">
          <a:xfrm>
            <a:off x="8839971" y="217516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94" name="Rectangle 93">
            <a:extLst>
              <a:ext uri="{FF2B5EF4-FFF2-40B4-BE49-F238E27FC236}">
                <a16:creationId xmlns:a16="http://schemas.microsoft.com/office/drawing/2014/main" id="{E4DE9A55-B624-DE98-0101-A8B42FE9C0C3}"/>
              </a:ext>
            </a:extLst>
          </p:cNvPr>
          <p:cNvSpPr/>
          <p:nvPr/>
        </p:nvSpPr>
        <p:spPr bwMode="gray">
          <a:xfrm>
            <a:off x="943129" y="480129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95" name="TextBox 94">
            <a:extLst>
              <a:ext uri="{FF2B5EF4-FFF2-40B4-BE49-F238E27FC236}">
                <a16:creationId xmlns:a16="http://schemas.microsoft.com/office/drawing/2014/main" id="{7F3FADD7-A655-F99F-B6BF-6DEE95A14F67}"/>
              </a:ext>
            </a:extLst>
          </p:cNvPr>
          <p:cNvSpPr txBox="1"/>
          <p:nvPr/>
        </p:nvSpPr>
        <p:spPr>
          <a:xfrm>
            <a:off x="1653751" y="4939879"/>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900" b="1" dirty="0">
                <a:solidFill>
                  <a:srgbClr val="313131"/>
                </a:solidFill>
                <a:latin typeface="Open Sans"/>
                <a:ea typeface="Open Sans Light" panose="020B0306030504020204" pitchFamily="34" charset="0"/>
                <a:cs typeface="Open Sans Light" panose="020B0306030504020204" pitchFamily="34" charset="0"/>
              </a:rPr>
              <a:t>Boldizsár </a:t>
            </a:r>
            <a:r>
              <a:rPr lang="en-US" sz="900" b="1" dirty="0" err="1">
                <a:solidFill>
                  <a:srgbClr val="313131"/>
                </a:solidFill>
                <a:latin typeface="Open Sans"/>
                <a:ea typeface="Open Sans Light" panose="020B0306030504020204" pitchFamily="34" charset="0"/>
                <a:cs typeface="Open Sans Light" panose="020B0306030504020204" pitchFamily="34" charset="0"/>
              </a:rPr>
              <a:t>Körmendy</a:t>
            </a:r>
            <a:endParaRPr kumimoji="0" lang="en-US" sz="9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4+</a:t>
            </a: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96" name="Picture 4" descr="Hungary Large Flag | Gallery Yopriceville - High-Quality Free Images ...">
            <a:extLst>
              <a:ext uri="{FF2B5EF4-FFF2-40B4-BE49-F238E27FC236}">
                <a16:creationId xmlns:a16="http://schemas.microsoft.com/office/drawing/2014/main" id="{259E8329-2E14-7E60-2187-267CC91CE67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29644" y="5490434"/>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8" name="Oval 97">
            <a:extLst>
              <a:ext uri="{FF2B5EF4-FFF2-40B4-BE49-F238E27FC236}">
                <a16:creationId xmlns:a16="http://schemas.microsoft.com/office/drawing/2014/main" id="{047DF9AD-381D-4685-48C5-6FA34163C1CC}"/>
              </a:ext>
            </a:extLst>
          </p:cNvPr>
          <p:cNvSpPr/>
          <p:nvPr/>
        </p:nvSpPr>
        <p:spPr bwMode="gray">
          <a:xfrm>
            <a:off x="2546303" y="5190023"/>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9" cstate="email">
            <a:duotone>
              <a:prstClr val="black"/>
              <a:schemeClr val="accent4">
                <a:tint val="45000"/>
                <a:satMod val="400000"/>
              </a:schemeClr>
            </a:duotone>
            <a:extLst>
              <a:ext uri="{BEBA8EAE-BF5A-486C-A8C5-ECC9F3942E4B}">
                <a14:imgProps xmlns:a14="http://schemas.microsoft.com/office/drawing/2010/main">
                  <a14:imgLayer r:embed="rId10">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pic>
        <p:nvPicPr>
          <p:cNvPr id="25" name="Picture Placeholder 21">
            <a:extLst>
              <a:ext uri="{FF2B5EF4-FFF2-40B4-BE49-F238E27FC236}">
                <a16:creationId xmlns:a16="http://schemas.microsoft.com/office/drawing/2014/main" id="{05F3073E-C147-9DAC-ED0C-47B6D788F309}"/>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4156724" y="1889847"/>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30" name="Picture Placeholder 21">
            <a:extLst>
              <a:ext uri="{FF2B5EF4-FFF2-40B4-BE49-F238E27FC236}">
                <a16:creationId xmlns:a16="http://schemas.microsoft.com/office/drawing/2014/main" id="{E9D321BC-33A6-DB01-8A24-7C4C279648D8}"/>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6960579" y="1858720"/>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
        <p:nvSpPr>
          <p:cNvPr id="70" name="Rectangle 69">
            <a:extLst>
              <a:ext uri="{FF2B5EF4-FFF2-40B4-BE49-F238E27FC236}">
                <a16:creationId xmlns:a16="http://schemas.microsoft.com/office/drawing/2014/main" id="{807047EF-50DA-B5AB-11D0-576F50018AFD}"/>
              </a:ext>
            </a:extLst>
          </p:cNvPr>
          <p:cNvSpPr/>
          <p:nvPr/>
        </p:nvSpPr>
        <p:spPr bwMode="gray">
          <a:xfrm>
            <a:off x="94312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1" name="TextBox 70">
            <a:extLst>
              <a:ext uri="{FF2B5EF4-FFF2-40B4-BE49-F238E27FC236}">
                <a16:creationId xmlns:a16="http://schemas.microsoft.com/office/drawing/2014/main" id="{313DB86C-CD92-FD9D-FAD9-0104B7071636}"/>
              </a:ext>
            </a:extLst>
          </p:cNvPr>
          <p:cNvSpPr txBox="1"/>
          <p:nvPr/>
        </p:nvSpPr>
        <p:spPr>
          <a:xfrm>
            <a:off x="1742200" y="3324235"/>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Mátyá</a:t>
            </a:r>
            <a:r>
              <a:rPr lang="en-US" sz="1100" b="1" dirty="0">
                <a:solidFill>
                  <a:srgbClr val="313131"/>
                </a:solidFill>
                <a:latin typeface="Open Sans"/>
                <a:ea typeface="Open Sans Light" panose="020B0306030504020204" pitchFamily="34" charset="0"/>
                <a:cs typeface="Open Sans Light" panose="020B0306030504020204" pitchFamily="34" charset="0"/>
              </a:rPr>
              <a:t>s Csányi</a:t>
            </a:r>
            <a:endPar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7+</a:t>
            </a: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73" name="Picture 4" descr="Hungary Large Flag | Gallery Yopriceville - High-Quality Free Images ...">
            <a:extLst>
              <a:ext uri="{FF2B5EF4-FFF2-40B4-BE49-F238E27FC236}">
                <a16:creationId xmlns:a16="http://schemas.microsoft.com/office/drawing/2014/main" id="{14C06FBC-199F-B87B-85F3-07124076ADA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904619"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4" name="Oval 73">
            <a:extLst>
              <a:ext uri="{FF2B5EF4-FFF2-40B4-BE49-F238E27FC236}">
                <a16:creationId xmlns:a16="http://schemas.microsoft.com/office/drawing/2014/main" id="{4621EC23-BE3B-43E9-7BEA-653ED631B7B9}"/>
              </a:ext>
            </a:extLst>
          </p:cNvPr>
          <p:cNvSpPr/>
          <p:nvPr/>
        </p:nvSpPr>
        <p:spPr bwMode="gray">
          <a:xfrm>
            <a:off x="291669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pic>
        <p:nvPicPr>
          <p:cNvPr id="77" name="Picture 14">
            <a:extLst>
              <a:ext uri="{FF2B5EF4-FFF2-40B4-BE49-F238E27FC236}">
                <a16:creationId xmlns:a16="http://schemas.microsoft.com/office/drawing/2014/main" id="{CBD5A220-9157-FDFB-0110-7676FAF6D18F}"/>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p:blipFill>
        <p:spPr bwMode="auto">
          <a:xfrm>
            <a:off x="1015723" y="3383399"/>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3" name="Picture Placeholder 5">
            <a:extLst>
              <a:ext uri="{FF2B5EF4-FFF2-40B4-BE49-F238E27FC236}">
                <a16:creationId xmlns:a16="http://schemas.microsoft.com/office/drawing/2014/main" id="{703C5331-A436-DE61-C47C-1D3F4FD4D43E}"/>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1021541" y="4976103"/>
            <a:ext cx="550800" cy="550800"/>
          </a:xfrm>
          <a:prstGeom prst="ellipse">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783C3712-844E-2080-EDD5-8481F5246018}"/>
              </a:ext>
            </a:extLst>
          </p:cNvPr>
          <p:cNvSpPr/>
          <p:nvPr/>
        </p:nvSpPr>
        <p:spPr bwMode="gray">
          <a:xfrm>
            <a:off x="921909" y="1693812"/>
            <a:ext cx="2237205" cy="1006787"/>
          </a:xfrm>
          <a:prstGeom prst="rect">
            <a:avLst/>
          </a:prstGeom>
          <a:solidFill>
            <a:schemeClr val="accent4">
              <a:lumMod val="20000"/>
              <a:lumOff val="80000"/>
            </a:schemeClr>
          </a:solidFill>
          <a:ln w="19050" algn="ctr">
            <a:solidFill>
              <a:schemeClr val="accent2">
                <a:lumMod val="75000"/>
              </a:schemeClr>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1" name="TextBox 10">
            <a:extLst>
              <a:ext uri="{FF2B5EF4-FFF2-40B4-BE49-F238E27FC236}">
                <a16:creationId xmlns:a16="http://schemas.microsoft.com/office/drawing/2014/main" id="{29BA6298-1A2F-645B-AAEA-ED5213E10BC3}"/>
              </a:ext>
            </a:extLst>
          </p:cNvPr>
          <p:cNvSpPr txBox="1"/>
          <p:nvPr/>
        </p:nvSpPr>
        <p:spPr>
          <a:xfrm>
            <a:off x="1738123" y="1824791"/>
            <a:ext cx="1484365" cy="738664"/>
          </a:xfrm>
          <a:prstGeom prst="rect">
            <a:avLst/>
          </a:prstGeom>
          <a:noFill/>
        </p:spPr>
        <p:txBody>
          <a:bodyPr wrap="square" lIns="0" tIns="0" rIns="0" bIns="0" rtlCol="0" anchor="t">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Dániel Kiss</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Partner</a:t>
            </a:r>
          </a:p>
          <a:p>
            <a:pPr>
              <a:spcBef>
                <a:spcPts val="300"/>
              </a:spcBef>
              <a:buSzPct val="100000"/>
            </a:pPr>
            <a:r>
              <a:rPr lang="en-US" sz="1000" dirty="0">
                <a:solidFill>
                  <a:srgbClr val="313131"/>
                </a:solidFill>
                <a:latin typeface="Open Sans Light"/>
                <a:ea typeface="Open Sans Light"/>
                <a:cs typeface="Open Sans Light"/>
              </a:rPr>
              <a:t>15+ years of exp.</a:t>
            </a:r>
            <a:endPar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12" name="Picture 4" descr="Hungary Large Flag | Gallery Yopriceville - High-Quality Free Images ...">
            <a:extLst>
              <a:ext uri="{FF2B5EF4-FFF2-40B4-BE49-F238E27FC236}">
                <a16:creationId xmlns:a16="http://schemas.microsoft.com/office/drawing/2014/main" id="{17AE9F57-26D3-71B1-D40B-5E21ECDB374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38559" y="246473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2" name="Oval 31">
            <a:extLst>
              <a:ext uri="{FF2B5EF4-FFF2-40B4-BE49-F238E27FC236}">
                <a16:creationId xmlns:a16="http://schemas.microsoft.com/office/drawing/2014/main" id="{41E481DC-265D-ED58-0B97-BE5666B14385}"/>
              </a:ext>
            </a:extLst>
          </p:cNvPr>
          <p:cNvSpPr/>
          <p:nvPr/>
        </p:nvSpPr>
        <p:spPr bwMode="gray">
          <a:xfrm>
            <a:off x="2851547"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pic>
        <p:nvPicPr>
          <p:cNvPr id="40" name="Picture 2" descr="Dániel Kiss | Partner | Deloitte Hungary | Technology Advisory">
            <a:extLst>
              <a:ext uri="{FF2B5EF4-FFF2-40B4-BE49-F238E27FC236}">
                <a16:creationId xmlns:a16="http://schemas.microsoft.com/office/drawing/2014/main" id="{DAB1A03A-2AA0-E46C-80C7-A0EE364A0DC6}"/>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044916" y="1885111"/>
            <a:ext cx="648000" cy="648000"/>
          </a:xfrm>
          <a:prstGeom prst="ellipse">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7060F339-2EB7-EC00-9F47-FDBA09BF020C}"/>
              </a:ext>
            </a:extLst>
          </p:cNvPr>
          <p:cNvSpPr/>
          <p:nvPr/>
        </p:nvSpPr>
        <p:spPr bwMode="gray">
          <a:xfrm>
            <a:off x="3905025"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42" name="TextBox 41">
            <a:extLst>
              <a:ext uri="{FF2B5EF4-FFF2-40B4-BE49-F238E27FC236}">
                <a16:creationId xmlns:a16="http://schemas.microsoft.com/office/drawing/2014/main" id="{B837B04A-1506-8F70-D1C6-038846154599}"/>
              </a:ext>
            </a:extLst>
          </p:cNvPr>
          <p:cNvSpPr txBox="1"/>
          <p:nvPr/>
        </p:nvSpPr>
        <p:spPr>
          <a:xfrm>
            <a:off x="4704096" y="3324235"/>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Bence Gselmann</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pecialist lead</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7+</a:t>
            </a: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43" name="Picture 4" descr="Hungary Large Flag | Gallery Yopriceville - High-Quality Free Images ...">
            <a:extLst>
              <a:ext uri="{FF2B5EF4-FFF2-40B4-BE49-F238E27FC236}">
                <a16:creationId xmlns:a16="http://schemas.microsoft.com/office/drawing/2014/main" id="{88665CA8-E425-0806-8378-0FA71E25465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866515"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4" name="Oval 43">
            <a:extLst>
              <a:ext uri="{FF2B5EF4-FFF2-40B4-BE49-F238E27FC236}">
                <a16:creationId xmlns:a16="http://schemas.microsoft.com/office/drawing/2014/main" id="{13FB11CD-4726-64A4-24F7-F440F40D7462}"/>
              </a:ext>
            </a:extLst>
          </p:cNvPr>
          <p:cNvSpPr/>
          <p:nvPr/>
        </p:nvSpPr>
        <p:spPr bwMode="gray">
          <a:xfrm>
            <a:off x="5878595"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pic>
        <p:nvPicPr>
          <p:cNvPr id="2" name="Picture Placeholder 12" descr="A person in a suit and tie&#10;&#10;Description automatically generated">
            <a:extLst>
              <a:ext uri="{FF2B5EF4-FFF2-40B4-BE49-F238E27FC236}">
                <a16:creationId xmlns:a16="http://schemas.microsoft.com/office/drawing/2014/main" id="{8FC81A0F-308D-2089-7E3D-463A945CD728}"/>
              </a:ext>
            </a:extLst>
          </p:cNvPr>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a:xfrm>
            <a:off x="3990689" y="3444430"/>
            <a:ext cx="595631" cy="595631"/>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31032730"/>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30336486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latin typeface="Open Sans" panose="020B0606030504020204" pitchFamily="34" charset="0"/>
                <a:ea typeface="Open Sans" panose="020B0606030504020204" pitchFamily="34" charset="0"/>
                <a:cs typeface="Open Sans" panose="020B0606030504020204" pitchFamily="34" charset="0"/>
              </a:rPr>
              <a:t>Strategy Consulting Credential Tombstones</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We have a broad portfolio of relevant credentials in the field of Strategy Consulting Services</a:t>
            </a:r>
          </a:p>
        </p:txBody>
      </p:sp>
      <p:grpSp>
        <p:nvGrpSpPr>
          <p:cNvPr id="47" name="Group 531">
            <a:extLst>
              <a:ext uri="{FF2B5EF4-FFF2-40B4-BE49-F238E27FC236}">
                <a16:creationId xmlns:a16="http://schemas.microsoft.com/office/drawing/2014/main" id="{A3EDCFE8-7889-17DF-6591-6A851EF283FC}"/>
              </a:ext>
            </a:extLst>
          </p:cNvPr>
          <p:cNvGrpSpPr>
            <a:grpSpLocks/>
          </p:cNvGrpSpPr>
          <p:nvPr/>
        </p:nvGrpSpPr>
        <p:grpSpPr bwMode="auto">
          <a:xfrm>
            <a:off x="10389212" y="1565055"/>
            <a:ext cx="450000" cy="450000"/>
            <a:chOff x="3061" y="1953"/>
            <a:chExt cx="340" cy="340"/>
          </a:xfrm>
          <a:solidFill>
            <a:srgbClr val="9DD4CF"/>
          </a:solidFill>
        </p:grpSpPr>
        <p:sp>
          <p:nvSpPr>
            <p:cNvPr id="48"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 name="Group 531">
            <a:extLst>
              <a:ext uri="{FF2B5EF4-FFF2-40B4-BE49-F238E27FC236}">
                <a16:creationId xmlns:a16="http://schemas.microsoft.com/office/drawing/2014/main" id="{1F6AE038-CADC-C2F9-6D79-AFF8180F4732}"/>
              </a:ext>
            </a:extLst>
          </p:cNvPr>
          <p:cNvGrpSpPr>
            <a:grpSpLocks/>
          </p:cNvGrpSpPr>
          <p:nvPr/>
        </p:nvGrpSpPr>
        <p:grpSpPr bwMode="auto">
          <a:xfrm>
            <a:off x="3400126" y="1555327"/>
            <a:ext cx="450000" cy="450000"/>
            <a:chOff x="3061" y="1953"/>
            <a:chExt cx="340" cy="340"/>
          </a:xfrm>
          <a:solidFill>
            <a:srgbClr val="9DD4CF"/>
          </a:solidFill>
        </p:grpSpPr>
        <p:sp>
          <p:nvSpPr>
            <p:cNvPr id="125"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1" name="Group 531">
            <a:extLst>
              <a:ext uri="{FF2B5EF4-FFF2-40B4-BE49-F238E27FC236}">
                <a16:creationId xmlns:a16="http://schemas.microsoft.com/office/drawing/2014/main" id="{FA52585D-19AF-EF1A-3600-EC73F071B8EE}"/>
              </a:ext>
            </a:extLst>
          </p:cNvPr>
          <p:cNvGrpSpPr>
            <a:grpSpLocks/>
          </p:cNvGrpSpPr>
          <p:nvPr/>
        </p:nvGrpSpPr>
        <p:grpSpPr bwMode="auto">
          <a:xfrm>
            <a:off x="6933476" y="1555327"/>
            <a:ext cx="450000" cy="450000"/>
            <a:chOff x="3061" y="1953"/>
            <a:chExt cx="340" cy="340"/>
          </a:xfrm>
          <a:solidFill>
            <a:srgbClr val="9DD4CF"/>
          </a:solidFill>
        </p:grpSpPr>
        <p:sp>
          <p:nvSpPr>
            <p:cNvPr id="152" name="Freeform 532">
              <a:extLst>
                <a:ext uri="{FF2B5EF4-FFF2-40B4-BE49-F238E27FC236}">
                  <a16:creationId xmlns:a16="http://schemas.microsoft.com/office/drawing/2014/main" id="{B86E1DE2-9142-A18E-38F0-AFA5403DC36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533">
              <a:extLst>
                <a:ext uri="{FF2B5EF4-FFF2-40B4-BE49-F238E27FC236}">
                  <a16:creationId xmlns:a16="http://schemas.microsoft.com/office/drawing/2014/main" id="{055940D6-F3BC-6FFA-CEA2-DCF07EE8891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1" name="Group 120">
            <a:extLst>
              <a:ext uri="{FF2B5EF4-FFF2-40B4-BE49-F238E27FC236}">
                <a16:creationId xmlns:a16="http://schemas.microsoft.com/office/drawing/2014/main" id="{BB52BF02-84E7-738C-8A3D-F5FBA9F6111F}"/>
              </a:ext>
            </a:extLst>
          </p:cNvPr>
          <p:cNvGrpSpPr/>
          <p:nvPr/>
        </p:nvGrpSpPr>
        <p:grpSpPr>
          <a:xfrm>
            <a:off x="1170700" y="1550764"/>
            <a:ext cx="9850600" cy="2104238"/>
            <a:chOff x="1012681" y="1550764"/>
            <a:chExt cx="9850600" cy="2104238"/>
          </a:xfrm>
        </p:grpSpPr>
        <p:grpSp>
          <p:nvGrpSpPr>
            <p:cNvPr id="114" name="Group 113">
              <a:extLst>
                <a:ext uri="{FF2B5EF4-FFF2-40B4-BE49-F238E27FC236}">
                  <a16:creationId xmlns:a16="http://schemas.microsoft.com/office/drawing/2014/main" id="{7B1AD157-3108-A00F-6AED-A4B44808C783}"/>
                </a:ext>
              </a:extLst>
            </p:cNvPr>
            <p:cNvGrpSpPr/>
            <p:nvPr/>
          </p:nvGrpSpPr>
          <p:grpSpPr>
            <a:xfrm>
              <a:off x="8023320" y="1550764"/>
              <a:ext cx="2839961" cy="2090084"/>
              <a:chOff x="4543515" y="1555327"/>
              <a:chExt cx="2839961" cy="2090084"/>
            </a:xfrm>
          </p:grpSpPr>
          <p:sp>
            <p:nvSpPr>
              <p:cNvPr id="147" name="Rectangle 146">
                <a:extLst>
                  <a:ext uri="{FF2B5EF4-FFF2-40B4-BE49-F238E27FC236}">
                    <a16:creationId xmlns:a16="http://schemas.microsoft.com/office/drawing/2014/main" id="{735C1D2F-26FC-2D9A-0A41-F54EEF30FB92}"/>
                  </a:ext>
                </a:extLst>
              </p:cNvPr>
              <p:cNvSpPr/>
              <p:nvPr/>
            </p:nvSpPr>
            <p:spPr bwMode="gray">
              <a:xfrm>
                <a:off x="4559554" y="2010091"/>
                <a:ext cx="2802166"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8" name="Rectangle 147">
                <a:extLst>
                  <a:ext uri="{FF2B5EF4-FFF2-40B4-BE49-F238E27FC236}">
                    <a16:creationId xmlns:a16="http://schemas.microsoft.com/office/drawing/2014/main" id="{1B6D349D-C10A-5588-8900-AF5B7C72CE8C}"/>
                  </a:ext>
                </a:extLst>
              </p:cNvPr>
              <p:cNvSpPr/>
              <p:nvPr/>
            </p:nvSpPr>
            <p:spPr bwMode="gray">
              <a:xfrm>
                <a:off x="4543515" y="1564918"/>
                <a:ext cx="2802166"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9" name="TextBox 148">
                <a:extLst>
                  <a:ext uri="{FF2B5EF4-FFF2-40B4-BE49-F238E27FC236}">
                    <a16:creationId xmlns:a16="http://schemas.microsoft.com/office/drawing/2014/main" id="{DC2158EA-3D77-8F0E-2364-B8431216278E}"/>
                  </a:ext>
                </a:extLst>
              </p:cNvPr>
              <p:cNvSpPr txBox="1"/>
              <p:nvPr/>
            </p:nvSpPr>
            <p:spPr>
              <a:xfrm>
                <a:off x="4681903" y="1701133"/>
                <a:ext cx="2207552" cy="149263"/>
              </a:xfrm>
              <a:prstGeom prst="rect">
                <a:avLst/>
              </a:prstGeom>
              <a:noFill/>
            </p:spPr>
            <p:txBody>
              <a:bodyPr wrap="square" lIns="0" tIns="0" rIns="0" bIns="0" rtlCol="0" anchor="t">
                <a:noAutofit/>
              </a:bodyPr>
              <a:lstStyle/>
              <a:p>
                <a:r>
                  <a:rPr lang="en-US" sz="900" b="1" dirty="0">
                    <a:solidFill>
                      <a:schemeClr val="bg1"/>
                    </a:solidFill>
                  </a:rPr>
                  <a:t>DOMESTIC LEASING COMPANY </a:t>
                </a:r>
              </a:p>
            </p:txBody>
          </p:sp>
          <p:sp>
            <p:nvSpPr>
              <p:cNvPr id="150" name="Flowchart: Connector 149">
                <a:extLst>
                  <a:ext uri="{FF2B5EF4-FFF2-40B4-BE49-F238E27FC236}">
                    <a16:creationId xmlns:a16="http://schemas.microsoft.com/office/drawing/2014/main" id="{6DE11E07-4C60-AE0B-A881-64DD14025476}"/>
                  </a:ext>
                </a:extLst>
              </p:cNvPr>
              <p:cNvSpPr/>
              <p:nvPr/>
            </p:nvSpPr>
            <p:spPr bwMode="gray">
              <a:xfrm>
                <a:off x="6968907" y="1564918"/>
                <a:ext cx="383881"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1" name="Group 531">
                <a:extLst>
                  <a:ext uri="{FF2B5EF4-FFF2-40B4-BE49-F238E27FC236}">
                    <a16:creationId xmlns:a16="http://schemas.microsoft.com/office/drawing/2014/main" id="{FA52585D-19AF-EF1A-3600-EC73F071B8EE}"/>
                  </a:ext>
                </a:extLst>
              </p:cNvPr>
              <p:cNvGrpSpPr>
                <a:grpSpLocks/>
              </p:cNvGrpSpPr>
              <p:nvPr/>
            </p:nvGrpSpPr>
            <p:grpSpPr bwMode="auto">
              <a:xfrm>
                <a:off x="6933476" y="1555327"/>
                <a:ext cx="450000" cy="450000"/>
                <a:chOff x="3061" y="1953"/>
                <a:chExt cx="340" cy="340"/>
              </a:xfrm>
              <a:solidFill>
                <a:srgbClr val="9DD4CF"/>
              </a:solidFill>
            </p:grpSpPr>
            <p:sp>
              <p:nvSpPr>
                <p:cNvPr id="123" name="Freeform 532">
                  <a:extLst>
                    <a:ext uri="{FF2B5EF4-FFF2-40B4-BE49-F238E27FC236}">
                      <a16:creationId xmlns:a16="http://schemas.microsoft.com/office/drawing/2014/main" id="{B86E1DE2-9142-A18E-38F0-AFA5403DC36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533">
                  <a:extLst>
                    <a:ext uri="{FF2B5EF4-FFF2-40B4-BE49-F238E27FC236}">
                      <a16:creationId xmlns:a16="http://schemas.microsoft.com/office/drawing/2014/main" id="{055940D6-F3BC-6FFA-CEA2-DCF07EE8891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4" name="Group 153">
                <a:extLst>
                  <a:ext uri="{FF2B5EF4-FFF2-40B4-BE49-F238E27FC236}">
                    <a16:creationId xmlns:a16="http://schemas.microsoft.com/office/drawing/2014/main" id="{E2A9F0D2-8AFF-73E2-3D78-5E5D4D7F20DB}"/>
                  </a:ext>
                </a:extLst>
              </p:cNvPr>
              <p:cNvGrpSpPr/>
              <p:nvPr/>
            </p:nvGrpSpPr>
            <p:grpSpPr>
              <a:xfrm>
                <a:off x="5649989" y="3339355"/>
                <a:ext cx="1551379" cy="306056"/>
                <a:chOff x="2050976" y="3519440"/>
                <a:chExt cx="1704190" cy="306056"/>
              </a:xfrm>
            </p:grpSpPr>
            <p:sp>
              <p:nvSpPr>
                <p:cNvPr id="155" name="Rectangle: Rounded Corners 154">
                  <a:extLst>
                    <a:ext uri="{FF2B5EF4-FFF2-40B4-BE49-F238E27FC236}">
                      <a16:creationId xmlns:a16="http://schemas.microsoft.com/office/drawing/2014/main" id="{36C419E1-E418-3805-D1CE-7C41B27D8B01}"/>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56" name="TextBox 155">
                  <a:extLst>
                    <a:ext uri="{FF2B5EF4-FFF2-40B4-BE49-F238E27FC236}">
                      <a16:creationId xmlns:a16="http://schemas.microsoft.com/office/drawing/2014/main" id="{2B4D19C9-4D65-FC1B-FA7E-44DA9CD9BC9B}"/>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hu-HU" sz="800" b="1" dirty="0">
                      <a:ea typeface="Open Sans Light" panose="020B0306030504020204" pitchFamily="34" charset="0"/>
                      <a:cs typeface="Open Sans Light" panose="020B0306030504020204" pitchFamily="34" charset="0"/>
                    </a:rPr>
                    <a:t>6.1. </a:t>
                  </a:r>
                  <a:r>
                    <a:rPr lang="en-US" sz="800" b="1" dirty="0">
                      <a:ea typeface="Open Sans Light" panose="020B0306030504020204" pitchFamily="34" charset="0"/>
                      <a:cs typeface="Open Sans Light" panose="020B0306030504020204" pitchFamily="34" charset="0"/>
                    </a:rPr>
                    <a:t>STRATEGIC PLANNING</a:t>
                  </a:r>
                  <a:endParaRPr lang="en-US" sz="800" b="1" dirty="0">
                    <a:latin typeface="+mj-lt"/>
                    <a:ea typeface="Open Sans Light" panose="020B0306030504020204" pitchFamily="34" charset="0"/>
                    <a:cs typeface="Open Sans Light" panose="020B0306030504020204" pitchFamily="34" charset="0"/>
                  </a:endParaRPr>
                </a:p>
              </p:txBody>
            </p:sp>
          </p:grpSp>
          <p:sp>
            <p:nvSpPr>
              <p:cNvPr id="157" name="TextBox 156">
                <a:extLst>
                  <a:ext uri="{FF2B5EF4-FFF2-40B4-BE49-F238E27FC236}">
                    <a16:creationId xmlns:a16="http://schemas.microsoft.com/office/drawing/2014/main" id="{1ECD6F58-A535-A242-FE13-BC47D85F11BD}"/>
                  </a:ext>
                </a:extLst>
              </p:cNvPr>
              <p:cNvSpPr txBox="1"/>
              <p:nvPr/>
            </p:nvSpPr>
            <p:spPr>
              <a:xfrm>
                <a:off x="4691644" y="2612833"/>
                <a:ext cx="2621317"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Shaped the Bank's future operating model in a way to answer market requirements and improve efficiency while identifying new revenue generating initiatives</a:t>
                </a:r>
              </a:p>
            </p:txBody>
          </p:sp>
          <p:sp>
            <p:nvSpPr>
              <p:cNvPr id="158" name="TextBox 157">
                <a:extLst>
                  <a:ext uri="{FF2B5EF4-FFF2-40B4-BE49-F238E27FC236}">
                    <a16:creationId xmlns:a16="http://schemas.microsoft.com/office/drawing/2014/main" id="{0D684CFD-E92B-65A3-52C0-5F36B58274E6}"/>
                  </a:ext>
                </a:extLst>
              </p:cNvPr>
              <p:cNvSpPr txBox="1"/>
              <p:nvPr/>
            </p:nvSpPr>
            <p:spPr>
              <a:xfrm>
                <a:off x="4691644" y="2215344"/>
                <a:ext cx="2302706" cy="233109"/>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a:spcAft>
                    <a:spcPts val="1000"/>
                  </a:spcAft>
                </a:pPr>
                <a:r>
                  <a:rPr lang="en-US" sz="900" b="1" dirty="0">
                    <a:solidFill>
                      <a:srgbClr val="00B0F2"/>
                    </a:solidFill>
                    <a:ea typeface="Open Sans Light" panose="020B0306030504020204" pitchFamily="34" charset="0"/>
                    <a:cs typeface="Open Sans Light" panose="020B0306030504020204" pitchFamily="34" charset="0"/>
                  </a:rPr>
                  <a:t>FUTURE OPERATING MODEL DESIGN</a:t>
                </a:r>
              </a:p>
            </p:txBody>
          </p:sp>
        </p:grpSp>
        <p:grpSp>
          <p:nvGrpSpPr>
            <p:cNvPr id="50" name="Group 49">
              <a:extLst>
                <a:ext uri="{FF2B5EF4-FFF2-40B4-BE49-F238E27FC236}">
                  <a16:creationId xmlns:a16="http://schemas.microsoft.com/office/drawing/2014/main" id="{0A3C5F27-2267-177B-116E-BC4F3706EA0B}"/>
                </a:ext>
              </a:extLst>
            </p:cNvPr>
            <p:cNvGrpSpPr/>
            <p:nvPr/>
          </p:nvGrpSpPr>
          <p:grpSpPr>
            <a:xfrm>
              <a:off x="1012681" y="1555341"/>
              <a:ext cx="2835212" cy="2099661"/>
              <a:chOff x="341687" y="3959622"/>
              <a:chExt cx="2835212" cy="2099661"/>
            </a:xfrm>
          </p:grpSpPr>
          <p:sp>
            <p:nvSpPr>
              <p:cNvPr id="161" name="Rectangle 160">
                <a:extLst>
                  <a:ext uri="{FF2B5EF4-FFF2-40B4-BE49-F238E27FC236}">
                    <a16:creationId xmlns:a16="http://schemas.microsoft.com/office/drawing/2014/main" id="{188F9994-5227-1AF7-B863-35AB42AF2865}"/>
                  </a:ext>
                </a:extLst>
              </p:cNvPr>
              <p:cNvSpPr/>
              <p:nvPr/>
            </p:nvSpPr>
            <p:spPr bwMode="gray">
              <a:xfrm>
                <a:off x="348900" y="4423963"/>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2" name="Rectangle 161">
                <a:extLst>
                  <a:ext uri="{FF2B5EF4-FFF2-40B4-BE49-F238E27FC236}">
                    <a16:creationId xmlns:a16="http://schemas.microsoft.com/office/drawing/2014/main" id="{3567DDAE-BD14-2D38-5110-561C65945373}"/>
                  </a:ext>
                </a:extLst>
              </p:cNvPr>
              <p:cNvSpPr/>
              <p:nvPr/>
            </p:nvSpPr>
            <p:spPr bwMode="gray">
              <a:xfrm>
                <a:off x="341687" y="3973762"/>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3" name="TextBox 162">
                <a:extLst>
                  <a:ext uri="{FF2B5EF4-FFF2-40B4-BE49-F238E27FC236}">
                    <a16:creationId xmlns:a16="http://schemas.microsoft.com/office/drawing/2014/main" id="{757556D0-82C4-571F-7019-F245A0C20034}"/>
                  </a:ext>
                </a:extLst>
              </p:cNvPr>
              <p:cNvSpPr txBox="1"/>
              <p:nvPr/>
            </p:nvSpPr>
            <p:spPr>
              <a:xfrm>
                <a:off x="471759" y="4110739"/>
                <a:ext cx="2216759" cy="147739"/>
              </a:xfrm>
              <a:prstGeom prst="rect">
                <a:avLst/>
              </a:prstGeom>
              <a:noFill/>
            </p:spPr>
            <p:txBody>
              <a:bodyPr wrap="square" lIns="0" tIns="0" rIns="0" bIns="0" rtlCol="0" anchor="t">
                <a:noAutofit/>
              </a:bodyPr>
              <a:lstStyle/>
              <a:p>
                <a:r>
                  <a:rPr lang="en-US" sz="900" b="1" dirty="0">
                    <a:solidFill>
                      <a:schemeClr val="bg1"/>
                    </a:solidFill>
                  </a:rPr>
                  <a:t>HUNGARIAN MINISTRY</a:t>
                </a:r>
              </a:p>
            </p:txBody>
          </p:sp>
          <p:sp>
            <p:nvSpPr>
              <p:cNvPr id="164" name="Flowchart: Connector 163">
                <a:extLst>
                  <a:ext uri="{FF2B5EF4-FFF2-40B4-BE49-F238E27FC236}">
                    <a16:creationId xmlns:a16="http://schemas.microsoft.com/office/drawing/2014/main" id="{2FD0A1D8-DFFF-25E5-CA52-9E218A46EC4B}"/>
                  </a:ext>
                </a:extLst>
              </p:cNvPr>
              <p:cNvSpPr/>
              <p:nvPr/>
            </p:nvSpPr>
            <p:spPr bwMode="gray">
              <a:xfrm>
                <a:off x="2768300" y="3973762"/>
                <a:ext cx="385482"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68" name="Group 167">
                <a:extLst>
                  <a:ext uri="{FF2B5EF4-FFF2-40B4-BE49-F238E27FC236}">
                    <a16:creationId xmlns:a16="http://schemas.microsoft.com/office/drawing/2014/main" id="{D7F91792-5860-35C1-FA34-74717D3E82E1}"/>
                  </a:ext>
                </a:extLst>
              </p:cNvPr>
              <p:cNvGrpSpPr/>
              <p:nvPr/>
            </p:nvGrpSpPr>
            <p:grpSpPr>
              <a:xfrm>
                <a:off x="1443883" y="5753227"/>
                <a:ext cx="1557848" cy="306056"/>
                <a:chOff x="2050976" y="3519440"/>
                <a:chExt cx="1704190" cy="306056"/>
              </a:xfrm>
            </p:grpSpPr>
            <p:sp>
              <p:nvSpPr>
                <p:cNvPr id="169" name="Rectangle: Rounded Corners 168">
                  <a:extLst>
                    <a:ext uri="{FF2B5EF4-FFF2-40B4-BE49-F238E27FC236}">
                      <a16:creationId xmlns:a16="http://schemas.microsoft.com/office/drawing/2014/main" id="{B9510B86-02F5-E550-4EA2-8C825D733FF7}"/>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0" name="TextBox 169">
                  <a:extLst>
                    <a:ext uri="{FF2B5EF4-FFF2-40B4-BE49-F238E27FC236}">
                      <a16:creationId xmlns:a16="http://schemas.microsoft.com/office/drawing/2014/main" id="{8A287CEA-6E97-4A48-7049-3C04FDD3118F}"/>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hu-HU" sz="800" b="1" dirty="0">
                      <a:ea typeface="Open Sans Light" panose="020B0306030504020204" pitchFamily="34" charset="0"/>
                      <a:cs typeface="Open Sans Light" panose="020B0306030504020204" pitchFamily="34" charset="0"/>
                    </a:rPr>
                    <a:t>6.1. </a:t>
                  </a:r>
                  <a:r>
                    <a:rPr lang="en-US" sz="800" b="1" dirty="0">
                      <a:ea typeface="Open Sans Light" panose="020B0306030504020204" pitchFamily="34" charset="0"/>
                      <a:cs typeface="Open Sans Light" panose="020B0306030504020204" pitchFamily="34" charset="0"/>
                    </a:rPr>
                    <a:t>STRATEGIC PLANNING</a:t>
                  </a:r>
                  <a:endParaRPr lang="en-US" sz="800" b="1" dirty="0">
                    <a:latin typeface="+mj-lt"/>
                    <a:ea typeface="Open Sans Light" panose="020B0306030504020204" pitchFamily="34" charset="0"/>
                    <a:cs typeface="Open Sans Light" panose="020B0306030504020204" pitchFamily="34" charset="0"/>
                  </a:endParaRPr>
                </a:p>
              </p:txBody>
            </p:sp>
          </p:grpSp>
          <p:sp>
            <p:nvSpPr>
              <p:cNvPr id="171" name="TextBox 170">
                <a:extLst>
                  <a:ext uri="{FF2B5EF4-FFF2-40B4-BE49-F238E27FC236}">
                    <a16:creationId xmlns:a16="http://schemas.microsoft.com/office/drawing/2014/main" id="{721D9BC5-87A7-1A57-DB42-619A9F8D967F}"/>
                  </a:ext>
                </a:extLst>
              </p:cNvPr>
              <p:cNvSpPr txBox="1"/>
              <p:nvPr/>
            </p:nvSpPr>
            <p:spPr>
              <a:xfrm>
                <a:off x="472650" y="5036431"/>
                <a:ext cx="2316699" cy="680008"/>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The client asked Deloitte to conduct a study on potential industry development practices in 6 industries based on the perspective of key local and international industry players and international good practices.</a:t>
                </a:r>
              </a:p>
            </p:txBody>
          </p:sp>
          <p:sp>
            <p:nvSpPr>
              <p:cNvPr id="172" name="TextBox 171">
                <a:extLst>
                  <a:ext uri="{FF2B5EF4-FFF2-40B4-BE49-F238E27FC236}">
                    <a16:creationId xmlns:a16="http://schemas.microsoft.com/office/drawing/2014/main" id="{27A02338-5481-10EB-2D56-5C27F9FE461C}"/>
                  </a:ext>
                </a:extLst>
              </p:cNvPr>
              <p:cNvSpPr txBox="1"/>
              <p:nvPr/>
            </p:nvSpPr>
            <p:spPr>
              <a:xfrm>
                <a:off x="472650" y="4629216"/>
                <a:ext cx="2529081"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hu-HU" dirty="0">
                    <a:solidFill>
                      <a:srgbClr val="00B0F2"/>
                    </a:solidFill>
                  </a:rPr>
                  <a:t>PUBLIC POLICY STRATEGY</a:t>
                </a:r>
                <a:endParaRPr lang="en-US" dirty="0">
                  <a:solidFill>
                    <a:srgbClr val="00B0F2"/>
                  </a:solidFill>
                </a:endParaRPr>
              </a:p>
            </p:txBody>
          </p:sp>
          <p:grpSp>
            <p:nvGrpSpPr>
              <p:cNvPr id="173" name="Group 172">
                <a:extLst>
                  <a:ext uri="{FF2B5EF4-FFF2-40B4-BE49-F238E27FC236}">
                    <a16:creationId xmlns:a16="http://schemas.microsoft.com/office/drawing/2014/main" id="{E732E4DD-B9DB-2CE0-0BF8-F48C1FBED926}"/>
                  </a:ext>
                </a:extLst>
              </p:cNvPr>
              <p:cNvGrpSpPr>
                <a:grpSpLocks/>
              </p:cNvGrpSpPr>
              <p:nvPr/>
            </p:nvGrpSpPr>
            <p:grpSpPr>
              <a:xfrm>
                <a:off x="2726899" y="3959622"/>
                <a:ext cx="450000" cy="450001"/>
                <a:chOff x="7366067" y="6713969"/>
                <a:chExt cx="492328" cy="493776"/>
              </a:xfrm>
            </p:grpSpPr>
            <p:sp>
              <p:nvSpPr>
                <p:cNvPr id="15" name="Flowchart: Connector 14">
                  <a:extLst>
                    <a:ext uri="{FF2B5EF4-FFF2-40B4-BE49-F238E27FC236}">
                      <a16:creationId xmlns:a16="http://schemas.microsoft.com/office/drawing/2014/main" id="{118F51FE-FC01-3FA7-F009-CF92B097BE5D}"/>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11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15" name="Group 114">
              <a:extLst>
                <a:ext uri="{FF2B5EF4-FFF2-40B4-BE49-F238E27FC236}">
                  <a16:creationId xmlns:a16="http://schemas.microsoft.com/office/drawing/2014/main" id="{59C53CED-443E-F7F0-8D27-29899A803A99}"/>
                </a:ext>
              </a:extLst>
            </p:cNvPr>
            <p:cNvGrpSpPr/>
            <p:nvPr/>
          </p:nvGrpSpPr>
          <p:grpSpPr>
            <a:xfrm>
              <a:off x="4519543" y="1555327"/>
              <a:ext cx="2837445" cy="2090084"/>
              <a:chOff x="1012681" y="1555327"/>
              <a:chExt cx="2837445" cy="2090084"/>
            </a:xfrm>
          </p:grpSpPr>
          <p:sp>
            <p:nvSpPr>
              <p:cNvPr id="14" name="Rectangle 13">
                <a:extLst>
                  <a:ext uri="{FF2B5EF4-FFF2-40B4-BE49-F238E27FC236}">
                    <a16:creationId xmlns:a16="http://schemas.microsoft.com/office/drawing/2014/main" id="{9DB648EF-8476-4A03-2C11-9178E2030D2C}"/>
                  </a:ext>
                </a:extLst>
              </p:cNvPr>
              <p:cNvSpPr/>
              <p:nvPr/>
            </p:nvSpPr>
            <p:spPr bwMode="gray">
              <a:xfrm>
                <a:off x="1012681" y="201009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39" name="Rectangle 38">
                <a:extLst>
                  <a:ext uri="{FF2B5EF4-FFF2-40B4-BE49-F238E27FC236}">
                    <a16:creationId xmlns:a16="http://schemas.microsoft.com/office/drawing/2014/main" id="{30E643F9-9AFB-7F1D-A760-95B452450FC8}"/>
                  </a:ext>
                </a:extLst>
              </p:cNvPr>
              <p:cNvSpPr/>
              <p:nvPr/>
            </p:nvSpPr>
            <p:spPr bwMode="gray">
              <a:xfrm>
                <a:off x="1014363" y="156491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40" name="TextBox 39">
                <a:extLst>
                  <a:ext uri="{FF2B5EF4-FFF2-40B4-BE49-F238E27FC236}">
                    <a16:creationId xmlns:a16="http://schemas.microsoft.com/office/drawing/2014/main" id="{0438F638-92A7-4437-0857-B8718F77E13A}"/>
                  </a:ext>
                </a:extLst>
              </p:cNvPr>
              <p:cNvSpPr txBox="1"/>
              <p:nvPr/>
            </p:nvSpPr>
            <p:spPr>
              <a:xfrm>
                <a:off x="1135721" y="1701133"/>
                <a:ext cx="2220025" cy="149263"/>
              </a:xfrm>
              <a:prstGeom prst="rect">
                <a:avLst/>
              </a:prstGeom>
              <a:noFill/>
            </p:spPr>
            <p:txBody>
              <a:bodyPr wrap="square" lIns="0" tIns="0" rIns="0" bIns="0" rtlCol="0" anchor="t">
                <a:noAutofit/>
              </a:bodyPr>
              <a:lstStyle/>
              <a:p>
                <a:r>
                  <a:rPr lang="en-US" sz="900" b="1" dirty="0">
                    <a:solidFill>
                      <a:schemeClr val="bg1"/>
                    </a:solidFill>
                  </a:rPr>
                  <a:t>INTERNATIONAL INSURANCE COMPANY </a:t>
                </a:r>
              </a:p>
            </p:txBody>
          </p:sp>
          <p:sp>
            <p:nvSpPr>
              <p:cNvPr id="122" name="Flowchart: Connector 121">
                <a:extLst>
                  <a:ext uri="{FF2B5EF4-FFF2-40B4-BE49-F238E27FC236}">
                    <a16:creationId xmlns:a16="http://schemas.microsoft.com/office/drawing/2014/main" id="{7D3078D8-E59C-B6FB-EF19-6FC84FFF05EC}"/>
                  </a:ext>
                </a:extLst>
              </p:cNvPr>
              <p:cNvSpPr/>
              <p:nvPr/>
            </p:nvSpPr>
            <p:spPr bwMode="gray">
              <a:xfrm>
                <a:off x="3435647" y="156491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7" name="Group 531">
                <a:extLst>
                  <a:ext uri="{FF2B5EF4-FFF2-40B4-BE49-F238E27FC236}">
                    <a16:creationId xmlns:a16="http://schemas.microsoft.com/office/drawing/2014/main" id="{1F6AE038-CADC-C2F9-6D79-AFF8180F4732}"/>
                  </a:ext>
                </a:extLst>
              </p:cNvPr>
              <p:cNvGrpSpPr>
                <a:grpSpLocks/>
              </p:cNvGrpSpPr>
              <p:nvPr/>
            </p:nvGrpSpPr>
            <p:grpSpPr bwMode="auto">
              <a:xfrm>
                <a:off x="3400126" y="1555327"/>
                <a:ext cx="450000" cy="450000"/>
                <a:chOff x="3061" y="1953"/>
                <a:chExt cx="340" cy="340"/>
              </a:xfrm>
              <a:solidFill>
                <a:srgbClr val="9DD4CF"/>
              </a:solidFill>
            </p:grpSpPr>
            <p:sp>
              <p:nvSpPr>
                <p:cNvPr id="10"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2" name="Group 141">
                <a:extLst>
                  <a:ext uri="{FF2B5EF4-FFF2-40B4-BE49-F238E27FC236}">
                    <a16:creationId xmlns:a16="http://schemas.microsoft.com/office/drawing/2014/main" id="{B180359B-0667-661C-787D-E013F443D110}"/>
                  </a:ext>
                </a:extLst>
              </p:cNvPr>
              <p:cNvGrpSpPr/>
              <p:nvPr/>
            </p:nvGrpSpPr>
            <p:grpSpPr>
              <a:xfrm>
                <a:off x="2109277" y="3339355"/>
                <a:ext cx="1560144" cy="306056"/>
                <a:chOff x="2050976" y="3519440"/>
                <a:chExt cx="1704190" cy="306056"/>
              </a:xfrm>
            </p:grpSpPr>
            <p:sp>
              <p:nvSpPr>
                <p:cNvPr id="143" name="Rectangle: Rounded Corners 142">
                  <a:extLst>
                    <a:ext uri="{FF2B5EF4-FFF2-40B4-BE49-F238E27FC236}">
                      <a16:creationId xmlns:a16="http://schemas.microsoft.com/office/drawing/2014/main" id="{EF5B7140-15FD-0460-4881-C713C8767A08}"/>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4" name="TextBox 143">
                  <a:extLst>
                    <a:ext uri="{FF2B5EF4-FFF2-40B4-BE49-F238E27FC236}">
                      <a16:creationId xmlns:a16="http://schemas.microsoft.com/office/drawing/2014/main" id="{B1FD2A87-B822-C52F-A05B-735E59FE3A4A}"/>
                    </a:ext>
                  </a:extLst>
                </p:cNvPr>
                <p:cNvSpPr txBox="1"/>
                <p:nvPr/>
              </p:nvSpPr>
              <p:spPr>
                <a:xfrm>
                  <a:off x="2244938" y="3579274"/>
                  <a:ext cx="1285514" cy="246222"/>
                </a:xfrm>
                <a:prstGeom prst="rect">
                  <a:avLst/>
                </a:prstGeom>
                <a:noFill/>
              </p:spPr>
              <p:txBody>
                <a:bodyPr wrap="square" lIns="0" tIns="0" rIns="0" bIns="0" rtlCol="0" anchor="t">
                  <a:noAutofit/>
                </a:bodyPr>
                <a:lstStyle/>
                <a:p>
                  <a:pPr>
                    <a:spcAft>
                      <a:spcPts val="1000"/>
                    </a:spcAft>
                  </a:pPr>
                  <a:r>
                    <a:rPr lang="hu-HU" sz="800" b="1" dirty="0">
                      <a:ea typeface="Open Sans Light" panose="020B0306030504020204" pitchFamily="34" charset="0"/>
                      <a:cs typeface="Open Sans Light" panose="020B0306030504020204" pitchFamily="34" charset="0"/>
                    </a:rPr>
                    <a:t>6.1. </a:t>
                  </a:r>
                  <a:r>
                    <a:rPr lang="en-US" sz="800" b="1" dirty="0">
                      <a:ea typeface="Open Sans Light" panose="020B0306030504020204" pitchFamily="34" charset="0"/>
                      <a:cs typeface="Open Sans Light" panose="020B0306030504020204" pitchFamily="34" charset="0"/>
                    </a:rPr>
                    <a:t>STRATEGIC PLANNING</a:t>
                  </a:r>
                  <a:endParaRPr lang="en-US" sz="800" b="1" dirty="0">
                    <a:latin typeface="+mj-lt"/>
                    <a:ea typeface="Open Sans Light" panose="020B0306030504020204" pitchFamily="34" charset="0"/>
                    <a:cs typeface="Open Sans Light" panose="020B0306030504020204" pitchFamily="34" charset="0"/>
                  </a:endParaRPr>
                </a:p>
              </p:txBody>
            </p:sp>
          </p:grpSp>
          <p:sp>
            <p:nvSpPr>
              <p:cNvPr id="145" name="TextBox 144">
                <a:extLst>
                  <a:ext uri="{FF2B5EF4-FFF2-40B4-BE49-F238E27FC236}">
                    <a16:creationId xmlns:a16="http://schemas.microsoft.com/office/drawing/2014/main" id="{883D69FE-0988-760E-0D05-72A43C585874}"/>
                  </a:ext>
                </a:extLst>
              </p:cNvPr>
              <p:cNvSpPr txBox="1"/>
              <p:nvPr/>
            </p:nvSpPr>
            <p:spPr>
              <a:xfrm>
                <a:off x="1127707" y="2612833"/>
                <a:ext cx="2545562"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Designed a more future-proof distribution strategy to increase sales efficiency, business results and to better fight organizational resistance</a:t>
                </a:r>
              </a:p>
            </p:txBody>
          </p:sp>
          <p:sp>
            <p:nvSpPr>
              <p:cNvPr id="146" name="TextBox 145">
                <a:extLst>
                  <a:ext uri="{FF2B5EF4-FFF2-40B4-BE49-F238E27FC236}">
                    <a16:creationId xmlns:a16="http://schemas.microsoft.com/office/drawing/2014/main" id="{9C653446-6E12-F57B-15F9-1D7879EFFEE6}"/>
                  </a:ext>
                </a:extLst>
              </p:cNvPr>
              <p:cNvSpPr txBox="1"/>
              <p:nvPr/>
            </p:nvSpPr>
            <p:spPr>
              <a:xfrm>
                <a:off x="1127707" y="2215344"/>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SALES STRATEGY DEVELOPMENT</a:t>
                </a:r>
              </a:p>
            </p:txBody>
          </p:sp>
        </p:grpSp>
      </p:grpSp>
      <p:sp>
        <p:nvSpPr>
          <p:cNvPr id="159" name="Rectangle 146">
            <a:extLst>
              <a:ext uri="{FF2B5EF4-FFF2-40B4-BE49-F238E27FC236}">
                <a16:creationId xmlns:a16="http://schemas.microsoft.com/office/drawing/2014/main" id="{735C1D2F-26FC-2D9A-0A41-F54EEF30FB92}"/>
              </a:ext>
            </a:extLst>
          </p:cNvPr>
          <p:cNvSpPr/>
          <p:nvPr/>
        </p:nvSpPr>
        <p:spPr bwMode="gray">
          <a:xfrm>
            <a:off x="8197378" y="2005528"/>
            <a:ext cx="2802166"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Rectangle 147">
            <a:extLst>
              <a:ext uri="{FF2B5EF4-FFF2-40B4-BE49-F238E27FC236}">
                <a16:creationId xmlns:a16="http://schemas.microsoft.com/office/drawing/2014/main" id="{1B6D349D-C10A-5588-8900-AF5B7C72CE8C}"/>
              </a:ext>
            </a:extLst>
          </p:cNvPr>
          <p:cNvSpPr/>
          <p:nvPr/>
        </p:nvSpPr>
        <p:spPr bwMode="gray">
          <a:xfrm>
            <a:off x="8181339" y="1560355"/>
            <a:ext cx="2802166"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5" name="TextBox 148">
            <a:extLst>
              <a:ext uri="{FF2B5EF4-FFF2-40B4-BE49-F238E27FC236}">
                <a16:creationId xmlns:a16="http://schemas.microsoft.com/office/drawing/2014/main" id="{DC2158EA-3D77-8F0E-2364-B8431216278E}"/>
              </a:ext>
            </a:extLst>
          </p:cNvPr>
          <p:cNvSpPr txBox="1"/>
          <p:nvPr/>
        </p:nvSpPr>
        <p:spPr>
          <a:xfrm>
            <a:off x="8319727" y="1696570"/>
            <a:ext cx="2207552" cy="149263"/>
          </a:xfrm>
          <a:prstGeom prst="rect">
            <a:avLst/>
          </a:prstGeom>
          <a:noFill/>
        </p:spPr>
        <p:txBody>
          <a:bodyPr wrap="square" lIns="0" tIns="0" rIns="0" bIns="0" rtlCol="0" anchor="t">
            <a:noAutofit/>
          </a:bodyPr>
          <a:lstStyle>
            <a:defPPr>
              <a:defRPr lang="en-US"/>
            </a:defPPr>
            <a:lvl1pPr>
              <a:defRPr sz="9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DOMESTIC LEASING COMPANY </a:t>
            </a:r>
          </a:p>
        </p:txBody>
      </p:sp>
      <p:sp>
        <p:nvSpPr>
          <p:cNvPr id="166" name="Flowchart: Connector 149">
            <a:extLst>
              <a:ext uri="{FF2B5EF4-FFF2-40B4-BE49-F238E27FC236}">
                <a16:creationId xmlns:a16="http://schemas.microsoft.com/office/drawing/2014/main" id="{6DE11E07-4C60-AE0B-A881-64DD14025476}"/>
              </a:ext>
            </a:extLst>
          </p:cNvPr>
          <p:cNvSpPr/>
          <p:nvPr/>
        </p:nvSpPr>
        <p:spPr bwMode="gray">
          <a:xfrm>
            <a:off x="10606731" y="1560355"/>
            <a:ext cx="383881"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3" name="Group 531">
            <a:extLst>
              <a:ext uri="{FF2B5EF4-FFF2-40B4-BE49-F238E27FC236}">
                <a16:creationId xmlns:a16="http://schemas.microsoft.com/office/drawing/2014/main" id="{FA52585D-19AF-EF1A-3600-EC73F071B8EE}"/>
              </a:ext>
            </a:extLst>
          </p:cNvPr>
          <p:cNvGrpSpPr>
            <a:grpSpLocks/>
          </p:cNvGrpSpPr>
          <p:nvPr/>
        </p:nvGrpSpPr>
        <p:grpSpPr bwMode="auto">
          <a:xfrm>
            <a:off x="10571300" y="1550764"/>
            <a:ext cx="450000" cy="450000"/>
            <a:chOff x="3061" y="1953"/>
            <a:chExt cx="340" cy="340"/>
          </a:xfrm>
          <a:solidFill>
            <a:srgbClr val="9DD4CF"/>
          </a:solidFill>
        </p:grpSpPr>
        <p:sp>
          <p:nvSpPr>
            <p:cNvPr id="203" name="Freeform 532">
              <a:extLst>
                <a:ext uri="{FF2B5EF4-FFF2-40B4-BE49-F238E27FC236}">
                  <a16:creationId xmlns:a16="http://schemas.microsoft.com/office/drawing/2014/main" id="{B86E1DE2-9142-A18E-38F0-AFA5403DC36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7" name="Freeform 533">
              <a:extLst>
                <a:ext uri="{FF2B5EF4-FFF2-40B4-BE49-F238E27FC236}">
                  <a16:creationId xmlns:a16="http://schemas.microsoft.com/office/drawing/2014/main" id="{055940D6-F3BC-6FFA-CEA2-DCF07EE8891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4" name="Rectangle: Rounded Corners 154">
            <a:extLst>
              <a:ext uri="{FF2B5EF4-FFF2-40B4-BE49-F238E27FC236}">
                <a16:creationId xmlns:a16="http://schemas.microsoft.com/office/drawing/2014/main" id="{36C419E1-E418-3805-D1CE-7C41B27D8B01}"/>
              </a:ext>
            </a:extLst>
          </p:cNvPr>
          <p:cNvSpPr/>
          <p:nvPr/>
        </p:nvSpPr>
        <p:spPr bwMode="gray">
          <a:xfrm>
            <a:off x="9287813" y="3334792"/>
            <a:ext cx="1551379"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a:latin typeface="Open Sans" panose="020B0606030504020204" pitchFamily="34" charset="0"/>
                <a:ea typeface="Open Sans" panose="020B0606030504020204" pitchFamily="34" charset="0"/>
                <a:cs typeface="Open Sans" panose="020B0606030504020204" pitchFamily="34" charset="0"/>
              </a:rPr>
              <a:t>6.1. </a:t>
            </a:r>
            <a:r>
              <a:rPr lang="en-US" sz="900" b="1">
                <a:latin typeface="Open Sans" panose="020B0606030504020204" pitchFamily="34" charset="0"/>
                <a:ea typeface="Open Sans" panose="020B0606030504020204" pitchFamily="34" charset="0"/>
                <a:cs typeface="Open Sans" panose="020B0606030504020204" pitchFamily="34" charset="0"/>
              </a:rPr>
              <a:t>STRATEGIC PLANNING</a:t>
            </a:r>
            <a:endParaRPr lang="en-US"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76" name="TextBox 156">
            <a:extLst>
              <a:ext uri="{FF2B5EF4-FFF2-40B4-BE49-F238E27FC236}">
                <a16:creationId xmlns:a16="http://schemas.microsoft.com/office/drawing/2014/main" id="{1ECD6F58-A535-A242-FE13-BC47D85F11BD}"/>
              </a:ext>
            </a:extLst>
          </p:cNvPr>
          <p:cNvSpPr txBox="1"/>
          <p:nvPr/>
        </p:nvSpPr>
        <p:spPr>
          <a:xfrm>
            <a:off x="8329468" y="2493970"/>
            <a:ext cx="2621317"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Shaped the Bank's future operating model in a way to answer market requirements and improve efficiency while identifying new revenue generating initiatives</a:t>
            </a:r>
          </a:p>
        </p:txBody>
      </p:sp>
      <p:sp>
        <p:nvSpPr>
          <p:cNvPr id="186" name="TextBox 157">
            <a:extLst>
              <a:ext uri="{FF2B5EF4-FFF2-40B4-BE49-F238E27FC236}">
                <a16:creationId xmlns:a16="http://schemas.microsoft.com/office/drawing/2014/main" id="{0D684CFD-E92B-65A3-52C0-5F36B58274E6}"/>
              </a:ext>
            </a:extLst>
          </p:cNvPr>
          <p:cNvSpPr txBox="1"/>
          <p:nvPr/>
        </p:nvSpPr>
        <p:spPr>
          <a:xfrm>
            <a:off x="8329468" y="2210781"/>
            <a:ext cx="2302706" cy="233109"/>
          </a:xfrm>
          <a:prstGeom prst="rect">
            <a:avLst/>
          </a:prstGeom>
          <a:noFill/>
        </p:spPr>
        <p:txBody>
          <a:bodyPr wrap="square" lIns="0" tIns="0" rIns="0" bIns="0" rtlCol="0" anchor="t">
            <a:noAutofit/>
          </a:bodyPr>
          <a:lstStyle>
            <a:defPPr>
              <a:defRPr lang="en-US"/>
            </a:defPPr>
            <a:lvl1pPr>
              <a:defRPr sz="900" b="1">
                <a:solidFill>
                  <a:srgbClr val="00B0F2"/>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FUTURE OPERATING MODEL DESIGN</a:t>
            </a:r>
          </a:p>
        </p:txBody>
      </p:sp>
      <p:sp>
        <p:nvSpPr>
          <p:cNvPr id="187" name="Rectangle 160">
            <a:extLst>
              <a:ext uri="{FF2B5EF4-FFF2-40B4-BE49-F238E27FC236}">
                <a16:creationId xmlns:a16="http://schemas.microsoft.com/office/drawing/2014/main" id="{188F9994-5227-1AF7-B863-35AB42AF2865}"/>
              </a:ext>
            </a:extLst>
          </p:cNvPr>
          <p:cNvSpPr/>
          <p:nvPr/>
        </p:nvSpPr>
        <p:spPr bwMode="gray">
          <a:xfrm>
            <a:off x="1177913" y="2005528"/>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9" name="Rectangle 161">
            <a:extLst>
              <a:ext uri="{FF2B5EF4-FFF2-40B4-BE49-F238E27FC236}">
                <a16:creationId xmlns:a16="http://schemas.microsoft.com/office/drawing/2014/main" id="{3567DDAE-BD14-2D38-5110-561C65945373}"/>
              </a:ext>
            </a:extLst>
          </p:cNvPr>
          <p:cNvSpPr/>
          <p:nvPr/>
        </p:nvSpPr>
        <p:spPr bwMode="gray">
          <a:xfrm>
            <a:off x="1170700" y="1569481"/>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0" name="TextBox 162">
            <a:extLst>
              <a:ext uri="{FF2B5EF4-FFF2-40B4-BE49-F238E27FC236}">
                <a16:creationId xmlns:a16="http://schemas.microsoft.com/office/drawing/2014/main" id="{757556D0-82C4-571F-7019-F245A0C20034}"/>
              </a:ext>
            </a:extLst>
          </p:cNvPr>
          <p:cNvSpPr txBox="1"/>
          <p:nvPr/>
        </p:nvSpPr>
        <p:spPr>
          <a:xfrm>
            <a:off x="1300772" y="1706458"/>
            <a:ext cx="2216759" cy="147739"/>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UNGARIAN MINISTRY</a:t>
            </a:r>
          </a:p>
        </p:txBody>
      </p:sp>
      <p:sp>
        <p:nvSpPr>
          <p:cNvPr id="191" name="Flowchart: Connector 163">
            <a:extLst>
              <a:ext uri="{FF2B5EF4-FFF2-40B4-BE49-F238E27FC236}">
                <a16:creationId xmlns:a16="http://schemas.microsoft.com/office/drawing/2014/main" id="{2FD0A1D8-DFFF-25E5-CA52-9E218A46EC4B}"/>
              </a:ext>
            </a:extLst>
          </p:cNvPr>
          <p:cNvSpPr/>
          <p:nvPr/>
        </p:nvSpPr>
        <p:spPr bwMode="gray">
          <a:xfrm>
            <a:off x="3597313" y="1569481"/>
            <a:ext cx="385482"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Rectangle: Rounded Corners 168">
            <a:extLst>
              <a:ext uri="{FF2B5EF4-FFF2-40B4-BE49-F238E27FC236}">
                <a16:creationId xmlns:a16="http://schemas.microsoft.com/office/drawing/2014/main" id="{B9510B86-02F5-E550-4EA2-8C825D733FF7}"/>
              </a:ext>
            </a:extLst>
          </p:cNvPr>
          <p:cNvSpPr/>
          <p:nvPr/>
        </p:nvSpPr>
        <p:spPr bwMode="gray">
          <a:xfrm>
            <a:off x="2272896" y="3348946"/>
            <a:ext cx="1557848"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dirty="0">
                <a:latin typeface="Open Sans" panose="020B0606030504020204" pitchFamily="34" charset="0"/>
                <a:ea typeface="Open Sans" panose="020B0606030504020204" pitchFamily="34" charset="0"/>
                <a:cs typeface="Open Sans" panose="020B0606030504020204" pitchFamily="34" charset="0"/>
              </a:rPr>
              <a:t>6.1. </a:t>
            </a:r>
            <a:r>
              <a:rPr lang="en-US" sz="900" b="1" dirty="0">
                <a:latin typeface="Open Sans" panose="020B0606030504020204" pitchFamily="34" charset="0"/>
                <a:ea typeface="Open Sans" panose="020B0606030504020204" pitchFamily="34" charset="0"/>
                <a:cs typeface="Open Sans" panose="020B0606030504020204" pitchFamily="34" charset="0"/>
              </a:rPr>
              <a:t>STRATEGIC PLANNING</a:t>
            </a:r>
          </a:p>
        </p:txBody>
      </p:sp>
      <p:sp>
        <p:nvSpPr>
          <p:cNvPr id="208" name="TextBox 170">
            <a:extLst>
              <a:ext uri="{FF2B5EF4-FFF2-40B4-BE49-F238E27FC236}">
                <a16:creationId xmlns:a16="http://schemas.microsoft.com/office/drawing/2014/main" id="{721D9BC5-87A7-1A57-DB42-619A9F8D967F}"/>
              </a:ext>
            </a:extLst>
          </p:cNvPr>
          <p:cNvSpPr txBox="1"/>
          <p:nvPr/>
        </p:nvSpPr>
        <p:spPr>
          <a:xfrm>
            <a:off x="1301663" y="2493970"/>
            <a:ext cx="2621317" cy="680008"/>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The client asked Deloitte to conduct a study on potential industry development practices in 6 industries based on the perspective of key local and international industry players and international good practices.</a:t>
            </a:r>
          </a:p>
        </p:txBody>
      </p:sp>
      <p:sp>
        <p:nvSpPr>
          <p:cNvPr id="51" name="TextBox 171">
            <a:extLst>
              <a:ext uri="{FF2B5EF4-FFF2-40B4-BE49-F238E27FC236}">
                <a16:creationId xmlns:a16="http://schemas.microsoft.com/office/drawing/2014/main" id="{27A02338-5481-10EB-2D56-5C27F9FE461C}"/>
              </a:ext>
            </a:extLst>
          </p:cNvPr>
          <p:cNvSpPr txBox="1"/>
          <p:nvPr/>
        </p:nvSpPr>
        <p:spPr>
          <a:xfrm>
            <a:off x="1301663" y="2210781"/>
            <a:ext cx="2529081"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hu-HU" dirty="0">
                <a:solidFill>
                  <a:srgbClr val="00B0F2"/>
                </a:solidFill>
                <a:latin typeface="Open Sans" panose="020B0606030504020204" pitchFamily="34" charset="0"/>
                <a:ea typeface="Open Sans" panose="020B0606030504020204" pitchFamily="34" charset="0"/>
                <a:cs typeface="Open Sans" panose="020B0606030504020204" pitchFamily="34" charset="0"/>
              </a:rPr>
              <a:t>PUBLIC POLICY STRATEGY</a:t>
            </a:r>
            <a:endPar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8" name="Group 172">
            <a:extLst>
              <a:ext uri="{FF2B5EF4-FFF2-40B4-BE49-F238E27FC236}">
                <a16:creationId xmlns:a16="http://schemas.microsoft.com/office/drawing/2014/main" id="{E732E4DD-B9DB-2CE0-0BF8-F48C1FBED926}"/>
              </a:ext>
            </a:extLst>
          </p:cNvPr>
          <p:cNvGrpSpPr>
            <a:grpSpLocks/>
          </p:cNvGrpSpPr>
          <p:nvPr/>
        </p:nvGrpSpPr>
        <p:grpSpPr>
          <a:xfrm>
            <a:off x="3555912" y="1555341"/>
            <a:ext cx="450000" cy="450001"/>
            <a:chOff x="7366067" y="6713969"/>
            <a:chExt cx="492328" cy="493776"/>
          </a:xfrm>
        </p:grpSpPr>
        <p:sp>
          <p:nvSpPr>
            <p:cNvPr id="137" name="Flowchart: Connector 14">
              <a:extLst>
                <a:ext uri="{FF2B5EF4-FFF2-40B4-BE49-F238E27FC236}">
                  <a16:creationId xmlns:a16="http://schemas.microsoft.com/office/drawing/2014/main" id="{118F51FE-FC01-3FA7-F009-CF92B097BE5D}"/>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5" name="Rectangle 13">
            <a:extLst>
              <a:ext uri="{FF2B5EF4-FFF2-40B4-BE49-F238E27FC236}">
                <a16:creationId xmlns:a16="http://schemas.microsoft.com/office/drawing/2014/main" id="{9DB648EF-8476-4A03-2C11-9178E2030D2C}"/>
              </a:ext>
            </a:extLst>
          </p:cNvPr>
          <p:cNvSpPr/>
          <p:nvPr/>
        </p:nvSpPr>
        <p:spPr bwMode="gray">
          <a:xfrm>
            <a:off x="4677562" y="2005528"/>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Rectangle 38">
            <a:extLst>
              <a:ext uri="{FF2B5EF4-FFF2-40B4-BE49-F238E27FC236}">
                <a16:creationId xmlns:a16="http://schemas.microsoft.com/office/drawing/2014/main" id="{30E643F9-9AFB-7F1D-A760-95B452450FC8}"/>
              </a:ext>
            </a:extLst>
          </p:cNvPr>
          <p:cNvSpPr/>
          <p:nvPr/>
        </p:nvSpPr>
        <p:spPr bwMode="gray">
          <a:xfrm>
            <a:off x="4679244" y="156491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6" name="TextBox 39">
            <a:extLst>
              <a:ext uri="{FF2B5EF4-FFF2-40B4-BE49-F238E27FC236}">
                <a16:creationId xmlns:a16="http://schemas.microsoft.com/office/drawing/2014/main" id="{0438F638-92A7-4437-0857-B8718F77E13A}"/>
              </a:ext>
            </a:extLst>
          </p:cNvPr>
          <p:cNvSpPr txBox="1"/>
          <p:nvPr/>
        </p:nvSpPr>
        <p:spPr>
          <a:xfrm>
            <a:off x="4800602" y="1632702"/>
            <a:ext cx="2220025" cy="276999"/>
          </a:xfrm>
          <a:prstGeom prst="rect">
            <a:avLst/>
          </a:prstGeom>
          <a:noFill/>
        </p:spPr>
        <p:txBody>
          <a:bodyPr wrap="square" lIns="0" tIns="0" rIns="0" bIns="0" rtlCol="0" anchor="t">
            <a:spAutoFit/>
          </a:bodyPr>
          <a:lstStyle>
            <a:defPPr>
              <a:defRPr lang="en-US"/>
            </a:defPPr>
            <a:lvl1pPr>
              <a:defRPr sz="9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INTERNATIONAL INSURANCE COMPANY </a:t>
            </a:r>
          </a:p>
        </p:txBody>
      </p:sp>
      <p:sp>
        <p:nvSpPr>
          <p:cNvPr id="202" name="Flowchart: Connector 121">
            <a:extLst>
              <a:ext uri="{FF2B5EF4-FFF2-40B4-BE49-F238E27FC236}">
                <a16:creationId xmlns:a16="http://schemas.microsoft.com/office/drawing/2014/main" id="{7D3078D8-E59C-B6FB-EF19-6FC84FFF05EC}"/>
              </a:ext>
            </a:extLst>
          </p:cNvPr>
          <p:cNvSpPr/>
          <p:nvPr/>
        </p:nvSpPr>
        <p:spPr bwMode="gray">
          <a:xfrm>
            <a:off x="7100528" y="156491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1" name="Group 531">
            <a:extLst>
              <a:ext uri="{FF2B5EF4-FFF2-40B4-BE49-F238E27FC236}">
                <a16:creationId xmlns:a16="http://schemas.microsoft.com/office/drawing/2014/main" id="{1F6AE038-CADC-C2F9-6D79-AFF8180F4732}"/>
              </a:ext>
            </a:extLst>
          </p:cNvPr>
          <p:cNvGrpSpPr>
            <a:grpSpLocks/>
          </p:cNvGrpSpPr>
          <p:nvPr/>
        </p:nvGrpSpPr>
        <p:grpSpPr bwMode="auto">
          <a:xfrm>
            <a:off x="7065007" y="1555327"/>
            <a:ext cx="450000" cy="450000"/>
            <a:chOff x="3061" y="1953"/>
            <a:chExt cx="340" cy="340"/>
          </a:xfrm>
          <a:solidFill>
            <a:srgbClr val="9DD4CF"/>
          </a:solidFill>
        </p:grpSpPr>
        <p:sp>
          <p:nvSpPr>
            <p:cNvPr id="132"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6" name="Rectangle: Rounded Corners 142">
            <a:extLst>
              <a:ext uri="{FF2B5EF4-FFF2-40B4-BE49-F238E27FC236}">
                <a16:creationId xmlns:a16="http://schemas.microsoft.com/office/drawing/2014/main" id="{EF5B7140-15FD-0460-4881-C713C8767A08}"/>
              </a:ext>
            </a:extLst>
          </p:cNvPr>
          <p:cNvSpPr/>
          <p:nvPr/>
        </p:nvSpPr>
        <p:spPr bwMode="gray">
          <a:xfrm>
            <a:off x="5774158" y="3339355"/>
            <a:ext cx="1560144"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a:latin typeface="Open Sans" panose="020B0606030504020204" pitchFamily="34" charset="0"/>
                <a:ea typeface="Open Sans" panose="020B0606030504020204" pitchFamily="34" charset="0"/>
                <a:cs typeface="Open Sans" panose="020B0606030504020204" pitchFamily="34" charset="0"/>
              </a:rPr>
              <a:t>6.1. </a:t>
            </a:r>
            <a:r>
              <a:rPr lang="en-US" sz="900" b="1">
                <a:latin typeface="Open Sans" panose="020B0606030504020204" pitchFamily="34" charset="0"/>
                <a:ea typeface="Open Sans" panose="020B0606030504020204" pitchFamily="34" charset="0"/>
                <a:cs typeface="Open Sans" panose="020B0606030504020204" pitchFamily="34" charset="0"/>
              </a:rPr>
              <a:t>STRATEGIC PLANNING</a:t>
            </a:r>
            <a:endParaRPr lang="en-US"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39" name="TextBox 144">
            <a:extLst>
              <a:ext uri="{FF2B5EF4-FFF2-40B4-BE49-F238E27FC236}">
                <a16:creationId xmlns:a16="http://schemas.microsoft.com/office/drawing/2014/main" id="{883D69FE-0988-760E-0D05-72A43C585874}"/>
              </a:ext>
            </a:extLst>
          </p:cNvPr>
          <p:cNvSpPr txBox="1"/>
          <p:nvPr/>
        </p:nvSpPr>
        <p:spPr>
          <a:xfrm>
            <a:off x="4792588" y="2493970"/>
            <a:ext cx="2621317"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Designed a more future-proof distribution strategy to increase sales efficiency, business results and to better fight organizational resistance</a:t>
            </a:r>
          </a:p>
        </p:txBody>
      </p:sp>
      <p:sp>
        <p:nvSpPr>
          <p:cNvPr id="140" name="TextBox 145">
            <a:extLst>
              <a:ext uri="{FF2B5EF4-FFF2-40B4-BE49-F238E27FC236}">
                <a16:creationId xmlns:a16="http://schemas.microsoft.com/office/drawing/2014/main" id="{9C653446-6E12-F57B-15F9-1D7879EFFEE6}"/>
              </a:ext>
            </a:extLst>
          </p:cNvPr>
          <p:cNvSpPr txBox="1"/>
          <p:nvPr/>
        </p:nvSpPr>
        <p:spPr>
          <a:xfrm>
            <a:off x="4792588" y="2210781"/>
            <a:ext cx="2713560" cy="246222"/>
          </a:xfrm>
          <a:prstGeom prst="rect">
            <a:avLst/>
          </a:prstGeom>
          <a:noFill/>
        </p:spPr>
        <p:txBody>
          <a:bodyPr wrap="square" lIns="0" tIns="0" rIns="0" bIns="0" rtlCol="0" anchor="t">
            <a:noAutofit/>
          </a:bodyPr>
          <a:lstStyle>
            <a:defPPr>
              <a:defRPr lang="en-US"/>
            </a:defPPr>
            <a:lvl1pPr>
              <a:defRPr sz="900" b="1">
                <a:solidFill>
                  <a:srgbClr val="00B0F2"/>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SALES STRATEGY DEVELOPMENT</a:t>
            </a:r>
          </a:p>
        </p:txBody>
      </p:sp>
      <p:sp>
        <p:nvSpPr>
          <p:cNvPr id="5" name="Rectangle 4">
            <a:extLst>
              <a:ext uri="{FF2B5EF4-FFF2-40B4-BE49-F238E27FC236}">
                <a16:creationId xmlns:a16="http://schemas.microsoft.com/office/drawing/2014/main" id="{23D5FFFB-7A41-86E3-5757-19AC57B1E822}"/>
              </a:ext>
            </a:extLst>
          </p:cNvPr>
          <p:cNvSpPr/>
          <p:nvPr/>
        </p:nvSpPr>
        <p:spPr bwMode="gray">
          <a:xfrm>
            <a:off x="307422" y="4418935"/>
            <a:ext cx="278440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0" name="Rectangle 19">
            <a:extLst>
              <a:ext uri="{FF2B5EF4-FFF2-40B4-BE49-F238E27FC236}">
                <a16:creationId xmlns:a16="http://schemas.microsoft.com/office/drawing/2014/main" id="{2CC0A158-507D-267E-DD0F-2359B3CCD69A}"/>
              </a:ext>
            </a:extLst>
          </p:cNvPr>
          <p:cNvSpPr/>
          <p:nvPr/>
        </p:nvSpPr>
        <p:spPr bwMode="gray">
          <a:xfrm>
            <a:off x="300284" y="3973762"/>
            <a:ext cx="278440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8" name="TextBox 7">
            <a:extLst>
              <a:ext uri="{FF2B5EF4-FFF2-40B4-BE49-F238E27FC236}">
                <a16:creationId xmlns:a16="http://schemas.microsoft.com/office/drawing/2014/main" id="{63282888-74DB-BEEA-8796-97E3A9B3F7BD}"/>
              </a:ext>
            </a:extLst>
          </p:cNvPr>
          <p:cNvSpPr txBox="1"/>
          <p:nvPr/>
        </p:nvSpPr>
        <p:spPr>
          <a:xfrm>
            <a:off x="455394" y="4109977"/>
            <a:ext cx="2193563" cy="149263"/>
          </a:xfrm>
          <a:prstGeom prst="rect">
            <a:avLst/>
          </a:prstGeom>
          <a:noFill/>
        </p:spPr>
        <p:txBody>
          <a:bodyPr wrap="square" lIns="0" tIns="0" rIns="0" bIns="0" rtlCol="0" anchor="t">
            <a:noAutofit/>
          </a:bodyPr>
          <a:lstStyle>
            <a:defPPr>
              <a:defRPr lang="en-US"/>
            </a:defPPr>
            <a:lvl1pPr>
              <a:defRPr sz="9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LEADING BANK IN BULGARIA</a:t>
            </a:r>
          </a:p>
        </p:txBody>
      </p:sp>
      <p:sp>
        <p:nvSpPr>
          <p:cNvPr id="44" name="Flowchart: Connector 43">
            <a:extLst>
              <a:ext uri="{FF2B5EF4-FFF2-40B4-BE49-F238E27FC236}">
                <a16:creationId xmlns:a16="http://schemas.microsoft.com/office/drawing/2014/main" id="{A08E6A24-E3E1-2E18-5302-29E195DBCB15}"/>
              </a:ext>
            </a:extLst>
          </p:cNvPr>
          <p:cNvSpPr/>
          <p:nvPr/>
        </p:nvSpPr>
        <p:spPr bwMode="gray">
          <a:xfrm>
            <a:off x="2701505" y="3973762"/>
            <a:ext cx="381448"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3" name="Group 531">
            <a:extLst>
              <a:ext uri="{FF2B5EF4-FFF2-40B4-BE49-F238E27FC236}">
                <a16:creationId xmlns:a16="http://schemas.microsoft.com/office/drawing/2014/main" id="{A3EDCFE8-7889-17DF-6591-6A851EF283FC}"/>
              </a:ext>
            </a:extLst>
          </p:cNvPr>
          <p:cNvGrpSpPr>
            <a:grpSpLocks/>
          </p:cNvGrpSpPr>
          <p:nvPr/>
        </p:nvGrpSpPr>
        <p:grpSpPr bwMode="auto">
          <a:xfrm>
            <a:off x="2666176" y="3959608"/>
            <a:ext cx="450000" cy="450000"/>
            <a:chOff x="3061" y="1953"/>
            <a:chExt cx="340" cy="340"/>
          </a:xfrm>
          <a:solidFill>
            <a:srgbClr val="9DD4CF"/>
          </a:solidFill>
        </p:grpSpPr>
        <p:sp>
          <p:nvSpPr>
            <p:cNvPr id="4"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Rectangle: Rounded Corners 17">
            <a:extLst>
              <a:ext uri="{FF2B5EF4-FFF2-40B4-BE49-F238E27FC236}">
                <a16:creationId xmlns:a16="http://schemas.microsoft.com/office/drawing/2014/main" id="{5FBED754-A311-3D18-C57B-0CD5A35A1707}"/>
              </a:ext>
            </a:extLst>
          </p:cNvPr>
          <p:cNvSpPr/>
          <p:nvPr/>
        </p:nvSpPr>
        <p:spPr bwMode="gray">
          <a:xfrm>
            <a:off x="1390946" y="5748199"/>
            <a:ext cx="1541547"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dirty="0">
                <a:latin typeface="Open Sans" panose="020B0606030504020204" pitchFamily="34" charset="0"/>
                <a:ea typeface="Open Sans" panose="020B0606030504020204" pitchFamily="34" charset="0"/>
                <a:cs typeface="Open Sans" panose="020B0606030504020204" pitchFamily="34" charset="0"/>
              </a:rPr>
              <a:t>6.1. </a:t>
            </a:r>
            <a:r>
              <a:rPr lang="en-US" sz="900" b="1" dirty="0">
                <a:latin typeface="Open Sans" panose="020B0606030504020204" pitchFamily="34" charset="0"/>
                <a:ea typeface="Open Sans" panose="020B0606030504020204" pitchFamily="34" charset="0"/>
                <a:cs typeface="Open Sans" panose="020B0606030504020204" pitchFamily="34" charset="0"/>
              </a:rPr>
              <a:t>STRATEGIC PLANNING</a:t>
            </a:r>
          </a:p>
        </p:txBody>
      </p:sp>
      <p:sp>
        <p:nvSpPr>
          <p:cNvPr id="129" name="TextBox 128">
            <a:extLst>
              <a:ext uri="{FF2B5EF4-FFF2-40B4-BE49-F238E27FC236}">
                <a16:creationId xmlns:a16="http://schemas.microsoft.com/office/drawing/2014/main" id="{7D51D67F-A064-D48F-02D5-A2115A22C22D}"/>
              </a:ext>
            </a:extLst>
          </p:cNvPr>
          <p:cNvSpPr txBox="1"/>
          <p:nvPr/>
        </p:nvSpPr>
        <p:spPr>
          <a:xfrm>
            <a:off x="447476" y="4993102"/>
            <a:ext cx="2481846"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The client bank was merging with another bank. The client needed to revise its segmentation criteria, re-define customer segments for the merged bank and create a service model strategy for each new segment.  </a:t>
            </a:r>
          </a:p>
          <a:p>
            <a:pPr>
              <a:spcAft>
                <a:spcPts val="300"/>
              </a:spcAft>
            </a:pPr>
            <a:endParaRPr lang="en-US" sz="900"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D21B3168-0BF6-290F-DD93-E590EACE2EA1}"/>
              </a:ext>
            </a:extLst>
          </p:cNvPr>
          <p:cNvSpPr txBox="1"/>
          <p:nvPr/>
        </p:nvSpPr>
        <p:spPr>
          <a:xfrm>
            <a:off x="447475" y="4624188"/>
            <a:ext cx="2681215" cy="246222"/>
          </a:xfrm>
          <a:prstGeom prst="rect">
            <a:avLst/>
          </a:prstGeom>
          <a:noFill/>
        </p:spPr>
        <p:txBody>
          <a:bodyPr wrap="square" lIns="0" tIns="0" rIns="0" bIns="0" rtlCol="0" anchor="t">
            <a:noAutofit/>
          </a:bodyPr>
          <a:lstStyle>
            <a:defPPr>
              <a:defRPr lang="en-US"/>
            </a:defPPr>
            <a:lvl1pPr>
              <a:defRPr sz="900" b="1">
                <a:solidFill>
                  <a:srgbClr val="00B0F2"/>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USTOMER SEGMENTATION, SALES AND SERVICE MODEL STRATEGY </a:t>
            </a:r>
          </a:p>
        </p:txBody>
      </p:sp>
      <p:sp>
        <p:nvSpPr>
          <p:cNvPr id="177" name="Rectangle 176">
            <a:extLst>
              <a:ext uri="{FF2B5EF4-FFF2-40B4-BE49-F238E27FC236}">
                <a16:creationId xmlns:a16="http://schemas.microsoft.com/office/drawing/2014/main" id="{9C5C4AF6-D554-A9B6-6DAA-8CD5DDB69248}"/>
              </a:ext>
            </a:extLst>
          </p:cNvPr>
          <p:cNvSpPr/>
          <p:nvPr/>
        </p:nvSpPr>
        <p:spPr bwMode="gray">
          <a:xfrm>
            <a:off x="6141141" y="4418935"/>
            <a:ext cx="2791604"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8" name="Rectangle 177">
            <a:extLst>
              <a:ext uri="{FF2B5EF4-FFF2-40B4-BE49-F238E27FC236}">
                <a16:creationId xmlns:a16="http://schemas.microsoft.com/office/drawing/2014/main" id="{B4C022AC-E05C-58B4-20E8-4BFAF8CB8531}"/>
              </a:ext>
            </a:extLst>
          </p:cNvPr>
          <p:cNvSpPr/>
          <p:nvPr/>
        </p:nvSpPr>
        <p:spPr bwMode="gray">
          <a:xfrm>
            <a:off x="6133985" y="3973762"/>
            <a:ext cx="2791604"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9" name="TextBox 178">
            <a:extLst>
              <a:ext uri="{FF2B5EF4-FFF2-40B4-BE49-F238E27FC236}">
                <a16:creationId xmlns:a16="http://schemas.microsoft.com/office/drawing/2014/main" id="{D84CF974-E33C-3D3E-31AE-70E6D82CDD9C}"/>
              </a:ext>
            </a:extLst>
          </p:cNvPr>
          <p:cNvSpPr txBox="1"/>
          <p:nvPr/>
        </p:nvSpPr>
        <p:spPr>
          <a:xfrm>
            <a:off x="6263029" y="4110739"/>
            <a:ext cx="2199231" cy="147739"/>
          </a:xfrm>
          <a:prstGeom prst="rect">
            <a:avLst/>
          </a:prstGeom>
          <a:noFill/>
        </p:spPr>
        <p:txBody>
          <a:bodyPr wrap="square" lIns="0" tIns="0" rIns="0" bIns="0" rtlCol="0" anchor="t">
            <a:noAutofit/>
          </a:bodyPr>
          <a:lstStyle>
            <a:defPPr>
              <a:defRPr lang="en-US"/>
            </a:defPPr>
            <a:lvl1pPr>
              <a:defRPr sz="9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DOMESTIC CLEARING HOUSE </a:t>
            </a:r>
          </a:p>
        </p:txBody>
      </p:sp>
      <p:sp>
        <p:nvSpPr>
          <p:cNvPr id="180" name="Flowchart: Connector 179">
            <a:extLst>
              <a:ext uri="{FF2B5EF4-FFF2-40B4-BE49-F238E27FC236}">
                <a16:creationId xmlns:a16="http://schemas.microsoft.com/office/drawing/2014/main" id="{F17E2F9D-B5C2-86DE-DEC6-A3A5E5E6695D}"/>
              </a:ext>
            </a:extLst>
          </p:cNvPr>
          <p:cNvSpPr/>
          <p:nvPr/>
        </p:nvSpPr>
        <p:spPr bwMode="gray">
          <a:xfrm>
            <a:off x="8541411" y="3973762"/>
            <a:ext cx="382434"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2" name="Rectangle: Rounded Corners 181">
            <a:extLst>
              <a:ext uri="{FF2B5EF4-FFF2-40B4-BE49-F238E27FC236}">
                <a16:creationId xmlns:a16="http://schemas.microsoft.com/office/drawing/2014/main" id="{EF4FEBC4-5D7A-CB1B-588E-3B0D417A3DBB}"/>
              </a:ext>
            </a:extLst>
          </p:cNvPr>
          <p:cNvSpPr/>
          <p:nvPr/>
        </p:nvSpPr>
        <p:spPr bwMode="gray">
          <a:xfrm>
            <a:off x="6868160" y="5791582"/>
            <a:ext cx="1904837"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3. INNOVATION &amp; IT STRATEGY</a:t>
            </a:r>
          </a:p>
        </p:txBody>
      </p:sp>
      <p:sp>
        <p:nvSpPr>
          <p:cNvPr id="184" name="TextBox 183">
            <a:extLst>
              <a:ext uri="{FF2B5EF4-FFF2-40B4-BE49-F238E27FC236}">
                <a16:creationId xmlns:a16="http://schemas.microsoft.com/office/drawing/2014/main" id="{61027E31-F5C0-5145-59D9-67AB5008D491}"/>
              </a:ext>
            </a:extLst>
          </p:cNvPr>
          <p:cNvSpPr txBox="1"/>
          <p:nvPr/>
        </p:nvSpPr>
        <p:spPr>
          <a:xfrm>
            <a:off x="6272733" y="4993102"/>
            <a:ext cx="2481846"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The client asked Deloitte to manage supplier selection process, to support the preparation of the </a:t>
            </a:r>
            <a:r>
              <a:rPr lang="en-US" sz="900" dirty="0" err="1">
                <a:latin typeface="Open Sans" panose="020B0606030504020204" pitchFamily="34" charset="0"/>
                <a:ea typeface="Open Sans" panose="020B0606030504020204" pitchFamily="34" charset="0"/>
                <a:cs typeface="Open Sans" panose="020B0606030504020204" pitchFamily="34" charset="0"/>
              </a:rPr>
              <a:t>RfP</a:t>
            </a:r>
            <a:r>
              <a:rPr lang="en-US" sz="900" dirty="0">
                <a:latin typeface="Open Sans" panose="020B0606030504020204" pitchFamily="34" charset="0"/>
                <a:ea typeface="Open Sans" panose="020B0606030504020204" pitchFamily="34" charset="0"/>
                <a:cs typeface="Open Sans" panose="020B0606030504020204" pitchFamily="34" charset="0"/>
              </a:rPr>
              <a:t> and the evaluation of the offers</a:t>
            </a:r>
          </a:p>
        </p:txBody>
      </p:sp>
      <p:sp>
        <p:nvSpPr>
          <p:cNvPr id="185" name="TextBox 184">
            <a:extLst>
              <a:ext uri="{FF2B5EF4-FFF2-40B4-BE49-F238E27FC236}">
                <a16:creationId xmlns:a16="http://schemas.microsoft.com/office/drawing/2014/main" id="{DB5DBAE5-F587-03D9-60B5-FC50DEF1E19E}"/>
              </a:ext>
            </a:extLst>
          </p:cNvPr>
          <p:cNvSpPr txBox="1"/>
          <p:nvPr/>
        </p:nvSpPr>
        <p:spPr>
          <a:xfrm>
            <a:off x="6272734" y="4624188"/>
            <a:ext cx="2688143" cy="246222"/>
          </a:xfrm>
          <a:prstGeom prst="rect">
            <a:avLst/>
          </a:prstGeom>
          <a:noFill/>
        </p:spPr>
        <p:txBody>
          <a:bodyPr wrap="square" lIns="0" tIns="0" rIns="0" bIns="0" rtlCol="0" anchor="t">
            <a:noAutofit/>
          </a:bodyPr>
          <a:lstStyle>
            <a:defPPr>
              <a:defRPr lang="en-US"/>
            </a:defPPr>
            <a:lvl1pPr>
              <a:defRPr sz="900" b="1">
                <a:solidFill>
                  <a:srgbClr val="00B0F2"/>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STRATEGIC IT VENDOR SELECTION SUPPORT</a:t>
            </a:r>
          </a:p>
        </p:txBody>
      </p:sp>
      <p:sp>
        <p:nvSpPr>
          <p:cNvPr id="119" name="Freeform 787">
            <a:extLst>
              <a:ext uri="{FF2B5EF4-FFF2-40B4-BE49-F238E27FC236}">
                <a16:creationId xmlns:a16="http://schemas.microsoft.com/office/drawing/2014/main" id="{EC37AA83-FED1-8BEE-3FDC-E447523C38A9}"/>
              </a:ext>
            </a:extLst>
          </p:cNvPr>
          <p:cNvSpPr>
            <a:spLocks noEditPoints="1"/>
          </p:cNvSpPr>
          <p:nvPr/>
        </p:nvSpPr>
        <p:spPr bwMode="auto">
          <a:xfrm>
            <a:off x="8521442" y="3959608"/>
            <a:ext cx="450000" cy="450000"/>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2" name="Rectangle 191">
            <a:extLst>
              <a:ext uri="{FF2B5EF4-FFF2-40B4-BE49-F238E27FC236}">
                <a16:creationId xmlns:a16="http://schemas.microsoft.com/office/drawing/2014/main" id="{2A05AA23-5FF1-2A33-4CE6-24837DC2AA96}"/>
              </a:ext>
            </a:extLst>
          </p:cNvPr>
          <p:cNvSpPr/>
          <p:nvPr/>
        </p:nvSpPr>
        <p:spPr bwMode="gray">
          <a:xfrm>
            <a:off x="9060983" y="4418935"/>
            <a:ext cx="2792106"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3" name="Rectangle 192">
            <a:extLst>
              <a:ext uri="{FF2B5EF4-FFF2-40B4-BE49-F238E27FC236}">
                <a16:creationId xmlns:a16="http://schemas.microsoft.com/office/drawing/2014/main" id="{98E846DD-C12A-D3B2-9F84-AB179578CA56}"/>
              </a:ext>
            </a:extLst>
          </p:cNvPr>
          <p:cNvSpPr/>
          <p:nvPr/>
        </p:nvSpPr>
        <p:spPr bwMode="gray">
          <a:xfrm>
            <a:off x="9053825" y="3973762"/>
            <a:ext cx="2792106"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4" name="TextBox 193">
            <a:extLst>
              <a:ext uri="{FF2B5EF4-FFF2-40B4-BE49-F238E27FC236}">
                <a16:creationId xmlns:a16="http://schemas.microsoft.com/office/drawing/2014/main" id="{7C8711B0-6613-5BFE-B7E2-028ACB12F17E}"/>
              </a:ext>
            </a:extLst>
          </p:cNvPr>
          <p:cNvSpPr txBox="1"/>
          <p:nvPr/>
        </p:nvSpPr>
        <p:spPr>
          <a:xfrm>
            <a:off x="9182892" y="4110739"/>
            <a:ext cx="2199627" cy="147739"/>
          </a:xfrm>
          <a:prstGeom prst="rect">
            <a:avLst/>
          </a:prstGeom>
          <a:noFill/>
        </p:spPr>
        <p:txBody>
          <a:bodyPr wrap="square" lIns="0" tIns="0" rIns="0" bIns="0" rtlCol="0" anchor="t">
            <a:noAutofit/>
          </a:bodyPr>
          <a:lstStyle>
            <a:defPPr>
              <a:defRPr lang="en-US"/>
            </a:defPPr>
            <a:lvl1pPr>
              <a:defRPr sz="9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RETAIL BANK IN HUNGARY</a:t>
            </a:r>
          </a:p>
        </p:txBody>
      </p:sp>
      <p:sp>
        <p:nvSpPr>
          <p:cNvPr id="195" name="Flowchart: Connector 194">
            <a:extLst>
              <a:ext uri="{FF2B5EF4-FFF2-40B4-BE49-F238E27FC236}">
                <a16:creationId xmlns:a16="http://schemas.microsoft.com/office/drawing/2014/main" id="{EAF092BA-60DE-497C-3215-A9E33B35D59E}"/>
              </a:ext>
            </a:extLst>
          </p:cNvPr>
          <p:cNvSpPr/>
          <p:nvPr/>
        </p:nvSpPr>
        <p:spPr bwMode="gray">
          <a:xfrm>
            <a:off x="11461684" y="3973762"/>
            <a:ext cx="382502"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7" name="Rectangle: Rounded Corners 196">
            <a:extLst>
              <a:ext uri="{FF2B5EF4-FFF2-40B4-BE49-F238E27FC236}">
                <a16:creationId xmlns:a16="http://schemas.microsoft.com/office/drawing/2014/main" id="{1011736E-81B9-85C7-0849-449A5D83E4E5}"/>
              </a:ext>
            </a:extLst>
          </p:cNvPr>
          <p:cNvSpPr/>
          <p:nvPr/>
        </p:nvSpPr>
        <p:spPr bwMode="gray">
          <a:xfrm>
            <a:off x="10147503" y="5754528"/>
            <a:ext cx="1545809"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a:latin typeface="Open Sans" panose="020B0606030504020204" pitchFamily="34" charset="0"/>
                <a:ea typeface="Open Sans" panose="020B0606030504020204" pitchFamily="34" charset="0"/>
                <a:cs typeface="Open Sans" panose="020B0606030504020204" pitchFamily="34" charset="0"/>
              </a:rPr>
              <a:t>6.1. </a:t>
            </a:r>
            <a:r>
              <a:rPr lang="en-US" sz="900" b="1">
                <a:latin typeface="Open Sans" panose="020B0606030504020204" pitchFamily="34" charset="0"/>
                <a:ea typeface="Open Sans" panose="020B0606030504020204" pitchFamily="34" charset="0"/>
                <a:cs typeface="Open Sans" panose="020B0606030504020204" pitchFamily="34" charset="0"/>
              </a:rPr>
              <a:t>STRATEGIC PLANNING</a:t>
            </a:r>
            <a:endParaRPr lang="en-US"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9" name="TextBox 198">
            <a:extLst>
              <a:ext uri="{FF2B5EF4-FFF2-40B4-BE49-F238E27FC236}">
                <a16:creationId xmlns:a16="http://schemas.microsoft.com/office/drawing/2014/main" id="{F3EA7091-0A4E-47EF-68A1-BC1100D33803}"/>
              </a:ext>
            </a:extLst>
          </p:cNvPr>
          <p:cNvSpPr txBox="1"/>
          <p:nvPr/>
        </p:nvSpPr>
        <p:spPr>
          <a:xfrm>
            <a:off x="9192599" y="4993102"/>
            <a:ext cx="2481846"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The client’s ambition was to increase its mortgage market share in Hungary. In order to realize that ambition, the bank decided to improve its mortgage customer journey and digitize some parts of it.</a:t>
            </a:r>
          </a:p>
        </p:txBody>
      </p:sp>
      <p:sp>
        <p:nvSpPr>
          <p:cNvPr id="200" name="TextBox 199">
            <a:extLst>
              <a:ext uri="{FF2B5EF4-FFF2-40B4-BE49-F238E27FC236}">
                <a16:creationId xmlns:a16="http://schemas.microsoft.com/office/drawing/2014/main" id="{85BBEE04-C2C0-8272-06B2-7A479286AD3D}"/>
              </a:ext>
            </a:extLst>
          </p:cNvPr>
          <p:cNvSpPr txBox="1"/>
          <p:nvPr/>
        </p:nvSpPr>
        <p:spPr>
          <a:xfrm>
            <a:off x="9192599" y="4624188"/>
            <a:ext cx="2352274" cy="246222"/>
          </a:xfrm>
          <a:prstGeom prst="rect">
            <a:avLst/>
          </a:prstGeom>
          <a:noFill/>
        </p:spPr>
        <p:txBody>
          <a:bodyPr wrap="square" lIns="0" tIns="0" rIns="0" bIns="0" rtlCol="0" anchor="t">
            <a:noAutofit/>
          </a:bodyPr>
          <a:lstStyle>
            <a:defPPr>
              <a:defRPr lang="en-US"/>
            </a:defPPr>
            <a:lvl1pPr>
              <a:defRPr sz="900" b="1">
                <a:solidFill>
                  <a:srgbClr val="00B0F2"/>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MORTGAGE CUSTOMER JOURNEY DIGITIZATION IN AGILE </a:t>
            </a:r>
          </a:p>
        </p:txBody>
      </p:sp>
      <p:sp>
        <p:nvSpPr>
          <p:cNvPr id="201" name="Freeform 787">
            <a:extLst>
              <a:ext uri="{FF2B5EF4-FFF2-40B4-BE49-F238E27FC236}">
                <a16:creationId xmlns:a16="http://schemas.microsoft.com/office/drawing/2014/main" id="{06BFBE47-44CE-E701-D0CD-601AC169CDEE}"/>
              </a:ext>
            </a:extLst>
          </p:cNvPr>
          <p:cNvSpPr>
            <a:spLocks noEditPoints="1"/>
          </p:cNvSpPr>
          <p:nvPr/>
        </p:nvSpPr>
        <p:spPr bwMode="auto">
          <a:xfrm>
            <a:off x="11441716" y="3959608"/>
            <a:ext cx="450000" cy="450000"/>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F04209B2-C5D9-2744-2356-11AD4ECAA6C6}"/>
              </a:ext>
            </a:extLst>
          </p:cNvPr>
          <p:cNvSpPr/>
          <p:nvPr/>
        </p:nvSpPr>
        <p:spPr bwMode="gray">
          <a:xfrm>
            <a:off x="3218285" y="4418935"/>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22">
            <a:extLst>
              <a:ext uri="{FF2B5EF4-FFF2-40B4-BE49-F238E27FC236}">
                <a16:creationId xmlns:a16="http://schemas.microsoft.com/office/drawing/2014/main" id="{C866E1D6-701A-25A9-C90A-759C2D45A776}"/>
              </a:ext>
            </a:extLst>
          </p:cNvPr>
          <p:cNvSpPr/>
          <p:nvPr/>
        </p:nvSpPr>
        <p:spPr bwMode="gray">
          <a:xfrm>
            <a:off x="3211072" y="3973762"/>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2B8BC988-71E7-F936-812F-FB8C44154649}"/>
              </a:ext>
            </a:extLst>
          </p:cNvPr>
          <p:cNvSpPr txBox="1"/>
          <p:nvPr/>
        </p:nvSpPr>
        <p:spPr>
          <a:xfrm>
            <a:off x="3341144" y="4110739"/>
            <a:ext cx="2216759" cy="147739"/>
          </a:xfrm>
          <a:prstGeom prst="rect">
            <a:avLst/>
          </a:prstGeom>
          <a:noFill/>
        </p:spPr>
        <p:txBody>
          <a:bodyPr wrap="square" lIns="0" tIns="0" rIns="0" bIns="0" rtlCol="0" anchor="t">
            <a:noAutofit/>
          </a:bodyPr>
          <a:lstStyle>
            <a:defPPr>
              <a:defRPr lang="en-US"/>
            </a:defPPr>
            <a:lvl1pPr>
              <a:defRPr sz="9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HUNGARIAN LEADING BANK</a:t>
            </a:r>
          </a:p>
        </p:txBody>
      </p:sp>
      <p:sp>
        <p:nvSpPr>
          <p:cNvPr id="25" name="Flowchart: Connector 24">
            <a:extLst>
              <a:ext uri="{FF2B5EF4-FFF2-40B4-BE49-F238E27FC236}">
                <a16:creationId xmlns:a16="http://schemas.microsoft.com/office/drawing/2014/main" id="{94A878D3-C1AF-238F-B24A-48CC5B6F7730}"/>
              </a:ext>
            </a:extLst>
          </p:cNvPr>
          <p:cNvSpPr/>
          <p:nvPr/>
        </p:nvSpPr>
        <p:spPr bwMode="gray">
          <a:xfrm>
            <a:off x="5637685" y="3973762"/>
            <a:ext cx="385482"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Rounded Corners 42">
            <a:extLst>
              <a:ext uri="{FF2B5EF4-FFF2-40B4-BE49-F238E27FC236}">
                <a16:creationId xmlns:a16="http://schemas.microsoft.com/office/drawing/2014/main" id="{EDC33AB5-C26F-D271-48A1-FA69B3B1489E}"/>
              </a:ext>
            </a:extLst>
          </p:cNvPr>
          <p:cNvSpPr/>
          <p:nvPr/>
        </p:nvSpPr>
        <p:spPr bwMode="gray">
          <a:xfrm>
            <a:off x="4313268" y="5761507"/>
            <a:ext cx="1557848"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hu-HU" sz="900" b="1">
                <a:latin typeface="Open Sans" panose="020B0606030504020204" pitchFamily="34" charset="0"/>
                <a:ea typeface="Open Sans" panose="020B0606030504020204" pitchFamily="34" charset="0"/>
                <a:cs typeface="Open Sans" panose="020B0606030504020204" pitchFamily="34" charset="0"/>
              </a:rPr>
              <a:t>6.1. </a:t>
            </a:r>
            <a:r>
              <a:rPr lang="en-US" sz="900" b="1">
                <a:latin typeface="Open Sans" panose="020B0606030504020204" pitchFamily="34" charset="0"/>
                <a:ea typeface="Open Sans" panose="020B0606030504020204" pitchFamily="34" charset="0"/>
                <a:cs typeface="Open Sans" panose="020B0606030504020204" pitchFamily="34" charset="0"/>
              </a:rPr>
              <a:t>STRATEGIC PLANNING</a:t>
            </a:r>
            <a:endParaRPr lang="en-US"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C23B9572-BAE7-AB69-BB88-43DE55E10D55}"/>
              </a:ext>
            </a:extLst>
          </p:cNvPr>
          <p:cNvSpPr txBox="1"/>
          <p:nvPr/>
        </p:nvSpPr>
        <p:spPr>
          <a:xfrm>
            <a:off x="3342034" y="4993102"/>
            <a:ext cx="2481846"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During a 3-party merger, the client requested our support in developing the back-office strategy of the integrated entity</a:t>
            </a:r>
          </a:p>
        </p:txBody>
      </p:sp>
      <p:sp>
        <p:nvSpPr>
          <p:cNvPr id="28" name="TextBox 27">
            <a:extLst>
              <a:ext uri="{FF2B5EF4-FFF2-40B4-BE49-F238E27FC236}">
                <a16:creationId xmlns:a16="http://schemas.microsoft.com/office/drawing/2014/main" id="{3AE2A7E2-6B74-8AC7-CF33-7EFFB0BEF48B}"/>
              </a:ext>
            </a:extLst>
          </p:cNvPr>
          <p:cNvSpPr txBox="1"/>
          <p:nvPr/>
        </p:nvSpPr>
        <p:spPr>
          <a:xfrm>
            <a:off x="3342035" y="4624188"/>
            <a:ext cx="2709568" cy="246222"/>
          </a:xfrm>
          <a:prstGeom prst="rect">
            <a:avLst/>
          </a:prstGeom>
          <a:noFill/>
        </p:spPr>
        <p:txBody>
          <a:bodyPr wrap="square" lIns="0" tIns="0" rIns="0" bIns="0" rtlCol="0" anchor="t">
            <a:noAutofit/>
          </a:bodyPr>
          <a:lstStyle>
            <a:defPPr>
              <a:defRPr lang="en-US"/>
            </a:defPPr>
            <a:lvl1pPr>
              <a:defRPr sz="900" b="1">
                <a:solidFill>
                  <a:srgbClr val="00B0F2"/>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BACK-OFFICE STRATEGY, REPORTING, AND PROCESS IMPROVEMENT</a:t>
            </a:r>
          </a:p>
        </p:txBody>
      </p:sp>
      <p:grpSp>
        <p:nvGrpSpPr>
          <p:cNvPr id="29" name="Group 28">
            <a:extLst>
              <a:ext uri="{FF2B5EF4-FFF2-40B4-BE49-F238E27FC236}">
                <a16:creationId xmlns:a16="http://schemas.microsoft.com/office/drawing/2014/main" id="{827039FA-2175-F0DC-5A28-F3DDC7D24D61}"/>
              </a:ext>
            </a:extLst>
          </p:cNvPr>
          <p:cNvGrpSpPr>
            <a:grpSpLocks/>
          </p:cNvGrpSpPr>
          <p:nvPr/>
        </p:nvGrpSpPr>
        <p:grpSpPr>
          <a:xfrm>
            <a:off x="5596284" y="3959622"/>
            <a:ext cx="450000" cy="450001"/>
            <a:chOff x="7366067" y="6713969"/>
            <a:chExt cx="492328" cy="493776"/>
          </a:xfrm>
        </p:grpSpPr>
        <p:sp>
          <p:nvSpPr>
            <p:cNvPr id="38" name="Flowchart: Connector 37">
              <a:extLst>
                <a:ext uri="{FF2B5EF4-FFF2-40B4-BE49-F238E27FC236}">
                  <a16:creationId xmlns:a16="http://schemas.microsoft.com/office/drawing/2014/main" id="{88C891BE-42F7-CBB5-E5B9-17FD04FE7B61}"/>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850">
              <a:extLst>
                <a:ext uri="{FF2B5EF4-FFF2-40B4-BE49-F238E27FC236}">
                  <a16:creationId xmlns:a16="http://schemas.microsoft.com/office/drawing/2014/main" id="{5EBFF622-359B-80EC-00E7-4234F8AFFF99}"/>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160798306"/>
      </p:ext>
    </p:extLst>
  </p:cSld>
  <p:clrMapOvr>
    <a:masterClrMapping/>
  </p:clrMapOvr>
  <p:transition>
    <p:fade/>
  </p:transition>
  <p:extLst>
    <p:ext uri="{6950BFC3-D8DA-4A85-94F7-54DA5524770B}">
      <p188:commentRel xmlns:p188="http://schemas.microsoft.com/office/powerpoint/2018/8/main" r:id="rId4"/>
    </p:ext>
  </p:extLs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2399432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hu-HU" dirty="0">
                <a:latin typeface="Open Sans" panose="020B0606030504020204" pitchFamily="34" charset="0"/>
                <a:ea typeface="Open Sans" panose="020B0606030504020204" pitchFamily="34" charset="0"/>
                <a:cs typeface="Open Sans" panose="020B0606030504020204" pitchFamily="34" charset="0"/>
              </a:rPr>
              <a:t>IT </a:t>
            </a:r>
            <a:r>
              <a:rPr lang="en-US" dirty="0">
                <a:latin typeface="Open Sans" panose="020B0606030504020204" pitchFamily="34" charset="0"/>
                <a:ea typeface="Open Sans" panose="020B0606030504020204" pitchFamily="34" charset="0"/>
                <a:cs typeface="Open Sans" panose="020B0606030504020204" pitchFamily="34" charset="0"/>
              </a:rPr>
              <a:t>Strategy Credential Tombstones</a:t>
            </a:r>
          </a:p>
        </p:txBody>
      </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We have a broad portfolio of relevant credentials in the field of </a:t>
            </a:r>
            <a:r>
              <a:rPr lang="hu-HU"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IT </a:t>
            </a: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Strategy</a:t>
            </a:r>
          </a:p>
        </p:txBody>
      </p:sp>
      <p:sp>
        <p:nvSpPr>
          <p:cNvPr id="187" name="Rectangle 160">
            <a:extLst>
              <a:ext uri="{FF2B5EF4-FFF2-40B4-BE49-F238E27FC236}">
                <a16:creationId xmlns:a16="http://schemas.microsoft.com/office/drawing/2014/main" id="{188F9994-5227-1AF7-B863-35AB42AF2865}"/>
              </a:ext>
            </a:extLst>
          </p:cNvPr>
          <p:cNvSpPr/>
          <p:nvPr/>
        </p:nvSpPr>
        <p:spPr bwMode="gray">
          <a:xfrm>
            <a:off x="277947" y="2019682"/>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9" name="Rectangle 161">
            <a:extLst>
              <a:ext uri="{FF2B5EF4-FFF2-40B4-BE49-F238E27FC236}">
                <a16:creationId xmlns:a16="http://schemas.microsoft.com/office/drawing/2014/main" id="{3567DDAE-BD14-2D38-5110-561C65945373}"/>
              </a:ext>
            </a:extLst>
          </p:cNvPr>
          <p:cNvSpPr/>
          <p:nvPr/>
        </p:nvSpPr>
        <p:spPr bwMode="gray">
          <a:xfrm>
            <a:off x="270734" y="1569481"/>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0" name="TextBox 162">
            <a:extLst>
              <a:ext uri="{FF2B5EF4-FFF2-40B4-BE49-F238E27FC236}">
                <a16:creationId xmlns:a16="http://schemas.microsoft.com/office/drawing/2014/main" id="{757556D0-82C4-571F-7019-F245A0C20034}"/>
              </a:ext>
            </a:extLst>
          </p:cNvPr>
          <p:cNvSpPr txBox="1"/>
          <p:nvPr/>
        </p:nvSpPr>
        <p:spPr>
          <a:xfrm>
            <a:off x="400806" y="1706458"/>
            <a:ext cx="2216759" cy="147739"/>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ZERENCSEJÁTÉK ZRT,</a:t>
            </a:r>
          </a:p>
        </p:txBody>
      </p:sp>
      <p:sp>
        <p:nvSpPr>
          <p:cNvPr id="205" name="Rectangle: Rounded Corners 168">
            <a:extLst>
              <a:ext uri="{FF2B5EF4-FFF2-40B4-BE49-F238E27FC236}">
                <a16:creationId xmlns:a16="http://schemas.microsoft.com/office/drawing/2014/main" id="{B9510B86-02F5-E550-4EA2-8C825D733FF7}"/>
              </a:ext>
            </a:extLst>
          </p:cNvPr>
          <p:cNvSpPr/>
          <p:nvPr/>
        </p:nvSpPr>
        <p:spPr bwMode="gray">
          <a:xfrm>
            <a:off x="1372930" y="3348946"/>
            <a:ext cx="1699286"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IT strategy</a:t>
            </a:r>
          </a:p>
        </p:txBody>
      </p:sp>
      <p:sp>
        <p:nvSpPr>
          <p:cNvPr id="208" name="TextBox 170">
            <a:extLst>
              <a:ext uri="{FF2B5EF4-FFF2-40B4-BE49-F238E27FC236}">
                <a16:creationId xmlns:a16="http://schemas.microsoft.com/office/drawing/2014/main" id="{721D9BC5-87A7-1A57-DB42-619A9F8D967F}"/>
              </a:ext>
            </a:extLst>
          </p:cNvPr>
          <p:cNvSpPr txBox="1"/>
          <p:nvPr/>
        </p:nvSpPr>
        <p:spPr>
          <a:xfrm>
            <a:off x="401697" y="2387657"/>
            <a:ext cx="2529081" cy="680008"/>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Our client is a well-capitalized, successful company with a significant domestic market share. The main focal points of the IT strategy creation were the review of the IT organization and operating model, in addition, special attention had to be paid to alternatives for reducing supplier dependency.</a:t>
            </a:r>
          </a:p>
        </p:txBody>
      </p:sp>
      <p:sp>
        <p:nvSpPr>
          <p:cNvPr id="51" name="TextBox 171">
            <a:extLst>
              <a:ext uri="{FF2B5EF4-FFF2-40B4-BE49-F238E27FC236}">
                <a16:creationId xmlns:a16="http://schemas.microsoft.com/office/drawing/2014/main" id="{27A02338-5481-10EB-2D56-5C27F9FE461C}"/>
              </a:ext>
            </a:extLst>
          </p:cNvPr>
          <p:cNvSpPr txBox="1"/>
          <p:nvPr/>
        </p:nvSpPr>
        <p:spPr>
          <a:xfrm>
            <a:off x="401697" y="2134265"/>
            <a:ext cx="2529081"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IT STRATEGY</a:t>
            </a:r>
          </a:p>
        </p:txBody>
      </p:sp>
      <p:grpSp>
        <p:nvGrpSpPr>
          <p:cNvPr id="128" name="Group 172">
            <a:extLst>
              <a:ext uri="{FF2B5EF4-FFF2-40B4-BE49-F238E27FC236}">
                <a16:creationId xmlns:a16="http://schemas.microsoft.com/office/drawing/2014/main" id="{E732E4DD-B9DB-2CE0-0BF8-F48C1FBED926}"/>
              </a:ext>
            </a:extLst>
          </p:cNvPr>
          <p:cNvGrpSpPr>
            <a:grpSpLocks/>
          </p:cNvGrpSpPr>
          <p:nvPr/>
        </p:nvGrpSpPr>
        <p:grpSpPr>
          <a:xfrm>
            <a:off x="2655946" y="1555341"/>
            <a:ext cx="450000" cy="450001"/>
            <a:chOff x="7366067" y="6713969"/>
            <a:chExt cx="492328" cy="493776"/>
          </a:xfrm>
        </p:grpSpPr>
        <p:sp>
          <p:nvSpPr>
            <p:cNvPr id="137" name="Flowchart: Connector 14">
              <a:extLst>
                <a:ext uri="{FF2B5EF4-FFF2-40B4-BE49-F238E27FC236}">
                  <a16:creationId xmlns:a16="http://schemas.microsoft.com/office/drawing/2014/main" id="{118F51FE-FC01-3FA7-F009-CF92B097BE5D}"/>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5" name="Rectangle 13">
            <a:extLst>
              <a:ext uri="{FF2B5EF4-FFF2-40B4-BE49-F238E27FC236}">
                <a16:creationId xmlns:a16="http://schemas.microsoft.com/office/drawing/2014/main" id="{9DB648EF-8476-4A03-2C11-9178E2030D2C}"/>
              </a:ext>
            </a:extLst>
          </p:cNvPr>
          <p:cNvSpPr/>
          <p:nvPr/>
        </p:nvSpPr>
        <p:spPr bwMode="gray">
          <a:xfrm>
            <a:off x="3219290" y="201009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Rectangle 38">
            <a:extLst>
              <a:ext uri="{FF2B5EF4-FFF2-40B4-BE49-F238E27FC236}">
                <a16:creationId xmlns:a16="http://schemas.microsoft.com/office/drawing/2014/main" id="{30E643F9-9AFB-7F1D-A760-95B452450FC8}"/>
              </a:ext>
            </a:extLst>
          </p:cNvPr>
          <p:cNvSpPr/>
          <p:nvPr/>
        </p:nvSpPr>
        <p:spPr bwMode="gray">
          <a:xfrm>
            <a:off x="3220972" y="156491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6" name="TextBox 39">
            <a:extLst>
              <a:ext uri="{FF2B5EF4-FFF2-40B4-BE49-F238E27FC236}">
                <a16:creationId xmlns:a16="http://schemas.microsoft.com/office/drawing/2014/main" id="{0438F638-92A7-4437-0857-B8718F77E13A}"/>
              </a:ext>
            </a:extLst>
          </p:cNvPr>
          <p:cNvSpPr txBox="1"/>
          <p:nvPr/>
        </p:nvSpPr>
        <p:spPr>
          <a:xfrm>
            <a:off x="3342330" y="1701133"/>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AC HOLDING</a:t>
            </a:r>
          </a:p>
        </p:txBody>
      </p:sp>
      <p:sp>
        <p:nvSpPr>
          <p:cNvPr id="202" name="Flowchart: Connector 121">
            <a:extLst>
              <a:ext uri="{FF2B5EF4-FFF2-40B4-BE49-F238E27FC236}">
                <a16:creationId xmlns:a16="http://schemas.microsoft.com/office/drawing/2014/main" id="{7D3078D8-E59C-B6FB-EF19-6FC84FFF05EC}"/>
              </a:ext>
            </a:extLst>
          </p:cNvPr>
          <p:cNvSpPr/>
          <p:nvPr/>
        </p:nvSpPr>
        <p:spPr bwMode="gray">
          <a:xfrm>
            <a:off x="5642256" y="156491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1" name="Group 531">
            <a:extLst>
              <a:ext uri="{FF2B5EF4-FFF2-40B4-BE49-F238E27FC236}">
                <a16:creationId xmlns:a16="http://schemas.microsoft.com/office/drawing/2014/main" id="{1F6AE038-CADC-C2F9-6D79-AFF8180F4732}"/>
              </a:ext>
            </a:extLst>
          </p:cNvPr>
          <p:cNvGrpSpPr>
            <a:grpSpLocks/>
          </p:cNvGrpSpPr>
          <p:nvPr/>
        </p:nvGrpSpPr>
        <p:grpSpPr bwMode="auto">
          <a:xfrm>
            <a:off x="5606735" y="1555327"/>
            <a:ext cx="450000" cy="450000"/>
            <a:chOff x="3061" y="1953"/>
            <a:chExt cx="340" cy="340"/>
          </a:xfrm>
          <a:solidFill>
            <a:srgbClr val="9DD4CF"/>
          </a:solidFill>
        </p:grpSpPr>
        <p:sp>
          <p:nvSpPr>
            <p:cNvPr id="132"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6" name="Rectangle: Rounded Corners 142">
            <a:extLst>
              <a:ext uri="{FF2B5EF4-FFF2-40B4-BE49-F238E27FC236}">
                <a16:creationId xmlns:a16="http://schemas.microsoft.com/office/drawing/2014/main" id="{EF5B7140-15FD-0460-4881-C713C8767A08}"/>
              </a:ext>
            </a:extLst>
          </p:cNvPr>
          <p:cNvSpPr/>
          <p:nvPr/>
        </p:nvSpPr>
        <p:spPr bwMode="gray">
          <a:xfrm>
            <a:off x="4315886" y="3339355"/>
            <a:ext cx="1699286"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IT strategy</a:t>
            </a:r>
          </a:p>
        </p:txBody>
      </p:sp>
      <p:sp>
        <p:nvSpPr>
          <p:cNvPr id="139" name="TextBox 144">
            <a:extLst>
              <a:ext uri="{FF2B5EF4-FFF2-40B4-BE49-F238E27FC236}">
                <a16:creationId xmlns:a16="http://schemas.microsoft.com/office/drawing/2014/main" id="{883D69FE-0988-760E-0D05-72A43C585874}"/>
              </a:ext>
            </a:extLst>
          </p:cNvPr>
          <p:cNvSpPr txBox="1"/>
          <p:nvPr/>
        </p:nvSpPr>
        <p:spPr>
          <a:xfrm>
            <a:off x="3334316" y="2387657"/>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The client is a Hungarian company with subsidiaries in the Transportation, Agriculture and Hospitality sectors. The company aimed to create an IT strategy with the goal of companywide IT modernization in mind. </a:t>
            </a:r>
          </a:p>
        </p:txBody>
      </p:sp>
      <p:sp>
        <p:nvSpPr>
          <p:cNvPr id="140" name="TextBox 145">
            <a:extLst>
              <a:ext uri="{FF2B5EF4-FFF2-40B4-BE49-F238E27FC236}">
                <a16:creationId xmlns:a16="http://schemas.microsoft.com/office/drawing/2014/main" id="{9C653446-6E12-F57B-15F9-1D7879EFFEE6}"/>
              </a:ext>
            </a:extLst>
          </p:cNvPr>
          <p:cNvSpPr txBox="1"/>
          <p:nvPr/>
        </p:nvSpPr>
        <p:spPr>
          <a:xfrm>
            <a:off x="3334316" y="2134265"/>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IT STRATEGY</a:t>
            </a:r>
          </a:p>
        </p:txBody>
      </p:sp>
      <p:sp>
        <p:nvSpPr>
          <p:cNvPr id="2" name="Rectangle 13">
            <a:extLst>
              <a:ext uri="{FF2B5EF4-FFF2-40B4-BE49-F238E27FC236}">
                <a16:creationId xmlns:a16="http://schemas.microsoft.com/office/drawing/2014/main" id="{22E70B7D-1A92-0E2D-116F-2C644FC68013}"/>
              </a:ext>
            </a:extLst>
          </p:cNvPr>
          <p:cNvSpPr/>
          <p:nvPr/>
        </p:nvSpPr>
        <p:spPr bwMode="gray">
          <a:xfrm>
            <a:off x="6211385" y="201009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Rectangle 38">
            <a:extLst>
              <a:ext uri="{FF2B5EF4-FFF2-40B4-BE49-F238E27FC236}">
                <a16:creationId xmlns:a16="http://schemas.microsoft.com/office/drawing/2014/main" id="{22E73049-B250-D106-AF99-BAD9EF44265D}"/>
              </a:ext>
            </a:extLst>
          </p:cNvPr>
          <p:cNvSpPr/>
          <p:nvPr/>
        </p:nvSpPr>
        <p:spPr bwMode="gray">
          <a:xfrm>
            <a:off x="6213067" y="156491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9">
            <a:extLst>
              <a:ext uri="{FF2B5EF4-FFF2-40B4-BE49-F238E27FC236}">
                <a16:creationId xmlns:a16="http://schemas.microsoft.com/office/drawing/2014/main" id="{3E713E83-F563-4AE5-A404-DB057BEE7F2B}"/>
              </a:ext>
            </a:extLst>
          </p:cNvPr>
          <p:cNvSpPr txBox="1"/>
          <p:nvPr/>
        </p:nvSpPr>
        <p:spPr>
          <a:xfrm>
            <a:off x="6334425" y="1701133"/>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SURANCE COMPANY</a:t>
            </a:r>
          </a:p>
        </p:txBody>
      </p:sp>
      <p:sp>
        <p:nvSpPr>
          <p:cNvPr id="5" name="Flowchart: Connector 121">
            <a:extLst>
              <a:ext uri="{FF2B5EF4-FFF2-40B4-BE49-F238E27FC236}">
                <a16:creationId xmlns:a16="http://schemas.microsoft.com/office/drawing/2014/main" id="{19647183-BE7B-9419-4C7A-4E871C36CCC4}"/>
              </a:ext>
            </a:extLst>
          </p:cNvPr>
          <p:cNvSpPr/>
          <p:nvPr/>
        </p:nvSpPr>
        <p:spPr bwMode="gray">
          <a:xfrm>
            <a:off x="8634351" y="156491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 name="Group 531">
            <a:extLst>
              <a:ext uri="{FF2B5EF4-FFF2-40B4-BE49-F238E27FC236}">
                <a16:creationId xmlns:a16="http://schemas.microsoft.com/office/drawing/2014/main" id="{C13B71C7-7BA4-5728-BF45-A65657F3116E}"/>
              </a:ext>
            </a:extLst>
          </p:cNvPr>
          <p:cNvGrpSpPr>
            <a:grpSpLocks/>
          </p:cNvGrpSpPr>
          <p:nvPr/>
        </p:nvGrpSpPr>
        <p:grpSpPr bwMode="auto">
          <a:xfrm>
            <a:off x="8598830" y="1555327"/>
            <a:ext cx="450000" cy="450000"/>
            <a:chOff x="3061" y="1953"/>
            <a:chExt cx="340" cy="340"/>
          </a:xfrm>
          <a:solidFill>
            <a:srgbClr val="9DD4CF"/>
          </a:solidFill>
        </p:grpSpPr>
        <p:sp>
          <p:nvSpPr>
            <p:cNvPr id="7" name="Freeform 532">
              <a:extLst>
                <a:ext uri="{FF2B5EF4-FFF2-40B4-BE49-F238E27FC236}">
                  <a16:creationId xmlns:a16="http://schemas.microsoft.com/office/drawing/2014/main" id="{ED329C32-3777-D5C3-0B92-0809D0867866}"/>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533">
              <a:extLst>
                <a:ext uri="{FF2B5EF4-FFF2-40B4-BE49-F238E27FC236}">
                  <a16:creationId xmlns:a16="http://schemas.microsoft.com/office/drawing/2014/main" id="{438272A2-A79F-748D-0842-6BC363C2700F}"/>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 name="Rectangle: Rounded Corners 142">
            <a:extLst>
              <a:ext uri="{FF2B5EF4-FFF2-40B4-BE49-F238E27FC236}">
                <a16:creationId xmlns:a16="http://schemas.microsoft.com/office/drawing/2014/main" id="{F312D030-4600-A62C-51F7-D7385042CACB}"/>
              </a:ext>
            </a:extLst>
          </p:cNvPr>
          <p:cNvSpPr/>
          <p:nvPr/>
        </p:nvSpPr>
        <p:spPr bwMode="gray">
          <a:xfrm>
            <a:off x="7307981" y="3339355"/>
            <a:ext cx="1699286"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IT strategy</a:t>
            </a:r>
          </a:p>
        </p:txBody>
      </p:sp>
      <p:sp>
        <p:nvSpPr>
          <p:cNvPr id="11" name="TextBox 144">
            <a:extLst>
              <a:ext uri="{FF2B5EF4-FFF2-40B4-BE49-F238E27FC236}">
                <a16:creationId xmlns:a16="http://schemas.microsoft.com/office/drawing/2014/main" id="{EE9944E3-D4D0-2291-60C1-B0197ADABF27}"/>
              </a:ext>
            </a:extLst>
          </p:cNvPr>
          <p:cNvSpPr txBox="1"/>
          <p:nvPr/>
        </p:nvSpPr>
        <p:spPr>
          <a:xfrm>
            <a:off x="6326411" y="2387657"/>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In connection with the merger of 3 companies, our expert worked on the development of the IT strategy necessary to create a common, unified IT area. The greatest challenge during the project was the coordination of different organizational cultures.</a:t>
            </a:r>
          </a:p>
        </p:txBody>
      </p:sp>
      <p:sp>
        <p:nvSpPr>
          <p:cNvPr id="13" name="TextBox 145">
            <a:extLst>
              <a:ext uri="{FF2B5EF4-FFF2-40B4-BE49-F238E27FC236}">
                <a16:creationId xmlns:a16="http://schemas.microsoft.com/office/drawing/2014/main" id="{0FAEC08D-5A81-F75B-E7A9-097001682EB7}"/>
              </a:ext>
            </a:extLst>
          </p:cNvPr>
          <p:cNvSpPr txBox="1"/>
          <p:nvPr/>
        </p:nvSpPr>
        <p:spPr>
          <a:xfrm>
            <a:off x="6326411" y="2134265"/>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IT STRATEGY</a:t>
            </a:r>
          </a:p>
        </p:txBody>
      </p:sp>
      <p:sp>
        <p:nvSpPr>
          <p:cNvPr id="14" name="Rectangle 13">
            <a:extLst>
              <a:ext uri="{FF2B5EF4-FFF2-40B4-BE49-F238E27FC236}">
                <a16:creationId xmlns:a16="http://schemas.microsoft.com/office/drawing/2014/main" id="{877A6908-998B-78C8-737E-B9D96EA4F306}"/>
              </a:ext>
            </a:extLst>
          </p:cNvPr>
          <p:cNvSpPr/>
          <p:nvPr/>
        </p:nvSpPr>
        <p:spPr bwMode="gray">
          <a:xfrm>
            <a:off x="9134603" y="2011797"/>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38">
            <a:extLst>
              <a:ext uri="{FF2B5EF4-FFF2-40B4-BE49-F238E27FC236}">
                <a16:creationId xmlns:a16="http://schemas.microsoft.com/office/drawing/2014/main" id="{322A83B5-428F-7280-4389-02D0A0EE56BC}"/>
              </a:ext>
            </a:extLst>
          </p:cNvPr>
          <p:cNvSpPr/>
          <p:nvPr/>
        </p:nvSpPr>
        <p:spPr bwMode="gray">
          <a:xfrm>
            <a:off x="9136285" y="1566624"/>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39">
            <a:extLst>
              <a:ext uri="{FF2B5EF4-FFF2-40B4-BE49-F238E27FC236}">
                <a16:creationId xmlns:a16="http://schemas.microsoft.com/office/drawing/2014/main" id="{F88B5371-2547-C5A1-30CE-109F79151CAE}"/>
              </a:ext>
            </a:extLst>
          </p:cNvPr>
          <p:cNvSpPr txBox="1"/>
          <p:nvPr/>
        </p:nvSpPr>
        <p:spPr>
          <a:xfrm>
            <a:off x="9257643" y="1702839"/>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LCO COMPANY</a:t>
            </a:r>
          </a:p>
        </p:txBody>
      </p:sp>
      <p:sp>
        <p:nvSpPr>
          <p:cNvPr id="18" name="Flowchart: Connector 121">
            <a:extLst>
              <a:ext uri="{FF2B5EF4-FFF2-40B4-BE49-F238E27FC236}">
                <a16:creationId xmlns:a16="http://schemas.microsoft.com/office/drawing/2014/main" id="{E98976C8-0966-4BE7-F5B2-3A9E4CB8C45C}"/>
              </a:ext>
            </a:extLst>
          </p:cNvPr>
          <p:cNvSpPr/>
          <p:nvPr/>
        </p:nvSpPr>
        <p:spPr bwMode="gray">
          <a:xfrm>
            <a:off x="11557569" y="1566624"/>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9" name="Group 531">
            <a:extLst>
              <a:ext uri="{FF2B5EF4-FFF2-40B4-BE49-F238E27FC236}">
                <a16:creationId xmlns:a16="http://schemas.microsoft.com/office/drawing/2014/main" id="{77095056-BABD-11E3-DF00-88E72D2055F9}"/>
              </a:ext>
            </a:extLst>
          </p:cNvPr>
          <p:cNvGrpSpPr>
            <a:grpSpLocks/>
          </p:cNvGrpSpPr>
          <p:nvPr/>
        </p:nvGrpSpPr>
        <p:grpSpPr bwMode="auto">
          <a:xfrm>
            <a:off x="11522048" y="1557033"/>
            <a:ext cx="450000" cy="450000"/>
            <a:chOff x="3061" y="1953"/>
            <a:chExt cx="340" cy="340"/>
          </a:xfrm>
          <a:solidFill>
            <a:srgbClr val="9DD4CF"/>
          </a:solidFill>
        </p:grpSpPr>
        <p:sp>
          <p:nvSpPr>
            <p:cNvPr id="20" name="Freeform 532">
              <a:extLst>
                <a:ext uri="{FF2B5EF4-FFF2-40B4-BE49-F238E27FC236}">
                  <a16:creationId xmlns:a16="http://schemas.microsoft.com/office/drawing/2014/main" id="{1A9D9BE4-B88D-8D53-13C7-79CB2AC14BE1}"/>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533">
              <a:extLst>
                <a:ext uri="{FF2B5EF4-FFF2-40B4-BE49-F238E27FC236}">
                  <a16:creationId xmlns:a16="http://schemas.microsoft.com/office/drawing/2014/main" id="{733CB9CB-B1F0-209C-DB1A-210385253C9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3" name="Rectangle: Rounded Corners 142">
            <a:extLst>
              <a:ext uri="{FF2B5EF4-FFF2-40B4-BE49-F238E27FC236}">
                <a16:creationId xmlns:a16="http://schemas.microsoft.com/office/drawing/2014/main" id="{0A07906C-A23B-C86E-9DA2-C06A5EC701EF}"/>
              </a:ext>
            </a:extLst>
          </p:cNvPr>
          <p:cNvSpPr/>
          <p:nvPr/>
        </p:nvSpPr>
        <p:spPr bwMode="gray">
          <a:xfrm>
            <a:off x="10231199" y="3341061"/>
            <a:ext cx="1699286"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IT strategy</a:t>
            </a:r>
          </a:p>
        </p:txBody>
      </p:sp>
      <p:sp>
        <p:nvSpPr>
          <p:cNvPr id="24" name="TextBox 144">
            <a:extLst>
              <a:ext uri="{FF2B5EF4-FFF2-40B4-BE49-F238E27FC236}">
                <a16:creationId xmlns:a16="http://schemas.microsoft.com/office/drawing/2014/main" id="{1852151F-E4E1-671C-5C75-070A4094769C}"/>
              </a:ext>
            </a:extLst>
          </p:cNvPr>
          <p:cNvSpPr txBox="1"/>
          <p:nvPr/>
        </p:nvSpPr>
        <p:spPr>
          <a:xfrm>
            <a:off x="9249629" y="2250131"/>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As a result of the continuous transformation of the industry, it became necessary to transform the former IT operation, to measure expenses more accurately, through the optimal use of IT resources.</a:t>
            </a:r>
            <a:r>
              <a:rPr lang="hu-HU" sz="900" dirty="0">
                <a:latin typeface="Open Sans" panose="020B0606030504020204" pitchFamily="34" charset="0"/>
                <a:ea typeface="Open Sans" panose="020B0606030504020204" pitchFamily="34" charset="0"/>
                <a:cs typeface="Open Sans" panose="020B0606030504020204" pitchFamily="34" charset="0"/>
              </a:rPr>
              <a:t> </a:t>
            </a:r>
            <a:r>
              <a:rPr lang="en-US" sz="900" dirty="0">
                <a:latin typeface="Open Sans" panose="020B0606030504020204" pitchFamily="34" charset="0"/>
                <a:ea typeface="Open Sans" panose="020B0606030504020204" pitchFamily="34" charset="0"/>
                <a:cs typeface="Open Sans" panose="020B0606030504020204" pitchFamily="34" charset="0"/>
              </a:rPr>
              <a:t>In the course of the project, the organizational transformation, development of new processes and resource saving goals required by the client had to be achieved.</a:t>
            </a:r>
          </a:p>
        </p:txBody>
      </p:sp>
      <p:sp>
        <p:nvSpPr>
          <p:cNvPr id="25" name="TextBox 145">
            <a:extLst>
              <a:ext uri="{FF2B5EF4-FFF2-40B4-BE49-F238E27FC236}">
                <a16:creationId xmlns:a16="http://schemas.microsoft.com/office/drawing/2014/main" id="{46C867D7-AD2C-35F6-E73C-87AEAE2C679B}"/>
              </a:ext>
            </a:extLst>
          </p:cNvPr>
          <p:cNvSpPr txBox="1"/>
          <p:nvPr/>
        </p:nvSpPr>
        <p:spPr>
          <a:xfrm>
            <a:off x="9249629" y="2135971"/>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IT STRATEGY</a:t>
            </a:r>
          </a:p>
        </p:txBody>
      </p:sp>
      <p:sp>
        <p:nvSpPr>
          <p:cNvPr id="26" name="Rectangle 25">
            <a:extLst>
              <a:ext uri="{FF2B5EF4-FFF2-40B4-BE49-F238E27FC236}">
                <a16:creationId xmlns:a16="http://schemas.microsoft.com/office/drawing/2014/main" id="{D322FFD3-AFBD-22B2-6F64-2129925F3F29}"/>
              </a:ext>
            </a:extLst>
          </p:cNvPr>
          <p:cNvSpPr/>
          <p:nvPr/>
        </p:nvSpPr>
        <p:spPr bwMode="gray">
          <a:xfrm>
            <a:off x="274421" y="4467336"/>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38">
            <a:extLst>
              <a:ext uri="{FF2B5EF4-FFF2-40B4-BE49-F238E27FC236}">
                <a16:creationId xmlns:a16="http://schemas.microsoft.com/office/drawing/2014/main" id="{0A5CB35F-33B7-E781-7CAE-82E4ABA3C2D8}"/>
              </a:ext>
            </a:extLst>
          </p:cNvPr>
          <p:cNvSpPr/>
          <p:nvPr/>
        </p:nvSpPr>
        <p:spPr bwMode="gray">
          <a:xfrm>
            <a:off x="276103" y="4022163"/>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39">
            <a:extLst>
              <a:ext uri="{FF2B5EF4-FFF2-40B4-BE49-F238E27FC236}">
                <a16:creationId xmlns:a16="http://schemas.microsoft.com/office/drawing/2014/main" id="{E4BBA9A8-D66D-EC22-8014-2A71ED056AF2}"/>
              </a:ext>
            </a:extLst>
          </p:cNvPr>
          <p:cNvSpPr txBox="1"/>
          <p:nvPr/>
        </p:nvSpPr>
        <p:spPr>
          <a:xfrm>
            <a:off x="397461" y="4158378"/>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TATE OFFICE</a:t>
            </a:r>
          </a:p>
        </p:txBody>
      </p:sp>
      <p:sp>
        <p:nvSpPr>
          <p:cNvPr id="29" name="Flowchart: Connector 121">
            <a:extLst>
              <a:ext uri="{FF2B5EF4-FFF2-40B4-BE49-F238E27FC236}">
                <a16:creationId xmlns:a16="http://schemas.microsoft.com/office/drawing/2014/main" id="{774AADA1-334C-E784-4AF8-C175BF971F2B}"/>
              </a:ext>
            </a:extLst>
          </p:cNvPr>
          <p:cNvSpPr/>
          <p:nvPr/>
        </p:nvSpPr>
        <p:spPr bwMode="gray">
          <a:xfrm>
            <a:off x="2697387" y="4022163"/>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38" name="Group 531">
            <a:extLst>
              <a:ext uri="{FF2B5EF4-FFF2-40B4-BE49-F238E27FC236}">
                <a16:creationId xmlns:a16="http://schemas.microsoft.com/office/drawing/2014/main" id="{4454479A-2EB1-1AF9-A664-B5EED2635E21}"/>
              </a:ext>
            </a:extLst>
          </p:cNvPr>
          <p:cNvGrpSpPr>
            <a:grpSpLocks/>
          </p:cNvGrpSpPr>
          <p:nvPr/>
        </p:nvGrpSpPr>
        <p:grpSpPr bwMode="auto">
          <a:xfrm>
            <a:off x="2661866" y="4012572"/>
            <a:ext cx="450000" cy="450000"/>
            <a:chOff x="3061" y="1953"/>
            <a:chExt cx="340" cy="340"/>
          </a:xfrm>
          <a:solidFill>
            <a:srgbClr val="9DD4CF"/>
          </a:solidFill>
        </p:grpSpPr>
        <p:sp>
          <p:nvSpPr>
            <p:cNvPr id="39" name="Freeform 532">
              <a:extLst>
                <a:ext uri="{FF2B5EF4-FFF2-40B4-BE49-F238E27FC236}">
                  <a16:creationId xmlns:a16="http://schemas.microsoft.com/office/drawing/2014/main" id="{8C424915-F2E5-2F4C-8BCF-CA7F67C7511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533">
              <a:extLst>
                <a:ext uri="{FF2B5EF4-FFF2-40B4-BE49-F238E27FC236}">
                  <a16:creationId xmlns:a16="http://schemas.microsoft.com/office/drawing/2014/main" id="{830FCCD0-58FA-4C32-8690-410A2AB2B35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1" name="Rectangle: Rounded Corners 142">
            <a:extLst>
              <a:ext uri="{FF2B5EF4-FFF2-40B4-BE49-F238E27FC236}">
                <a16:creationId xmlns:a16="http://schemas.microsoft.com/office/drawing/2014/main" id="{C27F775B-86FC-553D-8789-F410270A6631}"/>
              </a:ext>
            </a:extLst>
          </p:cNvPr>
          <p:cNvSpPr/>
          <p:nvPr/>
        </p:nvSpPr>
        <p:spPr bwMode="gray">
          <a:xfrm>
            <a:off x="1371017" y="5796600"/>
            <a:ext cx="1699286"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IT strategy</a:t>
            </a:r>
          </a:p>
        </p:txBody>
      </p:sp>
      <p:sp>
        <p:nvSpPr>
          <p:cNvPr id="43" name="TextBox 144">
            <a:extLst>
              <a:ext uri="{FF2B5EF4-FFF2-40B4-BE49-F238E27FC236}">
                <a16:creationId xmlns:a16="http://schemas.microsoft.com/office/drawing/2014/main" id="{868EEFAA-4D2D-7291-3B5F-B4C84A9A7040}"/>
              </a:ext>
            </a:extLst>
          </p:cNvPr>
          <p:cNvSpPr txBox="1"/>
          <p:nvPr/>
        </p:nvSpPr>
        <p:spPr>
          <a:xfrm>
            <a:off x="389447" y="4842266"/>
            <a:ext cx="2545562" cy="824138"/>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During the project, an IT strategy had to be developed for the state company with 10,000+ employees. The greatest challenge was the coordination of the needs of the various customer areas.</a:t>
            </a:r>
          </a:p>
        </p:txBody>
      </p:sp>
      <p:sp>
        <p:nvSpPr>
          <p:cNvPr id="44" name="TextBox 145">
            <a:extLst>
              <a:ext uri="{FF2B5EF4-FFF2-40B4-BE49-F238E27FC236}">
                <a16:creationId xmlns:a16="http://schemas.microsoft.com/office/drawing/2014/main" id="{94F04A24-7734-1DB4-5B8E-A6D6087743F0}"/>
              </a:ext>
            </a:extLst>
          </p:cNvPr>
          <p:cNvSpPr txBox="1"/>
          <p:nvPr/>
        </p:nvSpPr>
        <p:spPr>
          <a:xfrm>
            <a:off x="389447" y="4591510"/>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IT STRATEGY</a:t>
            </a:r>
          </a:p>
        </p:txBody>
      </p:sp>
      <p:sp>
        <p:nvSpPr>
          <p:cNvPr id="45" name="Rectangle 44">
            <a:extLst>
              <a:ext uri="{FF2B5EF4-FFF2-40B4-BE49-F238E27FC236}">
                <a16:creationId xmlns:a16="http://schemas.microsoft.com/office/drawing/2014/main" id="{374FC682-32B7-B3E3-404A-C3EFA204C97D}"/>
              </a:ext>
            </a:extLst>
          </p:cNvPr>
          <p:cNvSpPr/>
          <p:nvPr/>
        </p:nvSpPr>
        <p:spPr bwMode="gray">
          <a:xfrm>
            <a:off x="3218764" y="4467336"/>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38">
            <a:extLst>
              <a:ext uri="{FF2B5EF4-FFF2-40B4-BE49-F238E27FC236}">
                <a16:creationId xmlns:a16="http://schemas.microsoft.com/office/drawing/2014/main" id="{CE1C84B6-F64E-B268-D537-28924942AA73}"/>
              </a:ext>
            </a:extLst>
          </p:cNvPr>
          <p:cNvSpPr/>
          <p:nvPr/>
        </p:nvSpPr>
        <p:spPr bwMode="gray">
          <a:xfrm>
            <a:off x="3220446" y="4022163"/>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TextBox 39">
            <a:extLst>
              <a:ext uri="{FF2B5EF4-FFF2-40B4-BE49-F238E27FC236}">
                <a16:creationId xmlns:a16="http://schemas.microsoft.com/office/drawing/2014/main" id="{4A3D568A-7486-D272-D017-BF28548F2E0E}"/>
              </a:ext>
            </a:extLst>
          </p:cNvPr>
          <p:cNvSpPr txBox="1"/>
          <p:nvPr/>
        </p:nvSpPr>
        <p:spPr>
          <a:xfrm>
            <a:off x="3341804" y="4158378"/>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COMPANY</a:t>
            </a:r>
          </a:p>
        </p:txBody>
      </p:sp>
      <p:sp>
        <p:nvSpPr>
          <p:cNvPr id="49" name="Flowchart: Connector 121">
            <a:extLst>
              <a:ext uri="{FF2B5EF4-FFF2-40B4-BE49-F238E27FC236}">
                <a16:creationId xmlns:a16="http://schemas.microsoft.com/office/drawing/2014/main" id="{40EE01EE-0684-A60D-FFB6-A5C0E8AE4D3A}"/>
              </a:ext>
            </a:extLst>
          </p:cNvPr>
          <p:cNvSpPr/>
          <p:nvPr/>
        </p:nvSpPr>
        <p:spPr bwMode="gray">
          <a:xfrm>
            <a:off x="5641730" y="4022163"/>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50" name="Group 531">
            <a:extLst>
              <a:ext uri="{FF2B5EF4-FFF2-40B4-BE49-F238E27FC236}">
                <a16:creationId xmlns:a16="http://schemas.microsoft.com/office/drawing/2014/main" id="{197D920B-7C20-421A-6D4F-5DF903FE3D11}"/>
              </a:ext>
            </a:extLst>
          </p:cNvPr>
          <p:cNvGrpSpPr>
            <a:grpSpLocks/>
          </p:cNvGrpSpPr>
          <p:nvPr/>
        </p:nvGrpSpPr>
        <p:grpSpPr bwMode="auto">
          <a:xfrm>
            <a:off x="5606209" y="4012572"/>
            <a:ext cx="450000" cy="450000"/>
            <a:chOff x="3061" y="1953"/>
            <a:chExt cx="340" cy="340"/>
          </a:xfrm>
          <a:solidFill>
            <a:srgbClr val="9DD4CF"/>
          </a:solidFill>
        </p:grpSpPr>
        <p:sp>
          <p:nvSpPr>
            <p:cNvPr id="112" name="Freeform 532">
              <a:extLst>
                <a:ext uri="{FF2B5EF4-FFF2-40B4-BE49-F238E27FC236}">
                  <a16:creationId xmlns:a16="http://schemas.microsoft.com/office/drawing/2014/main" id="{6D3077C9-A737-6F14-7386-F47C243F8F23}"/>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533">
              <a:extLst>
                <a:ext uri="{FF2B5EF4-FFF2-40B4-BE49-F238E27FC236}">
                  <a16:creationId xmlns:a16="http://schemas.microsoft.com/office/drawing/2014/main" id="{89451D8B-7074-C4F0-6CF8-80A657565BB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15" name="Rectangle: Rounded Corners 142">
            <a:extLst>
              <a:ext uri="{FF2B5EF4-FFF2-40B4-BE49-F238E27FC236}">
                <a16:creationId xmlns:a16="http://schemas.microsoft.com/office/drawing/2014/main" id="{0C15808F-4D4C-966E-63BA-70F6CC4395C4}"/>
              </a:ext>
            </a:extLst>
          </p:cNvPr>
          <p:cNvSpPr/>
          <p:nvPr/>
        </p:nvSpPr>
        <p:spPr bwMode="gray">
          <a:xfrm>
            <a:off x="4315360" y="5796600"/>
            <a:ext cx="1699286"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IT strategy</a:t>
            </a:r>
          </a:p>
        </p:txBody>
      </p:sp>
      <p:sp>
        <p:nvSpPr>
          <p:cNvPr id="116" name="TextBox 144">
            <a:extLst>
              <a:ext uri="{FF2B5EF4-FFF2-40B4-BE49-F238E27FC236}">
                <a16:creationId xmlns:a16="http://schemas.microsoft.com/office/drawing/2014/main" id="{05448571-D60C-C0AC-2781-739A5D42806B}"/>
              </a:ext>
            </a:extLst>
          </p:cNvPr>
          <p:cNvSpPr txBox="1"/>
          <p:nvPr/>
        </p:nvSpPr>
        <p:spPr>
          <a:xfrm>
            <a:off x="3333790" y="4842266"/>
            <a:ext cx="2545562" cy="824138"/>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Management of the IT due diligence tasks of a transaction involving a Hungarian DSO, carve-out planning for future strategy and customer support during the preparation of the transaction.</a:t>
            </a:r>
          </a:p>
        </p:txBody>
      </p:sp>
      <p:sp>
        <p:nvSpPr>
          <p:cNvPr id="117" name="TextBox 145">
            <a:extLst>
              <a:ext uri="{FF2B5EF4-FFF2-40B4-BE49-F238E27FC236}">
                <a16:creationId xmlns:a16="http://schemas.microsoft.com/office/drawing/2014/main" id="{A04FDCB1-CB23-2D32-AA03-24948D8DFF7D}"/>
              </a:ext>
            </a:extLst>
          </p:cNvPr>
          <p:cNvSpPr txBox="1"/>
          <p:nvPr/>
        </p:nvSpPr>
        <p:spPr>
          <a:xfrm>
            <a:off x="3333790" y="4591510"/>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IT DUE DILIGANCE AND CARVE-OUT STRATEGY</a:t>
            </a:r>
          </a:p>
        </p:txBody>
      </p:sp>
      <p:sp>
        <p:nvSpPr>
          <p:cNvPr id="129" name="Rectangle 13">
            <a:extLst>
              <a:ext uri="{FF2B5EF4-FFF2-40B4-BE49-F238E27FC236}">
                <a16:creationId xmlns:a16="http://schemas.microsoft.com/office/drawing/2014/main" id="{0B390E43-56FB-056B-8402-6D48D761F9F5}"/>
              </a:ext>
            </a:extLst>
          </p:cNvPr>
          <p:cNvSpPr/>
          <p:nvPr/>
        </p:nvSpPr>
        <p:spPr bwMode="gray">
          <a:xfrm>
            <a:off x="6211385" y="4467336"/>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3" name="Rectangle 38">
            <a:extLst>
              <a:ext uri="{FF2B5EF4-FFF2-40B4-BE49-F238E27FC236}">
                <a16:creationId xmlns:a16="http://schemas.microsoft.com/office/drawing/2014/main" id="{EFC3A5FB-EECC-6321-1FCB-5B1578A5C900}"/>
              </a:ext>
            </a:extLst>
          </p:cNvPr>
          <p:cNvSpPr/>
          <p:nvPr/>
        </p:nvSpPr>
        <p:spPr bwMode="gray">
          <a:xfrm>
            <a:off x="6213067" y="4022163"/>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4" name="TextBox 39">
            <a:extLst>
              <a:ext uri="{FF2B5EF4-FFF2-40B4-BE49-F238E27FC236}">
                <a16:creationId xmlns:a16="http://schemas.microsoft.com/office/drawing/2014/main" id="{A6A4B3D6-460B-4F3C-FF5D-913E4EDCD071}"/>
              </a:ext>
            </a:extLst>
          </p:cNvPr>
          <p:cNvSpPr txBox="1"/>
          <p:nvPr/>
        </p:nvSpPr>
        <p:spPr>
          <a:xfrm>
            <a:off x="6334425" y="4158378"/>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COMPANY</a:t>
            </a:r>
          </a:p>
        </p:txBody>
      </p:sp>
      <p:sp>
        <p:nvSpPr>
          <p:cNvPr id="138" name="Flowchart: Connector 121">
            <a:extLst>
              <a:ext uri="{FF2B5EF4-FFF2-40B4-BE49-F238E27FC236}">
                <a16:creationId xmlns:a16="http://schemas.microsoft.com/office/drawing/2014/main" id="{DC98E45F-56A4-507D-6228-27F59DDDCBCC}"/>
              </a:ext>
            </a:extLst>
          </p:cNvPr>
          <p:cNvSpPr/>
          <p:nvPr/>
        </p:nvSpPr>
        <p:spPr bwMode="gray">
          <a:xfrm>
            <a:off x="8634351" y="4022163"/>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42" name="Group 531">
            <a:extLst>
              <a:ext uri="{FF2B5EF4-FFF2-40B4-BE49-F238E27FC236}">
                <a16:creationId xmlns:a16="http://schemas.microsoft.com/office/drawing/2014/main" id="{4731B033-B372-DB68-9D3E-11FE3C1E0602}"/>
              </a:ext>
            </a:extLst>
          </p:cNvPr>
          <p:cNvGrpSpPr>
            <a:grpSpLocks/>
          </p:cNvGrpSpPr>
          <p:nvPr/>
        </p:nvGrpSpPr>
        <p:grpSpPr bwMode="auto">
          <a:xfrm>
            <a:off x="8598830" y="4012572"/>
            <a:ext cx="450000" cy="450000"/>
            <a:chOff x="3061" y="1953"/>
            <a:chExt cx="340" cy="340"/>
          </a:xfrm>
          <a:solidFill>
            <a:srgbClr val="9DD4CF"/>
          </a:solidFill>
        </p:grpSpPr>
        <p:sp>
          <p:nvSpPr>
            <p:cNvPr id="143" name="Freeform 532">
              <a:extLst>
                <a:ext uri="{FF2B5EF4-FFF2-40B4-BE49-F238E27FC236}">
                  <a16:creationId xmlns:a16="http://schemas.microsoft.com/office/drawing/2014/main" id="{3EAE94F8-F5EF-CAC6-699D-2E7AD4C16AA0}"/>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533">
              <a:extLst>
                <a:ext uri="{FF2B5EF4-FFF2-40B4-BE49-F238E27FC236}">
                  <a16:creationId xmlns:a16="http://schemas.microsoft.com/office/drawing/2014/main" id="{8DDBDDC6-C0E8-5A84-CA38-909ED4A6A989}"/>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45" name="Rectangle: Rounded Corners 142">
            <a:extLst>
              <a:ext uri="{FF2B5EF4-FFF2-40B4-BE49-F238E27FC236}">
                <a16:creationId xmlns:a16="http://schemas.microsoft.com/office/drawing/2014/main" id="{A9108D1D-D1C4-A626-347D-FF13826676CA}"/>
              </a:ext>
            </a:extLst>
          </p:cNvPr>
          <p:cNvSpPr/>
          <p:nvPr/>
        </p:nvSpPr>
        <p:spPr bwMode="gray">
          <a:xfrm>
            <a:off x="7307981" y="5796600"/>
            <a:ext cx="1699286"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IT strategy</a:t>
            </a:r>
          </a:p>
        </p:txBody>
      </p:sp>
      <p:sp>
        <p:nvSpPr>
          <p:cNvPr id="146" name="TextBox 144">
            <a:extLst>
              <a:ext uri="{FF2B5EF4-FFF2-40B4-BE49-F238E27FC236}">
                <a16:creationId xmlns:a16="http://schemas.microsoft.com/office/drawing/2014/main" id="{2355D890-34EB-7D00-23D1-3F2C092B7B0E}"/>
              </a:ext>
            </a:extLst>
          </p:cNvPr>
          <p:cNvSpPr txBox="1"/>
          <p:nvPr/>
        </p:nvSpPr>
        <p:spPr>
          <a:xfrm>
            <a:off x="6326411" y="4844902"/>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Management of the IT due diligence tasks of a transaction involving An Energy Plant, carve-out planning for future strategy and customer support during the preparation of the transaction.</a:t>
            </a:r>
          </a:p>
        </p:txBody>
      </p:sp>
      <p:sp>
        <p:nvSpPr>
          <p:cNvPr id="147" name="TextBox 145">
            <a:extLst>
              <a:ext uri="{FF2B5EF4-FFF2-40B4-BE49-F238E27FC236}">
                <a16:creationId xmlns:a16="http://schemas.microsoft.com/office/drawing/2014/main" id="{D3449CB0-A603-9C1D-D9EF-AE707A80ED02}"/>
              </a:ext>
            </a:extLst>
          </p:cNvPr>
          <p:cNvSpPr txBox="1"/>
          <p:nvPr/>
        </p:nvSpPr>
        <p:spPr>
          <a:xfrm>
            <a:off x="6326411" y="4591510"/>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IT DUE DILIGANCE AND CARVE-OUT STRATEGY</a:t>
            </a:r>
          </a:p>
        </p:txBody>
      </p:sp>
      <p:sp>
        <p:nvSpPr>
          <p:cNvPr id="148" name="Rectangle 147">
            <a:extLst>
              <a:ext uri="{FF2B5EF4-FFF2-40B4-BE49-F238E27FC236}">
                <a16:creationId xmlns:a16="http://schemas.microsoft.com/office/drawing/2014/main" id="{CC3CAE20-678D-0820-2A19-5B4110F51407}"/>
              </a:ext>
            </a:extLst>
          </p:cNvPr>
          <p:cNvSpPr/>
          <p:nvPr/>
        </p:nvSpPr>
        <p:spPr bwMode="gray">
          <a:xfrm>
            <a:off x="9134603" y="4469042"/>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9" name="Rectangle 38">
            <a:extLst>
              <a:ext uri="{FF2B5EF4-FFF2-40B4-BE49-F238E27FC236}">
                <a16:creationId xmlns:a16="http://schemas.microsoft.com/office/drawing/2014/main" id="{1DBA1EC8-826A-1482-4875-7CC778786251}"/>
              </a:ext>
            </a:extLst>
          </p:cNvPr>
          <p:cNvSpPr/>
          <p:nvPr/>
        </p:nvSpPr>
        <p:spPr bwMode="gray">
          <a:xfrm>
            <a:off x="9136285" y="4023869"/>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0" name="TextBox 39">
            <a:extLst>
              <a:ext uri="{FF2B5EF4-FFF2-40B4-BE49-F238E27FC236}">
                <a16:creationId xmlns:a16="http://schemas.microsoft.com/office/drawing/2014/main" id="{C7057082-88D5-F7DC-E65F-290633ADD922}"/>
              </a:ext>
            </a:extLst>
          </p:cNvPr>
          <p:cNvSpPr txBox="1"/>
          <p:nvPr/>
        </p:nvSpPr>
        <p:spPr>
          <a:xfrm>
            <a:off x="9257643" y="4160084"/>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UTILITY COMPANY</a:t>
            </a:r>
          </a:p>
        </p:txBody>
      </p:sp>
      <p:sp>
        <p:nvSpPr>
          <p:cNvPr id="151" name="Flowchart: Connector 121">
            <a:extLst>
              <a:ext uri="{FF2B5EF4-FFF2-40B4-BE49-F238E27FC236}">
                <a16:creationId xmlns:a16="http://schemas.microsoft.com/office/drawing/2014/main" id="{0F4E05DC-0312-22B1-0C3A-0E36D5B8A236}"/>
              </a:ext>
            </a:extLst>
          </p:cNvPr>
          <p:cNvSpPr/>
          <p:nvPr/>
        </p:nvSpPr>
        <p:spPr bwMode="gray">
          <a:xfrm>
            <a:off x="11557569" y="4023869"/>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52" name="Group 531">
            <a:extLst>
              <a:ext uri="{FF2B5EF4-FFF2-40B4-BE49-F238E27FC236}">
                <a16:creationId xmlns:a16="http://schemas.microsoft.com/office/drawing/2014/main" id="{26115E78-2C84-7871-CE92-0EF12C10E47C}"/>
              </a:ext>
            </a:extLst>
          </p:cNvPr>
          <p:cNvGrpSpPr>
            <a:grpSpLocks/>
          </p:cNvGrpSpPr>
          <p:nvPr/>
        </p:nvGrpSpPr>
        <p:grpSpPr bwMode="auto">
          <a:xfrm>
            <a:off x="11522048" y="4014278"/>
            <a:ext cx="450000" cy="450000"/>
            <a:chOff x="3061" y="1953"/>
            <a:chExt cx="340" cy="340"/>
          </a:xfrm>
          <a:solidFill>
            <a:srgbClr val="9DD4CF"/>
          </a:solidFill>
        </p:grpSpPr>
        <p:sp>
          <p:nvSpPr>
            <p:cNvPr id="153" name="Freeform 532">
              <a:extLst>
                <a:ext uri="{FF2B5EF4-FFF2-40B4-BE49-F238E27FC236}">
                  <a16:creationId xmlns:a16="http://schemas.microsoft.com/office/drawing/2014/main" id="{C0861CE7-548B-C033-3590-D524E3E30FEF}"/>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533">
              <a:extLst>
                <a:ext uri="{FF2B5EF4-FFF2-40B4-BE49-F238E27FC236}">
                  <a16:creationId xmlns:a16="http://schemas.microsoft.com/office/drawing/2014/main" id="{74548028-74DB-99A0-E014-FE501425F60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55" name="Rectangle: Rounded Corners 142">
            <a:extLst>
              <a:ext uri="{FF2B5EF4-FFF2-40B4-BE49-F238E27FC236}">
                <a16:creationId xmlns:a16="http://schemas.microsoft.com/office/drawing/2014/main" id="{28CFC6CB-8549-42D2-18BA-5454C1E1BFA7}"/>
              </a:ext>
            </a:extLst>
          </p:cNvPr>
          <p:cNvSpPr/>
          <p:nvPr/>
        </p:nvSpPr>
        <p:spPr bwMode="gray">
          <a:xfrm>
            <a:off x="10231199" y="5798306"/>
            <a:ext cx="1699286"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6.1. IT strategy</a:t>
            </a:r>
          </a:p>
        </p:txBody>
      </p:sp>
      <p:sp>
        <p:nvSpPr>
          <p:cNvPr id="156" name="TextBox 144">
            <a:extLst>
              <a:ext uri="{FF2B5EF4-FFF2-40B4-BE49-F238E27FC236}">
                <a16:creationId xmlns:a16="http://schemas.microsoft.com/office/drawing/2014/main" id="{1CD6F00A-4E38-B517-3951-424D3CD734CA}"/>
              </a:ext>
            </a:extLst>
          </p:cNvPr>
          <p:cNvSpPr txBox="1"/>
          <p:nvPr/>
        </p:nvSpPr>
        <p:spPr>
          <a:xfrm>
            <a:off x="9249629" y="4836364"/>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After the merger of an electricity DSO our client has launched a program with the goal of managing the business and IT integration of the DSO before the transitional service agreement expires. Our team managed the planning and budgeting of this integration. </a:t>
            </a:r>
          </a:p>
        </p:txBody>
      </p:sp>
      <p:sp>
        <p:nvSpPr>
          <p:cNvPr id="157" name="TextBox 145">
            <a:extLst>
              <a:ext uri="{FF2B5EF4-FFF2-40B4-BE49-F238E27FC236}">
                <a16:creationId xmlns:a16="http://schemas.microsoft.com/office/drawing/2014/main" id="{A9425C98-5C8D-7BA2-017A-FA753CD63F9A}"/>
              </a:ext>
            </a:extLst>
          </p:cNvPr>
          <p:cNvSpPr txBox="1"/>
          <p:nvPr/>
        </p:nvSpPr>
        <p:spPr>
          <a:xfrm>
            <a:off x="9249629" y="4593216"/>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POST MERGER INTEGRATION STRATEGY</a:t>
            </a:r>
          </a:p>
        </p:txBody>
      </p:sp>
    </p:spTree>
    <p:extLst>
      <p:ext uri="{BB962C8B-B14F-4D97-AF65-F5344CB8AC3E}">
        <p14:creationId xmlns:p14="http://schemas.microsoft.com/office/powerpoint/2010/main" val="949846267"/>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Project Management 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7.</a:t>
            </a:r>
            <a:endParaRPr lang="en-GB" dirty="0"/>
          </a:p>
        </p:txBody>
      </p:sp>
      <p:sp>
        <p:nvSpPr>
          <p:cNvPr id="3" name="Text Placeholder 2">
            <a:extLst>
              <a:ext uri="{FF2B5EF4-FFF2-40B4-BE49-F238E27FC236}">
                <a16:creationId xmlns:a16="http://schemas.microsoft.com/office/drawing/2014/main" id="{9106AAB3-007E-BDEC-ED55-66C804981B70}"/>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810100314"/>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4052946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7836" y="-842772"/>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54334" cy="6858002"/>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983291"/>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dirty="0">
                <a:latin typeface="+mn-lt"/>
                <a:cs typeface="Open Sans"/>
              </a:rPr>
              <a:t>Project Management Services</a:t>
            </a:r>
            <a:endParaRPr lang="en-US" dirty="0">
              <a:cs typeface="Open Sans"/>
            </a:endParaRPr>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489947"/>
            <a:ext cx="199475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6" name="TextBox 5">
            <a:extLst>
              <a:ext uri="{FF2B5EF4-FFF2-40B4-BE49-F238E27FC236}">
                <a16:creationId xmlns:a16="http://schemas.microsoft.com/office/drawing/2014/main" id="{FAEF6724-E8B7-7C0B-158A-01A618E22EC0}"/>
              </a:ext>
            </a:extLst>
          </p:cNvPr>
          <p:cNvSpPr txBox="1"/>
          <p:nvPr/>
        </p:nvSpPr>
        <p:spPr>
          <a:xfrm>
            <a:off x="1109960" y="2523776"/>
            <a:ext cx="1932004" cy="332485"/>
          </a:xfrm>
          <a:prstGeom prst="rect">
            <a:avLst/>
          </a:prstGeom>
          <a:noFill/>
        </p:spPr>
        <p:txBody>
          <a:bodyPr wrap="square" lIns="0" tIns="0" rIns="0" bIns="0" rtlCol="0" anchor="t">
            <a:noAutofit/>
          </a:bodyPr>
          <a:lstStyle/>
          <a:p>
            <a:pPr>
              <a:spcAft>
                <a:spcPts val="1000"/>
              </a:spcAft>
            </a:pPr>
            <a:r>
              <a:rPr lang="en-US" sz="900" b="1" dirty="0">
                <a:ea typeface="Open Sans"/>
                <a:cs typeface="Open Sans"/>
              </a:rPr>
              <a:t>OVERSEE THE SUCCESSFUL IMPLEMENTATION</a:t>
            </a: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985568"/>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chemeClr val="bg1"/>
                </a:solidFill>
                <a:effectLst/>
                <a:uLnTx/>
                <a:uFillTx/>
                <a:latin typeface="Open Sans"/>
              </a:rPr>
              <a:t>SUBCHAPTERS</a:t>
            </a: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955143"/>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dirty="0">
                <a:latin typeface="Open Sans"/>
              </a:rPr>
              <a:t>METHODOLOGY</a:t>
            </a:r>
            <a:endParaRPr kumimoji="0" lang="en-US" sz="1200" b="0" i="1" u="none" strike="noStrike" kern="1200" cap="none" spc="600" normalizeH="0" baseline="0" noProof="0" dirty="0">
              <a:ln>
                <a:noFill/>
              </a:ln>
              <a:effectLst/>
              <a:uLnTx/>
              <a:uFillTx/>
              <a:latin typeface="Open San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a:off x="932258" y="2315941"/>
            <a:ext cx="0" cy="28158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8258" y="2596244"/>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952574"/>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D6BCE08A-2010-C3CE-D191-C533EB4153F8}"/>
              </a:ext>
            </a:extLst>
          </p:cNvPr>
          <p:cNvSpPr txBox="1"/>
          <p:nvPr/>
        </p:nvSpPr>
        <p:spPr>
          <a:xfrm>
            <a:off x="3924223" y="548703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0" name="Oval 19">
            <a:extLst>
              <a:ext uri="{FF2B5EF4-FFF2-40B4-BE49-F238E27FC236}">
                <a16:creationId xmlns:a16="http://schemas.microsoft.com/office/drawing/2014/main" id="{D83B2E23-77BE-A76A-896C-9EFB70455266}"/>
              </a:ext>
            </a:extLst>
          </p:cNvPr>
          <p:cNvSpPr/>
          <p:nvPr/>
        </p:nvSpPr>
        <p:spPr bwMode="gray">
          <a:xfrm>
            <a:off x="878258" y="3063464"/>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2909001"/>
            <a:ext cx="1994752" cy="432167"/>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23" name="TextBox 22">
            <a:extLst>
              <a:ext uri="{FF2B5EF4-FFF2-40B4-BE49-F238E27FC236}">
                <a16:creationId xmlns:a16="http://schemas.microsoft.com/office/drawing/2014/main" id="{71042AB0-6C28-0519-0123-4B35425F7BBA}"/>
              </a:ext>
            </a:extLst>
          </p:cNvPr>
          <p:cNvSpPr txBox="1"/>
          <p:nvPr/>
        </p:nvSpPr>
        <p:spPr>
          <a:xfrm>
            <a:off x="1109960" y="2935178"/>
            <a:ext cx="1626204" cy="338039"/>
          </a:xfrm>
          <a:prstGeom prst="rect">
            <a:avLst/>
          </a:prstGeom>
          <a:noFill/>
        </p:spPr>
        <p:txBody>
          <a:bodyPr wrap="square" lIns="0" tIns="0" rIns="0" bIns="0" rtlCol="0" anchor="t">
            <a:noAutofit/>
          </a:bodyPr>
          <a:lstStyle/>
          <a:p>
            <a:pPr>
              <a:spcAft>
                <a:spcPts val="1000"/>
              </a:spcAft>
            </a:pPr>
            <a:r>
              <a:rPr lang="en-US" sz="900" b="1" dirty="0">
                <a:latin typeface="Open Sans"/>
                <a:ea typeface="Open Sans Light"/>
                <a:cs typeface="Open Sans Light"/>
              </a:rPr>
              <a:t>SUPPORT COORDINATION AND UPDATE MANAGEMENT TEAM INCLUDING RISKS</a:t>
            </a:r>
            <a:endParaRPr lang="en-US" dirty="0"/>
          </a:p>
        </p:txBody>
      </p:sp>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flipH="1">
            <a:off x="3625595" y="2496671"/>
            <a:ext cx="5364000" cy="0"/>
          </a:xfrm>
          <a:prstGeom prst="line">
            <a:avLst/>
          </a:prstGeom>
          <a:ln>
            <a:solidFill>
              <a:srgbClr val="1CABE3"/>
            </a:solidFill>
            <a:prstDash val="sysDash"/>
          </a:ln>
        </p:spPr>
        <p:style>
          <a:lnRef idx="1">
            <a:schemeClr val="accent1"/>
          </a:lnRef>
          <a:fillRef idx="0">
            <a:schemeClr val="accent1"/>
          </a:fillRef>
          <a:effectRef idx="0">
            <a:schemeClr val="accent1"/>
          </a:effectRef>
          <a:fontRef idx="minor">
            <a:schemeClr val="tx1"/>
          </a:fontRef>
        </p:style>
      </p:cxnSp>
      <p:sp>
        <p:nvSpPr>
          <p:cNvPr id="176" name="Oval 175">
            <a:extLst>
              <a:ext uri="{FF2B5EF4-FFF2-40B4-BE49-F238E27FC236}">
                <a16:creationId xmlns:a16="http://schemas.microsoft.com/office/drawing/2014/main" id="{748EB627-A2FC-D04F-690B-753BA968BB58}"/>
              </a:ext>
            </a:extLst>
          </p:cNvPr>
          <p:cNvSpPr/>
          <p:nvPr/>
        </p:nvSpPr>
        <p:spPr bwMode="gray">
          <a:xfrm>
            <a:off x="4170948" y="2449603"/>
            <a:ext cx="108000" cy="108000"/>
          </a:xfrm>
          <a:prstGeom prst="ellipse">
            <a:avLst/>
          </a:prstGeom>
          <a:solidFill>
            <a:srgbClr val="1CABE3"/>
          </a:solidFill>
          <a:ln w="19050" algn="ctr">
            <a:noFill/>
            <a:miter lim="800000"/>
            <a:headEnd/>
            <a:tailEnd/>
          </a:ln>
        </p:spPr>
        <p:txBody>
          <a:bodyPr wrap="square" lIns="0" tIns="0" rIns="0" bIns="0" rtlCol="0" anchor="ctr"/>
          <a:lstStyle/>
          <a:p>
            <a:pPr algn="ctr"/>
            <a:endParaRPr lang="en-US" dirty="0"/>
          </a:p>
        </p:txBody>
      </p:sp>
      <p:sp>
        <p:nvSpPr>
          <p:cNvPr id="13" name="Rectangle 12">
            <a:extLst>
              <a:ext uri="{FF2B5EF4-FFF2-40B4-BE49-F238E27FC236}">
                <a16:creationId xmlns:a16="http://schemas.microsoft.com/office/drawing/2014/main" id="{454591C3-95C4-CE70-89E0-824C2F9F4608}"/>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09CB43E-328F-42D5-9D46-CC401F3C4941}"/>
              </a:ext>
            </a:extLst>
          </p:cNvPr>
          <p:cNvSpPr/>
          <p:nvPr/>
        </p:nvSpPr>
        <p:spPr>
          <a:xfrm>
            <a:off x="9292664" y="2012605"/>
            <a:ext cx="1303215"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a:solidFill>
                  <a:srgbClr val="000000"/>
                </a:solidFill>
                <a:latin typeface="Open Sans"/>
                <a:ea typeface="Open Sans"/>
                <a:cs typeface="Open Sans"/>
              </a:rPr>
              <a:t>Tímea </a:t>
            </a:r>
            <a:r>
              <a:rPr lang="en-US" sz="1200" b="1" dirty="0" err="1">
                <a:solidFill>
                  <a:srgbClr val="000000"/>
                </a:solidFill>
                <a:latin typeface="Open Sans"/>
                <a:ea typeface="Open Sans"/>
                <a:cs typeface="Open Sans"/>
              </a:rPr>
              <a:t>Gáspár</a:t>
            </a:r>
            <a:endParaRPr lang="en-US" sz="1200" b="1" dirty="0">
              <a:solidFill>
                <a:srgbClr val="000000"/>
              </a:solidFill>
              <a:latin typeface="Open Sans"/>
              <a:ea typeface="Open Sans"/>
              <a:cs typeface="Open Sans"/>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Open Sans"/>
                <a:cs typeface="Open Sans"/>
              </a:rPr>
              <a:t>Manager</a:t>
            </a:r>
            <a:endParaRPr lang="en-US" sz="1200" b="0" i="0" u="none" strike="noStrike" kern="1200" cap="none" spc="0" normalizeH="0" baseline="0" noProof="0" dirty="0">
              <a:ln>
                <a:noFill/>
              </a:ln>
              <a:solidFill>
                <a:srgbClr val="000000"/>
              </a:solidFill>
              <a:effectLst/>
              <a:uLnTx/>
              <a:uFillTx/>
              <a:latin typeface="+mj-lt"/>
              <a:ea typeface="Open Sans"/>
              <a:cs typeface="Open Sans"/>
            </a:endParaRPr>
          </a:p>
        </p:txBody>
      </p:sp>
      <p:sp>
        <p:nvSpPr>
          <p:cNvPr id="16" name="Rectangle 15">
            <a:extLst>
              <a:ext uri="{FF2B5EF4-FFF2-40B4-BE49-F238E27FC236}">
                <a16:creationId xmlns:a16="http://schemas.microsoft.com/office/drawing/2014/main" id="{5980B4A3-3C5D-F01A-94E1-48726B1F09E1}"/>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a:rPr>
              <a:t>CHAPTER LEAD EXPERT</a:t>
            </a:r>
            <a:endParaRPr kumimoji="0" lang="en-US" sz="1200" b="0" i="1" u="none" strike="noStrike" kern="1200" cap="none" spc="300" normalizeH="0" baseline="0" noProof="0" dirty="0">
              <a:ln>
                <a:noFill/>
              </a:ln>
              <a:solidFill>
                <a:srgbClr val="38B6FF"/>
              </a:solidFill>
              <a:effectLst/>
              <a:uLnTx/>
              <a:uFillTx/>
              <a:latin typeface="Open Sans"/>
            </a:endParaRPr>
          </a:p>
        </p:txBody>
      </p:sp>
      <p:pic>
        <p:nvPicPr>
          <p:cNvPr id="19" name="Picture 4" descr="Linkedin logo png - greorder">
            <a:hlinkClick r:id="rId7"/>
            <a:extLst>
              <a:ext uri="{FF2B5EF4-FFF2-40B4-BE49-F238E27FC236}">
                <a16:creationId xmlns:a16="http://schemas.microsoft.com/office/drawing/2014/main" id="{A99CC50A-14D6-FC48-6AD9-0721FE72C5B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392500" y="2069320"/>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49981C8D-EB65-ACF2-279E-637C8ECF7A8F}"/>
              </a:ext>
            </a:extLst>
          </p:cNvPr>
          <p:cNvSpPr/>
          <p:nvPr/>
        </p:nvSpPr>
        <p:spPr>
          <a:xfrm>
            <a:off x="9292664" y="2441825"/>
            <a:ext cx="2697252"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b="1" i="1" dirty="0">
                <a:highlight>
                  <a:srgbClr val="FFFF00"/>
                </a:highlight>
              </a:rPr>
              <a:t>“How chapter lead can connect to UNICEF values / experience...- detail it here”</a:t>
            </a:r>
            <a:endParaRPr kumimoji="0" lang="en-US" sz="900" b="1" i="1" u="none" strike="noStrike" kern="1200" cap="none" normalizeH="0" baseline="0" noProof="0" dirty="0">
              <a:ln>
                <a:noFill/>
              </a:ln>
              <a:effectLst/>
              <a:highlight>
                <a:srgbClr val="FFFF00"/>
              </a:highlight>
              <a:uLnTx/>
              <a:uFillTx/>
            </a:endParaRPr>
          </a:p>
        </p:txBody>
      </p:sp>
      <p:sp>
        <p:nvSpPr>
          <p:cNvPr id="30" name="Rectangle 29">
            <a:extLst>
              <a:ext uri="{FF2B5EF4-FFF2-40B4-BE49-F238E27FC236}">
                <a16:creationId xmlns:a16="http://schemas.microsoft.com/office/drawing/2014/main" id="{C33C6A5C-5790-1FE0-6924-5AC267F4B372}"/>
              </a:ext>
            </a:extLst>
          </p:cNvPr>
          <p:cNvSpPr/>
          <p:nvPr/>
        </p:nvSpPr>
        <p:spPr>
          <a:xfrm>
            <a:off x="9310310" y="2773992"/>
            <a:ext cx="2805489" cy="78483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dirty="0"/>
              <a:t>With more than 7 years of professional experience at Deloitte, </a:t>
            </a:r>
            <a:r>
              <a:rPr lang="en-US" sz="900" dirty="0" err="1"/>
              <a:t>Tímea</a:t>
            </a:r>
            <a:r>
              <a:rPr lang="en-US" sz="900" dirty="0"/>
              <a:t> has gained relevant knowledge and expertise in project management related to numerous operational transformation and IT implementation projects.</a:t>
            </a:r>
          </a:p>
        </p:txBody>
      </p:sp>
      <p:sp>
        <p:nvSpPr>
          <p:cNvPr id="5" name="Oval 4">
            <a:extLst>
              <a:ext uri="{FF2B5EF4-FFF2-40B4-BE49-F238E27FC236}">
                <a16:creationId xmlns:a16="http://schemas.microsoft.com/office/drawing/2014/main" id="{AF28B542-B356-362E-03C3-96435D2C0EAA}"/>
              </a:ext>
            </a:extLst>
          </p:cNvPr>
          <p:cNvSpPr/>
          <p:nvPr/>
        </p:nvSpPr>
        <p:spPr bwMode="gray">
          <a:xfrm>
            <a:off x="878258" y="3596617"/>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4" name="Rectangle: Rounded Corners 3">
            <a:extLst>
              <a:ext uri="{FF2B5EF4-FFF2-40B4-BE49-F238E27FC236}">
                <a16:creationId xmlns:a16="http://schemas.microsoft.com/office/drawing/2014/main" id="{D90EB674-5ACF-55D2-1E6F-37B05E275A48}"/>
              </a:ext>
            </a:extLst>
          </p:cNvPr>
          <p:cNvSpPr/>
          <p:nvPr/>
        </p:nvSpPr>
        <p:spPr bwMode="gray">
          <a:xfrm>
            <a:off x="1047204" y="3418320"/>
            <a:ext cx="1994760" cy="495074"/>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1" name="TextBox 10">
            <a:extLst>
              <a:ext uri="{FF2B5EF4-FFF2-40B4-BE49-F238E27FC236}">
                <a16:creationId xmlns:a16="http://schemas.microsoft.com/office/drawing/2014/main" id="{F457143F-5A92-1C10-E97D-9105A0EF69BF}"/>
              </a:ext>
            </a:extLst>
          </p:cNvPr>
          <p:cNvSpPr txBox="1"/>
          <p:nvPr/>
        </p:nvSpPr>
        <p:spPr>
          <a:xfrm>
            <a:off x="1109960" y="3456084"/>
            <a:ext cx="1932004" cy="424047"/>
          </a:xfrm>
          <a:prstGeom prst="rect">
            <a:avLst/>
          </a:prstGeom>
          <a:noFill/>
        </p:spPr>
        <p:txBody>
          <a:bodyPr wrap="square" lIns="0" tIns="0" rIns="0" bIns="0" rtlCol="0" anchor="t">
            <a:noAutofit/>
          </a:bodyPr>
          <a:lstStyle/>
          <a:p>
            <a:pPr>
              <a:spcAft>
                <a:spcPts val="1000"/>
              </a:spcAft>
            </a:pPr>
            <a:r>
              <a:rPr lang="en-US" sz="900" b="1" dirty="0">
                <a:latin typeface="Open Sans"/>
                <a:ea typeface="Open Sans Light"/>
                <a:cs typeface="Open Sans Light"/>
              </a:rPr>
              <a:t>PROVIDE EFFECTIVE COLLABORATION AND</a:t>
            </a:r>
            <a:r>
              <a:rPr lang="en-US" sz="900" b="1">
                <a:latin typeface="Open Sans"/>
                <a:ea typeface="Open Sans Light"/>
                <a:cs typeface="Open Sans Light"/>
              </a:rPr>
              <a:t> </a:t>
            </a:r>
            <a:r>
              <a:rPr lang="en-US" sz="900" b="1" dirty="0">
                <a:latin typeface="Open Sans"/>
                <a:ea typeface="Open Sans Light"/>
                <a:cs typeface="Open Sans Light"/>
              </a:rPr>
              <a:t>COMMON UNDERSTANDING OF SCOPE</a:t>
            </a:r>
            <a:endParaRPr lang="en-US" dirty="0"/>
          </a:p>
        </p:txBody>
      </p:sp>
      <p:sp>
        <p:nvSpPr>
          <p:cNvPr id="15" name="Rectangle: Rounded Corners 14">
            <a:extLst>
              <a:ext uri="{FF2B5EF4-FFF2-40B4-BE49-F238E27FC236}">
                <a16:creationId xmlns:a16="http://schemas.microsoft.com/office/drawing/2014/main" id="{1DA37FC1-71AE-5C07-31BE-573FB0A55BF9}"/>
              </a:ext>
            </a:extLst>
          </p:cNvPr>
          <p:cNvSpPr/>
          <p:nvPr/>
        </p:nvSpPr>
        <p:spPr bwMode="gray">
          <a:xfrm>
            <a:off x="1049985" y="4554233"/>
            <a:ext cx="199197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8" name="TextBox 17">
            <a:extLst>
              <a:ext uri="{FF2B5EF4-FFF2-40B4-BE49-F238E27FC236}">
                <a16:creationId xmlns:a16="http://schemas.microsoft.com/office/drawing/2014/main" id="{3202C0B7-4108-22AF-5E70-2CDD404B3CAF}"/>
              </a:ext>
            </a:extLst>
          </p:cNvPr>
          <p:cNvSpPr txBox="1"/>
          <p:nvPr/>
        </p:nvSpPr>
        <p:spPr>
          <a:xfrm>
            <a:off x="1114135" y="4591998"/>
            <a:ext cx="1564865" cy="246222"/>
          </a:xfrm>
          <a:prstGeom prst="rect">
            <a:avLst/>
          </a:prstGeom>
          <a:noFill/>
        </p:spPr>
        <p:txBody>
          <a:bodyPr wrap="square" lIns="0" tIns="0" rIns="0" bIns="0" rtlCol="0" anchor="t">
            <a:noAutofit/>
          </a:bodyPr>
          <a:lstStyle/>
          <a:p>
            <a:pPr>
              <a:spcAft>
                <a:spcPts val="1000"/>
              </a:spcAft>
            </a:pPr>
            <a:r>
              <a:rPr lang="en-US" sz="900" b="1" dirty="0">
                <a:latin typeface="Open Sans"/>
                <a:ea typeface="Open Sans Light"/>
                <a:cs typeface="Open Sans Light"/>
              </a:rPr>
              <a:t>ENSURE PROJECT</a:t>
            </a:r>
            <a:r>
              <a:rPr lang="en-US" sz="900" b="1">
                <a:latin typeface="Open Sans"/>
                <a:ea typeface="Open Sans Light"/>
                <a:cs typeface="Open Sans Light"/>
              </a:rPr>
              <a:t> BUDGET,</a:t>
            </a:r>
            <a:r>
              <a:rPr lang="en-US" sz="900" b="1" dirty="0">
                <a:latin typeface="Open Sans"/>
                <a:ea typeface="Open Sans Light"/>
                <a:cs typeface="Open Sans Light"/>
              </a:rPr>
              <a:t> FRAMEWORK, MILESTONES </a:t>
            </a:r>
            <a:endParaRPr lang="en-US" dirty="0"/>
          </a:p>
        </p:txBody>
      </p:sp>
      <p:sp>
        <p:nvSpPr>
          <p:cNvPr id="28" name="Oval 27">
            <a:extLst>
              <a:ext uri="{FF2B5EF4-FFF2-40B4-BE49-F238E27FC236}">
                <a16:creationId xmlns:a16="http://schemas.microsoft.com/office/drawing/2014/main" id="{41984F43-9A7C-245C-D85F-E65345DCCCE3}"/>
              </a:ext>
            </a:extLst>
          </p:cNvPr>
          <p:cNvSpPr/>
          <p:nvPr/>
        </p:nvSpPr>
        <p:spPr bwMode="gray">
          <a:xfrm>
            <a:off x="878258" y="4668582"/>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31" name="Rectangle: Rounded Corners 30">
            <a:extLst>
              <a:ext uri="{FF2B5EF4-FFF2-40B4-BE49-F238E27FC236}">
                <a16:creationId xmlns:a16="http://schemas.microsoft.com/office/drawing/2014/main" id="{F632AE8B-A42B-5DDC-6ED6-6CC201884A90}"/>
              </a:ext>
            </a:extLst>
          </p:cNvPr>
          <p:cNvSpPr/>
          <p:nvPr/>
        </p:nvSpPr>
        <p:spPr bwMode="gray">
          <a:xfrm>
            <a:off x="1047383" y="4966298"/>
            <a:ext cx="1994579"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33" name="TextBox 32">
            <a:extLst>
              <a:ext uri="{FF2B5EF4-FFF2-40B4-BE49-F238E27FC236}">
                <a16:creationId xmlns:a16="http://schemas.microsoft.com/office/drawing/2014/main" id="{B9D09ECC-C8A2-C54B-AB8F-B5F9A0A0830F}"/>
              </a:ext>
            </a:extLst>
          </p:cNvPr>
          <p:cNvSpPr txBox="1"/>
          <p:nvPr/>
        </p:nvSpPr>
        <p:spPr>
          <a:xfrm>
            <a:off x="1110139" y="5004063"/>
            <a:ext cx="1814036" cy="246222"/>
          </a:xfrm>
          <a:prstGeom prst="rect">
            <a:avLst/>
          </a:prstGeom>
          <a:noFill/>
        </p:spPr>
        <p:txBody>
          <a:bodyPr wrap="square" lIns="0" tIns="0" rIns="0" bIns="0" rtlCol="0" anchor="t">
            <a:noAutofit/>
          </a:bodyPr>
          <a:lstStyle/>
          <a:p>
            <a:pPr>
              <a:spcAft>
                <a:spcPts val="1000"/>
              </a:spcAft>
            </a:pPr>
            <a:r>
              <a:rPr lang="en-US" sz="900" b="1">
                <a:latin typeface="Open Sans"/>
                <a:ea typeface="Open Sans Light"/>
                <a:cs typeface="Open Sans Light"/>
              </a:rPr>
              <a:t>COMPREHENSIVELY ENSURE THE </a:t>
            </a:r>
            <a:r>
              <a:rPr lang="en-US" sz="900" b="1" dirty="0">
                <a:latin typeface="Open Sans"/>
                <a:ea typeface="Open Sans Light"/>
                <a:cs typeface="Open Sans Light"/>
              </a:rPr>
              <a:t>PROJECT ARTIFACTS</a:t>
            </a:r>
            <a:endParaRPr lang="en-US" dirty="0"/>
          </a:p>
        </p:txBody>
      </p:sp>
      <p:sp>
        <p:nvSpPr>
          <p:cNvPr id="35" name="Oval 34">
            <a:extLst>
              <a:ext uri="{FF2B5EF4-FFF2-40B4-BE49-F238E27FC236}">
                <a16:creationId xmlns:a16="http://schemas.microsoft.com/office/drawing/2014/main" id="{48E00E5E-C5A0-0007-C5A4-A399C9203978}"/>
              </a:ext>
            </a:extLst>
          </p:cNvPr>
          <p:cNvSpPr/>
          <p:nvPr/>
        </p:nvSpPr>
        <p:spPr bwMode="gray">
          <a:xfrm>
            <a:off x="878258" y="5073027"/>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37" name="Rectangle: Rounded Corners 36">
            <a:extLst>
              <a:ext uri="{FF2B5EF4-FFF2-40B4-BE49-F238E27FC236}">
                <a16:creationId xmlns:a16="http://schemas.microsoft.com/office/drawing/2014/main" id="{2FCEB0A3-EDF7-6135-354D-5271EB3F7383}"/>
              </a:ext>
            </a:extLst>
          </p:cNvPr>
          <p:cNvSpPr/>
          <p:nvPr/>
        </p:nvSpPr>
        <p:spPr bwMode="gray">
          <a:xfrm>
            <a:off x="1047204" y="3994344"/>
            <a:ext cx="1994760" cy="495074"/>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40" name="TextBox 39">
            <a:extLst>
              <a:ext uri="{FF2B5EF4-FFF2-40B4-BE49-F238E27FC236}">
                <a16:creationId xmlns:a16="http://schemas.microsoft.com/office/drawing/2014/main" id="{4D382536-8AC8-9731-7582-26CEE5CE5C3B}"/>
              </a:ext>
            </a:extLst>
          </p:cNvPr>
          <p:cNvSpPr txBox="1"/>
          <p:nvPr/>
        </p:nvSpPr>
        <p:spPr>
          <a:xfrm>
            <a:off x="1109960" y="4032108"/>
            <a:ext cx="1932004" cy="424047"/>
          </a:xfrm>
          <a:prstGeom prst="rect">
            <a:avLst/>
          </a:prstGeom>
          <a:noFill/>
        </p:spPr>
        <p:txBody>
          <a:bodyPr wrap="square" lIns="0" tIns="0" rIns="0" bIns="0" rtlCol="0" anchor="t">
            <a:noAutofit/>
          </a:bodyPr>
          <a:lstStyle/>
          <a:p>
            <a:pPr>
              <a:spcAft>
                <a:spcPts val="1000"/>
              </a:spcAft>
            </a:pPr>
            <a:r>
              <a:rPr lang="en-US" sz="900" b="1" dirty="0">
                <a:latin typeface="Open Sans"/>
                <a:ea typeface="Open Sans Light"/>
                <a:cs typeface="Open Sans Light"/>
              </a:rPr>
              <a:t>FACILITATE COLLABORATION BETWEEN TECHNICAL AND BUSINESS EXPERTS</a:t>
            </a:r>
          </a:p>
        </p:txBody>
      </p:sp>
      <p:sp>
        <p:nvSpPr>
          <p:cNvPr id="42" name="Oval 41">
            <a:extLst>
              <a:ext uri="{FF2B5EF4-FFF2-40B4-BE49-F238E27FC236}">
                <a16:creationId xmlns:a16="http://schemas.microsoft.com/office/drawing/2014/main" id="{5D77E1CD-4BF0-7C22-941A-1946037AF953}"/>
              </a:ext>
            </a:extLst>
          </p:cNvPr>
          <p:cNvSpPr/>
          <p:nvPr/>
        </p:nvSpPr>
        <p:spPr bwMode="gray">
          <a:xfrm>
            <a:off x="878258" y="4172641"/>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cxnSp>
        <p:nvCxnSpPr>
          <p:cNvPr id="52" name="Straight Connector 51">
            <a:extLst>
              <a:ext uri="{FF2B5EF4-FFF2-40B4-BE49-F238E27FC236}">
                <a16:creationId xmlns:a16="http://schemas.microsoft.com/office/drawing/2014/main" id="{81C5F556-A447-5729-1095-EE4FD8C57993}"/>
              </a:ext>
            </a:extLst>
          </p:cNvPr>
          <p:cNvCxnSpPr>
            <a:cxnSpLocks/>
          </p:cNvCxnSpPr>
          <p:nvPr/>
        </p:nvCxnSpPr>
        <p:spPr>
          <a:xfrm>
            <a:off x="3016811" y="2916621"/>
            <a:ext cx="252000"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03CA8CE-6727-13BC-3F27-F36DA971024D}"/>
              </a:ext>
            </a:extLst>
          </p:cNvPr>
          <p:cNvCxnSpPr>
            <a:cxnSpLocks/>
          </p:cNvCxnSpPr>
          <p:nvPr/>
        </p:nvCxnSpPr>
        <p:spPr>
          <a:xfrm>
            <a:off x="3016811" y="3418320"/>
            <a:ext cx="252000"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3DECA7F-16C9-E71E-4817-BD1D97F0EA3E}"/>
              </a:ext>
            </a:extLst>
          </p:cNvPr>
          <p:cNvCxnSpPr>
            <a:cxnSpLocks/>
          </p:cNvCxnSpPr>
          <p:nvPr/>
        </p:nvCxnSpPr>
        <p:spPr>
          <a:xfrm>
            <a:off x="3016811" y="3990908"/>
            <a:ext cx="252000"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AC5439A-4CC7-2468-D92E-4A1A1D8F1866}"/>
              </a:ext>
            </a:extLst>
          </p:cNvPr>
          <p:cNvCxnSpPr>
            <a:cxnSpLocks/>
          </p:cNvCxnSpPr>
          <p:nvPr/>
        </p:nvCxnSpPr>
        <p:spPr>
          <a:xfrm>
            <a:off x="3016811" y="4554233"/>
            <a:ext cx="252000"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584A3EB-7B52-C756-8C72-A36F3C9D6313}"/>
              </a:ext>
            </a:extLst>
          </p:cNvPr>
          <p:cNvCxnSpPr>
            <a:cxnSpLocks/>
          </p:cNvCxnSpPr>
          <p:nvPr/>
        </p:nvCxnSpPr>
        <p:spPr>
          <a:xfrm>
            <a:off x="3016811" y="4967468"/>
            <a:ext cx="252000"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3E47B53-EF93-3DFA-7622-03A64D7B3D7C}"/>
              </a:ext>
            </a:extLst>
          </p:cNvPr>
          <p:cNvCxnSpPr>
            <a:cxnSpLocks/>
          </p:cNvCxnSpPr>
          <p:nvPr/>
        </p:nvCxnSpPr>
        <p:spPr>
          <a:xfrm>
            <a:off x="3016811" y="2489947"/>
            <a:ext cx="619200"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739753C-B7DD-3462-721C-C9E44F3C7D2F}"/>
              </a:ext>
            </a:extLst>
          </p:cNvPr>
          <p:cNvCxnSpPr>
            <a:cxnSpLocks/>
          </p:cNvCxnSpPr>
          <p:nvPr/>
        </p:nvCxnSpPr>
        <p:spPr>
          <a:xfrm rot="5400000" flipV="1">
            <a:off x="2044457" y="3734836"/>
            <a:ext cx="2484000"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0656A49B-B0FA-81A0-02EA-77D547400753}"/>
              </a:ext>
            </a:extLst>
          </p:cNvPr>
          <p:cNvSpPr txBox="1"/>
          <p:nvPr/>
        </p:nvSpPr>
        <p:spPr>
          <a:xfrm>
            <a:off x="4820270" y="2641569"/>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95" name="TextBox 94">
            <a:extLst>
              <a:ext uri="{FF2B5EF4-FFF2-40B4-BE49-F238E27FC236}">
                <a16:creationId xmlns:a16="http://schemas.microsoft.com/office/drawing/2014/main" id="{EF42C3A5-54BB-13C3-A43F-8CD94A84893F}"/>
              </a:ext>
            </a:extLst>
          </p:cNvPr>
          <p:cNvSpPr txBox="1"/>
          <p:nvPr/>
        </p:nvSpPr>
        <p:spPr>
          <a:xfrm>
            <a:off x="6480500" y="301021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96" name="TextBox 95">
            <a:extLst>
              <a:ext uri="{FF2B5EF4-FFF2-40B4-BE49-F238E27FC236}">
                <a16:creationId xmlns:a16="http://schemas.microsoft.com/office/drawing/2014/main" id="{BC3B73AF-929A-06E4-FF75-839BAEA1A812}"/>
              </a:ext>
            </a:extLst>
          </p:cNvPr>
          <p:cNvSpPr txBox="1"/>
          <p:nvPr/>
        </p:nvSpPr>
        <p:spPr>
          <a:xfrm>
            <a:off x="6097753" y="288357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97" name="Rectangle: Rounded Corners 96">
            <a:extLst>
              <a:ext uri="{FF2B5EF4-FFF2-40B4-BE49-F238E27FC236}">
                <a16:creationId xmlns:a16="http://schemas.microsoft.com/office/drawing/2014/main" id="{46A868AF-6E8A-8F6B-C3DD-C3FBAFB6F298}"/>
              </a:ext>
            </a:extLst>
          </p:cNvPr>
          <p:cNvSpPr/>
          <p:nvPr/>
        </p:nvSpPr>
        <p:spPr bwMode="gray">
          <a:xfrm>
            <a:off x="4136594" y="2576277"/>
            <a:ext cx="4860357" cy="3269165"/>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98" name="TextBox 97">
            <a:extLst>
              <a:ext uri="{FF2B5EF4-FFF2-40B4-BE49-F238E27FC236}">
                <a16:creationId xmlns:a16="http://schemas.microsoft.com/office/drawing/2014/main" id="{56EE6C06-84A1-1769-4640-038FC9126482}"/>
              </a:ext>
            </a:extLst>
          </p:cNvPr>
          <p:cNvSpPr txBox="1"/>
          <p:nvPr/>
        </p:nvSpPr>
        <p:spPr>
          <a:xfrm>
            <a:off x="4318467" y="2711615"/>
            <a:ext cx="371696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TRANSFORMATION NERVE CENTER (TNC)</a:t>
            </a:r>
          </a:p>
        </p:txBody>
      </p:sp>
      <p:sp>
        <p:nvSpPr>
          <p:cNvPr id="99" name="TextBox 98">
            <a:extLst>
              <a:ext uri="{FF2B5EF4-FFF2-40B4-BE49-F238E27FC236}">
                <a16:creationId xmlns:a16="http://schemas.microsoft.com/office/drawing/2014/main" id="{034C2368-9DB3-9C09-36F9-C310EEBC843B}"/>
              </a:ext>
            </a:extLst>
          </p:cNvPr>
          <p:cNvSpPr txBox="1"/>
          <p:nvPr/>
        </p:nvSpPr>
        <p:spPr>
          <a:xfrm>
            <a:off x="4317041" y="2860010"/>
            <a:ext cx="4518995" cy="2985433"/>
          </a:xfrm>
          <a:prstGeom prst="rect">
            <a:avLst/>
          </a:prstGeom>
          <a:noFill/>
        </p:spPr>
        <p:txBody>
          <a:bodyPr wrap="square" lIns="0" tIns="0" rIns="0" bIns="0" rtlCol="0" anchor="t">
            <a:spAutoFit/>
          </a:bodyPr>
          <a:lstStyle/>
          <a:p>
            <a:pPr>
              <a:spcAft>
                <a:spcPts val="600"/>
              </a:spcAft>
              <a:defRPr/>
            </a:pPr>
            <a:r>
              <a:rPr lang="en-US" sz="800" b="0" i="0" dirty="0">
                <a:solidFill>
                  <a:srgbClr val="000000"/>
                </a:solidFill>
                <a:effectLst/>
                <a:latin typeface="Open Sans" panose="020B0606030504020204" pitchFamily="34" charset="0"/>
              </a:rPr>
              <a:t>The most effective way to avoid mistakes and to implement the change to which executives aspire is through the implementation of a Transformation Nerve </a:t>
            </a:r>
            <a:r>
              <a:rPr lang="en-US" sz="800" b="0" i="0" dirty="0">
                <a:effectLst/>
                <a:latin typeface="Open Sans" panose="020B0606030504020204" pitchFamily="34" charset="0"/>
              </a:rPr>
              <a:t>Center</a:t>
            </a:r>
            <a:r>
              <a:rPr lang="en-US" sz="800" dirty="0">
                <a:latin typeface="Open Sans" panose="020B0606030504020204" pitchFamily="34" charset="0"/>
              </a:rPr>
              <a:t> (TNC)</a:t>
            </a:r>
            <a:r>
              <a:rPr lang="en-US" sz="800" b="0" i="0" dirty="0">
                <a:effectLst/>
                <a:latin typeface="Open Sans" panose="020B0606030504020204" pitchFamily="34" charset="0"/>
              </a:rPr>
              <a:t>. </a:t>
            </a:r>
            <a:br>
              <a:rPr lang="en-US" sz="800" b="0" i="0" dirty="0">
                <a:solidFill>
                  <a:srgbClr val="000000"/>
                </a:solidFill>
                <a:effectLst/>
                <a:latin typeface="Open Sans" panose="020B0606030504020204" pitchFamily="34" charset="0"/>
              </a:rPr>
            </a:br>
            <a:r>
              <a:rPr lang="en-US" sz="800" b="0" i="0" dirty="0">
                <a:solidFill>
                  <a:srgbClr val="000000"/>
                </a:solidFill>
                <a:effectLst/>
                <a:latin typeface="Open Sans" panose="020B0606030504020204" pitchFamily="34" charset="0"/>
              </a:rPr>
              <a:t>TNC </a:t>
            </a:r>
            <a:r>
              <a:rPr lang="en-US" sz="800" dirty="0">
                <a:solidFill>
                  <a:srgbClr val="000000"/>
                </a:solidFill>
                <a:latin typeface="Open Sans" panose="020B0606030504020204" pitchFamily="34" charset="0"/>
              </a:rPr>
              <a:t>i</a:t>
            </a:r>
            <a:r>
              <a:rPr lang="en-US" sz="800" b="0" i="0" dirty="0">
                <a:solidFill>
                  <a:srgbClr val="000000"/>
                </a:solidFill>
                <a:effectLst/>
                <a:latin typeface="Open Sans" panose="020B0606030504020204" pitchFamily="34" charset="0"/>
              </a:rPr>
              <a:t>s designed to help leaders </a:t>
            </a:r>
            <a:r>
              <a:rPr lang="en-US" sz="800" dirty="0">
                <a:solidFill>
                  <a:srgbClr val="000000"/>
                </a:solidFill>
                <a:latin typeface="Open Sans" panose="020B0606030504020204" pitchFamily="34" charset="0"/>
              </a:rPr>
              <a:t>keep execution</a:t>
            </a:r>
            <a:r>
              <a:rPr lang="en-US" sz="800" b="0" i="0" dirty="0">
                <a:solidFill>
                  <a:srgbClr val="000000"/>
                </a:solidFill>
                <a:effectLst/>
                <a:latin typeface="Open Sans" panose="020B0606030504020204" pitchFamily="34" charset="0"/>
              </a:rPr>
              <a:t> on track.</a:t>
            </a:r>
          </a:p>
          <a:p>
            <a:pPr>
              <a:spcAft>
                <a:spcPts val="600"/>
              </a:spcAft>
              <a:defRPr/>
            </a:pPr>
            <a:r>
              <a:rPr lang="en-US" sz="800" b="1" i="0" dirty="0">
                <a:effectLst/>
                <a:latin typeface="Open Sans" panose="020B0606030504020204" pitchFamily="34" charset="0"/>
              </a:rPr>
              <a:t>The outstanding advantages of TNCs are:</a:t>
            </a:r>
          </a:p>
          <a:p>
            <a:pPr marL="446088">
              <a:spcAft>
                <a:spcPts val="600"/>
              </a:spcAft>
              <a:defRPr/>
            </a:pPr>
            <a:r>
              <a:rPr lang="en-US" sz="800" dirty="0">
                <a:solidFill>
                  <a:srgbClr val="000000"/>
                </a:solidFill>
                <a:latin typeface="Open Sans" panose="020B0606030504020204" pitchFamily="34" charset="0"/>
              </a:rPr>
              <a:t>A </a:t>
            </a:r>
            <a:r>
              <a:rPr lang="en-US" sz="800" b="1" dirty="0">
                <a:solidFill>
                  <a:srgbClr val="00A3E0"/>
                </a:solidFill>
                <a:latin typeface="Open Sans" panose="020B0606030504020204" pitchFamily="34" charset="0"/>
              </a:rPr>
              <a:t>TNC house capabilities most critical to the transformation under unified leadership </a:t>
            </a:r>
            <a:r>
              <a:rPr lang="en-US" sz="800" dirty="0">
                <a:solidFill>
                  <a:srgbClr val="000000"/>
                </a:solidFill>
                <a:latin typeface="Open Sans" panose="020B0606030504020204" pitchFamily="34" charset="0"/>
              </a:rPr>
              <a:t>with broader decision rights and a singular focus on architecting, orchestrating, and governing the transformation.</a:t>
            </a:r>
          </a:p>
          <a:p>
            <a:pPr marL="446088">
              <a:spcAft>
                <a:spcPts val="1200"/>
              </a:spcAft>
              <a:defRPr/>
            </a:pPr>
            <a:r>
              <a:rPr lang="en-US" sz="800" dirty="0">
                <a:solidFill>
                  <a:srgbClr val="000000"/>
                </a:solidFill>
                <a:latin typeface="Open Sans" panose="020B0606030504020204" pitchFamily="34" charset="0"/>
              </a:rPr>
              <a:t>Leaders can design a center to </a:t>
            </a:r>
            <a:r>
              <a:rPr lang="en-US" sz="800" b="1" dirty="0">
                <a:solidFill>
                  <a:srgbClr val="00A3E0"/>
                </a:solidFill>
                <a:latin typeface="Open Sans" panose="020B0606030504020204" pitchFamily="34" charset="0"/>
              </a:rPr>
              <a:t>successfully overcome</a:t>
            </a:r>
            <a:r>
              <a:rPr lang="en-US" sz="800" dirty="0">
                <a:solidFill>
                  <a:srgbClr val="00A3E0"/>
                </a:solidFill>
                <a:latin typeface="Open Sans" panose="020B0606030504020204" pitchFamily="34" charset="0"/>
              </a:rPr>
              <a:t> </a:t>
            </a:r>
            <a:r>
              <a:rPr lang="en-US" sz="800" dirty="0">
                <a:solidFill>
                  <a:srgbClr val="000000"/>
                </a:solidFill>
                <a:latin typeface="Open Sans" panose="020B0606030504020204" pitchFamily="34" charset="0"/>
              </a:rPr>
              <a:t>some </a:t>
            </a:r>
            <a:r>
              <a:rPr lang="en-US" sz="800" b="1" dirty="0">
                <a:solidFill>
                  <a:srgbClr val="00A3E0"/>
                </a:solidFill>
                <a:latin typeface="Open Sans" panose="020B0606030504020204" pitchFamily="34" charset="0"/>
              </a:rPr>
              <a:t>of the most common reasons transformations fail</a:t>
            </a:r>
            <a:r>
              <a:rPr lang="en-US" sz="800" dirty="0">
                <a:solidFill>
                  <a:srgbClr val="000000"/>
                </a:solidFill>
                <a:latin typeface="Open Sans" panose="020B0606030504020204" pitchFamily="34" charset="0"/>
              </a:rPr>
              <a:t>, including employee resistance, inadequate sponsorship, and poor project management.</a:t>
            </a:r>
            <a:endParaRPr lang="en-US" sz="800" b="0" i="0" dirty="0">
              <a:solidFill>
                <a:srgbClr val="000000"/>
              </a:solidFill>
              <a:effectLst/>
              <a:latin typeface="Open Sans" panose="020B0606030504020204" pitchFamily="34" charset="0"/>
            </a:endParaRPr>
          </a:p>
          <a:p>
            <a:pPr>
              <a:spcAft>
                <a:spcPts val="600"/>
              </a:spcAft>
              <a:defRPr/>
            </a:pPr>
            <a:r>
              <a:rPr lang="en-US" sz="800" b="1" i="0" dirty="0">
                <a:solidFill>
                  <a:srgbClr val="000000"/>
                </a:solidFill>
                <a:effectLst/>
                <a:latin typeface="Open Sans" panose="020B0606030504020204" pitchFamily="34" charset="0"/>
              </a:rPr>
              <a:t>Compare to traditional project management offices </a:t>
            </a:r>
            <a:r>
              <a:rPr lang="en-US" sz="800" b="0" i="0" dirty="0">
                <a:solidFill>
                  <a:srgbClr val="000000"/>
                </a:solidFill>
                <a:effectLst/>
                <a:latin typeface="Open Sans" panose="020B0606030504020204" pitchFamily="34" charset="0"/>
              </a:rPr>
              <a:t>TNCs are managing a </a:t>
            </a:r>
            <a:r>
              <a:rPr lang="en-US" sz="800" b="1" i="0" dirty="0">
                <a:solidFill>
                  <a:srgbClr val="00A3E0"/>
                </a:solidFill>
                <a:effectLst/>
                <a:latin typeface="Open Sans" panose="020B0606030504020204" pitchFamily="34" charset="0"/>
              </a:rPr>
              <a:t>wider range of functions </a:t>
            </a:r>
            <a:r>
              <a:rPr lang="en-US" sz="800" b="0" i="0" dirty="0">
                <a:solidFill>
                  <a:srgbClr val="000000"/>
                </a:solidFill>
                <a:effectLst/>
                <a:latin typeface="Open Sans" panose="020B0606030504020204" pitchFamily="34" charset="0"/>
              </a:rPr>
              <a:t>and should consistently emphasize </a:t>
            </a:r>
            <a:r>
              <a:rPr lang="en-US" sz="800" b="1" i="0" dirty="0">
                <a:solidFill>
                  <a:srgbClr val="00A3E0"/>
                </a:solidFill>
                <a:effectLst/>
                <a:latin typeface="Open Sans" panose="020B0606030504020204" pitchFamily="34" charset="0"/>
              </a:rPr>
              <a:t>agile execution and decision-making</a:t>
            </a:r>
            <a:r>
              <a:rPr lang="en-US" sz="800" b="0" i="0" dirty="0">
                <a:solidFill>
                  <a:srgbClr val="000000"/>
                </a:solidFill>
                <a:effectLst/>
                <a:latin typeface="Open Sans" panose="020B0606030504020204" pitchFamily="34" charset="0"/>
              </a:rPr>
              <a:t>.</a:t>
            </a:r>
          </a:p>
          <a:p>
            <a:pPr>
              <a:spcAft>
                <a:spcPts val="600"/>
              </a:spcAft>
              <a:defRPr/>
            </a:pPr>
            <a:r>
              <a:rPr lang="en-US" sz="800" b="1" dirty="0">
                <a:solidFill>
                  <a:srgbClr val="000000"/>
                </a:solidFill>
                <a:latin typeface="Open Sans" panose="020B0606030504020204" pitchFamily="34" charset="0"/>
              </a:rPr>
              <a:t>Key differences that are special in TNC:</a:t>
            </a:r>
          </a:p>
          <a:p>
            <a:pPr marL="449263">
              <a:spcAft>
                <a:spcPts val="600"/>
              </a:spcAft>
              <a:defRPr/>
            </a:pPr>
            <a:r>
              <a:rPr lang="en-US" sz="800" dirty="0">
                <a:solidFill>
                  <a:srgbClr val="000000"/>
                </a:solidFill>
                <a:latin typeface="Open Sans" panose="020B0606030504020204" pitchFamily="34" charset="0"/>
              </a:rPr>
              <a:t>Applying dynamic scoping to ensure the feasibility of each objective</a:t>
            </a:r>
          </a:p>
          <a:p>
            <a:pPr marL="449263">
              <a:spcAft>
                <a:spcPts val="600"/>
              </a:spcAft>
              <a:defRPr/>
            </a:pPr>
            <a:r>
              <a:rPr lang="en-US" sz="800" dirty="0">
                <a:solidFill>
                  <a:srgbClr val="000000"/>
                </a:solidFill>
                <a:latin typeface="Open Sans" panose="020B0606030504020204" pitchFamily="34" charset="0"/>
              </a:rPr>
              <a:t>Managing the transformation budget</a:t>
            </a:r>
          </a:p>
          <a:p>
            <a:pPr marL="449263">
              <a:spcAft>
                <a:spcPts val="600"/>
              </a:spcAft>
              <a:defRPr/>
            </a:pPr>
            <a:r>
              <a:rPr lang="en-US" sz="800" dirty="0">
                <a:solidFill>
                  <a:srgbClr val="000000"/>
                </a:solidFill>
                <a:latin typeface="Open Sans" panose="020B0606030504020204" pitchFamily="34" charset="0"/>
              </a:rPr>
              <a:t>Actively managing multiple workstreams and stakeholders</a:t>
            </a:r>
          </a:p>
          <a:p>
            <a:pPr marL="449263">
              <a:spcAft>
                <a:spcPts val="600"/>
              </a:spcAft>
              <a:defRPr/>
            </a:pPr>
            <a:r>
              <a:rPr lang="en-US" sz="800" dirty="0">
                <a:solidFill>
                  <a:srgbClr val="000000"/>
                </a:solidFill>
                <a:latin typeface="Open Sans" panose="020B0606030504020204" pitchFamily="34" charset="0"/>
              </a:rPr>
              <a:t>Challenge executives and </a:t>
            </a:r>
            <a:r>
              <a:rPr lang="en-US" sz="800" b="0" i="0" dirty="0">
                <a:solidFill>
                  <a:srgbClr val="000000"/>
                </a:solidFill>
                <a:effectLst/>
                <a:latin typeface="Open Sans" panose="020B0606030504020204" pitchFamily="34" charset="0"/>
              </a:rPr>
              <a:t>workstream leaders to consider the organization’s growth aspirations</a:t>
            </a:r>
          </a:p>
        </p:txBody>
      </p:sp>
      <p:grpSp>
        <p:nvGrpSpPr>
          <p:cNvPr id="21" name="Graphic 4">
            <a:extLst>
              <a:ext uri="{FF2B5EF4-FFF2-40B4-BE49-F238E27FC236}">
                <a16:creationId xmlns:a16="http://schemas.microsoft.com/office/drawing/2014/main" id="{11FC227C-B680-1856-04C3-9C4A4DD4537C}"/>
              </a:ext>
            </a:extLst>
          </p:cNvPr>
          <p:cNvGrpSpPr>
            <a:grpSpLocks noChangeAspect="1"/>
          </p:cNvGrpSpPr>
          <p:nvPr/>
        </p:nvGrpSpPr>
        <p:grpSpPr>
          <a:xfrm>
            <a:off x="4360642" y="3518444"/>
            <a:ext cx="324302" cy="324000"/>
            <a:chOff x="4045469" y="918179"/>
            <a:chExt cx="362309" cy="361971"/>
          </a:xfrm>
          <a:solidFill>
            <a:srgbClr val="00B0F2"/>
          </a:solidFill>
        </p:grpSpPr>
        <p:sp>
          <p:nvSpPr>
            <p:cNvPr id="24" name="Graphic 4">
              <a:extLst>
                <a:ext uri="{FF2B5EF4-FFF2-40B4-BE49-F238E27FC236}">
                  <a16:creationId xmlns:a16="http://schemas.microsoft.com/office/drawing/2014/main" id="{30362109-860E-D989-F258-5A73FFD3DF3B}"/>
                </a:ext>
              </a:extLst>
            </p:cNvPr>
            <p:cNvSpPr/>
            <p:nvPr/>
          </p:nvSpPr>
          <p:spPr>
            <a:xfrm>
              <a:off x="4288925" y="1126297"/>
              <a:ext cx="16613" cy="16598"/>
            </a:xfrm>
            <a:custGeom>
              <a:avLst/>
              <a:gdLst>
                <a:gd name="connsiteX0" fmla="*/ 16614 w 16613"/>
                <a:gd name="connsiteY0" fmla="*/ 8299 h 16598"/>
                <a:gd name="connsiteX1" fmla="*/ 8307 w 16613"/>
                <a:gd name="connsiteY1" fmla="*/ 16598 h 16598"/>
                <a:gd name="connsiteX2" fmla="*/ 0 w 16613"/>
                <a:gd name="connsiteY2" fmla="*/ 8299 h 16598"/>
                <a:gd name="connsiteX3" fmla="*/ 8307 w 16613"/>
                <a:gd name="connsiteY3" fmla="*/ 0 h 16598"/>
                <a:gd name="connsiteX4" fmla="*/ 16614 w 16613"/>
                <a:gd name="connsiteY4" fmla="*/ 8299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16614" y="8299"/>
                  </a:moveTo>
                  <a:cubicBezTo>
                    <a:pt x="16614" y="12883"/>
                    <a:pt x="12895" y="16598"/>
                    <a:pt x="8307" y="16598"/>
                  </a:cubicBezTo>
                  <a:cubicBezTo>
                    <a:pt x="3719" y="16598"/>
                    <a:pt x="0" y="12883"/>
                    <a:pt x="0" y="8299"/>
                  </a:cubicBezTo>
                  <a:cubicBezTo>
                    <a:pt x="0" y="3716"/>
                    <a:pt x="3719" y="0"/>
                    <a:pt x="8307" y="0"/>
                  </a:cubicBezTo>
                  <a:cubicBezTo>
                    <a:pt x="12895" y="0"/>
                    <a:pt x="16614" y="3716"/>
                    <a:pt x="16614" y="8299"/>
                  </a:cubicBez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E4AB8114-F832-C0AB-C9D3-89BD55F53400}"/>
                </a:ext>
              </a:extLst>
            </p:cNvPr>
            <p:cNvSpPr/>
            <p:nvPr/>
          </p:nvSpPr>
          <p:spPr>
            <a:xfrm>
              <a:off x="4218636" y="996702"/>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0 w 16613"/>
                <a:gd name="connsiteY4" fmla="*/ 8299 h 16598"/>
                <a:gd name="connsiteX5" fmla="*/ 8307 w 16613"/>
                <a:gd name="connsiteY5" fmla="*/ 16598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8299"/>
                    <a:pt x="0" y="8299"/>
                    <a:pt x="0" y="8299"/>
                  </a:cubicBezTo>
                  <a:cubicBezTo>
                    <a:pt x="0" y="12768"/>
                    <a:pt x="3834" y="16598"/>
                    <a:pt x="8307" y="16598"/>
                  </a:cubicBezTo>
                  <a:close/>
                </a:path>
              </a:pathLst>
            </a:custGeom>
            <a:grpFill/>
            <a:ln w="6390"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6DFCF385-B9E0-A9F1-890C-E5002FAB4BE4}"/>
                </a:ext>
              </a:extLst>
            </p:cNvPr>
            <p:cNvSpPr/>
            <p:nvPr/>
          </p:nvSpPr>
          <p:spPr>
            <a:xfrm>
              <a:off x="4148347" y="1126297"/>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0 w 16613"/>
                <a:gd name="connsiteY4" fmla="*/ 8299 h 16598"/>
                <a:gd name="connsiteX5" fmla="*/ 8307 w 16613"/>
                <a:gd name="connsiteY5" fmla="*/ 16598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8299"/>
                    <a:pt x="0" y="8299"/>
                    <a:pt x="0" y="8299"/>
                  </a:cubicBezTo>
                  <a:cubicBezTo>
                    <a:pt x="0" y="12768"/>
                    <a:pt x="3834" y="16598"/>
                    <a:pt x="8307" y="16598"/>
                  </a:cubicBezTo>
                  <a:close/>
                </a:path>
              </a:pathLst>
            </a:custGeom>
            <a:grpFill/>
            <a:ln w="6390"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E3D4DB19-6D2D-4AA7-A916-F37A3DF0E088}"/>
                </a:ext>
              </a:extLst>
            </p:cNvPr>
            <p:cNvSpPr/>
            <p:nvPr/>
          </p:nvSpPr>
          <p:spPr>
            <a:xfrm>
              <a:off x="4045469" y="918179"/>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51764 w 362309"/>
                <a:gd name="connsiteY6" fmla="*/ 195350 h 361971"/>
                <a:gd name="connsiteX7" fmla="*/ 272850 w 362309"/>
                <a:gd name="connsiteY7" fmla="*/ 216417 h 361971"/>
                <a:gd name="connsiteX8" fmla="*/ 251764 w 362309"/>
                <a:gd name="connsiteY8" fmla="*/ 237484 h 361971"/>
                <a:gd name="connsiteX9" fmla="*/ 230677 w 362309"/>
                <a:gd name="connsiteY9" fmla="*/ 216417 h 361971"/>
                <a:gd name="connsiteX10" fmla="*/ 230677 w 362309"/>
                <a:gd name="connsiteY10" fmla="*/ 216417 h 361971"/>
                <a:gd name="connsiteX11" fmla="*/ 251764 w 362309"/>
                <a:gd name="connsiteY11" fmla="*/ 195350 h 361971"/>
                <a:gd name="connsiteX12" fmla="*/ 251764 w 362309"/>
                <a:gd name="connsiteY12" fmla="*/ 195350 h 361971"/>
                <a:gd name="connsiteX13" fmla="*/ 251764 w 362309"/>
                <a:gd name="connsiteY13" fmla="*/ 195350 h 361971"/>
                <a:gd name="connsiteX14" fmla="*/ 181474 w 362309"/>
                <a:gd name="connsiteY14" fmla="*/ 65755 h 361971"/>
                <a:gd name="connsiteX15" fmla="*/ 202561 w 362309"/>
                <a:gd name="connsiteY15" fmla="*/ 86822 h 361971"/>
                <a:gd name="connsiteX16" fmla="*/ 181474 w 362309"/>
                <a:gd name="connsiteY16" fmla="*/ 107889 h 361971"/>
                <a:gd name="connsiteX17" fmla="*/ 160388 w 362309"/>
                <a:gd name="connsiteY17" fmla="*/ 86822 h 361971"/>
                <a:gd name="connsiteX18" fmla="*/ 160388 w 362309"/>
                <a:gd name="connsiteY18" fmla="*/ 86822 h 361971"/>
                <a:gd name="connsiteX19" fmla="*/ 181474 w 362309"/>
                <a:gd name="connsiteY19" fmla="*/ 65755 h 361971"/>
                <a:gd name="connsiteX20" fmla="*/ 147608 w 362309"/>
                <a:gd name="connsiteY20" fmla="*/ 142363 h 361971"/>
                <a:gd name="connsiteX21" fmla="*/ 173806 w 362309"/>
                <a:gd name="connsiteY21" fmla="*/ 114273 h 361971"/>
                <a:gd name="connsiteX22" fmla="*/ 189142 w 362309"/>
                <a:gd name="connsiteY22" fmla="*/ 114273 h 361971"/>
                <a:gd name="connsiteX23" fmla="*/ 215341 w 362309"/>
                <a:gd name="connsiteY23" fmla="*/ 142363 h 361971"/>
                <a:gd name="connsiteX24" fmla="*/ 215341 w 362309"/>
                <a:gd name="connsiteY24" fmla="*/ 146832 h 361971"/>
                <a:gd name="connsiteX25" fmla="*/ 208951 w 362309"/>
                <a:gd name="connsiteY25" fmla="*/ 153216 h 361971"/>
                <a:gd name="connsiteX26" fmla="*/ 202561 w 362309"/>
                <a:gd name="connsiteY26" fmla="*/ 146832 h 361971"/>
                <a:gd name="connsiteX27" fmla="*/ 202561 w 362309"/>
                <a:gd name="connsiteY27" fmla="*/ 142363 h 361971"/>
                <a:gd name="connsiteX28" fmla="*/ 189142 w 362309"/>
                <a:gd name="connsiteY28" fmla="*/ 127041 h 361971"/>
                <a:gd name="connsiteX29" fmla="*/ 173806 w 362309"/>
                <a:gd name="connsiteY29" fmla="*/ 127041 h 361971"/>
                <a:gd name="connsiteX30" fmla="*/ 160388 w 362309"/>
                <a:gd name="connsiteY30" fmla="*/ 142363 h 361971"/>
                <a:gd name="connsiteX31" fmla="*/ 160388 w 362309"/>
                <a:gd name="connsiteY31" fmla="*/ 146832 h 361971"/>
                <a:gd name="connsiteX32" fmla="*/ 153998 w 362309"/>
                <a:gd name="connsiteY32" fmla="*/ 153216 h 361971"/>
                <a:gd name="connsiteX33" fmla="*/ 147608 w 362309"/>
                <a:gd name="connsiteY33" fmla="*/ 146832 h 361971"/>
                <a:gd name="connsiteX34" fmla="*/ 147608 w 362309"/>
                <a:gd name="connsiteY34" fmla="*/ 142363 h 361971"/>
                <a:gd name="connsiteX35" fmla="*/ 111185 w 362309"/>
                <a:gd name="connsiteY35" fmla="*/ 195350 h 361971"/>
                <a:gd name="connsiteX36" fmla="*/ 132272 w 362309"/>
                <a:gd name="connsiteY36" fmla="*/ 216417 h 361971"/>
                <a:gd name="connsiteX37" fmla="*/ 111185 w 362309"/>
                <a:gd name="connsiteY37" fmla="*/ 237484 h 361971"/>
                <a:gd name="connsiteX38" fmla="*/ 90098 w 362309"/>
                <a:gd name="connsiteY38" fmla="*/ 216417 h 361971"/>
                <a:gd name="connsiteX39" fmla="*/ 90098 w 362309"/>
                <a:gd name="connsiteY39" fmla="*/ 216417 h 361971"/>
                <a:gd name="connsiteX40" fmla="*/ 111185 w 362309"/>
                <a:gd name="connsiteY40" fmla="*/ 195350 h 361971"/>
                <a:gd name="connsiteX41" fmla="*/ 145052 w 362309"/>
                <a:gd name="connsiteY41" fmla="*/ 276426 h 361971"/>
                <a:gd name="connsiteX42" fmla="*/ 138662 w 362309"/>
                <a:gd name="connsiteY42" fmla="*/ 282810 h 361971"/>
                <a:gd name="connsiteX43" fmla="*/ 132272 w 362309"/>
                <a:gd name="connsiteY43" fmla="*/ 276426 h 361971"/>
                <a:gd name="connsiteX44" fmla="*/ 132272 w 362309"/>
                <a:gd name="connsiteY44" fmla="*/ 271958 h 361971"/>
                <a:gd name="connsiteX45" fmla="*/ 118853 w 362309"/>
                <a:gd name="connsiteY45" fmla="*/ 256636 h 361971"/>
                <a:gd name="connsiteX46" fmla="*/ 103517 w 362309"/>
                <a:gd name="connsiteY46" fmla="*/ 256636 h 361971"/>
                <a:gd name="connsiteX47" fmla="*/ 90098 w 362309"/>
                <a:gd name="connsiteY47" fmla="*/ 271958 h 361971"/>
                <a:gd name="connsiteX48" fmla="*/ 90098 w 362309"/>
                <a:gd name="connsiteY48" fmla="*/ 276426 h 361971"/>
                <a:gd name="connsiteX49" fmla="*/ 83708 w 362309"/>
                <a:gd name="connsiteY49" fmla="*/ 282810 h 361971"/>
                <a:gd name="connsiteX50" fmla="*/ 77318 w 362309"/>
                <a:gd name="connsiteY50" fmla="*/ 276426 h 361971"/>
                <a:gd name="connsiteX51" fmla="*/ 77318 w 362309"/>
                <a:gd name="connsiteY51" fmla="*/ 271958 h 361971"/>
                <a:gd name="connsiteX52" fmla="*/ 103517 w 362309"/>
                <a:gd name="connsiteY52" fmla="*/ 243868 h 361971"/>
                <a:gd name="connsiteX53" fmla="*/ 118853 w 362309"/>
                <a:gd name="connsiteY53" fmla="*/ 243868 h 361971"/>
                <a:gd name="connsiteX54" fmla="*/ 145052 w 362309"/>
                <a:gd name="connsiteY54" fmla="*/ 271958 h 361971"/>
                <a:gd name="connsiteX55" fmla="*/ 145052 w 362309"/>
                <a:gd name="connsiteY55" fmla="*/ 276426 h 361971"/>
                <a:gd name="connsiteX56" fmla="*/ 212785 w 362309"/>
                <a:gd name="connsiteY56" fmla="*/ 230462 h 361971"/>
                <a:gd name="connsiteX57" fmla="*/ 208951 w 362309"/>
                <a:gd name="connsiteY57" fmla="*/ 229185 h 361971"/>
                <a:gd name="connsiteX58" fmla="*/ 182113 w 362309"/>
                <a:gd name="connsiteY58" fmla="*/ 206841 h 361971"/>
                <a:gd name="connsiteX59" fmla="*/ 154637 w 362309"/>
                <a:gd name="connsiteY59" fmla="*/ 227908 h 361971"/>
                <a:gd name="connsiteX60" fmla="*/ 150803 w 362309"/>
                <a:gd name="connsiteY60" fmla="*/ 229185 h 361971"/>
                <a:gd name="connsiteX61" fmla="*/ 145691 w 362309"/>
                <a:gd name="connsiteY61" fmla="*/ 226631 h 361971"/>
                <a:gd name="connsiteX62" fmla="*/ 146969 w 362309"/>
                <a:gd name="connsiteY62" fmla="*/ 217694 h 361971"/>
                <a:gd name="connsiteX63" fmla="*/ 175723 w 362309"/>
                <a:gd name="connsiteY63" fmla="*/ 195350 h 361971"/>
                <a:gd name="connsiteX64" fmla="*/ 175723 w 362309"/>
                <a:gd name="connsiteY64" fmla="*/ 168537 h 361971"/>
                <a:gd name="connsiteX65" fmla="*/ 182113 w 362309"/>
                <a:gd name="connsiteY65" fmla="*/ 162153 h 361971"/>
                <a:gd name="connsiteX66" fmla="*/ 188503 w 362309"/>
                <a:gd name="connsiteY66" fmla="*/ 168537 h 361971"/>
                <a:gd name="connsiteX67" fmla="*/ 188503 w 362309"/>
                <a:gd name="connsiteY67" fmla="*/ 195350 h 361971"/>
                <a:gd name="connsiteX68" fmla="*/ 217258 w 362309"/>
                <a:gd name="connsiteY68" fmla="*/ 218971 h 361971"/>
                <a:gd name="connsiteX69" fmla="*/ 217897 w 362309"/>
                <a:gd name="connsiteY69" fmla="*/ 227908 h 361971"/>
                <a:gd name="connsiteX70" fmla="*/ 217897 w 362309"/>
                <a:gd name="connsiteY70" fmla="*/ 227908 h 361971"/>
                <a:gd name="connsiteX71" fmla="*/ 212785 w 362309"/>
                <a:gd name="connsiteY71" fmla="*/ 230462 h 361971"/>
                <a:gd name="connsiteX72" fmla="*/ 212785 w 362309"/>
                <a:gd name="connsiteY72" fmla="*/ 230462 h 361971"/>
                <a:gd name="connsiteX73" fmla="*/ 286270 w 362309"/>
                <a:gd name="connsiteY73" fmla="*/ 276426 h 361971"/>
                <a:gd name="connsiteX74" fmla="*/ 279880 w 362309"/>
                <a:gd name="connsiteY74" fmla="*/ 282810 h 361971"/>
                <a:gd name="connsiteX75" fmla="*/ 273490 w 362309"/>
                <a:gd name="connsiteY75" fmla="*/ 276426 h 361971"/>
                <a:gd name="connsiteX76" fmla="*/ 273490 w 362309"/>
                <a:gd name="connsiteY76" fmla="*/ 271958 h 361971"/>
                <a:gd name="connsiteX77" fmla="*/ 260071 w 362309"/>
                <a:gd name="connsiteY77" fmla="*/ 256636 h 361971"/>
                <a:gd name="connsiteX78" fmla="*/ 244735 w 362309"/>
                <a:gd name="connsiteY78" fmla="*/ 256636 h 361971"/>
                <a:gd name="connsiteX79" fmla="*/ 231316 w 362309"/>
                <a:gd name="connsiteY79" fmla="*/ 271958 h 361971"/>
                <a:gd name="connsiteX80" fmla="*/ 231316 w 362309"/>
                <a:gd name="connsiteY80" fmla="*/ 276426 h 361971"/>
                <a:gd name="connsiteX81" fmla="*/ 224926 w 362309"/>
                <a:gd name="connsiteY81" fmla="*/ 282810 h 361971"/>
                <a:gd name="connsiteX82" fmla="*/ 218536 w 362309"/>
                <a:gd name="connsiteY82" fmla="*/ 276426 h 361971"/>
                <a:gd name="connsiteX83" fmla="*/ 218536 w 362309"/>
                <a:gd name="connsiteY83" fmla="*/ 271958 h 361971"/>
                <a:gd name="connsiteX84" fmla="*/ 244735 w 362309"/>
                <a:gd name="connsiteY84" fmla="*/ 243868 h 361971"/>
                <a:gd name="connsiteX85" fmla="*/ 260071 w 362309"/>
                <a:gd name="connsiteY85" fmla="*/ 243868 h 361971"/>
                <a:gd name="connsiteX86" fmla="*/ 286270 w 362309"/>
                <a:gd name="connsiteY86" fmla="*/ 271958 h 361971"/>
                <a:gd name="connsiteX87" fmla="*/ 286270 w 362309"/>
                <a:gd name="connsiteY87" fmla="*/ 27642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lnTo>
                    <a:pt x="362310" y="181305"/>
                  </a:lnTo>
                  <a:cubicBezTo>
                    <a:pt x="362310" y="81077"/>
                    <a:pt x="281796" y="0"/>
                    <a:pt x="181474" y="0"/>
                  </a:cubicBezTo>
                  <a:close/>
                  <a:moveTo>
                    <a:pt x="251764" y="195350"/>
                  </a:moveTo>
                  <a:cubicBezTo>
                    <a:pt x="263266" y="195350"/>
                    <a:pt x="272850" y="204926"/>
                    <a:pt x="272850" y="216417"/>
                  </a:cubicBezTo>
                  <a:cubicBezTo>
                    <a:pt x="272850" y="227908"/>
                    <a:pt x="263266" y="237484"/>
                    <a:pt x="251764" y="237484"/>
                  </a:cubicBezTo>
                  <a:cubicBezTo>
                    <a:pt x="240262" y="237484"/>
                    <a:pt x="230677" y="227908"/>
                    <a:pt x="230677" y="216417"/>
                  </a:cubicBezTo>
                  <a:cubicBezTo>
                    <a:pt x="230677" y="216417"/>
                    <a:pt x="230677" y="216417"/>
                    <a:pt x="230677" y="216417"/>
                  </a:cubicBezTo>
                  <a:cubicBezTo>
                    <a:pt x="230677" y="204926"/>
                    <a:pt x="240262" y="195350"/>
                    <a:pt x="251764" y="195350"/>
                  </a:cubicBezTo>
                  <a:cubicBezTo>
                    <a:pt x="251764" y="195350"/>
                    <a:pt x="251764" y="195350"/>
                    <a:pt x="251764" y="195350"/>
                  </a:cubicBezTo>
                  <a:lnTo>
                    <a:pt x="251764" y="195350"/>
                  </a:lnTo>
                  <a:close/>
                  <a:moveTo>
                    <a:pt x="181474" y="65755"/>
                  </a:moveTo>
                  <a:cubicBezTo>
                    <a:pt x="192976" y="65755"/>
                    <a:pt x="202561" y="75331"/>
                    <a:pt x="202561" y="86822"/>
                  </a:cubicBezTo>
                  <a:cubicBezTo>
                    <a:pt x="202561" y="98313"/>
                    <a:pt x="192976" y="107889"/>
                    <a:pt x="181474" y="107889"/>
                  </a:cubicBezTo>
                  <a:cubicBezTo>
                    <a:pt x="169973" y="107889"/>
                    <a:pt x="160388" y="98313"/>
                    <a:pt x="160388" y="86822"/>
                  </a:cubicBezTo>
                  <a:cubicBezTo>
                    <a:pt x="160388" y="86822"/>
                    <a:pt x="160388" y="86822"/>
                    <a:pt x="160388" y="86822"/>
                  </a:cubicBezTo>
                  <a:cubicBezTo>
                    <a:pt x="160388" y="75331"/>
                    <a:pt x="169973" y="65755"/>
                    <a:pt x="181474" y="65755"/>
                  </a:cubicBezTo>
                  <a:close/>
                  <a:moveTo>
                    <a:pt x="147608" y="142363"/>
                  </a:moveTo>
                  <a:cubicBezTo>
                    <a:pt x="146969" y="127041"/>
                    <a:pt x="159110" y="114912"/>
                    <a:pt x="173806" y="114273"/>
                  </a:cubicBezTo>
                  <a:lnTo>
                    <a:pt x="189142" y="114273"/>
                  </a:lnTo>
                  <a:cubicBezTo>
                    <a:pt x="204478" y="114912"/>
                    <a:pt x="215980" y="127041"/>
                    <a:pt x="215341" y="142363"/>
                  </a:cubicBezTo>
                  <a:lnTo>
                    <a:pt x="215341" y="146832"/>
                  </a:lnTo>
                  <a:cubicBezTo>
                    <a:pt x="215341" y="150662"/>
                    <a:pt x="212785" y="153216"/>
                    <a:pt x="208951" y="153216"/>
                  </a:cubicBezTo>
                  <a:cubicBezTo>
                    <a:pt x="205117" y="153216"/>
                    <a:pt x="202561" y="150662"/>
                    <a:pt x="202561" y="146832"/>
                  </a:cubicBezTo>
                  <a:lnTo>
                    <a:pt x="202561" y="142363"/>
                  </a:lnTo>
                  <a:cubicBezTo>
                    <a:pt x="203200" y="134702"/>
                    <a:pt x="196810" y="127680"/>
                    <a:pt x="189142" y="127041"/>
                  </a:cubicBezTo>
                  <a:lnTo>
                    <a:pt x="173806" y="127041"/>
                  </a:lnTo>
                  <a:cubicBezTo>
                    <a:pt x="166138" y="127680"/>
                    <a:pt x="159748" y="134064"/>
                    <a:pt x="160388" y="142363"/>
                  </a:cubicBezTo>
                  <a:lnTo>
                    <a:pt x="160388" y="146832"/>
                  </a:lnTo>
                  <a:cubicBezTo>
                    <a:pt x="160388" y="150662"/>
                    <a:pt x="157832" y="153216"/>
                    <a:pt x="153998" y="153216"/>
                  </a:cubicBezTo>
                  <a:cubicBezTo>
                    <a:pt x="150164" y="153216"/>
                    <a:pt x="147608" y="150662"/>
                    <a:pt x="147608" y="146832"/>
                  </a:cubicBezTo>
                  <a:lnTo>
                    <a:pt x="147608" y="142363"/>
                  </a:lnTo>
                  <a:close/>
                  <a:moveTo>
                    <a:pt x="111185" y="195350"/>
                  </a:moveTo>
                  <a:cubicBezTo>
                    <a:pt x="122687" y="195350"/>
                    <a:pt x="132272" y="204926"/>
                    <a:pt x="132272" y="216417"/>
                  </a:cubicBezTo>
                  <a:cubicBezTo>
                    <a:pt x="132272" y="227908"/>
                    <a:pt x="122687" y="237484"/>
                    <a:pt x="111185" y="237484"/>
                  </a:cubicBezTo>
                  <a:cubicBezTo>
                    <a:pt x="99683" y="237484"/>
                    <a:pt x="90098" y="227908"/>
                    <a:pt x="90098" y="216417"/>
                  </a:cubicBezTo>
                  <a:cubicBezTo>
                    <a:pt x="90098" y="216417"/>
                    <a:pt x="90098" y="216417"/>
                    <a:pt x="90098" y="216417"/>
                  </a:cubicBezTo>
                  <a:cubicBezTo>
                    <a:pt x="90098" y="204926"/>
                    <a:pt x="99683" y="195350"/>
                    <a:pt x="111185" y="195350"/>
                  </a:cubicBezTo>
                  <a:close/>
                  <a:moveTo>
                    <a:pt x="145052" y="276426"/>
                  </a:moveTo>
                  <a:cubicBezTo>
                    <a:pt x="145052" y="280257"/>
                    <a:pt x="142496" y="282810"/>
                    <a:pt x="138662" y="282810"/>
                  </a:cubicBezTo>
                  <a:cubicBezTo>
                    <a:pt x="134828" y="282810"/>
                    <a:pt x="132272" y="280257"/>
                    <a:pt x="132272" y="276426"/>
                  </a:cubicBezTo>
                  <a:lnTo>
                    <a:pt x="132272" y="271958"/>
                  </a:lnTo>
                  <a:cubicBezTo>
                    <a:pt x="132911" y="264297"/>
                    <a:pt x="126521" y="257275"/>
                    <a:pt x="118853" y="256636"/>
                  </a:cubicBezTo>
                  <a:lnTo>
                    <a:pt x="103517" y="256636"/>
                  </a:lnTo>
                  <a:cubicBezTo>
                    <a:pt x="95849" y="257275"/>
                    <a:pt x="89459" y="263659"/>
                    <a:pt x="90098" y="271958"/>
                  </a:cubicBezTo>
                  <a:lnTo>
                    <a:pt x="90098" y="276426"/>
                  </a:lnTo>
                  <a:cubicBezTo>
                    <a:pt x="90098" y="280257"/>
                    <a:pt x="87542" y="282810"/>
                    <a:pt x="83708" y="282810"/>
                  </a:cubicBezTo>
                  <a:cubicBezTo>
                    <a:pt x="79874" y="282810"/>
                    <a:pt x="77318" y="280257"/>
                    <a:pt x="77318" y="276426"/>
                  </a:cubicBezTo>
                  <a:lnTo>
                    <a:pt x="77318" y="271958"/>
                  </a:lnTo>
                  <a:cubicBezTo>
                    <a:pt x="76679" y="256636"/>
                    <a:pt x="88820" y="244507"/>
                    <a:pt x="103517" y="243868"/>
                  </a:cubicBezTo>
                  <a:lnTo>
                    <a:pt x="118853" y="243868"/>
                  </a:lnTo>
                  <a:cubicBezTo>
                    <a:pt x="134189" y="244507"/>
                    <a:pt x="145691" y="256636"/>
                    <a:pt x="145052" y="271958"/>
                  </a:cubicBezTo>
                  <a:lnTo>
                    <a:pt x="145052" y="276426"/>
                  </a:lnTo>
                  <a:close/>
                  <a:moveTo>
                    <a:pt x="212785" y="230462"/>
                  </a:moveTo>
                  <a:cubicBezTo>
                    <a:pt x="211507" y="230462"/>
                    <a:pt x="209590" y="229823"/>
                    <a:pt x="208951" y="229185"/>
                  </a:cubicBezTo>
                  <a:lnTo>
                    <a:pt x="182113" y="206841"/>
                  </a:lnTo>
                  <a:lnTo>
                    <a:pt x="154637" y="227908"/>
                  </a:lnTo>
                  <a:cubicBezTo>
                    <a:pt x="153358" y="228547"/>
                    <a:pt x="152081" y="229185"/>
                    <a:pt x="150803" y="229185"/>
                  </a:cubicBezTo>
                  <a:cubicBezTo>
                    <a:pt x="148886" y="229185"/>
                    <a:pt x="146969" y="228547"/>
                    <a:pt x="145691" y="226631"/>
                  </a:cubicBezTo>
                  <a:cubicBezTo>
                    <a:pt x="143774" y="224078"/>
                    <a:pt x="143774" y="219609"/>
                    <a:pt x="146969" y="217694"/>
                  </a:cubicBezTo>
                  <a:lnTo>
                    <a:pt x="175723" y="195350"/>
                  </a:lnTo>
                  <a:lnTo>
                    <a:pt x="175723" y="168537"/>
                  </a:lnTo>
                  <a:cubicBezTo>
                    <a:pt x="175723" y="164707"/>
                    <a:pt x="178279" y="162153"/>
                    <a:pt x="182113" y="162153"/>
                  </a:cubicBezTo>
                  <a:cubicBezTo>
                    <a:pt x="185947" y="162153"/>
                    <a:pt x="188503" y="164707"/>
                    <a:pt x="188503" y="168537"/>
                  </a:cubicBezTo>
                  <a:lnTo>
                    <a:pt x="188503" y="195350"/>
                  </a:lnTo>
                  <a:lnTo>
                    <a:pt x="217258" y="218971"/>
                  </a:lnTo>
                  <a:cubicBezTo>
                    <a:pt x="219814" y="221524"/>
                    <a:pt x="220453" y="225355"/>
                    <a:pt x="217897" y="227908"/>
                  </a:cubicBezTo>
                  <a:cubicBezTo>
                    <a:pt x="217897" y="227908"/>
                    <a:pt x="217897" y="227908"/>
                    <a:pt x="217897" y="227908"/>
                  </a:cubicBezTo>
                  <a:cubicBezTo>
                    <a:pt x="215980" y="229823"/>
                    <a:pt x="214702" y="230462"/>
                    <a:pt x="212785" y="230462"/>
                  </a:cubicBezTo>
                  <a:lnTo>
                    <a:pt x="212785" y="230462"/>
                  </a:lnTo>
                  <a:close/>
                  <a:moveTo>
                    <a:pt x="286270" y="276426"/>
                  </a:moveTo>
                  <a:cubicBezTo>
                    <a:pt x="286270" y="280257"/>
                    <a:pt x="283713" y="282810"/>
                    <a:pt x="279880" y="282810"/>
                  </a:cubicBezTo>
                  <a:cubicBezTo>
                    <a:pt x="276045" y="282810"/>
                    <a:pt x="273490" y="280257"/>
                    <a:pt x="273490" y="276426"/>
                  </a:cubicBezTo>
                  <a:lnTo>
                    <a:pt x="273490" y="271958"/>
                  </a:lnTo>
                  <a:cubicBezTo>
                    <a:pt x="274128" y="264297"/>
                    <a:pt x="267739" y="257275"/>
                    <a:pt x="260071" y="256636"/>
                  </a:cubicBezTo>
                  <a:lnTo>
                    <a:pt x="244735" y="256636"/>
                  </a:lnTo>
                  <a:cubicBezTo>
                    <a:pt x="237067" y="257275"/>
                    <a:pt x="230677" y="263659"/>
                    <a:pt x="231316" y="271958"/>
                  </a:cubicBezTo>
                  <a:lnTo>
                    <a:pt x="231316" y="276426"/>
                  </a:lnTo>
                  <a:cubicBezTo>
                    <a:pt x="231316" y="280257"/>
                    <a:pt x="228760" y="282810"/>
                    <a:pt x="224926" y="282810"/>
                  </a:cubicBezTo>
                  <a:cubicBezTo>
                    <a:pt x="221092" y="282810"/>
                    <a:pt x="218536" y="280257"/>
                    <a:pt x="218536" y="276426"/>
                  </a:cubicBezTo>
                  <a:lnTo>
                    <a:pt x="218536" y="271958"/>
                  </a:lnTo>
                  <a:cubicBezTo>
                    <a:pt x="217897" y="256636"/>
                    <a:pt x="230038" y="244507"/>
                    <a:pt x="244735" y="243868"/>
                  </a:cubicBezTo>
                  <a:lnTo>
                    <a:pt x="260071" y="243868"/>
                  </a:lnTo>
                  <a:cubicBezTo>
                    <a:pt x="275407" y="244507"/>
                    <a:pt x="286908" y="256636"/>
                    <a:pt x="286270" y="271958"/>
                  </a:cubicBezTo>
                  <a:lnTo>
                    <a:pt x="286270" y="276426"/>
                  </a:lnTo>
                  <a:close/>
                </a:path>
              </a:pathLst>
            </a:custGeom>
            <a:grpFill/>
            <a:ln w="6390" cap="flat">
              <a:noFill/>
              <a:prstDash val="solid"/>
              <a:miter/>
            </a:ln>
          </p:spPr>
          <p:txBody>
            <a:bodyPr rtlCol="0" anchor="ctr"/>
            <a:lstStyle/>
            <a:p>
              <a:endParaRPr lang="en-US"/>
            </a:p>
          </p:txBody>
        </p:sp>
      </p:grpSp>
      <p:grpSp>
        <p:nvGrpSpPr>
          <p:cNvPr id="129" name="Graphic 4">
            <a:extLst>
              <a:ext uri="{FF2B5EF4-FFF2-40B4-BE49-F238E27FC236}">
                <a16:creationId xmlns:a16="http://schemas.microsoft.com/office/drawing/2014/main" id="{17478621-48A1-C4DC-F947-A11A7C731C10}"/>
              </a:ext>
            </a:extLst>
          </p:cNvPr>
          <p:cNvGrpSpPr/>
          <p:nvPr/>
        </p:nvGrpSpPr>
        <p:grpSpPr>
          <a:xfrm>
            <a:off x="4360793" y="3970983"/>
            <a:ext cx="324000" cy="324000"/>
            <a:chOff x="905454" y="3339623"/>
            <a:chExt cx="362309" cy="361971"/>
          </a:xfrm>
          <a:solidFill>
            <a:srgbClr val="00B0F2"/>
          </a:solidFill>
        </p:grpSpPr>
        <p:sp>
          <p:nvSpPr>
            <p:cNvPr id="130" name="Graphic 4">
              <a:extLst>
                <a:ext uri="{FF2B5EF4-FFF2-40B4-BE49-F238E27FC236}">
                  <a16:creationId xmlns:a16="http://schemas.microsoft.com/office/drawing/2014/main" id="{79C38ADC-0E30-A976-8EFA-2CE737496E15}"/>
                </a:ext>
              </a:extLst>
            </p:cNvPr>
            <p:cNvSpPr/>
            <p:nvPr/>
          </p:nvSpPr>
          <p:spPr>
            <a:xfrm>
              <a:off x="1024958" y="3405378"/>
              <a:ext cx="122369" cy="169175"/>
            </a:xfrm>
            <a:custGeom>
              <a:avLst/>
              <a:gdLst>
                <a:gd name="connsiteX0" fmla="*/ 104143 w 122369"/>
                <a:gd name="connsiteY0" fmla="*/ 102144 h 169175"/>
                <a:gd name="connsiteX1" fmla="*/ 101587 w 122369"/>
                <a:gd name="connsiteY1" fmla="*/ 97037 h 169175"/>
                <a:gd name="connsiteX2" fmla="*/ 61331 w 122369"/>
                <a:gd name="connsiteY2" fmla="*/ 0 h 169175"/>
                <a:gd name="connsiteX3" fmla="*/ 23630 w 122369"/>
                <a:gd name="connsiteY3" fmla="*/ 98313 h 169175"/>
                <a:gd name="connsiteX4" fmla="*/ 19796 w 122369"/>
                <a:gd name="connsiteY4" fmla="*/ 104697 h 169175"/>
                <a:gd name="connsiteX5" fmla="*/ 1265 w 122369"/>
                <a:gd name="connsiteY5" fmla="*/ 147470 h 169175"/>
                <a:gd name="connsiteX6" fmla="*/ 37049 w 122369"/>
                <a:gd name="connsiteY6" fmla="*/ 147470 h 169175"/>
                <a:gd name="connsiteX7" fmla="*/ 37049 w 122369"/>
                <a:gd name="connsiteY7" fmla="*/ 147470 h 169175"/>
                <a:gd name="connsiteX8" fmla="*/ 42800 w 122369"/>
                <a:gd name="connsiteY8" fmla="*/ 151939 h 169175"/>
                <a:gd name="connsiteX9" fmla="*/ 61970 w 122369"/>
                <a:gd name="connsiteY9" fmla="*/ 169176 h 169175"/>
                <a:gd name="connsiteX10" fmla="*/ 61970 w 122369"/>
                <a:gd name="connsiteY10" fmla="*/ 169176 h 169175"/>
                <a:gd name="connsiteX11" fmla="*/ 79223 w 122369"/>
                <a:gd name="connsiteY11" fmla="*/ 153216 h 169175"/>
                <a:gd name="connsiteX12" fmla="*/ 85613 w 122369"/>
                <a:gd name="connsiteY12" fmla="*/ 148108 h 169175"/>
                <a:gd name="connsiteX13" fmla="*/ 122035 w 122369"/>
                <a:gd name="connsiteY13" fmla="*/ 147470 h 169175"/>
                <a:gd name="connsiteX14" fmla="*/ 104143 w 122369"/>
                <a:gd name="connsiteY14" fmla="*/ 102144 h 169175"/>
                <a:gd name="connsiteX15" fmla="*/ 72833 w 122369"/>
                <a:gd name="connsiteY15" fmla="*/ 128318 h 169175"/>
                <a:gd name="connsiteX16" fmla="*/ 60692 w 122369"/>
                <a:gd name="connsiteY16" fmla="*/ 130872 h 169175"/>
                <a:gd name="connsiteX17" fmla="*/ 35771 w 122369"/>
                <a:gd name="connsiteY17" fmla="*/ 115550 h 169175"/>
                <a:gd name="connsiteX18" fmla="*/ 48551 w 122369"/>
                <a:gd name="connsiteY18" fmla="*/ 79162 h 169175"/>
                <a:gd name="connsiteX19" fmla="*/ 48551 w 122369"/>
                <a:gd name="connsiteY19" fmla="*/ 79162 h 169175"/>
                <a:gd name="connsiteX20" fmla="*/ 84974 w 122369"/>
                <a:gd name="connsiteY20" fmla="*/ 93206 h 169175"/>
                <a:gd name="connsiteX21" fmla="*/ 72833 w 122369"/>
                <a:gd name="connsiteY21" fmla="*/ 128318 h 169175"/>
                <a:gd name="connsiteX22" fmla="*/ 72833 w 122369"/>
                <a:gd name="connsiteY22" fmla="*/ 128318 h 1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2369" h="169175">
                  <a:moveTo>
                    <a:pt x="104143" y="102144"/>
                  </a:moveTo>
                  <a:cubicBezTo>
                    <a:pt x="102865" y="100867"/>
                    <a:pt x="101587" y="98952"/>
                    <a:pt x="101587" y="97037"/>
                  </a:cubicBezTo>
                  <a:cubicBezTo>
                    <a:pt x="101587" y="96398"/>
                    <a:pt x="101587" y="35112"/>
                    <a:pt x="61331" y="0"/>
                  </a:cubicBezTo>
                  <a:cubicBezTo>
                    <a:pt x="51107" y="8299"/>
                    <a:pt x="21074" y="37027"/>
                    <a:pt x="23630" y="98313"/>
                  </a:cubicBezTo>
                  <a:cubicBezTo>
                    <a:pt x="23630" y="100867"/>
                    <a:pt x="22352" y="103421"/>
                    <a:pt x="19796" y="104697"/>
                  </a:cubicBezTo>
                  <a:cubicBezTo>
                    <a:pt x="4460" y="112997"/>
                    <a:pt x="-3208" y="130233"/>
                    <a:pt x="1265" y="147470"/>
                  </a:cubicBezTo>
                  <a:lnTo>
                    <a:pt x="37049" y="147470"/>
                  </a:lnTo>
                  <a:lnTo>
                    <a:pt x="37049" y="147470"/>
                  </a:lnTo>
                  <a:cubicBezTo>
                    <a:pt x="39605" y="147470"/>
                    <a:pt x="42161" y="149385"/>
                    <a:pt x="42800" y="151939"/>
                  </a:cubicBezTo>
                  <a:cubicBezTo>
                    <a:pt x="42800" y="151939"/>
                    <a:pt x="48551" y="169176"/>
                    <a:pt x="61970" y="169176"/>
                  </a:cubicBezTo>
                  <a:lnTo>
                    <a:pt x="61970" y="169176"/>
                  </a:lnTo>
                  <a:cubicBezTo>
                    <a:pt x="75389" y="169176"/>
                    <a:pt x="78584" y="153854"/>
                    <a:pt x="79223" y="153216"/>
                  </a:cubicBezTo>
                  <a:cubicBezTo>
                    <a:pt x="79862" y="150024"/>
                    <a:pt x="82418" y="148108"/>
                    <a:pt x="85613" y="148108"/>
                  </a:cubicBezTo>
                  <a:lnTo>
                    <a:pt x="122035" y="147470"/>
                  </a:lnTo>
                  <a:cubicBezTo>
                    <a:pt x="123952" y="129595"/>
                    <a:pt x="117562" y="112997"/>
                    <a:pt x="104143" y="102144"/>
                  </a:cubicBezTo>
                  <a:close/>
                  <a:moveTo>
                    <a:pt x="72833" y="128318"/>
                  </a:moveTo>
                  <a:cubicBezTo>
                    <a:pt x="68999" y="130233"/>
                    <a:pt x="65165" y="130872"/>
                    <a:pt x="60692" y="130872"/>
                  </a:cubicBezTo>
                  <a:cubicBezTo>
                    <a:pt x="50468" y="130872"/>
                    <a:pt x="40883" y="125126"/>
                    <a:pt x="35771" y="115550"/>
                  </a:cubicBezTo>
                  <a:cubicBezTo>
                    <a:pt x="29381" y="102144"/>
                    <a:pt x="34493" y="85546"/>
                    <a:pt x="48551" y="79162"/>
                  </a:cubicBezTo>
                  <a:cubicBezTo>
                    <a:pt x="48551" y="79162"/>
                    <a:pt x="48551" y="79162"/>
                    <a:pt x="48551" y="79162"/>
                  </a:cubicBezTo>
                  <a:cubicBezTo>
                    <a:pt x="62609" y="72778"/>
                    <a:pt x="78584" y="79162"/>
                    <a:pt x="84974" y="93206"/>
                  </a:cubicBezTo>
                  <a:cubicBezTo>
                    <a:pt x="91364" y="105974"/>
                    <a:pt x="86252" y="121934"/>
                    <a:pt x="72833" y="128318"/>
                  </a:cubicBezTo>
                  <a:lnTo>
                    <a:pt x="72833" y="128318"/>
                  </a:lnTo>
                  <a:close/>
                </a:path>
              </a:pathLst>
            </a:custGeom>
            <a:grpFill/>
            <a:ln w="6390" cap="flat">
              <a:noFill/>
              <a:prstDash val="solid"/>
              <a:miter/>
            </a:ln>
          </p:spPr>
          <p:txBody>
            <a:bodyPr rtlCol="0" anchor="ctr"/>
            <a:lstStyle/>
            <a:p>
              <a:endParaRPr lang="en-US"/>
            </a:p>
          </p:txBody>
        </p:sp>
        <p:sp>
          <p:nvSpPr>
            <p:cNvPr id="131" name="Graphic 4">
              <a:extLst>
                <a:ext uri="{FF2B5EF4-FFF2-40B4-BE49-F238E27FC236}">
                  <a16:creationId xmlns:a16="http://schemas.microsoft.com/office/drawing/2014/main" id="{88B74747-380D-8A02-61F9-79792262B727}"/>
                </a:ext>
              </a:extLst>
            </p:cNvPr>
            <p:cNvSpPr/>
            <p:nvPr/>
          </p:nvSpPr>
          <p:spPr>
            <a:xfrm>
              <a:off x="1070803" y="3494754"/>
              <a:ext cx="29506" cy="28979"/>
            </a:xfrm>
            <a:custGeom>
              <a:avLst/>
              <a:gdLst>
                <a:gd name="connsiteX0" fmla="*/ 14846 w 29506"/>
                <a:gd name="connsiteY0" fmla="*/ 0 h 28979"/>
                <a:gd name="connsiteX1" fmla="*/ 789 w 29506"/>
                <a:gd name="connsiteY1" fmla="*/ 9576 h 28979"/>
                <a:gd name="connsiteX2" fmla="*/ 9735 w 29506"/>
                <a:gd name="connsiteY2" fmla="*/ 28090 h 28979"/>
                <a:gd name="connsiteX3" fmla="*/ 21236 w 29506"/>
                <a:gd name="connsiteY3" fmla="*/ 27451 h 28979"/>
                <a:gd name="connsiteX4" fmla="*/ 28265 w 29506"/>
                <a:gd name="connsiteY4" fmla="*/ 7661 h 28979"/>
                <a:gd name="connsiteX5" fmla="*/ 14846 w 29506"/>
                <a:gd name="connsiteY5" fmla="*/ 0 h 28979"/>
                <a:gd name="connsiteX6" fmla="*/ 14846 w 29506"/>
                <a:gd name="connsiteY6" fmla="*/ 0 h 2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06" h="28979">
                  <a:moveTo>
                    <a:pt x="14846" y="0"/>
                  </a:moveTo>
                  <a:cubicBezTo>
                    <a:pt x="8456" y="0"/>
                    <a:pt x="2706" y="3831"/>
                    <a:pt x="789" y="9576"/>
                  </a:cubicBezTo>
                  <a:cubicBezTo>
                    <a:pt x="-1767" y="17237"/>
                    <a:pt x="2067" y="25536"/>
                    <a:pt x="9735" y="28090"/>
                  </a:cubicBezTo>
                  <a:cubicBezTo>
                    <a:pt x="13568" y="29367"/>
                    <a:pt x="17402" y="29367"/>
                    <a:pt x="21236" y="27451"/>
                  </a:cubicBezTo>
                  <a:cubicBezTo>
                    <a:pt x="28265" y="23621"/>
                    <a:pt x="31460" y="15322"/>
                    <a:pt x="28265" y="7661"/>
                  </a:cubicBezTo>
                  <a:cubicBezTo>
                    <a:pt x="25709" y="3192"/>
                    <a:pt x="20597" y="0"/>
                    <a:pt x="14846" y="0"/>
                  </a:cubicBezTo>
                  <a:lnTo>
                    <a:pt x="14846" y="0"/>
                  </a:lnTo>
                  <a:close/>
                </a:path>
              </a:pathLst>
            </a:custGeom>
            <a:grpFill/>
            <a:ln w="6390" cap="flat">
              <a:noFill/>
              <a:prstDash val="solid"/>
              <a:miter/>
            </a:ln>
          </p:spPr>
          <p:txBody>
            <a:bodyPr rtlCol="0" anchor="ctr"/>
            <a:lstStyle/>
            <a:p>
              <a:endParaRPr lang="en-US"/>
            </a:p>
          </p:txBody>
        </p:sp>
        <p:sp>
          <p:nvSpPr>
            <p:cNvPr id="132" name="Graphic 4">
              <a:extLst>
                <a:ext uri="{FF2B5EF4-FFF2-40B4-BE49-F238E27FC236}">
                  <a16:creationId xmlns:a16="http://schemas.microsoft.com/office/drawing/2014/main" id="{723CD690-1858-CEE1-71DE-5DE68F054A5A}"/>
                </a:ext>
              </a:extLst>
            </p:cNvPr>
            <p:cNvSpPr/>
            <p:nvPr/>
          </p:nvSpPr>
          <p:spPr>
            <a:xfrm>
              <a:off x="905454" y="3339623"/>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20770 w 362309"/>
                <a:gd name="connsiteY6" fmla="*/ 282810 h 361971"/>
                <a:gd name="connsiteX7" fmla="*/ 114380 w 362309"/>
                <a:gd name="connsiteY7" fmla="*/ 289194 h 361971"/>
                <a:gd name="connsiteX8" fmla="*/ 107990 w 362309"/>
                <a:gd name="connsiteY8" fmla="*/ 282810 h 361971"/>
                <a:gd name="connsiteX9" fmla="*/ 107990 w 362309"/>
                <a:gd name="connsiteY9" fmla="*/ 238761 h 361971"/>
                <a:gd name="connsiteX10" fmla="*/ 114380 w 362309"/>
                <a:gd name="connsiteY10" fmla="*/ 232377 h 361971"/>
                <a:gd name="connsiteX11" fmla="*/ 120770 w 362309"/>
                <a:gd name="connsiteY11" fmla="*/ 238761 h 361971"/>
                <a:gd name="connsiteX12" fmla="*/ 120770 w 362309"/>
                <a:gd name="connsiteY12" fmla="*/ 282810 h 361971"/>
                <a:gd name="connsiteX13" fmla="*/ 153998 w 362309"/>
                <a:gd name="connsiteY13" fmla="*/ 271319 h 361971"/>
                <a:gd name="connsiteX14" fmla="*/ 147608 w 362309"/>
                <a:gd name="connsiteY14" fmla="*/ 277703 h 361971"/>
                <a:gd name="connsiteX15" fmla="*/ 141218 w 362309"/>
                <a:gd name="connsiteY15" fmla="*/ 271319 h 361971"/>
                <a:gd name="connsiteX16" fmla="*/ 141218 w 362309"/>
                <a:gd name="connsiteY16" fmla="*/ 243868 h 361971"/>
                <a:gd name="connsiteX17" fmla="*/ 147608 w 362309"/>
                <a:gd name="connsiteY17" fmla="*/ 237484 h 361971"/>
                <a:gd name="connsiteX18" fmla="*/ 153998 w 362309"/>
                <a:gd name="connsiteY18" fmla="*/ 243868 h 361971"/>
                <a:gd name="connsiteX19" fmla="*/ 153998 w 362309"/>
                <a:gd name="connsiteY19" fmla="*/ 271319 h 361971"/>
                <a:gd name="connsiteX20" fmla="*/ 187225 w 362309"/>
                <a:gd name="connsiteY20" fmla="*/ 304516 h 361971"/>
                <a:gd name="connsiteX21" fmla="*/ 180835 w 362309"/>
                <a:gd name="connsiteY21" fmla="*/ 310900 h 361971"/>
                <a:gd name="connsiteX22" fmla="*/ 174445 w 362309"/>
                <a:gd name="connsiteY22" fmla="*/ 304516 h 361971"/>
                <a:gd name="connsiteX23" fmla="*/ 174445 w 362309"/>
                <a:gd name="connsiteY23" fmla="*/ 259190 h 361971"/>
                <a:gd name="connsiteX24" fmla="*/ 180835 w 362309"/>
                <a:gd name="connsiteY24" fmla="*/ 252806 h 361971"/>
                <a:gd name="connsiteX25" fmla="*/ 187225 w 362309"/>
                <a:gd name="connsiteY25" fmla="*/ 259190 h 361971"/>
                <a:gd name="connsiteX26" fmla="*/ 187225 w 362309"/>
                <a:gd name="connsiteY26" fmla="*/ 304516 h 361971"/>
                <a:gd name="connsiteX27" fmla="*/ 220453 w 362309"/>
                <a:gd name="connsiteY27" fmla="*/ 288556 h 361971"/>
                <a:gd name="connsiteX28" fmla="*/ 214063 w 362309"/>
                <a:gd name="connsiteY28" fmla="*/ 294940 h 361971"/>
                <a:gd name="connsiteX29" fmla="*/ 207673 w 362309"/>
                <a:gd name="connsiteY29" fmla="*/ 288556 h 361971"/>
                <a:gd name="connsiteX30" fmla="*/ 207673 w 362309"/>
                <a:gd name="connsiteY30" fmla="*/ 243230 h 361971"/>
                <a:gd name="connsiteX31" fmla="*/ 214063 w 362309"/>
                <a:gd name="connsiteY31" fmla="*/ 236846 h 361971"/>
                <a:gd name="connsiteX32" fmla="*/ 220453 w 362309"/>
                <a:gd name="connsiteY32" fmla="*/ 243230 h 361971"/>
                <a:gd name="connsiteX33" fmla="*/ 220453 w 362309"/>
                <a:gd name="connsiteY33" fmla="*/ 288556 h 361971"/>
                <a:gd name="connsiteX34" fmla="*/ 253680 w 362309"/>
                <a:gd name="connsiteY34" fmla="*/ 267489 h 361971"/>
                <a:gd name="connsiteX35" fmla="*/ 247291 w 362309"/>
                <a:gd name="connsiteY35" fmla="*/ 273873 h 361971"/>
                <a:gd name="connsiteX36" fmla="*/ 240901 w 362309"/>
                <a:gd name="connsiteY36" fmla="*/ 267489 h 361971"/>
                <a:gd name="connsiteX37" fmla="*/ 240901 w 362309"/>
                <a:gd name="connsiteY37" fmla="*/ 238761 h 361971"/>
                <a:gd name="connsiteX38" fmla="*/ 247291 w 362309"/>
                <a:gd name="connsiteY38" fmla="*/ 232377 h 361971"/>
                <a:gd name="connsiteX39" fmla="*/ 253680 w 362309"/>
                <a:gd name="connsiteY39" fmla="*/ 238761 h 361971"/>
                <a:gd name="connsiteX40" fmla="*/ 253680 w 362309"/>
                <a:gd name="connsiteY40" fmla="*/ 267489 h 361971"/>
                <a:gd name="connsiteX41" fmla="*/ 253680 w 362309"/>
                <a:gd name="connsiteY41" fmla="*/ 220247 h 361971"/>
                <a:gd name="connsiteX42" fmla="*/ 247291 w 362309"/>
                <a:gd name="connsiteY42" fmla="*/ 225355 h 361971"/>
                <a:gd name="connsiteX43" fmla="*/ 210229 w 362309"/>
                <a:gd name="connsiteY43" fmla="*/ 225993 h 361971"/>
                <a:gd name="connsiteX44" fmla="*/ 182752 w 362309"/>
                <a:gd name="connsiteY44" fmla="*/ 247060 h 361971"/>
                <a:gd name="connsiteX45" fmla="*/ 182113 w 362309"/>
                <a:gd name="connsiteY45" fmla="*/ 247060 h 361971"/>
                <a:gd name="connsiteX46" fmla="*/ 152720 w 362309"/>
                <a:gd name="connsiteY46" fmla="*/ 225355 h 361971"/>
                <a:gd name="connsiteX47" fmla="*/ 115658 w 362309"/>
                <a:gd name="connsiteY47" fmla="*/ 225355 h 361971"/>
                <a:gd name="connsiteX48" fmla="*/ 115658 w 362309"/>
                <a:gd name="connsiteY48" fmla="*/ 225355 h 361971"/>
                <a:gd name="connsiteX49" fmla="*/ 109268 w 362309"/>
                <a:gd name="connsiteY49" fmla="*/ 220886 h 361971"/>
                <a:gd name="connsiteX50" fmla="*/ 130355 w 362309"/>
                <a:gd name="connsiteY50" fmla="*/ 160876 h 361971"/>
                <a:gd name="connsiteX51" fmla="*/ 177640 w 362309"/>
                <a:gd name="connsiteY51" fmla="*/ 52349 h 361971"/>
                <a:gd name="connsiteX52" fmla="*/ 184669 w 362309"/>
                <a:gd name="connsiteY52" fmla="*/ 52987 h 361971"/>
                <a:gd name="connsiteX53" fmla="*/ 233872 w 362309"/>
                <a:gd name="connsiteY53" fmla="*/ 160238 h 361971"/>
                <a:gd name="connsiteX54" fmla="*/ 253680 w 362309"/>
                <a:gd name="connsiteY54" fmla="*/ 220247 h 361971"/>
                <a:gd name="connsiteX55" fmla="*/ 253680 w 362309"/>
                <a:gd name="connsiteY55" fmla="*/ 22024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1077"/>
                    <a:pt x="281157" y="0"/>
                    <a:pt x="180835" y="0"/>
                  </a:cubicBezTo>
                  <a:close/>
                  <a:moveTo>
                    <a:pt x="120770" y="282810"/>
                  </a:moveTo>
                  <a:cubicBezTo>
                    <a:pt x="120770" y="286641"/>
                    <a:pt x="118214" y="289194"/>
                    <a:pt x="114380" y="289194"/>
                  </a:cubicBezTo>
                  <a:cubicBezTo>
                    <a:pt x="110546" y="289194"/>
                    <a:pt x="107990" y="286641"/>
                    <a:pt x="107990" y="282810"/>
                  </a:cubicBezTo>
                  <a:lnTo>
                    <a:pt x="107990" y="238761"/>
                  </a:lnTo>
                  <a:cubicBezTo>
                    <a:pt x="107990" y="234930"/>
                    <a:pt x="110546" y="232377"/>
                    <a:pt x="114380" y="232377"/>
                  </a:cubicBezTo>
                  <a:cubicBezTo>
                    <a:pt x="118214" y="232377"/>
                    <a:pt x="120770" y="234930"/>
                    <a:pt x="120770" y="238761"/>
                  </a:cubicBezTo>
                  <a:lnTo>
                    <a:pt x="120770" y="282810"/>
                  </a:lnTo>
                  <a:close/>
                  <a:moveTo>
                    <a:pt x="153998" y="271319"/>
                  </a:moveTo>
                  <a:cubicBezTo>
                    <a:pt x="153998" y="275149"/>
                    <a:pt x="151441" y="277703"/>
                    <a:pt x="147608" y="277703"/>
                  </a:cubicBezTo>
                  <a:cubicBezTo>
                    <a:pt x="143774" y="277703"/>
                    <a:pt x="141218" y="275149"/>
                    <a:pt x="141218" y="271319"/>
                  </a:cubicBezTo>
                  <a:lnTo>
                    <a:pt x="141218" y="243868"/>
                  </a:lnTo>
                  <a:cubicBezTo>
                    <a:pt x="141218" y="240038"/>
                    <a:pt x="143774" y="237484"/>
                    <a:pt x="147608" y="237484"/>
                  </a:cubicBezTo>
                  <a:cubicBezTo>
                    <a:pt x="151441" y="237484"/>
                    <a:pt x="153998" y="240038"/>
                    <a:pt x="153998" y="243868"/>
                  </a:cubicBezTo>
                  <a:lnTo>
                    <a:pt x="153998" y="271319"/>
                  </a:lnTo>
                  <a:close/>
                  <a:moveTo>
                    <a:pt x="187225" y="304516"/>
                  </a:moveTo>
                  <a:cubicBezTo>
                    <a:pt x="187225" y="308346"/>
                    <a:pt x="184669" y="310900"/>
                    <a:pt x="180835" y="310900"/>
                  </a:cubicBezTo>
                  <a:cubicBezTo>
                    <a:pt x="177001" y="310900"/>
                    <a:pt x="174445" y="308346"/>
                    <a:pt x="174445" y="304516"/>
                  </a:cubicBezTo>
                  <a:lnTo>
                    <a:pt x="174445" y="259190"/>
                  </a:lnTo>
                  <a:cubicBezTo>
                    <a:pt x="174445" y="255359"/>
                    <a:pt x="177001" y="252806"/>
                    <a:pt x="180835" y="252806"/>
                  </a:cubicBezTo>
                  <a:cubicBezTo>
                    <a:pt x="184669" y="252806"/>
                    <a:pt x="187225" y="255359"/>
                    <a:pt x="187225" y="259190"/>
                  </a:cubicBezTo>
                  <a:lnTo>
                    <a:pt x="187225" y="304516"/>
                  </a:lnTo>
                  <a:close/>
                  <a:moveTo>
                    <a:pt x="220453" y="288556"/>
                  </a:moveTo>
                  <a:cubicBezTo>
                    <a:pt x="220453" y="292386"/>
                    <a:pt x="217897" y="294940"/>
                    <a:pt x="214063" y="294940"/>
                  </a:cubicBezTo>
                  <a:cubicBezTo>
                    <a:pt x="210229" y="294940"/>
                    <a:pt x="207673" y="292386"/>
                    <a:pt x="207673" y="288556"/>
                  </a:cubicBezTo>
                  <a:lnTo>
                    <a:pt x="207673" y="243230"/>
                  </a:lnTo>
                  <a:cubicBezTo>
                    <a:pt x="207673" y="239399"/>
                    <a:pt x="210229" y="236846"/>
                    <a:pt x="214063" y="236846"/>
                  </a:cubicBezTo>
                  <a:cubicBezTo>
                    <a:pt x="217897" y="236846"/>
                    <a:pt x="220453" y="239399"/>
                    <a:pt x="220453" y="243230"/>
                  </a:cubicBezTo>
                  <a:lnTo>
                    <a:pt x="220453" y="288556"/>
                  </a:lnTo>
                  <a:close/>
                  <a:moveTo>
                    <a:pt x="253680" y="267489"/>
                  </a:moveTo>
                  <a:cubicBezTo>
                    <a:pt x="253680" y="271319"/>
                    <a:pt x="251125" y="273873"/>
                    <a:pt x="247291" y="273873"/>
                  </a:cubicBezTo>
                  <a:cubicBezTo>
                    <a:pt x="243457" y="273873"/>
                    <a:pt x="240901" y="271319"/>
                    <a:pt x="240901" y="267489"/>
                  </a:cubicBezTo>
                  <a:lnTo>
                    <a:pt x="240901" y="238761"/>
                  </a:lnTo>
                  <a:cubicBezTo>
                    <a:pt x="240901" y="234930"/>
                    <a:pt x="243457" y="232377"/>
                    <a:pt x="247291" y="232377"/>
                  </a:cubicBezTo>
                  <a:cubicBezTo>
                    <a:pt x="251125" y="232377"/>
                    <a:pt x="253680" y="234930"/>
                    <a:pt x="253680" y="238761"/>
                  </a:cubicBezTo>
                  <a:lnTo>
                    <a:pt x="253680" y="267489"/>
                  </a:lnTo>
                  <a:close/>
                  <a:moveTo>
                    <a:pt x="253680" y="220247"/>
                  </a:moveTo>
                  <a:cubicBezTo>
                    <a:pt x="253042" y="223439"/>
                    <a:pt x="250486" y="225355"/>
                    <a:pt x="247291" y="225355"/>
                  </a:cubicBezTo>
                  <a:lnTo>
                    <a:pt x="210229" y="225993"/>
                  </a:lnTo>
                  <a:cubicBezTo>
                    <a:pt x="206395" y="238122"/>
                    <a:pt x="195532" y="246422"/>
                    <a:pt x="182752" y="247060"/>
                  </a:cubicBezTo>
                  <a:lnTo>
                    <a:pt x="182113" y="247060"/>
                  </a:lnTo>
                  <a:cubicBezTo>
                    <a:pt x="164860" y="247060"/>
                    <a:pt x="155915" y="233015"/>
                    <a:pt x="152720" y="225355"/>
                  </a:cubicBezTo>
                  <a:lnTo>
                    <a:pt x="115658" y="225355"/>
                  </a:lnTo>
                  <a:lnTo>
                    <a:pt x="115658" y="225355"/>
                  </a:lnTo>
                  <a:cubicBezTo>
                    <a:pt x="112463" y="225355"/>
                    <a:pt x="109907" y="223439"/>
                    <a:pt x="109268" y="220886"/>
                  </a:cubicBezTo>
                  <a:cubicBezTo>
                    <a:pt x="100322" y="188327"/>
                    <a:pt x="117575" y="168537"/>
                    <a:pt x="130355" y="160876"/>
                  </a:cubicBezTo>
                  <a:cubicBezTo>
                    <a:pt x="129077" y="83630"/>
                    <a:pt x="175723" y="53626"/>
                    <a:pt x="177640" y="52349"/>
                  </a:cubicBezTo>
                  <a:cubicBezTo>
                    <a:pt x="180196" y="51072"/>
                    <a:pt x="182752" y="51072"/>
                    <a:pt x="184669" y="52987"/>
                  </a:cubicBezTo>
                  <a:cubicBezTo>
                    <a:pt x="228760" y="87461"/>
                    <a:pt x="233233" y="146193"/>
                    <a:pt x="233872" y="160238"/>
                  </a:cubicBezTo>
                  <a:cubicBezTo>
                    <a:pt x="250486" y="174921"/>
                    <a:pt x="258154" y="197903"/>
                    <a:pt x="253680" y="220247"/>
                  </a:cubicBezTo>
                  <a:lnTo>
                    <a:pt x="253680" y="220247"/>
                  </a:lnTo>
                  <a:close/>
                </a:path>
              </a:pathLst>
            </a:custGeom>
            <a:grpFill/>
            <a:ln w="6390" cap="flat">
              <a:noFill/>
              <a:prstDash val="solid"/>
              <a:miter/>
            </a:ln>
          </p:spPr>
          <p:txBody>
            <a:bodyPr rtlCol="0" anchor="ctr"/>
            <a:lstStyle/>
            <a:p>
              <a:endParaRPr lang="en-US"/>
            </a:p>
          </p:txBody>
        </p:sp>
      </p:grpSp>
      <p:cxnSp>
        <p:nvCxnSpPr>
          <p:cNvPr id="142" name="Straight Connector 141">
            <a:extLst>
              <a:ext uri="{FF2B5EF4-FFF2-40B4-BE49-F238E27FC236}">
                <a16:creationId xmlns:a16="http://schemas.microsoft.com/office/drawing/2014/main" id="{2187FA1B-F0B4-C962-46C8-BE5FEE633330}"/>
              </a:ext>
            </a:extLst>
          </p:cNvPr>
          <p:cNvCxnSpPr>
            <a:cxnSpLocks/>
          </p:cNvCxnSpPr>
          <p:nvPr/>
        </p:nvCxnSpPr>
        <p:spPr>
          <a:xfrm flipH="1">
            <a:off x="4316447" y="4911577"/>
            <a:ext cx="2016000" cy="0"/>
          </a:xfrm>
          <a:prstGeom prst="line">
            <a:avLst/>
          </a:prstGeom>
          <a:ln w="12700">
            <a:solidFill>
              <a:srgbClr val="1CABE3"/>
            </a:solidFill>
            <a:prstDash val="solid"/>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FCDD1C88-9081-10C6-6528-CB44AD8DDD64}"/>
              </a:ext>
            </a:extLst>
          </p:cNvPr>
          <p:cNvCxnSpPr>
            <a:cxnSpLocks/>
          </p:cNvCxnSpPr>
          <p:nvPr/>
        </p:nvCxnSpPr>
        <p:spPr>
          <a:xfrm>
            <a:off x="4588087" y="4911390"/>
            <a:ext cx="130567" cy="129600"/>
          </a:xfrm>
          <a:prstGeom prst="bentConnector3">
            <a:avLst>
              <a:gd name="adj1" fmla="val -4470"/>
            </a:avLst>
          </a:prstGeom>
          <a:ln>
            <a:solidFill>
              <a:srgbClr val="1CABE3"/>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7A7173AC-2AA1-E734-3560-490282B54668}"/>
              </a:ext>
            </a:extLst>
          </p:cNvPr>
          <p:cNvCxnSpPr>
            <a:cxnSpLocks/>
          </p:cNvCxnSpPr>
          <p:nvPr/>
        </p:nvCxnSpPr>
        <p:spPr>
          <a:xfrm rot="16200000" flipH="1">
            <a:off x="4543474" y="5071497"/>
            <a:ext cx="216000" cy="130567"/>
          </a:xfrm>
          <a:prstGeom prst="bentConnector3">
            <a:avLst>
              <a:gd name="adj1" fmla="val 99739"/>
            </a:avLst>
          </a:prstGeom>
          <a:ln>
            <a:solidFill>
              <a:srgbClr val="1CABE3"/>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061AA2D8-01E1-6F5C-E4F2-D817FB66DB5C}"/>
              </a:ext>
            </a:extLst>
          </p:cNvPr>
          <p:cNvCxnSpPr>
            <a:cxnSpLocks/>
          </p:cNvCxnSpPr>
          <p:nvPr/>
        </p:nvCxnSpPr>
        <p:spPr>
          <a:xfrm rot="16200000" flipH="1">
            <a:off x="4543475" y="5262765"/>
            <a:ext cx="216000" cy="130567"/>
          </a:xfrm>
          <a:prstGeom prst="bentConnector3">
            <a:avLst>
              <a:gd name="adj1" fmla="val 99739"/>
            </a:avLst>
          </a:prstGeom>
          <a:ln>
            <a:solidFill>
              <a:srgbClr val="1CABE3"/>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18534331-455D-BCF1-B0FF-B5EAA490D248}"/>
              </a:ext>
            </a:extLst>
          </p:cNvPr>
          <p:cNvCxnSpPr>
            <a:cxnSpLocks/>
          </p:cNvCxnSpPr>
          <p:nvPr/>
        </p:nvCxnSpPr>
        <p:spPr>
          <a:xfrm rot="16200000" flipH="1">
            <a:off x="4543652" y="5462012"/>
            <a:ext cx="216000" cy="130567"/>
          </a:xfrm>
          <a:prstGeom prst="bentConnector3">
            <a:avLst>
              <a:gd name="adj1" fmla="val 99739"/>
            </a:avLst>
          </a:prstGeom>
          <a:ln>
            <a:solidFill>
              <a:srgbClr val="1CABE3"/>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B6456A4B-333A-95A5-02DC-2A5E8F8B3848}"/>
              </a:ext>
            </a:extLst>
          </p:cNvPr>
          <p:cNvCxnSpPr>
            <a:cxnSpLocks/>
          </p:cNvCxnSpPr>
          <p:nvPr/>
        </p:nvCxnSpPr>
        <p:spPr>
          <a:xfrm flipH="1">
            <a:off x="4316447" y="3435201"/>
            <a:ext cx="2088000" cy="0"/>
          </a:xfrm>
          <a:prstGeom prst="line">
            <a:avLst/>
          </a:prstGeom>
          <a:ln w="12700">
            <a:solidFill>
              <a:srgbClr val="1CABE3"/>
            </a:solidFill>
            <a:prstDash val="solid"/>
          </a:ln>
        </p:spPr>
        <p:style>
          <a:lnRef idx="1">
            <a:schemeClr val="accent1"/>
          </a:lnRef>
          <a:fillRef idx="0">
            <a:schemeClr val="accent1"/>
          </a:fillRef>
          <a:effectRef idx="0">
            <a:schemeClr val="accent1"/>
          </a:effectRef>
          <a:fontRef idx="minor">
            <a:schemeClr val="tx1"/>
          </a:fontRef>
        </p:style>
      </p:cxnSp>
      <p:pic>
        <p:nvPicPr>
          <p:cNvPr id="45" name="Picture 44">
            <a:extLst>
              <a:ext uri="{FF2B5EF4-FFF2-40B4-BE49-F238E27FC236}">
                <a16:creationId xmlns:a16="http://schemas.microsoft.com/office/drawing/2014/main" id="{DDF69282-B936-BCA0-8BE6-C3D2407D784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04860" y="496097"/>
            <a:ext cx="1304758" cy="1306800"/>
          </a:xfrm>
          <a:prstGeom prst="rect">
            <a:avLst/>
          </a:prstGeom>
        </p:spPr>
      </p:pic>
      <p:sp>
        <p:nvSpPr>
          <p:cNvPr id="2" name="Flowchart: Connector 1">
            <a:extLst>
              <a:ext uri="{FF2B5EF4-FFF2-40B4-BE49-F238E27FC236}">
                <a16:creationId xmlns:a16="http://schemas.microsoft.com/office/drawing/2014/main" id="{96D63AF2-CC3A-9D29-5779-10D92890E76F}"/>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a:p>
        </p:txBody>
      </p:sp>
      <p:sp>
        <p:nvSpPr>
          <p:cNvPr id="7" name="Rectangle 6">
            <a:extLst>
              <a:ext uri="{FF2B5EF4-FFF2-40B4-BE49-F238E27FC236}">
                <a16:creationId xmlns:a16="http://schemas.microsoft.com/office/drawing/2014/main" id="{6F188080-3592-8D4F-7584-2AD992370E72}"/>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900" i="1" spc="300" dirty="0">
                <a:latin typeface="Open Sans"/>
              </a:rPr>
              <a:t>EXPERTS IN HUNGARY</a:t>
            </a:r>
            <a:endParaRPr kumimoji="0" lang="en-US" sz="900" i="1" u="none" strike="noStrike" kern="1200" cap="none" spc="300" normalizeH="0" baseline="0" noProof="0" dirty="0">
              <a:ln>
                <a:noFill/>
              </a:ln>
              <a:effectLst/>
              <a:uLnTx/>
              <a:uFillTx/>
              <a:latin typeface="Open Sans"/>
            </a:endParaRPr>
          </a:p>
        </p:txBody>
      </p:sp>
      <p:sp>
        <p:nvSpPr>
          <p:cNvPr id="9" name="Rectangle 8">
            <a:extLst>
              <a:ext uri="{FF2B5EF4-FFF2-40B4-BE49-F238E27FC236}">
                <a16:creationId xmlns:a16="http://schemas.microsoft.com/office/drawing/2014/main" id="{9E6480E1-DE59-AA0E-4790-89DCD7B1EB92}"/>
              </a:ext>
            </a:extLst>
          </p:cNvPr>
          <p:cNvSpPr/>
          <p:nvPr/>
        </p:nvSpPr>
        <p:spPr>
          <a:xfrm>
            <a:off x="10569691" y="4813208"/>
            <a:ext cx="745993"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1" u="none" strike="noStrike" kern="1200" cap="none" spc="300" normalizeH="0" baseline="0" noProof="0" dirty="0">
                <a:ln>
                  <a:noFill/>
                </a:ln>
                <a:effectLst/>
                <a:uLnTx/>
                <a:uFillTx/>
                <a:latin typeface="Open Sans"/>
              </a:rPr>
              <a:t>15</a:t>
            </a:r>
          </a:p>
        </p:txBody>
      </p:sp>
      <p:sp>
        <p:nvSpPr>
          <p:cNvPr id="12" name="Freeform: Shape 11">
            <a:extLst>
              <a:ext uri="{FF2B5EF4-FFF2-40B4-BE49-F238E27FC236}">
                <a16:creationId xmlns:a16="http://schemas.microsoft.com/office/drawing/2014/main" id="{26F8AFFF-2689-121B-255F-484BDEF18BEB}"/>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a:p>
        </p:txBody>
      </p:sp>
      <p:cxnSp>
        <p:nvCxnSpPr>
          <p:cNvPr id="17" name="Straight Connector 16">
            <a:extLst>
              <a:ext uri="{FF2B5EF4-FFF2-40B4-BE49-F238E27FC236}">
                <a16:creationId xmlns:a16="http://schemas.microsoft.com/office/drawing/2014/main" id="{20E26A0B-8A0A-8C4C-5E1C-F4A207DBA83A}"/>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E220D504-1363-47C7-1AB4-E12083318373}"/>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PL"/>
          </a:p>
        </p:txBody>
      </p:sp>
      <p:sp>
        <p:nvSpPr>
          <p:cNvPr id="34" name="Rectangle 33">
            <a:extLst>
              <a:ext uri="{FF2B5EF4-FFF2-40B4-BE49-F238E27FC236}">
                <a16:creationId xmlns:a16="http://schemas.microsoft.com/office/drawing/2014/main" id="{B9F3BE1C-18E6-6A53-5810-2423A1C27AC7}"/>
              </a:ext>
            </a:extLst>
          </p:cNvPr>
          <p:cNvSpPr/>
          <p:nvPr/>
        </p:nvSpPr>
        <p:spPr>
          <a:xfrm>
            <a:off x="11315684" y="4321416"/>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o-RO" sz="600" i="1" u="none" strike="noStrike" kern="1200" cap="none" spc="300" normalizeH="0" baseline="0" noProof="0" dirty="0">
                <a:ln>
                  <a:noFill/>
                </a:ln>
                <a:effectLst/>
                <a:uLnTx/>
                <a:uFillTx/>
                <a:latin typeface="Open Sans"/>
              </a:rPr>
              <a:t>BUDPEST</a:t>
            </a:r>
            <a:endParaRPr kumimoji="0" lang="en-US" sz="600" i="1" u="none" strike="noStrike" kern="1200" cap="none" spc="300" normalizeH="0" baseline="0" noProof="0" dirty="0">
              <a:ln>
                <a:noFill/>
              </a:ln>
              <a:effectLst/>
              <a:uLnTx/>
              <a:uFillTx/>
              <a:latin typeface="Open Sans"/>
            </a:endParaRPr>
          </a:p>
        </p:txBody>
      </p:sp>
      <p:pic>
        <p:nvPicPr>
          <p:cNvPr id="36" name="Picture 4" descr="Hungary Large Flag | Gallery Yopriceville - High-Quality Free Images ...">
            <a:extLst>
              <a:ext uri="{FF2B5EF4-FFF2-40B4-BE49-F238E27FC236}">
                <a16:creationId xmlns:a16="http://schemas.microsoft.com/office/drawing/2014/main" id="{1538AB26-4DBB-2710-205C-F7C7B1831F17}"/>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8" name="Flowchart: Connector 37">
            <a:extLst>
              <a:ext uri="{FF2B5EF4-FFF2-40B4-BE49-F238E27FC236}">
                <a16:creationId xmlns:a16="http://schemas.microsoft.com/office/drawing/2014/main" id="{66326DBC-A690-5CFF-5B27-DD97F2AD2C3F}"/>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a:p>
        </p:txBody>
      </p:sp>
      <p:sp>
        <p:nvSpPr>
          <p:cNvPr id="39" name="Rectangle 38">
            <a:extLst>
              <a:ext uri="{FF2B5EF4-FFF2-40B4-BE49-F238E27FC236}">
                <a16:creationId xmlns:a16="http://schemas.microsoft.com/office/drawing/2014/main" id="{39803675-4C02-B7A1-F213-575A4F083D13}"/>
              </a:ext>
            </a:extLst>
          </p:cNvPr>
          <p:cNvSpPr/>
          <p:nvPr/>
        </p:nvSpPr>
        <p:spPr>
          <a:xfrm>
            <a:off x="11270372" y="5563943"/>
            <a:ext cx="74599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i="1" spc="300" dirty="0">
                <a:solidFill>
                  <a:schemeClr val="bg1">
                    <a:lumMod val="50000"/>
                  </a:schemeClr>
                </a:solidFill>
                <a:latin typeface="Open Sans"/>
              </a:rPr>
              <a:t>+</a:t>
            </a:r>
            <a:r>
              <a:rPr lang="ro-RO" b="1" i="1" spc="300" dirty="0">
                <a:solidFill>
                  <a:schemeClr val="bg1">
                    <a:lumMod val="50000"/>
                  </a:schemeClr>
                </a:solidFill>
                <a:latin typeface="Open Sans"/>
              </a:rPr>
              <a:t>30</a:t>
            </a:r>
            <a:endParaRPr kumimoji="0" lang="en-US" b="1" i="1" u="none" strike="noStrike" kern="1200" cap="none" spc="300" normalizeH="0" baseline="0" noProof="0" dirty="0">
              <a:ln>
                <a:noFill/>
              </a:ln>
              <a:solidFill>
                <a:schemeClr val="bg1">
                  <a:lumMod val="50000"/>
                </a:schemeClr>
              </a:solidFill>
              <a:effectLst/>
              <a:uLnTx/>
              <a:uFillTx/>
              <a:latin typeface="Open Sans"/>
            </a:endParaRPr>
          </a:p>
        </p:txBody>
      </p:sp>
      <p:sp>
        <p:nvSpPr>
          <p:cNvPr id="46" name="Rectangle 45">
            <a:extLst>
              <a:ext uri="{FF2B5EF4-FFF2-40B4-BE49-F238E27FC236}">
                <a16:creationId xmlns:a16="http://schemas.microsoft.com/office/drawing/2014/main" id="{48DCA7FB-A2B3-3E8E-FAA7-50A00ADB9D15}"/>
              </a:ext>
            </a:extLst>
          </p:cNvPr>
          <p:cNvSpPr/>
          <p:nvPr/>
        </p:nvSpPr>
        <p:spPr>
          <a:xfrm>
            <a:off x="11159174" y="5874426"/>
            <a:ext cx="122723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800" i="1" spc="300" dirty="0">
                <a:solidFill>
                  <a:schemeClr val="bg1">
                    <a:lumMod val="50000"/>
                  </a:schemeClr>
                </a:solidFill>
                <a:latin typeface="Open Sans"/>
              </a:rPr>
              <a:t>EXPERTS IN CE REGION</a:t>
            </a:r>
            <a:endParaRPr kumimoji="0" lang="en-US" sz="800" i="1" u="none" strike="noStrike" kern="1200" cap="none" spc="300" normalizeH="0" baseline="0" noProof="0" dirty="0">
              <a:ln>
                <a:noFill/>
              </a:ln>
              <a:solidFill>
                <a:schemeClr val="bg1">
                  <a:lumMod val="50000"/>
                </a:schemeClr>
              </a:solidFill>
              <a:effectLst/>
              <a:uLnTx/>
              <a:uFillTx/>
              <a:latin typeface="Open Sans"/>
            </a:endParaRPr>
          </a:p>
        </p:txBody>
      </p:sp>
    </p:spTree>
    <p:extLst>
      <p:ext uri="{BB962C8B-B14F-4D97-AF65-F5344CB8AC3E}">
        <p14:creationId xmlns:p14="http://schemas.microsoft.com/office/powerpoint/2010/main" val="3319541614"/>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think-cell data - do not delete" hidden="1">
            <a:extLst>
              <a:ext uri="{FF2B5EF4-FFF2-40B4-BE49-F238E27FC236}">
                <a16:creationId xmlns:a16="http://schemas.microsoft.com/office/drawing/2014/main" id="{1786A1F1-0DDA-AFDB-25B4-F74108223161}"/>
              </a:ext>
            </a:extLst>
          </p:cNvPr>
          <p:cNvGraphicFramePr>
            <a:graphicFrameLocks noChangeAspect="1"/>
          </p:cNvGraphicFramePr>
          <p:nvPr>
            <p:custDataLst>
              <p:tags r:id="rId1"/>
            </p:custDataLst>
            <p:extLst>
              <p:ext uri="{D42A27DB-BD31-4B8C-83A1-F6EECF244321}">
                <p14:modId xmlns:p14="http://schemas.microsoft.com/office/powerpoint/2010/main" val="2084277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0" name="think-cell data - do not delete" hidden="1">
                        <a:extLst>
                          <a:ext uri="{FF2B5EF4-FFF2-40B4-BE49-F238E27FC236}">
                            <a16:creationId xmlns:a16="http://schemas.microsoft.com/office/drawing/2014/main" id="{1786A1F1-0DDA-AFDB-25B4-F74108223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EBFB180-A7FA-D7AD-4BFA-3730934EA8A2}"/>
              </a:ext>
            </a:extLst>
          </p:cNvPr>
          <p:cNvSpPr>
            <a:spLocks noGrp="1"/>
          </p:cNvSpPr>
          <p:nvPr>
            <p:ph type="body" sz="quarter" idx="22"/>
          </p:nvPr>
        </p:nvSpPr>
        <p:spPr/>
        <p:txBody>
          <a:bodyPr/>
          <a:lstStyle/>
          <a:p>
            <a:r>
              <a:rPr lang="en-AU" sz="18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NC can be instrumental in architecting, orchestrating, and tracking the transformation journey, and helping companies achieve their transformation ambitions and outcompete the market</a:t>
            </a:r>
          </a:p>
        </p:txBody>
      </p:sp>
      <p:sp>
        <p:nvSpPr>
          <p:cNvPr id="3" name="Title 2">
            <a:extLst>
              <a:ext uri="{FF2B5EF4-FFF2-40B4-BE49-F238E27FC236}">
                <a16:creationId xmlns:a16="http://schemas.microsoft.com/office/drawing/2014/main" id="{77E2D665-ED51-F0D9-8F3B-EEA48540605F}"/>
              </a:ext>
            </a:extLst>
          </p:cNvPr>
          <p:cNvSpPr>
            <a:spLocks noGrp="1"/>
          </p:cNvSpPr>
          <p:nvPr>
            <p:ph type="title"/>
          </p:nvPr>
        </p:nvSpPr>
        <p:spPr>
          <a:xfrm>
            <a:off x="463295" y="417912"/>
            <a:ext cx="9535514" cy="265904"/>
          </a:xfrm>
        </p:spPr>
        <p:txBody>
          <a:bodyPr vert="horz"/>
          <a:lstStyle/>
          <a:p>
            <a:r>
              <a:rPr lang="en-AU" dirty="0">
                <a:solidFill>
                  <a:srgbClr val="000000"/>
                </a:solidFill>
              </a:rPr>
              <a:t>Three pillars of </a:t>
            </a:r>
            <a:r>
              <a:rPr lang="hu-HU" dirty="0" err="1">
                <a:solidFill>
                  <a:srgbClr val="000000"/>
                </a:solidFill>
              </a:rPr>
              <a:t>Deloitte’s</a:t>
            </a:r>
            <a:r>
              <a:rPr lang="hu-HU" dirty="0">
                <a:solidFill>
                  <a:srgbClr val="000000"/>
                </a:solidFill>
              </a:rPr>
              <a:t> </a:t>
            </a:r>
            <a:r>
              <a:rPr lang="en-AU" dirty="0">
                <a:solidFill>
                  <a:srgbClr val="000000"/>
                </a:solidFill>
              </a:rPr>
              <a:t>T</a:t>
            </a:r>
            <a:r>
              <a:rPr lang="hu-HU" dirty="0" err="1">
                <a:solidFill>
                  <a:srgbClr val="000000"/>
                </a:solidFill>
              </a:rPr>
              <a:t>ransformation</a:t>
            </a:r>
            <a:r>
              <a:rPr lang="hu-HU" dirty="0">
                <a:solidFill>
                  <a:srgbClr val="000000"/>
                </a:solidFill>
              </a:rPr>
              <a:t> </a:t>
            </a:r>
            <a:r>
              <a:rPr lang="en-AU" dirty="0">
                <a:solidFill>
                  <a:srgbClr val="000000"/>
                </a:solidFill>
              </a:rPr>
              <a:t>N</a:t>
            </a:r>
            <a:r>
              <a:rPr lang="hu-HU" dirty="0" err="1">
                <a:solidFill>
                  <a:srgbClr val="000000"/>
                </a:solidFill>
              </a:rPr>
              <a:t>erve</a:t>
            </a:r>
            <a:r>
              <a:rPr lang="hu-HU" dirty="0">
                <a:solidFill>
                  <a:srgbClr val="000000"/>
                </a:solidFill>
              </a:rPr>
              <a:t> </a:t>
            </a:r>
            <a:r>
              <a:rPr lang="en-AU" dirty="0">
                <a:solidFill>
                  <a:srgbClr val="000000"/>
                </a:solidFill>
              </a:rPr>
              <a:t>C</a:t>
            </a:r>
            <a:r>
              <a:rPr lang="hu-HU" dirty="0">
                <a:solidFill>
                  <a:srgbClr val="000000"/>
                </a:solidFill>
              </a:rPr>
              <a:t>enter</a:t>
            </a:r>
            <a:endParaRPr lang="en-AU" dirty="0">
              <a:solidFill>
                <a:srgbClr val="000000"/>
              </a:solidFill>
            </a:endParaRPr>
          </a:p>
        </p:txBody>
      </p:sp>
      <p:grpSp>
        <p:nvGrpSpPr>
          <p:cNvPr id="4" name="Group 3">
            <a:extLst>
              <a:ext uri="{FF2B5EF4-FFF2-40B4-BE49-F238E27FC236}">
                <a16:creationId xmlns:a16="http://schemas.microsoft.com/office/drawing/2014/main" id="{BB0FBE81-F5D0-6702-3470-FFE724C482FF}"/>
              </a:ext>
            </a:extLst>
          </p:cNvPr>
          <p:cNvGrpSpPr/>
          <p:nvPr/>
        </p:nvGrpSpPr>
        <p:grpSpPr>
          <a:xfrm>
            <a:off x="5975771" y="2306515"/>
            <a:ext cx="72000" cy="1253795"/>
            <a:chOff x="2302734" y="2170183"/>
            <a:chExt cx="72000" cy="1253795"/>
          </a:xfrm>
        </p:grpSpPr>
        <p:cxnSp>
          <p:nvCxnSpPr>
            <p:cNvPr id="5" name="Straight Connector 4">
              <a:extLst>
                <a:ext uri="{FF2B5EF4-FFF2-40B4-BE49-F238E27FC236}">
                  <a16:creationId xmlns:a16="http://schemas.microsoft.com/office/drawing/2014/main" id="{98167249-4288-510E-1F34-5A36AEFB2BBF}"/>
                </a:ext>
              </a:extLst>
            </p:cNvPr>
            <p:cNvCxnSpPr>
              <a:cxnSpLocks/>
            </p:cNvCxnSpPr>
            <p:nvPr/>
          </p:nvCxnSpPr>
          <p:spPr>
            <a:xfrm rot="5400000" flipH="1" flipV="1">
              <a:off x="1726734" y="2782183"/>
              <a:ext cx="1224000" cy="0"/>
            </a:xfrm>
            <a:prstGeom prst="line">
              <a:avLst/>
            </a:prstGeom>
            <a:ln>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58980192-9A4E-8A15-4560-460743BEC84D}"/>
                </a:ext>
              </a:extLst>
            </p:cNvPr>
            <p:cNvSpPr>
              <a:spLocks noChangeAspect="1"/>
            </p:cNvSpPr>
            <p:nvPr/>
          </p:nvSpPr>
          <p:spPr bwMode="gray">
            <a:xfrm>
              <a:off x="2302734" y="2251056"/>
              <a:ext cx="72000" cy="72000"/>
            </a:xfrm>
            <a:prstGeom prst="ellipse">
              <a:avLst/>
            </a:prstGeom>
            <a:solidFill>
              <a:schemeClr val="accent2"/>
            </a:solidFill>
            <a:ln w="19050" algn="ctr">
              <a:noFill/>
              <a:miter lim="800000"/>
              <a:headEnd/>
              <a:tailEnd/>
            </a:ln>
          </p:spPr>
          <p:txBody>
            <a:bodyPr wrap="square" lIns="0" tIns="0" rIns="0" bIns="0" rtlCol="0" anchor="ctr"/>
            <a:lstStyle/>
            <a:p>
              <a:pPr algn="ctr"/>
              <a:endParaRPr lang="en-AU" dirty="0">
                <a:solidFill>
                  <a:srgbClr val="000000"/>
                </a:solidFill>
              </a:endParaRPr>
            </a:p>
          </p:txBody>
        </p:sp>
        <p:sp>
          <p:nvSpPr>
            <p:cNvPr id="7" name="Oval 6">
              <a:extLst>
                <a:ext uri="{FF2B5EF4-FFF2-40B4-BE49-F238E27FC236}">
                  <a16:creationId xmlns:a16="http://schemas.microsoft.com/office/drawing/2014/main" id="{75FC6ACD-927A-6FF1-64EB-0CAE7F38EC77}"/>
                </a:ext>
              </a:extLst>
            </p:cNvPr>
            <p:cNvSpPr>
              <a:spLocks noChangeAspect="1"/>
            </p:cNvSpPr>
            <p:nvPr/>
          </p:nvSpPr>
          <p:spPr bwMode="gray">
            <a:xfrm>
              <a:off x="2302734" y="3351978"/>
              <a:ext cx="72000" cy="72000"/>
            </a:xfrm>
            <a:prstGeom prst="ellipse">
              <a:avLst/>
            </a:prstGeom>
            <a:solidFill>
              <a:schemeClr val="accent2"/>
            </a:solidFill>
            <a:ln w="19050" algn="ctr">
              <a:noFill/>
              <a:miter lim="800000"/>
              <a:headEnd/>
              <a:tailEnd/>
            </a:ln>
          </p:spPr>
          <p:txBody>
            <a:bodyPr wrap="square" lIns="0" tIns="0" rIns="0" bIns="0" rtlCol="0" anchor="ctr"/>
            <a:lstStyle/>
            <a:p>
              <a:pPr algn="ctr"/>
              <a:endParaRPr lang="en-AU" dirty="0">
                <a:solidFill>
                  <a:srgbClr val="000000"/>
                </a:solidFill>
              </a:endParaRPr>
            </a:p>
          </p:txBody>
        </p:sp>
      </p:grpSp>
      <p:grpSp>
        <p:nvGrpSpPr>
          <p:cNvPr id="8" name="Group 7">
            <a:extLst>
              <a:ext uri="{FF2B5EF4-FFF2-40B4-BE49-F238E27FC236}">
                <a16:creationId xmlns:a16="http://schemas.microsoft.com/office/drawing/2014/main" id="{9045364F-0EC3-BBC0-4EA5-7F86AFEC3EE4}"/>
              </a:ext>
            </a:extLst>
          </p:cNvPr>
          <p:cNvGrpSpPr/>
          <p:nvPr/>
        </p:nvGrpSpPr>
        <p:grpSpPr>
          <a:xfrm>
            <a:off x="2274412" y="2302263"/>
            <a:ext cx="72000" cy="1253795"/>
            <a:chOff x="2302734" y="2170183"/>
            <a:chExt cx="72000" cy="1253795"/>
          </a:xfrm>
        </p:grpSpPr>
        <p:cxnSp>
          <p:nvCxnSpPr>
            <p:cNvPr id="9" name="Straight Connector 8">
              <a:extLst>
                <a:ext uri="{FF2B5EF4-FFF2-40B4-BE49-F238E27FC236}">
                  <a16:creationId xmlns:a16="http://schemas.microsoft.com/office/drawing/2014/main" id="{2941D1A0-0C44-6CC2-DDE3-BCAF25325305}"/>
                </a:ext>
              </a:extLst>
            </p:cNvPr>
            <p:cNvCxnSpPr>
              <a:cxnSpLocks/>
            </p:cNvCxnSpPr>
            <p:nvPr/>
          </p:nvCxnSpPr>
          <p:spPr>
            <a:xfrm rot="5400000" flipH="1" flipV="1">
              <a:off x="1726734" y="2782183"/>
              <a:ext cx="1224000" cy="0"/>
            </a:xfrm>
            <a:prstGeom prst="line">
              <a:avLst/>
            </a:prstGeom>
            <a:ln>
              <a:solidFill>
                <a:srgbClr val="1CABE3"/>
              </a:solidFill>
              <a:prstDash val="soli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BAE30B36-5EC4-2F23-33A1-EA6793B90A93}"/>
                </a:ext>
              </a:extLst>
            </p:cNvPr>
            <p:cNvSpPr>
              <a:spLocks noChangeAspect="1"/>
            </p:cNvSpPr>
            <p:nvPr/>
          </p:nvSpPr>
          <p:spPr bwMode="gray">
            <a:xfrm>
              <a:off x="2302734" y="2255290"/>
              <a:ext cx="72000" cy="72000"/>
            </a:xfrm>
            <a:prstGeom prst="ellipse">
              <a:avLst/>
            </a:prstGeom>
            <a:solidFill>
              <a:srgbClr val="1CABE3"/>
            </a:solidFill>
            <a:ln w="19050" algn="ctr">
              <a:noFill/>
              <a:miter lim="800000"/>
              <a:headEnd/>
              <a:tailEnd/>
            </a:ln>
          </p:spPr>
          <p:txBody>
            <a:bodyPr wrap="square" lIns="0" tIns="0" rIns="0" bIns="0" rtlCol="0" anchor="ctr"/>
            <a:lstStyle/>
            <a:p>
              <a:pPr algn="ctr"/>
              <a:endParaRPr lang="en-AU" dirty="0">
                <a:solidFill>
                  <a:srgbClr val="000000"/>
                </a:solidFill>
              </a:endParaRPr>
            </a:p>
          </p:txBody>
        </p:sp>
        <p:sp>
          <p:nvSpPr>
            <p:cNvPr id="11" name="Oval 10">
              <a:extLst>
                <a:ext uri="{FF2B5EF4-FFF2-40B4-BE49-F238E27FC236}">
                  <a16:creationId xmlns:a16="http://schemas.microsoft.com/office/drawing/2014/main" id="{2556915F-0C9F-A49B-E424-5CBD84EC8139}"/>
                </a:ext>
              </a:extLst>
            </p:cNvPr>
            <p:cNvSpPr>
              <a:spLocks noChangeAspect="1"/>
            </p:cNvSpPr>
            <p:nvPr/>
          </p:nvSpPr>
          <p:spPr bwMode="gray">
            <a:xfrm>
              <a:off x="2302734" y="3351978"/>
              <a:ext cx="72000" cy="72000"/>
            </a:xfrm>
            <a:prstGeom prst="ellipse">
              <a:avLst/>
            </a:prstGeom>
            <a:solidFill>
              <a:srgbClr val="1CABE3"/>
            </a:solidFill>
            <a:ln w="19050" algn="ctr">
              <a:noFill/>
              <a:miter lim="800000"/>
              <a:headEnd/>
              <a:tailEnd/>
            </a:ln>
          </p:spPr>
          <p:txBody>
            <a:bodyPr wrap="square" lIns="0" tIns="0" rIns="0" bIns="0" rtlCol="0" anchor="ctr"/>
            <a:lstStyle/>
            <a:p>
              <a:pPr algn="ctr"/>
              <a:endParaRPr lang="en-AU" dirty="0">
                <a:solidFill>
                  <a:srgbClr val="000000"/>
                </a:solidFill>
              </a:endParaRPr>
            </a:p>
          </p:txBody>
        </p:sp>
      </p:grpSp>
      <p:sp>
        <p:nvSpPr>
          <p:cNvPr id="12" name="Rectangle 11">
            <a:extLst>
              <a:ext uri="{FF2B5EF4-FFF2-40B4-BE49-F238E27FC236}">
                <a16:creationId xmlns:a16="http://schemas.microsoft.com/office/drawing/2014/main" id="{69AC14AD-0BAA-41BF-CE8B-096B5EC4A6AB}"/>
              </a:ext>
            </a:extLst>
          </p:cNvPr>
          <p:cNvSpPr/>
          <p:nvPr/>
        </p:nvSpPr>
        <p:spPr bwMode="gray">
          <a:xfrm>
            <a:off x="4451971" y="2459696"/>
            <a:ext cx="3287993" cy="73580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AU" dirty="0">
              <a:solidFill>
                <a:srgbClr val="000000"/>
              </a:solidFill>
            </a:endParaRPr>
          </a:p>
        </p:txBody>
      </p:sp>
      <p:sp>
        <p:nvSpPr>
          <p:cNvPr id="13" name="Rectangle 12">
            <a:extLst>
              <a:ext uri="{FF2B5EF4-FFF2-40B4-BE49-F238E27FC236}">
                <a16:creationId xmlns:a16="http://schemas.microsoft.com/office/drawing/2014/main" id="{96930505-64D5-6F19-398F-6E02A45D816A}"/>
              </a:ext>
            </a:extLst>
          </p:cNvPr>
          <p:cNvSpPr/>
          <p:nvPr/>
        </p:nvSpPr>
        <p:spPr bwMode="gray">
          <a:xfrm>
            <a:off x="665932" y="2459696"/>
            <a:ext cx="3288960" cy="73580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AU" dirty="0">
              <a:solidFill>
                <a:srgbClr val="000000"/>
              </a:solidFill>
            </a:endParaRPr>
          </a:p>
        </p:txBody>
      </p:sp>
      <p:sp>
        <p:nvSpPr>
          <p:cNvPr id="14" name="Rectangle 13">
            <a:extLst>
              <a:ext uri="{FF2B5EF4-FFF2-40B4-BE49-F238E27FC236}">
                <a16:creationId xmlns:a16="http://schemas.microsoft.com/office/drawing/2014/main" id="{A210BD6C-2D9D-3209-F8B5-5AE9D0A0044F}"/>
              </a:ext>
            </a:extLst>
          </p:cNvPr>
          <p:cNvSpPr/>
          <p:nvPr/>
        </p:nvSpPr>
        <p:spPr>
          <a:xfrm>
            <a:off x="573052" y="2016723"/>
            <a:ext cx="3474720" cy="333000"/>
          </a:xfrm>
          <a:prstGeom prst="rect">
            <a:avLst/>
          </a:prstGeom>
          <a:no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en-AU" sz="1200" b="1" dirty="0">
                <a:solidFill>
                  <a:srgbClr val="000000"/>
                </a:solidFill>
              </a:rPr>
              <a:t>ARCHITECT</a:t>
            </a:r>
          </a:p>
        </p:txBody>
      </p:sp>
      <p:sp>
        <p:nvSpPr>
          <p:cNvPr id="15" name="Rectangle 14">
            <a:extLst>
              <a:ext uri="{FF2B5EF4-FFF2-40B4-BE49-F238E27FC236}">
                <a16:creationId xmlns:a16="http://schemas.microsoft.com/office/drawing/2014/main" id="{14FFCE04-B4E2-C750-6A6C-6862BAEAAC58}"/>
              </a:ext>
            </a:extLst>
          </p:cNvPr>
          <p:cNvSpPr/>
          <p:nvPr/>
        </p:nvSpPr>
        <p:spPr>
          <a:xfrm>
            <a:off x="4274411" y="2016723"/>
            <a:ext cx="3474720" cy="333000"/>
          </a:xfrm>
          <a:prstGeom prst="rect">
            <a:avLst/>
          </a:prstGeom>
          <a:no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en-AU" sz="1200" b="1" dirty="0">
                <a:solidFill>
                  <a:srgbClr val="000000"/>
                </a:solidFill>
              </a:rPr>
              <a:t>ORCHESTRATE</a:t>
            </a:r>
          </a:p>
        </p:txBody>
      </p:sp>
      <p:sp>
        <p:nvSpPr>
          <p:cNvPr id="16" name="TextBox 15">
            <a:extLst>
              <a:ext uri="{FF2B5EF4-FFF2-40B4-BE49-F238E27FC236}">
                <a16:creationId xmlns:a16="http://schemas.microsoft.com/office/drawing/2014/main" id="{A58B83B3-2F33-2814-E502-265697320C09}"/>
              </a:ext>
            </a:extLst>
          </p:cNvPr>
          <p:cNvSpPr txBox="1"/>
          <p:nvPr/>
        </p:nvSpPr>
        <p:spPr>
          <a:xfrm>
            <a:off x="4507825" y="2474032"/>
            <a:ext cx="3007892" cy="716927"/>
          </a:xfrm>
          <a:prstGeom prst="rect">
            <a:avLst/>
          </a:prstGeom>
          <a:noFill/>
        </p:spPr>
        <p:txBody>
          <a:bodyPr wrap="square" lIns="0" tIns="0" rIns="0" bIns="0" rtlCol="0">
            <a:noAutofit/>
          </a:bodyPr>
          <a:lstStyle/>
          <a:p>
            <a:pPr marL="57150" algn="ct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As the transformation effort gains momentum, orchestration and governance become more critical to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ensure open lines of communication </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across workstreams,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transparency</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among all stakeholders</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and an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open knowledge base</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of facts.</a:t>
            </a:r>
          </a:p>
        </p:txBody>
      </p:sp>
      <p:sp>
        <p:nvSpPr>
          <p:cNvPr id="17" name="Rectangle 16">
            <a:extLst>
              <a:ext uri="{FF2B5EF4-FFF2-40B4-BE49-F238E27FC236}">
                <a16:creationId xmlns:a16="http://schemas.microsoft.com/office/drawing/2014/main" id="{0661C07C-FBBE-F0BE-F066-6C0F7C1E181A}"/>
              </a:ext>
            </a:extLst>
          </p:cNvPr>
          <p:cNvSpPr/>
          <p:nvPr/>
        </p:nvSpPr>
        <p:spPr>
          <a:xfrm>
            <a:off x="7991449" y="2016723"/>
            <a:ext cx="3474720" cy="333000"/>
          </a:xfrm>
          <a:prstGeom prst="rect">
            <a:avLst/>
          </a:prstGeom>
          <a:no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en-AU" sz="1200" b="1" dirty="0">
                <a:solidFill>
                  <a:srgbClr val="000000"/>
                </a:solidFill>
              </a:rPr>
              <a:t>TRACK</a:t>
            </a:r>
          </a:p>
        </p:txBody>
      </p:sp>
      <p:cxnSp>
        <p:nvCxnSpPr>
          <p:cNvPr id="18" name="Straight Connector 17">
            <a:extLst>
              <a:ext uri="{FF2B5EF4-FFF2-40B4-BE49-F238E27FC236}">
                <a16:creationId xmlns:a16="http://schemas.microsoft.com/office/drawing/2014/main" id="{371A416E-F66D-CB37-7229-E9C1932E9DA3}"/>
              </a:ext>
            </a:extLst>
          </p:cNvPr>
          <p:cNvCxnSpPr>
            <a:cxnSpLocks/>
          </p:cNvCxnSpPr>
          <p:nvPr/>
        </p:nvCxnSpPr>
        <p:spPr>
          <a:xfrm>
            <a:off x="795351" y="1780078"/>
            <a:ext cx="1188000" cy="0"/>
          </a:xfrm>
          <a:prstGeom prst="line">
            <a:avLst/>
          </a:prstGeom>
          <a:noFill/>
          <a:ln w="9525" cap="flat" cmpd="sng" algn="ctr">
            <a:solidFill>
              <a:schemeClr val="accent2">
                <a:lumMod val="25000"/>
              </a:schemeClr>
            </a:solidFill>
            <a:prstDash val="dash"/>
          </a:ln>
          <a:effectLst/>
        </p:spPr>
      </p:cxnSp>
      <p:cxnSp>
        <p:nvCxnSpPr>
          <p:cNvPr id="19" name="Straight Connector 18">
            <a:extLst>
              <a:ext uri="{FF2B5EF4-FFF2-40B4-BE49-F238E27FC236}">
                <a16:creationId xmlns:a16="http://schemas.microsoft.com/office/drawing/2014/main" id="{4F5AC5DA-2937-7629-1DF6-4CFCA702F09A}"/>
              </a:ext>
            </a:extLst>
          </p:cNvPr>
          <p:cNvCxnSpPr>
            <a:cxnSpLocks/>
          </p:cNvCxnSpPr>
          <p:nvPr/>
        </p:nvCxnSpPr>
        <p:spPr>
          <a:xfrm>
            <a:off x="2609142" y="1780078"/>
            <a:ext cx="3096000" cy="0"/>
          </a:xfrm>
          <a:prstGeom prst="line">
            <a:avLst/>
          </a:prstGeom>
          <a:noFill/>
          <a:ln w="9525" cap="flat" cmpd="sng" algn="ctr">
            <a:solidFill>
              <a:schemeClr val="accent2">
                <a:lumMod val="25000"/>
              </a:schemeClr>
            </a:solidFill>
            <a:prstDash val="dash"/>
          </a:ln>
          <a:effectLst/>
        </p:spPr>
      </p:cxnSp>
      <p:cxnSp>
        <p:nvCxnSpPr>
          <p:cNvPr id="20" name="Straight Connector 19">
            <a:extLst>
              <a:ext uri="{FF2B5EF4-FFF2-40B4-BE49-F238E27FC236}">
                <a16:creationId xmlns:a16="http://schemas.microsoft.com/office/drawing/2014/main" id="{A0AAB707-424F-2864-1620-C2881F5F9EFE}"/>
              </a:ext>
            </a:extLst>
          </p:cNvPr>
          <p:cNvCxnSpPr>
            <a:cxnSpLocks/>
          </p:cNvCxnSpPr>
          <p:nvPr/>
        </p:nvCxnSpPr>
        <p:spPr>
          <a:xfrm>
            <a:off x="6321755" y="1780078"/>
            <a:ext cx="3096000" cy="0"/>
          </a:xfrm>
          <a:prstGeom prst="line">
            <a:avLst/>
          </a:prstGeom>
          <a:noFill/>
          <a:ln w="9525" cap="flat" cmpd="sng" algn="ctr">
            <a:solidFill>
              <a:schemeClr val="accent2">
                <a:lumMod val="25000"/>
              </a:schemeClr>
            </a:solidFill>
            <a:prstDash val="dash"/>
          </a:ln>
          <a:effectLst/>
        </p:spPr>
      </p:cxnSp>
      <p:sp>
        <p:nvSpPr>
          <p:cNvPr id="21" name="TextBox 20">
            <a:extLst>
              <a:ext uri="{FF2B5EF4-FFF2-40B4-BE49-F238E27FC236}">
                <a16:creationId xmlns:a16="http://schemas.microsoft.com/office/drawing/2014/main" id="{ACF76F5F-C539-54D4-84A1-F5A390959DDE}"/>
              </a:ext>
            </a:extLst>
          </p:cNvPr>
          <p:cNvSpPr txBox="1"/>
          <p:nvPr/>
        </p:nvSpPr>
        <p:spPr>
          <a:xfrm>
            <a:off x="835780" y="2482498"/>
            <a:ext cx="2949264" cy="708461"/>
          </a:xfrm>
          <a:prstGeom prst="rect">
            <a:avLst/>
          </a:prstGeom>
          <a:noFill/>
        </p:spPr>
        <p:txBody>
          <a:bodyPr wrap="square" lIns="0" tIns="0" rIns="0" bIns="0" rtlCol="0">
            <a:noAutofit/>
          </a:bodyPr>
          <a:lstStyle/>
          <a:p>
            <a:pPr marL="57150" algn="ct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During the early stages</a:t>
            </a:r>
            <a:r>
              <a:rPr lang="hu-H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of the project</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the center will over-index on architecting the transformation, ensuring that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overall objectives are set and communicated</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leaders identified</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workstreams scoped</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and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ways of working established</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p>
        </p:txBody>
      </p:sp>
      <p:grpSp>
        <p:nvGrpSpPr>
          <p:cNvPr id="28" name="Group 27">
            <a:extLst>
              <a:ext uri="{FF2B5EF4-FFF2-40B4-BE49-F238E27FC236}">
                <a16:creationId xmlns:a16="http://schemas.microsoft.com/office/drawing/2014/main" id="{A5100EA7-DE11-97A6-3E77-CEDEA95113B7}"/>
              </a:ext>
            </a:extLst>
          </p:cNvPr>
          <p:cNvGrpSpPr/>
          <p:nvPr/>
        </p:nvGrpSpPr>
        <p:grpSpPr>
          <a:xfrm>
            <a:off x="2040412" y="1510078"/>
            <a:ext cx="540000" cy="540000"/>
            <a:chOff x="2068737" y="1377998"/>
            <a:chExt cx="540000" cy="540000"/>
          </a:xfrm>
        </p:grpSpPr>
        <p:grpSp>
          <p:nvGrpSpPr>
            <p:cNvPr id="29" name="Group 28">
              <a:extLst>
                <a:ext uri="{FF2B5EF4-FFF2-40B4-BE49-F238E27FC236}">
                  <a16:creationId xmlns:a16="http://schemas.microsoft.com/office/drawing/2014/main" id="{8300EA36-4C02-FE75-68D9-76AB51CB5256}"/>
                </a:ext>
              </a:extLst>
            </p:cNvPr>
            <p:cNvGrpSpPr/>
            <p:nvPr/>
          </p:nvGrpSpPr>
          <p:grpSpPr>
            <a:xfrm>
              <a:off x="2068737" y="1377998"/>
              <a:ext cx="540000" cy="540000"/>
              <a:chOff x="465742" y="2706211"/>
              <a:chExt cx="442311" cy="442311"/>
            </a:xfrm>
          </p:grpSpPr>
          <p:sp>
            <p:nvSpPr>
              <p:cNvPr id="31" name="Oval 30">
                <a:extLst>
                  <a:ext uri="{FF2B5EF4-FFF2-40B4-BE49-F238E27FC236}">
                    <a16:creationId xmlns:a16="http://schemas.microsoft.com/office/drawing/2014/main" id="{64491D66-0EC1-F200-1A56-C3286D49363F}"/>
                  </a:ext>
                </a:extLst>
              </p:cNvPr>
              <p:cNvSpPr/>
              <p:nvPr/>
            </p:nvSpPr>
            <p:spPr bwMode="gray">
              <a:xfrm>
                <a:off x="465742" y="2706211"/>
                <a:ext cx="442311" cy="442311"/>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sp>
            <p:nvSpPr>
              <p:cNvPr id="32" name="Oval 31">
                <a:extLst>
                  <a:ext uri="{FF2B5EF4-FFF2-40B4-BE49-F238E27FC236}">
                    <a16:creationId xmlns:a16="http://schemas.microsoft.com/office/drawing/2014/main" id="{9326F970-40A6-AF70-DEE0-B139D245A8E4}"/>
                  </a:ext>
                </a:extLst>
              </p:cNvPr>
              <p:cNvSpPr/>
              <p:nvPr/>
            </p:nvSpPr>
            <p:spPr bwMode="gray">
              <a:xfrm>
                <a:off x="507079" y="2747548"/>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sp>
            <p:nvSpPr>
              <p:cNvPr id="33" name="Oval 32">
                <a:extLst>
                  <a:ext uri="{FF2B5EF4-FFF2-40B4-BE49-F238E27FC236}">
                    <a16:creationId xmlns:a16="http://schemas.microsoft.com/office/drawing/2014/main" id="{EE3947A1-A2BD-63A5-314F-4F146CD552C6}"/>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grpSp>
        <p:sp>
          <p:nvSpPr>
            <p:cNvPr id="30" name="Graphic 4">
              <a:extLst>
                <a:ext uri="{FF2B5EF4-FFF2-40B4-BE49-F238E27FC236}">
                  <a16:creationId xmlns:a16="http://schemas.microsoft.com/office/drawing/2014/main" id="{EA64E4F1-2D01-3B4B-47DD-2D0D8BB76DC3}"/>
                </a:ext>
              </a:extLst>
            </p:cNvPr>
            <p:cNvSpPr>
              <a:spLocks noChangeAspect="1"/>
            </p:cNvSpPr>
            <p:nvPr/>
          </p:nvSpPr>
          <p:spPr>
            <a:xfrm>
              <a:off x="2252485" y="1529256"/>
              <a:ext cx="172504" cy="237484"/>
            </a:xfrm>
            <a:custGeom>
              <a:avLst/>
              <a:gdLst>
                <a:gd name="connsiteX0" fmla="*/ 133400 w 172504"/>
                <a:gd name="connsiteY0" fmla="*/ 133425 h 237484"/>
                <a:gd name="connsiteX1" fmla="*/ 150653 w 172504"/>
                <a:gd name="connsiteY1" fmla="*/ 133425 h 237484"/>
                <a:gd name="connsiteX2" fmla="*/ 157043 w 172504"/>
                <a:gd name="connsiteY2" fmla="*/ 127041 h 237484"/>
                <a:gd name="connsiteX3" fmla="*/ 150653 w 172504"/>
                <a:gd name="connsiteY3" fmla="*/ 120657 h 237484"/>
                <a:gd name="connsiteX4" fmla="*/ 128289 w 172504"/>
                <a:gd name="connsiteY4" fmla="*/ 120657 h 237484"/>
                <a:gd name="connsiteX5" fmla="*/ 115509 w 172504"/>
                <a:gd name="connsiteY5" fmla="*/ 90014 h 237484"/>
                <a:gd name="connsiteX6" fmla="*/ 114869 w 172504"/>
                <a:gd name="connsiteY6" fmla="*/ 31920 h 237484"/>
                <a:gd name="connsiteX7" fmla="*/ 92505 w 172504"/>
                <a:gd name="connsiteY7" fmla="*/ 20429 h 237484"/>
                <a:gd name="connsiteX8" fmla="*/ 92505 w 172504"/>
                <a:gd name="connsiteY8" fmla="*/ 6384 h 237484"/>
                <a:gd name="connsiteX9" fmla="*/ 86115 w 172504"/>
                <a:gd name="connsiteY9" fmla="*/ 0 h 237484"/>
                <a:gd name="connsiteX10" fmla="*/ 79725 w 172504"/>
                <a:gd name="connsiteY10" fmla="*/ 6384 h 237484"/>
                <a:gd name="connsiteX11" fmla="*/ 79725 w 172504"/>
                <a:gd name="connsiteY11" fmla="*/ 20429 h 237484"/>
                <a:gd name="connsiteX12" fmla="*/ 45858 w 172504"/>
                <a:gd name="connsiteY12" fmla="*/ 67032 h 237484"/>
                <a:gd name="connsiteX13" fmla="*/ 57360 w 172504"/>
                <a:gd name="connsiteY13" fmla="*/ 89376 h 237484"/>
                <a:gd name="connsiteX14" fmla="*/ 44580 w 172504"/>
                <a:gd name="connsiteY14" fmla="*/ 120019 h 237484"/>
                <a:gd name="connsiteX15" fmla="*/ 22215 w 172504"/>
                <a:gd name="connsiteY15" fmla="*/ 120019 h 237484"/>
                <a:gd name="connsiteX16" fmla="*/ 15825 w 172504"/>
                <a:gd name="connsiteY16" fmla="*/ 126403 h 237484"/>
                <a:gd name="connsiteX17" fmla="*/ 22215 w 172504"/>
                <a:gd name="connsiteY17" fmla="*/ 132787 h 237484"/>
                <a:gd name="connsiteX18" fmla="*/ 39468 w 172504"/>
                <a:gd name="connsiteY18" fmla="*/ 132787 h 237484"/>
                <a:gd name="connsiteX19" fmla="*/ 490 w 172504"/>
                <a:gd name="connsiteY19" fmla="*/ 228546 h 237484"/>
                <a:gd name="connsiteX20" fmla="*/ 3685 w 172504"/>
                <a:gd name="connsiteY20" fmla="*/ 236846 h 237484"/>
                <a:gd name="connsiteX21" fmla="*/ 6240 w 172504"/>
                <a:gd name="connsiteY21" fmla="*/ 237484 h 237484"/>
                <a:gd name="connsiteX22" fmla="*/ 11992 w 172504"/>
                <a:gd name="connsiteY22" fmla="*/ 233654 h 237484"/>
                <a:gd name="connsiteX23" fmla="*/ 52887 w 172504"/>
                <a:gd name="connsiteY23" fmla="*/ 133425 h 237484"/>
                <a:gd name="connsiteX24" fmla="*/ 79725 w 172504"/>
                <a:gd name="connsiteY24" fmla="*/ 133425 h 237484"/>
                <a:gd name="connsiteX25" fmla="*/ 79725 w 172504"/>
                <a:gd name="connsiteY25" fmla="*/ 143001 h 237484"/>
                <a:gd name="connsiteX26" fmla="*/ 86115 w 172504"/>
                <a:gd name="connsiteY26" fmla="*/ 149385 h 237484"/>
                <a:gd name="connsiteX27" fmla="*/ 92505 w 172504"/>
                <a:gd name="connsiteY27" fmla="*/ 143001 h 237484"/>
                <a:gd name="connsiteX28" fmla="*/ 92505 w 172504"/>
                <a:gd name="connsiteY28" fmla="*/ 133425 h 237484"/>
                <a:gd name="connsiteX29" fmla="*/ 119342 w 172504"/>
                <a:gd name="connsiteY29" fmla="*/ 133425 h 237484"/>
                <a:gd name="connsiteX30" fmla="*/ 160238 w 172504"/>
                <a:gd name="connsiteY30" fmla="*/ 233654 h 237484"/>
                <a:gd name="connsiteX31" fmla="*/ 165989 w 172504"/>
                <a:gd name="connsiteY31" fmla="*/ 237484 h 237484"/>
                <a:gd name="connsiteX32" fmla="*/ 168545 w 172504"/>
                <a:gd name="connsiteY32" fmla="*/ 236846 h 237484"/>
                <a:gd name="connsiteX33" fmla="*/ 171740 w 172504"/>
                <a:gd name="connsiteY33" fmla="*/ 228546 h 237484"/>
                <a:gd name="connsiteX34" fmla="*/ 133400 w 172504"/>
                <a:gd name="connsiteY34" fmla="*/ 133425 h 237484"/>
                <a:gd name="connsiteX35" fmla="*/ 92505 w 172504"/>
                <a:gd name="connsiteY35" fmla="*/ 120657 h 237484"/>
                <a:gd name="connsiteX36" fmla="*/ 92505 w 172504"/>
                <a:gd name="connsiteY36" fmla="*/ 111081 h 237484"/>
                <a:gd name="connsiteX37" fmla="*/ 86115 w 172504"/>
                <a:gd name="connsiteY37" fmla="*/ 104697 h 237484"/>
                <a:gd name="connsiteX38" fmla="*/ 79725 w 172504"/>
                <a:gd name="connsiteY38" fmla="*/ 111081 h 237484"/>
                <a:gd name="connsiteX39" fmla="*/ 79725 w 172504"/>
                <a:gd name="connsiteY39" fmla="*/ 120657 h 237484"/>
                <a:gd name="connsiteX40" fmla="*/ 57999 w 172504"/>
                <a:gd name="connsiteY40" fmla="*/ 120657 h 237484"/>
                <a:gd name="connsiteX41" fmla="*/ 75891 w 172504"/>
                <a:gd name="connsiteY41" fmla="*/ 76608 h 237484"/>
                <a:gd name="connsiteX42" fmla="*/ 72696 w 172504"/>
                <a:gd name="connsiteY42" fmla="*/ 68309 h 237484"/>
                <a:gd name="connsiteX43" fmla="*/ 64389 w 172504"/>
                <a:gd name="connsiteY43" fmla="*/ 71501 h 237484"/>
                <a:gd name="connsiteX44" fmla="*/ 62472 w 172504"/>
                <a:gd name="connsiteY44" fmla="*/ 75969 h 237484"/>
                <a:gd name="connsiteX45" fmla="*/ 70779 w 172504"/>
                <a:gd name="connsiteY45" fmla="*/ 37027 h 237484"/>
                <a:gd name="connsiteX46" fmla="*/ 109758 w 172504"/>
                <a:gd name="connsiteY46" fmla="*/ 45326 h 237484"/>
                <a:gd name="connsiteX47" fmla="*/ 109758 w 172504"/>
                <a:gd name="connsiteY47" fmla="*/ 76608 h 237484"/>
                <a:gd name="connsiteX48" fmla="*/ 107841 w 172504"/>
                <a:gd name="connsiteY48" fmla="*/ 72139 h 237484"/>
                <a:gd name="connsiteX49" fmla="*/ 100173 w 172504"/>
                <a:gd name="connsiteY49" fmla="*/ 68947 h 237484"/>
                <a:gd name="connsiteX50" fmla="*/ 96339 w 172504"/>
                <a:gd name="connsiteY50" fmla="*/ 77246 h 237484"/>
                <a:gd name="connsiteX51" fmla="*/ 96339 w 172504"/>
                <a:gd name="connsiteY51" fmla="*/ 77246 h 237484"/>
                <a:gd name="connsiteX52" fmla="*/ 114231 w 172504"/>
                <a:gd name="connsiteY52" fmla="*/ 121296 h 237484"/>
                <a:gd name="connsiteX53" fmla="*/ 92505 w 172504"/>
                <a:gd name="connsiteY53" fmla="*/ 120657 h 23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72504" h="237484">
                  <a:moveTo>
                    <a:pt x="133400" y="133425"/>
                  </a:moveTo>
                  <a:lnTo>
                    <a:pt x="150653" y="133425"/>
                  </a:lnTo>
                  <a:cubicBezTo>
                    <a:pt x="154487" y="133425"/>
                    <a:pt x="157043" y="130872"/>
                    <a:pt x="157043" y="127041"/>
                  </a:cubicBezTo>
                  <a:cubicBezTo>
                    <a:pt x="157043" y="123211"/>
                    <a:pt x="154487" y="120657"/>
                    <a:pt x="150653" y="120657"/>
                  </a:cubicBezTo>
                  <a:lnTo>
                    <a:pt x="128289" y="120657"/>
                  </a:lnTo>
                  <a:lnTo>
                    <a:pt x="115509" y="90014"/>
                  </a:lnTo>
                  <a:cubicBezTo>
                    <a:pt x="131483" y="74054"/>
                    <a:pt x="131483" y="47880"/>
                    <a:pt x="114869" y="31920"/>
                  </a:cubicBezTo>
                  <a:cubicBezTo>
                    <a:pt x="108479" y="26174"/>
                    <a:pt x="100811" y="21705"/>
                    <a:pt x="92505" y="20429"/>
                  </a:cubicBezTo>
                  <a:lnTo>
                    <a:pt x="92505" y="6384"/>
                  </a:lnTo>
                  <a:cubicBezTo>
                    <a:pt x="92505" y="2553"/>
                    <a:pt x="89949" y="0"/>
                    <a:pt x="86115" y="0"/>
                  </a:cubicBezTo>
                  <a:cubicBezTo>
                    <a:pt x="82281" y="0"/>
                    <a:pt x="79725" y="2553"/>
                    <a:pt x="79725" y="6384"/>
                  </a:cubicBezTo>
                  <a:lnTo>
                    <a:pt x="79725" y="20429"/>
                  </a:lnTo>
                  <a:cubicBezTo>
                    <a:pt x="57360" y="23621"/>
                    <a:pt x="42024" y="44688"/>
                    <a:pt x="45858" y="67032"/>
                  </a:cubicBezTo>
                  <a:cubicBezTo>
                    <a:pt x="47136" y="75331"/>
                    <a:pt x="50970" y="83630"/>
                    <a:pt x="57360" y="89376"/>
                  </a:cubicBezTo>
                  <a:lnTo>
                    <a:pt x="44580" y="120019"/>
                  </a:lnTo>
                  <a:lnTo>
                    <a:pt x="22215" y="120019"/>
                  </a:lnTo>
                  <a:cubicBezTo>
                    <a:pt x="18382" y="120019"/>
                    <a:pt x="15825" y="122573"/>
                    <a:pt x="15825" y="126403"/>
                  </a:cubicBezTo>
                  <a:cubicBezTo>
                    <a:pt x="15825" y="130233"/>
                    <a:pt x="18382" y="132787"/>
                    <a:pt x="22215" y="132787"/>
                  </a:cubicBezTo>
                  <a:lnTo>
                    <a:pt x="39468" y="132787"/>
                  </a:lnTo>
                  <a:lnTo>
                    <a:pt x="490" y="228546"/>
                  </a:lnTo>
                  <a:cubicBezTo>
                    <a:pt x="-788" y="231738"/>
                    <a:pt x="490" y="235569"/>
                    <a:pt x="3685" y="236846"/>
                  </a:cubicBezTo>
                  <a:cubicBezTo>
                    <a:pt x="4324" y="237484"/>
                    <a:pt x="4962" y="237484"/>
                    <a:pt x="6240" y="237484"/>
                  </a:cubicBezTo>
                  <a:cubicBezTo>
                    <a:pt x="8797" y="237484"/>
                    <a:pt x="11352" y="236207"/>
                    <a:pt x="11992" y="233654"/>
                  </a:cubicBezTo>
                  <a:lnTo>
                    <a:pt x="52887" y="133425"/>
                  </a:lnTo>
                  <a:lnTo>
                    <a:pt x="79725" y="133425"/>
                  </a:lnTo>
                  <a:lnTo>
                    <a:pt x="79725" y="143001"/>
                  </a:lnTo>
                  <a:cubicBezTo>
                    <a:pt x="79725" y="146832"/>
                    <a:pt x="82281" y="149385"/>
                    <a:pt x="86115" y="149385"/>
                  </a:cubicBezTo>
                  <a:cubicBezTo>
                    <a:pt x="89949" y="149385"/>
                    <a:pt x="92505" y="146832"/>
                    <a:pt x="92505" y="143001"/>
                  </a:cubicBezTo>
                  <a:lnTo>
                    <a:pt x="92505" y="133425"/>
                  </a:lnTo>
                  <a:lnTo>
                    <a:pt x="119342" y="133425"/>
                  </a:lnTo>
                  <a:lnTo>
                    <a:pt x="160238" y="233654"/>
                  </a:lnTo>
                  <a:cubicBezTo>
                    <a:pt x="161516" y="236207"/>
                    <a:pt x="163433" y="237484"/>
                    <a:pt x="165989" y="237484"/>
                  </a:cubicBezTo>
                  <a:cubicBezTo>
                    <a:pt x="166628" y="237484"/>
                    <a:pt x="167906" y="237484"/>
                    <a:pt x="168545" y="236846"/>
                  </a:cubicBezTo>
                  <a:cubicBezTo>
                    <a:pt x="171740" y="235569"/>
                    <a:pt x="173657" y="231738"/>
                    <a:pt x="171740" y="228546"/>
                  </a:cubicBezTo>
                  <a:lnTo>
                    <a:pt x="133400" y="133425"/>
                  </a:lnTo>
                  <a:close/>
                  <a:moveTo>
                    <a:pt x="92505" y="120657"/>
                  </a:moveTo>
                  <a:lnTo>
                    <a:pt x="92505" y="111081"/>
                  </a:lnTo>
                  <a:cubicBezTo>
                    <a:pt x="92505" y="107251"/>
                    <a:pt x="89949" y="104697"/>
                    <a:pt x="86115" y="104697"/>
                  </a:cubicBezTo>
                  <a:cubicBezTo>
                    <a:pt x="82281" y="104697"/>
                    <a:pt x="79725" y="107251"/>
                    <a:pt x="79725" y="111081"/>
                  </a:cubicBezTo>
                  <a:lnTo>
                    <a:pt x="79725" y="120657"/>
                  </a:lnTo>
                  <a:lnTo>
                    <a:pt x="57999" y="120657"/>
                  </a:lnTo>
                  <a:lnTo>
                    <a:pt x="75891" y="76608"/>
                  </a:lnTo>
                  <a:cubicBezTo>
                    <a:pt x="77169" y="73416"/>
                    <a:pt x="75891" y="69585"/>
                    <a:pt x="72696" y="68309"/>
                  </a:cubicBezTo>
                  <a:cubicBezTo>
                    <a:pt x="69501" y="67032"/>
                    <a:pt x="65667" y="68309"/>
                    <a:pt x="64389" y="71501"/>
                  </a:cubicBezTo>
                  <a:lnTo>
                    <a:pt x="62472" y="75969"/>
                  </a:lnTo>
                  <a:cubicBezTo>
                    <a:pt x="54165" y="63201"/>
                    <a:pt x="57360" y="45326"/>
                    <a:pt x="70779" y="37027"/>
                  </a:cubicBezTo>
                  <a:cubicBezTo>
                    <a:pt x="83559" y="28728"/>
                    <a:pt x="101451" y="31920"/>
                    <a:pt x="109758" y="45326"/>
                  </a:cubicBezTo>
                  <a:cubicBezTo>
                    <a:pt x="116147" y="54902"/>
                    <a:pt x="116147" y="67032"/>
                    <a:pt x="109758" y="76608"/>
                  </a:cubicBezTo>
                  <a:lnTo>
                    <a:pt x="107841" y="72139"/>
                  </a:lnTo>
                  <a:cubicBezTo>
                    <a:pt x="106563" y="68947"/>
                    <a:pt x="102729" y="67670"/>
                    <a:pt x="100173" y="68947"/>
                  </a:cubicBezTo>
                  <a:cubicBezTo>
                    <a:pt x="96978" y="70224"/>
                    <a:pt x="95061" y="74054"/>
                    <a:pt x="96339" y="77246"/>
                  </a:cubicBezTo>
                  <a:cubicBezTo>
                    <a:pt x="96339" y="77246"/>
                    <a:pt x="96339" y="77246"/>
                    <a:pt x="96339" y="77246"/>
                  </a:cubicBezTo>
                  <a:lnTo>
                    <a:pt x="114231" y="121296"/>
                  </a:lnTo>
                  <a:lnTo>
                    <a:pt x="92505" y="120657"/>
                  </a:lnTo>
                  <a:close/>
                </a:path>
              </a:pathLst>
            </a:custGeom>
            <a:solidFill>
              <a:schemeClr val="bg1"/>
            </a:solidFill>
            <a:ln w="6390" cap="flat">
              <a:noFill/>
              <a:prstDash val="solid"/>
              <a:miter/>
            </a:ln>
          </p:spPr>
          <p:txBody>
            <a:bodyPr rtlCol="0" anchor="ctr"/>
            <a:lstStyle/>
            <a:p>
              <a:endParaRPr lang="en-AU" dirty="0">
                <a:solidFill>
                  <a:srgbClr val="000000"/>
                </a:solidFill>
              </a:endParaRPr>
            </a:p>
          </p:txBody>
        </p:sp>
      </p:grpSp>
      <p:grpSp>
        <p:nvGrpSpPr>
          <p:cNvPr id="34" name="Group 33">
            <a:extLst>
              <a:ext uri="{FF2B5EF4-FFF2-40B4-BE49-F238E27FC236}">
                <a16:creationId xmlns:a16="http://schemas.microsoft.com/office/drawing/2014/main" id="{1D8BBFAA-3624-2BE0-015F-7C861ADBDC63}"/>
              </a:ext>
            </a:extLst>
          </p:cNvPr>
          <p:cNvGrpSpPr/>
          <p:nvPr/>
        </p:nvGrpSpPr>
        <p:grpSpPr>
          <a:xfrm>
            <a:off x="5745399" y="1510078"/>
            <a:ext cx="540000" cy="540000"/>
            <a:chOff x="5783531" y="1377998"/>
            <a:chExt cx="540000" cy="540000"/>
          </a:xfrm>
        </p:grpSpPr>
        <p:grpSp>
          <p:nvGrpSpPr>
            <p:cNvPr id="35" name="Group 34">
              <a:extLst>
                <a:ext uri="{FF2B5EF4-FFF2-40B4-BE49-F238E27FC236}">
                  <a16:creationId xmlns:a16="http://schemas.microsoft.com/office/drawing/2014/main" id="{1AA71B2C-30D6-7CD8-D11F-1976B2BB97F6}"/>
                </a:ext>
              </a:extLst>
            </p:cNvPr>
            <p:cNvGrpSpPr/>
            <p:nvPr/>
          </p:nvGrpSpPr>
          <p:grpSpPr>
            <a:xfrm>
              <a:off x="5783531" y="1377998"/>
              <a:ext cx="540000" cy="540000"/>
              <a:chOff x="465742" y="2706211"/>
              <a:chExt cx="442311" cy="442311"/>
            </a:xfrm>
          </p:grpSpPr>
          <p:sp>
            <p:nvSpPr>
              <p:cNvPr id="37" name="Oval 36">
                <a:extLst>
                  <a:ext uri="{FF2B5EF4-FFF2-40B4-BE49-F238E27FC236}">
                    <a16:creationId xmlns:a16="http://schemas.microsoft.com/office/drawing/2014/main" id="{20B71607-72F4-F29C-28AD-668045747FA7}"/>
                  </a:ext>
                </a:extLst>
              </p:cNvPr>
              <p:cNvSpPr/>
              <p:nvPr/>
            </p:nvSpPr>
            <p:spPr bwMode="gray">
              <a:xfrm>
                <a:off x="465742" y="2706211"/>
                <a:ext cx="442311" cy="442311"/>
              </a:xfrm>
              <a:prstGeom prst="ellipse">
                <a:avLst/>
              </a:prstGeom>
              <a:solidFill>
                <a:schemeClr val="accent2">
                  <a:alpha val="22959"/>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sp>
            <p:nvSpPr>
              <p:cNvPr id="38" name="Oval 37">
                <a:extLst>
                  <a:ext uri="{FF2B5EF4-FFF2-40B4-BE49-F238E27FC236}">
                    <a16:creationId xmlns:a16="http://schemas.microsoft.com/office/drawing/2014/main" id="{57362A10-4993-CB87-1F01-C98303BEEE33}"/>
                  </a:ext>
                </a:extLst>
              </p:cNvPr>
              <p:cNvSpPr/>
              <p:nvPr/>
            </p:nvSpPr>
            <p:spPr bwMode="gray">
              <a:xfrm>
                <a:off x="507079" y="2747548"/>
                <a:ext cx="359635" cy="359635"/>
              </a:xfrm>
              <a:prstGeom prst="ellipse">
                <a:avLst/>
              </a:prstGeom>
              <a:solidFill>
                <a:schemeClr val="accent2">
                  <a:alpha val="46624"/>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sp>
            <p:nvSpPr>
              <p:cNvPr id="39" name="Oval 38">
                <a:extLst>
                  <a:ext uri="{FF2B5EF4-FFF2-40B4-BE49-F238E27FC236}">
                    <a16:creationId xmlns:a16="http://schemas.microsoft.com/office/drawing/2014/main" id="{5BFA4584-43B9-C828-A7BF-FC183BE4E6E1}"/>
                  </a:ext>
                </a:extLst>
              </p:cNvPr>
              <p:cNvSpPr>
                <a:spLocks noChangeAspect="1"/>
              </p:cNvSpPr>
              <p:nvPr/>
            </p:nvSpPr>
            <p:spPr bwMode="gray">
              <a:xfrm>
                <a:off x="542895" y="2783362"/>
                <a:ext cx="288000" cy="288000"/>
              </a:xfrm>
              <a:prstGeom prst="ellipse">
                <a:avLst/>
              </a:prstGeom>
              <a:solidFill>
                <a:schemeClr val="accent2"/>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grpSp>
        <p:sp>
          <p:nvSpPr>
            <p:cNvPr id="36" name="Graphic 4">
              <a:extLst>
                <a:ext uri="{FF2B5EF4-FFF2-40B4-BE49-F238E27FC236}">
                  <a16:creationId xmlns:a16="http://schemas.microsoft.com/office/drawing/2014/main" id="{3EF0AB81-1D54-595E-666E-778BC3AE96AA}"/>
                </a:ext>
              </a:extLst>
            </p:cNvPr>
            <p:cNvSpPr/>
            <p:nvPr/>
          </p:nvSpPr>
          <p:spPr>
            <a:xfrm>
              <a:off x="5951662" y="1538385"/>
              <a:ext cx="203738" cy="219226"/>
            </a:xfrm>
            <a:custGeom>
              <a:avLst/>
              <a:gdLst>
                <a:gd name="connsiteX0" fmla="*/ 174916 w 203738"/>
                <a:gd name="connsiteY0" fmla="*/ 64096 h 219226"/>
                <a:gd name="connsiteX1" fmla="*/ 201754 w 203738"/>
                <a:gd name="connsiteY1" fmla="*/ 37283 h 219226"/>
                <a:gd name="connsiteX2" fmla="*/ 174916 w 203738"/>
                <a:gd name="connsiteY2" fmla="*/ 10470 h 219226"/>
                <a:gd name="connsiteX3" fmla="*/ 148078 w 203738"/>
                <a:gd name="connsiteY3" fmla="*/ 37283 h 219226"/>
                <a:gd name="connsiteX4" fmla="*/ 153190 w 203738"/>
                <a:gd name="connsiteY4" fmla="*/ 53243 h 219226"/>
                <a:gd name="connsiteX5" fmla="*/ 121879 w 203738"/>
                <a:gd name="connsiteY5" fmla="*/ 83248 h 219226"/>
                <a:gd name="connsiteX6" fmla="*/ 88652 w 203738"/>
                <a:gd name="connsiteY6" fmla="*/ 81332 h 219226"/>
                <a:gd name="connsiteX7" fmla="*/ 66287 w 203738"/>
                <a:gd name="connsiteY7" fmla="*/ 45582 h 219226"/>
                <a:gd name="connsiteX8" fmla="*/ 65009 w 203738"/>
                <a:gd name="connsiteY8" fmla="*/ 7278 h 219226"/>
                <a:gd name="connsiteX9" fmla="*/ 26669 w 203738"/>
                <a:gd name="connsiteY9" fmla="*/ 8555 h 219226"/>
                <a:gd name="connsiteX10" fmla="*/ 27947 w 203738"/>
                <a:gd name="connsiteY10" fmla="*/ 46859 h 219226"/>
                <a:gd name="connsiteX11" fmla="*/ 56063 w 203738"/>
                <a:gd name="connsiteY11" fmla="*/ 52604 h 219226"/>
                <a:gd name="connsiteX12" fmla="*/ 79067 w 203738"/>
                <a:gd name="connsiteY12" fmla="*/ 88355 h 219226"/>
                <a:gd name="connsiteX13" fmla="*/ 68204 w 203738"/>
                <a:gd name="connsiteY13" fmla="*/ 110699 h 219226"/>
                <a:gd name="connsiteX14" fmla="*/ 52229 w 203738"/>
                <a:gd name="connsiteY14" fmla="*/ 111975 h 219226"/>
                <a:gd name="connsiteX15" fmla="*/ 17084 w 203738"/>
                <a:gd name="connsiteY15" fmla="*/ 96654 h 219226"/>
                <a:gd name="connsiteX16" fmla="*/ 1749 w 203738"/>
                <a:gd name="connsiteY16" fmla="*/ 131766 h 219226"/>
                <a:gd name="connsiteX17" fmla="*/ 36893 w 203738"/>
                <a:gd name="connsiteY17" fmla="*/ 147087 h 219226"/>
                <a:gd name="connsiteX18" fmla="*/ 54146 w 203738"/>
                <a:gd name="connsiteY18" fmla="*/ 124743 h 219226"/>
                <a:gd name="connsiteX19" fmla="*/ 69482 w 203738"/>
                <a:gd name="connsiteY19" fmla="*/ 123467 h 219226"/>
                <a:gd name="connsiteX20" fmla="*/ 90569 w 203738"/>
                <a:gd name="connsiteY20" fmla="*/ 148364 h 219226"/>
                <a:gd name="connsiteX21" fmla="*/ 85457 w 203738"/>
                <a:gd name="connsiteY21" fmla="*/ 164962 h 219226"/>
                <a:gd name="connsiteX22" fmla="*/ 83540 w 203738"/>
                <a:gd name="connsiteY22" fmla="*/ 164962 h 219226"/>
                <a:gd name="connsiteX23" fmla="*/ 56063 w 203738"/>
                <a:gd name="connsiteY23" fmla="*/ 191775 h 219226"/>
                <a:gd name="connsiteX24" fmla="*/ 82901 w 203738"/>
                <a:gd name="connsiteY24" fmla="*/ 219226 h 219226"/>
                <a:gd name="connsiteX25" fmla="*/ 110378 w 203738"/>
                <a:gd name="connsiteY25" fmla="*/ 192414 h 219226"/>
                <a:gd name="connsiteX26" fmla="*/ 97598 w 203738"/>
                <a:gd name="connsiteY26" fmla="*/ 168793 h 219226"/>
                <a:gd name="connsiteX27" fmla="*/ 103349 w 203738"/>
                <a:gd name="connsiteY27" fmla="*/ 150918 h 219226"/>
                <a:gd name="connsiteX28" fmla="*/ 105266 w 203738"/>
                <a:gd name="connsiteY28" fmla="*/ 150918 h 219226"/>
                <a:gd name="connsiteX29" fmla="*/ 135937 w 203738"/>
                <a:gd name="connsiteY29" fmla="*/ 134319 h 219226"/>
                <a:gd name="connsiteX30" fmla="*/ 153190 w 203738"/>
                <a:gd name="connsiteY30" fmla="*/ 145172 h 219226"/>
                <a:gd name="connsiteX31" fmla="*/ 165331 w 203738"/>
                <a:gd name="connsiteY31" fmla="*/ 180922 h 219226"/>
                <a:gd name="connsiteX32" fmla="*/ 201115 w 203738"/>
                <a:gd name="connsiteY32" fmla="*/ 168793 h 219226"/>
                <a:gd name="connsiteX33" fmla="*/ 188974 w 203738"/>
                <a:gd name="connsiteY33" fmla="*/ 133043 h 219226"/>
                <a:gd name="connsiteX34" fmla="*/ 177472 w 203738"/>
                <a:gd name="connsiteY34" fmla="*/ 130489 h 219226"/>
                <a:gd name="connsiteX35" fmla="*/ 161497 w 203738"/>
                <a:gd name="connsiteY35" fmla="*/ 135596 h 219226"/>
                <a:gd name="connsiteX36" fmla="*/ 141049 w 203738"/>
                <a:gd name="connsiteY36" fmla="*/ 122828 h 219226"/>
                <a:gd name="connsiteX37" fmla="*/ 142327 w 203738"/>
                <a:gd name="connsiteY37" fmla="*/ 114529 h 219226"/>
                <a:gd name="connsiteX38" fmla="*/ 134020 w 203738"/>
                <a:gd name="connsiteY38" fmla="*/ 91547 h 219226"/>
                <a:gd name="connsiteX39" fmla="*/ 165331 w 203738"/>
                <a:gd name="connsiteY39" fmla="*/ 60904 h 219226"/>
                <a:gd name="connsiteX40" fmla="*/ 174916 w 203738"/>
                <a:gd name="connsiteY40" fmla="*/ 64096 h 219226"/>
                <a:gd name="connsiteX41" fmla="*/ 31781 w 203738"/>
                <a:gd name="connsiteY41" fmla="*/ 27068 h 219226"/>
                <a:gd name="connsiteX42" fmla="*/ 45839 w 203738"/>
                <a:gd name="connsiteY42" fmla="*/ 13024 h 219226"/>
                <a:gd name="connsiteX43" fmla="*/ 59897 w 203738"/>
                <a:gd name="connsiteY43" fmla="*/ 27068 h 219226"/>
                <a:gd name="connsiteX44" fmla="*/ 45839 w 203738"/>
                <a:gd name="connsiteY44" fmla="*/ 41113 h 219226"/>
                <a:gd name="connsiteX45" fmla="*/ 31781 w 203738"/>
                <a:gd name="connsiteY45" fmla="*/ 27068 h 219226"/>
                <a:gd name="connsiteX46" fmla="*/ 80984 w 203738"/>
                <a:gd name="connsiteY46" fmla="*/ 205181 h 219226"/>
                <a:gd name="connsiteX47" fmla="*/ 66926 w 203738"/>
                <a:gd name="connsiteY47" fmla="*/ 191137 h 219226"/>
                <a:gd name="connsiteX48" fmla="*/ 80984 w 203738"/>
                <a:gd name="connsiteY48" fmla="*/ 177092 h 219226"/>
                <a:gd name="connsiteX49" fmla="*/ 95042 w 203738"/>
                <a:gd name="connsiteY49" fmla="*/ 191137 h 219226"/>
                <a:gd name="connsiteX50" fmla="*/ 80984 w 203738"/>
                <a:gd name="connsiteY50" fmla="*/ 205181 h 219226"/>
                <a:gd name="connsiteX51" fmla="*/ 80984 w 203738"/>
                <a:gd name="connsiteY51" fmla="*/ 205181 h 219226"/>
                <a:gd name="connsiteX52" fmla="*/ 188974 w 203738"/>
                <a:gd name="connsiteY52" fmla="*/ 157302 h 219226"/>
                <a:gd name="connsiteX53" fmla="*/ 174916 w 203738"/>
                <a:gd name="connsiteY53" fmla="*/ 171346 h 219226"/>
                <a:gd name="connsiteX54" fmla="*/ 160858 w 203738"/>
                <a:gd name="connsiteY54" fmla="*/ 157302 h 219226"/>
                <a:gd name="connsiteX55" fmla="*/ 174916 w 203738"/>
                <a:gd name="connsiteY55" fmla="*/ 143257 h 219226"/>
                <a:gd name="connsiteX56" fmla="*/ 188974 w 203738"/>
                <a:gd name="connsiteY56" fmla="*/ 157302 h 219226"/>
                <a:gd name="connsiteX57" fmla="*/ 188974 w 203738"/>
                <a:gd name="connsiteY57" fmla="*/ 157302 h 219226"/>
                <a:gd name="connsiteX58" fmla="*/ 174916 w 203738"/>
                <a:gd name="connsiteY58" fmla="*/ 23238 h 219226"/>
                <a:gd name="connsiteX59" fmla="*/ 188974 w 203738"/>
                <a:gd name="connsiteY59" fmla="*/ 37283 h 219226"/>
                <a:gd name="connsiteX60" fmla="*/ 174916 w 203738"/>
                <a:gd name="connsiteY60" fmla="*/ 51328 h 219226"/>
                <a:gd name="connsiteX61" fmla="*/ 160858 w 203738"/>
                <a:gd name="connsiteY61" fmla="*/ 37283 h 219226"/>
                <a:gd name="connsiteX62" fmla="*/ 174916 w 203738"/>
                <a:gd name="connsiteY62" fmla="*/ 23238 h 219226"/>
                <a:gd name="connsiteX63" fmla="*/ 174916 w 203738"/>
                <a:gd name="connsiteY63" fmla="*/ 23238 h 219226"/>
                <a:gd name="connsiteX64" fmla="*/ 25391 w 203738"/>
                <a:gd name="connsiteY64" fmla="*/ 135596 h 219226"/>
                <a:gd name="connsiteX65" fmla="*/ 11333 w 203738"/>
                <a:gd name="connsiteY65" fmla="*/ 121551 h 219226"/>
                <a:gd name="connsiteX66" fmla="*/ 25391 w 203738"/>
                <a:gd name="connsiteY66" fmla="*/ 107507 h 219226"/>
                <a:gd name="connsiteX67" fmla="*/ 39449 w 203738"/>
                <a:gd name="connsiteY67" fmla="*/ 121551 h 219226"/>
                <a:gd name="connsiteX68" fmla="*/ 25391 w 203738"/>
                <a:gd name="connsiteY68" fmla="*/ 135596 h 219226"/>
                <a:gd name="connsiteX69" fmla="*/ 103349 w 203738"/>
                <a:gd name="connsiteY69" fmla="*/ 138150 h 219226"/>
                <a:gd name="connsiteX70" fmla="*/ 79706 w 203738"/>
                <a:gd name="connsiteY70" fmla="*/ 114529 h 219226"/>
                <a:gd name="connsiteX71" fmla="*/ 103349 w 203738"/>
                <a:gd name="connsiteY71" fmla="*/ 90270 h 219226"/>
                <a:gd name="connsiteX72" fmla="*/ 126991 w 203738"/>
                <a:gd name="connsiteY72" fmla="*/ 113891 h 219226"/>
                <a:gd name="connsiteX73" fmla="*/ 126991 w 203738"/>
                <a:gd name="connsiteY73" fmla="*/ 113891 h 219226"/>
                <a:gd name="connsiteX74" fmla="*/ 103349 w 203738"/>
                <a:gd name="connsiteY74" fmla="*/ 138150 h 21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03738" h="219226">
                  <a:moveTo>
                    <a:pt x="174916" y="64096"/>
                  </a:moveTo>
                  <a:cubicBezTo>
                    <a:pt x="189613" y="64096"/>
                    <a:pt x="201754" y="51966"/>
                    <a:pt x="201754" y="37283"/>
                  </a:cubicBezTo>
                  <a:cubicBezTo>
                    <a:pt x="201754" y="22600"/>
                    <a:pt x="189613" y="10470"/>
                    <a:pt x="174916" y="10470"/>
                  </a:cubicBezTo>
                  <a:cubicBezTo>
                    <a:pt x="160219" y="10470"/>
                    <a:pt x="148078" y="22600"/>
                    <a:pt x="148078" y="37283"/>
                  </a:cubicBezTo>
                  <a:cubicBezTo>
                    <a:pt x="148078" y="43028"/>
                    <a:pt x="149995" y="48136"/>
                    <a:pt x="153190" y="53243"/>
                  </a:cubicBezTo>
                  <a:lnTo>
                    <a:pt x="121879" y="83248"/>
                  </a:lnTo>
                  <a:cubicBezTo>
                    <a:pt x="111656" y="76864"/>
                    <a:pt x="98876" y="76225"/>
                    <a:pt x="88652" y="81332"/>
                  </a:cubicBezTo>
                  <a:lnTo>
                    <a:pt x="66287" y="45582"/>
                  </a:lnTo>
                  <a:cubicBezTo>
                    <a:pt x="76511" y="34729"/>
                    <a:pt x="75872" y="17492"/>
                    <a:pt x="65009" y="7278"/>
                  </a:cubicBezTo>
                  <a:cubicBezTo>
                    <a:pt x="54146" y="-2936"/>
                    <a:pt x="36893" y="-2298"/>
                    <a:pt x="26669" y="8555"/>
                  </a:cubicBezTo>
                  <a:cubicBezTo>
                    <a:pt x="16445" y="19408"/>
                    <a:pt x="17084" y="36644"/>
                    <a:pt x="27947" y="46859"/>
                  </a:cubicBezTo>
                  <a:cubicBezTo>
                    <a:pt x="35615" y="53881"/>
                    <a:pt x="46478" y="55796"/>
                    <a:pt x="56063" y="52604"/>
                  </a:cubicBezTo>
                  <a:lnTo>
                    <a:pt x="79067" y="88355"/>
                  </a:lnTo>
                  <a:cubicBezTo>
                    <a:pt x="72677" y="94100"/>
                    <a:pt x="68843" y="102400"/>
                    <a:pt x="68204" y="110699"/>
                  </a:cubicBezTo>
                  <a:lnTo>
                    <a:pt x="52229" y="111975"/>
                  </a:lnTo>
                  <a:cubicBezTo>
                    <a:pt x="47117" y="97931"/>
                    <a:pt x="31142" y="91547"/>
                    <a:pt x="17084" y="96654"/>
                  </a:cubicBezTo>
                  <a:cubicBezTo>
                    <a:pt x="3027" y="101761"/>
                    <a:pt x="-3363" y="117721"/>
                    <a:pt x="1749" y="131766"/>
                  </a:cubicBezTo>
                  <a:cubicBezTo>
                    <a:pt x="6861" y="145811"/>
                    <a:pt x="22835" y="152195"/>
                    <a:pt x="36893" y="147087"/>
                  </a:cubicBezTo>
                  <a:cubicBezTo>
                    <a:pt x="46478" y="143257"/>
                    <a:pt x="52868" y="134958"/>
                    <a:pt x="54146" y="124743"/>
                  </a:cubicBezTo>
                  <a:lnTo>
                    <a:pt x="69482" y="123467"/>
                  </a:lnTo>
                  <a:cubicBezTo>
                    <a:pt x="72038" y="134319"/>
                    <a:pt x="79706" y="143895"/>
                    <a:pt x="90569" y="148364"/>
                  </a:cubicBezTo>
                  <a:lnTo>
                    <a:pt x="85457" y="164962"/>
                  </a:lnTo>
                  <a:lnTo>
                    <a:pt x="83540" y="164962"/>
                  </a:lnTo>
                  <a:cubicBezTo>
                    <a:pt x="68843" y="164962"/>
                    <a:pt x="56063" y="177092"/>
                    <a:pt x="56063" y="191775"/>
                  </a:cubicBezTo>
                  <a:cubicBezTo>
                    <a:pt x="56063" y="206458"/>
                    <a:pt x="68204" y="219226"/>
                    <a:pt x="82901" y="219226"/>
                  </a:cubicBezTo>
                  <a:cubicBezTo>
                    <a:pt x="97598" y="219226"/>
                    <a:pt x="110378" y="207097"/>
                    <a:pt x="110378" y="192414"/>
                  </a:cubicBezTo>
                  <a:cubicBezTo>
                    <a:pt x="110378" y="182838"/>
                    <a:pt x="105266" y="173900"/>
                    <a:pt x="97598" y="168793"/>
                  </a:cubicBezTo>
                  <a:lnTo>
                    <a:pt x="103349" y="150918"/>
                  </a:lnTo>
                  <a:lnTo>
                    <a:pt x="105266" y="150918"/>
                  </a:lnTo>
                  <a:cubicBezTo>
                    <a:pt x="117406" y="150918"/>
                    <a:pt x="128908" y="144534"/>
                    <a:pt x="135937" y="134319"/>
                  </a:cubicBezTo>
                  <a:lnTo>
                    <a:pt x="153190" y="145172"/>
                  </a:lnTo>
                  <a:cubicBezTo>
                    <a:pt x="146800" y="158578"/>
                    <a:pt x="152551" y="174538"/>
                    <a:pt x="165331" y="180922"/>
                  </a:cubicBezTo>
                  <a:cubicBezTo>
                    <a:pt x="178111" y="187306"/>
                    <a:pt x="194725" y="181561"/>
                    <a:pt x="201115" y="168793"/>
                  </a:cubicBezTo>
                  <a:cubicBezTo>
                    <a:pt x="207505" y="155387"/>
                    <a:pt x="201754" y="139427"/>
                    <a:pt x="188974" y="133043"/>
                  </a:cubicBezTo>
                  <a:cubicBezTo>
                    <a:pt x="185140" y="131127"/>
                    <a:pt x="181306" y="130489"/>
                    <a:pt x="177472" y="130489"/>
                  </a:cubicBezTo>
                  <a:cubicBezTo>
                    <a:pt x="171721" y="130489"/>
                    <a:pt x="166609" y="132404"/>
                    <a:pt x="161497" y="135596"/>
                  </a:cubicBezTo>
                  <a:lnTo>
                    <a:pt x="141049" y="122828"/>
                  </a:lnTo>
                  <a:cubicBezTo>
                    <a:pt x="141688" y="120275"/>
                    <a:pt x="142327" y="117083"/>
                    <a:pt x="142327" y="114529"/>
                  </a:cubicBezTo>
                  <a:cubicBezTo>
                    <a:pt x="142327" y="106230"/>
                    <a:pt x="139132" y="97931"/>
                    <a:pt x="134020" y="91547"/>
                  </a:cubicBezTo>
                  <a:lnTo>
                    <a:pt x="165331" y="60904"/>
                  </a:lnTo>
                  <a:cubicBezTo>
                    <a:pt x="166609" y="62819"/>
                    <a:pt x="170443" y="64096"/>
                    <a:pt x="174916" y="64096"/>
                  </a:cubicBezTo>
                  <a:close/>
                  <a:moveTo>
                    <a:pt x="31781" y="27068"/>
                  </a:moveTo>
                  <a:cubicBezTo>
                    <a:pt x="31781" y="19408"/>
                    <a:pt x="38171" y="13024"/>
                    <a:pt x="45839" y="13024"/>
                  </a:cubicBezTo>
                  <a:cubicBezTo>
                    <a:pt x="53507" y="13024"/>
                    <a:pt x="59897" y="19408"/>
                    <a:pt x="59897" y="27068"/>
                  </a:cubicBezTo>
                  <a:cubicBezTo>
                    <a:pt x="59897" y="34729"/>
                    <a:pt x="53507" y="41113"/>
                    <a:pt x="45839" y="41113"/>
                  </a:cubicBezTo>
                  <a:cubicBezTo>
                    <a:pt x="38171" y="41113"/>
                    <a:pt x="31781" y="35368"/>
                    <a:pt x="31781" y="27068"/>
                  </a:cubicBezTo>
                  <a:close/>
                  <a:moveTo>
                    <a:pt x="80984" y="205181"/>
                  </a:moveTo>
                  <a:cubicBezTo>
                    <a:pt x="73316" y="205181"/>
                    <a:pt x="66926" y="198798"/>
                    <a:pt x="66926" y="191137"/>
                  </a:cubicBezTo>
                  <a:cubicBezTo>
                    <a:pt x="66926" y="183476"/>
                    <a:pt x="73316" y="177092"/>
                    <a:pt x="80984" y="177092"/>
                  </a:cubicBezTo>
                  <a:cubicBezTo>
                    <a:pt x="88652" y="177092"/>
                    <a:pt x="95042" y="183476"/>
                    <a:pt x="95042" y="191137"/>
                  </a:cubicBezTo>
                  <a:cubicBezTo>
                    <a:pt x="95042" y="198798"/>
                    <a:pt x="89291" y="205181"/>
                    <a:pt x="80984" y="205181"/>
                  </a:cubicBezTo>
                  <a:cubicBezTo>
                    <a:pt x="80984" y="205181"/>
                    <a:pt x="80984" y="205181"/>
                    <a:pt x="80984" y="205181"/>
                  </a:cubicBezTo>
                  <a:close/>
                  <a:moveTo>
                    <a:pt x="188974" y="157302"/>
                  </a:moveTo>
                  <a:cubicBezTo>
                    <a:pt x="188974" y="164962"/>
                    <a:pt x="182584" y="171346"/>
                    <a:pt x="174916" y="171346"/>
                  </a:cubicBezTo>
                  <a:cubicBezTo>
                    <a:pt x="167248" y="171346"/>
                    <a:pt x="160858" y="164962"/>
                    <a:pt x="160858" y="157302"/>
                  </a:cubicBezTo>
                  <a:cubicBezTo>
                    <a:pt x="160858" y="149641"/>
                    <a:pt x="167248" y="143257"/>
                    <a:pt x="174916" y="143257"/>
                  </a:cubicBezTo>
                  <a:cubicBezTo>
                    <a:pt x="182584" y="143257"/>
                    <a:pt x="188974" y="149641"/>
                    <a:pt x="188974" y="157302"/>
                  </a:cubicBezTo>
                  <a:lnTo>
                    <a:pt x="188974" y="157302"/>
                  </a:lnTo>
                  <a:close/>
                  <a:moveTo>
                    <a:pt x="174916" y="23238"/>
                  </a:moveTo>
                  <a:cubicBezTo>
                    <a:pt x="182584" y="23238"/>
                    <a:pt x="188974" y="29622"/>
                    <a:pt x="188974" y="37283"/>
                  </a:cubicBezTo>
                  <a:cubicBezTo>
                    <a:pt x="188974" y="44944"/>
                    <a:pt x="182584" y="51328"/>
                    <a:pt x="174916" y="51328"/>
                  </a:cubicBezTo>
                  <a:cubicBezTo>
                    <a:pt x="167248" y="51328"/>
                    <a:pt x="160858" y="44944"/>
                    <a:pt x="160858" y="37283"/>
                  </a:cubicBezTo>
                  <a:cubicBezTo>
                    <a:pt x="160858" y="29622"/>
                    <a:pt x="166609" y="23238"/>
                    <a:pt x="174916" y="23238"/>
                  </a:cubicBezTo>
                  <a:cubicBezTo>
                    <a:pt x="174277" y="23238"/>
                    <a:pt x="174916" y="23238"/>
                    <a:pt x="174916" y="23238"/>
                  </a:cubicBezTo>
                  <a:close/>
                  <a:moveTo>
                    <a:pt x="25391" y="135596"/>
                  </a:moveTo>
                  <a:cubicBezTo>
                    <a:pt x="17723" y="135596"/>
                    <a:pt x="11333" y="129212"/>
                    <a:pt x="11333" y="121551"/>
                  </a:cubicBezTo>
                  <a:cubicBezTo>
                    <a:pt x="11333" y="113891"/>
                    <a:pt x="17723" y="107507"/>
                    <a:pt x="25391" y="107507"/>
                  </a:cubicBezTo>
                  <a:cubicBezTo>
                    <a:pt x="33059" y="107507"/>
                    <a:pt x="39449" y="113891"/>
                    <a:pt x="39449" y="121551"/>
                  </a:cubicBezTo>
                  <a:cubicBezTo>
                    <a:pt x="39449" y="129212"/>
                    <a:pt x="33059" y="135596"/>
                    <a:pt x="25391" y="135596"/>
                  </a:cubicBezTo>
                  <a:close/>
                  <a:moveTo>
                    <a:pt x="103349" y="138150"/>
                  </a:moveTo>
                  <a:cubicBezTo>
                    <a:pt x="89930" y="138150"/>
                    <a:pt x="79706" y="127297"/>
                    <a:pt x="79706" y="114529"/>
                  </a:cubicBezTo>
                  <a:cubicBezTo>
                    <a:pt x="79706" y="101123"/>
                    <a:pt x="90569" y="90908"/>
                    <a:pt x="103349" y="90270"/>
                  </a:cubicBezTo>
                  <a:cubicBezTo>
                    <a:pt x="116767" y="90270"/>
                    <a:pt x="126991" y="101123"/>
                    <a:pt x="126991" y="113891"/>
                  </a:cubicBezTo>
                  <a:cubicBezTo>
                    <a:pt x="126991" y="113891"/>
                    <a:pt x="126991" y="113891"/>
                    <a:pt x="126991" y="113891"/>
                  </a:cubicBezTo>
                  <a:cubicBezTo>
                    <a:pt x="126991" y="127297"/>
                    <a:pt x="116767" y="138150"/>
                    <a:pt x="103349" y="138150"/>
                  </a:cubicBezTo>
                  <a:close/>
                </a:path>
              </a:pathLst>
            </a:custGeom>
            <a:solidFill>
              <a:schemeClr val="bg1"/>
            </a:solidFill>
            <a:ln w="6390" cap="flat">
              <a:noFill/>
              <a:prstDash val="solid"/>
              <a:miter/>
            </a:ln>
          </p:spPr>
          <p:txBody>
            <a:bodyPr rtlCol="0" anchor="ctr"/>
            <a:lstStyle/>
            <a:p>
              <a:endParaRPr lang="en-AU" dirty="0">
                <a:solidFill>
                  <a:srgbClr val="000000"/>
                </a:solidFill>
              </a:endParaRPr>
            </a:p>
          </p:txBody>
        </p:sp>
      </p:grpSp>
      <p:grpSp>
        <p:nvGrpSpPr>
          <p:cNvPr id="40" name="Group 39">
            <a:extLst>
              <a:ext uri="{FF2B5EF4-FFF2-40B4-BE49-F238E27FC236}">
                <a16:creationId xmlns:a16="http://schemas.microsoft.com/office/drawing/2014/main" id="{2265B91B-A060-63ED-F1FF-DAB74A9A3D36}"/>
              </a:ext>
            </a:extLst>
          </p:cNvPr>
          <p:cNvGrpSpPr/>
          <p:nvPr/>
        </p:nvGrpSpPr>
        <p:grpSpPr>
          <a:xfrm>
            <a:off x="9458809" y="1508064"/>
            <a:ext cx="540000" cy="540000"/>
            <a:chOff x="9480092" y="1377998"/>
            <a:chExt cx="540000" cy="540000"/>
          </a:xfrm>
        </p:grpSpPr>
        <p:grpSp>
          <p:nvGrpSpPr>
            <p:cNvPr id="41" name="Group 40">
              <a:extLst>
                <a:ext uri="{FF2B5EF4-FFF2-40B4-BE49-F238E27FC236}">
                  <a16:creationId xmlns:a16="http://schemas.microsoft.com/office/drawing/2014/main" id="{6E8A2227-433A-DB6A-9AD5-51FD2CF101C3}"/>
                </a:ext>
              </a:extLst>
            </p:cNvPr>
            <p:cNvGrpSpPr/>
            <p:nvPr/>
          </p:nvGrpSpPr>
          <p:grpSpPr>
            <a:xfrm>
              <a:off x="9480092" y="1377998"/>
              <a:ext cx="540000" cy="540000"/>
              <a:chOff x="465742" y="2706211"/>
              <a:chExt cx="442311" cy="442311"/>
            </a:xfrm>
          </p:grpSpPr>
          <p:sp>
            <p:nvSpPr>
              <p:cNvPr id="43" name="Oval 42">
                <a:extLst>
                  <a:ext uri="{FF2B5EF4-FFF2-40B4-BE49-F238E27FC236}">
                    <a16:creationId xmlns:a16="http://schemas.microsoft.com/office/drawing/2014/main" id="{2ADED647-AFCA-56D6-8BE2-6E8F921A9B2C}"/>
                  </a:ext>
                </a:extLst>
              </p:cNvPr>
              <p:cNvSpPr/>
              <p:nvPr/>
            </p:nvSpPr>
            <p:spPr bwMode="gray">
              <a:xfrm>
                <a:off x="465742" y="2706211"/>
                <a:ext cx="442311" cy="442311"/>
              </a:xfrm>
              <a:prstGeom prst="ellipse">
                <a:avLst/>
              </a:prstGeom>
              <a:solidFill>
                <a:schemeClr val="accent3">
                  <a:alpha val="22959"/>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sp>
            <p:nvSpPr>
              <p:cNvPr id="44" name="Oval 43">
                <a:extLst>
                  <a:ext uri="{FF2B5EF4-FFF2-40B4-BE49-F238E27FC236}">
                    <a16:creationId xmlns:a16="http://schemas.microsoft.com/office/drawing/2014/main" id="{C0864AB7-3FFA-FAE1-C045-58BC7FAD0CE7}"/>
                  </a:ext>
                </a:extLst>
              </p:cNvPr>
              <p:cNvSpPr/>
              <p:nvPr/>
            </p:nvSpPr>
            <p:spPr bwMode="gray">
              <a:xfrm>
                <a:off x="507079" y="2747548"/>
                <a:ext cx="359635" cy="359635"/>
              </a:xfrm>
              <a:prstGeom prst="ellipse">
                <a:avLst/>
              </a:prstGeom>
              <a:solidFill>
                <a:schemeClr val="accent3">
                  <a:alpha val="46624"/>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sp>
            <p:nvSpPr>
              <p:cNvPr id="45" name="Oval 44">
                <a:extLst>
                  <a:ext uri="{FF2B5EF4-FFF2-40B4-BE49-F238E27FC236}">
                    <a16:creationId xmlns:a16="http://schemas.microsoft.com/office/drawing/2014/main" id="{71214B71-B700-7C1B-50F2-45153BFC22F9}"/>
                  </a:ext>
                </a:extLst>
              </p:cNvPr>
              <p:cNvSpPr>
                <a:spLocks noChangeAspect="1"/>
              </p:cNvSpPr>
              <p:nvPr/>
            </p:nvSpPr>
            <p:spPr bwMode="gray">
              <a:xfrm>
                <a:off x="542895" y="2783362"/>
                <a:ext cx="288000" cy="288000"/>
              </a:xfrm>
              <a:prstGeom prst="ellipse">
                <a:avLst/>
              </a:prstGeom>
              <a:solidFill>
                <a:schemeClr val="accent3"/>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dirty="0">
                  <a:ln>
                    <a:noFill/>
                  </a:ln>
                  <a:solidFill>
                    <a:srgbClr val="000000"/>
                  </a:solidFill>
                  <a:effectLst/>
                  <a:uLnTx/>
                  <a:uFillTx/>
                  <a:latin typeface="Calibri"/>
                  <a:ea typeface="+mn-ea"/>
                  <a:cs typeface="+mn-cs"/>
                </a:endParaRPr>
              </a:p>
            </p:txBody>
          </p:sp>
        </p:grpSp>
        <p:sp>
          <p:nvSpPr>
            <p:cNvPr id="42" name="Graphic 4">
              <a:extLst>
                <a:ext uri="{FF2B5EF4-FFF2-40B4-BE49-F238E27FC236}">
                  <a16:creationId xmlns:a16="http://schemas.microsoft.com/office/drawing/2014/main" id="{2610C325-3515-4979-81A8-6A5BD9B819D1}"/>
                </a:ext>
              </a:extLst>
            </p:cNvPr>
            <p:cNvSpPr/>
            <p:nvPr/>
          </p:nvSpPr>
          <p:spPr>
            <a:xfrm>
              <a:off x="9650543" y="1548089"/>
              <a:ext cx="199098" cy="199818"/>
            </a:xfrm>
            <a:custGeom>
              <a:avLst/>
              <a:gdLst>
                <a:gd name="connsiteX0" fmla="*/ 192588 w 199098"/>
                <a:gd name="connsiteY0" fmla="*/ 70224 h 199818"/>
                <a:gd name="connsiteX1" fmla="*/ 184920 w 199098"/>
                <a:gd name="connsiteY1" fmla="*/ 70224 h 199818"/>
                <a:gd name="connsiteX2" fmla="*/ 198978 w 199098"/>
                <a:gd name="connsiteY2" fmla="*/ 7661 h 199818"/>
                <a:gd name="connsiteX3" fmla="*/ 193866 w 199098"/>
                <a:gd name="connsiteY3" fmla="*/ 0 h 199818"/>
                <a:gd name="connsiteX4" fmla="*/ 192588 w 199098"/>
                <a:gd name="connsiteY4" fmla="*/ 0 h 199818"/>
                <a:gd name="connsiteX5" fmla="*/ 122298 w 199098"/>
                <a:gd name="connsiteY5" fmla="*/ 0 h 199818"/>
                <a:gd name="connsiteX6" fmla="*/ 117826 w 199098"/>
                <a:gd name="connsiteY6" fmla="*/ 1915 h 199818"/>
                <a:gd name="connsiteX7" fmla="*/ 116548 w 199098"/>
                <a:gd name="connsiteY7" fmla="*/ 7022 h 199818"/>
                <a:gd name="connsiteX8" fmla="*/ 123576 w 199098"/>
                <a:gd name="connsiteY8" fmla="*/ 70224 h 199818"/>
                <a:gd name="connsiteX9" fmla="*/ 115270 w 199098"/>
                <a:gd name="connsiteY9" fmla="*/ 70224 h 199818"/>
                <a:gd name="connsiteX10" fmla="*/ 108880 w 199098"/>
                <a:gd name="connsiteY10" fmla="*/ 76608 h 199818"/>
                <a:gd name="connsiteX11" fmla="*/ 108880 w 199098"/>
                <a:gd name="connsiteY11" fmla="*/ 94483 h 199818"/>
                <a:gd name="connsiteX12" fmla="*/ 90349 w 199098"/>
                <a:gd name="connsiteY12" fmla="*/ 94483 h 199818"/>
                <a:gd name="connsiteX13" fmla="*/ 90349 w 199098"/>
                <a:gd name="connsiteY13" fmla="*/ 76608 h 199818"/>
                <a:gd name="connsiteX14" fmla="*/ 83959 w 199098"/>
                <a:gd name="connsiteY14" fmla="*/ 70224 h 199818"/>
                <a:gd name="connsiteX15" fmla="*/ 75652 w 199098"/>
                <a:gd name="connsiteY15" fmla="*/ 70224 h 199818"/>
                <a:gd name="connsiteX16" fmla="*/ 82681 w 199098"/>
                <a:gd name="connsiteY16" fmla="*/ 7022 h 199818"/>
                <a:gd name="connsiteX17" fmla="*/ 81403 w 199098"/>
                <a:gd name="connsiteY17" fmla="*/ 1915 h 199818"/>
                <a:gd name="connsiteX18" fmla="*/ 76930 w 199098"/>
                <a:gd name="connsiteY18" fmla="*/ 0 h 199818"/>
                <a:gd name="connsiteX19" fmla="*/ 6641 w 199098"/>
                <a:gd name="connsiteY19" fmla="*/ 0 h 199818"/>
                <a:gd name="connsiteX20" fmla="*/ 1529 w 199098"/>
                <a:gd name="connsiteY20" fmla="*/ 2554 h 199818"/>
                <a:gd name="connsiteX21" fmla="*/ 251 w 199098"/>
                <a:gd name="connsiteY21" fmla="*/ 7661 h 199818"/>
                <a:gd name="connsiteX22" fmla="*/ 13670 w 199098"/>
                <a:gd name="connsiteY22" fmla="*/ 70224 h 199818"/>
                <a:gd name="connsiteX23" fmla="*/ 6002 w 199098"/>
                <a:gd name="connsiteY23" fmla="*/ 70224 h 199818"/>
                <a:gd name="connsiteX24" fmla="*/ 1529 w 199098"/>
                <a:gd name="connsiteY24" fmla="*/ 72139 h 199818"/>
                <a:gd name="connsiteX25" fmla="*/ 251 w 199098"/>
                <a:gd name="connsiteY25" fmla="*/ 77246 h 199818"/>
                <a:gd name="connsiteX26" fmla="*/ 8558 w 199098"/>
                <a:gd name="connsiteY26" fmla="*/ 162792 h 199818"/>
                <a:gd name="connsiteX27" fmla="*/ 14948 w 199098"/>
                <a:gd name="connsiteY27" fmla="*/ 168537 h 199818"/>
                <a:gd name="connsiteX28" fmla="*/ 23254 w 199098"/>
                <a:gd name="connsiteY28" fmla="*/ 168537 h 199818"/>
                <a:gd name="connsiteX29" fmla="*/ 23254 w 199098"/>
                <a:gd name="connsiteY29" fmla="*/ 193435 h 199818"/>
                <a:gd name="connsiteX30" fmla="*/ 29644 w 199098"/>
                <a:gd name="connsiteY30" fmla="*/ 199819 h 199818"/>
                <a:gd name="connsiteX31" fmla="*/ 76291 w 199098"/>
                <a:gd name="connsiteY31" fmla="*/ 199819 h 199818"/>
                <a:gd name="connsiteX32" fmla="*/ 82681 w 199098"/>
                <a:gd name="connsiteY32" fmla="*/ 193435 h 199818"/>
                <a:gd name="connsiteX33" fmla="*/ 82681 w 199098"/>
                <a:gd name="connsiteY33" fmla="*/ 168537 h 199818"/>
                <a:gd name="connsiteX34" fmla="*/ 82681 w 199098"/>
                <a:gd name="connsiteY34" fmla="*/ 168537 h 199818"/>
                <a:gd name="connsiteX35" fmla="*/ 89071 w 199098"/>
                <a:gd name="connsiteY35" fmla="*/ 162153 h 199818"/>
                <a:gd name="connsiteX36" fmla="*/ 89071 w 199098"/>
                <a:gd name="connsiteY36" fmla="*/ 153216 h 199818"/>
                <a:gd name="connsiteX37" fmla="*/ 107602 w 199098"/>
                <a:gd name="connsiteY37" fmla="*/ 153216 h 199818"/>
                <a:gd name="connsiteX38" fmla="*/ 107602 w 199098"/>
                <a:gd name="connsiteY38" fmla="*/ 162153 h 199818"/>
                <a:gd name="connsiteX39" fmla="*/ 113992 w 199098"/>
                <a:gd name="connsiteY39" fmla="*/ 168537 h 199818"/>
                <a:gd name="connsiteX40" fmla="*/ 115270 w 199098"/>
                <a:gd name="connsiteY40" fmla="*/ 168537 h 199818"/>
                <a:gd name="connsiteX41" fmla="*/ 115270 w 199098"/>
                <a:gd name="connsiteY41" fmla="*/ 193435 h 199818"/>
                <a:gd name="connsiteX42" fmla="*/ 121659 w 199098"/>
                <a:gd name="connsiteY42" fmla="*/ 199819 h 199818"/>
                <a:gd name="connsiteX43" fmla="*/ 168306 w 199098"/>
                <a:gd name="connsiteY43" fmla="*/ 199819 h 199818"/>
                <a:gd name="connsiteX44" fmla="*/ 174696 w 199098"/>
                <a:gd name="connsiteY44" fmla="*/ 193435 h 199818"/>
                <a:gd name="connsiteX45" fmla="*/ 174696 w 199098"/>
                <a:gd name="connsiteY45" fmla="*/ 168537 h 199818"/>
                <a:gd name="connsiteX46" fmla="*/ 183003 w 199098"/>
                <a:gd name="connsiteY46" fmla="*/ 168537 h 199818"/>
                <a:gd name="connsiteX47" fmla="*/ 189393 w 199098"/>
                <a:gd name="connsiteY47" fmla="*/ 162792 h 199818"/>
                <a:gd name="connsiteX48" fmla="*/ 198339 w 199098"/>
                <a:gd name="connsiteY48" fmla="*/ 77246 h 199818"/>
                <a:gd name="connsiteX49" fmla="*/ 197061 w 199098"/>
                <a:gd name="connsiteY49" fmla="*/ 72139 h 199818"/>
                <a:gd name="connsiteX50" fmla="*/ 192588 w 199098"/>
                <a:gd name="connsiteY50" fmla="*/ 70224 h 199818"/>
                <a:gd name="connsiteX51" fmla="*/ 129327 w 199098"/>
                <a:gd name="connsiteY51" fmla="*/ 12768 h 199818"/>
                <a:gd name="connsiteX52" fmla="*/ 184281 w 199098"/>
                <a:gd name="connsiteY52" fmla="*/ 12768 h 199818"/>
                <a:gd name="connsiteX53" fmla="*/ 171501 w 199098"/>
                <a:gd name="connsiteY53" fmla="*/ 70224 h 199818"/>
                <a:gd name="connsiteX54" fmla="*/ 135717 w 199098"/>
                <a:gd name="connsiteY54" fmla="*/ 70224 h 199818"/>
                <a:gd name="connsiteX55" fmla="*/ 129327 w 199098"/>
                <a:gd name="connsiteY55" fmla="*/ 12768 h 199818"/>
                <a:gd name="connsiteX56" fmla="*/ 13031 w 199098"/>
                <a:gd name="connsiteY56" fmla="*/ 12768 h 199818"/>
                <a:gd name="connsiteX57" fmla="*/ 67984 w 199098"/>
                <a:gd name="connsiteY57" fmla="*/ 12768 h 199818"/>
                <a:gd name="connsiteX58" fmla="*/ 61594 w 199098"/>
                <a:gd name="connsiteY58" fmla="*/ 70224 h 199818"/>
                <a:gd name="connsiteX59" fmla="*/ 25810 w 199098"/>
                <a:gd name="connsiteY59" fmla="*/ 70224 h 199818"/>
                <a:gd name="connsiteX60" fmla="*/ 13031 w 199098"/>
                <a:gd name="connsiteY60" fmla="*/ 12768 h 199818"/>
                <a:gd name="connsiteX61" fmla="*/ 11753 w 199098"/>
                <a:gd name="connsiteY61" fmla="*/ 82992 h 199818"/>
                <a:gd name="connsiteX62" fmla="*/ 76291 w 199098"/>
                <a:gd name="connsiteY62" fmla="*/ 82992 h 199818"/>
                <a:gd name="connsiteX63" fmla="*/ 76291 w 199098"/>
                <a:gd name="connsiteY63" fmla="*/ 155769 h 199818"/>
                <a:gd name="connsiteX64" fmla="*/ 18782 w 199098"/>
                <a:gd name="connsiteY64" fmla="*/ 155769 h 199818"/>
                <a:gd name="connsiteX65" fmla="*/ 11753 w 199098"/>
                <a:gd name="connsiteY65" fmla="*/ 82992 h 199818"/>
                <a:gd name="connsiteX66" fmla="*/ 68623 w 199098"/>
                <a:gd name="connsiteY66" fmla="*/ 187051 h 199818"/>
                <a:gd name="connsiteX67" fmla="*/ 34756 w 199098"/>
                <a:gd name="connsiteY67" fmla="*/ 187051 h 199818"/>
                <a:gd name="connsiteX68" fmla="*/ 34756 w 199098"/>
                <a:gd name="connsiteY68" fmla="*/ 168537 h 199818"/>
                <a:gd name="connsiteX69" fmla="*/ 68623 w 199098"/>
                <a:gd name="connsiteY69" fmla="*/ 168537 h 199818"/>
                <a:gd name="connsiteX70" fmla="*/ 68623 w 199098"/>
                <a:gd name="connsiteY70" fmla="*/ 187051 h 199818"/>
                <a:gd name="connsiteX71" fmla="*/ 89710 w 199098"/>
                <a:gd name="connsiteY71" fmla="*/ 140448 h 199818"/>
                <a:gd name="connsiteX72" fmla="*/ 89710 w 199098"/>
                <a:gd name="connsiteY72" fmla="*/ 107251 h 199818"/>
                <a:gd name="connsiteX73" fmla="*/ 108241 w 199098"/>
                <a:gd name="connsiteY73" fmla="*/ 107251 h 199818"/>
                <a:gd name="connsiteX74" fmla="*/ 108241 w 199098"/>
                <a:gd name="connsiteY74" fmla="*/ 140448 h 199818"/>
                <a:gd name="connsiteX75" fmla="*/ 89710 w 199098"/>
                <a:gd name="connsiteY75" fmla="*/ 140448 h 199818"/>
                <a:gd name="connsiteX76" fmla="*/ 162555 w 199098"/>
                <a:gd name="connsiteY76" fmla="*/ 187051 h 199818"/>
                <a:gd name="connsiteX77" fmla="*/ 128688 w 199098"/>
                <a:gd name="connsiteY77" fmla="*/ 187051 h 199818"/>
                <a:gd name="connsiteX78" fmla="*/ 128688 w 199098"/>
                <a:gd name="connsiteY78" fmla="*/ 168537 h 199818"/>
                <a:gd name="connsiteX79" fmla="*/ 162555 w 199098"/>
                <a:gd name="connsiteY79" fmla="*/ 168537 h 199818"/>
                <a:gd name="connsiteX80" fmla="*/ 162555 w 199098"/>
                <a:gd name="connsiteY80" fmla="*/ 187051 h 199818"/>
                <a:gd name="connsiteX81" fmla="*/ 177891 w 199098"/>
                <a:gd name="connsiteY81" fmla="*/ 155769 h 199818"/>
                <a:gd name="connsiteX82" fmla="*/ 120382 w 199098"/>
                <a:gd name="connsiteY82" fmla="*/ 155769 h 199818"/>
                <a:gd name="connsiteX83" fmla="*/ 120382 w 199098"/>
                <a:gd name="connsiteY83" fmla="*/ 82992 h 199818"/>
                <a:gd name="connsiteX84" fmla="*/ 184920 w 199098"/>
                <a:gd name="connsiteY84" fmla="*/ 82992 h 199818"/>
                <a:gd name="connsiteX85" fmla="*/ 177891 w 199098"/>
                <a:gd name="connsiteY85" fmla="*/ 155769 h 19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99098" h="199818">
                  <a:moveTo>
                    <a:pt x="192588" y="70224"/>
                  </a:moveTo>
                  <a:lnTo>
                    <a:pt x="184920" y="70224"/>
                  </a:lnTo>
                  <a:lnTo>
                    <a:pt x="198978" y="7661"/>
                  </a:lnTo>
                  <a:cubicBezTo>
                    <a:pt x="199617" y="4469"/>
                    <a:pt x="197700" y="638"/>
                    <a:pt x="193866" y="0"/>
                  </a:cubicBezTo>
                  <a:cubicBezTo>
                    <a:pt x="193227" y="0"/>
                    <a:pt x="192588" y="0"/>
                    <a:pt x="192588" y="0"/>
                  </a:cubicBezTo>
                  <a:lnTo>
                    <a:pt x="122298" y="0"/>
                  </a:lnTo>
                  <a:cubicBezTo>
                    <a:pt x="120382" y="0"/>
                    <a:pt x="118465" y="638"/>
                    <a:pt x="117826" y="1915"/>
                  </a:cubicBezTo>
                  <a:cubicBezTo>
                    <a:pt x="116548" y="3192"/>
                    <a:pt x="115909" y="5107"/>
                    <a:pt x="116548" y="7022"/>
                  </a:cubicBezTo>
                  <a:lnTo>
                    <a:pt x="123576" y="70224"/>
                  </a:lnTo>
                  <a:lnTo>
                    <a:pt x="115270" y="70224"/>
                  </a:lnTo>
                  <a:cubicBezTo>
                    <a:pt x="111436" y="70224"/>
                    <a:pt x="108880" y="72777"/>
                    <a:pt x="108880" y="76608"/>
                  </a:cubicBezTo>
                  <a:lnTo>
                    <a:pt x="108880" y="94483"/>
                  </a:lnTo>
                  <a:lnTo>
                    <a:pt x="90349" y="94483"/>
                  </a:lnTo>
                  <a:lnTo>
                    <a:pt x="90349" y="76608"/>
                  </a:lnTo>
                  <a:cubicBezTo>
                    <a:pt x="90349" y="72777"/>
                    <a:pt x="87793" y="70224"/>
                    <a:pt x="83959" y="70224"/>
                  </a:cubicBezTo>
                  <a:lnTo>
                    <a:pt x="75652" y="70224"/>
                  </a:lnTo>
                  <a:lnTo>
                    <a:pt x="82681" y="7022"/>
                  </a:lnTo>
                  <a:cubicBezTo>
                    <a:pt x="82681" y="5107"/>
                    <a:pt x="82042" y="3192"/>
                    <a:pt x="81403" y="1915"/>
                  </a:cubicBezTo>
                  <a:cubicBezTo>
                    <a:pt x="80125" y="638"/>
                    <a:pt x="78208" y="0"/>
                    <a:pt x="76930" y="0"/>
                  </a:cubicBezTo>
                  <a:lnTo>
                    <a:pt x="6641" y="0"/>
                  </a:lnTo>
                  <a:cubicBezTo>
                    <a:pt x="4724" y="0"/>
                    <a:pt x="2807" y="638"/>
                    <a:pt x="1529" y="2554"/>
                  </a:cubicBezTo>
                  <a:cubicBezTo>
                    <a:pt x="251" y="3830"/>
                    <a:pt x="-388" y="5746"/>
                    <a:pt x="251" y="7661"/>
                  </a:cubicBezTo>
                  <a:lnTo>
                    <a:pt x="13670" y="70224"/>
                  </a:lnTo>
                  <a:lnTo>
                    <a:pt x="6002" y="70224"/>
                  </a:lnTo>
                  <a:cubicBezTo>
                    <a:pt x="4085" y="70224"/>
                    <a:pt x="2168" y="70862"/>
                    <a:pt x="1529" y="72139"/>
                  </a:cubicBezTo>
                  <a:cubicBezTo>
                    <a:pt x="251" y="73416"/>
                    <a:pt x="-388" y="75331"/>
                    <a:pt x="251" y="77246"/>
                  </a:cubicBezTo>
                  <a:lnTo>
                    <a:pt x="8558" y="162792"/>
                  </a:lnTo>
                  <a:cubicBezTo>
                    <a:pt x="9197" y="165984"/>
                    <a:pt x="11753" y="168537"/>
                    <a:pt x="14948" y="168537"/>
                  </a:cubicBezTo>
                  <a:lnTo>
                    <a:pt x="23254" y="168537"/>
                  </a:lnTo>
                  <a:lnTo>
                    <a:pt x="23254" y="193435"/>
                  </a:lnTo>
                  <a:cubicBezTo>
                    <a:pt x="23254" y="197265"/>
                    <a:pt x="25810" y="199819"/>
                    <a:pt x="29644" y="199819"/>
                  </a:cubicBezTo>
                  <a:lnTo>
                    <a:pt x="76291" y="199819"/>
                  </a:lnTo>
                  <a:cubicBezTo>
                    <a:pt x="80125" y="199819"/>
                    <a:pt x="82681" y="197265"/>
                    <a:pt x="82681" y="193435"/>
                  </a:cubicBezTo>
                  <a:lnTo>
                    <a:pt x="82681" y="168537"/>
                  </a:lnTo>
                  <a:lnTo>
                    <a:pt x="82681" y="168537"/>
                  </a:lnTo>
                  <a:cubicBezTo>
                    <a:pt x="86515" y="168537"/>
                    <a:pt x="89071" y="165984"/>
                    <a:pt x="89071" y="162153"/>
                  </a:cubicBezTo>
                  <a:lnTo>
                    <a:pt x="89071" y="153216"/>
                  </a:lnTo>
                  <a:lnTo>
                    <a:pt x="107602" y="153216"/>
                  </a:lnTo>
                  <a:lnTo>
                    <a:pt x="107602" y="162153"/>
                  </a:lnTo>
                  <a:cubicBezTo>
                    <a:pt x="107602" y="165984"/>
                    <a:pt x="110158" y="168537"/>
                    <a:pt x="113992" y="168537"/>
                  </a:cubicBezTo>
                  <a:lnTo>
                    <a:pt x="115270" y="168537"/>
                  </a:lnTo>
                  <a:lnTo>
                    <a:pt x="115270" y="193435"/>
                  </a:lnTo>
                  <a:cubicBezTo>
                    <a:pt x="115270" y="197265"/>
                    <a:pt x="117826" y="199819"/>
                    <a:pt x="121659" y="199819"/>
                  </a:cubicBezTo>
                  <a:lnTo>
                    <a:pt x="168306" y="199819"/>
                  </a:lnTo>
                  <a:cubicBezTo>
                    <a:pt x="172140" y="199819"/>
                    <a:pt x="174696" y="197265"/>
                    <a:pt x="174696" y="193435"/>
                  </a:cubicBezTo>
                  <a:lnTo>
                    <a:pt x="174696" y="168537"/>
                  </a:lnTo>
                  <a:lnTo>
                    <a:pt x="183003" y="168537"/>
                  </a:lnTo>
                  <a:cubicBezTo>
                    <a:pt x="186198" y="168537"/>
                    <a:pt x="188754" y="165984"/>
                    <a:pt x="189393" y="162792"/>
                  </a:cubicBezTo>
                  <a:lnTo>
                    <a:pt x="198339" y="77246"/>
                  </a:lnTo>
                  <a:cubicBezTo>
                    <a:pt x="198339" y="75331"/>
                    <a:pt x="197700" y="73416"/>
                    <a:pt x="197061" y="72139"/>
                  </a:cubicBezTo>
                  <a:cubicBezTo>
                    <a:pt x="195783" y="70862"/>
                    <a:pt x="194505" y="70224"/>
                    <a:pt x="192588" y="70224"/>
                  </a:cubicBezTo>
                  <a:close/>
                  <a:moveTo>
                    <a:pt x="129327" y="12768"/>
                  </a:moveTo>
                  <a:lnTo>
                    <a:pt x="184281" y="12768"/>
                  </a:lnTo>
                  <a:lnTo>
                    <a:pt x="171501" y="70224"/>
                  </a:lnTo>
                  <a:lnTo>
                    <a:pt x="135717" y="70224"/>
                  </a:lnTo>
                  <a:lnTo>
                    <a:pt x="129327" y="12768"/>
                  </a:lnTo>
                  <a:close/>
                  <a:moveTo>
                    <a:pt x="13031" y="12768"/>
                  </a:moveTo>
                  <a:lnTo>
                    <a:pt x="67984" y="12768"/>
                  </a:lnTo>
                  <a:lnTo>
                    <a:pt x="61594" y="70224"/>
                  </a:lnTo>
                  <a:lnTo>
                    <a:pt x="25810" y="70224"/>
                  </a:lnTo>
                  <a:lnTo>
                    <a:pt x="13031" y="12768"/>
                  </a:lnTo>
                  <a:close/>
                  <a:moveTo>
                    <a:pt x="11753" y="82992"/>
                  </a:moveTo>
                  <a:lnTo>
                    <a:pt x="76291" y="82992"/>
                  </a:lnTo>
                  <a:lnTo>
                    <a:pt x="76291" y="155769"/>
                  </a:lnTo>
                  <a:lnTo>
                    <a:pt x="18782" y="155769"/>
                  </a:lnTo>
                  <a:lnTo>
                    <a:pt x="11753" y="82992"/>
                  </a:lnTo>
                  <a:close/>
                  <a:moveTo>
                    <a:pt x="68623" y="187051"/>
                  </a:moveTo>
                  <a:lnTo>
                    <a:pt x="34756" y="187051"/>
                  </a:lnTo>
                  <a:lnTo>
                    <a:pt x="34756" y="168537"/>
                  </a:lnTo>
                  <a:lnTo>
                    <a:pt x="68623" y="168537"/>
                  </a:lnTo>
                  <a:lnTo>
                    <a:pt x="68623" y="187051"/>
                  </a:lnTo>
                  <a:close/>
                  <a:moveTo>
                    <a:pt x="89710" y="140448"/>
                  </a:moveTo>
                  <a:lnTo>
                    <a:pt x="89710" y="107251"/>
                  </a:lnTo>
                  <a:lnTo>
                    <a:pt x="108241" y="107251"/>
                  </a:lnTo>
                  <a:lnTo>
                    <a:pt x="108241" y="140448"/>
                  </a:lnTo>
                  <a:lnTo>
                    <a:pt x="89710" y="140448"/>
                  </a:lnTo>
                  <a:close/>
                  <a:moveTo>
                    <a:pt x="162555" y="187051"/>
                  </a:moveTo>
                  <a:lnTo>
                    <a:pt x="128688" y="187051"/>
                  </a:lnTo>
                  <a:lnTo>
                    <a:pt x="128688" y="168537"/>
                  </a:lnTo>
                  <a:lnTo>
                    <a:pt x="162555" y="168537"/>
                  </a:lnTo>
                  <a:lnTo>
                    <a:pt x="162555" y="187051"/>
                  </a:lnTo>
                  <a:close/>
                  <a:moveTo>
                    <a:pt x="177891" y="155769"/>
                  </a:moveTo>
                  <a:lnTo>
                    <a:pt x="120382" y="155769"/>
                  </a:lnTo>
                  <a:lnTo>
                    <a:pt x="120382" y="82992"/>
                  </a:lnTo>
                  <a:lnTo>
                    <a:pt x="184920" y="82992"/>
                  </a:lnTo>
                  <a:lnTo>
                    <a:pt x="177891" y="155769"/>
                  </a:lnTo>
                  <a:close/>
                </a:path>
              </a:pathLst>
            </a:custGeom>
            <a:solidFill>
              <a:schemeClr val="bg1"/>
            </a:solidFill>
            <a:ln w="6390" cap="flat">
              <a:noFill/>
              <a:prstDash val="solid"/>
              <a:miter/>
            </a:ln>
          </p:spPr>
          <p:txBody>
            <a:bodyPr rtlCol="0" anchor="ctr"/>
            <a:lstStyle/>
            <a:p>
              <a:endParaRPr lang="en-AU" dirty="0">
                <a:solidFill>
                  <a:srgbClr val="000000"/>
                </a:solidFill>
              </a:endParaRPr>
            </a:p>
          </p:txBody>
        </p:sp>
      </p:grpSp>
      <p:cxnSp>
        <p:nvCxnSpPr>
          <p:cNvPr id="46" name="Straight Connector 45">
            <a:extLst>
              <a:ext uri="{FF2B5EF4-FFF2-40B4-BE49-F238E27FC236}">
                <a16:creationId xmlns:a16="http://schemas.microsoft.com/office/drawing/2014/main" id="{49831FC2-C580-A6B4-91FB-6298EBCFC4AA}"/>
              </a:ext>
            </a:extLst>
          </p:cNvPr>
          <p:cNvCxnSpPr>
            <a:cxnSpLocks/>
          </p:cNvCxnSpPr>
          <p:nvPr/>
        </p:nvCxnSpPr>
        <p:spPr>
          <a:xfrm>
            <a:off x="10035710" y="1780078"/>
            <a:ext cx="1224000" cy="0"/>
          </a:xfrm>
          <a:prstGeom prst="line">
            <a:avLst/>
          </a:prstGeom>
          <a:noFill/>
          <a:ln w="9525" cap="flat" cmpd="sng" algn="ctr">
            <a:solidFill>
              <a:schemeClr val="accent2">
                <a:lumMod val="25000"/>
              </a:schemeClr>
            </a:solidFill>
            <a:prstDash val="dash"/>
          </a:ln>
          <a:effectLst/>
        </p:spPr>
      </p:cxnSp>
      <p:grpSp>
        <p:nvGrpSpPr>
          <p:cNvPr id="86" name="Group 85">
            <a:extLst>
              <a:ext uri="{FF2B5EF4-FFF2-40B4-BE49-F238E27FC236}">
                <a16:creationId xmlns:a16="http://schemas.microsoft.com/office/drawing/2014/main" id="{5EF887E7-0ED6-E168-E65E-CC8FA15E4874}"/>
              </a:ext>
            </a:extLst>
          </p:cNvPr>
          <p:cNvGrpSpPr/>
          <p:nvPr/>
        </p:nvGrpSpPr>
        <p:grpSpPr>
          <a:xfrm>
            <a:off x="665932" y="3561079"/>
            <a:ext cx="3288960" cy="2913198"/>
            <a:chOff x="787134" y="3561080"/>
            <a:chExt cx="3288960" cy="2618040"/>
          </a:xfrm>
        </p:grpSpPr>
        <p:sp>
          <p:nvSpPr>
            <p:cNvPr id="22" name="Rectangle 21">
              <a:extLst>
                <a:ext uri="{FF2B5EF4-FFF2-40B4-BE49-F238E27FC236}">
                  <a16:creationId xmlns:a16="http://schemas.microsoft.com/office/drawing/2014/main" id="{1943C633-27C1-286E-68C2-3A0FC45DB128}"/>
                </a:ext>
              </a:extLst>
            </p:cNvPr>
            <p:cNvSpPr/>
            <p:nvPr/>
          </p:nvSpPr>
          <p:spPr bwMode="gray">
            <a:xfrm>
              <a:off x="787134" y="3561080"/>
              <a:ext cx="3288960" cy="261804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AU" dirty="0">
                <a:solidFill>
                  <a:srgbClr val="000000"/>
                </a:solidFill>
              </a:endParaRPr>
            </a:p>
          </p:txBody>
        </p:sp>
        <p:sp>
          <p:nvSpPr>
            <p:cNvPr id="23" name="TextBox 22">
              <a:extLst>
                <a:ext uri="{FF2B5EF4-FFF2-40B4-BE49-F238E27FC236}">
                  <a16:creationId xmlns:a16="http://schemas.microsoft.com/office/drawing/2014/main" id="{877C9BF3-23B5-6241-B1D0-2946D58E7A6B}"/>
                </a:ext>
              </a:extLst>
            </p:cNvPr>
            <p:cNvSpPr txBox="1"/>
            <p:nvPr/>
          </p:nvSpPr>
          <p:spPr>
            <a:xfrm>
              <a:off x="1052571" y="3638611"/>
              <a:ext cx="2965587" cy="2424140"/>
            </a:xfrm>
            <a:prstGeom prst="rect">
              <a:avLst/>
            </a:prstGeom>
            <a:noFill/>
          </p:spPr>
          <p:txBody>
            <a:bodyPr wrap="square" lIns="0" tIns="0" rIns="0" bIns="0" rtlCol="0" anchor="t">
              <a:noAutofit/>
            </a:bodyPr>
            <a:lstStyle/>
            <a:p>
              <a:pPr marL="57150">
                <a:spcAft>
                  <a:spcPts val="300"/>
                </a:spcAft>
              </a:pP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Architect the transformation:</a:t>
              </a:r>
            </a:p>
            <a:p>
              <a:pPr marL="180975" indent="-123825">
                <a:spcAft>
                  <a:spcPts val="300"/>
                </a:spcAft>
                <a:buFont typeface="Arial" panose="020B0604020202020204" pitchFamily="34" charset="0"/>
                <a:buChar char="•"/>
              </a:pPr>
              <a:r>
                <a:rPr lang="en-AU" sz="900" dirty="0">
                  <a:solidFill>
                    <a:srgbClr val="000000"/>
                  </a:solidFill>
                  <a:latin typeface="Open Sans"/>
                  <a:ea typeface="Open Sans"/>
                  <a:cs typeface="Open Sans"/>
                </a:rPr>
                <a:t>Define the scope and manage contract</a:t>
              </a:r>
              <a:endParaRPr lang="en-AU" sz="900" dirty="0" err="1">
                <a:solidFill>
                  <a:srgbClr val="000000"/>
                </a:solidFill>
                <a:latin typeface="Open Sans"/>
                <a:ea typeface="Open Sans"/>
                <a:cs typeface="Open Sans"/>
              </a:endParaRPr>
            </a:p>
            <a:p>
              <a:pPr marL="180975" indent="-123825">
                <a:spcAft>
                  <a:spcPts val="300"/>
                </a:spcAft>
                <a:buFont typeface="Arial" panose="020B0604020202020204" pitchFamily="34" charset="0"/>
                <a:buChar char="•"/>
              </a:pPr>
              <a:r>
                <a:rPr lang="en-AU" sz="900" dirty="0">
                  <a:solidFill>
                    <a:srgbClr val="000000"/>
                  </a:solidFill>
                  <a:latin typeface="Open Sans"/>
                  <a:ea typeface="Open Sans"/>
                  <a:cs typeface="Open Sans"/>
                </a:rPr>
                <a:t>Define action items of each workstream in line with the </a:t>
              </a:r>
              <a:r>
                <a:rPr lang="hu-HU" sz="900" dirty="0">
                  <a:solidFill>
                    <a:srgbClr val="000000"/>
                  </a:solidFill>
                  <a:latin typeface="Open Sans"/>
                  <a:ea typeface="Open Sans"/>
                  <a:cs typeface="Open Sans"/>
                </a:rPr>
                <a:t>project </a:t>
              </a:r>
              <a:r>
                <a:rPr lang="hu-HU" sz="900" dirty="0" err="1">
                  <a:solidFill>
                    <a:srgbClr val="000000"/>
                  </a:solidFill>
                  <a:latin typeface="Open Sans"/>
                  <a:ea typeface="Open Sans"/>
                  <a:cs typeface="Open Sans"/>
                </a:rPr>
                <a:t>objectives</a:t>
              </a:r>
              <a:endParaRPr lang="en-AU" sz="900" dirty="0">
                <a:solidFill>
                  <a:srgbClr val="000000"/>
                </a:solidFill>
                <a:latin typeface="Open Sans"/>
                <a:ea typeface="Open Sans"/>
                <a:cs typeface="Open Sans"/>
              </a:endParaRP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Prepare and support project estimates such as costs, timeline, resource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Establish work plans: provide the project teams with direction to complete the work on time, within budget, and with acceptable quality (e.g. Gantt chart, Integrated Work Plan - IWP)</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Develop guidelines to lead internal communications and support external communication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Support change management effort </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olve individuals from the organization (stakeholders) who must be aware of their commitments, schedule, and project activitie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Identify and onboard </a:t>
              </a:r>
              <a:r>
                <a:rPr lang="hu-H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project</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members</a:t>
              </a:r>
              <a:endParaRPr lang="en-AU"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7" name="Graphic 4">
              <a:extLst>
                <a:ext uri="{FF2B5EF4-FFF2-40B4-BE49-F238E27FC236}">
                  <a16:creationId xmlns:a16="http://schemas.microsoft.com/office/drawing/2014/main" id="{B223DD41-CC85-C428-274B-30659A506B3D}"/>
                </a:ext>
              </a:extLst>
            </p:cNvPr>
            <p:cNvGrpSpPr>
              <a:grpSpLocks noChangeAspect="1"/>
            </p:cNvGrpSpPr>
            <p:nvPr/>
          </p:nvGrpSpPr>
          <p:grpSpPr>
            <a:xfrm>
              <a:off x="809678" y="3594018"/>
              <a:ext cx="252238" cy="252000"/>
              <a:chOff x="2559808" y="918179"/>
              <a:chExt cx="362313" cy="361971"/>
            </a:xfrm>
            <a:solidFill>
              <a:srgbClr val="1CABE3"/>
            </a:solidFill>
          </p:grpSpPr>
          <p:sp>
            <p:nvSpPr>
              <p:cNvPr id="48" name="Graphic 4">
                <a:extLst>
                  <a:ext uri="{FF2B5EF4-FFF2-40B4-BE49-F238E27FC236}">
                    <a16:creationId xmlns:a16="http://schemas.microsoft.com/office/drawing/2014/main" id="{E668FE99-06D1-03E4-ADCC-198656FCB889}"/>
                  </a:ext>
                </a:extLst>
              </p:cNvPr>
              <p:cNvSpPr/>
              <p:nvPr/>
            </p:nvSpPr>
            <p:spPr>
              <a:xfrm>
                <a:off x="2559808" y="918179"/>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29 w 362313"/>
                  <a:gd name="connsiteY9" fmla="*/ 180667 h 361971"/>
                  <a:gd name="connsiteX10" fmla="*/ 349529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737"/>
                      <a:pt x="88181" y="12768"/>
                      <a:pt x="180835" y="12768"/>
                    </a:cubicBezTo>
                    <a:cubicBezTo>
                      <a:pt x="273489" y="12768"/>
                      <a:pt x="349529" y="88099"/>
                      <a:pt x="349529" y="180667"/>
                    </a:cubicBezTo>
                    <a:cubicBezTo>
                      <a:pt x="349529" y="180667"/>
                      <a:pt x="349529" y="180667"/>
                      <a:pt x="349529" y="180667"/>
                    </a:cubicBezTo>
                    <a:cubicBezTo>
                      <a:pt x="350168" y="273873"/>
                      <a:pt x="274767" y="348565"/>
                      <a:pt x="181474" y="349204"/>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49" name="Graphic 4">
                <a:extLst>
                  <a:ext uri="{FF2B5EF4-FFF2-40B4-BE49-F238E27FC236}">
                    <a16:creationId xmlns:a16="http://schemas.microsoft.com/office/drawing/2014/main" id="{CB478BCC-E8D6-F12C-37A7-0E239AB99DDD}"/>
                  </a:ext>
                </a:extLst>
              </p:cNvPr>
              <p:cNvSpPr/>
              <p:nvPr/>
            </p:nvSpPr>
            <p:spPr>
              <a:xfrm>
                <a:off x="2724179" y="990477"/>
                <a:ext cx="35634" cy="17715"/>
              </a:xfrm>
              <a:custGeom>
                <a:avLst/>
                <a:gdLst>
                  <a:gd name="connsiteX0" fmla="*/ 31800 w 35634"/>
                  <a:gd name="connsiteY0" fmla="*/ 5586 h 17715"/>
                  <a:gd name="connsiteX1" fmla="*/ 20299 w 35634"/>
                  <a:gd name="connsiteY1" fmla="*/ 479 h 17715"/>
                  <a:gd name="connsiteX2" fmla="*/ 15187 w 35634"/>
                  <a:gd name="connsiteY2" fmla="*/ 479 h 17715"/>
                  <a:gd name="connsiteX3" fmla="*/ 3685 w 35634"/>
                  <a:gd name="connsiteY3" fmla="*/ 5586 h 17715"/>
                  <a:gd name="connsiteX4" fmla="*/ 490 w 35634"/>
                  <a:gd name="connsiteY4" fmla="*/ 13885 h 17715"/>
                  <a:gd name="connsiteX5" fmla="*/ 8797 w 35634"/>
                  <a:gd name="connsiteY5" fmla="*/ 17077 h 17715"/>
                  <a:gd name="connsiteX6" fmla="*/ 17743 w 35634"/>
                  <a:gd name="connsiteY6" fmla="*/ 13247 h 17715"/>
                  <a:gd name="connsiteX7" fmla="*/ 26688 w 35634"/>
                  <a:gd name="connsiteY7" fmla="*/ 17077 h 17715"/>
                  <a:gd name="connsiteX8" fmla="*/ 29244 w 35634"/>
                  <a:gd name="connsiteY8" fmla="*/ 17716 h 17715"/>
                  <a:gd name="connsiteX9" fmla="*/ 35634 w 35634"/>
                  <a:gd name="connsiteY9" fmla="*/ 11332 h 17715"/>
                  <a:gd name="connsiteX10" fmla="*/ 31800 w 35634"/>
                  <a:gd name="connsiteY10" fmla="*/ 5586 h 17715"/>
                  <a:gd name="connsiteX11" fmla="*/ 31800 w 35634"/>
                  <a:gd name="connsiteY11" fmla="*/ 5586 h 1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34" h="17715">
                    <a:moveTo>
                      <a:pt x="31800" y="5586"/>
                    </a:moveTo>
                    <a:lnTo>
                      <a:pt x="20299" y="479"/>
                    </a:lnTo>
                    <a:cubicBezTo>
                      <a:pt x="18382" y="-160"/>
                      <a:pt x="16465" y="-160"/>
                      <a:pt x="15187" y="479"/>
                    </a:cubicBezTo>
                    <a:lnTo>
                      <a:pt x="3685" y="5586"/>
                    </a:lnTo>
                    <a:cubicBezTo>
                      <a:pt x="490" y="6863"/>
                      <a:pt x="-788" y="10693"/>
                      <a:pt x="490" y="13885"/>
                    </a:cubicBezTo>
                    <a:cubicBezTo>
                      <a:pt x="1768" y="17077"/>
                      <a:pt x="5602" y="18354"/>
                      <a:pt x="8797" y="17077"/>
                    </a:cubicBezTo>
                    <a:lnTo>
                      <a:pt x="17743" y="13247"/>
                    </a:lnTo>
                    <a:lnTo>
                      <a:pt x="26688" y="17077"/>
                    </a:lnTo>
                    <a:cubicBezTo>
                      <a:pt x="27327" y="17716"/>
                      <a:pt x="28605" y="17716"/>
                      <a:pt x="29244" y="17716"/>
                    </a:cubicBezTo>
                    <a:cubicBezTo>
                      <a:pt x="33078" y="17716"/>
                      <a:pt x="35634" y="15162"/>
                      <a:pt x="35634" y="11332"/>
                    </a:cubicBezTo>
                    <a:cubicBezTo>
                      <a:pt x="35634" y="8778"/>
                      <a:pt x="33717" y="6224"/>
                      <a:pt x="31800" y="5586"/>
                    </a:cubicBezTo>
                    <a:lnTo>
                      <a:pt x="31800" y="5586"/>
                    </a:lnTo>
                    <a:close/>
                  </a:path>
                </a:pathLst>
              </a:custGeom>
              <a:grpFill/>
              <a:ln w="6390" cap="flat">
                <a:noFill/>
                <a:prstDash val="solid"/>
                <a:miter/>
              </a:ln>
            </p:spPr>
            <p:txBody>
              <a:bodyPr rtlCol="0" anchor="ctr"/>
              <a:lstStyle/>
              <a:p>
                <a:endParaRPr lang="en-AU" dirty="0">
                  <a:solidFill>
                    <a:srgbClr val="000000"/>
                  </a:solidFill>
                </a:endParaRPr>
              </a:p>
            </p:txBody>
          </p:sp>
          <p:sp>
            <p:nvSpPr>
              <p:cNvPr id="50" name="Graphic 4">
                <a:extLst>
                  <a:ext uri="{FF2B5EF4-FFF2-40B4-BE49-F238E27FC236}">
                    <a16:creationId xmlns:a16="http://schemas.microsoft.com/office/drawing/2014/main" id="{ABDFD93C-C04E-623C-15A9-5048A6903A48}"/>
                  </a:ext>
                </a:extLst>
              </p:cNvPr>
              <p:cNvSpPr/>
              <p:nvPr/>
            </p:nvSpPr>
            <p:spPr>
              <a:xfrm>
                <a:off x="2671142" y="1007155"/>
                <a:ext cx="39229" cy="25297"/>
              </a:xfrm>
              <a:custGeom>
                <a:avLst/>
                <a:gdLst>
                  <a:gd name="connsiteX0" fmla="*/ 5602 w 39229"/>
                  <a:gd name="connsiteY0" fmla="*/ 25298 h 25297"/>
                  <a:gd name="connsiteX1" fmla="*/ 8158 w 39229"/>
                  <a:gd name="connsiteY1" fmla="*/ 24659 h 25297"/>
                  <a:gd name="connsiteX2" fmla="*/ 34995 w 39229"/>
                  <a:gd name="connsiteY2" fmla="*/ 12530 h 25297"/>
                  <a:gd name="connsiteX3" fmla="*/ 38829 w 39229"/>
                  <a:gd name="connsiteY3" fmla="*/ 4230 h 25297"/>
                  <a:gd name="connsiteX4" fmla="*/ 30522 w 39229"/>
                  <a:gd name="connsiteY4" fmla="*/ 400 h 25297"/>
                  <a:gd name="connsiteX5" fmla="*/ 29884 w 39229"/>
                  <a:gd name="connsiteY5" fmla="*/ 1038 h 25297"/>
                  <a:gd name="connsiteX6" fmla="*/ 3685 w 39229"/>
                  <a:gd name="connsiteY6" fmla="*/ 13168 h 25297"/>
                  <a:gd name="connsiteX7" fmla="*/ 490 w 39229"/>
                  <a:gd name="connsiteY7" fmla="*/ 21467 h 25297"/>
                  <a:gd name="connsiteX8" fmla="*/ 5602 w 39229"/>
                  <a:gd name="connsiteY8" fmla="*/ 25298 h 25297"/>
                  <a:gd name="connsiteX9" fmla="*/ 5602 w 39229"/>
                  <a:gd name="connsiteY9" fmla="*/ 25298 h 2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29" h="25297">
                    <a:moveTo>
                      <a:pt x="5602" y="25298"/>
                    </a:moveTo>
                    <a:cubicBezTo>
                      <a:pt x="6241" y="25298"/>
                      <a:pt x="7519" y="25298"/>
                      <a:pt x="8158" y="24659"/>
                    </a:cubicBezTo>
                    <a:lnTo>
                      <a:pt x="34995" y="12530"/>
                    </a:lnTo>
                    <a:cubicBezTo>
                      <a:pt x="38190" y="11253"/>
                      <a:pt x="40107" y="7422"/>
                      <a:pt x="38829" y="4230"/>
                    </a:cubicBezTo>
                    <a:cubicBezTo>
                      <a:pt x="37551" y="1038"/>
                      <a:pt x="33717" y="-877"/>
                      <a:pt x="30522" y="400"/>
                    </a:cubicBezTo>
                    <a:cubicBezTo>
                      <a:pt x="30522" y="400"/>
                      <a:pt x="29884" y="400"/>
                      <a:pt x="29884" y="1038"/>
                    </a:cubicBezTo>
                    <a:lnTo>
                      <a:pt x="3685" y="13168"/>
                    </a:lnTo>
                    <a:cubicBezTo>
                      <a:pt x="490" y="14445"/>
                      <a:pt x="-788" y="18275"/>
                      <a:pt x="490" y="21467"/>
                    </a:cubicBezTo>
                    <a:cubicBezTo>
                      <a:pt x="1129" y="24021"/>
                      <a:pt x="3046" y="25298"/>
                      <a:pt x="5602" y="25298"/>
                    </a:cubicBezTo>
                    <a:lnTo>
                      <a:pt x="5602" y="25298"/>
                    </a:lnTo>
                    <a:close/>
                  </a:path>
                </a:pathLst>
              </a:custGeom>
              <a:grpFill/>
              <a:ln w="6390" cap="flat">
                <a:noFill/>
                <a:prstDash val="solid"/>
                <a:miter/>
              </a:ln>
            </p:spPr>
            <p:txBody>
              <a:bodyPr rtlCol="0" anchor="ctr"/>
              <a:lstStyle/>
              <a:p>
                <a:endParaRPr lang="en-AU" dirty="0">
                  <a:solidFill>
                    <a:srgbClr val="000000"/>
                  </a:solidFill>
                </a:endParaRPr>
              </a:p>
            </p:txBody>
          </p:sp>
          <p:sp>
            <p:nvSpPr>
              <p:cNvPr id="51" name="Graphic 4">
                <a:extLst>
                  <a:ext uri="{FF2B5EF4-FFF2-40B4-BE49-F238E27FC236}">
                    <a16:creationId xmlns:a16="http://schemas.microsoft.com/office/drawing/2014/main" id="{DE390624-246C-4E89-7F30-BDF100BF9702}"/>
                  </a:ext>
                </a:extLst>
              </p:cNvPr>
              <p:cNvSpPr/>
              <p:nvPr/>
            </p:nvSpPr>
            <p:spPr>
              <a:xfrm>
                <a:off x="2632654" y="1031963"/>
                <a:ext cx="24281" cy="31132"/>
              </a:xfrm>
              <a:custGeom>
                <a:avLst/>
                <a:gdLst>
                  <a:gd name="connsiteX0" fmla="*/ 23643 w 24281"/>
                  <a:gd name="connsiteY0" fmla="*/ 3681 h 31132"/>
                  <a:gd name="connsiteX1" fmla="*/ 15336 w 24281"/>
                  <a:gd name="connsiteY1" fmla="*/ 489 h 31132"/>
                  <a:gd name="connsiteX2" fmla="*/ 15336 w 24281"/>
                  <a:gd name="connsiteY2" fmla="*/ 489 h 31132"/>
                  <a:gd name="connsiteX3" fmla="*/ 3834 w 24281"/>
                  <a:gd name="connsiteY3" fmla="*/ 5596 h 31132"/>
                  <a:gd name="connsiteX4" fmla="*/ 1917 w 24281"/>
                  <a:gd name="connsiteY4" fmla="*/ 6873 h 31132"/>
                  <a:gd name="connsiteX5" fmla="*/ 1278 w 24281"/>
                  <a:gd name="connsiteY5" fmla="*/ 7512 h 31132"/>
                  <a:gd name="connsiteX6" fmla="*/ 639 w 24281"/>
                  <a:gd name="connsiteY6" fmla="*/ 8788 h 31132"/>
                  <a:gd name="connsiteX7" fmla="*/ 639 w 24281"/>
                  <a:gd name="connsiteY7" fmla="*/ 9427 h 31132"/>
                  <a:gd name="connsiteX8" fmla="*/ 0 w 24281"/>
                  <a:gd name="connsiteY8" fmla="*/ 11980 h 31132"/>
                  <a:gd name="connsiteX9" fmla="*/ 0 w 24281"/>
                  <a:gd name="connsiteY9" fmla="*/ 24748 h 31132"/>
                  <a:gd name="connsiteX10" fmla="*/ 6390 w 24281"/>
                  <a:gd name="connsiteY10" fmla="*/ 31132 h 31132"/>
                  <a:gd name="connsiteX11" fmla="*/ 12780 w 24281"/>
                  <a:gd name="connsiteY11" fmla="*/ 24748 h 31132"/>
                  <a:gd name="connsiteX12" fmla="*/ 12780 w 24281"/>
                  <a:gd name="connsiteY12" fmla="*/ 22195 h 31132"/>
                  <a:gd name="connsiteX13" fmla="*/ 15336 w 24281"/>
                  <a:gd name="connsiteY13" fmla="*/ 23472 h 31132"/>
                  <a:gd name="connsiteX14" fmla="*/ 17892 w 24281"/>
                  <a:gd name="connsiteY14" fmla="*/ 24110 h 31132"/>
                  <a:gd name="connsiteX15" fmla="*/ 24282 w 24281"/>
                  <a:gd name="connsiteY15" fmla="*/ 17726 h 31132"/>
                  <a:gd name="connsiteX16" fmla="*/ 21726 w 24281"/>
                  <a:gd name="connsiteY16" fmla="*/ 12619 h 31132"/>
                  <a:gd name="connsiteX17" fmla="*/ 23643 w 24281"/>
                  <a:gd name="connsiteY17" fmla="*/ 3681 h 3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281" h="31132">
                    <a:moveTo>
                      <a:pt x="23643" y="3681"/>
                    </a:moveTo>
                    <a:cubicBezTo>
                      <a:pt x="22365" y="489"/>
                      <a:pt x="18531" y="-788"/>
                      <a:pt x="15336" y="489"/>
                    </a:cubicBezTo>
                    <a:cubicBezTo>
                      <a:pt x="15336" y="489"/>
                      <a:pt x="15336" y="489"/>
                      <a:pt x="15336" y="489"/>
                    </a:cubicBezTo>
                    <a:lnTo>
                      <a:pt x="3834" y="5596"/>
                    </a:lnTo>
                    <a:cubicBezTo>
                      <a:pt x="3195" y="5596"/>
                      <a:pt x="2556" y="6235"/>
                      <a:pt x="1917" y="6873"/>
                    </a:cubicBezTo>
                    <a:lnTo>
                      <a:pt x="1278" y="7512"/>
                    </a:lnTo>
                    <a:cubicBezTo>
                      <a:pt x="639" y="8150"/>
                      <a:pt x="639" y="8150"/>
                      <a:pt x="639" y="8788"/>
                    </a:cubicBezTo>
                    <a:cubicBezTo>
                      <a:pt x="639" y="8788"/>
                      <a:pt x="639" y="9427"/>
                      <a:pt x="639" y="9427"/>
                    </a:cubicBezTo>
                    <a:cubicBezTo>
                      <a:pt x="639" y="10065"/>
                      <a:pt x="0" y="10704"/>
                      <a:pt x="0" y="11980"/>
                    </a:cubicBezTo>
                    <a:lnTo>
                      <a:pt x="0" y="24748"/>
                    </a:lnTo>
                    <a:cubicBezTo>
                      <a:pt x="0" y="28579"/>
                      <a:pt x="2556" y="31132"/>
                      <a:pt x="6390" y="31132"/>
                    </a:cubicBezTo>
                    <a:cubicBezTo>
                      <a:pt x="10224" y="31132"/>
                      <a:pt x="12780" y="28579"/>
                      <a:pt x="12780" y="24748"/>
                    </a:cubicBezTo>
                    <a:lnTo>
                      <a:pt x="12780" y="22195"/>
                    </a:lnTo>
                    <a:lnTo>
                      <a:pt x="15336" y="23472"/>
                    </a:lnTo>
                    <a:cubicBezTo>
                      <a:pt x="15975" y="24110"/>
                      <a:pt x="17253" y="24110"/>
                      <a:pt x="17892" y="24110"/>
                    </a:cubicBezTo>
                    <a:cubicBezTo>
                      <a:pt x="21726" y="24110"/>
                      <a:pt x="24282" y="20918"/>
                      <a:pt x="24282" y="17726"/>
                    </a:cubicBezTo>
                    <a:cubicBezTo>
                      <a:pt x="24282" y="15811"/>
                      <a:pt x="23004" y="13896"/>
                      <a:pt x="21726" y="12619"/>
                    </a:cubicBezTo>
                    <a:cubicBezTo>
                      <a:pt x="24282" y="10065"/>
                      <a:pt x="24921" y="6235"/>
                      <a:pt x="23643" y="3681"/>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52" name="Graphic 4">
                <a:extLst>
                  <a:ext uri="{FF2B5EF4-FFF2-40B4-BE49-F238E27FC236}">
                    <a16:creationId xmlns:a16="http://schemas.microsoft.com/office/drawing/2014/main" id="{10EBAD3C-A83E-6055-E467-4B3C7CF33675}"/>
                  </a:ext>
                </a:extLst>
              </p:cNvPr>
              <p:cNvSpPr/>
              <p:nvPr/>
            </p:nvSpPr>
            <p:spPr>
              <a:xfrm>
                <a:off x="2670503" y="1054945"/>
                <a:ext cx="38992" cy="24748"/>
              </a:xfrm>
              <a:custGeom>
                <a:avLst/>
                <a:gdLst>
                  <a:gd name="connsiteX0" fmla="*/ 35634 w 38992"/>
                  <a:gd name="connsiteY0" fmla="*/ 12619 h 24748"/>
                  <a:gd name="connsiteX1" fmla="*/ 8797 w 38992"/>
                  <a:gd name="connsiteY1" fmla="*/ 489 h 24748"/>
                  <a:gd name="connsiteX2" fmla="*/ 490 w 38992"/>
                  <a:gd name="connsiteY2" fmla="*/ 3681 h 24748"/>
                  <a:gd name="connsiteX3" fmla="*/ 3685 w 38992"/>
                  <a:gd name="connsiteY3" fmla="*/ 11980 h 24748"/>
                  <a:gd name="connsiteX4" fmla="*/ 29884 w 38992"/>
                  <a:gd name="connsiteY4" fmla="*/ 24110 h 24748"/>
                  <a:gd name="connsiteX5" fmla="*/ 32439 w 38992"/>
                  <a:gd name="connsiteY5" fmla="*/ 24748 h 24748"/>
                  <a:gd name="connsiteX6" fmla="*/ 38829 w 38992"/>
                  <a:gd name="connsiteY6" fmla="*/ 18364 h 24748"/>
                  <a:gd name="connsiteX7" fmla="*/ 35634 w 38992"/>
                  <a:gd name="connsiteY7" fmla="*/ 12619 h 24748"/>
                  <a:gd name="connsiteX8" fmla="*/ 35634 w 38992"/>
                  <a:gd name="connsiteY8" fmla="*/ 12619 h 2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2" h="24748">
                    <a:moveTo>
                      <a:pt x="35634" y="12619"/>
                    </a:moveTo>
                    <a:lnTo>
                      <a:pt x="8797" y="489"/>
                    </a:lnTo>
                    <a:cubicBezTo>
                      <a:pt x="5602" y="-788"/>
                      <a:pt x="1768" y="489"/>
                      <a:pt x="490" y="3681"/>
                    </a:cubicBezTo>
                    <a:cubicBezTo>
                      <a:pt x="-788" y="6873"/>
                      <a:pt x="490" y="10704"/>
                      <a:pt x="3685" y="11980"/>
                    </a:cubicBezTo>
                    <a:lnTo>
                      <a:pt x="29884" y="24110"/>
                    </a:lnTo>
                    <a:cubicBezTo>
                      <a:pt x="30523" y="24748"/>
                      <a:pt x="31800" y="24748"/>
                      <a:pt x="32439" y="24748"/>
                    </a:cubicBezTo>
                    <a:cubicBezTo>
                      <a:pt x="36273" y="24748"/>
                      <a:pt x="38829" y="22195"/>
                      <a:pt x="38829" y="18364"/>
                    </a:cubicBezTo>
                    <a:cubicBezTo>
                      <a:pt x="39468" y="15811"/>
                      <a:pt x="38190" y="13896"/>
                      <a:pt x="35634" y="12619"/>
                    </a:cubicBezTo>
                    <a:lnTo>
                      <a:pt x="35634" y="12619"/>
                    </a:lnTo>
                    <a:close/>
                  </a:path>
                </a:pathLst>
              </a:custGeom>
              <a:grpFill/>
              <a:ln w="6390" cap="flat">
                <a:noFill/>
                <a:prstDash val="solid"/>
                <a:miter/>
              </a:ln>
            </p:spPr>
            <p:txBody>
              <a:bodyPr rtlCol="0" anchor="ctr"/>
              <a:lstStyle/>
              <a:p>
                <a:endParaRPr lang="en-AU" dirty="0">
                  <a:solidFill>
                    <a:srgbClr val="000000"/>
                  </a:solidFill>
                </a:endParaRPr>
              </a:p>
            </p:txBody>
          </p:sp>
          <p:sp>
            <p:nvSpPr>
              <p:cNvPr id="53" name="Graphic 4">
                <a:extLst>
                  <a:ext uri="{FF2B5EF4-FFF2-40B4-BE49-F238E27FC236}">
                    <a16:creationId xmlns:a16="http://schemas.microsoft.com/office/drawing/2014/main" id="{09785032-69E3-1472-2F2F-B58B7C9DE76C}"/>
                  </a:ext>
                </a:extLst>
              </p:cNvPr>
              <p:cNvSpPr/>
              <p:nvPr/>
            </p:nvSpPr>
            <p:spPr>
              <a:xfrm>
                <a:off x="2722490" y="1078794"/>
                <a:ext cx="35896" cy="32181"/>
              </a:xfrm>
              <a:custGeom>
                <a:avLst/>
                <a:gdLst>
                  <a:gd name="connsiteX0" fmla="*/ 27738 w 35896"/>
                  <a:gd name="connsiteY0" fmla="*/ 900 h 32181"/>
                  <a:gd name="connsiteX1" fmla="*/ 18792 w 35896"/>
                  <a:gd name="connsiteY1" fmla="*/ 4730 h 32181"/>
                  <a:gd name="connsiteX2" fmla="*/ 9847 w 35896"/>
                  <a:gd name="connsiteY2" fmla="*/ 900 h 32181"/>
                  <a:gd name="connsiteX3" fmla="*/ 901 w 35896"/>
                  <a:gd name="connsiteY3" fmla="*/ 3453 h 32181"/>
                  <a:gd name="connsiteX4" fmla="*/ 3457 w 35896"/>
                  <a:gd name="connsiteY4" fmla="*/ 12391 h 32181"/>
                  <a:gd name="connsiteX5" fmla="*/ 4096 w 35896"/>
                  <a:gd name="connsiteY5" fmla="*/ 13029 h 32181"/>
                  <a:gd name="connsiteX6" fmla="*/ 11764 w 35896"/>
                  <a:gd name="connsiteY6" fmla="*/ 16860 h 32181"/>
                  <a:gd name="connsiteX7" fmla="*/ 11764 w 35896"/>
                  <a:gd name="connsiteY7" fmla="*/ 25797 h 32181"/>
                  <a:gd name="connsiteX8" fmla="*/ 18153 w 35896"/>
                  <a:gd name="connsiteY8" fmla="*/ 32181 h 32181"/>
                  <a:gd name="connsiteX9" fmla="*/ 24543 w 35896"/>
                  <a:gd name="connsiteY9" fmla="*/ 25797 h 32181"/>
                  <a:gd name="connsiteX10" fmla="*/ 24543 w 35896"/>
                  <a:gd name="connsiteY10" fmla="*/ 16860 h 32181"/>
                  <a:gd name="connsiteX11" fmla="*/ 32211 w 35896"/>
                  <a:gd name="connsiteY11" fmla="*/ 13029 h 32181"/>
                  <a:gd name="connsiteX12" fmla="*/ 35406 w 35896"/>
                  <a:gd name="connsiteY12" fmla="*/ 4730 h 32181"/>
                  <a:gd name="connsiteX13" fmla="*/ 35406 w 35896"/>
                  <a:gd name="connsiteY13" fmla="*/ 4730 h 32181"/>
                  <a:gd name="connsiteX14" fmla="*/ 27738 w 35896"/>
                  <a:gd name="connsiteY14" fmla="*/ 900 h 3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96" h="32181">
                    <a:moveTo>
                      <a:pt x="27738" y="900"/>
                    </a:moveTo>
                    <a:lnTo>
                      <a:pt x="18792" y="4730"/>
                    </a:lnTo>
                    <a:lnTo>
                      <a:pt x="9847" y="900"/>
                    </a:lnTo>
                    <a:cubicBezTo>
                      <a:pt x="6652" y="-1015"/>
                      <a:pt x="2818" y="261"/>
                      <a:pt x="901" y="3453"/>
                    </a:cubicBezTo>
                    <a:cubicBezTo>
                      <a:pt x="-1016" y="6645"/>
                      <a:pt x="262" y="10476"/>
                      <a:pt x="3457" y="12391"/>
                    </a:cubicBezTo>
                    <a:cubicBezTo>
                      <a:pt x="3457" y="12391"/>
                      <a:pt x="4096" y="12391"/>
                      <a:pt x="4096" y="13029"/>
                    </a:cubicBezTo>
                    <a:lnTo>
                      <a:pt x="11764" y="16860"/>
                    </a:lnTo>
                    <a:lnTo>
                      <a:pt x="11764" y="25797"/>
                    </a:lnTo>
                    <a:cubicBezTo>
                      <a:pt x="11764" y="29628"/>
                      <a:pt x="14319" y="32181"/>
                      <a:pt x="18153" y="32181"/>
                    </a:cubicBezTo>
                    <a:cubicBezTo>
                      <a:pt x="21987" y="32181"/>
                      <a:pt x="24543" y="29628"/>
                      <a:pt x="24543" y="25797"/>
                    </a:cubicBezTo>
                    <a:lnTo>
                      <a:pt x="24543" y="16860"/>
                    </a:lnTo>
                    <a:lnTo>
                      <a:pt x="32211" y="13029"/>
                    </a:lnTo>
                    <a:cubicBezTo>
                      <a:pt x="35406" y="11753"/>
                      <a:pt x="36684" y="7922"/>
                      <a:pt x="35406" y="4730"/>
                    </a:cubicBezTo>
                    <a:cubicBezTo>
                      <a:pt x="35406" y="4730"/>
                      <a:pt x="35406" y="4730"/>
                      <a:pt x="35406" y="4730"/>
                    </a:cubicBezTo>
                    <a:cubicBezTo>
                      <a:pt x="34767" y="900"/>
                      <a:pt x="30933" y="-377"/>
                      <a:pt x="27738" y="900"/>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54" name="Graphic 4">
                <a:extLst>
                  <a:ext uri="{FF2B5EF4-FFF2-40B4-BE49-F238E27FC236}">
                    <a16:creationId xmlns:a16="http://schemas.microsoft.com/office/drawing/2014/main" id="{2BA0019C-7516-BC81-C101-721EA4768713}"/>
                  </a:ext>
                </a:extLst>
              </p:cNvPr>
              <p:cNvSpPr/>
              <p:nvPr/>
            </p:nvSpPr>
            <p:spPr>
              <a:xfrm>
                <a:off x="2774021" y="1054945"/>
                <a:ext cx="38680" cy="24748"/>
              </a:xfrm>
              <a:custGeom>
                <a:avLst/>
                <a:gdLst>
                  <a:gd name="connsiteX0" fmla="*/ 29883 w 38680"/>
                  <a:gd name="connsiteY0" fmla="*/ 489 h 24748"/>
                  <a:gd name="connsiteX1" fmla="*/ 3685 w 38680"/>
                  <a:gd name="connsiteY1" fmla="*/ 12619 h 24748"/>
                  <a:gd name="connsiteX2" fmla="*/ 490 w 38680"/>
                  <a:gd name="connsiteY2" fmla="*/ 20918 h 24748"/>
                  <a:gd name="connsiteX3" fmla="*/ 6241 w 38680"/>
                  <a:gd name="connsiteY3" fmla="*/ 24748 h 24748"/>
                  <a:gd name="connsiteX4" fmla="*/ 8797 w 38680"/>
                  <a:gd name="connsiteY4" fmla="*/ 24110 h 24748"/>
                  <a:gd name="connsiteX5" fmla="*/ 34995 w 38680"/>
                  <a:gd name="connsiteY5" fmla="*/ 11980 h 24748"/>
                  <a:gd name="connsiteX6" fmla="*/ 38190 w 38680"/>
                  <a:gd name="connsiteY6" fmla="*/ 3681 h 24748"/>
                  <a:gd name="connsiteX7" fmla="*/ 29883 w 38680"/>
                  <a:gd name="connsiteY7" fmla="*/ 489 h 24748"/>
                  <a:gd name="connsiteX8" fmla="*/ 29883 w 38680"/>
                  <a:gd name="connsiteY8" fmla="*/ 489 h 24748"/>
                  <a:gd name="connsiteX9" fmla="*/ 29883 w 38680"/>
                  <a:gd name="connsiteY9" fmla="*/ 489 h 2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80" h="24748">
                    <a:moveTo>
                      <a:pt x="29883" y="489"/>
                    </a:moveTo>
                    <a:lnTo>
                      <a:pt x="3685" y="12619"/>
                    </a:lnTo>
                    <a:cubicBezTo>
                      <a:pt x="490" y="13896"/>
                      <a:pt x="-788" y="17726"/>
                      <a:pt x="490" y="20918"/>
                    </a:cubicBezTo>
                    <a:cubicBezTo>
                      <a:pt x="1768" y="23472"/>
                      <a:pt x="3685" y="24748"/>
                      <a:pt x="6241" y="24748"/>
                    </a:cubicBezTo>
                    <a:cubicBezTo>
                      <a:pt x="6880" y="24748"/>
                      <a:pt x="8158" y="24748"/>
                      <a:pt x="8797" y="24110"/>
                    </a:cubicBezTo>
                    <a:lnTo>
                      <a:pt x="34995" y="11980"/>
                    </a:lnTo>
                    <a:cubicBezTo>
                      <a:pt x="38190" y="10704"/>
                      <a:pt x="39468" y="6873"/>
                      <a:pt x="38190" y="3681"/>
                    </a:cubicBezTo>
                    <a:cubicBezTo>
                      <a:pt x="36273" y="489"/>
                      <a:pt x="33078" y="-788"/>
                      <a:pt x="29883" y="489"/>
                    </a:cubicBezTo>
                    <a:lnTo>
                      <a:pt x="29883" y="489"/>
                    </a:lnTo>
                    <a:lnTo>
                      <a:pt x="29883" y="489"/>
                    </a:lnTo>
                    <a:close/>
                  </a:path>
                </a:pathLst>
              </a:custGeom>
              <a:grpFill/>
              <a:ln w="6390" cap="flat">
                <a:noFill/>
                <a:prstDash val="solid"/>
                <a:miter/>
              </a:ln>
            </p:spPr>
            <p:txBody>
              <a:bodyPr rtlCol="0" anchor="ctr"/>
              <a:lstStyle/>
              <a:p>
                <a:endParaRPr lang="en-AU" dirty="0">
                  <a:solidFill>
                    <a:srgbClr val="000000"/>
                  </a:solidFill>
                </a:endParaRPr>
              </a:p>
            </p:txBody>
          </p:sp>
          <p:sp>
            <p:nvSpPr>
              <p:cNvPr id="55" name="Graphic 4">
                <a:extLst>
                  <a:ext uri="{FF2B5EF4-FFF2-40B4-BE49-F238E27FC236}">
                    <a16:creationId xmlns:a16="http://schemas.microsoft.com/office/drawing/2014/main" id="{CBFF4B0F-86A5-2330-29E4-6CC5B8175F58}"/>
                  </a:ext>
                </a:extLst>
              </p:cNvPr>
              <p:cNvSpPr/>
              <p:nvPr/>
            </p:nvSpPr>
            <p:spPr>
              <a:xfrm>
                <a:off x="2772970" y="1007293"/>
                <a:ext cx="39502" cy="25797"/>
              </a:xfrm>
              <a:custGeom>
                <a:avLst/>
                <a:gdLst>
                  <a:gd name="connsiteX0" fmla="*/ 36045 w 39502"/>
                  <a:gd name="connsiteY0" fmla="*/ 13029 h 25797"/>
                  <a:gd name="connsiteX1" fmla="*/ 9847 w 39502"/>
                  <a:gd name="connsiteY1" fmla="*/ 900 h 25797"/>
                  <a:gd name="connsiteX2" fmla="*/ 901 w 39502"/>
                  <a:gd name="connsiteY2" fmla="*/ 3453 h 25797"/>
                  <a:gd name="connsiteX3" fmla="*/ 3457 w 39502"/>
                  <a:gd name="connsiteY3" fmla="*/ 12391 h 25797"/>
                  <a:gd name="connsiteX4" fmla="*/ 4096 w 39502"/>
                  <a:gd name="connsiteY4" fmla="*/ 13029 h 25797"/>
                  <a:gd name="connsiteX5" fmla="*/ 30294 w 39502"/>
                  <a:gd name="connsiteY5" fmla="*/ 25159 h 25797"/>
                  <a:gd name="connsiteX6" fmla="*/ 32850 w 39502"/>
                  <a:gd name="connsiteY6" fmla="*/ 25797 h 25797"/>
                  <a:gd name="connsiteX7" fmla="*/ 38601 w 39502"/>
                  <a:gd name="connsiteY7" fmla="*/ 21967 h 25797"/>
                  <a:gd name="connsiteX8" fmla="*/ 36045 w 39502"/>
                  <a:gd name="connsiteY8" fmla="*/ 13029 h 25797"/>
                  <a:gd name="connsiteX9" fmla="*/ 36045 w 39502"/>
                  <a:gd name="connsiteY9" fmla="*/ 13029 h 2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02" h="25797">
                    <a:moveTo>
                      <a:pt x="36045" y="13029"/>
                    </a:moveTo>
                    <a:lnTo>
                      <a:pt x="9847" y="900"/>
                    </a:lnTo>
                    <a:cubicBezTo>
                      <a:pt x="6652" y="-1015"/>
                      <a:pt x="2818" y="261"/>
                      <a:pt x="901" y="3453"/>
                    </a:cubicBezTo>
                    <a:cubicBezTo>
                      <a:pt x="-1016" y="6645"/>
                      <a:pt x="262" y="10476"/>
                      <a:pt x="3457" y="12391"/>
                    </a:cubicBezTo>
                    <a:cubicBezTo>
                      <a:pt x="3457" y="12391"/>
                      <a:pt x="4096" y="12391"/>
                      <a:pt x="4096" y="13029"/>
                    </a:cubicBezTo>
                    <a:lnTo>
                      <a:pt x="30294" y="25159"/>
                    </a:lnTo>
                    <a:cubicBezTo>
                      <a:pt x="30933" y="25797"/>
                      <a:pt x="32211" y="25797"/>
                      <a:pt x="32850" y="25797"/>
                    </a:cubicBezTo>
                    <a:cubicBezTo>
                      <a:pt x="35406" y="25797"/>
                      <a:pt x="37323" y="24521"/>
                      <a:pt x="38601" y="21967"/>
                    </a:cubicBezTo>
                    <a:cubicBezTo>
                      <a:pt x="40518" y="18137"/>
                      <a:pt x="39240" y="14306"/>
                      <a:pt x="36045" y="13029"/>
                    </a:cubicBezTo>
                    <a:cubicBezTo>
                      <a:pt x="36045" y="13029"/>
                      <a:pt x="36045" y="13029"/>
                      <a:pt x="36045" y="13029"/>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56" name="Graphic 4">
                <a:extLst>
                  <a:ext uri="{FF2B5EF4-FFF2-40B4-BE49-F238E27FC236}">
                    <a16:creationId xmlns:a16="http://schemas.microsoft.com/office/drawing/2014/main" id="{9D3B171D-3006-23ED-97E4-264F78C148C5}"/>
                  </a:ext>
                </a:extLst>
              </p:cNvPr>
              <p:cNvSpPr/>
              <p:nvPr/>
            </p:nvSpPr>
            <p:spPr>
              <a:xfrm>
                <a:off x="2632654" y="1075863"/>
                <a:ext cx="12779" cy="38303"/>
              </a:xfrm>
              <a:custGeom>
                <a:avLst/>
                <a:gdLst>
                  <a:gd name="connsiteX0" fmla="*/ 6390 w 12779"/>
                  <a:gd name="connsiteY0" fmla="*/ 38304 h 38303"/>
                  <a:gd name="connsiteX1" fmla="*/ 12780 w 12779"/>
                  <a:gd name="connsiteY1" fmla="*/ 31920 h 38303"/>
                  <a:gd name="connsiteX2" fmla="*/ 12780 w 12779"/>
                  <a:gd name="connsiteY2" fmla="*/ 6384 h 38303"/>
                  <a:gd name="connsiteX3" fmla="*/ 6390 w 12779"/>
                  <a:gd name="connsiteY3" fmla="*/ 0 h 38303"/>
                  <a:gd name="connsiteX4" fmla="*/ 0 w 12779"/>
                  <a:gd name="connsiteY4" fmla="*/ 6384 h 38303"/>
                  <a:gd name="connsiteX5" fmla="*/ 0 w 12779"/>
                  <a:gd name="connsiteY5" fmla="*/ 31920 h 38303"/>
                  <a:gd name="connsiteX6" fmla="*/ 6390 w 12779"/>
                  <a:gd name="connsiteY6" fmla="*/ 38304 h 3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8303">
                    <a:moveTo>
                      <a:pt x="6390" y="38304"/>
                    </a:moveTo>
                    <a:cubicBezTo>
                      <a:pt x="10224" y="38304"/>
                      <a:pt x="12780" y="35750"/>
                      <a:pt x="12780" y="31920"/>
                    </a:cubicBezTo>
                    <a:lnTo>
                      <a:pt x="12780" y="6384"/>
                    </a:lnTo>
                    <a:cubicBezTo>
                      <a:pt x="12780" y="2554"/>
                      <a:pt x="10224" y="0"/>
                      <a:pt x="6390" y="0"/>
                    </a:cubicBezTo>
                    <a:cubicBezTo>
                      <a:pt x="2556" y="0"/>
                      <a:pt x="0" y="2554"/>
                      <a:pt x="0" y="6384"/>
                    </a:cubicBezTo>
                    <a:lnTo>
                      <a:pt x="0" y="31920"/>
                    </a:lnTo>
                    <a:cubicBezTo>
                      <a:pt x="0" y="35750"/>
                      <a:pt x="2556" y="38304"/>
                      <a:pt x="6390" y="38304"/>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57" name="Graphic 4">
                <a:extLst>
                  <a:ext uri="{FF2B5EF4-FFF2-40B4-BE49-F238E27FC236}">
                    <a16:creationId xmlns:a16="http://schemas.microsoft.com/office/drawing/2014/main" id="{FD0FEA9C-060F-594B-3F66-BC328790D422}"/>
                  </a:ext>
                </a:extLst>
              </p:cNvPr>
              <p:cNvSpPr/>
              <p:nvPr/>
            </p:nvSpPr>
            <p:spPr>
              <a:xfrm>
                <a:off x="2632654" y="1127573"/>
                <a:ext cx="24132" cy="31281"/>
              </a:xfrm>
              <a:custGeom>
                <a:avLst/>
                <a:gdLst>
                  <a:gd name="connsiteX0" fmla="*/ 20448 w 24132"/>
                  <a:gd name="connsiteY0" fmla="*/ 19152 h 31281"/>
                  <a:gd name="connsiteX1" fmla="*/ 12780 w 24132"/>
                  <a:gd name="connsiteY1" fmla="*/ 14683 h 31281"/>
                  <a:gd name="connsiteX2" fmla="*/ 12780 w 24132"/>
                  <a:gd name="connsiteY2" fmla="*/ 6384 h 31281"/>
                  <a:gd name="connsiteX3" fmla="*/ 6390 w 24132"/>
                  <a:gd name="connsiteY3" fmla="*/ 0 h 31281"/>
                  <a:gd name="connsiteX4" fmla="*/ 0 w 24132"/>
                  <a:gd name="connsiteY4" fmla="*/ 6384 h 31281"/>
                  <a:gd name="connsiteX5" fmla="*/ 0 w 24132"/>
                  <a:gd name="connsiteY5" fmla="*/ 19152 h 31281"/>
                  <a:gd name="connsiteX6" fmla="*/ 3195 w 24132"/>
                  <a:gd name="connsiteY6" fmla="*/ 24897 h 31281"/>
                  <a:gd name="connsiteX7" fmla="*/ 14697 w 24132"/>
                  <a:gd name="connsiteY7" fmla="*/ 30643 h 31281"/>
                  <a:gd name="connsiteX8" fmla="*/ 17892 w 24132"/>
                  <a:gd name="connsiteY8" fmla="*/ 31281 h 31281"/>
                  <a:gd name="connsiteX9" fmla="*/ 23643 w 24132"/>
                  <a:gd name="connsiteY9" fmla="*/ 28089 h 31281"/>
                  <a:gd name="connsiteX10" fmla="*/ 20448 w 24132"/>
                  <a:gd name="connsiteY10" fmla="*/ 19152 h 31281"/>
                  <a:gd name="connsiteX11" fmla="*/ 20448 w 24132"/>
                  <a:gd name="connsiteY11" fmla="*/ 19152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2" h="31281">
                    <a:moveTo>
                      <a:pt x="20448" y="19152"/>
                    </a:moveTo>
                    <a:lnTo>
                      <a:pt x="12780" y="14683"/>
                    </a:lnTo>
                    <a:lnTo>
                      <a:pt x="12780" y="6384"/>
                    </a:lnTo>
                    <a:cubicBezTo>
                      <a:pt x="12780" y="2554"/>
                      <a:pt x="10224" y="0"/>
                      <a:pt x="6390" y="0"/>
                    </a:cubicBezTo>
                    <a:cubicBezTo>
                      <a:pt x="2556" y="0"/>
                      <a:pt x="0" y="2554"/>
                      <a:pt x="0" y="6384"/>
                    </a:cubicBezTo>
                    <a:lnTo>
                      <a:pt x="0" y="19152"/>
                    </a:lnTo>
                    <a:cubicBezTo>
                      <a:pt x="0" y="21706"/>
                      <a:pt x="1278" y="23621"/>
                      <a:pt x="3195" y="24897"/>
                    </a:cubicBezTo>
                    <a:lnTo>
                      <a:pt x="14697" y="30643"/>
                    </a:lnTo>
                    <a:cubicBezTo>
                      <a:pt x="15336" y="31281"/>
                      <a:pt x="16614" y="31281"/>
                      <a:pt x="17892" y="31281"/>
                    </a:cubicBezTo>
                    <a:cubicBezTo>
                      <a:pt x="20448" y="31281"/>
                      <a:pt x="22365" y="30005"/>
                      <a:pt x="23643" y="28089"/>
                    </a:cubicBezTo>
                    <a:cubicBezTo>
                      <a:pt x="24921" y="24897"/>
                      <a:pt x="23643" y="21067"/>
                      <a:pt x="20448" y="19152"/>
                    </a:cubicBezTo>
                    <a:cubicBezTo>
                      <a:pt x="20448" y="19152"/>
                      <a:pt x="20448" y="19152"/>
                      <a:pt x="20448" y="19152"/>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58" name="Graphic 4">
                <a:extLst>
                  <a:ext uri="{FF2B5EF4-FFF2-40B4-BE49-F238E27FC236}">
                    <a16:creationId xmlns:a16="http://schemas.microsoft.com/office/drawing/2014/main" id="{BA85E300-97EC-33A7-FBE1-816DAC71D249}"/>
                  </a:ext>
                </a:extLst>
              </p:cNvPr>
              <p:cNvSpPr/>
              <p:nvPr/>
            </p:nvSpPr>
            <p:spPr>
              <a:xfrm>
                <a:off x="2670093" y="1159870"/>
                <a:ext cx="39879" cy="27712"/>
              </a:xfrm>
              <a:custGeom>
                <a:avLst/>
                <a:gdLst>
                  <a:gd name="connsiteX0" fmla="*/ 36684 w 39879"/>
                  <a:gd name="connsiteY0" fmla="*/ 15583 h 27712"/>
                  <a:gd name="connsiteX1" fmla="*/ 9847 w 39879"/>
                  <a:gd name="connsiteY1" fmla="*/ 900 h 27712"/>
                  <a:gd name="connsiteX2" fmla="*/ 901 w 39879"/>
                  <a:gd name="connsiteY2" fmla="*/ 3453 h 27712"/>
                  <a:gd name="connsiteX3" fmla="*/ 3457 w 39879"/>
                  <a:gd name="connsiteY3" fmla="*/ 12391 h 27712"/>
                  <a:gd name="connsiteX4" fmla="*/ 30294 w 39879"/>
                  <a:gd name="connsiteY4" fmla="*/ 27074 h 27712"/>
                  <a:gd name="connsiteX5" fmla="*/ 33489 w 39879"/>
                  <a:gd name="connsiteY5" fmla="*/ 27713 h 27712"/>
                  <a:gd name="connsiteX6" fmla="*/ 39879 w 39879"/>
                  <a:gd name="connsiteY6" fmla="*/ 21329 h 27712"/>
                  <a:gd name="connsiteX7" fmla="*/ 36684 w 39879"/>
                  <a:gd name="connsiteY7" fmla="*/ 15583 h 27712"/>
                  <a:gd name="connsiteX8" fmla="*/ 36684 w 39879"/>
                  <a:gd name="connsiteY8" fmla="*/ 15583 h 2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79" h="27712">
                    <a:moveTo>
                      <a:pt x="36684" y="15583"/>
                    </a:moveTo>
                    <a:lnTo>
                      <a:pt x="9847" y="900"/>
                    </a:lnTo>
                    <a:cubicBezTo>
                      <a:pt x="6652" y="-1015"/>
                      <a:pt x="2818" y="262"/>
                      <a:pt x="901" y="3453"/>
                    </a:cubicBezTo>
                    <a:cubicBezTo>
                      <a:pt x="-1016" y="6645"/>
                      <a:pt x="262" y="10476"/>
                      <a:pt x="3457" y="12391"/>
                    </a:cubicBezTo>
                    <a:lnTo>
                      <a:pt x="30294" y="27074"/>
                    </a:lnTo>
                    <a:cubicBezTo>
                      <a:pt x="30933" y="27713"/>
                      <a:pt x="32211" y="27713"/>
                      <a:pt x="33489" y="27713"/>
                    </a:cubicBezTo>
                    <a:cubicBezTo>
                      <a:pt x="37323" y="27713"/>
                      <a:pt x="39879" y="24521"/>
                      <a:pt x="39879" y="21329"/>
                    </a:cubicBezTo>
                    <a:cubicBezTo>
                      <a:pt x="39879" y="18775"/>
                      <a:pt x="38601" y="16860"/>
                      <a:pt x="36684" y="15583"/>
                    </a:cubicBezTo>
                    <a:lnTo>
                      <a:pt x="36684" y="15583"/>
                    </a:lnTo>
                    <a:close/>
                  </a:path>
                </a:pathLst>
              </a:custGeom>
              <a:grpFill/>
              <a:ln w="6390" cap="flat">
                <a:noFill/>
                <a:prstDash val="solid"/>
                <a:miter/>
              </a:ln>
            </p:spPr>
            <p:txBody>
              <a:bodyPr rtlCol="0" anchor="ctr"/>
              <a:lstStyle/>
              <a:p>
                <a:endParaRPr lang="en-AU" dirty="0">
                  <a:solidFill>
                    <a:srgbClr val="000000"/>
                  </a:solidFill>
                </a:endParaRPr>
              </a:p>
            </p:txBody>
          </p:sp>
          <p:sp>
            <p:nvSpPr>
              <p:cNvPr id="59" name="Graphic 4">
                <a:extLst>
                  <a:ext uri="{FF2B5EF4-FFF2-40B4-BE49-F238E27FC236}">
                    <a16:creationId xmlns:a16="http://schemas.microsoft.com/office/drawing/2014/main" id="{441F2C2D-E66D-5BCE-F849-EA94705A0374}"/>
                  </a:ext>
                </a:extLst>
              </p:cNvPr>
              <p:cNvSpPr/>
              <p:nvPr/>
            </p:nvSpPr>
            <p:spPr>
              <a:xfrm>
                <a:off x="2734893" y="1126297"/>
                <a:ext cx="12779" cy="40857"/>
              </a:xfrm>
              <a:custGeom>
                <a:avLst/>
                <a:gdLst>
                  <a:gd name="connsiteX0" fmla="*/ 6390 w 12779"/>
                  <a:gd name="connsiteY0" fmla="*/ 40857 h 40857"/>
                  <a:gd name="connsiteX1" fmla="*/ 12780 w 12779"/>
                  <a:gd name="connsiteY1" fmla="*/ 34473 h 40857"/>
                  <a:gd name="connsiteX2" fmla="*/ 12780 w 12779"/>
                  <a:gd name="connsiteY2" fmla="*/ 6384 h 40857"/>
                  <a:gd name="connsiteX3" fmla="*/ 6390 w 12779"/>
                  <a:gd name="connsiteY3" fmla="*/ 0 h 40857"/>
                  <a:gd name="connsiteX4" fmla="*/ 0 w 12779"/>
                  <a:gd name="connsiteY4" fmla="*/ 6384 h 40857"/>
                  <a:gd name="connsiteX5" fmla="*/ 0 w 12779"/>
                  <a:gd name="connsiteY5" fmla="*/ 34473 h 40857"/>
                  <a:gd name="connsiteX6" fmla="*/ 6390 w 12779"/>
                  <a:gd name="connsiteY6" fmla="*/ 40857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40857"/>
                    </a:moveTo>
                    <a:cubicBezTo>
                      <a:pt x="10224" y="40857"/>
                      <a:pt x="12780" y="38304"/>
                      <a:pt x="12780" y="34473"/>
                    </a:cubicBezTo>
                    <a:lnTo>
                      <a:pt x="12780" y="6384"/>
                    </a:lnTo>
                    <a:cubicBezTo>
                      <a:pt x="12780" y="2554"/>
                      <a:pt x="10224" y="0"/>
                      <a:pt x="6390" y="0"/>
                    </a:cubicBezTo>
                    <a:cubicBezTo>
                      <a:pt x="2556" y="0"/>
                      <a:pt x="0" y="2554"/>
                      <a:pt x="0" y="6384"/>
                    </a:cubicBezTo>
                    <a:lnTo>
                      <a:pt x="0" y="34473"/>
                    </a:lnTo>
                    <a:cubicBezTo>
                      <a:pt x="0" y="37665"/>
                      <a:pt x="3195" y="40857"/>
                      <a:pt x="6390" y="40857"/>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60" name="Graphic 4">
                <a:extLst>
                  <a:ext uri="{FF2B5EF4-FFF2-40B4-BE49-F238E27FC236}">
                    <a16:creationId xmlns:a16="http://schemas.microsoft.com/office/drawing/2014/main" id="{DEBDD849-EC61-030E-5442-570028642260}"/>
                  </a:ext>
                </a:extLst>
              </p:cNvPr>
              <p:cNvSpPr/>
              <p:nvPr/>
            </p:nvSpPr>
            <p:spPr>
              <a:xfrm>
                <a:off x="2723129" y="1183114"/>
                <a:ext cx="35896" cy="24897"/>
              </a:xfrm>
              <a:custGeom>
                <a:avLst/>
                <a:gdLst>
                  <a:gd name="connsiteX0" fmla="*/ 27099 w 35896"/>
                  <a:gd name="connsiteY0" fmla="*/ 7661 h 24897"/>
                  <a:gd name="connsiteX1" fmla="*/ 24543 w 35896"/>
                  <a:gd name="connsiteY1" fmla="*/ 8938 h 24897"/>
                  <a:gd name="connsiteX2" fmla="*/ 24543 w 35896"/>
                  <a:gd name="connsiteY2" fmla="*/ 6384 h 24897"/>
                  <a:gd name="connsiteX3" fmla="*/ 18154 w 35896"/>
                  <a:gd name="connsiteY3" fmla="*/ 0 h 24897"/>
                  <a:gd name="connsiteX4" fmla="*/ 11764 w 35896"/>
                  <a:gd name="connsiteY4" fmla="*/ 6384 h 24897"/>
                  <a:gd name="connsiteX5" fmla="*/ 11764 w 35896"/>
                  <a:gd name="connsiteY5" fmla="*/ 8299 h 24897"/>
                  <a:gd name="connsiteX6" fmla="*/ 9847 w 35896"/>
                  <a:gd name="connsiteY6" fmla="*/ 7022 h 24897"/>
                  <a:gd name="connsiteX7" fmla="*/ 901 w 35896"/>
                  <a:gd name="connsiteY7" fmla="*/ 9576 h 24897"/>
                  <a:gd name="connsiteX8" fmla="*/ 3457 w 35896"/>
                  <a:gd name="connsiteY8" fmla="*/ 18514 h 24897"/>
                  <a:gd name="connsiteX9" fmla="*/ 14959 w 35896"/>
                  <a:gd name="connsiteY9" fmla="*/ 24898 h 24897"/>
                  <a:gd name="connsiteX10" fmla="*/ 15598 w 35896"/>
                  <a:gd name="connsiteY10" fmla="*/ 24898 h 24897"/>
                  <a:gd name="connsiteX11" fmla="*/ 16237 w 35896"/>
                  <a:gd name="connsiteY11" fmla="*/ 24898 h 24897"/>
                  <a:gd name="connsiteX12" fmla="*/ 18154 w 35896"/>
                  <a:gd name="connsiteY12" fmla="*/ 24898 h 24897"/>
                  <a:gd name="connsiteX13" fmla="*/ 18154 w 35896"/>
                  <a:gd name="connsiteY13" fmla="*/ 24898 h 24897"/>
                  <a:gd name="connsiteX14" fmla="*/ 20709 w 35896"/>
                  <a:gd name="connsiteY14" fmla="*/ 24259 h 24897"/>
                  <a:gd name="connsiteX15" fmla="*/ 20709 w 35896"/>
                  <a:gd name="connsiteY15" fmla="*/ 24259 h 24897"/>
                  <a:gd name="connsiteX16" fmla="*/ 32211 w 35896"/>
                  <a:gd name="connsiteY16" fmla="*/ 19152 h 24897"/>
                  <a:gd name="connsiteX17" fmla="*/ 35406 w 35896"/>
                  <a:gd name="connsiteY17" fmla="*/ 10853 h 24897"/>
                  <a:gd name="connsiteX18" fmla="*/ 27099 w 35896"/>
                  <a:gd name="connsiteY18" fmla="*/ 7661 h 24897"/>
                  <a:gd name="connsiteX19" fmla="*/ 27099 w 35896"/>
                  <a:gd name="connsiteY19" fmla="*/ 7661 h 2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96" h="24897">
                    <a:moveTo>
                      <a:pt x="27099" y="7661"/>
                    </a:moveTo>
                    <a:lnTo>
                      <a:pt x="24543" y="8938"/>
                    </a:lnTo>
                    <a:lnTo>
                      <a:pt x="24543" y="6384"/>
                    </a:lnTo>
                    <a:cubicBezTo>
                      <a:pt x="24543" y="2554"/>
                      <a:pt x="21988" y="0"/>
                      <a:pt x="18154" y="0"/>
                    </a:cubicBezTo>
                    <a:cubicBezTo>
                      <a:pt x="14320" y="0"/>
                      <a:pt x="11764" y="2554"/>
                      <a:pt x="11764" y="6384"/>
                    </a:cubicBezTo>
                    <a:lnTo>
                      <a:pt x="11764" y="8299"/>
                    </a:lnTo>
                    <a:lnTo>
                      <a:pt x="9847" y="7022"/>
                    </a:lnTo>
                    <a:cubicBezTo>
                      <a:pt x="6652" y="5107"/>
                      <a:pt x="2818" y="6384"/>
                      <a:pt x="901" y="9576"/>
                    </a:cubicBezTo>
                    <a:cubicBezTo>
                      <a:pt x="-1016" y="12768"/>
                      <a:pt x="262" y="16598"/>
                      <a:pt x="3457" y="18514"/>
                    </a:cubicBezTo>
                    <a:lnTo>
                      <a:pt x="14959" y="24898"/>
                    </a:lnTo>
                    <a:lnTo>
                      <a:pt x="15598" y="24898"/>
                    </a:lnTo>
                    <a:cubicBezTo>
                      <a:pt x="15598" y="24898"/>
                      <a:pt x="16237" y="24898"/>
                      <a:pt x="16237" y="24898"/>
                    </a:cubicBezTo>
                    <a:cubicBezTo>
                      <a:pt x="16875" y="24898"/>
                      <a:pt x="17514" y="24898"/>
                      <a:pt x="18154" y="24898"/>
                    </a:cubicBezTo>
                    <a:lnTo>
                      <a:pt x="18154" y="24898"/>
                    </a:lnTo>
                    <a:cubicBezTo>
                      <a:pt x="18793" y="24898"/>
                      <a:pt x="20070" y="24898"/>
                      <a:pt x="20709" y="24259"/>
                    </a:cubicBezTo>
                    <a:lnTo>
                      <a:pt x="20709" y="24259"/>
                    </a:lnTo>
                    <a:lnTo>
                      <a:pt x="32211" y="19152"/>
                    </a:lnTo>
                    <a:cubicBezTo>
                      <a:pt x="35406" y="17875"/>
                      <a:pt x="36684" y="14045"/>
                      <a:pt x="35406" y="10853"/>
                    </a:cubicBezTo>
                    <a:cubicBezTo>
                      <a:pt x="34128" y="7022"/>
                      <a:pt x="30294" y="5746"/>
                      <a:pt x="27099" y="7661"/>
                    </a:cubicBezTo>
                    <a:lnTo>
                      <a:pt x="27099" y="7661"/>
                    </a:lnTo>
                    <a:close/>
                  </a:path>
                </a:pathLst>
              </a:custGeom>
              <a:grpFill/>
              <a:ln w="6390" cap="flat">
                <a:noFill/>
                <a:prstDash val="solid"/>
                <a:miter/>
              </a:ln>
            </p:spPr>
            <p:txBody>
              <a:bodyPr rtlCol="0" anchor="ctr"/>
              <a:lstStyle/>
              <a:p>
                <a:endParaRPr lang="en-AU" dirty="0">
                  <a:solidFill>
                    <a:srgbClr val="000000"/>
                  </a:solidFill>
                </a:endParaRPr>
              </a:p>
            </p:txBody>
          </p:sp>
          <p:sp>
            <p:nvSpPr>
              <p:cNvPr id="61" name="Graphic 4">
                <a:extLst>
                  <a:ext uri="{FF2B5EF4-FFF2-40B4-BE49-F238E27FC236}">
                    <a16:creationId xmlns:a16="http://schemas.microsoft.com/office/drawing/2014/main" id="{15972C43-7EAE-0935-936A-7FA54692037D}"/>
                  </a:ext>
                </a:extLst>
              </p:cNvPr>
              <p:cNvSpPr/>
              <p:nvPr/>
            </p:nvSpPr>
            <p:spPr>
              <a:xfrm>
                <a:off x="2774021" y="1165477"/>
                <a:ext cx="38680" cy="25297"/>
              </a:xfrm>
              <a:custGeom>
                <a:avLst/>
                <a:gdLst>
                  <a:gd name="connsiteX0" fmla="*/ 29883 w 38680"/>
                  <a:gd name="connsiteY0" fmla="*/ 400 h 25297"/>
                  <a:gd name="connsiteX1" fmla="*/ 3685 w 38680"/>
                  <a:gd name="connsiteY1" fmla="*/ 13168 h 25297"/>
                  <a:gd name="connsiteX2" fmla="*/ 490 w 38680"/>
                  <a:gd name="connsiteY2" fmla="*/ 21467 h 25297"/>
                  <a:gd name="connsiteX3" fmla="*/ 6241 w 38680"/>
                  <a:gd name="connsiteY3" fmla="*/ 25297 h 25297"/>
                  <a:gd name="connsiteX4" fmla="*/ 8797 w 38680"/>
                  <a:gd name="connsiteY4" fmla="*/ 24659 h 25297"/>
                  <a:gd name="connsiteX5" fmla="*/ 34995 w 38680"/>
                  <a:gd name="connsiteY5" fmla="*/ 12529 h 25297"/>
                  <a:gd name="connsiteX6" fmla="*/ 38190 w 38680"/>
                  <a:gd name="connsiteY6" fmla="*/ 4230 h 25297"/>
                  <a:gd name="connsiteX7" fmla="*/ 29883 w 38680"/>
                  <a:gd name="connsiteY7" fmla="*/ 400 h 25297"/>
                  <a:gd name="connsiteX8" fmla="*/ 29883 w 38680"/>
                  <a:gd name="connsiteY8" fmla="*/ 400 h 2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80" h="25297">
                    <a:moveTo>
                      <a:pt x="29883" y="400"/>
                    </a:moveTo>
                    <a:lnTo>
                      <a:pt x="3685" y="13168"/>
                    </a:lnTo>
                    <a:cubicBezTo>
                      <a:pt x="490" y="14445"/>
                      <a:pt x="-788" y="18275"/>
                      <a:pt x="490" y="21467"/>
                    </a:cubicBezTo>
                    <a:cubicBezTo>
                      <a:pt x="1768" y="24021"/>
                      <a:pt x="3685" y="25297"/>
                      <a:pt x="6241" y="25297"/>
                    </a:cubicBezTo>
                    <a:cubicBezTo>
                      <a:pt x="6880" y="25297"/>
                      <a:pt x="8158" y="25297"/>
                      <a:pt x="8797" y="24659"/>
                    </a:cubicBezTo>
                    <a:lnTo>
                      <a:pt x="34995" y="12529"/>
                    </a:lnTo>
                    <a:cubicBezTo>
                      <a:pt x="38190" y="11253"/>
                      <a:pt x="39468" y="7422"/>
                      <a:pt x="38190" y="4230"/>
                    </a:cubicBezTo>
                    <a:cubicBezTo>
                      <a:pt x="36273" y="1038"/>
                      <a:pt x="33078" y="-877"/>
                      <a:pt x="29883" y="400"/>
                    </a:cubicBezTo>
                    <a:lnTo>
                      <a:pt x="29883" y="400"/>
                    </a:lnTo>
                    <a:close/>
                  </a:path>
                </a:pathLst>
              </a:custGeom>
              <a:grpFill/>
              <a:ln w="6390" cap="flat">
                <a:noFill/>
                <a:prstDash val="solid"/>
                <a:miter/>
              </a:ln>
            </p:spPr>
            <p:txBody>
              <a:bodyPr rtlCol="0" anchor="ctr"/>
              <a:lstStyle/>
              <a:p>
                <a:endParaRPr lang="en-AU" dirty="0">
                  <a:solidFill>
                    <a:srgbClr val="000000"/>
                  </a:solidFill>
                </a:endParaRPr>
              </a:p>
            </p:txBody>
          </p:sp>
          <p:sp>
            <p:nvSpPr>
              <p:cNvPr id="62" name="Graphic 4">
                <a:extLst>
                  <a:ext uri="{FF2B5EF4-FFF2-40B4-BE49-F238E27FC236}">
                    <a16:creationId xmlns:a16="http://schemas.microsoft.com/office/drawing/2014/main" id="{7BC8B9DE-1254-508C-3632-D9FDBD0BA636}"/>
                  </a:ext>
                </a:extLst>
              </p:cNvPr>
              <p:cNvSpPr/>
              <p:nvPr/>
            </p:nvSpPr>
            <p:spPr>
              <a:xfrm>
                <a:off x="2826418" y="1135234"/>
                <a:ext cx="24132" cy="31281"/>
              </a:xfrm>
              <a:custGeom>
                <a:avLst/>
                <a:gdLst>
                  <a:gd name="connsiteX0" fmla="*/ 17743 w 24132"/>
                  <a:gd name="connsiteY0" fmla="*/ 0 h 31281"/>
                  <a:gd name="connsiteX1" fmla="*/ 11353 w 24132"/>
                  <a:gd name="connsiteY1" fmla="*/ 6384 h 31281"/>
                  <a:gd name="connsiteX2" fmla="*/ 11353 w 24132"/>
                  <a:gd name="connsiteY2" fmla="*/ 15322 h 31281"/>
                  <a:gd name="connsiteX3" fmla="*/ 3685 w 24132"/>
                  <a:gd name="connsiteY3" fmla="*/ 19152 h 31281"/>
                  <a:gd name="connsiteX4" fmla="*/ 490 w 24132"/>
                  <a:gd name="connsiteY4" fmla="*/ 27451 h 31281"/>
                  <a:gd name="connsiteX5" fmla="*/ 490 w 24132"/>
                  <a:gd name="connsiteY5" fmla="*/ 27451 h 31281"/>
                  <a:gd name="connsiteX6" fmla="*/ 6241 w 24132"/>
                  <a:gd name="connsiteY6" fmla="*/ 31282 h 31281"/>
                  <a:gd name="connsiteX7" fmla="*/ 8797 w 24132"/>
                  <a:gd name="connsiteY7" fmla="*/ 30643 h 31281"/>
                  <a:gd name="connsiteX8" fmla="*/ 20299 w 24132"/>
                  <a:gd name="connsiteY8" fmla="*/ 25536 h 31281"/>
                  <a:gd name="connsiteX9" fmla="*/ 24133 w 24132"/>
                  <a:gd name="connsiteY9" fmla="*/ 19790 h 31281"/>
                  <a:gd name="connsiteX10" fmla="*/ 24133 w 24132"/>
                  <a:gd name="connsiteY10" fmla="*/ 7022 h 31281"/>
                  <a:gd name="connsiteX11" fmla="*/ 17743 w 24132"/>
                  <a:gd name="connsiteY11" fmla="*/ 0 h 31281"/>
                  <a:gd name="connsiteX12" fmla="*/ 17743 w 24132"/>
                  <a:gd name="connsiteY12" fmla="*/ 0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32" h="31281">
                    <a:moveTo>
                      <a:pt x="17743" y="0"/>
                    </a:moveTo>
                    <a:cubicBezTo>
                      <a:pt x="13909" y="0"/>
                      <a:pt x="11353" y="2554"/>
                      <a:pt x="11353" y="6384"/>
                    </a:cubicBezTo>
                    <a:lnTo>
                      <a:pt x="11353" y="15322"/>
                    </a:lnTo>
                    <a:lnTo>
                      <a:pt x="3685" y="19152"/>
                    </a:lnTo>
                    <a:cubicBezTo>
                      <a:pt x="490" y="20429"/>
                      <a:pt x="-788" y="24259"/>
                      <a:pt x="490" y="27451"/>
                    </a:cubicBezTo>
                    <a:cubicBezTo>
                      <a:pt x="490" y="27451"/>
                      <a:pt x="490" y="27451"/>
                      <a:pt x="490" y="27451"/>
                    </a:cubicBezTo>
                    <a:cubicBezTo>
                      <a:pt x="1768" y="30005"/>
                      <a:pt x="3685" y="31282"/>
                      <a:pt x="6241" y="31282"/>
                    </a:cubicBezTo>
                    <a:cubicBezTo>
                      <a:pt x="6880" y="31282"/>
                      <a:pt x="8158" y="31282"/>
                      <a:pt x="8797" y="30643"/>
                    </a:cubicBezTo>
                    <a:lnTo>
                      <a:pt x="20299" y="25536"/>
                    </a:lnTo>
                    <a:cubicBezTo>
                      <a:pt x="22854" y="24259"/>
                      <a:pt x="24133" y="22344"/>
                      <a:pt x="24133" y="19790"/>
                    </a:cubicBezTo>
                    <a:lnTo>
                      <a:pt x="24133" y="7022"/>
                    </a:lnTo>
                    <a:cubicBezTo>
                      <a:pt x="24133" y="2554"/>
                      <a:pt x="21577" y="0"/>
                      <a:pt x="17743" y="0"/>
                    </a:cubicBezTo>
                    <a:cubicBezTo>
                      <a:pt x="17743" y="0"/>
                      <a:pt x="17743" y="0"/>
                      <a:pt x="17743" y="0"/>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63" name="Graphic 4">
                <a:extLst>
                  <a:ext uri="{FF2B5EF4-FFF2-40B4-BE49-F238E27FC236}">
                    <a16:creationId xmlns:a16="http://schemas.microsoft.com/office/drawing/2014/main" id="{4C11D623-44AA-39B8-283A-D84959EAAEB9}"/>
                  </a:ext>
                </a:extLst>
              </p:cNvPr>
              <p:cNvSpPr/>
              <p:nvPr/>
            </p:nvSpPr>
            <p:spPr>
              <a:xfrm>
                <a:off x="2837771" y="1078417"/>
                <a:ext cx="12779" cy="40857"/>
              </a:xfrm>
              <a:custGeom>
                <a:avLst/>
                <a:gdLst>
                  <a:gd name="connsiteX0" fmla="*/ 6390 w 12779"/>
                  <a:gd name="connsiteY0" fmla="*/ 0 h 40857"/>
                  <a:gd name="connsiteX1" fmla="*/ 0 w 12779"/>
                  <a:gd name="connsiteY1" fmla="*/ 6384 h 40857"/>
                  <a:gd name="connsiteX2" fmla="*/ 0 w 12779"/>
                  <a:gd name="connsiteY2" fmla="*/ 34473 h 40857"/>
                  <a:gd name="connsiteX3" fmla="*/ 6390 w 12779"/>
                  <a:gd name="connsiteY3" fmla="*/ 40857 h 40857"/>
                  <a:gd name="connsiteX4" fmla="*/ 12780 w 12779"/>
                  <a:gd name="connsiteY4" fmla="*/ 34473 h 40857"/>
                  <a:gd name="connsiteX5" fmla="*/ 12780 w 12779"/>
                  <a:gd name="connsiteY5" fmla="*/ 6384 h 40857"/>
                  <a:gd name="connsiteX6" fmla="*/ 6390 w 12779"/>
                  <a:gd name="connsiteY6" fmla="*/ 0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0"/>
                    </a:moveTo>
                    <a:cubicBezTo>
                      <a:pt x="2556" y="0"/>
                      <a:pt x="0" y="2554"/>
                      <a:pt x="0" y="6384"/>
                    </a:cubicBezTo>
                    <a:lnTo>
                      <a:pt x="0" y="34473"/>
                    </a:lnTo>
                    <a:cubicBezTo>
                      <a:pt x="0" y="38304"/>
                      <a:pt x="2556" y="40857"/>
                      <a:pt x="6390" y="40857"/>
                    </a:cubicBezTo>
                    <a:cubicBezTo>
                      <a:pt x="10224" y="40857"/>
                      <a:pt x="12780" y="38304"/>
                      <a:pt x="12780" y="34473"/>
                    </a:cubicBezTo>
                    <a:lnTo>
                      <a:pt x="12780" y="6384"/>
                    </a:lnTo>
                    <a:cubicBezTo>
                      <a:pt x="12780" y="2554"/>
                      <a:pt x="10224" y="0"/>
                      <a:pt x="6390" y="0"/>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64" name="Graphic 4">
                <a:extLst>
                  <a:ext uri="{FF2B5EF4-FFF2-40B4-BE49-F238E27FC236}">
                    <a16:creationId xmlns:a16="http://schemas.microsoft.com/office/drawing/2014/main" id="{71DC6B47-0A34-0D31-777A-2A5588520AF5}"/>
                  </a:ext>
                </a:extLst>
              </p:cNvPr>
              <p:cNvSpPr/>
              <p:nvPr/>
            </p:nvSpPr>
            <p:spPr>
              <a:xfrm>
                <a:off x="2825368" y="1031552"/>
                <a:ext cx="24827" cy="30904"/>
              </a:xfrm>
              <a:custGeom>
                <a:avLst/>
                <a:gdLst>
                  <a:gd name="connsiteX0" fmla="*/ 24543 w 24827"/>
                  <a:gd name="connsiteY0" fmla="*/ 9199 h 30904"/>
                  <a:gd name="connsiteX1" fmla="*/ 23904 w 24827"/>
                  <a:gd name="connsiteY1" fmla="*/ 7922 h 30904"/>
                  <a:gd name="connsiteX2" fmla="*/ 23265 w 24827"/>
                  <a:gd name="connsiteY2" fmla="*/ 7284 h 30904"/>
                  <a:gd name="connsiteX3" fmla="*/ 21348 w 24827"/>
                  <a:gd name="connsiteY3" fmla="*/ 6007 h 30904"/>
                  <a:gd name="connsiteX4" fmla="*/ 9847 w 24827"/>
                  <a:gd name="connsiteY4" fmla="*/ 900 h 30904"/>
                  <a:gd name="connsiteX5" fmla="*/ 901 w 24827"/>
                  <a:gd name="connsiteY5" fmla="*/ 3453 h 30904"/>
                  <a:gd name="connsiteX6" fmla="*/ 3457 w 24827"/>
                  <a:gd name="connsiteY6" fmla="*/ 12391 h 30904"/>
                  <a:gd name="connsiteX7" fmla="*/ 1540 w 24827"/>
                  <a:gd name="connsiteY7" fmla="*/ 21329 h 30904"/>
                  <a:gd name="connsiteX8" fmla="*/ 6652 w 24827"/>
                  <a:gd name="connsiteY8" fmla="*/ 23882 h 30904"/>
                  <a:gd name="connsiteX9" fmla="*/ 9208 w 24827"/>
                  <a:gd name="connsiteY9" fmla="*/ 23244 h 30904"/>
                  <a:gd name="connsiteX10" fmla="*/ 11764 w 24827"/>
                  <a:gd name="connsiteY10" fmla="*/ 21967 h 30904"/>
                  <a:gd name="connsiteX11" fmla="*/ 11764 w 24827"/>
                  <a:gd name="connsiteY11" fmla="*/ 24521 h 30904"/>
                  <a:gd name="connsiteX12" fmla="*/ 18154 w 24827"/>
                  <a:gd name="connsiteY12" fmla="*/ 30905 h 30904"/>
                  <a:gd name="connsiteX13" fmla="*/ 24543 w 24827"/>
                  <a:gd name="connsiteY13" fmla="*/ 24521 h 30904"/>
                  <a:gd name="connsiteX14" fmla="*/ 24543 w 24827"/>
                  <a:gd name="connsiteY14" fmla="*/ 11753 h 30904"/>
                  <a:gd name="connsiteX15" fmla="*/ 24543 w 24827"/>
                  <a:gd name="connsiteY15" fmla="*/ 9199 h 30904"/>
                  <a:gd name="connsiteX16" fmla="*/ 24543 w 24827"/>
                  <a:gd name="connsiteY16" fmla="*/ 9199 h 3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27" h="30904">
                    <a:moveTo>
                      <a:pt x="24543" y="9199"/>
                    </a:moveTo>
                    <a:cubicBezTo>
                      <a:pt x="24543" y="8561"/>
                      <a:pt x="23904" y="7922"/>
                      <a:pt x="23904" y="7922"/>
                    </a:cubicBezTo>
                    <a:lnTo>
                      <a:pt x="23265" y="7284"/>
                    </a:lnTo>
                    <a:cubicBezTo>
                      <a:pt x="22627" y="6645"/>
                      <a:pt x="21988" y="6645"/>
                      <a:pt x="21348" y="6007"/>
                    </a:cubicBezTo>
                    <a:lnTo>
                      <a:pt x="9847" y="900"/>
                    </a:lnTo>
                    <a:cubicBezTo>
                      <a:pt x="6652" y="-1015"/>
                      <a:pt x="2818" y="261"/>
                      <a:pt x="901" y="3453"/>
                    </a:cubicBezTo>
                    <a:cubicBezTo>
                      <a:pt x="-1016" y="6645"/>
                      <a:pt x="262" y="10476"/>
                      <a:pt x="3457" y="12391"/>
                    </a:cubicBezTo>
                    <a:cubicBezTo>
                      <a:pt x="262" y="14306"/>
                      <a:pt x="-377" y="18137"/>
                      <a:pt x="1540" y="21329"/>
                    </a:cubicBezTo>
                    <a:cubicBezTo>
                      <a:pt x="2818" y="23244"/>
                      <a:pt x="4735" y="23882"/>
                      <a:pt x="6652" y="23882"/>
                    </a:cubicBezTo>
                    <a:cubicBezTo>
                      <a:pt x="7291" y="23882"/>
                      <a:pt x="8569" y="23882"/>
                      <a:pt x="9208" y="23244"/>
                    </a:cubicBezTo>
                    <a:lnTo>
                      <a:pt x="11764" y="21967"/>
                    </a:lnTo>
                    <a:lnTo>
                      <a:pt x="11764" y="24521"/>
                    </a:lnTo>
                    <a:cubicBezTo>
                      <a:pt x="11764" y="28351"/>
                      <a:pt x="14320" y="30905"/>
                      <a:pt x="18154" y="30905"/>
                    </a:cubicBezTo>
                    <a:cubicBezTo>
                      <a:pt x="21988" y="30905"/>
                      <a:pt x="24543" y="28351"/>
                      <a:pt x="24543" y="24521"/>
                    </a:cubicBezTo>
                    <a:lnTo>
                      <a:pt x="24543" y="11753"/>
                    </a:lnTo>
                    <a:cubicBezTo>
                      <a:pt x="25182" y="11114"/>
                      <a:pt x="24543" y="10476"/>
                      <a:pt x="24543" y="9199"/>
                    </a:cubicBezTo>
                    <a:lnTo>
                      <a:pt x="24543" y="9199"/>
                    </a:lnTo>
                    <a:close/>
                  </a:path>
                </a:pathLst>
              </a:custGeom>
              <a:grpFill/>
              <a:ln w="6390" cap="flat">
                <a:noFill/>
                <a:prstDash val="solid"/>
                <a:miter/>
              </a:ln>
            </p:spPr>
            <p:txBody>
              <a:bodyPr rtlCol="0" anchor="ctr"/>
              <a:lstStyle/>
              <a:p>
                <a:endParaRPr lang="en-AU" dirty="0">
                  <a:solidFill>
                    <a:srgbClr val="000000"/>
                  </a:solidFill>
                </a:endParaRPr>
              </a:p>
            </p:txBody>
          </p:sp>
        </p:grpSp>
      </p:grpSp>
      <p:grpSp>
        <p:nvGrpSpPr>
          <p:cNvPr id="88" name="Group 87">
            <a:extLst>
              <a:ext uri="{FF2B5EF4-FFF2-40B4-BE49-F238E27FC236}">
                <a16:creationId xmlns:a16="http://schemas.microsoft.com/office/drawing/2014/main" id="{109F36BF-8C98-2517-F40D-77187C14069E}"/>
              </a:ext>
            </a:extLst>
          </p:cNvPr>
          <p:cNvGrpSpPr/>
          <p:nvPr/>
        </p:nvGrpSpPr>
        <p:grpSpPr>
          <a:xfrm>
            <a:off x="8083609" y="3560310"/>
            <a:ext cx="3290400" cy="2914062"/>
            <a:chOff x="8204811" y="3560310"/>
            <a:chExt cx="3290400" cy="2618817"/>
          </a:xfrm>
        </p:grpSpPr>
        <p:sp>
          <p:nvSpPr>
            <p:cNvPr id="26" name="Rectangle 25">
              <a:extLst>
                <a:ext uri="{FF2B5EF4-FFF2-40B4-BE49-F238E27FC236}">
                  <a16:creationId xmlns:a16="http://schemas.microsoft.com/office/drawing/2014/main" id="{FD0FE5B0-DD1F-7B83-D133-08E14EDB8725}"/>
                </a:ext>
              </a:extLst>
            </p:cNvPr>
            <p:cNvSpPr/>
            <p:nvPr/>
          </p:nvSpPr>
          <p:spPr bwMode="gray">
            <a:xfrm>
              <a:off x="8204811" y="3560310"/>
              <a:ext cx="3290400" cy="261881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AU" dirty="0">
                <a:solidFill>
                  <a:srgbClr val="000000"/>
                </a:solidFill>
              </a:endParaRPr>
            </a:p>
          </p:txBody>
        </p:sp>
        <p:sp>
          <p:nvSpPr>
            <p:cNvPr id="27" name="TextBox 26">
              <a:extLst>
                <a:ext uri="{FF2B5EF4-FFF2-40B4-BE49-F238E27FC236}">
                  <a16:creationId xmlns:a16="http://schemas.microsoft.com/office/drawing/2014/main" id="{0AEC317C-C93C-266C-FDE4-4CFFD7F9E32C}"/>
                </a:ext>
              </a:extLst>
            </p:cNvPr>
            <p:cNvSpPr txBox="1"/>
            <p:nvPr/>
          </p:nvSpPr>
          <p:spPr>
            <a:xfrm>
              <a:off x="8462631" y="3637841"/>
              <a:ext cx="2966400" cy="2301335"/>
            </a:xfrm>
            <a:prstGeom prst="rect">
              <a:avLst/>
            </a:prstGeom>
            <a:noFill/>
          </p:spPr>
          <p:txBody>
            <a:bodyPr wrap="square" lIns="0" tIns="0" rIns="0" bIns="0" rtlCol="0">
              <a:noAutofit/>
            </a:bodyPr>
            <a:lstStyle/>
            <a:p>
              <a:pPr marL="57150">
                <a:spcAft>
                  <a:spcPts val="300"/>
                </a:spcAft>
              </a:pP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Track progress against goal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Maintain a network of internal transformation ambassador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Determine reporting guidelines and systems for monitoring and communicating progres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Provide periodic updates to the Executive Committee and board, including information about the status, progress, and quality of workstream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Establish and track transformation metrics and timeline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Manage and track the transformation budget</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Ensure that processes and work products adhere to quality standards, directly impacting the efficiency of workstream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Monitor action items throughout the entire transformation</a:t>
              </a:r>
            </a:p>
          </p:txBody>
        </p:sp>
        <p:grpSp>
          <p:nvGrpSpPr>
            <p:cNvPr id="65" name="Group 64">
              <a:extLst>
                <a:ext uri="{FF2B5EF4-FFF2-40B4-BE49-F238E27FC236}">
                  <a16:creationId xmlns:a16="http://schemas.microsoft.com/office/drawing/2014/main" id="{16C56A2B-7240-C9B0-68D6-898D5058D459}"/>
                </a:ext>
              </a:extLst>
            </p:cNvPr>
            <p:cNvGrpSpPr>
              <a:grpSpLocks noChangeAspect="1"/>
            </p:cNvGrpSpPr>
            <p:nvPr/>
          </p:nvGrpSpPr>
          <p:grpSpPr>
            <a:xfrm>
              <a:off x="8238834" y="3591038"/>
              <a:ext cx="252238" cy="252000"/>
              <a:chOff x="8042903" y="3854278"/>
              <a:chExt cx="361674" cy="361333"/>
            </a:xfrm>
            <a:solidFill>
              <a:schemeClr val="accent3"/>
            </a:solidFill>
          </p:grpSpPr>
          <p:sp>
            <p:nvSpPr>
              <p:cNvPr id="66" name="Graphic 4">
                <a:extLst>
                  <a:ext uri="{FF2B5EF4-FFF2-40B4-BE49-F238E27FC236}">
                    <a16:creationId xmlns:a16="http://schemas.microsoft.com/office/drawing/2014/main" id="{1D82AFD2-5304-842D-0853-D5FDE09212F8}"/>
                  </a:ext>
                </a:extLst>
              </p:cNvPr>
              <p:cNvSpPr/>
              <p:nvPr/>
            </p:nvSpPr>
            <p:spPr>
              <a:xfrm>
                <a:off x="8042903" y="3854278"/>
                <a:ext cx="361674" cy="361333"/>
              </a:xfrm>
              <a:custGeom>
                <a:avLst/>
                <a:gdLst>
                  <a:gd name="connsiteX0" fmla="*/ 180836 w 361674"/>
                  <a:gd name="connsiteY0" fmla="*/ 12130 h 361333"/>
                  <a:gd name="connsiteX1" fmla="*/ 12780 w 361674"/>
                  <a:gd name="connsiteY1" fmla="*/ 180028 h 361333"/>
                  <a:gd name="connsiteX2" fmla="*/ 180836 w 361674"/>
                  <a:gd name="connsiteY2" fmla="*/ 347927 h 361333"/>
                  <a:gd name="connsiteX3" fmla="*/ 348891 w 361674"/>
                  <a:gd name="connsiteY3" fmla="*/ 180028 h 361333"/>
                  <a:gd name="connsiteX4" fmla="*/ 180836 w 361674"/>
                  <a:gd name="connsiteY4" fmla="*/ 12130 h 361333"/>
                  <a:gd name="connsiteX5" fmla="*/ 180836 w 361674"/>
                  <a:gd name="connsiteY5" fmla="*/ 361333 h 361333"/>
                  <a:gd name="connsiteX6" fmla="*/ 0 w 361674"/>
                  <a:gd name="connsiteY6" fmla="*/ 180667 h 361333"/>
                  <a:gd name="connsiteX7" fmla="*/ 180836 w 361674"/>
                  <a:gd name="connsiteY7" fmla="*/ 0 h 361333"/>
                  <a:gd name="connsiteX8" fmla="*/ 361671 w 361674"/>
                  <a:gd name="connsiteY8" fmla="*/ 180667 h 361333"/>
                  <a:gd name="connsiteX9" fmla="*/ 180836 w 361674"/>
                  <a:gd name="connsiteY9" fmla="*/ 36133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12130"/>
                    </a:moveTo>
                    <a:cubicBezTo>
                      <a:pt x="88181" y="12130"/>
                      <a:pt x="12780" y="87461"/>
                      <a:pt x="12780" y="180028"/>
                    </a:cubicBezTo>
                    <a:cubicBezTo>
                      <a:pt x="12780" y="272596"/>
                      <a:pt x="88181" y="347927"/>
                      <a:pt x="180836" y="347927"/>
                    </a:cubicBezTo>
                    <a:cubicBezTo>
                      <a:pt x="273490" y="347927"/>
                      <a:pt x="348891" y="272596"/>
                      <a:pt x="348891" y="180028"/>
                    </a:cubicBezTo>
                    <a:cubicBezTo>
                      <a:pt x="349530" y="87461"/>
                      <a:pt x="274128" y="12130"/>
                      <a:pt x="180836" y="12130"/>
                    </a:cubicBezTo>
                    <a:moveTo>
                      <a:pt x="180836" y="361333"/>
                    </a:moveTo>
                    <a:cubicBezTo>
                      <a:pt x="81152" y="361333"/>
                      <a:pt x="0" y="280257"/>
                      <a:pt x="0" y="180667"/>
                    </a:cubicBezTo>
                    <a:cubicBezTo>
                      <a:pt x="0" y="81077"/>
                      <a:pt x="81152" y="0"/>
                      <a:pt x="180836" y="0"/>
                    </a:cubicBezTo>
                    <a:cubicBezTo>
                      <a:pt x="280518" y="0"/>
                      <a:pt x="361671" y="81077"/>
                      <a:pt x="361671" y="180667"/>
                    </a:cubicBezTo>
                    <a:cubicBezTo>
                      <a:pt x="362310" y="280257"/>
                      <a:pt x="281157" y="361333"/>
                      <a:pt x="180836" y="361333"/>
                    </a:cubicBezTo>
                  </a:path>
                </a:pathLst>
              </a:custGeom>
              <a:grpFill/>
              <a:ln w="6390" cap="flat">
                <a:noFill/>
                <a:prstDash val="solid"/>
                <a:miter/>
              </a:ln>
            </p:spPr>
            <p:txBody>
              <a:bodyPr rtlCol="0" anchor="ctr"/>
              <a:lstStyle/>
              <a:p>
                <a:endParaRPr lang="en-AU" dirty="0">
                  <a:solidFill>
                    <a:srgbClr val="000000"/>
                  </a:solidFill>
                </a:endParaRPr>
              </a:p>
            </p:txBody>
          </p:sp>
          <p:sp>
            <p:nvSpPr>
              <p:cNvPr id="67" name="Graphic 4">
                <a:extLst>
                  <a:ext uri="{FF2B5EF4-FFF2-40B4-BE49-F238E27FC236}">
                    <a16:creationId xmlns:a16="http://schemas.microsoft.com/office/drawing/2014/main" id="{08638732-3620-49FD-67B0-E670B8010F71}"/>
                  </a:ext>
                </a:extLst>
              </p:cNvPr>
              <p:cNvSpPr/>
              <p:nvPr/>
            </p:nvSpPr>
            <p:spPr>
              <a:xfrm>
                <a:off x="8144503" y="4045159"/>
                <a:ext cx="12779" cy="33196"/>
              </a:xfrm>
              <a:custGeom>
                <a:avLst/>
                <a:gdLst>
                  <a:gd name="connsiteX0" fmla="*/ 6390 w 12779"/>
                  <a:gd name="connsiteY0" fmla="*/ 33196 h 33196"/>
                  <a:gd name="connsiteX1" fmla="*/ 0 w 12779"/>
                  <a:gd name="connsiteY1" fmla="*/ 26812 h 33196"/>
                  <a:gd name="connsiteX2" fmla="*/ 0 w 12779"/>
                  <a:gd name="connsiteY2" fmla="*/ 6384 h 33196"/>
                  <a:gd name="connsiteX3" fmla="*/ 6390 w 12779"/>
                  <a:gd name="connsiteY3" fmla="*/ 0 h 33196"/>
                  <a:gd name="connsiteX4" fmla="*/ 12780 w 12779"/>
                  <a:gd name="connsiteY4" fmla="*/ 6384 h 33196"/>
                  <a:gd name="connsiteX5" fmla="*/ 12780 w 12779"/>
                  <a:gd name="connsiteY5" fmla="*/ 26812 h 33196"/>
                  <a:gd name="connsiteX6" fmla="*/ 6390 w 12779"/>
                  <a:gd name="connsiteY6" fmla="*/ 33196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3196">
                    <a:moveTo>
                      <a:pt x="6390" y="33196"/>
                    </a:moveTo>
                    <a:cubicBezTo>
                      <a:pt x="2556" y="33196"/>
                      <a:pt x="0" y="30643"/>
                      <a:pt x="0" y="26812"/>
                    </a:cubicBezTo>
                    <a:lnTo>
                      <a:pt x="0" y="6384"/>
                    </a:lnTo>
                    <a:cubicBezTo>
                      <a:pt x="0" y="2553"/>
                      <a:pt x="2556" y="0"/>
                      <a:pt x="6390" y="0"/>
                    </a:cubicBezTo>
                    <a:cubicBezTo>
                      <a:pt x="10224" y="0"/>
                      <a:pt x="12780" y="2553"/>
                      <a:pt x="12780" y="6384"/>
                    </a:cubicBezTo>
                    <a:lnTo>
                      <a:pt x="12780" y="26812"/>
                    </a:lnTo>
                    <a:cubicBezTo>
                      <a:pt x="12780" y="30004"/>
                      <a:pt x="10224" y="33196"/>
                      <a:pt x="6390" y="33196"/>
                    </a:cubicBezTo>
                  </a:path>
                </a:pathLst>
              </a:custGeom>
              <a:grpFill/>
              <a:ln w="6390" cap="flat">
                <a:noFill/>
                <a:prstDash val="solid"/>
                <a:miter/>
              </a:ln>
            </p:spPr>
            <p:txBody>
              <a:bodyPr rtlCol="0" anchor="ctr"/>
              <a:lstStyle/>
              <a:p>
                <a:endParaRPr lang="en-AU" dirty="0">
                  <a:solidFill>
                    <a:srgbClr val="000000"/>
                  </a:solidFill>
                </a:endParaRPr>
              </a:p>
            </p:txBody>
          </p:sp>
          <p:sp>
            <p:nvSpPr>
              <p:cNvPr id="68" name="Graphic 4">
                <a:extLst>
                  <a:ext uri="{FF2B5EF4-FFF2-40B4-BE49-F238E27FC236}">
                    <a16:creationId xmlns:a16="http://schemas.microsoft.com/office/drawing/2014/main" id="{881F9171-E84B-1B22-D26B-B6D54FC7931F}"/>
                  </a:ext>
                </a:extLst>
              </p:cNvPr>
              <p:cNvSpPr/>
              <p:nvPr/>
            </p:nvSpPr>
            <p:spPr>
              <a:xfrm>
                <a:off x="8110636" y="3944931"/>
                <a:ext cx="226842" cy="157045"/>
              </a:xfrm>
              <a:custGeom>
                <a:avLst/>
                <a:gdLst>
                  <a:gd name="connsiteX0" fmla="*/ 28755 w 226842"/>
                  <a:gd name="connsiteY0" fmla="*/ 13406 h 157045"/>
                  <a:gd name="connsiteX1" fmla="*/ 12780 w 226842"/>
                  <a:gd name="connsiteY1" fmla="*/ 29366 h 157045"/>
                  <a:gd name="connsiteX2" fmla="*/ 12780 w 226842"/>
                  <a:gd name="connsiteY2" fmla="*/ 128957 h 157045"/>
                  <a:gd name="connsiteX3" fmla="*/ 28755 w 226842"/>
                  <a:gd name="connsiteY3" fmla="*/ 144916 h 157045"/>
                  <a:gd name="connsiteX4" fmla="*/ 198088 w 226842"/>
                  <a:gd name="connsiteY4" fmla="*/ 144916 h 157045"/>
                  <a:gd name="connsiteX5" fmla="*/ 214063 w 226842"/>
                  <a:gd name="connsiteY5" fmla="*/ 128957 h 157045"/>
                  <a:gd name="connsiteX6" fmla="*/ 214063 w 226842"/>
                  <a:gd name="connsiteY6" fmla="*/ 29366 h 157045"/>
                  <a:gd name="connsiteX7" fmla="*/ 198088 w 226842"/>
                  <a:gd name="connsiteY7" fmla="*/ 13406 h 157045"/>
                  <a:gd name="connsiteX8" fmla="*/ 28755 w 226842"/>
                  <a:gd name="connsiteY8" fmla="*/ 13406 h 157045"/>
                  <a:gd name="connsiteX9" fmla="*/ 198088 w 226842"/>
                  <a:gd name="connsiteY9" fmla="*/ 157046 h 157045"/>
                  <a:gd name="connsiteX10" fmla="*/ 28755 w 226842"/>
                  <a:gd name="connsiteY10" fmla="*/ 157046 h 157045"/>
                  <a:gd name="connsiteX11" fmla="*/ 0 w 226842"/>
                  <a:gd name="connsiteY11" fmla="*/ 128318 h 157045"/>
                  <a:gd name="connsiteX12" fmla="*/ 0 w 226842"/>
                  <a:gd name="connsiteY12" fmla="*/ 28728 h 157045"/>
                  <a:gd name="connsiteX13" fmla="*/ 28755 w 226842"/>
                  <a:gd name="connsiteY13" fmla="*/ 0 h 157045"/>
                  <a:gd name="connsiteX14" fmla="*/ 198088 w 226842"/>
                  <a:gd name="connsiteY14" fmla="*/ 0 h 157045"/>
                  <a:gd name="connsiteX15" fmla="*/ 226843 w 226842"/>
                  <a:gd name="connsiteY15" fmla="*/ 28728 h 157045"/>
                  <a:gd name="connsiteX16" fmla="*/ 226843 w 226842"/>
                  <a:gd name="connsiteY16" fmla="*/ 128318 h 157045"/>
                  <a:gd name="connsiteX17" fmla="*/ 198088 w 226842"/>
                  <a:gd name="connsiteY17" fmla="*/ 157046 h 15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42" h="157045">
                    <a:moveTo>
                      <a:pt x="28755" y="13406"/>
                    </a:moveTo>
                    <a:cubicBezTo>
                      <a:pt x="19809" y="13406"/>
                      <a:pt x="12780" y="20429"/>
                      <a:pt x="12780" y="29366"/>
                    </a:cubicBezTo>
                    <a:lnTo>
                      <a:pt x="12780" y="128957"/>
                    </a:lnTo>
                    <a:cubicBezTo>
                      <a:pt x="12780" y="137256"/>
                      <a:pt x="19809" y="144916"/>
                      <a:pt x="28755" y="144916"/>
                    </a:cubicBezTo>
                    <a:lnTo>
                      <a:pt x="198088" y="144916"/>
                    </a:lnTo>
                    <a:cubicBezTo>
                      <a:pt x="207034" y="144916"/>
                      <a:pt x="214063" y="137894"/>
                      <a:pt x="214063" y="128957"/>
                    </a:cubicBezTo>
                    <a:lnTo>
                      <a:pt x="214063" y="29366"/>
                    </a:lnTo>
                    <a:cubicBezTo>
                      <a:pt x="214063" y="20429"/>
                      <a:pt x="207034" y="13406"/>
                      <a:pt x="198088" y="13406"/>
                    </a:cubicBezTo>
                    <a:lnTo>
                      <a:pt x="28755" y="13406"/>
                    </a:lnTo>
                    <a:close/>
                    <a:moveTo>
                      <a:pt x="198088" y="157046"/>
                    </a:moveTo>
                    <a:lnTo>
                      <a:pt x="28755" y="157046"/>
                    </a:lnTo>
                    <a:cubicBezTo>
                      <a:pt x="12780" y="157046"/>
                      <a:pt x="0" y="144278"/>
                      <a:pt x="0" y="128318"/>
                    </a:cubicBezTo>
                    <a:lnTo>
                      <a:pt x="0" y="28728"/>
                    </a:lnTo>
                    <a:cubicBezTo>
                      <a:pt x="0" y="12768"/>
                      <a:pt x="12780" y="0"/>
                      <a:pt x="28755" y="0"/>
                    </a:cubicBezTo>
                    <a:lnTo>
                      <a:pt x="198088" y="0"/>
                    </a:lnTo>
                    <a:cubicBezTo>
                      <a:pt x="214063" y="0"/>
                      <a:pt x="226843" y="12768"/>
                      <a:pt x="226843" y="28728"/>
                    </a:cubicBezTo>
                    <a:lnTo>
                      <a:pt x="226843" y="128318"/>
                    </a:lnTo>
                    <a:cubicBezTo>
                      <a:pt x="226843" y="144278"/>
                      <a:pt x="214063" y="157046"/>
                      <a:pt x="198088" y="157046"/>
                    </a:cubicBezTo>
                  </a:path>
                </a:pathLst>
              </a:custGeom>
              <a:grpFill/>
              <a:ln w="6390" cap="flat">
                <a:noFill/>
                <a:prstDash val="solid"/>
                <a:miter/>
              </a:ln>
            </p:spPr>
            <p:txBody>
              <a:bodyPr rtlCol="0" anchor="ctr"/>
              <a:lstStyle/>
              <a:p>
                <a:endParaRPr lang="en-AU" dirty="0">
                  <a:solidFill>
                    <a:srgbClr val="000000"/>
                  </a:solidFill>
                </a:endParaRPr>
              </a:p>
            </p:txBody>
          </p:sp>
          <p:sp>
            <p:nvSpPr>
              <p:cNvPr id="69" name="Graphic 4">
                <a:extLst>
                  <a:ext uri="{FF2B5EF4-FFF2-40B4-BE49-F238E27FC236}">
                    <a16:creationId xmlns:a16="http://schemas.microsoft.com/office/drawing/2014/main" id="{0EE783A2-E53C-1407-7EB5-97EC07901A8B}"/>
                  </a:ext>
                </a:extLst>
              </p:cNvPr>
              <p:cNvSpPr/>
              <p:nvPr/>
            </p:nvSpPr>
            <p:spPr>
              <a:xfrm>
                <a:off x="8259522" y="4018346"/>
                <a:ext cx="12779" cy="61924"/>
              </a:xfrm>
              <a:custGeom>
                <a:avLst/>
                <a:gdLst>
                  <a:gd name="connsiteX0" fmla="*/ 6390 w 12779"/>
                  <a:gd name="connsiteY0" fmla="*/ 61925 h 61924"/>
                  <a:gd name="connsiteX1" fmla="*/ 0 w 12779"/>
                  <a:gd name="connsiteY1" fmla="*/ 55541 h 61924"/>
                  <a:gd name="connsiteX2" fmla="*/ 0 w 12779"/>
                  <a:gd name="connsiteY2" fmla="*/ 6384 h 61924"/>
                  <a:gd name="connsiteX3" fmla="*/ 6390 w 12779"/>
                  <a:gd name="connsiteY3" fmla="*/ 0 h 61924"/>
                  <a:gd name="connsiteX4" fmla="*/ 12780 w 12779"/>
                  <a:gd name="connsiteY4" fmla="*/ 6384 h 61924"/>
                  <a:gd name="connsiteX5" fmla="*/ 1278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2556" y="61925"/>
                      <a:pt x="0" y="59371"/>
                      <a:pt x="0" y="55541"/>
                    </a:cubicBezTo>
                    <a:lnTo>
                      <a:pt x="0" y="6384"/>
                    </a:lnTo>
                    <a:cubicBezTo>
                      <a:pt x="0" y="2553"/>
                      <a:pt x="2556" y="0"/>
                      <a:pt x="6390" y="0"/>
                    </a:cubicBezTo>
                    <a:cubicBezTo>
                      <a:pt x="10224" y="0"/>
                      <a:pt x="12780" y="2553"/>
                      <a:pt x="12780" y="6384"/>
                    </a:cubicBezTo>
                    <a:lnTo>
                      <a:pt x="12780" y="55541"/>
                    </a:lnTo>
                    <a:cubicBezTo>
                      <a:pt x="12780" y="59371"/>
                      <a:pt x="9585" y="61925"/>
                      <a:pt x="6390" y="61925"/>
                    </a:cubicBezTo>
                  </a:path>
                </a:pathLst>
              </a:custGeom>
              <a:grpFill/>
              <a:ln w="6390" cap="flat">
                <a:noFill/>
                <a:prstDash val="solid"/>
                <a:miter/>
              </a:ln>
            </p:spPr>
            <p:txBody>
              <a:bodyPr rtlCol="0" anchor="ctr"/>
              <a:lstStyle/>
              <a:p>
                <a:endParaRPr lang="en-AU" dirty="0">
                  <a:solidFill>
                    <a:srgbClr val="000000"/>
                  </a:solidFill>
                </a:endParaRPr>
              </a:p>
            </p:txBody>
          </p:sp>
          <p:sp>
            <p:nvSpPr>
              <p:cNvPr id="70" name="Graphic 4">
                <a:extLst>
                  <a:ext uri="{FF2B5EF4-FFF2-40B4-BE49-F238E27FC236}">
                    <a16:creationId xmlns:a16="http://schemas.microsoft.com/office/drawing/2014/main" id="{E4790AC0-B9E2-019C-4460-3C0B5E99C5F8}"/>
                  </a:ext>
                </a:extLst>
              </p:cNvPr>
              <p:cNvSpPr/>
              <p:nvPr/>
            </p:nvSpPr>
            <p:spPr>
              <a:xfrm>
                <a:off x="8288277" y="4004301"/>
                <a:ext cx="12779" cy="75969"/>
              </a:xfrm>
              <a:custGeom>
                <a:avLst/>
                <a:gdLst>
                  <a:gd name="connsiteX0" fmla="*/ 6390 w 12779"/>
                  <a:gd name="connsiteY0" fmla="*/ 75970 h 75969"/>
                  <a:gd name="connsiteX1" fmla="*/ 0 w 12779"/>
                  <a:gd name="connsiteY1" fmla="*/ 69586 h 75969"/>
                  <a:gd name="connsiteX2" fmla="*/ 0 w 12779"/>
                  <a:gd name="connsiteY2" fmla="*/ 6384 h 75969"/>
                  <a:gd name="connsiteX3" fmla="*/ 6390 w 12779"/>
                  <a:gd name="connsiteY3" fmla="*/ 0 h 75969"/>
                  <a:gd name="connsiteX4" fmla="*/ 12780 w 12779"/>
                  <a:gd name="connsiteY4" fmla="*/ 6384 h 75969"/>
                  <a:gd name="connsiteX5" fmla="*/ 12780 w 12779"/>
                  <a:gd name="connsiteY5" fmla="*/ 69586 h 75969"/>
                  <a:gd name="connsiteX6" fmla="*/ 6390 w 12779"/>
                  <a:gd name="connsiteY6" fmla="*/ 7597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5969">
                    <a:moveTo>
                      <a:pt x="6390" y="75970"/>
                    </a:moveTo>
                    <a:cubicBezTo>
                      <a:pt x="2556" y="75970"/>
                      <a:pt x="0" y="73416"/>
                      <a:pt x="0" y="69586"/>
                    </a:cubicBezTo>
                    <a:lnTo>
                      <a:pt x="0" y="6384"/>
                    </a:lnTo>
                    <a:cubicBezTo>
                      <a:pt x="0" y="2554"/>
                      <a:pt x="2556" y="0"/>
                      <a:pt x="6390" y="0"/>
                    </a:cubicBezTo>
                    <a:cubicBezTo>
                      <a:pt x="10224" y="0"/>
                      <a:pt x="12780" y="2554"/>
                      <a:pt x="12780" y="6384"/>
                    </a:cubicBezTo>
                    <a:lnTo>
                      <a:pt x="12780" y="69586"/>
                    </a:lnTo>
                    <a:cubicBezTo>
                      <a:pt x="12780" y="73416"/>
                      <a:pt x="9585" y="75970"/>
                      <a:pt x="6390" y="75970"/>
                    </a:cubicBezTo>
                  </a:path>
                </a:pathLst>
              </a:custGeom>
              <a:grpFill/>
              <a:ln w="6390" cap="flat">
                <a:noFill/>
                <a:prstDash val="solid"/>
                <a:miter/>
              </a:ln>
            </p:spPr>
            <p:txBody>
              <a:bodyPr rtlCol="0" anchor="ctr"/>
              <a:lstStyle/>
              <a:p>
                <a:endParaRPr lang="en-AU" dirty="0">
                  <a:solidFill>
                    <a:srgbClr val="000000"/>
                  </a:solidFill>
                </a:endParaRPr>
              </a:p>
            </p:txBody>
          </p:sp>
          <p:sp>
            <p:nvSpPr>
              <p:cNvPr id="71" name="Graphic 4">
                <a:extLst>
                  <a:ext uri="{FF2B5EF4-FFF2-40B4-BE49-F238E27FC236}">
                    <a16:creationId xmlns:a16="http://schemas.microsoft.com/office/drawing/2014/main" id="{BF823F04-222C-4898-CFAD-A6042D365CE9}"/>
                  </a:ext>
                </a:extLst>
              </p:cNvPr>
              <p:cNvSpPr/>
              <p:nvPr/>
            </p:nvSpPr>
            <p:spPr>
              <a:xfrm>
                <a:off x="8230767" y="4032391"/>
                <a:ext cx="12779" cy="47879"/>
              </a:xfrm>
              <a:custGeom>
                <a:avLst/>
                <a:gdLst>
                  <a:gd name="connsiteX0" fmla="*/ 6390 w 12779"/>
                  <a:gd name="connsiteY0" fmla="*/ 47880 h 47879"/>
                  <a:gd name="connsiteX1" fmla="*/ 0 w 12779"/>
                  <a:gd name="connsiteY1" fmla="*/ 41496 h 47879"/>
                  <a:gd name="connsiteX2" fmla="*/ 0 w 12779"/>
                  <a:gd name="connsiteY2" fmla="*/ 6384 h 47879"/>
                  <a:gd name="connsiteX3" fmla="*/ 6390 w 12779"/>
                  <a:gd name="connsiteY3" fmla="*/ 0 h 47879"/>
                  <a:gd name="connsiteX4" fmla="*/ 12780 w 12779"/>
                  <a:gd name="connsiteY4" fmla="*/ 6384 h 47879"/>
                  <a:gd name="connsiteX5" fmla="*/ 12780 w 12779"/>
                  <a:gd name="connsiteY5" fmla="*/ 41496 h 47879"/>
                  <a:gd name="connsiteX6" fmla="*/ 6390 w 12779"/>
                  <a:gd name="connsiteY6"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7879">
                    <a:moveTo>
                      <a:pt x="6390" y="47880"/>
                    </a:moveTo>
                    <a:cubicBezTo>
                      <a:pt x="2556" y="47880"/>
                      <a:pt x="0" y="45326"/>
                      <a:pt x="0" y="41496"/>
                    </a:cubicBezTo>
                    <a:lnTo>
                      <a:pt x="0" y="6384"/>
                    </a:lnTo>
                    <a:cubicBezTo>
                      <a:pt x="0" y="2553"/>
                      <a:pt x="2556" y="0"/>
                      <a:pt x="6390" y="0"/>
                    </a:cubicBezTo>
                    <a:cubicBezTo>
                      <a:pt x="10224" y="0"/>
                      <a:pt x="12780" y="2553"/>
                      <a:pt x="12780" y="6384"/>
                    </a:cubicBezTo>
                    <a:lnTo>
                      <a:pt x="12780" y="41496"/>
                    </a:lnTo>
                    <a:cubicBezTo>
                      <a:pt x="12780" y="45326"/>
                      <a:pt x="10224" y="47880"/>
                      <a:pt x="6390" y="47880"/>
                    </a:cubicBezTo>
                  </a:path>
                </a:pathLst>
              </a:custGeom>
              <a:grpFill/>
              <a:ln w="6390" cap="flat">
                <a:noFill/>
                <a:prstDash val="solid"/>
                <a:miter/>
              </a:ln>
            </p:spPr>
            <p:txBody>
              <a:bodyPr rtlCol="0" anchor="ctr"/>
              <a:lstStyle/>
              <a:p>
                <a:endParaRPr lang="en-AU" dirty="0">
                  <a:solidFill>
                    <a:srgbClr val="000000"/>
                  </a:solidFill>
                </a:endParaRPr>
              </a:p>
            </p:txBody>
          </p:sp>
          <p:sp>
            <p:nvSpPr>
              <p:cNvPr id="72" name="Graphic 4">
                <a:extLst>
                  <a:ext uri="{FF2B5EF4-FFF2-40B4-BE49-F238E27FC236}">
                    <a16:creationId xmlns:a16="http://schemas.microsoft.com/office/drawing/2014/main" id="{C08A2E8A-3180-360A-987A-4A15E555828E}"/>
                  </a:ext>
                </a:extLst>
              </p:cNvPr>
              <p:cNvSpPr/>
              <p:nvPr/>
            </p:nvSpPr>
            <p:spPr>
              <a:xfrm>
                <a:off x="8202012" y="4019623"/>
                <a:ext cx="12779" cy="60647"/>
              </a:xfrm>
              <a:custGeom>
                <a:avLst/>
                <a:gdLst>
                  <a:gd name="connsiteX0" fmla="*/ 6390 w 12779"/>
                  <a:gd name="connsiteY0" fmla="*/ 60648 h 60647"/>
                  <a:gd name="connsiteX1" fmla="*/ 0 w 12779"/>
                  <a:gd name="connsiteY1" fmla="*/ 54264 h 60647"/>
                  <a:gd name="connsiteX2" fmla="*/ 0 w 12779"/>
                  <a:gd name="connsiteY2" fmla="*/ 6384 h 60647"/>
                  <a:gd name="connsiteX3" fmla="*/ 6390 w 12779"/>
                  <a:gd name="connsiteY3" fmla="*/ 0 h 60647"/>
                  <a:gd name="connsiteX4" fmla="*/ 12780 w 12779"/>
                  <a:gd name="connsiteY4" fmla="*/ 6384 h 60647"/>
                  <a:gd name="connsiteX5" fmla="*/ 12780 w 12779"/>
                  <a:gd name="connsiteY5" fmla="*/ 54264 h 60647"/>
                  <a:gd name="connsiteX6" fmla="*/ 6390 w 12779"/>
                  <a:gd name="connsiteY6" fmla="*/ 60648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0647">
                    <a:moveTo>
                      <a:pt x="6390" y="60648"/>
                    </a:moveTo>
                    <a:cubicBezTo>
                      <a:pt x="2556" y="60648"/>
                      <a:pt x="0" y="58094"/>
                      <a:pt x="0" y="54264"/>
                    </a:cubicBezTo>
                    <a:lnTo>
                      <a:pt x="0" y="6384"/>
                    </a:lnTo>
                    <a:cubicBezTo>
                      <a:pt x="0" y="2553"/>
                      <a:pt x="2556" y="0"/>
                      <a:pt x="6390" y="0"/>
                    </a:cubicBezTo>
                    <a:cubicBezTo>
                      <a:pt x="10224" y="0"/>
                      <a:pt x="12780" y="2553"/>
                      <a:pt x="12780" y="6384"/>
                    </a:cubicBezTo>
                    <a:lnTo>
                      <a:pt x="12780" y="54264"/>
                    </a:lnTo>
                    <a:cubicBezTo>
                      <a:pt x="12780" y="58094"/>
                      <a:pt x="10224" y="60648"/>
                      <a:pt x="6390" y="60648"/>
                    </a:cubicBezTo>
                  </a:path>
                </a:pathLst>
              </a:custGeom>
              <a:grpFill/>
              <a:ln w="6390" cap="flat">
                <a:noFill/>
                <a:prstDash val="solid"/>
                <a:miter/>
              </a:ln>
            </p:spPr>
            <p:txBody>
              <a:bodyPr rtlCol="0" anchor="ctr"/>
              <a:lstStyle/>
              <a:p>
                <a:endParaRPr lang="en-AU" dirty="0">
                  <a:solidFill>
                    <a:srgbClr val="000000"/>
                  </a:solidFill>
                </a:endParaRPr>
              </a:p>
            </p:txBody>
          </p:sp>
          <p:sp>
            <p:nvSpPr>
              <p:cNvPr id="73" name="Graphic 4">
                <a:extLst>
                  <a:ext uri="{FF2B5EF4-FFF2-40B4-BE49-F238E27FC236}">
                    <a16:creationId xmlns:a16="http://schemas.microsoft.com/office/drawing/2014/main" id="{074CDA60-20FE-CAE3-C0BF-ADD3B75F1FA1}"/>
                  </a:ext>
                </a:extLst>
              </p:cNvPr>
              <p:cNvSpPr/>
              <p:nvPr/>
            </p:nvSpPr>
            <p:spPr>
              <a:xfrm>
                <a:off x="8173258" y="4036860"/>
                <a:ext cx="12779" cy="43411"/>
              </a:xfrm>
              <a:custGeom>
                <a:avLst/>
                <a:gdLst>
                  <a:gd name="connsiteX0" fmla="*/ 6390 w 12779"/>
                  <a:gd name="connsiteY0" fmla="*/ 43411 h 43411"/>
                  <a:gd name="connsiteX1" fmla="*/ 0 w 12779"/>
                  <a:gd name="connsiteY1" fmla="*/ 37027 h 43411"/>
                  <a:gd name="connsiteX2" fmla="*/ 0 w 12779"/>
                  <a:gd name="connsiteY2" fmla="*/ 6384 h 43411"/>
                  <a:gd name="connsiteX3" fmla="*/ 6390 w 12779"/>
                  <a:gd name="connsiteY3" fmla="*/ 0 h 43411"/>
                  <a:gd name="connsiteX4" fmla="*/ 12780 w 12779"/>
                  <a:gd name="connsiteY4" fmla="*/ 6384 h 43411"/>
                  <a:gd name="connsiteX5" fmla="*/ 12780 w 12779"/>
                  <a:gd name="connsiteY5" fmla="*/ 37027 h 43411"/>
                  <a:gd name="connsiteX6" fmla="*/ 6390 w 12779"/>
                  <a:gd name="connsiteY6" fmla="*/ 4341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3411">
                    <a:moveTo>
                      <a:pt x="6390" y="43411"/>
                    </a:moveTo>
                    <a:cubicBezTo>
                      <a:pt x="2556" y="43411"/>
                      <a:pt x="0" y="40858"/>
                      <a:pt x="0" y="37027"/>
                    </a:cubicBezTo>
                    <a:lnTo>
                      <a:pt x="0" y="6384"/>
                    </a:lnTo>
                    <a:cubicBezTo>
                      <a:pt x="0" y="2554"/>
                      <a:pt x="2556" y="0"/>
                      <a:pt x="6390" y="0"/>
                    </a:cubicBezTo>
                    <a:cubicBezTo>
                      <a:pt x="10224" y="0"/>
                      <a:pt x="12780" y="2554"/>
                      <a:pt x="12780" y="6384"/>
                    </a:cubicBezTo>
                    <a:lnTo>
                      <a:pt x="12780" y="37027"/>
                    </a:lnTo>
                    <a:cubicBezTo>
                      <a:pt x="12780" y="40858"/>
                      <a:pt x="10224" y="43411"/>
                      <a:pt x="6390" y="43411"/>
                    </a:cubicBezTo>
                  </a:path>
                </a:pathLst>
              </a:custGeom>
              <a:grpFill/>
              <a:ln w="6390" cap="flat">
                <a:noFill/>
                <a:prstDash val="solid"/>
                <a:miter/>
              </a:ln>
            </p:spPr>
            <p:txBody>
              <a:bodyPr rtlCol="0" anchor="ctr"/>
              <a:lstStyle/>
              <a:p>
                <a:endParaRPr lang="en-AU" dirty="0">
                  <a:solidFill>
                    <a:srgbClr val="000000"/>
                  </a:solidFill>
                </a:endParaRPr>
              </a:p>
            </p:txBody>
          </p:sp>
          <p:sp>
            <p:nvSpPr>
              <p:cNvPr id="74" name="Graphic 4">
                <a:extLst>
                  <a:ext uri="{FF2B5EF4-FFF2-40B4-BE49-F238E27FC236}">
                    <a16:creationId xmlns:a16="http://schemas.microsoft.com/office/drawing/2014/main" id="{EE7480A4-E5EA-10B8-DE55-6827A6C55314}"/>
                  </a:ext>
                </a:extLst>
              </p:cNvPr>
              <p:cNvSpPr/>
              <p:nvPr/>
            </p:nvSpPr>
            <p:spPr>
              <a:xfrm>
                <a:off x="8144503" y="4110914"/>
                <a:ext cx="159109" cy="12767"/>
              </a:xfrm>
              <a:custGeom>
                <a:avLst/>
                <a:gdLst>
                  <a:gd name="connsiteX0" fmla="*/ 152720 w 159109"/>
                  <a:gd name="connsiteY0" fmla="*/ 12768 h 12767"/>
                  <a:gd name="connsiteX1" fmla="*/ 6390 w 159109"/>
                  <a:gd name="connsiteY1" fmla="*/ 12768 h 12767"/>
                  <a:gd name="connsiteX2" fmla="*/ 0 w 159109"/>
                  <a:gd name="connsiteY2" fmla="*/ 6384 h 12767"/>
                  <a:gd name="connsiteX3" fmla="*/ 6390 w 159109"/>
                  <a:gd name="connsiteY3" fmla="*/ 0 h 12767"/>
                  <a:gd name="connsiteX4" fmla="*/ 152720 w 159109"/>
                  <a:gd name="connsiteY4" fmla="*/ 0 h 12767"/>
                  <a:gd name="connsiteX5" fmla="*/ 159110 w 159109"/>
                  <a:gd name="connsiteY5" fmla="*/ 6384 h 12767"/>
                  <a:gd name="connsiteX6" fmla="*/ 152720 w 159109"/>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109" h="12767">
                    <a:moveTo>
                      <a:pt x="152720" y="12768"/>
                    </a:moveTo>
                    <a:lnTo>
                      <a:pt x="6390" y="12768"/>
                    </a:lnTo>
                    <a:cubicBezTo>
                      <a:pt x="2556" y="12768"/>
                      <a:pt x="0" y="10214"/>
                      <a:pt x="0" y="6384"/>
                    </a:cubicBezTo>
                    <a:cubicBezTo>
                      <a:pt x="0" y="2553"/>
                      <a:pt x="2556" y="0"/>
                      <a:pt x="6390" y="0"/>
                    </a:cubicBezTo>
                    <a:lnTo>
                      <a:pt x="152720" y="0"/>
                    </a:lnTo>
                    <a:cubicBezTo>
                      <a:pt x="156553" y="0"/>
                      <a:pt x="159110" y="2553"/>
                      <a:pt x="159110" y="6384"/>
                    </a:cubicBezTo>
                    <a:cubicBezTo>
                      <a:pt x="159110" y="10214"/>
                      <a:pt x="156553" y="12768"/>
                      <a:pt x="152720" y="12768"/>
                    </a:cubicBezTo>
                  </a:path>
                </a:pathLst>
              </a:custGeom>
              <a:grpFill/>
              <a:ln w="6390" cap="flat">
                <a:noFill/>
                <a:prstDash val="solid"/>
                <a:miter/>
              </a:ln>
            </p:spPr>
            <p:txBody>
              <a:bodyPr rtlCol="0" anchor="ctr"/>
              <a:lstStyle/>
              <a:p>
                <a:endParaRPr lang="en-AU" dirty="0">
                  <a:solidFill>
                    <a:srgbClr val="000000"/>
                  </a:solidFill>
                </a:endParaRPr>
              </a:p>
            </p:txBody>
          </p:sp>
        </p:grpSp>
      </p:grpSp>
      <p:grpSp>
        <p:nvGrpSpPr>
          <p:cNvPr id="87" name="Group 86">
            <a:extLst>
              <a:ext uri="{FF2B5EF4-FFF2-40B4-BE49-F238E27FC236}">
                <a16:creationId xmlns:a16="http://schemas.microsoft.com/office/drawing/2014/main" id="{4901A0E4-9279-0F83-55DE-4032FD96896F}"/>
              </a:ext>
            </a:extLst>
          </p:cNvPr>
          <p:cNvGrpSpPr/>
          <p:nvPr/>
        </p:nvGrpSpPr>
        <p:grpSpPr>
          <a:xfrm>
            <a:off x="4366571" y="3561078"/>
            <a:ext cx="3290400" cy="2913199"/>
            <a:chOff x="4480294" y="3561079"/>
            <a:chExt cx="3290400" cy="2618041"/>
          </a:xfrm>
        </p:grpSpPr>
        <p:sp>
          <p:nvSpPr>
            <p:cNvPr id="24" name="Rectangle 23">
              <a:extLst>
                <a:ext uri="{FF2B5EF4-FFF2-40B4-BE49-F238E27FC236}">
                  <a16:creationId xmlns:a16="http://schemas.microsoft.com/office/drawing/2014/main" id="{E29F67F5-70E9-D6FD-A092-304182152724}"/>
                </a:ext>
              </a:extLst>
            </p:cNvPr>
            <p:cNvSpPr/>
            <p:nvPr/>
          </p:nvSpPr>
          <p:spPr bwMode="gray">
            <a:xfrm>
              <a:off x="4480294" y="3561079"/>
              <a:ext cx="3290400" cy="2618041"/>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AU" dirty="0">
                <a:solidFill>
                  <a:srgbClr val="000000"/>
                </a:solidFill>
              </a:endParaRPr>
            </a:p>
          </p:txBody>
        </p:sp>
        <p:sp>
          <p:nvSpPr>
            <p:cNvPr id="25" name="TextBox 24">
              <a:extLst>
                <a:ext uri="{FF2B5EF4-FFF2-40B4-BE49-F238E27FC236}">
                  <a16:creationId xmlns:a16="http://schemas.microsoft.com/office/drawing/2014/main" id="{3F23899C-DC8B-A115-8CC2-E4390D4A106E}"/>
                </a:ext>
              </a:extLst>
            </p:cNvPr>
            <p:cNvSpPr txBox="1"/>
            <p:nvPr/>
          </p:nvSpPr>
          <p:spPr>
            <a:xfrm>
              <a:off x="4759052" y="3637631"/>
              <a:ext cx="2966400" cy="2416449"/>
            </a:xfrm>
            <a:prstGeom prst="rect">
              <a:avLst/>
            </a:prstGeom>
            <a:noFill/>
          </p:spPr>
          <p:txBody>
            <a:bodyPr wrap="square" lIns="0" tIns="0" rIns="0" bIns="0" rtlCol="0" anchor="t">
              <a:noAutofit/>
            </a:bodyPr>
            <a:lstStyle/>
            <a:p>
              <a:pPr marL="57150">
                <a:spcAft>
                  <a:spcPts val="300"/>
                </a:spcAft>
              </a:pP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Orchestrate across multiple intersecting threads of work:</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Document the activities for developing, analyzing, and finalizing the project requirements</a:t>
              </a:r>
            </a:p>
            <a:p>
              <a:pPr marL="180975" indent="-123825">
                <a:spcAft>
                  <a:spcPts val="300"/>
                </a:spcAft>
                <a:buFont typeface="Arial" panose="020B0604020202020204" pitchFamily="34" charset="0"/>
                <a:buChar char="•"/>
              </a:pPr>
              <a:r>
                <a:rPr lang="en-AU" sz="900" dirty="0">
                  <a:solidFill>
                    <a:srgbClr val="000000"/>
                  </a:solidFill>
                  <a:latin typeface="Open Sans"/>
                  <a:ea typeface="Open Sans"/>
                  <a:cs typeface="Open Sans"/>
                </a:rPr>
                <a:t>Maintain a repository of deliverables, decisions, and assets to manage and monitor the written work products, manage authorization and confidential information</a:t>
              </a:r>
              <a:endPar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Manage “transformation zone” investment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Coordinate across workstreams and external partners to ensure transparency</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Ensure dynamic scoping and resource reallocation</a:t>
              </a:r>
            </a:p>
            <a:p>
              <a:pPr marL="180975" indent="-123825">
                <a:spcAft>
                  <a:spcPts val="300"/>
                </a:spcAft>
                <a:buFont typeface="Arial" panose="020B0604020202020204" pitchFamily="34" charset="0"/>
                <a:buChar char="•"/>
              </a:pPr>
              <a:r>
                <a:rPr lang="en-AU" sz="900" dirty="0">
                  <a:solidFill>
                    <a:srgbClr val="000000"/>
                  </a:solidFill>
                  <a:latin typeface="Open Sans"/>
                  <a:ea typeface="Open Sans"/>
                  <a:cs typeface="Open Sans"/>
                </a:rPr>
                <a:t>Identify, analyse, and manage risks and issues  to proactively prevent for what could go wrong</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Define reporting/advisory relationships and escalation processes</a:t>
              </a:r>
            </a:p>
            <a:p>
              <a:pPr marL="180975" indent="-123825">
                <a:spcAft>
                  <a:spcPts val="300"/>
                </a:spcAft>
                <a:buFont typeface="Arial" panose="020B0604020202020204" pitchFamily="34" charset="0"/>
                <a:buChar char="•"/>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Address escalations and resolve conflicts</a:t>
              </a:r>
            </a:p>
          </p:txBody>
        </p:sp>
        <p:grpSp>
          <p:nvGrpSpPr>
            <p:cNvPr id="75" name="Graphic 4">
              <a:extLst>
                <a:ext uri="{FF2B5EF4-FFF2-40B4-BE49-F238E27FC236}">
                  <a16:creationId xmlns:a16="http://schemas.microsoft.com/office/drawing/2014/main" id="{2ED1E200-D2DA-BF29-9E3F-67F8CFABDEE3}"/>
                </a:ext>
              </a:extLst>
            </p:cNvPr>
            <p:cNvGrpSpPr>
              <a:grpSpLocks noChangeAspect="1"/>
            </p:cNvGrpSpPr>
            <p:nvPr/>
          </p:nvGrpSpPr>
          <p:grpSpPr>
            <a:xfrm>
              <a:off x="4498356" y="3595071"/>
              <a:ext cx="252238" cy="252000"/>
              <a:chOff x="4661459" y="918179"/>
              <a:chExt cx="361674" cy="361333"/>
            </a:xfrm>
            <a:solidFill>
              <a:schemeClr val="accent2"/>
            </a:solidFill>
          </p:grpSpPr>
          <p:sp>
            <p:nvSpPr>
              <p:cNvPr id="76" name="Graphic 4">
                <a:extLst>
                  <a:ext uri="{FF2B5EF4-FFF2-40B4-BE49-F238E27FC236}">
                    <a16:creationId xmlns:a16="http://schemas.microsoft.com/office/drawing/2014/main" id="{DF004403-E142-EDBF-3C4C-6FE1C19987FD}"/>
                  </a:ext>
                </a:extLst>
              </p:cNvPr>
              <p:cNvSpPr/>
              <p:nvPr/>
            </p:nvSpPr>
            <p:spPr>
              <a:xfrm>
                <a:off x="4661459"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180835 w 361674"/>
                  <a:gd name="connsiteY5" fmla="*/ 349204 h 361333"/>
                  <a:gd name="connsiteX6" fmla="*/ 12780 w 361674"/>
                  <a:gd name="connsiteY6" fmla="*/ 181305 h 361333"/>
                  <a:gd name="connsiteX7" fmla="*/ 180835 w 361674"/>
                  <a:gd name="connsiteY7" fmla="*/ 13406 h 361333"/>
                  <a:gd name="connsiteX8" fmla="*/ 348890 w 361674"/>
                  <a:gd name="connsiteY8" fmla="*/ 181305 h 361333"/>
                  <a:gd name="connsiteX9" fmla="*/ 180835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873"/>
                      <a:pt x="273489" y="349204"/>
                      <a:pt x="180835" y="349204"/>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77" name="Graphic 4">
                <a:extLst>
                  <a:ext uri="{FF2B5EF4-FFF2-40B4-BE49-F238E27FC236}">
                    <a16:creationId xmlns:a16="http://schemas.microsoft.com/office/drawing/2014/main" id="{B3FFBA2E-B931-6ACD-50D4-403BB153EFE7}"/>
                  </a:ext>
                </a:extLst>
              </p:cNvPr>
              <p:cNvSpPr/>
              <p:nvPr/>
            </p:nvSpPr>
            <p:spPr>
              <a:xfrm>
                <a:off x="4746445" y="988403"/>
                <a:ext cx="58787" cy="22088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78" name="Graphic 4">
                <a:extLst>
                  <a:ext uri="{FF2B5EF4-FFF2-40B4-BE49-F238E27FC236}">
                    <a16:creationId xmlns:a16="http://schemas.microsoft.com/office/drawing/2014/main" id="{E133F7EE-E195-8972-71C8-5F29FF061D0B}"/>
                  </a:ext>
                </a:extLst>
              </p:cNvPr>
              <p:cNvSpPr/>
              <p:nvPr/>
            </p:nvSpPr>
            <p:spPr>
              <a:xfrm>
                <a:off x="4879355" y="988403"/>
                <a:ext cx="58787" cy="22088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AU" dirty="0">
                  <a:solidFill>
                    <a:srgbClr val="000000"/>
                  </a:solidFill>
                </a:endParaRPr>
              </a:p>
            </p:txBody>
          </p:sp>
          <p:sp>
            <p:nvSpPr>
              <p:cNvPr id="79" name="Graphic 4">
                <a:extLst>
                  <a:ext uri="{FF2B5EF4-FFF2-40B4-BE49-F238E27FC236}">
                    <a16:creationId xmlns:a16="http://schemas.microsoft.com/office/drawing/2014/main" id="{339C71FB-0A07-1F85-DDC2-E3A1CDAA5C02}"/>
                  </a:ext>
                </a:extLst>
              </p:cNvPr>
              <p:cNvSpPr/>
              <p:nvPr/>
            </p:nvSpPr>
            <p:spPr>
              <a:xfrm>
                <a:off x="4812900" y="988403"/>
                <a:ext cx="58787" cy="22088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AU" dirty="0">
                  <a:solidFill>
                    <a:srgbClr val="000000"/>
                  </a:solidFill>
                </a:endParaRPr>
              </a:p>
            </p:txBody>
          </p:sp>
        </p:grpSp>
      </p:grpSp>
      <p:grpSp>
        <p:nvGrpSpPr>
          <p:cNvPr id="80" name="Group 79">
            <a:extLst>
              <a:ext uri="{FF2B5EF4-FFF2-40B4-BE49-F238E27FC236}">
                <a16:creationId xmlns:a16="http://schemas.microsoft.com/office/drawing/2014/main" id="{72B7227F-A50F-BA36-8E60-0B6A1120603D}"/>
              </a:ext>
            </a:extLst>
          </p:cNvPr>
          <p:cNvGrpSpPr/>
          <p:nvPr/>
        </p:nvGrpSpPr>
        <p:grpSpPr>
          <a:xfrm>
            <a:off x="9692809" y="2306515"/>
            <a:ext cx="72000" cy="1253795"/>
            <a:chOff x="2302734" y="2170183"/>
            <a:chExt cx="72000" cy="1253795"/>
          </a:xfrm>
        </p:grpSpPr>
        <p:cxnSp>
          <p:nvCxnSpPr>
            <p:cNvPr id="81" name="Straight Connector 80">
              <a:extLst>
                <a:ext uri="{FF2B5EF4-FFF2-40B4-BE49-F238E27FC236}">
                  <a16:creationId xmlns:a16="http://schemas.microsoft.com/office/drawing/2014/main" id="{6CC55E9C-BDCD-E7B7-5EE1-533115B4E9E0}"/>
                </a:ext>
              </a:extLst>
            </p:cNvPr>
            <p:cNvCxnSpPr>
              <a:cxnSpLocks/>
            </p:cNvCxnSpPr>
            <p:nvPr/>
          </p:nvCxnSpPr>
          <p:spPr>
            <a:xfrm rot="5400000" flipH="1" flipV="1">
              <a:off x="1726734" y="2782183"/>
              <a:ext cx="1224000" cy="0"/>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CDADF10B-0768-B867-2672-2C1286079D13}"/>
                </a:ext>
              </a:extLst>
            </p:cNvPr>
            <p:cNvSpPr>
              <a:spLocks noChangeAspect="1"/>
            </p:cNvSpPr>
            <p:nvPr/>
          </p:nvSpPr>
          <p:spPr bwMode="gray">
            <a:xfrm>
              <a:off x="2302734" y="2246822"/>
              <a:ext cx="72000" cy="72000"/>
            </a:xfrm>
            <a:prstGeom prst="ellipse">
              <a:avLst/>
            </a:prstGeom>
            <a:solidFill>
              <a:schemeClr val="accent3"/>
            </a:solidFill>
            <a:ln w="19050" algn="ctr">
              <a:noFill/>
              <a:miter lim="800000"/>
              <a:headEnd/>
              <a:tailEnd/>
            </a:ln>
          </p:spPr>
          <p:txBody>
            <a:bodyPr wrap="square" lIns="0" tIns="0" rIns="0" bIns="0" rtlCol="0" anchor="ctr"/>
            <a:lstStyle/>
            <a:p>
              <a:pPr algn="ctr"/>
              <a:endParaRPr lang="en-AU" dirty="0">
                <a:solidFill>
                  <a:srgbClr val="000000"/>
                </a:solidFill>
              </a:endParaRPr>
            </a:p>
          </p:txBody>
        </p:sp>
        <p:sp>
          <p:nvSpPr>
            <p:cNvPr id="83" name="Oval 82">
              <a:extLst>
                <a:ext uri="{FF2B5EF4-FFF2-40B4-BE49-F238E27FC236}">
                  <a16:creationId xmlns:a16="http://schemas.microsoft.com/office/drawing/2014/main" id="{159460FC-D3E5-7A75-8E03-E98B70EE9FCA}"/>
                </a:ext>
              </a:extLst>
            </p:cNvPr>
            <p:cNvSpPr>
              <a:spLocks noChangeAspect="1"/>
            </p:cNvSpPr>
            <p:nvPr/>
          </p:nvSpPr>
          <p:spPr bwMode="gray">
            <a:xfrm>
              <a:off x="2302734" y="3351978"/>
              <a:ext cx="72000" cy="72000"/>
            </a:xfrm>
            <a:prstGeom prst="ellipse">
              <a:avLst/>
            </a:prstGeom>
            <a:solidFill>
              <a:schemeClr val="accent3"/>
            </a:solidFill>
            <a:ln w="19050" algn="ctr">
              <a:noFill/>
              <a:miter lim="800000"/>
              <a:headEnd/>
              <a:tailEnd/>
            </a:ln>
          </p:spPr>
          <p:txBody>
            <a:bodyPr wrap="square" lIns="0" tIns="0" rIns="0" bIns="0" rtlCol="0" anchor="ctr"/>
            <a:lstStyle/>
            <a:p>
              <a:pPr algn="ctr"/>
              <a:endParaRPr lang="en-AU" dirty="0">
                <a:solidFill>
                  <a:srgbClr val="000000"/>
                </a:solidFill>
              </a:endParaRPr>
            </a:p>
          </p:txBody>
        </p:sp>
      </p:grpSp>
      <p:sp>
        <p:nvSpPr>
          <p:cNvPr id="84" name="Rectangle 83">
            <a:extLst>
              <a:ext uri="{FF2B5EF4-FFF2-40B4-BE49-F238E27FC236}">
                <a16:creationId xmlns:a16="http://schemas.microsoft.com/office/drawing/2014/main" id="{FD61C06D-D025-BD0F-7FFF-6BF02565A831}"/>
              </a:ext>
            </a:extLst>
          </p:cNvPr>
          <p:cNvSpPr/>
          <p:nvPr/>
        </p:nvSpPr>
        <p:spPr bwMode="gray">
          <a:xfrm>
            <a:off x="8176489" y="2455158"/>
            <a:ext cx="3287992" cy="735801"/>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AU" dirty="0">
              <a:solidFill>
                <a:srgbClr val="000000"/>
              </a:solidFill>
            </a:endParaRPr>
          </a:p>
        </p:txBody>
      </p:sp>
      <p:sp>
        <p:nvSpPr>
          <p:cNvPr id="85" name="TextBox 84">
            <a:extLst>
              <a:ext uri="{FF2B5EF4-FFF2-40B4-BE49-F238E27FC236}">
                <a16:creationId xmlns:a16="http://schemas.microsoft.com/office/drawing/2014/main" id="{FBD5AE79-2E4F-8FD3-23A7-C665DAD9DBAB}"/>
              </a:ext>
            </a:extLst>
          </p:cNvPr>
          <p:cNvSpPr txBox="1"/>
          <p:nvPr/>
        </p:nvSpPr>
        <p:spPr>
          <a:xfrm>
            <a:off x="8100494" y="2479903"/>
            <a:ext cx="3256631" cy="681308"/>
          </a:xfrm>
          <a:prstGeom prst="rect">
            <a:avLst/>
          </a:prstGeom>
          <a:noFill/>
        </p:spPr>
        <p:txBody>
          <a:bodyPr wrap="square" lIns="0" tIns="0" rIns="0" bIns="0" rtlCol="0">
            <a:noAutofit/>
          </a:bodyPr>
          <a:lstStyle/>
          <a:p>
            <a:pPr marL="57150" algn="ctr">
              <a:spcAft>
                <a:spcPts val="300"/>
              </a:spcAft>
            </a:pP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During the back half of the transformation,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reporting</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communication</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and </a:t>
            </a:r>
            <a:r>
              <a:rPr lang="en-AU"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knowledge management </a:t>
            </a:r>
            <a:r>
              <a:rPr lang="en-AU"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become critical to sustaining the program.</a:t>
            </a:r>
          </a:p>
        </p:txBody>
      </p:sp>
    </p:spTree>
    <p:extLst>
      <p:ext uri="{BB962C8B-B14F-4D97-AF65-F5344CB8AC3E}">
        <p14:creationId xmlns:p14="http://schemas.microsoft.com/office/powerpoint/2010/main" val="1570618901"/>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29F01F97-67B2-1750-26AA-36FBF2DD6E4D}"/>
              </a:ext>
            </a:extLst>
          </p:cNvPr>
          <p:cNvGraphicFramePr>
            <a:graphicFrameLocks noChangeAspect="1"/>
          </p:cNvGraphicFramePr>
          <p:nvPr>
            <p:custDataLst>
              <p:tags r:id="rId1"/>
            </p:custDataLst>
            <p:extLst>
              <p:ext uri="{D42A27DB-BD31-4B8C-83A1-F6EECF244321}">
                <p14:modId xmlns:p14="http://schemas.microsoft.com/office/powerpoint/2010/main" val="372444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7" name="think-cell data - do not delete" hidden="1">
                        <a:extLst>
                          <a:ext uri="{FF2B5EF4-FFF2-40B4-BE49-F238E27FC236}">
                            <a16:creationId xmlns:a16="http://schemas.microsoft.com/office/drawing/2014/main" id="{29F01F97-67B2-1750-26AA-36FBF2DD6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5D4292D-8338-A10A-C315-3936B9DB140C}"/>
              </a:ext>
            </a:extLst>
          </p:cNvPr>
          <p:cNvSpPr>
            <a:spLocks noGrp="1"/>
          </p:cNvSpPr>
          <p:nvPr>
            <p:ph type="body" sz="quarter" idx="22"/>
          </p:nvPr>
        </p:nvSpPr>
        <p:spPr/>
        <p:txBody>
          <a:bodyPr/>
          <a:lstStyle/>
          <a:p>
            <a:r>
              <a:rPr lang="en-US" sz="18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he most critical element of executing successful transformations is the </a:t>
            </a:r>
            <a:r>
              <a:rPr lang="hu-HU" sz="18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a:t>
            </a:r>
            <a:r>
              <a:rPr lang="en-US" sz="1800" dirty="0" err="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am</a:t>
            </a:r>
            <a:r>
              <a:rPr lang="en-US" sz="18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itself</a:t>
            </a:r>
          </a:p>
        </p:txBody>
      </p:sp>
      <p:sp>
        <p:nvSpPr>
          <p:cNvPr id="3" name="Title 2">
            <a:extLst>
              <a:ext uri="{FF2B5EF4-FFF2-40B4-BE49-F238E27FC236}">
                <a16:creationId xmlns:a16="http://schemas.microsoft.com/office/drawing/2014/main" id="{E6D2B38C-3EF9-0329-C430-0682CE6B8E65}"/>
              </a:ext>
            </a:extLst>
          </p:cNvPr>
          <p:cNvSpPr>
            <a:spLocks noGrp="1"/>
          </p:cNvSpPr>
          <p:nvPr>
            <p:ph type="title"/>
          </p:nvPr>
        </p:nvSpPr>
        <p:spPr>
          <a:xfrm>
            <a:off x="463294" y="417911"/>
            <a:ext cx="9188705" cy="334099"/>
          </a:xfrm>
        </p:spPr>
        <p:txBody>
          <a:bodyPr vert="horz"/>
          <a:lstStyle/>
          <a:p>
            <a:r>
              <a:rPr lang="en-US" dirty="0"/>
              <a:t>Characteristics of high</a:t>
            </a:r>
            <a:r>
              <a:rPr lang="hu-HU" dirty="0">
                <a:solidFill>
                  <a:srgbClr val="FF0000"/>
                </a:solidFill>
              </a:rPr>
              <a:t>-</a:t>
            </a:r>
            <a:r>
              <a:rPr lang="en-US" dirty="0"/>
              <a:t>performing transformation teams</a:t>
            </a:r>
          </a:p>
        </p:txBody>
      </p:sp>
      <p:sp>
        <p:nvSpPr>
          <p:cNvPr id="4" name="Rectangle 3">
            <a:extLst>
              <a:ext uri="{FF2B5EF4-FFF2-40B4-BE49-F238E27FC236}">
                <a16:creationId xmlns:a16="http://schemas.microsoft.com/office/drawing/2014/main" id="{7A2FF61F-FD49-E361-EB59-5570A640F64E}"/>
              </a:ext>
            </a:extLst>
          </p:cNvPr>
          <p:cNvSpPr/>
          <p:nvPr/>
        </p:nvSpPr>
        <p:spPr bwMode="gray">
          <a:xfrm>
            <a:off x="1260209" y="2413661"/>
            <a:ext cx="3430196" cy="2445647"/>
          </a:xfrm>
          <a:prstGeom prst="rect">
            <a:avLst/>
          </a:prstGeom>
          <a:noFill/>
          <a:ln w="19050" algn="ctr">
            <a:solidFill>
              <a:srgbClr val="00B0F2"/>
            </a:solidFill>
            <a:miter lim="800000"/>
            <a:headEnd/>
            <a:tailEnd/>
          </a:ln>
        </p:spPr>
        <p:txBody>
          <a:bodyPr wrap="square" lIns="0" tIns="0" rIns="0" bIns="0" rtlCol="0" anchor="ctr"/>
          <a:lstStyle/>
          <a:p>
            <a:pPr algn="ctr"/>
            <a:endParaRPr lang="en-US"/>
          </a:p>
        </p:txBody>
      </p:sp>
      <p:sp>
        <p:nvSpPr>
          <p:cNvPr id="5" name="Rectangle 4">
            <a:extLst>
              <a:ext uri="{FF2B5EF4-FFF2-40B4-BE49-F238E27FC236}">
                <a16:creationId xmlns:a16="http://schemas.microsoft.com/office/drawing/2014/main" id="{89E39303-AFE5-428C-1BE5-3EA8CFAE9989}"/>
              </a:ext>
            </a:extLst>
          </p:cNvPr>
          <p:cNvSpPr/>
          <p:nvPr/>
        </p:nvSpPr>
        <p:spPr bwMode="gray">
          <a:xfrm>
            <a:off x="911911" y="2242238"/>
            <a:ext cx="3502269" cy="597416"/>
          </a:xfrm>
          <a:prstGeom prst="rect">
            <a:avLst/>
          </a:prstGeom>
          <a:solidFill>
            <a:schemeClr val="bg1"/>
          </a:solidFill>
          <a:ln w="19050" algn="ctr">
            <a:noFill/>
            <a:miter lim="800000"/>
            <a:headEnd/>
            <a:tailEnd/>
          </a:ln>
        </p:spPr>
        <p:txBody>
          <a:bodyPr wrap="square" lIns="0" tIns="0" rIns="0" bIns="0" rtlCol="0" anchor="ctr"/>
          <a:lstStyle/>
          <a:p>
            <a:pPr algn="ctr"/>
            <a:endParaRPr lang="en-US"/>
          </a:p>
        </p:txBody>
      </p:sp>
      <p:sp>
        <p:nvSpPr>
          <p:cNvPr id="6" name="Rectangle 5">
            <a:extLst>
              <a:ext uri="{FF2B5EF4-FFF2-40B4-BE49-F238E27FC236}">
                <a16:creationId xmlns:a16="http://schemas.microsoft.com/office/drawing/2014/main" id="{7028978C-D11A-BD1F-8A97-E2611BABD8E0}"/>
              </a:ext>
            </a:extLst>
          </p:cNvPr>
          <p:cNvSpPr/>
          <p:nvPr/>
        </p:nvSpPr>
        <p:spPr>
          <a:xfrm>
            <a:off x="1588768" y="2202890"/>
            <a:ext cx="3228315" cy="461665"/>
          </a:xfrm>
          <a:prstGeom prst="rect">
            <a:avLst/>
          </a:prstGeom>
        </p:spPr>
        <p:txBody>
          <a:bodyPr wrap="square">
            <a:spAutoFit/>
          </a:bodyPr>
          <a:lstStyle/>
          <a:p>
            <a:r>
              <a:rPr lang="en-US" sz="12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Characteristics of high-performing transformation teams</a:t>
            </a:r>
            <a:endParaRPr lang="hu-HU" sz="1200" b="1" dirty="0">
              <a:solidFill>
                <a:srgbClr val="00B0F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2B114048-C3C6-5B51-6BD0-70CA729CAFD0}"/>
              </a:ext>
            </a:extLst>
          </p:cNvPr>
          <p:cNvSpPr txBox="1"/>
          <p:nvPr/>
        </p:nvSpPr>
        <p:spPr>
          <a:xfrm>
            <a:off x="1364064" y="2849603"/>
            <a:ext cx="3187616" cy="1891703"/>
          </a:xfrm>
          <a:prstGeom prst="rect">
            <a:avLst/>
          </a:prstGeom>
          <a:noFill/>
        </p:spPr>
        <p:txBody>
          <a:bodyPr wrap="square" lIns="0" tIns="0" rIns="0" bIns="0" rtlCol="0" anchor="t">
            <a:noAutofit/>
          </a:bodyPr>
          <a:lstStyle/>
          <a:p>
            <a:pPr>
              <a:spcAft>
                <a:spcPts val="300"/>
              </a:spcAft>
              <a:buSzPct val="100000"/>
            </a:pPr>
            <a:r>
              <a:rPr lang="en-US" sz="1050" dirty="0">
                <a:latin typeface="Open Sans" panose="020B0606030504020204" pitchFamily="34" charset="0"/>
                <a:ea typeface="Open Sans" panose="020B0606030504020204" pitchFamily="34" charset="0"/>
                <a:cs typeface="Open Sans" panose="020B0606030504020204" pitchFamily="34" charset="0"/>
              </a:rPr>
              <a:t>Teams should aim to include individuals with </a:t>
            </a:r>
            <a:r>
              <a:rPr lang="hu-HU" sz="1050" b="1" dirty="0">
                <a:solidFill>
                  <a:srgbClr val="00B0F2"/>
                </a:solidFill>
                <a:latin typeface="Open Sans" panose="020B0606030504020204" pitchFamily="34" charset="0"/>
                <a:ea typeface="Open Sans" panose="020B0606030504020204" pitchFamily="34" charset="0"/>
                <a:cs typeface="Open Sans" panose="020B0606030504020204" pitchFamily="34" charset="0"/>
              </a:rPr>
              <a:t>…</a:t>
            </a:r>
          </a:p>
          <a:p>
            <a:pPr marL="361950" indent="-171450">
              <a:spcAft>
                <a:spcPts val="300"/>
              </a:spcAft>
              <a:buClr>
                <a:srgbClr val="00B0F2"/>
              </a:buClr>
              <a:buSzPct val="120000"/>
              <a:buFont typeface="Arial" panose="020B0604020202020204" pitchFamily="34" charset="0"/>
              <a:buChar char="•"/>
            </a:pPr>
            <a:r>
              <a:rPr lang="en-US" sz="1050" dirty="0">
                <a:latin typeface="Open Sans"/>
                <a:ea typeface="Open Sans"/>
                <a:cs typeface="Open Sans"/>
              </a:rPr>
              <a:t>demonstrated </a:t>
            </a:r>
            <a:r>
              <a:rPr lang="en-US" sz="1050" b="1" dirty="0">
                <a:latin typeface="Open Sans"/>
                <a:ea typeface="Open Sans"/>
                <a:cs typeface="Open Sans"/>
              </a:rPr>
              <a:t>leadership capabilities</a:t>
            </a:r>
            <a:r>
              <a:rPr lang="en-US" sz="1050" dirty="0">
                <a:latin typeface="Open Sans"/>
                <a:ea typeface="Open Sans"/>
                <a:cs typeface="Open Sans"/>
              </a:rPr>
              <a:t>,</a:t>
            </a:r>
          </a:p>
          <a:p>
            <a:pPr marL="361950" indent="-171450">
              <a:spcAft>
                <a:spcPts val="300"/>
              </a:spcAft>
              <a:buClr>
                <a:srgbClr val="00B0F2"/>
              </a:buClr>
              <a:buSzPct val="120000"/>
              <a:buFont typeface="Arial" panose="020B0604020202020204" pitchFamily="34" charset="0"/>
              <a:buChar char="•"/>
            </a:pPr>
            <a:r>
              <a:rPr lang="en-US" sz="1050" dirty="0">
                <a:latin typeface="Open Sans"/>
                <a:ea typeface="Open Sans"/>
                <a:cs typeface="Open Sans"/>
              </a:rPr>
              <a:t>excellent </a:t>
            </a:r>
            <a:r>
              <a:rPr lang="en-US" sz="1050" b="1" dirty="0">
                <a:latin typeface="Open Sans"/>
                <a:ea typeface="Open Sans"/>
                <a:cs typeface="Open Sans"/>
              </a:rPr>
              <a:t>program management capabilities</a:t>
            </a:r>
            <a:r>
              <a:rPr lang="en-US" sz="1050" dirty="0">
                <a:latin typeface="Open Sans"/>
                <a:ea typeface="Open Sans"/>
                <a:cs typeface="Open Sans"/>
              </a:rPr>
              <a:t>,</a:t>
            </a:r>
          </a:p>
          <a:p>
            <a:pPr marL="361950" indent="-171450">
              <a:spcAft>
                <a:spcPts val="300"/>
              </a:spcAft>
              <a:buClr>
                <a:srgbClr val="00B0F2"/>
              </a:buClr>
              <a:buSzPct val="120000"/>
              <a:buFont typeface="Arial" panose="020B0604020202020204" pitchFamily="34" charset="0"/>
              <a:buChar char="•"/>
            </a:pPr>
            <a:r>
              <a:rPr lang="en-US" sz="1050" dirty="0">
                <a:latin typeface="Open Sans"/>
                <a:ea typeface="Open Sans"/>
                <a:cs typeface="Open Sans"/>
              </a:rPr>
              <a:t>experience </a:t>
            </a:r>
            <a:r>
              <a:rPr lang="en-US" sz="1050" b="1" dirty="0">
                <a:latin typeface="Open Sans"/>
                <a:ea typeface="Open Sans"/>
                <a:cs typeface="Open Sans"/>
              </a:rPr>
              <a:t>navigating the organization</a:t>
            </a:r>
            <a:r>
              <a:rPr lang="en-US" sz="1050" dirty="0">
                <a:latin typeface="Open Sans"/>
                <a:ea typeface="Open Sans"/>
                <a:cs typeface="Open Sans"/>
              </a:rPr>
              <a:t>,</a:t>
            </a:r>
          </a:p>
          <a:p>
            <a:pPr marL="361950" indent="-171450">
              <a:spcAft>
                <a:spcPts val="300"/>
              </a:spcAft>
              <a:buClr>
                <a:srgbClr val="00B0F2"/>
              </a:buClr>
              <a:buSzPct val="120000"/>
              <a:buFont typeface="Arial" panose="020B0604020202020204" pitchFamily="34" charset="0"/>
              <a:buChar char="•"/>
            </a:pPr>
            <a:r>
              <a:rPr lang="en-US" sz="1050" dirty="0">
                <a:latin typeface="Open Sans"/>
                <a:ea typeface="Open Sans"/>
                <a:cs typeface="Open Sans"/>
              </a:rPr>
              <a:t>ability to </a:t>
            </a:r>
            <a:r>
              <a:rPr lang="en-US" sz="1050" b="1" dirty="0">
                <a:latin typeface="Open Sans"/>
                <a:ea typeface="Open Sans"/>
                <a:cs typeface="Open Sans"/>
              </a:rPr>
              <a:t>deal with complexity, seniority and bandwidth</a:t>
            </a:r>
            <a:r>
              <a:rPr lang="en-US" sz="1050" dirty="0">
                <a:latin typeface="Open Sans"/>
                <a:ea typeface="Open Sans"/>
                <a:cs typeface="Open Sans"/>
              </a:rPr>
              <a:t>, </a:t>
            </a:r>
            <a:endParaRPr lang="en-US" sz="1050" dirty="0">
              <a:latin typeface="Open Sans" panose="020B0606030504020204" pitchFamily="34" charset="0"/>
              <a:ea typeface="Open Sans" panose="020B0606030504020204" pitchFamily="34" charset="0"/>
              <a:cs typeface="Open Sans" panose="020B0606030504020204" pitchFamily="34" charset="0"/>
            </a:endParaRPr>
          </a:p>
          <a:p>
            <a:pPr marL="361950" indent="-171450">
              <a:spcAft>
                <a:spcPts val="300"/>
              </a:spcAft>
              <a:buClr>
                <a:srgbClr val="00B0F2"/>
              </a:buClr>
              <a:buSzPct val="120000"/>
              <a:buFont typeface="Arial" panose="020B0604020202020204" pitchFamily="34" charset="0"/>
              <a:buChar char="•"/>
            </a:pPr>
            <a:r>
              <a:rPr lang="en-US" sz="1050" dirty="0">
                <a:latin typeface="Open Sans"/>
                <a:ea typeface="Open Sans"/>
                <a:cs typeface="Open Sans"/>
              </a:rPr>
              <a:t>ability to be </a:t>
            </a:r>
            <a:r>
              <a:rPr lang="en-US" sz="1050" b="1" dirty="0">
                <a:latin typeface="Open Sans"/>
                <a:ea typeface="Open Sans"/>
                <a:cs typeface="Open Sans"/>
              </a:rPr>
              <a:t>innovative, invoke trust</a:t>
            </a:r>
            <a:r>
              <a:rPr lang="en-US" sz="1050" dirty="0">
                <a:latin typeface="Open Sans"/>
                <a:ea typeface="Open Sans"/>
                <a:cs typeface="Open Sans"/>
              </a:rPr>
              <a:t>, </a:t>
            </a:r>
            <a:endParaRPr lang="en-US" sz="1050" dirty="0">
              <a:latin typeface="Open Sans" panose="020B0606030504020204" pitchFamily="34" charset="0"/>
              <a:ea typeface="Open Sans" panose="020B0606030504020204" pitchFamily="34" charset="0"/>
              <a:cs typeface="Open Sans" panose="020B0606030504020204" pitchFamily="34" charset="0"/>
            </a:endParaRPr>
          </a:p>
          <a:p>
            <a:pPr marL="361950" indent="-171450">
              <a:spcAft>
                <a:spcPts val="300"/>
              </a:spcAft>
              <a:buClr>
                <a:srgbClr val="00B0F2"/>
              </a:buClr>
              <a:buSzPct val="120000"/>
              <a:buFont typeface="Arial" panose="020B0604020202020204" pitchFamily="34" charset="0"/>
              <a:buChar char="•"/>
            </a:pPr>
            <a:r>
              <a:rPr lang="en-US" sz="1050" b="1" dirty="0">
                <a:latin typeface="Open Sans"/>
                <a:ea typeface="Open Sans"/>
                <a:cs typeface="Open Sans"/>
              </a:rPr>
              <a:t>dedication to the transformation’s goals</a:t>
            </a:r>
            <a:r>
              <a:rPr lang="en-US" sz="1050" dirty="0">
                <a:latin typeface="Open Sans"/>
                <a:ea typeface="Open Sans"/>
                <a:cs typeface="Open Sans"/>
              </a:rPr>
              <a:t>.</a:t>
            </a:r>
            <a:endParaRPr lang="en-US" sz="1000" dirty="0">
              <a:latin typeface="Open Sans"/>
              <a:ea typeface="Open Sans"/>
              <a:cs typeface="Open Sans"/>
            </a:endParaRPr>
          </a:p>
        </p:txBody>
      </p:sp>
      <p:grpSp>
        <p:nvGrpSpPr>
          <p:cNvPr id="8" name="Group 7">
            <a:extLst>
              <a:ext uri="{FF2B5EF4-FFF2-40B4-BE49-F238E27FC236}">
                <a16:creationId xmlns:a16="http://schemas.microsoft.com/office/drawing/2014/main" id="{4F19F0D2-099E-B5DA-1D37-852B6E542F63}"/>
              </a:ext>
            </a:extLst>
          </p:cNvPr>
          <p:cNvGrpSpPr/>
          <p:nvPr/>
        </p:nvGrpSpPr>
        <p:grpSpPr>
          <a:xfrm>
            <a:off x="918213" y="2091730"/>
            <a:ext cx="684000" cy="684000"/>
            <a:chOff x="7469923" y="3433741"/>
            <a:chExt cx="684000" cy="684000"/>
          </a:xfrm>
        </p:grpSpPr>
        <p:sp>
          <p:nvSpPr>
            <p:cNvPr id="9" name="Oval 8">
              <a:extLst>
                <a:ext uri="{FF2B5EF4-FFF2-40B4-BE49-F238E27FC236}">
                  <a16:creationId xmlns:a16="http://schemas.microsoft.com/office/drawing/2014/main" id="{C3D9F1F3-FDE5-7759-8D6D-440F662E07BB}"/>
                </a:ext>
              </a:extLst>
            </p:cNvPr>
            <p:cNvSpPr/>
            <p:nvPr/>
          </p:nvSpPr>
          <p:spPr bwMode="gray">
            <a:xfrm>
              <a:off x="7469923" y="3433741"/>
              <a:ext cx="684000" cy="68400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Oval 9">
              <a:extLst>
                <a:ext uri="{FF2B5EF4-FFF2-40B4-BE49-F238E27FC236}">
                  <a16:creationId xmlns:a16="http://schemas.microsoft.com/office/drawing/2014/main" id="{034B5809-2DB8-4BA8-09FB-13318B249EF1}"/>
                </a:ext>
              </a:extLst>
            </p:cNvPr>
            <p:cNvSpPr/>
            <p:nvPr/>
          </p:nvSpPr>
          <p:spPr bwMode="gray">
            <a:xfrm>
              <a:off x="7533847" y="3497665"/>
              <a:ext cx="556148" cy="556148"/>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Oval 10">
              <a:extLst>
                <a:ext uri="{FF2B5EF4-FFF2-40B4-BE49-F238E27FC236}">
                  <a16:creationId xmlns:a16="http://schemas.microsoft.com/office/drawing/2014/main" id="{D49AB5DE-6540-927A-CE39-51101C10764E}"/>
                </a:ext>
              </a:extLst>
            </p:cNvPr>
            <p:cNvSpPr>
              <a:spLocks noChangeAspect="1"/>
            </p:cNvSpPr>
            <p:nvPr/>
          </p:nvSpPr>
          <p:spPr bwMode="gray">
            <a:xfrm>
              <a:off x="7589234" y="3553049"/>
              <a:ext cx="445370" cy="445370"/>
            </a:xfrm>
            <a:prstGeom prst="ellipse">
              <a:avLst/>
            </a:prstGeom>
            <a:solidFill>
              <a:srgbClr val="00B0F2"/>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Graphic 4">
              <a:extLst>
                <a:ext uri="{FF2B5EF4-FFF2-40B4-BE49-F238E27FC236}">
                  <a16:creationId xmlns:a16="http://schemas.microsoft.com/office/drawing/2014/main" id="{82BEE265-EA14-6D2C-ACC0-10209132FE57}"/>
                </a:ext>
              </a:extLst>
            </p:cNvPr>
            <p:cNvSpPr/>
            <p:nvPr/>
          </p:nvSpPr>
          <p:spPr>
            <a:xfrm>
              <a:off x="7733208" y="3709725"/>
              <a:ext cx="159942" cy="13800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solidFill>
              <a:schemeClr val="bg1"/>
            </a:solidFill>
            <a:ln w="6390"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567CD462-76F7-E56A-76C0-5B62F01A53F1}"/>
                </a:ext>
              </a:extLst>
            </p:cNvPr>
            <p:cNvSpPr/>
            <p:nvPr/>
          </p:nvSpPr>
          <p:spPr>
            <a:xfrm>
              <a:off x="7857960" y="3703734"/>
              <a:ext cx="115628" cy="112772"/>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solidFill>
              <a:schemeClr val="bg1"/>
            </a:solidFill>
            <a:ln w="6390"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BEE1339C-364F-D301-E3ED-D4781CC67078}"/>
                </a:ext>
              </a:extLst>
            </p:cNvPr>
            <p:cNvSpPr/>
            <p:nvPr/>
          </p:nvSpPr>
          <p:spPr>
            <a:xfrm>
              <a:off x="7649588" y="3704496"/>
              <a:ext cx="115644" cy="11353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solidFill>
              <a:schemeClr val="bg1"/>
            </a:solidFill>
            <a:ln w="6390" cap="flat">
              <a:noFill/>
              <a:prstDash val="solid"/>
              <a:miter/>
            </a:ln>
          </p:spPr>
          <p:txBody>
            <a:bodyPr rtlCol="0" anchor="ctr"/>
            <a:lstStyle/>
            <a:p>
              <a:endParaRPr lang="en-US"/>
            </a:p>
          </p:txBody>
        </p:sp>
      </p:grpSp>
      <p:sp>
        <p:nvSpPr>
          <p:cNvPr id="15" name="Isosceles Triangle 14">
            <a:extLst>
              <a:ext uri="{FF2B5EF4-FFF2-40B4-BE49-F238E27FC236}">
                <a16:creationId xmlns:a16="http://schemas.microsoft.com/office/drawing/2014/main" id="{4A290447-9899-3AE9-37E6-DC33EA09CEC8}"/>
              </a:ext>
            </a:extLst>
          </p:cNvPr>
          <p:cNvSpPr/>
          <p:nvPr/>
        </p:nvSpPr>
        <p:spPr bwMode="gray">
          <a:xfrm rot="16200000" flipV="1">
            <a:off x="4002460" y="3450150"/>
            <a:ext cx="2418709" cy="399607"/>
          </a:xfrm>
          <a:prstGeom prst="triangle">
            <a:avLst/>
          </a:prstGeom>
          <a:solidFill>
            <a:schemeClr val="accent2">
              <a:lumMod val="20000"/>
              <a:lumOff val="80000"/>
            </a:schemeClr>
          </a:solidFill>
          <a:ln w="19050" algn="ctr">
            <a:noFill/>
            <a:miter lim="800000"/>
            <a:headEnd/>
            <a:tailEnd/>
          </a:ln>
          <a:effectLst>
            <a:outerShdw blurRad="50800" dist="38100" dir="13500000" algn="br" rotWithShape="0">
              <a:prstClr val="black">
                <a:alpha val="40000"/>
              </a:prstClr>
            </a:outerShdw>
          </a:effectLst>
        </p:spPr>
        <p:txBody>
          <a:bodyPr wrap="square" lIns="0" tIns="0" rIns="0" bIns="0" rtlCol="0" anchor="ctr"/>
          <a:lstStyle/>
          <a:p>
            <a:pPr algn="ctr"/>
            <a:endParaRPr lang="en-US"/>
          </a:p>
        </p:txBody>
      </p:sp>
      <p:grpSp>
        <p:nvGrpSpPr>
          <p:cNvPr id="16" name="Group 15">
            <a:extLst>
              <a:ext uri="{FF2B5EF4-FFF2-40B4-BE49-F238E27FC236}">
                <a16:creationId xmlns:a16="http://schemas.microsoft.com/office/drawing/2014/main" id="{9C070024-12EE-59E2-5E91-561284E5CEE2}"/>
              </a:ext>
            </a:extLst>
          </p:cNvPr>
          <p:cNvGrpSpPr/>
          <p:nvPr/>
        </p:nvGrpSpPr>
        <p:grpSpPr>
          <a:xfrm>
            <a:off x="5750688" y="1655155"/>
            <a:ext cx="4989702" cy="3989597"/>
            <a:chOff x="5769738" y="1655155"/>
            <a:chExt cx="4989702" cy="3989597"/>
          </a:xfrm>
        </p:grpSpPr>
        <p:sp>
          <p:nvSpPr>
            <p:cNvPr id="17" name="Rectangle 16">
              <a:extLst>
                <a:ext uri="{FF2B5EF4-FFF2-40B4-BE49-F238E27FC236}">
                  <a16:creationId xmlns:a16="http://schemas.microsoft.com/office/drawing/2014/main" id="{563150C0-D002-FA80-8D4A-96CD0FC666B2}"/>
                </a:ext>
              </a:extLst>
            </p:cNvPr>
            <p:cNvSpPr/>
            <p:nvPr/>
          </p:nvSpPr>
          <p:spPr>
            <a:xfrm>
              <a:off x="6096000" y="4589820"/>
              <a:ext cx="4663440" cy="468000"/>
            </a:xfrm>
            <a:prstGeom prst="rect">
              <a:avLst/>
            </a:prstGeom>
            <a:ln w="19050">
              <a:solidFill>
                <a:srgbClr val="00B0F2"/>
              </a:solidFill>
              <a:prstDash val="sysDot"/>
            </a:ln>
          </p:spPr>
          <p:txBody>
            <a:bodyPr wrap="square" lIns="182880" anchor="ctr">
              <a:noAutofit/>
            </a:bodyPr>
            <a:lstStyle/>
            <a:p>
              <a:r>
                <a:rPr lang="en-US" sz="1100" b="1" dirty="0">
                  <a:latin typeface="Open Sans" panose="020B0606030504020204" pitchFamily="34" charset="0"/>
                  <a:ea typeface="Open Sans" panose="020B0606030504020204" pitchFamily="34" charset="0"/>
                  <a:cs typeface="Open Sans" panose="020B0606030504020204" pitchFamily="34" charset="0"/>
                </a:rPr>
                <a:t>Externally supported</a:t>
              </a:r>
              <a:r>
                <a:rPr lang="hu-HU" sz="1100" b="1" dirty="0">
                  <a:latin typeface="Open Sans" panose="020B0606030504020204" pitchFamily="34" charset="0"/>
                  <a:ea typeface="Open Sans" panose="020B0606030504020204" pitchFamily="34" charset="0"/>
                  <a:cs typeface="Open Sans" panose="020B0606030504020204" pitchFamily="34" charset="0"/>
                </a:rPr>
                <a:t> -</a:t>
              </a:r>
              <a:r>
                <a:rPr lang="en-US" sz="1100" b="1" dirty="0">
                  <a:latin typeface="Open Sans" panose="020B0606030504020204" pitchFamily="34" charset="0"/>
                  <a:ea typeface="Open Sans" panose="020B0606030504020204" pitchFamily="34" charset="0"/>
                  <a:cs typeface="Open Sans" panose="020B0606030504020204" pitchFamily="34" charset="0"/>
                </a:rPr>
                <a:t> </a:t>
              </a:r>
              <a:r>
                <a:rPr lang="en-US" sz="1100" dirty="0">
                  <a:latin typeface="Open Sans" panose="020B0606030504020204" pitchFamily="34" charset="0"/>
                  <a:ea typeface="Open Sans" panose="020B0606030504020204" pitchFamily="34" charset="0"/>
                  <a:cs typeface="Open Sans" panose="020B0606030504020204" pitchFamily="34" charset="0"/>
                </a:rPr>
                <a:t>Inclusion of outside experts to offer unique/balanced perspectives</a:t>
              </a:r>
              <a:r>
                <a:rPr lang="hu-HU" sz="1100" dirty="0">
                  <a:latin typeface="Open Sans" panose="020B0606030504020204" pitchFamily="34" charset="0"/>
                  <a:ea typeface="Open Sans" panose="020B0606030504020204" pitchFamily="34" charset="0"/>
                  <a:cs typeface="Open Sans" panose="020B0606030504020204" pitchFamily="34" charset="0"/>
                </a:rPr>
                <a:t>.</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51B21941-213F-A281-684C-C2C5BD3FC187}"/>
                </a:ext>
              </a:extLst>
            </p:cNvPr>
            <p:cNvSpPr/>
            <p:nvPr/>
          </p:nvSpPr>
          <p:spPr>
            <a:xfrm>
              <a:off x="6096000" y="1655155"/>
              <a:ext cx="4663440" cy="468000"/>
            </a:xfrm>
            <a:prstGeom prst="rect">
              <a:avLst/>
            </a:prstGeom>
            <a:ln w="19050">
              <a:solidFill>
                <a:srgbClr val="00B0F2"/>
              </a:solidFill>
              <a:prstDash val="sysDot"/>
            </a:ln>
          </p:spPr>
          <p:txBody>
            <a:bodyPr wrap="square" lIns="182880" anchor="ctr">
              <a:noAutofit/>
            </a:bodyPr>
            <a:lstStyle/>
            <a:p>
              <a:r>
                <a:rPr lang="en-US" sz="1100" b="1" dirty="0">
                  <a:latin typeface="Open Sans" panose="020B0606030504020204" pitchFamily="34" charset="0"/>
                  <a:ea typeface="Open Sans" panose="020B0606030504020204" pitchFamily="34" charset="0"/>
                  <a:cs typeface="Open Sans" panose="020B0606030504020204" pitchFamily="34" charset="0"/>
                </a:rPr>
                <a:t>Cross-functional</a:t>
              </a:r>
              <a:r>
                <a:rPr lang="hu-HU" sz="1100" b="1" dirty="0">
                  <a:latin typeface="Open Sans" panose="020B0606030504020204" pitchFamily="34" charset="0"/>
                  <a:ea typeface="Open Sans" panose="020B0606030504020204" pitchFamily="34" charset="0"/>
                  <a:cs typeface="Open Sans" panose="020B0606030504020204" pitchFamily="34" charset="0"/>
                </a:rPr>
                <a:t> - </a:t>
              </a:r>
              <a:r>
                <a:rPr lang="en-US" sz="1100" dirty="0">
                  <a:latin typeface="Open Sans" panose="020B0606030504020204" pitchFamily="34" charset="0"/>
                  <a:ea typeface="Open Sans" panose="020B0606030504020204" pitchFamily="34" charset="0"/>
                  <a:cs typeface="Open Sans" panose="020B0606030504020204" pitchFamily="34" charset="0"/>
                </a:rPr>
                <a:t>Representation across business functions, product lines, and regions</a:t>
              </a:r>
              <a:r>
                <a:rPr lang="hu-HU" sz="1100" dirty="0">
                  <a:latin typeface="Open Sans" panose="020B0606030504020204" pitchFamily="34" charset="0"/>
                  <a:ea typeface="Open Sans" panose="020B0606030504020204" pitchFamily="34" charset="0"/>
                  <a:cs typeface="Open Sans" panose="020B0606030504020204" pitchFamily="34" charset="0"/>
                </a:rPr>
                <a:t>.</a:t>
              </a:r>
            </a:p>
          </p:txBody>
        </p:sp>
        <p:sp>
          <p:nvSpPr>
            <p:cNvPr id="19" name="Rectangle 18">
              <a:extLst>
                <a:ext uri="{FF2B5EF4-FFF2-40B4-BE49-F238E27FC236}">
                  <a16:creationId xmlns:a16="http://schemas.microsoft.com/office/drawing/2014/main" id="{EE86466E-F31C-35B7-E789-846CBDD85156}"/>
                </a:ext>
              </a:extLst>
            </p:cNvPr>
            <p:cNvSpPr/>
            <p:nvPr/>
          </p:nvSpPr>
          <p:spPr>
            <a:xfrm>
              <a:off x="6096000" y="2242088"/>
              <a:ext cx="4663440" cy="468000"/>
            </a:xfrm>
            <a:prstGeom prst="rect">
              <a:avLst/>
            </a:prstGeom>
            <a:ln w="19050">
              <a:solidFill>
                <a:srgbClr val="00B0F2"/>
              </a:solidFill>
              <a:prstDash val="sysDot"/>
            </a:ln>
          </p:spPr>
          <p:txBody>
            <a:bodyPr wrap="square" lIns="182880" anchor="ctr">
              <a:noAutofit/>
            </a:bodyPr>
            <a:lstStyle/>
            <a:p>
              <a:r>
                <a:rPr lang="en-US" sz="1100" b="1" dirty="0">
                  <a:latin typeface="Open Sans" panose="020B0606030504020204" pitchFamily="34" charset="0"/>
                  <a:ea typeface="Open Sans" panose="020B0606030504020204" pitchFamily="34" charset="0"/>
                  <a:cs typeface="Open Sans" panose="020B0606030504020204" pitchFamily="34" charset="0"/>
                </a:rPr>
                <a:t>Independent </a:t>
              </a:r>
              <a:r>
                <a:rPr lang="hu-HU" sz="1100" b="1" dirty="0">
                  <a:latin typeface="Open Sans" panose="020B0606030504020204" pitchFamily="34" charset="0"/>
                  <a:ea typeface="Open Sans" panose="020B0606030504020204" pitchFamily="34" charset="0"/>
                  <a:cs typeface="Open Sans" panose="020B0606030504020204" pitchFamily="34" charset="0"/>
                </a:rPr>
                <a:t>- </a:t>
              </a:r>
              <a:r>
                <a:rPr lang="en-US" sz="1100" dirty="0">
                  <a:latin typeface="Open Sans" panose="020B0606030504020204" pitchFamily="34" charset="0"/>
                  <a:ea typeface="Open Sans" panose="020B0606030504020204" pitchFamily="34" charset="0"/>
                  <a:cs typeface="Open Sans" panose="020B0606030504020204" pitchFamily="34" charset="0"/>
                </a:rPr>
                <a:t>Authority to make rapid decisions that shape the transformation strategy</a:t>
              </a:r>
              <a:r>
                <a:rPr lang="hu-HU" sz="1100" dirty="0">
                  <a:latin typeface="Open Sans" panose="020B0606030504020204" pitchFamily="34" charset="0"/>
                  <a:ea typeface="Open Sans" panose="020B0606030504020204" pitchFamily="34" charset="0"/>
                  <a:cs typeface="Open Sans" panose="020B0606030504020204" pitchFamily="34" charset="0"/>
                </a:rPr>
                <a:t>.</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E21E588E-62B8-A5C4-BA77-3E762DE80953}"/>
                </a:ext>
              </a:extLst>
            </p:cNvPr>
            <p:cNvSpPr/>
            <p:nvPr/>
          </p:nvSpPr>
          <p:spPr>
            <a:xfrm>
              <a:off x="6096000" y="2829021"/>
              <a:ext cx="4663440" cy="468000"/>
            </a:xfrm>
            <a:prstGeom prst="rect">
              <a:avLst/>
            </a:prstGeom>
            <a:ln w="19050">
              <a:solidFill>
                <a:srgbClr val="00B0F2"/>
              </a:solidFill>
              <a:prstDash val="sysDot"/>
            </a:ln>
          </p:spPr>
          <p:txBody>
            <a:bodyPr wrap="square" lIns="182880" anchor="ctr">
              <a:noAutofit/>
            </a:bodyPr>
            <a:lstStyle/>
            <a:p>
              <a:r>
                <a:rPr lang="en-US" sz="1100" b="1" dirty="0">
                  <a:latin typeface="Open Sans" panose="020B0606030504020204" pitchFamily="34" charset="0"/>
                  <a:ea typeface="Open Sans" panose="020B0606030504020204" pitchFamily="34" charset="0"/>
                  <a:cs typeface="Open Sans" panose="020B0606030504020204" pitchFamily="34" charset="0"/>
                </a:rPr>
                <a:t>Dynamic</a:t>
              </a:r>
              <a:r>
                <a:rPr lang="hu-HU" sz="1100" b="1" dirty="0">
                  <a:latin typeface="Open Sans" panose="020B0606030504020204" pitchFamily="34" charset="0"/>
                  <a:ea typeface="Open Sans" panose="020B0606030504020204" pitchFamily="34" charset="0"/>
                  <a:cs typeface="Open Sans" panose="020B0606030504020204" pitchFamily="34" charset="0"/>
                </a:rPr>
                <a:t> - </a:t>
              </a:r>
              <a:r>
                <a:rPr lang="en-US" sz="1100" dirty="0">
                  <a:latin typeface="Open Sans" panose="020B0606030504020204" pitchFamily="34" charset="0"/>
                  <a:ea typeface="Open Sans" panose="020B0606030504020204" pitchFamily="34" charset="0"/>
                  <a:cs typeface="Open Sans" panose="020B0606030504020204" pitchFamily="34" charset="0"/>
                </a:rPr>
                <a:t>Shifting composition of the team based on transformation phase</a:t>
              </a:r>
              <a:r>
                <a:rPr lang="hu-HU" sz="1100" dirty="0">
                  <a:latin typeface="Open Sans" panose="020B0606030504020204" pitchFamily="34" charset="0"/>
                  <a:ea typeface="Open Sans" panose="020B0606030504020204" pitchFamily="34" charset="0"/>
                  <a:cs typeface="Open Sans" panose="020B0606030504020204" pitchFamily="34" charset="0"/>
                </a:rPr>
                <a:t>.</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596A2299-A126-5AD1-DCD0-AE10B031A292}"/>
                </a:ext>
              </a:extLst>
            </p:cNvPr>
            <p:cNvSpPr/>
            <p:nvPr/>
          </p:nvSpPr>
          <p:spPr>
            <a:xfrm>
              <a:off x="6096000" y="3415954"/>
              <a:ext cx="4663440" cy="468000"/>
            </a:xfrm>
            <a:prstGeom prst="rect">
              <a:avLst/>
            </a:prstGeom>
            <a:ln w="19050">
              <a:solidFill>
                <a:srgbClr val="00B0F2"/>
              </a:solidFill>
              <a:prstDash val="sysDot"/>
            </a:ln>
          </p:spPr>
          <p:txBody>
            <a:bodyPr wrap="square" lIns="182880" anchor="ctr">
              <a:noAutofit/>
            </a:bodyPr>
            <a:lstStyle/>
            <a:p>
              <a:r>
                <a:rPr lang="en-US" sz="1100" b="1" dirty="0">
                  <a:latin typeface="Open Sans" panose="020B0606030504020204" pitchFamily="34" charset="0"/>
                  <a:ea typeface="Open Sans" panose="020B0606030504020204" pitchFamily="34" charset="0"/>
                  <a:cs typeface="Open Sans" panose="020B0606030504020204" pitchFamily="34" charset="0"/>
                </a:rPr>
                <a:t>Bold</a:t>
              </a:r>
              <a:r>
                <a:rPr lang="hu-HU" sz="1100" b="1" dirty="0">
                  <a:latin typeface="Open Sans" panose="020B0606030504020204" pitchFamily="34" charset="0"/>
                  <a:ea typeface="Open Sans" panose="020B0606030504020204" pitchFamily="34" charset="0"/>
                  <a:cs typeface="Open Sans" panose="020B0606030504020204" pitchFamily="34" charset="0"/>
                </a:rPr>
                <a:t> - </a:t>
              </a:r>
              <a:r>
                <a:rPr lang="en-US" sz="1100" b="1" dirty="0">
                  <a:latin typeface="Open Sans" panose="020B0606030504020204" pitchFamily="34" charset="0"/>
                  <a:ea typeface="Open Sans" panose="020B0606030504020204" pitchFamily="34" charset="0"/>
                  <a:cs typeface="Open Sans" panose="020B0606030504020204" pitchFamily="34" charset="0"/>
                </a:rPr>
                <a:t> </a:t>
              </a:r>
              <a:r>
                <a:rPr lang="en-US" sz="1100" dirty="0">
                  <a:latin typeface="Open Sans" panose="020B0606030504020204" pitchFamily="34" charset="0"/>
                  <a:ea typeface="Open Sans" panose="020B0606030504020204" pitchFamily="34" charset="0"/>
                  <a:cs typeface="Open Sans" panose="020B0606030504020204" pitchFamily="34" charset="0"/>
                </a:rPr>
                <a:t>Willingness to make tough decisions—even with headwinds or ambiguity</a:t>
              </a:r>
              <a:r>
                <a:rPr lang="hu-HU" sz="1100" dirty="0">
                  <a:latin typeface="Open Sans" panose="020B0606030504020204" pitchFamily="34" charset="0"/>
                  <a:ea typeface="Open Sans" panose="020B0606030504020204" pitchFamily="34" charset="0"/>
                  <a:cs typeface="Open Sans" panose="020B0606030504020204" pitchFamily="34" charset="0"/>
                </a:rPr>
                <a:t>.</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8BAC057C-9113-53E2-D4FF-061C08C05210}"/>
                </a:ext>
              </a:extLst>
            </p:cNvPr>
            <p:cNvSpPr/>
            <p:nvPr/>
          </p:nvSpPr>
          <p:spPr>
            <a:xfrm>
              <a:off x="6096000" y="4002887"/>
              <a:ext cx="4663440" cy="468000"/>
            </a:xfrm>
            <a:prstGeom prst="rect">
              <a:avLst/>
            </a:prstGeom>
            <a:ln w="19050">
              <a:solidFill>
                <a:srgbClr val="00B0F2"/>
              </a:solidFill>
              <a:prstDash val="sysDot"/>
            </a:ln>
          </p:spPr>
          <p:txBody>
            <a:bodyPr wrap="square" lIns="182880" anchor="ctr">
              <a:noAutofit/>
            </a:bodyPr>
            <a:lstStyle/>
            <a:p>
              <a:r>
                <a:rPr lang="en-US" sz="1100" b="1" dirty="0">
                  <a:latin typeface="Open Sans" panose="020B0606030504020204" pitchFamily="34" charset="0"/>
                  <a:ea typeface="Open Sans" panose="020B0606030504020204" pitchFamily="34" charset="0"/>
                  <a:cs typeface="Open Sans" panose="020B0606030504020204" pitchFamily="34" charset="0"/>
                </a:rPr>
                <a:t>Communicative </a:t>
              </a:r>
              <a:r>
                <a:rPr lang="hu-HU" sz="1100" b="1" dirty="0">
                  <a:latin typeface="Open Sans" panose="020B0606030504020204" pitchFamily="34" charset="0"/>
                  <a:ea typeface="Open Sans" panose="020B0606030504020204" pitchFamily="34" charset="0"/>
                  <a:cs typeface="Open Sans" panose="020B0606030504020204" pitchFamily="34" charset="0"/>
                </a:rPr>
                <a:t>- </a:t>
              </a:r>
              <a:r>
                <a:rPr lang="en-US" sz="1100" dirty="0">
                  <a:latin typeface="Open Sans" panose="020B0606030504020204" pitchFamily="34" charset="0"/>
                  <a:ea typeface="Open Sans" panose="020B0606030504020204" pitchFamily="34" charset="0"/>
                  <a:cs typeface="Open Sans" panose="020B0606030504020204" pitchFamily="34" charset="0"/>
                </a:rPr>
                <a:t>Transparent and frequent information-sharing with all stakeholders</a:t>
              </a:r>
              <a:r>
                <a:rPr lang="hu-HU" sz="1100" dirty="0">
                  <a:latin typeface="Open Sans" panose="020B0606030504020204" pitchFamily="34" charset="0"/>
                  <a:ea typeface="Open Sans" panose="020B0606030504020204" pitchFamily="34" charset="0"/>
                  <a:cs typeface="Open Sans" panose="020B0606030504020204" pitchFamily="34" charset="0"/>
                </a:rPr>
                <a:t>.</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22">
              <a:extLst>
                <a:ext uri="{FF2B5EF4-FFF2-40B4-BE49-F238E27FC236}">
                  <a16:creationId xmlns:a16="http://schemas.microsoft.com/office/drawing/2014/main" id="{A9A0AF84-0CEA-D328-8533-1C25659267F8}"/>
                </a:ext>
              </a:extLst>
            </p:cNvPr>
            <p:cNvSpPr/>
            <p:nvPr/>
          </p:nvSpPr>
          <p:spPr>
            <a:xfrm>
              <a:off x="6096000" y="5176752"/>
              <a:ext cx="4663440" cy="468000"/>
            </a:xfrm>
            <a:prstGeom prst="rect">
              <a:avLst/>
            </a:prstGeom>
            <a:ln w="19050">
              <a:solidFill>
                <a:srgbClr val="00B0F2"/>
              </a:solidFill>
              <a:prstDash val="sysDot"/>
            </a:ln>
          </p:spPr>
          <p:txBody>
            <a:bodyPr wrap="square" lIns="182880" anchor="ctr">
              <a:noAutofit/>
            </a:bodyPr>
            <a:lstStyle/>
            <a:p>
              <a:r>
                <a:rPr lang="en-US" sz="1100" b="1" dirty="0">
                  <a:latin typeface="Open Sans" panose="020B0606030504020204" pitchFamily="34" charset="0"/>
                  <a:ea typeface="Open Sans" panose="020B0606030504020204" pitchFamily="34" charset="0"/>
                  <a:cs typeface="Open Sans" panose="020B0606030504020204" pitchFamily="34" charset="0"/>
                </a:rPr>
                <a:t>Innovative </a:t>
              </a:r>
              <a:r>
                <a:rPr lang="hu-HU" sz="1100" b="1" dirty="0">
                  <a:latin typeface="Open Sans" panose="020B0606030504020204" pitchFamily="34" charset="0"/>
                  <a:ea typeface="Open Sans" panose="020B0606030504020204" pitchFamily="34" charset="0"/>
                  <a:cs typeface="Open Sans" panose="020B0606030504020204" pitchFamily="34" charset="0"/>
                </a:rPr>
                <a:t>- </a:t>
              </a:r>
              <a:r>
                <a:rPr lang="en-US" sz="1100" dirty="0">
                  <a:latin typeface="Open Sans" panose="020B0606030504020204" pitchFamily="34" charset="0"/>
                  <a:ea typeface="Open Sans" panose="020B0606030504020204" pitchFamily="34" charset="0"/>
                  <a:cs typeface="Open Sans" panose="020B0606030504020204" pitchFamily="34" charset="0"/>
                </a:rPr>
                <a:t>Use of technology—data, dashboards, automation—throughout the program</a:t>
              </a:r>
              <a:r>
                <a:rPr lang="hu-HU" sz="1100" dirty="0">
                  <a:latin typeface="Open Sans" panose="020B0606030504020204" pitchFamily="34" charset="0"/>
                  <a:ea typeface="Open Sans" panose="020B0606030504020204" pitchFamily="34" charset="0"/>
                  <a:cs typeface="Open Sans" panose="020B0606030504020204" pitchFamily="34" charset="0"/>
                </a:rPr>
                <a:t>.</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4" name="Group 23">
              <a:extLst>
                <a:ext uri="{FF2B5EF4-FFF2-40B4-BE49-F238E27FC236}">
                  <a16:creationId xmlns:a16="http://schemas.microsoft.com/office/drawing/2014/main" id="{8E498B08-BE06-ED83-BB2D-E62691A61C31}"/>
                </a:ext>
              </a:extLst>
            </p:cNvPr>
            <p:cNvGrpSpPr/>
            <p:nvPr/>
          </p:nvGrpSpPr>
          <p:grpSpPr>
            <a:xfrm>
              <a:off x="5773537" y="3424885"/>
              <a:ext cx="432000" cy="438266"/>
              <a:chOff x="5726668" y="3424885"/>
              <a:chExt cx="432000" cy="438266"/>
            </a:xfrm>
          </p:grpSpPr>
          <p:sp>
            <p:nvSpPr>
              <p:cNvPr id="54" name="Oval 53">
                <a:extLst>
                  <a:ext uri="{FF2B5EF4-FFF2-40B4-BE49-F238E27FC236}">
                    <a16:creationId xmlns:a16="http://schemas.microsoft.com/office/drawing/2014/main" id="{DC5CAD2F-6BF3-0B19-29FA-92C577384324}"/>
                  </a:ext>
                </a:extLst>
              </p:cNvPr>
              <p:cNvSpPr>
                <a:spLocks noChangeAspect="1"/>
              </p:cNvSpPr>
              <p:nvPr/>
            </p:nvSpPr>
            <p:spPr bwMode="gray">
              <a:xfrm>
                <a:off x="5726668" y="3424885"/>
                <a:ext cx="430406" cy="430406"/>
              </a:xfrm>
              <a:prstGeom prst="ellipse">
                <a:avLst/>
              </a:prstGeom>
              <a:solidFill>
                <a:schemeClr val="bg1"/>
              </a:solidFill>
              <a:ln w="19050" algn="ctr">
                <a:noFill/>
                <a:miter lim="800000"/>
                <a:headEnd/>
                <a:tailEnd/>
              </a:ln>
            </p:spPr>
            <p:txBody>
              <a:bodyPr wrap="square" lIns="0" tIns="0" rIns="0" bIns="0" rtlCol="0" anchor="ctr"/>
              <a:lstStyle/>
              <a:p>
                <a:pPr algn="ctr"/>
                <a:endParaRPr lang="en-US"/>
              </a:p>
            </p:txBody>
          </p:sp>
          <p:sp>
            <p:nvSpPr>
              <p:cNvPr id="55" name="Freeform 392">
                <a:extLst>
                  <a:ext uri="{FF2B5EF4-FFF2-40B4-BE49-F238E27FC236}">
                    <a16:creationId xmlns:a16="http://schemas.microsoft.com/office/drawing/2014/main" id="{A726DEA8-5E82-1425-B8FC-18B1E23D2ED9}"/>
                  </a:ext>
                </a:extLst>
              </p:cNvPr>
              <p:cNvSpPr/>
              <p:nvPr/>
            </p:nvSpPr>
            <p:spPr>
              <a:xfrm>
                <a:off x="5726668" y="3431151"/>
                <a:ext cx="432000" cy="432000"/>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86269 w 362309"/>
                  <a:gd name="connsiteY6" fmla="*/ 109805 h 361971"/>
                  <a:gd name="connsiteX7" fmla="*/ 141218 w 362309"/>
                  <a:gd name="connsiteY7" fmla="*/ 260466 h 361971"/>
                  <a:gd name="connsiteX8" fmla="*/ 136745 w 362309"/>
                  <a:gd name="connsiteY8" fmla="*/ 262382 h 361971"/>
                  <a:gd name="connsiteX9" fmla="*/ 136745 w 362309"/>
                  <a:gd name="connsiteY9" fmla="*/ 262382 h 361971"/>
                  <a:gd name="connsiteX10" fmla="*/ 132272 w 362309"/>
                  <a:gd name="connsiteY10" fmla="*/ 260466 h 361971"/>
                  <a:gd name="connsiteX11" fmla="*/ 76040 w 362309"/>
                  <a:gd name="connsiteY11" fmla="*/ 203011 h 361971"/>
                  <a:gd name="connsiteX12" fmla="*/ 76040 w 362309"/>
                  <a:gd name="connsiteY12" fmla="*/ 194073 h 361971"/>
                  <a:gd name="connsiteX13" fmla="*/ 84986 w 362309"/>
                  <a:gd name="connsiteY13" fmla="*/ 194073 h 361971"/>
                  <a:gd name="connsiteX14" fmla="*/ 84986 w 362309"/>
                  <a:gd name="connsiteY14" fmla="*/ 194073 h 361971"/>
                  <a:gd name="connsiteX15" fmla="*/ 136745 w 362309"/>
                  <a:gd name="connsiteY15" fmla="*/ 246422 h 361971"/>
                  <a:gd name="connsiteX16" fmla="*/ 276684 w 362309"/>
                  <a:gd name="connsiteY16" fmla="*/ 100867 h 361971"/>
                  <a:gd name="connsiteX17" fmla="*/ 285630 w 362309"/>
                  <a:gd name="connsiteY17" fmla="*/ 100867 h 361971"/>
                  <a:gd name="connsiteX18" fmla="*/ 286269 w 362309"/>
                  <a:gd name="connsiteY18" fmla="*/ 109805 h 361971"/>
                  <a:gd name="connsiteX19" fmla="*/ 286269 w 362309"/>
                  <a:gd name="connsiteY19" fmla="*/ 10980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0438"/>
                      <a:pt x="281157" y="0"/>
                      <a:pt x="180835" y="0"/>
                    </a:cubicBezTo>
                    <a:close/>
                    <a:moveTo>
                      <a:pt x="286269" y="109805"/>
                    </a:moveTo>
                    <a:lnTo>
                      <a:pt x="141218" y="260466"/>
                    </a:lnTo>
                    <a:cubicBezTo>
                      <a:pt x="139940" y="261743"/>
                      <a:pt x="138662" y="262382"/>
                      <a:pt x="136745" y="262382"/>
                    </a:cubicBezTo>
                    <a:lnTo>
                      <a:pt x="136745" y="262382"/>
                    </a:lnTo>
                    <a:cubicBezTo>
                      <a:pt x="134828" y="262382"/>
                      <a:pt x="133550" y="261743"/>
                      <a:pt x="132272" y="260466"/>
                    </a:cubicBezTo>
                    <a:lnTo>
                      <a:pt x="76040" y="203011"/>
                    </a:lnTo>
                    <a:cubicBezTo>
                      <a:pt x="73484" y="200457"/>
                      <a:pt x="73484" y="196627"/>
                      <a:pt x="76040" y="194073"/>
                    </a:cubicBezTo>
                    <a:cubicBezTo>
                      <a:pt x="78596" y="191519"/>
                      <a:pt x="82430" y="191519"/>
                      <a:pt x="84986" y="194073"/>
                    </a:cubicBezTo>
                    <a:lnTo>
                      <a:pt x="84986" y="194073"/>
                    </a:lnTo>
                    <a:lnTo>
                      <a:pt x="136745" y="246422"/>
                    </a:lnTo>
                    <a:lnTo>
                      <a:pt x="276684" y="100867"/>
                    </a:lnTo>
                    <a:cubicBezTo>
                      <a:pt x="279240" y="98313"/>
                      <a:pt x="283074" y="98313"/>
                      <a:pt x="285630" y="100867"/>
                    </a:cubicBezTo>
                    <a:cubicBezTo>
                      <a:pt x="288825" y="103421"/>
                      <a:pt x="288825" y="107251"/>
                      <a:pt x="286269" y="109805"/>
                    </a:cubicBezTo>
                    <a:lnTo>
                      <a:pt x="286269" y="109805"/>
                    </a:lnTo>
                    <a:close/>
                  </a:path>
                </a:pathLst>
              </a:custGeom>
              <a:solidFill>
                <a:srgbClr val="00B0F2"/>
              </a:solidFill>
              <a:ln w="6390" cap="flat">
                <a:noFill/>
                <a:prstDash val="solid"/>
                <a:miter/>
              </a:ln>
            </p:spPr>
            <p:txBody>
              <a:bodyPr rtlCol="0" anchor="ctr"/>
              <a:lstStyle/>
              <a:p>
                <a:endParaRPr lang="en-US"/>
              </a:p>
            </p:txBody>
          </p:sp>
        </p:grpSp>
        <p:grpSp>
          <p:nvGrpSpPr>
            <p:cNvPr id="25" name="Group 24">
              <a:extLst>
                <a:ext uri="{FF2B5EF4-FFF2-40B4-BE49-F238E27FC236}">
                  <a16:creationId xmlns:a16="http://schemas.microsoft.com/office/drawing/2014/main" id="{33655DDB-F2AC-B307-0A46-21244290E923}"/>
                </a:ext>
              </a:extLst>
            </p:cNvPr>
            <p:cNvGrpSpPr/>
            <p:nvPr/>
          </p:nvGrpSpPr>
          <p:grpSpPr>
            <a:xfrm>
              <a:off x="5773537" y="2850961"/>
              <a:ext cx="432000" cy="432614"/>
              <a:chOff x="5726668" y="2850961"/>
              <a:chExt cx="432000" cy="432614"/>
            </a:xfrm>
          </p:grpSpPr>
          <p:sp>
            <p:nvSpPr>
              <p:cNvPr id="52" name="Oval 51">
                <a:extLst>
                  <a:ext uri="{FF2B5EF4-FFF2-40B4-BE49-F238E27FC236}">
                    <a16:creationId xmlns:a16="http://schemas.microsoft.com/office/drawing/2014/main" id="{7A680355-E2DE-7DF2-51B5-3D1C038F29E2}"/>
                  </a:ext>
                </a:extLst>
              </p:cNvPr>
              <p:cNvSpPr>
                <a:spLocks noChangeAspect="1"/>
              </p:cNvSpPr>
              <p:nvPr/>
            </p:nvSpPr>
            <p:spPr bwMode="gray">
              <a:xfrm>
                <a:off x="5726668" y="2850961"/>
                <a:ext cx="430406" cy="430406"/>
              </a:xfrm>
              <a:prstGeom prst="ellipse">
                <a:avLst/>
              </a:prstGeom>
              <a:solidFill>
                <a:schemeClr val="bg1"/>
              </a:solidFill>
              <a:ln w="19050" algn="ctr">
                <a:noFill/>
                <a:miter lim="800000"/>
                <a:headEnd/>
                <a:tailEnd/>
              </a:ln>
            </p:spPr>
            <p:txBody>
              <a:bodyPr wrap="square" lIns="0" tIns="0" rIns="0" bIns="0" rtlCol="0" anchor="ctr"/>
              <a:lstStyle/>
              <a:p>
                <a:pPr algn="ctr"/>
                <a:endParaRPr lang="en-US"/>
              </a:p>
            </p:txBody>
          </p:sp>
          <p:sp>
            <p:nvSpPr>
              <p:cNvPr id="53" name="Graphic 4">
                <a:extLst>
                  <a:ext uri="{FF2B5EF4-FFF2-40B4-BE49-F238E27FC236}">
                    <a16:creationId xmlns:a16="http://schemas.microsoft.com/office/drawing/2014/main" id="{5D2F04B3-4CFF-E823-32F8-D17F3E49FB28}"/>
                  </a:ext>
                </a:extLst>
              </p:cNvPr>
              <p:cNvSpPr/>
              <p:nvPr/>
            </p:nvSpPr>
            <p:spPr>
              <a:xfrm>
                <a:off x="5726668" y="2851575"/>
                <a:ext cx="432000" cy="43200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362309 w 362309"/>
                  <a:gd name="connsiteY4" fmla="*/ 181305 h 362610"/>
                  <a:gd name="connsiteX5" fmla="*/ 180835 w 362309"/>
                  <a:gd name="connsiteY5" fmla="*/ 0 h 362610"/>
                  <a:gd name="connsiteX6" fmla="*/ 295215 w 362309"/>
                  <a:gd name="connsiteY6" fmla="*/ 185774 h 362610"/>
                  <a:gd name="connsiteX7" fmla="*/ 269016 w 362309"/>
                  <a:gd name="connsiteY7" fmla="*/ 211948 h 362610"/>
                  <a:gd name="connsiteX8" fmla="*/ 260070 w 362309"/>
                  <a:gd name="connsiteY8" fmla="*/ 211948 h 362610"/>
                  <a:gd name="connsiteX9" fmla="*/ 260070 w 362309"/>
                  <a:gd name="connsiteY9" fmla="*/ 203011 h 362610"/>
                  <a:gd name="connsiteX10" fmla="*/ 275406 w 362309"/>
                  <a:gd name="connsiteY10" fmla="*/ 187689 h 362610"/>
                  <a:gd name="connsiteX11" fmla="*/ 247291 w 362309"/>
                  <a:gd name="connsiteY11" fmla="*/ 187689 h 362610"/>
                  <a:gd name="connsiteX12" fmla="*/ 223009 w 362309"/>
                  <a:gd name="connsiteY12" fmla="*/ 164068 h 362610"/>
                  <a:gd name="connsiteX13" fmla="*/ 223009 w 362309"/>
                  <a:gd name="connsiteY13" fmla="*/ 111720 h 362610"/>
                  <a:gd name="connsiteX14" fmla="*/ 212785 w 362309"/>
                  <a:gd name="connsiteY14" fmla="*/ 99590 h 362610"/>
                  <a:gd name="connsiteX15" fmla="*/ 200644 w 362309"/>
                  <a:gd name="connsiteY15" fmla="*/ 109805 h 362610"/>
                  <a:gd name="connsiteX16" fmla="*/ 200644 w 362309"/>
                  <a:gd name="connsiteY16" fmla="*/ 111720 h 362610"/>
                  <a:gd name="connsiteX17" fmla="*/ 200644 w 362309"/>
                  <a:gd name="connsiteY17" fmla="*/ 252167 h 362610"/>
                  <a:gd name="connsiteX18" fmla="*/ 175723 w 362309"/>
                  <a:gd name="connsiteY18" fmla="*/ 275150 h 362610"/>
                  <a:gd name="connsiteX19" fmla="*/ 152720 w 362309"/>
                  <a:gd name="connsiteY19" fmla="*/ 252167 h 362610"/>
                  <a:gd name="connsiteX20" fmla="*/ 152720 w 362309"/>
                  <a:gd name="connsiteY20" fmla="*/ 111720 h 362610"/>
                  <a:gd name="connsiteX21" fmla="*/ 141218 w 362309"/>
                  <a:gd name="connsiteY21" fmla="*/ 100229 h 362610"/>
                  <a:gd name="connsiteX22" fmla="*/ 129716 w 362309"/>
                  <a:gd name="connsiteY22" fmla="*/ 111720 h 362610"/>
                  <a:gd name="connsiteX23" fmla="*/ 129716 w 362309"/>
                  <a:gd name="connsiteY23" fmla="*/ 252167 h 362610"/>
                  <a:gd name="connsiteX24" fmla="*/ 104795 w 362309"/>
                  <a:gd name="connsiteY24" fmla="*/ 275150 h 362610"/>
                  <a:gd name="connsiteX25" fmla="*/ 81791 w 362309"/>
                  <a:gd name="connsiteY25" fmla="*/ 252167 h 362610"/>
                  <a:gd name="connsiteX26" fmla="*/ 81791 w 362309"/>
                  <a:gd name="connsiteY26" fmla="*/ 198542 h 362610"/>
                  <a:gd name="connsiteX27" fmla="*/ 70928 w 362309"/>
                  <a:gd name="connsiteY27" fmla="*/ 187051 h 362610"/>
                  <a:gd name="connsiteX28" fmla="*/ 64538 w 362309"/>
                  <a:gd name="connsiteY28" fmla="*/ 180667 h 362610"/>
                  <a:gd name="connsiteX29" fmla="*/ 70928 w 362309"/>
                  <a:gd name="connsiteY29" fmla="*/ 174283 h 362610"/>
                  <a:gd name="connsiteX30" fmla="*/ 94571 w 362309"/>
                  <a:gd name="connsiteY30" fmla="*/ 198542 h 362610"/>
                  <a:gd name="connsiteX31" fmla="*/ 94571 w 362309"/>
                  <a:gd name="connsiteY31" fmla="*/ 250891 h 362610"/>
                  <a:gd name="connsiteX32" fmla="*/ 106712 w 362309"/>
                  <a:gd name="connsiteY32" fmla="*/ 261105 h 362610"/>
                  <a:gd name="connsiteX33" fmla="*/ 116936 w 362309"/>
                  <a:gd name="connsiteY33" fmla="*/ 250891 h 362610"/>
                  <a:gd name="connsiteX34" fmla="*/ 116936 w 362309"/>
                  <a:gd name="connsiteY34" fmla="*/ 110443 h 362610"/>
                  <a:gd name="connsiteX35" fmla="*/ 141218 w 362309"/>
                  <a:gd name="connsiteY35" fmla="*/ 86184 h 362610"/>
                  <a:gd name="connsiteX36" fmla="*/ 165499 w 362309"/>
                  <a:gd name="connsiteY36" fmla="*/ 110443 h 362610"/>
                  <a:gd name="connsiteX37" fmla="*/ 165499 w 362309"/>
                  <a:gd name="connsiteY37" fmla="*/ 250891 h 362610"/>
                  <a:gd name="connsiteX38" fmla="*/ 177640 w 362309"/>
                  <a:gd name="connsiteY38" fmla="*/ 261105 h 362610"/>
                  <a:gd name="connsiteX39" fmla="*/ 187864 w 362309"/>
                  <a:gd name="connsiteY39" fmla="*/ 250891 h 362610"/>
                  <a:gd name="connsiteX40" fmla="*/ 187864 w 362309"/>
                  <a:gd name="connsiteY40" fmla="*/ 110443 h 362610"/>
                  <a:gd name="connsiteX41" fmla="*/ 210868 w 362309"/>
                  <a:gd name="connsiteY41" fmla="*/ 85545 h 362610"/>
                  <a:gd name="connsiteX42" fmla="*/ 235789 w 362309"/>
                  <a:gd name="connsiteY42" fmla="*/ 108528 h 362610"/>
                  <a:gd name="connsiteX43" fmla="*/ 235789 w 362309"/>
                  <a:gd name="connsiteY43" fmla="*/ 111081 h 362610"/>
                  <a:gd name="connsiteX44" fmla="*/ 235789 w 362309"/>
                  <a:gd name="connsiteY44" fmla="*/ 163430 h 362610"/>
                  <a:gd name="connsiteX45" fmla="*/ 247291 w 362309"/>
                  <a:gd name="connsiteY45" fmla="*/ 174283 h 362610"/>
                  <a:gd name="connsiteX46" fmla="*/ 275406 w 362309"/>
                  <a:gd name="connsiteY46" fmla="*/ 174283 h 362610"/>
                  <a:gd name="connsiteX47" fmla="*/ 260070 w 362309"/>
                  <a:gd name="connsiteY47" fmla="*/ 158961 h 362610"/>
                  <a:gd name="connsiteX48" fmla="*/ 259431 w 362309"/>
                  <a:gd name="connsiteY48" fmla="*/ 150024 h 362610"/>
                  <a:gd name="connsiteX49" fmla="*/ 268377 w 362309"/>
                  <a:gd name="connsiteY49" fmla="*/ 149385 h 362610"/>
                  <a:gd name="connsiteX50" fmla="*/ 269016 w 362309"/>
                  <a:gd name="connsiteY50" fmla="*/ 150024 h 362610"/>
                  <a:gd name="connsiteX51" fmla="*/ 295215 w 362309"/>
                  <a:gd name="connsiteY51" fmla="*/ 176198 h 362610"/>
                  <a:gd name="connsiteX52" fmla="*/ 296493 w 362309"/>
                  <a:gd name="connsiteY52" fmla="*/ 178113 h 362610"/>
                  <a:gd name="connsiteX53" fmla="*/ 296493 w 362309"/>
                  <a:gd name="connsiteY53" fmla="*/ 183220 h 362610"/>
                  <a:gd name="connsiteX54" fmla="*/ 295215 w 362309"/>
                  <a:gd name="connsiteY54" fmla="*/ 18577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181305"/>
                      <a:pt x="362309" y="181305"/>
                      <a:pt x="362309" y="181305"/>
                    </a:cubicBezTo>
                    <a:cubicBezTo>
                      <a:pt x="361670" y="81077"/>
                      <a:pt x="281157" y="0"/>
                      <a:pt x="180835" y="0"/>
                    </a:cubicBezTo>
                    <a:close/>
                    <a:moveTo>
                      <a:pt x="295215" y="185774"/>
                    </a:moveTo>
                    <a:lnTo>
                      <a:pt x="269016" y="211948"/>
                    </a:lnTo>
                    <a:cubicBezTo>
                      <a:pt x="266460" y="214502"/>
                      <a:pt x="262626" y="214502"/>
                      <a:pt x="260070" y="211948"/>
                    </a:cubicBezTo>
                    <a:cubicBezTo>
                      <a:pt x="257514" y="209395"/>
                      <a:pt x="257514" y="205564"/>
                      <a:pt x="260070" y="203011"/>
                    </a:cubicBezTo>
                    <a:lnTo>
                      <a:pt x="275406" y="187689"/>
                    </a:lnTo>
                    <a:lnTo>
                      <a:pt x="247291" y="187689"/>
                    </a:lnTo>
                    <a:cubicBezTo>
                      <a:pt x="233872" y="187689"/>
                      <a:pt x="223648" y="176836"/>
                      <a:pt x="223009" y="164068"/>
                    </a:cubicBezTo>
                    <a:lnTo>
                      <a:pt x="223009" y="111720"/>
                    </a:lnTo>
                    <a:cubicBezTo>
                      <a:pt x="223648" y="105336"/>
                      <a:pt x="219175" y="100229"/>
                      <a:pt x="212785" y="99590"/>
                    </a:cubicBezTo>
                    <a:cubicBezTo>
                      <a:pt x="206395" y="98952"/>
                      <a:pt x="201283" y="103421"/>
                      <a:pt x="200644" y="109805"/>
                    </a:cubicBezTo>
                    <a:cubicBezTo>
                      <a:pt x="200644" y="110443"/>
                      <a:pt x="200644" y="111081"/>
                      <a:pt x="200644" y="111720"/>
                    </a:cubicBezTo>
                    <a:lnTo>
                      <a:pt x="200644" y="252167"/>
                    </a:lnTo>
                    <a:cubicBezTo>
                      <a:pt x="200005" y="265574"/>
                      <a:pt x="188503" y="275788"/>
                      <a:pt x="175723" y="275150"/>
                    </a:cubicBezTo>
                    <a:cubicBezTo>
                      <a:pt x="163582" y="274511"/>
                      <a:pt x="153358" y="264935"/>
                      <a:pt x="152720" y="252167"/>
                    </a:cubicBezTo>
                    <a:lnTo>
                      <a:pt x="152720" y="111720"/>
                    </a:lnTo>
                    <a:cubicBezTo>
                      <a:pt x="152720" y="105336"/>
                      <a:pt x="147608" y="100229"/>
                      <a:pt x="141218" y="100229"/>
                    </a:cubicBezTo>
                    <a:cubicBezTo>
                      <a:pt x="134828" y="100229"/>
                      <a:pt x="129716" y="105336"/>
                      <a:pt x="129716" y="111720"/>
                    </a:cubicBezTo>
                    <a:lnTo>
                      <a:pt x="129716" y="252167"/>
                    </a:lnTo>
                    <a:cubicBezTo>
                      <a:pt x="129077" y="265574"/>
                      <a:pt x="117575" y="275788"/>
                      <a:pt x="104795" y="275150"/>
                    </a:cubicBezTo>
                    <a:cubicBezTo>
                      <a:pt x="92654" y="274511"/>
                      <a:pt x="82430" y="264935"/>
                      <a:pt x="81791" y="252167"/>
                    </a:cubicBezTo>
                    <a:lnTo>
                      <a:pt x="81791" y="198542"/>
                    </a:lnTo>
                    <a:cubicBezTo>
                      <a:pt x="81791" y="192158"/>
                      <a:pt x="76679" y="187689"/>
                      <a:pt x="70928" y="187051"/>
                    </a:cubicBezTo>
                    <a:cubicBezTo>
                      <a:pt x="67094" y="187051"/>
                      <a:pt x="64538" y="184497"/>
                      <a:pt x="64538" y="180667"/>
                    </a:cubicBezTo>
                    <a:cubicBezTo>
                      <a:pt x="64538" y="176836"/>
                      <a:pt x="67094" y="174283"/>
                      <a:pt x="70928" y="174283"/>
                    </a:cubicBezTo>
                    <a:cubicBezTo>
                      <a:pt x="84347" y="174283"/>
                      <a:pt x="94571" y="185135"/>
                      <a:pt x="94571" y="198542"/>
                    </a:cubicBezTo>
                    <a:lnTo>
                      <a:pt x="94571" y="250891"/>
                    </a:lnTo>
                    <a:cubicBezTo>
                      <a:pt x="95210" y="257275"/>
                      <a:pt x="100322" y="261743"/>
                      <a:pt x="106712" y="261105"/>
                    </a:cubicBezTo>
                    <a:cubicBezTo>
                      <a:pt x="112463" y="260467"/>
                      <a:pt x="116297" y="255998"/>
                      <a:pt x="116936" y="250891"/>
                    </a:cubicBezTo>
                    <a:lnTo>
                      <a:pt x="116936" y="110443"/>
                    </a:lnTo>
                    <a:cubicBezTo>
                      <a:pt x="116936" y="97037"/>
                      <a:pt x="127799" y="86184"/>
                      <a:pt x="141218" y="86184"/>
                    </a:cubicBezTo>
                    <a:cubicBezTo>
                      <a:pt x="154636" y="86184"/>
                      <a:pt x="165499" y="97037"/>
                      <a:pt x="165499" y="110443"/>
                    </a:cubicBezTo>
                    <a:lnTo>
                      <a:pt x="165499" y="250891"/>
                    </a:lnTo>
                    <a:cubicBezTo>
                      <a:pt x="166138" y="257275"/>
                      <a:pt x="171250" y="261743"/>
                      <a:pt x="177640" y="261105"/>
                    </a:cubicBezTo>
                    <a:cubicBezTo>
                      <a:pt x="183391" y="260467"/>
                      <a:pt x="187225" y="255998"/>
                      <a:pt x="187864" y="250891"/>
                    </a:cubicBezTo>
                    <a:lnTo>
                      <a:pt x="187864" y="110443"/>
                    </a:lnTo>
                    <a:cubicBezTo>
                      <a:pt x="187225" y="97037"/>
                      <a:pt x="197449" y="86184"/>
                      <a:pt x="210868" y="85545"/>
                    </a:cubicBezTo>
                    <a:cubicBezTo>
                      <a:pt x="224287" y="84907"/>
                      <a:pt x="235150" y="95121"/>
                      <a:pt x="235789" y="108528"/>
                    </a:cubicBezTo>
                    <a:cubicBezTo>
                      <a:pt x="235789" y="109166"/>
                      <a:pt x="235789" y="110443"/>
                      <a:pt x="235789" y="111081"/>
                    </a:cubicBezTo>
                    <a:lnTo>
                      <a:pt x="235789" y="163430"/>
                    </a:lnTo>
                    <a:cubicBezTo>
                      <a:pt x="235789" y="169814"/>
                      <a:pt x="240901" y="174283"/>
                      <a:pt x="247291" y="174283"/>
                    </a:cubicBezTo>
                    <a:lnTo>
                      <a:pt x="275406" y="174283"/>
                    </a:lnTo>
                    <a:lnTo>
                      <a:pt x="260070" y="158961"/>
                    </a:lnTo>
                    <a:cubicBezTo>
                      <a:pt x="257514" y="156408"/>
                      <a:pt x="256875" y="152577"/>
                      <a:pt x="259431" y="150024"/>
                    </a:cubicBezTo>
                    <a:cubicBezTo>
                      <a:pt x="261987" y="147470"/>
                      <a:pt x="265821" y="146832"/>
                      <a:pt x="268377" y="149385"/>
                    </a:cubicBezTo>
                    <a:cubicBezTo>
                      <a:pt x="268377" y="149385"/>
                      <a:pt x="269016" y="150024"/>
                      <a:pt x="269016" y="150024"/>
                    </a:cubicBezTo>
                    <a:lnTo>
                      <a:pt x="295215" y="176198"/>
                    </a:lnTo>
                    <a:cubicBezTo>
                      <a:pt x="295854" y="176836"/>
                      <a:pt x="296493" y="177475"/>
                      <a:pt x="296493" y="178113"/>
                    </a:cubicBezTo>
                    <a:cubicBezTo>
                      <a:pt x="297132" y="179390"/>
                      <a:pt x="297132" y="181305"/>
                      <a:pt x="296493" y="183220"/>
                    </a:cubicBezTo>
                    <a:cubicBezTo>
                      <a:pt x="296493" y="183859"/>
                      <a:pt x="295854" y="185135"/>
                      <a:pt x="295215" y="185774"/>
                    </a:cubicBezTo>
                    <a:close/>
                  </a:path>
                </a:pathLst>
              </a:custGeom>
              <a:solidFill>
                <a:srgbClr val="00B0F2"/>
              </a:solidFill>
              <a:ln w="6390"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740E7BA4-4CBA-6CC2-9C6F-3D505B6AD226}"/>
                </a:ext>
              </a:extLst>
            </p:cNvPr>
            <p:cNvGrpSpPr/>
            <p:nvPr/>
          </p:nvGrpSpPr>
          <p:grpSpPr>
            <a:xfrm>
              <a:off x="5773469" y="4598018"/>
              <a:ext cx="431996" cy="437487"/>
              <a:chOff x="5726600" y="4598018"/>
              <a:chExt cx="431996" cy="437487"/>
            </a:xfrm>
          </p:grpSpPr>
          <p:sp>
            <p:nvSpPr>
              <p:cNvPr id="44" name="Oval 43">
                <a:extLst>
                  <a:ext uri="{FF2B5EF4-FFF2-40B4-BE49-F238E27FC236}">
                    <a16:creationId xmlns:a16="http://schemas.microsoft.com/office/drawing/2014/main" id="{9915F5A4-7A91-ABF3-9472-61A73D9F2259}"/>
                  </a:ext>
                </a:extLst>
              </p:cNvPr>
              <p:cNvSpPr>
                <a:spLocks noChangeAspect="1"/>
              </p:cNvSpPr>
              <p:nvPr/>
            </p:nvSpPr>
            <p:spPr bwMode="gray">
              <a:xfrm>
                <a:off x="5726668" y="4598018"/>
                <a:ext cx="430406" cy="430406"/>
              </a:xfrm>
              <a:prstGeom prst="ellipse">
                <a:avLst/>
              </a:prstGeom>
              <a:solidFill>
                <a:schemeClr val="bg1"/>
              </a:solidFill>
              <a:ln w="19050" algn="ctr">
                <a:noFill/>
                <a:miter lim="800000"/>
                <a:headEnd/>
                <a:tailEnd/>
              </a:ln>
            </p:spPr>
            <p:txBody>
              <a:bodyPr wrap="square" lIns="0" tIns="0" rIns="0" bIns="0" rtlCol="0" anchor="ctr"/>
              <a:lstStyle/>
              <a:p>
                <a:pPr algn="ctr"/>
                <a:endParaRPr lang="en-US"/>
              </a:p>
            </p:txBody>
          </p:sp>
          <p:grpSp>
            <p:nvGrpSpPr>
              <p:cNvPr id="45" name="Graphic 4">
                <a:extLst>
                  <a:ext uri="{FF2B5EF4-FFF2-40B4-BE49-F238E27FC236}">
                    <a16:creationId xmlns:a16="http://schemas.microsoft.com/office/drawing/2014/main" id="{9D9F8E40-29C5-2D3D-C8E0-D2D3DB929CCA}"/>
                  </a:ext>
                </a:extLst>
              </p:cNvPr>
              <p:cNvGrpSpPr/>
              <p:nvPr/>
            </p:nvGrpSpPr>
            <p:grpSpPr>
              <a:xfrm>
                <a:off x="5726600" y="4603499"/>
                <a:ext cx="431996" cy="432006"/>
                <a:chOff x="6147119" y="2371173"/>
                <a:chExt cx="361670" cy="361333"/>
              </a:xfrm>
              <a:solidFill>
                <a:srgbClr val="00B0F2"/>
              </a:solidFill>
            </p:grpSpPr>
            <p:sp>
              <p:nvSpPr>
                <p:cNvPr id="46" name="Graphic 4">
                  <a:extLst>
                    <a:ext uri="{FF2B5EF4-FFF2-40B4-BE49-F238E27FC236}">
                      <a16:creationId xmlns:a16="http://schemas.microsoft.com/office/drawing/2014/main" id="{681C49E9-3E16-89E6-D647-B3D516B8AAC5}"/>
                    </a:ext>
                  </a:extLst>
                </p:cNvPr>
                <p:cNvSpPr/>
                <p:nvPr/>
              </p:nvSpPr>
              <p:spPr>
                <a:xfrm>
                  <a:off x="6231854" y="2594533"/>
                  <a:ext cx="46259" cy="34748"/>
                </a:xfrm>
                <a:custGeom>
                  <a:avLst/>
                  <a:gdLst>
                    <a:gd name="connsiteX0" fmla="*/ 11114 w 46259"/>
                    <a:gd name="connsiteY0" fmla="*/ 34553 h 34748"/>
                    <a:gd name="connsiteX1" fmla="*/ 14309 w 46259"/>
                    <a:gd name="connsiteY1" fmla="*/ 32000 h 34748"/>
                    <a:gd name="connsiteX2" fmla="*/ 45620 w 46259"/>
                    <a:gd name="connsiteY2" fmla="*/ 6464 h 34748"/>
                    <a:gd name="connsiteX3" fmla="*/ 46259 w 46259"/>
                    <a:gd name="connsiteY3" fmla="*/ 5825 h 34748"/>
                    <a:gd name="connsiteX4" fmla="*/ 44342 w 46259"/>
                    <a:gd name="connsiteY4" fmla="*/ 3910 h 34748"/>
                    <a:gd name="connsiteX5" fmla="*/ 32201 w 46259"/>
                    <a:gd name="connsiteY5" fmla="*/ 1995 h 34748"/>
                    <a:gd name="connsiteX6" fmla="*/ 1530 w 46259"/>
                    <a:gd name="connsiteY6" fmla="*/ 21147 h 34748"/>
                    <a:gd name="connsiteX7" fmla="*/ 891 w 46259"/>
                    <a:gd name="connsiteY7" fmla="*/ 28169 h 34748"/>
                    <a:gd name="connsiteX8" fmla="*/ 11114 w 46259"/>
                    <a:gd name="connsiteY8" fmla="*/ 34553 h 3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59" h="34748">
                      <a:moveTo>
                        <a:pt x="11114" y="34553"/>
                      </a:moveTo>
                      <a:cubicBezTo>
                        <a:pt x="14309" y="32638"/>
                        <a:pt x="14309" y="32638"/>
                        <a:pt x="14309" y="32000"/>
                      </a:cubicBezTo>
                      <a:lnTo>
                        <a:pt x="45620" y="6464"/>
                      </a:lnTo>
                      <a:cubicBezTo>
                        <a:pt x="45620" y="6464"/>
                        <a:pt x="45620" y="6464"/>
                        <a:pt x="46259" y="5825"/>
                      </a:cubicBezTo>
                      <a:cubicBezTo>
                        <a:pt x="46259" y="5187"/>
                        <a:pt x="45620" y="4549"/>
                        <a:pt x="44342" y="3910"/>
                      </a:cubicBezTo>
                      <a:cubicBezTo>
                        <a:pt x="41147" y="-559"/>
                        <a:pt x="37313" y="-1197"/>
                        <a:pt x="32201" y="1995"/>
                      </a:cubicBezTo>
                      <a:lnTo>
                        <a:pt x="1530" y="21147"/>
                      </a:lnTo>
                      <a:cubicBezTo>
                        <a:pt x="-387" y="23062"/>
                        <a:pt x="-387" y="26254"/>
                        <a:pt x="891" y="28169"/>
                      </a:cubicBezTo>
                      <a:cubicBezTo>
                        <a:pt x="4725" y="34553"/>
                        <a:pt x="9836" y="35192"/>
                        <a:pt x="11114" y="34553"/>
                      </a:cubicBez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13776F83-815D-7E8D-9F82-6129E621AE56}"/>
                    </a:ext>
                  </a:extLst>
                </p:cNvPr>
                <p:cNvSpPr/>
                <p:nvPr/>
              </p:nvSpPr>
              <p:spPr>
                <a:xfrm>
                  <a:off x="6279391" y="2599720"/>
                  <a:ext cx="6389" cy="6383"/>
                </a:xfrm>
                <a:custGeom>
                  <a:avLst/>
                  <a:gdLst>
                    <a:gd name="connsiteX0" fmla="*/ 0 w 6389"/>
                    <a:gd name="connsiteY0" fmla="*/ 0 h 6383"/>
                    <a:gd name="connsiteX1" fmla="*/ 0 w 6389"/>
                    <a:gd name="connsiteY1" fmla="*/ 0 h 6383"/>
                    <a:gd name="connsiteX2" fmla="*/ 0 w 6389"/>
                    <a:gd name="connsiteY2" fmla="*/ 0 h 6383"/>
                  </a:gdLst>
                  <a:ahLst/>
                  <a:cxnLst>
                    <a:cxn ang="0">
                      <a:pos x="connsiteX0" y="connsiteY0"/>
                    </a:cxn>
                    <a:cxn ang="0">
                      <a:pos x="connsiteX1" y="connsiteY1"/>
                    </a:cxn>
                    <a:cxn ang="0">
                      <a:pos x="connsiteX2" y="connsiteY2"/>
                    </a:cxn>
                  </a:cxnLst>
                  <a:rect l="l" t="t" r="r" b="b"/>
                  <a:pathLst>
                    <a:path w="6389" h="6383">
                      <a:moveTo>
                        <a:pt x="0" y="0"/>
                      </a:moveTo>
                      <a:lnTo>
                        <a:pt x="0" y="0"/>
                      </a:lnTo>
                      <a:lnTo>
                        <a:pt x="0" y="0"/>
                      </a:lnTo>
                      <a:close/>
                    </a:path>
                  </a:pathLst>
                </a:custGeom>
                <a:grp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BF883FF8-4E57-854F-1046-984076C461ED}"/>
                    </a:ext>
                  </a:extLst>
                </p:cNvPr>
                <p:cNvSpPr/>
                <p:nvPr/>
              </p:nvSpPr>
              <p:spPr>
                <a:xfrm>
                  <a:off x="6250746" y="2600814"/>
                  <a:ext cx="58434" cy="48452"/>
                </a:xfrm>
                <a:custGeom>
                  <a:avLst/>
                  <a:gdLst>
                    <a:gd name="connsiteX0" fmla="*/ 15865 w 58434"/>
                    <a:gd name="connsiteY0" fmla="*/ 47424 h 48452"/>
                    <a:gd name="connsiteX1" fmla="*/ 54205 w 58434"/>
                    <a:gd name="connsiteY1" fmla="*/ 14866 h 48452"/>
                    <a:gd name="connsiteX2" fmla="*/ 54844 w 58434"/>
                    <a:gd name="connsiteY2" fmla="*/ 14228 h 48452"/>
                    <a:gd name="connsiteX3" fmla="*/ 55483 w 58434"/>
                    <a:gd name="connsiteY3" fmla="*/ 13589 h 48452"/>
                    <a:gd name="connsiteX4" fmla="*/ 56761 w 58434"/>
                    <a:gd name="connsiteY4" fmla="*/ 2736 h 48452"/>
                    <a:gd name="connsiteX5" fmla="*/ 45898 w 58434"/>
                    <a:gd name="connsiteY5" fmla="*/ 2098 h 48452"/>
                    <a:gd name="connsiteX6" fmla="*/ 37591 w 58434"/>
                    <a:gd name="connsiteY6" fmla="*/ 7844 h 48452"/>
                    <a:gd name="connsiteX7" fmla="*/ 36952 w 58434"/>
                    <a:gd name="connsiteY7" fmla="*/ 8482 h 48452"/>
                    <a:gd name="connsiteX8" fmla="*/ 3724 w 58434"/>
                    <a:gd name="connsiteY8" fmla="*/ 35933 h 48452"/>
                    <a:gd name="connsiteX9" fmla="*/ 529 w 58434"/>
                    <a:gd name="connsiteY9" fmla="*/ 37848 h 48452"/>
                    <a:gd name="connsiteX10" fmla="*/ 529 w 58434"/>
                    <a:gd name="connsiteY10" fmla="*/ 37848 h 48452"/>
                    <a:gd name="connsiteX11" fmla="*/ 1807 w 58434"/>
                    <a:gd name="connsiteY11" fmla="*/ 43594 h 48452"/>
                    <a:gd name="connsiteX12" fmla="*/ 15865 w 58434"/>
                    <a:gd name="connsiteY12" fmla="*/ 47424 h 4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34" h="48452">
                      <a:moveTo>
                        <a:pt x="15865" y="47424"/>
                      </a:moveTo>
                      <a:lnTo>
                        <a:pt x="54205" y="14866"/>
                      </a:lnTo>
                      <a:cubicBezTo>
                        <a:pt x="54205" y="14866"/>
                        <a:pt x="54844" y="14866"/>
                        <a:pt x="54844" y="14228"/>
                      </a:cubicBezTo>
                      <a:cubicBezTo>
                        <a:pt x="54844" y="13589"/>
                        <a:pt x="55483" y="13589"/>
                        <a:pt x="55483" y="13589"/>
                      </a:cubicBezTo>
                      <a:cubicBezTo>
                        <a:pt x="58039" y="11036"/>
                        <a:pt x="59956" y="6567"/>
                        <a:pt x="56761" y="2736"/>
                      </a:cubicBezTo>
                      <a:cubicBezTo>
                        <a:pt x="52927" y="-1732"/>
                        <a:pt x="48454" y="183"/>
                        <a:pt x="45898" y="2098"/>
                      </a:cubicBezTo>
                      <a:lnTo>
                        <a:pt x="37591" y="7844"/>
                      </a:lnTo>
                      <a:cubicBezTo>
                        <a:pt x="37591" y="7844"/>
                        <a:pt x="37591" y="7844"/>
                        <a:pt x="36952" y="8482"/>
                      </a:cubicBezTo>
                      <a:lnTo>
                        <a:pt x="3724" y="35933"/>
                      </a:lnTo>
                      <a:cubicBezTo>
                        <a:pt x="3086" y="36572"/>
                        <a:pt x="2446" y="36572"/>
                        <a:pt x="529" y="37848"/>
                      </a:cubicBezTo>
                      <a:cubicBezTo>
                        <a:pt x="529" y="37848"/>
                        <a:pt x="529" y="37848"/>
                        <a:pt x="529" y="37848"/>
                      </a:cubicBezTo>
                      <a:cubicBezTo>
                        <a:pt x="-749" y="39763"/>
                        <a:pt x="529" y="42317"/>
                        <a:pt x="1807" y="43594"/>
                      </a:cubicBezTo>
                      <a:cubicBezTo>
                        <a:pt x="5641" y="47424"/>
                        <a:pt x="11392" y="49978"/>
                        <a:pt x="15865" y="47424"/>
                      </a:cubicBezTo>
                      <a:close/>
                    </a:path>
                  </a:pathLst>
                </a:custGeom>
                <a:grpFill/>
                <a:ln w="6390" cap="flat">
                  <a:noFill/>
                  <a:prstDash val="solid"/>
                  <a:miter/>
                </a:ln>
              </p:spPr>
              <p:txBody>
                <a:bodyPr rtlCol="0" anchor="ctr"/>
                <a:lstStyle/>
                <a:p>
                  <a:endParaRPr lang="en-US"/>
                </a:p>
              </p:txBody>
            </p:sp>
            <p:sp>
              <p:nvSpPr>
                <p:cNvPr id="49" name="Graphic 4">
                  <a:extLst>
                    <a:ext uri="{FF2B5EF4-FFF2-40B4-BE49-F238E27FC236}">
                      <a16:creationId xmlns:a16="http://schemas.microsoft.com/office/drawing/2014/main" id="{8B0598B5-DD58-D75B-9DDB-8D31436303B4}"/>
                    </a:ext>
                  </a:extLst>
                </p:cNvPr>
                <p:cNvSpPr/>
                <p:nvPr/>
              </p:nvSpPr>
              <p:spPr>
                <a:xfrm>
                  <a:off x="6303034" y="2645684"/>
                  <a:ext cx="27870" cy="22513"/>
                </a:xfrm>
                <a:custGeom>
                  <a:avLst/>
                  <a:gdLst>
                    <a:gd name="connsiteX0" fmla="*/ 27477 w 27870"/>
                    <a:gd name="connsiteY0" fmla="*/ 3830 h 22513"/>
                    <a:gd name="connsiteX1" fmla="*/ 21726 w 27870"/>
                    <a:gd name="connsiteY1" fmla="*/ 0 h 22513"/>
                    <a:gd name="connsiteX2" fmla="*/ 15336 w 27870"/>
                    <a:gd name="connsiteY2" fmla="*/ 7022 h 22513"/>
                    <a:gd name="connsiteX3" fmla="*/ 9585 w 27870"/>
                    <a:gd name="connsiteY3" fmla="*/ 12768 h 22513"/>
                    <a:gd name="connsiteX4" fmla="*/ 6390 w 27870"/>
                    <a:gd name="connsiteY4" fmla="*/ 15322 h 22513"/>
                    <a:gd name="connsiteX5" fmla="*/ 5112 w 27870"/>
                    <a:gd name="connsiteY5" fmla="*/ 16598 h 22513"/>
                    <a:gd name="connsiteX6" fmla="*/ 0 w 27870"/>
                    <a:gd name="connsiteY6" fmla="*/ 20429 h 22513"/>
                    <a:gd name="connsiteX7" fmla="*/ 8307 w 27870"/>
                    <a:gd name="connsiteY7" fmla="*/ 22344 h 22513"/>
                    <a:gd name="connsiteX8" fmla="*/ 22365 w 27870"/>
                    <a:gd name="connsiteY8" fmla="*/ 10853 h 22513"/>
                    <a:gd name="connsiteX9" fmla="*/ 23004 w 27870"/>
                    <a:gd name="connsiteY9" fmla="*/ 10214 h 22513"/>
                    <a:gd name="connsiteX10" fmla="*/ 27477 w 27870"/>
                    <a:gd name="connsiteY10" fmla="*/ 3830 h 2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0" h="22513">
                      <a:moveTo>
                        <a:pt x="27477" y="3830"/>
                      </a:moveTo>
                      <a:cubicBezTo>
                        <a:pt x="24282" y="638"/>
                        <a:pt x="23004" y="0"/>
                        <a:pt x="21726" y="0"/>
                      </a:cubicBezTo>
                      <a:cubicBezTo>
                        <a:pt x="19809" y="3192"/>
                        <a:pt x="17253" y="5107"/>
                        <a:pt x="15336" y="7022"/>
                      </a:cubicBezTo>
                      <a:lnTo>
                        <a:pt x="9585" y="12768"/>
                      </a:lnTo>
                      <a:cubicBezTo>
                        <a:pt x="8307" y="14045"/>
                        <a:pt x="6390" y="15322"/>
                        <a:pt x="6390" y="15322"/>
                      </a:cubicBezTo>
                      <a:lnTo>
                        <a:pt x="5112" y="16598"/>
                      </a:lnTo>
                      <a:cubicBezTo>
                        <a:pt x="3195" y="17875"/>
                        <a:pt x="1917" y="19152"/>
                        <a:pt x="0" y="20429"/>
                      </a:cubicBezTo>
                      <a:cubicBezTo>
                        <a:pt x="1278" y="21706"/>
                        <a:pt x="4473" y="22982"/>
                        <a:pt x="8307" y="22344"/>
                      </a:cubicBezTo>
                      <a:cubicBezTo>
                        <a:pt x="9585" y="22344"/>
                        <a:pt x="12780" y="20429"/>
                        <a:pt x="22365" y="10853"/>
                      </a:cubicBezTo>
                      <a:lnTo>
                        <a:pt x="23004" y="10214"/>
                      </a:lnTo>
                      <a:cubicBezTo>
                        <a:pt x="26837" y="7661"/>
                        <a:pt x="28755" y="5107"/>
                        <a:pt x="27477" y="3830"/>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30E676A8-6048-DE3A-7332-6346465631F7}"/>
                    </a:ext>
                  </a:extLst>
                </p:cNvPr>
                <p:cNvSpPr/>
                <p:nvPr/>
              </p:nvSpPr>
              <p:spPr>
                <a:xfrm>
                  <a:off x="6147119"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08951 w 361670"/>
                    <a:gd name="connsiteY5" fmla="*/ 93845 h 361333"/>
                    <a:gd name="connsiteX6" fmla="*/ 218536 w 361670"/>
                    <a:gd name="connsiteY6" fmla="*/ 72139 h 361333"/>
                    <a:gd name="connsiteX7" fmla="*/ 226843 w 361670"/>
                    <a:gd name="connsiteY7" fmla="*/ 68947 h 361333"/>
                    <a:gd name="connsiteX8" fmla="*/ 230038 w 361670"/>
                    <a:gd name="connsiteY8" fmla="*/ 77246 h 361333"/>
                    <a:gd name="connsiteX9" fmla="*/ 220453 w 361670"/>
                    <a:gd name="connsiteY9" fmla="*/ 98952 h 361333"/>
                    <a:gd name="connsiteX10" fmla="*/ 214702 w 361670"/>
                    <a:gd name="connsiteY10" fmla="*/ 102782 h 361333"/>
                    <a:gd name="connsiteX11" fmla="*/ 212146 w 361670"/>
                    <a:gd name="connsiteY11" fmla="*/ 102144 h 361333"/>
                    <a:gd name="connsiteX12" fmla="*/ 208951 w 361670"/>
                    <a:gd name="connsiteY12" fmla="*/ 93845 h 361333"/>
                    <a:gd name="connsiteX13" fmla="*/ 170611 w 361670"/>
                    <a:gd name="connsiteY13" fmla="*/ 62563 h 361333"/>
                    <a:gd name="connsiteX14" fmla="*/ 177001 w 361670"/>
                    <a:gd name="connsiteY14" fmla="*/ 56179 h 361333"/>
                    <a:gd name="connsiteX15" fmla="*/ 183391 w 361670"/>
                    <a:gd name="connsiteY15" fmla="*/ 62563 h 361333"/>
                    <a:gd name="connsiteX16" fmla="*/ 183391 w 361670"/>
                    <a:gd name="connsiteY16" fmla="*/ 87461 h 361333"/>
                    <a:gd name="connsiteX17" fmla="*/ 177001 w 361670"/>
                    <a:gd name="connsiteY17" fmla="*/ 93845 h 361333"/>
                    <a:gd name="connsiteX18" fmla="*/ 170611 w 361670"/>
                    <a:gd name="connsiteY18" fmla="*/ 87461 h 361333"/>
                    <a:gd name="connsiteX19" fmla="*/ 170611 w 361670"/>
                    <a:gd name="connsiteY19" fmla="*/ 62563 h 361333"/>
                    <a:gd name="connsiteX20" fmla="*/ 125243 w 361670"/>
                    <a:gd name="connsiteY20" fmla="*/ 68947 h 361333"/>
                    <a:gd name="connsiteX21" fmla="*/ 133550 w 361670"/>
                    <a:gd name="connsiteY21" fmla="*/ 72139 h 361333"/>
                    <a:gd name="connsiteX22" fmla="*/ 143135 w 361670"/>
                    <a:gd name="connsiteY22" fmla="*/ 93845 h 361333"/>
                    <a:gd name="connsiteX23" fmla="*/ 139940 w 361670"/>
                    <a:gd name="connsiteY23" fmla="*/ 102144 h 361333"/>
                    <a:gd name="connsiteX24" fmla="*/ 137384 w 361670"/>
                    <a:gd name="connsiteY24" fmla="*/ 102782 h 361333"/>
                    <a:gd name="connsiteX25" fmla="*/ 131633 w 361670"/>
                    <a:gd name="connsiteY25" fmla="*/ 98952 h 361333"/>
                    <a:gd name="connsiteX26" fmla="*/ 122048 w 361670"/>
                    <a:gd name="connsiteY26" fmla="*/ 77246 h 361333"/>
                    <a:gd name="connsiteX27" fmla="*/ 125243 w 361670"/>
                    <a:gd name="connsiteY27" fmla="*/ 68947 h 361333"/>
                    <a:gd name="connsiteX28" fmla="*/ 313107 w 361670"/>
                    <a:gd name="connsiteY28" fmla="*/ 218332 h 361333"/>
                    <a:gd name="connsiteX29" fmla="*/ 286908 w 361670"/>
                    <a:gd name="connsiteY29" fmla="*/ 229185 h 361333"/>
                    <a:gd name="connsiteX30" fmla="*/ 288825 w 361670"/>
                    <a:gd name="connsiteY30" fmla="*/ 235569 h 361333"/>
                    <a:gd name="connsiteX31" fmla="*/ 282435 w 361670"/>
                    <a:gd name="connsiteY31" fmla="*/ 248975 h 361333"/>
                    <a:gd name="connsiteX32" fmla="*/ 272211 w 361670"/>
                    <a:gd name="connsiteY32" fmla="*/ 254721 h 361333"/>
                    <a:gd name="connsiteX33" fmla="*/ 272211 w 361670"/>
                    <a:gd name="connsiteY33" fmla="*/ 255998 h 361333"/>
                    <a:gd name="connsiteX34" fmla="*/ 265182 w 361670"/>
                    <a:gd name="connsiteY34" fmla="*/ 270681 h 361333"/>
                    <a:gd name="connsiteX35" fmla="*/ 251124 w 361670"/>
                    <a:gd name="connsiteY35" fmla="*/ 276427 h 361333"/>
                    <a:gd name="connsiteX36" fmla="*/ 250486 w 361670"/>
                    <a:gd name="connsiteY36" fmla="*/ 276427 h 361333"/>
                    <a:gd name="connsiteX37" fmla="*/ 248569 w 361670"/>
                    <a:gd name="connsiteY37" fmla="*/ 275788 h 361333"/>
                    <a:gd name="connsiteX38" fmla="*/ 242818 w 361670"/>
                    <a:gd name="connsiteY38" fmla="*/ 284726 h 361333"/>
                    <a:gd name="connsiteX39" fmla="*/ 229399 w 361670"/>
                    <a:gd name="connsiteY39" fmla="*/ 290471 h 361333"/>
                    <a:gd name="connsiteX40" fmla="*/ 228760 w 361670"/>
                    <a:gd name="connsiteY40" fmla="*/ 290471 h 361333"/>
                    <a:gd name="connsiteX41" fmla="*/ 222370 w 361670"/>
                    <a:gd name="connsiteY41" fmla="*/ 288556 h 361333"/>
                    <a:gd name="connsiteX42" fmla="*/ 205117 w 361670"/>
                    <a:gd name="connsiteY42" fmla="*/ 298771 h 361333"/>
                    <a:gd name="connsiteX43" fmla="*/ 203839 w 361670"/>
                    <a:gd name="connsiteY43" fmla="*/ 298771 h 361333"/>
                    <a:gd name="connsiteX44" fmla="*/ 191059 w 361670"/>
                    <a:gd name="connsiteY44" fmla="*/ 293663 h 361333"/>
                    <a:gd name="connsiteX45" fmla="*/ 190420 w 361670"/>
                    <a:gd name="connsiteY45" fmla="*/ 293025 h 361333"/>
                    <a:gd name="connsiteX46" fmla="*/ 188503 w 361670"/>
                    <a:gd name="connsiteY46" fmla="*/ 294940 h 361333"/>
                    <a:gd name="connsiteX47" fmla="*/ 187864 w 361670"/>
                    <a:gd name="connsiteY47" fmla="*/ 295579 h 361333"/>
                    <a:gd name="connsiteX48" fmla="*/ 166138 w 361670"/>
                    <a:gd name="connsiteY48" fmla="*/ 310900 h 361333"/>
                    <a:gd name="connsiteX49" fmla="*/ 164221 w 361670"/>
                    <a:gd name="connsiteY49" fmla="*/ 310900 h 361333"/>
                    <a:gd name="connsiteX50" fmla="*/ 146969 w 361670"/>
                    <a:gd name="connsiteY50" fmla="*/ 303878 h 361333"/>
                    <a:gd name="connsiteX51" fmla="*/ 145052 w 361670"/>
                    <a:gd name="connsiteY51" fmla="*/ 301324 h 361333"/>
                    <a:gd name="connsiteX52" fmla="*/ 138022 w 361670"/>
                    <a:gd name="connsiteY52" fmla="*/ 301962 h 361333"/>
                    <a:gd name="connsiteX53" fmla="*/ 117575 w 361670"/>
                    <a:gd name="connsiteY53" fmla="*/ 291748 h 361333"/>
                    <a:gd name="connsiteX54" fmla="*/ 117575 w 361670"/>
                    <a:gd name="connsiteY54" fmla="*/ 291110 h 361333"/>
                    <a:gd name="connsiteX55" fmla="*/ 116297 w 361670"/>
                    <a:gd name="connsiteY55" fmla="*/ 291110 h 361333"/>
                    <a:gd name="connsiteX56" fmla="*/ 97127 w 361670"/>
                    <a:gd name="connsiteY56" fmla="*/ 282172 h 361333"/>
                    <a:gd name="connsiteX57" fmla="*/ 92015 w 361670"/>
                    <a:gd name="connsiteY57" fmla="*/ 270681 h 361333"/>
                    <a:gd name="connsiteX58" fmla="*/ 91376 w 361670"/>
                    <a:gd name="connsiteY58" fmla="*/ 270681 h 361333"/>
                    <a:gd name="connsiteX59" fmla="*/ 76040 w 361670"/>
                    <a:gd name="connsiteY59" fmla="*/ 258551 h 361333"/>
                    <a:gd name="connsiteX60" fmla="*/ 77957 w 361670"/>
                    <a:gd name="connsiteY60" fmla="*/ 236846 h 361333"/>
                    <a:gd name="connsiteX61" fmla="*/ 75401 w 361670"/>
                    <a:gd name="connsiteY61" fmla="*/ 233654 h 361333"/>
                    <a:gd name="connsiteX62" fmla="*/ 75401 w 361670"/>
                    <a:gd name="connsiteY62" fmla="*/ 233654 h 361333"/>
                    <a:gd name="connsiteX63" fmla="*/ 50481 w 361670"/>
                    <a:gd name="connsiteY63" fmla="*/ 219609 h 361333"/>
                    <a:gd name="connsiteX64" fmla="*/ 46646 w 361670"/>
                    <a:gd name="connsiteY64" fmla="*/ 211310 h 361333"/>
                    <a:gd name="connsiteX65" fmla="*/ 54953 w 361670"/>
                    <a:gd name="connsiteY65" fmla="*/ 207479 h 361333"/>
                    <a:gd name="connsiteX66" fmla="*/ 84986 w 361670"/>
                    <a:gd name="connsiteY66" fmla="*/ 225355 h 361333"/>
                    <a:gd name="connsiteX67" fmla="*/ 88820 w 361670"/>
                    <a:gd name="connsiteY67" fmla="*/ 229185 h 361333"/>
                    <a:gd name="connsiteX68" fmla="*/ 111824 w 361670"/>
                    <a:gd name="connsiteY68" fmla="*/ 214502 h 361333"/>
                    <a:gd name="connsiteX69" fmla="*/ 140579 w 361670"/>
                    <a:gd name="connsiteY69" fmla="*/ 219609 h 361333"/>
                    <a:gd name="connsiteX70" fmla="*/ 142496 w 361670"/>
                    <a:gd name="connsiteY70" fmla="*/ 222163 h 361333"/>
                    <a:gd name="connsiteX71" fmla="*/ 143774 w 361670"/>
                    <a:gd name="connsiteY71" fmla="*/ 221524 h 361333"/>
                    <a:gd name="connsiteX72" fmla="*/ 171250 w 361670"/>
                    <a:gd name="connsiteY72" fmla="*/ 224716 h 361333"/>
                    <a:gd name="connsiteX73" fmla="*/ 173167 w 361670"/>
                    <a:gd name="connsiteY73" fmla="*/ 247060 h 361333"/>
                    <a:gd name="connsiteX74" fmla="*/ 180196 w 361670"/>
                    <a:gd name="connsiteY74" fmla="*/ 252806 h 361333"/>
                    <a:gd name="connsiteX75" fmla="*/ 180835 w 361670"/>
                    <a:gd name="connsiteY75" fmla="*/ 253444 h 361333"/>
                    <a:gd name="connsiteX76" fmla="*/ 184030 w 361670"/>
                    <a:gd name="connsiteY76" fmla="*/ 263020 h 361333"/>
                    <a:gd name="connsiteX77" fmla="*/ 193615 w 361670"/>
                    <a:gd name="connsiteY77" fmla="*/ 270043 h 361333"/>
                    <a:gd name="connsiteX78" fmla="*/ 194893 w 361670"/>
                    <a:gd name="connsiteY78" fmla="*/ 271319 h 361333"/>
                    <a:gd name="connsiteX79" fmla="*/ 197449 w 361670"/>
                    <a:gd name="connsiteY79" fmla="*/ 282172 h 361333"/>
                    <a:gd name="connsiteX80" fmla="*/ 198727 w 361670"/>
                    <a:gd name="connsiteY80" fmla="*/ 283449 h 361333"/>
                    <a:gd name="connsiteX81" fmla="*/ 205117 w 361670"/>
                    <a:gd name="connsiteY81" fmla="*/ 286003 h 361333"/>
                    <a:gd name="connsiteX82" fmla="*/ 212146 w 361670"/>
                    <a:gd name="connsiteY82" fmla="*/ 280257 h 361333"/>
                    <a:gd name="connsiteX83" fmla="*/ 208312 w 361670"/>
                    <a:gd name="connsiteY83" fmla="*/ 277065 h 361333"/>
                    <a:gd name="connsiteX84" fmla="*/ 194893 w 361670"/>
                    <a:gd name="connsiteY84" fmla="*/ 265574 h 361333"/>
                    <a:gd name="connsiteX85" fmla="*/ 193615 w 361670"/>
                    <a:gd name="connsiteY85" fmla="*/ 256636 h 361333"/>
                    <a:gd name="connsiteX86" fmla="*/ 202561 w 361670"/>
                    <a:gd name="connsiteY86" fmla="*/ 255359 h 361333"/>
                    <a:gd name="connsiteX87" fmla="*/ 217258 w 361670"/>
                    <a:gd name="connsiteY87" fmla="*/ 268127 h 361333"/>
                    <a:gd name="connsiteX88" fmla="*/ 230038 w 361670"/>
                    <a:gd name="connsiteY88" fmla="*/ 278342 h 361333"/>
                    <a:gd name="connsiteX89" fmla="*/ 230038 w 361670"/>
                    <a:gd name="connsiteY89" fmla="*/ 278342 h 361333"/>
                    <a:gd name="connsiteX90" fmla="*/ 235150 w 361670"/>
                    <a:gd name="connsiteY90" fmla="*/ 275788 h 361333"/>
                    <a:gd name="connsiteX91" fmla="*/ 237706 w 361670"/>
                    <a:gd name="connsiteY91" fmla="*/ 270043 h 361333"/>
                    <a:gd name="connsiteX92" fmla="*/ 236428 w 361670"/>
                    <a:gd name="connsiteY92" fmla="*/ 268766 h 361333"/>
                    <a:gd name="connsiteX93" fmla="*/ 234511 w 361670"/>
                    <a:gd name="connsiteY93" fmla="*/ 266851 h 361333"/>
                    <a:gd name="connsiteX94" fmla="*/ 227482 w 361670"/>
                    <a:gd name="connsiteY94" fmla="*/ 259828 h 361333"/>
                    <a:gd name="connsiteX95" fmla="*/ 227482 w 361670"/>
                    <a:gd name="connsiteY95" fmla="*/ 259828 h 361333"/>
                    <a:gd name="connsiteX96" fmla="*/ 227482 w 361670"/>
                    <a:gd name="connsiteY96" fmla="*/ 259828 h 361333"/>
                    <a:gd name="connsiteX97" fmla="*/ 225565 w 361670"/>
                    <a:gd name="connsiteY97" fmla="*/ 257913 h 361333"/>
                    <a:gd name="connsiteX98" fmla="*/ 212785 w 361670"/>
                    <a:gd name="connsiteY98" fmla="*/ 246422 h 361333"/>
                    <a:gd name="connsiteX99" fmla="*/ 212146 w 361670"/>
                    <a:gd name="connsiteY99" fmla="*/ 237484 h 361333"/>
                    <a:gd name="connsiteX100" fmla="*/ 221092 w 361670"/>
                    <a:gd name="connsiteY100" fmla="*/ 236846 h 361333"/>
                    <a:gd name="connsiteX101" fmla="*/ 234511 w 361670"/>
                    <a:gd name="connsiteY101" fmla="*/ 249614 h 361333"/>
                    <a:gd name="connsiteX102" fmla="*/ 236428 w 361670"/>
                    <a:gd name="connsiteY102" fmla="*/ 250891 h 361333"/>
                    <a:gd name="connsiteX103" fmla="*/ 246651 w 361670"/>
                    <a:gd name="connsiteY103" fmla="*/ 259190 h 361333"/>
                    <a:gd name="connsiteX104" fmla="*/ 253041 w 361670"/>
                    <a:gd name="connsiteY104" fmla="*/ 264297 h 361333"/>
                    <a:gd name="connsiteX105" fmla="*/ 258792 w 361670"/>
                    <a:gd name="connsiteY105" fmla="*/ 261743 h 361333"/>
                    <a:gd name="connsiteX106" fmla="*/ 261349 w 361670"/>
                    <a:gd name="connsiteY106" fmla="*/ 255998 h 361333"/>
                    <a:gd name="connsiteX107" fmla="*/ 259431 w 361670"/>
                    <a:gd name="connsiteY107" fmla="*/ 251529 h 361333"/>
                    <a:gd name="connsiteX108" fmla="*/ 258792 w 361670"/>
                    <a:gd name="connsiteY108" fmla="*/ 250891 h 361333"/>
                    <a:gd name="connsiteX109" fmla="*/ 247929 w 361670"/>
                    <a:gd name="connsiteY109" fmla="*/ 241315 h 361333"/>
                    <a:gd name="connsiteX110" fmla="*/ 233872 w 361670"/>
                    <a:gd name="connsiteY110" fmla="*/ 229185 h 361333"/>
                    <a:gd name="connsiteX111" fmla="*/ 232594 w 361670"/>
                    <a:gd name="connsiteY111" fmla="*/ 220247 h 361333"/>
                    <a:gd name="connsiteX112" fmla="*/ 241540 w 361670"/>
                    <a:gd name="connsiteY112" fmla="*/ 218971 h 361333"/>
                    <a:gd name="connsiteX113" fmla="*/ 256236 w 361670"/>
                    <a:gd name="connsiteY113" fmla="*/ 231739 h 361333"/>
                    <a:gd name="connsiteX114" fmla="*/ 269655 w 361670"/>
                    <a:gd name="connsiteY114" fmla="*/ 242591 h 361333"/>
                    <a:gd name="connsiteX115" fmla="*/ 274767 w 361670"/>
                    <a:gd name="connsiteY115" fmla="*/ 239399 h 361333"/>
                    <a:gd name="connsiteX116" fmla="*/ 276684 w 361670"/>
                    <a:gd name="connsiteY116" fmla="*/ 235569 h 361333"/>
                    <a:gd name="connsiteX117" fmla="*/ 274767 w 361670"/>
                    <a:gd name="connsiteY117" fmla="*/ 232377 h 361333"/>
                    <a:gd name="connsiteX118" fmla="*/ 272850 w 361670"/>
                    <a:gd name="connsiteY118" fmla="*/ 230462 h 361333"/>
                    <a:gd name="connsiteX119" fmla="*/ 260709 w 361670"/>
                    <a:gd name="connsiteY119" fmla="*/ 215779 h 361333"/>
                    <a:gd name="connsiteX120" fmla="*/ 251764 w 361670"/>
                    <a:gd name="connsiteY120" fmla="*/ 204926 h 361333"/>
                    <a:gd name="connsiteX121" fmla="*/ 239623 w 361670"/>
                    <a:gd name="connsiteY121" fmla="*/ 195988 h 361333"/>
                    <a:gd name="connsiteX122" fmla="*/ 207673 w 361670"/>
                    <a:gd name="connsiteY122" fmla="*/ 183220 h 361333"/>
                    <a:gd name="connsiteX123" fmla="*/ 161027 w 361670"/>
                    <a:gd name="connsiteY123" fmla="*/ 187689 h 361333"/>
                    <a:gd name="connsiteX124" fmla="*/ 133550 w 361670"/>
                    <a:gd name="connsiteY124" fmla="*/ 196627 h 361333"/>
                    <a:gd name="connsiteX125" fmla="*/ 111185 w 361670"/>
                    <a:gd name="connsiteY125" fmla="*/ 183859 h 361333"/>
                    <a:gd name="connsiteX126" fmla="*/ 112463 w 361670"/>
                    <a:gd name="connsiteY126" fmla="*/ 171091 h 361333"/>
                    <a:gd name="connsiteX127" fmla="*/ 118853 w 361670"/>
                    <a:gd name="connsiteY127" fmla="*/ 164707 h 361333"/>
                    <a:gd name="connsiteX128" fmla="*/ 141217 w 361670"/>
                    <a:gd name="connsiteY128" fmla="*/ 145555 h 361333"/>
                    <a:gd name="connsiteX129" fmla="*/ 143135 w 361670"/>
                    <a:gd name="connsiteY129" fmla="*/ 144278 h 361333"/>
                    <a:gd name="connsiteX130" fmla="*/ 156553 w 361670"/>
                    <a:gd name="connsiteY130" fmla="*/ 139171 h 361333"/>
                    <a:gd name="connsiteX131" fmla="*/ 155275 w 361670"/>
                    <a:gd name="connsiteY131" fmla="*/ 138533 h 361333"/>
                    <a:gd name="connsiteX132" fmla="*/ 150164 w 361670"/>
                    <a:gd name="connsiteY132" fmla="*/ 139171 h 361333"/>
                    <a:gd name="connsiteX133" fmla="*/ 116936 w 361670"/>
                    <a:gd name="connsiteY133" fmla="*/ 146193 h 361333"/>
                    <a:gd name="connsiteX134" fmla="*/ 113102 w 361670"/>
                    <a:gd name="connsiteY134" fmla="*/ 146832 h 361333"/>
                    <a:gd name="connsiteX135" fmla="*/ 104156 w 361670"/>
                    <a:gd name="connsiteY135" fmla="*/ 145555 h 361333"/>
                    <a:gd name="connsiteX136" fmla="*/ 84986 w 361670"/>
                    <a:gd name="connsiteY136" fmla="*/ 136617 h 361333"/>
                    <a:gd name="connsiteX137" fmla="*/ 81791 w 361670"/>
                    <a:gd name="connsiteY137" fmla="*/ 128318 h 361333"/>
                    <a:gd name="connsiteX138" fmla="*/ 90098 w 361670"/>
                    <a:gd name="connsiteY138" fmla="*/ 125126 h 361333"/>
                    <a:gd name="connsiteX139" fmla="*/ 109268 w 361670"/>
                    <a:gd name="connsiteY139" fmla="*/ 133425 h 361333"/>
                    <a:gd name="connsiteX140" fmla="*/ 114380 w 361670"/>
                    <a:gd name="connsiteY140" fmla="*/ 134064 h 361333"/>
                    <a:gd name="connsiteX141" fmla="*/ 147607 w 361670"/>
                    <a:gd name="connsiteY141" fmla="*/ 127041 h 361333"/>
                    <a:gd name="connsiteX142" fmla="*/ 157832 w 361670"/>
                    <a:gd name="connsiteY142" fmla="*/ 126403 h 361333"/>
                    <a:gd name="connsiteX143" fmla="*/ 159110 w 361670"/>
                    <a:gd name="connsiteY143" fmla="*/ 126403 h 361333"/>
                    <a:gd name="connsiteX144" fmla="*/ 176362 w 361670"/>
                    <a:gd name="connsiteY144" fmla="*/ 132149 h 361333"/>
                    <a:gd name="connsiteX145" fmla="*/ 177001 w 361670"/>
                    <a:gd name="connsiteY145" fmla="*/ 132149 h 361333"/>
                    <a:gd name="connsiteX146" fmla="*/ 205756 w 361670"/>
                    <a:gd name="connsiteY146" fmla="*/ 130233 h 361333"/>
                    <a:gd name="connsiteX147" fmla="*/ 217258 w 361670"/>
                    <a:gd name="connsiteY147" fmla="*/ 130872 h 361333"/>
                    <a:gd name="connsiteX148" fmla="*/ 256876 w 361670"/>
                    <a:gd name="connsiteY148" fmla="*/ 130872 h 361333"/>
                    <a:gd name="connsiteX149" fmla="*/ 256876 w 361670"/>
                    <a:gd name="connsiteY149" fmla="*/ 130872 h 361333"/>
                    <a:gd name="connsiteX150" fmla="*/ 260071 w 361670"/>
                    <a:gd name="connsiteY150" fmla="*/ 130233 h 361333"/>
                    <a:gd name="connsiteX151" fmla="*/ 281796 w 361670"/>
                    <a:gd name="connsiteY151" fmla="*/ 118742 h 361333"/>
                    <a:gd name="connsiteX152" fmla="*/ 290742 w 361670"/>
                    <a:gd name="connsiteY152" fmla="*/ 121296 h 361333"/>
                    <a:gd name="connsiteX153" fmla="*/ 288186 w 361670"/>
                    <a:gd name="connsiteY153" fmla="*/ 130233 h 361333"/>
                    <a:gd name="connsiteX154" fmla="*/ 267099 w 361670"/>
                    <a:gd name="connsiteY154" fmla="*/ 141724 h 361333"/>
                    <a:gd name="connsiteX155" fmla="*/ 257514 w 361670"/>
                    <a:gd name="connsiteY155" fmla="*/ 144278 h 361333"/>
                    <a:gd name="connsiteX156" fmla="*/ 257514 w 361670"/>
                    <a:gd name="connsiteY156" fmla="*/ 144278 h 361333"/>
                    <a:gd name="connsiteX157" fmla="*/ 217897 w 361670"/>
                    <a:gd name="connsiteY157" fmla="*/ 144278 h 361333"/>
                    <a:gd name="connsiteX158" fmla="*/ 205117 w 361670"/>
                    <a:gd name="connsiteY158" fmla="*/ 143640 h 361333"/>
                    <a:gd name="connsiteX159" fmla="*/ 182113 w 361670"/>
                    <a:gd name="connsiteY159" fmla="*/ 144278 h 361333"/>
                    <a:gd name="connsiteX160" fmla="*/ 150164 w 361670"/>
                    <a:gd name="connsiteY160" fmla="*/ 156408 h 361333"/>
                    <a:gd name="connsiteX161" fmla="*/ 124604 w 361670"/>
                    <a:gd name="connsiteY161" fmla="*/ 178752 h 361333"/>
                    <a:gd name="connsiteX162" fmla="*/ 156553 w 361670"/>
                    <a:gd name="connsiteY162" fmla="*/ 175560 h 361333"/>
                    <a:gd name="connsiteX163" fmla="*/ 159110 w 361670"/>
                    <a:gd name="connsiteY163" fmla="*/ 174921 h 361333"/>
                    <a:gd name="connsiteX164" fmla="*/ 208951 w 361670"/>
                    <a:gd name="connsiteY164" fmla="*/ 169814 h 361333"/>
                    <a:gd name="connsiteX165" fmla="*/ 208951 w 361670"/>
                    <a:gd name="connsiteY165" fmla="*/ 169814 h 361333"/>
                    <a:gd name="connsiteX166" fmla="*/ 210229 w 361670"/>
                    <a:gd name="connsiteY166" fmla="*/ 169814 h 361333"/>
                    <a:gd name="connsiteX167" fmla="*/ 211507 w 361670"/>
                    <a:gd name="connsiteY167" fmla="*/ 169814 h 361333"/>
                    <a:gd name="connsiteX168" fmla="*/ 211507 w 361670"/>
                    <a:gd name="connsiteY168" fmla="*/ 169814 h 361333"/>
                    <a:gd name="connsiteX169" fmla="*/ 245374 w 361670"/>
                    <a:gd name="connsiteY169" fmla="*/ 183220 h 361333"/>
                    <a:gd name="connsiteX170" fmla="*/ 246013 w 361670"/>
                    <a:gd name="connsiteY170" fmla="*/ 183220 h 361333"/>
                    <a:gd name="connsiteX171" fmla="*/ 246013 w 361670"/>
                    <a:gd name="connsiteY171" fmla="*/ 183220 h 361333"/>
                    <a:gd name="connsiteX172" fmla="*/ 280518 w 361670"/>
                    <a:gd name="connsiteY172" fmla="*/ 175560 h 361333"/>
                    <a:gd name="connsiteX173" fmla="*/ 289464 w 361670"/>
                    <a:gd name="connsiteY173" fmla="*/ 177475 h 361333"/>
                    <a:gd name="connsiteX174" fmla="*/ 287547 w 361670"/>
                    <a:gd name="connsiteY174" fmla="*/ 186412 h 361333"/>
                    <a:gd name="connsiteX175" fmla="*/ 261987 w 361670"/>
                    <a:gd name="connsiteY175" fmla="*/ 195350 h 361333"/>
                    <a:gd name="connsiteX176" fmla="*/ 262626 w 361670"/>
                    <a:gd name="connsiteY176" fmla="*/ 195988 h 361333"/>
                    <a:gd name="connsiteX177" fmla="*/ 270934 w 361670"/>
                    <a:gd name="connsiteY177" fmla="*/ 206203 h 361333"/>
                    <a:gd name="connsiteX178" fmla="*/ 280518 w 361670"/>
                    <a:gd name="connsiteY178" fmla="*/ 217694 h 361333"/>
                    <a:gd name="connsiteX179" fmla="*/ 309912 w 361670"/>
                    <a:gd name="connsiteY179" fmla="*/ 205564 h 361333"/>
                    <a:gd name="connsiteX180" fmla="*/ 318219 w 361670"/>
                    <a:gd name="connsiteY180" fmla="*/ 209395 h 361333"/>
                    <a:gd name="connsiteX181" fmla="*/ 313107 w 361670"/>
                    <a:gd name="connsiteY181" fmla="*/ 21833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0518" y="0"/>
                        <a:pt x="180835" y="0"/>
                      </a:cubicBezTo>
                      <a:close/>
                      <a:moveTo>
                        <a:pt x="208951" y="93845"/>
                      </a:moveTo>
                      <a:lnTo>
                        <a:pt x="218536" y="72139"/>
                      </a:lnTo>
                      <a:cubicBezTo>
                        <a:pt x="219814" y="68947"/>
                        <a:pt x="223648" y="67670"/>
                        <a:pt x="226843" y="68947"/>
                      </a:cubicBezTo>
                      <a:cubicBezTo>
                        <a:pt x="230038" y="70224"/>
                        <a:pt x="231316" y="74054"/>
                        <a:pt x="230038" y="77246"/>
                      </a:cubicBezTo>
                      <a:lnTo>
                        <a:pt x="220453" y="98952"/>
                      </a:lnTo>
                      <a:cubicBezTo>
                        <a:pt x="219175" y="101505"/>
                        <a:pt x="217258" y="102782"/>
                        <a:pt x="214702" y="102782"/>
                      </a:cubicBezTo>
                      <a:cubicBezTo>
                        <a:pt x="214063" y="102782"/>
                        <a:pt x="212785" y="102782"/>
                        <a:pt x="212146" y="102144"/>
                      </a:cubicBezTo>
                      <a:cubicBezTo>
                        <a:pt x="208951" y="100867"/>
                        <a:pt x="207673" y="97037"/>
                        <a:pt x="208951" y="93845"/>
                      </a:cubicBezTo>
                      <a:close/>
                      <a:moveTo>
                        <a:pt x="170611" y="62563"/>
                      </a:moveTo>
                      <a:cubicBezTo>
                        <a:pt x="170611" y="58733"/>
                        <a:pt x="173167" y="56179"/>
                        <a:pt x="177001" y="56179"/>
                      </a:cubicBezTo>
                      <a:cubicBezTo>
                        <a:pt x="180835" y="56179"/>
                        <a:pt x="183391" y="58733"/>
                        <a:pt x="183391" y="62563"/>
                      </a:cubicBezTo>
                      <a:lnTo>
                        <a:pt x="183391" y="87461"/>
                      </a:lnTo>
                      <a:cubicBezTo>
                        <a:pt x="183391" y="91291"/>
                        <a:pt x="180835" y="93845"/>
                        <a:pt x="177001" y="93845"/>
                      </a:cubicBezTo>
                      <a:cubicBezTo>
                        <a:pt x="173167" y="93845"/>
                        <a:pt x="170611" y="91291"/>
                        <a:pt x="170611" y="87461"/>
                      </a:cubicBezTo>
                      <a:lnTo>
                        <a:pt x="170611" y="62563"/>
                      </a:lnTo>
                      <a:close/>
                      <a:moveTo>
                        <a:pt x="125243" y="68947"/>
                      </a:moveTo>
                      <a:cubicBezTo>
                        <a:pt x="128438" y="67670"/>
                        <a:pt x="132272" y="68947"/>
                        <a:pt x="133550" y="72139"/>
                      </a:cubicBezTo>
                      <a:lnTo>
                        <a:pt x="143135" y="93845"/>
                      </a:lnTo>
                      <a:cubicBezTo>
                        <a:pt x="144412" y="97037"/>
                        <a:pt x="143135" y="100867"/>
                        <a:pt x="139940" y="102144"/>
                      </a:cubicBezTo>
                      <a:cubicBezTo>
                        <a:pt x="139301" y="102782"/>
                        <a:pt x="138022" y="102782"/>
                        <a:pt x="137384" y="102782"/>
                      </a:cubicBezTo>
                      <a:cubicBezTo>
                        <a:pt x="134828" y="102782"/>
                        <a:pt x="132272" y="101505"/>
                        <a:pt x="131633" y="98952"/>
                      </a:cubicBezTo>
                      <a:lnTo>
                        <a:pt x="122048" y="77246"/>
                      </a:lnTo>
                      <a:cubicBezTo>
                        <a:pt x="120770" y="74054"/>
                        <a:pt x="122048" y="70224"/>
                        <a:pt x="125243" y="68947"/>
                      </a:cubicBezTo>
                      <a:close/>
                      <a:moveTo>
                        <a:pt x="313107" y="218332"/>
                      </a:moveTo>
                      <a:lnTo>
                        <a:pt x="286908" y="229185"/>
                      </a:lnTo>
                      <a:cubicBezTo>
                        <a:pt x="287547" y="231100"/>
                        <a:pt x="288825" y="233015"/>
                        <a:pt x="288825" y="235569"/>
                      </a:cubicBezTo>
                      <a:cubicBezTo>
                        <a:pt x="288825" y="240676"/>
                        <a:pt x="286908" y="245145"/>
                        <a:pt x="282435" y="248975"/>
                      </a:cubicBezTo>
                      <a:cubicBezTo>
                        <a:pt x="279240" y="251529"/>
                        <a:pt x="276045" y="253444"/>
                        <a:pt x="272211" y="254721"/>
                      </a:cubicBezTo>
                      <a:cubicBezTo>
                        <a:pt x="272211" y="255359"/>
                        <a:pt x="272211" y="255998"/>
                        <a:pt x="272211" y="255998"/>
                      </a:cubicBezTo>
                      <a:cubicBezTo>
                        <a:pt x="272211" y="260467"/>
                        <a:pt x="270934" y="265574"/>
                        <a:pt x="265182" y="270681"/>
                      </a:cubicBezTo>
                      <a:cubicBezTo>
                        <a:pt x="260071" y="275150"/>
                        <a:pt x="254959" y="276427"/>
                        <a:pt x="251124" y="276427"/>
                      </a:cubicBezTo>
                      <a:cubicBezTo>
                        <a:pt x="251124" y="276427"/>
                        <a:pt x="250486" y="276427"/>
                        <a:pt x="250486" y="276427"/>
                      </a:cubicBezTo>
                      <a:cubicBezTo>
                        <a:pt x="249846" y="276427"/>
                        <a:pt x="249208" y="276427"/>
                        <a:pt x="248569" y="275788"/>
                      </a:cubicBezTo>
                      <a:cubicBezTo>
                        <a:pt x="247929" y="278980"/>
                        <a:pt x="246013" y="282172"/>
                        <a:pt x="242818" y="284726"/>
                      </a:cubicBezTo>
                      <a:cubicBezTo>
                        <a:pt x="238345" y="288556"/>
                        <a:pt x="233872" y="290471"/>
                        <a:pt x="229399" y="290471"/>
                      </a:cubicBezTo>
                      <a:cubicBezTo>
                        <a:pt x="229399" y="290471"/>
                        <a:pt x="228760" y="290471"/>
                        <a:pt x="228760" y="290471"/>
                      </a:cubicBezTo>
                      <a:cubicBezTo>
                        <a:pt x="226843" y="290471"/>
                        <a:pt x="224926" y="289833"/>
                        <a:pt x="222370" y="288556"/>
                      </a:cubicBezTo>
                      <a:cubicBezTo>
                        <a:pt x="216619" y="296855"/>
                        <a:pt x="210229" y="298771"/>
                        <a:pt x="205117" y="298771"/>
                      </a:cubicBezTo>
                      <a:cubicBezTo>
                        <a:pt x="204478" y="298771"/>
                        <a:pt x="204478" y="298771"/>
                        <a:pt x="203839" y="298771"/>
                      </a:cubicBezTo>
                      <a:cubicBezTo>
                        <a:pt x="201283" y="298771"/>
                        <a:pt x="194254" y="295579"/>
                        <a:pt x="191059" y="293663"/>
                      </a:cubicBezTo>
                      <a:cubicBezTo>
                        <a:pt x="191059" y="293663"/>
                        <a:pt x="190420" y="293663"/>
                        <a:pt x="190420" y="293025"/>
                      </a:cubicBezTo>
                      <a:cubicBezTo>
                        <a:pt x="189781" y="293663"/>
                        <a:pt x="189142" y="294302"/>
                        <a:pt x="188503" y="294940"/>
                      </a:cubicBezTo>
                      <a:lnTo>
                        <a:pt x="187864" y="295579"/>
                      </a:lnTo>
                      <a:cubicBezTo>
                        <a:pt x="178918" y="304516"/>
                        <a:pt x="171889" y="310262"/>
                        <a:pt x="166138" y="310900"/>
                      </a:cubicBezTo>
                      <a:cubicBezTo>
                        <a:pt x="165500" y="310900"/>
                        <a:pt x="164860" y="310900"/>
                        <a:pt x="164221" y="310900"/>
                      </a:cubicBezTo>
                      <a:cubicBezTo>
                        <a:pt x="157192" y="310900"/>
                        <a:pt x="150802" y="308346"/>
                        <a:pt x="146969" y="303878"/>
                      </a:cubicBezTo>
                      <a:cubicBezTo>
                        <a:pt x="146330" y="303239"/>
                        <a:pt x="145690" y="302601"/>
                        <a:pt x="145052" y="301324"/>
                      </a:cubicBezTo>
                      <a:cubicBezTo>
                        <a:pt x="143135" y="301962"/>
                        <a:pt x="140579" y="301962"/>
                        <a:pt x="138022" y="301962"/>
                      </a:cubicBezTo>
                      <a:cubicBezTo>
                        <a:pt x="130355" y="301962"/>
                        <a:pt x="121409" y="299409"/>
                        <a:pt x="117575" y="291748"/>
                      </a:cubicBezTo>
                      <a:cubicBezTo>
                        <a:pt x="117575" y="291748"/>
                        <a:pt x="117575" y="291110"/>
                        <a:pt x="117575" y="291110"/>
                      </a:cubicBezTo>
                      <a:cubicBezTo>
                        <a:pt x="116936" y="291110"/>
                        <a:pt x="116936" y="291110"/>
                        <a:pt x="116297" y="291110"/>
                      </a:cubicBezTo>
                      <a:cubicBezTo>
                        <a:pt x="108629" y="291110"/>
                        <a:pt x="101600" y="287279"/>
                        <a:pt x="97127" y="282172"/>
                      </a:cubicBezTo>
                      <a:cubicBezTo>
                        <a:pt x="93932" y="278342"/>
                        <a:pt x="92015" y="274511"/>
                        <a:pt x="92015" y="270681"/>
                      </a:cubicBezTo>
                      <a:cubicBezTo>
                        <a:pt x="92015" y="270681"/>
                        <a:pt x="91376" y="270681"/>
                        <a:pt x="91376" y="270681"/>
                      </a:cubicBezTo>
                      <a:cubicBezTo>
                        <a:pt x="84986" y="269404"/>
                        <a:pt x="79235" y="264935"/>
                        <a:pt x="76040" y="258551"/>
                      </a:cubicBezTo>
                      <a:cubicBezTo>
                        <a:pt x="72206" y="251529"/>
                        <a:pt x="72845" y="242591"/>
                        <a:pt x="77957" y="236846"/>
                      </a:cubicBezTo>
                      <a:cubicBezTo>
                        <a:pt x="76679" y="235569"/>
                        <a:pt x="76040" y="234931"/>
                        <a:pt x="75401" y="233654"/>
                      </a:cubicBezTo>
                      <a:cubicBezTo>
                        <a:pt x="75401" y="233654"/>
                        <a:pt x="75401" y="233654"/>
                        <a:pt x="75401" y="233654"/>
                      </a:cubicBezTo>
                      <a:cubicBezTo>
                        <a:pt x="75401" y="233654"/>
                        <a:pt x="68372" y="226631"/>
                        <a:pt x="50481" y="219609"/>
                      </a:cubicBezTo>
                      <a:cubicBezTo>
                        <a:pt x="47286" y="218332"/>
                        <a:pt x="45368" y="214502"/>
                        <a:pt x="46646" y="211310"/>
                      </a:cubicBezTo>
                      <a:cubicBezTo>
                        <a:pt x="47925" y="208118"/>
                        <a:pt x="51758" y="206203"/>
                        <a:pt x="54953" y="207479"/>
                      </a:cubicBezTo>
                      <a:cubicBezTo>
                        <a:pt x="76040" y="215779"/>
                        <a:pt x="84347" y="224078"/>
                        <a:pt x="84986" y="225355"/>
                      </a:cubicBezTo>
                      <a:cubicBezTo>
                        <a:pt x="86264" y="226631"/>
                        <a:pt x="87542" y="227908"/>
                        <a:pt x="88820" y="229185"/>
                      </a:cubicBezTo>
                      <a:lnTo>
                        <a:pt x="111824" y="214502"/>
                      </a:lnTo>
                      <a:cubicBezTo>
                        <a:pt x="124604" y="206841"/>
                        <a:pt x="135467" y="212587"/>
                        <a:pt x="140579" y="219609"/>
                      </a:cubicBezTo>
                      <a:cubicBezTo>
                        <a:pt x="141217" y="220247"/>
                        <a:pt x="141857" y="221524"/>
                        <a:pt x="142496" y="222163"/>
                      </a:cubicBezTo>
                      <a:lnTo>
                        <a:pt x="143774" y="221524"/>
                      </a:lnTo>
                      <a:cubicBezTo>
                        <a:pt x="153358" y="214502"/>
                        <a:pt x="164221" y="215779"/>
                        <a:pt x="171250" y="224716"/>
                      </a:cubicBezTo>
                      <a:cubicBezTo>
                        <a:pt x="176362" y="231100"/>
                        <a:pt x="177001" y="239399"/>
                        <a:pt x="173167" y="247060"/>
                      </a:cubicBezTo>
                      <a:cubicBezTo>
                        <a:pt x="175723" y="248337"/>
                        <a:pt x="178279" y="250252"/>
                        <a:pt x="180196" y="252806"/>
                      </a:cubicBezTo>
                      <a:cubicBezTo>
                        <a:pt x="180196" y="252806"/>
                        <a:pt x="180835" y="253444"/>
                        <a:pt x="180835" y="253444"/>
                      </a:cubicBezTo>
                      <a:cubicBezTo>
                        <a:pt x="183391" y="256636"/>
                        <a:pt x="184030" y="259828"/>
                        <a:pt x="184030" y="263020"/>
                      </a:cubicBezTo>
                      <a:cubicBezTo>
                        <a:pt x="188503" y="264935"/>
                        <a:pt x="192337" y="268127"/>
                        <a:pt x="193615" y="270043"/>
                      </a:cubicBezTo>
                      <a:cubicBezTo>
                        <a:pt x="194254" y="270681"/>
                        <a:pt x="194254" y="270681"/>
                        <a:pt x="194893" y="271319"/>
                      </a:cubicBezTo>
                      <a:cubicBezTo>
                        <a:pt x="197449" y="275150"/>
                        <a:pt x="198088" y="278980"/>
                        <a:pt x="197449" y="282172"/>
                      </a:cubicBezTo>
                      <a:cubicBezTo>
                        <a:pt x="198088" y="282811"/>
                        <a:pt x="198088" y="282811"/>
                        <a:pt x="198727" y="283449"/>
                      </a:cubicBezTo>
                      <a:cubicBezTo>
                        <a:pt x="200005" y="284087"/>
                        <a:pt x="203839" y="286003"/>
                        <a:pt x="205117" y="286003"/>
                      </a:cubicBezTo>
                      <a:cubicBezTo>
                        <a:pt x="207673" y="286003"/>
                        <a:pt x="210229" y="282811"/>
                        <a:pt x="212146" y="280257"/>
                      </a:cubicBezTo>
                      <a:cubicBezTo>
                        <a:pt x="210868" y="278980"/>
                        <a:pt x="209590" y="278342"/>
                        <a:pt x="208312" y="277065"/>
                      </a:cubicBezTo>
                      <a:cubicBezTo>
                        <a:pt x="203839" y="273235"/>
                        <a:pt x="199366" y="268766"/>
                        <a:pt x="194893" y="265574"/>
                      </a:cubicBezTo>
                      <a:cubicBezTo>
                        <a:pt x="192337" y="263659"/>
                        <a:pt x="191698" y="259190"/>
                        <a:pt x="193615" y="256636"/>
                      </a:cubicBezTo>
                      <a:cubicBezTo>
                        <a:pt x="195532" y="254083"/>
                        <a:pt x="200005" y="253444"/>
                        <a:pt x="202561" y="255359"/>
                      </a:cubicBezTo>
                      <a:cubicBezTo>
                        <a:pt x="207673" y="259190"/>
                        <a:pt x="212785" y="263659"/>
                        <a:pt x="217258" y="268127"/>
                      </a:cubicBezTo>
                      <a:cubicBezTo>
                        <a:pt x="221731" y="271958"/>
                        <a:pt x="227482" y="277703"/>
                        <a:pt x="230038" y="278342"/>
                      </a:cubicBezTo>
                      <a:cubicBezTo>
                        <a:pt x="230038" y="278342"/>
                        <a:pt x="230038" y="278342"/>
                        <a:pt x="230038" y="278342"/>
                      </a:cubicBezTo>
                      <a:cubicBezTo>
                        <a:pt x="231316" y="278342"/>
                        <a:pt x="233233" y="277703"/>
                        <a:pt x="235150" y="275788"/>
                      </a:cubicBezTo>
                      <a:cubicBezTo>
                        <a:pt x="237067" y="273873"/>
                        <a:pt x="237706" y="272596"/>
                        <a:pt x="237706" y="270043"/>
                      </a:cubicBezTo>
                      <a:cubicBezTo>
                        <a:pt x="237706" y="270043"/>
                        <a:pt x="237067" y="269404"/>
                        <a:pt x="236428" y="268766"/>
                      </a:cubicBezTo>
                      <a:cubicBezTo>
                        <a:pt x="235789" y="268127"/>
                        <a:pt x="235150" y="267489"/>
                        <a:pt x="234511" y="266851"/>
                      </a:cubicBezTo>
                      <a:cubicBezTo>
                        <a:pt x="231955" y="264297"/>
                        <a:pt x="229399" y="262382"/>
                        <a:pt x="227482" y="259828"/>
                      </a:cubicBezTo>
                      <a:cubicBezTo>
                        <a:pt x="227482" y="259828"/>
                        <a:pt x="227482" y="259828"/>
                        <a:pt x="227482" y="259828"/>
                      </a:cubicBezTo>
                      <a:cubicBezTo>
                        <a:pt x="227482" y="259828"/>
                        <a:pt x="227482" y="259828"/>
                        <a:pt x="227482" y="259828"/>
                      </a:cubicBezTo>
                      <a:cubicBezTo>
                        <a:pt x="226843" y="259190"/>
                        <a:pt x="226204" y="258551"/>
                        <a:pt x="225565" y="257913"/>
                      </a:cubicBezTo>
                      <a:cubicBezTo>
                        <a:pt x="221092" y="253444"/>
                        <a:pt x="217258" y="249614"/>
                        <a:pt x="212785" y="246422"/>
                      </a:cubicBezTo>
                      <a:cubicBezTo>
                        <a:pt x="210229" y="243868"/>
                        <a:pt x="209590" y="240038"/>
                        <a:pt x="212146" y="237484"/>
                      </a:cubicBezTo>
                      <a:cubicBezTo>
                        <a:pt x="214702" y="234931"/>
                        <a:pt x="218536" y="234292"/>
                        <a:pt x="221092" y="236846"/>
                      </a:cubicBezTo>
                      <a:cubicBezTo>
                        <a:pt x="225565" y="240676"/>
                        <a:pt x="230038" y="245145"/>
                        <a:pt x="234511" y="249614"/>
                      </a:cubicBezTo>
                      <a:cubicBezTo>
                        <a:pt x="235150" y="250252"/>
                        <a:pt x="235789" y="250891"/>
                        <a:pt x="236428" y="250891"/>
                      </a:cubicBezTo>
                      <a:cubicBezTo>
                        <a:pt x="240901" y="254083"/>
                        <a:pt x="244096" y="257275"/>
                        <a:pt x="246651" y="259190"/>
                      </a:cubicBezTo>
                      <a:cubicBezTo>
                        <a:pt x="249208" y="261743"/>
                        <a:pt x="252403" y="264297"/>
                        <a:pt x="253041" y="264297"/>
                      </a:cubicBezTo>
                      <a:cubicBezTo>
                        <a:pt x="254319" y="264297"/>
                        <a:pt x="256236" y="263659"/>
                        <a:pt x="258792" y="261743"/>
                      </a:cubicBezTo>
                      <a:cubicBezTo>
                        <a:pt x="260709" y="260467"/>
                        <a:pt x="261349" y="259190"/>
                        <a:pt x="261349" y="255998"/>
                      </a:cubicBezTo>
                      <a:cubicBezTo>
                        <a:pt x="261349" y="254083"/>
                        <a:pt x="260709" y="252806"/>
                        <a:pt x="259431" y="251529"/>
                      </a:cubicBezTo>
                      <a:cubicBezTo>
                        <a:pt x="259431" y="251529"/>
                        <a:pt x="259431" y="250891"/>
                        <a:pt x="258792" y="250891"/>
                      </a:cubicBezTo>
                      <a:cubicBezTo>
                        <a:pt x="255597" y="248337"/>
                        <a:pt x="252403" y="245145"/>
                        <a:pt x="247929" y="241315"/>
                      </a:cubicBezTo>
                      <a:cubicBezTo>
                        <a:pt x="243456" y="236846"/>
                        <a:pt x="238345" y="232377"/>
                        <a:pt x="233872" y="229185"/>
                      </a:cubicBezTo>
                      <a:cubicBezTo>
                        <a:pt x="231316" y="227270"/>
                        <a:pt x="230677" y="222801"/>
                        <a:pt x="232594" y="220247"/>
                      </a:cubicBezTo>
                      <a:cubicBezTo>
                        <a:pt x="234511" y="217694"/>
                        <a:pt x="238984" y="217055"/>
                        <a:pt x="241540" y="218971"/>
                      </a:cubicBezTo>
                      <a:cubicBezTo>
                        <a:pt x="246651" y="222801"/>
                        <a:pt x="251764" y="227270"/>
                        <a:pt x="256236" y="231739"/>
                      </a:cubicBezTo>
                      <a:cubicBezTo>
                        <a:pt x="260709" y="235569"/>
                        <a:pt x="267099" y="241953"/>
                        <a:pt x="269655" y="242591"/>
                      </a:cubicBezTo>
                      <a:cubicBezTo>
                        <a:pt x="270294" y="242591"/>
                        <a:pt x="272211" y="241953"/>
                        <a:pt x="274767" y="239399"/>
                      </a:cubicBezTo>
                      <a:cubicBezTo>
                        <a:pt x="276684" y="237484"/>
                        <a:pt x="276684" y="236207"/>
                        <a:pt x="276684" y="235569"/>
                      </a:cubicBezTo>
                      <a:cubicBezTo>
                        <a:pt x="276684" y="234931"/>
                        <a:pt x="276045" y="234292"/>
                        <a:pt x="274767" y="232377"/>
                      </a:cubicBezTo>
                      <a:cubicBezTo>
                        <a:pt x="274128" y="231739"/>
                        <a:pt x="273489" y="231100"/>
                        <a:pt x="272850" y="230462"/>
                      </a:cubicBezTo>
                      <a:cubicBezTo>
                        <a:pt x="268377" y="225355"/>
                        <a:pt x="264544" y="220247"/>
                        <a:pt x="260709" y="215779"/>
                      </a:cubicBezTo>
                      <a:cubicBezTo>
                        <a:pt x="257514" y="211948"/>
                        <a:pt x="254319" y="208118"/>
                        <a:pt x="251764" y="204926"/>
                      </a:cubicBezTo>
                      <a:cubicBezTo>
                        <a:pt x="248569" y="201095"/>
                        <a:pt x="244096" y="197903"/>
                        <a:pt x="239623" y="195988"/>
                      </a:cubicBezTo>
                      <a:lnTo>
                        <a:pt x="207673" y="183220"/>
                      </a:lnTo>
                      <a:lnTo>
                        <a:pt x="161027" y="187689"/>
                      </a:lnTo>
                      <a:cubicBezTo>
                        <a:pt x="149525" y="194073"/>
                        <a:pt x="140579" y="196627"/>
                        <a:pt x="133550" y="196627"/>
                      </a:cubicBezTo>
                      <a:cubicBezTo>
                        <a:pt x="120131" y="196627"/>
                        <a:pt x="113741" y="187689"/>
                        <a:pt x="111185" y="183859"/>
                      </a:cubicBezTo>
                      <a:cubicBezTo>
                        <a:pt x="108629" y="180028"/>
                        <a:pt x="109268" y="174283"/>
                        <a:pt x="112463" y="171091"/>
                      </a:cubicBezTo>
                      <a:lnTo>
                        <a:pt x="118853" y="164707"/>
                      </a:lnTo>
                      <a:lnTo>
                        <a:pt x="141217" y="145555"/>
                      </a:lnTo>
                      <a:cubicBezTo>
                        <a:pt x="141857" y="144916"/>
                        <a:pt x="142496" y="144916"/>
                        <a:pt x="143135" y="144278"/>
                      </a:cubicBezTo>
                      <a:lnTo>
                        <a:pt x="156553" y="139171"/>
                      </a:lnTo>
                      <a:lnTo>
                        <a:pt x="155275" y="138533"/>
                      </a:lnTo>
                      <a:cubicBezTo>
                        <a:pt x="153997" y="138533"/>
                        <a:pt x="152720" y="138533"/>
                        <a:pt x="150164" y="139171"/>
                      </a:cubicBezTo>
                      <a:lnTo>
                        <a:pt x="116936" y="146193"/>
                      </a:lnTo>
                      <a:cubicBezTo>
                        <a:pt x="115658" y="146193"/>
                        <a:pt x="114380" y="146832"/>
                        <a:pt x="113102" y="146832"/>
                      </a:cubicBezTo>
                      <a:cubicBezTo>
                        <a:pt x="110546" y="146832"/>
                        <a:pt x="107351" y="146193"/>
                        <a:pt x="104156" y="145555"/>
                      </a:cubicBezTo>
                      <a:lnTo>
                        <a:pt x="84986" y="136617"/>
                      </a:lnTo>
                      <a:cubicBezTo>
                        <a:pt x="81791" y="135341"/>
                        <a:pt x="80513" y="131510"/>
                        <a:pt x="81791" y="128318"/>
                      </a:cubicBezTo>
                      <a:cubicBezTo>
                        <a:pt x="83069" y="125126"/>
                        <a:pt x="86903" y="123849"/>
                        <a:pt x="90098" y="125126"/>
                      </a:cubicBezTo>
                      <a:lnTo>
                        <a:pt x="109268" y="133425"/>
                      </a:lnTo>
                      <a:cubicBezTo>
                        <a:pt x="111185" y="134064"/>
                        <a:pt x="113741" y="134064"/>
                        <a:pt x="114380" y="134064"/>
                      </a:cubicBezTo>
                      <a:lnTo>
                        <a:pt x="147607" y="127041"/>
                      </a:lnTo>
                      <a:cubicBezTo>
                        <a:pt x="151442" y="126403"/>
                        <a:pt x="154637" y="125765"/>
                        <a:pt x="157832" y="126403"/>
                      </a:cubicBezTo>
                      <a:cubicBezTo>
                        <a:pt x="158470" y="126403"/>
                        <a:pt x="158470" y="126403"/>
                        <a:pt x="159110" y="126403"/>
                      </a:cubicBezTo>
                      <a:lnTo>
                        <a:pt x="176362" y="132149"/>
                      </a:lnTo>
                      <a:lnTo>
                        <a:pt x="177001" y="132149"/>
                      </a:lnTo>
                      <a:cubicBezTo>
                        <a:pt x="186586" y="128318"/>
                        <a:pt x="196171" y="129595"/>
                        <a:pt x="205756" y="130233"/>
                      </a:cubicBezTo>
                      <a:cubicBezTo>
                        <a:pt x="209590" y="130872"/>
                        <a:pt x="213424" y="130872"/>
                        <a:pt x="217258" y="130872"/>
                      </a:cubicBezTo>
                      <a:lnTo>
                        <a:pt x="256876" y="130872"/>
                      </a:lnTo>
                      <a:cubicBezTo>
                        <a:pt x="256876" y="130872"/>
                        <a:pt x="256876" y="130872"/>
                        <a:pt x="256876" y="130872"/>
                      </a:cubicBezTo>
                      <a:cubicBezTo>
                        <a:pt x="258154" y="130872"/>
                        <a:pt x="258792" y="130872"/>
                        <a:pt x="260071" y="130233"/>
                      </a:cubicBezTo>
                      <a:lnTo>
                        <a:pt x="281796" y="118742"/>
                      </a:lnTo>
                      <a:cubicBezTo>
                        <a:pt x="284991" y="116827"/>
                        <a:pt x="288825" y="118104"/>
                        <a:pt x="290742" y="121296"/>
                      </a:cubicBezTo>
                      <a:cubicBezTo>
                        <a:pt x="292659" y="124488"/>
                        <a:pt x="291381" y="128318"/>
                        <a:pt x="288186" y="130233"/>
                      </a:cubicBezTo>
                      <a:lnTo>
                        <a:pt x="267099" y="141724"/>
                      </a:lnTo>
                      <a:cubicBezTo>
                        <a:pt x="264544" y="143640"/>
                        <a:pt x="261349" y="144278"/>
                        <a:pt x="257514" y="144278"/>
                      </a:cubicBezTo>
                      <a:cubicBezTo>
                        <a:pt x="257514" y="144278"/>
                        <a:pt x="257514" y="144278"/>
                        <a:pt x="257514" y="144278"/>
                      </a:cubicBezTo>
                      <a:lnTo>
                        <a:pt x="217897" y="144278"/>
                      </a:lnTo>
                      <a:cubicBezTo>
                        <a:pt x="213424" y="144278"/>
                        <a:pt x="209590" y="143640"/>
                        <a:pt x="205117" y="143640"/>
                      </a:cubicBezTo>
                      <a:cubicBezTo>
                        <a:pt x="196810" y="143001"/>
                        <a:pt x="189142" y="142363"/>
                        <a:pt x="182113" y="144278"/>
                      </a:cubicBezTo>
                      <a:lnTo>
                        <a:pt x="150164" y="156408"/>
                      </a:lnTo>
                      <a:lnTo>
                        <a:pt x="124604" y="178752"/>
                      </a:lnTo>
                      <a:cubicBezTo>
                        <a:pt x="128438" y="183220"/>
                        <a:pt x="136106" y="188327"/>
                        <a:pt x="156553" y="175560"/>
                      </a:cubicBezTo>
                      <a:cubicBezTo>
                        <a:pt x="157192" y="174921"/>
                        <a:pt x="158470" y="174921"/>
                        <a:pt x="159110" y="174921"/>
                      </a:cubicBezTo>
                      <a:lnTo>
                        <a:pt x="208951" y="169814"/>
                      </a:lnTo>
                      <a:cubicBezTo>
                        <a:pt x="208951" y="169814"/>
                        <a:pt x="208951" y="169814"/>
                        <a:pt x="208951" y="169814"/>
                      </a:cubicBezTo>
                      <a:cubicBezTo>
                        <a:pt x="209590" y="169814"/>
                        <a:pt x="210229" y="169814"/>
                        <a:pt x="210229" y="169814"/>
                      </a:cubicBezTo>
                      <a:cubicBezTo>
                        <a:pt x="210868" y="169814"/>
                        <a:pt x="210868" y="169814"/>
                        <a:pt x="211507" y="169814"/>
                      </a:cubicBezTo>
                      <a:cubicBezTo>
                        <a:pt x="211507" y="169814"/>
                        <a:pt x="211507" y="169814"/>
                        <a:pt x="211507" y="169814"/>
                      </a:cubicBezTo>
                      <a:lnTo>
                        <a:pt x="245374" y="183220"/>
                      </a:lnTo>
                      <a:cubicBezTo>
                        <a:pt x="245374" y="183220"/>
                        <a:pt x="246013" y="183220"/>
                        <a:pt x="246013" y="183220"/>
                      </a:cubicBezTo>
                      <a:cubicBezTo>
                        <a:pt x="246013" y="183220"/>
                        <a:pt x="246013" y="183220"/>
                        <a:pt x="246013" y="183220"/>
                      </a:cubicBezTo>
                      <a:cubicBezTo>
                        <a:pt x="250486" y="185135"/>
                        <a:pt x="273489" y="180667"/>
                        <a:pt x="280518" y="175560"/>
                      </a:cubicBezTo>
                      <a:cubicBezTo>
                        <a:pt x="283713" y="173644"/>
                        <a:pt x="287547" y="174283"/>
                        <a:pt x="289464" y="177475"/>
                      </a:cubicBezTo>
                      <a:cubicBezTo>
                        <a:pt x="291381" y="180667"/>
                        <a:pt x="290742" y="184497"/>
                        <a:pt x="287547" y="186412"/>
                      </a:cubicBezTo>
                      <a:cubicBezTo>
                        <a:pt x="283074" y="189604"/>
                        <a:pt x="272211" y="193435"/>
                        <a:pt x="261987" y="195350"/>
                      </a:cubicBezTo>
                      <a:cubicBezTo>
                        <a:pt x="261987" y="195350"/>
                        <a:pt x="262626" y="195988"/>
                        <a:pt x="262626" y="195988"/>
                      </a:cubicBezTo>
                      <a:cubicBezTo>
                        <a:pt x="265182" y="199180"/>
                        <a:pt x="267739" y="202372"/>
                        <a:pt x="270934" y="206203"/>
                      </a:cubicBezTo>
                      <a:cubicBezTo>
                        <a:pt x="274128" y="209395"/>
                        <a:pt x="277323" y="213225"/>
                        <a:pt x="280518" y="217694"/>
                      </a:cubicBezTo>
                      <a:lnTo>
                        <a:pt x="309912" y="205564"/>
                      </a:lnTo>
                      <a:cubicBezTo>
                        <a:pt x="313107" y="204287"/>
                        <a:pt x="316941" y="205564"/>
                        <a:pt x="318219" y="209395"/>
                      </a:cubicBezTo>
                      <a:cubicBezTo>
                        <a:pt x="319497" y="213225"/>
                        <a:pt x="316302" y="217055"/>
                        <a:pt x="313107" y="218332"/>
                      </a:cubicBez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821339EA-195D-8D24-6567-603A571DC31B}"/>
                    </a:ext>
                  </a:extLst>
                </p:cNvPr>
                <p:cNvSpPr/>
                <p:nvPr/>
              </p:nvSpPr>
              <p:spPr>
                <a:xfrm>
                  <a:off x="6276196" y="2628448"/>
                  <a:ext cx="41277" cy="31764"/>
                </a:xfrm>
                <a:custGeom>
                  <a:avLst/>
                  <a:gdLst>
                    <a:gd name="connsiteX0" fmla="*/ 24282 w 41277"/>
                    <a:gd name="connsiteY0" fmla="*/ 24259 h 31764"/>
                    <a:gd name="connsiteX1" fmla="*/ 29394 w 41277"/>
                    <a:gd name="connsiteY1" fmla="*/ 19790 h 31764"/>
                    <a:gd name="connsiteX2" fmla="*/ 33867 w 41277"/>
                    <a:gd name="connsiteY2" fmla="*/ 15322 h 31764"/>
                    <a:gd name="connsiteX3" fmla="*/ 40895 w 41277"/>
                    <a:gd name="connsiteY3" fmla="*/ 3830 h 31764"/>
                    <a:gd name="connsiteX4" fmla="*/ 34505 w 41277"/>
                    <a:gd name="connsiteY4" fmla="*/ 0 h 31764"/>
                    <a:gd name="connsiteX5" fmla="*/ 33867 w 41277"/>
                    <a:gd name="connsiteY5" fmla="*/ 0 h 31764"/>
                    <a:gd name="connsiteX6" fmla="*/ 0 w 41277"/>
                    <a:gd name="connsiteY6" fmla="*/ 28728 h 31764"/>
                    <a:gd name="connsiteX7" fmla="*/ 14697 w 41277"/>
                    <a:gd name="connsiteY7" fmla="*/ 31281 h 31764"/>
                    <a:gd name="connsiteX8" fmla="*/ 24282 w 41277"/>
                    <a:gd name="connsiteY8" fmla="*/ 24259 h 3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277" h="31764">
                      <a:moveTo>
                        <a:pt x="24282" y="24259"/>
                      </a:moveTo>
                      <a:lnTo>
                        <a:pt x="29394" y="19790"/>
                      </a:lnTo>
                      <a:lnTo>
                        <a:pt x="33867" y="15322"/>
                      </a:lnTo>
                      <a:cubicBezTo>
                        <a:pt x="37062" y="12130"/>
                        <a:pt x="42813" y="6384"/>
                        <a:pt x="40895" y="3830"/>
                      </a:cubicBezTo>
                      <a:cubicBezTo>
                        <a:pt x="37700" y="638"/>
                        <a:pt x="35783" y="0"/>
                        <a:pt x="34505" y="0"/>
                      </a:cubicBezTo>
                      <a:cubicBezTo>
                        <a:pt x="34505" y="0"/>
                        <a:pt x="33867" y="0"/>
                        <a:pt x="33867" y="0"/>
                      </a:cubicBezTo>
                      <a:lnTo>
                        <a:pt x="0" y="28728"/>
                      </a:lnTo>
                      <a:cubicBezTo>
                        <a:pt x="2556" y="32558"/>
                        <a:pt x="10863" y="31920"/>
                        <a:pt x="14697" y="31281"/>
                      </a:cubicBezTo>
                      <a:cubicBezTo>
                        <a:pt x="16614" y="30643"/>
                        <a:pt x="21087" y="26813"/>
                        <a:pt x="24282" y="24259"/>
                      </a:cubicBezTo>
                      <a:close/>
                    </a:path>
                  </a:pathLst>
                </a:custGeom>
                <a:grpFill/>
                <a:ln w="6390" cap="flat">
                  <a:noFill/>
                  <a:prstDash val="solid"/>
                  <a:miter/>
                </a:ln>
              </p:spPr>
              <p:txBody>
                <a:bodyPr rtlCol="0" anchor="ctr"/>
                <a:lstStyle/>
                <a:p>
                  <a:endParaRPr lang="en-US"/>
                </a:p>
              </p:txBody>
            </p:sp>
          </p:grpSp>
        </p:grpSp>
        <p:grpSp>
          <p:nvGrpSpPr>
            <p:cNvPr id="27" name="Group 26">
              <a:extLst>
                <a:ext uri="{FF2B5EF4-FFF2-40B4-BE49-F238E27FC236}">
                  <a16:creationId xmlns:a16="http://schemas.microsoft.com/office/drawing/2014/main" id="{67BA35D2-9D16-64D4-5F49-B42567743157}"/>
                </a:ext>
              </a:extLst>
            </p:cNvPr>
            <p:cNvGrpSpPr/>
            <p:nvPr/>
          </p:nvGrpSpPr>
          <p:grpSpPr>
            <a:xfrm>
              <a:off x="5769738" y="2259320"/>
              <a:ext cx="439599" cy="441817"/>
              <a:chOff x="5726668" y="2259320"/>
              <a:chExt cx="439599" cy="441817"/>
            </a:xfrm>
          </p:grpSpPr>
          <p:sp>
            <p:nvSpPr>
              <p:cNvPr id="42" name="Oval 41">
                <a:extLst>
                  <a:ext uri="{FF2B5EF4-FFF2-40B4-BE49-F238E27FC236}">
                    <a16:creationId xmlns:a16="http://schemas.microsoft.com/office/drawing/2014/main" id="{3C77666D-8E4C-EF3F-9F60-4E73E487DA40}"/>
                  </a:ext>
                </a:extLst>
              </p:cNvPr>
              <p:cNvSpPr>
                <a:spLocks noChangeAspect="1"/>
              </p:cNvSpPr>
              <p:nvPr/>
            </p:nvSpPr>
            <p:spPr bwMode="gray">
              <a:xfrm>
                <a:off x="5735861" y="2270731"/>
                <a:ext cx="430406" cy="430406"/>
              </a:xfrm>
              <a:prstGeom prst="ellipse">
                <a:avLst/>
              </a:prstGeom>
              <a:solidFill>
                <a:schemeClr val="bg1"/>
              </a:solidFill>
              <a:ln w="19050" algn="ctr">
                <a:noFill/>
                <a:miter lim="800000"/>
                <a:headEnd/>
                <a:tailEnd/>
              </a:ln>
            </p:spPr>
            <p:txBody>
              <a:bodyPr wrap="square" lIns="0" tIns="0" rIns="0" bIns="0" rtlCol="0" anchor="ctr"/>
              <a:lstStyle/>
              <a:p>
                <a:pPr algn="ctr"/>
                <a:endParaRPr lang="en-US"/>
              </a:p>
            </p:txBody>
          </p:sp>
          <p:sp>
            <p:nvSpPr>
              <p:cNvPr id="43" name="Graphic 4">
                <a:extLst>
                  <a:ext uri="{FF2B5EF4-FFF2-40B4-BE49-F238E27FC236}">
                    <a16:creationId xmlns:a16="http://schemas.microsoft.com/office/drawing/2014/main" id="{FA283B16-629A-4F98-2CFE-8CB2C77BD6A0}"/>
                  </a:ext>
                </a:extLst>
              </p:cNvPr>
              <p:cNvSpPr>
                <a:spLocks noChangeAspect="1"/>
              </p:cNvSpPr>
              <p:nvPr/>
            </p:nvSpPr>
            <p:spPr>
              <a:xfrm>
                <a:off x="5726668" y="2259320"/>
                <a:ext cx="432000" cy="431597"/>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4352 w 362309"/>
                  <a:gd name="connsiteY6" fmla="*/ 267489 h 361971"/>
                  <a:gd name="connsiteX7" fmla="*/ 278601 w 362309"/>
                  <a:gd name="connsiteY7" fmla="*/ 270681 h 361971"/>
                  <a:gd name="connsiteX8" fmla="*/ 275406 w 362309"/>
                  <a:gd name="connsiteY8" fmla="*/ 270043 h 361971"/>
                  <a:gd name="connsiteX9" fmla="*/ 237705 w 362309"/>
                  <a:gd name="connsiteY9" fmla="*/ 259828 h 361971"/>
                  <a:gd name="connsiteX10" fmla="*/ 221092 w 362309"/>
                  <a:gd name="connsiteY10" fmla="*/ 256636 h 361971"/>
                  <a:gd name="connsiteX11" fmla="*/ 201922 w 362309"/>
                  <a:gd name="connsiteY11" fmla="*/ 239399 h 361971"/>
                  <a:gd name="connsiteX12" fmla="*/ 203839 w 362309"/>
                  <a:gd name="connsiteY12" fmla="*/ 225993 h 361971"/>
                  <a:gd name="connsiteX13" fmla="*/ 223648 w 362309"/>
                  <a:gd name="connsiteY13" fmla="*/ 179390 h 361971"/>
                  <a:gd name="connsiteX14" fmla="*/ 217897 w 362309"/>
                  <a:gd name="connsiteY14" fmla="*/ 120019 h 361971"/>
                  <a:gd name="connsiteX15" fmla="*/ 181474 w 362309"/>
                  <a:gd name="connsiteY15" fmla="*/ 104059 h 361971"/>
                  <a:gd name="connsiteX16" fmla="*/ 180835 w 362309"/>
                  <a:gd name="connsiteY16" fmla="*/ 104059 h 361971"/>
                  <a:gd name="connsiteX17" fmla="*/ 144412 w 362309"/>
                  <a:gd name="connsiteY17" fmla="*/ 120019 h 361971"/>
                  <a:gd name="connsiteX18" fmla="*/ 138661 w 362309"/>
                  <a:gd name="connsiteY18" fmla="*/ 179390 h 361971"/>
                  <a:gd name="connsiteX19" fmla="*/ 158470 w 362309"/>
                  <a:gd name="connsiteY19" fmla="*/ 225993 h 361971"/>
                  <a:gd name="connsiteX20" fmla="*/ 160387 w 362309"/>
                  <a:gd name="connsiteY20" fmla="*/ 239399 h 361971"/>
                  <a:gd name="connsiteX21" fmla="*/ 141217 w 362309"/>
                  <a:gd name="connsiteY21" fmla="*/ 256636 h 361971"/>
                  <a:gd name="connsiteX22" fmla="*/ 124604 w 362309"/>
                  <a:gd name="connsiteY22" fmla="*/ 259828 h 361971"/>
                  <a:gd name="connsiteX23" fmla="*/ 86264 w 362309"/>
                  <a:gd name="connsiteY23" fmla="*/ 270043 h 361971"/>
                  <a:gd name="connsiteX24" fmla="*/ 83069 w 362309"/>
                  <a:gd name="connsiteY24" fmla="*/ 270681 h 361971"/>
                  <a:gd name="connsiteX25" fmla="*/ 76679 w 362309"/>
                  <a:gd name="connsiteY25" fmla="*/ 264297 h 361971"/>
                  <a:gd name="connsiteX26" fmla="*/ 79874 w 362309"/>
                  <a:gd name="connsiteY26" fmla="*/ 258551 h 361971"/>
                  <a:gd name="connsiteX27" fmla="*/ 123326 w 362309"/>
                  <a:gd name="connsiteY27" fmla="*/ 246422 h 361971"/>
                  <a:gd name="connsiteX28" fmla="*/ 136744 w 362309"/>
                  <a:gd name="connsiteY28" fmla="*/ 244507 h 361971"/>
                  <a:gd name="connsiteX29" fmla="*/ 148246 w 362309"/>
                  <a:gd name="connsiteY29" fmla="*/ 235569 h 361971"/>
                  <a:gd name="connsiteX30" fmla="*/ 148246 w 362309"/>
                  <a:gd name="connsiteY30" fmla="*/ 233654 h 361971"/>
                  <a:gd name="connsiteX31" fmla="*/ 126521 w 362309"/>
                  <a:gd name="connsiteY31" fmla="*/ 182582 h 361971"/>
                  <a:gd name="connsiteX32" fmla="*/ 134828 w 362309"/>
                  <a:gd name="connsiteY32" fmla="*/ 112358 h 361971"/>
                  <a:gd name="connsiteX33" fmla="*/ 181474 w 362309"/>
                  <a:gd name="connsiteY33" fmla="*/ 91930 h 361971"/>
                  <a:gd name="connsiteX34" fmla="*/ 181474 w 362309"/>
                  <a:gd name="connsiteY34" fmla="*/ 91930 h 361971"/>
                  <a:gd name="connsiteX35" fmla="*/ 227482 w 362309"/>
                  <a:gd name="connsiteY35" fmla="*/ 112358 h 361971"/>
                  <a:gd name="connsiteX36" fmla="*/ 235788 w 362309"/>
                  <a:gd name="connsiteY36" fmla="*/ 182582 h 361971"/>
                  <a:gd name="connsiteX37" fmla="*/ 214063 w 362309"/>
                  <a:gd name="connsiteY37" fmla="*/ 233654 h 361971"/>
                  <a:gd name="connsiteX38" fmla="*/ 214063 w 362309"/>
                  <a:gd name="connsiteY38" fmla="*/ 235569 h 361971"/>
                  <a:gd name="connsiteX39" fmla="*/ 225565 w 362309"/>
                  <a:gd name="connsiteY39" fmla="*/ 244507 h 361971"/>
                  <a:gd name="connsiteX40" fmla="*/ 238983 w 362309"/>
                  <a:gd name="connsiteY40" fmla="*/ 246422 h 361971"/>
                  <a:gd name="connsiteX41" fmla="*/ 282435 w 362309"/>
                  <a:gd name="connsiteY41" fmla="*/ 258551 h 361971"/>
                  <a:gd name="connsiteX42" fmla="*/ 284352 w 362309"/>
                  <a:gd name="connsiteY42" fmla="*/ 267489 h 361971"/>
                  <a:gd name="connsiteX43" fmla="*/ 284352 w 362309"/>
                  <a:gd name="connsiteY43" fmla="*/ 267489 h 361971"/>
                  <a:gd name="connsiteX44" fmla="*/ 284352 w 362309"/>
                  <a:gd name="connsiteY44" fmla="*/ 26748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284352" y="267489"/>
                    </a:moveTo>
                    <a:cubicBezTo>
                      <a:pt x="283074" y="269404"/>
                      <a:pt x="281157" y="270681"/>
                      <a:pt x="278601" y="270681"/>
                    </a:cubicBezTo>
                    <a:cubicBezTo>
                      <a:pt x="277323" y="270681"/>
                      <a:pt x="276045" y="270681"/>
                      <a:pt x="275406" y="270043"/>
                    </a:cubicBezTo>
                    <a:cubicBezTo>
                      <a:pt x="263904" y="263659"/>
                      <a:pt x="250485" y="259828"/>
                      <a:pt x="237705" y="259828"/>
                    </a:cubicBezTo>
                    <a:cubicBezTo>
                      <a:pt x="231955" y="259828"/>
                      <a:pt x="226204" y="258551"/>
                      <a:pt x="221092" y="256636"/>
                    </a:cubicBezTo>
                    <a:cubicBezTo>
                      <a:pt x="212146" y="254083"/>
                      <a:pt x="205117" y="247699"/>
                      <a:pt x="201922" y="239399"/>
                    </a:cubicBezTo>
                    <a:cubicBezTo>
                      <a:pt x="200644" y="234931"/>
                      <a:pt x="201283" y="229823"/>
                      <a:pt x="203839" y="225993"/>
                    </a:cubicBezTo>
                    <a:cubicBezTo>
                      <a:pt x="212785" y="211948"/>
                      <a:pt x="219814" y="195988"/>
                      <a:pt x="223648" y="179390"/>
                    </a:cubicBezTo>
                    <a:cubicBezTo>
                      <a:pt x="230038" y="152577"/>
                      <a:pt x="228120" y="132787"/>
                      <a:pt x="217897" y="120019"/>
                    </a:cubicBezTo>
                    <a:cubicBezTo>
                      <a:pt x="205117" y="104059"/>
                      <a:pt x="182113" y="104059"/>
                      <a:pt x="181474" y="104059"/>
                    </a:cubicBezTo>
                    <a:lnTo>
                      <a:pt x="180835" y="104059"/>
                    </a:lnTo>
                    <a:cubicBezTo>
                      <a:pt x="166777" y="104059"/>
                      <a:pt x="153997" y="109805"/>
                      <a:pt x="144412" y="120019"/>
                    </a:cubicBezTo>
                    <a:cubicBezTo>
                      <a:pt x="134189" y="132787"/>
                      <a:pt x="132271" y="152577"/>
                      <a:pt x="138661" y="179390"/>
                    </a:cubicBezTo>
                    <a:cubicBezTo>
                      <a:pt x="142496" y="195988"/>
                      <a:pt x="149524" y="211310"/>
                      <a:pt x="158470" y="225993"/>
                    </a:cubicBezTo>
                    <a:cubicBezTo>
                      <a:pt x="161026" y="229823"/>
                      <a:pt x="162304" y="234931"/>
                      <a:pt x="160387" y="239399"/>
                    </a:cubicBezTo>
                    <a:cubicBezTo>
                      <a:pt x="157192" y="247699"/>
                      <a:pt x="150164" y="254083"/>
                      <a:pt x="141217" y="256636"/>
                    </a:cubicBezTo>
                    <a:cubicBezTo>
                      <a:pt x="136106" y="258551"/>
                      <a:pt x="130354" y="259190"/>
                      <a:pt x="124604" y="259828"/>
                    </a:cubicBezTo>
                    <a:cubicBezTo>
                      <a:pt x="111185" y="260467"/>
                      <a:pt x="97766" y="263659"/>
                      <a:pt x="86264" y="270043"/>
                    </a:cubicBezTo>
                    <a:cubicBezTo>
                      <a:pt x="85625" y="270681"/>
                      <a:pt x="84347" y="270681"/>
                      <a:pt x="83069" y="270681"/>
                    </a:cubicBezTo>
                    <a:cubicBezTo>
                      <a:pt x="79235" y="270681"/>
                      <a:pt x="76679" y="268127"/>
                      <a:pt x="76679" y="264297"/>
                    </a:cubicBezTo>
                    <a:cubicBezTo>
                      <a:pt x="76679" y="261743"/>
                      <a:pt x="77957" y="259828"/>
                      <a:pt x="79874" y="258551"/>
                    </a:cubicBezTo>
                    <a:cubicBezTo>
                      <a:pt x="93293" y="250891"/>
                      <a:pt x="107990" y="247060"/>
                      <a:pt x="123326" y="246422"/>
                    </a:cubicBezTo>
                    <a:cubicBezTo>
                      <a:pt x="127799" y="246422"/>
                      <a:pt x="132271" y="245783"/>
                      <a:pt x="136744" y="244507"/>
                    </a:cubicBezTo>
                    <a:cubicBezTo>
                      <a:pt x="141856" y="243230"/>
                      <a:pt x="145690" y="240038"/>
                      <a:pt x="148246" y="235569"/>
                    </a:cubicBezTo>
                    <a:cubicBezTo>
                      <a:pt x="148885" y="234931"/>
                      <a:pt x="148885" y="234292"/>
                      <a:pt x="148246" y="233654"/>
                    </a:cubicBezTo>
                    <a:cubicBezTo>
                      <a:pt x="138022" y="217694"/>
                      <a:pt x="130994" y="200457"/>
                      <a:pt x="126521" y="182582"/>
                    </a:cubicBezTo>
                    <a:cubicBezTo>
                      <a:pt x="118853" y="151939"/>
                      <a:pt x="122048" y="128318"/>
                      <a:pt x="134828" y="112358"/>
                    </a:cubicBezTo>
                    <a:cubicBezTo>
                      <a:pt x="152080" y="91291"/>
                      <a:pt x="180196" y="91930"/>
                      <a:pt x="181474" y="91930"/>
                    </a:cubicBezTo>
                    <a:lnTo>
                      <a:pt x="181474" y="91930"/>
                    </a:lnTo>
                    <a:cubicBezTo>
                      <a:pt x="199366" y="91930"/>
                      <a:pt x="215980" y="99590"/>
                      <a:pt x="227482" y="112358"/>
                    </a:cubicBezTo>
                    <a:cubicBezTo>
                      <a:pt x="240261" y="128318"/>
                      <a:pt x="243456" y="151939"/>
                      <a:pt x="235788" y="182582"/>
                    </a:cubicBezTo>
                    <a:cubicBezTo>
                      <a:pt x="231315" y="200457"/>
                      <a:pt x="224287" y="217694"/>
                      <a:pt x="214063" y="233654"/>
                    </a:cubicBezTo>
                    <a:cubicBezTo>
                      <a:pt x="213424" y="234292"/>
                      <a:pt x="213424" y="234931"/>
                      <a:pt x="214063" y="235569"/>
                    </a:cubicBezTo>
                    <a:cubicBezTo>
                      <a:pt x="216619" y="240038"/>
                      <a:pt x="220453" y="243230"/>
                      <a:pt x="225565" y="244507"/>
                    </a:cubicBezTo>
                    <a:cubicBezTo>
                      <a:pt x="230038" y="245783"/>
                      <a:pt x="234510" y="246422"/>
                      <a:pt x="238983" y="246422"/>
                    </a:cubicBezTo>
                    <a:cubicBezTo>
                      <a:pt x="254319" y="247060"/>
                      <a:pt x="269016" y="251529"/>
                      <a:pt x="282435" y="258551"/>
                    </a:cubicBezTo>
                    <a:cubicBezTo>
                      <a:pt x="284991" y="260467"/>
                      <a:pt x="285630" y="264297"/>
                      <a:pt x="284352" y="267489"/>
                    </a:cubicBezTo>
                    <a:cubicBezTo>
                      <a:pt x="284352" y="267489"/>
                      <a:pt x="284352" y="267489"/>
                      <a:pt x="284352" y="267489"/>
                    </a:cubicBezTo>
                    <a:lnTo>
                      <a:pt x="284352" y="267489"/>
                    </a:lnTo>
                    <a:close/>
                  </a:path>
                </a:pathLst>
              </a:custGeom>
              <a:solidFill>
                <a:srgbClr val="00B0F2"/>
              </a:solidFill>
              <a:ln w="6390" cap="flat">
                <a:noFill/>
                <a:prstDash val="solid"/>
                <a:miter/>
              </a:ln>
            </p:spPr>
            <p:txBody>
              <a:bodyPr rtlCol="0" anchor="ctr"/>
              <a:lstStyle/>
              <a:p>
                <a:endParaRPr lang="en-US"/>
              </a:p>
            </p:txBody>
          </p:sp>
        </p:grpSp>
        <p:grpSp>
          <p:nvGrpSpPr>
            <p:cNvPr id="28" name="Group 27">
              <a:extLst>
                <a:ext uri="{FF2B5EF4-FFF2-40B4-BE49-F238E27FC236}">
                  <a16:creationId xmlns:a16="http://schemas.microsoft.com/office/drawing/2014/main" id="{6A005B23-C985-E42F-F705-6932A515D2E7}"/>
                </a:ext>
              </a:extLst>
            </p:cNvPr>
            <p:cNvGrpSpPr/>
            <p:nvPr/>
          </p:nvGrpSpPr>
          <p:grpSpPr>
            <a:xfrm>
              <a:off x="5773537" y="4016587"/>
              <a:ext cx="432000" cy="432655"/>
              <a:chOff x="5726668" y="4016587"/>
              <a:chExt cx="432000" cy="432655"/>
            </a:xfrm>
          </p:grpSpPr>
          <p:sp>
            <p:nvSpPr>
              <p:cNvPr id="38" name="Oval 37">
                <a:extLst>
                  <a:ext uri="{FF2B5EF4-FFF2-40B4-BE49-F238E27FC236}">
                    <a16:creationId xmlns:a16="http://schemas.microsoft.com/office/drawing/2014/main" id="{5417C1F5-1F47-1BC2-147C-44BA5A0E05AA}"/>
                  </a:ext>
                </a:extLst>
              </p:cNvPr>
              <p:cNvSpPr>
                <a:spLocks noChangeAspect="1"/>
              </p:cNvSpPr>
              <p:nvPr/>
            </p:nvSpPr>
            <p:spPr bwMode="gray">
              <a:xfrm>
                <a:off x="5726668" y="4016587"/>
                <a:ext cx="430406" cy="430406"/>
              </a:xfrm>
              <a:prstGeom prst="ellipse">
                <a:avLst/>
              </a:prstGeom>
              <a:solidFill>
                <a:schemeClr val="bg1"/>
              </a:solidFill>
              <a:ln w="19050" algn="ctr">
                <a:noFill/>
                <a:miter lim="800000"/>
                <a:headEnd/>
                <a:tailEnd/>
              </a:ln>
            </p:spPr>
            <p:txBody>
              <a:bodyPr wrap="square" lIns="0" tIns="0" rIns="0" bIns="0" rtlCol="0" anchor="ctr"/>
              <a:lstStyle/>
              <a:p>
                <a:pPr algn="ctr"/>
                <a:endParaRPr lang="en-US"/>
              </a:p>
            </p:txBody>
          </p:sp>
          <p:grpSp>
            <p:nvGrpSpPr>
              <p:cNvPr id="39" name="Graphic 4">
                <a:extLst>
                  <a:ext uri="{FF2B5EF4-FFF2-40B4-BE49-F238E27FC236}">
                    <a16:creationId xmlns:a16="http://schemas.microsoft.com/office/drawing/2014/main" id="{AB5D8FF7-5F2C-17FD-9772-28EFB21EF87F}"/>
                  </a:ext>
                </a:extLst>
              </p:cNvPr>
              <p:cNvGrpSpPr>
                <a:grpSpLocks noChangeAspect="1"/>
              </p:cNvGrpSpPr>
              <p:nvPr/>
            </p:nvGrpSpPr>
            <p:grpSpPr>
              <a:xfrm>
                <a:off x="5726668" y="4017642"/>
                <a:ext cx="432000" cy="431600"/>
                <a:chOff x="1952764" y="1885352"/>
                <a:chExt cx="361670" cy="361333"/>
              </a:xfrm>
              <a:solidFill>
                <a:srgbClr val="00B0F2"/>
              </a:solidFill>
            </p:grpSpPr>
            <p:sp>
              <p:nvSpPr>
                <p:cNvPr id="40" name="Graphic 4">
                  <a:extLst>
                    <a:ext uri="{FF2B5EF4-FFF2-40B4-BE49-F238E27FC236}">
                      <a16:creationId xmlns:a16="http://schemas.microsoft.com/office/drawing/2014/main" id="{8F83F63F-87FD-3A54-DAB1-3A9DC96F2CA1}"/>
                    </a:ext>
                  </a:extLst>
                </p:cNvPr>
                <p:cNvSpPr/>
                <p:nvPr/>
              </p:nvSpPr>
              <p:spPr>
                <a:xfrm>
                  <a:off x="2044140" y="1990688"/>
                  <a:ext cx="96488" cy="74054"/>
                </a:xfrm>
                <a:custGeom>
                  <a:avLst/>
                  <a:gdLst>
                    <a:gd name="connsiteX0" fmla="*/ 0 w 96488"/>
                    <a:gd name="connsiteY0" fmla="*/ 55541 h 74054"/>
                    <a:gd name="connsiteX1" fmla="*/ 14058 w 96488"/>
                    <a:gd name="connsiteY1" fmla="*/ 55541 h 74054"/>
                    <a:gd name="connsiteX2" fmla="*/ 20448 w 96488"/>
                    <a:gd name="connsiteY2" fmla="*/ 61925 h 74054"/>
                    <a:gd name="connsiteX3" fmla="*/ 20448 w 96488"/>
                    <a:gd name="connsiteY3" fmla="*/ 74054 h 74054"/>
                    <a:gd name="connsiteX4" fmla="*/ 37062 w 96488"/>
                    <a:gd name="connsiteY4" fmla="*/ 57456 h 74054"/>
                    <a:gd name="connsiteX5" fmla="*/ 41535 w 96488"/>
                    <a:gd name="connsiteY5" fmla="*/ 55541 h 74054"/>
                    <a:gd name="connsiteX6" fmla="*/ 96488 w 96488"/>
                    <a:gd name="connsiteY6" fmla="*/ 55541 h 74054"/>
                    <a:gd name="connsiteX7" fmla="*/ 96488 w 96488"/>
                    <a:gd name="connsiteY7" fmla="*/ 0 h 74054"/>
                    <a:gd name="connsiteX8" fmla="*/ 0 w 96488"/>
                    <a:gd name="connsiteY8" fmla="*/ 0 h 74054"/>
                    <a:gd name="connsiteX9" fmla="*/ 0 w 96488"/>
                    <a:gd name="connsiteY9" fmla="*/ 55541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488" h="74054">
                      <a:moveTo>
                        <a:pt x="0" y="55541"/>
                      </a:moveTo>
                      <a:lnTo>
                        <a:pt x="14058" y="55541"/>
                      </a:lnTo>
                      <a:cubicBezTo>
                        <a:pt x="17892" y="55541"/>
                        <a:pt x="20448" y="58094"/>
                        <a:pt x="20448" y="61925"/>
                      </a:cubicBezTo>
                      <a:lnTo>
                        <a:pt x="20448" y="74054"/>
                      </a:lnTo>
                      <a:lnTo>
                        <a:pt x="37062" y="57456"/>
                      </a:lnTo>
                      <a:cubicBezTo>
                        <a:pt x="38340" y="56179"/>
                        <a:pt x="39618" y="55541"/>
                        <a:pt x="41535" y="55541"/>
                      </a:cubicBezTo>
                      <a:lnTo>
                        <a:pt x="96488" y="55541"/>
                      </a:lnTo>
                      <a:lnTo>
                        <a:pt x="96488" y="0"/>
                      </a:lnTo>
                      <a:lnTo>
                        <a:pt x="0" y="0"/>
                      </a:lnTo>
                      <a:lnTo>
                        <a:pt x="0" y="55541"/>
                      </a:ln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B05AF5F6-6656-952A-6C6A-A5D35D33EE9C}"/>
                    </a:ext>
                  </a:extLst>
                </p:cNvPr>
                <p:cNvSpPr/>
                <p:nvPr/>
              </p:nvSpPr>
              <p:spPr>
                <a:xfrm>
                  <a:off x="1952764" y="1885352"/>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10546 w 361670"/>
                    <a:gd name="connsiteY5" fmla="*/ 199180 h 361333"/>
                    <a:gd name="connsiteX6" fmla="*/ 106073 w 361670"/>
                    <a:gd name="connsiteY6" fmla="*/ 201095 h 361333"/>
                    <a:gd name="connsiteX7" fmla="*/ 103517 w 361670"/>
                    <a:gd name="connsiteY7" fmla="*/ 200457 h 361333"/>
                    <a:gd name="connsiteX8" fmla="*/ 99683 w 361670"/>
                    <a:gd name="connsiteY8" fmla="*/ 194711 h 361333"/>
                    <a:gd name="connsiteX9" fmla="*/ 99683 w 361670"/>
                    <a:gd name="connsiteY9" fmla="*/ 173644 h 361333"/>
                    <a:gd name="connsiteX10" fmla="*/ 85625 w 361670"/>
                    <a:gd name="connsiteY10" fmla="*/ 173644 h 361333"/>
                    <a:gd name="connsiteX11" fmla="*/ 79235 w 361670"/>
                    <a:gd name="connsiteY11" fmla="*/ 167260 h 361333"/>
                    <a:gd name="connsiteX12" fmla="*/ 79235 w 361670"/>
                    <a:gd name="connsiteY12" fmla="*/ 98952 h 361333"/>
                    <a:gd name="connsiteX13" fmla="*/ 85625 w 361670"/>
                    <a:gd name="connsiteY13" fmla="*/ 92568 h 361333"/>
                    <a:gd name="connsiteX14" fmla="*/ 194893 w 361670"/>
                    <a:gd name="connsiteY14" fmla="*/ 92568 h 361333"/>
                    <a:gd name="connsiteX15" fmla="*/ 201283 w 361670"/>
                    <a:gd name="connsiteY15" fmla="*/ 98952 h 361333"/>
                    <a:gd name="connsiteX16" fmla="*/ 201283 w 361670"/>
                    <a:gd name="connsiteY16" fmla="*/ 167260 h 361333"/>
                    <a:gd name="connsiteX17" fmla="*/ 194893 w 361670"/>
                    <a:gd name="connsiteY17" fmla="*/ 173644 h 361333"/>
                    <a:gd name="connsiteX18" fmla="*/ 136106 w 361670"/>
                    <a:gd name="connsiteY18" fmla="*/ 173644 h 361333"/>
                    <a:gd name="connsiteX19" fmla="*/ 110546 w 361670"/>
                    <a:gd name="connsiteY19" fmla="*/ 199180 h 361333"/>
                    <a:gd name="connsiteX20" fmla="*/ 283074 w 361670"/>
                    <a:gd name="connsiteY20" fmla="*/ 236207 h 361333"/>
                    <a:gd name="connsiteX21" fmla="*/ 276684 w 361670"/>
                    <a:gd name="connsiteY21" fmla="*/ 242591 h 361333"/>
                    <a:gd name="connsiteX22" fmla="*/ 255597 w 361670"/>
                    <a:gd name="connsiteY22" fmla="*/ 242591 h 361333"/>
                    <a:gd name="connsiteX23" fmla="*/ 255597 w 361670"/>
                    <a:gd name="connsiteY23" fmla="*/ 263658 h 361333"/>
                    <a:gd name="connsiteX24" fmla="*/ 251763 w 361670"/>
                    <a:gd name="connsiteY24" fmla="*/ 269404 h 361333"/>
                    <a:gd name="connsiteX25" fmla="*/ 249208 w 361670"/>
                    <a:gd name="connsiteY25" fmla="*/ 270042 h 361333"/>
                    <a:gd name="connsiteX26" fmla="*/ 244735 w 361670"/>
                    <a:gd name="connsiteY26" fmla="*/ 268127 h 361333"/>
                    <a:gd name="connsiteX27" fmla="*/ 219175 w 361670"/>
                    <a:gd name="connsiteY27" fmla="*/ 242591 h 361333"/>
                    <a:gd name="connsiteX28" fmla="*/ 166777 w 361670"/>
                    <a:gd name="connsiteY28" fmla="*/ 242591 h 361333"/>
                    <a:gd name="connsiteX29" fmla="*/ 160387 w 361670"/>
                    <a:gd name="connsiteY29" fmla="*/ 236207 h 361333"/>
                    <a:gd name="connsiteX30" fmla="*/ 160387 w 361670"/>
                    <a:gd name="connsiteY30" fmla="*/ 195350 h 361333"/>
                    <a:gd name="connsiteX31" fmla="*/ 166777 w 361670"/>
                    <a:gd name="connsiteY31" fmla="*/ 188966 h 361333"/>
                    <a:gd name="connsiteX32" fmla="*/ 173167 w 361670"/>
                    <a:gd name="connsiteY32" fmla="*/ 195350 h 361333"/>
                    <a:gd name="connsiteX33" fmla="*/ 173167 w 361670"/>
                    <a:gd name="connsiteY33" fmla="*/ 229823 h 361333"/>
                    <a:gd name="connsiteX34" fmla="*/ 221731 w 361670"/>
                    <a:gd name="connsiteY34" fmla="*/ 229823 h 361333"/>
                    <a:gd name="connsiteX35" fmla="*/ 226204 w 361670"/>
                    <a:gd name="connsiteY35" fmla="*/ 231738 h 361333"/>
                    <a:gd name="connsiteX36" fmla="*/ 242818 w 361670"/>
                    <a:gd name="connsiteY36" fmla="*/ 248337 h 361333"/>
                    <a:gd name="connsiteX37" fmla="*/ 242818 w 361670"/>
                    <a:gd name="connsiteY37" fmla="*/ 236207 h 361333"/>
                    <a:gd name="connsiteX38" fmla="*/ 249208 w 361670"/>
                    <a:gd name="connsiteY38" fmla="*/ 229823 h 361333"/>
                    <a:gd name="connsiteX39" fmla="*/ 270294 w 361670"/>
                    <a:gd name="connsiteY39" fmla="*/ 229823 h 361333"/>
                    <a:gd name="connsiteX40" fmla="*/ 270294 w 361670"/>
                    <a:gd name="connsiteY40" fmla="*/ 160238 h 361333"/>
                    <a:gd name="connsiteX41" fmla="*/ 221731 w 361670"/>
                    <a:gd name="connsiteY41" fmla="*/ 160238 h 361333"/>
                    <a:gd name="connsiteX42" fmla="*/ 215341 w 361670"/>
                    <a:gd name="connsiteY42" fmla="*/ 153854 h 361333"/>
                    <a:gd name="connsiteX43" fmla="*/ 221731 w 361670"/>
                    <a:gd name="connsiteY43" fmla="*/ 147470 h 361333"/>
                    <a:gd name="connsiteX44" fmla="*/ 276684 w 361670"/>
                    <a:gd name="connsiteY44" fmla="*/ 147470 h 361333"/>
                    <a:gd name="connsiteX45" fmla="*/ 283074 w 361670"/>
                    <a:gd name="connsiteY45" fmla="*/ 153854 h 361333"/>
                    <a:gd name="connsiteX46" fmla="*/ 283074 w 361670"/>
                    <a:gd name="connsiteY46" fmla="*/ 236207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1670" h="361333">
                      <a:moveTo>
                        <a:pt x="180835" y="0"/>
                      </a:moveTo>
                      <a:cubicBezTo>
                        <a:pt x="80513" y="0"/>
                        <a:pt x="0" y="81076"/>
                        <a:pt x="0" y="180667"/>
                      </a:cubicBezTo>
                      <a:cubicBezTo>
                        <a:pt x="0" y="280257"/>
                        <a:pt x="81152" y="361333"/>
                        <a:pt x="180835" y="361333"/>
                      </a:cubicBezTo>
                      <a:cubicBezTo>
                        <a:pt x="281157" y="361333"/>
                        <a:pt x="361670" y="280257"/>
                        <a:pt x="361670" y="180667"/>
                      </a:cubicBezTo>
                      <a:cubicBezTo>
                        <a:pt x="361670" y="81076"/>
                        <a:pt x="281157" y="0"/>
                        <a:pt x="180835" y="0"/>
                      </a:cubicBezTo>
                      <a:close/>
                      <a:moveTo>
                        <a:pt x="110546" y="199180"/>
                      </a:moveTo>
                      <a:cubicBezTo>
                        <a:pt x="109268" y="200457"/>
                        <a:pt x="107990" y="201095"/>
                        <a:pt x="106073" y="201095"/>
                      </a:cubicBezTo>
                      <a:cubicBezTo>
                        <a:pt x="105434" y="201095"/>
                        <a:pt x="104156" y="201095"/>
                        <a:pt x="103517" y="200457"/>
                      </a:cubicBezTo>
                      <a:cubicBezTo>
                        <a:pt x="100961" y="199180"/>
                        <a:pt x="99683" y="197265"/>
                        <a:pt x="99683" y="194711"/>
                      </a:cubicBezTo>
                      <a:lnTo>
                        <a:pt x="99683" y="173644"/>
                      </a:lnTo>
                      <a:lnTo>
                        <a:pt x="85625" y="173644"/>
                      </a:lnTo>
                      <a:cubicBezTo>
                        <a:pt x="81791" y="173644"/>
                        <a:pt x="79235" y="171091"/>
                        <a:pt x="79235" y="167260"/>
                      </a:cubicBezTo>
                      <a:lnTo>
                        <a:pt x="79235" y="98952"/>
                      </a:lnTo>
                      <a:cubicBezTo>
                        <a:pt x="79235" y="95121"/>
                        <a:pt x="81791" y="92568"/>
                        <a:pt x="85625" y="92568"/>
                      </a:cubicBezTo>
                      <a:lnTo>
                        <a:pt x="194893" y="92568"/>
                      </a:lnTo>
                      <a:cubicBezTo>
                        <a:pt x="198727" y="92568"/>
                        <a:pt x="201283" y="95121"/>
                        <a:pt x="201283" y="98952"/>
                      </a:cubicBezTo>
                      <a:lnTo>
                        <a:pt x="201283" y="167260"/>
                      </a:lnTo>
                      <a:cubicBezTo>
                        <a:pt x="201283" y="171091"/>
                        <a:pt x="198727" y="173644"/>
                        <a:pt x="194893" y="173644"/>
                      </a:cubicBezTo>
                      <a:lnTo>
                        <a:pt x="136106" y="173644"/>
                      </a:lnTo>
                      <a:lnTo>
                        <a:pt x="110546" y="199180"/>
                      </a:lnTo>
                      <a:close/>
                      <a:moveTo>
                        <a:pt x="283074" y="236207"/>
                      </a:moveTo>
                      <a:cubicBezTo>
                        <a:pt x="283074" y="240038"/>
                        <a:pt x="280518" y="242591"/>
                        <a:pt x="276684" y="242591"/>
                      </a:cubicBezTo>
                      <a:lnTo>
                        <a:pt x="255597" y="242591"/>
                      </a:lnTo>
                      <a:lnTo>
                        <a:pt x="255597" y="263658"/>
                      </a:lnTo>
                      <a:cubicBezTo>
                        <a:pt x="255597" y="266212"/>
                        <a:pt x="254319" y="268766"/>
                        <a:pt x="251763" y="269404"/>
                      </a:cubicBezTo>
                      <a:cubicBezTo>
                        <a:pt x="251124" y="270042"/>
                        <a:pt x="249847" y="270042"/>
                        <a:pt x="249208" y="270042"/>
                      </a:cubicBezTo>
                      <a:cubicBezTo>
                        <a:pt x="247290" y="270042"/>
                        <a:pt x="246013" y="269404"/>
                        <a:pt x="244735" y="268127"/>
                      </a:cubicBezTo>
                      <a:lnTo>
                        <a:pt x="219175" y="242591"/>
                      </a:lnTo>
                      <a:lnTo>
                        <a:pt x="166777" y="242591"/>
                      </a:lnTo>
                      <a:cubicBezTo>
                        <a:pt x="162943" y="242591"/>
                        <a:pt x="160387" y="240038"/>
                        <a:pt x="160387" y="236207"/>
                      </a:cubicBezTo>
                      <a:lnTo>
                        <a:pt x="160387" y="195350"/>
                      </a:lnTo>
                      <a:cubicBezTo>
                        <a:pt x="160387" y="191519"/>
                        <a:pt x="162943" y="188966"/>
                        <a:pt x="166777" y="188966"/>
                      </a:cubicBezTo>
                      <a:cubicBezTo>
                        <a:pt x="170611" y="188966"/>
                        <a:pt x="173167" y="191519"/>
                        <a:pt x="173167" y="195350"/>
                      </a:cubicBezTo>
                      <a:lnTo>
                        <a:pt x="173167" y="229823"/>
                      </a:lnTo>
                      <a:lnTo>
                        <a:pt x="221731" y="229823"/>
                      </a:lnTo>
                      <a:cubicBezTo>
                        <a:pt x="223648" y="229823"/>
                        <a:pt x="224926" y="230462"/>
                        <a:pt x="226204" y="231738"/>
                      </a:cubicBezTo>
                      <a:lnTo>
                        <a:pt x="242818" y="248337"/>
                      </a:lnTo>
                      <a:lnTo>
                        <a:pt x="242818" y="236207"/>
                      </a:lnTo>
                      <a:cubicBezTo>
                        <a:pt x="242818" y="232377"/>
                        <a:pt x="245374" y="229823"/>
                        <a:pt x="249208" y="229823"/>
                      </a:cubicBezTo>
                      <a:lnTo>
                        <a:pt x="270294" y="229823"/>
                      </a:lnTo>
                      <a:lnTo>
                        <a:pt x="270294" y="160238"/>
                      </a:lnTo>
                      <a:lnTo>
                        <a:pt x="221731" y="160238"/>
                      </a:lnTo>
                      <a:cubicBezTo>
                        <a:pt x="217897" y="160238"/>
                        <a:pt x="215341" y="157684"/>
                        <a:pt x="215341" y="153854"/>
                      </a:cubicBezTo>
                      <a:cubicBezTo>
                        <a:pt x="215341" y="150024"/>
                        <a:pt x="217897" y="147470"/>
                        <a:pt x="221731" y="147470"/>
                      </a:cubicBezTo>
                      <a:lnTo>
                        <a:pt x="276684" y="147470"/>
                      </a:lnTo>
                      <a:cubicBezTo>
                        <a:pt x="280518" y="147470"/>
                        <a:pt x="283074" y="150024"/>
                        <a:pt x="283074" y="153854"/>
                      </a:cubicBezTo>
                      <a:lnTo>
                        <a:pt x="283074" y="236207"/>
                      </a:lnTo>
                      <a:close/>
                    </a:path>
                  </a:pathLst>
                </a:custGeom>
                <a:grpFill/>
                <a:ln w="6390" cap="flat">
                  <a:noFill/>
                  <a:prstDash val="solid"/>
                  <a:miter/>
                </a:ln>
              </p:spPr>
              <p:txBody>
                <a:bodyPr rtlCol="0" anchor="ctr"/>
                <a:lstStyle/>
                <a:p>
                  <a:endParaRPr lang="en-US"/>
                </a:p>
              </p:txBody>
            </p:sp>
          </p:grpSp>
        </p:grpSp>
        <p:grpSp>
          <p:nvGrpSpPr>
            <p:cNvPr id="29" name="Group 28">
              <a:extLst>
                <a:ext uri="{FF2B5EF4-FFF2-40B4-BE49-F238E27FC236}">
                  <a16:creationId xmlns:a16="http://schemas.microsoft.com/office/drawing/2014/main" id="{6A3E1CC7-6B2D-F71C-3872-378CCB7B63F3}"/>
                </a:ext>
              </a:extLst>
            </p:cNvPr>
            <p:cNvGrpSpPr/>
            <p:nvPr/>
          </p:nvGrpSpPr>
          <p:grpSpPr>
            <a:xfrm>
              <a:off x="5773181" y="5189635"/>
              <a:ext cx="432398" cy="434235"/>
              <a:chOff x="5743649" y="5189635"/>
              <a:chExt cx="432398" cy="434235"/>
            </a:xfrm>
          </p:grpSpPr>
          <p:sp>
            <p:nvSpPr>
              <p:cNvPr id="33" name="Oval 32">
                <a:extLst>
                  <a:ext uri="{FF2B5EF4-FFF2-40B4-BE49-F238E27FC236}">
                    <a16:creationId xmlns:a16="http://schemas.microsoft.com/office/drawing/2014/main" id="{603205F7-47B4-048B-E69E-C423A6C6376E}"/>
                  </a:ext>
                </a:extLst>
              </p:cNvPr>
              <p:cNvSpPr>
                <a:spLocks noChangeAspect="1"/>
              </p:cNvSpPr>
              <p:nvPr/>
            </p:nvSpPr>
            <p:spPr bwMode="gray">
              <a:xfrm>
                <a:off x="5743803" y="5189635"/>
                <a:ext cx="430406" cy="430406"/>
              </a:xfrm>
              <a:prstGeom prst="ellipse">
                <a:avLst/>
              </a:prstGeom>
              <a:solidFill>
                <a:schemeClr val="bg1"/>
              </a:solidFill>
              <a:ln w="19050" algn="ctr">
                <a:noFill/>
                <a:miter lim="800000"/>
                <a:headEnd/>
                <a:tailEnd/>
              </a:ln>
            </p:spPr>
            <p:txBody>
              <a:bodyPr wrap="square" lIns="0" tIns="0" rIns="0" bIns="0" rtlCol="0" anchor="ctr"/>
              <a:lstStyle/>
              <a:p>
                <a:pPr algn="ctr"/>
                <a:endParaRPr lang="en-US"/>
              </a:p>
            </p:txBody>
          </p:sp>
          <p:grpSp>
            <p:nvGrpSpPr>
              <p:cNvPr id="34" name="Graphic 4">
                <a:extLst>
                  <a:ext uri="{FF2B5EF4-FFF2-40B4-BE49-F238E27FC236}">
                    <a16:creationId xmlns:a16="http://schemas.microsoft.com/office/drawing/2014/main" id="{59833D3D-9A8B-7208-1C30-72D06BE4D55F}"/>
                  </a:ext>
                </a:extLst>
              </p:cNvPr>
              <p:cNvGrpSpPr>
                <a:grpSpLocks noChangeAspect="1"/>
              </p:cNvGrpSpPr>
              <p:nvPr/>
            </p:nvGrpSpPr>
            <p:grpSpPr>
              <a:xfrm>
                <a:off x="5743649" y="5191875"/>
                <a:ext cx="432398" cy="431995"/>
                <a:chOff x="9278827" y="3824168"/>
                <a:chExt cx="362309" cy="361971"/>
              </a:xfrm>
              <a:solidFill>
                <a:srgbClr val="00B0F2"/>
              </a:solidFill>
            </p:grpSpPr>
            <p:sp>
              <p:nvSpPr>
                <p:cNvPr id="35" name="Graphic 4">
                  <a:extLst>
                    <a:ext uri="{FF2B5EF4-FFF2-40B4-BE49-F238E27FC236}">
                      <a16:creationId xmlns:a16="http://schemas.microsoft.com/office/drawing/2014/main" id="{E121414C-C11D-3D96-72B3-C89B7680BEEF}"/>
                    </a:ext>
                  </a:extLst>
                </p:cNvPr>
                <p:cNvSpPr/>
                <p:nvPr/>
              </p:nvSpPr>
              <p:spPr>
                <a:xfrm>
                  <a:off x="9439214" y="4068674"/>
                  <a:ext cx="41534" cy="29366"/>
                </a:xfrm>
                <a:custGeom>
                  <a:avLst/>
                  <a:gdLst>
                    <a:gd name="connsiteX0" fmla="*/ 4473 w 41534"/>
                    <a:gd name="connsiteY0" fmla="*/ 29366 h 29366"/>
                    <a:gd name="connsiteX1" fmla="*/ 36423 w 41534"/>
                    <a:gd name="connsiteY1" fmla="*/ 29366 h 29366"/>
                    <a:gd name="connsiteX2" fmla="*/ 41535 w 41534"/>
                    <a:gd name="connsiteY2" fmla="*/ 0 h 29366"/>
                    <a:gd name="connsiteX3" fmla="*/ 0 w 41534"/>
                    <a:gd name="connsiteY3" fmla="*/ 0 h 29366"/>
                  </a:gdLst>
                  <a:ahLst/>
                  <a:cxnLst>
                    <a:cxn ang="0">
                      <a:pos x="connsiteX0" y="connsiteY0"/>
                    </a:cxn>
                    <a:cxn ang="0">
                      <a:pos x="connsiteX1" y="connsiteY1"/>
                    </a:cxn>
                    <a:cxn ang="0">
                      <a:pos x="connsiteX2" y="connsiteY2"/>
                    </a:cxn>
                    <a:cxn ang="0">
                      <a:pos x="connsiteX3" y="connsiteY3"/>
                    </a:cxn>
                  </a:cxnLst>
                  <a:rect l="l" t="t" r="r" b="b"/>
                  <a:pathLst>
                    <a:path w="41534" h="29366">
                      <a:moveTo>
                        <a:pt x="4473" y="29366"/>
                      </a:moveTo>
                      <a:lnTo>
                        <a:pt x="36423" y="29366"/>
                      </a:lnTo>
                      <a:lnTo>
                        <a:pt x="41535" y="0"/>
                      </a:lnTo>
                      <a:lnTo>
                        <a:pt x="0" y="0"/>
                      </a:lnTo>
                      <a:close/>
                    </a:path>
                  </a:pathLst>
                </a:custGeom>
                <a:grp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74EED2A8-934D-37E6-BFEF-2BF4948E3409}"/>
                    </a:ext>
                  </a:extLst>
                </p:cNvPr>
                <p:cNvSpPr/>
                <p:nvPr/>
              </p:nvSpPr>
              <p:spPr>
                <a:xfrm>
                  <a:off x="9407904" y="3912253"/>
                  <a:ext cx="107350" cy="143652"/>
                </a:xfrm>
                <a:custGeom>
                  <a:avLst/>
                  <a:gdLst>
                    <a:gd name="connsiteX0" fmla="*/ 52397 w 107350"/>
                    <a:gd name="connsiteY0" fmla="*/ 13 h 143652"/>
                    <a:gd name="connsiteX1" fmla="*/ 0 w 107350"/>
                    <a:gd name="connsiteY1" fmla="*/ 50447 h 143652"/>
                    <a:gd name="connsiteX2" fmla="*/ 10863 w 107350"/>
                    <a:gd name="connsiteY2" fmla="*/ 84920 h 143652"/>
                    <a:gd name="connsiteX3" fmla="*/ 30671 w 107350"/>
                    <a:gd name="connsiteY3" fmla="*/ 128331 h 143652"/>
                    <a:gd name="connsiteX4" fmla="*/ 30671 w 107350"/>
                    <a:gd name="connsiteY4" fmla="*/ 143653 h 143652"/>
                    <a:gd name="connsiteX5" fmla="*/ 46646 w 107350"/>
                    <a:gd name="connsiteY5" fmla="*/ 143653 h 143652"/>
                    <a:gd name="connsiteX6" fmla="*/ 46646 w 107350"/>
                    <a:gd name="connsiteY6" fmla="*/ 143014 h 143652"/>
                    <a:gd name="connsiteX7" fmla="*/ 46646 w 107350"/>
                    <a:gd name="connsiteY7" fmla="*/ 88112 h 143652"/>
                    <a:gd name="connsiteX8" fmla="*/ 34505 w 107350"/>
                    <a:gd name="connsiteY8" fmla="*/ 75983 h 143652"/>
                    <a:gd name="connsiteX9" fmla="*/ 34505 w 107350"/>
                    <a:gd name="connsiteY9" fmla="*/ 67045 h 143652"/>
                    <a:gd name="connsiteX10" fmla="*/ 43451 w 107350"/>
                    <a:gd name="connsiteY10" fmla="*/ 67045 h 143652"/>
                    <a:gd name="connsiteX11" fmla="*/ 53675 w 107350"/>
                    <a:gd name="connsiteY11" fmla="*/ 76621 h 143652"/>
                    <a:gd name="connsiteX12" fmla="*/ 63260 w 107350"/>
                    <a:gd name="connsiteY12" fmla="*/ 67045 h 143652"/>
                    <a:gd name="connsiteX13" fmla="*/ 72206 w 107350"/>
                    <a:gd name="connsiteY13" fmla="*/ 67045 h 143652"/>
                    <a:gd name="connsiteX14" fmla="*/ 72206 w 107350"/>
                    <a:gd name="connsiteY14" fmla="*/ 75983 h 143652"/>
                    <a:gd name="connsiteX15" fmla="*/ 72206 w 107350"/>
                    <a:gd name="connsiteY15" fmla="*/ 75983 h 143652"/>
                    <a:gd name="connsiteX16" fmla="*/ 60065 w 107350"/>
                    <a:gd name="connsiteY16" fmla="*/ 88112 h 143652"/>
                    <a:gd name="connsiteX17" fmla="*/ 60065 w 107350"/>
                    <a:gd name="connsiteY17" fmla="*/ 142376 h 143652"/>
                    <a:gd name="connsiteX18" fmla="*/ 60065 w 107350"/>
                    <a:gd name="connsiteY18" fmla="*/ 143014 h 143652"/>
                    <a:gd name="connsiteX19" fmla="*/ 76040 w 107350"/>
                    <a:gd name="connsiteY19" fmla="*/ 143014 h 143652"/>
                    <a:gd name="connsiteX20" fmla="*/ 76040 w 107350"/>
                    <a:gd name="connsiteY20" fmla="*/ 127693 h 143652"/>
                    <a:gd name="connsiteX21" fmla="*/ 96488 w 107350"/>
                    <a:gd name="connsiteY21" fmla="*/ 84282 h 143652"/>
                    <a:gd name="connsiteX22" fmla="*/ 107350 w 107350"/>
                    <a:gd name="connsiteY22" fmla="*/ 49808 h 143652"/>
                    <a:gd name="connsiteX23" fmla="*/ 52397 w 107350"/>
                    <a:gd name="connsiteY23" fmla="*/ 13 h 14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350" h="143652">
                      <a:moveTo>
                        <a:pt x="52397" y="13"/>
                      </a:moveTo>
                      <a:cubicBezTo>
                        <a:pt x="24281" y="13"/>
                        <a:pt x="639" y="21719"/>
                        <a:pt x="0" y="50447"/>
                      </a:cubicBezTo>
                      <a:cubicBezTo>
                        <a:pt x="639" y="62576"/>
                        <a:pt x="3834" y="74706"/>
                        <a:pt x="10863" y="84920"/>
                      </a:cubicBezTo>
                      <a:cubicBezTo>
                        <a:pt x="15335" y="92581"/>
                        <a:pt x="30671" y="118117"/>
                        <a:pt x="30671" y="128331"/>
                      </a:cubicBezTo>
                      <a:lnTo>
                        <a:pt x="30671" y="143653"/>
                      </a:lnTo>
                      <a:lnTo>
                        <a:pt x="46646" y="143653"/>
                      </a:lnTo>
                      <a:cubicBezTo>
                        <a:pt x="46646" y="143653"/>
                        <a:pt x="46646" y="143014"/>
                        <a:pt x="46646" y="143014"/>
                      </a:cubicBezTo>
                      <a:lnTo>
                        <a:pt x="46646" y="88112"/>
                      </a:lnTo>
                      <a:lnTo>
                        <a:pt x="34505" y="75983"/>
                      </a:lnTo>
                      <a:cubicBezTo>
                        <a:pt x="31950" y="73429"/>
                        <a:pt x="31950" y="69599"/>
                        <a:pt x="34505" y="67045"/>
                      </a:cubicBezTo>
                      <a:cubicBezTo>
                        <a:pt x="37061" y="64491"/>
                        <a:pt x="40895" y="64491"/>
                        <a:pt x="43451" y="67045"/>
                      </a:cubicBezTo>
                      <a:lnTo>
                        <a:pt x="53675" y="76621"/>
                      </a:lnTo>
                      <a:lnTo>
                        <a:pt x="63260" y="67045"/>
                      </a:lnTo>
                      <a:cubicBezTo>
                        <a:pt x="65816" y="64491"/>
                        <a:pt x="69650" y="64491"/>
                        <a:pt x="72206" y="67045"/>
                      </a:cubicBezTo>
                      <a:cubicBezTo>
                        <a:pt x="74762" y="69599"/>
                        <a:pt x="74762" y="73429"/>
                        <a:pt x="72206" y="75983"/>
                      </a:cubicBezTo>
                      <a:cubicBezTo>
                        <a:pt x="72206" y="75983"/>
                        <a:pt x="72206" y="75983"/>
                        <a:pt x="72206" y="75983"/>
                      </a:cubicBezTo>
                      <a:lnTo>
                        <a:pt x="60065" y="88112"/>
                      </a:lnTo>
                      <a:lnTo>
                        <a:pt x="60065" y="142376"/>
                      </a:lnTo>
                      <a:cubicBezTo>
                        <a:pt x="60065" y="142376"/>
                        <a:pt x="60065" y="143014"/>
                        <a:pt x="60065" y="143014"/>
                      </a:cubicBezTo>
                      <a:lnTo>
                        <a:pt x="76040" y="143014"/>
                      </a:lnTo>
                      <a:lnTo>
                        <a:pt x="76040" y="127693"/>
                      </a:lnTo>
                      <a:cubicBezTo>
                        <a:pt x="76040" y="116840"/>
                        <a:pt x="91376" y="91304"/>
                        <a:pt x="96488" y="84282"/>
                      </a:cubicBezTo>
                      <a:cubicBezTo>
                        <a:pt x="102878" y="74067"/>
                        <a:pt x="106712" y="61938"/>
                        <a:pt x="107350" y="49808"/>
                      </a:cubicBezTo>
                      <a:cubicBezTo>
                        <a:pt x="104156" y="21719"/>
                        <a:pt x="80513" y="-625"/>
                        <a:pt x="52397" y="13"/>
                      </a:cubicBez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87FFEFF6-C303-C70B-B410-558B60064442}"/>
                    </a:ext>
                  </a:extLst>
                </p:cNvPr>
                <p:cNvSpPr/>
                <p:nvPr/>
              </p:nvSpPr>
              <p:spPr>
                <a:xfrm>
                  <a:off x="9278827" y="3824168"/>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233872 w 362309"/>
                    <a:gd name="connsiteY6" fmla="*/ 180028 h 361971"/>
                    <a:gd name="connsiteX7" fmla="*/ 215980 w 362309"/>
                    <a:gd name="connsiteY7" fmla="*/ 216417 h 361971"/>
                    <a:gd name="connsiteX8" fmla="*/ 215980 w 362309"/>
                    <a:gd name="connsiteY8" fmla="*/ 238122 h 361971"/>
                    <a:gd name="connsiteX9" fmla="*/ 215980 w 362309"/>
                    <a:gd name="connsiteY9" fmla="*/ 238761 h 361971"/>
                    <a:gd name="connsiteX10" fmla="*/ 215980 w 362309"/>
                    <a:gd name="connsiteY10" fmla="*/ 239399 h 361971"/>
                    <a:gd name="connsiteX11" fmla="*/ 208951 w 362309"/>
                    <a:gd name="connsiteY11" fmla="*/ 282172 h 361971"/>
                    <a:gd name="connsiteX12" fmla="*/ 202561 w 362309"/>
                    <a:gd name="connsiteY12" fmla="*/ 287279 h 361971"/>
                    <a:gd name="connsiteX13" fmla="*/ 159748 w 362309"/>
                    <a:gd name="connsiteY13" fmla="*/ 287279 h 361971"/>
                    <a:gd name="connsiteX14" fmla="*/ 153358 w 362309"/>
                    <a:gd name="connsiteY14" fmla="*/ 282172 h 361971"/>
                    <a:gd name="connsiteX15" fmla="*/ 146330 w 362309"/>
                    <a:gd name="connsiteY15" fmla="*/ 239399 h 361971"/>
                    <a:gd name="connsiteX16" fmla="*/ 146330 w 362309"/>
                    <a:gd name="connsiteY16" fmla="*/ 238761 h 361971"/>
                    <a:gd name="connsiteX17" fmla="*/ 146330 w 362309"/>
                    <a:gd name="connsiteY17" fmla="*/ 238122 h 361971"/>
                    <a:gd name="connsiteX18" fmla="*/ 146330 w 362309"/>
                    <a:gd name="connsiteY18" fmla="*/ 216417 h 361971"/>
                    <a:gd name="connsiteX19" fmla="*/ 128438 w 362309"/>
                    <a:gd name="connsiteY19" fmla="*/ 179390 h 361971"/>
                    <a:gd name="connsiteX20" fmla="*/ 115658 w 362309"/>
                    <a:gd name="connsiteY20" fmla="*/ 137894 h 361971"/>
                    <a:gd name="connsiteX21" fmla="*/ 180836 w 362309"/>
                    <a:gd name="connsiteY21" fmla="*/ 74692 h 361971"/>
                    <a:gd name="connsiteX22" fmla="*/ 181474 w 362309"/>
                    <a:gd name="connsiteY22" fmla="*/ 74692 h 361971"/>
                    <a:gd name="connsiteX23" fmla="*/ 246651 w 362309"/>
                    <a:gd name="connsiteY23" fmla="*/ 137894 h 361971"/>
                    <a:gd name="connsiteX24" fmla="*/ 233872 w 362309"/>
                    <a:gd name="connsiteY24" fmla="*/ 180028 h 361971"/>
                    <a:gd name="connsiteX25" fmla="*/ 233872 w 362309"/>
                    <a:gd name="connsiteY25" fmla="*/ 18002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3" y="0"/>
                        <a:pt x="0" y="81076"/>
                        <a:pt x="0" y="180667"/>
                      </a:cubicBezTo>
                      <a:cubicBezTo>
                        <a:pt x="0" y="280895"/>
                        <a:pt x="81153" y="361971"/>
                        <a:pt x="180836" y="361971"/>
                      </a:cubicBezTo>
                      <a:cubicBezTo>
                        <a:pt x="281157" y="361971"/>
                        <a:pt x="362310" y="280895"/>
                        <a:pt x="362310" y="181305"/>
                      </a:cubicBezTo>
                      <a:cubicBezTo>
                        <a:pt x="362310" y="181305"/>
                        <a:pt x="362310" y="181305"/>
                        <a:pt x="362310" y="181305"/>
                      </a:cubicBezTo>
                      <a:cubicBezTo>
                        <a:pt x="362310" y="81076"/>
                        <a:pt x="281157" y="0"/>
                        <a:pt x="181474" y="0"/>
                      </a:cubicBezTo>
                      <a:close/>
                      <a:moveTo>
                        <a:pt x="233872" y="180028"/>
                      </a:moveTo>
                      <a:cubicBezTo>
                        <a:pt x="225565" y="193435"/>
                        <a:pt x="215980" y="211948"/>
                        <a:pt x="215980" y="216417"/>
                      </a:cubicBezTo>
                      <a:lnTo>
                        <a:pt x="215980" y="238122"/>
                      </a:lnTo>
                      <a:cubicBezTo>
                        <a:pt x="215980" y="238122"/>
                        <a:pt x="215980" y="238122"/>
                        <a:pt x="215980" y="238761"/>
                      </a:cubicBezTo>
                      <a:cubicBezTo>
                        <a:pt x="215980" y="239399"/>
                        <a:pt x="215980" y="238761"/>
                        <a:pt x="215980" y="239399"/>
                      </a:cubicBezTo>
                      <a:lnTo>
                        <a:pt x="208951" y="282172"/>
                      </a:lnTo>
                      <a:cubicBezTo>
                        <a:pt x="208312" y="285364"/>
                        <a:pt x="205756" y="287279"/>
                        <a:pt x="202561" y="287279"/>
                      </a:cubicBezTo>
                      <a:lnTo>
                        <a:pt x="159748" y="287279"/>
                      </a:lnTo>
                      <a:cubicBezTo>
                        <a:pt x="156553" y="287279"/>
                        <a:pt x="153997" y="285364"/>
                        <a:pt x="153358" y="282172"/>
                      </a:cubicBezTo>
                      <a:lnTo>
                        <a:pt x="146330" y="239399"/>
                      </a:lnTo>
                      <a:cubicBezTo>
                        <a:pt x="146330" y="239399"/>
                        <a:pt x="146330" y="238761"/>
                        <a:pt x="146330" y="238761"/>
                      </a:cubicBezTo>
                      <a:cubicBezTo>
                        <a:pt x="146330" y="238761"/>
                        <a:pt x="146330" y="238761"/>
                        <a:pt x="146330" y="238122"/>
                      </a:cubicBezTo>
                      <a:lnTo>
                        <a:pt x="146330" y="216417"/>
                      </a:lnTo>
                      <a:cubicBezTo>
                        <a:pt x="146330" y="211310"/>
                        <a:pt x="137384" y="193435"/>
                        <a:pt x="128438" y="179390"/>
                      </a:cubicBezTo>
                      <a:cubicBezTo>
                        <a:pt x="120770" y="167260"/>
                        <a:pt x="116297" y="152577"/>
                        <a:pt x="115658" y="137894"/>
                      </a:cubicBezTo>
                      <a:cubicBezTo>
                        <a:pt x="116936" y="102782"/>
                        <a:pt x="145691" y="74692"/>
                        <a:pt x="180836" y="74692"/>
                      </a:cubicBezTo>
                      <a:lnTo>
                        <a:pt x="181474" y="74692"/>
                      </a:lnTo>
                      <a:cubicBezTo>
                        <a:pt x="217258" y="74692"/>
                        <a:pt x="246651" y="103420"/>
                        <a:pt x="246651" y="137894"/>
                      </a:cubicBezTo>
                      <a:cubicBezTo>
                        <a:pt x="246651" y="152577"/>
                        <a:pt x="242179" y="167260"/>
                        <a:pt x="233872" y="180028"/>
                      </a:cubicBezTo>
                      <a:lnTo>
                        <a:pt x="233872" y="180028"/>
                      </a:lnTo>
                      <a:close/>
                    </a:path>
                  </a:pathLst>
                </a:custGeom>
                <a:grpFill/>
                <a:ln w="6390" cap="flat">
                  <a:noFill/>
                  <a:prstDash val="solid"/>
                  <a:miter/>
                </a:ln>
              </p:spPr>
              <p:txBody>
                <a:bodyPr rtlCol="0" anchor="ctr"/>
                <a:lstStyle/>
                <a:p>
                  <a:endParaRPr lang="en-US"/>
                </a:p>
              </p:txBody>
            </p:sp>
          </p:grpSp>
        </p:grpSp>
        <p:grpSp>
          <p:nvGrpSpPr>
            <p:cNvPr id="30" name="Group 29">
              <a:extLst>
                <a:ext uri="{FF2B5EF4-FFF2-40B4-BE49-F238E27FC236}">
                  <a16:creationId xmlns:a16="http://schemas.microsoft.com/office/drawing/2014/main" id="{9275EA67-548F-6AAE-3EFA-E58E1FF977AA}"/>
                </a:ext>
              </a:extLst>
            </p:cNvPr>
            <p:cNvGrpSpPr/>
            <p:nvPr/>
          </p:nvGrpSpPr>
          <p:grpSpPr>
            <a:xfrm>
              <a:off x="5774334" y="1668870"/>
              <a:ext cx="430406" cy="433174"/>
              <a:chOff x="5743803" y="1668870"/>
              <a:chExt cx="430406" cy="433174"/>
            </a:xfrm>
          </p:grpSpPr>
          <p:sp>
            <p:nvSpPr>
              <p:cNvPr id="31" name="Oval 30">
                <a:extLst>
                  <a:ext uri="{FF2B5EF4-FFF2-40B4-BE49-F238E27FC236}">
                    <a16:creationId xmlns:a16="http://schemas.microsoft.com/office/drawing/2014/main" id="{644895FE-F042-DB33-C455-536BD618B964}"/>
                  </a:ext>
                </a:extLst>
              </p:cNvPr>
              <p:cNvSpPr>
                <a:spLocks noChangeAspect="1"/>
              </p:cNvSpPr>
              <p:nvPr/>
            </p:nvSpPr>
            <p:spPr bwMode="gray">
              <a:xfrm>
                <a:off x="5743803" y="1668870"/>
                <a:ext cx="430406" cy="430406"/>
              </a:xfrm>
              <a:prstGeom prst="ellipse">
                <a:avLst/>
              </a:prstGeom>
              <a:solidFill>
                <a:schemeClr val="bg1"/>
              </a:solidFill>
              <a:ln w="19050" algn="ctr">
                <a:noFill/>
                <a:miter lim="800000"/>
                <a:headEnd/>
                <a:tailEnd/>
              </a:ln>
            </p:spPr>
            <p:txBody>
              <a:bodyPr wrap="square" lIns="0" tIns="0" rIns="0" bIns="0" rtlCol="0" anchor="ctr"/>
              <a:lstStyle/>
              <a:p>
                <a:pPr algn="ctr"/>
                <a:endParaRPr lang="en-US"/>
              </a:p>
            </p:txBody>
          </p:sp>
          <p:sp>
            <p:nvSpPr>
              <p:cNvPr id="32" name="Graphic 4">
                <a:extLst>
                  <a:ext uri="{FF2B5EF4-FFF2-40B4-BE49-F238E27FC236}">
                    <a16:creationId xmlns:a16="http://schemas.microsoft.com/office/drawing/2014/main" id="{78347E99-D2D0-66C3-8256-AA309975AE24}"/>
                  </a:ext>
                </a:extLst>
              </p:cNvPr>
              <p:cNvSpPr>
                <a:spLocks noChangeAspect="1"/>
              </p:cNvSpPr>
              <p:nvPr/>
            </p:nvSpPr>
            <p:spPr>
              <a:xfrm>
                <a:off x="5743803" y="1670044"/>
                <a:ext cx="430406" cy="432000"/>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245374 w 361670"/>
                  <a:gd name="connsiteY5" fmla="*/ 137256 h 361333"/>
                  <a:gd name="connsiteX6" fmla="*/ 200644 w 361670"/>
                  <a:gd name="connsiteY6" fmla="*/ 167260 h 361333"/>
                  <a:gd name="connsiteX7" fmla="*/ 192337 w 361670"/>
                  <a:gd name="connsiteY7" fmla="*/ 176836 h 361333"/>
                  <a:gd name="connsiteX8" fmla="*/ 189142 w 361670"/>
                  <a:gd name="connsiteY8" fmla="*/ 180667 h 361333"/>
                  <a:gd name="connsiteX9" fmla="*/ 192977 w 361670"/>
                  <a:gd name="connsiteY9" fmla="*/ 184497 h 361333"/>
                  <a:gd name="connsiteX10" fmla="*/ 200644 w 361670"/>
                  <a:gd name="connsiteY10" fmla="*/ 194073 h 361333"/>
                  <a:gd name="connsiteX11" fmla="*/ 245374 w 361670"/>
                  <a:gd name="connsiteY11" fmla="*/ 224078 h 361333"/>
                  <a:gd name="connsiteX12" fmla="*/ 265821 w 361670"/>
                  <a:gd name="connsiteY12" fmla="*/ 224078 h 361333"/>
                  <a:gd name="connsiteX13" fmla="*/ 247930 w 361670"/>
                  <a:gd name="connsiteY13" fmla="*/ 206203 h 361333"/>
                  <a:gd name="connsiteX14" fmla="*/ 247930 w 361670"/>
                  <a:gd name="connsiteY14" fmla="*/ 197265 h 361333"/>
                  <a:gd name="connsiteX15" fmla="*/ 256876 w 361670"/>
                  <a:gd name="connsiteY15" fmla="*/ 197265 h 361333"/>
                  <a:gd name="connsiteX16" fmla="*/ 285631 w 361670"/>
                  <a:gd name="connsiteY16" fmla="*/ 225993 h 361333"/>
                  <a:gd name="connsiteX17" fmla="*/ 286908 w 361670"/>
                  <a:gd name="connsiteY17" fmla="*/ 227908 h 361333"/>
                  <a:gd name="connsiteX18" fmla="*/ 286908 w 361670"/>
                  <a:gd name="connsiteY18" fmla="*/ 233015 h 361333"/>
                  <a:gd name="connsiteX19" fmla="*/ 285631 w 361670"/>
                  <a:gd name="connsiteY19" fmla="*/ 234930 h 361333"/>
                  <a:gd name="connsiteX20" fmla="*/ 256876 w 361670"/>
                  <a:gd name="connsiteY20" fmla="*/ 263658 h 361333"/>
                  <a:gd name="connsiteX21" fmla="*/ 252403 w 361670"/>
                  <a:gd name="connsiteY21" fmla="*/ 265574 h 361333"/>
                  <a:gd name="connsiteX22" fmla="*/ 247930 w 361670"/>
                  <a:gd name="connsiteY22" fmla="*/ 263658 h 361333"/>
                  <a:gd name="connsiteX23" fmla="*/ 247930 w 361670"/>
                  <a:gd name="connsiteY23" fmla="*/ 254721 h 361333"/>
                  <a:gd name="connsiteX24" fmla="*/ 265821 w 361670"/>
                  <a:gd name="connsiteY24" fmla="*/ 236846 h 361333"/>
                  <a:gd name="connsiteX25" fmla="*/ 245374 w 361670"/>
                  <a:gd name="connsiteY25" fmla="*/ 236846 h 361333"/>
                  <a:gd name="connsiteX26" fmla="*/ 190420 w 361670"/>
                  <a:gd name="connsiteY26" fmla="*/ 201734 h 361333"/>
                  <a:gd name="connsiteX27" fmla="*/ 182752 w 361670"/>
                  <a:gd name="connsiteY27" fmla="*/ 192796 h 361333"/>
                  <a:gd name="connsiteX28" fmla="*/ 180197 w 361670"/>
                  <a:gd name="connsiteY28" fmla="*/ 190243 h 361333"/>
                  <a:gd name="connsiteX29" fmla="*/ 177641 w 361670"/>
                  <a:gd name="connsiteY29" fmla="*/ 192796 h 361333"/>
                  <a:gd name="connsiteX30" fmla="*/ 169972 w 361670"/>
                  <a:gd name="connsiteY30" fmla="*/ 201734 h 361333"/>
                  <a:gd name="connsiteX31" fmla="*/ 115019 w 361670"/>
                  <a:gd name="connsiteY31" fmla="*/ 236846 h 361333"/>
                  <a:gd name="connsiteX32" fmla="*/ 79235 w 361670"/>
                  <a:gd name="connsiteY32" fmla="*/ 236846 h 361333"/>
                  <a:gd name="connsiteX33" fmla="*/ 72845 w 361670"/>
                  <a:gd name="connsiteY33" fmla="*/ 230462 h 361333"/>
                  <a:gd name="connsiteX34" fmla="*/ 79235 w 361670"/>
                  <a:gd name="connsiteY34" fmla="*/ 224078 h 361333"/>
                  <a:gd name="connsiteX35" fmla="*/ 115019 w 361670"/>
                  <a:gd name="connsiteY35" fmla="*/ 224078 h 361333"/>
                  <a:gd name="connsiteX36" fmla="*/ 159748 w 361670"/>
                  <a:gd name="connsiteY36" fmla="*/ 194073 h 361333"/>
                  <a:gd name="connsiteX37" fmla="*/ 168056 w 361670"/>
                  <a:gd name="connsiteY37" fmla="*/ 184497 h 361333"/>
                  <a:gd name="connsiteX38" fmla="*/ 171251 w 361670"/>
                  <a:gd name="connsiteY38" fmla="*/ 180667 h 361333"/>
                  <a:gd name="connsiteX39" fmla="*/ 167417 w 361670"/>
                  <a:gd name="connsiteY39" fmla="*/ 176836 h 361333"/>
                  <a:gd name="connsiteX40" fmla="*/ 159748 w 361670"/>
                  <a:gd name="connsiteY40" fmla="*/ 167260 h 361333"/>
                  <a:gd name="connsiteX41" fmla="*/ 115019 w 361670"/>
                  <a:gd name="connsiteY41" fmla="*/ 137256 h 361333"/>
                  <a:gd name="connsiteX42" fmla="*/ 79235 w 361670"/>
                  <a:gd name="connsiteY42" fmla="*/ 137256 h 361333"/>
                  <a:gd name="connsiteX43" fmla="*/ 72845 w 361670"/>
                  <a:gd name="connsiteY43" fmla="*/ 130872 h 361333"/>
                  <a:gd name="connsiteX44" fmla="*/ 79235 w 361670"/>
                  <a:gd name="connsiteY44" fmla="*/ 124488 h 361333"/>
                  <a:gd name="connsiteX45" fmla="*/ 115019 w 361670"/>
                  <a:gd name="connsiteY45" fmla="*/ 124488 h 361333"/>
                  <a:gd name="connsiteX46" fmla="*/ 169972 w 361670"/>
                  <a:gd name="connsiteY46" fmla="*/ 159600 h 361333"/>
                  <a:gd name="connsiteX47" fmla="*/ 177641 w 361670"/>
                  <a:gd name="connsiteY47" fmla="*/ 168537 h 361333"/>
                  <a:gd name="connsiteX48" fmla="*/ 180197 w 361670"/>
                  <a:gd name="connsiteY48" fmla="*/ 171091 h 361333"/>
                  <a:gd name="connsiteX49" fmla="*/ 182752 w 361670"/>
                  <a:gd name="connsiteY49" fmla="*/ 168537 h 361333"/>
                  <a:gd name="connsiteX50" fmla="*/ 190420 w 361670"/>
                  <a:gd name="connsiteY50" fmla="*/ 159600 h 361333"/>
                  <a:gd name="connsiteX51" fmla="*/ 245374 w 361670"/>
                  <a:gd name="connsiteY51" fmla="*/ 124488 h 361333"/>
                  <a:gd name="connsiteX52" fmla="*/ 265821 w 361670"/>
                  <a:gd name="connsiteY52" fmla="*/ 124488 h 361333"/>
                  <a:gd name="connsiteX53" fmla="*/ 247930 w 361670"/>
                  <a:gd name="connsiteY53" fmla="*/ 106612 h 361333"/>
                  <a:gd name="connsiteX54" fmla="*/ 247930 w 361670"/>
                  <a:gd name="connsiteY54" fmla="*/ 97675 h 361333"/>
                  <a:gd name="connsiteX55" fmla="*/ 256876 w 361670"/>
                  <a:gd name="connsiteY55" fmla="*/ 97675 h 361333"/>
                  <a:gd name="connsiteX56" fmla="*/ 285631 w 361670"/>
                  <a:gd name="connsiteY56" fmla="*/ 126403 h 361333"/>
                  <a:gd name="connsiteX57" fmla="*/ 286908 w 361670"/>
                  <a:gd name="connsiteY57" fmla="*/ 128318 h 361333"/>
                  <a:gd name="connsiteX58" fmla="*/ 286908 w 361670"/>
                  <a:gd name="connsiteY58" fmla="*/ 133425 h 361333"/>
                  <a:gd name="connsiteX59" fmla="*/ 285631 w 361670"/>
                  <a:gd name="connsiteY59" fmla="*/ 135340 h 361333"/>
                  <a:gd name="connsiteX60" fmla="*/ 256876 w 361670"/>
                  <a:gd name="connsiteY60" fmla="*/ 164068 h 361333"/>
                  <a:gd name="connsiteX61" fmla="*/ 252403 w 361670"/>
                  <a:gd name="connsiteY61" fmla="*/ 165984 h 361333"/>
                  <a:gd name="connsiteX62" fmla="*/ 247930 w 361670"/>
                  <a:gd name="connsiteY62" fmla="*/ 164068 h 361333"/>
                  <a:gd name="connsiteX63" fmla="*/ 247930 w 361670"/>
                  <a:gd name="connsiteY63" fmla="*/ 155131 h 361333"/>
                  <a:gd name="connsiteX64" fmla="*/ 265821 w 361670"/>
                  <a:gd name="connsiteY64" fmla="*/ 137256 h 361333"/>
                  <a:gd name="connsiteX65" fmla="*/ 245374 w 361670"/>
                  <a:gd name="connsiteY65" fmla="*/ 137256 h 361333"/>
                  <a:gd name="connsiteX66" fmla="*/ 245374 w 361670"/>
                  <a:gd name="connsiteY66" fmla="*/ 137256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61670" h="361333">
                    <a:moveTo>
                      <a:pt x="180836" y="0"/>
                    </a:moveTo>
                    <a:cubicBezTo>
                      <a:pt x="80513" y="0"/>
                      <a:pt x="0" y="81076"/>
                      <a:pt x="0" y="180667"/>
                    </a:cubicBezTo>
                    <a:cubicBezTo>
                      <a:pt x="0" y="280257"/>
                      <a:pt x="81153" y="361333"/>
                      <a:pt x="180836" y="361333"/>
                    </a:cubicBezTo>
                    <a:cubicBezTo>
                      <a:pt x="281157" y="361333"/>
                      <a:pt x="361670" y="280257"/>
                      <a:pt x="361670" y="180667"/>
                    </a:cubicBezTo>
                    <a:cubicBezTo>
                      <a:pt x="361670" y="81076"/>
                      <a:pt x="281157" y="0"/>
                      <a:pt x="180836" y="0"/>
                    </a:cubicBezTo>
                    <a:close/>
                    <a:moveTo>
                      <a:pt x="245374" y="137256"/>
                    </a:moveTo>
                    <a:cubicBezTo>
                      <a:pt x="224287" y="137256"/>
                      <a:pt x="212146" y="153216"/>
                      <a:pt x="200644" y="167260"/>
                    </a:cubicBezTo>
                    <a:cubicBezTo>
                      <a:pt x="198088" y="171091"/>
                      <a:pt x="195532" y="174283"/>
                      <a:pt x="192337" y="176836"/>
                    </a:cubicBezTo>
                    <a:lnTo>
                      <a:pt x="189142" y="180667"/>
                    </a:lnTo>
                    <a:lnTo>
                      <a:pt x="192977" y="184497"/>
                    </a:lnTo>
                    <a:cubicBezTo>
                      <a:pt x="195532" y="187051"/>
                      <a:pt x="198088" y="190881"/>
                      <a:pt x="200644" y="194073"/>
                    </a:cubicBezTo>
                    <a:cubicBezTo>
                      <a:pt x="211507" y="208118"/>
                      <a:pt x="224287" y="224078"/>
                      <a:pt x="245374" y="224078"/>
                    </a:cubicBezTo>
                    <a:lnTo>
                      <a:pt x="265821" y="224078"/>
                    </a:lnTo>
                    <a:lnTo>
                      <a:pt x="247930" y="206203"/>
                    </a:lnTo>
                    <a:cubicBezTo>
                      <a:pt x="245374" y="203649"/>
                      <a:pt x="245374" y="199819"/>
                      <a:pt x="247930" y="197265"/>
                    </a:cubicBezTo>
                    <a:cubicBezTo>
                      <a:pt x="250486" y="194711"/>
                      <a:pt x="254320" y="194711"/>
                      <a:pt x="256876" y="197265"/>
                    </a:cubicBezTo>
                    <a:lnTo>
                      <a:pt x="285631" y="225993"/>
                    </a:lnTo>
                    <a:cubicBezTo>
                      <a:pt x="286270" y="226631"/>
                      <a:pt x="286908" y="227270"/>
                      <a:pt x="286908" y="227908"/>
                    </a:cubicBezTo>
                    <a:cubicBezTo>
                      <a:pt x="287547" y="229185"/>
                      <a:pt x="287547" y="231100"/>
                      <a:pt x="286908" y="233015"/>
                    </a:cubicBezTo>
                    <a:cubicBezTo>
                      <a:pt x="286270" y="233654"/>
                      <a:pt x="286270" y="234292"/>
                      <a:pt x="285631" y="234930"/>
                    </a:cubicBezTo>
                    <a:lnTo>
                      <a:pt x="256876" y="263658"/>
                    </a:lnTo>
                    <a:cubicBezTo>
                      <a:pt x="255597" y="264935"/>
                      <a:pt x="253681" y="265574"/>
                      <a:pt x="252403" y="265574"/>
                    </a:cubicBezTo>
                    <a:cubicBezTo>
                      <a:pt x="251125" y="265574"/>
                      <a:pt x="249208" y="264935"/>
                      <a:pt x="247930" y="263658"/>
                    </a:cubicBezTo>
                    <a:cubicBezTo>
                      <a:pt x="245374" y="261105"/>
                      <a:pt x="245374" y="257274"/>
                      <a:pt x="247930" y="254721"/>
                    </a:cubicBezTo>
                    <a:lnTo>
                      <a:pt x="265821" y="236846"/>
                    </a:lnTo>
                    <a:lnTo>
                      <a:pt x="245374" y="236846"/>
                    </a:lnTo>
                    <a:cubicBezTo>
                      <a:pt x="218536" y="236846"/>
                      <a:pt x="202561" y="216417"/>
                      <a:pt x="190420" y="201734"/>
                    </a:cubicBezTo>
                    <a:cubicBezTo>
                      <a:pt x="187864" y="198542"/>
                      <a:pt x="185308" y="195350"/>
                      <a:pt x="182752" y="192796"/>
                    </a:cubicBezTo>
                    <a:lnTo>
                      <a:pt x="180197" y="190243"/>
                    </a:lnTo>
                    <a:lnTo>
                      <a:pt x="177641" y="192796"/>
                    </a:lnTo>
                    <a:cubicBezTo>
                      <a:pt x="175084" y="195350"/>
                      <a:pt x="172528" y="198542"/>
                      <a:pt x="169972" y="201734"/>
                    </a:cubicBezTo>
                    <a:cubicBezTo>
                      <a:pt x="158471" y="216417"/>
                      <a:pt x="142496" y="236846"/>
                      <a:pt x="115019" y="236846"/>
                    </a:cubicBezTo>
                    <a:lnTo>
                      <a:pt x="79235" y="236846"/>
                    </a:lnTo>
                    <a:cubicBezTo>
                      <a:pt x="75402" y="236846"/>
                      <a:pt x="72845" y="234292"/>
                      <a:pt x="72845" y="230462"/>
                    </a:cubicBezTo>
                    <a:cubicBezTo>
                      <a:pt x="72845" y="226631"/>
                      <a:pt x="75402" y="224078"/>
                      <a:pt x="79235" y="224078"/>
                    </a:cubicBezTo>
                    <a:lnTo>
                      <a:pt x="115019" y="224078"/>
                    </a:lnTo>
                    <a:cubicBezTo>
                      <a:pt x="136106" y="224078"/>
                      <a:pt x="148247" y="208118"/>
                      <a:pt x="159748" y="194073"/>
                    </a:cubicBezTo>
                    <a:cubicBezTo>
                      <a:pt x="162305" y="190243"/>
                      <a:pt x="164861" y="187051"/>
                      <a:pt x="168056" y="184497"/>
                    </a:cubicBezTo>
                    <a:lnTo>
                      <a:pt x="171251" y="180667"/>
                    </a:lnTo>
                    <a:lnTo>
                      <a:pt x="167417" y="176836"/>
                    </a:lnTo>
                    <a:cubicBezTo>
                      <a:pt x="164861" y="174283"/>
                      <a:pt x="162305" y="170452"/>
                      <a:pt x="159748" y="167260"/>
                    </a:cubicBezTo>
                    <a:cubicBezTo>
                      <a:pt x="148886" y="153216"/>
                      <a:pt x="136106" y="137256"/>
                      <a:pt x="115019" y="137256"/>
                    </a:cubicBezTo>
                    <a:lnTo>
                      <a:pt x="79235" y="137256"/>
                    </a:lnTo>
                    <a:cubicBezTo>
                      <a:pt x="75402" y="137256"/>
                      <a:pt x="72845" y="134702"/>
                      <a:pt x="72845" y="130872"/>
                    </a:cubicBezTo>
                    <a:cubicBezTo>
                      <a:pt x="72845" y="127041"/>
                      <a:pt x="75402" y="124488"/>
                      <a:pt x="79235" y="124488"/>
                    </a:cubicBezTo>
                    <a:lnTo>
                      <a:pt x="115019" y="124488"/>
                    </a:lnTo>
                    <a:cubicBezTo>
                      <a:pt x="141857" y="124488"/>
                      <a:pt x="157832" y="144916"/>
                      <a:pt x="169972" y="159600"/>
                    </a:cubicBezTo>
                    <a:cubicBezTo>
                      <a:pt x="172528" y="162792"/>
                      <a:pt x="175084" y="165984"/>
                      <a:pt x="177641" y="168537"/>
                    </a:cubicBezTo>
                    <a:lnTo>
                      <a:pt x="180197" y="171091"/>
                    </a:lnTo>
                    <a:lnTo>
                      <a:pt x="182752" y="168537"/>
                    </a:lnTo>
                    <a:cubicBezTo>
                      <a:pt x="185308" y="165984"/>
                      <a:pt x="187864" y="162792"/>
                      <a:pt x="190420" y="159600"/>
                    </a:cubicBezTo>
                    <a:cubicBezTo>
                      <a:pt x="201922" y="144916"/>
                      <a:pt x="217897" y="124488"/>
                      <a:pt x="245374" y="124488"/>
                    </a:cubicBezTo>
                    <a:lnTo>
                      <a:pt x="265821" y="124488"/>
                    </a:lnTo>
                    <a:lnTo>
                      <a:pt x="247930" y="106612"/>
                    </a:lnTo>
                    <a:cubicBezTo>
                      <a:pt x="245374" y="104059"/>
                      <a:pt x="245374" y="100228"/>
                      <a:pt x="247930" y="97675"/>
                    </a:cubicBezTo>
                    <a:cubicBezTo>
                      <a:pt x="250486" y="95121"/>
                      <a:pt x="254320" y="95121"/>
                      <a:pt x="256876" y="97675"/>
                    </a:cubicBezTo>
                    <a:lnTo>
                      <a:pt x="285631" y="126403"/>
                    </a:lnTo>
                    <a:cubicBezTo>
                      <a:pt x="286270" y="127041"/>
                      <a:pt x="286908" y="127680"/>
                      <a:pt x="286908" y="128318"/>
                    </a:cubicBezTo>
                    <a:cubicBezTo>
                      <a:pt x="287547" y="129595"/>
                      <a:pt x="287547" y="131510"/>
                      <a:pt x="286908" y="133425"/>
                    </a:cubicBezTo>
                    <a:cubicBezTo>
                      <a:pt x="286270" y="134064"/>
                      <a:pt x="286270" y="134702"/>
                      <a:pt x="285631" y="135340"/>
                    </a:cubicBezTo>
                    <a:lnTo>
                      <a:pt x="256876" y="164068"/>
                    </a:lnTo>
                    <a:cubicBezTo>
                      <a:pt x="255597" y="165345"/>
                      <a:pt x="253681" y="165984"/>
                      <a:pt x="252403" y="165984"/>
                    </a:cubicBezTo>
                    <a:cubicBezTo>
                      <a:pt x="251125" y="165984"/>
                      <a:pt x="249208" y="165345"/>
                      <a:pt x="247930" y="164068"/>
                    </a:cubicBezTo>
                    <a:cubicBezTo>
                      <a:pt x="245374" y="161515"/>
                      <a:pt x="245374" y="157684"/>
                      <a:pt x="247930" y="155131"/>
                    </a:cubicBezTo>
                    <a:lnTo>
                      <a:pt x="265821" y="137256"/>
                    </a:lnTo>
                    <a:lnTo>
                      <a:pt x="245374" y="137256"/>
                    </a:lnTo>
                    <a:lnTo>
                      <a:pt x="245374" y="137256"/>
                    </a:lnTo>
                    <a:close/>
                  </a:path>
                </a:pathLst>
              </a:custGeom>
              <a:solidFill>
                <a:srgbClr val="00B0F2"/>
              </a:solidFill>
              <a:ln w="639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48217697"/>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16E111-D9FC-BB30-42DF-6E3FF8D05B79}"/>
              </a:ext>
            </a:extLst>
          </p:cNvPr>
          <p:cNvSpPr>
            <a:spLocks noGrp="1"/>
          </p:cNvSpPr>
          <p:nvPr>
            <p:ph type="body" sz="quarter" idx="22"/>
          </p:nvPr>
        </p:nvSpPr>
        <p:spPr/>
        <p:txBody>
          <a:bodyPr/>
          <a:lstStyle/>
          <a:p>
            <a:r>
              <a:rPr lang="en-US" dirty="0"/>
              <a:t>Workstreams can be scoped differently, based on the nature of the transformation</a:t>
            </a:r>
          </a:p>
        </p:txBody>
      </p:sp>
      <p:sp>
        <p:nvSpPr>
          <p:cNvPr id="3" name="Title 2">
            <a:extLst>
              <a:ext uri="{FF2B5EF4-FFF2-40B4-BE49-F238E27FC236}">
                <a16:creationId xmlns:a16="http://schemas.microsoft.com/office/drawing/2014/main" id="{7C5E4A7B-53EC-341F-A393-83E7FF2F95F0}"/>
              </a:ext>
            </a:extLst>
          </p:cNvPr>
          <p:cNvSpPr>
            <a:spLocks noGrp="1"/>
          </p:cNvSpPr>
          <p:nvPr>
            <p:ph type="title"/>
          </p:nvPr>
        </p:nvSpPr>
        <p:spPr>
          <a:xfrm>
            <a:off x="463294" y="417911"/>
            <a:ext cx="9777985" cy="334099"/>
          </a:xfrm>
        </p:spPr>
        <p:txBody>
          <a:bodyPr/>
          <a:lstStyle/>
          <a:p>
            <a:r>
              <a:rPr lang="en-US" dirty="0"/>
              <a:t>Transformation Nerve Center (TNC) structure and key roles</a:t>
            </a:r>
            <a:br>
              <a:rPr lang="en-US" dirty="0"/>
            </a:br>
            <a:endParaRPr lang="en-US" dirty="0"/>
          </a:p>
        </p:txBody>
      </p:sp>
      <p:sp>
        <p:nvSpPr>
          <p:cNvPr id="4" name="Rectangle 3">
            <a:extLst>
              <a:ext uri="{FF2B5EF4-FFF2-40B4-BE49-F238E27FC236}">
                <a16:creationId xmlns:a16="http://schemas.microsoft.com/office/drawing/2014/main" id="{A0CD99BE-8F0D-CEB1-CEC8-A891CDC7DD9F}"/>
              </a:ext>
            </a:extLst>
          </p:cNvPr>
          <p:cNvSpPr/>
          <p:nvPr/>
        </p:nvSpPr>
        <p:spPr>
          <a:xfrm>
            <a:off x="2134789" y="1833931"/>
            <a:ext cx="2937592" cy="324000"/>
          </a:xfrm>
          <a:prstGeom prst="rect">
            <a:avLst/>
          </a:prstGeom>
          <a:solidFill>
            <a:srgbClr val="00B0F2"/>
          </a:solidFill>
          <a:ln w="19050">
            <a:solidFill>
              <a:srgbClr val="00B0F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105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ransformation</a:t>
            </a:r>
            <a:r>
              <a:rPr lang="hu-HU"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erve</a:t>
            </a:r>
            <a:r>
              <a:rPr lang="hu-HU"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 Center</a:t>
            </a:r>
            <a:endParaRPr lang="en-US" sz="105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E7AFDB51-5B84-7BD5-BEA7-F5F205CD991E}"/>
              </a:ext>
            </a:extLst>
          </p:cNvPr>
          <p:cNvSpPr/>
          <p:nvPr/>
        </p:nvSpPr>
        <p:spPr>
          <a:xfrm>
            <a:off x="2134789" y="2231821"/>
            <a:ext cx="2937592" cy="333000"/>
          </a:xfrm>
          <a:prstGeom prst="rect">
            <a:avLst/>
          </a:prstGeom>
          <a:solidFill>
            <a:schemeClr val="bg1"/>
          </a:solidFill>
          <a:ln w="19050">
            <a:solidFill>
              <a:srgbClr val="00B0F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9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Chief</a:t>
            </a:r>
            <a:r>
              <a:rPr lang="hu-HU"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hu-HU" sz="9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Transformation</a:t>
            </a:r>
            <a:r>
              <a:rPr lang="hu-HU"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hu-HU" sz="9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Officer</a:t>
            </a:r>
            <a:r>
              <a:rPr lang="hu-HU"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hu-H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art-</a:t>
            </a:r>
            <a:r>
              <a:rPr lang="hu-HU" sz="90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time</a:t>
            </a:r>
            <a:r>
              <a:rPr lang="hu-H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endPar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36B53AA1-4B6C-4C45-070C-696CFD0F0B52}"/>
              </a:ext>
            </a:extLst>
          </p:cNvPr>
          <p:cNvSpPr/>
          <p:nvPr/>
        </p:nvSpPr>
        <p:spPr>
          <a:xfrm>
            <a:off x="2134789" y="2657601"/>
            <a:ext cx="1413591" cy="504000"/>
          </a:xfrm>
          <a:prstGeom prst="rect">
            <a:avLst/>
          </a:prstGeom>
          <a:solidFill>
            <a:schemeClr val="bg1"/>
          </a:solidFill>
          <a:ln w="19050">
            <a:solidFill>
              <a:srgbClr val="00B0F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NC lead </a:t>
            </a:r>
          </a:p>
          <a:p>
            <a:pPr algn="ctr"/>
            <a:r>
              <a:rPr lang="hu-H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r>
              <a:rPr lang="hu-HU" sz="90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full-time</a:t>
            </a:r>
            <a:r>
              <a:rPr lang="hu-H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endPar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0368C0A8-1A1D-D2E7-0D18-358C5224441C}"/>
              </a:ext>
            </a:extLst>
          </p:cNvPr>
          <p:cNvSpPr/>
          <p:nvPr/>
        </p:nvSpPr>
        <p:spPr>
          <a:xfrm>
            <a:off x="3657581" y="2657601"/>
            <a:ext cx="1414800" cy="504000"/>
          </a:xfrm>
          <a:prstGeom prst="rect">
            <a:avLst/>
          </a:prstGeom>
          <a:solidFill>
            <a:schemeClr val="bg1"/>
          </a:solidFill>
          <a:ln w="19050">
            <a:solidFill>
              <a:srgbClr val="00B0F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NC </a:t>
            </a:r>
            <a:r>
              <a:rPr lang="hu-HU" sz="9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support</a:t>
            </a:r>
            <a:r>
              <a:rPr lang="hu-HU"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p>
          <a:p>
            <a:pPr algn="ctr"/>
            <a:r>
              <a:rPr lang="hu-H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r>
              <a:rPr lang="hu-HU" sz="90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full-time</a:t>
            </a:r>
            <a:r>
              <a:rPr lang="hu-H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endPar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0EEC229A-8032-BD49-AE6D-3EECBBD6A425}"/>
              </a:ext>
            </a:extLst>
          </p:cNvPr>
          <p:cNvSpPr/>
          <p:nvPr/>
        </p:nvSpPr>
        <p:spPr>
          <a:xfrm>
            <a:off x="496951" y="1833931"/>
            <a:ext cx="1532924" cy="324000"/>
          </a:xfrm>
          <a:prstGeom prst="rect">
            <a:avLst/>
          </a:prstGeom>
          <a:solidFill>
            <a:schemeClr val="accent2">
              <a:lumMod val="50000"/>
            </a:schemeClr>
          </a:solidFill>
          <a:ln w="19050">
            <a:solidFill>
              <a:schemeClr val="accent1">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105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Executive</a:t>
            </a:r>
            <a:r>
              <a:rPr lang="hu-HU"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Committee</a:t>
            </a:r>
            <a:endParaRPr lang="en-US" sz="105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9" name="Straight Connector 8">
            <a:extLst>
              <a:ext uri="{FF2B5EF4-FFF2-40B4-BE49-F238E27FC236}">
                <a16:creationId xmlns:a16="http://schemas.microsoft.com/office/drawing/2014/main" id="{ECA352AD-8538-27FB-120B-E06ABEE0C108}"/>
              </a:ext>
            </a:extLst>
          </p:cNvPr>
          <p:cNvCxnSpPr>
            <a:cxnSpLocks/>
            <a:stCxn id="8" idx="3"/>
            <a:endCxn id="4" idx="1"/>
          </p:cNvCxnSpPr>
          <p:nvPr/>
        </p:nvCxnSpPr>
        <p:spPr>
          <a:xfrm>
            <a:off x="2029875" y="1995931"/>
            <a:ext cx="104914" cy="0"/>
          </a:xfrm>
          <a:prstGeom prst="line">
            <a:avLst/>
          </a:prstGeom>
          <a:ln w="19050">
            <a:solidFill>
              <a:srgbClr val="00B0F2"/>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1A971EA-627B-B94A-28B6-61BF8AEC7245}"/>
              </a:ext>
            </a:extLst>
          </p:cNvPr>
          <p:cNvSpPr/>
          <p:nvPr/>
        </p:nvSpPr>
        <p:spPr>
          <a:xfrm>
            <a:off x="706503" y="3336290"/>
            <a:ext cx="5240265" cy="324000"/>
          </a:xfrm>
          <a:prstGeom prst="rect">
            <a:avLst/>
          </a:prstGeom>
          <a:solidFill>
            <a:schemeClr val="accent2"/>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105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Cross-functional</a:t>
            </a:r>
            <a:r>
              <a:rPr lang="hu-HU"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ams</a:t>
            </a:r>
            <a:r>
              <a:rPr lang="hu-HU"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led </a:t>
            </a:r>
            <a:r>
              <a:rPr lang="hu-HU"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y</a:t>
            </a:r>
            <a:r>
              <a:rPr lang="hu-HU"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orkstream</a:t>
            </a:r>
            <a:r>
              <a:rPr lang="hu-HU"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eads</a:t>
            </a:r>
            <a:endPar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411F348A-00F6-F3D3-4932-966F91688DD7}"/>
              </a:ext>
            </a:extLst>
          </p:cNvPr>
          <p:cNvSpPr/>
          <p:nvPr/>
        </p:nvSpPr>
        <p:spPr>
          <a:xfrm>
            <a:off x="706502" y="3717951"/>
            <a:ext cx="1195200" cy="479143"/>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Customer</a:t>
            </a: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experience</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D2D3B8F2-BBFB-97A3-7BE3-6B634ADEC0B0}"/>
              </a:ext>
            </a:extLst>
          </p:cNvPr>
          <p:cNvSpPr/>
          <p:nvPr/>
        </p:nvSpPr>
        <p:spPr>
          <a:xfrm>
            <a:off x="2054769" y="3717951"/>
            <a:ext cx="1195200" cy="479143"/>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Employee</a:t>
            </a: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experience</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9562F445-5FA9-C946-709E-B5F5AAA5A77A}"/>
              </a:ext>
            </a:extLst>
          </p:cNvPr>
          <p:cNvSpPr/>
          <p:nvPr/>
        </p:nvSpPr>
        <p:spPr>
          <a:xfrm>
            <a:off x="3403036" y="3717951"/>
            <a:ext cx="1195200" cy="479143"/>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Value</a:t>
            </a: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financial</a:t>
            </a: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tracking</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CFB8E134-6889-B932-FEAF-FCB9FCF1DF5D}"/>
              </a:ext>
            </a:extLst>
          </p:cNvPr>
          <p:cNvSpPr/>
          <p:nvPr/>
        </p:nvSpPr>
        <p:spPr>
          <a:xfrm>
            <a:off x="4751302" y="3717950"/>
            <a:ext cx="1195200" cy="479143"/>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Communications</a:t>
            </a: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mp; </a:t>
            </a: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Change</a:t>
            </a: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Management</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73B2447D-84A0-B960-50B6-C8FFD41AF72C}"/>
              </a:ext>
            </a:extLst>
          </p:cNvPr>
          <p:cNvSpPr/>
          <p:nvPr/>
        </p:nvSpPr>
        <p:spPr>
          <a:xfrm>
            <a:off x="706503" y="4329431"/>
            <a:ext cx="5240265" cy="324000"/>
          </a:xfrm>
          <a:prstGeom prst="rect">
            <a:avLst/>
          </a:prstGeom>
          <a:solidFill>
            <a:schemeClr val="accent2"/>
          </a:solidFill>
          <a:ln w="19050">
            <a:solidFill>
              <a:schemeClr val="accent6">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105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unctional</a:t>
            </a:r>
            <a:r>
              <a:rPr lang="hu-HU"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ams</a:t>
            </a:r>
            <a:r>
              <a:rPr lang="hu-HU"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led </a:t>
            </a:r>
            <a:r>
              <a:rPr lang="hu-HU"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y</a:t>
            </a:r>
            <a:r>
              <a:rPr lang="hu-HU"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orkstream</a:t>
            </a:r>
            <a:r>
              <a:rPr lang="hu-HU"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eads</a:t>
            </a:r>
            <a:endPar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D5CDA513-B7DB-58F9-8FB7-1DDBE59C4783}"/>
              </a:ext>
            </a:extLst>
          </p:cNvPr>
          <p:cNvSpPr/>
          <p:nvPr/>
        </p:nvSpPr>
        <p:spPr>
          <a:xfrm>
            <a:off x="706502" y="4719948"/>
            <a:ext cx="2584703" cy="252051"/>
          </a:xfrm>
          <a:prstGeom prst="rect">
            <a:avLst/>
          </a:prstGeom>
          <a:solidFill>
            <a:schemeClr val="accent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 Unit</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7396950E-309C-8637-9EE2-38CAE9C2BB70}"/>
              </a:ext>
            </a:extLst>
          </p:cNvPr>
          <p:cNvSpPr/>
          <p:nvPr/>
        </p:nvSpPr>
        <p:spPr>
          <a:xfrm>
            <a:off x="3364688" y="4719948"/>
            <a:ext cx="2584800" cy="253108"/>
          </a:xfrm>
          <a:prstGeom prst="rect">
            <a:avLst/>
          </a:prstGeom>
          <a:solidFill>
            <a:schemeClr val="accent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11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Corporate</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B173C901-AB53-E9D9-BA54-A18C0BDEAAAC}"/>
              </a:ext>
            </a:extLst>
          </p:cNvPr>
          <p:cNvSpPr/>
          <p:nvPr/>
        </p:nvSpPr>
        <p:spPr>
          <a:xfrm>
            <a:off x="706500" y="5049460"/>
            <a:ext cx="1260000" cy="283440"/>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Marketing</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Rectangle 18">
            <a:extLst>
              <a:ext uri="{FF2B5EF4-FFF2-40B4-BE49-F238E27FC236}">
                <a16:creationId xmlns:a16="http://schemas.microsoft.com/office/drawing/2014/main" id="{71B7ECE9-817B-9B84-FE3C-A37AA3F76185}"/>
              </a:ext>
            </a:extLst>
          </p:cNvPr>
          <p:cNvSpPr/>
          <p:nvPr/>
        </p:nvSpPr>
        <p:spPr>
          <a:xfrm>
            <a:off x="706500" y="5412077"/>
            <a:ext cx="1260000" cy="283440"/>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Regional</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8367E2C6-3667-81AD-699D-6E9BAB0BA024}"/>
              </a:ext>
            </a:extLst>
          </p:cNvPr>
          <p:cNvSpPr/>
          <p:nvPr/>
        </p:nvSpPr>
        <p:spPr>
          <a:xfrm>
            <a:off x="2029875" y="5049460"/>
            <a:ext cx="1261330" cy="283440"/>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Operations</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14ECE502-D6F5-1D32-E2B7-50C387183F3B}"/>
              </a:ext>
            </a:extLst>
          </p:cNvPr>
          <p:cNvSpPr/>
          <p:nvPr/>
        </p:nvSpPr>
        <p:spPr>
          <a:xfrm>
            <a:off x="2029876" y="5410185"/>
            <a:ext cx="1261330" cy="283440"/>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Business </a:t>
            </a: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development</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9B921C82-84A6-D70C-D029-AFCAF98FB871}"/>
              </a:ext>
            </a:extLst>
          </p:cNvPr>
          <p:cNvSpPr/>
          <p:nvPr/>
        </p:nvSpPr>
        <p:spPr>
          <a:xfrm>
            <a:off x="3364688" y="5049460"/>
            <a:ext cx="1260000" cy="283440"/>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Facilities</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22">
            <a:extLst>
              <a:ext uri="{FF2B5EF4-FFF2-40B4-BE49-F238E27FC236}">
                <a16:creationId xmlns:a16="http://schemas.microsoft.com/office/drawing/2014/main" id="{BF2E5D45-C9AA-D7E3-C505-93B44B2DA8D0}"/>
              </a:ext>
            </a:extLst>
          </p:cNvPr>
          <p:cNvSpPr/>
          <p:nvPr/>
        </p:nvSpPr>
        <p:spPr>
          <a:xfrm>
            <a:off x="3364688" y="5410185"/>
            <a:ext cx="1260000" cy="283440"/>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IT</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32FB9580-BD7E-3DD2-B90D-B3D297F9F9BA}"/>
              </a:ext>
            </a:extLst>
          </p:cNvPr>
          <p:cNvSpPr/>
          <p:nvPr/>
        </p:nvSpPr>
        <p:spPr>
          <a:xfrm>
            <a:off x="4686768" y="5049460"/>
            <a:ext cx="1260000" cy="283440"/>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Human </a:t>
            </a: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resources</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9D8ECE5A-9473-D6C5-E136-17AB70F1134D}"/>
              </a:ext>
            </a:extLst>
          </p:cNvPr>
          <p:cNvSpPr/>
          <p:nvPr/>
        </p:nvSpPr>
        <p:spPr>
          <a:xfrm>
            <a:off x="4686768" y="5410185"/>
            <a:ext cx="1260000" cy="283440"/>
          </a:xfrm>
          <a:prstGeom prst="rect">
            <a:avLst/>
          </a:prstGeom>
          <a:solidFill>
            <a:schemeClr val="bg1"/>
          </a:solidFill>
          <a:ln w="1905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91440" rtlCol="0" anchor="ctr">
            <a:noAutofit/>
          </a:bodyPr>
          <a:lstStyle/>
          <a:p>
            <a:pPr algn="ct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Finance</a:t>
            </a:r>
            <a:r>
              <a:rPr lang="hu-HU"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r>
              <a:rPr lang="hu-HU"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tax</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6" name="Group 25">
            <a:extLst>
              <a:ext uri="{FF2B5EF4-FFF2-40B4-BE49-F238E27FC236}">
                <a16:creationId xmlns:a16="http://schemas.microsoft.com/office/drawing/2014/main" id="{747EE350-6D0A-E3E1-86B4-CC23C55D545C}"/>
              </a:ext>
            </a:extLst>
          </p:cNvPr>
          <p:cNvGrpSpPr/>
          <p:nvPr/>
        </p:nvGrpSpPr>
        <p:grpSpPr>
          <a:xfrm>
            <a:off x="6404808" y="1391513"/>
            <a:ext cx="612000" cy="612000"/>
            <a:chOff x="7569604" y="1179310"/>
            <a:chExt cx="684000" cy="684000"/>
          </a:xfrm>
        </p:grpSpPr>
        <p:grpSp>
          <p:nvGrpSpPr>
            <p:cNvPr id="27" name="Group 26">
              <a:extLst>
                <a:ext uri="{FF2B5EF4-FFF2-40B4-BE49-F238E27FC236}">
                  <a16:creationId xmlns:a16="http://schemas.microsoft.com/office/drawing/2014/main" id="{271B95AA-5C5F-58CF-CD5D-FE53EF9C6683}"/>
                </a:ext>
              </a:extLst>
            </p:cNvPr>
            <p:cNvGrpSpPr/>
            <p:nvPr/>
          </p:nvGrpSpPr>
          <p:grpSpPr>
            <a:xfrm>
              <a:off x="7569604" y="1179310"/>
              <a:ext cx="684000" cy="684000"/>
              <a:chOff x="465742" y="2706211"/>
              <a:chExt cx="442311" cy="442311"/>
            </a:xfrm>
          </p:grpSpPr>
          <p:sp>
            <p:nvSpPr>
              <p:cNvPr id="33" name="Oval 32">
                <a:extLst>
                  <a:ext uri="{FF2B5EF4-FFF2-40B4-BE49-F238E27FC236}">
                    <a16:creationId xmlns:a16="http://schemas.microsoft.com/office/drawing/2014/main" id="{E9384FB4-A293-FE2C-8494-A422D023C595}"/>
                  </a:ext>
                </a:extLst>
              </p:cNvPr>
              <p:cNvSpPr/>
              <p:nvPr/>
            </p:nvSpPr>
            <p:spPr bwMode="gray">
              <a:xfrm>
                <a:off x="465742" y="2706211"/>
                <a:ext cx="442311" cy="442311"/>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Oval 33">
                <a:extLst>
                  <a:ext uri="{FF2B5EF4-FFF2-40B4-BE49-F238E27FC236}">
                    <a16:creationId xmlns:a16="http://schemas.microsoft.com/office/drawing/2014/main" id="{A68FF837-88BD-FC94-21F9-E1D606B024A7}"/>
                  </a:ext>
                </a:extLst>
              </p:cNvPr>
              <p:cNvSpPr/>
              <p:nvPr/>
            </p:nvSpPr>
            <p:spPr bwMode="gray">
              <a:xfrm>
                <a:off x="507079" y="2747548"/>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Oval 34">
                <a:extLst>
                  <a:ext uri="{FF2B5EF4-FFF2-40B4-BE49-F238E27FC236}">
                    <a16:creationId xmlns:a16="http://schemas.microsoft.com/office/drawing/2014/main" id="{6802B183-E7A0-AE76-ACD7-EF0F978DDDE6}"/>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 name="Group 27">
              <a:extLst>
                <a:ext uri="{FF2B5EF4-FFF2-40B4-BE49-F238E27FC236}">
                  <a16:creationId xmlns:a16="http://schemas.microsoft.com/office/drawing/2014/main" id="{AD025CCF-73AE-5A12-A8ED-2472FBBDCADD}"/>
                </a:ext>
              </a:extLst>
            </p:cNvPr>
            <p:cNvGrpSpPr>
              <a:grpSpLocks noChangeAspect="1"/>
            </p:cNvGrpSpPr>
            <p:nvPr/>
          </p:nvGrpSpPr>
          <p:grpSpPr>
            <a:xfrm>
              <a:off x="7767571" y="1427715"/>
              <a:ext cx="287999" cy="181119"/>
              <a:chOff x="7043953" y="510427"/>
              <a:chExt cx="237555" cy="149395"/>
            </a:xfrm>
            <a:solidFill>
              <a:schemeClr val="bg1"/>
            </a:solidFill>
          </p:grpSpPr>
          <p:sp>
            <p:nvSpPr>
              <p:cNvPr id="29" name="Graphic 4">
                <a:extLst>
                  <a:ext uri="{FF2B5EF4-FFF2-40B4-BE49-F238E27FC236}">
                    <a16:creationId xmlns:a16="http://schemas.microsoft.com/office/drawing/2014/main" id="{468EC2D0-A8E7-0BCC-ED16-C8A88AF6663F}"/>
                  </a:ext>
                </a:extLst>
              </p:cNvPr>
              <p:cNvSpPr/>
              <p:nvPr/>
            </p:nvSpPr>
            <p:spPr>
              <a:xfrm>
                <a:off x="7043953" y="510427"/>
                <a:ext cx="157124" cy="149395"/>
              </a:xfrm>
              <a:custGeom>
                <a:avLst/>
                <a:gdLst>
                  <a:gd name="connsiteX0" fmla="*/ 153848 w 157124"/>
                  <a:gd name="connsiteY0" fmla="*/ 136777 h 149395"/>
                  <a:gd name="connsiteX1" fmla="*/ 127010 w 157124"/>
                  <a:gd name="connsiteY1" fmla="*/ 131031 h 149395"/>
                  <a:gd name="connsiteX2" fmla="*/ 112953 w 157124"/>
                  <a:gd name="connsiteY2" fmla="*/ 128478 h 149395"/>
                  <a:gd name="connsiteX3" fmla="*/ 104007 w 157124"/>
                  <a:gd name="connsiteY3" fmla="*/ 104218 h 149395"/>
                  <a:gd name="connsiteX4" fmla="*/ 120621 w 157124"/>
                  <a:gd name="connsiteY4" fmla="*/ 67830 h 149395"/>
                  <a:gd name="connsiteX5" fmla="*/ 114231 w 157124"/>
                  <a:gd name="connsiteY5" fmla="*/ 14843 h 149395"/>
                  <a:gd name="connsiteX6" fmla="*/ 43302 w 157124"/>
                  <a:gd name="connsiteY6" fmla="*/ 14843 h 149395"/>
                  <a:gd name="connsiteX7" fmla="*/ 43302 w 157124"/>
                  <a:gd name="connsiteY7" fmla="*/ 14843 h 149395"/>
                  <a:gd name="connsiteX8" fmla="*/ 36912 w 157124"/>
                  <a:gd name="connsiteY8" fmla="*/ 67830 h 149395"/>
                  <a:gd name="connsiteX9" fmla="*/ 52887 w 157124"/>
                  <a:gd name="connsiteY9" fmla="*/ 104857 h 149395"/>
                  <a:gd name="connsiteX10" fmla="*/ 43941 w 157124"/>
                  <a:gd name="connsiteY10" fmla="*/ 129116 h 149395"/>
                  <a:gd name="connsiteX11" fmla="*/ 29883 w 157124"/>
                  <a:gd name="connsiteY11" fmla="*/ 131670 h 149395"/>
                  <a:gd name="connsiteX12" fmla="*/ 3685 w 157124"/>
                  <a:gd name="connsiteY12" fmla="*/ 137415 h 149395"/>
                  <a:gd name="connsiteX13" fmla="*/ 490 w 157124"/>
                  <a:gd name="connsiteY13" fmla="*/ 145714 h 149395"/>
                  <a:gd name="connsiteX14" fmla="*/ 8797 w 157124"/>
                  <a:gd name="connsiteY14" fmla="*/ 148906 h 149395"/>
                  <a:gd name="connsiteX15" fmla="*/ 9435 w 157124"/>
                  <a:gd name="connsiteY15" fmla="*/ 148268 h 149395"/>
                  <a:gd name="connsiteX16" fmla="*/ 31161 w 157124"/>
                  <a:gd name="connsiteY16" fmla="*/ 143799 h 149395"/>
                  <a:gd name="connsiteX17" fmla="*/ 49692 w 157124"/>
                  <a:gd name="connsiteY17" fmla="*/ 140607 h 149395"/>
                  <a:gd name="connsiteX18" fmla="*/ 64389 w 157124"/>
                  <a:gd name="connsiteY18" fmla="*/ 117625 h 149395"/>
                  <a:gd name="connsiteX19" fmla="*/ 63111 w 157124"/>
                  <a:gd name="connsiteY19" fmla="*/ 97834 h 149395"/>
                  <a:gd name="connsiteX20" fmla="*/ 48414 w 157124"/>
                  <a:gd name="connsiteY20" fmla="*/ 64638 h 149395"/>
                  <a:gd name="connsiteX21" fmla="*/ 52248 w 157124"/>
                  <a:gd name="connsiteY21" fmla="*/ 22503 h 149395"/>
                  <a:gd name="connsiteX22" fmla="*/ 77808 w 157124"/>
                  <a:gd name="connsiteY22" fmla="*/ 12289 h 149395"/>
                  <a:gd name="connsiteX23" fmla="*/ 78447 w 157124"/>
                  <a:gd name="connsiteY23" fmla="*/ 12289 h 149395"/>
                  <a:gd name="connsiteX24" fmla="*/ 104007 w 157124"/>
                  <a:gd name="connsiteY24" fmla="*/ 22503 h 149395"/>
                  <a:gd name="connsiteX25" fmla="*/ 107841 w 157124"/>
                  <a:gd name="connsiteY25" fmla="*/ 64638 h 149395"/>
                  <a:gd name="connsiteX26" fmla="*/ 93144 w 157124"/>
                  <a:gd name="connsiteY26" fmla="*/ 96558 h 149395"/>
                  <a:gd name="connsiteX27" fmla="*/ 91866 w 157124"/>
                  <a:gd name="connsiteY27" fmla="*/ 116348 h 149395"/>
                  <a:gd name="connsiteX28" fmla="*/ 106563 w 157124"/>
                  <a:gd name="connsiteY28" fmla="*/ 139969 h 149395"/>
                  <a:gd name="connsiteX29" fmla="*/ 125094 w 157124"/>
                  <a:gd name="connsiteY29" fmla="*/ 143161 h 149395"/>
                  <a:gd name="connsiteX30" fmla="*/ 146819 w 157124"/>
                  <a:gd name="connsiteY30" fmla="*/ 147630 h 149395"/>
                  <a:gd name="connsiteX31" fmla="*/ 155765 w 157124"/>
                  <a:gd name="connsiteY31" fmla="*/ 145076 h 149395"/>
                  <a:gd name="connsiteX32" fmla="*/ 153848 w 157124"/>
                  <a:gd name="connsiteY32" fmla="*/ 136777 h 149395"/>
                  <a:gd name="connsiteX33" fmla="*/ 153848 w 157124"/>
                  <a:gd name="connsiteY33" fmla="*/ 136777 h 1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7124" h="149395">
                    <a:moveTo>
                      <a:pt x="153848" y="136777"/>
                    </a:moveTo>
                    <a:cubicBezTo>
                      <a:pt x="145541" y="132946"/>
                      <a:pt x="136595" y="131031"/>
                      <a:pt x="127010" y="131031"/>
                    </a:cubicBezTo>
                    <a:cubicBezTo>
                      <a:pt x="122537" y="131031"/>
                      <a:pt x="117426" y="130393"/>
                      <a:pt x="112953" y="128478"/>
                    </a:cubicBezTo>
                    <a:cubicBezTo>
                      <a:pt x="107202" y="125286"/>
                      <a:pt x="102729" y="107410"/>
                      <a:pt x="104007" y="104218"/>
                    </a:cubicBezTo>
                    <a:cubicBezTo>
                      <a:pt x="111674" y="93366"/>
                      <a:pt x="117426" y="80598"/>
                      <a:pt x="120621" y="67830"/>
                    </a:cubicBezTo>
                    <a:cubicBezTo>
                      <a:pt x="126372" y="44847"/>
                      <a:pt x="123815" y="26334"/>
                      <a:pt x="114231" y="14843"/>
                    </a:cubicBezTo>
                    <a:cubicBezTo>
                      <a:pt x="94422" y="-4948"/>
                      <a:pt x="62472" y="-4948"/>
                      <a:pt x="43302" y="14843"/>
                    </a:cubicBezTo>
                    <a:cubicBezTo>
                      <a:pt x="43302" y="14843"/>
                      <a:pt x="43302" y="14843"/>
                      <a:pt x="43302" y="14843"/>
                    </a:cubicBezTo>
                    <a:cubicBezTo>
                      <a:pt x="33078" y="26972"/>
                      <a:pt x="31161" y="44847"/>
                      <a:pt x="36912" y="67830"/>
                    </a:cubicBezTo>
                    <a:cubicBezTo>
                      <a:pt x="40107" y="81236"/>
                      <a:pt x="45858" y="93366"/>
                      <a:pt x="52887" y="104857"/>
                    </a:cubicBezTo>
                    <a:cubicBezTo>
                      <a:pt x="54165" y="108687"/>
                      <a:pt x="49692" y="125924"/>
                      <a:pt x="43941" y="129116"/>
                    </a:cubicBezTo>
                    <a:cubicBezTo>
                      <a:pt x="39468" y="130393"/>
                      <a:pt x="34995" y="131031"/>
                      <a:pt x="29883" y="131670"/>
                    </a:cubicBezTo>
                    <a:cubicBezTo>
                      <a:pt x="20938" y="131670"/>
                      <a:pt x="11992" y="133585"/>
                      <a:pt x="3685" y="137415"/>
                    </a:cubicBezTo>
                    <a:cubicBezTo>
                      <a:pt x="490" y="138692"/>
                      <a:pt x="-788" y="142522"/>
                      <a:pt x="490" y="145714"/>
                    </a:cubicBezTo>
                    <a:cubicBezTo>
                      <a:pt x="1768" y="148906"/>
                      <a:pt x="5602" y="150183"/>
                      <a:pt x="8797" y="148906"/>
                    </a:cubicBezTo>
                    <a:cubicBezTo>
                      <a:pt x="8797" y="148906"/>
                      <a:pt x="9435" y="148906"/>
                      <a:pt x="9435" y="148268"/>
                    </a:cubicBezTo>
                    <a:cubicBezTo>
                      <a:pt x="16465" y="145714"/>
                      <a:pt x="23493" y="144438"/>
                      <a:pt x="31161" y="143799"/>
                    </a:cubicBezTo>
                    <a:cubicBezTo>
                      <a:pt x="37551" y="143799"/>
                      <a:pt x="43941" y="142522"/>
                      <a:pt x="49692" y="140607"/>
                    </a:cubicBezTo>
                    <a:cubicBezTo>
                      <a:pt x="59277" y="135500"/>
                      <a:pt x="63750" y="121455"/>
                      <a:pt x="64389" y="117625"/>
                    </a:cubicBezTo>
                    <a:cubicBezTo>
                      <a:pt x="65028" y="113794"/>
                      <a:pt x="66945" y="103580"/>
                      <a:pt x="63111" y="97834"/>
                    </a:cubicBezTo>
                    <a:cubicBezTo>
                      <a:pt x="56721" y="87620"/>
                      <a:pt x="51609" y="76767"/>
                      <a:pt x="48414" y="64638"/>
                    </a:cubicBezTo>
                    <a:cubicBezTo>
                      <a:pt x="43941" y="45486"/>
                      <a:pt x="45219" y="31441"/>
                      <a:pt x="52248" y="22503"/>
                    </a:cubicBezTo>
                    <a:cubicBezTo>
                      <a:pt x="58638" y="15481"/>
                      <a:pt x="68223" y="11651"/>
                      <a:pt x="77808" y="12289"/>
                    </a:cubicBezTo>
                    <a:lnTo>
                      <a:pt x="78447" y="12289"/>
                    </a:lnTo>
                    <a:cubicBezTo>
                      <a:pt x="88032" y="12289"/>
                      <a:pt x="97617" y="15481"/>
                      <a:pt x="104007" y="22503"/>
                    </a:cubicBezTo>
                    <a:cubicBezTo>
                      <a:pt x="111036" y="31441"/>
                      <a:pt x="112314" y="45486"/>
                      <a:pt x="107841" y="64638"/>
                    </a:cubicBezTo>
                    <a:cubicBezTo>
                      <a:pt x="104646" y="76129"/>
                      <a:pt x="100173" y="86982"/>
                      <a:pt x="93144" y="96558"/>
                    </a:cubicBezTo>
                    <a:cubicBezTo>
                      <a:pt x="89310" y="101665"/>
                      <a:pt x="90588" y="111241"/>
                      <a:pt x="91866" y="116348"/>
                    </a:cubicBezTo>
                    <a:cubicBezTo>
                      <a:pt x="93144" y="121455"/>
                      <a:pt x="96978" y="134862"/>
                      <a:pt x="106563" y="139969"/>
                    </a:cubicBezTo>
                    <a:cubicBezTo>
                      <a:pt x="112314" y="141884"/>
                      <a:pt x="118704" y="143161"/>
                      <a:pt x="125094" y="143161"/>
                    </a:cubicBezTo>
                    <a:cubicBezTo>
                      <a:pt x="132762" y="143161"/>
                      <a:pt x="139790" y="145076"/>
                      <a:pt x="146819" y="147630"/>
                    </a:cubicBezTo>
                    <a:cubicBezTo>
                      <a:pt x="150014" y="149545"/>
                      <a:pt x="153848" y="148268"/>
                      <a:pt x="155765" y="145076"/>
                    </a:cubicBezTo>
                    <a:cubicBezTo>
                      <a:pt x="158321" y="141884"/>
                      <a:pt x="157043" y="138054"/>
                      <a:pt x="153848" y="136777"/>
                    </a:cubicBezTo>
                    <a:lnTo>
                      <a:pt x="153848" y="136777"/>
                    </a:lnTo>
                    <a:close/>
                  </a:path>
                </a:pathLst>
              </a:custGeom>
              <a:grp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53890AA6-3233-78C1-6EEF-E394C32F36D6}"/>
                  </a:ext>
                </a:extLst>
              </p:cNvPr>
              <p:cNvSpPr/>
              <p:nvPr/>
            </p:nvSpPr>
            <p:spPr>
              <a:xfrm>
                <a:off x="7188216" y="526547"/>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543A4DD0-5E79-09F6-F443-689FC5A46BFD}"/>
                  </a:ext>
                </a:extLst>
              </p:cNvPr>
              <p:cNvSpPr/>
              <p:nvPr/>
            </p:nvSpPr>
            <p:spPr>
              <a:xfrm>
                <a:off x="7188216" y="558467"/>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F1D80FF2-2863-9280-C179-0C663BD13A18}"/>
                  </a:ext>
                </a:extLst>
              </p:cNvPr>
              <p:cNvSpPr/>
              <p:nvPr/>
            </p:nvSpPr>
            <p:spPr>
              <a:xfrm>
                <a:off x="7188216" y="590386"/>
                <a:ext cx="93292" cy="12767"/>
              </a:xfrm>
              <a:custGeom>
                <a:avLst/>
                <a:gdLst>
                  <a:gd name="connsiteX0" fmla="*/ 86903 w 93292"/>
                  <a:gd name="connsiteY0" fmla="*/ 0 h 12767"/>
                  <a:gd name="connsiteX1" fmla="*/ 6390 w 93292"/>
                  <a:gd name="connsiteY1" fmla="*/ 0 h 12767"/>
                  <a:gd name="connsiteX2" fmla="*/ 0 w 93292"/>
                  <a:gd name="connsiteY2" fmla="*/ 6384 h 12767"/>
                  <a:gd name="connsiteX3" fmla="*/ 6390 w 93292"/>
                  <a:gd name="connsiteY3" fmla="*/ 12768 h 12767"/>
                  <a:gd name="connsiteX4" fmla="*/ 86903 w 93292"/>
                  <a:gd name="connsiteY4" fmla="*/ 12768 h 12767"/>
                  <a:gd name="connsiteX5" fmla="*/ 93293 w 93292"/>
                  <a:gd name="connsiteY5" fmla="*/ 6384 h 12767"/>
                  <a:gd name="connsiteX6" fmla="*/ 86903 w 9329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92" h="12767">
                    <a:moveTo>
                      <a:pt x="86903" y="0"/>
                    </a:moveTo>
                    <a:lnTo>
                      <a:pt x="6390" y="0"/>
                    </a:lnTo>
                    <a:cubicBezTo>
                      <a:pt x="2556" y="0"/>
                      <a:pt x="0" y="2554"/>
                      <a:pt x="0" y="6384"/>
                    </a:cubicBezTo>
                    <a:cubicBezTo>
                      <a:pt x="0" y="10214"/>
                      <a:pt x="2556" y="12768"/>
                      <a:pt x="6390" y="12768"/>
                    </a:cubicBezTo>
                    <a:lnTo>
                      <a:pt x="86903" y="12768"/>
                    </a:lnTo>
                    <a:cubicBezTo>
                      <a:pt x="90737" y="12768"/>
                      <a:pt x="93293" y="10214"/>
                      <a:pt x="93293" y="6384"/>
                    </a:cubicBezTo>
                    <a:cubicBezTo>
                      <a:pt x="93293" y="2554"/>
                      <a:pt x="90737" y="0"/>
                      <a:pt x="86903" y="0"/>
                    </a:cubicBezTo>
                    <a:close/>
                  </a:path>
                </a:pathLst>
              </a:custGeom>
              <a:grpFill/>
              <a:ln w="6390" cap="flat">
                <a:noFill/>
                <a:prstDash val="solid"/>
                <a:miter/>
              </a:ln>
            </p:spPr>
            <p:txBody>
              <a:bodyPr rtlCol="0" anchor="ctr"/>
              <a:lstStyle/>
              <a:p>
                <a:endParaRPr lang="en-US"/>
              </a:p>
            </p:txBody>
          </p:sp>
        </p:grpSp>
      </p:grpSp>
      <p:sp>
        <p:nvSpPr>
          <p:cNvPr id="36" name="Rectangle 35">
            <a:extLst>
              <a:ext uri="{FF2B5EF4-FFF2-40B4-BE49-F238E27FC236}">
                <a16:creationId xmlns:a16="http://schemas.microsoft.com/office/drawing/2014/main" id="{3D4DB5F6-40A4-2BCB-27D6-E0414D746BFC}"/>
              </a:ext>
            </a:extLst>
          </p:cNvPr>
          <p:cNvSpPr/>
          <p:nvPr/>
        </p:nvSpPr>
        <p:spPr>
          <a:xfrm>
            <a:off x="6992514" y="1564044"/>
            <a:ext cx="3228315" cy="261610"/>
          </a:xfrm>
          <a:prstGeom prst="rect">
            <a:avLst/>
          </a:prstGeom>
        </p:spPr>
        <p:txBody>
          <a:bodyPr wrap="square">
            <a:spAutoFit/>
          </a:bodyPr>
          <a:lstStyle/>
          <a:p>
            <a:r>
              <a:rPr lang="en-US" sz="11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Role of </a:t>
            </a:r>
            <a:r>
              <a:rPr lang="hu-HU" sz="11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a C</a:t>
            </a:r>
            <a:r>
              <a:rPr lang="en-US" sz="1100" b="1" dirty="0" err="1">
                <a:solidFill>
                  <a:srgbClr val="00B0F2"/>
                </a:solidFill>
                <a:latin typeface="Open Sans" panose="020B0606030504020204" pitchFamily="34" charset="0"/>
                <a:ea typeface="Open Sans" panose="020B0606030504020204" pitchFamily="34" charset="0"/>
                <a:cs typeface="Open Sans" panose="020B0606030504020204" pitchFamily="34" charset="0"/>
              </a:rPr>
              <a:t>hief</a:t>
            </a:r>
            <a:r>
              <a:rPr lang="en-US" sz="11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 </a:t>
            </a:r>
            <a:r>
              <a:rPr lang="hu-HU" sz="11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T</a:t>
            </a:r>
            <a:r>
              <a:rPr lang="en-US" sz="1100" b="1" dirty="0" err="1">
                <a:solidFill>
                  <a:srgbClr val="00B0F2"/>
                </a:solidFill>
                <a:latin typeface="Open Sans" panose="020B0606030504020204" pitchFamily="34" charset="0"/>
                <a:ea typeface="Open Sans" panose="020B0606030504020204" pitchFamily="34" charset="0"/>
                <a:cs typeface="Open Sans" panose="020B0606030504020204" pitchFamily="34" charset="0"/>
              </a:rPr>
              <a:t>ransformation</a:t>
            </a:r>
            <a:r>
              <a:rPr lang="en-US" sz="11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 </a:t>
            </a:r>
            <a:r>
              <a:rPr lang="hu-HU" sz="11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O</a:t>
            </a:r>
            <a:r>
              <a:rPr lang="en-US" sz="1100" b="1" dirty="0" err="1">
                <a:solidFill>
                  <a:srgbClr val="00B0F2"/>
                </a:solidFill>
                <a:latin typeface="Open Sans" panose="020B0606030504020204" pitchFamily="34" charset="0"/>
                <a:ea typeface="Open Sans" panose="020B0606030504020204" pitchFamily="34" charset="0"/>
                <a:cs typeface="Open Sans" panose="020B0606030504020204" pitchFamily="34" charset="0"/>
              </a:rPr>
              <a:t>fficer</a:t>
            </a:r>
            <a:endParaRPr lang="hu-HU" sz="1100" b="1" dirty="0">
              <a:solidFill>
                <a:srgbClr val="00B0F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07B23A40-B2F2-3E21-4F5E-F4AB84F78AD2}"/>
              </a:ext>
            </a:extLst>
          </p:cNvPr>
          <p:cNvSpPr txBox="1"/>
          <p:nvPr/>
        </p:nvSpPr>
        <p:spPr>
          <a:xfrm>
            <a:off x="7082671" y="1844613"/>
            <a:ext cx="4670164" cy="1300469"/>
          </a:xfrm>
          <a:prstGeom prst="rect">
            <a:avLst/>
          </a:prstGeom>
          <a:noFill/>
        </p:spPr>
        <p:txBody>
          <a:bodyPr wrap="square" lIns="0" tIns="0" rIns="0" bIns="0" rtlCol="0">
            <a:noAutofit/>
          </a:bodyPr>
          <a:lstStyle/>
          <a:p>
            <a:pPr>
              <a:spcBef>
                <a:spcPts val="600"/>
              </a:spcBef>
              <a:spcAft>
                <a:spcPts val="200"/>
              </a:spcAft>
              <a:buSzPct val="100000"/>
            </a:pPr>
            <a:r>
              <a:rPr lang="en-US" sz="950" dirty="0">
                <a:latin typeface="Open Sans" panose="020B0606030504020204" pitchFamily="34" charset="0"/>
                <a:ea typeface="Open Sans" panose="020B0606030504020204" pitchFamily="34" charset="0"/>
                <a:cs typeface="Open Sans" panose="020B0606030504020204" pitchFamily="34" charset="0"/>
              </a:rPr>
              <a:t>Transformation teams require a strong leader that</a:t>
            </a:r>
            <a:r>
              <a:rPr lang="hu-HU" sz="950" dirty="0">
                <a:latin typeface="Open Sans" panose="020B0606030504020204" pitchFamily="34" charset="0"/>
                <a:ea typeface="Open Sans" panose="020B0606030504020204" pitchFamily="34" charset="0"/>
                <a:cs typeface="Open Sans" panose="020B0606030504020204" pitchFamily="34" charset="0"/>
              </a:rPr>
              <a:t> </a:t>
            </a:r>
            <a:r>
              <a:rPr lang="hu-HU" sz="950" b="1" dirty="0">
                <a:solidFill>
                  <a:srgbClr val="00B0F2"/>
                </a:solidFill>
                <a:latin typeface="Open Sans" panose="020B0606030504020204" pitchFamily="34" charset="0"/>
                <a:ea typeface="Open Sans" panose="020B0606030504020204" pitchFamily="34" charset="0"/>
                <a:cs typeface="Open Sans" panose="020B0606030504020204" pitchFamily="34" charset="0"/>
              </a:rPr>
              <a:t>…</a:t>
            </a:r>
          </a:p>
          <a:p>
            <a:pPr marL="361950" indent="-180975">
              <a:spcAft>
                <a:spcPts val="200"/>
              </a:spcAft>
              <a:buClr>
                <a:srgbClr val="00B0F2"/>
              </a:buClr>
              <a:buSzPct val="120000"/>
              <a:buFont typeface="Arial" panose="020B0604020202020204" pitchFamily="34" charset="0"/>
              <a:buChar char="•"/>
            </a:pPr>
            <a:r>
              <a:rPr lang="en-US" sz="950" b="1" dirty="0">
                <a:latin typeface="Open Sans" panose="020B0606030504020204" pitchFamily="34" charset="0"/>
                <a:ea typeface="Open Sans" panose="020B0606030504020204" pitchFamily="34" charset="0"/>
                <a:cs typeface="Open Sans" panose="020B0606030504020204" pitchFamily="34" charset="0"/>
              </a:rPr>
              <a:t>embraces</a:t>
            </a:r>
            <a:r>
              <a:rPr lang="en-US" sz="950" dirty="0">
                <a:latin typeface="Open Sans" panose="020B0606030504020204" pitchFamily="34" charset="0"/>
                <a:ea typeface="Open Sans" panose="020B0606030504020204" pitchFamily="34" charset="0"/>
                <a:cs typeface="Open Sans" panose="020B0606030504020204" pitchFamily="34" charset="0"/>
              </a:rPr>
              <a:t> the transformation strategy</a:t>
            </a:r>
            <a:r>
              <a:rPr lang="hu-HU" sz="950" dirty="0">
                <a:latin typeface="Open Sans" panose="020B0606030504020204" pitchFamily="34" charset="0"/>
                <a:ea typeface="Open Sans" panose="020B0606030504020204" pitchFamily="34" charset="0"/>
                <a:cs typeface="Open Sans" panose="020B0606030504020204" pitchFamily="34" charset="0"/>
              </a:rPr>
              <a:t>,</a:t>
            </a:r>
          </a:p>
          <a:p>
            <a:pPr marL="361950" indent="-180975">
              <a:spcAft>
                <a:spcPts val="200"/>
              </a:spcAft>
              <a:buClr>
                <a:srgbClr val="00B0F2"/>
              </a:buClr>
              <a:buSzPct val="120000"/>
              <a:buFont typeface="Arial" panose="020B0604020202020204" pitchFamily="34" charset="0"/>
              <a:buChar char="•"/>
            </a:pPr>
            <a:r>
              <a:rPr lang="en-US" sz="950" b="1" dirty="0">
                <a:latin typeface="Open Sans" panose="020B0606030504020204" pitchFamily="34" charset="0"/>
                <a:ea typeface="Open Sans" panose="020B0606030504020204" pitchFamily="34" charset="0"/>
                <a:cs typeface="Open Sans" panose="020B0606030504020204" pitchFamily="34" charset="0"/>
              </a:rPr>
              <a:t>has a deep understanding</a:t>
            </a:r>
            <a:r>
              <a:rPr lang="en-US" sz="950" dirty="0">
                <a:latin typeface="Open Sans" panose="020B0606030504020204" pitchFamily="34" charset="0"/>
                <a:ea typeface="Open Sans" panose="020B0606030504020204" pitchFamily="34" charset="0"/>
                <a:cs typeface="Open Sans" panose="020B0606030504020204" pitchFamily="34" charset="0"/>
              </a:rPr>
              <a:t> of the market</a:t>
            </a:r>
            <a:r>
              <a:rPr lang="hu-HU" sz="950" dirty="0">
                <a:latin typeface="Open Sans" panose="020B0606030504020204" pitchFamily="34" charset="0"/>
                <a:ea typeface="Open Sans" panose="020B0606030504020204" pitchFamily="34" charset="0"/>
                <a:cs typeface="Open Sans" panose="020B0606030504020204" pitchFamily="34" charset="0"/>
              </a:rPr>
              <a:t>,</a:t>
            </a:r>
          </a:p>
          <a:p>
            <a:pPr marL="361950" indent="-180975">
              <a:spcAft>
                <a:spcPts val="200"/>
              </a:spcAft>
              <a:buClr>
                <a:srgbClr val="00B0F2"/>
              </a:buClr>
              <a:buSzPct val="120000"/>
              <a:buFont typeface="Arial" panose="020B0604020202020204" pitchFamily="34" charset="0"/>
              <a:buChar char="•"/>
            </a:pPr>
            <a:r>
              <a:rPr lang="en-US" sz="950" b="1" dirty="0">
                <a:latin typeface="Open Sans" panose="020B0606030504020204" pitchFamily="34" charset="0"/>
                <a:ea typeface="Open Sans" panose="020B0606030504020204" pitchFamily="34" charset="0"/>
                <a:cs typeface="Open Sans" panose="020B0606030504020204" pitchFamily="34" charset="0"/>
              </a:rPr>
              <a:t>can shape and influence </a:t>
            </a:r>
            <a:r>
              <a:rPr lang="en-US" sz="950" dirty="0">
                <a:latin typeface="Open Sans" panose="020B0606030504020204" pitchFamily="34" charset="0"/>
                <a:ea typeface="Open Sans" panose="020B0606030504020204" pitchFamily="34" charset="0"/>
                <a:cs typeface="Open Sans" panose="020B0606030504020204" pitchFamily="34" charset="0"/>
              </a:rPr>
              <a:t>the direction of the program</a:t>
            </a:r>
            <a:r>
              <a:rPr lang="hu-HU" sz="950" dirty="0">
                <a:latin typeface="Open Sans" panose="020B0606030504020204" pitchFamily="34" charset="0"/>
                <a:ea typeface="Open Sans" panose="020B0606030504020204" pitchFamily="34" charset="0"/>
                <a:cs typeface="Open Sans" panose="020B0606030504020204" pitchFamily="34" charset="0"/>
              </a:rPr>
              <a:t>,</a:t>
            </a:r>
          </a:p>
          <a:p>
            <a:pPr marL="361950" indent="-180975">
              <a:spcAft>
                <a:spcPts val="200"/>
              </a:spcAft>
              <a:buClr>
                <a:srgbClr val="00B0F2"/>
              </a:buClr>
              <a:buSzPct val="120000"/>
              <a:buFont typeface="Arial" panose="020B0604020202020204" pitchFamily="34" charset="0"/>
              <a:buChar char="•"/>
            </a:pPr>
            <a:r>
              <a:rPr lang="hu-HU" sz="950" b="1" dirty="0">
                <a:latin typeface="Open Sans" panose="020B0606030504020204" pitchFamily="34" charset="0"/>
                <a:ea typeface="Open Sans" panose="020B0606030504020204" pitchFamily="34" charset="0"/>
                <a:cs typeface="Open Sans" panose="020B0606030504020204" pitchFamily="34" charset="0"/>
              </a:rPr>
              <a:t>is </a:t>
            </a:r>
            <a:r>
              <a:rPr lang="hu-HU" sz="950" b="1" dirty="0" err="1">
                <a:latin typeface="Open Sans" panose="020B0606030504020204" pitchFamily="34" charset="0"/>
                <a:ea typeface="Open Sans" panose="020B0606030504020204" pitchFamily="34" charset="0"/>
                <a:cs typeface="Open Sans" panose="020B0606030504020204" pitchFamily="34" charset="0"/>
              </a:rPr>
              <a:t>forward-thinking</a:t>
            </a:r>
            <a:r>
              <a:rPr lang="hu-HU" sz="950" b="1" dirty="0">
                <a:latin typeface="Open Sans" panose="020B0606030504020204" pitchFamily="34" charset="0"/>
                <a:ea typeface="Open Sans" panose="020B0606030504020204" pitchFamily="34" charset="0"/>
                <a:cs typeface="Open Sans" panose="020B0606030504020204" pitchFamily="34" charset="0"/>
              </a:rPr>
              <a:t> </a:t>
            </a:r>
            <a:r>
              <a:rPr lang="hu-HU" sz="950" dirty="0" err="1">
                <a:latin typeface="Open Sans" panose="020B0606030504020204" pitchFamily="34" charset="0"/>
                <a:ea typeface="Open Sans" panose="020B0606030504020204" pitchFamily="34" charset="0"/>
                <a:cs typeface="Open Sans" panose="020B0606030504020204" pitchFamily="34" charset="0"/>
              </a:rPr>
              <a:t>industry</a:t>
            </a:r>
            <a:r>
              <a:rPr lang="hu-HU" sz="950" dirty="0">
                <a:latin typeface="Open Sans" panose="020B0606030504020204" pitchFamily="34" charset="0"/>
                <a:ea typeface="Open Sans" panose="020B0606030504020204" pitchFamily="34" charset="0"/>
                <a:cs typeface="Open Sans" panose="020B0606030504020204" pitchFamily="34" charset="0"/>
              </a:rPr>
              <a:t> </a:t>
            </a:r>
            <a:r>
              <a:rPr lang="hu-HU" sz="950" dirty="0" err="1">
                <a:latin typeface="Open Sans" panose="020B0606030504020204" pitchFamily="34" charset="0"/>
                <a:ea typeface="Open Sans" panose="020B0606030504020204" pitchFamily="34" charset="0"/>
                <a:cs typeface="Open Sans" panose="020B0606030504020204" pitchFamily="34" charset="0"/>
              </a:rPr>
              <a:t>insiders</a:t>
            </a:r>
            <a:r>
              <a:rPr lang="hu-HU" sz="950" dirty="0">
                <a:latin typeface="Open Sans" panose="020B0606030504020204" pitchFamily="34" charset="0"/>
                <a:ea typeface="Open Sans" panose="020B0606030504020204" pitchFamily="34" charset="0"/>
                <a:cs typeface="Open Sans" panose="020B0606030504020204" pitchFamily="34" charset="0"/>
              </a:rPr>
              <a:t>,</a:t>
            </a:r>
          </a:p>
          <a:p>
            <a:pPr marL="361950" indent="-180975">
              <a:spcAft>
                <a:spcPts val="200"/>
              </a:spcAft>
              <a:buClr>
                <a:srgbClr val="00B0F2"/>
              </a:buClr>
              <a:buSzPct val="120000"/>
              <a:buFont typeface="Arial" panose="020B0604020202020204" pitchFamily="34" charset="0"/>
              <a:buChar char="•"/>
            </a:pPr>
            <a:r>
              <a:rPr lang="hu-HU" sz="950" b="1" dirty="0" err="1">
                <a:latin typeface="Open Sans" panose="020B0606030504020204" pitchFamily="34" charset="0"/>
                <a:ea typeface="Open Sans" panose="020B0606030504020204" pitchFamily="34" charset="0"/>
                <a:cs typeface="Open Sans" panose="020B0606030504020204" pitchFamily="34" charset="0"/>
              </a:rPr>
              <a:t>helps</a:t>
            </a:r>
            <a:r>
              <a:rPr lang="hu-HU" sz="950" b="1" dirty="0">
                <a:latin typeface="Open Sans" panose="020B0606030504020204" pitchFamily="34" charset="0"/>
                <a:ea typeface="Open Sans" panose="020B0606030504020204" pitchFamily="34" charset="0"/>
                <a:cs typeface="Open Sans" panose="020B0606030504020204" pitchFamily="34" charset="0"/>
              </a:rPr>
              <a:t> </a:t>
            </a:r>
            <a:r>
              <a:rPr lang="en-US" sz="950" b="1" dirty="0">
                <a:latin typeface="Open Sans" panose="020B0606030504020204" pitchFamily="34" charset="0"/>
                <a:ea typeface="Open Sans" panose="020B0606030504020204" pitchFamily="34" charset="0"/>
                <a:cs typeface="Open Sans" panose="020B0606030504020204" pitchFamily="34" charset="0"/>
              </a:rPr>
              <a:t>ensure </a:t>
            </a:r>
            <a:r>
              <a:rPr lang="en-US" sz="950" dirty="0">
                <a:latin typeface="Open Sans" panose="020B0606030504020204" pitchFamily="34" charset="0"/>
                <a:ea typeface="Open Sans" panose="020B0606030504020204" pitchFamily="34" charset="0"/>
                <a:cs typeface="Open Sans" panose="020B0606030504020204" pitchFamily="34" charset="0"/>
              </a:rPr>
              <a:t>that transformation doesn’t overwhelm other executive</a:t>
            </a:r>
            <a:r>
              <a:rPr lang="hu-HU" sz="950" dirty="0">
                <a:latin typeface="Open Sans" panose="020B0606030504020204" pitchFamily="34" charset="0"/>
                <a:ea typeface="Open Sans" panose="020B0606030504020204" pitchFamily="34" charset="0"/>
                <a:cs typeface="Open Sans" panose="020B0606030504020204" pitchFamily="34" charset="0"/>
              </a:rPr>
              <a:t>,</a:t>
            </a:r>
          </a:p>
          <a:p>
            <a:pPr marL="361950" indent="-180975">
              <a:spcAft>
                <a:spcPts val="200"/>
              </a:spcAft>
              <a:buClr>
                <a:srgbClr val="00B0F2"/>
              </a:buClr>
              <a:buSzPct val="120000"/>
              <a:buFont typeface="Arial" panose="020B0604020202020204" pitchFamily="34" charset="0"/>
              <a:buChar char="•"/>
            </a:pPr>
            <a:r>
              <a:rPr lang="hu-HU" sz="950" b="1" dirty="0" err="1">
                <a:latin typeface="Open Sans" panose="020B0606030504020204" pitchFamily="34" charset="0"/>
                <a:ea typeface="Open Sans" panose="020B0606030504020204" pitchFamily="34" charset="0"/>
                <a:cs typeface="Open Sans" panose="020B0606030504020204" pitchFamily="34" charset="0"/>
              </a:rPr>
              <a:t>allows</a:t>
            </a:r>
            <a:r>
              <a:rPr lang="hu-HU" sz="950" dirty="0">
                <a:latin typeface="Open Sans" panose="020B0606030504020204" pitchFamily="34" charset="0"/>
                <a:ea typeface="Open Sans" panose="020B0606030504020204" pitchFamily="34" charset="0"/>
                <a:cs typeface="Open Sans" panose="020B0606030504020204" pitchFamily="34" charset="0"/>
              </a:rPr>
              <a:t> </a:t>
            </a:r>
            <a:r>
              <a:rPr lang="hu-HU" sz="950" dirty="0" err="1">
                <a:latin typeface="Open Sans" panose="020B0606030504020204" pitchFamily="34" charset="0"/>
                <a:ea typeface="Open Sans" panose="020B0606030504020204" pitchFamily="34" charset="0"/>
                <a:cs typeface="Open Sans" panose="020B0606030504020204" pitchFamily="34" charset="0"/>
              </a:rPr>
              <a:t>the</a:t>
            </a:r>
            <a:r>
              <a:rPr lang="hu-HU" sz="950" dirty="0">
                <a:latin typeface="Open Sans" panose="020B0606030504020204" pitchFamily="34" charset="0"/>
                <a:ea typeface="Open Sans" panose="020B0606030504020204" pitchFamily="34" charset="0"/>
                <a:cs typeface="Open Sans" panose="020B0606030504020204" pitchFamily="34" charset="0"/>
              </a:rPr>
              <a:t> </a:t>
            </a:r>
            <a:r>
              <a:rPr lang="hu-HU" sz="950" dirty="0" err="1">
                <a:latin typeface="Open Sans" panose="020B0606030504020204" pitchFamily="34" charset="0"/>
                <a:ea typeface="Open Sans" panose="020B0606030504020204" pitchFamily="34" charset="0"/>
                <a:cs typeface="Open Sans" panose="020B0606030504020204" pitchFamily="34" charset="0"/>
              </a:rPr>
              <a:t>cultivation</a:t>
            </a:r>
            <a:r>
              <a:rPr lang="hu-HU" sz="950" dirty="0">
                <a:latin typeface="Open Sans" panose="020B0606030504020204" pitchFamily="34" charset="0"/>
                <a:ea typeface="Open Sans" panose="020B0606030504020204" pitchFamily="34" charset="0"/>
                <a:cs typeface="Open Sans" panose="020B0606030504020204" pitchFamily="34" charset="0"/>
              </a:rPr>
              <a:t> of </a:t>
            </a:r>
            <a:r>
              <a:rPr lang="hu-HU" sz="950" dirty="0" err="1">
                <a:latin typeface="Open Sans" panose="020B0606030504020204" pitchFamily="34" charset="0"/>
                <a:ea typeface="Open Sans" panose="020B0606030504020204" pitchFamily="34" charset="0"/>
                <a:cs typeface="Open Sans" panose="020B0606030504020204" pitchFamily="34" charset="0"/>
              </a:rPr>
              <a:t>transformation-specific</a:t>
            </a:r>
            <a:r>
              <a:rPr lang="hu-HU" sz="950" dirty="0">
                <a:latin typeface="Open Sans" panose="020B0606030504020204" pitchFamily="34" charset="0"/>
                <a:ea typeface="Open Sans" panose="020B0606030504020204" pitchFamily="34" charset="0"/>
                <a:cs typeface="Open Sans" panose="020B0606030504020204" pitchFamily="34" charset="0"/>
              </a:rPr>
              <a:t> </a:t>
            </a:r>
            <a:r>
              <a:rPr lang="hu-HU" sz="950" dirty="0" err="1">
                <a:latin typeface="Open Sans" panose="020B0606030504020204" pitchFamily="34" charset="0"/>
                <a:ea typeface="Open Sans" panose="020B0606030504020204" pitchFamily="34" charset="0"/>
                <a:cs typeface="Open Sans" panose="020B0606030504020204" pitchFamily="34" charset="0"/>
              </a:rPr>
              <a:t>skill</a:t>
            </a:r>
            <a:r>
              <a:rPr lang="hu-HU" sz="950" dirty="0">
                <a:latin typeface="Open Sans" panose="020B0606030504020204" pitchFamily="34" charset="0"/>
                <a:ea typeface="Open Sans" panose="020B0606030504020204" pitchFamily="34" charset="0"/>
                <a:cs typeface="Open Sans" panose="020B0606030504020204" pitchFamily="34" charset="0"/>
              </a:rPr>
              <a:t> </a:t>
            </a:r>
            <a:r>
              <a:rPr lang="hu-HU" sz="950" dirty="0" err="1">
                <a:latin typeface="Open Sans" panose="020B0606030504020204" pitchFamily="34" charset="0"/>
                <a:ea typeface="Open Sans" panose="020B0606030504020204" pitchFamily="34" charset="0"/>
                <a:cs typeface="Open Sans" panose="020B0606030504020204" pitchFamily="34" charset="0"/>
              </a:rPr>
              <a:t>sets</a:t>
            </a:r>
            <a:r>
              <a:rPr lang="hu-HU" sz="950" dirty="0">
                <a:latin typeface="Open Sans" panose="020B0606030504020204" pitchFamily="34" charset="0"/>
                <a:ea typeface="Open Sans" panose="020B0606030504020204" pitchFamily="34" charset="0"/>
                <a:cs typeface="Open Sans" panose="020B0606030504020204" pitchFamily="34" charset="0"/>
              </a:rPr>
              <a:t>.</a:t>
            </a:r>
            <a:endParaRPr lang="en-US" sz="950"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a:extLst>
              <a:ext uri="{FF2B5EF4-FFF2-40B4-BE49-F238E27FC236}">
                <a16:creationId xmlns:a16="http://schemas.microsoft.com/office/drawing/2014/main" id="{9A71A4D9-0230-06D7-7D85-EF142D4FC4C4}"/>
              </a:ext>
            </a:extLst>
          </p:cNvPr>
          <p:cNvSpPr/>
          <p:nvPr/>
        </p:nvSpPr>
        <p:spPr bwMode="gray">
          <a:xfrm rot="1657173">
            <a:off x="5298927" y="3368916"/>
            <a:ext cx="807727" cy="245891"/>
          </a:xfrm>
          <a:prstGeom prst="rect">
            <a:avLst/>
          </a:prstGeom>
          <a:solidFill>
            <a:schemeClr val="bg1"/>
          </a:solidFill>
          <a:ln w="19050" algn="ctr">
            <a:solidFill>
              <a:schemeClr val="bg2"/>
            </a:solidFill>
            <a:prstDash val="sysDash"/>
            <a:miter lim="800000"/>
            <a:headEnd/>
            <a:tailEnd/>
          </a:ln>
        </p:spPr>
        <p:txBody>
          <a:bodyPr wrap="square" lIns="0" tIns="0" rIns="0" bIns="0" rtlCol="0" anchor="ctr"/>
          <a:lstStyle/>
          <a:p>
            <a:pPr algn="ctr"/>
            <a:r>
              <a:rPr lang="en-US" sz="1200" b="1" dirty="0">
                <a:solidFill>
                  <a:schemeClr val="bg2"/>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39" name="Rectangle 38">
            <a:extLst>
              <a:ext uri="{FF2B5EF4-FFF2-40B4-BE49-F238E27FC236}">
                <a16:creationId xmlns:a16="http://schemas.microsoft.com/office/drawing/2014/main" id="{14A84063-C3B6-5484-52EB-E1EB318FA2AE}"/>
              </a:ext>
            </a:extLst>
          </p:cNvPr>
          <p:cNvSpPr/>
          <p:nvPr/>
        </p:nvSpPr>
        <p:spPr>
          <a:xfrm>
            <a:off x="6397260" y="3124905"/>
            <a:ext cx="5243096" cy="261610"/>
          </a:xfrm>
          <a:prstGeom prst="rect">
            <a:avLst/>
          </a:prstGeom>
        </p:spPr>
        <p:txBody>
          <a:bodyPr wrap="square">
            <a:spAutoFit/>
          </a:bodyPr>
          <a:lstStyle/>
          <a:p>
            <a:r>
              <a:rPr lang="en-US"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TNC typically includes</a:t>
            </a:r>
            <a:r>
              <a:rPr lang="hu-H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r>
              <a:rPr lang="en-US"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representation from </a:t>
            </a:r>
            <a:r>
              <a:rPr lang="hu-H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3</a:t>
            </a:r>
            <a:r>
              <a:rPr lang="en-US"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 stakeholder groups</a:t>
            </a:r>
          </a:p>
        </p:txBody>
      </p:sp>
      <p:sp>
        <p:nvSpPr>
          <p:cNvPr id="40" name="Rectangle 39">
            <a:extLst>
              <a:ext uri="{FF2B5EF4-FFF2-40B4-BE49-F238E27FC236}">
                <a16:creationId xmlns:a16="http://schemas.microsoft.com/office/drawing/2014/main" id="{921FAA34-5F28-91BB-B6E6-85186C999369}"/>
              </a:ext>
            </a:extLst>
          </p:cNvPr>
          <p:cNvSpPr/>
          <p:nvPr/>
        </p:nvSpPr>
        <p:spPr>
          <a:xfrm>
            <a:off x="6749794" y="3804316"/>
            <a:ext cx="2203868" cy="902244"/>
          </a:xfrm>
          <a:prstGeom prst="rect">
            <a:avLst/>
          </a:prstGeom>
          <a:solidFill>
            <a:schemeClr val="bg1"/>
          </a:solidFill>
          <a:ln w="19050" algn="ctr">
            <a:solidFill>
              <a:schemeClr val="accent2"/>
            </a:solidFill>
            <a:prstDash val="solid"/>
            <a:miter lim="800000"/>
            <a:headEnd/>
            <a:tailEnd/>
          </a:ln>
          <a:effectLst>
            <a:glow rad="101600">
              <a:schemeClr val="accent2">
                <a:satMod val="175000"/>
                <a:alpha val="40000"/>
              </a:schemeClr>
            </a:glow>
            <a:outerShdw blurRad="63500" sx="102000" sy="102000" algn="ctr" rotWithShape="0">
              <a:prstClr val="black">
                <a:alpha val="40000"/>
              </a:prstClr>
            </a:outerShdw>
          </a:effectLst>
        </p:spPr>
        <p:txBody>
          <a:bodyPr wrap="square" lIns="228600" tIns="88900" rIns="45720" bIns="88900" rtlCol="0" anchor="ctr"/>
          <a:lstStyle/>
          <a:p>
            <a:pPr>
              <a:lnSpc>
                <a:spcPct val="106000"/>
              </a:lnSpc>
              <a:buFont typeface="Wingdings 2" pitchFamily="18" charset="2"/>
              <a:buNone/>
            </a:pPr>
            <a:r>
              <a:rPr lang="hu-HU" sz="900" dirty="0">
                <a:latin typeface="Open Sans" panose="020B0606030504020204" pitchFamily="34" charset="0"/>
                <a:ea typeface="Open Sans" panose="020B0606030504020204" pitchFamily="34" charset="0"/>
                <a:cs typeface="Open Sans" panose="020B0606030504020204" pitchFamily="34" charset="0"/>
              </a:rPr>
              <a:t>E</a:t>
            </a:r>
            <a:r>
              <a:rPr lang="en-US" sz="900" dirty="0" err="1">
                <a:latin typeface="Open Sans" panose="020B0606030504020204" pitchFamily="34" charset="0"/>
                <a:ea typeface="Open Sans" panose="020B0606030504020204" pitchFamily="34" charset="0"/>
                <a:cs typeface="Open Sans" panose="020B0606030504020204" pitchFamily="34" charset="0"/>
              </a:rPr>
              <a:t>xecutives</a:t>
            </a:r>
            <a:r>
              <a:rPr lang="en-US" sz="900" dirty="0">
                <a:latin typeface="Open Sans" panose="020B0606030504020204" pitchFamily="34" charset="0"/>
                <a:ea typeface="Open Sans" panose="020B0606030504020204" pitchFamily="34" charset="0"/>
                <a:cs typeface="Open Sans" panose="020B0606030504020204" pitchFamily="34" charset="0"/>
              </a:rPr>
              <a:t> who own</a:t>
            </a:r>
            <a:r>
              <a:rPr lang="hu-HU" sz="900" dirty="0">
                <a:latin typeface="Open Sans" panose="020B0606030504020204" pitchFamily="34" charset="0"/>
                <a:ea typeface="Open Sans" panose="020B0606030504020204" pitchFamily="34" charset="0"/>
                <a:cs typeface="Open Sans" panose="020B0606030504020204" pitchFamily="34" charset="0"/>
              </a:rPr>
              <a:t> </a:t>
            </a:r>
            <a:r>
              <a:rPr lang="en-US" sz="900" dirty="0">
                <a:latin typeface="Open Sans" panose="020B0606030504020204" pitchFamily="34" charset="0"/>
                <a:ea typeface="Open Sans" panose="020B0606030504020204" pitchFamily="34" charset="0"/>
                <a:cs typeface="Open Sans" panose="020B0606030504020204" pitchFamily="34" charset="0"/>
              </a:rPr>
              <a:t>development, manufacture, sale, and service of</a:t>
            </a:r>
            <a:r>
              <a:rPr lang="hu-HU" sz="900" dirty="0">
                <a:latin typeface="Open Sans" panose="020B0606030504020204" pitchFamily="34" charset="0"/>
                <a:ea typeface="Open Sans" panose="020B0606030504020204" pitchFamily="34" charset="0"/>
                <a:cs typeface="Open Sans" panose="020B0606030504020204" pitchFamily="34" charset="0"/>
              </a:rPr>
              <a:t> </a:t>
            </a:r>
            <a:r>
              <a:rPr lang="en-US" sz="900" dirty="0">
                <a:latin typeface="Open Sans" panose="020B0606030504020204" pitchFamily="34" charset="0"/>
                <a:ea typeface="Open Sans" panose="020B0606030504020204" pitchFamily="34" charset="0"/>
                <a:cs typeface="Open Sans" panose="020B0606030504020204" pitchFamily="34" charset="0"/>
              </a:rPr>
              <a:t>offerings, who are </a:t>
            </a:r>
            <a:r>
              <a:rPr lang="en-US" sz="900" b="1" dirty="0">
                <a:latin typeface="Open Sans" panose="020B0606030504020204" pitchFamily="34" charset="0"/>
                <a:ea typeface="Open Sans" panose="020B0606030504020204" pitchFamily="34" charset="0"/>
                <a:cs typeface="Open Sans" panose="020B0606030504020204" pitchFamily="34" charset="0"/>
              </a:rPr>
              <a:t>deeply technical, and closely</a:t>
            </a:r>
            <a:r>
              <a:rPr lang="hu-HU" sz="900" b="1" dirty="0">
                <a:latin typeface="Open Sans" panose="020B0606030504020204" pitchFamily="34" charset="0"/>
                <a:ea typeface="Open Sans" panose="020B0606030504020204" pitchFamily="34" charset="0"/>
                <a:cs typeface="Open Sans" panose="020B0606030504020204" pitchFamily="34" charset="0"/>
              </a:rPr>
              <a:t> </a:t>
            </a:r>
            <a:r>
              <a:rPr lang="en-US" sz="900" b="1" dirty="0">
                <a:latin typeface="Open Sans" panose="020B0606030504020204" pitchFamily="34" charset="0"/>
                <a:ea typeface="Open Sans" panose="020B0606030504020204" pitchFamily="34" charset="0"/>
                <a:cs typeface="Open Sans" panose="020B0606030504020204" pitchFamily="34" charset="0"/>
              </a:rPr>
              <a:t>support revenue generation</a:t>
            </a:r>
            <a:r>
              <a:rPr lang="hu-HU" sz="900" b="1" dirty="0">
                <a:latin typeface="Open Sans" panose="020B0606030504020204" pitchFamily="34" charset="0"/>
                <a:ea typeface="Open Sans" panose="020B0606030504020204" pitchFamily="34" charset="0"/>
                <a:cs typeface="Open Sans" panose="020B0606030504020204" pitchFamily="34" charset="0"/>
              </a:rPr>
              <a:t>.</a:t>
            </a:r>
          </a:p>
        </p:txBody>
      </p:sp>
      <p:sp>
        <p:nvSpPr>
          <p:cNvPr id="41" name="Rectangle 40">
            <a:extLst>
              <a:ext uri="{FF2B5EF4-FFF2-40B4-BE49-F238E27FC236}">
                <a16:creationId xmlns:a16="http://schemas.microsoft.com/office/drawing/2014/main" id="{05E1E9E9-09F2-B731-4AD4-AD05C229BFF2}"/>
              </a:ext>
            </a:extLst>
          </p:cNvPr>
          <p:cNvSpPr/>
          <p:nvPr/>
        </p:nvSpPr>
        <p:spPr>
          <a:xfrm>
            <a:off x="7004922" y="3511603"/>
            <a:ext cx="2240284" cy="261610"/>
          </a:xfrm>
          <a:prstGeom prst="rect">
            <a:avLst/>
          </a:prstGeom>
        </p:spPr>
        <p:txBody>
          <a:bodyPr wrap="square">
            <a:spAutoFit/>
          </a:bodyPr>
          <a:lstStyle/>
          <a:p>
            <a:r>
              <a:rPr lang="hu-H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B</a:t>
            </a:r>
            <a:r>
              <a:rPr lang="en-US" sz="1100"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usiness</a:t>
            </a:r>
            <a:r>
              <a:rPr lang="en-US"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 unit leaders</a:t>
            </a:r>
            <a:endParaRPr lang="hu-H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2" name="Group 41">
            <a:extLst>
              <a:ext uri="{FF2B5EF4-FFF2-40B4-BE49-F238E27FC236}">
                <a16:creationId xmlns:a16="http://schemas.microsoft.com/office/drawing/2014/main" id="{EC30A868-9F69-9E57-95C7-18146F8EEC2A}"/>
              </a:ext>
            </a:extLst>
          </p:cNvPr>
          <p:cNvGrpSpPr/>
          <p:nvPr/>
        </p:nvGrpSpPr>
        <p:grpSpPr>
          <a:xfrm>
            <a:off x="6404808" y="3413150"/>
            <a:ext cx="612000" cy="612000"/>
            <a:chOff x="6380678" y="3439185"/>
            <a:chExt cx="612000" cy="612000"/>
          </a:xfrm>
        </p:grpSpPr>
        <p:sp>
          <p:nvSpPr>
            <p:cNvPr id="43" name="Oval 42">
              <a:extLst>
                <a:ext uri="{FF2B5EF4-FFF2-40B4-BE49-F238E27FC236}">
                  <a16:creationId xmlns:a16="http://schemas.microsoft.com/office/drawing/2014/main" id="{E98BF615-605D-30C3-DC69-C5AC5332287F}"/>
                </a:ext>
              </a:extLst>
            </p:cNvPr>
            <p:cNvSpPr/>
            <p:nvPr/>
          </p:nvSpPr>
          <p:spPr bwMode="gray">
            <a:xfrm>
              <a:off x="6380678" y="3439185"/>
              <a:ext cx="612000" cy="612000"/>
            </a:xfrm>
            <a:prstGeom prst="ellipse">
              <a:avLst/>
            </a:prstGeom>
            <a:solidFill>
              <a:schemeClr val="accent2">
                <a:alpha val="22959"/>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43DEC347-DE8B-A811-8DFF-FC085B70934B}"/>
                </a:ext>
              </a:extLst>
            </p:cNvPr>
            <p:cNvSpPr/>
            <p:nvPr/>
          </p:nvSpPr>
          <p:spPr bwMode="gray">
            <a:xfrm>
              <a:off x="6437874" y="3496381"/>
              <a:ext cx="497606" cy="497606"/>
            </a:xfrm>
            <a:prstGeom prst="ellipse">
              <a:avLst/>
            </a:prstGeom>
            <a:solidFill>
              <a:schemeClr val="accent2">
                <a:alpha val="46624"/>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5" name="Oval 44">
              <a:extLst>
                <a:ext uri="{FF2B5EF4-FFF2-40B4-BE49-F238E27FC236}">
                  <a16:creationId xmlns:a16="http://schemas.microsoft.com/office/drawing/2014/main" id="{030EBBC4-10BA-61A2-087F-D6FB43BC3D1D}"/>
                </a:ext>
              </a:extLst>
            </p:cNvPr>
            <p:cNvSpPr>
              <a:spLocks noChangeAspect="1"/>
            </p:cNvSpPr>
            <p:nvPr/>
          </p:nvSpPr>
          <p:spPr bwMode="gray">
            <a:xfrm>
              <a:off x="6487430" y="3545934"/>
              <a:ext cx="398489" cy="398489"/>
            </a:xfrm>
            <a:prstGeom prst="ellipse">
              <a:avLst/>
            </a:prstGeom>
            <a:solidFill>
              <a:schemeClr val="accent2"/>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46" name="Group 45">
              <a:extLst>
                <a:ext uri="{FF2B5EF4-FFF2-40B4-BE49-F238E27FC236}">
                  <a16:creationId xmlns:a16="http://schemas.microsoft.com/office/drawing/2014/main" id="{E2047C52-A3DC-F1D3-264D-1A90CDC199BB}"/>
                </a:ext>
              </a:extLst>
            </p:cNvPr>
            <p:cNvGrpSpPr/>
            <p:nvPr/>
          </p:nvGrpSpPr>
          <p:grpSpPr>
            <a:xfrm>
              <a:off x="6560041" y="3635680"/>
              <a:ext cx="253265" cy="218996"/>
              <a:chOff x="539310" y="2457357"/>
              <a:chExt cx="218535" cy="188965"/>
            </a:xfrm>
            <a:solidFill>
              <a:schemeClr val="bg1"/>
            </a:solidFill>
          </p:grpSpPr>
          <p:sp>
            <p:nvSpPr>
              <p:cNvPr id="47" name="Graphic 4">
                <a:extLst>
                  <a:ext uri="{FF2B5EF4-FFF2-40B4-BE49-F238E27FC236}">
                    <a16:creationId xmlns:a16="http://schemas.microsoft.com/office/drawing/2014/main" id="{B07D631F-D196-740C-02ED-35316FAA2404}"/>
                  </a:ext>
                </a:extLst>
              </p:cNvPr>
              <p:cNvSpPr/>
              <p:nvPr/>
            </p:nvSpPr>
            <p:spPr>
              <a:xfrm>
                <a:off x="539310" y="2457357"/>
                <a:ext cx="218535" cy="188965"/>
              </a:xfrm>
              <a:custGeom>
                <a:avLst/>
                <a:gdLst>
                  <a:gd name="connsiteX0" fmla="*/ 212146 w 218535"/>
                  <a:gd name="connsiteY0" fmla="*/ 29366 h 188965"/>
                  <a:gd name="connsiteX1" fmla="*/ 159748 w 218535"/>
                  <a:gd name="connsiteY1" fmla="*/ 29366 h 188965"/>
                  <a:gd name="connsiteX2" fmla="*/ 159748 w 218535"/>
                  <a:gd name="connsiteY2" fmla="*/ 6384 h 188965"/>
                  <a:gd name="connsiteX3" fmla="*/ 153358 w 218535"/>
                  <a:gd name="connsiteY3" fmla="*/ 0 h 188965"/>
                  <a:gd name="connsiteX4" fmla="*/ 65177 w 218535"/>
                  <a:gd name="connsiteY4" fmla="*/ 0 h 188965"/>
                  <a:gd name="connsiteX5" fmla="*/ 58787 w 218535"/>
                  <a:gd name="connsiteY5" fmla="*/ 6384 h 188965"/>
                  <a:gd name="connsiteX6" fmla="*/ 58787 w 218535"/>
                  <a:gd name="connsiteY6" fmla="*/ 29366 h 188965"/>
                  <a:gd name="connsiteX7" fmla="*/ 6390 w 218535"/>
                  <a:gd name="connsiteY7" fmla="*/ 29366 h 188965"/>
                  <a:gd name="connsiteX8" fmla="*/ 0 w 218535"/>
                  <a:gd name="connsiteY8" fmla="*/ 35750 h 188965"/>
                  <a:gd name="connsiteX9" fmla="*/ 0 w 218535"/>
                  <a:gd name="connsiteY9" fmla="*/ 182582 h 188965"/>
                  <a:gd name="connsiteX10" fmla="*/ 6390 w 218535"/>
                  <a:gd name="connsiteY10" fmla="*/ 188966 h 188965"/>
                  <a:gd name="connsiteX11" fmla="*/ 212146 w 218535"/>
                  <a:gd name="connsiteY11" fmla="*/ 188966 h 188965"/>
                  <a:gd name="connsiteX12" fmla="*/ 218536 w 218535"/>
                  <a:gd name="connsiteY12" fmla="*/ 182582 h 188965"/>
                  <a:gd name="connsiteX13" fmla="*/ 218536 w 218535"/>
                  <a:gd name="connsiteY13" fmla="*/ 35750 h 188965"/>
                  <a:gd name="connsiteX14" fmla="*/ 212146 w 218535"/>
                  <a:gd name="connsiteY14" fmla="*/ 29366 h 188965"/>
                  <a:gd name="connsiteX15" fmla="*/ 71567 w 218535"/>
                  <a:gd name="connsiteY15" fmla="*/ 12768 h 188965"/>
                  <a:gd name="connsiteX16" fmla="*/ 146969 w 218535"/>
                  <a:gd name="connsiteY16" fmla="*/ 12768 h 188965"/>
                  <a:gd name="connsiteX17" fmla="*/ 146969 w 218535"/>
                  <a:gd name="connsiteY17" fmla="*/ 176836 h 188965"/>
                  <a:gd name="connsiteX18" fmla="*/ 100961 w 218535"/>
                  <a:gd name="connsiteY18" fmla="*/ 176836 h 188965"/>
                  <a:gd name="connsiteX19" fmla="*/ 100961 w 218535"/>
                  <a:gd name="connsiteY19" fmla="*/ 153854 h 188965"/>
                  <a:gd name="connsiteX20" fmla="*/ 94571 w 218535"/>
                  <a:gd name="connsiteY20" fmla="*/ 147470 h 188965"/>
                  <a:gd name="connsiteX21" fmla="*/ 88181 w 218535"/>
                  <a:gd name="connsiteY21" fmla="*/ 153854 h 188965"/>
                  <a:gd name="connsiteX22" fmla="*/ 88181 w 218535"/>
                  <a:gd name="connsiteY22" fmla="*/ 176836 h 188965"/>
                  <a:gd name="connsiteX23" fmla="*/ 71567 w 218535"/>
                  <a:gd name="connsiteY23" fmla="*/ 176836 h 188965"/>
                  <a:gd name="connsiteX24" fmla="*/ 71567 w 218535"/>
                  <a:gd name="connsiteY24" fmla="*/ 12768 h 188965"/>
                  <a:gd name="connsiteX25" fmla="*/ 12780 w 218535"/>
                  <a:gd name="connsiteY25" fmla="*/ 42134 h 188965"/>
                  <a:gd name="connsiteX26" fmla="*/ 58787 w 218535"/>
                  <a:gd name="connsiteY26" fmla="*/ 42134 h 188965"/>
                  <a:gd name="connsiteX27" fmla="*/ 58787 w 218535"/>
                  <a:gd name="connsiteY27" fmla="*/ 176198 h 188965"/>
                  <a:gd name="connsiteX28" fmla="*/ 42174 w 218535"/>
                  <a:gd name="connsiteY28" fmla="*/ 176198 h 188965"/>
                  <a:gd name="connsiteX29" fmla="*/ 42174 w 218535"/>
                  <a:gd name="connsiteY29" fmla="*/ 153216 h 188965"/>
                  <a:gd name="connsiteX30" fmla="*/ 35784 w 218535"/>
                  <a:gd name="connsiteY30" fmla="*/ 146832 h 188965"/>
                  <a:gd name="connsiteX31" fmla="*/ 29394 w 218535"/>
                  <a:gd name="connsiteY31" fmla="*/ 153216 h 188965"/>
                  <a:gd name="connsiteX32" fmla="*/ 29394 w 218535"/>
                  <a:gd name="connsiteY32" fmla="*/ 176836 h 188965"/>
                  <a:gd name="connsiteX33" fmla="*/ 12780 w 218535"/>
                  <a:gd name="connsiteY33" fmla="*/ 176836 h 188965"/>
                  <a:gd name="connsiteX34" fmla="*/ 12780 w 218535"/>
                  <a:gd name="connsiteY34" fmla="*/ 42134 h 188965"/>
                  <a:gd name="connsiteX35" fmla="*/ 205756 w 218535"/>
                  <a:gd name="connsiteY35" fmla="*/ 176198 h 188965"/>
                  <a:gd name="connsiteX36" fmla="*/ 189142 w 218535"/>
                  <a:gd name="connsiteY36" fmla="*/ 176198 h 188965"/>
                  <a:gd name="connsiteX37" fmla="*/ 189142 w 218535"/>
                  <a:gd name="connsiteY37" fmla="*/ 153216 h 188965"/>
                  <a:gd name="connsiteX38" fmla="*/ 182752 w 218535"/>
                  <a:gd name="connsiteY38" fmla="*/ 146832 h 188965"/>
                  <a:gd name="connsiteX39" fmla="*/ 176362 w 218535"/>
                  <a:gd name="connsiteY39" fmla="*/ 153216 h 188965"/>
                  <a:gd name="connsiteX40" fmla="*/ 176362 w 218535"/>
                  <a:gd name="connsiteY40" fmla="*/ 176836 h 188965"/>
                  <a:gd name="connsiteX41" fmla="*/ 159748 w 218535"/>
                  <a:gd name="connsiteY41" fmla="*/ 176836 h 188965"/>
                  <a:gd name="connsiteX42" fmla="*/ 159748 w 218535"/>
                  <a:gd name="connsiteY42" fmla="*/ 42773 h 188965"/>
                  <a:gd name="connsiteX43" fmla="*/ 205756 w 218535"/>
                  <a:gd name="connsiteY43" fmla="*/ 42773 h 188965"/>
                  <a:gd name="connsiteX44" fmla="*/ 205756 w 218535"/>
                  <a:gd name="connsiteY44"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8535" h="188965">
                    <a:moveTo>
                      <a:pt x="212146" y="29366"/>
                    </a:moveTo>
                    <a:lnTo>
                      <a:pt x="159748" y="29366"/>
                    </a:lnTo>
                    <a:lnTo>
                      <a:pt x="159748" y="6384"/>
                    </a:lnTo>
                    <a:cubicBezTo>
                      <a:pt x="159748" y="2554"/>
                      <a:pt x="157192" y="0"/>
                      <a:pt x="153358" y="0"/>
                    </a:cubicBezTo>
                    <a:lnTo>
                      <a:pt x="65177" y="0"/>
                    </a:lnTo>
                    <a:cubicBezTo>
                      <a:pt x="61343" y="0"/>
                      <a:pt x="58787" y="2554"/>
                      <a:pt x="58787" y="6384"/>
                    </a:cubicBezTo>
                    <a:lnTo>
                      <a:pt x="58787" y="29366"/>
                    </a:lnTo>
                    <a:lnTo>
                      <a:pt x="6390" y="29366"/>
                    </a:lnTo>
                    <a:cubicBezTo>
                      <a:pt x="2556" y="29366"/>
                      <a:pt x="0" y="31920"/>
                      <a:pt x="0" y="35750"/>
                    </a:cubicBezTo>
                    <a:lnTo>
                      <a:pt x="0" y="182582"/>
                    </a:lnTo>
                    <a:cubicBezTo>
                      <a:pt x="0" y="186412"/>
                      <a:pt x="2556" y="188966"/>
                      <a:pt x="6390" y="188966"/>
                    </a:cubicBezTo>
                    <a:lnTo>
                      <a:pt x="212146" y="188966"/>
                    </a:lnTo>
                    <a:cubicBezTo>
                      <a:pt x="215980" y="188966"/>
                      <a:pt x="218536" y="186412"/>
                      <a:pt x="218536" y="182582"/>
                    </a:cubicBezTo>
                    <a:lnTo>
                      <a:pt x="218536" y="35750"/>
                    </a:lnTo>
                    <a:cubicBezTo>
                      <a:pt x="218536" y="32558"/>
                      <a:pt x="215980" y="29366"/>
                      <a:pt x="212146" y="29366"/>
                    </a:cubicBezTo>
                    <a:close/>
                    <a:moveTo>
                      <a:pt x="71567" y="12768"/>
                    </a:moveTo>
                    <a:lnTo>
                      <a:pt x="146969" y="12768"/>
                    </a:lnTo>
                    <a:lnTo>
                      <a:pt x="146969" y="176836"/>
                    </a:lnTo>
                    <a:lnTo>
                      <a:pt x="100961" y="176836"/>
                    </a:lnTo>
                    <a:lnTo>
                      <a:pt x="100961" y="153854"/>
                    </a:lnTo>
                    <a:cubicBezTo>
                      <a:pt x="100961" y="150024"/>
                      <a:pt x="98405" y="147470"/>
                      <a:pt x="94571" y="147470"/>
                    </a:cubicBezTo>
                    <a:cubicBezTo>
                      <a:pt x="90737" y="147470"/>
                      <a:pt x="88181" y="150024"/>
                      <a:pt x="88181" y="153854"/>
                    </a:cubicBezTo>
                    <a:lnTo>
                      <a:pt x="88181" y="176836"/>
                    </a:lnTo>
                    <a:lnTo>
                      <a:pt x="71567" y="176836"/>
                    </a:lnTo>
                    <a:lnTo>
                      <a:pt x="71567" y="12768"/>
                    </a:lnTo>
                    <a:close/>
                    <a:moveTo>
                      <a:pt x="12780" y="42134"/>
                    </a:moveTo>
                    <a:lnTo>
                      <a:pt x="58787" y="42134"/>
                    </a:lnTo>
                    <a:lnTo>
                      <a:pt x="58787" y="176198"/>
                    </a:lnTo>
                    <a:lnTo>
                      <a:pt x="42174" y="176198"/>
                    </a:lnTo>
                    <a:lnTo>
                      <a:pt x="42174" y="153216"/>
                    </a:lnTo>
                    <a:cubicBezTo>
                      <a:pt x="42174" y="149385"/>
                      <a:pt x="39618" y="146832"/>
                      <a:pt x="35784" y="146832"/>
                    </a:cubicBezTo>
                    <a:cubicBezTo>
                      <a:pt x="31950" y="146832"/>
                      <a:pt x="29394" y="149385"/>
                      <a:pt x="29394" y="153216"/>
                    </a:cubicBezTo>
                    <a:lnTo>
                      <a:pt x="29394" y="176836"/>
                    </a:lnTo>
                    <a:lnTo>
                      <a:pt x="12780" y="176836"/>
                    </a:lnTo>
                    <a:lnTo>
                      <a:pt x="12780" y="42134"/>
                    </a:lnTo>
                    <a:close/>
                    <a:moveTo>
                      <a:pt x="205756" y="176198"/>
                    </a:moveTo>
                    <a:lnTo>
                      <a:pt x="189142" y="176198"/>
                    </a:lnTo>
                    <a:lnTo>
                      <a:pt x="189142" y="153216"/>
                    </a:lnTo>
                    <a:cubicBezTo>
                      <a:pt x="189142" y="149385"/>
                      <a:pt x="186586" y="146832"/>
                      <a:pt x="182752" y="146832"/>
                    </a:cubicBezTo>
                    <a:cubicBezTo>
                      <a:pt x="178918" y="146832"/>
                      <a:pt x="176362" y="149385"/>
                      <a:pt x="176362" y="153216"/>
                    </a:cubicBezTo>
                    <a:lnTo>
                      <a:pt x="176362" y="176836"/>
                    </a:lnTo>
                    <a:lnTo>
                      <a:pt x="159748" y="176836"/>
                    </a:lnTo>
                    <a:lnTo>
                      <a:pt x="159748" y="42773"/>
                    </a:lnTo>
                    <a:lnTo>
                      <a:pt x="205756" y="42773"/>
                    </a:lnTo>
                    <a:lnTo>
                      <a:pt x="205756" y="176198"/>
                    </a:lnTo>
                    <a:close/>
                  </a:path>
                </a:pathLst>
              </a:custGeom>
              <a:grp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79D496A1-E939-07C4-6F55-B887CAD272FD}"/>
                  </a:ext>
                </a:extLst>
              </p:cNvPr>
              <p:cNvSpPr/>
              <p:nvPr/>
            </p:nvSpPr>
            <p:spPr>
              <a:xfrm>
                <a:off x="568704" y="2574822"/>
                <a:ext cx="12779" cy="12767"/>
              </a:xfrm>
              <a:custGeom>
                <a:avLst/>
                <a:gdLst>
                  <a:gd name="connsiteX0" fmla="*/ 6390 w 12779"/>
                  <a:gd name="connsiteY0" fmla="*/ 12768 h 12767"/>
                  <a:gd name="connsiteX1" fmla="*/ 10863 w 12779"/>
                  <a:gd name="connsiteY1" fmla="*/ 10853 h 12767"/>
                  <a:gd name="connsiteX2" fmla="*/ 12141 w 12779"/>
                  <a:gd name="connsiteY2" fmla="*/ 8938 h 12767"/>
                  <a:gd name="connsiteX3" fmla="*/ 12780 w 12779"/>
                  <a:gd name="connsiteY3" fmla="*/ 6384 h 12767"/>
                  <a:gd name="connsiteX4" fmla="*/ 12141 w 12779"/>
                  <a:gd name="connsiteY4" fmla="*/ 3830 h 12767"/>
                  <a:gd name="connsiteX5" fmla="*/ 10863 w 12779"/>
                  <a:gd name="connsiteY5" fmla="*/ 1915 h 12767"/>
                  <a:gd name="connsiteX6" fmla="*/ 5112 w 12779"/>
                  <a:gd name="connsiteY6" fmla="*/ 0 h 12767"/>
                  <a:gd name="connsiteX7" fmla="*/ 3834 w 12779"/>
                  <a:gd name="connsiteY7" fmla="*/ 638 h 12767"/>
                  <a:gd name="connsiteX8" fmla="*/ 1917 w 12779"/>
                  <a:gd name="connsiteY8" fmla="*/ 1915 h 12767"/>
                  <a:gd name="connsiteX9" fmla="*/ 639 w 12779"/>
                  <a:gd name="connsiteY9" fmla="*/ 3830 h 12767"/>
                  <a:gd name="connsiteX10" fmla="*/ 0 w 12779"/>
                  <a:gd name="connsiteY10" fmla="*/ 6384 h 12767"/>
                  <a:gd name="connsiteX11" fmla="*/ 6390 w 12779"/>
                  <a:gd name="connsiteY11" fmla="*/ 12768 h 12767"/>
                  <a:gd name="connsiteX12" fmla="*/ 6390 w 12779"/>
                  <a:gd name="connsiteY12"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7">
                    <a:moveTo>
                      <a:pt x="6390" y="12768"/>
                    </a:moveTo>
                    <a:cubicBezTo>
                      <a:pt x="8307" y="12768"/>
                      <a:pt x="9585" y="12130"/>
                      <a:pt x="10863" y="10853"/>
                    </a:cubicBezTo>
                    <a:cubicBezTo>
                      <a:pt x="11502" y="10214"/>
                      <a:pt x="12141" y="9576"/>
                      <a:pt x="12141" y="8938"/>
                    </a:cubicBezTo>
                    <a:cubicBezTo>
                      <a:pt x="12141" y="8299"/>
                      <a:pt x="12780" y="7661"/>
                      <a:pt x="12780" y="6384"/>
                    </a:cubicBezTo>
                    <a:cubicBezTo>
                      <a:pt x="12780" y="5746"/>
                      <a:pt x="12780" y="4469"/>
                      <a:pt x="12141" y="3830"/>
                    </a:cubicBezTo>
                    <a:cubicBezTo>
                      <a:pt x="11502" y="3192"/>
                      <a:pt x="11502" y="2554"/>
                      <a:pt x="10863" y="1915"/>
                    </a:cubicBezTo>
                    <a:cubicBezTo>
                      <a:pt x="9585" y="638"/>
                      <a:pt x="7029" y="0"/>
                      <a:pt x="5112" y="0"/>
                    </a:cubicBezTo>
                    <a:lnTo>
                      <a:pt x="3834" y="638"/>
                    </a:lnTo>
                    <a:cubicBezTo>
                      <a:pt x="3195" y="1277"/>
                      <a:pt x="2556" y="1277"/>
                      <a:pt x="1917" y="1915"/>
                    </a:cubicBezTo>
                    <a:cubicBezTo>
                      <a:pt x="1278" y="2554"/>
                      <a:pt x="639" y="3192"/>
                      <a:pt x="639" y="3830"/>
                    </a:cubicBezTo>
                    <a:cubicBezTo>
                      <a:pt x="0" y="4469"/>
                      <a:pt x="0" y="5746"/>
                      <a:pt x="0" y="6384"/>
                    </a:cubicBezTo>
                    <a:cubicBezTo>
                      <a:pt x="0" y="10214"/>
                      <a:pt x="2556" y="12768"/>
                      <a:pt x="6390" y="12768"/>
                    </a:cubicBezTo>
                    <a:lnTo>
                      <a:pt x="6390" y="12768"/>
                    </a:lnTo>
                    <a:close/>
                  </a:path>
                </a:pathLst>
              </a:custGeom>
              <a:grpFill/>
              <a:ln w="6390" cap="flat">
                <a:noFill/>
                <a:prstDash val="solid"/>
                <a:miter/>
              </a:ln>
            </p:spPr>
            <p:txBody>
              <a:bodyPr rtlCol="0" anchor="ctr"/>
              <a:lstStyle/>
              <a:p>
                <a:endParaRPr lang="en-US"/>
              </a:p>
            </p:txBody>
          </p:sp>
          <p:sp>
            <p:nvSpPr>
              <p:cNvPr id="49" name="Graphic 4">
                <a:extLst>
                  <a:ext uri="{FF2B5EF4-FFF2-40B4-BE49-F238E27FC236}">
                    <a16:creationId xmlns:a16="http://schemas.microsoft.com/office/drawing/2014/main" id="{2827826B-5460-B69D-E336-D32520797C4C}"/>
                  </a:ext>
                </a:extLst>
              </p:cNvPr>
              <p:cNvSpPr/>
              <p:nvPr/>
            </p:nvSpPr>
            <p:spPr>
              <a:xfrm>
                <a:off x="568864" y="2545430"/>
                <a:ext cx="12460" cy="12793"/>
              </a:xfrm>
              <a:custGeom>
                <a:avLst/>
                <a:gdLst>
                  <a:gd name="connsiteX0" fmla="*/ 1757 w 12460"/>
                  <a:gd name="connsiteY0" fmla="*/ 10879 h 12793"/>
                  <a:gd name="connsiteX1" fmla="*/ 3674 w 12460"/>
                  <a:gd name="connsiteY1" fmla="*/ 12155 h 12793"/>
                  <a:gd name="connsiteX2" fmla="*/ 6230 w 12460"/>
                  <a:gd name="connsiteY2" fmla="*/ 12794 h 12793"/>
                  <a:gd name="connsiteX3" fmla="*/ 8786 w 12460"/>
                  <a:gd name="connsiteY3" fmla="*/ 12155 h 12793"/>
                  <a:gd name="connsiteX4" fmla="*/ 10703 w 12460"/>
                  <a:gd name="connsiteY4" fmla="*/ 10879 h 12793"/>
                  <a:gd name="connsiteX5" fmla="*/ 11981 w 12460"/>
                  <a:gd name="connsiteY5" fmla="*/ 8963 h 12793"/>
                  <a:gd name="connsiteX6" fmla="*/ 11981 w 12460"/>
                  <a:gd name="connsiteY6" fmla="*/ 3856 h 12793"/>
                  <a:gd name="connsiteX7" fmla="*/ 11342 w 12460"/>
                  <a:gd name="connsiteY7" fmla="*/ 2579 h 12793"/>
                  <a:gd name="connsiteX8" fmla="*/ 10703 w 12460"/>
                  <a:gd name="connsiteY8" fmla="*/ 1941 h 12793"/>
                  <a:gd name="connsiteX9" fmla="*/ 3674 w 12460"/>
                  <a:gd name="connsiteY9" fmla="*/ 664 h 12793"/>
                  <a:gd name="connsiteX10" fmla="*/ 1757 w 12460"/>
                  <a:gd name="connsiteY10" fmla="*/ 1941 h 12793"/>
                  <a:gd name="connsiteX11" fmla="*/ 1118 w 12460"/>
                  <a:gd name="connsiteY11" fmla="*/ 2579 h 12793"/>
                  <a:gd name="connsiteX12" fmla="*/ 479 w 12460"/>
                  <a:gd name="connsiteY12" fmla="*/ 3856 h 12793"/>
                  <a:gd name="connsiteX13" fmla="*/ 479 w 12460"/>
                  <a:gd name="connsiteY13" fmla="*/ 8963 h 12793"/>
                  <a:gd name="connsiteX14" fmla="*/ 1757 w 12460"/>
                  <a:gd name="connsiteY14" fmla="*/ 10879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0" h="12793">
                    <a:moveTo>
                      <a:pt x="1757" y="10879"/>
                    </a:moveTo>
                    <a:cubicBezTo>
                      <a:pt x="2396" y="11517"/>
                      <a:pt x="3035" y="12155"/>
                      <a:pt x="3674" y="12155"/>
                    </a:cubicBezTo>
                    <a:cubicBezTo>
                      <a:pt x="4313" y="12794"/>
                      <a:pt x="4952" y="12794"/>
                      <a:pt x="6230" y="12794"/>
                    </a:cubicBezTo>
                    <a:cubicBezTo>
                      <a:pt x="6869" y="12794"/>
                      <a:pt x="8147" y="12794"/>
                      <a:pt x="8786" y="12155"/>
                    </a:cubicBezTo>
                    <a:cubicBezTo>
                      <a:pt x="9425" y="12155"/>
                      <a:pt x="10064" y="11517"/>
                      <a:pt x="10703" y="10879"/>
                    </a:cubicBezTo>
                    <a:cubicBezTo>
                      <a:pt x="11342" y="10240"/>
                      <a:pt x="11981" y="9602"/>
                      <a:pt x="11981" y="8963"/>
                    </a:cubicBezTo>
                    <a:cubicBezTo>
                      <a:pt x="12620" y="7687"/>
                      <a:pt x="12620" y="5771"/>
                      <a:pt x="11981" y="3856"/>
                    </a:cubicBezTo>
                    <a:cubicBezTo>
                      <a:pt x="11981" y="3218"/>
                      <a:pt x="11342" y="3218"/>
                      <a:pt x="11342" y="2579"/>
                    </a:cubicBezTo>
                    <a:cubicBezTo>
                      <a:pt x="11342" y="1941"/>
                      <a:pt x="10703" y="1941"/>
                      <a:pt x="10703" y="1941"/>
                    </a:cubicBezTo>
                    <a:cubicBezTo>
                      <a:pt x="8786" y="26"/>
                      <a:pt x="6230" y="-613"/>
                      <a:pt x="3674" y="664"/>
                    </a:cubicBezTo>
                    <a:cubicBezTo>
                      <a:pt x="3035" y="1303"/>
                      <a:pt x="2396" y="1303"/>
                      <a:pt x="1757" y="1941"/>
                    </a:cubicBezTo>
                    <a:lnTo>
                      <a:pt x="1118" y="2579"/>
                    </a:lnTo>
                    <a:cubicBezTo>
                      <a:pt x="1118" y="3218"/>
                      <a:pt x="479" y="3218"/>
                      <a:pt x="479" y="3856"/>
                    </a:cubicBezTo>
                    <a:cubicBezTo>
                      <a:pt x="-160" y="5133"/>
                      <a:pt x="-160" y="7048"/>
                      <a:pt x="479" y="8963"/>
                    </a:cubicBezTo>
                    <a:cubicBezTo>
                      <a:pt x="479" y="9602"/>
                      <a:pt x="1118" y="10240"/>
                      <a:pt x="1757" y="10879"/>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C781AD20-D50A-96AC-2713-600767D42059}"/>
                  </a:ext>
                </a:extLst>
              </p:cNvPr>
              <p:cNvSpPr/>
              <p:nvPr/>
            </p:nvSpPr>
            <p:spPr>
              <a:xfrm>
                <a:off x="567426" y="2516090"/>
                <a:ext cx="14057" cy="12767"/>
              </a:xfrm>
              <a:custGeom>
                <a:avLst/>
                <a:gdLst>
                  <a:gd name="connsiteX0" fmla="*/ 7668 w 14057"/>
                  <a:gd name="connsiteY0" fmla="*/ 12768 h 12767"/>
                  <a:gd name="connsiteX1" fmla="*/ 10224 w 14057"/>
                  <a:gd name="connsiteY1" fmla="*/ 12130 h 12767"/>
                  <a:gd name="connsiteX2" fmla="*/ 12141 w 14057"/>
                  <a:gd name="connsiteY2" fmla="*/ 10853 h 12767"/>
                  <a:gd name="connsiteX3" fmla="*/ 14058 w 14057"/>
                  <a:gd name="connsiteY3" fmla="*/ 6384 h 12767"/>
                  <a:gd name="connsiteX4" fmla="*/ 12141 w 14057"/>
                  <a:gd name="connsiteY4" fmla="*/ 1915 h 12767"/>
                  <a:gd name="connsiteX5" fmla="*/ 10863 w 14057"/>
                  <a:gd name="connsiteY5" fmla="*/ 1277 h 12767"/>
                  <a:gd name="connsiteX6" fmla="*/ 9585 w 14057"/>
                  <a:gd name="connsiteY6" fmla="*/ 638 h 12767"/>
                  <a:gd name="connsiteX7" fmla="*/ 8307 w 14057"/>
                  <a:gd name="connsiteY7" fmla="*/ 0 h 12767"/>
                  <a:gd name="connsiteX8" fmla="*/ 5751 w 14057"/>
                  <a:gd name="connsiteY8" fmla="*/ 0 h 12767"/>
                  <a:gd name="connsiteX9" fmla="*/ 4473 w 14057"/>
                  <a:gd name="connsiteY9" fmla="*/ 638 h 12767"/>
                  <a:gd name="connsiteX10" fmla="*/ 3195 w 14057"/>
                  <a:gd name="connsiteY10" fmla="*/ 1277 h 12767"/>
                  <a:gd name="connsiteX11" fmla="*/ 1917 w 14057"/>
                  <a:gd name="connsiteY11" fmla="*/ 1915 h 12767"/>
                  <a:gd name="connsiteX12" fmla="*/ 639 w 14057"/>
                  <a:gd name="connsiteY12" fmla="*/ 3830 h 12767"/>
                  <a:gd name="connsiteX13" fmla="*/ 0 w 14057"/>
                  <a:gd name="connsiteY13" fmla="*/ 6384 h 12767"/>
                  <a:gd name="connsiteX14" fmla="*/ 1917 w 14057"/>
                  <a:gd name="connsiteY14" fmla="*/ 10853 h 12767"/>
                  <a:gd name="connsiteX15" fmla="*/ 7668 w 14057"/>
                  <a:gd name="connsiteY15"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57" h="12767">
                    <a:moveTo>
                      <a:pt x="7668" y="12768"/>
                    </a:moveTo>
                    <a:cubicBezTo>
                      <a:pt x="8307" y="12768"/>
                      <a:pt x="9585" y="12768"/>
                      <a:pt x="10224" y="12130"/>
                    </a:cubicBezTo>
                    <a:cubicBezTo>
                      <a:pt x="10863" y="12130"/>
                      <a:pt x="11502" y="11491"/>
                      <a:pt x="12141" y="10853"/>
                    </a:cubicBezTo>
                    <a:cubicBezTo>
                      <a:pt x="13419" y="9576"/>
                      <a:pt x="14058" y="8299"/>
                      <a:pt x="14058" y="6384"/>
                    </a:cubicBezTo>
                    <a:cubicBezTo>
                      <a:pt x="14058" y="4469"/>
                      <a:pt x="13419" y="3192"/>
                      <a:pt x="12141" y="1915"/>
                    </a:cubicBezTo>
                    <a:lnTo>
                      <a:pt x="10863" y="1277"/>
                    </a:lnTo>
                    <a:lnTo>
                      <a:pt x="9585" y="638"/>
                    </a:lnTo>
                    <a:lnTo>
                      <a:pt x="8307" y="0"/>
                    </a:lnTo>
                    <a:cubicBezTo>
                      <a:pt x="7668" y="0"/>
                      <a:pt x="6390" y="0"/>
                      <a:pt x="5751" y="0"/>
                    </a:cubicBezTo>
                    <a:lnTo>
                      <a:pt x="4473" y="638"/>
                    </a:lnTo>
                    <a:lnTo>
                      <a:pt x="3195" y="1277"/>
                    </a:lnTo>
                    <a:cubicBezTo>
                      <a:pt x="2556" y="1277"/>
                      <a:pt x="2556" y="1915"/>
                      <a:pt x="1917" y="1915"/>
                    </a:cubicBezTo>
                    <a:cubicBezTo>
                      <a:pt x="1278" y="2554"/>
                      <a:pt x="639" y="3192"/>
                      <a:pt x="639" y="3830"/>
                    </a:cubicBezTo>
                    <a:cubicBezTo>
                      <a:pt x="0" y="4469"/>
                      <a:pt x="0" y="5107"/>
                      <a:pt x="0" y="6384"/>
                    </a:cubicBezTo>
                    <a:cubicBezTo>
                      <a:pt x="0" y="8299"/>
                      <a:pt x="639" y="9576"/>
                      <a:pt x="1917" y="10853"/>
                    </a:cubicBezTo>
                    <a:cubicBezTo>
                      <a:pt x="4473" y="12130"/>
                      <a:pt x="5751" y="12768"/>
                      <a:pt x="7668" y="12768"/>
                    </a:cubicBez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6DAA1076-9D01-F422-914B-790FF9A39636}"/>
                  </a:ext>
                </a:extLst>
              </p:cNvPr>
              <p:cNvSpPr/>
              <p:nvPr/>
            </p:nvSpPr>
            <p:spPr>
              <a:xfrm>
                <a:off x="715672" y="2575460"/>
                <a:ext cx="12779" cy="12767"/>
              </a:xfrm>
              <a:custGeom>
                <a:avLst/>
                <a:gdLst>
                  <a:gd name="connsiteX0" fmla="*/ 11502 w 12779"/>
                  <a:gd name="connsiteY0" fmla="*/ 2554 h 12767"/>
                  <a:gd name="connsiteX1" fmla="*/ 10863 w 12779"/>
                  <a:gd name="connsiteY1" fmla="*/ 1915 h 12767"/>
                  <a:gd name="connsiteX2" fmla="*/ 5112 w 12779"/>
                  <a:gd name="connsiteY2" fmla="*/ 0 h 12767"/>
                  <a:gd name="connsiteX3" fmla="*/ 3834 w 12779"/>
                  <a:gd name="connsiteY3" fmla="*/ 638 h 12767"/>
                  <a:gd name="connsiteX4" fmla="*/ 639 w 12779"/>
                  <a:gd name="connsiteY4" fmla="*/ 3830 h 12767"/>
                  <a:gd name="connsiteX5" fmla="*/ 0 w 12779"/>
                  <a:gd name="connsiteY5" fmla="*/ 6384 h 12767"/>
                  <a:gd name="connsiteX6" fmla="*/ 639 w 12779"/>
                  <a:gd name="connsiteY6" fmla="*/ 8938 h 12767"/>
                  <a:gd name="connsiteX7" fmla="*/ 1917 w 12779"/>
                  <a:gd name="connsiteY7" fmla="*/ 10853 h 12767"/>
                  <a:gd name="connsiteX8" fmla="*/ 6390 w 12779"/>
                  <a:gd name="connsiteY8" fmla="*/ 12768 h 12767"/>
                  <a:gd name="connsiteX9" fmla="*/ 10863 w 12779"/>
                  <a:gd name="connsiteY9" fmla="*/ 10853 h 12767"/>
                  <a:gd name="connsiteX10" fmla="*/ 12141 w 12779"/>
                  <a:gd name="connsiteY10" fmla="*/ 8938 h 12767"/>
                  <a:gd name="connsiteX11" fmla="*/ 12780 w 12779"/>
                  <a:gd name="connsiteY11" fmla="*/ 6384 h 12767"/>
                  <a:gd name="connsiteX12" fmla="*/ 12141 w 12779"/>
                  <a:gd name="connsiteY12" fmla="*/ 3830 h 12767"/>
                  <a:gd name="connsiteX13" fmla="*/ 11502 w 12779"/>
                  <a:gd name="connsiteY13" fmla="*/ 255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1502" y="2554"/>
                    </a:moveTo>
                    <a:cubicBezTo>
                      <a:pt x="11502" y="1915"/>
                      <a:pt x="10863" y="1915"/>
                      <a:pt x="10863" y="1915"/>
                    </a:cubicBezTo>
                    <a:cubicBezTo>
                      <a:pt x="9585" y="638"/>
                      <a:pt x="7029" y="0"/>
                      <a:pt x="5112" y="0"/>
                    </a:cubicBezTo>
                    <a:lnTo>
                      <a:pt x="3834" y="638"/>
                    </a:lnTo>
                    <a:cubicBezTo>
                      <a:pt x="2556" y="1277"/>
                      <a:pt x="1278" y="2554"/>
                      <a:pt x="639" y="3830"/>
                    </a:cubicBezTo>
                    <a:cubicBezTo>
                      <a:pt x="639" y="4469"/>
                      <a:pt x="0" y="5746"/>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lnTo>
                      <a:pt x="11502" y="2554"/>
                    </a:ln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AE1531E0-FFA5-1F5A-8993-D50DFB6770C0}"/>
                  </a:ext>
                </a:extLst>
              </p:cNvPr>
              <p:cNvSpPr/>
              <p:nvPr/>
            </p:nvSpPr>
            <p:spPr>
              <a:xfrm>
                <a:off x="715193" y="2545216"/>
                <a:ext cx="13259" cy="13007"/>
              </a:xfrm>
              <a:custGeom>
                <a:avLst/>
                <a:gdLst>
                  <a:gd name="connsiteX0" fmla="*/ 2396 w 13259"/>
                  <a:gd name="connsiteY0" fmla="*/ 11092 h 13007"/>
                  <a:gd name="connsiteX1" fmla="*/ 4313 w 13259"/>
                  <a:gd name="connsiteY1" fmla="*/ 12369 h 13007"/>
                  <a:gd name="connsiteX2" fmla="*/ 6869 w 13259"/>
                  <a:gd name="connsiteY2" fmla="*/ 13007 h 13007"/>
                  <a:gd name="connsiteX3" fmla="*/ 13259 w 13259"/>
                  <a:gd name="connsiteY3" fmla="*/ 6623 h 13007"/>
                  <a:gd name="connsiteX4" fmla="*/ 12620 w 13259"/>
                  <a:gd name="connsiteY4" fmla="*/ 4070 h 13007"/>
                  <a:gd name="connsiteX5" fmla="*/ 11342 w 13259"/>
                  <a:gd name="connsiteY5" fmla="*/ 2155 h 13007"/>
                  <a:gd name="connsiteX6" fmla="*/ 10064 w 13259"/>
                  <a:gd name="connsiteY6" fmla="*/ 1516 h 13007"/>
                  <a:gd name="connsiteX7" fmla="*/ 8786 w 13259"/>
                  <a:gd name="connsiteY7" fmla="*/ 878 h 13007"/>
                  <a:gd name="connsiteX8" fmla="*/ 7508 w 13259"/>
                  <a:gd name="connsiteY8" fmla="*/ 239 h 13007"/>
                  <a:gd name="connsiteX9" fmla="*/ 1757 w 13259"/>
                  <a:gd name="connsiteY9" fmla="*/ 2155 h 13007"/>
                  <a:gd name="connsiteX10" fmla="*/ 479 w 13259"/>
                  <a:gd name="connsiteY10" fmla="*/ 4070 h 13007"/>
                  <a:gd name="connsiteX11" fmla="*/ 479 w 13259"/>
                  <a:gd name="connsiteY11" fmla="*/ 9177 h 13007"/>
                  <a:gd name="connsiteX12" fmla="*/ 2396 w 13259"/>
                  <a:gd name="connsiteY12"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9" h="13007">
                    <a:moveTo>
                      <a:pt x="2396" y="11092"/>
                    </a:moveTo>
                    <a:cubicBezTo>
                      <a:pt x="3035" y="11731"/>
                      <a:pt x="3674" y="12369"/>
                      <a:pt x="4313" y="12369"/>
                    </a:cubicBezTo>
                    <a:cubicBezTo>
                      <a:pt x="4952" y="13007"/>
                      <a:pt x="6230" y="13007"/>
                      <a:pt x="6869" y="13007"/>
                    </a:cubicBezTo>
                    <a:cubicBezTo>
                      <a:pt x="10703" y="13007"/>
                      <a:pt x="13259" y="9815"/>
                      <a:pt x="13259" y="6623"/>
                    </a:cubicBezTo>
                    <a:cubicBezTo>
                      <a:pt x="13259" y="5985"/>
                      <a:pt x="13259" y="4708"/>
                      <a:pt x="12620" y="4070"/>
                    </a:cubicBezTo>
                    <a:cubicBezTo>
                      <a:pt x="11981" y="3431"/>
                      <a:pt x="11981" y="2793"/>
                      <a:pt x="11342" y="2155"/>
                    </a:cubicBezTo>
                    <a:lnTo>
                      <a:pt x="10064" y="1516"/>
                    </a:lnTo>
                    <a:cubicBezTo>
                      <a:pt x="9425" y="1516"/>
                      <a:pt x="9425" y="878"/>
                      <a:pt x="8786" y="878"/>
                    </a:cubicBezTo>
                    <a:cubicBezTo>
                      <a:pt x="8147" y="878"/>
                      <a:pt x="8147" y="239"/>
                      <a:pt x="7508" y="239"/>
                    </a:cubicBezTo>
                    <a:cubicBezTo>
                      <a:pt x="5591" y="-399"/>
                      <a:pt x="3035" y="239"/>
                      <a:pt x="1757" y="2155"/>
                    </a:cubicBezTo>
                    <a:cubicBezTo>
                      <a:pt x="1118" y="2793"/>
                      <a:pt x="479" y="3431"/>
                      <a:pt x="479" y="4070"/>
                    </a:cubicBezTo>
                    <a:cubicBezTo>
                      <a:pt x="-160" y="5347"/>
                      <a:pt x="-160" y="7262"/>
                      <a:pt x="479" y="9177"/>
                    </a:cubicBezTo>
                    <a:cubicBezTo>
                      <a:pt x="1118" y="9815"/>
                      <a:pt x="1757" y="10454"/>
                      <a:pt x="2396" y="11092"/>
                    </a:cubicBez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B3D7289D-45F6-42CB-BA82-BB41A022ED87}"/>
                  </a:ext>
                </a:extLst>
              </p:cNvPr>
              <p:cNvSpPr/>
              <p:nvPr/>
            </p:nvSpPr>
            <p:spPr>
              <a:xfrm>
                <a:off x="715672" y="2516249"/>
                <a:ext cx="12779" cy="12608"/>
              </a:xfrm>
              <a:custGeom>
                <a:avLst/>
                <a:gdLst>
                  <a:gd name="connsiteX0" fmla="*/ 1917 w 12779"/>
                  <a:gd name="connsiteY0" fmla="*/ 10693 h 12608"/>
                  <a:gd name="connsiteX1" fmla="*/ 10863 w 12779"/>
                  <a:gd name="connsiteY1" fmla="*/ 10693 h 12608"/>
                  <a:gd name="connsiteX2" fmla="*/ 12780 w 12779"/>
                  <a:gd name="connsiteY2" fmla="*/ 6224 h 12608"/>
                  <a:gd name="connsiteX3" fmla="*/ 12141 w 12779"/>
                  <a:gd name="connsiteY3" fmla="*/ 3671 h 12608"/>
                  <a:gd name="connsiteX4" fmla="*/ 8946 w 12779"/>
                  <a:gd name="connsiteY4" fmla="*/ 479 h 12608"/>
                  <a:gd name="connsiteX5" fmla="*/ 3834 w 12779"/>
                  <a:gd name="connsiteY5" fmla="*/ 479 h 12608"/>
                  <a:gd name="connsiteX6" fmla="*/ 1917 w 12779"/>
                  <a:gd name="connsiteY6" fmla="*/ 1756 h 12608"/>
                  <a:gd name="connsiteX7" fmla="*/ 639 w 12779"/>
                  <a:gd name="connsiteY7" fmla="*/ 3671 h 12608"/>
                  <a:gd name="connsiteX8" fmla="*/ 0 w 12779"/>
                  <a:gd name="connsiteY8" fmla="*/ 6224 h 12608"/>
                  <a:gd name="connsiteX9" fmla="*/ 1917 w 12779"/>
                  <a:gd name="connsiteY9" fmla="*/ 1069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608">
                    <a:moveTo>
                      <a:pt x="1917" y="10693"/>
                    </a:moveTo>
                    <a:cubicBezTo>
                      <a:pt x="4473" y="13247"/>
                      <a:pt x="8307" y="13247"/>
                      <a:pt x="10863" y="10693"/>
                    </a:cubicBezTo>
                    <a:cubicBezTo>
                      <a:pt x="12141" y="9416"/>
                      <a:pt x="12780" y="8139"/>
                      <a:pt x="12780" y="6224"/>
                    </a:cubicBezTo>
                    <a:cubicBezTo>
                      <a:pt x="12780" y="5586"/>
                      <a:pt x="12780" y="4309"/>
                      <a:pt x="12141" y="3671"/>
                    </a:cubicBezTo>
                    <a:cubicBezTo>
                      <a:pt x="11502" y="2394"/>
                      <a:pt x="10224" y="1117"/>
                      <a:pt x="8946" y="479"/>
                    </a:cubicBezTo>
                    <a:cubicBezTo>
                      <a:pt x="7668" y="-160"/>
                      <a:pt x="5751" y="-160"/>
                      <a:pt x="3834" y="479"/>
                    </a:cubicBezTo>
                    <a:cubicBezTo>
                      <a:pt x="3195" y="479"/>
                      <a:pt x="2556" y="1117"/>
                      <a:pt x="1917" y="1756"/>
                    </a:cubicBezTo>
                    <a:cubicBezTo>
                      <a:pt x="1278" y="2394"/>
                      <a:pt x="639" y="3032"/>
                      <a:pt x="639" y="3671"/>
                    </a:cubicBezTo>
                    <a:cubicBezTo>
                      <a:pt x="0" y="4309"/>
                      <a:pt x="0" y="4947"/>
                      <a:pt x="0" y="6224"/>
                    </a:cubicBezTo>
                    <a:cubicBezTo>
                      <a:pt x="0" y="8139"/>
                      <a:pt x="639" y="9416"/>
                      <a:pt x="1917" y="10693"/>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FA918173-F00E-516B-F8CC-D99645655CDD}"/>
                  </a:ext>
                </a:extLst>
              </p:cNvPr>
              <p:cNvSpPr/>
              <p:nvPr/>
            </p:nvSpPr>
            <p:spPr>
              <a:xfrm>
                <a:off x="627491" y="2574583"/>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780 w 12779"/>
                  <a:gd name="connsiteY5" fmla="*/ 6623 h 13007"/>
                  <a:gd name="connsiteX6" fmla="*/ 12141 w 12779"/>
                  <a:gd name="connsiteY6" fmla="*/ 4070 h 13007"/>
                  <a:gd name="connsiteX7" fmla="*/ 10863 w 12779"/>
                  <a:gd name="connsiteY7" fmla="*/ 2155 h 13007"/>
                  <a:gd name="connsiteX8" fmla="*/ 8946 w 12779"/>
                  <a:gd name="connsiteY8" fmla="*/ 878 h 13007"/>
                  <a:gd name="connsiteX9" fmla="*/ 7668 w 12779"/>
                  <a:gd name="connsiteY9" fmla="*/ 239 h 13007"/>
                  <a:gd name="connsiteX10" fmla="*/ 1917 w 12779"/>
                  <a:gd name="connsiteY10" fmla="*/ 2155 h 13007"/>
                  <a:gd name="connsiteX11" fmla="*/ 639 w 12779"/>
                  <a:gd name="connsiteY11" fmla="*/ 4070 h 13007"/>
                  <a:gd name="connsiteX12" fmla="*/ 0 w 12779"/>
                  <a:gd name="connsiteY12" fmla="*/ 6623 h 13007"/>
                  <a:gd name="connsiteX13" fmla="*/ 1917 w 12779"/>
                  <a:gd name="connsiteY13"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3007">
                    <a:moveTo>
                      <a:pt x="1917" y="11092"/>
                    </a:moveTo>
                    <a:cubicBezTo>
                      <a:pt x="2556" y="11731"/>
                      <a:pt x="3195" y="12369"/>
                      <a:pt x="3834" y="12369"/>
                    </a:cubicBezTo>
                    <a:cubicBezTo>
                      <a:pt x="4473" y="12369"/>
                      <a:pt x="5112" y="13007"/>
                      <a:pt x="6390" y="13007"/>
                    </a:cubicBezTo>
                    <a:cubicBezTo>
                      <a:pt x="7029" y="13007"/>
                      <a:pt x="8307" y="13007"/>
                      <a:pt x="8946" y="12369"/>
                    </a:cubicBezTo>
                    <a:cubicBezTo>
                      <a:pt x="9585" y="11731"/>
                      <a:pt x="10224" y="11731"/>
                      <a:pt x="10863" y="11092"/>
                    </a:cubicBezTo>
                    <a:cubicBezTo>
                      <a:pt x="12141" y="9815"/>
                      <a:pt x="12780" y="8539"/>
                      <a:pt x="12780" y="6623"/>
                    </a:cubicBezTo>
                    <a:cubicBezTo>
                      <a:pt x="12780" y="5985"/>
                      <a:pt x="12780" y="4708"/>
                      <a:pt x="12141" y="4070"/>
                    </a:cubicBezTo>
                    <a:cubicBezTo>
                      <a:pt x="12141" y="3431"/>
                      <a:pt x="11502" y="2793"/>
                      <a:pt x="10863" y="2155"/>
                    </a:cubicBezTo>
                    <a:cubicBezTo>
                      <a:pt x="10224" y="1516"/>
                      <a:pt x="9585" y="878"/>
                      <a:pt x="8946" y="878"/>
                    </a:cubicBezTo>
                    <a:lnTo>
                      <a:pt x="7668" y="239"/>
                    </a:lnTo>
                    <a:cubicBezTo>
                      <a:pt x="5751" y="-399"/>
                      <a:pt x="3195" y="239"/>
                      <a:pt x="1917" y="2155"/>
                    </a:cubicBezTo>
                    <a:cubicBezTo>
                      <a:pt x="1278" y="2793"/>
                      <a:pt x="639" y="3431"/>
                      <a:pt x="639" y="4070"/>
                    </a:cubicBezTo>
                    <a:cubicBezTo>
                      <a:pt x="0" y="4708"/>
                      <a:pt x="0" y="5985"/>
                      <a:pt x="0" y="6623"/>
                    </a:cubicBezTo>
                    <a:cubicBezTo>
                      <a:pt x="0" y="8539"/>
                      <a:pt x="639" y="10454"/>
                      <a:pt x="1917" y="11092"/>
                    </a:cubicBezTo>
                    <a:close/>
                  </a:path>
                </a:pathLst>
              </a:custGeom>
              <a:grpFill/>
              <a:ln w="6390"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8A57AD65-3ED0-7B41-0FC7-1E812FE353E6}"/>
                  </a:ext>
                </a:extLst>
              </p:cNvPr>
              <p:cNvSpPr/>
              <p:nvPr/>
            </p:nvSpPr>
            <p:spPr>
              <a:xfrm>
                <a:off x="627012" y="2545216"/>
                <a:ext cx="13259" cy="13007"/>
              </a:xfrm>
              <a:custGeom>
                <a:avLst/>
                <a:gdLst>
                  <a:gd name="connsiteX0" fmla="*/ 2396 w 13259"/>
                  <a:gd name="connsiteY0" fmla="*/ 11092 h 13007"/>
                  <a:gd name="connsiteX1" fmla="*/ 4313 w 13259"/>
                  <a:gd name="connsiteY1" fmla="*/ 12369 h 13007"/>
                  <a:gd name="connsiteX2" fmla="*/ 6869 w 13259"/>
                  <a:gd name="connsiteY2" fmla="*/ 13007 h 13007"/>
                  <a:gd name="connsiteX3" fmla="*/ 9425 w 13259"/>
                  <a:gd name="connsiteY3" fmla="*/ 12369 h 13007"/>
                  <a:gd name="connsiteX4" fmla="*/ 11342 w 13259"/>
                  <a:gd name="connsiteY4" fmla="*/ 11092 h 13007"/>
                  <a:gd name="connsiteX5" fmla="*/ 13259 w 13259"/>
                  <a:gd name="connsiteY5" fmla="*/ 6623 h 13007"/>
                  <a:gd name="connsiteX6" fmla="*/ 12620 w 13259"/>
                  <a:gd name="connsiteY6" fmla="*/ 4070 h 13007"/>
                  <a:gd name="connsiteX7" fmla="*/ 11342 w 13259"/>
                  <a:gd name="connsiteY7" fmla="*/ 2155 h 13007"/>
                  <a:gd name="connsiteX8" fmla="*/ 10064 w 13259"/>
                  <a:gd name="connsiteY8" fmla="*/ 1516 h 13007"/>
                  <a:gd name="connsiteX9" fmla="*/ 8786 w 13259"/>
                  <a:gd name="connsiteY9" fmla="*/ 878 h 13007"/>
                  <a:gd name="connsiteX10" fmla="*/ 7508 w 13259"/>
                  <a:gd name="connsiteY10" fmla="*/ 239 h 13007"/>
                  <a:gd name="connsiteX11" fmla="*/ 1757 w 13259"/>
                  <a:gd name="connsiteY11" fmla="*/ 2155 h 13007"/>
                  <a:gd name="connsiteX12" fmla="*/ 479 w 13259"/>
                  <a:gd name="connsiteY12" fmla="*/ 4070 h 13007"/>
                  <a:gd name="connsiteX13" fmla="*/ 479 w 13259"/>
                  <a:gd name="connsiteY13" fmla="*/ 9177 h 13007"/>
                  <a:gd name="connsiteX14" fmla="*/ 2396 w 13259"/>
                  <a:gd name="connsiteY14"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9" h="13007">
                    <a:moveTo>
                      <a:pt x="2396" y="11092"/>
                    </a:moveTo>
                    <a:cubicBezTo>
                      <a:pt x="3035" y="11731"/>
                      <a:pt x="3674" y="12369"/>
                      <a:pt x="4313" y="12369"/>
                    </a:cubicBezTo>
                    <a:cubicBezTo>
                      <a:pt x="4952" y="13007"/>
                      <a:pt x="5591" y="13007"/>
                      <a:pt x="6869" y="13007"/>
                    </a:cubicBezTo>
                    <a:cubicBezTo>
                      <a:pt x="7508" y="13007"/>
                      <a:pt x="8786" y="13007"/>
                      <a:pt x="9425" y="12369"/>
                    </a:cubicBezTo>
                    <a:cubicBezTo>
                      <a:pt x="10064" y="11731"/>
                      <a:pt x="10703" y="11731"/>
                      <a:pt x="11342" y="11092"/>
                    </a:cubicBezTo>
                    <a:cubicBezTo>
                      <a:pt x="12620" y="9815"/>
                      <a:pt x="13259" y="8539"/>
                      <a:pt x="13259" y="6623"/>
                    </a:cubicBezTo>
                    <a:cubicBezTo>
                      <a:pt x="13259" y="5985"/>
                      <a:pt x="13259" y="4708"/>
                      <a:pt x="12620" y="4070"/>
                    </a:cubicBezTo>
                    <a:cubicBezTo>
                      <a:pt x="12620" y="3431"/>
                      <a:pt x="11981" y="2793"/>
                      <a:pt x="11342" y="2155"/>
                    </a:cubicBezTo>
                    <a:lnTo>
                      <a:pt x="10064" y="1516"/>
                    </a:lnTo>
                    <a:lnTo>
                      <a:pt x="8786" y="878"/>
                    </a:lnTo>
                    <a:lnTo>
                      <a:pt x="7508" y="239"/>
                    </a:lnTo>
                    <a:cubicBezTo>
                      <a:pt x="5591" y="-399"/>
                      <a:pt x="3035" y="239"/>
                      <a:pt x="1757" y="2155"/>
                    </a:cubicBezTo>
                    <a:cubicBezTo>
                      <a:pt x="1118" y="2793"/>
                      <a:pt x="479" y="3431"/>
                      <a:pt x="479" y="4070"/>
                    </a:cubicBezTo>
                    <a:cubicBezTo>
                      <a:pt x="-160" y="5347"/>
                      <a:pt x="-160" y="7262"/>
                      <a:pt x="479" y="9177"/>
                    </a:cubicBezTo>
                    <a:cubicBezTo>
                      <a:pt x="1118" y="9815"/>
                      <a:pt x="1757" y="10454"/>
                      <a:pt x="2396" y="11092"/>
                    </a:cubicBezTo>
                    <a:close/>
                  </a:path>
                </a:pathLst>
              </a:custGeom>
              <a:grpFill/>
              <a:ln w="6390" cap="flat">
                <a:noFill/>
                <a:prstDash val="solid"/>
                <a:miter/>
              </a:ln>
            </p:spPr>
            <p:txBody>
              <a:bodyPr rtlCol="0" anchor="ctr"/>
              <a:lstStyle/>
              <a:p>
                <a:endParaRPr lang="en-US"/>
              </a:p>
            </p:txBody>
          </p:sp>
          <p:sp>
            <p:nvSpPr>
              <p:cNvPr id="56" name="Graphic 4">
                <a:extLst>
                  <a:ext uri="{FF2B5EF4-FFF2-40B4-BE49-F238E27FC236}">
                    <a16:creationId xmlns:a16="http://schemas.microsoft.com/office/drawing/2014/main" id="{2D6F0AE8-781A-4F76-BD5D-AD4E4F7A4194}"/>
                  </a:ext>
                </a:extLst>
              </p:cNvPr>
              <p:cNvSpPr/>
              <p:nvPr/>
            </p:nvSpPr>
            <p:spPr>
              <a:xfrm>
                <a:off x="627491" y="2516249"/>
                <a:ext cx="12779" cy="12608"/>
              </a:xfrm>
              <a:custGeom>
                <a:avLst/>
                <a:gdLst>
                  <a:gd name="connsiteX0" fmla="*/ 6390 w 12779"/>
                  <a:gd name="connsiteY0" fmla="*/ 12608 h 12608"/>
                  <a:gd name="connsiteX1" fmla="*/ 12780 w 12779"/>
                  <a:gd name="connsiteY1" fmla="*/ 6224 h 12608"/>
                  <a:gd name="connsiteX2" fmla="*/ 10863 w 12779"/>
                  <a:gd name="connsiteY2" fmla="*/ 1756 h 12608"/>
                  <a:gd name="connsiteX3" fmla="*/ 8946 w 12779"/>
                  <a:gd name="connsiteY3" fmla="*/ 479 h 12608"/>
                  <a:gd name="connsiteX4" fmla="*/ 3834 w 12779"/>
                  <a:gd name="connsiteY4" fmla="*/ 479 h 12608"/>
                  <a:gd name="connsiteX5" fmla="*/ 639 w 12779"/>
                  <a:gd name="connsiteY5" fmla="*/ 3671 h 12608"/>
                  <a:gd name="connsiteX6" fmla="*/ 0 w 12779"/>
                  <a:gd name="connsiteY6" fmla="*/ 6224 h 12608"/>
                  <a:gd name="connsiteX7" fmla="*/ 1917 w 12779"/>
                  <a:gd name="connsiteY7" fmla="*/ 10693 h 12608"/>
                  <a:gd name="connsiteX8" fmla="*/ 6390 w 12779"/>
                  <a:gd name="connsiteY8" fmla="*/ 12608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608">
                    <a:moveTo>
                      <a:pt x="6390" y="12608"/>
                    </a:moveTo>
                    <a:cubicBezTo>
                      <a:pt x="10224" y="12608"/>
                      <a:pt x="12780" y="10055"/>
                      <a:pt x="12780" y="6224"/>
                    </a:cubicBezTo>
                    <a:cubicBezTo>
                      <a:pt x="12780" y="4309"/>
                      <a:pt x="12141" y="3032"/>
                      <a:pt x="10863" y="1756"/>
                    </a:cubicBezTo>
                    <a:cubicBezTo>
                      <a:pt x="10224" y="1117"/>
                      <a:pt x="9585" y="479"/>
                      <a:pt x="8946" y="479"/>
                    </a:cubicBezTo>
                    <a:cubicBezTo>
                      <a:pt x="7668" y="-160"/>
                      <a:pt x="5751" y="-160"/>
                      <a:pt x="3834" y="479"/>
                    </a:cubicBezTo>
                    <a:cubicBezTo>
                      <a:pt x="2556" y="1117"/>
                      <a:pt x="1278" y="2394"/>
                      <a:pt x="639" y="3671"/>
                    </a:cubicBezTo>
                    <a:cubicBezTo>
                      <a:pt x="0" y="4309"/>
                      <a:pt x="0" y="4947"/>
                      <a:pt x="0" y="6224"/>
                    </a:cubicBezTo>
                    <a:cubicBezTo>
                      <a:pt x="0" y="8139"/>
                      <a:pt x="639" y="9416"/>
                      <a:pt x="1917" y="10693"/>
                    </a:cubicBezTo>
                    <a:cubicBezTo>
                      <a:pt x="3195" y="11970"/>
                      <a:pt x="4473" y="12608"/>
                      <a:pt x="6390" y="12608"/>
                    </a:cubicBezTo>
                    <a:close/>
                  </a:path>
                </a:pathLst>
              </a:custGeom>
              <a:grpFill/>
              <a:ln w="6390" cap="flat">
                <a:noFill/>
                <a:prstDash val="solid"/>
                <a:miter/>
              </a:ln>
            </p:spPr>
            <p:txBody>
              <a:bodyPr rtlCol="0" anchor="ctr"/>
              <a:lstStyle/>
              <a:p>
                <a:endParaRPr lang="en-US"/>
              </a:p>
            </p:txBody>
          </p:sp>
          <p:sp>
            <p:nvSpPr>
              <p:cNvPr id="57" name="Graphic 4">
                <a:extLst>
                  <a:ext uri="{FF2B5EF4-FFF2-40B4-BE49-F238E27FC236}">
                    <a16:creationId xmlns:a16="http://schemas.microsoft.com/office/drawing/2014/main" id="{589E0C5A-FAB1-622E-29FB-672867432E47}"/>
                  </a:ext>
                </a:extLst>
              </p:cNvPr>
              <p:cNvSpPr/>
              <p:nvPr/>
            </p:nvSpPr>
            <p:spPr>
              <a:xfrm>
                <a:off x="626187" y="2487362"/>
                <a:ext cx="14083" cy="12618"/>
              </a:xfrm>
              <a:custGeom>
                <a:avLst/>
                <a:gdLst>
                  <a:gd name="connsiteX0" fmla="*/ 5138 w 14083"/>
                  <a:gd name="connsiteY0" fmla="*/ 12130 h 12618"/>
                  <a:gd name="connsiteX1" fmla="*/ 13445 w 14083"/>
                  <a:gd name="connsiteY1" fmla="*/ 8938 h 12618"/>
                  <a:gd name="connsiteX2" fmla="*/ 14084 w 14083"/>
                  <a:gd name="connsiteY2" fmla="*/ 6384 h 12618"/>
                  <a:gd name="connsiteX3" fmla="*/ 12167 w 14083"/>
                  <a:gd name="connsiteY3" fmla="*/ 1915 h 12618"/>
                  <a:gd name="connsiteX4" fmla="*/ 10889 w 14083"/>
                  <a:gd name="connsiteY4" fmla="*/ 1277 h 12618"/>
                  <a:gd name="connsiteX5" fmla="*/ 9611 w 14083"/>
                  <a:gd name="connsiteY5" fmla="*/ 638 h 12618"/>
                  <a:gd name="connsiteX6" fmla="*/ 8333 w 14083"/>
                  <a:gd name="connsiteY6" fmla="*/ 0 h 12618"/>
                  <a:gd name="connsiteX7" fmla="*/ 5777 w 14083"/>
                  <a:gd name="connsiteY7" fmla="*/ 0 h 12618"/>
                  <a:gd name="connsiteX8" fmla="*/ 4499 w 14083"/>
                  <a:gd name="connsiteY8" fmla="*/ 638 h 12618"/>
                  <a:gd name="connsiteX9" fmla="*/ 3221 w 14083"/>
                  <a:gd name="connsiteY9" fmla="*/ 1277 h 12618"/>
                  <a:gd name="connsiteX10" fmla="*/ 1943 w 14083"/>
                  <a:gd name="connsiteY10" fmla="*/ 1915 h 12618"/>
                  <a:gd name="connsiteX11" fmla="*/ 665 w 14083"/>
                  <a:gd name="connsiteY11" fmla="*/ 3830 h 12618"/>
                  <a:gd name="connsiteX12" fmla="*/ 1943 w 14083"/>
                  <a:gd name="connsiteY12" fmla="*/ 10853 h 12618"/>
                  <a:gd name="connsiteX13" fmla="*/ 5138 w 14083"/>
                  <a:gd name="connsiteY13" fmla="*/ 12130 h 12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83" h="12618">
                    <a:moveTo>
                      <a:pt x="5138" y="12130"/>
                    </a:moveTo>
                    <a:cubicBezTo>
                      <a:pt x="8333" y="13406"/>
                      <a:pt x="12167" y="12130"/>
                      <a:pt x="13445" y="8938"/>
                    </a:cubicBezTo>
                    <a:cubicBezTo>
                      <a:pt x="14084" y="8299"/>
                      <a:pt x="14084" y="7022"/>
                      <a:pt x="14084" y="6384"/>
                    </a:cubicBezTo>
                    <a:cubicBezTo>
                      <a:pt x="14084" y="4469"/>
                      <a:pt x="13445" y="3192"/>
                      <a:pt x="12167" y="1915"/>
                    </a:cubicBezTo>
                    <a:lnTo>
                      <a:pt x="10889" y="1277"/>
                    </a:lnTo>
                    <a:lnTo>
                      <a:pt x="9611" y="638"/>
                    </a:lnTo>
                    <a:lnTo>
                      <a:pt x="8333" y="0"/>
                    </a:lnTo>
                    <a:cubicBezTo>
                      <a:pt x="7694" y="0"/>
                      <a:pt x="6416" y="0"/>
                      <a:pt x="5777" y="0"/>
                    </a:cubicBezTo>
                    <a:cubicBezTo>
                      <a:pt x="5138" y="0"/>
                      <a:pt x="5138" y="0"/>
                      <a:pt x="4499" y="638"/>
                    </a:cubicBezTo>
                    <a:cubicBezTo>
                      <a:pt x="3860" y="638"/>
                      <a:pt x="3860" y="1277"/>
                      <a:pt x="3221" y="1277"/>
                    </a:cubicBezTo>
                    <a:cubicBezTo>
                      <a:pt x="2582" y="1277"/>
                      <a:pt x="2582" y="1915"/>
                      <a:pt x="1943" y="1915"/>
                    </a:cubicBezTo>
                    <a:cubicBezTo>
                      <a:pt x="1304" y="2554"/>
                      <a:pt x="665" y="3192"/>
                      <a:pt x="665" y="3830"/>
                    </a:cubicBezTo>
                    <a:cubicBezTo>
                      <a:pt x="-613" y="6384"/>
                      <a:pt x="26" y="8938"/>
                      <a:pt x="1943" y="10853"/>
                    </a:cubicBezTo>
                    <a:cubicBezTo>
                      <a:pt x="3860" y="10853"/>
                      <a:pt x="4499" y="11491"/>
                      <a:pt x="5138" y="12130"/>
                    </a:cubicBezTo>
                    <a:close/>
                  </a:path>
                </a:pathLst>
              </a:custGeom>
              <a:grpFill/>
              <a:ln w="6390" cap="flat">
                <a:noFill/>
                <a:prstDash val="solid"/>
                <a:miter/>
              </a:ln>
            </p:spPr>
            <p:txBody>
              <a:bodyPr rtlCol="0" anchor="ctr"/>
              <a:lstStyle/>
              <a:p>
                <a:endParaRPr lang="en-US"/>
              </a:p>
            </p:txBody>
          </p:sp>
          <p:sp>
            <p:nvSpPr>
              <p:cNvPr id="58" name="Graphic 4">
                <a:extLst>
                  <a:ext uri="{FF2B5EF4-FFF2-40B4-BE49-F238E27FC236}">
                    <a16:creationId xmlns:a16="http://schemas.microsoft.com/office/drawing/2014/main" id="{BCCA05D1-3292-684D-1330-EE407449AD9E}"/>
                  </a:ext>
                </a:extLst>
              </p:cNvPr>
              <p:cNvSpPr/>
              <p:nvPr/>
            </p:nvSpPr>
            <p:spPr>
              <a:xfrm>
                <a:off x="656885" y="2574583"/>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780 w 12779"/>
                  <a:gd name="connsiteY5" fmla="*/ 6623 h 13007"/>
                  <a:gd name="connsiteX6" fmla="*/ 12141 w 12779"/>
                  <a:gd name="connsiteY6" fmla="*/ 4070 h 13007"/>
                  <a:gd name="connsiteX7" fmla="*/ 10863 w 12779"/>
                  <a:gd name="connsiteY7" fmla="*/ 2155 h 13007"/>
                  <a:gd name="connsiteX8" fmla="*/ 8946 w 12779"/>
                  <a:gd name="connsiteY8" fmla="*/ 878 h 13007"/>
                  <a:gd name="connsiteX9" fmla="*/ 7668 w 12779"/>
                  <a:gd name="connsiteY9" fmla="*/ 239 h 13007"/>
                  <a:gd name="connsiteX10" fmla="*/ 1917 w 12779"/>
                  <a:gd name="connsiteY10" fmla="*/ 2155 h 13007"/>
                  <a:gd name="connsiteX11" fmla="*/ 639 w 12779"/>
                  <a:gd name="connsiteY11" fmla="*/ 4070 h 13007"/>
                  <a:gd name="connsiteX12" fmla="*/ 0 w 12779"/>
                  <a:gd name="connsiteY12" fmla="*/ 6623 h 13007"/>
                  <a:gd name="connsiteX13" fmla="*/ 639 w 12779"/>
                  <a:gd name="connsiteY13" fmla="*/ 9177 h 13007"/>
                  <a:gd name="connsiteX14" fmla="*/ 1917 w 12779"/>
                  <a:gd name="connsiteY14"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79" h="13007">
                    <a:moveTo>
                      <a:pt x="1917" y="11092"/>
                    </a:moveTo>
                    <a:cubicBezTo>
                      <a:pt x="2556" y="11731"/>
                      <a:pt x="3195" y="12369"/>
                      <a:pt x="3834" y="12369"/>
                    </a:cubicBezTo>
                    <a:cubicBezTo>
                      <a:pt x="4473" y="12369"/>
                      <a:pt x="5751"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5985"/>
                      <a:pt x="12780" y="4708"/>
                      <a:pt x="12141" y="4070"/>
                    </a:cubicBezTo>
                    <a:cubicBezTo>
                      <a:pt x="12141" y="3431"/>
                      <a:pt x="11502" y="2793"/>
                      <a:pt x="10863" y="2155"/>
                    </a:cubicBezTo>
                    <a:cubicBezTo>
                      <a:pt x="10224" y="1516"/>
                      <a:pt x="9585" y="878"/>
                      <a:pt x="8946" y="878"/>
                    </a:cubicBezTo>
                    <a:lnTo>
                      <a:pt x="7668" y="239"/>
                    </a:lnTo>
                    <a:cubicBezTo>
                      <a:pt x="5751" y="-399"/>
                      <a:pt x="3195" y="239"/>
                      <a:pt x="1917" y="2155"/>
                    </a:cubicBezTo>
                    <a:cubicBezTo>
                      <a:pt x="1278" y="2793"/>
                      <a:pt x="639" y="3431"/>
                      <a:pt x="639" y="4070"/>
                    </a:cubicBezTo>
                    <a:cubicBezTo>
                      <a:pt x="639" y="4708"/>
                      <a:pt x="0" y="5985"/>
                      <a:pt x="0" y="6623"/>
                    </a:cubicBezTo>
                    <a:cubicBezTo>
                      <a:pt x="0" y="7262"/>
                      <a:pt x="0" y="8539"/>
                      <a:pt x="639" y="9177"/>
                    </a:cubicBezTo>
                    <a:cubicBezTo>
                      <a:pt x="639" y="9815"/>
                      <a:pt x="1278" y="10454"/>
                      <a:pt x="1917" y="11092"/>
                    </a:cubicBezTo>
                    <a:close/>
                  </a:path>
                </a:pathLst>
              </a:custGeom>
              <a:grpFill/>
              <a:ln w="6390" cap="flat">
                <a:noFill/>
                <a:prstDash val="solid"/>
                <a:miter/>
              </a:ln>
            </p:spPr>
            <p:txBody>
              <a:bodyPr rtlCol="0" anchor="ctr"/>
              <a:lstStyle/>
              <a:p>
                <a:endParaRPr lang="en-US"/>
              </a:p>
            </p:txBody>
          </p:sp>
          <p:sp>
            <p:nvSpPr>
              <p:cNvPr id="59" name="Graphic 4">
                <a:extLst>
                  <a:ext uri="{FF2B5EF4-FFF2-40B4-BE49-F238E27FC236}">
                    <a16:creationId xmlns:a16="http://schemas.microsoft.com/office/drawing/2014/main" id="{8D7CFAFE-8282-4145-E558-72FFDCCF901E}"/>
                  </a:ext>
                </a:extLst>
              </p:cNvPr>
              <p:cNvSpPr/>
              <p:nvPr/>
            </p:nvSpPr>
            <p:spPr>
              <a:xfrm>
                <a:off x="656246" y="2604188"/>
                <a:ext cx="13418" cy="12767"/>
              </a:xfrm>
              <a:custGeom>
                <a:avLst/>
                <a:gdLst>
                  <a:gd name="connsiteX0" fmla="*/ 7029 w 13418"/>
                  <a:gd name="connsiteY0" fmla="*/ 12768 h 12767"/>
                  <a:gd name="connsiteX1" fmla="*/ 11502 w 13418"/>
                  <a:gd name="connsiteY1" fmla="*/ 10853 h 12767"/>
                  <a:gd name="connsiteX2" fmla="*/ 11502 w 13418"/>
                  <a:gd name="connsiteY2" fmla="*/ 1915 h 12767"/>
                  <a:gd name="connsiteX3" fmla="*/ 11502 w 13418"/>
                  <a:gd name="connsiteY3" fmla="*/ 1915 h 12767"/>
                  <a:gd name="connsiteX4" fmla="*/ 10224 w 13418"/>
                  <a:gd name="connsiteY4" fmla="*/ 1277 h 12767"/>
                  <a:gd name="connsiteX5" fmla="*/ 8946 w 13418"/>
                  <a:gd name="connsiteY5" fmla="*/ 638 h 12767"/>
                  <a:gd name="connsiteX6" fmla="*/ 7668 w 13418"/>
                  <a:gd name="connsiteY6" fmla="*/ 0 h 12767"/>
                  <a:gd name="connsiteX7" fmla="*/ 3834 w 13418"/>
                  <a:gd name="connsiteY7" fmla="*/ 638 h 12767"/>
                  <a:gd name="connsiteX8" fmla="*/ 1917 w 13418"/>
                  <a:gd name="connsiteY8" fmla="*/ 1915 h 12767"/>
                  <a:gd name="connsiteX9" fmla="*/ 1917 w 13418"/>
                  <a:gd name="connsiteY9" fmla="*/ 10853 h 12767"/>
                  <a:gd name="connsiteX10" fmla="*/ 1917 w 13418"/>
                  <a:gd name="connsiteY10" fmla="*/ 10853 h 12767"/>
                  <a:gd name="connsiteX11" fmla="*/ 7029 w 13418"/>
                  <a:gd name="connsiteY11"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18" h="12767">
                    <a:moveTo>
                      <a:pt x="7029" y="12768"/>
                    </a:moveTo>
                    <a:cubicBezTo>
                      <a:pt x="8946" y="12768"/>
                      <a:pt x="10224" y="12130"/>
                      <a:pt x="11502" y="10853"/>
                    </a:cubicBezTo>
                    <a:cubicBezTo>
                      <a:pt x="14058" y="8299"/>
                      <a:pt x="14058" y="4469"/>
                      <a:pt x="11502" y="1915"/>
                    </a:cubicBezTo>
                    <a:cubicBezTo>
                      <a:pt x="11502" y="1915"/>
                      <a:pt x="11502" y="1915"/>
                      <a:pt x="11502" y="1915"/>
                    </a:cubicBezTo>
                    <a:lnTo>
                      <a:pt x="10224" y="1277"/>
                    </a:lnTo>
                    <a:cubicBezTo>
                      <a:pt x="9585" y="1277"/>
                      <a:pt x="9585" y="638"/>
                      <a:pt x="8946" y="638"/>
                    </a:cubicBezTo>
                    <a:cubicBezTo>
                      <a:pt x="8307" y="638"/>
                      <a:pt x="8307" y="0"/>
                      <a:pt x="7668" y="0"/>
                    </a:cubicBezTo>
                    <a:cubicBezTo>
                      <a:pt x="6390" y="0"/>
                      <a:pt x="5112" y="0"/>
                      <a:pt x="3834" y="638"/>
                    </a:cubicBezTo>
                    <a:cubicBezTo>
                      <a:pt x="3195" y="638"/>
                      <a:pt x="2556" y="1277"/>
                      <a:pt x="1917" y="1915"/>
                    </a:cubicBezTo>
                    <a:cubicBezTo>
                      <a:pt x="-639" y="4469"/>
                      <a:pt x="-639" y="8299"/>
                      <a:pt x="1917" y="10853"/>
                    </a:cubicBezTo>
                    <a:cubicBezTo>
                      <a:pt x="1917" y="10853"/>
                      <a:pt x="1917" y="10853"/>
                      <a:pt x="1917" y="10853"/>
                    </a:cubicBezTo>
                    <a:cubicBezTo>
                      <a:pt x="3834" y="12130"/>
                      <a:pt x="5112" y="12768"/>
                      <a:pt x="7029" y="12768"/>
                    </a:cubicBezTo>
                    <a:close/>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1FBE2D90-9C4B-65E0-D5EF-FDEA5A12884E}"/>
                  </a:ext>
                </a:extLst>
              </p:cNvPr>
              <p:cNvSpPr/>
              <p:nvPr/>
            </p:nvSpPr>
            <p:spPr>
              <a:xfrm>
                <a:off x="656859" y="2545456"/>
                <a:ext cx="12805" cy="12767"/>
              </a:xfrm>
              <a:custGeom>
                <a:avLst/>
                <a:gdLst>
                  <a:gd name="connsiteX0" fmla="*/ 6416 w 12805"/>
                  <a:gd name="connsiteY0" fmla="*/ 12768 h 12767"/>
                  <a:gd name="connsiteX1" fmla="*/ 12806 w 12805"/>
                  <a:gd name="connsiteY1" fmla="*/ 6384 h 12767"/>
                  <a:gd name="connsiteX2" fmla="*/ 12167 w 12805"/>
                  <a:gd name="connsiteY2" fmla="*/ 3830 h 12767"/>
                  <a:gd name="connsiteX3" fmla="*/ 10889 w 12805"/>
                  <a:gd name="connsiteY3" fmla="*/ 1915 h 12767"/>
                  <a:gd name="connsiteX4" fmla="*/ 5138 w 12805"/>
                  <a:gd name="connsiteY4" fmla="*/ 0 h 12767"/>
                  <a:gd name="connsiteX5" fmla="*/ 3860 w 12805"/>
                  <a:gd name="connsiteY5" fmla="*/ 638 h 12767"/>
                  <a:gd name="connsiteX6" fmla="*/ 1943 w 12805"/>
                  <a:gd name="connsiteY6" fmla="*/ 1915 h 12767"/>
                  <a:gd name="connsiteX7" fmla="*/ 665 w 12805"/>
                  <a:gd name="connsiteY7" fmla="*/ 3830 h 12767"/>
                  <a:gd name="connsiteX8" fmla="*/ 1943 w 12805"/>
                  <a:gd name="connsiteY8" fmla="*/ 10853 h 12767"/>
                  <a:gd name="connsiteX9" fmla="*/ 6416 w 12805"/>
                  <a:gd name="connsiteY9"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05" h="12767">
                    <a:moveTo>
                      <a:pt x="6416" y="12768"/>
                    </a:moveTo>
                    <a:cubicBezTo>
                      <a:pt x="10250" y="12768"/>
                      <a:pt x="12806" y="9576"/>
                      <a:pt x="12806" y="6384"/>
                    </a:cubicBezTo>
                    <a:cubicBezTo>
                      <a:pt x="12806" y="5746"/>
                      <a:pt x="12806" y="4469"/>
                      <a:pt x="12167" y="3830"/>
                    </a:cubicBezTo>
                    <a:cubicBezTo>
                      <a:pt x="12167" y="3192"/>
                      <a:pt x="11528" y="2554"/>
                      <a:pt x="10889" y="1915"/>
                    </a:cubicBezTo>
                    <a:cubicBezTo>
                      <a:pt x="9611" y="638"/>
                      <a:pt x="7055" y="0"/>
                      <a:pt x="5138" y="0"/>
                    </a:cubicBezTo>
                    <a:lnTo>
                      <a:pt x="3860" y="638"/>
                    </a:lnTo>
                    <a:cubicBezTo>
                      <a:pt x="3221" y="638"/>
                      <a:pt x="2582" y="1277"/>
                      <a:pt x="1943" y="1915"/>
                    </a:cubicBezTo>
                    <a:cubicBezTo>
                      <a:pt x="1304" y="2554"/>
                      <a:pt x="665" y="3192"/>
                      <a:pt x="665" y="3830"/>
                    </a:cubicBezTo>
                    <a:cubicBezTo>
                      <a:pt x="-613" y="6384"/>
                      <a:pt x="26" y="8938"/>
                      <a:pt x="1943" y="10853"/>
                    </a:cubicBezTo>
                    <a:cubicBezTo>
                      <a:pt x="3221" y="12130"/>
                      <a:pt x="4499" y="12768"/>
                      <a:pt x="6416" y="12768"/>
                    </a:cubicBezTo>
                    <a:close/>
                  </a:path>
                </a:pathLst>
              </a:custGeom>
              <a:grpFill/>
              <a:ln w="6390"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86DA417B-7246-9172-2C93-CAA21C341C4D}"/>
                  </a:ext>
                </a:extLst>
              </p:cNvPr>
              <p:cNvSpPr/>
              <p:nvPr/>
            </p:nvSpPr>
            <p:spPr>
              <a:xfrm>
                <a:off x="655607" y="2516090"/>
                <a:ext cx="14057" cy="12767"/>
              </a:xfrm>
              <a:custGeom>
                <a:avLst/>
                <a:gdLst>
                  <a:gd name="connsiteX0" fmla="*/ 7668 w 14057"/>
                  <a:gd name="connsiteY0" fmla="*/ 12768 h 12767"/>
                  <a:gd name="connsiteX1" fmla="*/ 10224 w 14057"/>
                  <a:gd name="connsiteY1" fmla="*/ 12130 h 12767"/>
                  <a:gd name="connsiteX2" fmla="*/ 12141 w 14057"/>
                  <a:gd name="connsiteY2" fmla="*/ 10853 h 12767"/>
                  <a:gd name="connsiteX3" fmla="*/ 14058 w 14057"/>
                  <a:gd name="connsiteY3" fmla="*/ 6384 h 12767"/>
                  <a:gd name="connsiteX4" fmla="*/ 13419 w 14057"/>
                  <a:gd name="connsiteY4" fmla="*/ 3830 h 12767"/>
                  <a:gd name="connsiteX5" fmla="*/ 12141 w 14057"/>
                  <a:gd name="connsiteY5" fmla="*/ 1915 h 12767"/>
                  <a:gd name="connsiteX6" fmla="*/ 10863 w 14057"/>
                  <a:gd name="connsiteY6" fmla="*/ 1277 h 12767"/>
                  <a:gd name="connsiteX7" fmla="*/ 9585 w 14057"/>
                  <a:gd name="connsiteY7" fmla="*/ 638 h 12767"/>
                  <a:gd name="connsiteX8" fmla="*/ 8307 w 14057"/>
                  <a:gd name="connsiteY8" fmla="*/ 0 h 12767"/>
                  <a:gd name="connsiteX9" fmla="*/ 5751 w 14057"/>
                  <a:gd name="connsiteY9" fmla="*/ 0 h 12767"/>
                  <a:gd name="connsiteX10" fmla="*/ 4473 w 14057"/>
                  <a:gd name="connsiteY10" fmla="*/ 638 h 12767"/>
                  <a:gd name="connsiteX11" fmla="*/ 3195 w 14057"/>
                  <a:gd name="connsiteY11" fmla="*/ 1277 h 12767"/>
                  <a:gd name="connsiteX12" fmla="*/ 1917 w 14057"/>
                  <a:gd name="connsiteY12" fmla="*/ 1915 h 12767"/>
                  <a:gd name="connsiteX13" fmla="*/ 639 w 14057"/>
                  <a:gd name="connsiteY13" fmla="*/ 3830 h 12767"/>
                  <a:gd name="connsiteX14" fmla="*/ 0 w 14057"/>
                  <a:gd name="connsiteY14" fmla="*/ 6384 h 12767"/>
                  <a:gd name="connsiteX15" fmla="*/ 1917 w 14057"/>
                  <a:gd name="connsiteY15" fmla="*/ 10853 h 12767"/>
                  <a:gd name="connsiteX16" fmla="*/ 7668 w 14057"/>
                  <a:gd name="connsiteY1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57" h="12767">
                    <a:moveTo>
                      <a:pt x="7668" y="12768"/>
                    </a:moveTo>
                    <a:cubicBezTo>
                      <a:pt x="8307" y="12768"/>
                      <a:pt x="9585" y="12768"/>
                      <a:pt x="10224" y="12130"/>
                    </a:cubicBezTo>
                    <a:cubicBezTo>
                      <a:pt x="10863" y="12130"/>
                      <a:pt x="11502" y="11491"/>
                      <a:pt x="12141" y="10853"/>
                    </a:cubicBezTo>
                    <a:cubicBezTo>
                      <a:pt x="13419" y="9576"/>
                      <a:pt x="14058" y="8299"/>
                      <a:pt x="14058" y="6384"/>
                    </a:cubicBezTo>
                    <a:cubicBezTo>
                      <a:pt x="14058" y="5746"/>
                      <a:pt x="14058" y="4469"/>
                      <a:pt x="13419" y="3830"/>
                    </a:cubicBezTo>
                    <a:cubicBezTo>
                      <a:pt x="13419" y="3192"/>
                      <a:pt x="12780" y="2554"/>
                      <a:pt x="12141" y="1915"/>
                    </a:cubicBezTo>
                    <a:cubicBezTo>
                      <a:pt x="12141" y="1277"/>
                      <a:pt x="11502" y="1277"/>
                      <a:pt x="10863" y="1277"/>
                    </a:cubicBezTo>
                    <a:lnTo>
                      <a:pt x="9585" y="638"/>
                    </a:lnTo>
                    <a:lnTo>
                      <a:pt x="8307" y="0"/>
                    </a:lnTo>
                    <a:cubicBezTo>
                      <a:pt x="7668" y="0"/>
                      <a:pt x="6390" y="0"/>
                      <a:pt x="5751" y="0"/>
                    </a:cubicBezTo>
                    <a:lnTo>
                      <a:pt x="4473" y="638"/>
                    </a:lnTo>
                    <a:lnTo>
                      <a:pt x="3195" y="1277"/>
                    </a:lnTo>
                    <a:lnTo>
                      <a:pt x="1917" y="1915"/>
                    </a:lnTo>
                    <a:cubicBezTo>
                      <a:pt x="1278" y="2554"/>
                      <a:pt x="639" y="3192"/>
                      <a:pt x="639" y="3830"/>
                    </a:cubicBezTo>
                    <a:cubicBezTo>
                      <a:pt x="639" y="4469"/>
                      <a:pt x="0" y="5107"/>
                      <a:pt x="0" y="6384"/>
                    </a:cubicBezTo>
                    <a:cubicBezTo>
                      <a:pt x="0" y="8299"/>
                      <a:pt x="639" y="9576"/>
                      <a:pt x="1917" y="10853"/>
                    </a:cubicBezTo>
                    <a:cubicBezTo>
                      <a:pt x="4473" y="12130"/>
                      <a:pt x="5751" y="12768"/>
                      <a:pt x="7668" y="12768"/>
                    </a:cubicBezTo>
                    <a:close/>
                  </a:path>
                </a:pathLst>
              </a:custGeom>
              <a:grpFill/>
              <a:ln w="6390" cap="flat">
                <a:noFill/>
                <a:prstDash val="solid"/>
                <a:miter/>
              </a:ln>
            </p:spPr>
            <p:txBody>
              <a:bodyPr rtlCol="0" anchor="ctr"/>
              <a:lstStyle/>
              <a:p>
                <a:endParaRPr lang="en-US"/>
              </a:p>
            </p:txBody>
          </p:sp>
          <p:sp>
            <p:nvSpPr>
              <p:cNvPr id="62" name="Graphic 4">
                <a:extLst>
                  <a:ext uri="{FF2B5EF4-FFF2-40B4-BE49-F238E27FC236}">
                    <a16:creationId xmlns:a16="http://schemas.microsoft.com/office/drawing/2014/main" id="{40DDBFFC-AFDD-BFE3-6D83-4372B9C1987D}"/>
                  </a:ext>
                </a:extLst>
              </p:cNvPr>
              <p:cNvSpPr/>
              <p:nvPr/>
            </p:nvSpPr>
            <p:spPr>
              <a:xfrm>
                <a:off x="657034" y="2486723"/>
                <a:ext cx="12630" cy="12767"/>
              </a:xfrm>
              <a:custGeom>
                <a:avLst/>
                <a:gdLst>
                  <a:gd name="connsiteX0" fmla="*/ 6241 w 12630"/>
                  <a:gd name="connsiteY0" fmla="*/ 12768 h 12767"/>
                  <a:gd name="connsiteX1" fmla="*/ 10714 w 12630"/>
                  <a:gd name="connsiteY1" fmla="*/ 10853 h 12767"/>
                  <a:gd name="connsiteX2" fmla="*/ 12631 w 12630"/>
                  <a:gd name="connsiteY2" fmla="*/ 6384 h 12767"/>
                  <a:gd name="connsiteX3" fmla="*/ 10714 w 12630"/>
                  <a:gd name="connsiteY3" fmla="*/ 1915 h 12767"/>
                  <a:gd name="connsiteX4" fmla="*/ 1768 w 12630"/>
                  <a:gd name="connsiteY4" fmla="*/ 1915 h 12767"/>
                  <a:gd name="connsiteX5" fmla="*/ 490 w 12630"/>
                  <a:gd name="connsiteY5" fmla="*/ 3830 h 12767"/>
                  <a:gd name="connsiteX6" fmla="*/ 3685 w 12630"/>
                  <a:gd name="connsiteY6" fmla="*/ 12130 h 12767"/>
                  <a:gd name="connsiteX7" fmla="*/ 6241 w 12630"/>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7">
                    <a:moveTo>
                      <a:pt x="6241" y="12768"/>
                    </a:moveTo>
                    <a:cubicBezTo>
                      <a:pt x="8158" y="12768"/>
                      <a:pt x="9436" y="12130"/>
                      <a:pt x="10714" y="10853"/>
                    </a:cubicBezTo>
                    <a:cubicBezTo>
                      <a:pt x="11992" y="9576"/>
                      <a:pt x="12631" y="8299"/>
                      <a:pt x="12631" y="6384"/>
                    </a:cubicBezTo>
                    <a:cubicBezTo>
                      <a:pt x="12631" y="4469"/>
                      <a:pt x="11992" y="3192"/>
                      <a:pt x="10714" y="1915"/>
                    </a:cubicBezTo>
                    <a:cubicBezTo>
                      <a:pt x="8158" y="-638"/>
                      <a:pt x="4324" y="-638"/>
                      <a:pt x="1768" y="1915"/>
                    </a:cubicBezTo>
                    <a:cubicBezTo>
                      <a:pt x="1129" y="2554"/>
                      <a:pt x="490" y="3192"/>
                      <a:pt x="490" y="3830"/>
                    </a:cubicBezTo>
                    <a:cubicBezTo>
                      <a:pt x="-788" y="7022"/>
                      <a:pt x="490" y="10853"/>
                      <a:pt x="3685" y="12130"/>
                    </a:cubicBezTo>
                    <a:cubicBezTo>
                      <a:pt x="4324" y="12768"/>
                      <a:pt x="5602" y="12768"/>
                      <a:pt x="6241" y="12768"/>
                    </a:cubicBezTo>
                    <a:close/>
                  </a:path>
                </a:pathLst>
              </a:custGeom>
              <a:grpFill/>
              <a:ln w="6390" cap="flat">
                <a:noFill/>
                <a:prstDash val="solid"/>
                <a:miter/>
              </a:ln>
            </p:spPr>
            <p:txBody>
              <a:bodyPr rtlCol="0" anchor="ctr"/>
              <a:lstStyle/>
              <a:p>
                <a:endParaRPr lang="en-US"/>
              </a:p>
            </p:txBody>
          </p:sp>
        </p:grpSp>
      </p:grpSp>
      <p:sp>
        <p:nvSpPr>
          <p:cNvPr id="63" name="Rectangle 62">
            <a:extLst>
              <a:ext uri="{FF2B5EF4-FFF2-40B4-BE49-F238E27FC236}">
                <a16:creationId xmlns:a16="http://schemas.microsoft.com/office/drawing/2014/main" id="{C82A1B30-7086-2A41-D93C-55755E7D37D3}"/>
              </a:ext>
            </a:extLst>
          </p:cNvPr>
          <p:cNvSpPr/>
          <p:nvPr/>
        </p:nvSpPr>
        <p:spPr>
          <a:xfrm>
            <a:off x="9335811" y="3804316"/>
            <a:ext cx="2203868" cy="902244"/>
          </a:xfrm>
          <a:prstGeom prst="rect">
            <a:avLst/>
          </a:prstGeom>
          <a:solidFill>
            <a:schemeClr val="bg1"/>
          </a:solidFill>
          <a:ln w="19050" algn="ctr">
            <a:solidFill>
              <a:schemeClr val="accent2"/>
            </a:solidFill>
            <a:prstDash val="solid"/>
            <a:miter lim="800000"/>
            <a:headEnd/>
            <a:tailEnd/>
          </a:ln>
          <a:effectLst>
            <a:glow rad="101600">
              <a:schemeClr val="accent2">
                <a:satMod val="175000"/>
                <a:alpha val="40000"/>
              </a:schemeClr>
            </a:glow>
            <a:outerShdw blurRad="63500" sx="102000" sy="102000" algn="ctr" rotWithShape="0">
              <a:prstClr val="black">
                <a:alpha val="40000"/>
              </a:prstClr>
            </a:outerShdw>
          </a:effectLst>
        </p:spPr>
        <p:txBody>
          <a:bodyPr wrap="square" lIns="228600" tIns="88900" rIns="45720" bIns="88900" rtlCol="0" anchor="ctr"/>
          <a:lstStyle/>
          <a:p>
            <a:pPr>
              <a:lnSpc>
                <a:spcPct val="106000"/>
              </a:lnSpc>
              <a:buFont typeface="Wingdings 2" pitchFamily="18" charset="2"/>
              <a:buNone/>
            </a:pPr>
            <a:r>
              <a:rPr lang="en-US" sz="900" dirty="0">
                <a:latin typeface="Open Sans" panose="020B0606030504020204" pitchFamily="34" charset="0"/>
                <a:ea typeface="Open Sans" panose="020B0606030504020204" pitchFamily="34" charset="0"/>
                <a:cs typeface="Open Sans" panose="020B0606030504020204" pitchFamily="34" charset="0"/>
              </a:rPr>
              <a:t>Leaders</a:t>
            </a:r>
            <a:r>
              <a:rPr lang="hu-HU" sz="900" dirty="0">
                <a:latin typeface="Open Sans" panose="020B0606030504020204" pitchFamily="34" charset="0"/>
                <a:ea typeface="Open Sans" panose="020B0606030504020204" pitchFamily="34" charset="0"/>
                <a:cs typeface="Open Sans" panose="020B0606030504020204" pitchFamily="34" charset="0"/>
              </a:rPr>
              <a:t> </a:t>
            </a:r>
            <a:r>
              <a:rPr lang="en-US" sz="900" dirty="0">
                <a:latin typeface="Open Sans" panose="020B0606030504020204" pitchFamily="34" charset="0"/>
                <a:ea typeface="Open Sans" panose="020B0606030504020204" pitchFamily="34" charset="0"/>
                <a:cs typeface="Open Sans" panose="020B0606030504020204" pitchFamily="34" charset="0"/>
              </a:rPr>
              <a:t>that serve in a </a:t>
            </a:r>
            <a:r>
              <a:rPr lang="en-US" sz="900" b="1" dirty="0">
                <a:latin typeface="Open Sans" panose="020B0606030504020204" pitchFamily="34" charset="0"/>
                <a:ea typeface="Open Sans" panose="020B0606030504020204" pitchFamily="34" charset="0"/>
                <a:cs typeface="Open Sans" panose="020B0606030504020204" pitchFamily="34" charset="0"/>
              </a:rPr>
              <a:t>supporting role</a:t>
            </a:r>
            <a:r>
              <a:rPr lang="en-US" sz="900" dirty="0">
                <a:latin typeface="Open Sans" panose="020B0606030504020204" pitchFamily="34" charset="0"/>
                <a:ea typeface="Open Sans" panose="020B0606030504020204" pitchFamily="34" charset="0"/>
                <a:cs typeface="Open Sans" panose="020B0606030504020204" pitchFamily="34" charset="0"/>
              </a:rPr>
              <a:t>, are often cost</a:t>
            </a:r>
            <a:r>
              <a:rPr lang="hu-HU" sz="900" dirty="0">
                <a:latin typeface="Open Sans" panose="020B0606030504020204" pitchFamily="34" charset="0"/>
                <a:ea typeface="Open Sans" panose="020B0606030504020204" pitchFamily="34" charset="0"/>
                <a:cs typeface="Open Sans" panose="020B0606030504020204" pitchFamily="34" charset="0"/>
              </a:rPr>
              <a:t> </a:t>
            </a:r>
            <a:r>
              <a:rPr lang="en-US" sz="900" dirty="0">
                <a:latin typeface="Open Sans" panose="020B0606030504020204" pitchFamily="34" charset="0"/>
                <a:ea typeface="Open Sans" panose="020B0606030504020204" pitchFamily="34" charset="0"/>
                <a:cs typeface="Open Sans" panose="020B0606030504020204" pitchFamily="34" charset="0"/>
              </a:rPr>
              <a:t>centers, and support all business units equally</a:t>
            </a:r>
            <a:r>
              <a:rPr lang="hu-HU" sz="900" dirty="0">
                <a:latin typeface="Open Sans" panose="020B0606030504020204" pitchFamily="34" charset="0"/>
                <a:ea typeface="Open Sans" panose="020B0606030504020204" pitchFamily="34" charset="0"/>
                <a:cs typeface="Open Sans" panose="020B0606030504020204" pitchFamily="34" charset="0"/>
              </a:rPr>
              <a:t>.</a:t>
            </a:r>
            <a:endParaRPr lang="en-US" sz="900" dirty="0">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a:extLst>
              <a:ext uri="{FF2B5EF4-FFF2-40B4-BE49-F238E27FC236}">
                <a16:creationId xmlns:a16="http://schemas.microsoft.com/office/drawing/2014/main" id="{A86FC167-F032-2476-A999-C0E642F1C539}"/>
              </a:ext>
            </a:extLst>
          </p:cNvPr>
          <p:cNvSpPr/>
          <p:nvPr/>
        </p:nvSpPr>
        <p:spPr>
          <a:xfrm>
            <a:off x="9618975" y="3520271"/>
            <a:ext cx="2240284" cy="261610"/>
          </a:xfrm>
          <a:prstGeom prst="rect">
            <a:avLst/>
          </a:prstGeom>
        </p:spPr>
        <p:txBody>
          <a:bodyPr wrap="square">
            <a:spAutoFit/>
          </a:bodyPr>
          <a:lstStyle/>
          <a:p>
            <a:r>
              <a:rPr lang="hu-HU" sz="1100"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Functional</a:t>
            </a:r>
            <a:r>
              <a:rPr lang="hu-H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r>
              <a:rPr lang="hu-HU" sz="1100"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leaders</a:t>
            </a:r>
            <a:endParaRPr lang="hu-H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a:extLst>
              <a:ext uri="{FF2B5EF4-FFF2-40B4-BE49-F238E27FC236}">
                <a16:creationId xmlns:a16="http://schemas.microsoft.com/office/drawing/2014/main" id="{6BCE1935-7450-7BCA-6FCC-A11186C8E7C7}"/>
              </a:ext>
            </a:extLst>
          </p:cNvPr>
          <p:cNvSpPr/>
          <p:nvPr/>
        </p:nvSpPr>
        <p:spPr>
          <a:xfrm>
            <a:off x="8125773" y="5175968"/>
            <a:ext cx="2203868" cy="902244"/>
          </a:xfrm>
          <a:prstGeom prst="rect">
            <a:avLst/>
          </a:prstGeom>
          <a:solidFill>
            <a:schemeClr val="bg1"/>
          </a:solidFill>
          <a:ln w="19050" algn="ctr">
            <a:solidFill>
              <a:schemeClr val="accent2"/>
            </a:solidFill>
            <a:prstDash val="solid"/>
            <a:miter lim="800000"/>
            <a:headEnd/>
            <a:tailEnd/>
          </a:ln>
          <a:effectLst>
            <a:glow rad="101600">
              <a:schemeClr val="accent2">
                <a:satMod val="175000"/>
                <a:alpha val="40000"/>
              </a:schemeClr>
            </a:glow>
            <a:outerShdw blurRad="63500" sx="102000" sy="102000" algn="ctr" rotWithShape="0">
              <a:prstClr val="black">
                <a:alpha val="40000"/>
              </a:prstClr>
            </a:outerShdw>
          </a:effectLst>
        </p:spPr>
        <p:txBody>
          <a:bodyPr wrap="square" lIns="228600" tIns="88900" rIns="45720" bIns="88900" rtlCol="0" anchor="ctr"/>
          <a:lstStyle/>
          <a:p>
            <a:pPr>
              <a:lnSpc>
                <a:spcPct val="106000"/>
              </a:lnSpc>
              <a:buFont typeface="Wingdings 2" pitchFamily="18" charset="2"/>
              <a:buNone/>
            </a:pPr>
            <a:r>
              <a:rPr lang="en-US" sz="900" dirty="0">
                <a:latin typeface="Open Sans" panose="020B0606030504020204" pitchFamily="34" charset="0"/>
                <a:ea typeface="Open Sans" panose="020B0606030504020204" pitchFamily="34" charset="0"/>
                <a:cs typeface="Open Sans" panose="020B0606030504020204" pitchFamily="34" charset="0"/>
              </a:rPr>
              <a:t>They are appointed specifically for the duration of the transformation and are tasked with </a:t>
            </a:r>
            <a:r>
              <a:rPr lang="en-US" sz="900" b="1" dirty="0">
                <a:latin typeface="Open Sans" panose="020B0606030504020204" pitchFamily="34" charset="0"/>
                <a:ea typeface="Open Sans" panose="020B0606030504020204" pitchFamily="34" charset="0"/>
                <a:cs typeface="Open Sans" panose="020B0606030504020204" pitchFamily="34" charset="0"/>
              </a:rPr>
              <a:t>driving transformation effectiveness, transparency, and “stickiness.”</a:t>
            </a:r>
          </a:p>
        </p:txBody>
      </p:sp>
      <p:grpSp>
        <p:nvGrpSpPr>
          <p:cNvPr id="66" name="Group 65">
            <a:extLst>
              <a:ext uri="{FF2B5EF4-FFF2-40B4-BE49-F238E27FC236}">
                <a16:creationId xmlns:a16="http://schemas.microsoft.com/office/drawing/2014/main" id="{F06FD312-2ACD-A99A-7F1B-1B3644E1F4A9}"/>
              </a:ext>
            </a:extLst>
          </p:cNvPr>
          <p:cNvGrpSpPr/>
          <p:nvPr/>
        </p:nvGrpSpPr>
        <p:grpSpPr>
          <a:xfrm>
            <a:off x="7819064" y="4789793"/>
            <a:ext cx="612000" cy="612000"/>
            <a:chOff x="7794934" y="4815828"/>
            <a:chExt cx="612000" cy="612000"/>
          </a:xfrm>
        </p:grpSpPr>
        <p:sp>
          <p:nvSpPr>
            <p:cNvPr id="67" name="Oval 66">
              <a:extLst>
                <a:ext uri="{FF2B5EF4-FFF2-40B4-BE49-F238E27FC236}">
                  <a16:creationId xmlns:a16="http://schemas.microsoft.com/office/drawing/2014/main" id="{CDCE80AA-806B-E386-C268-43AEA697E170}"/>
                </a:ext>
              </a:extLst>
            </p:cNvPr>
            <p:cNvSpPr/>
            <p:nvPr/>
          </p:nvSpPr>
          <p:spPr bwMode="gray">
            <a:xfrm>
              <a:off x="7794934" y="4815828"/>
              <a:ext cx="612000" cy="612000"/>
            </a:xfrm>
            <a:prstGeom prst="ellipse">
              <a:avLst/>
            </a:prstGeom>
            <a:solidFill>
              <a:schemeClr val="accent2">
                <a:alpha val="22959"/>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dirty="0">
                <a:solidFill>
                  <a:srgbClr val="FFFFFF"/>
                </a:solidFill>
                <a:latin typeface="Calibri"/>
              </a:endParaRPr>
            </a:p>
          </p:txBody>
        </p:sp>
        <p:sp>
          <p:nvSpPr>
            <p:cNvPr id="68" name="Oval 67">
              <a:extLst>
                <a:ext uri="{FF2B5EF4-FFF2-40B4-BE49-F238E27FC236}">
                  <a16:creationId xmlns:a16="http://schemas.microsoft.com/office/drawing/2014/main" id="{BCA89F5E-D14F-F944-8AC6-A78C7E79948E}"/>
                </a:ext>
              </a:extLst>
            </p:cNvPr>
            <p:cNvSpPr/>
            <p:nvPr/>
          </p:nvSpPr>
          <p:spPr bwMode="gray">
            <a:xfrm>
              <a:off x="7852130" y="4873024"/>
              <a:ext cx="497606" cy="497606"/>
            </a:xfrm>
            <a:prstGeom prst="ellipse">
              <a:avLst/>
            </a:prstGeom>
            <a:solidFill>
              <a:schemeClr val="accent2">
                <a:alpha val="46624"/>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dirty="0">
                <a:solidFill>
                  <a:srgbClr val="FFFFFF"/>
                </a:solidFill>
                <a:latin typeface="Calibri"/>
              </a:endParaRPr>
            </a:p>
          </p:txBody>
        </p:sp>
        <p:sp>
          <p:nvSpPr>
            <p:cNvPr id="69" name="Oval 68">
              <a:extLst>
                <a:ext uri="{FF2B5EF4-FFF2-40B4-BE49-F238E27FC236}">
                  <a16:creationId xmlns:a16="http://schemas.microsoft.com/office/drawing/2014/main" id="{A249BEC7-C1FF-77C7-8ABE-CB85DB043FC7}"/>
                </a:ext>
              </a:extLst>
            </p:cNvPr>
            <p:cNvSpPr>
              <a:spLocks noChangeAspect="1"/>
            </p:cNvSpPr>
            <p:nvPr/>
          </p:nvSpPr>
          <p:spPr bwMode="gray">
            <a:xfrm>
              <a:off x="7901686" y="4922577"/>
              <a:ext cx="398489" cy="398489"/>
            </a:xfrm>
            <a:prstGeom prst="ellipse">
              <a:avLst/>
            </a:prstGeom>
            <a:solidFill>
              <a:schemeClr val="accent2"/>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dirty="0">
                <a:solidFill>
                  <a:srgbClr val="FFFFFF"/>
                </a:solidFill>
                <a:latin typeface="Calibri"/>
              </a:endParaRPr>
            </a:p>
          </p:txBody>
        </p:sp>
        <p:sp>
          <p:nvSpPr>
            <p:cNvPr id="70" name="Graphic 4">
              <a:extLst>
                <a:ext uri="{FF2B5EF4-FFF2-40B4-BE49-F238E27FC236}">
                  <a16:creationId xmlns:a16="http://schemas.microsoft.com/office/drawing/2014/main" id="{13AD2AD7-EC74-6413-43C0-F405C481F8BA}"/>
                </a:ext>
              </a:extLst>
            </p:cNvPr>
            <p:cNvSpPr>
              <a:spLocks noChangeAspect="1"/>
            </p:cNvSpPr>
            <p:nvPr/>
          </p:nvSpPr>
          <p:spPr>
            <a:xfrm rot="16200000">
              <a:off x="8005255" y="4990256"/>
              <a:ext cx="191351" cy="262849"/>
            </a:xfrm>
            <a:custGeom>
              <a:avLst/>
              <a:gdLst>
                <a:gd name="connsiteX0" fmla="*/ 150000 w 164533"/>
                <a:gd name="connsiteY0" fmla="*/ 183402 h 226011"/>
                <a:gd name="connsiteX1" fmla="*/ 150000 w 164533"/>
                <a:gd name="connsiteY1" fmla="*/ 135522 h 226011"/>
                <a:gd name="connsiteX2" fmla="*/ 122523 w 164533"/>
                <a:gd name="connsiteY2" fmla="*/ 106156 h 226011"/>
                <a:gd name="connsiteX3" fmla="*/ 120606 w 164533"/>
                <a:gd name="connsiteY3" fmla="*/ 106156 h 226011"/>
                <a:gd name="connsiteX4" fmla="*/ 89296 w 164533"/>
                <a:gd name="connsiteY4" fmla="*/ 106156 h 226011"/>
                <a:gd name="connsiteX5" fmla="*/ 89296 w 164533"/>
                <a:gd name="connsiteY5" fmla="*/ 44231 h 226011"/>
                <a:gd name="connsiteX6" fmla="*/ 88657 w 164533"/>
                <a:gd name="connsiteY6" fmla="*/ 42316 h 226011"/>
                <a:gd name="connsiteX7" fmla="*/ 103354 w 164533"/>
                <a:gd name="connsiteY7" fmla="*/ 15503 h 226011"/>
                <a:gd name="connsiteX8" fmla="*/ 76516 w 164533"/>
                <a:gd name="connsiteY8" fmla="*/ 820 h 226011"/>
                <a:gd name="connsiteX9" fmla="*/ 61819 w 164533"/>
                <a:gd name="connsiteY9" fmla="*/ 27633 h 226011"/>
                <a:gd name="connsiteX10" fmla="*/ 76516 w 164533"/>
                <a:gd name="connsiteY10" fmla="*/ 42316 h 226011"/>
                <a:gd name="connsiteX11" fmla="*/ 75877 w 164533"/>
                <a:gd name="connsiteY11" fmla="*/ 44231 h 226011"/>
                <a:gd name="connsiteX12" fmla="*/ 75877 w 164533"/>
                <a:gd name="connsiteY12" fmla="*/ 106156 h 226011"/>
                <a:gd name="connsiteX13" fmla="*/ 44566 w 164533"/>
                <a:gd name="connsiteY13" fmla="*/ 106156 h 226011"/>
                <a:gd name="connsiteX14" fmla="*/ 27952 w 164533"/>
                <a:gd name="connsiteY14" fmla="*/ 91473 h 226011"/>
                <a:gd name="connsiteX15" fmla="*/ 27952 w 164533"/>
                <a:gd name="connsiteY15" fmla="*/ 90196 h 226011"/>
                <a:gd name="connsiteX16" fmla="*/ 27952 w 164533"/>
                <a:gd name="connsiteY16" fmla="*/ 42316 h 226011"/>
                <a:gd name="connsiteX17" fmla="*/ 42010 w 164533"/>
                <a:gd name="connsiteY17" fmla="*/ 15503 h 226011"/>
                <a:gd name="connsiteX18" fmla="*/ 15173 w 164533"/>
                <a:gd name="connsiteY18" fmla="*/ 1458 h 226011"/>
                <a:gd name="connsiteX19" fmla="*/ 1115 w 164533"/>
                <a:gd name="connsiteY19" fmla="*/ 28271 h 226011"/>
                <a:gd name="connsiteX20" fmla="*/ 15173 w 164533"/>
                <a:gd name="connsiteY20" fmla="*/ 42316 h 226011"/>
                <a:gd name="connsiteX21" fmla="*/ 15173 w 164533"/>
                <a:gd name="connsiteY21" fmla="*/ 90196 h 226011"/>
                <a:gd name="connsiteX22" fmla="*/ 42649 w 164533"/>
                <a:gd name="connsiteY22" fmla="*/ 119562 h 226011"/>
                <a:gd name="connsiteX23" fmla="*/ 44566 w 164533"/>
                <a:gd name="connsiteY23" fmla="*/ 119562 h 226011"/>
                <a:gd name="connsiteX24" fmla="*/ 75877 w 164533"/>
                <a:gd name="connsiteY24" fmla="*/ 119562 h 226011"/>
                <a:gd name="connsiteX25" fmla="*/ 75877 w 164533"/>
                <a:gd name="connsiteY25" fmla="*/ 183402 h 226011"/>
                <a:gd name="connsiteX26" fmla="*/ 61819 w 164533"/>
                <a:gd name="connsiteY26" fmla="*/ 210215 h 226011"/>
                <a:gd name="connsiteX27" fmla="*/ 88657 w 164533"/>
                <a:gd name="connsiteY27" fmla="*/ 224259 h 226011"/>
                <a:gd name="connsiteX28" fmla="*/ 102715 w 164533"/>
                <a:gd name="connsiteY28" fmla="*/ 197447 h 226011"/>
                <a:gd name="connsiteX29" fmla="*/ 88657 w 164533"/>
                <a:gd name="connsiteY29" fmla="*/ 183402 h 226011"/>
                <a:gd name="connsiteX30" fmla="*/ 88657 w 164533"/>
                <a:gd name="connsiteY30" fmla="*/ 119562 h 226011"/>
                <a:gd name="connsiteX31" fmla="*/ 119967 w 164533"/>
                <a:gd name="connsiteY31" fmla="*/ 119562 h 226011"/>
                <a:gd name="connsiteX32" fmla="*/ 136581 w 164533"/>
                <a:gd name="connsiteY32" fmla="*/ 134245 h 226011"/>
                <a:gd name="connsiteX33" fmla="*/ 136581 w 164533"/>
                <a:gd name="connsiteY33" fmla="*/ 136161 h 226011"/>
                <a:gd name="connsiteX34" fmla="*/ 136581 w 164533"/>
                <a:gd name="connsiteY34" fmla="*/ 184040 h 226011"/>
                <a:gd name="connsiteX35" fmla="*/ 122523 w 164533"/>
                <a:gd name="connsiteY35" fmla="*/ 210853 h 226011"/>
                <a:gd name="connsiteX36" fmla="*/ 149361 w 164533"/>
                <a:gd name="connsiteY36" fmla="*/ 224898 h 226011"/>
                <a:gd name="connsiteX37" fmla="*/ 163419 w 164533"/>
                <a:gd name="connsiteY37" fmla="*/ 198085 h 226011"/>
                <a:gd name="connsiteX38" fmla="*/ 150000 w 164533"/>
                <a:gd name="connsiteY38" fmla="*/ 183402 h 226011"/>
                <a:gd name="connsiteX39" fmla="*/ 150000 w 164533"/>
                <a:gd name="connsiteY39" fmla="*/ 183402 h 226011"/>
                <a:gd name="connsiteX40" fmla="*/ 22201 w 164533"/>
                <a:gd name="connsiteY40" fmla="*/ 13588 h 226011"/>
                <a:gd name="connsiteX41" fmla="*/ 31147 w 164533"/>
                <a:gd name="connsiteY41" fmla="*/ 22526 h 226011"/>
                <a:gd name="connsiteX42" fmla="*/ 22201 w 164533"/>
                <a:gd name="connsiteY42" fmla="*/ 31463 h 226011"/>
                <a:gd name="connsiteX43" fmla="*/ 13256 w 164533"/>
                <a:gd name="connsiteY43" fmla="*/ 22526 h 226011"/>
                <a:gd name="connsiteX44" fmla="*/ 13256 w 164533"/>
                <a:gd name="connsiteY44" fmla="*/ 22526 h 226011"/>
                <a:gd name="connsiteX45" fmla="*/ 22201 w 164533"/>
                <a:gd name="connsiteY45" fmla="*/ 13588 h 226011"/>
                <a:gd name="connsiteX46" fmla="*/ 73960 w 164533"/>
                <a:gd name="connsiteY46" fmla="*/ 22526 h 226011"/>
                <a:gd name="connsiteX47" fmla="*/ 82906 w 164533"/>
                <a:gd name="connsiteY47" fmla="*/ 13588 h 226011"/>
                <a:gd name="connsiteX48" fmla="*/ 91852 w 164533"/>
                <a:gd name="connsiteY48" fmla="*/ 22526 h 226011"/>
                <a:gd name="connsiteX49" fmla="*/ 82906 w 164533"/>
                <a:gd name="connsiteY49" fmla="*/ 31463 h 226011"/>
                <a:gd name="connsiteX50" fmla="*/ 82906 w 164533"/>
                <a:gd name="connsiteY50" fmla="*/ 31463 h 226011"/>
                <a:gd name="connsiteX51" fmla="*/ 73960 w 164533"/>
                <a:gd name="connsiteY51" fmla="*/ 22526 h 226011"/>
                <a:gd name="connsiteX52" fmla="*/ 73960 w 164533"/>
                <a:gd name="connsiteY52" fmla="*/ 22526 h 226011"/>
                <a:gd name="connsiteX53" fmla="*/ 82906 w 164533"/>
                <a:gd name="connsiteY53" fmla="*/ 212768 h 226011"/>
                <a:gd name="connsiteX54" fmla="*/ 73960 w 164533"/>
                <a:gd name="connsiteY54" fmla="*/ 203831 h 226011"/>
                <a:gd name="connsiteX55" fmla="*/ 82906 w 164533"/>
                <a:gd name="connsiteY55" fmla="*/ 194893 h 226011"/>
                <a:gd name="connsiteX56" fmla="*/ 91852 w 164533"/>
                <a:gd name="connsiteY56" fmla="*/ 203831 h 226011"/>
                <a:gd name="connsiteX57" fmla="*/ 91852 w 164533"/>
                <a:gd name="connsiteY57" fmla="*/ 203831 h 226011"/>
                <a:gd name="connsiteX58" fmla="*/ 82906 w 164533"/>
                <a:gd name="connsiteY58" fmla="*/ 212768 h 226011"/>
                <a:gd name="connsiteX59" fmla="*/ 82906 w 164533"/>
                <a:gd name="connsiteY59" fmla="*/ 212768 h 226011"/>
                <a:gd name="connsiteX60" fmla="*/ 143610 w 164533"/>
                <a:gd name="connsiteY60" fmla="*/ 212768 h 226011"/>
                <a:gd name="connsiteX61" fmla="*/ 134664 w 164533"/>
                <a:gd name="connsiteY61" fmla="*/ 203831 h 226011"/>
                <a:gd name="connsiteX62" fmla="*/ 143610 w 164533"/>
                <a:gd name="connsiteY62" fmla="*/ 194893 h 226011"/>
                <a:gd name="connsiteX63" fmla="*/ 152556 w 164533"/>
                <a:gd name="connsiteY63" fmla="*/ 203831 h 226011"/>
                <a:gd name="connsiteX64" fmla="*/ 152556 w 164533"/>
                <a:gd name="connsiteY64" fmla="*/ 203831 h 226011"/>
                <a:gd name="connsiteX65" fmla="*/ 143610 w 164533"/>
                <a:gd name="connsiteY65" fmla="*/ 212768 h 226011"/>
                <a:gd name="connsiteX66" fmla="*/ 143610 w 164533"/>
                <a:gd name="connsiteY66" fmla="*/ 212768 h 22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4533" h="226011">
                  <a:moveTo>
                    <a:pt x="150000" y="183402"/>
                  </a:moveTo>
                  <a:lnTo>
                    <a:pt x="150000" y="135522"/>
                  </a:lnTo>
                  <a:cubicBezTo>
                    <a:pt x="150639" y="120201"/>
                    <a:pt x="138498" y="106794"/>
                    <a:pt x="122523" y="106156"/>
                  </a:cubicBezTo>
                  <a:cubicBezTo>
                    <a:pt x="121884" y="106156"/>
                    <a:pt x="121245" y="106156"/>
                    <a:pt x="120606" y="106156"/>
                  </a:cubicBezTo>
                  <a:lnTo>
                    <a:pt x="89296" y="106156"/>
                  </a:lnTo>
                  <a:lnTo>
                    <a:pt x="89296" y="44231"/>
                  </a:lnTo>
                  <a:cubicBezTo>
                    <a:pt x="89296" y="43593"/>
                    <a:pt x="89296" y="42954"/>
                    <a:pt x="88657" y="42316"/>
                  </a:cubicBezTo>
                  <a:cubicBezTo>
                    <a:pt x="100159" y="39124"/>
                    <a:pt x="106549" y="26994"/>
                    <a:pt x="103354" y="15503"/>
                  </a:cubicBezTo>
                  <a:cubicBezTo>
                    <a:pt x="100159" y="4012"/>
                    <a:pt x="88018" y="-2372"/>
                    <a:pt x="76516" y="820"/>
                  </a:cubicBezTo>
                  <a:cubicBezTo>
                    <a:pt x="65014" y="4012"/>
                    <a:pt x="58624" y="16142"/>
                    <a:pt x="61819" y="27633"/>
                  </a:cubicBezTo>
                  <a:cubicBezTo>
                    <a:pt x="63736" y="34655"/>
                    <a:pt x="69487" y="40401"/>
                    <a:pt x="76516" y="42316"/>
                  </a:cubicBezTo>
                  <a:cubicBezTo>
                    <a:pt x="76516" y="42954"/>
                    <a:pt x="75877" y="43593"/>
                    <a:pt x="75877" y="44231"/>
                  </a:cubicBezTo>
                  <a:lnTo>
                    <a:pt x="75877" y="106156"/>
                  </a:lnTo>
                  <a:lnTo>
                    <a:pt x="44566" y="106156"/>
                  </a:lnTo>
                  <a:cubicBezTo>
                    <a:pt x="36259" y="106794"/>
                    <a:pt x="28591" y="99772"/>
                    <a:pt x="27952" y="91473"/>
                  </a:cubicBezTo>
                  <a:cubicBezTo>
                    <a:pt x="27952" y="90834"/>
                    <a:pt x="27952" y="90834"/>
                    <a:pt x="27952" y="90196"/>
                  </a:cubicBezTo>
                  <a:lnTo>
                    <a:pt x="27952" y="42316"/>
                  </a:lnTo>
                  <a:cubicBezTo>
                    <a:pt x="39454" y="38486"/>
                    <a:pt x="45844" y="26994"/>
                    <a:pt x="42010" y="15503"/>
                  </a:cubicBezTo>
                  <a:cubicBezTo>
                    <a:pt x="38176" y="4012"/>
                    <a:pt x="26674" y="-2372"/>
                    <a:pt x="15173" y="1458"/>
                  </a:cubicBezTo>
                  <a:cubicBezTo>
                    <a:pt x="3671" y="5289"/>
                    <a:pt x="-2719" y="16780"/>
                    <a:pt x="1115" y="28271"/>
                  </a:cubicBezTo>
                  <a:cubicBezTo>
                    <a:pt x="3032" y="35294"/>
                    <a:pt x="8783" y="40401"/>
                    <a:pt x="15173" y="42316"/>
                  </a:cubicBezTo>
                  <a:lnTo>
                    <a:pt x="15173" y="90196"/>
                  </a:lnTo>
                  <a:cubicBezTo>
                    <a:pt x="14534" y="105517"/>
                    <a:pt x="27313" y="118924"/>
                    <a:pt x="42649" y="119562"/>
                  </a:cubicBezTo>
                  <a:cubicBezTo>
                    <a:pt x="43288" y="119562"/>
                    <a:pt x="43927" y="119562"/>
                    <a:pt x="44566" y="119562"/>
                  </a:cubicBezTo>
                  <a:lnTo>
                    <a:pt x="75877" y="119562"/>
                  </a:lnTo>
                  <a:lnTo>
                    <a:pt x="75877" y="183402"/>
                  </a:lnTo>
                  <a:cubicBezTo>
                    <a:pt x="64375" y="187232"/>
                    <a:pt x="57985" y="198723"/>
                    <a:pt x="61819" y="210215"/>
                  </a:cubicBezTo>
                  <a:cubicBezTo>
                    <a:pt x="65653" y="221706"/>
                    <a:pt x="77155" y="228090"/>
                    <a:pt x="88657" y="224259"/>
                  </a:cubicBezTo>
                  <a:cubicBezTo>
                    <a:pt x="100159" y="220429"/>
                    <a:pt x="106549" y="208938"/>
                    <a:pt x="102715" y="197447"/>
                  </a:cubicBezTo>
                  <a:cubicBezTo>
                    <a:pt x="100798" y="190424"/>
                    <a:pt x="95047" y="185317"/>
                    <a:pt x="88657" y="183402"/>
                  </a:cubicBezTo>
                  <a:lnTo>
                    <a:pt x="88657" y="119562"/>
                  </a:lnTo>
                  <a:lnTo>
                    <a:pt x="119967" y="119562"/>
                  </a:lnTo>
                  <a:cubicBezTo>
                    <a:pt x="128274" y="118924"/>
                    <a:pt x="135942" y="125946"/>
                    <a:pt x="136581" y="134245"/>
                  </a:cubicBezTo>
                  <a:cubicBezTo>
                    <a:pt x="136581" y="134884"/>
                    <a:pt x="136581" y="135522"/>
                    <a:pt x="136581" y="136161"/>
                  </a:cubicBezTo>
                  <a:lnTo>
                    <a:pt x="136581" y="184040"/>
                  </a:lnTo>
                  <a:cubicBezTo>
                    <a:pt x="125079" y="187871"/>
                    <a:pt x="118689" y="199362"/>
                    <a:pt x="122523" y="210853"/>
                  </a:cubicBezTo>
                  <a:cubicBezTo>
                    <a:pt x="126357" y="222344"/>
                    <a:pt x="137859" y="228728"/>
                    <a:pt x="149361" y="224898"/>
                  </a:cubicBezTo>
                  <a:cubicBezTo>
                    <a:pt x="160863" y="221067"/>
                    <a:pt x="167253" y="209576"/>
                    <a:pt x="163419" y="198085"/>
                  </a:cubicBezTo>
                  <a:cubicBezTo>
                    <a:pt x="161502" y="191063"/>
                    <a:pt x="156390" y="185955"/>
                    <a:pt x="150000" y="183402"/>
                  </a:cubicBezTo>
                  <a:lnTo>
                    <a:pt x="150000" y="183402"/>
                  </a:lnTo>
                  <a:close/>
                  <a:moveTo>
                    <a:pt x="22201" y="13588"/>
                  </a:moveTo>
                  <a:cubicBezTo>
                    <a:pt x="27313" y="13588"/>
                    <a:pt x="31147" y="17418"/>
                    <a:pt x="31147" y="22526"/>
                  </a:cubicBezTo>
                  <a:cubicBezTo>
                    <a:pt x="31147" y="27633"/>
                    <a:pt x="27313" y="31463"/>
                    <a:pt x="22201" y="31463"/>
                  </a:cubicBezTo>
                  <a:cubicBezTo>
                    <a:pt x="17089" y="31463"/>
                    <a:pt x="13256" y="27633"/>
                    <a:pt x="13256" y="22526"/>
                  </a:cubicBezTo>
                  <a:lnTo>
                    <a:pt x="13256" y="22526"/>
                  </a:lnTo>
                  <a:cubicBezTo>
                    <a:pt x="13256" y="17418"/>
                    <a:pt x="17089" y="13588"/>
                    <a:pt x="22201" y="13588"/>
                  </a:cubicBezTo>
                  <a:close/>
                  <a:moveTo>
                    <a:pt x="73960" y="22526"/>
                  </a:moveTo>
                  <a:cubicBezTo>
                    <a:pt x="73960" y="17418"/>
                    <a:pt x="77794" y="13588"/>
                    <a:pt x="82906" y="13588"/>
                  </a:cubicBezTo>
                  <a:cubicBezTo>
                    <a:pt x="88018" y="13588"/>
                    <a:pt x="91852" y="17418"/>
                    <a:pt x="91852" y="22526"/>
                  </a:cubicBezTo>
                  <a:cubicBezTo>
                    <a:pt x="91852" y="27633"/>
                    <a:pt x="88018" y="31463"/>
                    <a:pt x="82906" y="31463"/>
                  </a:cubicBezTo>
                  <a:lnTo>
                    <a:pt x="82906" y="31463"/>
                  </a:lnTo>
                  <a:cubicBezTo>
                    <a:pt x="77794" y="31463"/>
                    <a:pt x="73960" y="27633"/>
                    <a:pt x="73960" y="22526"/>
                  </a:cubicBezTo>
                  <a:lnTo>
                    <a:pt x="73960" y="22526"/>
                  </a:lnTo>
                  <a:close/>
                  <a:moveTo>
                    <a:pt x="82906" y="212768"/>
                  </a:moveTo>
                  <a:cubicBezTo>
                    <a:pt x="77794" y="212768"/>
                    <a:pt x="73960" y="208938"/>
                    <a:pt x="73960" y="203831"/>
                  </a:cubicBezTo>
                  <a:cubicBezTo>
                    <a:pt x="73960" y="198723"/>
                    <a:pt x="77794" y="194893"/>
                    <a:pt x="82906" y="194893"/>
                  </a:cubicBezTo>
                  <a:cubicBezTo>
                    <a:pt x="88018" y="194893"/>
                    <a:pt x="91852" y="198723"/>
                    <a:pt x="91852" y="203831"/>
                  </a:cubicBezTo>
                  <a:lnTo>
                    <a:pt x="91852" y="203831"/>
                  </a:lnTo>
                  <a:cubicBezTo>
                    <a:pt x="91852" y="208938"/>
                    <a:pt x="87379" y="212768"/>
                    <a:pt x="82906" y="212768"/>
                  </a:cubicBezTo>
                  <a:lnTo>
                    <a:pt x="82906" y="212768"/>
                  </a:lnTo>
                  <a:close/>
                  <a:moveTo>
                    <a:pt x="143610" y="212768"/>
                  </a:moveTo>
                  <a:cubicBezTo>
                    <a:pt x="138498" y="212768"/>
                    <a:pt x="134664" y="208938"/>
                    <a:pt x="134664" y="203831"/>
                  </a:cubicBezTo>
                  <a:cubicBezTo>
                    <a:pt x="134664" y="198723"/>
                    <a:pt x="138498" y="194893"/>
                    <a:pt x="143610" y="194893"/>
                  </a:cubicBezTo>
                  <a:cubicBezTo>
                    <a:pt x="148722" y="194893"/>
                    <a:pt x="152556" y="198723"/>
                    <a:pt x="152556" y="203831"/>
                  </a:cubicBezTo>
                  <a:lnTo>
                    <a:pt x="152556" y="203831"/>
                  </a:lnTo>
                  <a:cubicBezTo>
                    <a:pt x="151917" y="208938"/>
                    <a:pt x="148083" y="212768"/>
                    <a:pt x="143610" y="212768"/>
                  </a:cubicBezTo>
                  <a:lnTo>
                    <a:pt x="143610" y="212768"/>
                  </a:lnTo>
                  <a:close/>
                </a:path>
              </a:pathLst>
            </a:custGeom>
            <a:solidFill>
              <a:schemeClr val="bg1"/>
            </a:solidFill>
            <a:ln w="6390" cap="flat">
              <a:noFill/>
              <a:prstDash val="solid"/>
              <a:miter/>
            </a:ln>
          </p:spPr>
          <p:txBody>
            <a:bodyPr rtlCol="0" anchor="ctr"/>
            <a:lstStyle/>
            <a:p>
              <a:endParaRPr lang="en-US"/>
            </a:p>
          </p:txBody>
        </p:sp>
      </p:grpSp>
      <p:grpSp>
        <p:nvGrpSpPr>
          <p:cNvPr id="71" name="Group 70">
            <a:extLst>
              <a:ext uri="{FF2B5EF4-FFF2-40B4-BE49-F238E27FC236}">
                <a16:creationId xmlns:a16="http://schemas.microsoft.com/office/drawing/2014/main" id="{FE5F819D-C63B-84B0-F9E3-8D483530A87A}"/>
              </a:ext>
            </a:extLst>
          </p:cNvPr>
          <p:cNvGrpSpPr/>
          <p:nvPr/>
        </p:nvGrpSpPr>
        <p:grpSpPr>
          <a:xfrm>
            <a:off x="9026027" y="3415661"/>
            <a:ext cx="612000" cy="612000"/>
            <a:chOff x="9001897" y="3441696"/>
            <a:chExt cx="612000" cy="612000"/>
          </a:xfrm>
        </p:grpSpPr>
        <p:sp>
          <p:nvSpPr>
            <p:cNvPr id="72" name="Oval 71">
              <a:extLst>
                <a:ext uri="{FF2B5EF4-FFF2-40B4-BE49-F238E27FC236}">
                  <a16:creationId xmlns:a16="http://schemas.microsoft.com/office/drawing/2014/main" id="{4579FB28-15B1-8B40-9CC7-C2E22F008E39}"/>
                </a:ext>
              </a:extLst>
            </p:cNvPr>
            <p:cNvSpPr/>
            <p:nvPr/>
          </p:nvSpPr>
          <p:spPr bwMode="gray">
            <a:xfrm>
              <a:off x="9001897" y="3441696"/>
              <a:ext cx="612000" cy="612000"/>
            </a:xfrm>
            <a:prstGeom prst="ellipse">
              <a:avLst/>
            </a:prstGeom>
            <a:solidFill>
              <a:schemeClr val="accent2">
                <a:alpha val="22959"/>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dirty="0">
                <a:solidFill>
                  <a:srgbClr val="FFFFFF"/>
                </a:solidFill>
                <a:latin typeface="Calibri"/>
              </a:endParaRPr>
            </a:p>
          </p:txBody>
        </p:sp>
        <p:sp>
          <p:nvSpPr>
            <p:cNvPr id="73" name="Oval 72">
              <a:extLst>
                <a:ext uri="{FF2B5EF4-FFF2-40B4-BE49-F238E27FC236}">
                  <a16:creationId xmlns:a16="http://schemas.microsoft.com/office/drawing/2014/main" id="{78591910-15AE-C7B4-5B5C-A88F589CDE43}"/>
                </a:ext>
              </a:extLst>
            </p:cNvPr>
            <p:cNvSpPr/>
            <p:nvPr/>
          </p:nvSpPr>
          <p:spPr bwMode="gray">
            <a:xfrm>
              <a:off x="9059093" y="3498892"/>
              <a:ext cx="497606" cy="497606"/>
            </a:xfrm>
            <a:prstGeom prst="ellipse">
              <a:avLst/>
            </a:prstGeom>
            <a:solidFill>
              <a:schemeClr val="accent2">
                <a:alpha val="46624"/>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dirty="0">
                <a:solidFill>
                  <a:srgbClr val="FFFFFF"/>
                </a:solidFill>
                <a:latin typeface="Calibri"/>
              </a:endParaRPr>
            </a:p>
          </p:txBody>
        </p:sp>
        <p:sp>
          <p:nvSpPr>
            <p:cNvPr id="74" name="Oval 73">
              <a:extLst>
                <a:ext uri="{FF2B5EF4-FFF2-40B4-BE49-F238E27FC236}">
                  <a16:creationId xmlns:a16="http://schemas.microsoft.com/office/drawing/2014/main" id="{9E92F254-30A9-B02E-16F4-903D7E2AEB26}"/>
                </a:ext>
              </a:extLst>
            </p:cNvPr>
            <p:cNvSpPr>
              <a:spLocks noChangeAspect="1"/>
            </p:cNvSpPr>
            <p:nvPr/>
          </p:nvSpPr>
          <p:spPr bwMode="gray">
            <a:xfrm>
              <a:off x="9108649" y="3548445"/>
              <a:ext cx="398489" cy="398489"/>
            </a:xfrm>
            <a:prstGeom prst="ellipse">
              <a:avLst/>
            </a:prstGeom>
            <a:solidFill>
              <a:schemeClr val="accent2"/>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dirty="0">
                <a:solidFill>
                  <a:srgbClr val="FFFFFF"/>
                </a:solidFill>
                <a:latin typeface="Calibri"/>
              </a:endParaRPr>
            </a:p>
          </p:txBody>
        </p:sp>
        <p:grpSp>
          <p:nvGrpSpPr>
            <p:cNvPr id="75" name="Group 74">
              <a:extLst>
                <a:ext uri="{FF2B5EF4-FFF2-40B4-BE49-F238E27FC236}">
                  <a16:creationId xmlns:a16="http://schemas.microsoft.com/office/drawing/2014/main" id="{89758B62-5A58-159A-22DB-C83F38318113}"/>
                </a:ext>
              </a:extLst>
            </p:cNvPr>
            <p:cNvGrpSpPr>
              <a:grpSpLocks noChangeAspect="1"/>
            </p:cNvGrpSpPr>
            <p:nvPr/>
          </p:nvGrpSpPr>
          <p:grpSpPr>
            <a:xfrm>
              <a:off x="9199983" y="3627076"/>
              <a:ext cx="219541" cy="240945"/>
              <a:chOff x="4345308" y="2765576"/>
              <a:chExt cx="214062" cy="234930"/>
            </a:xfrm>
            <a:solidFill>
              <a:schemeClr val="bg1"/>
            </a:solidFill>
          </p:grpSpPr>
          <p:sp>
            <p:nvSpPr>
              <p:cNvPr id="76" name="Graphic 4">
                <a:extLst>
                  <a:ext uri="{FF2B5EF4-FFF2-40B4-BE49-F238E27FC236}">
                    <a16:creationId xmlns:a16="http://schemas.microsoft.com/office/drawing/2014/main" id="{D38001A4-7801-1A06-03F3-7368918D0114}"/>
                  </a:ext>
                </a:extLst>
              </p:cNvPr>
              <p:cNvSpPr/>
              <p:nvPr/>
            </p:nvSpPr>
            <p:spPr>
              <a:xfrm>
                <a:off x="4345308" y="2765576"/>
                <a:ext cx="214062" cy="234930"/>
              </a:xfrm>
              <a:custGeom>
                <a:avLst/>
                <a:gdLst>
                  <a:gd name="connsiteX0" fmla="*/ 198727 w 214062"/>
                  <a:gd name="connsiteY0" fmla="*/ 28089 h 234930"/>
                  <a:gd name="connsiteX1" fmla="*/ 163582 w 214062"/>
                  <a:gd name="connsiteY1" fmla="*/ 28089 h 234930"/>
                  <a:gd name="connsiteX2" fmla="*/ 163582 w 214062"/>
                  <a:gd name="connsiteY2" fmla="*/ 6384 h 234930"/>
                  <a:gd name="connsiteX3" fmla="*/ 157192 w 214062"/>
                  <a:gd name="connsiteY3" fmla="*/ 0 h 234930"/>
                  <a:gd name="connsiteX4" fmla="*/ 54953 w 214062"/>
                  <a:gd name="connsiteY4" fmla="*/ 0 h 234930"/>
                  <a:gd name="connsiteX5" fmla="*/ 48563 w 214062"/>
                  <a:gd name="connsiteY5" fmla="*/ 6384 h 234930"/>
                  <a:gd name="connsiteX6" fmla="*/ 48563 w 214062"/>
                  <a:gd name="connsiteY6" fmla="*/ 62563 h 234930"/>
                  <a:gd name="connsiteX7" fmla="*/ 54953 w 214062"/>
                  <a:gd name="connsiteY7" fmla="*/ 68947 h 234930"/>
                  <a:gd name="connsiteX8" fmla="*/ 99683 w 214062"/>
                  <a:gd name="connsiteY8" fmla="*/ 68947 h 234930"/>
                  <a:gd name="connsiteX9" fmla="*/ 99683 w 214062"/>
                  <a:gd name="connsiteY9" fmla="*/ 82992 h 234930"/>
                  <a:gd name="connsiteX10" fmla="*/ 54953 w 214062"/>
                  <a:gd name="connsiteY10" fmla="*/ 82992 h 234930"/>
                  <a:gd name="connsiteX11" fmla="*/ 48563 w 214062"/>
                  <a:gd name="connsiteY11" fmla="*/ 89376 h 234930"/>
                  <a:gd name="connsiteX12" fmla="*/ 48563 w 214062"/>
                  <a:gd name="connsiteY12" fmla="*/ 145555 h 234930"/>
                  <a:gd name="connsiteX13" fmla="*/ 54953 w 214062"/>
                  <a:gd name="connsiteY13" fmla="*/ 151939 h 234930"/>
                  <a:gd name="connsiteX14" fmla="*/ 99683 w 214062"/>
                  <a:gd name="connsiteY14" fmla="*/ 151939 h 234930"/>
                  <a:gd name="connsiteX15" fmla="*/ 99683 w 214062"/>
                  <a:gd name="connsiteY15" fmla="*/ 165984 h 234930"/>
                  <a:gd name="connsiteX16" fmla="*/ 54953 w 214062"/>
                  <a:gd name="connsiteY16" fmla="*/ 165984 h 234930"/>
                  <a:gd name="connsiteX17" fmla="*/ 48563 w 214062"/>
                  <a:gd name="connsiteY17" fmla="*/ 172368 h 234930"/>
                  <a:gd name="connsiteX18" fmla="*/ 48563 w 214062"/>
                  <a:gd name="connsiteY18" fmla="*/ 194073 h 234930"/>
                  <a:gd name="connsiteX19" fmla="*/ 14697 w 214062"/>
                  <a:gd name="connsiteY19" fmla="*/ 194073 h 234930"/>
                  <a:gd name="connsiteX20" fmla="*/ 12780 w 214062"/>
                  <a:gd name="connsiteY20" fmla="*/ 192158 h 234930"/>
                  <a:gd name="connsiteX21" fmla="*/ 12780 w 214062"/>
                  <a:gd name="connsiteY21" fmla="*/ 42134 h 234930"/>
                  <a:gd name="connsiteX22" fmla="*/ 14697 w 214062"/>
                  <a:gd name="connsiteY22" fmla="*/ 40219 h 234930"/>
                  <a:gd name="connsiteX23" fmla="*/ 24282 w 214062"/>
                  <a:gd name="connsiteY23" fmla="*/ 40219 h 234930"/>
                  <a:gd name="connsiteX24" fmla="*/ 22365 w 214062"/>
                  <a:gd name="connsiteY24" fmla="*/ 42134 h 234930"/>
                  <a:gd name="connsiteX25" fmla="*/ 22365 w 214062"/>
                  <a:gd name="connsiteY25" fmla="*/ 51072 h 234930"/>
                  <a:gd name="connsiteX26" fmla="*/ 31311 w 214062"/>
                  <a:gd name="connsiteY26" fmla="*/ 51072 h 234930"/>
                  <a:gd name="connsiteX27" fmla="*/ 31311 w 214062"/>
                  <a:gd name="connsiteY27" fmla="*/ 51072 h 234930"/>
                  <a:gd name="connsiteX28" fmla="*/ 44091 w 214062"/>
                  <a:gd name="connsiteY28" fmla="*/ 38304 h 234930"/>
                  <a:gd name="connsiteX29" fmla="*/ 44091 w 214062"/>
                  <a:gd name="connsiteY29" fmla="*/ 29366 h 234930"/>
                  <a:gd name="connsiteX30" fmla="*/ 44091 w 214062"/>
                  <a:gd name="connsiteY30" fmla="*/ 29366 h 234930"/>
                  <a:gd name="connsiteX31" fmla="*/ 31311 w 214062"/>
                  <a:gd name="connsiteY31" fmla="*/ 16598 h 234930"/>
                  <a:gd name="connsiteX32" fmla="*/ 22365 w 214062"/>
                  <a:gd name="connsiteY32" fmla="*/ 16598 h 234930"/>
                  <a:gd name="connsiteX33" fmla="*/ 22365 w 214062"/>
                  <a:gd name="connsiteY33" fmla="*/ 16598 h 234930"/>
                  <a:gd name="connsiteX34" fmla="*/ 22365 w 214062"/>
                  <a:gd name="connsiteY34" fmla="*/ 25536 h 234930"/>
                  <a:gd name="connsiteX35" fmla="*/ 24282 w 214062"/>
                  <a:gd name="connsiteY35" fmla="*/ 27451 h 234930"/>
                  <a:gd name="connsiteX36" fmla="*/ 14697 w 214062"/>
                  <a:gd name="connsiteY36" fmla="*/ 27451 h 234930"/>
                  <a:gd name="connsiteX37" fmla="*/ 0 w 214062"/>
                  <a:gd name="connsiteY37" fmla="*/ 42134 h 234930"/>
                  <a:gd name="connsiteX38" fmla="*/ 0 w 214062"/>
                  <a:gd name="connsiteY38" fmla="*/ 192158 h 234930"/>
                  <a:gd name="connsiteX39" fmla="*/ 14697 w 214062"/>
                  <a:gd name="connsiteY39" fmla="*/ 206841 h 234930"/>
                  <a:gd name="connsiteX40" fmla="*/ 49202 w 214062"/>
                  <a:gd name="connsiteY40" fmla="*/ 206841 h 234930"/>
                  <a:gd name="connsiteX41" fmla="*/ 49202 w 214062"/>
                  <a:gd name="connsiteY41" fmla="*/ 228546 h 234930"/>
                  <a:gd name="connsiteX42" fmla="*/ 55592 w 214062"/>
                  <a:gd name="connsiteY42" fmla="*/ 234930 h 234930"/>
                  <a:gd name="connsiteX43" fmla="*/ 157831 w 214062"/>
                  <a:gd name="connsiteY43" fmla="*/ 234930 h 234930"/>
                  <a:gd name="connsiteX44" fmla="*/ 164221 w 214062"/>
                  <a:gd name="connsiteY44" fmla="*/ 228546 h 234930"/>
                  <a:gd name="connsiteX45" fmla="*/ 164221 w 214062"/>
                  <a:gd name="connsiteY45" fmla="*/ 172368 h 234930"/>
                  <a:gd name="connsiteX46" fmla="*/ 157831 w 214062"/>
                  <a:gd name="connsiteY46" fmla="*/ 165984 h 234930"/>
                  <a:gd name="connsiteX47" fmla="*/ 113102 w 214062"/>
                  <a:gd name="connsiteY47" fmla="*/ 165984 h 234930"/>
                  <a:gd name="connsiteX48" fmla="*/ 113102 w 214062"/>
                  <a:gd name="connsiteY48" fmla="*/ 151939 h 234930"/>
                  <a:gd name="connsiteX49" fmla="*/ 157831 w 214062"/>
                  <a:gd name="connsiteY49" fmla="*/ 151939 h 234930"/>
                  <a:gd name="connsiteX50" fmla="*/ 164221 w 214062"/>
                  <a:gd name="connsiteY50" fmla="*/ 145555 h 234930"/>
                  <a:gd name="connsiteX51" fmla="*/ 164221 w 214062"/>
                  <a:gd name="connsiteY51" fmla="*/ 89376 h 234930"/>
                  <a:gd name="connsiteX52" fmla="*/ 157831 w 214062"/>
                  <a:gd name="connsiteY52" fmla="*/ 82992 h 234930"/>
                  <a:gd name="connsiteX53" fmla="*/ 113102 w 214062"/>
                  <a:gd name="connsiteY53" fmla="*/ 82992 h 234930"/>
                  <a:gd name="connsiteX54" fmla="*/ 113102 w 214062"/>
                  <a:gd name="connsiteY54" fmla="*/ 68947 h 234930"/>
                  <a:gd name="connsiteX55" fmla="*/ 157831 w 214062"/>
                  <a:gd name="connsiteY55" fmla="*/ 68947 h 234930"/>
                  <a:gd name="connsiteX56" fmla="*/ 164221 w 214062"/>
                  <a:gd name="connsiteY56" fmla="*/ 62563 h 234930"/>
                  <a:gd name="connsiteX57" fmla="*/ 164221 w 214062"/>
                  <a:gd name="connsiteY57" fmla="*/ 40857 h 234930"/>
                  <a:gd name="connsiteX58" fmla="*/ 199366 w 214062"/>
                  <a:gd name="connsiteY58" fmla="*/ 40857 h 234930"/>
                  <a:gd name="connsiteX59" fmla="*/ 201283 w 214062"/>
                  <a:gd name="connsiteY59" fmla="*/ 42773 h 234930"/>
                  <a:gd name="connsiteX60" fmla="*/ 201283 w 214062"/>
                  <a:gd name="connsiteY60" fmla="*/ 42773 h 234930"/>
                  <a:gd name="connsiteX61" fmla="*/ 201283 w 214062"/>
                  <a:gd name="connsiteY61" fmla="*/ 192796 h 234930"/>
                  <a:gd name="connsiteX62" fmla="*/ 199366 w 214062"/>
                  <a:gd name="connsiteY62" fmla="*/ 194711 h 234930"/>
                  <a:gd name="connsiteX63" fmla="*/ 199366 w 214062"/>
                  <a:gd name="connsiteY63" fmla="*/ 194711 h 234930"/>
                  <a:gd name="connsiteX64" fmla="*/ 189781 w 214062"/>
                  <a:gd name="connsiteY64" fmla="*/ 194711 h 234930"/>
                  <a:gd name="connsiteX65" fmla="*/ 191698 w 214062"/>
                  <a:gd name="connsiteY65" fmla="*/ 192796 h 234930"/>
                  <a:gd name="connsiteX66" fmla="*/ 191698 w 214062"/>
                  <a:gd name="connsiteY66" fmla="*/ 183859 h 234930"/>
                  <a:gd name="connsiteX67" fmla="*/ 182752 w 214062"/>
                  <a:gd name="connsiteY67" fmla="*/ 183859 h 234930"/>
                  <a:gd name="connsiteX68" fmla="*/ 169972 w 214062"/>
                  <a:gd name="connsiteY68" fmla="*/ 196627 h 234930"/>
                  <a:gd name="connsiteX69" fmla="*/ 169972 w 214062"/>
                  <a:gd name="connsiteY69" fmla="*/ 205564 h 234930"/>
                  <a:gd name="connsiteX70" fmla="*/ 169972 w 214062"/>
                  <a:gd name="connsiteY70" fmla="*/ 205564 h 234930"/>
                  <a:gd name="connsiteX71" fmla="*/ 182752 w 214062"/>
                  <a:gd name="connsiteY71" fmla="*/ 218332 h 234930"/>
                  <a:gd name="connsiteX72" fmla="*/ 187225 w 214062"/>
                  <a:gd name="connsiteY72" fmla="*/ 220247 h 234930"/>
                  <a:gd name="connsiteX73" fmla="*/ 193615 w 214062"/>
                  <a:gd name="connsiteY73" fmla="*/ 213863 h 234930"/>
                  <a:gd name="connsiteX74" fmla="*/ 191698 w 214062"/>
                  <a:gd name="connsiteY74" fmla="*/ 209395 h 234930"/>
                  <a:gd name="connsiteX75" fmla="*/ 189781 w 214062"/>
                  <a:gd name="connsiteY75" fmla="*/ 207479 h 234930"/>
                  <a:gd name="connsiteX76" fmla="*/ 199366 w 214062"/>
                  <a:gd name="connsiteY76" fmla="*/ 207479 h 234930"/>
                  <a:gd name="connsiteX77" fmla="*/ 214063 w 214062"/>
                  <a:gd name="connsiteY77" fmla="*/ 192796 h 234930"/>
                  <a:gd name="connsiteX78" fmla="*/ 214063 w 214062"/>
                  <a:gd name="connsiteY78" fmla="*/ 192796 h 234930"/>
                  <a:gd name="connsiteX79" fmla="*/ 214063 w 214062"/>
                  <a:gd name="connsiteY79" fmla="*/ 42773 h 234930"/>
                  <a:gd name="connsiteX80" fmla="*/ 198727 w 214062"/>
                  <a:gd name="connsiteY80" fmla="*/ 28089 h 234930"/>
                  <a:gd name="connsiteX81" fmla="*/ 198727 w 214062"/>
                  <a:gd name="connsiteY81" fmla="*/ 28089 h 234930"/>
                  <a:gd name="connsiteX82" fmla="*/ 151441 w 214062"/>
                  <a:gd name="connsiteY82" fmla="*/ 222163 h 234930"/>
                  <a:gd name="connsiteX83" fmla="*/ 61982 w 214062"/>
                  <a:gd name="connsiteY83" fmla="*/ 222163 h 234930"/>
                  <a:gd name="connsiteX84" fmla="*/ 61982 w 214062"/>
                  <a:gd name="connsiteY84" fmla="*/ 178752 h 234930"/>
                  <a:gd name="connsiteX85" fmla="*/ 151441 w 214062"/>
                  <a:gd name="connsiteY85" fmla="*/ 178752 h 234930"/>
                  <a:gd name="connsiteX86" fmla="*/ 151441 w 214062"/>
                  <a:gd name="connsiteY86" fmla="*/ 222163 h 234930"/>
                  <a:gd name="connsiteX87" fmla="*/ 151441 w 214062"/>
                  <a:gd name="connsiteY87" fmla="*/ 139171 h 234930"/>
                  <a:gd name="connsiteX88" fmla="*/ 61982 w 214062"/>
                  <a:gd name="connsiteY88" fmla="*/ 139171 h 234930"/>
                  <a:gd name="connsiteX89" fmla="*/ 61982 w 214062"/>
                  <a:gd name="connsiteY89" fmla="*/ 95760 h 234930"/>
                  <a:gd name="connsiteX90" fmla="*/ 151441 w 214062"/>
                  <a:gd name="connsiteY90" fmla="*/ 95760 h 234930"/>
                  <a:gd name="connsiteX91" fmla="*/ 151441 w 214062"/>
                  <a:gd name="connsiteY91" fmla="*/ 139171 h 234930"/>
                  <a:gd name="connsiteX92" fmla="*/ 151441 w 214062"/>
                  <a:gd name="connsiteY92" fmla="*/ 56179 h 234930"/>
                  <a:gd name="connsiteX93" fmla="*/ 61982 w 214062"/>
                  <a:gd name="connsiteY93" fmla="*/ 56179 h 234930"/>
                  <a:gd name="connsiteX94" fmla="*/ 61982 w 214062"/>
                  <a:gd name="connsiteY94" fmla="*/ 12768 h 234930"/>
                  <a:gd name="connsiteX95" fmla="*/ 151441 w 214062"/>
                  <a:gd name="connsiteY95" fmla="*/ 12768 h 234930"/>
                  <a:gd name="connsiteX96" fmla="*/ 151441 w 214062"/>
                  <a:gd name="connsiteY96" fmla="*/ 56179 h 23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4062" h="234930">
                    <a:moveTo>
                      <a:pt x="198727" y="28089"/>
                    </a:moveTo>
                    <a:lnTo>
                      <a:pt x="163582" y="28089"/>
                    </a:lnTo>
                    <a:lnTo>
                      <a:pt x="163582" y="6384"/>
                    </a:lnTo>
                    <a:cubicBezTo>
                      <a:pt x="163582" y="2554"/>
                      <a:pt x="161026" y="0"/>
                      <a:pt x="157192" y="0"/>
                    </a:cubicBezTo>
                    <a:lnTo>
                      <a:pt x="54953" y="0"/>
                    </a:lnTo>
                    <a:cubicBezTo>
                      <a:pt x="51120" y="0"/>
                      <a:pt x="48563" y="2554"/>
                      <a:pt x="48563" y="6384"/>
                    </a:cubicBezTo>
                    <a:lnTo>
                      <a:pt x="48563" y="62563"/>
                    </a:lnTo>
                    <a:cubicBezTo>
                      <a:pt x="48563" y="66393"/>
                      <a:pt x="51120" y="68947"/>
                      <a:pt x="54953" y="68947"/>
                    </a:cubicBezTo>
                    <a:lnTo>
                      <a:pt x="99683" y="68947"/>
                    </a:lnTo>
                    <a:lnTo>
                      <a:pt x="99683" y="82992"/>
                    </a:lnTo>
                    <a:lnTo>
                      <a:pt x="54953" y="82992"/>
                    </a:lnTo>
                    <a:cubicBezTo>
                      <a:pt x="51120" y="82992"/>
                      <a:pt x="48563" y="85545"/>
                      <a:pt x="48563" y="89376"/>
                    </a:cubicBezTo>
                    <a:lnTo>
                      <a:pt x="48563" y="145555"/>
                    </a:lnTo>
                    <a:cubicBezTo>
                      <a:pt x="48563" y="149385"/>
                      <a:pt x="51120" y="151939"/>
                      <a:pt x="54953" y="151939"/>
                    </a:cubicBezTo>
                    <a:lnTo>
                      <a:pt x="99683" y="151939"/>
                    </a:lnTo>
                    <a:lnTo>
                      <a:pt x="99683" y="165984"/>
                    </a:lnTo>
                    <a:lnTo>
                      <a:pt x="54953" y="165984"/>
                    </a:lnTo>
                    <a:cubicBezTo>
                      <a:pt x="51120" y="165984"/>
                      <a:pt x="48563" y="168537"/>
                      <a:pt x="48563" y="172368"/>
                    </a:cubicBezTo>
                    <a:lnTo>
                      <a:pt x="48563" y="194073"/>
                    </a:lnTo>
                    <a:lnTo>
                      <a:pt x="14697" y="194073"/>
                    </a:lnTo>
                    <a:cubicBezTo>
                      <a:pt x="14058" y="194073"/>
                      <a:pt x="12780" y="193435"/>
                      <a:pt x="12780" y="192158"/>
                    </a:cubicBezTo>
                    <a:lnTo>
                      <a:pt x="12780" y="42134"/>
                    </a:lnTo>
                    <a:cubicBezTo>
                      <a:pt x="12780" y="41496"/>
                      <a:pt x="13419" y="40219"/>
                      <a:pt x="14697" y="40219"/>
                    </a:cubicBezTo>
                    <a:lnTo>
                      <a:pt x="24282" y="40219"/>
                    </a:lnTo>
                    <a:lnTo>
                      <a:pt x="22365" y="42134"/>
                    </a:lnTo>
                    <a:cubicBezTo>
                      <a:pt x="19809" y="44688"/>
                      <a:pt x="19809" y="48518"/>
                      <a:pt x="22365" y="51072"/>
                    </a:cubicBezTo>
                    <a:cubicBezTo>
                      <a:pt x="24921" y="53625"/>
                      <a:pt x="28755" y="53625"/>
                      <a:pt x="31311" y="51072"/>
                    </a:cubicBezTo>
                    <a:cubicBezTo>
                      <a:pt x="31311" y="51072"/>
                      <a:pt x="31311" y="51072"/>
                      <a:pt x="31311" y="51072"/>
                    </a:cubicBezTo>
                    <a:lnTo>
                      <a:pt x="44091" y="38304"/>
                    </a:lnTo>
                    <a:cubicBezTo>
                      <a:pt x="46647" y="35750"/>
                      <a:pt x="46647" y="31920"/>
                      <a:pt x="44091" y="29366"/>
                    </a:cubicBezTo>
                    <a:cubicBezTo>
                      <a:pt x="44091" y="29366"/>
                      <a:pt x="44091" y="29366"/>
                      <a:pt x="44091" y="29366"/>
                    </a:cubicBezTo>
                    <a:lnTo>
                      <a:pt x="31311" y="16598"/>
                    </a:lnTo>
                    <a:cubicBezTo>
                      <a:pt x="28755" y="14045"/>
                      <a:pt x="24921" y="14045"/>
                      <a:pt x="22365" y="16598"/>
                    </a:cubicBezTo>
                    <a:cubicBezTo>
                      <a:pt x="22365" y="16598"/>
                      <a:pt x="22365" y="16598"/>
                      <a:pt x="22365" y="16598"/>
                    </a:cubicBezTo>
                    <a:cubicBezTo>
                      <a:pt x="19809" y="19152"/>
                      <a:pt x="19809" y="22982"/>
                      <a:pt x="22365" y="25536"/>
                    </a:cubicBezTo>
                    <a:lnTo>
                      <a:pt x="24282" y="27451"/>
                    </a:lnTo>
                    <a:lnTo>
                      <a:pt x="14697" y="27451"/>
                    </a:lnTo>
                    <a:cubicBezTo>
                      <a:pt x="7029" y="27451"/>
                      <a:pt x="0" y="33835"/>
                      <a:pt x="0" y="42134"/>
                    </a:cubicBezTo>
                    <a:lnTo>
                      <a:pt x="0" y="192158"/>
                    </a:lnTo>
                    <a:cubicBezTo>
                      <a:pt x="0" y="199819"/>
                      <a:pt x="6390" y="206841"/>
                      <a:pt x="14697" y="206841"/>
                    </a:cubicBezTo>
                    <a:lnTo>
                      <a:pt x="49202" y="206841"/>
                    </a:lnTo>
                    <a:lnTo>
                      <a:pt x="49202" y="228546"/>
                    </a:lnTo>
                    <a:cubicBezTo>
                      <a:pt x="49202" y="232377"/>
                      <a:pt x="51758" y="234930"/>
                      <a:pt x="55592" y="234930"/>
                    </a:cubicBezTo>
                    <a:lnTo>
                      <a:pt x="157831" y="234930"/>
                    </a:lnTo>
                    <a:cubicBezTo>
                      <a:pt x="161665" y="234930"/>
                      <a:pt x="164221" y="232377"/>
                      <a:pt x="164221" y="228546"/>
                    </a:cubicBezTo>
                    <a:lnTo>
                      <a:pt x="164221" y="172368"/>
                    </a:lnTo>
                    <a:cubicBezTo>
                      <a:pt x="164221" y="168537"/>
                      <a:pt x="161665" y="165984"/>
                      <a:pt x="157831" y="165984"/>
                    </a:cubicBezTo>
                    <a:lnTo>
                      <a:pt x="113102" y="165984"/>
                    </a:lnTo>
                    <a:lnTo>
                      <a:pt x="113102" y="151939"/>
                    </a:lnTo>
                    <a:lnTo>
                      <a:pt x="157831" y="151939"/>
                    </a:lnTo>
                    <a:cubicBezTo>
                      <a:pt x="161665" y="151939"/>
                      <a:pt x="164221" y="149385"/>
                      <a:pt x="164221" y="145555"/>
                    </a:cubicBezTo>
                    <a:lnTo>
                      <a:pt x="164221" y="89376"/>
                    </a:lnTo>
                    <a:cubicBezTo>
                      <a:pt x="164221" y="85545"/>
                      <a:pt x="161665" y="82992"/>
                      <a:pt x="157831" y="82992"/>
                    </a:cubicBezTo>
                    <a:lnTo>
                      <a:pt x="113102" y="82992"/>
                    </a:lnTo>
                    <a:lnTo>
                      <a:pt x="113102" y="68947"/>
                    </a:lnTo>
                    <a:lnTo>
                      <a:pt x="157831" y="68947"/>
                    </a:lnTo>
                    <a:cubicBezTo>
                      <a:pt x="161665" y="68947"/>
                      <a:pt x="164221" y="66393"/>
                      <a:pt x="164221" y="62563"/>
                    </a:cubicBezTo>
                    <a:lnTo>
                      <a:pt x="164221" y="40857"/>
                    </a:lnTo>
                    <a:lnTo>
                      <a:pt x="199366" y="40857"/>
                    </a:lnTo>
                    <a:cubicBezTo>
                      <a:pt x="200005" y="40857"/>
                      <a:pt x="201283" y="41496"/>
                      <a:pt x="201283" y="42773"/>
                    </a:cubicBezTo>
                    <a:lnTo>
                      <a:pt x="201283" y="42773"/>
                    </a:lnTo>
                    <a:lnTo>
                      <a:pt x="201283" y="192796"/>
                    </a:lnTo>
                    <a:cubicBezTo>
                      <a:pt x="201283" y="193435"/>
                      <a:pt x="200644" y="194711"/>
                      <a:pt x="199366" y="194711"/>
                    </a:cubicBezTo>
                    <a:lnTo>
                      <a:pt x="199366" y="194711"/>
                    </a:lnTo>
                    <a:lnTo>
                      <a:pt x="189781" y="194711"/>
                    </a:lnTo>
                    <a:lnTo>
                      <a:pt x="191698" y="192796"/>
                    </a:lnTo>
                    <a:cubicBezTo>
                      <a:pt x="194254" y="190243"/>
                      <a:pt x="194254" y="186412"/>
                      <a:pt x="191698" y="183859"/>
                    </a:cubicBezTo>
                    <a:cubicBezTo>
                      <a:pt x="189142" y="181305"/>
                      <a:pt x="185308" y="181305"/>
                      <a:pt x="182752" y="183859"/>
                    </a:cubicBezTo>
                    <a:lnTo>
                      <a:pt x="169972" y="196627"/>
                    </a:lnTo>
                    <a:cubicBezTo>
                      <a:pt x="167416" y="199180"/>
                      <a:pt x="167416" y="203011"/>
                      <a:pt x="169972" y="205564"/>
                    </a:cubicBezTo>
                    <a:cubicBezTo>
                      <a:pt x="169972" y="205564"/>
                      <a:pt x="169972" y="205564"/>
                      <a:pt x="169972" y="205564"/>
                    </a:cubicBezTo>
                    <a:lnTo>
                      <a:pt x="182752" y="218332"/>
                    </a:lnTo>
                    <a:cubicBezTo>
                      <a:pt x="184030" y="219609"/>
                      <a:pt x="185308" y="220247"/>
                      <a:pt x="187225" y="220247"/>
                    </a:cubicBezTo>
                    <a:cubicBezTo>
                      <a:pt x="191059" y="220247"/>
                      <a:pt x="193615" y="217055"/>
                      <a:pt x="193615" y="213863"/>
                    </a:cubicBezTo>
                    <a:cubicBezTo>
                      <a:pt x="193615" y="211948"/>
                      <a:pt x="192976" y="210671"/>
                      <a:pt x="191698" y="209395"/>
                    </a:cubicBezTo>
                    <a:lnTo>
                      <a:pt x="189781" y="207479"/>
                    </a:lnTo>
                    <a:lnTo>
                      <a:pt x="199366" y="207479"/>
                    </a:lnTo>
                    <a:cubicBezTo>
                      <a:pt x="207034" y="207479"/>
                      <a:pt x="214063" y="201095"/>
                      <a:pt x="214063" y="192796"/>
                    </a:cubicBezTo>
                    <a:lnTo>
                      <a:pt x="214063" y="192796"/>
                    </a:lnTo>
                    <a:lnTo>
                      <a:pt x="214063" y="42773"/>
                    </a:lnTo>
                    <a:cubicBezTo>
                      <a:pt x="213424" y="34473"/>
                      <a:pt x="207034" y="28089"/>
                      <a:pt x="198727" y="28089"/>
                    </a:cubicBezTo>
                    <a:lnTo>
                      <a:pt x="198727" y="28089"/>
                    </a:lnTo>
                    <a:close/>
                    <a:moveTo>
                      <a:pt x="151441" y="222163"/>
                    </a:moveTo>
                    <a:lnTo>
                      <a:pt x="61982" y="222163"/>
                    </a:lnTo>
                    <a:lnTo>
                      <a:pt x="61982" y="178752"/>
                    </a:lnTo>
                    <a:lnTo>
                      <a:pt x="151441" y="178752"/>
                    </a:lnTo>
                    <a:lnTo>
                      <a:pt x="151441" y="222163"/>
                    </a:lnTo>
                    <a:close/>
                    <a:moveTo>
                      <a:pt x="151441" y="139171"/>
                    </a:moveTo>
                    <a:lnTo>
                      <a:pt x="61982" y="139171"/>
                    </a:lnTo>
                    <a:lnTo>
                      <a:pt x="61982" y="95760"/>
                    </a:lnTo>
                    <a:lnTo>
                      <a:pt x="151441" y="95760"/>
                    </a:lnTo>
                    <a:lnTo>
                      <a:pt x="151441" y="139171"/>
                    </a:lnTo>
                    <a:close/>
                    <a:moveTo>
                      <a:pt x="151441" y="56179"/>
                    </a:moveTo>
                    <a:lnTo>
                      <a:pt x="61982" y="56179"/>
                    </a:lnTo>
                    <a:lnTo>
                      <a:pt x="61982" y="12768"/>
                    </a:lnTo>
                    <a:lnTo>
                      <a:pt x="151441" y="12768"/>
                    </a:lnTo>
                    <a:lnTo>
                      <a:pt x="151441" y="56179"/>
                    </a:lnTo>
                    <a:close/>
                  </a:path>
                </a:pathLst>
              </a:custGeom>
              <a:grpFill/>
              <a:ln w="6390" cap="flat">
                <a:noFill/>
                <a:prstDash val="solid"/>
                <a:miter/>
              </a:ln>
            </p:spPr>
            <p:txBody>
              <a:bodyPr rtlCol="0" anchor="ctr"/>
              <a:lstStyle/>
              <a:p>
                <a:endParaRPr lang="en-US"/>
              </a:p>
            </p:txBody>
          </p:sp>
          <p:sp>
            <p:nvSpPr>
              <p:cNvPr id="77" name="Graphic 4">
                <a:extLst>
                  <a:ext uri="{FF2B5EF4-FFF2-40B4-BE49-F238E27FC236}">
                    <a16:creationId xmlns:a16="http://schemas.microsoft.com/office/drawing/2014/main" id="{417C5212-3151-5EC8-CDE3-EF99735C5AA7}"/>
                  </a:ext>
                </a:extLst>
              </p:cNvPr>
              <p:cNvSpPr/>
              <p:nvPr/>
            </p:nvSpPr>
            <p:spPr>
              <a:xfrm>
                <a:off x="4430294" y="2873465"/>
                <a:ext cx="20447" cy="20428"/>
              </a:xfrm>
              <a:custGeom>
                <a:avLst/>
                <a:gdLst>
                  <a:gd name="connsiteX0" fmla="*/ 10224 w 20447"/>
                  <a:gd name="connsiteY0" fmla="*/ 0 h 20428"/>
                  <a:gd name="connsiteX1" fmla="*/ 0 w 20447"/>
                  <a:gd name="connsiteY1" fmla="*/ 10214 h 20428"/>
                  <a:gd name="connsiteX2" fmla="*/ 10224 w 20447"/>
                  <a:gd name="connsiteY2" fmla="*/ 20429 h 20428"/>
                  <a:gd name="connsiteX3" fmla="*/ 20448 w 20447"/>
                  <a:gd name="connsiteY3" fmla="*/ 10214 h 20428"/>
                  <a:gd name="connsiteX4" fmla="*/ 20448 w 20447"/>
                  <a:gd name="connsiteY4" fmla="*/ 10214 h 20428"/>
                  <a:gd name="connsiteX5" fmla="*/ 10224 w 20447"/>
                  <a:gd name="connsiteY5" fmla="*/ 0 h 20428"/>
                  <a:gd name="connsiteX6" fmla="*/ 10224 w 20447"/>
                  <a:gd name="connsiteY6" fmla="*/ 12768 h 20428"/>
                  <a:gd name="connsiteX7" fmla="*/ 7668 w 20447"/>
                  <a:gd name="connsiteY7" fmla="*/ 10214 h 20428"/>
                  <a:gd name="connsiteX8" fmla="*/ 10224 w 20447"/>
                  <a:gd name="connsiteY8" fmla="*/ 7661 h 20428"/>
                  <a:gd name="connsiteX9" fmla="*/ 10224 w 20447"/>
                  <a:gd name="connsiteY9" fmla="*/ 7661 h 20428"/>
                  <a:gd name="connsiteX10" fmla="*/ 12780 w 20447"/>
                  <a:gd name="connsiteY10" fmla="*/ 10214 h 20428"/>
                  <a:gd name="connsiteX11" fmla="*/ 10224 w 20447"/>
                  <a:gd name="connsiteY11" fmla="*/ 12768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0"/>
                    </a:moveTo>
                    <a:cubicBezTo>
                      <a:pt x="4473" y="0"/>
                      <a:pt x="0" y="4469"/>
                      <a:pt x="0" y="10214"/>
                    </a:cubicBezTo>
                    <a:cubicBezTo>
                      <a:pt x="0" y="15960"/>
                      <a:pt x="4473" y="20429"/>
                      <a:pt x="10224" y="20429"/>
                    </a:cubicBezTo>
                    <a:cubicBezTo>
                      <a:pt x="15975" y="20429"/>
                      <a:pt x="20448" y="15960"/>
                      <a:pt x="20448" y="10214"/>
                    </a:cubicBezTo>
                    <a:cubicBezTo>
                      <a:pt x="20448" y="10214"/>
                      <a:pt x="20448" y="10214"/>
                      <a:pt x="20448" y="10214"/>
                    </a:cubicBezTo>
                    <a:cubicBezTo>
                      <a:pt x="19809" y="4469"/>
                      <a:pt x="15336" y="0"/>
                      <a:pt x="10224" y="0"/>
                    </a:cubicBezTo>
                    <a:close/>
                    <a:moveTo>
                      <a:pt x="10224" y="12768"/>
                    </a:moveTo>
                    <a:cubicBezTo>
                      <a:pt x="8946" y="12768"/>
                      <a:pt x="7668" y="11491"/>
                      <a:pt x="7668" y="10214"/>
                    </a:cubicBezTo>
                    <a:cubicBezTo>
                      <a:pt x="7668" y="8938"/>
                      <a:pt x="8946" y="7661"/>
                      <a:pt x="10224" y="7661"/>
                    </a:cubicBezTo>
                    <a:lnTo>
                      <a:pt x="10224" y="7661"/>
                    </a:lnTo>
                    <a:cubicBezTo>
                      <a:pt x="11502" y="7661"/>
                      <a:pt x="12780" y="8938"/>
                      <a:pt x="12780" y="10214"/>
                    </a:cubicBezTo>
                    <a:cubicBezTo>
                      <a:pt x="12780" y="11491"/>
                      <a:pt x="11502" y="12768"/>
                      <a:pt x="10224" y="12768"/>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764B8BAC-B583-3D54-46E9-FF4E134C5818}"/>
                  </a:ext>
                </a:extLst>
              </p:cNvPr>
              <p:cNvSpPr/>
              <p:nvPr/>
            </p:nvSpPr>
            <p:spPr>
              <a:xfrm>
                <a:off x="4441796" y="2789835"/>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2780 w 20447"/>
                  <a:gd name="connsiteY8" fmla="*/ 10214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lnTo>
                      <a:pt x="12780" y="10214"/>
                    </a:lnTo>
                    <a:cubicBezTo>
                      <a:pt x="12780" y="11491"/>
                      <a:pt x="11502" y="12768"/>
                      <a:pt x="10224" y="12768"/>
                    </a:cubicBezTo>
                    <a:cubicBezTo>
                      <a:pt x="8946" y="12768"/>
                      <a:pt x="7668" y="11491"/>
                      <a:pt x="7668" y="10214"/>
                    </a:cubicBezTo>
                    <a:cubicBezTo>
                      <a:pt x="7029" y="8938"/>
                      <a:pt x="8307" y="7661"/>
                      <a:pt x="10224" y="7661"/>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565082AF-1377-E434-CEAA-B8EF9541F422}"/>
                  </a:ext>
                </a:extLst>
              </p:cNvPr>
              <p:cNvSpPr/>
              <p:nvPr/>
            </p:nvSpPr>
            <p:spPr>
              <a:xfrm>
                <a:off x="4452659" y="2872827"/>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20429 h 20428"/>
                  <a:gd name="connsiteX7" fmla="*/ 10224 w 20447"/>
                  <a:gd name="connsiteY7" fmla="*/ 7661 h 20428"/>
                  <a:gd name="connsiteX8" fmla="*/ 12780 w 20447"/>
                  <a:gd name="connsiteY8" fmla="*/ 10214 h 20428"/>
                  <a:gd name="connsiteX9" fmla="*/ 10224 w 20447"/>
                  <a:gd name="connsiteY9" fmla="*/ 12768 h 20428"/>
                  <a:gd name="connsiteX10" fmla="*/ 7668 w 20447"/>
                  <a:gd name="connsiteY10" fmla="*/ 10214 h 20428"/>
                  <a:gd name="connsiteX11" fmla="*/ 10224 w 20447"/>
                  <a:gd name="connsiteY11" fmla="*/ 7661 h 20428"/>
                  <a:gd name="connsiteX12" fmla="*/ 10224 w 20447"/>
                  <a:gd name="connsiteY12"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639" y="15960"/>
                      <a:pt x="5112" y="20429"/>
                      <a:pt x="10224" y="20429"/>
                    </a:cubicBezTo>
                    <a:cubicBezTo>
                      <a:pt x="10224" y="20429"/>
                      <a:pt x="10224" y="20429"/>
                      <a:pt x="10224" y="20429"/>
                    </a:cubicBezTo>
                    <a:close/>
                    <a:moveTo>
                      <a:pt x="10224" y="7661"/>
                    </a:moveTo>
                    <a:cubicBezTo>
                      <a:pt x="11502" y="7661"/>
                      <a:pt x="12780" y="8938"/>
                      <a:pt x="12780" y="10214"/>
                    </a:cubicBezTo>
                    <a:cubicBezTo>
                      <a:pt x="12780" y="11491"/>
                      <a:pt x="11502" y="12768"/>
                      <a:pt x="10224" y="12768"/>
                    </a:cubicBezTo>
                    <a:cubicBezTo>
                      <a:pt x="8946" y="12768"/>
                      <a:pt x="7668" y="11491"/>
                      <a:pt x="7668" y="10214"/>
                    </a:cubicBezTo>
                    <a:cubicBezTo>
                      <a:pt x="7668" y="8938"/>
                      <a:pt x="8946" y="7661"/>
                      <a:pt x="10224" y="7661"/>
                    </a:cubicBezTo>
                    <a:lnTo>
                      <a:pt x="10224" y="7661"/>
                    </a:lnTo>
                    <a:close/>
                  </a:path>
                </a:pathLst>
              </a:custGeom>
              <a:grpFill/>
              <a:ln w="6390" cap="flat">
                <a:noFill/>
                <a:prstDash val="solid"/>
                <a:miter/>
              </a:ln>
            </p:spPr>
            <p:txBody>
              <a:bodyPr rtlCol="0" anchor="ctr"/>
              <a:lstStyle/>
              <a:p>
                <a:endParaRPr lang="en-US"/>
              </a:p>
            </p:txBody>
          </p:sp>
          <p:sp>
            <p:nvSpPr>
              <p:cNvPr id="80" name="Graphic 4">
                <a:extLst>
                  <a:ext uri="{FF2B5EF4-FFF2-40B4-BE49-F238E27FC236}">
                    <a16:creationId xmlns:a16="http://schemas.microsoft.com/office/drawing/2014/main" id="{4D29AD4C-8A03-9FD6-27B7-B48BF062A0FF}"/>
                  </a:ext>
                </a:extLst>
              </p:cNvPr>
              <p:cNvSpPr/>
              <p:nvPr/>
            </p:nvSpPr>
            <p:spPr>
              <a:xfrm>
                <a:off x="4441796" y="2955819"/>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cubicBezTo>
                      <a:pt x="12780" y="11491"/>
                      <a:pt x="11502" y="12768"/>
                      <a:pt x="10224" y="12768"/>
                    </a:cubicBezTo>
                    <a:lnTo>
                      <a:pt x="10224" y="12768"/>
                    </a:lnTo>
                    <a:cubicBezTo>
                      <a:pt x="8946" y="12768"/>
                      <a:pt x="7668" y="11491"/>
                      <a:pt x="7668" y="10214"/>
                    </a:cubicBezTo>
                    <a:cubicBezTo>
                      <a:pt x="7668" y="8938"/>
                      <a:pt x="8307" y="7661"/>
                      <a:pt x="10224" y="7661"/>
                    </a:cubicBezTo>
                    <a:close/>
                  </a:path>
                </a:pathLst>
              </a:custGeom>
              <a:grpFill/>
              <a:ln w="6390" cap="flat">
                <a:noFill/>
                <a:prstDash val="solid"/>
                <a:miter/>
              </a:ln>
            </p:spPr>
            <p:txBody>
              <a:bodyPr rtlCol="0" anchor="ctr"/>
              <a:lstStyle/>
              <a:p>
                <a:endParaRPr lang="en-US"/>
              </a:p>
            </p:txBody>
          </p:sp>
          <p:sp>
            <p:nvSpPr>
              <p:cNvPr id="81" name="Graphic 4">
                <a:extLst>
                  <a:ext uri="{FF2B5EF4-FFF2-40B4-BE49-F238E27FC236}">
                    <a16:creationId xmlns:a16="http://schemas.microsoft.com/office/drawing/2014/main" id="{E875E190-84FC-8BA7-61F3-9A0496FD7C9D}"/>
                  </a:ext>
                </a:extLst>
              </p:cNvPr>
              <p:cNvSpPr/>
              <p:nvPr/>
            </p:nvSpPr>
            <p:spPr>
              <a:xfrm>
                <a:off x="4416875" y="2955819"/>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10224 w 20447"/>
                  <a:gd name="connsiteY4" fmla="*/ 20429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7668 w 20447"/>
                  <a:gd name="connsiteY9" fmla="*/ 10214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5960"/>
                      <a:pt x="4473" y="20429"/>
                      <a:pt x="10224" y="20429"/>
                    </a:cubicBezTo>
                    <a:lnTo>
                      <a:pt x="10224" y="20429"/>
                    </a:lnTo>
                    <a:close/>
                    <a:moveTo>
                      <a:pt x="10224" y="7661"/>
                    </a:moveTo>
                    <a:cubicBezTo>
                      <a:pt x="11502" y="7661"/>
                      <a:pt x="12780" y="8938"/>
                      <a:pt x="12780" y="10214"/>
                    </a:cubicBezTo>
                    <a:cubicBezTo>
                      <a:pt x="12780" y="11491"/>
                      <a:pt x="11502" y="12768"/>
                      <a:pt x="10224" y="12768"/>
                    </a:cubicBezTo>
                    <a:cubicBezTo>
                      <a:pt x="8946" y="12768"/>
                      <a:pt x="7668" y="11491"/>
                      <a:pt x="7668" y="10214"/>
                    </a:cubicBezTo>
                    <a:lnTo>
                      <a:pt x="7668" y="10214"/>
                    </a:lnTo>
                    <a:cubicBezTo>
                      <a:pt x="7668" y="8938"/>
                      <a:pt x="8946" y="7661"/>
                      <a:pt x="10224" y="7661"/>
                    </a:cubicBezTo>
                    <a:close/>
                  </a:path>
                </a:pathLst>
              </a:custGeom>
              <a:grpFill/>
              <a:ln w="6390" cap="flat">
                <a:noFill/>
                <a:prstDash val="solid"/>
                <a:miter/>
              </a:ln>
            </p:spPr>
            <p:txBody>
              <a:bodyPr rtlCol="0" anchor="ctr"/>
              <a:lstStyle/>
              <a:p>
                <a:endParaRPr lang="en-US"/>
              </a:p>
            </p:txBody>
          </p:sp>
          <p:sp>
            <p:nvSpPr>
              <p:cNvPr id="82" name="Graphic 4">
                <a:extLst>
                  <a:ext uri="{FF2B5EF4-FFF2-40B4-BE49-F238E27FC236}">
                    <a16:creationId xmlns:a16="http://schemas.microsoft.com/office/drawing/2014/main" id="{8B4C1101-174E-8163-439D-FA12207D8C32}"/>
                  </a:ext>
                </a:extLst>
              </p:cNvPr>
              <p:cNvSpPr/>
              <p:nvPr/>
            </p:nvSpPr>
            <p:spPr>
              <a:xfrm>
                <a:off x="4466717" y="2955819"/>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cubicBezTo>
                      <a:pt x="12780" y="11491"/>
                      <a:pt x="11502" y="12768"/>
                      <a:pt x="10224" y="12768"/>
                    </a:cubicBezTo>
                    <a:lnTo>
                      <a:pt x="10224" y="12768"/>
                    </a:lnTo>
                    <a:cubicBezTo>
                      <a:pt x="8946" y="12768"/>
                      <a:pt x="7668" y="11491"/>
                      <a:pt x="7668" y="10214"/>
                    </a:cubicBezTo>
                    <a:cubicBezTo>
                      <a:pt x="7029" y="8938"/>
                      <a:pt x="8307" y="7661"/>
                      <a:pt x="10224" y="7661"/>
                    </a:cubicBezTo>
                    <a:close/>
                  </a:path>
                </a:pathLst>
              </a:custGeom>
              <a:grpFill/>
              <a:ln w="6390" cap="flat">
                <a:noFill/>
                <a:prstDash val="solid"/>
                <a:miter/>
              </a:ln>
            </p:spPr>
            <p:txBody>
              <a:bodyPr rtlCol="0" anchor="ctr"/>
              <a:lstStyle/>
              <a:p>
                <a:endParaRPr lang="en-US"/>
              </a:p>
            </p:txBody>
          </p:sp>
        </p:grpSp>
      </p:grpSp>
      <p:sp>
        <p:nvSpPr>
          <p:cNvPr id="83" name="Rectangle 82">
            <a:extLst>
              <a:ext uri="{FF2B5EF4-FFF2-40B4-BE49-F238E27FC236}">
                <a16:creationId xmlns:a16="http://schemas.microsoft.com/office/drawing/2014/main" id="{A03137D9-AD65-772D-456A-D56D277AE18A}"/>
              </a:ext>
            </a:extLst>
          </p:cNvPr>
          <p:cNvSpPr/>
          <p:nvPr/>
        </p:nvSpPr>
        <p:spPr>
          <a:xfrm>
            <a:off x="8420908" y="4904734"/>
            <a:ext cx="2240284" cy="261610"/>
          </a:xfrm>
          <a:prstGeom prst="rect">
            <a:avLst/>
          </a:prstGeom>
        </p:spPr>
        <p:txBody>
          <a:bodyPr wrap="square">
            <a:spAutoFit/>
          </a:bodyPr>
          <a:lstStyle/>
          <a:p>
            <a:r>
              <a:rPr lang="hu-HU" sz="1100"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Cross-functional</a:t>
            </a:r>
            <a:r>
              <a:rPr lang="hu-H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r>
              <a:rPr lang="hu-HU" sz="1100"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leaders</a:t>
            </a:r>
            <a:endParaRPr lang="hu-H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4" name="Straight Connector 83">
            <a:extLst>
              <a:ext uri="{FF2B5EF4-FFF2-40B4-BE49-F238E27FC236}">
                <a16:creationId xmlns:a16="http://schemas.microsoft.com/office/drawing/2014/main" id="{7549F117-FF0C-7866-6BB5-7F2F32D64A97}"/>
              </a:ext>
            </a:extLst>
          </p:cNvPr>
          <p:cNvCxnSpPr>
            <a:cxnSpLocks/>
            <a:stCxn id="5" idx="3"/>
          </p:cNvCxnSpPr>
          <p:nvPr/>
        </p:nvCxnSpPr>
        <p:spPr>
          <a:xfrm flipV="1">
            <a:off x="5072381" y="1697513"/>
            <a:ext cx="1332427" cy="700808"/>
          </a:xfrm>
          <a:prstGeom prst="line">
            <a:avLst/>
          </a:prstGeom>
          <a:solidFill>
            <a:schemeClr val="bg1"/>
          </a:solidFill>
          <a:ln w="19050">
            <a:solidFill>
              <a:srgbClr val="00B0F2"/>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85" name="Isosceles Triangle 84">
            <a:extLst>
              <a:ext uri="{FF2B5EF4-FFF2-40B4-BE49-F238E27FC236}">
                <a16:creationId xmlns:a16="http://schemas.microsoft.com/office/drawing/2014/main" id="{062B0765-DA6D-7AC1-ED3A-DF4BE5605FD4}"/>
              </a:ext>
            </a:extLst>
          </p:cNvPr>
          <p:cNvSpPr/>
          <p:nvPr/>
        </p:nvSpPr>
        <p:spPr bwMode="gray">
          <a:xfrm rot="16200000" flipV="1">
            <a:off x="4937135" y="4580617"/>
            <a:ext cx="2741923" cy="253266"/>
          </a:xfrm>
          <a:prstGeom prst="triangle">
            <a:avLst>
              <a:gd name="adj" fmla="val 50000"/>
            </a:avLst>
          </a:prstGeom>
          <a:solidFill>
            <a:schemeClr val="accent2">
              <a:lumMod val="20000"/>
              <a:lumOff val="80000"/>
            </a:schemeClr>
          </a:solidFill>
          <a:ln w="19050" algn="ctr">
            <a:noFill/>
            <a:miter lim="800000"/>
            <a:headEnd/>
            <a:tailEnd/>
          </a:ln>
          <a:effectLst>
            <a:outerShdw blurRad="50800" dist="38100" dir="13500000" algn="br" rotWithShape="0">
              <a:prstClr val="black">
                <a:alpha val="40000"/>
              </a:prstClr>
            </a:outerShdw>
          </a:effectLst>
        </p:spPr>
        <p:txBody>
          <a:bodyPr wrap="square" lIns="0" tIns="0" rIns="0" bIns="0" rtlCol="0" anchor="ctr"/>
          <a:lstStyle/>
          <a:p>
            <a:pPr algn="ctr"/>
            <a:endParaRPr lang="en-US"/>
          </a:p>
        </p:txBody>
      </p:sp>
    </p:spTree>
    <p:extLst>
      <p:ext uri="{BB962C8B-B14F-4D97-AF65-F5344CB8AC3E}">
        <p14:creationId xmlns:p14="http://schemas.microsoft.com/office/powerpoint/2010/main" val="3934488729"/>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172BEE-3571-B834-0608-DA420144CCB4}"/>
              </a:ext>
            </a:extLst>
          </p:cNvPr>
          <p:cNvSpPr>
            <a:spLocks noGrp="1"/>
          </p:cNvSpPr>
          <p:nvPr>
            <p:ph type="body" sz="quarter" idx="22"/>
          </p:nvPr>
        </p:nvSpPr>
        <p:spPr/>
        <p:txBody>
          <a:bodyPr/>
          <a:lstStyle/>
          <a:p>
            <a:r>
              <a:rPr lang="en-US" dirty="0"/>
              <a:t>The full </a:t>
            </a:r>
            <a:r>
              <a:rPr lang="en-US" dirty="0" err="1"/>
              <a:t>existance</a:t>
            </a:r>
            <a:r>
              <a:rPr lang="en-US" dirty="0"/>
              <a:t> and provision of all project artifacts are essential for successful management and implementation.</a:t>
            </a:r>
          </a:p>
        </p:txBody>
      </p:sp>
      <p:sp>
        <p:nvSpPr>
          <p:cNvPr id="3" name="Title 2">
            <a:extLst>
              <a:ext uri="{FF2B5EF4-FFF2-40B4-BE49-F238E27FC236}">
                <a16:creationId xmlns:a16="http://schemas.microsoft.com/office/drawing/2014/main" id="{DAB4BB86-C157-7ACB-8616-D50E61DE0DF9}"/>
              </a:ext>
            </a:extLst>
          </p:cNvPr>
          <p:cNvSpPr>
            <a:spLocks noGrp="1"/>
          </p:cNvSpPr>
          <p:nvPr>
            <p:ph type="title"/>
          </p:nvPr>
        </p:nvSpPr>
        <p:spPr/>
        <p:txBody>
          <a:bodyPr/>
          <a:lstStyle/>
          <a:p>
            <a:r>
              <a:rPr lang="en-US" dirty="0"/>
              <a:t>Major deliverables in project management</a:t>
            </a:r>
          </a:p>
        </p:txBody>
      </p:sp>
      <p:sp>
        <p:nvSpPr>
          <p:cNvPr id="4" name="Text Placeholder 3">
            <a:extLst>
              <a:ext uri="{FF2B5EF4-FFF2-40B4-BE49-F238E27FC236}">
                <a16:creationId xmlns:a16="http://schemas.microsoft.com/office/drawing/2014/main" id="{FC938288-8731-30CB-4AD0-1C5CD91B8569}"/>
              </a:ext>
            </a:extLst>
          </p:cNvPr>
          <p:cNvSpPr txBox="1">
            <a:spLocks/>
          </p:cNvSpPr>
          <p:nvPr/>
        </p:nvSpPr>
        <p:spPr>
          <a:xfrm>
            <a:off x="494419" y="1807161"/>
            <a:ext cx="5037197" cy="646999"/>
          </a:xfrm>
          <a:prstGeom prst="rect">
            <a:avLst/>
          </a:prstGeom>
          <a:noFill/>
          <a:ln w="19050">
            <a:solidFill>
              <a:srgbClr val="00B0F2"/>
            </a:solidFill>
          </a:ln>
        </p:spPr>
        <p:txBody>
          <a:bodyPr vert="horz" lIns="90000" tIns="90000" rIns="1152000" bIns="90000" rtlCol="0" anchor="t">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rPr>
              <a:t>Describes the project in its</a:t>
            </a:r>
            <a:r>
              <a:rPr kumimoji="0" lang="hu-HU" sz="900" b="0" i="0" u="none" strike="noStrike" kern="1200" cap="none" spc="0" normalizeH="0" baseline="0" noProof="0" dirty="0">
                <a:ln>
                  <a:noFill/>
                </a:ln>
                <a:solidFill>
                  <a:srgbClr val="000000"/>
                </a:solidFill>
                <a:effectLst/>
                <a:uLnTx/>
                <a:uFillTx/>
                <a:latin typeface="Open Sans"/>
              </a:rPr>
              <a:t> </a:t>
            </a:r>
            <a:r>
              <a:rPr kumimoji="0" lang="en-US" sz="900" b="0" i="0" u="none" strike="noStrike" kern="1200" cap="none" spc="0" normalizeH="0" baseline="0" noProof="0" dirty="0">
                <a:ln>
                  <a:noFill/>
                </a:ln>
                <a:solidFill>
                  <a:srgbClr val="000000"/>
                </a:solidFill>
                <a:effectLst/>
                <a:uLnTx/>
                <a:uFillTx/>
                <a:latin typeface="Open Sans"/>
              </a:rPr>
              <a:t>entirety including the objectives,</a:t>
            </a:r>
            <a:r>
              <a:rPr kumimoji="0" lang="hu-HU" sz="900" b="0" i="0" u="none" strike="noStrike" kern="1200" cap="none" spc="0" normalizeH="0" baseline="0" noProof="0" dirty="0">
                <a:ln>
                  <a:noFill/>
                </a:ln>
                <a:solidFill>
                  <a:srgbClr val="000000"/>
                </a:solidFill>
                <a:effectLst/>
                <a:uLnTx/>
                <a:uFillTx/>
                <a:latin typeface="Open Sans"/>
              </a:rPr>
              <a:t> </a:t>
            </a:r>
            <a:r>
              <a:rPr kumimoji="0" lang="en-US" sz="900" b="0" i="0" u="none" strike="noStrike" kern="1200" cap="none" spc="0" normalizeH="0" baseline="0" noProof="0" dirty="0">
                <a:ln>
                  <a:noFill/>
                </a:ln>
                <a:solidFill>
                  <a:srgbClr val="000000"/>
                </a:solidFill>
                <a:effectLst/>
                <a:uLnTx/>
                <a:uFillTx/>
                <a:latin typeface="Open Sans"/>
              </a:rPr>
              <a:t>the key stakeholders, the key activities and deliverables, the</a:t>
            </a:r>
            <a:r>
              <a:rPr kumimoji="0" lang="hu-HU" sz="900" b="0" i="0" u="none" strike="noStrike" kern="1200" cap="none" spc="0" normalizeH="0" baseline="0" noProof="0" dirty="0">
                <a:ln>
                  <a:noFill/>
                </a:ln>
                <a:solidFill>
                  <a:srgbClr val="000000"/>
                </a:solidFill>
                <a:effectLst/>
                <a:uLnTx/>
                <a:uFillTx/>
                <a:latin typeface="Open Sans"/>
              </a:rPr>
              <a:t> </a:t>
            </a:r>
            <a:r>
              <a:rPr kumimoji="0" lang="en-US" sz="900" b="0" i="0" u="none" strike="noStrike" kern="1200" cap="none" spc="0" normalizeH="0" baseline="0" noProof="0" dirty="0">
                <a:ln>
                  <a:noFill/>
                </a:ln>
                <a:solidFill>
                  <a:srgbClr val="000000"/>
                </a:solidFill>
                <a:effectLst/>
                <a:uLnTx/>
                <a:uFillTx/>
                <a:latin typeface="Open Sans"/>
              </a:rPr>
              <a:t>project</a:t>
            </a:r>
            <a:r>
              <a:rPr kumimoji="0" lang="hu-HU" sz="900" b="0" i="0" u="none" strike="noStrike" kern="1200" cap="none" spc="0" normalizeH="0" baseline="0" noProof="0" dirty="0">
                <a:ln>
                  <a:noFill/>
                </a:ln>
                <a:solidFill>
                  <a:srgbClr val="000000"/>
                </a:solidFill>
                <a:effectLst/>
                <a:uLnTx/>
                <a:uFillTx/>
                <a:latin typeface="Open Sans"/>
              </a:rPr>
              <a:t> </a:t>
            </a:r>
            <a:r>
              <a:rPr kumimoji="0" lang="en-US" sz="900" b="0" i="0" u="none" strike="noStrike" kern="1200" cap="none" spc="0" normalizeH="0" baseline="0" noProof="0" dirty="0">
                <a:ln>
                  <a:noFill/>
                </a:ln>
                <a:solidFill>
                  <a:srgbClr val="000000"/>
                </a:solidFill>
                <a:effectLst/>
                <a:uLnTx/>
                <a:uFillTx/>
                <a:latin typeface="Open Sans"/>
              </a:rPr>
              <a:t>governance and risk management structure and the success criteria of the project.</a:t>
            </a:r>
          </a:p>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000" b="0" i="0" u="none" strike="noStrike" kern="1200" cap="none" spc="0" normalizeH="0" baseline="0" noProof="0" dirty="0">
              <a:ln>
                <a:noFill/>
              </a:ln>
              <a:solidFill>
                <a:srgbClr val="000000"/>
              </a:solidFill>
              <a:effectLst/>
              <a:uLnTx/>
              <a:uFillTx/>
              <a:latin typeface="Open Sans"/>
            </a:endParaRPr>
          </a:p>
        </p:txBody>
      </p:sp>
      <p:sp>
        <p:nvSpPr>
          <p:cNvPr id="5" name="Rectangle 4">
            <a:extLst>
              <a:ext uri="{FF2B5EF4-FFF2-40B4-BE49-F238E27FC236}">
                <a16:creationId xmlns:a16="http://schemas.microsoft.com/office/drawing/2014/main" id="{ED9131BE-24EF-2BD3-3618-D97864AE7641}"/>
              </a:ext>
            </a:extLst>
          </p:cNvPr>
          <p:cNvSpPr/>
          <p:nvPr/>
        </p:nvSpPr>
        <p:spPr>
          <a:xfrm>
            <a:off x="484587" y="1625373"/>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a:solidFill>
                  <a:schemeClr val="bg1"/>
                </a:solidFill>
                <a:latin typeface="Open Sans"/>
              </a:rPr>
              <a:t>Project </a:t>
            </a:r>
            <a:r>
              <a:rPr lang="hu-HU" sz="1050" b="1" dirty="0" err="1">
                <a:solidFill>
                  <a:schemeClr val="bg1"/>
                </a:solidFill>
                <a:latin typeface="Open Sans"/>
              </a:rPr>
              <a:t>Initiation</a:t>
            </a:r>
            <a:r>
              <a:rPr lang="hu-HU" sz="1050" b="1" dirty="0">
                <a:solidFill>
                  <a:schemeClr val="bg1"/>
                </a:solidFill>
                <a:latin typeface="Open Sans"/>
              </a:rPr>
              <a:t> </a:t>
            </a:r>
            <a:r>
              <a:rPr lang="hu-HU" sz="1050" b="1" dirty="0" err="1">
                <a:solidFill>
                  <a:schemeClr val="bg1"/>
                </a:solidFill>
                <a:latin typeface="Open Sans"/>
              </a:rPr>
              <a:t>Document</a:t>
            </a:r>
            <a:endParaRPr lang="hu-HU" sz="1050" b="1" dirty="0">
              <a:solidFill>
                <a:schemeClr val="bg1"/>
              </a:solidFill>
              <a:latin typeface="Open Sans"/>
            </a:endParaRPr>
          </a:p>
        </p:txBody>
      </p:sp>
      <p:sp>
        <p:nvSpPr>
          <p:cNvPr id="6" name="Text Placeholder 3">
            <a:extLst>
              <a:ext uri="{FF2B5EF4-FFF2-40B4-BE49-F238E27FC236}">
                <a16:creationId xmlns:a16="http://schemas.microsoft.com/office/drawing/2014/main" id="{18C325EC-5E72-96F9-FDDD-89674C94934A}"/>
              </a:ext>
            </a:extLst>
          </p:cNvPr>
          <p:cNvSpPr txBox="1">
            <a:spLocks/>
          </p:cNvSpPr>
          <p:nvPr/>
        </p:nvSpPr>
        <p:spPr>
          <a:xfrm>
            <a:off x="494419" y="2729238"/>
            <a:ext cx="5037197" cy="646999"/>
          </a:xfrm>
          <a:prstGeom prst="rect">
            <a:avLst/>
          </a:prstGeom>
          <a:noFill/>
          <a:ln w="19050">
            <a:solidFill>
              <a:srgbClr val="00B0F2"/>
            </a:solidFill>
          </a:ln>
        </p:spPr>
        <p:txBody>
          <a:bodyPr vert="horz" lIns="90000" tIns="90000" rIns="1152000" bIns="90000" rtlCol="0" anchor="t">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buNone/>
              <a:defRPr/>
            </a:pPr>
            <a:r>
              <a:rPr lang="en-US" sz="900" dirty="0">
                <a:solidFill>
                  <a:srgbClr val="000000"/>
                </a:solidFill>
                <a:latin typeface="Open Sans"/>
              </a:rPr>
              <a:t>Project governance and operating standards of the project. Project roles and responsibilities,  Steering Committee members, escalation and reporting paths are defined.</a:t>
            </a:r>
          </a:p>
        </p:txBody>
      </p:sp>
      <p:sp>
        <p:nvSpPr>
          <p:cNvPr id="7" name="Rectangle 6">
            <a:extLst>
              <a:ext uri="{FF2B5EF4-FFF2-40B4-BE49-F238E27FC236}">
                <a16:creationId xmlns:a16="http://schemas.microsoft.com/office/drawing/2014/main" id="{071D5604-9CFE-03CD-CCA2-252C4AA43582}"/>
              </a:ext>
            </a:extLst>
          </p:cNvPr>
          <p:cNvSpPr/>
          <p:nvPr/>
        </p:nvSpPr>
        <p:spPr>
          <a:xfrm>
            <a:off x="484587" y="2544862"/>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a:solidFill>
                  <a:schemeClr val="bg1"/>
                </a:solidFill>
                <a:latin typeface="Open Sans"/>
              </a:rPr>
              <a:t>Project </a:t>
            </a:r>
            <a:r>
              <a:rPr lang="hu-HU" sz="1050" b="1" dirty="0" err="1">
                <a:solidFill>
                  <a:schemeClr val="bg1"/>
                </a:solidFill>
                <a:latin typeface="Open Sans"/>
              </a:rPr>
              <a:t>organization</a:t>
            </a:r>
            <a:endParaRPr lang="hu-HU" sz="1050" b="1" dirty="0">
              <a:solidFill>
                <a:schemeClr val="bg1"/>
              </a:solidFill>
              <a:latin typeface="Open Sans"/>
            </a:endParaRPr>
          </a:p>
        </p:txBody>
      </p:sp>
      <p:sp>
        <p:nvSpPr>
          <p:cNvPr id="8" name="Text Placeholder 3">
            <a:extLst>
              <a:ext uri="{FF2B5EF4-FFF2-40B4-BE49-F238E27FC236}">
                <a16:creationId xmlns:a16="http://schemas.microsoft.com/office/drawing/2014/main" id="{76489B5B-A940-929E-2C1B-3011CEBC0123}"/>
              </a:ext>
            </a:extLst>
          </p:cNvPr>
          <p:cNvSpPr txBox="1">
            <a:spLocks/>
          </p:cNvSpPr>
          <p:nvPr/>
        </p:nvSpPr>
        <p:spPr>
          <a:xfrm>
            <a:off x="494419" y="3648907"/>
            <a:ext cx="5037197" cy="646999"/>
          </a:xfrm>
          <a:prstGeom prst="rect">
            <a:avLst/>
          </a:prstGeom>
          <a:noFill/>
          <a:ln w="19050">
            <a:solidFill>
              <a:srgbClr val="00B0F2"/>
            </a:solidFill>
          </a:ln>
        </p:spPr>
        <p:txBody>
          <a:bodyPr vert="horz" lIns="90000" tIns="90000" rIns="1152000" bIns="9000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fontAlgn="auto">
              <a:lnSpc>
                <a:spcPct val="100000"/>
              </a:lnSpc>
              <a:spcBef>
                <a:spcPts val="600"/>
              </a:spcBef>
              <a:spcAft>
                <a:spcPts val="0"/>
              </a:spcAft>
              <a:buClrTx/>
              <a:buSzTx/>
              <a:buNone/>
              <a:tabLst/>
              <a:defRPr/>
            </a:pPr>
            <a:r>
              <a:rPr lang="hu-HU" sz="900" dirty="0">
                <a:solidFill>
                  <a:srgbClr val="000000"/>
                </a:solidFill>
                <a:latin typeface="Open Sans"/>
              </a:rPr>
              <a:t>S</a:t>
            </a:r>
            <a:r>
              <a:rPr lang="en-US" sz="900" dirty="0" err="1">
                <a:solidFill>
                  <a:srgbClr val="000000"/>
                </a:solidFill>
                <a:latin typeface="Open Sans"/>
              </a:rPr>
              <a:t>ets</a:t>
            </a:r>
            <a:r>
              <a:rPr lang="en-US" sz="900" dirty="0">
                <a:solidFill>
                  <a:srgbClr val="000000"/>
                </a:solidFill>
                <a:latin typeface="Open Sans"/>
              </a:rPr>
              <a:t> </a:t>
            </a:r>
            <a:r>
              <a:rPr lang="hu-HU" sz="900" dirty="0" err="1">
                <a:solidFill>
                  <a:srgbClr val="000000"/>
                </a:solidFill>
                <a:latin typeface="Open Sans"/>
              </a:rPr>
              <a:t>timelines</a:t>
            </a:r>
            <a:r>
              <a:rPr lang="hu-HU" sz="900" dirty="0">
                <a:solidFill>
                  <a:srgbClr val="000000"/>
                </a:solidFill>
                <a:latin typeface="Open Sans"/>
              </a:rPr>
              <a:t> </a:t>
            </a:r>
            <a:r>
              <a:rPr lang="en-US" sz="900" dirty="0">
                <a:solidFill>
                  <a:srgbClr val="000000"/>
                </a:solidFill>
                <a:latin typeface="Open Sans"/>
              </a:rPr>
              <a:t>highlighting the critical path and key milestones for completing project tasks, aiding staff, management, and stakeholders. It serves as a reference for teams to plan their work in line with the project's schedule. Project implementation streams are defined.</a:t>
            </a:r>
          </a:p>
        </p:txBody>
      </p:sp>
      <p:sp>
        <p:nvSpPr>
          <p:cNvPr id="9" name="Rectangle 8">
            <a:extLst>
              <a:ext uri="{FF2B5EF4-FFF2-40B4-BE49-F238E27FC236}">
                <a16:creationId xmlns:a16="http://schemas.microsoft.com/office/drawing/2014/main" id="{AA6C9D17-15F8-38D9-645C-E26A2B2987F3}"/>
              </a:ext>
            </a:extLst>
          </p:cNvPr>
          <p:cNvSpPr/>
          <p:nvPr/>
        </p:nvSpPr>
        <p:spPr>
          <a:xfrm>
            <a:off x="484587" y="3465721"/>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err="1">
                <a:solidFill>
                  <a:schemeClr val="bg1"/>
                </a:solidFill>
                <a:latin typeface="Open Sans"/>
              </a:rPr>
              <a:t>Detailed</a:t>
            </a:r>
            <a:r>
              <a:rPr lang="hu-HU" sz="1050" b="1" dirty="0">
                <a:solidFill>
                  <a:schemeClr val="bg1"/>
                </a:solidFill>
                <a:latin typeface="Open Sans"/>
              </a:rPr>
              <a:t> project </a:t>
            </a:r>
            <a:r>
              <a:rPr lang="hu-HU" sz="1050" b="1" dirty="0" err="1">
                <a:solidFill>
                  <a:schemeClr val="bg1"/>
                </a:solidFill>
                <a:latin typeface="Open Sans"/>
              </a:rPr>
              <a:t>plan</a:t>
            </a:r>
            <a:endParaRPr lang="hu-HU" sz="1050" b="1" dirty="0">
              <a:solidFill>
                <a:schemeClr val="bg1"/>
              </a:solidFill>
              <a:latin typeface="Open Sans"/>
            </a:endParaRPr>
          </a:p>
        </p:txBody>
      </p:sp>
      <p:sp>
        <p:nvSpPr>
          <p:cNvPr id="10" name="Text Placeholder 3">
            <a:extLst>
              <a:ext uri="{FF2B5EF4-FFF2-40B4-BE49-F238E27FC236}">
                <a16:creationId xmlns:a16="http://schemas.microsoft.com/office/drawing/2014/main" id="{FFE9930C-B978-2EFB-22F5-148EC69EB9F2}"/>
              </a:ext>
            </a:extLst>
          </p:cNvPr>
          <p:cNvSpPr txBox="1">
            <a:spLocks/>
          </p:cNvSpPr>
          <p:nvPr/>
        </p:nvSpPr>
        <p:spPr>
          <a:xfrm>
            <a:off x="491250" y="4573144"/>
            <a:ext cx="5037197" cy="646999"/>
          </a:xfrm>
          <a:prstGeom prst="rect">
            <a:avLst/>
          </a:prstGeom>
          <a:noFill/>
          <a:ln w="19050">
            <a:solidFill>
              <a:srgbClr val="00B0F2"/>
            </a:solidFill>
          </a:ln>
        </p:spPr>
        <p:txBody>
          <a:bodyPr vert="horz" lIns="90000" tIns="90000" rIns="1152000" bIns="9000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fontAlgn="auto">
              <a:lnSpc>
                <a:spcPct val="100000"/>
              </a:lnSpc>
              <a:spcBef>
                <a:spcPts val="600"/>
              </a:spcBef>
              <a:spcAft>
                <a:spcPts val="0"/>
              </a:spcAft>
              <a:buClrTx/>
              <a:buSzTx/>
              <a:buNone/>
              <a:tabLst/>
              <a:defRPr/>
            </a:pPr>
            <a:r>
              <a:rPr lang="hu-HU" sz="900" dirty="0">
                <a:solidFill>
                  <a:srgbClr val="000000"/>
                </a:solidFill>
                <a:latin typeface="Open Sans"/>
              </a:rPr>
              <a:t>The</a:t>
            </a:r>
            <a:r>
              <a:rPr lang="en-US" sz="900" dirty="0">
                <a:solidFill>
                  <a:srgbClr val="000000"/>
                </a:solidFill>
                <a:latin typeface="Open Sans"/>
              </a:rPr>
              <a:t> plan outlines how team members will communicate, including meetings and channels</a:t>
            </a:r>
            <a:r>
              <a:rPr lang="hu-HU" sz="900" dirty="0">
                <a:solidFill>
                  <a:srgbClr val="000000"/>
                </a:solidFill>
                <a:latin typeface="Open Sans"/>
              </a:rPr>
              <a:t> </a:t>
            </a:r>
            <a:r>
              <a:rPr lang="en-US" sz="900" dirty="0">
                <a:solidFill>
                  <a:srgbClr val="000000"/>
                </a:solidFill>
                <a:latin typeface="Open Sans"/>
              </a:rPr>
              <a:t>for </a:t>
            </a:r>
            <a:r>
              <a:rPr lang="hu-HU" sz="900" dirty="0" err="1">
                <a:solidFill>
                  <a:srgbClr val="000000"/>
                </a:solidFill>
                <a:latin typeface="Open Sans"/>
              </a:rPr>
              <a:t>employees</a:t>
            </a:r>
            <a:r>
              <a:rPr lang="en-US" sz="900" dirty="0">
                <a:solidFill>
                  <a:srgbClr val="000000"/>
                </a:solidFill>
                <a:latin typeface="Open Sans"/>
              </a:rPr>
              <a:t> to exchange information. It clarifies communication procedures to ensure effective project collaboration.</a:t>
            </a:r>
          </a:p>
        </p:txBody>
      </p:sp>
      <p:sp>
        <p:nvSpPr>
          <p:cNvPr id="11" name="Rectangle 10">
            <a:extLst>
              <a:ext uri="{FF2B5EF4-FFF2-40B4-BE49-F238E27FC236}">
                <a16:creationId xmlns:a16="http://schemas.microsoft.com/office/drawing/2014/main" id="{0A905E3F-32A2-9D36-46F8-7717FD7BD7CD}"/>
              </a:ext>
            </a:extLst>
          </p:cNvPr>
          <p:cNvSpPr/>
          <p:nvPr/>
        </p:nvSpPr>
        <p:spPr>
          <a:xfrm>
            <a:off x="484587" y="4390504"/>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a:solidFill>
                  <a:schemeClr val="bg1"/>
                </a:solidFill>
                <a:latin typeface="Open Sans"/>
              </a:rPr>
              <a:t>Project </a:t>
            </a:r>
            <a:r>
              <a:rPr lang="hu-HU" sz="1050" b="1" dirty="0" err="1">
                <a:solidFill>
                  <a:schemeClr val="bg1"/>
                </a:solidFill>
                <a:latin typeface="Open Sans"/>
              </a:rPr>
              <a:t>communications</a:t>
            </a:r>
            <a:r>
              <a:rPr lang="hu-HU" sz="1050" b="1" dirty="0">
                <a:solidFill>
                  <a:schemeClr val="bg1"/>
                </a:solidFill>
                <a:latin typeface="Open Sans"/>
              </a:rPr>
              <a:t> </a:t>
            </a:r>
            <a:r>
              <a:rPr lang="hu-HU" sz="1050" b="1" dirty="0" err="1">
                <a:solidFill>
                  <a:schemeClr val="bg1"/>
                </a:solidFill>
                <a:latin typeface="Open Sans"/>
              </a:rPr>
              <a:t>plans</a:t>
            </a:r>
            <a:endParaRPr lang="en-US" sz="1050" b="1" dirty="0">
              <a:solidFill>
                <a:schemeClr val="bg1"/>
              </a:solidFill>
              <a:latin typeface="Open Sans"/>
            </a:endParaRPr>
          </a:p>
        </p:txBody>
      </p:sp>
      <p:sp>
        <p:nvSpPr>
          <p:cNvPr id="12" name="Text Placeholder 3">
            <a:extLst>
              <a:ext uri="{FF2B5EF4-FFF2-40B4-BE49-F238E27FC236}">
                <a16:creationId xmlns:a16="http://schemas.microsoft.com/office/drawing/2014/main" id="{FF57AA19-EEE3-AFC8-23B7-3DAB72FF3793}"/>
              </a:ext>
            </a:extLst>
          </p:cNvPr>
          <p:cNvSpPr txBox="1">
            <a:spLocks/>
          </p:cNvSpPr>
          <p:nvPr/>
        </p:nvSpPr>
        <p:spPr>
          <a:xfrm>
            <a:off x="491250" y="5486339"/>
            <a:ext cx="5037197" cy="646999"/>
          </a:xfrm>
          <a:prstGeom prst="rect">
            <a:avLst/>
          </a:prstGeom>
          <a:noFill/>
          <a:ln w="19050">
            <a:solidFill>
              <a:srgbClr val="00B0F2"/>
            </a:solidFill>
          </a:ln>
        </p:spPr>
        <p:txBody>
          <a:bodyPr vert="horz" lIns="90000" tIns="90000" rIns="1152000" bIns="9000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lang="hu-HU" sz="900" dirty="0">
                <a:solidFill>
                  <a:srgbClr val="000000"/>
                </a:solidFill>
                <a:latin typeface="Open Sans"/>
              </a:rPr>
              <a:t>A</a:t>
            </a:r>
            <a:r>
              <a:rPr lang="en-US" sz="900" dirty="0">
                <a:solidFill>
                  <a:srgbClr val="000000"/>
                </a:solidFill>
                <a:latin typeface="Open Sans"/>
              </a:rPr>
              <a:t> detailed breakdown of a project's work, starting with its final deliverables and breaking them into smaller components. A thorough WBS aids in managing project aspects and ensures all necessary work is considered for project completion.</a:t>
            </a:r>
          </a:p>
        </p:txBody>
      </p:sp>
      <p:sp>
        <p:nvSpPr>
          <p:cNvPr id="13" name="Rectangle 12">
            <a:extLst>
              <a:ext uri="{FF2B5EF4-FFF2-40B4-BE49-F238E27FC236}">
                <a16:creationId xmlns:a16="http://schemas.microsoft.com/office/drawing/2014/main" id="{49315426-5A37-1D2A-D930-6D1A59DF5700}"/>
              </a:ext>
            </a:extLst>
          </p:cNvPr>
          <p:cNvSpPr/>
          <p:nvPr/>
        </p:nvSpPr>
        <p:spPr>
          <a:xfrm>
            <a:off x="484587" y="5304498"/>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hu-HU" sz="1050" b="1" i="0" u="none" strike="noStrike" kern="1200" cap="none" spc="0" normalizeH="0" baseline="0" noProof="0" dirty="0" err="1">
                <a:ln>
                  <a:noFill/>
                </a:ln>
                <a:solidFill>
                  <a:schemeClr val="bg1"/>
                </a:solidFill>
                <a:effectLst/>
                <a:uLnTx/>
                <a:uFillTx/>
                <a:latin typeface="Open Sans"/>
                <a:ea typeface="+mn-ea"/>
                <a:cs typeface="+mn-cs"/>
              </a:rPr>
              <a:t>Work</a:t>
            </a:r>
            <a:r>
              <a:rPr kumimoji="0" lang="hu-HU" sz="1050" b="1" i="0" u="none" strike="noStrike" kern="1200" cap="none" spc="0" normalizeH="0" baseline="0" noProof="0" dirty="0">
                <a:ln>
                  <a:noFill/>
                </a:ln>
                <a:solidFill>
                  <a:schemeClr val="bg1"/>
                </a:solidFill>
                <a:effectLst/>
                <a:uLnTx/>
                <a:uFillTx/>
                <a:latin typeface="Open Sans"/>
                <a:ea typeface="+mn-ea"/>
                <a:cs typeface="+mn-cs"/>
              </a:rPr>
              <a:t> </a:t>
            </a:r>
            <a:r>
              <a:rPr kumimoji="0" lang="hu-HU" sz="1050" b="1" i="0" u="none" strike="noStrike" kern="1200" cap="none" spc="0" normalizeH="0" baseline="0" noProof="0" dirty="0" err="1">
                <a:ln>
                  <a:noFill/>
                </a:ln>
                <a:solidFill>
                  <a:schemeClr val="bg1"/>
                </a:solidFill>
                <a:effectLst/>
                <a:uLnTx/>
                <a:uFillTx/>
                <a:latin typeface="Open Sans"/>
                <a:ea typeface="+mn-ea"/>
                <a:cs typeface="+mn-cs"/>
              </a:rPr>
              <a:t>breakdown</a:t>
            </a:r>
            <a:r>
              <a:rPr kumimoji="0" lang="hu-HU" sz="1050" b="1" i="0" u="none" strike="noStrike" kern="1200" cap="none" spc="0" normalizeH="0" baseline="0" noProof="0" dirty="0">
                <a:ln>
                  <a:noFill/>
                </a:ln>
                <a:solidFill>
                  <a:schemeClr val="bg1"/>
                </a:solidFill>
                <a:effectLst/>
                <a:uLnTx/>
                <a:uFillTx/>
                <a:latin typeface="Open Sans"/>
                <a:ea typeface="+mn-ea"/>
                <a:cs typeface="+mn-cs"/>
              </a:rPr>
              <a:t> </a:t>
            </a:r>
            <a:r>
              <a:rPr kumimoji="0" lang="hu-HU" sz="1050" b="1" i="0" u="none" strike="noStrike" kern="1200" cap="none" spc="0" normalizeH="0" baseline="0" noProof="0" dirty="0" err="1">
                <a:ln>
                  <a:noFill/>
                </a:ln>
                <a:solidFill>
                  <a:schemeClr val="bg1"/>
                </a:solidFill>
                <a:effectLst/>
                <a:uLnTx/>
                <a:uFillTx/>
                <a:latin typeface="Open Sans"/>
                <a:ea typeface="+mn-ea"/>
                <a:cs typeface="+mn-cs"/>
              </a:rPr>
              <a:t>structure</a:t>
            </a:r>
            <a:r>
              <a:rPr kumimoji="0" lang="hu-HU" sz="1050" b="1" i="0" u="none" strike="noStrike" kern="1200" cap="none" spc="0" normalizeH="0" baseline="0" noProof="0" dirty="0">
                <a:ln>
                  <a:noFill/>
                </a:ln>
                <a:solidFill>
                  <a:schemeClr val="bg1"/>
                </a:solidFill>
                <a:effectLst/>
                <a:uLnTx/>
                <a:uFillTx/>
                <a:latin typeface="Open Sans"/>
                <a:ea typeface="+mn-ea"/>
                <a:cs typeface="+mn-cs"/>
              </a:rPr>
              <a:t> (WBS)</a:t>
            </a:r>
          </a:p>
        </p:txBody>
      </p:sp>
      <p:sp>
        <p:nvSpPr>
          <p:cNvPr id="14" name="Text Placeholder 3">
            <a:extLst>
              <a:ext uri="{FF2B5EF4-FFF2-40B4-BE49-F238E27FC236}">
                <a16:creationId xmlns:a16="http://schemas.microsoft.com/office/drawing/2014/main" id="{4BF949CD-B124-A846-3D53-462AE08A468C}"/>
              </a:ext>
            </a:extLst>
          </p:cNvPr>
          <p:cNvSpPr txBox="1">
            <a:spLocks/>
          </p:cNvSpPr>
          <p:nvPr/>
        </p:nvSpPr>
        <p:spPr>
          <a:xfrm>
            <a:off x="6102991" y="1807161"/>
            <a:ext cx="5037197" cy="646999"/>
          </a:xfrm>
          <a:prstGeom prst="rect">
            <a:avLst/>
          </a:prstGeom>
          <a:noFill/>
          <a:ln w="19050">
            <a:solidFill>
              <a:srgbClr val="00B0F2"/>
            </a:solidFill>
          </a:ln>
        </p:spPr>
        <p:txBody>
          <a:bodyPr vert="horz" lIns="90000" tIns="90000" rIns="1152000" bIns="9000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buNone/>
              <a:defRPr/>
            </a:pPr>
            <a:r>
              <a:rPr lang="hu-HU" sz="900" dirty="0">
                <a:solidFill>
                  <a:srgbClr val="000000"/>
                </a:solidFill>
                <a:latin typeface="Open Sans"/>
              </a:rPr>
              <a:t>D</a:t>
            </a:r>
            <a:r>
              <a:rPr lang="en-US" sz="900" dirty="0" err="1">
                <a:solidFill>
                  <a:srgbClr val="000000"/>
                </a:solidFill>
                <a:latin typeface="Open Sans"/>
              </a:rPr>
              <a:t>efines</a:t>
            </a:r>
            <a:r>
              <a:rPr lang="en-US" sz="900" dirty="0">
                <a:solidFill>
                  <a:srgbClr val="000000"/>
                </a:solidFill>
                <a:latin typeface="Open Sans"/>
              </a:rPr>
              <a:t> spending expectations, allocates funds, and sets clear cost targets. Including both targeted spending</a:t>
            </a:r>
            <a:r>
              <a:rPr lang="hu-HU" sz="900" dirty="0">
                <a:solidFill>
                  <a:srgbClr val="000000"/>
                </a:solidFill>
                <a:latin typeface="Open Sans"/>
              </a:rPr>
              <a:t> (</a:t>
            </a:r>
            <a:r>
              <a:rPr lang="hu-HU" sz="900" dirty="0" err="1">
                <a:solidFill>
                  <a:srgbClr val="000000"/>
                </a:solidFill>
                <a:latin typeface="Open Sans"/>
              </a:rPr>
              <a:t>representing</a:t>
            </a:r>
            <a:r>
              <a:rPr lang="hu-HU" sz="900" dirty="0">
                <a:solidFill>
                  <a:srgbClr val="000000"/>
                </a:solidFill>
                <a:latin typeface="Open Sans"/>
              </a:rPr>
              <a:t> </a:t>
            </a:r>
            <a:r>
              <a:rPr lang="hu-HU" sz="900" dirty="0" err="1">
                <a:solidFill>
                  <a:srgbClr val="000000"/>
                </a:solidFill>
                <a:latin typeface="Open Sans"/>
              </a:rPr>
              <a:t>the</a:t>
            </a:r>
            <a:r>
              <a:rPr lang="hu-HU" sz="900" dirty="0">
                <a:solidFill>
                  <a:srgbClr val="000000"/>
                </a:solidFill>
                <a:latin typeface="Open Sans"/>
              </a:rPr>
              <a:t> </a:t>
            </a:r>
            <a:r>
              <a:rPr lang="hu-HU" sz="900" dirty="0" err="1">
                <a:solidFill>
                  <a:srgbClr val="000000"/>
                </a:solidFill>
                <a:latin typeface="Open Sans"/>
              </a:rPr>
              <a:t>expected</a:t>
            </a:r>
            <a:r>
              <a:rPr lang="hu-HU" sz="900" dirty="0">
                <a:solidFill>
                  <a:srgbClr val="000000"/>
                </a:solidFill>
                <a:latin typeface="Open Sans"/>
              </a:rPr>
              <a:t> cost)</a:t>
            </a:r>
            <a:r>
              <a:rPr lang="en-US" sz="900" dirty="0">
                <a:solidFill>
                  <a:srgbClr val="000000"/>
                </a:solidFill>
                <a:latin typeface="Open Sans"/>
              </a:rPr>
              <a:t> and hard limits</a:t>
            </a:r>
            <a:r>
              <a:rPr lang="hu-HU" sz="900" dirty="0">
                <a:solidFill>
                  <a:srgbClr val="000000"/>
                </a:solidFill>
                <a:latin typeface="Open Sans"/>
              </a:rPr>
              <a:t> (</a:t>
            </a:r>
            <a:r>
              <a:rPr lang="hu-HU" sz="900" dirty="0" err="1">
                <a:solidFill>
                  <a:srgbClr val="000000"/>
                </a:solidFill>
                <a:latin typeface="Open Sans"/>
              </a:rPr>
              <a:t>representing</a:t>
            </a:r>
            <a:r>
              <a:rPr lang="hu-HU" sz="900" dirty="0">
                <a:solidFill>
                  <a:srgbClr val="000000"/>
                </a:solidFill>
                <a:latin typeface="Open Sans"/>
              </a:rPr>
              <a:t> </a:t>
            </a:r>
            <a:r>
              <a:rPr lang="hu-HU" sz="900" dirty="0" err="1">
                <a:solidFill>
                  <a:srgbClr val="000000"/>
                </a:solidFill>
                <a:latin typeface="Open Sans"/>
              </a:rPr>
              <a:t>the</a:t>
            </a:r>
            <a:r>
              <a:rPr lang="hu-HU" sz="900" dirty="0">
                <a:solidFill>
                  <a:srgbClr val="000000"/>
                </a:solidFill>
                <a:latin typeface="Open Sans"/>
              </a:rPr>
              <a:t> maximum cost </a:t>
            </a:r>
            <a:r>
              <a:rPr lang="hu-HU" sz="900" dirty="0" err="1">
                <a:solidFill>
                  <a:srgbClr val="000000"/>
                </a:solidFill>
                <a:latin typeface="Open Sans"/>
              </a:rPr>
              <a:t>available</a:t>
            </a:r>
            <a:r>
              <a:rPr lang="hu-HU" sz="900" dirty="0">
                <a:solidFill>
                  <a:srgbClr val="000000"/>
                </a:solidFill>
                <a:latin typeface="Open Sans"/>
              </a:rPr>
              <a:t>)</a:t>
            </a:r>
            <a:r>
              <a:rPr lang="en-US" sz="900" dirty="0">
                <a:solidFill>
                  <a:srgbClr val="000000"/>
                </a:solidFill>
                <a:latin typeface="Open Sans"/>
              </a:rPr>
              <a:t> in the budget ensures accurate cost control.</a:t>
            </a:r>
          </a:p>
        </p:txBody>
      </p:sp>
      <p:sp>
        <p:nvSpPr>
          <p:cNvPr id="15" name="Rectangle 14">
            <a:extLst>
              <a:ext uri="{FF2B5EF4-FFF2-40B4-BE49-F238E27FC236}">
                <a16:creationId xmlns:a16="http://schemas.microsoft.com/office/drawing/2014/main" id="{638CF488-ECE6-E2F9-78BB-398655A820A0}"/>
              </a:ext>
            </a:extLst>
          </p:cNvPr>
          <p:cNvSpPr/>
          <p:nvPr/>
        </p:nvSpPr>
        <p:spPr>
          <a:xfrm>
            <a:off x="6093159" y="1630055"/>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a:solidFill>
                  <a:schemeClr val="bg1"/>
                </a:solidFill>
                <a:latin typeface="Open Sans"/>
              </a:rPr>
              <a:t>Project </a:t>
            </a:r>
            <a:r>
              <a:rPr lang="hu-HU" sz="1050" b="1" dirty="0" err="1">
                <a:solidFill>
                  <a:schemeClr val="bg1"/>
                </a:solidFill>
                <a:latin typeface="Open Sans"/>
              </a:rPr>
              <a:t>budget</a:t>
            </a:r>
            <a:endParaRPr lang="hu-HU" sz="1050" b="1" dirty="0">
              <a:solidFill>
                <a:schemeClr val="bg1"/>
              </a:solidFill>
              <a:latin typeface="Open Sans"/>
            </a:endParaRPr>
          </a:p>
        </p:txBody>
      </p:sp>
      <p:sp>
        <p:nvSpPr>
          <p:cNvPr id="16" name="Text Placeholder 3">
            <a:extLst>
              <a:ext uri="{FF2B5EF4-FFF2-40B4-BE49-F238E27FC236}">
                <a16:creationId xmlns:a16="http://schemas.microsoft.com/office/drawing/2014/main" id="{105F2547-5A77-EB90-CFE2-A3D18ECA8611}"/>
              </a:ext>
            </a:extLst>
          </p:cNvPr>
          <p:cNvSpPr txBox="1">
            <a:spLocks/>
          </p:cNvSpPr>
          <p:nvPr/>
        </p:nvSpPr>
        <p:spPr>
          <a:xfrm>
            <a:off x="6102991" y="2729238"/>
            <a:ext cx="5037197" cy="646999"/>
          </a:xfrm>
          <a:prstGeom prst="rect">
            <a:avLst/>
          </a:prstGeom>
          <a:noFill/>
          <a:ln w="19050">
            <a:solidFill>
              <a:srgbClr val="00B0F2"/>
            </a:solidFill>
          </a:ln>
        </p:spPr>
        <p:txBody>
          <a:bodyPr vert="horz" lIns="90000" tIns="90000" rIns="1152000" bIns="9000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lang="hu-HU" sz="900" dirty="0">
                <a:solidFill>
                  <a:srgbClr val="000000"/>
                </a:solidFill>
                <a:latin typeface="Open Sans"/>
              </a:rPr>
              <a:t>C</a:t>
            </a:r>
            <a:r>
              <a:rPr lang="en-US" sz="900" dirty="0" err="1">
                <a:solidFill>
                  <a:srgbClr val="000000"/>
                </a:solidFill>
                <a:latin typeface="Open Sans"/>
              </a:rPr>
              <a:t>larifies</a:t>
            </a:r>
            <a:r>
              <a:rPr lang="en-US" sz="900" dirty="0">
                <a:solidFill>
                  <a:srgbClr val="000000"/>
                </a:solidFill>
                <a:latin typeface="Open Sans"/>
              </a:rPr>
              <a:t> roles and responsibilities for project tasks and decisions. It defines who is </a:t>
            </a:r>
            <a:r>
              <a:rPr lang="en-US" sz="900" i="1" dirty="0">
                <a:solidFill>
                  <a:srgbClr val="000000"/>
                </a:solidFill>
                <a:latin typeface="Open Sans"/>
              </a:rPr>
              <a:t>Responsible</a:t>
            </a:r>
            <a:r>
              <a:rPr lang="en-US" sz="900" dirty="0">
                <a:solidFill>
                  <a:srgbClr val="000000"/>
                </a:solidFill>
                <a:latin typeface="Open Sans"/>
              </a:rPr>
              <a:t> for executing tasks, who is </a:t>
            </a:r>
            <a:r>
              <a:rPr lang="en-US" sz="900" i="1" dirty="0">
                <a:solidFill>
                  <a:srgbClr val="000000"/>
                </a:solidFill>
                <a:latin typeface="Open Sans"/>
              </a:rPr>
              <a:t>Accountable</a:t>
            </a:r>
            <a:r>
              <a:rPr lang="en-US" sz="900" dirty="0">
                <a:solidFill>
                  <a:srgbClr val="000000"/>
                </a:solidFill>
                <a:latin typeface="Open Sans"/>
              </a:rPr>
              <a:t> for ensuring the task's success, who needs to be </a:t>
            </a:r>
            <a:r>
              <a:rPr lang="en-US" sz="900" i="1" dirty="0">
                <a:solidFill>
                  <a:srgbClr val="000000"/>
                </a:solidFill>
                <a:latin typeface="Open Sans"/>
              </a:rPr>
              <a:t>Consulted</a:t>
            </a:r>
            <a:r>
              <a:rPr lang="en-US" sz="900" dirty="0">
                <a:solidFill>
                  <a:srgbClr val="000000"/>
                </a:solidFill>
                <a:latin typeface="Open Sans"/>
              </a:rPr>
              <a:t> for their input, and who should be </a:t>
            </a:r>
            <a:r>
              <a:rPr lang="en-US" sz="900" i="1" dirty="0">
                <a:solidFill>
                  <a:srgbClr val="000000"/>
                </a:solidFill>
                <a:latin typeface="Open Sans"/>
              </a:rPr>
              <a:t>Informed</a:t>
            </a:r>
            <a:r>
              <a:rPr lang="en-US" sz="900" dirty="0">
                <a:solidFill>
                  <a:srgbClr val="000000"/>
                </a:solidFill>
                <a:latin typeface="Open Sans"/>
              </a:rPr>
              <a:t> about task progress.</a:t>
            </a:r>
          </a:p>
        </p:txBody>
      </p:sp>
      <p:sp>
        <p:nvSpPr>
          <p:cNvPr id="17" name="Rectangle 16">
            <a:extLst>
              <a:ext uri="{FF2B5EF4-FFF2-40B4-BE49-F238E27FC236}">
                <a16:creationId xmlns:a16="http://schemas.microsoft.com/office/drawing/2014/main" id="{D4F0718A-0FD1-9EE7-26C7-3FC6F30451E2}"/>
              </a:ext>
            </a:extLst>
          </p:cNvPr>
          <p:cNvSpPr/>
          <p:nvPr/>
        </p:nvSpPr>
        <p:spPr>
          <a:xfrm>
            <a:off x="6093159" y="2545118"/>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a:solidFill>
                  <a:schemeClr val="bg1"/>
                </a:solidFill>
                <a:latin typeface="Open Sans"/>
              </a:rPr>
              <a:t>RACI </a:t>
            </a:r>
            <a:r>
              <a:rPr lang="hu-HU" sz="1050" b="1" dirty="0" err="1">
                <a:solidFill>
                  <a:schemeClr val="bg1"/>
                </a:solidFill>
                <a:latin typeface="Open Sans"/>
              </a:rPr>
              <a:t>matrix</a:t>
            </a:r>
            <a:endParaRPr lang="hu-HU" sz="1050" b="1" dirty="0">
              <a:solidFill>
                <a:schemeClr val="bg1"/>
              </a:solidFill>
              <a:latin typeface="Open Sans"/>
            </a:endParaRPr>
          </a:p>
        </p:txBody>
      </p:sp>
      <p:sp>
        <p:nvSpPr>
          <p:cNvPr id="18" name="Text Placeholder 3">
            <a:extLst>
              <a:ext uri="{FF2B5EF4-FFF2-40B4-BE49-F238E27FC236}">
                <a16:creationId xmlns:a16="http://schemas.microsoft.com/office/drawing/2014/main" id="{0D7F06CB-D8DD-0BA8-49E3-5D678F750543}"/>
              </a:ext>
            </a:extLst>
          </p:cNvPr>
          <p:cNvSpPr txBox="1">
            <a:spLocks/>
          </p:cNvSpPr>
          <p:nvPr/>
        </p:nvSpPr>
        <p:spPr>
          <a:xfrm>
            <a:off x="6102991" y="3648907"/>
            <a:ext cx="5037197" cy="646999"/>
          </a:xfrm>
          <a:prstGeom prst="rect">
            <a:avLst/>
          </a:prstGeom>
          <a:noFill/>
          <a:ln w="19050">
            <a:solidFill>
              <a:srgbClr val="00B0F2"/>
            </a:solidFill>
          </a:ln>
        </p:spPr>
        <p:txBody>
          <a:bodyPr vert="horz" lIns="90000" tIns="90000" rIns="1152000" bIns="9000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rPr>
              <a:t>Helps to identify </a:t>
            </a:r>
            <a:r>
              <a:rPr kumimoji="0" lang="hu-HU" sz="900" b="0" i="0" u="none" strike="noStrike" kern="1200" cap="none" spc="0" normalizeH="0" baseline="0" noProof="0" dirty="0" err="1">
                <a:ln>
                  <a:noFill/>
                </a:ln>
                <a:solidFill>
                  <a:srgbClr val="000000"/>
                </a:solidFill>
                <a:effectLst/>
                <a:uLnTx/>
                <a:uFillTx/>
                <a:latin typeface="Open Sans"/>
              </a:rPr>
              <a:t>potential</a:t>
            </a:r>
            <a:r>
              <a:rPr kumimoji="0" lang="hu-HU" sz="900" b="0" i="0" u="none" strike="noStrike" kern="1200" cap="none" spc="0" normalizeH="0" baseline="0" noProof="0" dirty="0">
                <a:ln>
                  <a:noFill/>
                </a:ln>
                <a:solidFill>
                  <a:srgbClr val="000000"/>
                </a:solidFill>
                <a:effectLst/>
                <a:uLnTx/>
                <a:uFillTx/>
                <a:latin typeface="Open Sans"/>
              </a:rPr>
              <a:t> </a:t>
            </a:r>
            <a:r>
              <a:rPr kumimoji="0" lang="en-US" sz="900" b="0" i="0" u="none" strike="noStrike" kern="1200" cap="none" spc="0" normalizeH="0" baseline="0" noProof="0" dirty="0">
                <a:ln>
                  <a:noFill/>
                </a:ln>
                <a:solidFill>
                  <a:srgbClr val="000000"/>
                </a:solidFill>
                <a:effectLst/>
                <a:uLnTx/>
                <a:uFillTx/>
                <a:latin typeface="Open Sans"/>
              </a:rPr>
              <a:t>project risks, risk owners</a:t>
            </a:r>
            <a:r>
              <a:rPr kumimoji="0" lang="hu-HU" sz="900" b="0" i="0" u="none" strike="noStrike" kern="1200" cap="none" spc="0" normalizeH="0" baseline="0" noProof="0" dirty="0">
                <a:ln>
                  <a:noFill/>
                </a:ln>
                <a:solidFill>
                  <a:srgbClr val="000000"/>
                </a:solidFill>
                <a:effectLst/>
                <a:uLnTx/>
                <a:uFillTx/>
                <a:latin typeface="Open Sans"/>
              </a:rPr>
              <a:t>, </a:t>
            </a:r>
            <a:r>
              <a:rPr kumimoji="0" lang="hu-HU" sz="900" b="0" i="0" u="none" strike="noStrike" kern="1200" cap="none" spc="0" normalizeH="0" baseline="0" noProof="0" dirty="0" err="1">
                <a:ln>
                  <a:noFill/>
                </a:ln>
                <a:solidFill>
                  <a:srgbClr val="000000"/>
                </a:solidFill>
                <a:effectLst/>
                <a:uLnTx/>
                <a:uFillTx/>
                <a:latin typeface="Open Sans"/>
              </a:rPr>
              <a:t>estimation</a:t>
            </a:r>
            <a:r>
              <a:rPr kumimoji="0" lang="hu-HU" sz="900" b="0" i="0" u="none" strike="noStrike" kern="1200" cap="none" spc="0" normalizeH="0" baseline="0" noProof="0" dirty="0">
                <a:ln>
                  <a:noFill/>
                </a:ln>
                <a:solidFill>
                  <a:srgbClr val="000000"/>
                </a:solidFill>
                <a:effectLst/>
                <a:uLnTx/>
                <a:uFillTx/>
                <a:latin typeface="Open Sans"/>
              </a:rPr>
              <a:t> of </a:t>
            </a:r>
            <a:r>
              <a:rPr kumimoji="0" lang="hu-HU" sz="900" b="0" i="0" u="none" strike="noStrike" kern="1200" cap="none" spc="0" normalizeH="0" baseline="0" noProof="0" dirty="0" err="1">
                <a:ln>
                  <a:noFill/>
                </a:ln>
                <a:solidFill>
                  <a:srgbClr val="000000"/>
                </a:solidFill>
                <a:effectLst/>
                <a:uLnTx/>
                <a:uFillTx/>
                <a:latin typeface="Open Sans"/>
              </a:rPr>
              <a:t>expected</a:t>
            </a:r>
            <a:r>
              <a:rPr kumimoji="0" lang="hu-HU" sz="900" b="0" i="0" u="none" strike="noStrike" kern="1200" cap="none" spc="0" normalizeH="0" baseline="0" noProof="0" dirty="0">
                <a:ln>
                  <a:noFill/>
                </a:ln>
                <a:solidFill>
                  <a:srgbClr val="000000"/>
                </a:solidFill>
                <a:effectLst/>
                <a:uLnTx/>
                <a:uFillTx/>
                <a:latin typeface="Open Sans"/>
              </a:rPr>
              <a:t> </a:t>
            </a:r>
            <a:r>
              <a:rPr kumimoji="0" lang="hu-HU" sz="900" b="0" i="0" u="none" strike="noStrike" kern="1200" cap="none" spc="0" normalizeH="0" baseline="0" noProof="0" dirty="0" err="1">
                <a:ln>
                  <a:noFill/>
                </a:ln>
                <a:solidFill>
                  <a:srgbClr val="000000"/>
                </a:solidFill>
                <a:effectLst/>
                <a:uLnTx/>
                <a:uFillTx/>
                <a:latin typeface="Open Sans"/>
              </a:rPr>
              <a:t>costs</a:t>
            </a:r>
            <a:r>
              <a:rPr lang="hu-HU" sz="900" dirty="0">
                <a:solidFill>
                  <a:srgbClr val="000000"/>
                </a:solidFill>
                <a:latin typeface="Open Sans"/>
              </a:rPr>
              <a:t> </a:t>
            </a:r>
            <a:r>
              <a:rPr kumimoji="0" lang="hu-HU" sz="900" b="0" i="0" u="none" strike="noStrike" kern="1200" cap="none" spc="0" normalizeH="0" baseline="0" noProof="0" dirty="0" err="1">
                <a:ln>
                  <a:noFill/>
                </a:ln>
                <a:solidFill>
                  <a:srgbClr val="000000"/>
                </a:solidFill>
                <a:effectLst/>
                <a:uLnTx/>
                <a:uFillTx/>
                <a:latin typeface="Open Sans"/>
              </a:rPr>
              <a:t>based</a:t>
            </a:r>
            <a:r>
              <a:rPr kumimoji="0" lang="hu-HU" sz="900" b="0" i="0" u="none" strike="noStrike" kern="1200" cap="none" spc="0" normalizeH="0" baseline="0" noProof="0" dirty="0">
                <a:ln>
                  <a:noFill/>
                </a:ln>
                <a:solidFill>
                  <a:srgbClr val="000000"/>
                </a:solidFill>
                <a:effectLst/>
                <a:uLnTx/>
                <a:uFillTx/>
                <a:latin typeface="Open Sans"/>
              </a:rPr>
              <a:t> </a:t>
            </a:r>
            <a:r>
              <a:rPr kumimoji="0" lang="hu-HU" sz="900" b="0" i="0" u="none" strike="noStrike" kern="1200" cap="none" spc="0" normalizeH="0" baseline="0" noProof="0" dirty="0" err="1">
                <a:ln>
                  <a:noFill/>
                </a:ln>
                <a:solidFill>
                  <a:srgbClr val="000000"/>
                </a:solidFill>
                <a:effectLst/>
                <a:uLnTx/>
                <a:uFillTx/>
                <a:latin typeface="Open Sans"/>
              </a:rPr>
              <a:t>on</a:t>
            </a:r>
            <a:r>
              <a:rPr kumimoji="0" lang="hu-HU" sz="900" b="0" i="0" u="none" strike="noStrike" kern="1200" cap="none" spc="0" normalizeH="0" baseline="0" noProof="0" dirty="0">
                <a:ln>
                  <a:noFill/>
                </a:ln>
                <a:solidFill>
                  <a:srgbClr val="000000"/>
                </a:solidFill>
                <a:effectLst/>
                <a:uLnTx/>
                <a:uFillTx/>
                <a:latin typeface="Open Sans"/>
              </a:rPr>
              <a:t> </a:t>
            </a:r>
            <a:r>
              <a:rPr kumimoji="0" lang="hu-HU" sz="900" b="0" i="0" u="none" strike="noStrike" kern="1200" cap="none" spc="0" normalizeH="0" baseline="0" noProof="0" dirty="0" err="1">
                <a:ln>
                  <a:noFill/>
                </a:ln>
                <a:solidFill>
                  <a:srgbClr val="000000"/>
                </a:solidFill>
                <a:effectLst/>
                <a:uLnTx/>
                <a:uFillTx/>
                <a:latin typeface="Open Sans"/>
              </a:rPr>
              <a:t>probability</a:t>
            </a:r>
            <a:r>
              <a:rPr kumimoji="0" lang="hu-HU" sz="900" b="0" i="0" u="none" strike="noStrike" kern="1200" cap="none" spc="0" normalizeH="0" baseline="0" noProof="0" dirty="0">
                <a:ln>
                  <a:noFill/>
                </a:ln>
                <a:solidFill>
                  <a:srgbClr val="000000"/>
                </a:solidFill>
                <a:effectLst/>
                <a:uLnTx/>
                <a:uFillTx/>
                <a:latin typeface="Open Sans"/>
              </a:rPr>
              <a:t> and </a:t>
            </a:r>
            <a:r>
              <a:rPr kumimoji="0" lang="hu-HU" sz="900" b="0" i="0" u="none" strike="noStrike" kern="1200" cap="none" spc="0" normalizeH="0" baseline="0" noProof="0" dirty="0" err="1">
                <a:ln>
                  <a:noFill/>
                </a:ln>
                <a:solidFill>
                  <a:srgbClr val="000000"/>
                </a:solidFill>
                <a:effectLst/>
                <a:uLnTx/>
                <a:uFillTx/>
                <a:latin typeface="Open Sans"/>
              </a:rPr>
              <a:t>impact</a:t>
            </a:r>
            <a:r>
              <a:rPr kumimoji="0" lang="hu-HU" sz="900" b="0" i="0" u="none" strike="noStrike" kern="1200" cap="none" spc="0" normalizeH="0" baseline="0" noProof="0" dirty="0">
                <a:ln>
                  <a:noFill/>
                </a:ln>
                <a:solidFill>
                  <a:srgbClr val="000000"/>
                </a:solidFill>
                <a:effectLst/>
                <a:uLnTx/>
                <a:uFillTx/>
                <a:latin typeface="Open Sans"/>
              </a:rPr>
              <a:t>, and</a:t>
            </a:r>
            <a:r>
              <a:rPr kumimoji="0" lang="en-US" sz="900" b="0" i="0" u="none" strike="noStrike" kern="1200" cap="none" spc="0" normalizeH="0" baseline="0" noProof="0" dirty="0">
                <a:ln>
                  <a:noFill/>
                </a:ln>
                <a:solidFill>
                  <a:srgbClr val="000000"/>
                </a:solidFill>
                <a:effectLst/>
                <a:uLnTx/>
                <a:uFillTx/>
                <a:latin typeface="Open Sans"/>
              </a:rPr>
              <a:t> mitigation steps</a:t>
            </a:r>
            <a:r>
              <a:rPr kumimoji="0" lang="hu-HU" sz="900" b="0" i="0" u="none" strike="noStrike" kern="1200" cap="none" spc="0" normalizeH="0" baseline="0" noProof="0" dirty="0">
                <a:ln>
                  <a:noFill/>
                </a:ln>
                <a:solidFill>
                  <a:srgbClr val="000000"/>
                </a:solidFill>
                <a:effectLst/>
                <a:uLnTx/>
                <a:uFillTx/>
                <a:latin typeface="Open Sans"/>
              </a:rPr>
              <a:t>. In </a:t>
            </a:r>
            <a:r>
              <a:rPr kumimoji="0" lang="hu-HU" sz="900" b="0" i="0" u="none" strike="noStrike" kern="1200" cap="none" spc="0" normalizeH="0" baseline="0" noProof="0" dirty="0" err="1">
                <a:ln>
                  <a:noFill/>
                </a:ln>
                <a:solidFill>
                  <a:srgbClr val="000000"/>
                </a:solidFill>
                <a:effectLst/>
                <a:uLnTx/>
                <a:uFillTx/>
                <a:latin typeface="Open Sans"/>
              </a:rPr>
              <a:t>addition</a:t>
            </a:r>
            <a:r>
              <a:rPr kumimoji="0" lang="hu-HU" sz="900" b="0" i="0" u="none" strike="noStrike" kern="1200" cap="none" spc="0" normalizeH="0" baseline="0" noProof="0" dirty="0">
                <a:ln>
                  <a:noFill/>
                </a:ln>
                <a:solidFill>
                  <a:srgbClr val="000000"/>
                </a:solidFill>
                <a:effectLst/>
                <a:uLnTx/>
                <a:uFillTx/>
                <a:latin typeface="Open Sans"/>
              </a:rPr>
              <a:t> </a:t>
            </a:r>
            <a:r>
              <a:rPr kumimoji="0" lang="en-US" sz="900" b="0" i="0" u="none" strike="noStrike" kern="1200" cap="none" spc="0" normalizeH="0" baseline="0" noProof="0" dirty="0">
                <a:ln>
                  <a:noFill/>
                </a:ln>
                <a:solidFill>
                  <a:srgbClr val="000000"/>
                </a:solidFill>
                <a:effectLst/>
                <a:uLnTx/>
                <a:uFillTx/>
                <a:latin typeface="Open Sans"/>
              </a:rPr>
              <a:t>provides risk status</a:t>
            </a:r>
            <a:r>
              <a:rPr kumimoji="0" lang="hu-HU" sz="900" b="0" i="0" u="none" strike="noStrike" kern="1200" cap="none" spc="0" normalizeH="0" baseline="0" noProof="0" dirty="0">
                <a:ln>
                  <a:noFill/>
                </a:ln>
                <a:solidFill>
                  <a:srgbClr val="000000"/>
                </a:solidFill>
                <a:effectLst/>
                <a:uLnTx/>
                <a:uFillTx/>
                <a:latin typeface="Open Sans"/>
              </a:rPr>
              <a:t> and s</a:t>
            </a:r>
            <a:r>
              <a:rPr kumimoji="0" lang="en-US" sz="900" b="0" i="0" u="none" strike="noStrike" kern="1200" cap="none" spc="0" normalizeH="0" baseline="0" noProof="0" dirty="0" err="1">
                <a:ln>
                  <a:noFill/>
                </a:ln>
                <a:solidFill>
                  <a:srgbClr val="000000"/>
                </a:solidFill>
                <a:effectLst/>
                <a:uLnTx/>
                <a:uFillTx/>
                <a:latin typeface="Open Sans"/>
              </a:rPr>
              <a:t>upports</a:t>
            </a:r>
            <a:r>
              <a:rPr kumimoji="0" lang="en-US" sz="900" b="0" i="0" u="none" strike="noStrike" kern="1200" cap="none" spc="0" normalizeH="0" baseline="0" noProof="0" dirty="0">
                <a:ln>
                  <a:noFill/>
                </a:ln>
                <a:solidFill>
                  <a:srgbClr val="000000"/>
                </a:solidFill>
                <a:effectLst/>
                <a:uLnTx/>
                <a:uFillTx/>
                <a:latin typeface="Open Sans"/>
              </a:rPr>
              <a:t> change and stakeholder management.</a:t>
            </a:r>
          </a:p>
        </p:txBody>
      </p:sp>
      <p:sp>
        <p:nvSpPr>
          <p:cNvPr id="19" name="Rectangle 18">
            <a:extLst>
              <a:ext uri="{FF2B5EF4-FFF2-40B4-BE49-F238E27FC236}">
                <a16:creationId xmlns:a16="http://schemas.microsoft.com/office/drawing/2014/main" id="{F3AF71B8-5ACE-2604-FBCE-E905282A9CC4}"/>
              </a:ext>
            </a:extLst>
          </p:cNvPr>
          <p:cNvSpPr/>
          <p:nvPr/>
        </p:nvSpPr>
        <p:spPr>
          <a:xfrm>
            <a:off x="6093159" y="3471018"/>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err="1">
                <a:solidFill>
                  <a:schemeClr val="bg1"/>
                </a:solidFill>
                <a:latin typeface="Open Sans"/>
              </a:rPr>
              <a:t>Risk</a:t>
            </a:r>
            <a:r>
              <a:rPr lang="hu-HU" sz="1050" b="1" dirty="0">
                <a:solidFill>
                  <a:schemeClr val="bg1"/>
                </a:solidFill>
                <a:latin typeface="Open Sans"/>
              </a:rPr>
              <a:t> </a:t>
            </a:r>
            <a:r>
              <a:rPr lang="hu-HU" sz="1050" b="1" dirty="0" err="1">
                <a:solidFill>
                  <a:schemeClr val="bg1"/>
                </a:solidFill>
                <a:latin typeface="Open Sans"/>
              </a:rPr>
              <a:t>tracker</a:t>
            </a:r>
            <a:endParaRPr lang="hu-HU" sz="1050" b="1" dirty="0">
              <a:solidFill>
                <a:schemeClr val="bg1"/>
              </a:solidFill>
              <a:latin typeface="Open Sans"/>
            </a:endParaRPr>
          </a:p>
        </p:txBody>
      </p:sp>
      <p:sp>
        <p:nvSpPr>
          <p:cNvPr id="20" name="Text Placeholder 3">
            <a:extLst>
              <a:ext uri="{FF2B5EF4-FFF2-40B4-BE49-F238E27FC236}">
                <a16:creationId xmlns:a16="http://schemas.microsoft.com/office/drawing/2014/main" id="{AB5AE9C3-A6BE-ACE9-D8C0-EEE5A1463D10}"/>
              </a:ext>
            </a:extLst>
          </p:cNvPr>
          <p:cNvSpPr txBox="1">
            <a:spLocks/>
          </p:cNvSpPr>
          <p:nvPr/>
        </p:nvSpPr>
        <p:spPr>
          <a:xfrm>
            <a:off x="6099822" y="4573144"/>
            <a:ext cx="5037197" cy="646999"/>
          </a:xfrm>
          <a:prstGeom prst="rect">
            <a:avLst/>
          </a:prstGeom>
          <a:noFill/>
          <a:ln w="19050">
            <a:solidFill>
              <a:srgbClr val="00B0F2"/>
            </a:solidFill>
          </a:ln>
        </p:spPr>
        <p:txBody>
          <a:bodyPr vert="horz" lIns="90000" tIns="90000" rIns="1152000" bIns="90000" rtlCol="0" anchor="t">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buNone/>
              <a:defRPr/>
            </a:pPr>
            <a:r>
              <a:rPr lang="en-US" sz="900" dirty="0">
                <a:solidFill>
                  <a:srgbClr val="000000"/>
                </a:solidFill>
                <a:latin typeface="Open Sans"/>
              </a:rPr>
              <a:t>Monitor</a:t>
            </a:r>
            <a:r>
              <a:rPr lang="hu-HU" sz="900" dirty="0">
                <a:solidFill>
                  <a:srgbClr val="000000"/>
                </a:solidFill>
                <a:latin typeface="Open Sans"/>
              </a:rPr>
              <a:t>s</a:t>
            </a:r>
            <a:r>
              <a:rPr lang="en-US" sz="900" dirty="0">
                <a:solidFill>
                  <a:srgbClr val="000000"/>
                </a:solidFill>
                <a:latin typeface="Open Sans"/>
              </a:rPr>
              <a:t> the progress of the project, keep track of the budget, tasks, deliverables and open questions. Define next steps and follow-up responsible people.</a:t>
            </a:r>
          </a:p>
        </p:txBody>
      </p:sp>
      <p:sp>
        <p:nvSpPr>
          <p:cNvPr id="21" name="Rectangle 20">
            <a:extLst>
              <a:ext uri="{FF2B5EF4-FFF2-40B4-BE49-F238E27FC236}">
                <a16:creationId xmlns:a16="http://schemas.microsoft.com/office/drawing/2014/main" id="{2C4027ED-1231-9C1E-9554-1A86E7091952}"/>
              </a:ext>
            </a:extLst>
          </p:cNvPr>
          <p:cNvSpPr/>
          <p:nvPr/>
        </p:nvSpPr>
        <p:spPr>
          <a:xfrm>
            <a:off x="6083327" y="4389768"/>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a:solidFill>
                  <a:schemeClr val="bg1"/>
                </a:solidFill>
                <a:latin typeface="Open Sans"/>
              </a:rPr>
              <a:t>Status </a:t>
            </a:r>
            <a:r>
              <a:rPr lang="hu-HU" sz="1050" b="1" dirty="0" err="1">
                <a:solidFill>
                  <a:schemeClr val="bg1"/>
                </a:solidFill>
                <a:latin typeface="Open Sans"/>
              </a:rPr>
              <a:t>report</a:t>
            </a:r>
            <a:endParaRPr lang="hu-HU" sz="1050" b="1" dirty="0">
              <a:solidFill>
                <a:schemeClr val="bg1"/>
              </a:solidFill>
              <a:latin typeface="Open Sans"/>
            </a:endParaRPr>
          </a:p>
        </p:txBody>
      </p:sp>
      <p:sp>
        <p:nvSpPr>
          <p:cNvPr id="22" name="Text Placeholder 3">
            <a:extLst>
              <a:ext uri="{FF2B5EF4-FFF2-40B4-BE49-F238E27FC236}">
                <a16:creationId xmlns:a16="http://schemas.microsoft.com/office/drawing/2014/main" id="{1C26481C-9075-8EE0-1BDA-3554F85038C9}"/>
              </a:ext>
            </a:extLst>
          </p:cNvPr>
          <p:cNvSpPr txBox="1">
            <a:spLocks/>
          </p:cNvSpPr>
          <p:nvPr/>
        </p:nvSpPr>
        <p:spPr>
          <a:xfrm>
            <a:off x="6099822" y="5486339"/>
            <a:ext cx="5037197" cy="646999"/>
          </a:xfrm>
          <a:prstGeom prst="rect">
            <a:avLst/>
          </a:prstGeom>
          <a:noFill/>
          <a:ln w="19050">
            <a:solidFill>
              <a:srgbClr val="00B0F2"/>
            </a:solidFill>
          </a:ln>
        </p:spPr>
        <p:txBody>
          <a:bodyPr vert="horz" lIns="90000" tIns="90000" rIns="1152000" bIns="90000" rtlCol="0" anchor="t">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fontAlgn="auto">
              <a:lnSpc>
                <a:spcPct val="100000"/>
              </a:lnSpc>
              <a:spcBef>
                <a:spcPts val="600"/>
              </a:spcBef>
              <a:spcAft>
                <a:spcPts val="0"/>
              </a:spcAft>
              <a:buClrTx/>
              <a:buSzTx/>
              <a:buNone/>
              <a:tabLst/>
              <a:defRPr/>
            </a:pPr>
            <a:r>
              <a:rPr lang="en-US" sz="900" dirty="0">
                <a:solidFill>
                  <a:srgbClr val="000000"/>
                </a:solidFill>
                <a:latin typeface="Open Sans"/>
              </a:rPr>
              <a:t>Escalate</a:t>
            </a:r>
            <a:r>
              <a:rPr lang="hu-HU" sz="900" dirty="0">
                <a:solidFill>
                  <a:srgbClr val="000000"/>
                </a:solidFill>
                <a:latin typeface="Open Sans"/>
              </a:rPr>
              <a:t>s</a:t>
            </a:r>
            <a:r>
              <a:rPr lang="en-US" sz="900" dirty="0">
                <a:solidFill>
                  <a:srgbClr val="000000"/>
                </a:solidFill>
                <a:latin typeface="Open Sans"/>
              </a:rPr>
              <a:t> any important decisions to be taken by </a:t>
            </a:r>
            <a:r>
              <a:rPr lang="hu-HU" sz="900" dirty="0" err="1">
                <a:solidFill>
                  <a:srgbClr val="000000"/>
                </a:solidFill>
                <a:latin typeface="Open Sans"/>
              </a:rPr>
              <a:t>the</a:t>
            </a:r>
            <a:r>
              <a:rPr lang="hu-HU" sz="900" dirty="0">
                <a:solidFill>
                  <a:srgbClr val="000000"/>
                </a:solidFill>
                <a:latin typeface="Open Sans"/>
              </a:rPr>
              <a:t> </a:t>
            </a:r>
            <a:r>
              <a:rPr lang="hu-HU" sz="900" dirty="0" err="1">
                <a:solidFill>
                  <a:srgbClr val="000000"/>
                </a:solidFill>
                <a:latin typeface="Open Sans"/>
              </a:rPr>
              <a:t>client</a:t>
            </a:r>
            <a:r>
              <a:rPr lang="en-US" sz="900" dirty="0">
                <a:solidFill>
                  <a:srgbClr val="000000"/>
                </a:solidFill>
                <a:latin typeface="Open Sans"/>
              </a:rPr>
              <a:t> with prepared decision support materials for which the professional input is provided by </a:t>
            </a:r>
            <a:r>
              <a:rPr lang="hu-HU" sz="900" dirty="0" err="1">
                <a:solidFill>
                  <a:srgbClr val="000000"/>
                </a:solidFill>
                <a:latin typeface="Open Sans"/>
              </a:rPr>
              <a:t>the</a:t>
            </a:r>
            <a:r>
              <a:rPr lang="hu-HU" sz="900" dirty="0">
                <a:solidFill>
                  <a:srgbClr val="000000"/>
                </a:solidFill>
                <a:latin typeface="Open Sans"/>
              </a:rPr>
              <a:t> </a:t>
            </a:r>
            <a:r>
              <a:rPr lang="hu-HU" sz="900" dirty="0" err="1">
                <a:solidFill>
                  <a:srgbClr val="000000"/>
                </a:solidFill>
                <a:latin typeface="Open Sans"/>
              </a:rPr>
              <a:t>client</a:t>
            </a:r>
            <a:r>
              <a:rPr lang="en-US" sz="900" dirty="0">
                <a:solidFill>
                  <a:srgbClr val="000000"/>
                </a:solidFill>
                <a:latin typeface="Open Sans"/>
              </a:rPr>
              <a:t>.</a:t>
            </a:r>
          </a:p>
        </p:txBody>
      </p:sp>
      <p:sp>
        <p:nvSpPr>
          <p:cNvPr id="23" name="Rectangle 22">
            <a:extLst>
              <a:ext uri="{FF2B5EF4-FFF2-40B4-BE49-F238E27FC236}">
                <a16:creationId xmlns:a16="http://schemas.microsoft.com/office/drawing/2014/main" id="{56CACFFB-4233-BD2F-C6E4-F320F6EC5E47}"/>
              </a:ext>
            </a:extLst>
          </p:cNvPr>
          <p:cNvSpPr/>
          <p:nvPr/>
        </p:nvSpPr>
        <p:spPr>
          <a:xfrm>
            <a:off x="6083327" y="5296122"/>
            <a:ext cx="4203154" cy="181712"/>
          </a:xfrm>
          <a:prstGeom prst="rect">
            <a:avLst/>
          </a:prstGeom>
          <a:solidFill>
            <a:srgbClr val="00B0F2"/>
          </a:solidFill>
          <a:ln w="9525">
            <a:solidFill>
              <a:srgbClr val="00B0F2"/>
            </a:solid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hu-HU" sz="1050" b="1" dirty="0">
                <a:solidFill>
                  <a:schemeClr val="bg1"/>
                </a:solidFill>
                <a:latin typeface="Open Sans"/>
              </a:rPr>
              <a:t>Decision </a:t>
            </a:r>
            <a:r>
              <a:rPr lang="hu-HU" sz="1050" b="1" dirty="0" err="1">
                <a:solidFill>
                  <a:schemeClr val="bg1"/>
                </a:solidFill>
                <a:latin typeface="Open Sans"/>
              </a:rPr>
              <a:t>support</a:t>
            </a:r>
            <a:r>
              <a:rPr lang="hu-HU" sz="1050" b="1" dirty="0">
                <a:solidFill>
                  <a:schemeClr val="bg1"/>
                </a:solidFill>
                <a:latin typeface="Open Sans"/>
              </a:rPr>
              <a:t> </a:t>
            </a:r>
            <a:r>
              <a:rPr lang="hu-HU" sz="1050" b="1" dirty="0" err="1">
                <a:solidFill>
                  <a:schemeClr val="bg1"/>
                </a:solidFill>
                <a:latin typeface="Open Sans"/>
              </a:rPr>
              <a:t>materials</a:t>
            </a:r>
            <a:endParaRPr lang="hu-HU" sz="1050" b="1" dirty="0">
              <a:solidFill>
                <a:schemeClr val="bg1"/>
              </a:solidFill>
              <a:latin typeface="Open Sans"/>
            </a:endParaRPr>
          </a:p>
        </p:txBody>
      </p:sp>
      <p:pic>
        <p:nvPicPr>
          <p:cNvPr id="24" name="Picture 23">
            <a:extLst>
              <a:ext uri="{FF2B5EF4-FFF2-40B4-BE49-F238E27FC236}">
                <a16:creationId xmlns:a16="http://schemas.microsoft.com/office/drawing/2014/main" id="{07364FDF-4843-B476-688D-A672F1CA947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94983" y="4612560"/>
            <a:ext cx="984861" cy="557124"/>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1DE33382-B028-5837-352A-607287F58A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73763" y="1845385"/>
            <a:ext cx="824813" cy="575157"/>
          </a:xfrm>
          <a:prstGeom prst="rect">
            <a:avLst/>
          </a:prstGeom>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7554210D-6390-1E6E-F1DA-46763A13A7A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93444" y="5532413"/>
            <a:ext cx="986400" cy="554850"/>
          </a:xfrm>
          <a:prstGeom prst="rect">
            <a:avLst/>
          </a:prstGeom>
          <a:solidFill>
            <a:schemeClr val="accent2"/>
          </a:solidFill>
          <a:ln>
            <a:solidFill>
              <a:schemeClr val="bg1">
                <a:lumMod val="65000"/>
              </a:schemeClr>
            </a:solidFill>
          </a:ln>
          <a:effectLst>
            <a:outerShdw blurRad="50800" dist="38100" dir="2700000" algn="tl" rotWithShape="0">
              <a:prstClr val="black">
                <a:alpha val="40000"/>
              </a:prstClr>
            </a:outerShdw>
          </a:effectLst>
        </p:spPr>
      </p:pic>
      <p:pic>
        <p:nvPicPr>
          <p:cNvPr id="27" name="Kép 4">
            <a:extLst>
              <a:ext uri="{FF2B5EF4-FFF2-40B4-BE49-F238E27FC236}">
                <a16:creationId xmlns:a16="http://schemas.microsoft.com/office/drawing/2014/main" id="{99714361-5570-E5A4-0219-28190F92BCE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12176" y="2761016"/>
            <a:ext cx="986400" cy="573252"/>
          </a:xfrm>
          <a:prstGeom prst="rect">
            <a:avLst/>
          </a:prstGeom>
          <a:solidFill>
            <a:schemeClr val="bg1"/>
          </a:solidFill>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0AEBD2D6-A994-F6D8-660C-BD3E98FAE79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01257" y="1856638"/>
            <a:ext cx="878587" cy="558000"/>
          </a:xfrm>
          <a:prstGeom prst="rect">
            <a:avLst/>
          </a:prstGeom>
          <a:solidFill>
            <a:schemeClr val="accent2"/>
          </a:solidFill>
          <a:ln>
            <a:solidFill>
              <a:schemeClr val="bg1">
                <a:lumMod val="65000"/>
              </a:schemeClr>
            </a:solidFill>
          </a:ln>
          <a:effectLst>
            <a:outerShdw blurRad="50800" dist="38100" dir="2700000" algn="tl" rotWithShape="0">
              <a:prstClr val="black">
                <a:alpha val="40000"/>
              </a:prstClr>
            </a:outerShdw>
          </a:effectLst>
        </p:spPr>
      </p:pic>
      <p:pic>
        <p:nvPicPr>
          <p:cNvPr id="29" name="Picture 7">
            <a:extLst>
              <a:ext uri="{FF2B5EF4-FFF2-40B4-BE49-F238E27FC236}">
                <a16:creationId xmlns:a16="http://schemas.microsoft.com/office/drawing/2014/main" id="{FCC30A5E-2921-42C5-6345-A91B86FFCDD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078064" y="3690719"/>
            <a:ext cx="1020512" cy="558000"/>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pic>
      <p:grpSp>
        <p:nvGrpSpPr>
          <p:cNvPr id="30" name="Group 29">
            <a:extLst>
              <a:ext uri="{FF2B5EF4-FFF2-40B4-BE49-F238E27FC236}">
                <a16:creationId xmlns:a16="http://schemas.microsoft.com/office/drawing/2014/main" id="{BAEF4410-ADFD-0F4F-753C-83EBF6649CC7}"/>
              </a:ext>
            </a:extLst>
          </p:cNvPr>
          <p:cNvGrpSpPr>
            <a:grpSpLocks noChangeAspect="1"/>
          </p:cNvGrpSpPr>
          <p:nvPr/>
        </p:nvGrpSpPr>
        <p:grpSpPr>
          <a:xfrm>
            <a:off x="9959232" y="4617332"/>
            <a:ext cx="1139344" cy="558000"/>
            <a:chOff x="6400443" y="5357129"/>
            <a:chExt cx="1073188" cy="525600"/>
          </a:xfrm>
        </p:grpSpPr>
        <p:sp>
          <p:nvSpPr>
            <p:cNvPr id="31" name="Rectangle 30">
              <a:extLst>
                <a:ext uri="{FF2B5EF4-FFF2-40B4-BE49-F238E27FC236}">
                  <a16:creationId xmlns:a16="http://schemas.microsoft.com/office/drawing/2014/main" id="{E2CF76A9-A829-E2B6-1558-12D870F622DF}"/>
                </a:ext>
              </a:extLst>
            </p:cNvPr>
            <p:cNvSpPr/>
            <p:nvPr/>
          </p:nvSpPr>
          <p:spPr>
            <a:xfrm>
              <a:off x="6418921" y="5361893"/>
              <a:ext cx="1054710" cy="520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dirty="0">
                <a:ln>
                  <a:noFill/>
                </a:ln>
                <a:solidFill>
                  <a:prstClr val="white"/>
                </a:solidFill>
                <a:effectLst/>
                <a:uLnTx/>
                <a:uFillTx/>
                <a:latin typeface="Calibri Light"/>
                <a:ea typeface="Open Sans" panose="020B0606030504020204" pitchFamily="34" charset="0"/>
                <a:cs typeface="Open Sans" panose="020B0606030504020204" pitchFamily="34" charset="0"/>
              </a:endParaRPr>
            </a:p>
          </p:txBody>
        </p:sp>
        <p:pic>
          <p:nvPicPr>
            <p:cNvPr id="32" name="Picture 31">
              <a:extLst>
                <a:ext uri="{FF2B5EF4-FFF2-40B4-BE49-F238E27FC236}">
                  <a16:creationId xmlns:a16="http://schemas.microsoft.com/office/drawing/2014/main" id="{52F45C66-B3B5-14A6-4DCD-9B8A1A31946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400443" y="5357129"/>
              <a:ext cx="1057440" cy="525600"/>
            </a:xfrm>
            <a:prstGeom prst="rect">
              <a:avLst/>
            </a:prstGeom>
            <a:effectLst>
              <a:outerShdw blurRad="50800" dist="38100" dir="8100000" algn="tr" rotWithShape="0">
                <a:prstClr val="black">
                  <a:alpha val="40000"/>
                </a:prstClr>
              </a:outerShdw>
            </a:effectLst>
          </p:spPr>
        </p:pic>
      </p:grpSp>
      <p:pic>
        <p:nvPicPr>
          <p:cNvPr id="33" name="Group 91">
            <a:extLst>
              <a:ext uri="{FF2B5EF4-FFF2-40B4-BE49-F238E27FC236}">
                <a16:creationId xmlns:a16="http://schemas.microsoft.com/office/drawing/2014/main" id="{81FA37D5-B49A-5D40-A48A-D00305A71529}"/>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674022" y="2741448"/>
            <a:ext cx="878400" cy="661429"/>
          </a:xfrm>
          <a:prstGeom prst="rect">
            <a:avLst/>
          </a:prstGeom>
          <a:noFill/>
          <a:ln w="9525">
            <a:noFill/>
            <a:miter lim="800000"/>
            <a:headEnd/>
            <a:tailEnd/>
          </a:ln>
        </p:spPr>
      </p:pic>
      <p:pic>
        <p:nvPicPr>
          <p:cNvPr id="34" name="Picture 34">
            <a:extLst>
              <a:ext uri="{FF2B5EF4-FFF2-40B4-BE49-F238E27FC236}">
                <a16:creationId xmlns:a16="http://schemas.microsoft.com/office/drawing/2014/main" id="{D6502104-580C-4B18-A1A3-028FE81FDF69}"/>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675005" y="3690165"/>
            <a:ext cx="804839" cy="558000"/>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pic>
      <p:grpSp>
        <p:nvGrpSpPr>
          <p:cNvPr id="35" name="Group 34">
            <a:extLst>
              <a:ext uri="{FF2B5EF4-FFF2-40B4-BE49-F238E27FC236}">
                <a16:creationId xmlns:a16="http://schemas.microsoft.com/office/drawing/2014/main" id="{F09FA58B-7ACD-79A3-9CDB-019834F33A02}"/>
              </a:ext>
            </a:extLst>
          </p:cNvPr>
          <p:cNvGrpSpPr/>
          <p:nvPr/>
        </p:nvGrpSpPr>
        <p:grpSpPr>
          <a:xfrm>
            <a:off x="10241309" y="5543105"/>
            <a:ext cx="840548" cy="495559"/>
            <a:chOff x="3645284" y="5029441"/>
            <a:chExt cx="1096771" cy="666178"/>
          </a:xfrm>
          <a:effectLst>
            <a:outerShdw blurRad="50800" dist="38100" dir="2700000" algn="tl" rotWithShape="0">
              <a:prstClr val="black">
                <a:alpha val="40000"/>
              </a:prstClr>
            </a:outerShdw>
          </a:effectLst>
        </p:grpSpPr>
        <p:pic>
          <p:nvPicPr>
            <p:cNvPr id="36" name="Picture 35">
              <a:extLst>
                <a:ext uri="{FF2B5EF4-FFF2-40B4-BE49-F238E27FC236}">
                  <a16:creationId xmlns:a16="http://schemas.microsoft.com/office/drawing/2014/main" id="{45C5F465-8746-70F8-39B9-FE02228C353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645284" y="5029441"/>
              <a:ext cx="1008000" cy="566999"/>
            </a:xfrm>
            <a:prstGeom prst="rect">
              <a:avLst/>
            </a:prstGeom>
            <a:solidFill>
              <a:schemeClr val="accent2"/>
            </a:solidFill>
            <a:ln>
              <a:solidFill>
                <a:schemeClr val="bg1">
                  <a:lumMod val="65000"/>
                </a:schemeClr>
              </a:solidFill>
            </a:ln>
            <a:effectLst>
              <a:outerShdw blurRad="50800" dist="38100" dir="8100000" algn="tr" rotWithShape="0">
                <a:prstClr val="black">
                  <a:alpha val="40000"/>
                </a:prstClr>
              </a:outerShdw>
            </a:effectLst>
          </p:spPr>
        </p:pic>
        <p:pic>
          <p:nvPicPr>
            <p:cNvPr id="37" name="Picture 36">
              <a:extLst>
                <a:ext uri="{FF2B5EF4-FFF2-40B4-BE49-F238E27FC236}">
                  <a16:creationId xmlns:a16="http://schemas.microsoft.com/office/drawing/2014/main" id="{D4981950-AA11-F52B-EB60-2ABD936AB1B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734055" y="5128619"/>
              <a:ext cx="1008000" cy="567000"/>
            </a:xfrm>
            <a:prstGeom prst="rect">
              <a:avLst/>
            </a:prstGeom>
            <a:solidFill>
              <a:schemeClr val="accent2"/>
            </a:solidFill>
            <a:ln>
              <a:solidFill>
                <a:schemeClr val="bg1">
                  <a:lumMod val="65000"/>
                </a:schemeClr>
              </a:solidFill>
            </a:ln>
            <a:effectLst>
              <a:outerShdw blurRad="50800" dist="38100" dir="8100000" algn="tr" rotWithShape="0">
                <a:prstClr val="black">
                  <a:alpha val="40000"/>
                </a:prstClr>
              </a:outerShdw>
            </a:effectLst>
          </p:spPr>
        </p:pic>
      </p:grpSp>
      <p:sp>
        <p:nvSpPr>
          <p:cNvPr id="38" name="Rectangle 37">
            <a:extLst>
              <a:ext uri="{FF2B5EF4-FFF2-40B4-BE49-F238E27FC236}">
                <a16:creationId xmlns:a16="http://schemas.microsoft.com/office/drawing/2014/main" id="{74AB97F7-F21E-1083-B9FB-37A399481ED2}"/>
              </a:ext>
            </a:extLst>
          </p:cNvPr>
          <p:cNvSpPr/>
          <p:nvPr/>
        </p:nvSpPr>
        <p:spPr bwMode="gray">
          <a:xfrm rot="1657173">
            <a:off x="5151772" y="1860326"/>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39" name="Rectangle 38">
            <a:extLst>
              <a:ext uri="{FF2B5EF4-FFF2-40B4-BE49-F238E27FC236}">
                <a16:creationId xmlns:a16="http://schemas.microsoft.com/office/drawing/2014/main" id="{DCE490F4-BD0D-B7B3-E79A-B3091CFE5562}"/>
              </a:ext>
            </a:extLst>
          </p:cNvPr>
          <p:cNvSpPr/>
          <p:nvPr/>
        </p:nvSpPr>
        <p:spPr bwMode="gray">
          <a:xfrm rot="1657173">
            <a:off x="5151771" y="2757388"/>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40" name="Rectangle 39">
            <a:extLst>
              <a:ext uri="{FF2B5EF4-FFF2-40B4-BE49-F238E27FC236}">
                <a16:creationId xmlns:a16="http://schemas.microsoft.com/office/drawing/2014/main" id="{B4C6EA22-7E2C-DD28-8DDA-C8A6F15F0FB4}"/>
              </a:ext>
            </a:extLst>
          </p:cNvPr>
          <p:cNvSpPr/>
          <p:nvPr/>
        </p:nvSpPr>
        <p:spPr bwMode="gray">
          <a:xfrm rot="1657173">
            <a:off x="5151771" y="3684228"/>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41" name="Rectangle 40">
            <a:extLst>
              <a:ext uri="{FF2B5EF4-FFF2-40B4-BE49-F238E27FC236}">
                <a16:creationId xmlns:a16="http://schemas.microsoft.com/office/drawing/2014/main" id="{39F40776-8ED5-6A74-29AF-F718545E2901}"/>
              </a:ext>
            </a:extLst>
          </p:cNvPr>
          <p:cNvSpPr/>
          <p:nvPr/>
        </p:nvSpPr>
        <p:spPr bwMode="gray">
          <a:xfrm rot="1657173">
            <a:off x="5151771" y="4633868"/>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42" name="Rectangle 41">
            <a:extLst>
              <a:ext uri="{FF2B5EF4-FFF2-40B4-BE49-F238E27FC236}">
                <a16:creationId xmlns:a16="http://schemas.microsoft.com/office/drawing/2014/main" id="{5F24F8AF-1690-979D-5076-7EE8EB98E583}"/>
              </a:ext>
            </a:extLst>
          </p:cNvPr>
          <p:cNvSpPr/>
          <p:nvPr/>
        </p:nvSpPr>
        <p:spPr bwMode="gray">
          <a:xfrm rot="1657173">
            <a:off x="5155715" y="5527812"/>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43" name="Rectangle 42">
            <a:extLst>
              <a:ext uri="{FF2B5EF4-FFF2-40B4-BE49-F238E27FC236}">
                <a16:creationId xmlns:a16="http://schemas.microsoft.com/office/drawing/2014/main" id="{B35F173F-9BEB-9664-2596-4F5FB7623586}"/>
              </a:ext>
            </a:extLst>
          </p:cNvPr>
          <p:cNvSpPr/>
          <p:nvPr/>
        </p:nvSpPr>
        <p:spPr bwMode="gray">
          <a:xfrm rot="1657173">
            <a:off x="10769918" y="1860326"/>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44" name="Rectangle 43">
            <a:extLst>
              <a:ext uri="{FF2B5EF4-FFF2-40B4-BE49-F238E27FC236}">
                <a16:creationId xmlns:a16="http://schemas.microsoft.com/office/drawing/2014/main" id="{73947FC4-F11B-9F41-D84C-B5966139E28A}"/>
              </a:ext>
            </a:extLst>
          </p:cNvPr>
          <p:cNvSpPr/>
          <p:nvPr/>
        </p:nvSpPr>
        <p:spPr bwMode="gray">
          <a:xfrm rot="1657173">
            <a:off x="10769917" y="2757388"/>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45" name="Rectangle 44">
            <a:extLst>
              <a:ext uri="{FF2B5EF4-FFF2-40B4-BE49-F238E27FC236}">
                <a16:creationId xmlns:a16="http://schemas.microsoft.com/office/drawing/2014/main" id="{66274899-430A-A262-087E-015092D5CC93}"/>
              </a:ext>
            </a:extLst>
          </p:cNvPr>
          <p:cNvSpPr/>
          <p:nvPr/>
        </p:nvSpPr>
        <p:spPr bwMode="gray">
          <a:xfrm rot="1657173">
            <a:off x="10769917" y="3684228"/>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46" name="Rectangle 45">
            <a:extLst>
              <a:ext uri="{FF2B5EF4-FFF2-40B4-BE49-F238E27FC236}">
                <a16:creationId xmlns:a16="http://schemas.microsoft.com/office/drawing/2014/main" id="{788099CC-C3AB-AF11-0D3D-2DAB1C33A1D3}"/>
              </a:ext>
            </a:extLst>
          </p:cNvPr>
          <p:cNvSpPr/>
          <p:nvPr/>
        </p:nvSpPr>
        <p:spPr bwMode="gray">
          <a:xfrm rot="1657173">
            <a:off x="10769917" y="4633868"/>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
        <p:nvSpPr>
          <p:cNvPr id="47" name="Rectangle 46">
            <a:extLst>
              <a:ext uri="{FF2B5EF4-FFF2-40B4-BE49-F238E27FC236}">
                <a16:creationId xmlns:a16="http://schemas.microsoft.com/office/drawing/2014/main" id="{E80FB088-D5E9-15FF-60F6-26D202679C59}"/>
              </a:ext>
            </a:extLst>
          </p:cNvPr>
          <p:cNvSpPr/>
          <p:nvPr/>
        </p:nvSpPr>
        <p:spPr bwMode="gray">
          <a:xfrm rot="1657173">
            <a:off x="10773861" y="5527812"/>
            <a:ext cx="432000" cy="144000"/>
          </a:xfrm>
          <a:prstGeom prst="rect">
            <a:avLst/>
          </a:prstGeom>
          <a:solidFill>
            <a:schemeClr val="bg1"/>
          </a:solidFill>
          <a:ln w="19050" algn="ctr">
            <a:solidFill>
              <a:schemeClr val="tx1">
                <a:lumMod val="50000"/>
                <a:lumOff val="50000"/>
              </a:schemeClr>
            </a:solidFill>
            <a:prstDash val="sysDash"/>
            <a:miter lim="800000"/>
            <a:headEnd/>
            <a:tailEnd/>
          </a:ln>
        </p:spPr>
        <p:txBody>
          <a:bodyPr wrap="square" lIns="0" tIns="0" rIns="0" bIns="0" rtlCol="0" anchor="ctr"/>
          <a:lstStyle/>
          <a:p>
            <a:pPr algn="ctr"/>
            <a:r>
              <a:rPr lang="en-US" sz="7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ample</a:t>
            </a:r>
          </a:p>
        </p:txBody>
      </p:sp>
    </p:spTree>
    <p:extLst>
      <p:ext uri="{BB962C8B-B14F-4D97-AF65-F5344CB8AC3E}">
        <p14:creationId xmlns:p14="http://schemas.microsoft.com/office/powerpoint/2010/main" val="3090618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109EF01-7951-EF02-CA63-98AAB5CF4D44}"/>
              </a:ext>
            </a:extLst>
          </p:cNvPr>
          <p:cNvGraphicFramePr>
            <a:graphicFrameLocks noChangeAspect="1"/>
          </p:cNvGraphicFramePr>
          <p:nvPr>
            <p:custDataLst>
              <p:tags r:id="rId1"/>
            </p:custDataLst>
            <p:extLst>
              <p:ext uri="{D42A27DB-BD31-4B8C-83A1-F6EECF244321}">
                <p14:modId xmlns:p14="http://schemas.microsoft.com/office/powerpoint/2010/main" val="4117080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think-cell data - do not delete" hidden="1">
                        <a:extLst>
                          <a:ext uri="{FF2B5EF4-FFF2-40B4-BE49-F238E27FC236}">
                            <a16:creationId xmlns:a16="http://schemas.microsoft.com/office/drawing/2014/main" id="{0109EF01-7951-EF02-CA63-98AAB5CF4D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960C9063-8D2B-B56B-E57D-CB4EFECAB83A}"/>
              </a:ext>
            </a:extLst>
          </p:cNvPr>
          <p:cNvSpPr>
            <a:spLocks noGrp="1"/>
          </p:cNvSpPr>
          <p:nvPr>
            <p:ph type="body" sz="quarter" idx="12"/>
          </p:nvPr>
        </p:nvSpPr>
        <p:spPr>
          <a:xfrm>
            <a:off x="7222016" y="2759090"/>
            <a:ext cx="4969983" cy="1431193"/>
          </a:xfrm>
        </p:spPr>
        <p:txBody>
          <a:bodyPr/>
          <a:lstStyle/>
          <a:p>
            <a:r>
              <a:rPr lang="en-US" dirty="0"/>
              <a:t>Our previous work with UN </a:t>
            </a:r>
            <a:endParaRPr lang="en-US"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24F4CC36-248A-BADB-AC2E-93252F0676D1}"/>
              </a:ext>
            </a:extLst>
          </p:cNvPr>
          <p:cNvSpPr>
            <a:spLocks noGrp="1"/>
          </p:cNvSpPr>
          <p:nvPr>
            <p:ph type="body" sz="quarter" idx="14"/>
          </p:nvPr>
        </p:nvSpPr>
        <p:spPr/>
        <p:txBody>
          <a:bodyPr/>
          <a:lstStyle/>
          <a:p>
            <a:pPr>
              <a:defRPr/>
            </a:pPr>
            <a:r>
              <a:rPr lang="en-US" dirty="0">
                <a:solidFill>
                  <a:srgbClr val="00B0F2"/>
                </a:solidFill>
              </a:rPr>
              <a:t>03</a:t>
            </a:r>
          </a:p>
        </p:txBody>
      </p:sp>
      <p:sp>
        <p:nvSpPr>
          <p:cNvPr id="8" name="Text Placeholder 7">
            <a:extLst>
              <a:ext uri="{FF2B5EF4-FFF2-40B4-BE49-F238E27FC236}">
                <a16:creationId xmlns:a16="http://schemas.microsoft.com/office/drawing/2014/main" id="{3459877A-FB34-E0EF-0D77-535711160A1A}"/>
              </a:ext>
            </a:extLst>
          </p:cNvPr>
          <p:cNvSpPr>
            <a:spLocks noGrp="1"/>
          </p:cNvSpPr>
          <p:nvPr>
            <p:ph type="body" sz="quarter" idx="15"/>
          </p:nvPr>
        </p:nvSpPr>
        <p:spPr>
          <a:xfrm>
            <a:off x="7222017" y="3781425"/>
            <a:ext cx="4156075" cy="1508647"/>
          </a:xfrm>
        </p:spPr>
        <p:txBody>
          <a:bodyPr/>
          <a:lstStyle/>
          <a:p>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a:p>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6" name="Picture 15">
            <a:extLst>
              <a:ext uri="{FF2B5EF4-FFF2-40B4-BE49-F238E27FC236}">
                <a16:creationId xmlns:a16="http://schemas.microsoft.com/office/drawing/2014/main" id="{189D357C-F283-1B43-4C2E-B2638AE81C2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a:ext>
            </a:extLst>
          </a:blip>
          <a:srcRect/>
          <a:stretch/>
        </p:blipFill>
        <p:spPr>
          <a:xfrm>
            <a:off x="1344468" y="0"/>
            <a:ext cx="4267200" cy="6858000"/>
          </a:xfrm>
          <a:prstGeom prst="rect">
            <a:avLst/>
          </a:prstGeom>
        </p:spPr>
      </p:pic>
    </p:spTree>
    <p:extLst>
      <p:ext uri="{BB962C8B-B14F-4D97-AF65-F5344CB8AC3E}">
        <p14:creationId xmlns:p14="http://schemas.microsoft.com/office/powerpoint/2010/main" val="2367943235"/>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F04D04-039C-A130-476C-7AE5A6C30AD4}"/>
              </a:ext>
            </a:extLst>
          </p:cNvPr>
          <p:cNvSpPr>
            <a:spLocks noGrp="1"/>
          </p:cNvSpPr>
          <p:nvPr>
            <p:ph type="body" sz="quarter" idx="22"/>
          </p:nvPr>
        </p:nvSpPr>
        <p:spPr/>
        <p:txBody>
          <a:bodyPr/>
          <a:lstStyle/>
          <a:p>
            <a:r>
              <a:rPr lang="en-US" sz="1400" dirty="0">
                <a:solidFill>
                  <a:prstClr val="black"/>
                </a:solidFill>
              </a:rPr>
              <a:t>Deloitte has a strong project management practitioner team in Hungary, Budapest with a relevant service portfolio, leveraging a wide range of tools and methodologies to create solutions that are effective, efficient and sustainable.</a:t>
            </a:r>
            <a:endParaRPr lang="en-US" sz="1400" dirty="0"/>
          </a:p>
        </p:txBody>
      </p:sp>
      <p:sp>
        <p:nvSpPr>
          <p:cNvPr id="3" name="Title 2">
            <a:extLst>
              <a:ext uri="{FF2B5EF4-FFF2-40B4-BE49-F238E27FC236}">
                <a16:creationId xmlns:a16="http://schemas.microsoft.com/office/drawing/2014/main" id="{421CADF2-3E05-1261-9940-808D377029CB}"/>
              </a:ext>
            </a:extLst>
          </p:cNvPr>
          <p:cNvSpPr>
            <a:spLocks noGrp="1"/>
          </p:cNvSpPr>
          <p:nvPr>
            <p:ph type="title"/>
          </p:nvPr>
        </p:nvSpPr>
        <p:spPr/>
        <p:txBody>
          <a:bodyPr/>
          <a:lstStyle/>
          <a:p>
            <a:r>
              <a:rPr lang="en-US" dirty="0">
                <a:cs typeface="Calibri Light"/>
              </a:rPr>
              <a:t>Project Management Services Team</a:t>
            </a:r>
            <a:endParaRPr lang="en-US" dirty="0"/>
          </a:p>
        </p:txBody>
      </p:sp>
      <p:cxnSp>
        <p:nvCxnSpPr>
          <p:cNvPr id="4" name="Straight Connector 3">
            <a:extLst>
              <a:ext uri="{FF2B5EF4-FFF2-40B4-BE49-F238E27FC236}">
                <a16:creationId xmlns:a16="http://schemas.microsoft.com/office/drawing/2014/main" id="{F331BFBC-9CDB-5B31-6791-503B03456CE6}"/>
              </a:ext>
            </a:extLst>
          </p:cNvPr>
          <p:cNvCxnSpPr>
            <a:cxnSpLocks/>
          </p:cNvCxnSpPr>
          <p:nvPr/>
        </p:nvCxnSpPr>
        <p:spPr>
          <a:xfrm>
            <a:off x="2426327" y="2181022"/>
            <a:ext cx="6012000"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6A56B-F7B8-F553-4E7B-4174DD736713}"/>
              </a:ext>
            </a:extLst>
          </p:cNvPr>
          <p:cNvCxnSpPr>
            <a:cxnSpLocks/>
          </p:cNvCxnSpPr>
          <p:nvPr/>
        </p:nvCxnSpPr>
        <p:spPr>
          <a:xfrm>
            <a:off x="2426327" y="3693588"/>
            <a:ext cx="5990082" cy="2516"/>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AABFFE5-0918-D15D-6BBE-E09798ACFD29}"/>
              </a:ext>
            </a:extLst>
          </p:cNvPr>
          <p:cNvSpPr/>
          <p:nvPr/>
        </p:nvSpPr>
        <p:spPr bwMode="gray">
          <a:xfrm>
            <a:off x="943129" y="1693812"/>
            <a:ext cx="2237205" cy="1006787"/>
          </a:xfrm>
          <a:prstGeom prst="rect">
            <a:avLst/>
          </a:prstGeom>
          <a:solidFill>
            <a:schemeClr val="accent4">
              <a:lumMod val="20000"/>
              <a:lumOff val="80000"/>
            </a:schemeClr>
          </a:solidFill>
          <a:ln w="19050" algn="ctr">
            <a:solidFill>
              <a:schemeClr val="accent2">
                <a:lumMod val="75000"/>
              </a:schemeClr>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 name="TextBox 6">
            <a:extLst>
              <a:ext uri="{FF2B5EF4-FFF2-40B4-BE49-F238E27FC236}">
                <a16:creationId xmlns:a16="http://schemas.microsoft.com/office/drawing/2014/main" id="{537CD1C2-4606-CE36-B582-0A55840DD010}"/>
              </a:ext>
            </a:extLst>
          </p:cNvPr>
          <p:cNvSpPr txBox="1"/>
          <p:nvPr/>
        </p:nvSpPr>
        <p:spPr>
          <a:xfrm>
            <a:off x="1759343" y="1824791"/>
            <a:ext cx="1484365" cy="738664"/>
          </a:xfrm>
          <a:prstGeom prst="rect">
            <a:avLst/>
          </a:prstGeom>
          <a:noFill/>
        </p:spPr>
        <p:txBody>
          <a:bodyPr wrap="square" lIns="0" tIns="0" rIns="0" bIns="0" rtlCol="0" anchor="t">
            <a:spAutoFit/>
          </a:bodyPr>
          <a:lstStyle/>
          <a:p>
            <a:pPr>
              <a:spcBef>
                <a:spcPts val="600"/>
              </a:spcBef>
              <a:buSzPct val="100000"/>
            </a:pPr>
            <a:r>
              <a:rPr lang="en-US" sz="1050" b="1">
                <a:solidFill>
                  <a:srgbClr val="313131"/>
                </a:solidFill>
                <a:ea typeface="Open Sans Light" panose="020B0306030504020204" pitchFamily="34" charset="0"/>
                <a:cs typeface="Open Sans Light" panose="020B0306030504020204" pitchFamily="34" charset="0"/>
              </a:rPr>
              <a:t>Eszter Lukács</a:t>
            </a:r>
          </a:p>
          <a:p>
            <a:pPr>
              <a:spcBef>
                <a:spcPts val="300"/>
              </a:spcBef>
              <a:buSzPct val="100000"/>
            </a:pPr>
            <a:r>
              <a:rPr lang="en-US" sz="10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Director</a:t>
            </a:r>
          </a:p>
          <a:p>
            <a:pPr>
              <a:spcBef>
                <a:spcPts val="300"/>
              </a:spcBef>
              <a:buSzPct val="100000"/>
            </a:pPr>
            <a:r>
              <a:rPr lang="en-US" sz="1000">
                <a:solidFill>
                  <a:srgbClr val="313131"/>
                </a:solidFill>
                <a:latin typeface="Open Sans Light"/>
                <a:ea typeface="Open Sans Light"/>
                <a:cs typeface="Open Sans Light"/>
              </a:rPr>
              <a:t>20 years of exp.</a:t>
            </a:r>
            <a:endParaRPr lang="en-US" sz="10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300"/>
              </a:spcBef>
              <a:buSzPct val="100000"/>
            </a:pPr>
            <a:r>
              <a:rPr lang="en-US" sz="10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endPar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4FBCB8B0-EB82-1E69-3FBA-60C0E8DA2845}"/>
              </a:ext>
            </a:extLst>
          </p:cNvPr>
          <p:cNvSpPr/>
          <p:nvPr/>
        </p:nvSpPr>
        <p:spPr bwMode="gray">
          <a:xfrm>
            <a:off x="3659929" y="1693812"/>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9" name="Rectangle 8">
            <a:extLst>
              <a:ext uri="{FF2B5EF4-FFF2-40B4-BE49-F238E27FC236}">
                <a16:creationId xmlns:a16="http://schemas.microsoft.com/office/drawing/2014/main" id="{AAE9259A-71B4-AF12-A696-2D8BD3E31080}"/>
              </a:ext>
            </a:extLst>
          </p:cNvPr>
          <p:cNvSpPr/>
          <p:nvPr/>
        </p:nvSpPr>
        <p:spPr bwMode="gray">
          <a:xfrm>
            <a:off x="6259510"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0" name="TextBox 9">
            <a:extLst>
              <a:ext uri="{FF2B5EF4-FFF2-40B4-BE49-F238E27FC236}">
                <a16:creationId xmlns:a16="http://schemas.microsoft.com/office/drawing/2014/main" id="{570C615A-13F5-C116-1E6C-6BBCC5017430}"/>
              </a:ext>
            </a:extLst>
          </p:cNvPr>
          <p:cNvSpPr txBox="1"/>
          <p:nvPr/>
        </p:nvSpPr>
        <p:spPr>
          <a:xfrm>
            <a:off x="4468057" y="1824791"/>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hu-HU" sz="1050" b="1" dirty="0">
                <a:solidFill>
                  <a:srgbClr val="313131"/>
                </a:solidFill>
                <a:latin typeface="Open Sans"/>
                <a:ea typeface="Open Sans Light" panose="020B0306030504020204" pitchFamily="34" charset="0"/>
                <a:cs typeface="Open Sans Light" panose="020B0306030504020204" pitchFamily="34" charset="0"/>
              </a:rPr>
              <a:t>Kis-Nagy Katalin</a:t>
            </a:r>
            <a:endParaRPr kumimoji="0" lang="en-US" sz="105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hu-HU" sz="1000" b="0" i="0" u="none" strike="noStrike" kern="1200" cap="none" spc="0" normalizeH="0" baseline="0" noProof="0" dirty="0">
                <a:ln>
                  <a:noFill/>
                </a:ln>
                <a:solidFill>
                  <a:srgbClr val="313131"/>
                </a:solidFill>
                <a:effectLst/>
                <a:uLnTx/>
                <a:uFillTx/>
                <a:latin typeface="Open Sans Light"/>
                <a:ea typeface="Open Sans Light"/>
                <a:cs typeface="Open Sans Light"/>
              </a:rPr>
              <a:t>15</a:t>
            </a:r>
            <a:r>
              <a:rPr kumimoji="0" lang="en-US" sz="1000" b="0" i="0" u="none" strike="noStrike" kern="1200" cap="none" spc="0" normalizeH="0" baseline="0" noProof="0" dirty="0">
                <a:ln>
                  <a:noFill/>
                </a:ln>
                <a:solidFill>
                  <a:srgbClr val="313131"/>
                </a:solidFill>
                <a:effectLst/>
                <a:uLnTx/>
                <a:uFillTx/>
                <a:latin typeface="Open Sans Light"/>
                <a:ea typeface="Open Sans Light"/>
                <a:cs typeface="Open Sans Light"/>
              </a:rPr>
              <a:t> years of exp.</a:t>
            </a:r>
            <a:endParaRPr kumimoji="0" lang="en-US" sz="10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11" name="TextBox 10">
            <a:extLst>
              <a:ext uri="{FF2B5EF4-FFF2-40B4-BE49-F238E27FC236}">
                <a16:creationId xmlns:a16="http://schemas.microsoft.com/office/drawing/2014/main" id="{B9E4C844-A8CA-72E8-847E-0B94A1450F8C}"/>
              </a:ext>
            </a:extLst>
          </p:cNvPr>
          <p:cNvSpPr txBox="1"/>
          <p:nvPr/>
        </p:nvSpPr>
        <p:spPr>
          <a:xfrm>
            <a:off x="7047785" y="1842896"/>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050" b="1" dirty="0" err="1">
                <a:solidFill>
                  <a:srgbClr val="313131"/>
                </a:solidFill>
                <a:latin typeface="Open Sans"/>
                <a:ea typeface="Open Sans Light" panose="020B0306030504020204" pitchFamily="34" charset="0"/>
                <a:cs typeface="Open Sans Light" panose="020B0306030504020204" pitchFamily="34" charset="0"/>
              </a:rPr>
              <a:t>Gáspár</a:t>
            </a:r>
            <a:r>
              <a:rPr lang="en-US" sz="1050" b="1" dirty="0">
                <a:solidFill>
                  <a:srgbClr val="313131"/>
                </a:solidFill>
                <a:latin typeface="Open Sans"/>
                <a:ea typeface="Open Sans Light" panose="020B0306030504020204" pitchFamily="34" charset="0"/>
                <a:cs typeface="Open Sans Light" panose="020B0306030504020204" pitchFamily="34" charset="0"/>
              </a:rPr>
              <a:t> </a:t>
            </a:r>
            <a:r>
              <a:rPr lang="en-US" sz="1050" b="1" dirty="0" err="1">
                <a:solidFill>
                  <a:srgbClr val="313131"/>
                </a:solidFill>
                <a:latin typeface="Open Sans"/>
                <a:ea typeface="Open Sans Light" panose="020B0306030504020204" pitchFamily="34" charset="0"/>
                <a:cs typeface="Open Sans Light" panose="020B0306030504020204" pitchFamily="34" charset="0"/>
              </a:rPr>
              <a:t>Tíma</a:t>
            </a:r>
            <a:endParaRPr kumimoji="0" lang="en-US" sz="105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Manager</a:t>
            </a:r>
          </a:p>
          <a:p>
            <a:pPr>
              <a:spcBef>
                <a:spcPts val="300"/>
              </a:spcBef>
              <a:buSzPct val="100000"/>
            </a:pP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8</a:t>
            </a: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 years of exp.</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12" name="Rectangle 11">
            <a:extLst>
              <a:ext uri="{FF2B5EF4-FFF2-40B4-BE49-F238E27FC236}">
                <a16:creationId xmlns:a16="http://schemas.microsoft.com/office/drawing/2014/main" id="{79772DB2-1BC9-7B10-8DEC-026D5F5007CA}"/>
              </a:ext>
            </a:extLst>
          </p:cNvPr>
          <p:cNvSpPr/>
          <p:nvPr/>
        </p:nvSpPr>
        <p:spPr bwMode="gray">
          <a:xfrm>
            <a:off x="359778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3" name="TextBox 12">
            <a:extLst>
              <a:ext uri="{FF2B5EF4-FFF2-40B4-BE49-F238E27FC236}">
                <a16:creationId xmlns:a16="http://schemas.microsoft.com/office/drawing/2014/main" id="{B44E8B79-105D-6A5D-F816-72057FC48B96}"/>
              </a:ext>
            </a:extLst>
          </p:cNvPr>
          <p:cNvSpPr txBox="1"/>
          <p:nvPr/>
        </p:nvSpPr>
        <p:spPr>
          <a:xfrm>
            <a:off x="4369701"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100" b="1">
                <a:solidFill>
                  <a:srgbClr val="313131"/>
                </a:solidFill>
                <a:latin typeface="Open Sans"/>
                <a:ea typeface="Open Sans Light" panose="020B0306030504020204" pitchFamily="34" charset="0"/>
                <a:cs typeface="Open Sans Light" panose="020B0306030504020204" pitchFamily="34" charset="0"/>
              </a:rPr>
              <a:t>Nyitrai Dóri</a:t>
            </a:r>
            <a:endParaRPr kumimoji="0" lang="en-US" sz="1100" b="1" i="0" u="none" strike="noStrike" kern="1200" cap="none" spc="0" normalizeH="0" baseline="0" noProof="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4</a:t>
            </a: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4" name="Straight Connector 13">
            <a:extLst>
              <a:ext uri="{FF2B5EF4-FFF2-40B4-BE49-F238E27FC236}">
                <a16:creationId xmlns:a16="http://schemas.microsoft.com/office/drawing/2014/main" id="{24213975-F375-356D-8A40-BB234C4F5BB8}"/>
              </a:ext>
            </a:extLst>
          </p:cNvPr>
          <p:cNvCxnSpPr>
            <a:cxnSpLocks/>
          </p:cNvCxnSpPr>
          <p:nvPr/>
        </p:nvCxnSpPr>
        <p:spPr>
          <a:xfrm>
            <a:off x="1810693" y="5244871"/>
            <a:ext cx="4788000"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1F85622-BCD2-A298-181C-C64C289EF365}"/>
              </a:ext>
            </a:extLst>
          </p:cNvPr>
          <p:cNvSpPr/>
          <p:nvPr/>
        </p:nvSpPr>
        <p:spPr bwMode="gray">
          <a:xfrm>
            <a:off x="897859"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6" name="TextBox 15">
            <a:extLst>
              <a:ext uri="{FF2B5EF4-FFF2-40B4-BE49-F238E27FC236}">
                <a16:creationId xmlns:a16="http://schemas.microsoft.com/office/drawing/2014/main" id="{CE84A681-CA23-DF80-F398-88E97E902013}"/>
              </a:ext>
            </a:extLst>
          </p:cNvPr>
          <p:cNvSpPr txBox="1"/>
          <p:nvPr/>
        </p:nvSpPr>
        <p:spPr>
          <a:xfrm>
            <a:off x="1608481" y="4973232"/>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noProof="0">
                <a:ln>
                  <a:noFill/>
                </a:ln>
                <a:solidFill>
                  <a:srgbClr val="313131"/>
                </a:solidFill>
                <a:effectLst/>
                <a:uLnTx/>
                <a:uFillTx/>
                <a:latin typeface="Open Sans"/>
                <a:ea typeface="Open Sans Light" panose="020B0306030504020204" pitchFamily="34" charset="0"/>
                <a:cs typeface="Open Sans Light" panose="020B0306030504020204" pitchFamily="34" charset="0"/>
              </a:rPr>
              <a:t>Fazekas Luc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3</a:t>
            </a: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r>
              <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7" name="Picture 4" descr="Hungary Large Flag | Gallery Yopriceville - High-Quality Free Images ...">
            <a:extLst>
              <a:ext uri="{FF2B5EF4-FFF2-40B4-BE49-F238E27FC236}">
                <a16:creationId xmlns:a16="http://schemas.microsoft.com/office/drawing/2014/main" id="{6A1E8563-42D2-6AF7-BA4E-4AE4B4C5540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859779" y="246473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8" name="Picture 4" descr="Hungary Large Flag | Gallery Yopriceville - High-Quality Free Images ...">
            <a:extLst>
              <a:ext uri="{FF2B5EF4-FFF2-40B4-BE49-F238E27FC236}">
                <a16:creationId xmlns:a16="http://schemas.microsoft.com/office/drawing/2014/main" id="{8171CD47-CE99-2F58-6AAD-AA08D06E5FC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59279"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9" name="Oval 18">
            <a:extLst>
              <a:ext uri="{FF2B5EF4-FFF2-40B4-BE49-F238E27FC236}">
                <a16:creationId xmlns:a16="http://schemas.microsoft.com/office/drawing/2014/main" id="{8A592BB9-4743-C18C-F9A3-04A03950C47C}"/>
              </a:ext>
            </a:extLst>
          </p:cNvPr>
          <p:cNvSpPr/>
          <p:nvPr/>
        </p:nvSpPr>
        <p:spPr bwMode="gray">
          <a:xfrm>
            <a:off x="2872767"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a:t>
            </a:r>
            <a:r>
              <a:rPr lang="en-US" sz="800" b="1">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20" name="Oval 19">
            <a:extLst>
              <a:ext uri="{FF2B5EF4-FFF2-40B4-BE49-F238E27FC236}">
                <a16:creationId xmlns:a16="http://schemas.microsoft.com/office/drawing/2014/main" id="{038217AE-64E6-874E-FA33-1C13045EFC6B}"/>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BA</a:t>
            </a:r>
            <a:endParaRPr lang="en-US" sz="800" b="1" dirty="0">
              <a:solidFill>
                <a:schemeClr val="accent2">
                  <a:lumMod val="50000"/>
                </a:schemeClr>
              </a:solidFill>
            </a:endParaRPr>
          </a:p>
        </p:txBody>
      </p:sp>
      <p:pic>
        <p:nvPicPr>
          <p:cNvPr id="21" name="Picture 2" descr="UNICEF Logo and symbol, meaning, history, PNG, brand">
            <a:extLst>
              <a:ext uri="{FF2B5EF4-FFF2-40B4-BE49-F238E27FC236}">
                <a16:creationId xmlns:a16="http://schemas.microsoft.com/office/drawing/2014/main" id="{2054DE75-6363-5854-46A6-5C9180F9F43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4FB0BE8C-3CA0-1C30-EA1D-6C09D2A93692}"/>
              </a:ext>
            </a:extLst>
          </p:cNvPr>
          <p:cNvSpPr txBox="1"/>
          <p:nvPr/>
        </p:nvSpPr>
        <p:spPr>
          <a:xfrm>
            <a:off x="4992364" y="6263625"/>
            <a:ext cx="1061396" cy="176139"/>
          </a:xfrm>
          <a:prstGeom prst="rect">
            <a:avLst/>
          </a:prstGeom>
          <a:noFill/>
        </p:spPr>
        <p:txBody>
          <a:bodyPr wrap="square" lIns="0" tIns="0" rIns="0" bIns="0" rtlCol="0" anchor="t">
            <a:noAutofit/>
          </a:bodyPr>
          <a:lstStyle/>
          <a:p>
            <a:pPr>
              <a:spcAft>
                <a:spcPts val="1000"/>
              </a:spcAft>
            </a:pPr>
            <a:r>
              <a:rPr lang="en-US" sz="900">
                <a:latin typeface="+mj-lt"/>
                <a:ea typeface="Open Sans Light" panose="020B0306030504020204" pitchFamily="34" charset="0"/>
                <a:cs typeface="Open Sans Light" panose="020B0306030504020204" pitchFamily="34" charset="0"/>
              </a:rPr>
              <a:t>SENIORITY LEVELS</a:t>
            </a:r>
            <a:endParaRPr lang="en-US" sz="900" dirty="0">
              <a:latin typeface="+mj-lt"/>
              <a:ea typeface="Open Sans Light" panose="020B0306030504020204" pitchFamily="34" charset="0"/>
              <a:cs typeface="Open Sans Light" panose="020B0306030504020204" pitchFamily="34" charset="0"/>
            </a:endParaRPr>
          </a:p>
        </p:txBody>
      </p:sp>
      <p:sp>
        <p:nvSpPr>
          <p:cNvPr id="23" name="TextBox 22">
            <a:extLst>
              <a:ext uri="{FF2B5EF4-FFF2-40B4-BE49-F238E27FC236}">
                <a16:creationId xmlns:a16="http://schemas.microsoft.com/office/drawing/2014/main" id="{F10FCE0F-06EF-4E5F-898E-3198C3DA8720}"/>
              </a:ext>
            </a:extLst>
          </p:cNvPr>
          <p:cNvSpPr txBox="1"/>
          <p:nvPr/>
        </p:nvSpPr>
        <p:spPr>
          <a:xfrm>
            <a:off x="4623395" y="6505192"/>
            <a:ext cx="836295" cy="246221"/>
          </a:xfrm>
          <a:prstGeom prst="rect">
            <a:avLst/>
          </a:prstGeom>
          <a:noFill/>
        </p:spPr>
        <p:txBody>
          <a:bodyPr wrap="square" lIns="0" tIns="0" rIns="0" bIns="0" rtlCol="0">
            <a:spAutoFit/>
          </a:bodyPr>
          <a:lstStyle/>
          <a:p>
            <a:pPr>
              <a:spcBef>
                <a:spcPts val="600"/>
              </a:spcBef>
              <a:buSzPct val="100000"/>
            </a:pPr>
            <a:r>
              <a:rPr lang="en-US" sz="800">
                <a:solidFill>
                  <a:srgbClr val="313131"/>
                </a:solidFill>
                <a:latin typeface="Open Sans" panose="020B0606030504020204" pitchFamily="34" charset="0"/>
                <a:ea typeface="Open Sans" panose="020B0606030504020204" pitchFamily="34" charset="0"/>
                <a:cs typeface="Open Sans" panose="020B0606030504020204" pitchFamily="34" charset="0"/>
              </a:rPr>
              <a:t>Business Analys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D9AE4A3B-6921-86AD-9F0B-9707D484A09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25" name="TextBox 24">
            <a:extLst>
              <a:ext uri="{FF2B5EF4-FFF2-40B4-BE49-F238E27FC236}">
                <a16:creationId xmlns:a16="http://schemas.microsoft.com/office/drawing/2014/main" id="{2B8B795D-09E1-BC60-C9DB-D498CF72D980}"/>
              </a:ext>
            </a:extLst>
          </p:cNvPr>
          <p:cNvSpPr txBox="1"/>
          <p:nvPr/>
        </p:nvSpPr>
        <p:spPr>
          <a:xfrm>
            <a:off x="5950707" y="6505192"/>
            <a:ext cx="953892" cy="246221"/>
          </a:xfrm>
          <a:prstGeom prst="rect">
            <a:avLst/>
          </a:prstGeom>
          <a:noFill/>
        </p:spPr>
        <p:txBody>
          <a:bodyPr wrap="square" lIns="0" tIns="0" rIns="0" bIns="0" rtlCol="0">
            <a:spAutoFit/>
          </a:bodyPr>
          <a:lstStyle/>
          <a:p>
            <a:pPr>
              <a:spcBef>
                <a:spcPts val="600"/>
              </a:spcBef>
              <a:buSzPct val="100000"/>
            </a:pPr>
            <a:r>
              <a:rPr lang="en-US" sz="800">
                <a:solidFill>
                  <a:srgbClr val="313131"/>
                </a:solidFill>
                <a:latin typeface="Open Sans" panose="020B0606030504020204" pitchFamily="34" charset="0"/>
                <a:ea typeface="Open Sans" panose="020B0606030504020204" pitchFamily="34" charset="0"/>
                <a:cs typeface="Open Sans" panose="020B0606030504020204" pitchFamily="34" charset="0"/>
              </a:rPr>
              <a:t>Junior Consultan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Oval 25">
            <a:extLst>
              <a:ext uri="{FF2B5EF4-FFF2-40B4-BE49-F238E27FC236}">
                <a16:creationId xmlns:a16="http://schemas.microsoft.com/office/drawing/2014/main" id="{EB27B2ED-1818-92A6-A829-C09D3BB099AE}"/>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27" name="TextBox 26">
            <a:extLst>
              <a:ext uri="{FF2B5EF4-FFF2-40B4-BE49-F238E27FC236}">
                <a16:creationId xmlns:a16="http://schemas.microsoft.com/office/drawing/2014/main" id="{0271B57C-C44A-F49E-7C20-DB5C3DF7A0A1}"/>
              </a:ext>
            </a:extLst>
          </p:cNvPr>
          <p:cNvSpPr txBox="1"/>
          <p:nvPr/>
        </p:nvSpPr>
        <p:spPr>
          <a:xfrm>
            <a:off x="8594367" y="6514248"/>
            <a:ext cx="949405" cy="246221"/>
          </a:xfrm>
          <a:prstGeom prst="rect">
            <a:avLst/>
          </a:prstGeom>
          <a:noFill/>
        </p:spPr>
        <p:txBody>
          <a:bodyPr wrap="square" lIns="0" tIns="0" rIns="0" bIns="0" rtlCol="0">
            <a:spAutoFit/>
          </a:bodyPr>
          <a:lstStyle/>
          <a:p>
            <a:pPr>
              <a:spcBef>
                <a:spcPts val="600"/>
              </a:spcBef>
              <a:buSzPct val="100000"/>
            </a:pPr>
            <a:r>
              <a:rPr lang="en-US" sz="800">
                <a:solidFill>
                  <a:srgbClr val="313131"/>
                </a:solidFill>
                <a:latin typeface="Open Sans" panose="020B0606030504020204" pitchFamily="34" charset="0"/>
                <a:ea typeface="Open Sans" panose="020B0606030504020204" pitchFamily="34" charset="0"/>
                <a:cs typeface="Open Sans" panose="020B0606030504020204" pitchFamily="34" charset="0"/>
              </a:rPr>
              <a:t>Manager               (8+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Oval 27">
            <a:extLst>
              <a:ext uri="{FF2B5EF4-FFF2-40B4-BE49-F238E27FC236}">
                <a16:creationId xmlns:a16="http://schemas.microsoft.com/office/drawing/2014/main" id="{733616A2-9B44-1C4C-FFC2-F4262CAC5BDE}"/>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29" name="TextBox 28">
            <a:extLst>
              <a:ext uri="{FF2B5EF4-FFF2-40B4-BE49-F238E27FC236}">
                <a16:creationId xmlns:a16="http://schemas.microsoft.com/office/drawing/2014/main" id="{978CD591-882D-F147-A180-10DCFA68B964}"/>
              </a:ext>
            </a:extLst>
          </p:cNvPr>
          <p:cNvSpPr txBox="1"/>
          <p:nvPr/>
        </p:nvSpPr>
        <p:spPr>
          <a:xfrm>
            <a:off x="7251384" y="6503741"/>
            <a:ext cx="953892" cy="246221"/>
          </a:xfrm>
          <a:prstGeom prst="rect">
            <a:avLst/>
          </a:prstGeom>
          <a:noFill/>
        </p:spPr>
        <p:txBody>
          <a:bodyPr wrap="square" lIns="0" tIns="0" rIns="0" bIns="0" rtlCol="0">
            <a:spAutoFit/>
          </a:bodyPr>
          <a:lstStyle/>
          <a:p>
            <a:pPr>
              <a:spcBef>
                <a:spcPts val="600"/>
              </a:spcBef>
              <a:buSzPct val="100000"/>
            </a:pPr>
            <a:r>
              <a:rPr lang="en-US" sz="800">
                <a:solidFill>
                  <a:srgbClr val="313131"/>
                </a:solidFill>
                <a:latin typeface="Open Sans" panose="020B0606030504020204" pitchFamily="34" charset="0"/>
                <a:ea typeface="Open Sans" panose="020B0606030504020204" pitchFamily="34" charset="0"/>
                <a:cs typeface="Open Sans" panose="020B0606030504020204" pitchFamily="34" charset="0"/>
              </a:rPr>
              <a:t>Senior Consultant (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Oval 29">
            <a:extLst>
              <a:ext uri="{FF2B5EF4-FFF2-40B4-BE49-F238E27FC236}">
                <a16:creationId xmlns:a16="http://schemas.microsoft.com/office/drawing/2014/main" id="{F54DF2CE-54F7-6ED0-A557-4AFA2B4998E5}"/>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31" name="TextBox 30">
            <a:extLst>
              <a:ext uri="{FF2B5EF4-FFF2-40B4-BE49-F238E27FC236}">
                <a16:creationId xmlns:a16="http://schemas.microsoft.com/office/drawing/2014/main" id="{71B19787-AEB2-9D20-1AD1-4473FDCBA756}"/>
              </a:ext>
            </a:extLst>
          </p:cNvPr>
          <p:cNvSpPr txBox="1"/>
          <p:nvPr/>
        </p:nvSpPr>
        <p:spPr>
          <a:xfrm>
            <a:off x="9835695" y="6505194"/>
            <a:ext cx="945105" cy="246221"/>
          </a:xfrm>
          <a:prstGeom prst="rect">
            <a:avLst/>
          </a:prstGeom>
          <a:noFill/>
        </p:spPr>
        <p:txBody>
          <a:bodyPr wrap="square" lIns="0" tIns="0" rIns="0" bIns="0" rtlCol="0">
            <a:spAutoFit/>
          </a:bodyPr>
          <a:lstStyle/>
          <a:p>
            <a:pPr>
              <a:spcBef>
                <a:spcPts val="600"/>
              </a:spcBef>
              <a:buSzPct val="100000"/>
            </a:pPr>
            <a:r>
              <a:rPr lang="en-US" sz="800">
                <a:solidFill>
                  <a:srgbClr val="313131"/>
                </a:solidFill>
                <a:latin typeface="Open Sans" panose="020B0606030504020204" pitchFamily="34" charset="0"/>
                <a:ea typeface="Open Sans" panose="020B0606030504020204" pitchFamily="34" charset="0"/>
                <a:cs typeface="Open Sans" panose="020B0606030504020204" pitchFamily="34" charset="0"/>
              </a:rPr>
              <a:t>Senior Manager (10+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Oval 31">
            <a:extLst>
              <a:ext uri="{FF2B5EF4-FFF2-40B4-BE49-F238E27FC236}">
                <a16:creationId xmlns:a16="http://schemas.microsoft.com/office/drawing/2014/main" id="{5C23E5E2-C643-BF24-AB0E-FE5726C4DF44}"/>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33" name="TextBox 32">
            <a:extLst>
              <a:ext uri="{FF2B5EF4-FFF2-40B4-BE49-F238E27FC236}">
                <a16:creationId xmlns:a16="http://schemas.microsoft.com/office/drawing/2014/main" id="{62D73300-914B-15C6-3094-1CF4C18082DF}"/>
              </a:ext>
            </a:extLst>
          </p:cNvPr>
          <p:cNvSpPr txBox="1"/>
          <p:nvPr/>
        </p:nvSpPr>
        <p:spPr>
          <a:xfrm>
            <a:off x="11121667" y="6505194"/>
            <a:ext cx="964710" cy="246221"/>
          </a:xfrm>
          <a:prstGeom prst="rect">
            <a:avLst/>
          </a:prstGeom>
          <a:noFill/>
        </p:spPr>
        <p:txBody>
          <a:bodyPr wrap="square" lIns="0" tIns="0" rIns="0" bIns="0" rtlCol="0">
            <a:spAutoFit/>
          </a:bodyPr>
          <a:lstStyle/>
          <a:p>
            <a:pPr>
              <a:spcBef>
                <a:spcPts val="600"/>
              </a:spcBef>
              <a:buSzPct val="100000"/>
            </a:pPr>
            <a:r>
              <a:rPr lang="en-US" sz="800">
                <a:solidFill>
                  <a:srgbClr val="313131"/>
                </a:solidFill>
                <a:latin typeface="Open Sans" panose="020B0606030504020204" pitchFamily="34" charset="0"/>
                <a:ea typeface="Open Sans" panose="020B0606030504020204" pitchFamily="34" charset="0"/>
                <a:cs typeface="Open Sans" panose="020B0606030504020204" pitchFamily="34" charset="0"/>
              </a:rPr>
              <a:t>Project Manager (15+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4" name="Picture 4" descr="Hungary Large Flag | Gallery Yopriceville - High-Quality Free Images ...">
            <a:extLst>
              <a:ext uri="{FF2B5EF4-FFF2-40B4-BE49-F238E27FC236}">
                <a16:creationId xmlns:a16="http://schemas.microsoft.com/office/drawing/2014/main" id="{842EA501-44E4-1E57-F887-6AB44989EE2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68332" y="245651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5" name="Picture 4" descr="Hungary Large Flag | Gallery Yopriceville - High-Quality Free Images ...">
            <a:extLst>
              <a:ext uri="{FF2B5EF4-FFF2-40B4-BE49-F238E27FC236}">
                <a16:creationId xmlns:a16="http://schemas.microsoft.com/office/drawing/2014/main" id="{49C2287B-5D00-3457-A639-33D21567DC1B}"/>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91356" y="247501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6" name="Picture 4" descr="Hungary Large Flag | Gallery Yopriceville - High-Quality Free Images ...">
            <a:extLst>
              <a:ext uri="{FF2B5EF4-FFF2-40B4-BE49-F238E27FC236}">
                <a16:creationId xmlns:a16="http://schemas.microsoft.com/office/drawing/2014/main" id="{F9A5653B-93F3-178B-261D-FFFCB62A598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84374"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7" name="Picture 4" descr="Hungary Large Flag | Gallery Yopriceville - High-Quality Free Images ...">
            <a:extLst>
              <a:ext uri="{FF2B5EF4-FFF2-40B4-BE49-F238E27FC236}">
                <a16:creationId xmlns:a16="http://schemas.microsoft.com/office/drawing/2014/main" id="{F764626E-C168-4B59-0F90-B2E4F8BBB99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22134" y="6556476"/>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983BDD07-954B-3719-A710-9D36C63CCB82}"/>
              </a:ext>
            </a:extLst>
          </p:cNvPr>
          <p:cNvSpPr txBox="1"/>
          <p:nvPr/>
        </p:nvSpPr>
        <p:spPr>
          <a:xfrm>
            <a:off x="1181282" y="6552688"/>
            <a:ext cx="2483526" cy="284693"/>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US" sz="800" i="1">
                <a:solidFill>
                  <a:srgbClr val="313131"/>
                </a:solidFill>
                <a:latin typeface="Open Sans" panose="020B0606030504020204" pitchFamily="34" charset="0"/>
                <a:ea typeface="Open Sans" panose="020B0606030504020204" pitchFamily="34" charset="0"/>
                <a:cs typeface="Open Sans" panose="020B0606030504020204" pitchFamily="34" charset="0"/>
              </a:rPr>
              <a:t>Deloitte Hungary</a:t>
            </a:r>
            <a:endPar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spcAft>
                <a:spcPts val="300"/>
              </a:spcAft>
              <a:buSzPct val="100000"/>
            </a:pPr>
            <a:r>
              <a:rPr lang="en-US" sz="800" i="1">
                <a:solidFill>
                  <a:srgbClr val="313131"/>
                </a:solidFill>
                <a:latin typeface="Open Sans" panose="020B0606030504020204" pitchFamily="34" charset="0"/>
                <a:ea typeface="Open Sans" panose="020B0606030504020204" pitchFamily="34" charset="0"/>
                <a:cs typeface="Open Sans" panose="020B0606030504020204" pitchFamily="34" charset="0"/>
              </a:rPr>
              <a:t>For detailed CVs see Appendix</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9" name="Picture 38">
            <a:extLst>
              <a:ext uri="{FF2B5EF4-FFF2-40B4-BE49-F238E27FC236}">
                <a16:creationId xmlns:a16="http://schemas.microsoft.com/office/drawing/2014/main" id="{54225BF1-F06E-8FE2-629C-78386705BC9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3750770" y="1883348"/>
            <a:ext cx="640080" cy="64008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0" name="Picture 2">
            <a:extLst>
              <a:ext uri="{FF2B5EF4-FFF2-40B4-BE49-F238E27FC236}">
                <a16:creationId xmlns:a16="http://schemas.microsoft.com/office/drawing/2014/main" id="{17844C27-D653-69FB-0931-BD800F82CC6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p:blipFill>
        <p:spPr bwMode="auto">
          <a:xfrm>
            <a:off x="1007908" y="1862277"/>
            <a:ext cx="641954" cy="641954"/>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 name="Picture 64">
            <a:extLst>
              <a:ext uri="{FF2B5EF4-FFF2-40B4-BE49-F238E27FC236}">
                <a16:creationId xmlns:a16="http://schemas.microsoft.com/office/drawing/2014/main" id="{F38E7779-4902-C33C-E3A4-346DC76DB26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p:blipFill>
        <p:spPr bwMode="auto">
          <a:xfrm>
            <a:off x="6338172" y="1898523"/>
            <a:ext cx="640080"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2" name="Oval 41">
            <a:extLst>
              <a:ext uri="{FF2B5EF4-FFF2-40B4-BE49-F238E27FC236}">
                <a16:creationId xmlns:a16="http://schemas.microsoft.com/office/drawing/2014/main" id="{3BD27A43-7122-7CAD-8950-7593680A1DB1}"/>
              </a:ext>
            </a:extLst>
          </p:cNvPr>
          <p:cNvSpPr/>
          <p:nvPr/>
        </p:nvSpPr>
        <p:spPr bwMode="gray">
          <a:xfrm>
            <a:off x="5594249"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S</a:t>
            </a: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43" name="Oval 42">
            <a:extLst>
              <a:ext uri="{FF2B5EF4-FFF2-40B4-BE49-F238E27FC236}">
                <a16:creationId xmlns:a16="http://schemas.microsoft.com/office/drawing/2014/main" id="{CC4266F3-B2D7-FECC-5E5D-86CC8C67D0B6}"/>
              </a:ext>
            </a:extLst>
          </p:cNvPr>
          <p:cNvSpPr/>
          <p:nvPr/>
        </p:nvSpPr>
        <p:spPr bwMode="gray">
          <a:xfrm>
            <a:off x="8213709" y="217516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pic>
        <p:nvPicPr>
          <p:cNvPr id="44" name="Picture 4">
            <a:extLst>
              <a:ext uri="{FF2B5EF4-FFF2-40B4-BE49-F238E27FC236}">
                <a16:creationId xmlns:a16="http://schemas.microsoft.com/office/drawing/2014/main" id="{F2138991-E803-A607-7836-AB9139672E19}"/>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p:blipFill>
        <p:spPr bwMode="auto">
          <a:xfrm flipH="1">
            <a:off x="3664808" y="3429000"/>
            <a:ext cx="640080"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890FC5E3-AF35-9F5D-9782-F1CD71924CB5}"/>
              </a:ext>
            </a:extLst>
          </p:cNvPr>
          <p:cNvSpPr/>
          <p:nvPr/>
        </p:nvSpPr>
        <p:spPr bwMode="gray">
          <a:xfrm>
            <a:off x="897857" y="3205562"/>
            <a:ext cx="224028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46" name="TextBox 45">
            <a:extLst>
              <a:ext uri="{FF2B5EF4-FFF2-40B4-BE49-F238E27FC236}">
                <a16:creationId xmlns:a16="http://schemas.microsoft.com/office/drawing/2014/main" id="{3ED97DBB-BC52-4A8B-4182-239C9902A829}"/>
              </a:ext>
            </a:extLst>
          </p:cNvPr>
          <p:cNvSpPr txBox="1"/>
          <p:nvPr/>
        </p:nvSpPr>
        <p:spPr>
          <a:xfrm>
            <a:off x="1724086"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100" b="1">
                <a:solidFill>
                  <a:srgbClr val="313131"/>
                </a:solidFill>
                <a:latin typeface="Open Sans"/>
                <a:ea typeface="Open Sans Light" panose="020B0306030504020204" pitchFamily="34" charset="0"/>
                <a:cs typeface="Open Sans Light" panose="020B0306030504020204" pitchFamily="34" charset="0"/>
              </a:rPr>
              <a:t>Nyári Péter</a:t>
            </a:r>
            <a:endParaRPr kumimoji="0" lang="en-US" sz="1100" b="1" i="0" u="none" strike="noStrike" kern="1200" cap="none" spc="0" normalizeH="0" baseline="0" noProof="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6</a:t>
            </a: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7" name="Picture 4" descr="Hungary Large Flag | Gallery Yopriceville - High-Quality Free Images ...">
            <a:extLst>
              <a:ext uri="{FF2B5EF4-FFF2-40B4-BE49-F238E27FC236}">
                <a16:creationId xmlns:a16="http://schemas.microsoft.com/office/drawing/2014/main" id="{92C94A59-5B5E-8449-D578-73B6A64924F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828057"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4C896F89-BA2D-716E-8657-901DDFADAA3C}"/>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p:blipFill>
        <p:spPr bwMode="auto">
          <a:xfrm>
            <a:off x="959380" y="3381489"/>
            <a:ext cx="640080"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9" name="Oval 48">
            <a:extLst>
              <a:ext uri="{FF2B5EF4-FFF2-40B4-BE49-F238E27FC236}">
                <a16:creationId xmlns:a16="http://schemas.microsoft.com/office/drawing/2014/main" id="{5755D38B-F2E2-675E-82CD-71BA30BAD9B7}"/>
              </a:ext>
            </a:extLst>
          </p:cNvPr>
          <p:cNvSpPr/>
          <p:nvPr/>
        </p:nvSpPr>
        <p:spPr bwMode="gray">
          <a:xfrm>
            <a:off x="2846289" y="3744765"/>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50" name="Oval 49">
            <a:extLst>
              <a:ext uri="{FF2B5EF4-FFF2-40B4-BE49-F238E27FC236}">
                <a16:creationId xmlns:a16="http://schemas.microsoft.com/office/drawing/2014/main" id="{133AD0DF-A62A-6808-A20A-9AC5A4F6B307}"/>
              </a:ext>
            </a:extLst>
          </p:cNvPr>
          <p:cNvSpPr/>
          <p:nvPr/>
        </p:nvSpPr>
        <p:spPr bwMode="gray">
          <a:xfrm>
            <a:off x="5571359" y="3744765"/>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51" name="Rectangle 50">
            <a:extLst>
              <a:ext uri="{FF2B5EF4-FFF2-40B4-BE49-F238E27FC236}">
                <a16:creationId xmlns:a16="http://schemas.microsoft.com/office/drawing/2014/main" id="{66E0E7D4-B8FB-14C7-1962-2956EFF7AF97}"/>
              </a:ext>
            </a:extLst>
          </p:cNvPr>
          <p:cNvSpPr/>
          <p:nvPr/>
        </p:nvSpPr>
        <p:spPr bwMode="gray">
          <a:xfrm>
            <a:off x="621423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52" name="TextBox 51">
            <a:extLst>
              <a:ext uri="{FF2B5EF4-FFF2-40B4-BE49-F238E27FC236}">
                <a16:creationId xmlns:a16="http://schemas.microsoft.com/office/drawing/2014/main" id="{289FF30B-AA70-5512-FAFB-C8849821C256}"/>
              </a:ext>
            </a:extLst>
          </p:cNvPr>
          <p:cNvSpPr txBox="1"/>
          <p:nvPr/>
        </p:nvSpPr>
        <p:spPr>
          <a:xfrm>
            <a:off x="7013310"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100" b="1">
                <a:solidFill>
                  <a:srgbClr val="313131"/>
                </a:solidFill>
                <a:latin typeface="Open Sans"/>
                <a:ea typeface="Open Sans Light" panose="020B0306030504020204" pitchFamily="34" charset="0"/>
                <a:cs typeface="Open Sans Light" panose="020B0306030504020204" pitchFamily="34" charset="0"/>
              </a:rPr>
              <a:t>Medveczky Fanni</a:t>
            </a:r>
            <a:endParaRPr kumimoji="0" lang="en-US" sz="1100" b="1" i="0" u="none" strike="noStrike" kern="1200" cap="none" spc="0" normalizeH="0" baseline="0" noProof="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4</a:t>
            </a: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3" name="Picture 4" descr="Hungary Large Flag | Gallery Yopriceville - High-Quality Free Images ...">
            <a:extLst>
              <a:ext uri="{FF2B5EF4-FFF2-40B4-BE49-F238E27FC236}">
                <a16:creationId xmlns:a16="http://schemas.microsoft.com/office/drawing/2014/main" id="{D73AAD16-9A30-7875-A83C-3AD0B5DE9FC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75729"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4" name="Oval 53">
            <a:extLst>
              <a:ext uri="{FF2B5EF4-FFF2-40B4-BE49-F238E27FC236}">
                <a16:creationId xmlns:a16="http://schemas.microsoft.com/office/drawing/2014/main" id="{9AFB510C-E24C-F5A2-3164-5FB4218C3149}"/>
              </a:ext>
            </a:extLst>
          </p:cNvPr>
          <p:cNvSpPr/>
          <p:nvPr/>
        </p:nvSpPr>
        <p:spPr bwMode="gray">
          <a:xfrm>
            <a:off x="8187809" y="3744765"/>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JC</a:t>
            </a:r>
            <a:endParaRPr lang="en-US" sz="800" b="1" dirty="0">
              <a:solidFill>
                <a:schemeClr val="accent2">
                  <a:lumMod val="50000"/>
                </a:schemeClr>
              </a:solidFill>
            </a:endParaRPr>
          </a:p>
        </p:txBody>
      </p:sp>
      <p:pic>
        <p:nvPicPr>
          <p:cNvPr id="55" name="Picture 8">
            <a:extLst>
              <a:ext uri="{FF2B5EF4-FFF2-40B4-BE49-F238E27FC236}">
                <a16:creationId xmlns:a16="http://schemas.microsoft.com/office/drawing/2014/main" id="{7C351719-0C34-8CF0-753F-48E4B2B7F5B1}"/>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p:blipFill>
        <p:spPr bwMode="auto">
          <a:xfrm flipH="1">
            <a:off x="6300912" y="3426405"/>
            <a:ext cx="640080"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6" name="Picture 14">
            <a:extLst>
              <a:ext uri="{FF2B5EF4-FFF2-40B4-BE49-F238E27FC236}">
                <a16:creationId xmlns:a16="http://schemas.microsoft.com/office/drawing/2014/main" id="{7E593BFE-D3BD-B323-FB9C-DF0906396696}"/>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p:blipFill>
        <p:spPr bwMode="auto">
          <a:xfrm>
            <a:off x="964214" y="5002992"/>
            <a:ext cx="527223" cy="527223"/>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7" name="Oval 56">
            <a:extLst>
              <a:ext uri="{FF2B5EF4-FFF2-40B4-BE49-F238E27FC236}">
                <a16:creationId xmlns:a16="http://schemas.microsoft.com/office/drawing/2014/main" id="{635F9090-A310-96E4-63A5-8734125B1463}"/>
              </a:ext>
            </a:extLst>
          </p:cNvPr>
          <p:cNvSpPr/>
          <p:nvPr/>
        </p:nvSpPr>
        <p:spPr bwMode="gray">
          <a:xfrm>
            <a:off x="2510972"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58" name="Rectangle 57">
            <a:extLst>
              <a:ext uri="{FF2B5EF4-FFF2-40B4-BE49-F238E27FC236}">
                <a16:creationId xmlns:a16="http://schemas.microsoft.com/office/drawing/2014/main" id="{CCF2EABA-4BF0-D459-0B53-D759A0749E95}"/>
              </a:ext>
            </a:extLst>
          </p:cNvPr>
          <p:cNvSpPr/>
          <p:nvPr/>
        </p:nvSpPr>
        <p:spPr bwMode="gray">
          <a:xfrm>
            <a:off x="2993753"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59" name="TextBox 58">
            <a:extLst>
              <a:ext uri="{FF2B5EF4-FFF2-40B4-BE49-F238E27FC236}">
                <a16:creationId xmlns:a16="http://schemas.microsoft.com/office/drawing/2014/main" id="{DF054AF7-AA1B-6984-769A-56FACD619E98}"/>
              </a:ext>
            </a:extLst>
          </p:cNvPr>
          <p:cNvSpPr txBox="1"/>
          <p:nvPr/>
        </p:nvSpPr>
        <p:spPr>
          <a:xfrm>
            <a:off x="3704375" y="4973232"/>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noProof="0">
                <a:ln>
                  <a:noFill/>
                </a:ln>
                <a:solidFill>
                  <a:srgbClr val="313131"/>
                </a:solidFill>
                <a:effectLst/>
                <a:uLnTx/>
                <a:uFillTx/>
                <a:latin typeface="Open Sans"/>
                <a:ea typeface="Open Sans Light" panose="020B0306030504020204" pitchFamily="34" charset="0"/>
                <a:cs typeface="Open Sans Light" panose="020B0306030504020204" pitchFamily="34" charset="0"/>
              </a:rPr>
              <a:t>Kovács Petr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 years of exp</a:t>
            </a:r>
            <a:r>
              <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60" name="Picture 4" descr="Hungary Large Flag | Gallery Yopriceville - High-Quality Free Images ...">
            <a:extLst>
              <a:ext uri="{FF2B5EF4-FFF2-40B4-BE49-F238E27FC236}">
                <a16:creationId xmlns:a16="http://schemas.microsoft.com/office/drawing/2014/main" id="{2F4D48F2-6262-D7F6-D04B-13EACAE4CE8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80268"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1" name="Oval 60">
            <a:extLst>
              <a:ext uri="{FF2B5EF4-FFF2-40B4-BE49-F238E27FC236}">
                <a16:creationId xmlns:a16="http://schemas.microsoft.com/office/drawing/2014/main" id="{78511DE6-93DD-9E9E-6875-A4BBFDC2D515}"/>
              </a:ext>
            </a:extLst>
          </p:cNvPr>
          <p:cNvSpPr/>
          <p:nvPr/>
        </p:nvSpPr>
        <p:spPr bwMode="gray">
          <a:xfrm>
            <a:off x="4606866"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62" name="Rectangle 61">
            <a:extLst>
              <a:ext uri="{FF2B5EF4-FFF2-40B4-BE49-F238E27FC236}">
                <a16:creationId xmlns:a16="http://schemas.microsoft.com/office/drawing/2014/main" id="{A64600D9-51CE-BFF6-389A-A880DB415A2D}"/>
              </a:ext>
            </a:extLst>
          </p:cNvPr>
          <p:cNvSpPr/>
          <p:nvPr/>
        </p:nvSpPr>
        <p:spPr bwMode="gray">
          <a:xfrm>
            <a:off x="5082569"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63" name="TextBox 62">
            <a:extLst>
              <a:ext uri="{FF2B5EF4-FFF2-40B4-BE49-F238E27FC236}">
                <a16:creationId xmlns:a16="http://schemas.microsoft.com/office/drawing/2014/main" id="{362A3098-E4CA-ED89-AEE0-9EAD79D591D3}"/>
              </a:ext>
            </a:extLst>
          </p:cNvPr>
          <p:cNvSpPr txBox="1"/>
          <p:nvPr/>
        </p:nvSpPr>
        <p:spPr>
          <a:xfrm>
            <a:off x="5793192" y="4973232"/>
            <a:ext cx="1127620"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noProof="0">
                <a:ln>
                  <a:noFill/>
                </a:ln>
                <a:solidFill>
                  <a:srgbClr val="313131"/>
                </a:solidFill>
                <a:effectLst/>
                <a:uLnTx/>
                <a:uFillTx/>
                <a:latin typeface="Open Sans"/>
                <a:ea typeface="Open Sans Light" panose="020B0306030504020204" pitchFamily="34" charset="0"/>
                <a:cs typeface="Open Sans Light" panose="020B0306030504020204" pitchFamily="34" charset="0"/>
              </a:rPr>
              <a:t>Dalnoki Marcell</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 years of exp</a:t>
            </a:r>
            <a:r>
              <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64" name="Picture 4" descr="Hungary Large Flag | Gallery Yopriceville - High-Quality Free Images ...">
            <a:extLst>
              <a:ext uri="{FF2B5EF4-FFF2-40B4-BE49-F238E27FC236}">
                <a16:creationId xmlns:a16="http://schemas.microsoft.com/office/drawing/2014/main" id="{084F777A-A1C0-3CA8-49C3-6EF12BF5651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669084"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5" name="Oval 64">
            <a:extLst>
              <a:ext uri="{FF2B5EF4-FFF2-40B4-BE49-F238E27FC236}">
                <a16:creationId xmlns:a16="http://schemas.microsoft.com/office/drawing/2014/main" id="{E4BC0312-EDA2-2AF7-6866-3D06F3DBEE4B}"/>
              </a:ext>
            </a:extLst>
          </p:cNvPr>
          <p:cNvSpPr/>
          <p:nvPr/>
        </p:nvSpPr>
        <p:spPr bwMode="gray">
          <a:xfrm>
            <a:off x="6695682"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JC</a:t>
            </a:r>
            <a:endParaRPr lang="en-US" sz="800" b="1" dirty="0">
              <a:solidFill>
                <a:schemeClr val="accent2">
                  <a:lumMod val="50000"/>
                </a:schemeClr>
              </a:solidFill>
            </a:endParaRPr>
          </a:p>
        </p:txBody>
      </p:sp>
      <p:pic>
        <p:nvPicPr>
          <p:cNvPr id="66" name="Picture 6">
            <a:extLst>
              <a:ext uri="{FF2B5EF4-FFF2-40B4-BE49-F238E27FC236}">
                <a16:creationId xmlns:a16="http://schemas.microsoft.com/office/drawing/2014/main" id="{4D93AA15-F140-628E-1186-D3ABE5D12A2E}"/>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p:blipFill>
        <p:spPr bwMode="auto">
          <a:xfrm>
            <a:off x="5168673" y="4998711"/>
            <a:ext cx="530352" cy="530352"/>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7" name="Picture 16">
            <a:extLst>
              <a:ext uri="{FF2B5EF4-FFF2-40B4-BE49-F238E27FC236}">
                <a16:creationId xmlns:a16="http://schemas.microsoft.com/office/drawing/2014/main" id="{512BF175-3D4B-6565-CD03-16CDF1D864E5}"/>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p:blipFill>
        <p:spPr bwMode="auto">
          <a:xfrm>
            <a:off x="3093936" y="5016957"/>
            <a:ext cx="502920" cy="50292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9C436CB3-E6C6-14A4-95EB-8A1D6AA59199}"/>
              </a:ext>
            </a:extLst>
          </p:cNvPr>
          <p:cNvPicPr>
            <a:picLocks noChangeAspect="1"/>
          </p:cNvPicPr>
          <p:nvPr/>
        </p:nvPicPr>
        <p:blipFill rotWithShape="1">
          <a:blip r:embed="rId15" cstate="email">
            <a:duotone>
              <a:prstClr val="black"/>
              <a:schemeClr val="accent4">
                <a:tint val="45000"/>
                <a:satMod val="400000"/>
              </a:schemeClr>
            </a:duotone>
            <a:extLst>
              <a:ext uri="{BEBA8EAE-BF5A-486C-A8C5-ECC9F3942E4B}">
                <a14:imgProps xmlns:a14="http://schemas.microsoft.com/office/drawing/2010/main">
                  <a14:imgLayer r:embed="rId16">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spTree>
    <p:extLst>
      <p:ext uri="{BB962C8B-B14F-4D97-AF65-F5344CB8AC3E}">
        <p14:creationId xmlns:p14="http://schemas.microsoft.com/office/powerpoint/2010/main" val="4271719161"/>
      </p:ext>
    </p:extLst>
  </p:cSld>
  <p:clrMapOvr>
    <a:masterClrMapping/>
  </p:clrMapOvr>
  <p:transition>
    <p:fade/>
  </p:transition>
  <p:extLst>
    <p:ext uri="{6950BFC3-D8DA-4A85-94F7-54DA5524770B}">
      <p188:commentRel xmlns:p188="http://schemas.microsoft.com/office/powerpoint/2018/8/main" r:id="rId2"/>
    </p:ext>
  </p:extLs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Organizational change management 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8.</a:t>
            </a:r>
            <a:endParaRPr lang="en-GB" dirty="0"/>
          </a:p>
        </p:txBody>
      </p:sp>
      <p:sp>
        <p:nvSpPr>
          <p:cNvPr id="3" name="Text Placeholder 2">
            <a:extLst>
              <a:ext uri="{FF2B5EF4-FFF2-40B4-BE49-F238E27FC236}">
                <a16:creationId xmlns:a16="http://schemas.microsoft.com/office/drawing/2014/main" id="{6F90C5E5-9723-CCF5-E5B9-70C0A559B789}"/>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058643535"/>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147449" y="-929811"/>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3530793"/>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3861339"/>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PL"/>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37780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r>
              <a:rPr lang="hu-HU" sz="900" b="1" dirty="0">
                <a:latin typeface="+mj-lt"/>
                <a:ea typeface="Open Sans Light" panose="020B0306030504020204" pitchFamily="34" charset="0"/>
                <a:cs typeface="Open Sans Light" panose="020B0306030504020204" pitchFamily="34" charset="0"/>
              </a:rPr>
              <a:t>ORGANIZATIONAL DESIGN AND DEVELOPMENT</a:t>
            </a:r>
            <a:endParaRPr lang="en-US" sz="900" b="1" dirty="0">
              <a:latin typeface="+mj-lt"/>
              <a:ea typeface="Open Sans Light" panose="020B0306030504020204" pitchFamily="34" charset="0"/>
              <a:cs typeface="Open Sans Light" panose="020B0306030504020204" pitchFamily="34" charset="0"/>
            </a:endParaRPr>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604344"/>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dirty="0">
                <a:latin typeface="+mn-lt"/>
              </a:rPr>
              <a:t>Organizational change management services</a:t>
            </a: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300" dirty="0">
                <a:solidFill>
                  <a:schemeClr val="bg1"/>
                </a:solidFill>
                <a:latin typeface="Open Sans"/>
              </a:rPr>
              <a:t>SUBCHAPTERS</a:t>
            </a:r>
            <a:endParaRPr kumimoji="0" lang="en-US" sz="1200" b="1" i="0" u="none" strike="noStrike" kern="1200" cap="none" spc="300" normalizeH="0" baseline="0" noProof="0" dirty="0">
              <a:ln>
                <a:noFill/>
              </a:ln>
              <a:solidFill>
                <a:schemeClr val="bg1"/>
              </a:solidFill>
              <a:effectLst/>
              <a:uLnTx/>
              <a:uFillTx/>
              <a:latin typeface="Open Sans"/>
            </a:endParaRPr>
          </a:p>
        </p:txBody>
      </p:sp>
      <p:sp>
        <p:nvSpPr>
          <p:cNvPr id="15" name="Rectangle 14">
            <a:extLst>
              <a:ext uri="{FF2B5EF4-FFF2-40B4-BE49-F238E27FC236}">
                <a16:creationId xmlns:a16="http://schemas.microsoft.com/office/drawing/2014/main" id="{3EB57B1D-83EB-0D0B-449F-EC60EBAFDE32}"/>
              </a:ext>
            </a:extLst>
          </p:cNvPr>
          <p:cNvSpPr/>
          <p:nvPr/>
        </p:nvSpPr>
        <p:spPr>
          <a:xfrm>
            <a:off x="9292664" y="2012606"/>
            <a:ext cx="1629336" cy="40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hu-HU" sz="1200" b="1" dirty="0">
                <a:solidFill>
                  <a:srgbClr val="000000"/>
                </a:solidFill>
                <a:latin typeface="Open Sans"/>
                <a:ea typeface="Open Sans"/>
                <a:cs typeface="Open Sans"/>
              </a:rPr>
              <a:t>Martin Csépai </a:t>
            </a:r>
            <a:endParaRPr lang="en-US" sz="1200" b="1" dirty="0">
              <a:solidFill>
                <a:srgbClr val="000000"/>
              </a:solidFill>
              <a:latin typeface="Open Sans"/>
              <a:ea typeface="Open Sans"/>
              <a:cs typeface="Open Sans"/>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hu-HU" sz="1050" b="0" i="0" u="none" strike="noStrike" kern="1200" cap="none" spc="0" normalizeH="0" baseline="0" noProof="0" dirty="0">
                <a:ln>
                  <a:noFill/>
                </a:ln>
                <a:solidFill>
                  <a:srgbClr val="000000"/>
                </a:solidFill>
                <a:effectLst/>
                <a:uLnTx/>
                <a:uFillTx/>
                <a:latin typeface="+mj-lt"/>
                <a:ea typeface="Open Sans"/>
                <a:cs typeface="Open Sans"/>
              </a:rPr>
              <a:t>Director</a:t>
            </a:r>
            <a:endParaRPr lang="en-US" sz="1200" b="0" i="0" u="none" strike="noStrike" kern="1200" cap="none" spc="0" normalizeH="0" baseline="0" noProof="0" dirty="0">
              <a:ln>
                <a:noFill/>
              </a:ln>
              <a:solidFill>
                <a:srgbClr val="000000"/>
              </a:solidFill>
              <a:effectLst/>
              <a:uLnTx/>
              <a:uFillTx/>
              <a:latin typeface="+mj-lt"/>
              <a:ea typeface="Open Sans"/>
              <a:cs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600" dirty="0">
                <a:latin typeface="Open Sans"/>
              </a:rPr>
              <a:t>METHODOLOGIES</a:t>
            </a:r>
            <a:endParaRPr kumimoji="0" lang="en-US" sz="1200" b="0" i="1" u="none" strike="noStrike" kern="1200" cap="none" spc="600" normalizeH="0" baseline="0" noProof="0" dirty="0">
              <a:ln>
                <a:noFill/>
              </a:ln>
              <a:effectLst/>
              <a:uLnTx/>
              <a:uFillTx/>
              <a:latin typeface="Open San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flipH="1">
            <a:off x="902169" y="2203798"/>
            <a:ext cx="19924" cy="37207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PL" sz="120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734698"/>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679517"/>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300" dirty="0">
                <a:solidFill>
                  <a:srgbClr val="38B6FF"/>
                </a:solidFill>
                <a:latin typeface="Open Sans"/>
              </a:rPr>
              <a:t>CHAPTER LEAD EXPERT</a:t>
            </a:r>
            <a:endParaRPr kumimoji="0" lang="en-US" sz="1200" b="0" i="1" u="none" strike="noStrike" kern="1200" cap="none" spc="300" normalizeH="0" baseline="0" noProof="0" dirty="0">
              <a:ln>
                <a:noFill/>
              </a:ln>
              <a:solidFill>
                <a:srgbClr val="38B6FF"/>
              </a:solidFill>
              <a:effectLst/>
              <a:uLnTx/>
              <a:uFillTx/>
              <a:latin typeface="Open Sans"/>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3516764"/>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r>
              <a:rPr lang="hu-HU" sz="900" b="1" dirty="0">
                <a:latin typeface="+mj-lt"/>
                <a:ea typeface="Open Sans Light" panose="020B0306030504020204" pitchFamily="34" charset="0"/>
                <a:cs typeface="Open Sans Light" panose="020B0306030504020204" pitchFamily="34" charset="0"/>
              </a:rPr>
              <a:t>PERSONNEL ENGAGEMENT / PEOPLE STRATEGY</a:t>
            </a:r>
            <a:endParaRPr lang="en-US" sz="900" b="1" dirty="0">
              <a:latin typeface="+mj-lt"/>
              <a:ea typeface="Open Sans Light" panose="020B0306030504020204" pitchFamily="34" charset="0"/>
              <a:cs typeface="Open Sans Light" panose="020B0306030504020204" pitchFamily="34" charset="0"/>
            </a:endParaRPr>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642066"/>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900" i="1" spc="300" dirty="0">
                <a:latin typeface="Open Sans"/>
              </a:rPr>
              <a:t>EXPERTS IN HUNGARY</a:t>
            </a:r>
            <a:endParaRPr kumimoji="0" lang="en-US" sz="900" i="1" u="none" strike="noStrike" kern="1200" cap="none" spc="300" normalizeH="0" baseline="0" noProof="0" dirty="0">
              <a:ln>
                <a:noFill/>
              </a:ln>
              <a:effectLst/>
              <a:uLnTx/>
              <a:uFillTx/>
              <a:latin typeface="Open Sans"/>
            </a:endParaRP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2800" b="1" i="1" spc="300" dirty="0">
                <a:latin typeface="Open Sans"/>
              </a:rPr>
              <a:t>6</a:t>
            </a:r>
            <a:endParaRPr kumimoji="0" lang="en-US" sz="2800" b="1" i="1" u="none" strike="noStrike" kern="1200" cap="none" spc="300" normalizeH="0" baseline="0" noProof="0" dirty="0">
              <a:ln>
                <a:noFill/>
              </a:ln>
              <a:effectLst/>
              <a:uLnTx/>
              <a:uFillTx/>
              <a:latin typeface="Open Sans"/>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8" y="3676976"/>
            <a:ext cx="4830876"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lstStyle/>
          <a:p>
            <a:r>
              <a:rPr lang="en-US" sz="900" b="1" dirty="0"/>
              <a:t>PEOPLE STRATEGY FRAMEWORK</a:t>
            </a:r>
          </a:p>
          <a:p>
            <a:pPr>
              <a:buSzPct val="100000"/>
            </a:pPr>
            <a:r>
              <a:rPr lang="en-US" sz="800" dirty="0">
                <a:solidFill>
                  <a:srgbClr val="313131"/>
                </a:solidFill>
              </a:rPr>
              <a:t>Our People strategy definition process includes capturing key mid-term talent objectives, identifying focus areas, and developing initiatives around the key talent topics in order to enhance the attraction, motivation and retention capability of the organization, and thus strengthen employee engagement.</a:t>
            </a: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40358" y="3550594"/>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dirty="0"/>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3B57B1E-0FF2-81CE-6E4D-CC02BA27A2AE}"/>
              </a:ext>
            </a:extLst>
          </p:cNvPr>
          <p:cNvGrpSpPr/>
          <p:nvPr/>
        </p:nvGrpSpPr>
        <p:grpSpPr>
          <a:xfrm>
            <a:off x="2643598" y="236650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dirty="0"/>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1108" name="Freeform: Shape 1107">
            <a:extLst>
              <a:ext uri="{FF2B5EF4-FFF2-40B4-BE49-F238E27FC236}">
                <a16:creationId xmlns:a16="http://schemas.microsoft.com/office/drawing/2014/main" id="{AD5D1342-2F33-36A0-EF26-97B4BB7DBC70}"/>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PL"/>
          </a:p>
        </p:txBody>
      </p:sp>
      <p:sp>
        <p:nvSpPr>
          <p:cNvPr id="1111" name="Rectangle 1110">
            <a:extLst>
              <a:ext uri="{FF2B5EF4-FFF2-40B4-BE49-F238E27FC236}">
                <a16:creationId xmlns:a16="http://schemas.microsoft.com/office/drawing/2014/main" id="{C3A7529B-FB76-569F-0DC1-C22DA82217DC}"/>
              </a:ext>
            </a:extLst>
          </p:cNvPr>
          <p:cNvSpPr/>
          <p:nvPr/>
        </p:nvSpPr>
        <p:spPr>
          <a:xfrm>
            <a:off x="11315684" y="4321416"/>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o-RO" sz="600" i="1" u="none" strike="noStrike" kern="1200" cap="none" spc="300" normalizeH="0" baseline="0" noProof="0" dirty="0">
                <a:ln>
                  <a:noFill/>
                </a:ln>
                <a:effectLst/>
                <a:uLnTx/>
                <a:uFillTx/>
                <a:latin typeface="Open Sans"/>
              </a:rPr>
              <a:t>BUDPEST</a:t>
            </a:r>
            <a:endParaRPr kumimoji="0" lang="en-US" sz="600" i="1" u="none" strike="noStrike" kern="1200" cap="none" spc="300" normalizeH="0" baseline="0" noProof="0" dirty="0">
              <a:ln>
                <a:noFill/>
              </a:ln>
              <a:effectLst/>
              <a:uLnTx/>
              <a:uFillTx/>
              <a:latin typeface="Open Sans"/>
            </a:endParaRP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a:p>
        </p:txBody>
      </p:sp>
      <p:sp>
        <p:nvSpPr>
          <p:cNvPr id="38" name="Rectangle 37">
            <a:extLst>
              <a:ext uri="{FF2B5EF4-FFF2-40B4-BE49-F238E27FC236}">
                <a16:creationId xmlns:a16="http://schemas.microsoft.com/office/drawing/2014/main" id="{D7615059-6B4F-F222-38A4-7C7D4098B526}"/>
              </a:ext>
            </a:extLst>
          </p:cNvPr>
          <p:cNvSpPr/>
          <p:nvPr/>
        </p:nvSpPr>
        <p:spPr>
          <a:xfrm>
            <a:off x="11270372" y="5563943"/>
            <a:ext cx="74599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i="1" spc="300" dirty="0">
                <a:solidFill>
                  <a:schemeClr val="bg1">
                    <a:lumMod val="50000"/>
                  </a:schemeClr>
                </a:solidFill>
                <a:latin typeface="Open Sans"/>
              </a:rPr>
              <a:t>+</a:t>
            </a:r>
            <a:r>
              <a:rPr lang="ro-RO" b="1" i="1" spc="300" dirty="0">
                <a:solidFill>
                  <a:schemeClr val="bg1">
                    <a:lumMod val="50000"/>
                  </a:schemeClr>
                </a:solidFill>
                <a:latin typeface="Open Sans"/>
              </a:rPr>
              <a:t>30</a:t>
            </a:r>
            <a:endParaRPr kumimoji="0" lang="en-US" b="1" i="1" u="none" strike="noStrike" kern="1200" cap="none" spc="300" normalizeH="0" baseline="0" noProof="0" dirty="0">
              <a:ln>
                <a:noFill/>
              </a:ln>
              <a:solidFill>
                <a:schemeClr val="bg1">
                  <a:lumMod val="50000"/>
                </a:schemeClr>
              </a:solidFill>
              <a:effectLst/>
              <a:uLnTx/>
              <a:uFillTx/>
              <a:latin typeface="Open Sans"/>
            </a:endParaRPr>
          </a:p>
        </p:txBody>
      </p:sp>
      <p:sp>
        <p:nvSpPr>
          <p:cNvPr id="34" name="Rectangle 33">
            <a:extLst>
              <a:ext uri="{FF2B5EF4-FFF2-40B4-BE49-F238E27FC236}">
                <a16:creationId xmlns:a16="http://schemas.microsoft.com/office/drawing/2014/main" id="{02DE62AF-4526-6392-D4BC-A7AE7B1DEFD9}"/>
              </a:ext>
            </a:extLst>
          </p:cNvPr>
          <p:cNvSpPr/>
          <p:nvPr/>
        </p:nvSpPr>
        <p:spPr>
          <a:xfrm>
            <a:off x="11159174" y="5874426"/>
            <a:ext cx="122723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800" i="1" spc="300" dirty="0">
                <a:solidFill>
                  <a:schemeClr val="bg1">
                    <a:lumMod val="50000"/>
                  </a:schemeClr>
                </a:solidFill>
                <a:latin typeface="Open Sans"/>
              </a:rPr>
              <a:t>EXPERTS IN CE REGION</a:t>
            </a:r>
            <a:endParaRPr kumimoji="0" lang="en-US" sz="800" i="1" u="none" strike="noStrike" kern="1200" cap="none" spc="300" normalizeH="0" baseline="0" noProof="0" dirty="0">
              <a:ln>
                <a:noFill/>
              </a:ln>
              <a:solidFill>
                <a:schemeClr val="bg1">
                  <a:lumMod val="50000"/>
                </a:schemeClr>
              </a:solidFill>
              <a:effectLst/>
              <a:uLnTx/>
              <a:uFillTx/>
              <a:latin typeface="Open Sans"/>
            </a:endParaRPr>
          </a:p>
        </p:txBody>
      </p:sp>
      <p:sp>
        <p:nvSpPr>
          <p:cNvPr id="11" name="Rectangle 10">
            <a:extLst>
              <a:ext uri="{FF2B5EF4-FFF2-40B4-BE49-F238E27FC236}">
                <a16:creationId xmlns:a16="http://schemas.microsoft.com/office/drawing/2014/main" id="{C695A72C-7C27-F987-2688-131C85183D2B}"/>
              </a:ext>
            </a:extLst>
          </p:cNvPr>
          <p:cNvSpPr/>
          <p:nvPr/>
        </p:nvSpPr>
        <p:spPr>
          <a:xfrm>
            <a:off x="9292664" y="2441825"/>
            <a:ext cx="2697252" cy="1200329"/>
          </a:xfrm>
          <a:prstGeom prst="rect">
            <a:avLst/>
          </a:prstGeom>
          <a:noFill/>
        </p:spPr>
        <p:txBody>
          <a:bodyPr wrap="square">
            <a:spAutoFit/>
          </a:bodyPr>
          <a:lstStyle/>
          <a:p>
            <a:pPr>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With </a:t>
            </a:r>
            <a:r>
              <a:rPr lang="en-US" sz="900" dirty="0">
                <a:solidFill>
                  <a:srgbClr val="000000"/>
                </a:solidFill>
                <a:latin typeface="Calibri"/>
              </a:rPr>
              <a:t>25</a:t>
            </a:r>
            <a:r>
              <a:rPr kumimoji="0" lang="en-US" sz="900" b="0" i="0" u="none" strike="noStrike" kern="1200" cap="none" spc="0" normalizeH="0" baseline="0" noProof="0" dirty="0">
                <a:ln>
                  <a:noFill/>
                </a:ln>
                <a:solidFill>
                  <a:srgbClr val="000000"/>
                </a:solidFill>
                <a:effectLst/>
                <a:uLnTx/>
                <a:uFillTx/>
                <a:latin typeface="Calibri"/>
                <a:ea typeface="+mn-ea"/>
                <a:cs typeface="+mn-cs"/>
              </a:rPr>
              <a:t> years of professional experience</a:t>
            </a:r>
            <a:r>
              <a:rPr lang="en-US" sz="900" dirty="0">
                <a:solidFill>
                  <a:srgbClr val="000000"/>
                </a:solidFill>
                <a:latin typeface="Calibri"/>
              </a:rPr>
              <a:t> both as consultant and corporate HR leader, Martin </a:t>
            </a:r>
            <a:r>
              <a:rPr kumimoji="0" lang="en-US" sz="900" b="0" i="0" u="none" strike="noStrike" kern="1200" cap="none" spc="0" normalizeH="0" baseline="0" noProof="0" dirty="0">
                <a:ln>
                  <a:noFill/>
                </a:ln>
                <a:solidFill>
                  <a:srgbClr val="000000"/>
                </a:solidFill>
                <a:effectLst/>
                <a:uLnTx/>
                <a:uFillTx/>
                <a:latin typeface="Calibri"/>
                <a:ea typeface="+mn-ea"/>
                <a:cs typeface="+mn-cs"/>
              </a:rPr>
              <a:t>is the head of our Human Capital Advisory team,</a:t>
            </a:r>
            <a:r>
              <a:rPr lang="en-US" sz="900" dirty="0">
                <a:solidFill>
                  <a:srgbClr val="000000"/>
                </a:solidFill>
                <a:latin typeface="Calibri"/>
              </a:rPr>
              <a:t> where he is responsible of leading consulting engagements in organizational and human resources related matters, such as organizational design, HR strategy development, talent acquisition and management solutions enhancement or digital HR enablemen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0B29E31E-2750-A051-A808-CB1642135F7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351554" y="470053"/>
            <a:ext cx="1261872" cy="1261872"/>
          </a:xfrm>
          <a:prstGeom prst="rect">
            <a:avLst/>
          </a:prstGeom>
        </p:spPr>
      </p:pic>
      <p:sp>
        <p:nvSpPr>
          <p:cNvPr id="19" name="Rectangle: Rounded Corners 18">
            <a:extLst>
              <a:ext uri="{FF2B5EF4-FFF2-40B4-BE49-F238E27FC236}">
                <a16:creationId xmlns:a16="http://schemas.microsoft.com/office/drawing/2014/main" id="{0451480C-7BA2-FABB-993D-2049EFA8E29C}"/>
              </a:ext>
            </a:extLst>
          </p:cNvPr>
          <p:cNvSpPr/>
          <p:nvPr/>
        </p:nvSpPr>
        <p:spPr bwMode="gray">
          <a:xfrm>
            <a:off x="1047204" y="5748609"/>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r>
              <a:rPr lang="hu-HU" sz="900" b="1" dirty="0">
                <a:latin typeface="+mj-lt"/>
                <a:ea typeface="Open Sans Light" panose="020B0306030504020204" pitchFamily="34" charset="0"/>
                <a:cs typeface="Open Sans Light" panose="020B0306030504020204" pitchFamily="34" charset="0"/>
              </a:rPr>
              <a:t>CHANGE MANAGEMENT STRATEGY</a:t>
            </a:r>
            <a:endParaRPr lang="en-US" sz="900" b="1" dirty="0">
              <a:latin typeface="+mj-lt"/>
              <a:ea typeface="Open Sans Light" panose="020B0306030504020204" pitchFamily="34" charset="0"/>
              <a:cs typeface="Open Sans Light" panose="020B0306030504020204" pitchFamily="34" charset="0"/>
            </a:endParaRPr>
          </a:p>
        </p:txBody>
      </p:sp>
      <p:sp>
        <p:nvSpPr>
          <p:cNvPr id="22" name="Oval 21">
            <a:extLst>
              <a:ext uri="{FF2B5EF4-FFF2-40B4-BE49-F238E27FC236}">
                <a16:creationId xmlns:a16="http://schemas.microsoft.com/office/drawing/2014/main" id="{9E292501-5A3D-9979-60C0-7178B23177C1}"/>
              </a:ext>
            </a:extLst>
          </p:cNvPr>
          <p:cNvSpPr/>
          <p:nvPr/>
        </p:nvSpPr>
        <p:spPr bwMode="gray">
          <a:xfrm>
            <a:off x="858651" y="5869694"/>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24" name="Rectangle: Rounded Corners 23">
            <a:extLst>
              <a:ext uri="{FF2B5EF4-FFF2-40B4-BE49-F238E27FC236}">
                <a16:creationId xmlns:a16="http://schemas.microsoft.com/office/drawing/2014/main" id="{A83DD0AC-2C9B-7776-015C-9D53983B2363}"/>
              </a:ext>
            </a:extLst>
          </p:cNvPr>
          <p:cNvSpPr/>
          <p:nvPr/>
        </p:nvSpPr>
        <p:spPr bwMode="gray">
          <a:xfrm>
            <a:off x="1060345" y="4735093"/>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r>
              <a:rPr lang="hu-HU" sz="900" b="1" dirty="0">
                <a:latin typeface="+mj-lt"/>
                <a:ea typeface="Open Sans Light" panose="020B0306030504020204" pitchFamily="34" charset="0"/>
                <a:cs typeface="Open Sans Light" panose="020B0306030504020204" pitchFamily="34" charset="0"/>
              </a:rPr>
              <a:t>CAPABILITY AND SKILL ASSESSMENT AND DEVELOPMENT</a:t>
            </a:r>
            <a:endParaRPr lang="en-US" sz="900" b="1" dirty="0">
              <a:latin typeface="+mj-lt"/>
              <a:ea typeface="Open Sans Light" panose="020B0306030504020204" pitchFamily="34" charset="0"/>
              <a:cs typeface="Open Sans Light" panose="020B0306030504020204" pitchFamily="34" charset="0"/>
            </a:endParaRPr>
          </a:p>
        </p:txBody>
      </p:sp>
      <p:sp>
        <p:nvSpPr>
          <p:cNvPr id="28" name="Oval 27">
            <a:extLst>
              <a:ext uri="{FF2B5EF4-FFF2-40B4-BE49-F238E27FC236}">
                <a16:creationId xmlns:a16="http://schemas.microsoft.com/office/drawing/2014/main" id="{6A8E7336-CC9F-7E09-27F6-1D84B670FE8F}"/>
              </a:ext>
            </a:extLst>
          </p:cNvPr>
          <p:cNvSpPr/>
          <p:nvPr/>
        </p:nvSpPr>
        <p:spPr bwMode="gray">
          <a:xfrm>
            <a:off x="871792" y="4856178"/>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30" name="Rectangle: Rounded Corners 29">
            <a:extLst>
              <a:ext uri="{FF2B5EF4-FFF2-40B4-BE49-F238E27FC236}">
                <a16:creationId xmlns:a16="http://schemas.microsoft.com/office/drawing/2014/main" id="{6C2D08D1-6ACD-2320-4FA1-CE0634E5372A}"/>
              </a:ext>
            </a:extLst>
          </p:cNvPr>
          <p:cNvSpPr/>
          <p:nvPr/>
        </p:nvSpPr>
        <p:spPr bwMode="gray">
          <a:xfrm>
            <a:off x="4121788" y="2521811"/>
            <a:ext cx="4830876" cy="738019"/>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lstStyle/>
          <a:p>
            <a:r>
              <a:rPr lang="en-US" sz="900" b="1" dirty="0"/>
              <a:t>D3 ORGANIZATIONAL DESIGN </a:t>
            </a:r>
            <a:r>
              <a:rPr lang="hu-HU" sz="900" b="1" dirty="0"/>
              <a:t>APPROACH</a:t>
            </a:r>
            <a:endParaRPr lang="en-US" sz="900" dirty="0"/>
          </a:p>
          <a:p>
            <a:r>
              <a:rPr lang="en-US" sz="800" dirty="0"/>
              <a:t>Our OD methodology helps</a:t>
            </a:r>
          </a:p>
          <a:p>
            <a:pPr marL="169863" indent="-169863">
              <a:buFont typeface="Arial" panose="020B0604020202020204" pitchFamily="34" charset="0"/>
              <a:buChar char="•"/>
            </a:pPr>
            <a:r>
              <a:rPr lang="en-US" sz="800" dirty="0"/>
              <a:t>Decide if Organization Design is part of the solution, and how </a:t>
            </a:r>
            <a:r>
              <a:rPr lang="hu-HU" sz="800" dirty="0" err="1"/>
              <a:t>to</a:t>
            </a:r>
            <a:r>
              <a:rPr lang="en-US" sz="800" dirty="0"/>
              <a:t> unlock value and manage the effort</a:t>
            </a:r>
          </a:p>
          <a:p>
            <a:pPr marL="169863" indent="-169863">
              <a:buFont typeface="Arial" panose="020B0604020202020204" pitchFamily="34" charset="0"/>
              <a:buChar char="•"/>
            </a:pPr>
            <a:r>
              <a:rPr lang="en-US" sz="800" dirty="0"/>
              <a:t>Design a precise and fit-for-purpose solution using a measured approach</a:t>
            </a:r>
          </a:p>
          <a:p>
            <a:pPr marL="169863" indent="-169863">
              <a:buFont typeface="Arial" panose="020B0604020202020204" pitchFamily="34" charset="0"/>
              <a:buChar char="•"/>
            </a:pPr>
            <a:r>
              <a:rPr lang="en-US" sz="800" dirty="0"/>
              <a:t>Deliver through targeted implementation activities to realize the intended benefits of the redesign</a:t>
            </a:r>
          </a:p>
        </p:txBody>
      </p:sp>
      <p:sp>
        <p:nvSpPr>
          <p:cNvPr id="31" name="Rectangle: Rounded Corners 30">
            <a:extLst>
              <a:ext uri="{FF2B5EF4-FFF2-40B4-BE49-F238E27FC236}">
                <a16:creationId xmlns:a16="http://schemas.microsoft.com/office/drawing/2014/main" id="{664A86D0-CF46-7773-542F-8EBD2387CE86}"/>
              </a:ext>
            </a:extLst>
          </p:cNvPr>
          <p:cNvSpPr/>
          <p:nvPr/>
        </p:nvSpPr>
        <p:spPr bwMode="gray">
          <a:xfrm>
            <a:off x="4139370" y="4926469"/>
            <a:ext cx="4830876"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lstStyle/>
          <a:p>
            <a:r>
              <a:rPr lang="en-US" sz="900" b="1" dirty="0"/>
              <a:t>SKILLS-BASED ORGANIZATION FRAMEWORK</a:t>
            </a:r>
          </a:p>
          <a:p>
            <a:r>
              <a:rPr lang="en-US" sz="800" dirty="0">
                <a:solidFill>
                  <a:srgbClr val="000000"/>
                </a:solidFill>
                <a:ea typeface="Open Sans Semibold" panose="020B0606030504020204" pitchFamily="34" charset="0"/>
                <a:cs typeface="Open Sans Semibold" panose="020B0606030504020204" pitchFamily="34" charset="0"/>
              </a:rPr>
              <a:t>Skills-based organizations use skills as the fuel for a wide range of talent and organizational decisions, accelerating</a:t>
            </a:r>
            <a:br>
              <a:rPr lang="en-US" sz="800" dirty="0">
                <a:solidFill>
                  <a:srgbClr val="000000"/>
                </a:solidFill>
                <a:ea typeface="Open Sans Semibold" panose="020B0606030504020204" pitchFamily="34" charset="0"/>
                <a:cs typeface="Open Sans Semibold" panose="020B0606030504020204" pitchFamily="34" charset="0"/>
              </a:rPr>
            </a:br>
            <a:r>
              <a:rPr lang="en-US" sz="800" dirty="0">
                <a:solidFill>
                  <a:srgbClr val="000000"/>
                </a:solidFill>
                <a:ea typeface="Open Sans Semibold" panose="020B0606030504020204" pitchFamily="34" charset="0"/>
                <a:cs typeface="Open Sans Semibold" panose="020B0606030504020204" pitchFamily="34" charset="0"/>
              </a:rPr>
              <a:t>agility and growth. Our approach supports organizations to </a:t>
            </a:r>
            <a:r>
              <a:rPr lang="en-US" sz="800" dirty="0"/>
              <a:t>unleash the full potential of their workforce to build a more resilient organization.</a:t>
            </a:r>
            <a:endParaRPr lang="en-US" sz="800" dirty="0">
              <a:solidFill>
                <a:srgbClr val="000000"/>
              </a:solidFill>
              <a:ea typeface="Open Sans Semibold" panose="020B0606030504020204" pitchFamily="34" charset="0"/>
              <a:cs typeface="Open Sans Semibold" panose="020B0606030504020204" pitchFamily="34" charset="0"/>
            </a:endParaRPr>
          </a:p>
        </p:txBody>
      </p:sp>
      <p:grpSp>
        <p:nvGrpSpPr>
          <p:cNvPr id="33" name="Group 32">
            <a:extLst>
              <a:ext uri="{FF2B5EF4-FFF2-40B4-BE49-F238E27FC236}">
                <a16:creationId xmlns:a16="http://schemas.microsoft.com/office/drawing/2014/main" id="{E3501F29-C280-A4C1-221E-ADC02B798739}"/>
              </a:ext>
            </a:extLst>
          </p:cNvPr>
          <p:cNvGrpSpPr/>
          <p:nvPr/>
        </p:nvGrpSpPr>
        <p:grpSpPr>
          <a:xfrm>
            <a:off x="2738260" y="4800087"/>
            <a:ext cx="6240680" cy="108000"/>
            <a:chOff x="2740358" y="3290138"/>
            <a:chExt cx="6240680" cy="108000"/>
          </a:xfrm>
        </p:grpSpPr>
        <p:cxnSp>
          <p:nvCxnSpPr>
            <p:cNvPr id="35" name="Straight Connector 34">
              <a:extLst>
                <a:ext uri="{FF2B5EF4-FFF2-40B4-BE49-F238E27FC236}">
                  <a16:creationId xmlns:a16="http://schemas.microsoft.com/office/drawing/2014/main" id="{3B34044F-57B9-C2E7-29EA-23B9D80FA011}"/>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AEAC0747-F4F7-FA51-3173-6DFD368C95BA}"/>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dirty="0"/>
            </a:p>
          </p:txBody>
        </p:sp>
        <p:cxnSp>
          <p:nvCxnSpPr>
            <p:cNvPr id="37" name="Straight Connector 36">
              <a:extLst>
                <a:ext uri="{FF2B5EF4-FFF2-40B4-BE49-F238E27FC236}">
                  <a16:creationId xmlns:a16="http://schemas.microsoft.com/office/drawing/2014/main" id="{D36191B5-2D4D-9284-1E1A-5F00ADB428BD}"/>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40" name="Rectangle: Rounded Corners 39">
            <a:extLst>
              <a:ext uri="{FF2B5EF4-FFF2-40B4-BE49-F238E27FC236}">
                <a16:creationId xmlns:a16="http://schemas.microsoft.com/office/drawing/2014/main" id="{F9C86EC2-30F0-BC56-0D51-0DF324C575FF}"/>
              </a:ext>
            </a:extLst>
          </p:cNvPr>
          <p:cNvSpPr/>
          <p:nvPr/>
        </p:nvSpPr>
        <p:spPr bwMode="gray">
          <a:xfrm>
            <a:off x="4135997" y="5977694"/>
            <a:ext cx="4830876"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lstStyle/>
          <a:p>
            <a:r>
              <a:rPr lang="en-US" sz="900" b="1" dirty="0"/>
              <a:t>HALLMARK CHANGE MANAGEMENT APPROACH</a:t>
            </a:r>
          </a:p>
          <a:p>
            <a:r>
              <a:rPr lang="en-US" sz="900" dirty="0"/>
              <a:t>Our change management framework supports designing impactful change and communication enablement, including the </a:t>
            </a:r>
            <a:r>
              <a:rPr kumimoji="0" lang="en-US" sz="900" i="0" u="none" strike="noStrike" kern="1200" cap="none" spc="0" normalizeH="0" baseline="0" dirty="0">
                <a:ln>
                  <a:noFill/>
                </a:ln>
                <a:solidFill>
                  <a:prstClr val="black"/>
                </a:solidFill>
                <a:effectLst/>
                <a:uLnTx/>
                <a:uFillTx/>
                <a:latin typeface="+mj-lt"/>
                <a:ea typeface="+mn-ea"/>
                <a:cs typeface="+mn-cs"/>
              </a:rPr>
              <a:t>identification and mobilization of the 25% most impacted, passionate and </a:t>
            </a:r>
            <a:r>
              <a:rPr kumimoji="0" lang="en-US" sz="900" b="0" i="0" u="none" strike="noStrike" kern="1200" cap="none" spc="0" normalizeH="0" baseline="0" dirty="0">
                <a:ln>
                  <a:noFill/>
                </a:ln>
                <a:solidFill>
                  <a:prstClr val="black"/>
                </a:solidFill>
                <a:effectLst/>
                <a:uLnTx/>
                <a:uFillTx/>
                <a:latin typeface="+mj-lt"/>
                <a:ea typeface="+mn-ea"/>
                <a:cs typeface="+mn-cs"/>
              </a:rPr>
              <a:t>influential people in the organization, who can drive the tipping point of change</a:t>
            </a:r>
            <a:r>
              <a:rPr lang="en-US" sz="900" dirty="0">
                <a:solidFill>
                  <a:prstClr val="black"/>
                </a:solidFill>
                <a:latin typeface="+mj-lt"/>
              </a:rPr>
              <a:t>.</a:t>
            </a:r>
            <a:endParaRPr lang="en-US" sz="900" dirty="0"/>
          </a:p>
        </p:txBody>
      </p:sp>
      <p:grpSp>
        <p:nvGrpSpPr>
          <p:cNvPr id="42" name="Group 41">
            <a:extLst>
              <a:ext uri="{FF2B5EF4-FFF2-40B4-BE49-F238E27FC236}">
                <a16:creationId xmlns:a16="http://schemas.microsoft.com/office/drawing/2014/main" id="{F7DED6DC-C84E-8FE3-F2B3-07C711044D05}"/>
              </a:ext>
            </a:extLst>
          </p:cNvPr>
          <p:cNvGrpSpPr/>
          <p:nvPr/>
        </p:nvGrpSpPr>
        <p:grpSpPr>
          <a:xfrm>
            <a:off x="2734887" y="5851312"/>
            <a:ext cx="6240680" cy="108000"/>
            <a:chOff x="2740358" y="3290138"/>
            <a:chExt cx="6240680" cy="108000"/>
          </a:xfrm>
        </p:grpSpPr>
        <p:cxnSp>
          <p:nvCxnSpPr>
            <p:cNvPr id="43" name="Straight Connector 42">
              <a:extLst>
                <a:ext uri="{FF2B5EF4-FFF2-40B4-BE49-F238E27FC236}">
                  <a16:creationId xmlns:a16="http://schemas.microsoft.com/office/drawing/2014/main" id="{EAA10E31-6D11-20A8-3B87-AA11E6EC1070}"/>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0DD56DC0-4BE8-AFE5-84CF-578FCDF77A3A}"/>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dirty="0"/>
            </a:p>
          </p:txBody>
        </p:sp>
        <p:cxnSp>
          <p:nvCxnSpPr>
            <p:cNvPr id="45" name="Straight Connector 44">
              <a:extLst>
                <a:ext uri="{FF2B5EF4-FFF2-40B4-BE49-F238E27FC236}">
                  <a16:creationId xmlns:a16="http://schemas.microsoft.com/office/drawing/2014/main" id="{0918D3D8-F27E-ABE2-2512-8BEDB34A2AA9}"/>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63772733"/>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509269" y="1542939"/>
            <a:ext cx="5747625" cy="4533586"/>
            <a:chOff x="3763916" y="736689"/>
            <a:chExt cx="7473950" cy="6050759"/>
          </a:xfrm>
        </p:grpSpPr>
        <p:graphicFrame>
          <p:nvGraphicFramePr>
            <p:cNvPr id="6" name="Diagram 5">
              <a:extLst>
                <a:ext uri="{FF2B5EF4-FFF2-40B4-BE49-F238E27FC236}">
                  <a16:creationId xmlns:a16="http://schemas.microsoft.com/office/drawing/2014/main" id="{CD512661-5A8C-4E7F-AE7B-3EB9F5BFDA1C}"/>
                </a:ext>
              </a:extLst>
            </p:cNvPr>
            <p:cNvGraphicFramePr/>
            <p:nvPr/>
          </p:nvGraphicFramePr>
          <p:xfrm>
            <a:off x="3763916" y="736689"/>
            <a:ext cx="7473950" cy="60507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oup 1"/>
            <p:cNvGrpSpPr/>
            <p:nvPr/>
          </p:nvGrpSpPr>
          <p:grpSpPr>
            <a:xfrm>
              <a:off x="6068973" y="1177596"/>
              <a:ext cx="2905857" cy="5362562"/>
              <a:chOff x="6068973" y="1177596"/>
              <a:chExt cx="2905857" cy="5362562"/>
            </a:xfrm>
          </p:grpSpPr>
          <p:cxnSp>
            <p:nvCxnSpPr>
              <p:cNvPr id="28" name="Straight Connector 27">
                <a:extLst>
                  <a:ext uri="{FF2B5EF4-FFF2-40B4-BE49-F238E27FC236}">
                    <a16:creationId xmlns:a16="http://schemas.microsoft.com/office/drawing/2014/main" id="{EAB415FB-46B1-4FE7-8D48-EE341D6875F4}"/>
                  </a:ext>
                </a:extLst>
              </p:cNvPr>
              <p:cNvCxnSpPr/>
              <p:nvPr/>
            </p:nvCxnSpPr>
            <p:spPr>
              <a:xfrm flipV="1">
                <a:off x="7858204" y="1537950"/>
                <a:ext cx="265235" cy="846137"/>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073CBCEB-38E3-495E-83E8-3CB9A2ACE163}"/>
                  </a:ext>
                </a:extLst>
              </p:cNvPr>
              <p:cNvSpPr/>
              <p:nvPr/>
            </p:nvSpPr>
            <p:spPr>
              <a:xfrm>
                <a:off x="7852063" y="2133915"/>
                <a:ext cx="137160" cy="137160"/>
              </a:xfrm>
              <a:prstGeom prst="ellipse">
                <a:avLst/>
              </a:prstGeom>
              <a:solidFill>
                <a:srgbClr val="002060"/>
              </a:solidFill>
              <a:ln>
                <a:solidFill>
                  <a:srgbClr val="002060"/>
                </a:solidFill>
              </a:ln>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anchor="ctr"/>
              <a:lstStyle/>
              <a:p>
                <a:pPr algn="ctr" defTabSz="914186">
                  <a:defRPr/>
                </a:pPr>
                <a:endParaRPr lang="en-US" sz="1200" dirty="0">
                  <a:solidFill>
                    <a:prstClr val="white"/>
                  </a:solidFill>
                </a:endParaRPr>
              </a:p>
            </p:txBody>
          </p:sp>
          <p:cxnSp>
            <p:nvCxnSpPr>
              <p:cNvPr id="30" name="Straight Connector 29">
                <a:extLst>
                  <a:ext uri="{FF2B5EF4-FFF2-40B4-BE49-F238E27FC236}">
                    <a16:creationId xmlns:a16="http://schemas.microsoft.com/office/drawing/2014/main" id="{37D84C4C-069B-4B2E-B142-3A4FA56B287B}"/>
                  </a:ext>
                </a:extLst>
              </p:cNvPr>
              <p:cNvCxnSpPr/>
              <p:nvPr/>
            </p:nvCxnSpPr>
            <p:spPr>
              <a:xfrm flipV="1">
                <a:off x="8157139" y="1177596"/>
                <a:ext cx="71804" cy="174625"/>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DB998C3-0CDE-421F-87E0-BA60D69340D1}"/>
                  </a:ext>
                </a:extLst>
              </p:cNvPr>
              <p:cNvCxnSpPr/>
              <p:nvPr/>
            </p:nvCxnSpPr>
            <p:spPr>
              <a:xfrm flipV="1">
                <a:off x="8445821" y="1360146"/>
                <a:ext cx="121626" cy="157162"/>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1D735FD-F918-4837-8048-DD52102A7CF8}"/>
                  </a:ext>
                </a:extLst>
              </p:cNvPr>
              <p:cNvCxnSpPr/>
              <p:nvPr/>
            </p:nvCxnSpPr>
            <p:spPr>
              <a:xfrm flipV="1">
                <a:off x="8617277" y="1626859"/>
                <a:ext cx="174381" cy="130175"/>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83FD7EB-F8FB-40E6-B0DF-36B1C1BD24D6}"/>
                  </a:ext>
                </a:extLst>
              </p:cNvPr>
              <p:cNvCxnSpPr/>
              <p:nvPr/>
            </p:nvCxnSpPr>
            <p:spPr>
              <a:xfrm flipV="1">
                <a:off x="8646584" y="1947521"/>
                <a:ext cx="284285" cy="80962"/>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1A0E7E4-55FC-4CBE-A967-28C00F42F7EA}"/>
                  </a:ext>
                </a:extLst>
              </p:cNvPr>
              <p:cNvCxnSpPr/>
              <p:nvPr/>
            </p:nvCxnSpPr>
            <p:spPr>
              <a:xfrm>
                <a:off x="8599685" y="2631733"/>
                <a:ext cx="259374" cy="103188"/>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2DDC963-C841-4EC4-BB4B-5D9E1B3A9BF1}"/>
                  </a:ext>
                </a:extLst>
              </p:cNvPr>
              <p:cNvCxnSpPr/>
              <p:nvPr/>
            </p:nvCxnSpPr>
            <p:spPr>
              <a:xfrm>
                <a:off x="8662704" y="2350746"/>
                <a:ext cx="312126" cy="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1C2A6F4-F744-4B2E-8D57-CE4119D932E4}"/>
                  </a:ext>
                </a:extLst>
              </p:cNvPr>
              <p:cNvCxnSpPr/>
              <p:nvPr/>
            </p:nvCxnSpPr>
            <p:spPr>
              <a:xfrm>
                <a:off x="8451685" y="2875569"/>
                <a:ext cx="169985" cy="17780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043A4F7-7C29-4032-8234-735722A4756E}"/>
                  </a:ext>
                </a:extLst>
              </p:cNvPr>
              <p:cNvCxnSpPr/>
              <p:nvPr/>
            </p:nvCxnSpPr>
            <p:spPr>
              <a:xfrm>
                <a:off x="6781144" y="2852396"/>
                <a:ext cx="84992" cy="20955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38" name="Oval 4">
                <a:extLst>
                  <a:ext uri="{FF2B5EF4-FFF2-40B4-BE49-F238E27FC236}">
                    <a16:creationId xmlns:a16="http://schemas.microsoft.com/office/drawing/2014/main" id="{EA0026F4-6072-4C86-A068-DC95A75929A9}"/>
                  </a:ext>
                </a:extLst>
              </p:cNvPr>
              <p:cNvSpPr/>
              <p:nvPr/>
            </p:nvSpPr>
            <p:spPr>
              <a:xfrm>
                <a:off x="8031117" y="1361746"/>
                <a:ext cx="215412" cy="187325"/>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2">
                        <a:lumMod val="75000"/>
                      </a:schemeClr>
                    </a:solidFill>
                    <a:latin typeface="Arial Black" pitchFamily="34" charset="0"/>
                  </a:rPr>
                  <a:t>1</a:t>
                </a:r>
              </a:p>
            </p:txBody>
          </p:sp>
          <p:sp>
            <p:nvSpPr>
              <p:cNvPr id="39" name="Oval 4">
                <a:extLst>
                  <a:ext uri="{FF2B5EF4-FFF2-40B4-BE49-F238E27FC236}">
                    <a16:creationId xmlns:a16="http://schemas.microsoft.com/office/drawing/2014/main" id="{C2680E44-5921-4411-95C9-39CF6D1F9116}"/>
                  </a:ext>
                </a:extLst>
              </p:cNvPr>
              <p:cNvSpPr/>
              <p:nvPr/>
            </p:nvSpPr>
            <p:spPr>
              <a:xfrm>
                <a:off x="8252390" y="1495083"/>
                <a:ext cx="213946" cy="185738"/>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2">
                        <a:lumMod val="75000"/>
                      </a:schemeClr>
                    </a:solidFill>
                    <a:latin typeface="Arial Black" pitchFamily="34" charset="0"/>
                  </a:rPr>
                  <a:t>2</a:t>
                </a:r>
              </a:p>
            </p:txBody>
          </p:sp>
          <p:sp>
            <p:nvSpPr>
              <p:cNvPr id="40" name="Oval 4">
                <a:extLst>
                  <a:ext uri="{FF2B5EF4-FFF2-40B4-BE49-F238E27FC236}">
                    <a16:creationId xmlns:a16="http://schemas.microsoft.com/office/drawing/2014/main" id="{7FE6CDF0-7DFC-43AC-B1B1-CCBD2640E769}"/>
                  </a:ext>
                </a:extLst>
              </p:cNvPr>
              <p:cNvSpPr/>
              <p:nvPr/>
            </p:nvSpPr>
            <p:spPr>
              <a:xfrm>
                <a:off x="8448754" y="1699884"/>
                <a:ext cx="213946"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2">
                        <a:lumMod val="75000"/>
                      </a:schemeClr>
                    </a:solidFill>
                    <a:latin typeface="Arial Black" pitchFamily="34" charset="0"/>
                  </a:rPr>
                  <a:t>3</a:t>
                </a:r>
              </a:p>
            </p:txBody>
          </p:sp>
          <p:sp>
            <p:nvSpPr>
              <p:cNvPr id="41" name="Oval 4">
                <a:extLst>
                  <a:ext uri="{FF2B5EF4-FFF2-40B4-BE49-F238E27FC236}">
                    <a16:creationId xmlns:a16="http://schemas.microsoft.com/office/drawing/2014/main" id="{B292DD1A-D135-42CF-95E1-D93859BAE2A9}"/>
                  </a:ext>
                </a:extLst>
              </p:cNvPr>
              <p:cNvSpPr/>
              <p:nvPr/>
            </p:nvSpPr>
            <p:spPr>
              <a:xfrm>
                <a:off x="8564518" y="1964983"/>
                <a:ext cx="213946" cy="185738"/>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2">
                        <a:lumMod val="75000"/>
                      </a:schemeClr>
                    </a:solidFill>
                    <a:latin typeface="Arial Black" pitchFamily="34" charset="0"/>
                  </a:rPr>
                  <a:t>4</a:t>
                </a:r>
              </a:p>
            </p:txBody>
          </p:sp>
          <p:sp>
            <p:nvSpPr>
              <p:cNvPr id="42" name="Oval 4">
                <a:extLst>
                  <a:ext uri="{FF2B5EF4-FFF2-40B4-BE49-F238E27FC236}">
                    <a16:creationId xmlns:a16="http://schemas.microsoft.com/office/drawing/2014/main" id="{6807C9E6-3AB7-4767-B37A-B66D877DA5D9}"/>
                  </a:ext>
                </a:extLst>
              </p:cNvPr>
              <p:cNvSpPr/>
              <p:nvPr/>
            </p:nvSpPr>
            <p:spPr>
              <a:xfrm>
                <a:off x="8598220" y="2285658"/>
                <a:ext cx="215411" cy="185738"/>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2">
                        <a:lumMod val="75000"/>
                      </a:schemeClr>
                    </a:solidFill>
                    <a:latin typeface="Arial Black" pitchFamily="34" charset="0"/>
                  </a:rPr>
                  <a:t>5</a:t>
                </a:r>
              </a:p>
            </p:txBody>
          </p:sp>
          <p:sp>
            <p:nvSpPr>
              <p:cNvPr id="43" name="Oval 4">
                <a:extLst>
                  <a:ext uri="{FF2B5EF4-FFF2-40B4-BE49-F238E27FC236}">
                    <a16:creationId xmlns:a16="http://schemas.microsoft.com/office/drawing/2014/main" id="{52A8D2F5-8C6E-46D7-B0D2-97BDD20A490B}"/>
                  </a:ext>
                </a:extLst>
              </p:cNvPr>
              <p:cNvSpPr/>
              <p:nvPr/>
            </p:nvSpPr>
            <p:spPr>
              <a:xfrm>
                <a:off x="8505901" y="2561883"/>
                <a:ext cx="213946" cy="185738"/>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dirty="0">
                    <a:solidFill>
                      <a:schemeClr val="accent2">
                        <a:lumMod val="75000"/>
                      </a:schemeClr>
                    </a:solidFill>
                    <a:latin typeface="Arial Black" pitchFamily="34" charset="0"/>
                  </a:rPr>
                  <a:t>6</a:t>
                </a:r>
              </a:p>
            </p:txBody>
          </p:sp>
          <p:sp>
            <p:nvSpPr>
              <p:cNvPr id="44" name="Oval 4">
                <a:extLst>
                  <a:ext uri="{FF2B5EF4-FFF2-40B4-BE49-F238E27FC236}">
                    <a16:creationId xmlns:a16="http://schemas.microsoft.com/office/drawing/2014/main" id="{55DB38BD-8575-44C6-9138-5F8377EA462C}"/>
                  </a:ext>
                </a:extLst>
              </p:cNvPr>
              <p:cNvSpPr/>
              <p:nvPr/>
            </p:nvSpPr>
            <p:spPr>
              <a:xfrm>
                <a:off x="8353501" y="2787308"/>
                <a:ext cx="213946" cy="185738"/>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2">
                        <a:lumMod val="75000"/>
                      </a:schemeClr>
                    </a:solidFill>
                    <a:latin typeface="Arial Black" pitchFamily="34" charset="0"/>
                  </a:rPr>
                  <a:t>7</a:t>
                </a:r>
              </a:p>
            </p:txBody>
          </p:sp>
          <p:sp>
            <p:nvSpPr>
              <p:cNvPr id="45" name="Oval 4">
                <a:extLst>
                  <a:ext uri="{FF2B5EF4-FFF2-40B4-BE49-F238E27FC236}">
                    <a16:creationId xmlns:a16="http://schemas.microsoft.com/office/drawing/2014/main" id="{66D8D607-5C5D-42C8-8D41-7D5BA7C631B9}"/>
                  </a:ext>
                </a:extLst>
              </p:cNvPr>
              <p:cNvSpPr/>
              <p:nvPr/>
            </p:nvSpPr>
            <p:spPr>
              <a:xfrm>
                <a:off x="6751836" y="2976234"/>
                <a:ext cx="213946"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1">
                        <a:lumMod val="75000"/>
                      </a:schemeClr>
                    </a:solidFill>
                    <a:latin typeface="Arial Black" pitchFamily="34" charset="0"/>
                  </a:rPr>
                  <a:t>1</a:t>
                </a:r>
              </a:p>
            </p:txBody>
          </p:sp>
          <p:cxnSp>
            <p:nvCxnSpPr>
              <p:cNvPr id="46" name="Straight Connector 45">
                <a:extLst>
                  <a:ext uri="{FF2B5EF4-FFF2-40B4-BE49-F238E27FC236}">
                    <a16:creationId xmlns:a16="http://schemas.microsoft.com/office/drawing/2014/main" id="{08FD23F2-21BA-4AB7-B7DD-6BE35DAE2143}"/>
                  </a:ext>
                </a:extLst>
              </p:cNvPr>
              <p:cNvCxnSpPr/>
              <p:nvPr/>
            </p:nvCxnSpPr>
            <p:spPr>
              <a:xfrm>
                <a:off x="6435313" y="3057183"/>
                <a:ext cx="152400" cy="15240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044B805-1C54-4678-8A21-2E3E8BE11938}"/>
                  </a:ext>
                </a:extLst>
              </p:cNvPr>
              <p:cNvCxnSpPr/>
              <p:nvPr/>
            </p:nvCxnSpPr>
            <p:spPr>
              <a:xfrm>
                <a:off x="6243347" y="3311183"/>
                <a:ext cx="228600" cy="11430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E94356E-5E20-471C-8D92-29746F65AA04}"/>
                  </a:ext>
                </a:extLst>
              </p:cNvPr>
              <p:cNvCxnSpPr/>
              <p:nvPr/>
            </p:nvCxnSpPr>
            <p:spPr>
              <a:xfrm>
                <a:off x="6108531" y="3620749"/>
                <a:ext cx="310662" cy="41275"/>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60E8ADE-9E5B-445D-81E0-53F144FA3CF6}"/>
                  </a:ext>
                </a:extLst>
              </p:cNvPr>
              <p:cNvCxnSpPr/>
              <p:nvPr/>
            </p:nvCxnSpPr>
            <p:spPr>
              <a:xfrm flipV="1">
                <a:off x="6068973" y="3965233"/>
                <a:ext cx="301869" cy="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D15B26C-B9AD-4775-AD3C-21D565E1CA0D}"/>
                  </a:ext>
                </a:extLst>
              </p:cNvPr>
              <p:cNvCxnSpPr/>
              <p:nvPr/>
            </p:nvCxnSpPr>
            <p:spPr>
              <a:xfrm flipV="1">
                <a:off x="6212574" y="4257333"/>
                <a:ext cx="256442" cy="122238"/>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9413D94-F82E-4B19-9693-5BCA0D75FDA0}"/>
                  </a:ext>
                </a:extLst>
              </p:cNvPr>
              <p:cNvCxnSpPr/>
              <p:nvPr/>
            </p:nvCxnSpPr>
            <p:spPr>
              <a:xfrm flipV="1">
                <a:off x="6454362" y="4493871"/>
                <a:ext cx="146538" cy="17145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52" name="Oval 4">
                <a:extLst>
                  <a:ext uri="{FF2B5EF4-FFF2-40B4-BE49-F238E27FC236}">
                    <a16:creationId xmlns:a16="http://schemas.microsoft.com/office/drawing/2014/main" id="{4BC824BD-AFDC-47A2-8903-03619F308A8B}"/>
                  </a:ext>
                </a:extLst>
              </p:cNvPr>
              <p:cNvSpPr/>
              <p:nvPr/>
            </p:nvSpPr>
            <p:spPr>
              <a:xfrm>
                <a:off x="6527638" y="3104821"/>
                <a:ext cx="213946" cy="187325"/>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1">
                        <a:lumMod val="75000"/>
                      </a:schemeClr>
                    </a:solidFill>
                    <a:latin typeface="Arial Black" pitchFamily="34" charset="0"/>
                  </a:rPr>
                  <a:t>2</a:t>
                </a:r>
              </a:p>
            </p:txBody>
          </p:sp>
          <p:sp>
            <p:nvSpPr>
              <p:cNvPr id="53" name="Oval 4">
                <a:extLst>
                  <a:ext uri="{FF2B5EF4-FFF2-40B4-BE49-F238E27FC236}">
                    <a16:creationId xmlns:a16="http://schemas.microsoft.com/office/drawing/2014/main" id="{7A9CA51D-AA0D-4B9E-BF86-4C7CCD0C6847}"/>
                  </a:ext>
                </a:extLst>
              </p:cNvPr>
              <p:cNvSpPr/>
              <p:nvPr/>
            </p:nvSpPr>
            <p:spPr>
              <a:xfrm>
                <a:off x="6359113" y="3320708"/>
                <a:ext cx="213946" cy="185738"/>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1">
                        <a:lumMod val="75000"/>
                      </a:schemeClr>
                    </a:solidFill>
                    <a:latin typeface="Arial Black" pitchFamily="34" charset="0"/>
                  </a:rPr>
                  <a:t>3</a:t>
                </a:r>
              </a:p>
            </p:txBody>
          </p:sp>
          <p:sp>
            <p:nvSpPr>
              <p:cNvPr id="54" name="Oval 4">
                <a:extLst>
                  <a:ext uri="{FF2B5EF4-FFF2-40B4-BE49-F238E27FC236}">
                    <a16:creationId xmlns:a16="http://schemas.microsoft.com/office/drawing/2014/main" id="{838B6924-32B1-4508-8389-383E6579B1FD}"/>
                  </a:ext>
                </a:extLst>
              </p:cNvPr>
              <p:cNvSpPr/>
              <p:nvPr/>
            </p:nvSpPr>
            <p:spPr>
              <a:xfrm>
                <a:off x="6231624" y="3595347"/>
                <a:ext cx="215412" cy="187325"/>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1">
                        <a:lumMod val="75000"/>
                      </a:schemeClr>
                    </a:solidFill>
                    <a:latin typeface="Arial Black" pitchFamily="34" charset="0"/>
                  </a:rPr>
                  <a:t>4</a:t>
                </a:r>
              </a:p>
            </p:txBody>
          </p:sp>
          <p:sp>
            <p:nvSpPr>
              <p:cNvPr id="55" name="Oval 4">
                <a:extLst>
                  <a:ext uri="{FF2B5EF4-FFF2-40B4-BE49-F238E27FC236}">
                    <a16:creationId xmlns:a16="http://schemas.microsoft.com/office/drawing/2014/main" id="{90DA25BB-11F8-47A2-A8A4-F9B89BA2B21B}"/>
                  </a:ext>
                </a:extLst>
              </p:cNvPr>
              <p:cNvSpPr/>
              <p:nvPr/>
            </p:nvSpPr>
            <p:spPr>
              <a:xfrm>
                <a:off x="6208178" y="3909674"/>
                <a:ext cx="215412"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1">
                        <a:lumMod val="75000"/>
                      </a:schemeClr>
                    </a:solidFill>
                    <a:latin typeface="Arial Black" pitchFamily="34" charset="0"/>
                  </a:rPr>
                  <a:t>5</a:t>
                </a:r>
              </a:p>
            </p:txBody>
          </p:sp>
          <p:sp>
            <p:nvSpPr>
              <p:cNvPr id="56" name="Oval 4">
                <a:extLst>
                  <a:ext uri="{FF2B5EF4-FFF2-40B4-BE49-F238E27FC236}">
                    <a16:creationId xmlns:a16="http://schemas.microsoft.com/office/drawing/2014/main" id="{4E23C311-5AEA-4E88-B857-DDA6B2727E7D}"/>
                  </a:ext>
                </a:extLst>
              </p:cNvPr>
              <p:cNvSpPr/>
              <p:nvPr/>
            </p:nvSpPr>
            <p:spPr>
              <a:xfrm>
                <a:off x="6329806" y="4208124"/>
                <a:ext cx="213946"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1">
                        <a:lumMod val="75000"/>
                      </a:schemeClr>
                    </a:solidFill>
                    <a:latin typeface="Arial Black" pitchFamily="34" charset="0"/>
                  </a:rPr>
                  <a:t>6</a:t>
                </a:r>
              </a:p>
            </p:txBody>
          </p:sp>
          <p:sp>
            <p:nvSpPr>
              <p:cNvPr id="57" name="Oval 4">
                <a:extLst>
                  <a:ext uri="{FF2B5EF4-FFF2-40B4-BE49-F238E27FC236}">
                    <a16:creationId xmlns:a16="http://schemas.microsoft.com/office/drawing/2014/main" id="{3A8A7194-F6F9-4341-898B-A31CF10127F0}"/>
                  </a:ext>
                </a:extLst>
              </p:cNvPr>
              <p:cNvSpPr/>
              <p:nvPr/>
            </p:nvSpPr>
            <p:spPr>
              <a:xfrm>
                <a:off x="6537890" y="4446259"/>
                <a:ext cx="213946"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1">
                        <a:lumMod val="75000"/>
                      </a:schemeClr>
                    </a:solidFill>
                    <a:latin typeface="Arial Black" pitchFamily="34" charset="0"/>
                  </a:rPr>
                  <a:t>7</a:t>
                </a:r>
              </a:p>
            </p:txBody>
          </p:sp>
          <p:cxnSp>
            <p:nvCxnSpPr>
              <p:cNvPr id="58" name="Straight Connector 57">
                <a:extLst>
                  <a:ext uri="{FF2B5EF4-FFF2-40B4-BE49-F238E27FC236}">
                    <a16:creationId xmlns:a16="http://schemas.microsoft.com/office/drawing/2014/main" id="{91DCFB63-4973-4CC9-A5FF-24DB0D7B6B1E}"/>
                  </a:ext>
                </a:extLst>
              </p:cNvPr>
              <p:cNvCxnSpPr/>
              <p:nvPr/>
            </p:nvCxnSpPr>
            <p:spPr>
              <a:xfrm flipV="1">
                <a:off x="7840616" y="4879646"/>
                <a:ext cx="357554" cy="784225"/>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D5D6D4D-F75A-415E-8CBB-E942F58EA1BE}"/>
                  </a:ext>
                </a:extLst>
              </p:cNvPr>
              <p:cNvCxnSpPr/>
              <p:nvPr/>
            </p:nvCxnSpPr>
            <p:spPr>
              <a:xfrm flipH="1">
                <a:off x="8245062" y="4549433"/>
                <a:ext cx="128954" cy="230188"/>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71FC2F5-1F9C-4BDB-8AE5-3B9EBD401E30}"/>
                  </a:ext>
                </a:extLst>
              </p:cNvPr>
              <p:cNvCxnSpPr/>
              <p:nvPr/>
            </p:nvCxnSpPr>
            <p:spPr>
              <a:xfrm flipH="1">
                <a:off x="8426773" y="4809783"/>
                <a:ext cx="246185" cy="179388"/>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663FA86-151C-424A-9451-D8103DD33FAA}"/>
                  </a:ext>
                </a:extLst>
              </p:cNvPr>
              <p:cNvCxnSpPr/>
              <p:nvPr/>
            </p:nvCxnSpPr>
            <p:spPr>
              <a:xfrm flipH="1">
                <a:off x="8653905" y="5184433"/>
                <a:ext cx="219808" cy="6350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80693AE-DC4A-4CC1-B859-9F8EE1B606AD}"/>
                  </a:ext>
                </a:extLst>
              </p:cNvPr>
              <p:cNvCxnSpPr/>
              <p:nvPr/>
            </p:nvCxnSpPr>
            <p:spPr>
              <a:xfrm flipH="1">
                <a:off x="8715457" y="5560671"/>
                <a:ext cx="221273" cy="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48EEAED-B2BA-4923-A5F2-5E737550D1F4}"/>
                  </a:ext>
                </a:extLst>
              </p:cNvPr>
              <p:cNvCxnSpPr/>
              <p:nvPr/>
            </p:nvCxnSpPr>
            <p:spPr>
              <a:xfrm flipH="1" flipV="1">
                <a:off x="8626069" y="5909921"/>
                <a:ext cx="225669" cy="6350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A95B008-F78F-41F2-BA89-E56584FD7B3E}"/>
                  </a:ext>
                </a:extLst>
              </p:cNvPr>
              <p:cNvCxnSpPr/>
              <p:nvPr/>
            </p:nvCxnSpPr>
            <p:spPr>
              <a:xfrm flipH="1" flipV="1">
                <a:off x="8435568" y="6151221"/>
                <a:ext cx="169985" cy="17145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92CFFA8-7A99-4345-AA07-56787CE69921}"/>
                  </a:ext>
                </a:extLst>
              </p:cNvPr>
              <p:cNvCxnSpPr/>
              <p:nvPr/>
            </p:nvCxnSpPr>
            <p:spPr>
              <a:xfrm flipH="1" flipV="1">
                <a:off x="8182057" y="6317908"/>
                <a:ext cx="93785" cy="222250"/>
              </a:xfrm>
              <a:prstGeom prst="line">
                <a:avLst/>
              </a:prstGeom>
              <a:ln w="57150">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66" name="Oval 4">
                <a:extLst>
                  <a:ext uri="{FF2B5EF4-FFF2-40B4-BE49-F238E27FC236}">
                    <a16:creationId xmlns:a16="http://schemas.microsoft.com/office/drawing/2014/main" id="{1F8E7D9C-7AD0-4A0B-B6CB-20011BAC242B}"/>
                  </a:ext>
                </a:extLst>
              </p:cNvPr>
              <p:cNvSpPr/>
              <p:nvPr/>
            </p:nvSpPr>
            <p:spPr>
              <a:xfrm>
                <a:off x="8127837" y="4703434"/>
                <a:ext cx="215412"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rgbClr val="1F497D">
                        <a:lumMod val="60000"/>
                        <a:lumOff val="40000"/>
                      </a:srgbClr>
                    </a:solidFill>
                    <a:latin typeface="Arial Black" pitchFamily="34" charset="0"/>
                  </a:rPr>
                  <a:t>1</a:t>
                </a:r>
              </a:p>
            </p:txBody>
          </p:sp>
          <p:sp>
            <p:nvSpPr>
              <p:cNvPr id="67" name="Oval 4">
                <a:extLst>
                  <a:ext uri="{FF2B5EF4-FFF2-40B4-BE49-F238E27FC236}">
                    <a16:creationId xmlns:a16="http://schemas.microsoft.com/office/drawing/2014/main" id="{4B67FE65-EA69-4138-B299-BA66C14A2356}"/>
                  </a:ext>
                </a:extLst>
              </p:cNvPr>
              <p:cNvSpPr/>
              <p:nvPr/>
            </p:nvSpPr>
            <p:spPr>
              <a:xfrm>
                <a:off x="8359366" y="4900284"/>
                <a:ext cx="213946"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rgbClr val="1F497D">
                        <a:lumMod val="60000"/>
                        <a:lumOff val="40000"/>
                      </a:srgbClr>
                    </a:solidFill>
                    <a:latin typeface="Arial Black" pitchFamily="34" charset="0"/>
                  </a:rPr>
                  <a:t>2</a:t>
                </a:r>
              </a:p>
            </p:txBody>
          </p:sp>
          <p:sp>
            <p:nvSpPr>
              <p:cNvPr id="68" name="Oval 4">
                <a:extLst>
                  <a:ext uri="{FF2B5EF4-FFF2-40B4-BE49-F238E27FC236}">
                    <a16:creationId xmlns:a16="http://schemas.microsoft.com/office/drawing/2014/main" id="{EE647078-976D-43B8-B479-8636B65BABDD}"/>
                  </a:ext>
                </a:extLst>
              </p:cNvPr>
              <p:cNvSpPr/>
              <p:nvPr/>
            </p:nvSpPr>
            <p:spPr>
              <a:xfrm>
                <a:off x="8520555" y="5197146"/>
                <a:ext cx="213946" cy="187325"/>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3">
                        <a:lumMod val="75000"/>
                      </a:schemeClr>
                    </a:solidFill>
                    <a:latin typeface="Arial Black" pitchFamily="34" charset="0"/>
                  </a:rPr>
                  <a:t>3</a:t>
                </a:r>
              </a:p>
            </p:txBody>
          </p:sp>
          <p:sp>
            <p:nvSpPr>
              <p:cNvPr id="69" name="Oval 4">
                <a:extLst>
                  <a:ext uri="{FF2B5EF4-FFF2-40B4-BE49-F238E27FC236}">
                    <a16:creationId xmlns:a16="http://schemas.microsoft.com/office/drawing/2014/main" id="{765DF16D-7FB8-41B4-B765-AB95F730CDA8}"/>
                  </a:ext>
                </a:extLst>
              </p:cNvPr>
              <p:cNvSpPr/>
              <p:nvPr/>
            </p:nvSpPr>
            <p:spPr>
              <a:xfrm>
                <a:off x="8552793" y="5508283"/>
                <a:ext cx="215412" cy="185738"/>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3">
                        <a:lumMod val="75000"/>
                      </a:schemeClr>
                    </a:solidFill>
                    <a:latin typeface="Arial Black" pitchFamily="34" charset="0"/>
                  </a:rPr>
                  <a:t>4</a:t>
                </a:r>
              </a:p>
            </p:txBody>
          </p:sp>
          <p:sp>
            <p:nvSpPr>
              <p:cNvPr id="70" name="Oval 4">
                <a:extLst>
                  <a:ext uri="{FF2B5EF4-FFF2-40B4-BE49-F238E27FC236}">
                    <a16:creationId xmlns:a16="http://schemas.microsoft.com/office/drawing/2014/main" id="{4D876655-40AB-49D5-B663-3E4ECE7C33B4}"/>
                  </a:ext>
                </a:extLst>
              </p:cNvPr>
              <p:cNvSpPr/>
              <p:nvPr/>
            </p:nvSpPr>
            <p:spPr>
              <a:xfrm>
                <a:off x="8461942" y="5821034"/>
                <a:ext cx="213946"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chemeClr val="accent3">
                        <a:lumMod val="75000"/>
                      </a:schemeClr>
                    </a:solidFill>
                    <a:latin typeface="Arial Black" pitchFamily="34" charset="0"/>
                  </a:rPr>
                  <a:t>5</a:t>
                </a:r>
              </a:p>
            </p:txBody>
          </p:sp>
          <p:sp>
            <p:nvSpPr>
              <p:cNvPr id="71" name="Oval 4">
                <a:extLst>
                  <a:ext uri="{FF2B5EF4-FFF2-40B4-BE49-F238E27FC236}">
                    <a16:creationId xmlns:a16="http://schemas.microsoft.com/office/drawing/2014/main" id="{ECB8D032-CB50-49CC-BEB1-45AE0344E19B}"/>
                  </a:ext>
                </a:extLst>
              </p:cNvPr>
              <p:cNvSpPr/>
              <p:nvPr/>
            </p:nvSpPr>
            <p:spPr>
              <a:xfrm>
                <a:off x="8278767" y="6060733"/>
                <a:ext cx="213946" cy="185738"/>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rgbClr val="1F497D">
                        <a:lumMod val="60000"/>
                        <a:lumOff val="40000"/>
                      </a:srgbClr>
                    </a:solidFill>
                    <a:latin typeface="Arial Black" pitchFamily="34" charset="0"/>
                  </a:rPr>
                  <a:t>6</a:t>
                </a:r>
              </a:p>
            </p:txBody>
          </p:sp>
          <p:sp>
            <p:nvSpPr>
              <p:cNvPr id="72" name="Oval 4">
                <a:extLst>
                  <a:ext uri="{FF2B5EF4-FFF2-40B4-BE49-F238E27FC236}">
                    <a16:creationId xmlns:a16="http://schemas.microsoft.com/office/drawing/2014/main" id="{DDCD021D-0C58-4951-8562-AB4D56CB8CF4}"/>
                  </a:ext>
                </a:extLst>
              </p:cNvPr>
              <p:cNvSpPr/>
              <p:nvPr/>
            </p:nvSpPr>
            <p:spPr>
              <a:xfrm>
                <a:off x="8041378" y="6221084"/>
                <a:ext cx="213946" cy="185737"/>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ctr" defTabSz="355518">
                  <a:lnSpc>
                    <a:spcPct val="90000"/>
                  </a:lnSpc>
                  <a:spcAft>
                    <a:spcPct val="35000"/>
                  </a:spcAft>
                  <a:defRPr/>
                </a:pPr>
                <a:r>
                  <a:rPr lang="en-US" sz="1200" b="1" dirty="0">
                    <a:solidFill>
                      <a:srgbClr val="1F497D">
                        <a:lumMod val="60000"/>
                        <a:lumOff val="40000"/>
                      </a:srgbClr>
                    </a:solidFill>
                    <a:latin typeface="Arial Black" pitchFamily="34" charset="0"/>
                  </a:rPr>
                  <a:t>7</a:t>
                </a:r>
              </a:p>
            </p:txBody>
          </p:sp>
          <p:cxnSp>
            <p:nvCxnSpPr>
              <p:cNvPr id="73" name="Straight Connector 72">
                <a:extLst>
                  <a:ext uri="{FF2B5EF4-FFF2-40B4-BE49-F238E27FC236}">
                    <a16:creationId xmlns:a16="http://schemas.microsoft.com/office/drawing/2014/main" id="{43223106-ED03-42CC-9C73-D6C89CD56B56}"/>
                  </a:ext>
                </a:extLst>
              </p:cNvPr>
              <p:cNvCxnSpPr/>
              <p:nvPr/>
            </p:nvCxnSpPr>
            <p:spPr>
              <a:xfrm flipH="1" flipV="1">
                <a:off x="6869067" y="3146083"/>
                <a:ext cx="328246" cy="868363"/>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0B6260F3-5ABE-44F3-8ED1-4D037CC6CF2C}"/>
                  </a:ext>
                </a:extLst>
              </p:cNvPr>
              <p:cNvSpPr/>
              <p:nvPr/>
            </p:nvSpPr>
            <p:spPr>
              <a:xfrm>
                <a:off x="7845079" y="5436633"/>
                <a:ext cx="137160" cy="137160"/>
              </a:xfrm>
              <a:prstGeom prst="ellipse">
                <a:avLst/>
              </a:prstGeom>
              <a:solidFill>
                <a:srgbClr val="002060"/>
              </a:solidFill>
              <a:ln>
                <a:solidFill>
                  <a:srgbClr val="002060"/>
                </a:solidFill>
              </a:ln>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anchor="ctr"/>
              <a:lstStyle/>
              <a:p>
                <a:pPr algn="ctr" defTabSz="914186">
                  <a:defRPr/>
                </a:pPr>
                <a:endParaRPr lang="en-US" sz="1200" dirty="0">
                  <a:solidFill>
                    <a:prstClr val="white"/>
                  </a:solidFill>
                </a:endParaRPr>
              </a:p>
            </p:txBody>
          </p:sp>
          <p:sp>
            <p:nvSpPr>
              <p:cNvPr id="75" name="Oval 74">
                <a:extLst>
                  <a:ext uri="{FF2B5EF4-FFF2-40B4-BE49-F238E27FC236}">
                    <a16:creationId xmlns:a16="http://schemas.microsoft.com/office/drawing/2014/main" id="{730F09D1-C8C7-41D9-9492-4EC22613D69B}"/>
                  </a:ext>
                </a:extLst>
              </p:cNvPr>
              <p:cNvSpPr/>
              <p:nvPr/>
            </p:nvSpPr>
            <p:spPr>
              <a:xfrm>
                <a:off x="7062723" y="3778354"/>
                <a:ext cx="137160" cy="137160"/>
              </a:xfrm>
              <a:prstGeom prst="ellipse">
                <a:avLst/>
              </a:prstGeom>
              <a:solidFill>
                <a:srgbClr val="002060"/>
              </a:solidFill>
              <a:ln>
                <a:solidFill>
                  <a:srgbClr val="002060"/>
                </a:solidFill>
              </a:ln>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anchor="ctr"/>
              <a:lstStyle/>
              <a:p>
                <a:pPr algn="ctr" defTabSz="914186">
                  <a:defRPr/>
                </a:pPr>
                <a:endParaRPr lang="en-US" sz="1200" dirty="0">
                  <a:solidFill>
                    <a:schemeClr val="accent1">
                      <a:lumMod val="75000"/>
                    </a:schemeClr>
                  </a:solidFill>
                </a:endParaRPr>
              </a:p>
            </p:txBody>
          </p:sp>
        </p:grpSp>
      </p:grpSp>
      <p:sp>
        <p:nvSpPr>
          <p:cNvPr id="7" name="Oval 4">
            <a:extLst>
              <a:ext uri="{FF2B5EF4-FFF2-40B4-BE49-F238E27FC236}">
                <a16:creationId xmlns:a16="http://schemas.microsoft.com/office/drawing/2014/main" id="{7F794EEC-B352-4B3A-99C4-EECD0FD0A8E0}"/>
              </a:ext>
            </a:extLst>
          </p:cNvPr>
          <p:cNvSpPr/>
          <p:nvPr/>
        </p:nvSpPr>
        <p:spPr>
          <a:xfrm>
            <a:off x="7702686" y="1641667"/>
            <a:ext cx="393192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2">
                    <a:lumMod val="75000"/>
                  </a:schemeClr>
                </a:solidFill>
              </a:rPr>
              <a:t>Interpret organizational strategy and objectives</a:t>
            </a:r>
          </a:p>
        </p:txBody>
      </p:sp>
      <p:sp>
        <p:nvSpPr>
          <p:cNvPr id="8" name="Oval 6">
            <a:extLst>
              <a:ext uri="{FF2B5EF4-FFF2-40B4-BE49-F238E27FC236}">
                <a16:creationId xmlns:a16="http://schemas.microsoft.com/office/drawing/2014/main" id="{F8BABF14-3DB9-4BD9-AB0B-F68EFCBB4C14}"/>
              </a:ext>
            </a:extLst>
          </p:cNvPr>
          <p:cNvSpPr/>
          <p:nvPr/>
        </p:nvSpPr>
        <p:spPr>
          <a:xfrm>
            <a:off x="7702686" y="1917443"/>
            <a:ext cx="393192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2">
                    <a:lumMod val="75000"/>
                  </a:schemeClr>
                </a:solidFill>
              </a:rPr>
              <a:t>Understand how value will be generated</a:t>
            </a:r>
          </a:p>
        </p:txBody>
      </p:sp>
      <p:sp>
        <p:nvSpPr>
          <p:cNvPr id="9" name="Oval 8">
            <a:extLst>
              <a:ext uri="{FF2B5EF4-FFF2-40B4-BE49-F238E27FC236}">
                <a16:creationId xmlns:a16="http://schemas.microsoft.com/office/drawing/2014/main" id="{CA0AD837-387B-438D-A08E-C9DA9ECC9CAB}"/>
              </a:ext>
            </a:extLst>
          </p:cNvPr>
          <p:cNvSpPr/>
          <p:nvPr/>
        </p:nvSpPr>
        <p:spPr>
          <a:xfrm>
            <a:off x="7702686" y="2193219"/>
            <a:ext cx="393192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2">
                    <a:lumMod val="75000"/>
                  </a:schemeClr>
                </a:solidFill>
              </a:rPr>
              <a:t>Conduct current state assessment</a:t>
            </a:r>
          </a:p>
        </p:txBody>
      </p:sp>
      <p:sp>
        <p:nvSpPr>
          <p:cNvPr id="10" name="Oval 10">
            <a:extLst>
              <a:ext uri="{FF2B5EF4-FFF2-40B4-BE49-F238E27FC236}">
                <a16:creationId xmlns:a16="http://schemas.microsoft.com/office/drawing/2014/main" id="{3BD3662A-E86B-40AE-A928-F9C508A0AE4E}"/>
              </a:ext>
            </a:extLst>
          </p:cNvPr>
          <p:cNvSpPr/>
          <p:nvPr/>
        </p:nvSpPr>
        <p:spPr>
          <a:xfrm>
            <a:off x="7702686" y="2468995"/>
            <a:ext cx="393192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2">
                    <a:lumMod val="75000"/>
                  </a:schemeClr>
                </a:solidFill>
              </a:rPr>
              <a:t>Agree on design boundaries</a:t>
            </a:r>
          </a:p>
        </p:txBody>
      </p:sp>
      <p:sp>
        <p:nvSpPr>
          <p:cNvPr id="11" name="Oval 12">
            <a:extLst>
              <a:ext uri="{FF2B5EF4-FFF2-40B4-BE49-F238E27FC236}">
                <a16:creationId xmlns:a16="http://schemas.microsoft.com/office/drawing/2014/main" id="{8E164F17-7D98-4348-9E6E-A7EF06356C54}"/>
              </a:ext>
            </a:extLst>
          </p:cNvPr>
          <p:cNvSpPr/>
          <p:nvPr/>
        </p:nvSpPr>
        <p:spPr>
          <a:xfrm>
            <a:off x="7702686" y="2744771"/>
            <a:ext cx="393192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pPr>
            <a:r>
              <a:rPr lang="en-US" sz="1200" dirty="0">
                <a:solidFill>
                  <a:schemeClr val="accent2">
                    <a:lumMod val="75000"/>
                  </a:schemeClr>
                </a:solidFill>
              </a:rPr>
              <a:t>Define how the operating model needs to change</a:t>
            </a:r>
          </a:p>
        </p:txBody>
      </p:sp>
      <p:sp>
        <p:nvSpPr>
          <p:cNvPr id="12" name="Oval 14">
            <a:extLst>
              <a:ext uri="{FF2B5EF4-FFF2-40B4-BE49-F238E27FC236}">
                <a16:creationId xmlns:a16="http://schemas.microsoft.com/office/drawing/2014/main" id="{F335AB90-BC33-47B2-B2FD-60AC9FB0CA16}"/>
              </a:ext>
            </a:extLst>
          </p:cNvPr>
          <p:cNvSpPr/>
          <p:nvPr/>
        </p:nvSpPr>
        <p:spPr>
          <a:xfrm>
            <a:off x="7702686" y="3020547"/>
            <a:ext cx="393192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2">
                    <a:lumMod val="75000"/>
                  </a:schemeClr>
                </a:solidFill>
              </a:rPr>
              <a:t>Agree on approach and pace</a:t>
            </a:r>
          </a:p>
        </p:txBody>
      </p:sp>
      <p:sp>
        <p:nvSpPr>
          <p:cNvPr id="13" name="Oval 16">
            <a:extLst>
              <a:ext uri="{FF2B5EF4-FFF2-40B4-BE49-F238E27FC236}">
                <a16:creationId xmlns:a16="http://schemas.microsoft.com/office/drawing/2014/main" id="{3E92EFE2-802D-4E4B-93C8-55824F768267}"/>
              </a:ext>
            </a:extLst>
          </p:cNvPr>
          <p:cNvSpPr/>
          <p:nvPr/>
        </p:nvSpPr>
        <p:spPr>
          <a:xfrm>
            <a:off x="7702686" y="3296324"/>
            <a:ext cx="393192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2">
                    <a:lumMod val="75000"/>
                  </a:schemeClr>
                </a:solidFill>
              </a:rPr>
              <a:t>Shape leadership conditions for success</a:t>
            </a:r>
          </a:p>
        </p:txBody>
      </p:sp>
      <p:sp>
        <p:nvSpPr>
          <p:cNvPr id="14" name="Oval 4">
            <a:extLst>
              <a:ext uri="{FF2B5EF4-FFF2-40B4-BE49-F238E27FC236}">
                <a16:creationId xmlns:a16="http://schemas.microsoft.com/office/drawing/2014/main" id="{79E36673-D723-4E96-A020-B3D3A4E1AB41}"/>
              </a:ext>
            </a:extLst>
          </p:cNvPr>
          <p:cNvSpPr/>
          <p:nvPr/>
        </p:nvSpPr>
        <p:spPr>
          <a:xfrm>
            <a:off x="481500" y="2791728"/>
            <a:ext cx="466344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r" defTabSz="355518">
              <a:lnSpc>
                <a:spcPct val="90000"/>
              </a:lnSpc>
              <a:spcAft>
                <a:spcPct val="35000"/>
              </a:spcAft>
              <a:defRPr/>
            </a:pPr>
            <a:r>
              <a:rPr lang="en-US" sz="1200" dirty="0">
                <a:solidFill>
                  <a:schemeClr val="accent1">
                    <a:lumMod val="75000"/>
                  </a:schemeClr>
                </a:solidFill>
              </a:rPr>
              <a:t>Agree on design principles &amp; appetite for innovation</a:t>
            </a:r>
          </a:p>
        </p:txBody>
      </p:sp>
      <p:sp>
        <p:nvSpPr>
          <p:cNvPr id="16" name="Oval 8">
            <a:extLst>
              <a:ext uri="{FF2B5EF4-FFF2-40B4-BE49-F238E27FC236}">
                <a16:creationId xmlns:a16="http://schemas.microsoft.com/office/drawing/2014/main" id="{FB94F36E-6284-41D5-BA71-66F2B626A986}"/>
              </a:ext>
            </a:extLst>
          </p:cNvPr>
          <p:cNvSpPr/>
          <p:nvPr/>
        </p:nvSpPr>
        <p:spPr>
          <a:xfrm>
            <a:off x="389609" y="3063202"/>
            <a:ext cx="466344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r" defTabSz="355518">
              <a:lnSpc>
                <a:spcPct val="90000"/>
              </a:lnSpc>
              <a:spcAft>
                <a:spcPct val="35000"/>
              </a:spcAft>
              <a:defRPr/>
            </a:pPr>
            <a:r>
              <a:rPr lang="en-US" sz="1200" dirty="0">
                <a:solidFill>
                  <a:schemeClr val="accent1">
                    <a:lumMod val="75000"/>
                  </a:schemeClr>
                </a:solidFill>
              </a:rPr>
              <a:t>Agree on Leadership Structure</a:t>
            </a:r>
          </a:p>
        </p:txBody>
      </p:sp>
      <p:sp>
        <p:nvSpPr>
          <p:cNvPr id="17" name="Oval 10">
            <a:extLst>
              <a:ext uri="{FF2B5EF4-FFF2-40B4-BE49-F238E27FC236}">
                <a16:creationId xmlns:a16="http://schemas.microsoft.com/office/drawing/2014/main" id="{E9C86D00-AF57-47AA-826C-2A053A164C90}"/>
              </a:ext>
            </a:extLst>
          </p:cNvPr>
          <p:cNvSpPr/>
          <p:nvPr/>
        </p:nvSpPr>
        <p:spPr>
          <a:xfrm>
            <a:off x="404912" y="4270510"/>
            <a:ext cx="466344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r" defTabSz="355518">
              <a:lnSpc>
                <a:spcPct val="90000"/>
              </a:lnSpc>
              <a:spcAft>
                <a:spcPct val="35000"/>
              </a:spcAft>
              <a:defRPr/>
            </a:pPr>
            <a:r>
              <a:rPr lang="en-US" sz="1200" dirty="0">
                <a:solidFill>
                  <a:schemeClr val="accent1">
                    <a:lumMod val="75000"/>
                  </a:schemeClr>
                </a:solidFill>
              </a:rPr>
              <a:t>Complete detailed Organization Design</a:t>
            </a:r>
          </a:p>
        </p:txBody>
      </p:sp>
      <p:sp>
        <p:nvSpPr>
          <p:cNvPr id="18" name="Oval 12">
            <a:extLst>
              <a:ext uri="{FF2B5EF4-FFF2-40B4-BE49-F238E27FC236}">
                <a16:creationId xmlns:a16="http://schemas.microsoft.com/office/drawing/2014/main" id="{042BF7E1-4FCD-4329-94AA-890ACB4ECF4E}"/>
              </a:ext>
            </a:extLst>
          </p:cNvPr>
          <p:cNvSpPr/>
          <p:nvPr/>
        </p:nvSpPr>
        <p:spPr>
          <a:xfrm>
            <a:off x="438846" y="3946917"/>
            <a:ext cx="466344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r" defTabSz="355518">
              <a:lnSpc>
                <a:spcPct val="90000"/>
              </a:lnSpc>
              <a:spcAft>
                <a:spcPct val="35000"/>
              </a:spcAft>
            </a:pPr>
            <a:r>
              <a:rPr lang="en-US" sz="1200" dirty="0">
                <a:solidFill>
                  <a:schemeClr val="accent1">
                    <a:lumMod val="75000"/>
                  </a:schemeClr>
                </a:solidFill>
              </a:rPr>
              <a:t>Design decision rights, governance and interaction model</a:t>
            </a:r>
          </a:p>
        </p:txBody>
      </p:sp>
      <p:sp>
        <p:nvSpPr>
          <p:cNvPr id="19" name="Oval 16">
            <a:extLst>
              <a:ext uri="{FF2B5EF4-FFF2-40B4-BE49-F238E27FC236}">
                <a16:creationId xmlns:a16="http://schemas.microsoft.com/office/drawing/2014/main" id="{AB504FCF-581F-4E82-9266-4377E5804E6A}"/>
              </a:ext>
            </a:extLst>
          </p:cNvPr>
          <p:cNvSpPr/>
          <p:nvPr/>
        </p:nvSpPr>
        <p:spPr>
          <a:xfrm>
            <a:off x="382937" y="3695798"/>
            <a:ext cx="466344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r" defTabSz="355518">
              <a:lnSpc>
                <a:spcPct val="90000"/>
              </a:lnSpc>
              <a:spcAft>
                <a:spcPct val="35000"/>
              </a:spcAft>
              <a:defRPr/>
            </a:pPr>
            <a:r>
              <a:rPr lang="en-US" sz="1200" dirty="0">
                <a:solidFill>
                  <a:schemeClr val="accent1">
                    <a:lumMod val="75000"/>
                  </a:schemeClr>
                </a:solidFill>
              </a:rPr>
              <a:t>Model and refine the design using analytics</a:t>
            </a:r>
          </a:p>
        </p:txBody>
      </p:sp>
      <p:sp>
        <p:nvSpPr>
          <p:cNvPr id="20" name="Oval 14">
            <a:extLst>
              <a:ext uri="{FF2B5EF4-FFF2-40B4-BE49-F238E27FC236}">
                <a16:creationId xmlns:a16="http://schemas.microsoft.com/office/drawing/2014/main" id="{52BF42AD-159F-4CF4-B323-E122B1C48206}"/>
              </a:ext>
            </a:extLst>
          </p:cNvPr>
          <p:cNvSpPr/>
          <p:nvPr/>
        </p:nvSpPr>
        <p:spPr>
          <a:xfrm>
            <a:off x="449602" y="4597241"/>
            <a:ext cx="466344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r" defTabSz="355518">
              <a:lnSpc>
                <a:spcPct val="90000"/>
              </a:lnSpc>
              <a:spcAft>
                <a:spcPct val="35000"/>
              </a:spcAft>
              <a:defRPr/>
            </a:pPr>
            <a:r>
              <a:rPr lang="en-US" sz="1200" dirty="0">
                <a:solidFill>
                  <a:schemeClr val="accent1">
                    <a:lumMod val="75000"/>
                  </a:schemeClr>
                </a:solidFill>
              </a:rPr>
              <a:t>Accelerate leadership momentum and finalize the design</a:t>
            </a:r>
          </a:p>
        </p:txBody>
      </p:sp>
      <p:sp>
        <p:nvSpPr>
          <p:cNvPr id="21" name="Oval 16">
            <a:extLst>
              <a:ext uri="{FF2B5EF4-FFF2-40B4-BE49-F238E27FC236}">
                <a16:creationId xmlns:a16="http://schemas.microsoft.com/office/drawing/2014/main" id="{B6C3D261-547F-4A35-970E-972A771B8F43}"/>
              </a:ext>
            </a:extLst>
          </p:cNvPr>
          <p:cNvSpPr/>
          <p:nvPr/>
        </p:nvSpPr>
        <p:spPr>
          <a:xfrm>
            <a:off x="7702686" y="5831396"/>
            <a:ext cx="384048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3">
                    <a:lumMod val="75000"/>
                  </a:schemeClr>
                </a:solidFill>
              </a:rPr>
              <a:t>Evaluate and optimize</a:t>
            </a:r>
          </a:p>
        </p:txBody>
      </p:sp>
      <p:sp>
        <p:nvSpPr>
          <p:cNvPr id="22" name="Oval 4">
            <a:extLst>
              <a:ext uri="{FF2B5EF4-FFF2-40B4-BE49-F238E27FC236}">
                <a16:creationId xmlns:a16="http://schemas.microsoft.com/office/drawing/2014/main" id="{EB7D622B-34F4-41F4-A59A-73534801E766}"/>
              </a:ext>
            </a:extLst>
          </p:cNvPr>
          <p:cNvSpPr/>
          <p:nvPr/>
        </p:nvSpPr>
        <p:spPr>
          <a:xfrm>
            <a:off x="7702686" y="3890722"/>
            <a:ext cx="384048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3">
                    <a:lumMod val="75000"/>
                  </a:schemeClr>
                </a:solidFill>
              </a:rPr>
              <a:t>Prepare for transition</a:t>
            </a:r>
          </a:p>
        </p:txBody>
      </p:sp>
      <p:sp>
        <p:nvSpPr>
          <p:cNvPr id="23" name="Oval 6">
            <a:extLst>
              <a:ext uri="{FF2B5EF4-FFF2-40B4-BE49-F238E27FC236}">
                <a16:creationId xmlns:a16="http://schemas.microsoft.com/office/drawing/2014/main" id="{4BB17359-D28F-43E7-91A9-886222FB1FA5}"/>
              </a:ext>
            </a:extLst>
          </p:cNvPr>
          <p:cNvSpPr/>
          <p:nvPr/>
        </p:nvSpPr>
        <p:spPr>
          <a:xfrm>
            <a:off x="7702686" y="4214168"/>
            <a:ext cx="384048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3">
                    <a:lumMod val="75000"/>
                  </a:schemeClr>
                </a:solidFill>
              </a:rPr>
              <a:t>Establish governance for implementation</a:t>
            </a:r>
          </a:p>
        </p:txBody>
      </p:sp>
      <p:sp>
        <p:nvSpPr>
          <p:cNvPr id="24" name="Oval 8">
            <a:extLst>
              <a:ext uri="{FF2B5EF4-FFF2-40B4-BE49-F238E27FC236}">
                <a16:creationId xmlns:a16="http://schemas.microsoft.com/office/drawing/2014/main" id="{4C339E8B-64A7-475C-ACA7-1448192CF94F}"/>
              </a:ext>
            </a:extLst>
          </p:cNvPr>
          <p:cNvSpPr/>
          <p:nvPr/>
        </p:nvSpPr>
        <p:spPr>
          <a:xfrm>
            <a:off x="7702686" y="4537614"/>
            <a:ext cx="384048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3">
                    <a:lumMod val="75000"/>
                  </a:schemeClr>
                </a:solidFill>
              </a:rPr>
              <a:t>Drive organization readiness</a:t>
            </a:r>
          </a:p>
        </p:txBody>
      </p:sp>
      <p:sp>
        <p:nvSpPr>
          <p:cNvPr id="25" name="Oval 10">
            <a:extLst>
              <a:ext uri="{FF2B5EF4-FFF2-40B4-BE49-F238E27FC236}">
                <a16:creationId xmlns:a16="http://schemas.microsoft.com/office/drawing/2014/main" id="{37A2284D-EE6F-4E9A-A972-09BC9F0F002E}"/>
              </a:ext>
            </a:extLst>
          </p:cNvPr>
          <p:cNvSpPr/>
          <p:nvPr/>
        </p:nvSpPr>
        <p:spPr>
          <a:xfrm>
            <a:off x="7702686" y="4861060"/>
            <a:ext cx="384048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3">
                    <a:lumMod val="75000"/>
                  </a:schemeClr>
                </a:solidFill>
              </a:rPr>
              <a:t>Support HR with selection and recruitment</a:t>
            </a:r>
          </a:p>
        </p:txBody>
      </p:sp>
      <p:sp>
        <p:nvSpPr>
          <p:cNvPr id="26" name="Oval 12">
            <a:extLst>
              <a:ext uri="{FF2B5EF4-FFF2-40B4-BE49-F238E27FC236}">
                <a16:creationId xmlns:a16="http://schemas.microsoft.com/office/drawing/2014/main" id="{F1FBD382-DEAE-46EE-8722-F673DD04C025}"/>
              </a:ext>
            </a:extLst>
          </p:cNvPr>
          <p:cNvSpPr/>
          <p:nvPr/>
        </p:nvSpPr>
        <p:spPr>
          <a:xfrm>
            <a:off x="7702686" y="5184506"/>
            <a:ext cx="384048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3">
                    <a:lumMod val="75000"/>
                  </a:schemeClr>
                </a:solidFill>
              </a:rPr>
              <a:t>Build on-going capability</a:t>
            </a:r>
          </a:p>
        </p:txBody>
      </p:sp>
      <p:sp>
        <p:nvSpPr>
          <p:cNvPr id="27" name="Oval 14">
            <a:extLst>
              <a:ext uri="{FF2B5EF4-FFF2-40B4-BE49-F238E27FC236}">
                <a16:creationId xmlns:a16="http://schemas.microsoft.com/office/drawing/2014/main" id="{376B8E45-8668-4BE7-8C5F-34F3D5649337}"/>
              </a:ext>
            </a:extLst>
          </p:cNvPr>
          <p:cNvSpPr/>
          <p:nvPr/>
        </p:nvSpPr>
        <p:spPr>
          <a:xfrm>
            <a:off x="7702686" y="5507952"/>
            <a:ext cx="384048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defTabSz="355518">
              <a:lnSpc>
                <a:spcPct val="90000"/>
              </a:lnSpc>
              <a:spcAft>
                <a:spcPct val="35000"/>
              </a:spcAft>
              <a:defRPr/>
            </a:pPr>
            <a:r>
              <a:rPr lang="en-US" sz="1200" dirty="0">
                <a:solidFill>
                  <a:schemeClr val="accent3">
                    <a:lumMod val="75000"/>
                  </a:schemeClr>
                </a:solidFill>
              </a:rPr>
              <a:t>Transition leaders and workforce</a:t>
            </a:r>
          </a:p>
        </p:txBody>
      </p:sp>
      <p:sp>
        <p:nvSpPr>
          <p:cNvPr id="78" name="Oval 10">
            <a:extLst>
              <a:ext uri="{FF2B5EF4-FFF2-40B4-BE49-F238E27FC236}">
                <a16:creationId xmlns:a16="http://schemas.microsoft.com/office/drawing/2014/main" id="{5030D82C-26D3-4FC9-930A-76F774DC7EB4}"/>
              </a:ext>
            </a:extLst>
          </p:cNvPr>
          <p:cNvSpPr/>
          <p:nvPr/>
        </p:nvSpPr>
        <p:spPr>
          <a:xfrm>
            <a:off x="106524" y="3310920"/>
            <a:ext cx="4663440" cy="274320"/>
          </a:xfrm>
          <a:prstGeom prst="rect">
            <a:avLst/>
          </a:prstGeom>
        </p:spPr>
        <p:style>
          <a:lnRef idx="0">
            <a:scrgbClr r="0" g="0" b="0"/>
          </a:lnRef>
          <a:fillRef idx="0">
            <a:scrgbClr r="0" g="0" b="0"/>
          </a:fillRef>
          <a:effectRef idx="0">
            <a:scrgbClr r="0" g="0" b="0"/>
          </a:effectRef>
          <a:fontRef idx="minor">
            <a:schemeClr val="lt1"/>
          </a:fontRef>
        </p:style>
        <p:txBody>
          <a:bodyPr lIns="10158" tIns="10158" rIns="10158" bIns="10158" spcCol="1270" anchor="ctr"/>
          <a:lstStyle/>
          <a:p>
            <a:pPr algn="r" defTabSz="355518">
              <a:lnSpc>
                <a:spcPct val="90000"/>
              </a:lnSpc>
              <a:spcAft>
                <a:spcPct val="35000"/>
              </a:spcAft>
              <a:defRPr/>
            </a:pPr>
            <a:r>
              <a:rPr lang="en-US" sz="1200" dirty="0">
                <a:solidFill>
                  <a:schemeClr val="accent1">
                    <a:lumMod val="75000"/>
                  </a:schemeClr>
                </a:solidFill>
              </a:rPr>
              <a:t>Draft high level Organization Design</a:t>
            </a:r>
          </a:p>
        </p:txBody>
      </p:sp>
      <p:sp>
        <p:nvSpPr>
          <p:cNvPr id="79" name="Text Placeholder 1">
            <a:extLst>
              <a:ext uri="{FF2B5EF4-FFF2-40B4-BE49-F238E27FC236}">
                <a16:creationId xmlns:a16="http://schemas.microsoft.com/office/drawing/2014/main" id="{BE0DA387-20A5-9A22-482A-55205AFF7D00}"/>
              </a:ext>
            </a:extLst>
          </p:cNvPr>
          <p:cNvSpPr txBox="1">
            <a:spLocks/>
          </p:cNvSpPr>
          <p:nvPr/>
        </p:nvSpPr>
        <p:spPr>
          <a:xfrm>
            <a:off x="361695" y="695640"/>
            <a:ext cx="11277600" cy="757255"/>
          </a:xfrm>
          <a:prstGeom prst="rect">
            <a:avLst/>
          </a:prstGeom>
        </p:spPr>
        <p:txBody>
          <a:bodyPr/>
          <a:lstStyle>
            <a:lvl1pPr marL="0" indent="0" algn="l" defTabSz="898646" rtl="0" eaLnBrk="1" latinLnBrk="0" hangingPunct="1">
              <a:spcBef>
                <a:spcPts val="0"/>
              </a:spcBef>
              <a:spcAft>
                <a:spcPts val="982"/>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898646" rtl="0" eaLnBrk="1" latinLnBrk="0"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0"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0"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0"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0"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a:lstStyle>
          <a:p>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Our </a:t>
            </a:r>
            <a:r>
              <a:rPr lang="en-US" sz="1800" b="1" dirty="0">
                <a:solidFill>
                  <a:schemeClr val="tx2"/>
                </a:solidFill>
                <a:latin typeface="Calibri" panose="020F0502020204030204" pitchFamily="34" charset="0"/>
                <a:ea typeface="Open Sans Light" panose="020B0306030504020204" pitchFamily="34" charset="0"/>
                <a:cs typeface="Calibri" panose="020F0502020204030204" pitchFamily="34" charset="0"/>
              </a:rPr>
              <a:t>D3 Organizational design and development methodology</a:t>
            </a:r>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 provides and end-to-end roadmap for defining and executing future operating models and organizational structures </a:t>
            </a:r>
          </a:p>
        </p:txBody>
      </p:sp>
      <p:sp>
        <p:nvSpPr>
          <p:cNvPr id="80" name="Title 2">
            <a:extLst>
              <a:ext uri="{FF2B5EF4-FFF2-40B4-BE49-F238E27FC236}">
                <a16:creationId xmlns:a16="http://schemas.microsoft.com/office/drawing/2014/main" id="{74FDD119-194A-2EEF-A24B-02347F904FC0}"/>
              </a:ext>
            </a:extLst>
          </p:cNvPr>
          <p:cNvSpPr>
            <a:spLocks noGrp="1"/>
          </p:cNvSpPr>
          <p:nvPr>
            <p:ph type="title"/>
          </p:nvPr>
        </p:nvSpPr>
        <p:spPr>
          <a:xfrm>
            <a:off x="463295" y="345992"/>
            <a:ext cx="11277600" cy="334099"/>
          </a:xfrm>
        </p:spPr>
        <p:txBody>
          <a:bodyPr vert="horz"/>
          <a:lstStyle/>
          <a:p>
            <a:r>
              <a:rPr lang="en-US" sz="2100" dirty="0">
                <a:latin typeface="Calibri" panose="020F0502020204030204" pitchFamily="34" charset="0"/>
                <a:cs typeface="Calibri" panose="020F0502020204030204" pitchFamily="34" charset="0"/>
              </a:rPr>
              <a:t>Organizational design and development</a:t>
            </a:r>
            <a:r>
              <a:rPr lang="hu-HU" sz="2100" dirty="0">
                <a:latin typeface="Calibri" panose="020F0502020204030204" pitchFamily="34" charset="0"/>
                <a:cs typeface="Calibri" panose="020F0502020204030204" pitchFamily="34" charset="0"/>
              </a:rPr>
              <a:t> (1/2)</a:t>
            </a:r>
            <a:endParaRPr lang="en-US" sz="2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83061248"/>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860AF7A-7910-4DB1-8AAA-546A3BF64416}"/>
              </a:ext>
            </a:extLst>
          </p:cNvPr>
          <p:cNvGraphicFramePr>
            <a:graphicFrameLocks noGrp="1"/>
          </p:cNvGraphicFramePr>
          <p:nvPr>
            <p:extLst>
              <p:ext uri="{D42A27DB-BD31-4B8C-83A1-F6EECF244321}">
                <p14:modId xmlns:p14="http://schemas.microsoft.com/office/powerpoint/2010/main" val="884962953"/>
              </p:ext>
            </p:extLst>
          </p:nvPr>
        </p:nvGraphicFramePr>
        <p:xfrm>
          <a:off x="750483" y="984690"/>
          <a:ext cx="10445225" cy="5651502"/>
        </p:xfrm>
        <a:graphic>
          <a:graphicData uri="http://schemas.openxmlformats.org/drawingml/2006/table">
            <a:tbl>
              <a:tblPr firstRow="1" bandRow="1">
                <a:tableStyleId>{5C22544A-7EE6-4342-B048-85BDC9FD1C3A}</a:tableStyleId>
              </a:tblPr>
              <a:tblGrid>
                <a:gridCol w="1167130">
                  <a:extLst>
                    <a:ext uri="{9D8B030D-6E8A-4147-A177-3AD203B41FA5}">
                      <a16:colId xmlns:a16="http://schemas.microsoft.com/office/drawing/2014/main" val="20000"/>
                    </a:ext>
                  </a:extLst>
                </a:gridCol>
                <a:gridCol w="2409847">
                  <a:extLst>
                    <a:ext uri="{9D8B030D-6E8A-4147-A177-3AD203B41FA5}">
                      <a16:colId xmlns:a16="http://schemas.microsoft.com/office/drawing/2014/main" val="20001"/>
                    </a:ext>
                  </a:extLst>
                </a:gridCol>
                <a:gridCol w="2289416">
                  <a:extLst>
                    <a:ext uri="{9D8B030D-6E8A-4147-A177-3AD203B41FA5}">
                      <a16:colId xmlns:a16="http://schemas.microsoft.com/office/drawing/2014/main" val="20002"/>
                    </a:ext>
                  </a:extLst>
                </a:gridCol>
                <a:gridCol w="2289416">
                  <a:extLst>
                    <a:ext uri="{9D8B030D-6E8A-4147-A177-3AD203B41FA5}">
                      <a16:colId xmlns:a16="http://schemas.microsoft.com/office/drawing/2014/main" val="20003"/>
                    </a:ext>
                  </a:extLst>
                </a:gridCol>
                <a:gridCol w="2289416">
                  <a:extLst>
                    <a:ext uri="{9D8B030D-6E8A-4147-A177-3AD203B41FA5}">
                      <a16:colId xmlns:a16="http://schemas.microsoft.com/office/drawing/2014/main" val="20004"/>
                    </a:ext>
                  </a:extLst>
                </a:gridCol>
              </a:tblGrid>
              <a:tr h="207731">
                <a:tc>
                  <a:txBody>
                    <a:bodyPr/>
                    <a:lstStyle/>
                    <a:p>
                      <a:pPr algn="ctr"/>
                      <a:r>
                        <a:rPr lang="en-US" sz="900" b="1">
                          <a:solidFill>
                            <a:schemeClr val="bg1"/>
                          </a:solidFill>
                        </a:rPr>
                        <a:t>Factors</a:t>
                      </a:r>
                    </a:p>
                  </a:txBody>
                  <a:tcPr marL="0" marR="0" marT="0" marB="0" anchor="ctr">
                    <a:solidFill>
                      <a:schemeClr val="accent2"/>
                    </a:solidFill>
                  </a:tcPr>
                </a:tc>
                <a:tc>
                  <a:txBody>
                    <a:bodyPr/>
                    <a:lstStyle/>
                    <a:p>
                      <a:pPr algn="ctr"/>
                      <a:r>
                        <a:rPr lang="en-US" sz="900" b="1">
                          <a:solidFill>
                            <a:schemeClr val="bg1"/>
                          </a:solidFill>
                        </a:rPr>
                        <a:t>1 Emerging Health</a:t>
                      </a:r>
                    </a:p>
                  </a:txBody>
                  <a:tcPr marL="0" marR="0" marT="0" marB="0" anchor="ctr">
                    <a:solidFill>
                      <a:schemeClr val="accent2"/>
                    </a:solidFill>
                  </a:tcPr>
                </a:tc>
                <a:tc>
                  <a:txBody>
                    <a:bodyPr/>
                    <a:lstStyle/>
                    <a:p>
                      <a:pPr algn="ctr"/>
                      <a:r>
                        <a:rPr lang="en-US" sz="900" b="1">
                          <a:solidFill>
                            <a:schemeClr val="bg1"/>
                          </a:solidFill>
                        </a:rPr>
                        <a:t>2 Wellness</a:t>
                      </a:r>
                    </a:p>
                  </a:txBody>
                  <a:tcPr marL="0" marR="0" marT="0" marB="0" anchor="ctr">
                    <a:solidFill>
                      <a:schemeClr val="accent2"/>
                    </a:solidFill>
                  </a:tcPr>
                </a:tc>
                <a:tc>
                  <a:txBody>
                    <a:bodyPr/>
                    <a:lstStyle/>
                    <a:p>
                      <a:pPr algn="ctr"/>
                      <a:r>
                        <a:rPr lang="en-US" sz="900" b="1">
                          <a:solidFill>
                            <a:schemeClr val="bg1"/>
                          </a:solidFill>
                        </a:rPr>
                        <a:t>3 Growth</a:t>
                      </a:r>
                    </a:p>
                  </a:txBody>
                  <a:tcPr marL="0" marR="0" marT="0" marB="0" anchor="ctr">
                    <a:solidFill>
                      <a:schemeClr val="accent2"/>
                    </a:solidFill>
                  </a:tcPr>
                </a:tc>
                <a:tc>
                  <a:txBody>
                    <a:bodyPr/>
                    <a:lstStyle/>
                    <a:p>
                      <a:pPr algn="ctr"/>
                      <a:r>
                        <a:rPr lang="en-US" sz="900" b="1" dirty="0">
                          <a:solidFill>
                            <a:schemeClr val="bg1"/>
                          </a:solidFill>
                        </a:rPr>
                        <a:t>4 Vitality</a:t>
                      </a:r>
                    </a:p>
                  </a:txBody>
                  <a:tcPr marL="0" marR="0" marT="0" marB="0" anchor="ctr">
                    <a:solidFill>
                      <a:schemeClr val="accent2"/>
                    </a:solidFill>
                  </a:tcPr>
                </a:tc>
                <a:extLst>
                  <a:ext uri="{0D108BD9-81ED-4DB2-BD59-A6C34878D82A}">
                    <a16:rowId xmlns:a16="http://schemas.microsoft.com/office/drawing/2014/main" val="10000"/>
                  </a:ext>
                </a:extLst>
              </a:tr>
              <a:tr h="680942">
                <a:tc>
                  <a:txBody>
                    <a:bodyPr/>
                    <a:lstStyle/>
                    <a:p>
                      <a:pPr marL="228600" indent="-228600" algn="l">
                        <a:buAutoNum type="arabicPeriod"/>
                      </a:pPr>
                      <a:r>
                        <a:rPr lang="en-US" sz="1050" b="1">
                          <a:solidFill>
                            <a:schemeClr val="tx1"/>
                          </a:solidFill>
                        </a:rPr>
                        <a:t>Strategy/</a:t>
                      </a:r>
                      <a:br>
                        <a:rPr lang="en-US" sz="1050" b="1">
                          <a:solidFill>
                            <a:schemeClr val="tx1"/>
                          </a:solidFill>
                        </a:rPr>
                      </a:br>
                      <a:r>
                        <a:rPr lang="en-US" sz="1050" b="1">
                          <a:solidFill>
                            <a:schemeClr val="tx1"/>
                          </a:solidFill>
                        </a:rPr>
                        <a:t>Operating Model</a:t>
                      </a:r>
                    </a:p>
                  </a:txBody>
                  <a:tcPr marL="0" marR="0" marT="0" marB="0" anchor="ctr">
                    <a:solidFill>
                      <a:srgbClr val="86BC25"/>
                    </a:solidFill>
                  </a:tcPr>
                </a:tc>
                <a:tc>
                  <a:txBody>
                    <a:bodyPr/>
                    <a:lstStyle/>
                    <a:p>
                      <a:pPr algn="l"/>
                      <a:r>
                        <a:rPr lang="en-US" sz="900" b="0" dirty="0">
                          <a:solidFill>
                            <a:schemeClr val="tx1"/>
                          </a:solidFill>
                        </a:rPr>
                        <a:t>Lack of defined strategy.  No awareness of current operating model and link to strategy.  </a:t>
                      </a:r>
                    </a:p>
                  </a:txBody>
                  <a:tcPr marL="0" marR="0" marT="0" marB="0" anchor="ctr">
                    <a:noFill/>
                  </a:tcPr>
                </a:tc>
                <a:tc>
                  <a:txBody>
                    <a:bodyPr/>
                    <a:lstStyle/>
                    <a:p>
                      <a:pPr algn="l"/>
                      <a:r>
                        <a:rPr lang="en-US" sz="900" b="0" dirty="0">
                          <a:solidFill>
                            <a:schemeClr val="tx1"/>
                          </a:solidFill>
                        </a:rPr>
                        <a:t>Strategy has been articulated. Recognition</a:t>
                      </a:r>
                      <a:r>
                        <a:rPr lang="en-US" sz="900" b="0" baseline="0" dirty="0">
                          <a:solidFill>
                            <a:schemeClr val="tx1"/>
                          </a:solidFill>
                        </a:rPr>
                        <a:t> that current operating model does not support strategy </a:t>
                      </a:r>
                      <a:r>
                        <a:rPr lang="en-US" sz="900" b="0" dirty="0">
                          <a:solidFill>
                            <a:schemeClr val="tx1"/>
                          </a:solidFill>
                        </a:rPr>
                        <a:t>but plan</a:t>
                      </a:r>
                      <a:r>
                        <a:rPr lang="en-US" sz="900" b="0" baseline="0" dirty="0">
                          <a:solidFill>
                            <a:schemeClr val="tx1"/>
                          </a:solidFill>
                        </a:rPr>
                        <a:t> in place to adjust.</a:t>
                      </a:r>
                      <a:endParaRPr lang="en-US" sz="900" b="0" dirty="0">
                        <a:solidFill>
                          <a:schemeClr val="tx1"/>
                        </a:solidFill>
                      </a:endParaRPr>
                    </a:p>
                  </a:txBody>
                  <a:tcPr marL="0" marR="0" marT="0" marB="0" anchor="ctr">
                    <a:noFill/>
                  </a:tcPr>
                </a:tc>
                <a:tc>
                  <a:txBody>
                    <a:bodyPr/>
                    <a:lstStyle/>
                    <a:p>
                      <a:pPr algn="l"/>
                      <a:r>
                        <a:rPr lang="en-US" sz="900" b="0">
                          <a:solidFill>
                            <a:schemeClr val="tx1"/>
                          </a:solidFill>
                        </a:rPr>
                        <a:t>Strategy has been</a:t>
                      </a:r>
                      <a:r>
                        <a:rPr lang="en-US" sz="900" b="0" baseline="0">
                          <a:solidFill>
                            <a:schemeClr val="tx1"/>
                          </a:solidFill>
                        </a:rPr>
                        <a:t> articulated and operating model aligned</a:t>
                      </a:r>
                      <a:r>
                        <a:rPr lang="en-US" sz="900" b="0">
                          <a:solidFill>
                            <a:schemeClr val="tx1"/>
                          </a:solidFill>
                        </a:rPr>
                        <a:t>. No</a:t>
                      </a:r>
                      <a:r>
                        <a:rPr lang="en-US" sz="900" b="0" baseline="0">
                          <a:solidFill>
                            <a:schemeClr val="tx1"/>
                          </a:solidFill>
                        </a:rPr>
                        <a:t> clear indicators if the structure is supporting goals and business outcomes.</a:t>
                      </a:r>
                      <a:endParaRPr lang="en-US" sz="900" b="0">
                        <a:solidFill>
                          <a:schemeClr val="tx1"/>
                        </a:solidFill>
                      </a:endParaRPr>
                    </a:p>
                  </a:txBody>
                  <a:tcPr marL="0" marR="0" marT="0" marB="0" anchor="ctr">
                    <a:noFill/>
                  </a:tcPr>
                </a:tc>
                <a:tc>
                  <a:txBody>
                    <a:bodyPr/>
                    <a:lstStyle/>
                    <a:p>
                      <a:pPr algn="l"/>
                      <a:r>
                        <a:rPr lang="en-US" sz="900" b="0">
                          <a:solidFill>
                            <a:schemeClr val="tx1"/>
                          </a:solidFill>
                        </a:rPr>
                        <a:t>Strategy</a:t>
                      </a:r>
                      <a:r>
                        <a:rPr lang="en-US" sz="900" b="0" baseline="0">
                          <a:solidFill>
                            <a:schemeClr val="tx1"/>
                          </a:solidFill>
                        </a:rPr>
                        <a:t> is articulated and reviewed on regular basis. Have achieved desired operating model state and structure reflects the strategy.</a:t>
                      </a:r>
                      <a:endParaRPr lang="en-US" sz="900" b="0">
                        <a:solidFill>
                          <a:schemeClr val="tx1"/>
                        </a:solidFill>
                      </a:endParaRPr>
                    </a:p>
                  </a:txBody>
                  <a:tcPr marL="0" marR="0" marT="0" marB="0" anchor="ctr">
                    <a:lnR w="12700" cmpd="sng">
                      <a:noFill/>
                    </a:lnR>
                    <a:noFill/>
                  </a:tcPr>
                </a:tc>
                <a:extLst>
                  <a:ext uri="{0D108BD9-81ED-4DB2-BD59-A6C34878D82A}">
                    <a16:rowId xmlns:a16="http://schemas.microsoft.com/office/drawing/2014/main" val="10001"/>
                  </a:ext>
                </a:extLst>
              </a:tr>
              <a:tr h="10895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rPr>
                        <a:t>2. Governance</a:t>
                      </a:r>
                    </a:p>
                  </a:txBody>
                  <a:tcPr marL="0" marR="0" marT="0" marB="0" anchor="ctr">
                    <a:solidFill>
                      <a:srgbClr val="62B5E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Interaction between key roles</a:t>
                      </a:r>
                      <a:r>
                        <a:rPr lang="en-US" sz="900" b="0" baseline="0" dirty="0">
                          <a:solidFill>
                            <a:schemeClr val="tx1"/>
                          </a:solidFill>
                        </a:rPr>
                        <a:t> and decision making bodies are not defined.  Lack of leadership alignment on key priorities. Limited to no clear decision making process and owners. Decisions are often remade.</a:t>
                      </a:r>
                      <a:endParaRPr lang="en-US" sz="900" b="0" dirty="0">
                        <a:solidFill>
                          <a:schemeClr val="tx1"/>
                        </a:solidFill>
                      </a:endParaRPr>
                    </a:p>
                  </a:txBody>
                  <a:tcPr marL="0" marR="0" marT="0" marB="0"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Some established decision making groups.  Leadership understands there is an alignment</a:t>
                      </a:r>
                      <a:r>
                        <a:rPr lang="en-US" sz="900" b="0" baseline="0" dirty="0">
                          <a:solidFill>
                            <a:schemeClr val="tx1"/>
                          </a:solidFill>
                        </a:rPr>
                        <a:t> issue.  Decision making is slow.</a:t>
                      </a:r>
                      <a:endParaRPr lang="en-US" sz="900" b="0" dirty="0">
                        <a:solidFill>
                          <a:schemeClr val="tx1"/>
                        </a:solidFill>
                      </a:endParaRPr>
                    </a:p>
                  </a:txBody>
                  <a:tcPr marL="0" marR="0" marT="0" marB="0"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Interaction model and</a:t>
                      </a:r>
                      <a:r>
                        <a:rPr lang="en-US" sz="900" b="0" baseline="0" dirty="0">
                          <a:solidFill>
                            <a:schemeClr val="tx1"/>
                          </a:solidFill>
                        </a:rPr>
                        <a:t> decision making groups are defined but not optimized.  Decision making occurs in a timely manner. Governance bodies have some documentation but no formal upkeep criteria.</a:t>
                      </a:r>
                      <a:endParaRPr lang="en-US" sz="900" b="0" dirty="0">
                        <a:solidFill>
                          <a:schemeClr val="tx1"/>
                        </a:solidFill>
                      </a:endParaRPr>
                    </a:p>
                  </a:txBody>
                  <a:tcPr marL="0" marR="0" marT="0" marB="0"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Clear interaction model and decision making groups.</a:t>
                      </a:r>
                      <a:r>
                        <a:rPr lang="en-US" sz="900" b="0" baseline="0" dirty="0">
                          <a:solidFill>
                            <a:schemeClr val="tx1"/>
                          </a:solidFill>
                        </a:rPr>
                        <a:t> Governance is optimized for timely and efficient decision making.  Clear purpose of governance bodies are defined as well as a process for forming or sunsetting groups.</a:t>
                      </a:r>
                      <a:endParaRPr lang="en-US" sz="900" b="0" dirty="0">
                        <a:solidFill>
                          <a:schemeClr val="tx1"/>
                        </a:solidFill>
                      </a:endParaRPr>
                    </a:p>
                  </a:txBody>
                  <a:tcPr marL="0" marR="0" marT="0" marB="0" anchor="ctr">
                    <a:lnR w="12700" cmpd="sng">
                      <a:noFill/>
                    </a:lnR>
                    <a:noFill/>
                  </a:tcPr>
                </a:tc>
                <a:extLst>
                  <a:ext uri="{0D108BD9-81ED-4DB2-BD59-A6C34878D82A}">
                    <a16:rowId xmlns:a16="http://schemas.microsoft.com/office/drawing/2014/main" val="10002"/>
                  </a:ext>
                </a:extLst>
              </a:tr>
              <a:tr h="6809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rPr>
                        <a:t>3.  OD Capabilities</a:t>
                      </a:r>
                    </a:p>
                  </a:txBody>
                  <a:tcPr marL="0" marR="0" marT="0" marB="0" anchor="ctr">
                    <a:solidFill>
                      <a:srgbClr val="86BC2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No</a:t>
                      </a:r>
                      <a:r>
                        <a:rPr lang="en-US" sz="900" b="0" baseline="0">
                          <a:solidFill>
                            <a:schemeClr val="tx1"/>
                          </a:solidFill>
                        </a:rPr>
                        <a:t> understanding of </a:t>
                      </a:r>
                      <a:r>
                        <a:rPr lang="en-US" sz="900" b="0">
                          <a:solidFill>
                            <a:schemeClr val="tx1"/>
                          </a:solidFill>
                        </a:rPr>
                        <a:t> internal capabilities around organizational</a:t>
                      </a:r>
                      <a:r>
                        <a:rPr lang="en-US" sz="900" b="0" baseline="0">
                          <a:solidFill>
                            <a:schemeClr val="tx1"/>
                          </a:solidFill>
                        </a:rPr>
                        <a:t> design.  No buy in to add these capabilities.</a:t>
                      </a:r>
                      <a:endParaRPr lang="en-US" sz="900" b="0">
                        <a:solidFill>
                          <a:schemeClr val="tx1"/>
                        </a:solidFill>
                      </a:endParaRPr>
                    </a:p>
                  </a:txBody>
                  <a:tcPr marL="0" marR="0" marT="0" marB="0"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Understanding of </a:t>
                      </a:r>
                      <a:r>
                        <a:rPr lang="en-US" sz="900" b="0" baseline="0">
                          <a:solidFill>
                            <a:schemeClr val="tx1"/>
                          </a:solidFill>
                        </a:rPr>
                        <a:t>organizational design capabilities. Desire to add capabilities but no plans to include them.</a:t>
                      </a:r>
                      <a:endParaRPr lang="en-US" sz="900" b="0">
                        <a:solidFill>
                          <a:schemeClr val="tx1"/>
                        </a:solidFill>
                      </a:endParaRPr>
                    </a:p>
                  </a:txBody>
                  <a:tcPr marL="0" marR="0" marT="0" marB="0"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rPr>
                        <a:t>Internal</a:t>
                      </a:r>
                      <a:r>
                        <a:rPr lang="en-US" sz="900" b="0" baseline="0">
                          <a:solidFill>
                            <a:schemeClr val="tx1"/>
                          </a:solidFill>
                        </a:rPr>
                        <a:t> organizational design capabilities exist at a beginner or part time capacity.</a:t>
                      </a:r>
                      <a:endParaRPr lang="en-US" sz="900" b="0">
                        <a:solidFill>
                          <a:schemeClr val="tx1"/>
                        </a:solidFill>
                      </a:endParaRPr>
                    </a:p>
                  </a:txBody>
                  <a:tcPr marL="0" marR="0" marT="0" marB="0"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tx1"/>
                          </a:solidFill>
                        </a:rPr>
                        <a:t>Strong and established organizational design capabilities exist and are regularly deployed throughout the organization consistently.</a:t>
                      </a:r>
                    </a:p>
                  </a:txBody>
                  <a:tcPr marL="0" marR="0" marT="0" marB="0" anchor="ctr">
                    <a:lnR w="12700" cmpd="sng">
                      <a:noFill/>
                    </a:lnR>
                    <a:noFill/>
                  </a:tcPr>
                </a:tc>
                <a:extLst>
                  <a:ext uri="{0D108BD9-81ED-4DB2-BD59-A6C34878D82A}">
                    <a16:rowId xmlns:a16="http://schemas.microsoft.com/office/drawing/2014/main" val="10003"/>
                  </a:ext>
                </a:extLst>
              </a:tr>
              <a:tr h="5237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a:solidFill>
                            <a:schemeClr val="tx1"/>
                          </a:solidFill>
                          <a:latin typeface="+mn-lt"/>
                          <a:ea typeface="+mn-ea"/>
                          <a:cs typeface="+mn-cs"/>
                        </a:rPr>
                        <a:t>4. Role Interactions</a:t>
                      </a:r>
                    </a:p>
                  </a:txBody>
                  <a:tcPr marL="0" marR="0" marT="0" marB="0" anchor="ctr">
                    <a:solidFill>
                      <a:srgbClr val="62B5E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Roles are not defined.  There are no current job descriptions or defined expectations. </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Roles are unclear, some dated documentation exists but is not always followed. </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Most roles are clear, through both documentation and practice.  </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Roles and accountabilities are clearly defined and documented.  </a:t>
                      </a:r>
                    </a:p>
                  </a:txBody>
                  <a:tcPr marL="0" marR="0" marT="0" marB="0" anchor="ctr">
                    <a:lnR w="12700" cmpd="sng">
                      <a:noFill/>
                    </a:lnR>
                    <a:noFill/>
                  </a:tcPr>
                </a:tc>
                <a:extLst>
                  <a:ext uri="{0D108BD9-81ED-4DB2-BD59-A6C34878D82A}">
                    <a16:rowId xmlns:a16="http://schemas.microsoft.com/office/drawing/2014/main" val="10004"/>
                  </a:ext>
                </a:extLst>
              </a:tr>
              <a:tr h="6085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a:solidFill>
                            <a:schemeClr val="tx1"/>
                          </a:solidFill>
                          <a:latin typeface="+mn-lt"/>
                          <a:ea typeface="+mn-ea"/>
                          <a:cs typeface="+mn-cs"/>
                        </a:rPr>
                        <a:t>5.  Networks</a:t>
                      </a:r>
                    </a:p>
                  </a:txBody>
                  <a:tcPr marL="0" marR="0" marT="0" marB="0" anchor="ctr">
                    <a:solidFill>
                      <a:srgbClr val="86BC2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Unclear interactions shuffle work between groups without resolution.</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Informal networks and complex matrixes contribute to confusion.</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There is some understanding of how networks influence decisions and recognition of key roles.</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Formal and informal networks are taken into account  when defining roles.</a:t>
                      </a:r>
                    </a:p>
                  </a:txBody>
                  <a:tcPr marL="0" marR="0" marT="0" marB="0" anchor="ctr">
                    <a:lnR w="12700" cmpd="sng">
                      <a:noFill/>
                    </a:lnR>
                    <a:noFill/>
                  </a:tcPr>
                </a:tc>
                <a:extLst>
                  <a:ext uri="{0D108BD9-81ED-4DB2-BD59-A6C34878D82A}">
                    <a16:rowId xmlns:a16="http://schemas.microsoft.com/office/drawing/2014/main" val="10005"/>
                  </a:ext>
                </a:extLst>
              </a:tr>
              <a:tr h="817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a:solidFill>
                            <a:schemeClr val="tx1"/>
                          </a:solidFill>
                          <a:latin typeface="+mn-lt"/>
                          <a:ea typeface="+mn-ea"/>
                          <a:cs typeface="+mn-cs"/>
                        </a:rPr>
                        <a:t>6. Data</a:t>
                      </a:r>
                    </a:p>
                  </a:txBody>
                  <a:tcPr marL="0" marR="0" marT="0" marB="0" anchor="ctr">
                    <a:solidFill>
                      <a:srgbClr val="62B5E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No current data driven insights or ability to have one point of clean data.  No data analysis is available.</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Data is available but requires substantial manual cleaning to use.  Processes in place require significant time and effort to run analysis.</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Data is available in workable format to report historical performance.  Analysis is routinely run and results are reviewed by leadership.</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Data is collected, consolidated, and stored in a consistent way.  Analysis is run on historical and also on sophisticated predictive models and helps inform and drive leadership decisions.</a:t>
                      </a:r>
                    </a:p>
                  </a:txBody>
                  <a:tcPr marL="0" marR="0" marT="0" marB="0" anchor="ctr">
                    <a:lnR w="12700" cmpd="sng">
                      <a:noFill/>
                    </a:lnR>
                    <a:noFill/>
                  </a:tcPr>
                </a:tc>
                <a:extLst>
                  <a:ext uri="{0D108BD9-81ED-4DB2-BD59-A6C34878D82A}">
                    <a16:rowId xmlns:a16="http://schemas.microsoft.com/office/drawing/2014/main" val="10006"/>
                  </a:ext>
                </a:extLst>
              </a:tr>
              <a:tr h="4085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a:solidFill>
                            <a:schemeClr val="tx1"/>
                          </a:solidFill>
                          <a:latin typeface="+mn-lt"/>
                          <a:ea typeface="+mn-ea"/>
                          <a:cs typeface="+mn-cs"/>
                        </a:rPr>
                        <a:t>7. OD Tools</a:t>
                      </a:r>
                    </a:p>
                  </a:txBody>
                  <a:tcPr marL="0" marR="0" marT="0" marB="0" anchor="ctr">
                    <a:solidFill>
                      <a:srgbClr val="86BC2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No tools in place or plan to purchase.</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Legacy or highly customized tools are in place but do not meet basic needs. </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Modern tools in place but are not currently being used to fullest potential.</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Modern tools in place and have in house experts utilizing to fullest potential.</a:t>
                      </a:r>
                    </a:p>
                  </a:txBody>
                  <a:tcPr marL="0" marR="0" marT="0" marB="0" anchor="ctr">
                    <a:lnR w="12700" cmpd="sng">
                      <a:noFill/>
                    </a:lnR>
                    <a:noFill/>
                  </a:tcPr>
                </a:tc>
                <a:extLst>
                  <a:ext uri="{0D108BD9-81ED-4DB2-BD59-A6C34878D82A}">
                    <a16:rowId xmlns:a16="http://schemas.microsoft.com/office/drawing/2014/main" val="10007"/>
                  </a:ext>
                </a:extLst>
              </a:tr>
              <a:tr h="6343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a:solidFill>
                            <a:schemeClr val="tx1"/>
                          </a:solidFill>
                          <a:latin typeface="+mn-lt"/>
                          <a:ea typeface="+mn-ea"/>
                          <a:cs typeface="+mn-cs"/>
                        </a:rPr>
                        <a:t>8. Measurement</a:t>
                      </a:r>
                    </a:p>
                  </a:txBody>
                  <a:tcPr marL="0" marR="0" marT="0" marB="0" anchor="ctr">
                    <a:solidFill>
                      <a:srgbClr val="62B5E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No metrics or quantitative measures tied to understanding link between people and structure with business goals.</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Metrics are tied to goals but no consistent way to measure progress.  Measurement is not used in decision making.</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Metrics are tied to goals and tracking is underway.  Measurement is an input to speed decision making.</a:t>
                      </a:r>
                    </a:p>
                  </a:txBody>
                  <a:tcPr marL="0" marR="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Metrics are tied to goals and tracked frequently or in real time and results are used to proactively monitor progress.</a:t>
                      </a:r>
                    </a:p>
                  </a:txBody>
                  <a:tcPr marL="0" marR="0" marT="0" marB="0" anchor="ctr">
                    <a:lnR w="12700" cmpd="sng">
                      <a:noFill/>
                    </a:lnR>
                    <a:noFill/>
                  </a:tcPr>
                </a:tc>
                <a:extLst>
                  <a:ext uri="{0D108BD9-81ED-4DB2-BD59-A6C34878D82A}">
                    <a16:rowId xmlns:a16="http://schemas.microsoft.com/office/drawing/2014/main" val="10008"/>
                  </a:ext>
                </a:extLst>
              </a:tr>
            </a:tbl>
          </a:graphicData>
        </a:graphic>
      </p:graphicFrame>
      <p:sp>
        <p:nvSpPr>
          <p:cNvPr id="7" name="Text Placeholder 1">
            <a:extLst>
              <a:ext uri="{FF2B5EF4-FFF2-40B4-BE49-F238E27FC236}">
                <a16:creationId xmlns:a16="http://schemas.microsoft.com/office/drawing/2014/main" id="{CD778602-1248-CC24-AEBD-6BDB89366969}"/>
              </a:ext>
            </a:extLst>
          </p:cNvPr>
          <p:cNvSpPr txBox="1">
            <a:spLocks/>
          </p:cNvSpPr>
          <p:nvPr/>
        </p:nvSpPr>
        <p:spPr>
          <a:xfrm>
            <a:off x="266002" y="571457"/>
            <a:ext cx="11277600" cy="334100"/>
          </a:xfrm>
          <a:prstGeom prst="rect">
            <a:avLst/>
          </a:prstGeom>
        </p:spPr>
        <p:txBody>
          <a:bodyPr/>
          <a:lstStyle>
            <a:lvl1pPr marL="0" indent="0" algn="l" defTabSz="898646" rtl="0" eaLnBrk="1" latinLnBrk="0" hangingPunct="1">
              <a:spcBef>
                <a:spcPts val="0"/>
              </a:spcBef>
              <a:spcAft>
                <a:spcPts val="982"/>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898646" rtl="0" eaLnBrk="1" latinLnBrk="0"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0"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0"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0"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0"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a:lstStyle>
          <a:p>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Our underlying </a:t>
            </a:r>
            <a:r>
              <a:rPr lang="en-US" sz="1800" b="1" dirty="0">
                <a:solidFill>
                  <a:schemeClr val="tx2"/>
                </a:solidFill>
                <a:latin typeface="Calibri" panose="020F0502020204030204" pitchFamily="34" charset="0"/>
                <a:ea typeface="Open Sans Light" panose="020B0306030504020204" pitchFamily="34" charset="0"/>
                <a:cs typeface="Calibri" panose="020F0502020204030204" pitchFamily="34" charset="0"/>
              </a:rPr>
              <a:t>Organizational design maturity model</a:t>
            </a:r>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 supports assessing the as-is state and setting to-be ambitions </a:t>
            </a:r>
          </a:p>
        </p:txBody>
      </p:sp>
      <p:sp>
        <p:nvSpPr>
          <p:cNvPr id="8" name="Title 2">
            <a:extLst>
              <a:ext uri="{FF2B5EF4-FFF2-40B4-BE49-F238E27FC236}">
                <a16:creationId xmlns:a16="http://schemas.microsoft.com/office/drawing/2014/main" id="{1E130AC1-C3BC-95F4-1E53-0E32D5F08184}"/>
              </a:ext>
            </a:extLst>
          </p:cNvPr>
          <p:cNvSpPr>
            <a:spLocks noGrp="1"/>
          </p:cNvSpPr>
          <p:nvPr>
            <p:ph type="title"/>
          </p:nvPr>
        </p:nvSpPr>
        <p:spPr>
          <a:xfrm>
            <a:off x="367602" y="221808"/>
            <a:ext cx="11277600" cy="334099"/>
          </a:xfrm>
        </p:spPr>
        <p:txBody>
          <a:bodyPr vert="horz"/>
          <a:lstStyle/>
          <a:p>
            <a:r>
              <a:rPr lang="en-US" sz="2100" dirty="0">
                <a:latin typeface="Calibri" panose="020F0502020204030204" pitchFamily="34" charset="0"/>
                <a:cs typeface="Calibri" panose="020F0502020204030204" pitchFamily="34" charset="0"/>
              </a:rPr>
              <a:t>Organizational design and development</a:t>
            </a:r>
            <a:r>
              <a:rPr lang="hu-HU" sz="2100" dirty="0">
                <a:latin typeface="Calibri" panose="020F0502020204030204" pitchFamily="34" charset="0"/>
                <a:cs typeface="Calibri" panose="020F0502020204030204" pitchFamily="34" charset="0"/>
              </a:rPr>
              <a:t> (2/2)</a:t>
            </a:r>
            <a:endParaRPr lang="en-US" sz="2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72941847"/>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121089293"/>
              </p:ext>
            </p:extLst>
          </p:nvPr>
        </p:nvGraphicFramePr>
        <p:xfrm>
          <a:off x="1247731" y="1441"/>
          <a:ext cx="1441" cy="1441"/>
        </p:xfrm>
        <a:graphic>
          <a:graphicData uri="http://schemas.openxmlformats.org/presentationml/2006/ole">
            <mc:AlternateContent xmlns:mc="http://schemas.openxmlformats.org/markup-compatibility/2006">
              <mc:Choice xmlns:v="urn:schemas-microsoft-com:vml" Requires="v">
                <p:oleObj name="think-cell Slide" r:id="rId11" imgW="421" imgH="420" progId="TCLayout.ActiveDocument.1">
                  <p:embed/>
                </p:oleObj>
              </mc:Choice>
              <mc:Fallback>
                <p:oleObj name="think-cell Slide" r:id="rId11" imgW="421" imgH="420" progId="TCLayout.ActiveDocument.1">
                  <p:embed/>
                  <p:pic>
                    <p:nvPicPr>
                      <p:cNvPr id="8" name="Object 7" hidden="1"/>
                      <p:cNvPicPr/>
                      <p:nvPr/>
                    </p:nvPicPr>
                    <p:blipFill>
                      <a:blip r:embed="rId12"/>
                      <a:stretch>
                        <a:fillRect/>
                      </a:stretch>
                    </p:blipFill>
                    <p:spPr>
                      <a:xfrm>
                        <a:off x="1247731" y="1441"/>
                        <a:ext cx="1441" cy="1441"/>
                      </a:xfrm>
                      <a:prstGeom prst="rect">
                        <a:avLst/>
                      </a:prstGeom>
                    </p:spPr>
                  </p:pic>
                </p:oleObj>
              </mc:Fallback>
            </mc:AlternateContent>
          </a:graphicData>
        </a:graphic>
      </p:graphicFrame>
      <p:sp>
        <p:nvSpPr>
          <p:cNvPr id="4" name="Rectangle 3" hidden="1"/>
          <p:cNvSpPr/>
          <p:nvPr>
            <p:custDataLst>
              <p:tags r:id="rId2"/>
            </p:custDataLst>
          </p:nvPr>
        </p:nvSpPr>
        <p:spPr bwMode="auto">
          <a:xfrm>
            <a:off x="1246291" y="1"/>
            <a:ext cx="144015" cy="144015"/>
          </a:xfrm>
          <a:prstGeom prst="rect">
            <a:avLst/>
          </a:prstGeom>
          <a:solidFill>
            <a:schemeClr val="accent1"/>
          </a:solidFill>
          <a:ln>
            <a:noFill/>
          </a:ln>
        </p:spPr>
        <p:txBody>
          <a:bodyPr vert="horz" wrap="none" lIns="0" tIns="0" rIns="0" bIns="0" numCol="1" spcCol="0" rtlCol="0" anchor="t" anchorCtr="0" compatLnSpc="1">
            <a:prstTxWarp prst="textNoShape">
              <a:avLst/>
            </a:prstTxWarp>
            <a:noAutofit/>
          </a:bodyPr>
          <a:lstStyle/>
          <a:p>
            <a:pPr algn="ctr" defTabSz="714403">
              <a:spcBef>
                <a:spcPct val="0"/>
              </a:spcBef>
              <a:spcAft>
                <a:spcPct val="0"/>
              </a:spcAft>
            </a:pPr>
            <a:endParaRPr lang="en-US" sz="1814" dirty="0">
              <a:solidFill>
                <a:prstClr val="black"/>
              </a:solidFill>
              <a:latin typeface="Verdana" panose="020B0604030504040204" pitchFamily="34" charset="0"/>
              <a:sym typeface="Verdana" panose="020B0604030504040204" pitchFamily="34" charset="0"/>
            </a:endParaRPr>
          </a:p>
        </p:txBody>
      </p:sp>
      <p:sp>
        <p:nvSpPr>
          <p:cNvPr id="5" name="Slide Number Placeholder 4"/>
          <p:cNvSpPr>
            <a:spLocks noGrp="1"/>
          </p:cNvSpPr>
          <p:nvPr>
            <p:ph type="sldNum" sz="quarter" idx="4"/>
          </p:nvPr>
        </p:nvSpPr>
        <p:spPr/>
        <p:txBody>
          <a:bodyPr/>
          <a:lstStyle/>
          <a:p>
            <a:pPr defTabSz="714403"/>
            <a:fld id="{95CC1D26-A9BD-4BDE-BDD9-08EDBAE96860}" type="slidenum">
              <a:rPr lang="en-US">
                <a:solidFill>
                  <a:srgbClr val="53565A"/>
                </a:solidFill>
                <a:latin typeface="Verdana"/>
              </a:rPr>
              <a:pPr defTabSz="714403"/>
              <a:t>175</a:t>
            </a:fld>
            <a:endParaRPr lang="en-US" dirty="0">
              <a:solidFill>
                <a:srgbClr val="53565A"/>
              </a:solidFill>
              <a:latin typeface="Verdana"/>
            </a:endParaRPr>
          </a:p>
        </p:txBody>
      </p:sp>
      <p:cxnSp>
        <p:nvCxnSpPr>
          <p:cNvPr id="7" name="Straight Arrow Connector 6"/>
          <p:cNvCxnSpPr>
            <a:cxnSpLocks/>
            <a:stCxn id="124" idx="7"/>
          </p:cNvCxnSpPr>
          <p:nvPr/>
        </p:nvCxnSpPr>
        <p:spPr>
          <a:xfrm>
            <a:off x="731175" y="2022195"/>
            <a:ext cx="10839502" cy="71285"/>
          </a:xfrm>
          <a:prstGeom prst="straightConnector1">
            <a:avLst/>
          </a:prstGeom>
          <a:ln>
            <a:solidFill>
              <a:srgbClr val="1CABE3"/>
            </a:solidFill>
            <a:tailEnd type="triangle"/>
          </a:ln>
        </p:spPr>
        <p:style>
          <a:lnRef idx="1">
            <a:schemeClr val="accent1"/>
          </a:lnRef>
          <a:fillRef idx="0">
            <a:schemeClr val="accent1"/>
          </a:fillRef>
          <a:effectRef idx="0">
            <a:schemeClr val="accent1"/>
          </a:effectRef>
          <a:fontRef idx="minor">
            <a:schemeClr val="tx1"/>
          </a:fontRef>
        </p:style>
      </p:cxnSp>
      <p:sp>
        <p:nvSpPr>
          <p:cNvPr id="121" name="Chevron 120"/>
          <p:cNvSpPr/>
          <p:nvPr/>
        </p:nvSpPr>
        <p:spPr bwMode="gray">
          <a:xfrm>
            <a:off x="2478732" y="1729216"/>
            <a:ext cx="1570981" cy="261612"/>
          </a:xfrm>
          <a:prstGeom prst="chevron">
            <a:avLst/>
          </a:prstGeom>
          <a:noFill/>
          <a:ln w="9525" algn="ctr">
            <a:noFill/>
            <a:miter lim="800000"/>
            <a:headEnd/>
            <a:tailEnd/>
          </a:ln>
        </p:spPr>
        <p:txBody>
          <a:bodyPr wrap="square" lIns="36000" tIns="36000" rIns="36000" bIns="36000" rtlCol="0" anchor="b"/>
          <a:lstStyle/>
          <a:p>
            <a:pPr algn="ctr" defTabSz="714403">
              <a:lnSpc>
                <a:spcPct val="106000"/>
              </a:lnSpc>
            </a:pPr>
            <a:r>
              <a:rPr lang="en-US" sz="1050" b="1" dirty="0">
                <a:solidFill>
                  <a:srgbClr val="1CABE3"/>
                </a:solidFill>
                <a:latin typeface="Open Sans" panose="020B0606030504020204" pitchFamily="34" charset="0"/>
                <a:ea typeface="Open Sans" panose="020B0606030504020204" pitchFamily="34" charset="0"/>
                <a:cs typeface="Open Sans" panose="020B0606030504020204" pitchFamily="34" charset="0"/>
              </a:rPr>
              <a:t>VISION</a:t>
            </a:r>
          </a:p>
        </p:txBody>
      </p:sp>
      <p:sp>
        <p:nvSpPr>
          <p:cNvPr id="122" name="Pentagon 121"/>
          <p:cNvSpPr/>
          <p:nvPr/>
        </p:nvSpPr>
        <p:spPr bwMode="gray">
          <a:xfrm>
            <a:off x="648451" y="1729216"/>
            <a:ext cx="1570981" cy="261612"/>
          </a:xfrm>
          <a:prstGeom prst="homePlate">
            <a:avLst/>
          </a:prstGeom>
          <a:noFill/>
          <a:ln w="9525" algn="ctr">
            <a:noFill/>
            <a:miter lim="800000"/>
            <a:headEnd/>
            <a:tailEnd/>
          </a:ln>
        </p:spPr>
        <p:txBody>
          <a:bodyPr wrap="square" lIns="36000" tIns="36000" rIns="36000" bIns="36000" rtlCol="0" anchor="b"/>
          <a:lstStyle/>
          <a:p>
            <a:pPr algn="ctr" defTabSz="714403">
              <a:lnSpc>
                <a:spcPct val="106000"/>
              </a:lnSpc>
            </a:pPr>
            <a:r>
              <a:rPr lang="en-US" sz="1050" b="1" dirty="0">
                <a:solidFill>
                  <a:srgbClr val="1CABE3"/>
                </a:solidFill>
                <a:latin typeface="Open Sans" panose="020B0606030504020204" pitchFamily="34" charset="0"/>
                <a:ea typeface="Open Sans" panose="020B0606030504020204" pitchFamily="34" charset="0"/>
                <a:cs typeface="Open Sans" panose="020B0606030504020204" pitchFamily="34" charset="0"/>
              </a:rPr>
              <a:t>DIRECTIONS</a:t>
            </a:r>
          </a:p>
        </p:txBody>
      </p:sp>
      <p:sp>
        <p:nvSpPr>
          <p:cNvPr id="123" name="Rectangle 11"/>
          <p:cNvSpPr>
            <a:spLocks noChangeArrowheads="1"/>
          </p:cNvSpPr>
          <p:nvPr>
            <p:custDataLst>
              <p:tags r:id="rId3"/>
            </p:custDataLst>
          </p:nvPr>
        </p:nvSpPr>
        <p:spPr bwMode="auto">
          <a:xfrm>
            <a:off x="648451" y="2135930"/>
            <a:ext cx="1570981" cy="1012118"/>
          </a:xfrm>
          <a:prstGeom prst="rect">
            <a:avLst/>
          </a:prstGeom>
          <a:solidFill>
            <a:schemeClr val="bg1">
              <a:lumMod val="95000"/>
            </a:schemeClr>
          </a:solidFill>
          <a:ln w="9525">
            <a:noFill/>
            <a:miter lim="800000"/>
            <a:headEnd/>
            <a:tailEnd/>
          </a:ln>
          <a:effectLst/>
        </p:spPr>
        <p:txBody>
          <a:bodyPr lIns="0" tIns="41476" rIns="0" bIns="41476" anchor="ctr"/>
          <a:lstStyle/>
          <a:p>
            <a:pPr algn="ctr" defTabSz="897233" eaLnBrk="0" fontAlgn="base" hangingPunct="0">
              <a:spcBef>
                <a:spcPct val="0"/>
              </a:spcBef>
              <a:spcAft>
                <a:spcPct val="0"/>
              </a:spcAft>
            </a:pPr>
            <a:r>
              <a:rPr lang="en-US" sz="1200" b="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Assess future organizational &amp; workforce direction</a:t>
            </a:r>
          </a:p>
        </p:txBody>
      </p:sp>
      <p:sp>
        <p:nvSpPr>
          <p:cNvPr id="124" name="Oval 123"/>
          <p:cNvSpPr/>
          <p:nvPr/>
        </p:nvSpPr>
        <p:spPr bwMode="gray">
          <a:xfrm>
            <a:off x="479753" y="1979058"/>
            <a:ext cx="294559" cy="294559"/>
          </a:xfrm>
          <a:prstGeom prst="ellipse">
            <a:avLst/>
          </a:prstGeom>
          <a:solidFill>
            <a:schemeClr val="tx1"/>
          </a:solidFill>
          <a:ln w="19050" algn="ctr">
            <a:solidFill>
              <a:schemeClr val="bg1"/>
            </a:solidFill>
            <a:miter lim="800000"/>
            <a:headEnd/>
            <a:tailEnd/>
          </a:ln>
        </p:spPr>
        <p:txBody>
          <a:bodyPr wrap="square" lIns="80648" tIns="80648" rIns="80648" bIns="80648"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3" name="Rectangle 2"/>
          <p:cNvSpPr/>
          <p:nvPr/>
        </p:nvSpPr>
        <p:spPr bwMode="auto">
          <a:xfrm>
            <a:off x="648451" y="3257485"/>
            <a:ext cx="1570981" cy="2950006"/>
          </a:xfrm>
          <a:prstGeom prst="rect">
            <a:avLst/>
          </a:prstGeom>
          <a:noFill/>
          <a:ln>
            <a:noFill/>
          </a:ln>
        </p:spPr>
        <p:txBody>
          <a:bodyPr vert="horz" wrap="square" lIns="0" tIns="0" rIns="0" bIns="0" numCol="1" rtlCol="0" anchor="t" anchorCtr="0" compatLnSpc="1">
            <a:prstTxWarp prst="textNoShape">
              <a:avLst/>
            </a:prstTxWarp>
          </a:bodyPr>
          <a:lstStyle/>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Understand the organization’s strategy, anticipate evolutions</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Understand the Voice of Customers (VOC)</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Prioritize top 3-5 workforce and labor market disruptions</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nalyze organizational culture &amp; capabilities</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Identify critical workforce segments – their performance, impact and experience</a:t>
            </a:r>
          </a:p>
        </p:txBody>
      </p:sp>
      <p:sp>
        <p:nvSpPr>
          <p:cNvPr id="95" name="Rectangle 11"/>
          <p:cNvSpPr>
            <a:spLocks noChangeArrowheads="1"/>
          </p:cNvSpPr>
          <p:nvPr>
            <p:custDataLst>
              <p:tags r:id="rId4"/>
            </p:custDataLst>
          </p:nvPr>
        </p:nvSpPr>
        <p:spPr bwMode="auto">
          <a:xfrm>
            <a:off x="2478732" y="2135930"/>
            <a:ext cx="1570981" cy="1012118"/>
          </a:xfrm>
          <a:prstGeom prst="rect">
            <a:avLst/>
          </a:prstGeom>
          <a:solidFill>
            <a:schemeClr val="bg1">
              <a:lumMod val="95000"/>
            </a:schemeClr>
          </a:solidFill>
          <a:ln w="9525">
            <a:noFill/>
            <a:miter lim="800000"/>
            <a:headEnd/>
            <a:tailEnd/>
          </a:ln>
          <a:effectLst/>
        </p:spPr>
        <p:txBody>
          <a:bodyPr lIns="0" tIns="41476" rIns="0" bIns="41476" anchor="ctr"/>
          <a:lstStyle/>
          <a:p>
            <a:pPr algn="ctr" defTabSz="897233" eaLnBrk="0" fontAlgn="base" hangingPunct="0">
              <a:spcBef>
                <a:spcPct val="0"/>
              </a:spcBef>
              <a:spcAft>
                <a:spcPct val="0"/>
              </a:spcAft>
            </a:pPr>
            <a:r>
              <a:rPr lang="en-US" sz="1200" b="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Define the winning aspiration</a:t>
            </a:r>
          </a:p>
        </p:txBody>
      </p:sp>
      <p:sp>
        <p:nvSpPr>
          <p:cNvPr id="96" name="Rectangle 95"/>
          <p:cNvSpPr/>
          <p:nvPr/>
        </p:nvSpPr>
        <p:spPr bwMode="auto">
          <a:xfrm>
            <a:off x="2478732" y="3257485"/>
            <a:ext cx="1570981" cy="1652906"/>
          </a:xfrm>
          <a:prstGeom prst="rect">
            <a:avLst/>
          </a:prstGeom>
          <a:noFill/>
          <a:ln>
            <a:noFill/>
          </a:ln>
        </p:spPr>
        <p:txBody>
          <a:bodyPr vert="horz" wrap="square" lIns="0" tIns="0" rIns="0" bIns="0" numCol="1" rtlCol="0" anchor="t" anchorCtr="0" compatLnSpc="1">
            <a:prstTxWarp prst="textNoShape">
              <a:avLst/>
            </a:prstTxWarp>
          </a:bodyPr>
          <a:lstStyle/>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Understand the capabilities needed in the future </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iscuss the main expectations towards HR to achieve organizational and workforce direction</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efine the HR Vision</a:t>
            </a:r>
          </a:p>
        </p:txBody>
      </p:sp>
      <p:sp>
        <p:nvSpPr>
          <p:cNvPr id="97" name="Oval 96"/>
          <p:cNvSpPr/>
          <p:nvPr/>
        </p:nvSpPr>
        <p:spPr bwMode="gray">
          <a:xfrm>
            <a:off x="2297817" y="1969197"/>
            <a:ext cx="294559" cy="294559"/>
          </a:xfrm>
          <a:prstGeom prst="ellipse">
            <a:avLst/>
          </a:prstGeom>
          <a:solidFill>
            <a:schemeClr val="tx1"/>
          </a:solidFill>
          <a:ln w="19050" algn="ctr">
            <a:solidFill>
              <a:schemeClr val="bg1"/>
            </a:solidFill>
            <a:miter lim="800000"/>
            <a:headEnd/>
            <a:tailEnd/>
          </a:ln>
        </p:spPr>
        <p:txBody>
          <a:bodyPr wrap="square" lIns="80648" tIns="80648" rIns="80648" bIns="80648"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98" name="Rectangle 11"/>
          <p:cNvSpPr>
            <a:spLocks noChangeArrowheads="1"/>
          </p:cNvSpPr>
          <p:nvPr>
            <p:custDataLst>
              <p:tags r:id="rId5"/>
            </p:custDataLst>
          </p:nvPr>
        </p:nvSpPr>
        <p:spPr bwMode="auto">
          <a:xfrm>
            <a:off x="4309013" y="2135930"/>
            <a:ext cx="1570981" cy="1012118"/>
          </a:xfrm>
          <a:prstGeom prst="rect">
            <a:avLst/>
          </a:prstGeom>
          <a:solidFill>
            <a:schemeClr val="bg1">
              <a:lumMod val="95000"/>
            </a:schemeClr>
          </a:solidFill>
          <a:ln w="9525">
            <a:noFill/>
            <a:miter lim="800000"/>
            <a:headEnd/>
            <a:tailEnd/>
          </a:ln>
          <a:effectLst/>
        </p:spPr>
        <p:txBody>
          <a:bodyPr lIns="0" tIns="41476" rIns="0" bIns="41476" anchor="ctr"/>
          <a:lstStyle/>
          <a:p>
            <a:pPr algn="ctr" defTabSz="897233" eaLnBrk="0" fontAlgn="base" hangingPunct="0">
              <a:spcBef>
                <a:spcPct val="0"/>
              </a:spcBef>
              <a:spcAft>
                <a:spcPct val="0"/>
              </a:spcAft>
            </a:pPr>
            <a:r>
              <a:rPr lang="en-US" sz="1200" b="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Define People strategy supporting personnel engagement</a:t>
            </a:r>
          </a:p>
        </p:txBody>
      </p:sp>
      <p:sp>
        <p:nvSpPr>
          <p:cNvPr id="99" name="Oval 98"/>
          <p:cNvSpPr/>
          <p:nvPr/>
        </p:nvSpPr>
        <p:spPr bwMode="gray">
          <a:xfrm>
            <a:off x="4115881" y="1979058"/>
            <a:ext cx="294559" cy="294559"/>
          </a:xfrm>
          <a:prstGeom prst="ellipse">
            <a:avLst/>
          </a:prstGeom>
          <a:solidFill>
            <a:schemeClr val="tx1"/>
          </a:solidFill>
          <a:ln w="19050" algn="ctr">
            <a:solidFill>
              <a:schemeClr val="bg1"/>
            </a:solidFill>
            <a:miter lim="800000"/>
            <a:headEnd/>
            <a:tailEnd/>
          </a:ln>
        </p:spPr>
        <p:txBody>
          <a:bodyPr wrap="square" lIns="80648" tIns="80648" rIns="80648" bIns="80648"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100" name="Rectangle 99"/>
          <p:cNvSpPr/>
          <p:nvPr/>
        </p:nvSpPr>
        <p:spPr bwMode="auto">
          <a:xfrm>
            <a:off x="4309013" y="3257485"/>
            <a:ext cx="1570981" cy="1906340"/>
          </a:xfrm>
          <a:prstGeom prst="rect">
            <a:avLst/>
          </a:prstGeom>
          <a:noFill/>
          <a:ln>
            <a:noFill/>
          </a:ln>
        </p:spPr>
        <p:txBody>
          <a:bodyPr vert="horz" wrap="square" lIns="0" tIns="0" rIns="0" bIns="0" numCol="1" rtlCol="0" anchor="t" anchorCtr="0" compatLnSpc="1">
            <a:prstTxWarp prst="textNoShape">
              <a:avLst/>
            </a:prstTxWarp>
          </a:bodyPr>
          <a:lstStyle/>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efine the business outcomes HR owns, drives or supports</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ddress strategic cascade choices for HR</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lign on key shifts – capabilities, culture, talent, structure and rewards</a:t>
            </a:r>
          </a:p>
          <a:p>
            <a:pPr marL="82954" indent="-82954"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efine key initiatives list</a:t>
            </a:r>
          </a:p>
        </p:txBody>
      </p:sp>
      <p:sp>
        <p:nvSpPr>
          <p:cNvPr id="101" name="Chevron 100"/>
          <p:cNvSpPr/>
          <p:nvPr/>
        </p:nvSpPr>
        <p:spPr bwMode="gray">
          <a:xfrm>
            <a:off x="4309013" y="1729216"/>
            <a:ext cx="1570981" cy="261612"/>
          </a:xfrm>
          <a:prstGeom prst="chevron">
            <a:avLst/>
          </a:prstGeom>
          <a:noFill/>
          <a:ln w="9525" algn="ctr">
            <a:noFill/>
            <a:miter lim="800000"/>
            <a:headEnd/>
            <a:tailEnd/>
          </a:ln>
        </p:spPr>
        <p:txBody>
          <a:bodyPr wrap="square" lIns="36000" tIns="36000" rIns="36000" bIns="36000" rtlCol="0" anchor="b"/>
          <a:lstStyle/>
          <a:p>
            <a:pPr algn="ctr" defTabSz="714403">
              <a:lnSpc>
                <a:spcPct val="106000"/>
              </a:lnSpc>
            </a:pPr>
            <a:r>
              <a:rPr lang="en-US" sz="1050" b="1" dirty="0">
                <a:solidFill>
                  <a:srgbClr val="1CABE3"/>
                </a:solidFill>
                <a:latin typeface="Open Sans" panose="020B0606030504020204" pitchFamily="34" charset="0"/>
                <a:ea typeface="Open Sans" panose="020B0606030504020204" pitchFamily="34" charset="0"/>
                <a:cs typeface="Open Sans" panose="020B0606030504020204" pitchFamily="34" charset="0"/>
              </a:rPr>
              <a:t>STRATEGY LAB</a:t>
            </a:r>
          </a:p>
        </p:txBody>
      </p:sp>
      <p:sp>
        <p:nvSpPr>
          <p:cNvPr id="146" name="Rectangle 145"/>
          <p:cNvSpPr/>
          <p:nvPr/>
        </p:nvSpPr>
        <p:spPr bwMode="auto">
          <a:xfrm>
            <a:off x="6139294" y="3257485"/>
            <a:ext cx="1570981" cy="2433873"/>
          </a:xfrm>
          <a:prstGeom prst="rect">
            <a:avLst/>
          </a:prstGeom>
          <a:noFill/>
          <a:ln>
            <a:noFill/>
          </a:ln>
        </p:spPr>
        <p:txBody>
          <a:bodyPr vert="horz" wrap="square" lIns="0" tIns="0" rIns="0" bIns="0" numCol="1" rtlCol="0" anchor="t" anchorCtr="0" compatLnSpc="1">
            <a:prstTxWarp prst="textNoShape">
              <a:avLst/>
            </a:prstTxWarp>
          </a:bodyPr>
          <a:lstStyle/>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Stress test scenarios to refine the People strategy</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Prioritize key strategy initiatives</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Identify the value case</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rticulate the value of the newly-aligned People strategy to the business and HR’s role</a:t>
            </a:r>
          </a:p>
        </p:txBody>
      </p:sp>
      <p:sp>
        <p:nvSpPr>
          <p:cNvPr id="147" name="Chevron 146"/>
          <p:cNvSpPr/>
          <p:nvPr/>
        </p:nvSpPr>
        <p:spPr bwMode="gray">
          <a:xfrm>
            <a:off x="9799858" y="1716551"/>
            <a:ext cx="1570981" cy="274277"/>
          </a:xfrm>
          <a:prstGeom prst="chevron">
            <a:avLst/>
          </a:prstGeom>
          <a:noFill/>
          <a:ln w="9525" algn="ctr">
            <a:noFill/>
            <a:miter lim="800000"/>
            <a:headEnd/>
            <a:tailEnd/>
          </a:ln>
        </p:spPr>
        <p:txBody>
          <a:bodyPr wrap="square" lIns="36000" tIns="36000" rIns="36000" bIns="36000" rtlCol="0" anchor="b"/>
          <a:lstStyle/>
          <a:p>
            <a:pPr algn="ctr" defTabSz="714403">
              <a:lnSpc>
                <a:spcPct val="106000"/>
              </a:lnSpc>
            </a:pPr>
            <a:r>
              <a:rPr lang="en-US" sz="1050" b="1" dirty="0">
                <a:solidFill>
                  <a:srgbClr val="1CABE3"/>
                </a:solidFill>
                <a:latin typeface="Open Sans" panose="020B0606030504020204" pitchFamily="34" charset="0"/>
                <a:ea typeface="Open Sans" panose="020B0606030504020204" pitchFamily="34" charset="0"/>
                <a:cs typeface="Open Sans" panose="020B0606030504020204" pitchFamily="34" charset="0"/>
              </a:rPr>
              <a:t>IMPLEMENTATION</a:t>
            </a:r>
          </a:p>
          <a:p>
            <a:pPr algn="ctr" defTabSz="714403">
              <a:lnSpc>
                <a:spcPct val="106000"/>
              </a:lnSpc>
            </a:pPr>
            <a:r>
              <a:rPr lang="en-US" sz="1050" b="1" dirty="0">
                <a:solidFill>
                  <a:srgbClr val="1CABE3"/>
                </a:solidFill>
                <a:latin typeface="Open Sans" panose="020B0606030504020204" pitchFamily="34" charset="0"/>
                <a:ea typeface="Open Sans" panose="020B0606030504020204" pitchFamily="34" charset="0"/>
                <a:cs typeface="Open Sans" panose="020B0606030504020204" pitchFamily="34" charset="0"/>
              </a:rPr>
              <a:t>PLANNING</a:t>
            </a:r>
          </a:p>
        </p:txBody>
      </p:sp>
      <p:sp>
        <p:nvSpPr>
          <p:cNvPr id="155" name="Rectangle 11"/>
          <p:cNvSpPr>
            <a:spLocks noChangeArrowheads="1"/>
          </p:cNvSpPr>
          <p:nvPr>
            <p:custDataLst>
              <p:tags r:id="rId6"/>
            </p:custDataLst>
          </p:nvPr>
        </p:nvSpPr>
        <p:spPr bwMode="auto">
          <a:xfrm>
            <a:off x="9799858" y="2135930"/>
            <a:ext cx="1570981" cy="1012118"/>
          </a:xfrm>
          <a:prstGeom prst="rect">
            <a:avLst/>
          </a:prstGeom>
          <a:solidFill>
            <a:schemeClr val="bg1">
              <a:lumMod val="95000"/>
            </a:schemeClr>
          </a:solidFill>
          <a:ln w="9525">
            <a:noFill/>
            <a:miter lim="800000"/>
            <a:headEnd/>
            <a:tailEnd/>
          </a:ln>
          <a:effectLst/>
        </p:spPr>
        <p:txBody>
          <a:bodyPr lIns="0" tIns="41476" rIns="0" bIns="41476" anchor="ctr"/>
          <a:lstStyle/>
          <a:p>
            <a:pPr algn="ctr" defTabSz="897233" eaLnBrk="0" fontAlgn="base" hangingPunct="0">
              <a:spcBef>
                <a:spcPct val="0"/>
              </a:spcBef>
              <a:spcAft>
                <a:spcPct val="0"/>
              </a:spcAft>
            </a:pPr>
            <a:r>
              <a:rPr lang="en-US" sz="1200" b="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Develop strategic HR roadmap</a:t>
            </a:r>
          </a:p>
        </p:txBody>
      </p:sp>
      <p:sp>
        <p:nvSpPr>
          <p:cNvPr id="156" name="Oval 155"/>
          <p:cNvSpPr/>
          <p:nvPr/>
        </p:nvSpPr>
        <p:spPr bwMode="gray">
          <a:xfrm>
            <a:off x="9570072" y="1979965"/>
            <a:ext cx="294559" cy="294559"/>
          </a:xfrm>
          <a:prstGeom prst="ellipse">
            <a:avLst/>
          </a:prstGeom>
          <a:solidFill>
            <a:schemeClr val="tx1"/>
          </a:solidFill>
          <a:ln w="19050" algn="ctr">
            <a:solidFill>
              <a:schemeClr val="bg1"/>
            </a:solidFill>
            <a:miter lim="800000"/>
            <a:headEnd/>
            <a:tailEnd/>
          </a:ln>
        </p:spPr>
        <p:txBody>
          <a:bodyPr wrap="square" lIns="0" tIns="80648" rIns="0" bIns="80648"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6</a:t>
            </a:r>
          </a:p>
        </p:txBody>
      </p:sp>
      <p:sp>
        <p:nvSpPr>
          <p:cNvPr id="157" name="Rectangle 156"/>
          <p:cNvSpPr/>
          <p:nvPr/>
        </p:nvSpPr>
        <p:spPr bwMode="auto">
          <a:xfrm>
            <a:off x="9799858" y="3257486"/>
            <a:ext cx="1570981" cy="1906340"/>
          </a:xfrm>
          <a:prstGeom prst="rect">
            <a:avLst/>
          </a:prstGeom>
          <a:noFill/>
          <a:ln>
            <a:noFill/>
          </a:ln>
        </p:spPr>
        <p:txBody>
          <a:bodyPr vert="horz" wrap="square" lIns="0" tIns="0" rIns="0" bIns="0" numCol="1" rtlCol="0" anchor="t" anchorCtr="0" compatLnSpc="1">
            <a:prstTxWarp prst="textNoShape">
              <a:avLst/>
            </a:prstTxWarp>
          </a:bodyPr>
          <a:lstStyle/>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Prioritize sequence of strategic initiatives into a roadmap </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Prepare transition plan to the modified operating model</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evelop and socialize ways of working with the business</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efine measurements of success</a:t>
            </a:r>
          </a:p>
        </p:txBody>
      </p:sp>
      <p:sp>
        <p:nvSpPr>
          <p:cNvPr id="52" name="Rectangle 51"/>
          <p:cNvSpPr/>
          <p:nvPr/>
        </p:nvSpPr>
        <p:spPr bwMode="auto">
          <a:xfrm>
            <a:off x="7969575" y="3257485"/>
            <a:ext cx="1570981" cy="2744672"/>
          </a:xfrm>
          <a:prstGeom prst="rect">
            <a:avLst/>
          </a:prstGeom>
          <a:noFill/>
          <a:ln>
            <a:noFill/>
          </a:ln>
        </p:spPr>
        <p:txBody>
          <a:bodyPr vert="horz" wrap="square" lIns="0" tIns="0" rIns="0" bIns="0" numCol="1" rtlCol="0" anchor="t" anchorCtr="0" compatLnSpc="1">
            <a:prstTxWarp prst="textNoShape">
              <a:avLst/>
            </a:prstTxWarp>
          </a:bodyPr>
          <a:lstStyle/>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Prepare detailed documents for strategic actions</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efine the steps and timing of strategic actions</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Support defining detailed operating model enabling strategy execution</a:t>
            </a:r>
          </a:p>
          <a:p>
            <a:pPr marL="165909" indent="-165909" defTabSz="714403">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Support estimating capacity requirements of the People strategy execution  </a:t>
            </a:r>
          </a:p>
        </p:txBody>
      </p:sp>
      <p:sp>
        <p:nvSpPr>
          <p:cNvPr id="49" name="Chevron 48"/>
          <p:cNvSpPr/>
          <p:nvPr/>
        </p:nvSpPr>
        <p:spPr bwMode="gray">
          <a:xfrm>
            <a:off x="6139294" y="1761192"/>
            <a:ext cx="1570981" cy="229636"/>
          </a:xfrm>
          <a:prstGeom prst="chevron">
            <a:avLst/>
          </a:prstGeom>
          <a:noFill/>
          <a:ln w="9525" algn="ctr">
            <a:noFill/>
            <a:miter lim="800000"/>
            <a:headEnd/>
            <a:tailEnd/>
          </a:ln>
        </p:spPr>
        <p:txBody>
          <a:bodyPr wrap="square" lIns="36000" tIns="36000" rIns="36000" bIns="36000" rtlCol="0" anchor="b"/>
          <a:lstStyle/>
          <a:p>
            <a:pPr algn="ctr" defTabSz="714403">
              <a:lnSpc>
                <a:spcPct val="106000"/>
              </a:lnSpc>
            </a:pPr>
            <a:r>
              <a:rPr lang="en-US" sz="1050" b="1" dirty="0">
                <a:solidFill>
                  <a:srgbClr val="1CABE3"/>
                </a:solidFill>
                <a:latin typeface="Open Sans" panose="020B0606030504020204" pitchFamily="34" charset="0"/>
                <a:ea typeface="Open Sans" panose="020B0606030504020204" pitchFamily="34" charset="0"/>
                <a:cs typeface="Open Sans" panose="020B0606030504020204" pitchFamily="34" charset="0"/>
              </a:rPr>
              <a:t>STRATEGY VALUE PROPOSITION</a:t>
            </a:r>
          </a:p>
        </p:txBody>
      </p:sp>
      <p:sp>
        <p:nvSpPr>
          <p:cNvPr id="50" name="Chevron 49"/>
          <p:cNvSpPr/>
          <p:nvPr/>
        </p:nvSpPr>
        <p:spPr bwMode="gray">
          <a:xfrm>
            <a:off x="7969575" y="1761192"/>
            <a:ext cx="1570981" cy="229636"/>
          </a:xfrm>
          <a:prstGeom prst="chevron">
            <a:avLst/>
          </a:prstGeom>
          <a:noFill/>
          <a:ln w="9525" algn="ctr">
            <a:noFill/>
            <a:miter lim="800000"/>
            <a:headEnd/>
            <a:tailEnd/>
          </a:ln>
        </p:spPr>
        <p:txBody>
          <a:bodyPr wrap="square" lIns="36000" tIns="36000" rIns="36000" bIns="36000" rtlCol="0" anchor="b"/>
          <a:lstStyle/>
          <a:p>
            <a:pPr algn="ctr" defTabSz="714403">
              <a:lnSpc>
                <a:spcPct val="106000"/>
              </a:lnSpc>
            </a:pPr>
            <a:r>
              <a:rPr lang="en-US" sz="1050" b="1" dirty="0">
                <a:solidFill>
                  <a:srgbClr val="1CABE3"/>
                </a:solidFill>
                <a:latin typeface="Open Sans" panose="020B0606030504020204" pitchFamily="34" charset="0"/>
                <a:ea typeface="Open Sans" panose="020B0606030504020204" pitchFamily="34" charset="0"/>
                <a:cs typeface="Open Sans" panose="020B0606030504020204" pitchFamily="34" charset="0"/>
              </a:rPr>
              <a:t>DETAILED ACTIONS</a:t>
            </a:r>
          </a:p>
        </p:txBody>
      </p:sp>
      <p:sp>
        <p:nvSpPr>
          <p:cNvPr id="55" name="Rectangle 11"/>
          <p:cNvSpPr>
            <a:spLocks noChangeArrowheads="1"/>
          </p:cNvSpPr>
          <p:nvPr>
            <p:custDataLst>
              <p:tags r:id="rId7"/>
            </p:custDataLst>
          </p:nvPr>
        </p:nvSpPr>
        <p:spPr bwMode="auto">
          <a:xfrm>
            <a:off x="6139294" y="2135930"/>
            <a:ext cx="1570981" cy="1012118"/>
          </a:xfrm>
          <a:prstGeom prst="rect">
            <a:avLst/>
          </a:prstGeom>
          <a:solidFill>
            <a:schemeClr val="bg1">
              <a:lumMod val="95000"/>
            </a:schemeClr>
          </a:solidFill>
          <a:ln w="9525">
            <a:noFill/>
            <a:miter lim="800000"/>
            <a:headEnd/>
            <a:tailEnd/>
          </a:ln>
          <a:effectLst/>
        </p:spPr>
        <p:txBody>
          <a:bodyPr lIns="0" tIns="41476" rIns="0" bIns="41476" anchor="ctr"/>
          <a:lstStyle/>
          <a:p>
            <a:pPr algn="ctr" defTabSz="897233" eaLnBrk="0" fontAlgn="base" hangingPunct="0">
              <a:spcBef>
                <a:spcPct val="0"/>
              </a:spcBef>
              <a:spcAft>
                <a:spcPct val="0"/>
              </a:spcAft>
            </a:pPr>
            <a:r>
              <a:rPr lang="en-US" sz="1200" b="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Crystallize HR’s value proposition</a:t>
            </a:r>
          </a:p>
        </p:txBody>
      </p:sp>
      <p:sp>
        <p:nvSpPr>
          <p:cNvPr id="56" name="Oval 55"/>
          <p:cNvSpPr/>
          <p:nvPr/>
        </p:nvSpPr>
        <p:spPr bwMode="gray">
          <a:xfrm>
            <a:off x="5933945" y="1965808"/>
            <a:ext cx="294559" cy="294559"/>
          </a:xfrm>
          <a:prstGeom prst="ellipse">
            <a:avLst/>
          </a:prstGeom>
          <a:solidFill>
            <a:schemeClr val="tx1"/>
          </a:solidFill>
          <a:ln w="19050" algn="ctr">
            <a:solidFill>
              <a:schemeClr val="bg1"/>
            </a:solidFill>
            <a:miter lim="800000"/>
            <a:headEnd/>
            <a:tailEnd/>
          </a:ln>
        </p:spPr>
        <p:txBody>
          <a:bodyPr wrap="square" lIns="80648" tIns="80648" rIns="80648" bIns="80648"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58" name="Rectangle 11"/>
          <p:cNvSpPr>
            <a:spLocks noChangeArrowheads="1"/>
          </p:cNvSpPr>
          <p:nvPr>
            <p:custDataLst>
              <p:tags r:id="rId8"/>
            </p:custDataLst>
          </p:nvPr>
        </p:nvSpPr>
        <p:spPr bwMode="auto">
          <a:xfrm>
            <a:off x="7969575" y="2135930"/>
            <a:ext cx="1570981" cy="1012118"/>
          </a:xfrm>
          <a:prstGeom prst="rect">
            <a:avLst/>
          </a:prstGeom>
          <a:solidFill>
            <a:schemeClr val="bg1">
              <a:lumMod val="95000"/>
            </a:schemeClr>
          </a:solidFill>
          <a:ln w="9525">
            <a:noFill/>
            <a:miter lim="800000"/>
            <a:headEnd/>
            <a:tailEnd/>
          </a:ln>
          <a:effectLst/>
        </p:spPr>
        <p:txBody>
          <a:bodyPr lIns="0" tIns="41476" rIns="0" bIns="41476" anchor="ctr"/>
          <a:lstStyle/>
          <a:p>
            <a:pPr algn="ctr" defTabSz="897233" eaLnBrk="0" fontAlgn="base" hangingPunct="0">
              <a:spcBef>
                <a:spcPct val="0"/>
              </a:spcBef>
              <a:spcAft>
                <a:spcPct val="0"/>
              </a:spcAft>
            </a:pPr>
            <a:r>
              <a:rPr lang="en-US" sz="1200" b="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Define details of strategic actions</a:t>
            </a:r>
          </a:p>
        </p:txBody>
      </p:sp>
      <p:sp>
        <p:nvSpPr>
          <p:cNvPr id="59" name="Oval 58"/>
          <p:cNvSpPr/>
          <p:nvPr/>
        </p:nvSpPr>
        <p:spPr bwMode="gray">
          <a:xfrm>
            <a:off x="7752009" y="1949847"/>
            <a:ext cx="294559" cy="294559"/>
          </a:xfrm>
          <a:prstGeom prst="ellipse">
            <a:avLst/>
          </a:prstGeom>
          <a:solidFill>
            <a:schemeClr val="tx1"/>
          </a:solidFill>
          <a:ln w="19050" algn="ctr">
            <a:solidFill>
              <a:schemeClr val="bg1"/>
            </a:solidFill>
            <a:miter lim="800000"/>
            <a:headEnd/>
            <a:tailEnd/>
          </a:ln>
        </p:spPr>
        <p:txBody>
          <a:bodyPr wrap="square" lIns="80648" tIns="80648" rIns="80648" bIns="80648"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10" name="Text Placeholder 1">
            <a:extLst>
              <a:ext uri="{FF2B5EF4-FFF2-40B4-BE49-F238E27FC236}">
                <a16:creationId xmlns:a16="http://schemas.microsoft.com/office/drawing/2014/main" id="{ACD1F67E-9E82-1F69-E238-24001890A918}"/>
              </a:ext>
            </a:extLst>
          </p:cNvPr>
          <p:cNvSpPr txBox="1">
            <a:spLocks/>
          </p:cNvSpPr>
          <p:nvPr/>
        </p:nvSpPr>
        <p:spPr>
          <a:xfrm>
            <a:off x="361695" y="695640"/>
            <a:ext cx="11277600" cy="757255"/>
          </a:xfrm>
          <a:prstGeom prst="rect">
            <a:avLst/>
          </a:prstGeom>
        </p:spPr>
        <p:txBody>
          <a:bodyPr/>
          <a:lstStyle>
            <a:lvl1pPr marL="0" indent="0" algn="l" defTabSz="898646" rtl="0" eaLnBrk="1" latinLnBrk="0" hangingPunct="1">
              <a:spcBef>
                <a:spcPts val="0"/>
              </a:spcBef>
              <a:spcAft>
                <a:spcPts val="982"/>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898646" rtl="0" eaLnBrk="1" latinLnBrk="0"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0"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0"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0"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0"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a:lstStyle>
          <a:p>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Defining and consciously executing a well-compiled personnel engagement / </a:t>
            </a:r>
            <a:r>
              <a:rPr lang="en-US" sz="1800" b="1" dirty="0">
                <a:solidFill>
                  <a:schemeClr val="tx2"/>
                </a:solidFill>
                <a:latin typeface="Calibri" panose="020F0502020204030204" pitchFamily="34" charset="0"/>
                <a:ea typeface="Open Sans Light" panose="020B0306030504020204" pitchFamily="34" charset="0"/>
                <a:cs typeface="Calibri" panose="020F0502020204030204" pitchFamily="34" charset="0"/>
              </a:rPr>
              <a:t>People strategy</a:t>
            </a:r>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 supports the organization in achieving its primary objectives</a:t>
            </a:r>
          </a:p>
        </p:txBody>
      </p:sp>
      <p:sp>
        <p:nvSpPr>
          <p:cNvPr id="11" name="Title 2">
            <a:extLst>
              <a:ext uri="{FF2B5EF4-FFF2-40B4-BE49-F238E27FC236}">
                <a16:creationId xmlns:a16="http://schemas.microsoft.com/office/drawing/2014/main" id="{CB1EBFCF-53D4-A28B-C36B-4872D01FD8B7}"/>
              </a:ext>
            </a:extLst>
          </p:cNvPr>
          <p:cNvSpPr>
            <a:spLocks noGrp="1"/>
          </p:cNvSpPr>
          <p:nvPr>
            <p:ph type="title"/>
          </p:nvPr>
        </p:nvSpPr>
        <p:spPr>
          <a:xfrm>
            <a:off x="463295" y="345992"/>
            <a:ext cx="11277600" cy="334099"/>
          </a:xfrm>
        </p:spPr>
        <p:txBody>
          <a:bodyPr vert="horz"/>
          <a:lstStyle/>
          <a:p>
            <a:r>
              <a:rPr lang="en-US" sz="2100" dirty="0">
                <a:latin typeface="Calibri" panose="020F0502020204030204" pitchFamily="34" charset="0"/>
                <a:cs typeface="Calibri" panose="020F0502020204030204" pitchFamily="34" charset="0"/>
              </a:rPr>
              <a:t>Personnel engagement / People strategy</a:t>
            </a:r>
          </a:p>
        </p:txBody>
      </p:sp>
    </p:spTree>
    <p:extLst>
      <p:ext uri="{BB962C8B-B14F-4D97-AF65-F5344CB8AC3E}">
        <p14:creationId xmlns:p14="http://schemas.microsoft.com/office/powerpoint/2010/main" val="1137322180"/>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619F2C7-0644-40AD-A095-7D6EE2DC03AE}"/>
              </a:ext>
            </a:extLst>
          </p:cNvPr>
          <p:cNvGrpSpPr/>
          <p:nvPr/>
        </p:nvGrpSpPr>
        <p:grpSpPr>
          <a:xfrm>
            <a:off x="84380" y="2108842"/>
            <a:ext cx="8356072" cy="3461574"/>
            <a:chOff x="84380" y="1452881"/>
            <a:chExt cx="8356072" cy="3461574"/>
          </a:xfrm>
        </p:grpSpPr>
        <p:sp>
          <p:nvSpPr>
            <p:cNvPr id="86" name="Isosceles Triangle 85">
              <a:extLst>
                <a:ext uri="{FF2B5EF4-FFF2-40B4-BE49-F238E27FC236}">
                  <a16:creationId xmlns:a16="http://schemas.microsoft.com/office/drawing/2014/main" id="{2D743396-C2F5-42F3-8D00-2B3DC6D56F84}"/>
                </a:ext>
              </a:extLst>
            </p:cNvPr>
            <p:cNvSpPr/>
            <p:nvPr/>
          </p:nvSpPr>
          <p:spPr bwMode="gray">
            <a:xfrm>
              <a:off x="1380375" y="3306264"/>
              <a:ext cx="6842178" cy="1279618"/>
            </a:xfrm>
            <a:prstGeom prst="triangle">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Isosceles Triangle 84">
              <a:extLst>
                <a:ext uri="{FF2B5EF4-FFF2-40B4-BE49-F238E27FC236}">
                  <a16:creationId xmlns:a16="http://schemas.microsoft.com/office/drawing/2014/main" id="{438ADBC9-38D6-4A1B-8D1F-9B6897E66C87}"/>
                </a:ext>
              </a:extLst>
            </p:cNvPr>
            <p:cNvSpPr/>
            <p:nvPr/>
          </p:nvSpPr>
          <p:spPr bwMode="gray">
            <a:xfrm rot="10800000">
              <a:off x="1385211" y="2124654"/>
              <a:ext cx="6842178" cy="1279618"/>
            </a:xfrm>
            <a:prstGeom prst="triangle">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Rectangle 71">
              <a:extLst>
                <a:ext uri="{FF2B5EF4-FFF2-40B4-BE49-F238E27FC236}">
                  <a16:creationId xmlns:a16="http://schemas.microsoft.com/office/drawing/2014/main" id="{E795FE51-CDC7-45E9-A6B7-0B393F696335}"/>
                </a:ext>
              </a:extLst>
            </p:cNvPr>
            <p:cNvSpPr/>
            <p:nvPr/>
          </p:nvSpPr>
          <p:spPr bwMode="gray">
            <a:xfrm>
              <a:off x="1280922" y="1761091"/>
              <a:ext cx="7070125" cy="2917412"/>
            </a:xfrm>
            <a:prstGeom prst="rect">
              <a:avLst/>
            </a:prstGeom>
            <a:noFill/>
            <a:ln w="19050" algn="ctr">
              <a:solidFill>
                <a:schemeClr val="tx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Rectangle 72">
              <a:extLst>
                <a:ext uri="{FF2B5EF4-FFF2-40B4-BE49-F238E27FC236}">
                  <a16:creationId xmlns:a16="http://schemas.microsoft.com/office/drawing/2014/main" id="{7CB5B16D-DDF9-4E5B-AFD5-3A17951678A4}"/>
                </a:ext>
              </a:extLst>
            </p:cNvPr>
            <p:cNvSpPr/>
            <p:nvPr/>
          </p:nvSpPr>
          <p:spPr bwMode="gray">
            <a:xfrm>
              <a:off x="1385211" y="1862463"/>
              <a:ext cx="6842179" cy="415808"/>
            </a:xfrm>
            <a:prstGeom prst="rect">
              <a:avLst/>
            </a:prstGeom>
            <a:solidFill>
              <a:schemeClr val="accent3">
                <a:lumMod val="20000"/>
                <a:lumOff val="80000"/>
              </a:schemeClr>
            </a:solidFill>
            <a:ln w="19050" algn="ctr">
              <a:solidFill>
                <a:schemeClr val="accent3"/>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US" sz="1000" b="1" spc="300" dirty="0">
                  <a:solidFill>
                    <a:schemeClr val="accent3"/>
                  </a:solidFill>
                </a:rPr>
                <a:t>ACCELERATE THE </a:t>
              </a:r>
              <a:r>
                <a:rPr lang="hu-HU" sz="1200" b="1" spc="300" dirty="0">
                  <a:solidFill>
                    <a:schemeClr val="accent3"/>
                  </a:solidFill>
                </a:rPr>
                <a:t>ORGANIZATIONAL</a:t>
              </a:r>
              <a:r>
                <a:rPr lang="en-US" sz="1200" b="1" spc="300" dirty="0">
                  <a:solidFill>
                    <a:schemeClr val="accent3"/>
                  </a:solidFill>
                </a:rPr>
                <a:t> STRATEGY</a:t>
              </a:r>
              <a:endParaRPr lang="en-US" sz="1000" b="1" spc="300" dirty="0">
                <a:solidFill>
                  <a:schemeClr val="accent3"/>
                </a:solidFill>
              </a:endParaRPr>
            </a:p>
            <a:p>
              <a:pPr algn="ctr">
                <a:lnSpc>
                  <a:spcPct val="106000"/>
                </a:lnSpc>
                <a:buFont typeface="Wingdings 2" pitchFamily="18" charset="2"/>
                <a:buNone/>
              </a:pPr>
              <a:r>
                <a:rPr lang="en-US" sz="800" dirty="0"/>
                <a:t>Why work is done</a:t>
              </a:r>
            </a:p>
          </p:txBody>
        </p:sp>
        <p:sp>
          <p:nvSpPr>
            <p:cNvPr id="74" name="Rectangle 73">
              <a:extLst>
                <a:ext uri="{FF2B5EF4-FFF2-40B4-BE49-F238E27FC236}">
                  <a16:creationId xmlns:a16="http://schemas.microsoft.com/office/drawing/2014/main" id="{ABF32466-3F16-4B09-8646-9004F97772F1}"/>
                </a:ext>
              </a:extLst>
            </p:cNvPr>
            <p:cNvSpPr/>
            <p:nvPr/>
          </p:nvSpPr>
          <p:spPr bwMode="gray">
            <a:xfrm>
              <a:off x="1385211" y="4498647"/>
              <a:ext cx="6842179" cy="415808"/>
            </a:xfrm>
            <a:prstGeom prst="rect">
              <a:avLst/>
            </a:prstGeom>
            <a:solidFill>
              <a:schemeClr val="accent4">
                <a:lumMod val="20000"/>
                <a:lumOff val="80000"/>
              </a:schemeClr>
            </a:solidFill>
            <a:ln w="19050" algn="ctr">
              <a:solidFill>
                <a:schemeClr val="accent4"/>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US" sz="1000" b="1" spc="300" dirty="0">
                  <a:solidFill>
                    <a:schemeClr val="accent4"/>
                  </a:solidFill>
                </a:rPr>
                <a:t>FUEL WITH </a:t>
              </a:r>
              <a:r>
                <a:rPr lang="en-US" sz="1200" b="1" spc="300" dirty="0">
                  <a:solidFill>
                    <a:schemeClr val="accent4"/>
                  </a:solidFill>
                </a:rPr>
                <a:t>DATA &amp; TECHNOLOGY</a:t>
              </a:r>
              <a:endParaRPr lang="en-US" sz="1000" b="1" spc="300" dirty="0">
                <a:solidFill>
                  <a:schemeClr val="accent4"/>
                </a:solidFill>
              </a:endParaRPr>
            </a:p>
            <a:p>
              <a:pPr algn="ctr">
                <a:lnSpc>
                  <a:spcPct val="106000"/>
                </a:lnSpc>
                <a:buFont typeface="Wingdings 2" pitchFamily="18" charset="2"/>
                <a:buNone/>
              </a:pPr>
              <a:r>
                <a:rPr lang="en-US" sz="800" dirty="0"/>
                <a:t>The data and technologies that enable the work, workforce, and workplace</a:t>
              </a:r>
            </a:p>
          </p:txBody>
        </p:sp>
        <p:sp>
          <p:nvSpPr>
            <p:cNvPr id="75" name="Rectangle 74">
              <a:extLst>
                <a:ext uri="{FF2B5EF4-FFF2-40B4-BE49-F238E27FC236}">
                  <a16:creationId xmlns:a16="http://schemas.microsoft.com/office/drawing/2014/main" id="{E3B14A4B-EF50-46CA-A892-369D46B334F7}"/>
                </a:ext>
              </a:extLst>
            </p:cNvPr>
            <p:cNvSpPr/>
            <p:nvPr/>
          </p:nvSpPr>
          <p:spPr bwMode="gray">
            <a:xfrm>
              <a:off x="1913448" y="2362354"/>
              <a:ext cx="1750976" cy="618618"/>
            </a:xfrm>
            <a:prstGeom prst="rect">
              <a:avLst/>
            </a:prstGeom>
            <a:solidFill>
              <a:schemeClr val="bg1"/>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6"/>
                  </a:solidFill>
                </a:rPr>
                <a:t>CONTEXT</a:t>
              </a:r>
            </a:p>
            <a:p>
              <a:pPr algn="ctr">
                <a:lnSpc>
                  <a:spcPct val="106000"/>
                </a:lnSpc>
                <a:buFont typeface="Wingdings 2" pitchFamily="18" charset="2"/>
                <a:buNone/>
              </a:pPr>
              <a:r>
                <a:rPr lang="en-US" sz="800" dirty="0">
                  <a:solidFill>
                    <a:schemeClr val="accent6"/>
                  </a:solidFill>
                </a:rPr>
                <a:t>What the work is and what value it delivers</a:t>
              </a:r>
            </a:p>
          </p:txBody>
        </p:sp>
        <p:sp>
          <p:nvSpPr>
            <p:cNvPr id="77" name="Rectangle 76">
              <a:extLst>
                <a:ext uri="{FF2B5EF4-FFF2-40B4-BE49-F238E27FC236}">
                  <a16:creationId xmlns:a16="http://schemas.microsoft.com/office/drawing/2014/main" id="{E720E0AD-3085-42CF-BB88-77E4711E4B54}"/>
                </a:ext>
              </a:extLst>
            </p:cNvPr>
            <p:cNvSpPr/>
            <p:nvPr/>
          </p:nvSpPr>
          <p:spPr bwMode="gray">
            <a:xfrm>
              <a:off x="3925977" y="2362354"/>
              <a:ext cx="1750976" cy="618618"/>
            </a:xfrm>
            <a:prstGeom prst="rect">
              <a:avLst/>
            </a:prstGeom>
            <a:solidFill>
              <a:schemeClr val="accent5">
                <a:lumMod val="20000"/>
                <a:lumOff val="80000"/>
              </a:schemeClr>
            </a:solidFill>
            <a:ln w="19050" algn="ctr">
              <a:solidFill>
                <a:schemeClr val="accent5"/>
              </a:solid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pPr>
              <a:r>
                <a:rPr lang="en-US" sz="1000" b="1" dirty="0">
                  <a:solidFill>
                    <a:schemeClr val="accent5"/>
                  </a:solidFill>
                </a:rPr>
                <a:t>CAPABILITIES</a:t>
              </a:r>
            </a:p>
            <a:p>
              <a:pPr algn="ctr">
                <a:lnSpc>
                  <a:spcPct val="106000"/>
                </a:lnSpc>
              </a:pPr>
              <a:r>
                <a:rPr lang="en-US" sz="800" dirty="0"/>
                <a:t>Organizational capabilities required to execute strategy</a:t>
              </a:r>
            </a:p>
          </p:txBody>
        </p:sp>
        <p:sp>
          <p:nvSpPr>
            <p:cNvPr id="78" name="Rectangle 77">
              <a:extLst>
                <a:ext uri="{FF2B5EF4-FFF2-40B4-BE49-F238E27FC236}">
                  <a16:creationId xmlns:a16="http://schemas.microsoft.com/office/drawing/2014/main" id="{DF8398B0-CD80-4870-A8AA-D08814C37A65}"/>
                </a:ext>
              </a:extLst>
            </p:cNvPr>
            <p:cNvSpPr/>
            <p:nvPr/>
          </p:nvSpPr>
          <p:spPr bwMode="gray">
            <a:xfrm>
              <a:off x="5938506" y="2362354"/>
              <a:ext cx="1750976" cy="618618"/>
            </a:xfrm>
            <a:prstGeom prst="rect">
              <a:avLst/>
            </a:prstGeom>
            <a:solidFill>
              <a:schemeClr val="bg1"/>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6"/>
                  </a:solidFill>
                </a:rPr>
                <a:t>FLOW</a:t>
              </a:r>
            </a:p>
            <a:p>
              <a:pPr algn="ctr">
                <a:lnSpc>
                  <a:spcPct val="106000"/>
                </a:lnSpc>
                <a:buFont typeface="Wingdings 2" pitchFamily="18" charset="2"/>
                <a:buNone/>
              </a:pPr>
              <a:r>
                <a:rPr lang="en-US" sz="800" dirty="0">
                  <a:solidFill>
                    <a:schemeClr val="accent6"/>
                  </a:solidFill>
                </a:rPr>
                <a:t>How the work moves across the enterprise and teams</a:t>
              </a:r>
            </a:p>
          </p:txBody>
        </p:sp>
        <p:sp>
          <p:nvSpPr>
            <p:cNvPr id="79" name="Rectangle 78">
              <a:extLst>
                <a:ext uri="{FF2B5EF4-FFF2-40B4-BE49-F238E27FC236}">
                  <a16:creationId xmlns:a16="http://schemas.microsoft.com/office/drawing/2014/main" id="{28237AFF-E376-40F9-83E3-3C0570902539}"/>
                </a:ext>
              </a:extLst>
            </p:cNvPr>
            <p:cNvSpPr/>
            <p:nvPr/>
          </p:nvSpPr>
          <p:spPr bwMode="gray">
            <a:xfrm>
              <a:off x="3924105" y="3089363"/>
              <a:ext cx="1750976" cy="618618"/>
            </a:xfrm>
            <a:prstGeom prst="rect">
              <a:avLst/>
            </a:prstGeom>
            <a:solidFill>
              <a:schemeClr val="accent5">
                <a:lumMod val="20000"/>
                <a:lumOff val="80000"/>
              </a:schemeClr>
            </a:solidFill>
            <a:ln w="19050" algn="ctr">
              <a:solidFill>
                <a:schemeClr val="accent5"/>
              </a:solid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000" b="1" dirty="0">
                  <a:solidFill>
                    <a:schemeClr val="accent5"/>
                  </a:solidFill>
                </a:rPr>
                <a:t>SKILLS</a:t>
              </a:r>
            </a:p>
            <a:p>
              <a:pPr algn="ctr">
                <a:lnSpc>
                  <a:spcPct val="106000"/>
                </a:lnSpc>
                <a:buFont typeface="Wingdings 2" pitchFamily="18" charset="2"/>
                <a:buNone/>
              </a:pPr>
              <a:r>
                <a:rPr lang="en-US" sz="800" dirty="0"/>
                <a:t>How people perform the work, and how to organize the skills to deliver</a:t>
              </a:r>
            </a:p>
          </p:txBody>
        </p:sp>
        <p:sp>
          <p:nvSpPr>
            <p:cNvPr id="80" name="Rectangle 79">
              <a:extLst>
                <a:ext uri="{FF2B5EF4-FFF2-40B4-BE49-F238E27FC236}">
                  <a16:creationId xmlns:a16="http://schemas.microsoft.com/office/drawing/2014/main" id="{E26B0460-0A6C-40B1-BECC-122D94EB7321}"/>
                </a:ext>
              </a:extLst>
            </p:cNvPr>
            <p:cNvSpPr/>
            <p:nvPr/>
          </p:nvSpPr>
          <p:spPr bwMode="gray">
            <a:xfrm>
              <a:off x="1914669" y="3089363"/>
              <a:ext cx="1750976" cy="618618"/>
            </a:xfrm>
            <a:prstGeom prst="rect">
              <a:avLst/>
            </a:prstGeom>
            <a:solidFill>
              <a:schemeClr val="bg1"/>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6"/>
                  </a:solidFill>
                </a:rPr>
                <a:t>MINDSET</a:t>
              </a:r>
            </a:p>
            <a:p>
              <a:pPr algn="ctr">
                <a:lnSpc>
                  <a:spcPct val="106000"/>
                </a:lnSpc>
                <a:buFont typeface="Wingdings 2" pitchFamily="18" charset="2"/>
                <a:buNone/>
              </a:pPr>
              <a:r>
                <a:rPr lang="en-US" sz="800" dirty="0">
                  <a:solidFill>
                    <a:schemeClr val="accent6"/>
                  </a:solidFill>
                </a:rPr>
                <a:t>Incentives and culture </a:t>
              </a:r>
            </a:p>
            <a:p>
              <a:pPr algn="ctr">
                <a:lnSpc>
                  <a:spcPct val="106000"/>
                </a:lnSpc>
                <a:buFont typeface="Wingdings 2" pitchFamily="18" charset="2"/>
                <a:buNone/>
              </a:pPr>
              <a:r>
                <a:rPr lang="en-US" sz="800" dirty="0">
                  <a:solidFill>
                    <a:schemeClr val="accent6"/>
                  </a:solidFill>
                </a:rPr>
                <a:t>needed to deliver</a:t>
              </a:r>
            </a:p>
          </p:txBody>
        </p:sp>
        <p:sp>
          <p:nvSpPr>
            <p:cNvPr id="81" name="Rectangle 80">
              <a:extLst>
                <a:ext uri="{FF2B5EF4-FFF2-40B4-BE49-F238E27FC236}">
                  <a16:creationId xmlns:a16="http://schemas.microsoft.com/office/drawing/2014/main" id="{0AFF00D2-0304-498D-958E-B442BC7EDB28}"/>
                </a:ext>
              </a:extLst>
            </p:cNvPr>
            <p:cNvSpPr/>
            <p:nvPr/>
          </p:nvSpPr>
          <p:spPr bwMode="gray">
            <a:xfrm>
              <a:off x="5938506" y="3089363"/>
              <a:ext cx="1750976" cy="618618"/>
            </a:xfrm>
            <a:prstGeom prst="rect">
              <a:avLst/>
            </a:prstGeom>
            <a:solidFill>
              <a:schemeClr val="bg1"/>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6"/>
                  </a:solidFill>
                </a:rPr>
                <a:t>TALENT</a:t>
              </a:r>
            </a:p>
            <a:p>
              <a:pPr algn="ctr">
                <a:lnSpc>
                  <a:spcPct val="106000"/>
                </a:lnSpc>
                <a:buFont typeface="Wingdings 2" pitchFamily="18" charset="2"/>
                <a:buNone/>
              </a:pPr>
              <a:r>
                <a:rPr lang="en-US" sz="800" dirty="0">
                  <a:solidFill>
                    <a:schemeClr val="accent6"/>
                  </a:solidFill>
                </a:rPr>
                <a:t>How to identify, source, and develop people</a:t>
              </a:r>
            </a:p>
          </p:txBody>
        </p:sp>
        <p:sp>
          <p:nvSpPr>
            <p:cNvPr id="82" name="Rectangle 81">
              <a:extLst>
                <a:ext uri="{FF2B5EF4-FFF2-40B4-BE49-F238E27FC236}">
                  <a16:creationId xmlns:a16="http://schemas.microsoft.com/office/drawing/2014/main" id="{EB9DF20D-B7FF-473A-9346-C3A5A0091C28}"/>
                </a:ext>
              </a:extLst>
            </p:cNvPr>
            <p:cNvSpPr/>
            <p:nvPr/>
          </p:nvSpPr>
          <p:spPr bwMode="gray">
            <a:xfrm>
              <a:off x="1913448" y="3815752"/>
              <a:ext cx="1750976" cy="618618"/>
            </a:xfrm>
            <a:prstGeom prst="rect">
              <a:avLst/>
            </a:prstGeom>
            <a:solidFill>
              <a:schemeClr val="bg1"/>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6"/>
                  </a:solidFill>
                </a:rPr>
                <a:t>LOCATION</a:t>
              </a:r>
            </a:p>
            <a:p>
              <a:pPr algn="ctr">
                <a:lnSpc>
                  <a:spcPct val="106000"/>
                </a:lnSpc>
                <a:buFont typeface="Wingdings 2" pitchFamily="18" charset="2"/>
                <a:buNone/>
              </a:pPr>
              <a:r>
                <a:rPr lang="en-US" sz="800" dirty="0">
                  <a:solidFill>
                    <a:schemeClr val="accent6"/>
                  </a:solidFill>
                </a:rPr>
                <a:t>Where the work will be done</a:t>
              </a:r>
            </a:p>
          </p:txBody>
        </p:sp>
        <p:sp>
          <p:nvSpPr>
            <p:cNvPr id="83" name="Rectangle 82">
              <a:extLst>
                <a:ext uri="{FF2B5EF4-FFF2-40B4-BE49-F238E27FC236}">
                  <a16:creationId xmlns:a16="http://schemas.microsoft.com/office/drawing/2014/main" id="{1DE93B74-518B-40FA-A0F3-88FCD8D54D51}"/>
                </a:ext>
              </a:extLst>
            </p:cNvPr>
            <p:cNvSpPr/>
            <p:nvPr/>
          </p:nvSpPr>
          <p:spPr bwMode="gray">
            <a:xfrm>
              <a:off x="3925977" y="3815752"/>
              <a:ext cx="1750976" cy="618618"/>
            </a:xfrm>
            <a:prstGeom prst="rect">
              <a:avLst/>
            </a:prstGeom>
            <a:solidFill>
              <a:schemeClr val="bg1"/>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6"/>
                  </a:solidFill>
                </a:rPr>
                <a:t>ENVIRONMENT</a:t>
              </a:r>
            </a:p>
            <a:p>
              <a:pPr algn="ctr">
                <a:lnSpc>
                  <a:spcPct val="106000"/>
                </a:lnSpc>
                <a:buFont typeface="Wingdings 2" pitchFamily="18" charset="2"/>
                <a:buNone/>
              </a:pPr>
              <a:r>
                <a:rPr lang="en-US" sz="800" dirty="0">
                  <a:solidFill>
                    <a:schemeClr val="accent6"/>
                  </a:solidFill>
                </a:rPr>
                <a:t>The organizational context in which the  work is done (digital v. physical) </a:t>
              </a:r>
            </a:p>
          </p:txBody>
        </p:sp>
        <p:sp>
          <p:nvSpPr>
            <p:cNvPr id="84" name="Rectangle 83">
              <a:extLst>
                <a:ext uri="{FF2B5EF4-FFF2-40B4-BE49-F238E27FC236}">
                  <a16:creationId xmlns:a16="http://schemas.microsoft.com/office/drawing/2014/main" id="{806858BC-942D-49F1-8E26-00E8D7215578}"/>
                </a:ext>
              </a:extLst>
            </p:cNvPr>
            <p:cNvSpPr/>
            <p:nvPr/>
          </p:nvSpPr>
          <p:spPr bwMode="gray">
            <a:xfrm>
              <a:off x="5938506" y="3815752"/>
              <a:ext cx="1750976" cy="618618"/>
            </a:xfrm>
            <a:prstGeom prst="rect">
              <a:avLst/>
            </a:prstGeom>
            <a:solidFill>
              <a:schemeClr val="bg1"/>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6"/>
                  </a:solidFill>
                </a:rPr>
                <a:t>POLICIES</a:t>
              </a:r>
            </a:p>
            <a:p>
              <a:pPr algn="ctr">
                <a:lnSpc>
                  <a:spcPct val="106000"/>
                </a:lnSpc>
                <a:buFont typeface="Wingdings 2" pitchFamily="18" charset="2"/>
                <a:buNone/>
              </a:pPr>
              <a:r>
                <a:rPr lang="en-US" sz="800" dirty="0">
                  <a:solidFill>
                    <a:schemeClr val="accent6"/>
                  </a:solidFill>
                </a:rPr>
                <a:t>The organizational context that will enable the work and workforce</a:t>
              </a:r>
            </a:p>
          </p:txBody>
        </p:sp>
        <p:sp>
          <p:nvSpPr>
            <p:cNvPr id="87" name="Oval 86">
              <a:extLst>
                <a:ext uri="{FF2B5EF4-FFF2-40B4-BE49-F238E27FC236}">
                  <a16:creationId xmlns:a16="http://schemas.microsoft.com/office/drawing/2014/main" id="{95E91FE3-561A-4AFA-B468-86475C0B7863}"/>
                </a:ext>
              </a:extLst>
            </p:cNvPr>
            <p:cNvSpPr/>
            <p:nvPr/>
          </p:nvSpPr>
          <p:spPr bwMode="gray">
            <a:xfrm>
              <a:off x="1822018" y="2582291"/>
              <a:ext cx="182857" cy="178745"/>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89" name="Straight Connector 88">
              <a:extLst>
                <a:ext uri="{FF2B5EF4-FFF2-40B4-BE49-F238E27FC236}">
                  <a16:creationId xmlns:a16="http://schemas.microsoft.com/office/drawing/2014/main" id="{DF01705E-63B4-4FCF-8549-8F848A752E36}"/>
                </a:ext>
              </a:extLst>
            </p:cNvPr>
            <p:cNvCxnSpPr>
              <a:cxnSpLocks/>
            </p:cNvCxnSpPr>
            <p:nvPr/>
          </p:nvCxnSpPr>
          <p:spPr>
            <a:xfrm flipH="1" flipV="1">
              <a:off x="1123658" y="2671663"/>
              <a:ext cx="698360" cy="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25011802-A48E-438F-947B-93358DC9F11B}"/>
                </a:ext>
              </a:extLst>
            </p:cNvPr>
            <p:cNvSpPr/>
            <p:nvPr/>
          </p:nvSpPr>
          <p:spPr bwMode="gray">
            <a:xfrm>
              <a:off x="84380" y="2540486"/>
              <a:ext cx="1039278" cy="262354"/>
            </a:xfrm>
            <a:prstGeom prst="rect">
              <a:avLst/>
            </a:prstGeom>
            <a:solidFill>
              <a:schemeClr val="bg1"/>
            </a:solid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800" b="1" dirty="0"/>
                <a:t>RE-ARCHITECT WORK</a:t>
              </a:r>
            </a:p>
          </p:txBody>
        </p:sp>
        <p:sp>
          <p:nvSpPr>
            <p:cNvPr id="94" name="Oval 93">
              <a:extLst>
                <a:ext uri="{FF2B5EF4-FFF2-40B4-BE49-F238E27FC236}">
                  <a16:creationId xmlns:a16="http://schemas.microsoft.com/office/drawing/2014/main" id="{86DD4AE1-2B83-4A49-BDDC-946F9B47D672}"/>
                </a:ext>
              </a:extLst>
            </p:cNvPr>
            <p:cNvSpPr/>
            <p:nvPr/>
          </p:nvSpPr>
          <p:spPr bwMode="gray">
            <a:xfrm>
              <a:off x="1828075" y="3309300"/>
              <a:ext cx="182857" cy="178745"/>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95" name="Straight Connector 94">
              <a:extLst>
                <a:ext uri="{FF2B5EF4-FFF2-40B4-BE49-F238E27FC236}">
                  <a16:creationId xmlns:a16="http://schemas.microsoft.com/office/drawing/2014/main" id="{9F3CFE55-FE28-4169-ABEE-F7E8854A5271}"/>
                </a:ext>
              </a:extLst>
            </p:cNvPr>
            <p:cNvCxnSpPr>
              <a:cxnSpLocks/>
            </p:cNvCxnSpPr>
            <p:nvPr/>
          </p:nvCxnSpPr>
          <p:spPr>
            <a:xfrm flipH="1" flipV="1">
              <a:off x="1123658" y="3398517"/>
              <a:ext cx="791011" cy="31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BAE2BDA-60D5-492D-B377-19C67032DD8C}"/>
                </a:ext>
              </a:extLst>
            </p:cNvPr>
            <p:cNvSpPr/>
            <p:nvPr/>
          </p:nvSpPr>
          <p:spPr bwMode="gray">
            <a:xfrm>
              <a:off x="84380" y="3267495"/>
              <a:ext cx="1039278" cy="262354"/>
            </a:xfrm>
            <a:prstGeom prst="rect">
              <a:avLst/>
            </a:prstGeom>
            <a:solidFill>
              <a:schemeClr val="bg1"/>
            </a:solid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800" b="1" dirty="0"/>
                <a:t>UNLEASH THE WORKFORCE</a:t>
              </a:r>
            </a:p>
          </p:txBody>
        </p:sp>
        <p:sp>
          <p:nvSpPr>
            <p:cNvPr id="97" name="Oval 96">
              <a:extLst>
                <a:ext uri="{FF2B5EF4-FFF2-40B4-BE49-F238E27FC236}">
                  <a16:creationId xmlns:a16="http://schemas.microsoft.com/office/drawing/2014/main" id="{A73AEFF9-544A-47DE-87D0-4436639BB0E5}"/>
                </a:ext>
              </a:extLst>
            </p:cNvPr>
            <p:cNvSpPr/>
            <p:nvPr/>
          </p:nvSpPr>
          <p:spPr bwMode="gray">
            <a:xfrm>
              <a:off x="1817182" y="4035689"/>
              <a:ext cx="182857" cy="178745"/>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98" name="Straight Connector 97">
              <a:extLst>
                <a:ext uri="{FF2B5EF4-FFF2-40B4-BE49-F238E27FC236}">
                  <a16:creationId xmlns:a16="http://schemas.microsoft.com/office/drawing/2014/main" id="{9AE0813A-06E6-4A3E-A22E-6BCDF12E71E4}"/>
                </a:ext>
              </a:extLst>
            </p:cNvPr>
            <p:cNvCxnSpPr>
              <a:cxnSpLocks/>
            </p:cNvCxnSpPr>
            <p:nvPr/>
          </p:nvCxnSpPr>
          <p:spPr>
            <a:xfrm flipH="1">
              <a:off x="937711" y="4125061"/>
              <a:ext cx="975736" cy="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18CA40E-3C85-47AF-ADB9-FAFFDFF9A668}"/>
                </a:ext>
              </a:extLst>
            </p:cNvPr>
            <p:cNvSpPr/>
            <p:nvPr/>
          </p:nvSpPr>
          <p:spPr bwMode="gray">
            <a:xfrm>
              <a:off x="84380" y="3993884"/>
              <a:ext cx="1039278" cy="262354"/>
            </a:xfrm>
            <a:prstGeom prst="rect">
              <a:avLst/>
            </a:prstGeom>
            <a:solidFill>
              <a:schemeClr val="bg1"/>
            </a:solid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800" b="1" dirty="0"/>
                <a:t>ADAPT THE WORKPLACE</a:t>
              </a:r>
            </a:p>
          </p:txBody>
        </p:sp>
        <p:sp>
          <p:nvSpPr>
            <p:cNvPr id="117" name="Rectangle 116">
              <a:extLst>
                <a:ext uri="{FF2B5EF4-FFF2-40B4-BE49-F238E27FC236}">
                  <a16:creationId xmlns:a16="http://schemas.microsoft.com/office/drawing/2014/main" id="{BFBC5F44-5888-4EA4-9660-9AF5607F201A}"/>
                </a:ext>
              </a:extLst>
            </p:cNvPr>
            <p:cNvSpPr/>
            <p:nvPr/>
          </p:nvSpPr>
          <p:spPr>
            <a:xfrm>
              <a:off x="1191516" y="1452881"/>
              <a:ext cx="7248936" cy="2473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tx1"/>
                  </a:solidFill>
                </a:rPr>
                <a:t>DELOITTE’S FUTURE OF WORK FRAMEWORK</a:t>
              </a:r>
            </a:p>
          </p:txBody>
        </p:sp>
      </p:grpSp>
      <p:grpSp>
        <p:nvGrpSpPr>
          <p:cNvPr id="15" name="Group 14">
            <a:extLst>
              <a:ext uri="{FF2B5EF4-FFF2-40B4-BE49-F238E27FC236}">
                <a16:creationId xmlns:a16="http://schemas.microsoft.com/office/drawing/2014/main" id="{C818C22A-2FC0-4C59-9EE5-3599109D7013}"/>
              </a:ext>
            </a:extLst>
          </p:cNvPr>
          <p:cNvGrpSpPr/>
          <p:nvPr/>
        </p:nvGrpSpPr>
        <p:grpSpPr>
          <a:xfrm>
            <a:off x="8440453" y="2121268"/>
            <a:ext cx="3281647" cy="3657601"/>
            <a:chOff x="8440453" y="1465307"/>
            <a:chExt cx="3281647" cy="3657601"/>
          </a:xfrm>
          <a:effectLst>
            <a:outerShdw blurRad="50800" dist="38100" dir="8100000" algn="tr" rotWithShape="0">
              <a:prstClr val="black">
                <a:alpha val="40000"/>
              </a:prstClr>
            </a:outerShdw>
          </a:effectLst>
        </p:grpSpPr>
        <p:sp>
          <p:nvSpPr>
            <p:cNvPr id="36" name="Content Placeholder 3">
              <a:extLst>
                <a:ext uri="{FF2B5EF4-FFF2-40B4-BE49-F238E27FC236}">
                  <a16:creationId xmlns:a16="http://schemas.microsoft.com/office/drawing/2014/main" id="{E7E02151-1DF9-450B-ABB1-C20DD3709A1A}"/>
                </a:ext>
              </a:extLst>
            </p:cNvPr>
            <p:cNvSpPr txBox="1">
              <a:spLocks/>
            </p:cNvSpPr>
            <p:nvPr/>
          </p:nvSpPr>
          <p:spPr>
            <a:xfrm>
              <a:off x="8631955" y="1465308"/>
              <a:ext cx="3090145" cy="3657600"/>
            </a:xfrm>
            <a:prstGeom prst="rect">
              <a:avLst/>
            </a:prstGeom>
            <a:solidFill>
              <a:schemeClr val="bg1">
                <a:lumMod val="95000"/>
              </a:schemeClr>
            </a:solidFill>
            <a:ln>
              <a:noFill/>
            </a:ln>
            <a:effectLst/>
          </p:spPr>
          <p:txBody>
            <a:bodyPr vert="horz" lIns="91440" tIns="0" rIns="9144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1200"/>
                </a:spcAft>
              </a:pPr>
              <a:r>
                <a:rPr lang="en-US" sz="1600" b="1" dirty="0"/>
                <a:t>Skills-based Organizations are</a:t>
              </a:r>
              <a:r>
                <a:rPr lang="en-US" sz="1600" i="1" baseline="30000" dirty="0">
                  <a:solidFill>
                    <a:schemeClr val="bg2">
                      <a:lumMod val="90000"/>
                    </a:schemeClr>
                  </a:solidFill>
                  <a:latin typeface="Calibri"/>
                </a:rPr>
                <a:t> </a:t>
              </a:r>
              <a:r>
                <a:rPr lang="en-US" sz="1600" b="1" dirty="0"/>
                <a:t>…</a:t>
              </a:r>
            </a:p>
            <a:p>
              <a:pPr>
                <a:spcAft>
                  <a:spcPts val="1200"/>
                </a:spcAft>
              </a:pPr>
              <a:r>
                <a:rPr lang="en-US" sz="1600" b="1" dirty="0">
                  <a:solidFill>
                    <a:schemeClr val="accent5"/>
                  </a:solidFill>
                </a:rPr>
                <a:t>5.6x</a:t>
              </a:r>
              <a:r>
                <a:rPr lang="en-US" sz="1400" b="1" i="1" dirty="0">
                  <a:solidFill>
                    <a:schemeClr val="bg2">
                      <a:lumMod val="90000"/>
                    </a:schemeClr>
                  </a:solidFill>
                  <a:latin typeface="Calibri"/>
                </a:rPr>
                <a:t> </a:t>
              </a:r>
              <a:r>
                <a:rPr lang="en-US" sz="1400" i="1" baseline="30000" dirty="0">
                  <a:solidFill>
                    <a:schemeClr val="bg2">
                      <a:lumMod val="90000"/>
                    </a:schemeClr>
                  </a:solidFill>
                  <a:latin typeface="Calibri"/>
                </a:rPr>
                <a:t> </a:t>
              </a:r>
              <a:r>
                <a:rPr lang="en-US" sz="1400" dirty="0"/>
                <a:t>more likely to use a common language for skills and capabilities</a:t>
              </a:r>
              <a:r>
                <a:rPr lang="en-US" sz="1000" baseline="30000" dirty="0"/>
                <a:t>1</a:t>
              </a:r>
              <a:endParaRPr lang="en-US" sz="1600" dirty="0"/>
            </a:p>
            <a:p>
              <a:pPr>
                <a:spcAft>
                  <a:spcPts val="1200"/>
                </a:spcAft>
              </a:pPr>
              <a:r>
                <a:rPr lang="en-US" sz="1600" b="1" dirty="0">
                  <a:solidFill>
                    <a:schemeClr val="accent5"/>
                  </a:solidFill>
                </a:rPr>
                <a:t>6.7x</a:t>
              </a:r>
              <a:r>
                <a:rPr lang="en-US" sz="1600" b="1" dirty="0"/>
                <a:t> </a:t>
              </a:r>
              <a:r>
                <a:rPr lang="en-US" sz="1400" dirty="0"/>
                <a:t>more likely to support the workforce to develop missing skills and capabilities</a:t>
              </a:r>
              <a:r>
                <a:rPr lang="en-US" sz="1000" baseline="30000" dirty="0"/>
                <a:t>1</a:t>
              </a:r>
              <a:r>
                <a:rPr lang="en-US" sz="1000" dirty="0"/>
                <a:t> </a:t>
              </a:r>
              <a:endParaRPr lang="en-US" sz="1600" dirty="0"/>
            </a:p>
            <a:p>
              <a:pPr>
                <a:spcAft>
                  <a:spcPts val="1200"/>
                </a:spcAft>
              </a:pPr>
              <a:r>
                <a:rPr lang="en-US" sz="1600" b="1" dirty="0">
                  <a:solidFill>
                    <a:schemeClr val="accent5"/>
                  </a:solidFill>
                </a:rPr>
                <a:t>5.4x</a:t>
              </a:r>
              <a:r>
                <a:rPr lang="en-US" sz="1600" dirty="0"/>
                <a:t> </a:t>
              </a:r>
              <a:r>
                <a:rPr lang="en-US" sz="1400" dirty="0"/>
                <a:t>more likely to leverage new technologies to augment new skills and capabilities</a:t>
              </a:r>
              <a:r>
                <a:rPr lang="en-US" sz="1000" baseline="30000" dirty="0"/>
                <a:t>1</a:t>
              </a:r>
              <a:endParaRPr lang="en-US" sz="1000" dirty="0"/>
            </a:p>
          </p:txBody>
        </p:sp>
        <p:sp>
          <p:nvSpPr>
            <p:cNvPr id="14" name="Trapezoid 13">
              <a:extLst>
                <a:ext uri="{FF2B5EF4-FFF2-40B4-BE49-F238E27FC236}">
                  <a16:creationId xmlns:a16="http://schemas.microsoft.com/office/drawing/2014/main" id="{D3B29133-76BC-472D-AD71-6444A21DC53E}"/>
                </a:ext>
              </a:extLst>
            </p:cNvPr>
            <p:cNvSpPr/>
            <p:nvPr/>
          </p:nvSpPr>
          <p:spPr bwMode="gray">
            <a:xfrm rot="16200000">
              <a:off x="6707406" y="3198354"/>
              <a:ext cx="3657599" cy="191505"/>
            </a:xfrm>
            <a:prstGeom prst="trapezoid">
              <a:avLst>
                <a:gd name="adj" fmla="val 228533"/>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8" name="Rectangle 47">
            <a:extLst>
              <a:ext uri="{FF2B5EF4-FFF2-40B4-BE49-F238E27FC236}">
                <a16:creationId xmlns:a16="http://schemas.microsoft.com/office/drawing/2014/main" id="{E3A904FB-B410-477F-8609-C302CB4013DD}"/>
              </a:ext>
            </a:extLst>
          </p:cNvPr>
          <p:cNvSpPr/>
          <p:nvPr/>
        </p:nvSpPr>
        <p:spPr bwMode="gray">
          <a:xfrm>
            <a:off x="9790992" y="5590306"/>
            <a:ext cx="1931108" cy="175140"/>
          </a:xfrm>
          <a:prstGeom prst="rect">
            <a:avLst/>
          </a:prstGeom>
          <a:noFill/>
          <a:ln w="19050" algn="ctr">
            <a:noFill/>
            <a:miter lim="800000"/>
            <a:headEnd/>
            <a:tailEnd/>
          </a:ln>
        </p:spPr>
        <p:txBody>
          <a:bodyPr wrap="square" lIns="88877" tIns="88877" rIns="88877" bIns="88877" rtlCol="0" anchor="ctr"/>
          <a:lstStyle/>
          <a:p>
            <a:pPr marL="0" marR="0" lvl="0" indent="0" algn="r" defTabSz="1218804" rtl="0" eaLnBrk="1" fontAlgn="auto" latinLnBrk="0" hangingPunct="1">
              <a:lnSpc>
                <a:spcPct val="106000"/>
              </a:lnSpc>
              <a:spcBef>
                <a:spcPts val="0"/>
              </a:spcBef>
              <a:spcAft>
                <a:spcPts val="0"/>
              </a:spcAft>
              <a:buClrTx/>
              <a:buSzTx/>
              <a:buFontTx/>
              <a:buNone/>
              <a:tabLst/>
              <a:defRPr/>
            </a:pPr>
            <a:r>
              <a:rPr kumimoji="0" lang="en-US" sz="800" b="1" i="1" u="none" strike="noStrike" kern="1200" cap="none" spc="0" normalizeH="0" baseline="0" dirty="0">
                <a:ln>
                  <a:noFill/>
                </a:ln>
                <a:solidFill>
                  <a:schemeClr val="accent6"/>
                </a:solidFill>
                <a:effectLst/>
                <a:uLnTx/>
                <a:uFillTx/>
                <a:latin typeface="Calibri"/>
                <a:ea typeface="+mn-ea"/>
                <a:cs typeface="+mn-cs"/>
              </a:rPr>
              <a:t> </a:t>
            </a:r>
            <a:r>
              <a:rPr kumimoji="0" lang="en-US" sz="800" b="1" i="1" u="none" strike="noStrike" kern="1200" cap="none" spc="0" normalizeH="0" baseline="30000" dirty="0">
                <a:ln>
                  <a:noFill/>
                </a:ln>
                <a:solidFill>
                  <a:schemeClr val="accent6"/>
                </a:solidFill>
                <a:effectLst/>
                <a:uLnTx/>
                <a:uFillTx/>
                <a:latin typeface="Calibri"/>
                <a:ea typeface="+mn-ea"/>
                <a:cs typeface="+mn-cs"/>
              </a:rPr>
              <a:t>1</a:t>
            </a:r>
            <a:r>
              <a:rPr kumimoji="0" lang="en-US" sz="800" b="0" i="1" u="none" strike="noStrike" kern="1200" cap="none" spc="0" normalizeH="0" baseline="30000" dirty="0">
                <a:ln>
                  <a:noFill/>
                </a:ln>
                <a:solidFill>
                  <a:schemeClr val="accent6"/>
                </a:solidFill>
                <a:effectLst/>
                <a:uLnTx/>
                <a:uFillTx/>
                <a:latin typeface="Calibri"/>
                <a:ea typeface="+mn-ea"/>
                <a:cs typeface="+mn-cs"/>
              </a:rPr>
              <a:t> </a:t>
            </a:r>
            <a:r>
              <a:rPr kumimoji="0" lang="en-US" sz="800" b="0" i="1" u="none" strike="noStrike" kern="1200" cap="none" spc="0" normalizeH="0" baseline="0" dirty="0">
                <a:ln>
                  <a:noFill/>
                </a:ln>
                <a:solidFill>
                  <a:schemeClr val="accent6"/>
                </a:solidFill>
                <a:effectLst/>
                <a:uLnTx/>
                <a:uFillTx/>
                <a:latin typeface="Calibri"/>
                <a:ea typeface="+mn-ea"/>
                <a:cs typeface="+mn-cs"/>
              </a:rPr>
              <a:t>Deloitte Work Architecture Study, 2020</a:t>
            </a:r>
          </a:p>
        </p:txBody>
      </p:sp>
      <p:sp>
        <p:nvSpPr>
          <p:cNvPr id="9" name="Slide Number Placeholder 4">
            <a:extLst>
              <a:ext uri="{FF2B5EF4-FFF2-40B4-BE49-F238E27FC236}">
                <a16:creationId xmlns:a16="http://schemas.microsoft.com/office/drawing/2014/main" id="{E27C4D55-B80D-1CED-8469-AC02F1E9EF02}"/>
              </a:ext>
            </a:extLst>
          </p:cNvPr>
          <p:cNvSpPr txBox="1">
            <a:spLocks/>
          </p:cNvSpPr>
          <p:nvPr/>
        </p:nvSpPr>
        <p:spPr>
          <a:xfrm>
            <a:off x="10735658" y="6450532"/>
            <a:ext cx="1056118" cy="2520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14403"/>
            <a:fld id="{95CC1D26-A9BD-4BDE-BDD9-08EDBAE96860}" type="slidenum">
              <a:rPr lang="en-US" sz="640" smtClean="0">
                <a:solidFill>
                  <a:srgbClr val="53565A"/>
                </a:solidFill>
                <a:latin typeface="Verdana"/>
              </a:rPr>
              <a:pPr algn="r" defTabSz="714403"/>
              <a:t>176</a:t>
            </a:fld>
            <a:endParaRPr lang="en-US" sz="640" dirty="0">
              <a:solidFill>
                <a:srgbClr val="53565A"/>
              </a:solidFill>
              <a:latin typeface="Verdana"/>
            </a:endParaRPr>
          </a:p>
        </p:txBody>
      </p:sp>
      <p:sp>
        <p:nvSpPr>
          <p:cNvPr id="10" name="Text Placeholder 1">
            <a:extLst>
              <a:ext uri="{FF2B5EF4-FFF2-40B4-BE49-F238E27FC236}">
                <a16:creationId xmlns:a16="http://schemas.microsoft.com/office/drawing/2014/main" id="{E84CAC29-25F3-68FD-FC30-82D4BBFD0704}"/>
              </a:ext>
            </a:extLst>
          </p:cNvPr>
          <p:cNvSpPr txBox="1">
            <a:spLocks/>
          </p:cNvSpPr>
          <p:nvPr/>
        </p:nvSpPr>
        <p:spPr>
          <a:xfrm>
            <a:off x="361695" y="695640"/>
            <a:ext cx="11277600" cy="757255"/>
          </a:xfrm>
          <a:prstGeom prst="rect">
            <a:avLst/>
          </a:prstGeom>
        </p:spPr>
        <p:txBody>
          <a:bodyPr/>
          <a:lstStyle>
            <a:lvl1pPr marL="0" indent="0" algn="l" defTabSz="898646" rtl="0" eaLnBrk="1" latinLnBrk="0" hangingPunct="1">
              <a:spcBef>
                <a:spcPts val="0"/>
              </a:spcBef>
              <a:spcAft>
                <a:spcPts val="982"/>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898646" rtl="0" eaLnBrk="1" latinLnBrk="0"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0"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0"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0"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0"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a:lstStyle>
          <a:p>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In our Future of Work vision capabilities and skills play a key role, therefore becoming a </a:t>
            </a:r>
            <a:r>
              <a:rPr lang="en-US" sz="1800" b="1" dirty="0">
                <a:solidFill>
                  <a:schemeClr val="tx2"/>
                </a:solidFill>
                <a:latin typeface="Calibri" panose="020F0502020204030204" pitchFamily="34" charset="0"/>
                <a:ea typeface="Open Sans Light" panose="020B0306030504020204" pitchFamily="34" charset="0"/>
                <a:cs typeface="Calibri" panose="020F0502020204030204" pitchFamily="34" charset="0"/>
              </a:rPr>
              <a:t>Skills-Based Organization </a:t>
            </a:r>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affords the opportunity to unleash the human potential within the workforce and deliver new and innovative value </a:t>
            </a:r>
          </a:p>
        </p:txBody>
      </p:sp>
      <p:sp>
        <p:nvSpPr>
          <p:cNvPr id="11" name="Title 2">
            <a:extLst>
              <a:ext uri="{FF2B5EF4-FFF2-40B4-BE49-F238E27FC236}">
                <a16:creationId xmlns:a16="http://schemas.microsoft.com/office/drawing/2014/main" id="{E5C4779D-DAF8-2988-FB57-D1CFF5FDD55A}"/>
              </a:ext>
            </a:extLst>
          </p:cNvPr>
          <p:cNvSpPr>
            <a:spLocks noGrp="1"/>
          </p:cNvSpPr>
          <p:nvPr>
            <p:ph type="title"/>
          </p:nvPr>
        </p:nvSpPr>
        <p:spPr>
          <a:xfrm>
            <a:off x="463295" y="345992"/>
            <a:ext cx="11277600" cy="334099"/>
          </a:xfrm>
        </p:spPr>
        <p:txBody>
          <a:bodyPr vert="horz"/>
          <a:lstStyle/>
          <a:p>
            <a:r>
              <a:rPr lang="en-US" sz="2100" dirty="0">
                <a:latin typeface="Calibri" panose="020F0502020204030204" pitchFamily="34" charset="0"/>
                <a:cs typeface="Calibri" panose="020F0502020204030204" pitchFamily="34" charset="0"/>
              </a:rPr>
              <a:t>Capability and skill assessment and development (</a:t>
            </a:r>
            <a:r>
              <a:rPr lang="hu-HU" sz="2100" dirty="0">
                <a:latin typeface="Calibri" panose="020F0502020204030204" pitchFamily="34" charset="0"/>
                <a:cs typeface="Calibri" panose="020F0502020204030204" pitchFamily="34" charset="0"/>
              </a:rPr>
              <a:t>1</a:t>
            </a:r>
            <a:r>
              <a:rPr lang="en-US" sz="2100" dirty="0">
                <a:latin typeface="Calibri" panose="020F0502020204030204" pitchFamily="34" charset="0"/>
                <a:cs typeface="Calibri" panose="020F0502020204030204" pitchFamily="34" charset="0"/>
              </a:rPr>
              <a:t>/</a:t>
            </a:r>
            <a:r>
              <a:rPr lang="hu-HU" sz="2100" dirty="0">
                <a:latin typeface="Calibri" panose="020F0502020204030204" pitchFamily="34" charset="0"/>
                <a:cs typeface="Calibri" panose="020F0502020204030204" pitchFamily="34" charset="0"/>
              </a:rPr>
              <a:t>3</a:t>
            </a:r>
            <a:r>
              <a:rPr lang="en-US" sz="21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4195762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0B4A11A8-C9E9-4560-A234-7CD3240FB613}"/>
              </a:ext>
            </a:extLst>
          </p:cNvPr>
          <p:cNvSpPr/>
          <p:nvPr/>
        </p:nvSpPr>
        <p:spPr>
          <a:xfrm>
            <a:off x="995696" y="1478611"/>
            <a:ext cx="5438293" cy="488107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KILLS “HUB”</a:t>
            </a:r>
          </a:p>
        </p:txBody>
      </p:sp>
      <p:sp>
        <p:nvSpPr>
          <p:cNvPr id="91" name="Rectangle 90">
            <a:extLst>
              <a:ext uri="{FF2B5EF4-FFF2-40B4-BE49-F238E27FC236}">
                <a16:creationId xmlns:a16="http://schemas.microsoft.com/office/drawing/2014/main" id="{C82F3FED-59C3-4E19-8BA2-DBB86B6FC2AB}"/>
              </a:ext>
            </a:extLst>
          </p:cNvPr>
          <p:cNvSpPr/>
          <p:nvPr/>
        </p:nvSpPr>
        <p:spPr>
          <a:xfrm>
            <a:off x="6915572" y="1478611"/>
            <a:ext cx="3897478"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POKE” INTEGRATION POINTS</a:t>
            </a:r>
          </a:p>
        </p:txBody>
      </p:sp>
      <p:sp>
        <p:nvSpPr>
          <p:cNvPr id="3" name="Rectangle 2">
            <a:extLst>
              <a:ext uri="{FF2B5EF4-FFF2-40B4-BE49-F238E27FC236}">
                <a16:creationId xmlns:a16="http://schemas.microsoft.com/office/drawing/2014/main" id="{25964209-3757-4D13-A026-5F822677D922}"/>
              </a:ext>
            </a:extLst>
          </p:cNvPr>
          <p:cNvSpPr/>
          <p:nvPr/>
        </p:nvSpPr>
        <p:spPr bwMode="gray">
          <a:xfrm>
            <a:off x="7490686" y="1867115"/>
            <a:ext cx="5415396" cy="410750"/>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noProof="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Workforce Planning and Job Architecture </a:t>
            </a:r>
            <a:endParaRPr kumimoji="0" lang="en-US" sz="1000" b="0" i="1" u="none" strike="noStrike" kern="1200" cap="none" spc="0" normalizeH="0" baseline="0" noProof="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6" name="Group 85">
            <a:extLst>
              <a:ext uri="{FF2B5EF4-FFF2-40B4-BE49-F238E27FC236}">
                <a16:creationId xmlns:a16="http://schemas.microsoft.com/office/drawing/2014/main" id="{9BCA0C3E-EE6E-4DF0-AFB2-668143C8EF5E}"/>
              </a:ext>
            </a:extLst>
          </p:cNvPr>
          <p:cNvGrpSpPr/>
          <p:nvPr/>
        </p:nvGrpSpPr>
        <p:grpSpPr>
          <a:xfrm>
            <a:off x="5134958" y="2135071"/>
            <a:ext cx="3657600" cy="3657600"/>
            <a:chOff x="4548079" y="1762641"/>
            <a:chExt cx="2697693" cy="2697693"/>
          </a:xfrm>
        </p:grpSpPr>
        <p:sp>
          <p:nvSpPr>
            <p:cNvPr id="87" name="Arc 86">
              <a:extLst>
                <a:ext uri="{FF2B5EF4-FFF2-40B4-BE49-F238E27FC236}">
                  <a16:creationId xmlns:a16="http://schemas.microsoft.com/office/drawing/2014/main" id="{E4C037DF-ACEE-4EB9-868A-94B341118B49}"/>
                </a:ext>
              </a:extLst>
            </p:cNvPr>
            <p:cNvSpPr/>
            <p:nvPr/>
          </p:nvSpPr>
          <p:spPr>
            <a:xfrm rot="602927">
              <a:off x="4548079" y="1762641"/>
              <a:ext cx="2697693" cy="2697693"/>
            </a:xfrm>
            <a:prstGeom prst="arc">
              <a:avLst>
                <a:gd name="adj1" fmla="val 18638933"/>
                <a:gd name="adj2" fmla="val 17228096"/>
              </a:avLst>
            </a:prstGeom>
            <a:ln w="28575" cmpd="sng">
              <a:solidFill>
                <a:srgbClr val="F2F2F2"/>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Open Sans"/>
                <a:ea typeface="+mn-ea"/>
                <a:cs typeface="+mn-cs"/>
              </a:endParaRPr>
            </a:p>
          </p:txBody>
        </p:sp>
        <p:sp>
          <p:nvSpPr>
            <p:cNvPr id="88" name="Arc 87">
              <a:extLst>
                <a:ext uri="{FF2B5EF4-FFF2-40B4-BE49-F238E27FC236}">
                  <a16:creationId xmlns:a16="http://schemas.microsoft.com/office/drawing/2014/main" id="{D325901B-77DE-4239-AB30-0F262D6C73EE}"/>
                </a:ext>
              </a:extLst>
            </p:cNvPr>
            <p:cNvSpPr/>
            <p:nvPr/>
          </p:nvSpPr>
          <p:spPr>
            <a:xfrm rot="3986352" flipH="1">
              <a:off x="4649387" y="1864843"/>
              <a:ext cx="2503383" cy="2503383"/>
            </a:xfrm>
            <a:prstGeom prst="arc">
              <a:avLst>
                <a:gd name="adj1" fmla="val 18638933"/>
                <a:gd name="adj2" fmla="val 17228096"/>
              </a:avLst>
            </a:prstGeom>
            <a:ln w="28575" cmpd="sng">
              <a:solidFill>
                <a:srgbClr val="F2F2F2"/>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5C5C5C"/>
                </a:solidFill>
                <a:effectLst/>
                <a:uLnTx/>
                <a:uFillTx/>
                <a:latin typeface="Open Sans Light" panose="020B0306030504020204" pitchFamily="34" charset="0"/>
                <a:ea typeface="+mn-ea"/>
                <a:cs typeface="+mn-cs"/>
              </a:endParaRPr>
            </a:p>
          </p:txBody>
        </p:sp>
        <p:pic>
          <p:nvPicPr>
            <p:cNvPr id="89" name="Picture 88">
              <a:extLst>
                <a:ext uri="{FF2B5EF4-FFF2-40B4-BE49-F238E27FC236}">
                  <a16:creationId xmlns:a16="http://schemas.microsoft.com/office/drawing/2014/main" id="{AC358D23-710B-44B9-BEDD-3AB570A32931}"/>
                </a:ext>
              </a:extLst>
            </p:cNvPr>
            <p:cNvPicPr>
              <a:picLocks noChangeAspect="1"/>
            </p:cNvPicPr>
            <p:nvPr/>
          </p:nvPicPr>
          <p:blipFill>
            <a:blip r:embed="rId2" cstate="email">
              <a:alphaModFix amt="47000"/>
              <a:extLst>
                <a:ext uri="{28A0092B-C50C-407E-A947-70E740481C1C}">
                  <a14:useLocalDpi xmlns:a14="http://schemas.microsoft.com/office/drawing/2010/main"/>
                </a:ext>
              </a:extLst>
            </a:blip>
            <a:stretch>
              <a:fillRect/>
            </a:stretch>
          </p:blipFill>
          <p:spPr>
            <a:xfrm>
              <a:off x="4809002" y="2028841"/>
              <a:ext cx="2182557" cy="2182557"/>
            </a:xfrm>
            <a:prstGeom prst="rect">
              <a:avLst/>
            </a:prstGeom>
          </p:spPr>
        </p:pic>
      </p:grpSp>
      <p:sp>
        <p:nvSpPr>
          <p:cNvPr id="101" name="Oval 100">
            <a:extLst>
              <a:ext uri="{FF2B5EF4-FFF2-40B4-BE49-F238E27FC236}">
                <a16:creationId xmlns:a16="http://schemas.microsoft.com/office/drawing/2014/main" id="{ECAA9190-8F1D-4D3D-883D-5B86A181DBEB}"/>
              </a:ext>
            </a:extLst>
          </p:cNvPr>
          <p:cNvSpPr/>
          <p:nvPr/>
        </p:nvSpPr>
        <p:spPr bwMode="gray">
          <a:xfrm>
            <a:off x="6506566" y="3410502"/>
            <a:ext cx="914400" cy="938291"/>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 name="Group 5">
            <a:extLst>
              <a:ext uri="{FF2B5EF4-FFF2-40B4-BE49-F238E27FC236}">
                <a16:creationId xmlns:a16="http://schemas.microsoft.com/office/drawing/2014/main" id="{91F4E49E-455D-48F8-BA8E-5349665A2853}"/>
              </a:ext>
            </a:extLst>
          </p:cNvPr>
          <p:cNvGrpSpPr/>
          <p:nvPr/>
        </p:nvGrpSpPr>
        <p:grpSpPr>
          <a:xfrm>
            <a:off x="8271613" y="2852092"/>
            <a:ext cx="453769" cy="459727"/>
            <a:chOff x="6443067" y="2655543"/>
            <a:chExt cx="453769" cy="459727"/>
          </a:xfrm>
        </p:grpSpPr>
        <p:sp>
          <p:nvSpPr>
            <p:cNvPr id="102" name="Oval 101">
              <a:extLst>
                <a:ext uri="{FF2B5EF4-FFF2-40B4-BE49-F238E27FC236}">
                  <a16:creationId xmlns:a16="http://schemas.microsoft.com/office/drawing/2014/main" id="{A9DBA10E-BDE6-4CEF-92E6-689252CD975C}"/>
                </a:ext>
              </a:extLst>
            </p:cNvPr>
            <p:cNvSpPr/>
            <p:nvPr/>
          </p:nvSpPr>
          <p:spPr>
            <a:xfrm>
              <a:off x="6443067" y="2655543"/>
              <a:ext cx="453769" cy="459727"/>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05" name="Freeform 106">
              <a:extLst>
                <a:ext uri="{FF2B5EF4-FFF2-40B4-BE49-F238E27FC236}">
                  <a16:creationId xmlns:a16="http://schemas.microsoft.com/office/drawing/2014/main" id="{A8AE9827-250C-4BA8-9FD8-60FFF99B2C3A}"/>
                </a:ext>
              </a:extLst>
            </p:cNvPr>
            <p:cNvSpPr>
              <a:spLocks noEditPoints="1"/>
            </p:cNvSpPr>
            <p:nvPr/>
          </p:nvSpPr>
          <p:spPr bwMode="auto">
            <a:xfrm>
              <a:off x="6546221" y="2765513"/>
              <a:ext cx="262111" cy="257569"/>
            </a:xfrm>
            <a:custGeom>
              <a:avLst/>
              <a:gdLst>
                <a:gd name="T0" fmla="*/ 234 w 237"/>
                <a:gd name="T1" fmla="*/ 55 h 233"/>
                <a:gd name="T2" fmla="*/ 218 w 237"/>
                <a:gd name="T3" fmla="*/ 53 h 233"/>
                <a:gd name="T4" fmla="*/ 136 w 237"/>
                <a:gd name="T5" fmla="*/ 73 h 233"/>
                <a:gd name="T6" fmla="*/ 226 w 237"/>
                <a:gd name="T7" fmla="*/ 36 h 233"/>
                <a:gd name="T8" fmla="*/ 230 w 237"/>
                <a:gd name="T9" fmla="*/ 31 h 233"/>
                <a:gd name="T10" fmla="*/ 225 w 237"/>
                <a:gd name="T11" fmla="*/ 26 h 233"/>
                <a:gd name="T12" fmla="*/ 132 w 237"/>
                <a:gd name="T13" fmla="*/ 64 h 233"/>
                <a:gd name="T14" fmla="*/ 216 w 237"/>
                <a:gd name="T15" fmla="*/ 10 h 233"/>
                <a:gd name="T16" fmla="*/ 220 w 237"/>
                <a:gd name="T17" fmla="*/ 4 h 233"/>
                <a:gd name="T18" fmla="*/ 214 w 237"/>
                <a:gd name="T19" fmla="*/ 1 h 233"/>
                <a:gd name="T20" fmla="*/ 119 w 237"/>
                <a:gd name="T21" fmla="*/ 68 h 233"/>
                <a:gd name="T22" fmla="*/ 24 w 237"/>
                <a:gd name="T23" fmla="*/ 1 h 233"/>
                <a:gd name="T24" fmla="*/ 18 w 237"/>
                <a:gd name="T25" fmla="*/ 4 h 233"/>
                <a:gd name="T26" fmla="*/ 21 w 237"/>
                <a:gd name="T27" fmla="*/ 10 h 233"/>
                <a:gd name="T28" fmla="*/ 106 w 237"/>
                <a:gd name="T29" fmla="*/ 64 h 233"/>
                <a:gd name="T30" fmla="*/ 12 w 237"/>
                <a:gd name="T31" fmla="*/ 26 h 233"/>
                <a:gd name="T32" fmla="*/ 7 w 237"/>
                <a:gd name="T33" fmla="*/ 31 h 233"/>
                <a:gd name="T34" fmla="*/ 12 w 237"/>
                <a:gd name="T35" fmla="*/ 36 h 233"/>
                <a:gd name="T36" fmla="*/ 102 w 237"/>
                <a:gd name="T37" fmla="*/ 73 h 233"/>
                <a:gd name="T38" fmla="*/ 20 w 237"/>
                <a:gd name="T39" fmla="*/ 53 h 233"/>
                <a:gd name="T40" fmla="*/ 3 w 237"/>
                <a:gd name="T41" fmla="*/ 55 h 233"/>
                <a:gd name="T42" fmla="*/ 0 w 237"/>
                <a:gd name="T43" fmla="*/ 60 h 233"/>
                <a:gd name="T44" fmla="*/ 13 w 237"/>
                <a:gd name="T45" fmla="*/ 197 h 233"/>
                <a:gd name="T46" fmla="*/ 18 w 237"/>
                <a:gd name="T47" fmla="*/ 202 h 233"/>
                <a:gd name="T48" fmla="*/ 18 w 237"/>
                <a:gd name="T49" fmla="*/ 202 h 233"/>
                <a:gd name="T50" fmla="*/ 20 w 237"/>
                <a:gd name="T51" fmla="*/ 202 h 233"/>
                <a:gd name="T52" fmla="*/ 115 w 237"/>
                <a:gd name="T53" fmla="*/ 231 h 233"/>
                <a:gd name="T54" fmla="*/ 116 w 237"/>
                <a:gd name="T55" fmla="*/ 232 h 233"/>
                <a:gd name="T56" fmla="*/ 118 w 237"/>
                <a:gd name="T57" fmla="*/ 233 h 233"/>
                <a:gd name="T58" fmla="*/ 119 w 237"/>
                <a:gd name="T59" fmla="*/ 233 h 233"/>
                <a:gd name="T60" fmla="*/ 119 w 237"/>
                <a:gd name="T61" fmla="*/ 233 h 233"/>
                <a:gd name="T62" fmla="*/ 121 w 237"/>
                <a:gd name="T63" fmla="*/ 232 h 233"/>
                <a:gd name="T64" fmla="*/ 123 w 237"/>
                <a:gd name="T65" fmla="*/ 231 h 233"/>
                <a:gd name="T66" fmla="*/ 217 w 237"/>
                <a:gd name="T67" fmla="*/ 202 h 233"/>
                <a:gd name="T68" fmla="*/ 220 w 237"/>
                <a:gd name="T69" fmla="*/ 202 h 233"/>
                <a:gd name="T70" fmla="*/ 220 w 237"/>
                <a:gd name="T71" fmla="*/ 202 h 233"/>
                <a:gd name="T72" fmla="*/ 224 w 237"/>
                <a:gd name="T73" fmla="*/ 197 h 233"/>
                <a:gd name="T74" fmla="*/ 237 w 237"/>
                <a:gd name="T75" fmla="*/ 60 h 233"/>
                <a:gd name="T76" fmla="*/ 234 w 237"/>
                <a:gd name="T77" fmla="*/ 55 h 233"/>
                <a:gd name="T78" fmla="*/ 10 w 237"/>
                <a:gd name="T79" fmla="*/ 64 h 233"/>
                <a:gd name="T80" fmla="*/ 20 w 237"/>
                <a:gd name="T81" fmla="*/ 63 h 233"/>
                <a:gd name="T82" fmla="*/ 114 w 237"/>
                <a:gd name="T83" fmla="*/ 89 h 233"/>
                <a:gd name="T84" fmla="*/ 114 w 237"/>
                <a:gd name="T85" fmla="*/ 219 h 233"/>
                <a:gd name="T86" fmla="*/ 22 w 237"/>
                <a:gd name="T87" fmla="*/ 192 h 233"/>
                <a:gd name="T88" fmla="*/ 10 w 237"/>
                <a:gd name="T89" fmla="*/ 64 h 233"/>
                <a:gd name="T90" fmla="*/ 215 w 237"/>
                <a:gd name="T91" fmla="*/ 192 h 233"/>
                <a:gd name="T92" fmla="*/ 124 w 237"/>
                <a:gd name="T93" fmla="*/ 219 h 233"/>
                <a:gd name="T94" fmla="*/ 124 w 237"/>
                <a:gd name="T95" fmla="*/ 89 h 233"/>
                <a:gd name="T96" fmla="*/ 218 w 237"/>
                <a:gd name="T97" fmla="*/ 63 h 233"/>
                <a:gd name="T98" fmla="*/ 227 w 237"/>
                <a:gd name="T99" fmla="*/ 64 h 233"/>
                <a:gd name="T100" fmla="*/ 215 w 237"/>
                <a:gd name="T101" fmla="*/ 19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7" h="233">
                  <a:moveTo>
                    <a:pt x="234" y="55"/>
                  </a:moveTo>
                  <a:cubicBezTo>
                    <a:pt x="234" y="55"/>
                    <a:pt x="228" y="53"/>
                    <a:pt x="218" y="53"/>
                  </a:cubicBezTo>
                  <a:cubicBezTo>
                    <a:pt x="202" y="53"/>
                    <a:pt x="176" y="57"/>
                    <a:pt x="136" y="73"/>
                  </a:cubicBezTo>
                  <a:cubicBezTo>
                    <a:pt x="151" y="59"/>
                    <a:pt x="180" y="38"/>
                    <a:pt x="226" y="36"/>
                  </a:cubicBezTo>
                  <a:cubicBezTo>
                    <a:pt x="228" y="36"/>
                    <a:pt x="230" y="34"/>
                    <a:pt x="230" y="31"/>
                  </a:cubicBezTo>
                  <a:cubicBezTo>
                    <a:pt x="230" y="28"/>
                    <a:pt x="228" y="26"/>
                    <a:pt x="225" y="26"/>
                  </a:cubicBezTo>
                  <a:cubicBezTo>
                    <a:pt x="179" y="29"/>
                    <a:pt x="149" y="48"/>
                    <a:pt x="132" y="64"/>
                  </a:cubicBezTo>
                  <a:cubicBezTo>
                    <a:pt x="143" y="45"/>
                    <a:pt x="166" y="21"/>
                    <a:pt x="216" y="10"/>
                  </a:cubicBezTo>
                  <a:cubicBezTo>
                    <a:pt x="219" y="9"/>
                    <a:pt x="220" y="7"/>
                    <a:pt x="220" y="4"/>
                  </a:cubicBezTo>
                  <a:cubicBezTo>
                    <a:pt x="219" y="2"/>
                    <a:pt x="217" y="0"/>
                    <a:pt x="214" y="1"/>
                  </a:cubicBezTo>
                  <a:cubicBezTo>
                    <a:pt x="151" y="15"/>
                    <a:pt x="128" y="48"/>
                    <a:pt x="119" y="68"/>
                  </a:cubicBezTo>
                  <a:cubicBezTo>
                    <a:pt x="110" y="48"/>
                    <a:pt x="86" y="15"/>
                    <a:pt x="24" y="1"/>
                  </a:cubicBezTo>
                  <a:cubicBezTo>
                    <a:pt x="21" y="0"/>
                    <a:pt x="18" y="2"/>
                    <a:pt x="18" y="4"/>
                  </a:cubicBezTo>
                  <a:cubicBezTo>
                    <a:pt x="17" y="7"/>
                    <a:pt x="19" y="9"/>
                    <a:pt x="21" y="10"/>
                  </a:cubicBezTo>
                  <a:cubicBezTo>
                    <a:pt x="72" y="21"/>
                    <a:pt x="95" y="45"/>
                    <a:pt x="106" y="64"/>
                  </a:cubicBezTo>
                  <a:cubicBezTo>
                    <a:pt x="89" y="48"/>
                    <a:pt x="58" y="29"/>
                    <a:pt x="12" y="26"/>
                  </a:cubicBezTo>
                  <a:cubicBezTo>
                    <a:pt x="10" y="26"/>
                    <a:pt x="8" y="28"/>
                    <a:pt x="7" y="31"/>
                  </a:cubicBezTo>
                  <a:cubicBezTo>
                    <a:pt x="7" y="34"/>
                    <a:pt x="9" y="36"/>
                    <a:pt x="12" y="36"/>
                  </a:cubicBezTo>
                  <a:cubicBezTo>
                    <a:pt x="57" y="38"/>
                    <a:pt x="86" y="59"/>
                    <a:pt x="102" y="73"/>
                  </a:cubicBezTo>
                  <a:cubicBezTo>
                    <a:pt x="62" y="57"/>
                    <a:pt x="36" y="53"/>
                    <a:pt x="20" y="53"/>
                  </a:cubicBezTo>
                  <a:cubicBezTo>
                    <a:pt x="9" y="53"/>
                    <a:pt x="4" y="55"/>
                    <a:pt x="3" y="55"/>
                  </a:cubicBezTo>
                  <a:cubicBezTo>
                    <a:pt x="1" y="56"/>
                    <a:pt x="0" y="58"/>
                    <a:pt x="0" y="60"/>
                  </a:cubicBezTo>
                  <a:cubicBezTo>
                    <a:pt x="13" y="197"/>
                    <a:pt x="13" y="197"/>
                    <a:pt x="13" y="197"/>
                  </a:cubicBezTo>
                  <a:cubicBezTo>
                    <a:pt x="13" y="200"/>
                    <a:pt x="15" y="202"/>
                    <a:pt x="18" y="202"/>
                  </a:cubicBezTo>
                  <a:cubicBezTo>
                    <a:pt x="18" y="202"/>
                    <a:pt x="18" y="202"/>
                    <a:pt x="18" y="202"/>
                  </a:cubicBezTo>
                  <a:cubicBezTo>
                    <a:pt x="20" y="202"/>
                    <a:pt x="20" y="202"/>
                    <a:pt x="20" y="202"/>
                  </a:cubicBezTo>
                  <a:cubicBezTo>
                    <a:pt x="66" y="202"/>
                    <a:pt x="106" y="225"/>
                    <a:pt x="115" y="231"/>
                  </a:cubicBezTo>
                  <a:cubicBezTo>
                    <a:pt x="115" y="231"/>
                    <a:pt x="116" y="232"/>
                    <a:pt x="116" y="232"/>
                  </a:cubicBezTo>
                  <a:cubicBezTo>
                    <a:pt x="117" y="232"/>
                    <a:pt x="118" y="233"/>
                    <a:pt x="118" y="233"/>
                  </a:cubicBezTo>
                  <a:cubicBezTo>
                    <a:pt x="119" y="233"/>
                    <a:pt x="119" y="233"/>
                    <a:pt x="119" y="233"/>
                  </a:cubicBezTo>
                  <a:cubicBezTo>
                    <a:pt x="119" y="233"/>
                    <a:pt x="119" y="233"/>
                    <a:pt x="119" y="233"/>
                  </a:cubicBezTo>
                  <a:cubicBezTo>
                    <a:pt x="120" y="233"/>
                    <a:pt x="121" y="232"/>
                    <a:pt x="121" y="232"/>
                  </a:cubicBezTo>
                  <a:cubicBezTo>
                    <a:pt x="122" y="232"/>
                    <a:pt x="123" y="231"/>
                    <a:pt x="123" y="231"/>
                  </a:cubicBezTo>
                  <a:cubicBezTo>
                    <a:pt x="132" y="225"/>
                    <a:pt x="171" y="202"/>
                    <a:pt x="217" y="202"/>
                  </a:cubicBezTo>
                  <a:cubicBezTo>
                    <a:pt x="220" y="202"/>
                    <a:pt x="220" y="202"/>
                    <a:pt x="220" y="202"/>
                  </a:cubicBezTo>
                  <a:cubicBezTo>
                    <a:pt x="220" y="202"/>
                    <a:pt x="220" y="202"/>
                    <a:pt x="220" y="202"/>
                  </a:cubicBezTo>
                  <a:cubicBezTo>
                    <a:pt x="222" y="202"/>
                    <a:pt x="224" y="200"/>
                    <a:pt x="224" y="197"/>
                  </a:cubicBezTo>
                  <a:cubicBezTo>
                    <a:pt x="237" y="60"/>
                    <a:pt x="237" y="60"/>
                    <a:pt x="237" y="60"/>
                  </a:cubicBezTo>
                  <a:cubicBezTo>
                    <a:pt x="237" y="58"/>
                    <a:pt x="236" y="56"/>
                    <a:pt x="234" y="55"/>
                  </a:cubicBezTo>
                  <a:close/>
                  <a:moveTo>
                    <a:pt x="10" y="64"/>
                  </a:moveTo>
                  <a:cubicBezTo>
                    <a:pt x="12" y="63"/>
                    <a:pt x="16" y="63"/>
                    <a:pt x="20" y="63"/>
                  </a:cubicBezTo>
                  <a:cubicBezTo>
                    <a:pt x="37" y="63"/>
                    <a:pt x="66" y="67"/>
                    <a:pt x="114" y="89"/>
                  </a:cubicBezTo>
                  <a:cubicBezTo>
                    <a:pt x="114" y="219"/>
                    <a:pt x="114" y="219"/>
                    <a:pt x="114" y="219"/>
                  </a:cubicBezTo>
                  <a:cubicBezTo>
                    <a:pt x="98" y="210"/>
                    <a:pt x="63" y="193"/>
                    <a:pt x="22" y="192"/>
                  </a:cubicBezTo>
                  <a:lnTo>
                    <a:pt x="10" y="64"/>
                  </a:lnTo>
                  <a:close/>
                  <a:moveTo>
                    <a:pt x="215" y="192"/>
                  </a:moveTo>
                  <a:cubicBezTo>
                    <a:pt x="174" y="193"/>
                    <a:pt x="139" y="210"/>
                    <a:pt x="124" y="219"/>
                  </a:cubicBezTo>
                  <a:cubicBezTo>
                    <a:pt x="124" y="89"/>
                    <a:pt x="124" y="89"/>
                    <a:pt x="124" y="89"/>
                  </a:cubicBezTo>
                  <a:cubicBezTo>
                    <a:pt x="171" y="67"/>
                    <a:pt x="201" y="63"/>
                    <a:pt x="218" y="63"/>
                  </a:cubicBezTo>
                  <a:cubicBezTo>
                    <a:pt x="222" y="63"/>
                    <a:pt x="225" y="63"/>
                    <a:pt x="227" y="64"/>
                  </a:cubicBezTo>
                  <a:lnTo>
                    <a:pt x="215" y="192"/>
                  </a:lnTo>
                  <a:close/>
                </a:path>
              </a:pathLst>
            </a:custGeom>
            <a:solidFill>
              <a:schemeClr val="bg2"/>
            </a:solid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24" name="Rectangle 23">
            <a:extLst>
              <a:ext uri="{FF2B5EF4-FFF2-40B4-BE49-F238E27FC236}">
                <a16:creationId xmlns:a16="http://schemas.microsoft.com/office/drawing/2014/main" id="{9146DD61-56E2-497E-879C-CFD09FC65BAB}"/>
              </a:ext>
            </a:extLst>
          </p:cNvPr>
          <p:cNvSpPr/>
          <p:nvPr/>
        </p:nvSpPr>
        <p:spPr>
          <a:xfrm>
            <a:off x="1500939" y="2903155"/>
            <a:ext cx="4535247" cy="777136"/>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300"/>
              </a:spcAft>
              <a:buClrTx/>
              <a:buSzTx/>
              <a:buFontTx/>
              <a:buNone/>
              <a:tabLst/>
              <a:defRPr/>
            </a:pPr>
            <a:r>
              <a:rPr kumimoji="0" lang="en-US" sz="1200" b="1" i="0" u="none" strike="noStrike" kern="1200" cap="none" spc="300" normalizeH="0" baseline="0" noProof="0" dirty="0">
                <a:ln>
                  <a:noFill/>
                </a:ln>
                <a:solidFill>
                  <a:srgbClr val="00ABAB"/>
                </a:solidFill>
                <a:effectLst/>
                <a:uLnTx/>
                <a:uFillTx/>
                <a:latin typeface="Open Sans" panose="020B0606030504020204" pitchFamily="34" charset="0"/>
                <a:ea typeface="Open Sans" panose="020B0606030504020204" pitchFamily="34" charset="0"/>
                <a:cs typeface="Open Sans" panose="020B0606030504020204" pitchFamily="34" charset="0"/>
              </a:rPr>
              <a:t>SKILLS FRAMEWORK + COMMON LANGUAGE</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common language for skills and framework for skills across the organization – including human and specialized skills</a:t>
            </a:r>
          </a:p>
        </p:txBody>
      </p:sp>
      <p:sp>
        <p:nvSpPr>
          <p:cNvPr id="23" name="Rectangle 22">
            <a:extLst>
              <a:ext uri="{FF2B5EF4-FFF2-40B4-BE49-F238E27FC236}">
                <a16:creationId xmlns:a16="http://schemas.microsoft.com/office/drawing/2014/main" id="{3D6172DE-2CF9-4B11-A03E-9B044F2E676E}"/>
              </a:ext>
            </a:extLst>
          </p:cNvPr>
          <p:cNvSpPr/>
          <p:nvPr/>
        </p:nvSpPr>
        <p:spPr>
          <a:xfrm>
            <a:off x="1500939" y="1873164"/>
            <a:ext cx="4535247" cy="777136"/>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300"/>
              </a:spcAft>
              <a:buClrTx/>
              <a:buSzTx/>
              <a:buFontTx/>
              <a:buNone/>
              <a:tabLst/>
              <a:defRPr/>
            </a:pPr>
            <a:r>
              <a:rPr kumimoji="0" lang="en-US" sz="1200" b="1" i="0" u="none" strike="noStrike" kern="1200" cap="none" spc="300" normalizeH="0" baseline="0" noProof="0" dirty="0">
                <a:ln>
                  <a:noFill/>
                </a:ln>
                <a:solidFill>
                  <a:srgbClr val="00ABAB"/>
                </a:solidFill>
                <a:effectLst/>
                <a:uLnTx/>
                <a:uFillTx/>
                <a:latin typeface="Open Sans" panose="020B0606030504020204" pitchFamily="34" charset="0"/>
                <a:ea typeface="Open Sans" panose="020B0606030504020204" pitchFamily="34" charset="0"/>
                <a:cs typeface="Open Sans" panose="020B0606030504020204" pitchFamily="34" charset="0"/>
              </a:rPr>
              <a:t>TALENT PHILOSOPHY</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shared approach across the organization regarding the value and prioritization of skills as the “red thread” of talent management – and how they will inform key talent decisions</a:t>
            </a:r>
          </a:p>
        </p:txBody>
      </p:sp>
      <p:sp>
        <p:nvSpPr>
          <p:cNvPr id="25" name="Rectangle 24">
            <a:extLst>
              <a:ext uri="{FF2B5EF4-FFF2-40B4-BE49-F238E27FC236}">
                <a16:creationId xmlns:a16="http://schemas.microsoft.com/office/drawing/2014/main" id="{3F46A61E-C529-4887-8D69-DE9719FD9D20}"/>
              </a:ext>
            </a:extLst>
          </p:cNvPr>
          <p:cNvSpPr/>
          <p:nvPr/>
        </p:nvSpPr>
        <p:spPr>
          <a:xfrm>
            <a:off x="1500939" y="4079779"/>
            <a:ext cx="4535247" cy="961802"/>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300"/>
              </a:spcAft>
              <a:buClrTx/>
              <a:buSzTx/>
              <a:buFontTx/>
              <a:buNone/>
              <a:tabLst/>
              <a:defRPr/>
            </a:pPr>
            <a:r>
              <a:rPr kumimoji="0" lang="en-US" sz="1200" b="1" i="0" u="none" strike="noStrike" kern="1200" cap="none" spc="300" normalizeH="0" baseline="0" noProof="0">
                <a:ln>
                  <a:noFill/>
                </a:ln>
                <a:solidFill>
                  <a:srgbClr val="00ABAB"/>
                </a:solidFill>
                <a:effectLst/>
                <a:uLnTx/>
                <a:uFillTx/>
                <a:latin typeface="Open Sans" panose="020B0606030504020204" pitchFamily="34" charset="0"/>
                <a:ea typeface="Open Sans" panose="020B0606030504020204" pitchFamily="34" charset="0"/>
                <a:cs typeface="Open Sans" panose="020B0606030504020204" pitchFamily="34" charset="0"/>
              </a:rPr>
              <a:t>DATA + TECHNOLOGY ENABLERS</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single source of truth regarding skills data – and a common and integrated suite of tools that enable you to sense evolving skill needs, track and evaluate skill levels in your workforce, match skill supply and demand, and develop and grow abilities</a:t>
            </a:r>
          </a:p>
        </p:txBody>
      </p:sp>
      <p:sp>
        <p:nvSpPr>
          <p:cNvPr id="68" name="Rectangle 67">
            <a:extLst>
              <a:ext uri="{FF2B5EF4-FFF2-40B4-BE49-F238E27FC236}">
                <a16:creationId xmlns:a16="http://schemas.microsoft.com/office/drawing/2014/main" id="{C3142818-0FAE-46AA-9AFC-1F976322E065}"/>
              </a:ext>
            </a:extLst>
          </p:cNvPr>
          <p:cNvSpPr/>
          <p:nvPr/>
        </p:nvSpPr>
        <p:spPr bwMode="gray">
          <a:xfrm>
            <a:off x="8243051" y="2346922"/>
            <a:ext cx="5014184" cy="394817"/>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noProof="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Talent Acquisition</a:t>
            </a:r>
            <a:endParaRPr kumimoji="0" lang="en-US" sz="1000" b="0" i="1" u="none" strike="noStrike" kern="1200" cap="none" spc="0" normalizeH="0" baseline="0" noProof="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a:extLst>
              <a:ext uri="{FF2B5EF4-FFF2-40B4-BE49-F238E27FC236}">
                <a16:creationId xmlns:a16="http://schemas.microsoft.com/office/drawing/2014/main" id="{7E4A8909-4474-479A-B6CB-7BC67B750290}"/>
              </a:ext>
            </a:extLst>
          </p:cNvPr>
          <p:cNvSpPr/>
          <p:nvPr/>
        </p:nvSpPr>
        <p:spPr bwMode="gray">
          <a:xfrm>
            <a:off x="8727458" y="2952293"/>
            <a:ext cx="4603394" cy="344509"/>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noProof="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Learning &amp; Development</a:t>
            </a:r>
            <a:endParaRPr kumimoji="0" lang="en-US" sz="1000" b="0" i="1" u="none" strike="noStrike" kern="1200" cap="none" spc="0" normalizeH="0" baseline="0" noProof="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Rectangle 72">
            <a:extLst>
              <a:ext uri="{FF2B5EF4-FFF2-40B4-BE49-F238E27FC236}">
                <a16:creationId xmlns:a16="http://schemas.microsoft.com/office/drawing/2014/main" id="{2D1B095F-1B04-41FF-8A4D-A26F550C288D}"/>
              </a:ext>
            </a:extLst>
          </p:cNvPr>
          <p:cNvSpPr/>
          <p:nvPr/>
        </p:nvSpPr>
        <p:spPr bwMode="gray">
          <a:xfrm>
            <a:off x="8786886" y="4818285"/>
            <a:ext cx="4206240" cy="344509"/>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noProof="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Leadership &amp; Succession Planning</a:t>
            </a:r>
            <a:endParaRPr kumimoji="0" lang="en-US" sz="1000" b="0" i="1" u="none" strike="noStrike" kern="1200" cap="none" spc="0" normalizeH="0" baseline="0" noProof="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Rectangle 73">
            <a:extLst>
              <a:ext uri="{FF2B5EF4-FFF2-40B4-BE49-F238E27FC236}">
                <a16:creationId xmlns:a16="http://schemas.microsoft.com/office/drawing/2014/main" id="{BEFA3648-10ED-4027-912A-2CD26CAA6849}"/>
              </a:ext>
            </a:extLst>
          </p:cNvPr>
          <p:cNvSpPr/>
          <p:nvPr/>
        </p:nvSpPr>
        <p:spPr bwMode="gray">
          <a:xfrm>
            <a:off x="9003860" y="3540204"/>
            <a:ext cx="4206240" cy="344509"/>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noProof="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Opportunity Marketplace</a:t>
            </a:r>
            <a:endParaRPr kumimoji="0" lang="en-US" sz="1000" b="0" i="1" u="none" strike="noStrike" kern="1200" cap="none" spc="0" normalizeH="0" baseline="0" noProof="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Rectangle 74">
            <a:extLst>
              <a:ext uri="{FF2B5EF4-FFF2-40B4-BE49-F238E27FC236}">
                <a16:creationId xmlns:a16="http://schemas.microsoft.com/office/drawing/2014/main" id="{1034A60A-13BC-46D4-9D05-DC90E74DB5D5}"/>
              </a:ext>
            </a:extLst>
          </p:cNvPr>
          <p:cNvSpPr/>
          <p:nvPr/>
        </p:nvSpPr>
        <p:spPr bwMode="gray">
          <a:xfrm>
            <a:off x="7426468" y="5757122"/>
            <a:ext cx="4206240" cy="344509"/>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noProof="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Rewards</a:t>
            </a:r>
            <a:endParaRPr kumimoji="0" lang="en-US" sz="1000" b="0" i="1" u="none" strike="noStrike" kern="1200" cap="none" spc="0" normalizeH="0" baseline="0" noProof="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Rectangle 75">
            <a:extLst>
              <a:ext uri="{FF2B5EF4-FFF2-40B4-BE49-F238E27FC236}">
                <a16:creationId xmlns:a16="http://schemas.microsoft.com/office/drawing/2014/main" id="{509C0AF9-1799-424F-97EC-A051F417C666}"/>
              </a:ext>
            </a:extLst>
          </p:cNvPr>
          <p:cNvSpPr/>
          <p:nvPr/>
        </p:nvSpPr>
        <p:spPr bwMode="gray">
          <a:xfrm>
            <a:off x="8229046" y="5331986"/>
            <a:ext cx="4206240" cy="344509"/>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noProof="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Performance Management</a:t>
            </a:r>
            <a:endParaRPr kumimoji="0" lang="en-US" sz="1000" b="0" i="1" u="none" strike="noStrike" kern="1200" cap="none" spc="0" normalizeH="0" baseline="0" noProof="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Rectangle 76">
            <a:extLst>
              <a:ext uri="{FF2B5EF4-FFF2-40B4-BE49-F238E27FC236}">
                <a16:creationId xmlns:a16="http://schemas.microsoft.com/office/drawing/2014/main" id="{298B3C89-0D9F-4AB5-9888-2A339F933A1D}"/>
              </a:ext>
            </a:extLst>
          </p:cNvPr>
          <p:cNvSpPr/>
          <p:nvPr/>
        </p:nvSpPr>
        <p:spPr bwMode="gray">
          <a:xfrm>
            <a:off x="9037711" y="4220689"/>
            <a:ext cx="4206240" cy="344509"/>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Career Management</a:t>
            </a:r>
            <a:endParaRPr kumimoji="0" lang="en-US" sz="1000" b="0" i="1" u="none" strike="noStrike" kern="1200" cap="none" spc="0" normalizeH="0" baseline="0" dirty="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 name="Group 7">
            <a:extLst>
              <a:ext uri="{FF2B5EF4-FFF2-40B4-BE49-F238E27FC236}">
                <a16:creationId xmlns:a16="http://schemas.microsoft.com/office/drawing/2014/main" id="{0AEE4288-0BF4-4A68-84DA-840B85F16CC7}"/>
              </a:ext>
            </a:extLst>
          </p:cNvPr>
          <p:cNvGrpSpPr/>
          <p:nvPr/>
        </p:nvGrpSpPr>
        <p:grpSpPr>
          <a:xfrm>
            <a:off x="7728996" y="2261092"/>
            <a:ext cx="453769" cy="459727"/>
            <a:chOff x="5915718" y="2064543"/>
            <a:chExt cx="453769" cy="459727"/>
          </a:xfrm>
        </p:grpSpPr>
        <p:sp>
          <p:nvSpPr>
            <p:cNvPr id="90" name="Oval 89">
              <a:extLst>
                <a:ext uri="{FF2B5EF4-FFF2-40B4-BE49-F238E27FC236}">
                  <a16:creationId xmlns:a16="http://schemas.microsoft.com/office/drawing/2014/main" id="{2DBFA932-15CD-4736-8A2F-B17E2504A76F}"/>
                </a:ext>
              </a:extLst>
            </p:cNvPr>
            <p:cNvSpPr/>
            <p:nvPr/>
          </p:nvSpPr>
          <p:spPr>
            <a:xfrm>
              <a:off x="5915718" y="2064543"/>
              <a:ext cx="453769" cy="459727"/>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78" name="Freeform 209">
              <a:extLst>
                <a:ext uri="{FF2B5EF4-FFF2-40B4-BE49-F238E27FC236}">
                  <a16:creationId xmlns:a16="http://schemas.microsoft.com/office/drawing/2014/main" id="{F28213DF-5E89-4781-8D59-899772E037B9}"/>
                </a:ext>
              </a:extLst>
            </p:cNvPr>
            <p:cNvSpPr>
              <a:spLocks noEditPoints="1"/>
            </p:cNvSpPr>
            <p:nvPr/>
          </p:nvSpPr>
          <p:spPr bwMode="auto">
            <a:xfrm>
              <a:off x="6005442" y="2157246"/>
              <a:ext cx="274320" cy="274320"/>
            </a:xfrm>
            <a:custGeom>
              <a:avLst/>
              <a:gdLst>
                <a:gd name="T0" fmla="*/ 140 w 237"/>
                <a:gd name="T1" fmla="*/ 33 h 236"/>
                <a:gd name="T2" fmla="*/ 161 w 237"/>
                <a:gd name="T3" fmla="*/ 33 h 236"/>
                <a:gd name="T4" fmla="*/ 218 w 237"/>
                <a:gd name="T5" fmla="*/ 4 h 236"/>
                <a:gd name="T6" fmla="*/ 233 w 237"/>
                <a:gd name="T7" fmla="*/ 20 h 236"/>
                <a:gd name="T8" fmla="*/ 204 w 237"/>
                <a:gd name="T9" fmla="*/ 76 h 236"/>
                <a:gd name="T10" fmla="*/ 204 w 237"/>
                <a:gd name="T11" fmla="*/ 97 h 236"/>
                <a:gd name="T12" fmla="*/ 147 w 237"/>
                <a:gd name="T13" fmla="*/ 97 h 236"/>
                <a:gd name="T14" fmla="*/ 97 w 237"/>
                <a:gd name="T15" fmla="*/ 147 h 236"/>
                <a:gd name="T16" fmla="*/ 33 w 237"/>
                <a:gd name="T17" fmla="*/ 140 h 236"/>
                <a:gd name="T18" fmla="*/ 33 w 237"/>
                <a:gd name="T19" fmla="*/ 161 h 236"/>
                <a:gd name="T20" fmla="*/ 4 w 237"/>
                <a:gd name="T21" fmla="*/ 218 h 236"/>
                <a:gd name="T22" fmla="*/ 12 w 237"/>
                <a:gd name="T23" fmla="*/ 236 h 236"/>
                <a:gd name="T24" fmla="*/ 76 w 237"/>
                <a:gd name="T25" fmla="*/ 176 h 236"/>
                <a:gd name="T26" fmla="*/ 87 w 237"/>
                <a:gd name="T27" fmla="*/ 215 h 236"/>
                <a:gd name="T28" fmla="*/ 97 w 237"/>
                <a:gd name="T29" fmla="*/ 151 h 236"/>
                <a:gd name="T30" fmla="*/ 97 w 237"/>
                <a:gd name="T31" fmla="*/ 147 h 236"/>
                <a:gd name="T32" fmla="*/ 204 w 237"/>
                <a:gd name="T33" fmla="*/ 161 h 236"/>
                <a:gd name="T34" fmla="*/ 204 w 237"/>
                <a:gd name="T35" fmla="*/ 140 h 236"/>
                <a:gd name="T36" fmla="*/ 141 w 237"/>
                <a:gd name="T37" fmla="*/ 147 h 236"/>
                <a:gd name="T38" fmla="*/ 140 w 237"/>
                <a:gd name="T39" fmla="*/ 151 h 236"/>
                <a:gd name="T40" fmla="*/ 151 w 237"/>
                <a:gd name="T41" fmla="*/ 215 h 236"/>
                <a:gd name="T42" fmla="*/ 161 w 237"/>
                <a:gd name="T43" fmla="*/ 176 h 236"/>
                <a:gd name="T44" fmla="*/ 225 w 237"/>
                <a:gd name="T45" fmla="*/ 236 h 236"/>
                <a:gd name="T46" fmla="*/ 233 w 237"/>
                <a:gd name="T47" fmla="*/ 218 h 236"/>
                <a:gd name="T48" fmla="*/ 87 w 237"/>
                <a:gd name="T49" fmla="*/ 23 h 236"/>
                <a:gd name="T50" fmla="*/ 76 w 237"/>
                <a:gd name="T51" fmla="*/ 61 h 236"/>
                <a:gd name="T52" fmla="*/ 4 w 237"/>
                <a:gd name="T53" fmla="*/ 4 h 236"/>
                <a:gd name="T54" fmla="*/ 61 w 237"/>
                <a:gd name="T55" fmla="*/ 76 h 236"/>
                <a:gd name="T56" fmla="*/ 23 w 237"/>
                <a:gd name="T57" fmla="*/ 87 h 236"/>
                <a:gd name="T58" fmla="*/ 87 w 237"/>
                <a:gd name="T59" fmla="*/ 97 h 236"/>
                <a:gd name="T60" fmla="*/ 97 w 237"/>
                <a:gd name="T61" fmla="*/ 87 h 236"/>
                <a:gd name="T62" fmla="*/ 87 w 237"/>
                <a:gd name="T63" fmla="*/ 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236">
                  <a:moveTo>
                    <a:pt x="140" y="87"/>
                  </a:moveTo>
                  <a:cubicBezTo>
                    <a:pt x="140" y="33"/>
                    <a:pt x="140" y="33"/>
                    <a:pt x="140" y="33"/>
                  </a:cubicBezTo>
                  <a:cubicBezTo>
                    <a:pt x="140" y="27"/>
                    <a:pt x="145" y="23"/>
                    <a:pt x="151" y="23"/>
                  </a:cubicBezTo>
                  <a:cubicBezTo>
                    <a:pt x="157" y="23"/>
                    <a:pt x="161" y="27"/>
                    <a:pt x="161" y="33"/>
                  </a:cubicBezTo>
                  <a:cubicBezTo>
                    <a:pt x="161" y="61"/>
                    <a:pt x="161" y="61"/>
                    <a:pt x="161" y="61"/>
                  </a:cubicBezTo>
                  <a:cubicBezTo>
                    <a:pt x="218" y="4"/>
                    <a:pt x="218" y="4"/>
                    <a:pt x="218" y="4"/>
                  </a:cubicBezTo>
                  <a:cubicBezTo>
                    <a:pt x="222" y="0"/>
                    <a:pt x="229" y="0"/>
                    <a:pt x="233" y="4"/>
                  </a:cubicBezTo>
                  <a:cubicBezTo>
                    <a:pt x="237" y="9"/>
                    <a:pt x="237" y="15"/>
                    <a:pt x="233" y="20"/>
                  </a:cubicBezTo>
                  <a:cubicBezTo>
                    <a:pt x="176" y="76"/>
                    <a:pt x="176" y="76"/>
                    <a:pt x="176" y="76"/>
                  </a:cubicBezTo>
                  <a:cubicBezTo>
                    <a:pt x="204" y="76"/>
                    <a:pt x="204" y="76"/>
                    <a:pt x="204" y="76"/>
                  </a:cubicBezTo>
                  <a:cubicBezTo>
                    <a:pt x="210" y="76"/>
                    <a:pt x="215" y="81"/>
                    <a:pt x="215" y="87"/>
                  </a:cubicBezTo>
                  <a:cubicBezTo>
                    <a:pt x="215" y="93"/>
                    <a:pt x="210" y="97"/>
                    <a:pt x="204" y="97"/>
                  </a:cubicBezTo>
                  <a:cubicBezTo>
                    <a:pt x="151" y="97"/>
                    <a:pt x="151" y="97"/>
                    <a:pt x="151" y="97"/>
                  </a:cubicBezTo>
                  <a:cubicBezTo>
                    <a:pt x="149" y="97"/>
                    <a:pt x="148" y="97"/>
                    <a:pt x="147" y="97"/>
                  </a:cubicBezTo>
                  <a:cubicBezTo>
                    <a:pt x="143" y="95"/>
                    <a:pt x="140" y="91"/>
                    <a:pt x="140" y="87"/>
                  </a:cubicBezTo>
                  <a:close/>
                  <a:moveTo>
                    <a:pt x="97" y="147"/>
                  </a:moveTo>
                  <a:cubicBezTo>
                    <a:pt x="95" y="143"/>
                    <a:pt x="91" y="140"/>
                    <a:pt x="87" y="140"/>
                  </a:cubicBezTo>
                  <a:cubicBezTo>
                    <a:pt x="33" y="140"/>
                    <a:pt x="33" y="140"/>
                    <a:pt x="33" y="140"/>
                  </a:cubicBezTo>
                  <a:cubicBezTo>
                    <a:pt x="27" y="140"/>
                    <a:pt x="23" y="145"/>
                    <a:pt x="23" y="151"/>
                  </a:cubicBezTo>
                  <a:cubicBezTo>
                    <a:pt x="23" y="157"/>
                    <a:pt x="27" y="161"/>
                    <a:pt x="3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04"/>
                    <a:pt x="76" y="204"/>
                    <a:pt x="76" y="204"/>
                  </a:cubicBezTo>
                  <a:cubicBezTo>
                    <a:pt x="76" y="210"/>
                    <a:pt x="81" y="215"/>
                    <a:pt x="87" y="215"/>
                  </a:cubicBezTo>
                  <a:cubicBezTo>
                    <a:pt x="93" y="215"/>
                    <a:pt x="97" y="210"/>
                    <a:pt x="97" y="204"/>
                  </a:cubicBezTo>
                  <a:cubicBezTo>
                    <a:pt x="97" y="151"/>
                    <a:pt x="97" y="151"/>
                    <a:pt x="97" y="151"/>
                  </a:cubicBezTo>
                  <a:cubicBezTo>
                    <a:pt x="97" y="151"/>
                    <a:pt x="97" y="151"/>
                    <a:pt x="97" y="151"/>
                  </a:cubicBezTo>
                  <a:cubicBezTo>
                    <a:pt x="97" y="149"/>
                    <a:pt x="97" y="148"/>
                    <a:pt x="97" y="147"/>
                  </a:cubicBezTo>
                  <a:close/>
                  <a:moveTo>
                    <a:pt x="176" y="161"/>
                  </a:moveTo>
                  <a:cubicBezTo>
                    <a:pt x="204" y="161"/>
                    <a:pt x="204" y="161"/>
                    <a:pt x="204" y="161"/>
                  </a:cubicBezTo>
                  <a:cubicBezTo>
                    <a:pt x="210" y="161"/>
                    <a:pt x="215" y="157"/>
                    <a:pt x="215" y="151"/>
                  </a:cubicBezTo>
                  <a:cubicBezTo>
                    <a:pt x="215" y="145"/>
                    <a:pt x="210" y="140"/>
                    <a:pt x="204" y="140"/>
                  </a:cubicBezTo>
                  <a:cubicBezTo>
                    <a:pt x="151" y="140"/>
                    <a:pt x="151" y="140"/>
                    <a:pt x="151" y="140"/>
                  </a:cubicBezTo>
                  <a:cubicBezTo>
                    <a:pt x="146" y="140"/>
                    <a:pt x="142" y="143"/>
                    <a:pt x="141" y="147"/>
                  </a:cubicBezTo>
                  <a:cubicBezTo>
                    <a:pt x="140" y="148"/>
                    <a:pt x="140" y="149"/>
                    <a:pt x="140" y="151"/>
                  </a:cubicBezTo>
                  <a:cubicBezTo>
                    <a:pt x="140" y="151"/>
                    <a:pt x="140" y="151"/>
                    <a:pt x="140" y="151"/>
                  </a:cubicBezTo>
                  <a:cubicBezTo>
                    <a:pt x="140" y="204"/>
                    <a:pt x="140" y="204"/>
                    <a:pt x="140" y="204"/>
                  </a:cubicBezTo>
                  <a:cubicBezTo>
                    <a:pt x="140" y="210"/>
                    <a:pt x="145" y="215"/>
                    <a:pt x="151" y="215"/>
                  </a:cubicBezTo>
                  <a:cubicBezTo>
                    <a:pt x="157" y="215"/>
                    <a:pt x="161" y="210"/>
                    <a:pt x="161" y="204"/>
                  </a:cubicBezTo>
                  <a:cubicBezTo>
                    <a:pt x="161" y="176"/>
                    <a:pt x="161" y="176"/>
                    <a:pt x="161" y="176"/>
                  </a:cubicBezTo>
                  <a:cubicBezTo>
                    <a:pt x="218" y="233"/>
                    <a:pt x="218" y="233"/>
                    <a:pt x="218" y="233"/>
                  </a:cubicBezTo>
                  <a:cubicBezTo>
                    <a:pt x="220" y="235"/>
                    <a:pt x="223" y="236"/>
                    <a:pt x="225" y="236"/>
                  </a:cubicBezTo>
                  <a:cubicBezTo>
                    <a:pt x="228" y="236"/>
                    <a:pt x="231" y="235"/>
                    <a:pt x="233" y="233"/>
                  </a:cubicBezTo>
                  <a:cubicBezTo>
                    <a:pt x="237" y="229"/>
                    <a:pt x="237" y="222"/>
                    <a:pt x="233" y="218"/>
                  </a:cubicBezTo>
                  <a:lnTo>
                    <a:pt x="176" y="161"/>
                  </a:lnTo>
                  <a:close/>
                  <a:moveTo>
                    <a:pt x="87" y="23"/>
                  </a:moveTo>
                  <a:cubicBezTo>
                    <a:pt x="81" y="23"/>
                    <a:pt x="76" y="27"/>
                    <a:pt x="76" y="3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33" y="76"/>
                    <a:pt x="33" y="76"/>
                    <a:pt x="33" y="76"/>
                  </a:cubicBezTo>
                  <a:cubicBezTo>
                    <a:pt x="27" y="76"/>
                    <a:pt x="23" y="81"/>
                    <a:pt x="23" y="87"/>
                  </a:cubicBezTo>
                  <a:cubicBezTo>
                    <a:pt x="23" y="93"/>
                    <a:pt x="27" y="97"/>
                    <a:pt x="33" y="97"/>
                  </a:cubicBezTo>
                  <a:cubicBezTo>
                    <a:pt x="87" y="97"/>
                    <a:pt x="87" y="97"/>
                    <a:pt x="87" y="97"/>
                  </a:cubicBezTo>
                  <a:cubicBezTo>
                    <a:pt x="88" y="97"/>
                    <a:pt x="89" y="97"/>
                    <a:pt x="91" y="97"/>
                  </a:cubicBezTo>
                  <a:cubicBezTo>
                    <a:pt x="95" y="95"/>
                    <a:pt x="97" y="91"/>
                    <a:pt x="97" y="87"/>
                  </a:cubicBezTo>
                  <a:cubicBezTo>
                    <a:pt x="97" y="33"/>
                    <a:pt x="97" y="33"/>
                    <a:pt x="97" y="33"/>
                  </a:cubicBezTo>
                  <a:cubicBezTo>
                    <a:pt x="97" y="27"/>
                    <a:pt x="93" y="23"/>
                    <a:pt x="87" y="23"/>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Arial"/>
                <a:sym typeface="Arial"/>
              </a:endParaRPr>
            </a:p>
          </p:txBody>
        </p:sp>
      </p:grpSp>
      <p:grpSp>
        <p:nvGrpSpPr>
          <p:cNvPr id="79" name="Group 367">
            <a:extLst>
              <a:ext uri="{FF2B5EF4-FFF2-40B4-BE49-F238E27FC236}">
                <a16:creationId xmlns:a16="http://schemas.microsoft.com/office/drawing/2014/main" id="{B406CDCB-7A9E-430C-96EF-F2F7D3783873}"/>
              </a:ext>
            </a:extLst>
          </p:cNvPr>
          <p:cNvGrpSpPr>
            <a:grpSpLocks noChangeAspect="1"/>
          </p:cNvGrpSpPr>
          <p:nvPr/>
        </p:nvGrpSpPr>
        <p:grpSpPr bwMode="auto">
          <a:xfrm>
            <a:off x="8271600" y="4772578"/>
            <a:ext cx="455858" cy="457201"/>
            <a:chOff x="4383" y="2091"/>
            <a:chExt cx="340" cy="341"/>
          </a:xfrm>
          <a:solidFill>
            <a:schemeClr val="bg2"/>
          </a:solidFill>
        </p:grpSpPr>
        <p:sp>
          <p:nvSpPr>
            <p:cNvPr id="80" name="Freeform 262">
              <a:extLst>
                <a:ext uri="{FF2B5EF4-FFF2-40B4-BE49-F238E27FC236}">
                  <a16:creationId xmlns:a16="http://schemas.microsoft.com/office/drawing/2014/main" id="{0E05DE7B-8579-40E1-B3F2-94482007847F}"/>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Arial"/>
                <a:sym typeface="Arial"/>
              </a:endParaRPr>
            </a:p>
          </p:txBody>
        </p:sp>
        <p:sp>
          <p:nvSpPr>
            <p:cNvPr id="81" name="Freeform 263">
              <a:extLst>
                <a:ext uri="{FF2B5EF4-FFF2-40B4-BE49-F238E27FC236}">
                  <a16:creationId xmlns:a16="http://schemas.microsoft.com/office/drawing/2014/main" id="{7992F1A7-A4DC-4809-BF24-CF3FCDB02ADE}"/>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Arial"/>
                <a:sym typeface="Arial"/>
              </a:endParaRPr>
            </a:p>
          </p:txBody>
        </p:sp>
      </p:grpSp>
      <p:grpSp>
        <p:nvGrpSpPr>
          <p:cNvPr id="7" name="Group 6">
            <a:extLst>
              <a:ext uri="{FF2B5EF4-FFF2-40B4-BE49-F238E27FC236}">
                <a16:creationId xmlns:a16="http://schemas.microsoft.com/office/drawing/2014/main" id="{0B064994-BB71-4758-92F0-150CD820531C}"/>
              </a:ext>
            </a:extLst>
          </p:cNvPr>
          <p:cNvGrpSpPr/>
          <p:nvPr/>
        </p:nvGrpSpPr>
        <p:grpSpPr>
          <a:xfrm>
            <a:off x="8493172" y="4152194"/>
            <a:ext cx="453769" cy="459727"/>
            <a:chOff x="6701901" y="3955645"/>
            <a:chExt cx="453769" cy="459727"/>
          </a:xfrm>
        </p:grpSpPr>
        <p:sp>
          <p:nvSpPr>
            <p:cNvPr id="63" name="Oval 62">
              <a:extLst>
                <a:ext uri="{FF2B5EF4-FFF2-40B4-BE49-F238E27FC236}">
                  <a16:creationId xmlns:a16="http://schemas.microsoft.com/office/drawing/2014/main" id="{929A2780-94D9-4BB6-87AC-A5FEFBC6B597}"/>
                </a:ext>
              </a:extLst>
            </p:cNvPr>
            <p:cNvSpPr/>
            <p:nvPr/>
          </p:nvSpPr>
          <p:spPr>
            <a:xfrm>
              <a:off x="6701901" y="3955645"/>
              <a:ext cx="453769" cy="459727"/>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2" name="Freeform 464">
              <a:extLst>
                <a:ext uri="{FF2B5EF4-FFF2-40B4-BE49-F238E27FC236}">
                  <a16:creationId xmlns:a16="http://schemas.microsoft.com/office/drawing/2014/main" id="{1C6F9E78-E4C5-4385-9422-A3882E934B6D}"/>
                </a:ext>
              </a:extLst>
            </p:cNvPr>
            <p:cNvSpPr>
              <a:spLocks noEditPoints="1"/>
            </p:cNvSpPr>
            <p:nvPr/>
          </p:nvSpPr>
          <p:spPr bwMode="auto">
            <a:xfrm>
              <a:off x="6791625" y="4094068"/>
              <a:ext cx="274320" cy="182880"/>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chemeClr val="bg2"/>
            </a:solid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Arial"/>
                <a:sym typeface="Arial"/>
              </a:endParaRPr>
            </a:p>
          </p:txBody>
        </p:sp>
      </p:grpSp>
      <p:grpSp>
        <p:nvGrpSpPr>
          <p:cNvPr id="83" name="Group 759">
            <a:extLst>
              <a:ext uri="{FF2B5EF4-FFF2-40B4-BE49-F238E27FC236}">
                <a16:creationId xmlns:a16="http://schemas.microsoft.com/office/drawing/2014/main" id="{4E78E97B-C74A-49F5-9B22-FEC6950F55DD}"/>
              </a:ext>
            </a:extLst>
          </p:cNvPr>
          <p:cNvGrpSpPr>
            <a:grpSpLocks noChangeAspect="1"/>
          </p:cNvGrpSpPr>
          <p:nvPr/>
        </p:nvGrpSpPr>
        <p:grpSpPr bwMode="auto">
          <a:xfrm>
            <a:off x="7728996" y="5228269"/>
            <a:ext cx="457200" cy="457200"/>
            <a:chOff x="2732" y="2698"/>
            <a:chExt cx="340" cy="340"/>
          </a:xfrm>
          <a:solidFill>
            <a:schemeClr val="bg2"/>
          </a:solidFill>
        </p:grpSpPr>
        <p:sp>
          <p:nvSpPr>
            <p:cNvPr id="84" name="Freeform 760">
              <a:extLst>
                <a:ext uri="{FF2B5EF4-FFF2-40B4-BE49-F238E27FC236}">
                  <a16:creationId xmlns:a16="http://schemas.microsoft.com/office/drawing/2014/main" id="{F449E4B2-7946-45F0-9BCC-85F2A02EE08C}"/>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Arial"/>
                <a:sym typeface="Arial"/>
              </a:endParaRPr>
            </a:p>
          </p:txBody>
        </p:sp>
        <p:sp>
          <p:nvSpPr>
            <p:cNvPr id="85" name="Freeform 761">
              <a:extLst>
                <a:ext uri="{FF2B5EF4-FFF2-40B4-BE49-F238E27FC236}">
                  <a16:creationId xmlns:a16="http://schemas.microsoft.com/office/drawing/2014/main" id="{CEA52214-3DBF-40BC-AC56-F6148BCEB7F3}"/>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Arial"/>
                <a:sym typeface="Arial"/>
              </a:endParaRPr>
            </a:p>
          </p:txBody>
        </p:sp>
      </p:grpSp>
      <p:grpSp>
        <p:nvGrpSpPr>
          <p:cNvPr id="93" name="Group 669">
            <a:extLst>
              <a:ext uri="{FF2B5EF4-FFF2-40B4-BE49-F238E27FC236}">
                <a16:creationId xmlns:a16="http://schemas.microsoft.com/office/drawing/2014/main" id="{49D4A99F-C019-4171-BA82-FC39CF3823D2}"/>
              </a:ext>
            </a:extLst>
          </p:cNvPr>
          <p:cNvGrpSpPr>
            <a:grpSpLocks noChangeAspect="1"/>
          </p:cNvGrpSpPr>
          <p:nvPr/>
        </p:nvGrpSpPr>
        <p:grpSpPr bwMode="auto">
          <a:xfrm>
            <a:off x="7038317" y="5448556"/>
            <a:ext cx="457200" cy="457200"/>
            <a:chOff x="1910" y="2326"/>
            <a:chExt cx="340" cy="340"/>
          </a:xfrm>
          <a:solidFill>
            <a:schemeClr val="bg2"/>
          </a:solidFill>
        </p:grpSpPr>
        <p:sp>
          <p:nvSpPr>
            <p:cNvPr id="99" name="Freeform 670">
              <a:extLst>
                <a:ext uri="{FF2B5EF4-FFF2-40B4-BE49-F238E27FC236}">
                  <a16:creationId xmlns:a16="http://schemas.microsoft.com/office/drawing/2014/main" id="{1449B1DB-5A68-46A6-A901-E2D7259A982B}"/>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0" name="Freeform 671">
              <a:extLst>
                <a:ext uri="{FF2B5EF4-FFF2-40B4-BE49-F238E27FC236}">
                  <a16:creationId xmlns:a16="http://schemas.microsoft.com/office/drawing/2014/main" id="{0375F670-E627-4DCB-9265-33AEC5BAC9FB}"/>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03" name="Group 726">
            <a:extLst>
              <a:ext uri="{FF2B5EF4-FFF2-40B4-BE49-F238E27FC236}">
                <a16:creationId xmlns:a16="http://schemas.microsoft.com/office/drawing/2014/main" id="{4DAFDC27-F304-4F14-A77B-8D159B913893}"/>
              </a:ext>
            </a:extLst>
          </p:cNvPr>
          <p:cNvGrpSpPr>
            <a:grpSpLocks noChangeAspect="1"/>
          </p:cNvGrpSpPr>
          <p:nvPr/>
        </p:nvGrpSpPr>
        <p:grpSpPr bwMode="auto">
          <a:xfrm>
            <a:off x="7038317" y="1998247"/>
            <a:ext cx="457200" cy="457200"/>
            <a:chOff x="5022" y="3403"/>
            <a:chExt cx="340" cy="340"/>
          </a:xfrm>
          <a:solidFill>
            <a:schemeClr val="bg2"/>
          </a:solidFill>
        </p:grpSpPr>
        <p:sp>
          <p:nvSpPr>
            <p:cNvPr id="107" name="Freeform 727">
              <a:extLst>
                <a:ext uri="{FF2B5EF4-FFF2-40B4-BE49-F238E27FC236}">
                  <a16:creationId xmlns:a16="http://schemas.microsoft.com/office/drawing/2014/main" id="{669E977F-C899-4EB9-85D4-D4177B4B6E0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9" name="Freeform 728">
              <a:extLst>
                <a:ext uri="{FF2B5EF4-FFF2-40B4-BE49-F238E27FC236}">
                  <a16:creationId xmlns:a16="http://schemas.microsoft.com/office/drawing/2014/main" id="{F5DA7316-A2FF-4F9A-988F-EE9635ED90E8}"/>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10" name="Group 192">
            <a:extLst>
              <a:ext uri="{FF2B5EF4-FFF2-40B4-BE49-F238E27FC236}">
                <a16:creationId xmlns:a16="http://schemas.microsoft.com/office/drawing/2014/main" id="{DA67A73C-0819-49B6-97AF-327369BFF5E7}"/>
              </a:ext>
            </a:extLst>
          </p:cNvPr>
          <p:cNvGrpSpPr>
            <a:grpSpLocks noChangeAspect="1"/>
          </p:cNvGrpSpPr>
          <p:nvPr/>
        </p:nvGrpSpPr>
        <p:grpSpPr bwMode="auto">
          <a:xfrm>
            <a:off x="8493172" y="3483858"/>
            <a:ext cx="457200" cy="457200"/>
            <a:chOff x="378" y="713"/>
            <a:chExt cx="340" cy="340"/>
          </a:xfrm>
          <a:solidFill>
            <a:schemeClr val="bg2"/>
          </a:solidFill>
        </p:grpSpPr>
        <p:sp>
          <p:nvSpPr>
            <p:cNvPr id="114" name="Freeform 193">
              <a:extLst>
                <a:ext uri="{FF2B5EF4-FFF2-40B4-BE49-F238E27FC236}">
                  <a16:creationId xmlns:a16="http://schemas.microsoft.com/office/drawing/2014/main" id="{B17D898A-6E2D-4944-8FC9-4F77B2DC5C0F}"/>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5" name="Freeform 194">
              <a:extLst>
                <a:ext uri="{FF2B5EF4-FFF2-40B4-BE49-F238E27FC236}">
                  <a16:creationId xmlns:a16="http://schemas.microsoft.com/office/drawing/2014/main" id="{668A77A2-3228-4A09-8295-7D6F4C0CD913}"/>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solidFill>
                <a:schemeClr val="bg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cxnSp>
        <p:nvCxnSpPr>
          <p:cNvPr id="11" name="Straight Connector 10">
            <a:extLst>
              <a:ext uri="{FF2B5EF4-FFF2-40B4-BE49-F238E27FC236}">
                <a16:creationId xmlns:a16="http://schemas.microsoft.com/office/drawing/2014/main" id="{AF2FE087-FCDB-44AF-9C4F-82F443BC9A6F}"/>
              </a:ext>
            </a:extLst>
          </p:cNvPr>
          <p:cNvCxnSpPr>
            <a:cxnSpLocks/>
          </p:cNvCxnSpPr>
          <p:nvPr/>
        </p:nvCxnSpPr>
        <p:spPr>
          <a:xfrm flipV="1">
            <a:off x="7143204" y="2688364"/>
            <a:ext cx="585792" cy="85184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F74E3990-A2ED-44A2-BC70-98A258CE3127}"/>
              </a:ext>
            </a:extLst>
          </p:cNvPr>
          <p:cNvCxnSpPr>
            <a:cxnSpLocks/>
          </p:cNvCxnSpPr>
          <p:nvPr/>
        </p:nvCxnSpPr>
        <p:spPr>
          <a:xfrm flipV="1">
            <a:off x="7295604" y="3254210"/>
            <a:ext cx="887161" cy="43839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8C0E5EA-4DAF-4547-B8EE-748D4A9BC75A}"/>
              </a:ext>
            </a:extLst>
          </p:cNvPr>
          <p:cNvCxnSpPr>
            <a:cxnSpLocks/>
          </p:cNvCxnSpPr>
          <p:nvPr/>
        </p:nvCxnSpPr>
        <p:spPr>
          <a:xfrm flipV="1">
            <a:off x="6948044" y="2495992"/>
            <a:ext cx="195160" cy="104421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AB15207F-C904-4614-8497-215C02782759}"/>
              </a:ext>
            </a:extLst>
          </p:cNvPr>
          <p:cNvCxnSpPr>
            <a:cxnSpLocks/>
            <a:stCxn id="101" idx="6"/>
          </p:cNvCxnSpPr>
          <p:nvPr/>
        </p:nvCxnSpPr>
        <p:spPr>
          <a:xfrm flipV="1">
            <a:off x="7420966" y="3710894"/>
            <a:ext cx="1010654" cy="16875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AC519405-F967-4B22-9056-46FEDA91AF0F}"/>
              </a:ext>
            </a:extLst>
          </p:cNvPr>
          <p:cNvCxnSpPr>
            <a:cxnSpLocks/>
          </p:cNvCxnSpPr>
          <p:nvPr/>
        </p:nvCxnSpPr>
        <p:spPr>
          <a:xfrm>
            <a:off x="7183310" y="3997429"/>
            <a:ext cx="1197568" cy="35254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AF50FE2-69F5-4D93-86DE-E312A30BBAA3}"/>
              </a:ext>
            </a:extLst>
          </p:cNvPr>
          <p:cNvCxnSpPr>
            <a:cxnSpLocks/>
          </p:cNvCxnSpPr>
          <p:nvPr/>
        </p:nvCxnSpPr>
        <p:spPr>
          <a:xfrm rot="240000">
            <a:off x="7143204" y="4209803"/>
            <a:ext cx="1099847" cy="61911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AFAB9D41-EEF8-4D6C-B30F-A6CD1813FA47}"/>
              </a:ext>
            </a:extLst>
          </p:cNvPr>
          <p:cNvCxnSpPr>
            <a:cxnSpLocks/>
          </p:cNvCxnSpPr>
          <p:nvPr/>
        </p:nvCxnSpPr>
        <p:spPr>
          <a:xfrm>
            <a:off x="7006233" y="4258533"/>
            <a:ext cx="780403" cy="9939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6A1DC64-F56C-4AC6-8C23-93F40416E310}"/>
              </a:ext>
            </a:extLst>
          </p:cNvPr>
          <p:cNvCxnSpPr>
            <a:cxnSpLocks/>
          </p:cNvCxnSpPr>
          <p:nvPr/>
        </p:nvCxnSpPr>
        <p:spPr>
          <a:xfrm>
            <a:off x="6931682" y="4268583"/>
            <a:ext cx="303151" cy="111851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27805AC0-F1CC-4692-AAB9-16325D9B4ADD}"/>
              </a:ext>
            </a:extLst>
          </p:cNvPr>
          <p:cNvSpPr/>
          <p:nvPr/>
        </p:nvSpPr>
        <p:spPr bwMode="gray">
          <a:xfrm>
            <a:off x="6968006" y="6162035"/>
            <a:ext cx="3674553" cy="398999"/>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1" u="none" strike="noStrike" kern="1200" cap="none" spc="0" normalizeH="0" baseline="0" noProof="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 And others, including Organizational Design and Culture</a:t>
            </a:r>
            <a:endParaRPr kumimoji="0" lang="en-US" sz="1000" b="0" i="1" u="none" strike="noStrike" kern="1200" cap="none" spc="0" normalizeH="0" baseline="0" noProof="0">
              <a:ln>
                <a:noFill/>
              </a:ln>
              <a:solidFill>
                <a:prstClr val="black">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Rectangle 55">
            <a:extLst>
              <a:ext uri="{FF2B5EF4-FFF2-40B4-BE49-F238E27FC236}">
                <a16:creationId xmlns:a16="http://schemas.microsoft.com/office/drawing/2014/main" id="{036CFA3D-75C7-4D4B-9800-1B6B75BE74B9}"/>
              </a:ext>
            </a:extLst>
          </p:cNvPr>
          <p:cNvSpPr/>
          <p:nvPr/>
        </p:nvSpPr>
        <p:spPr>
          <a:xfrm>
            <a:off x="1500939" y="5410943"/>
            <a:ext cx="4535247" cy="777136"/>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300"/>
              </a:spcAft>
              <a:buClrTx/>
              <a:buSzTx/>
              <a:buFontTx/>
              <a:buNone/>
              <a:tabLst/>
              <a:defRPr/>
            </a:pPr>
            <a:r>
              <a:rPr kumimoji="0" lang="en-US" sz="1200" b="1" i="0" u="none" strike="noStrike" kern="1200" cap="none" spc="300" normalizeH="0" baseline="0" noProof="0">
                <a:ln>
                  <a:noFill/>
                </a:ln>
                <a:solidFill>
                  <a:srgbClr val="00ABAB"/>
                </a:solidFill>
                <a:effectLst/>
                <a:uLnTx/>
                <a:uFillTx/>
                <a:latin typeface="Open Sans" panose="020B0606030504020204" pitchFamily="34" charset="0"/>
                <a:ea typeface="Open Sans" panose="020B0606030504020204" pitchFamily="34" charset="0"/>
                <a:cs typeface="Open Sans" panose="020B0606030504020204" pitchFamily="34" charset="0"/>
              </a:rPr>
              <a:t>GOVERNANCE</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clear understanding of skills “ownership” across the enterprise, along with the structures and processes to enable skills-based organization adoption and drive change management efforts</a:t>
            </a:r>
          </a:p>
        </p:txBody>
      </p:sp>
      <p:sp>
        <p:nvSpPr>
          <p:cNvPr id="10" name="Oval 9">
            <a:extLst>
              <a:ext uri="{FF2B5EF4-FFF2-40B4-BE49-F238E27FC236}">
                <a16:creationId xmlns:a16="http://schemas.microsoft.com/office/drawing/2014/main" id="{DDB2ECE4-30B8-4AE2-B60F-D6C6F4B994A0}"/>
              </a:ext>
            </a:extLst>
          </p:cNvPr>
          <p:cNvSpPr/>
          <p:nvPr/>
        </p:nvSpPr>
        <p:spPr bwMode="gray">
          <a:xfrm>
            <a:off x="1147094" y="1844008"/>
            <a:ext cx="279568" cy="258144"/>
          </a:xfrm>
          <a:prstGeom prst="ellipse">
            <a:avLst/>
          </a:prstGeom>
          <a:solidFill>
            <a:schemeClr val="accent3"/>
          </a:solidFill>
          <a:ln w="19050" algn="ctr">
            <a:noFill/>
            <a:miter lim="800000"/>
            <a:headEnd/>
            <a:tailEnd/>
          </a:ln>
        </p:spPr>
        <p:txBody>
          <a:bodyPr wrap="square" lIns="0" tIns="0" rIns="0" bIns="0" rtlCol="0" anchor="ctr"/>
          <a:lstStyle/>
          <a:p>
            <a:pPr algn="ctr"/>
            <a:r>
              <a:rPr lang="en-US" sz="1600">
                <a:solidFill>
                  <a:schemeClr val="bg1"/>
                </a:solidFill>
              </a:rPr>
              <a:t>1</a:t>
            </a:r>
          </a:p>
        </p:txBody>
      </p:sp>
      <p:sp>
        <p:nvSpPr>
          <p:cNvPr id="62" name="Oval 61">
            <a:extLst>
              <a:ext uri="{FF2B5EF4-FFF2-40B4-BE49-F238E27FC236}">
                <a16:creationId xmlns:a16="http://schemas.microsoft.com/office/drawing/2014/main" id="{A199B482-35B9-4938-B71F-B66E3BF7C294}"/>
              </a:ext>
            </a:extLst>
          </p:cNvPr>
          <p:cNvSpPr/>
          <p:nvPr/>
        </p:nvSpPr>
        <p:spPr bwMode="gray">
          <a:xfrm>
            <a:off x="1147094" y="2900208"/>
            <a:ext cx="279568" cy="258144"/>
          </a:xfrm>
          <a:prstGeom prst="ellipse">
            <a:avLst/>
          </a:prstGeom>
          <a:solidFill>
            <a:schemeClr val="accent3"/>
          </a:solidFill>
          <a:ln w="19050" algn="ctr">
            <a:noFill/>
            <a:miter lim="800000"/>
            <a:headEnd/>
            <a:tailEnd/>
          </a:ln>
        </p:spPr>
        <p:txBody>
          <a:bodyPr wrap="square" lIns="0" tIns="0" rIns="0" bIns="0" rtlCol="0" anchor="ctr"/>
          <a:lstStyle/>
          <a:p>
            <a:pPr algn="ctr"/>
            <a:r>
              <a:rPr lang="en-US" sz="1600">
                <a:solidFill>
                  <a:schemeClr val="bg1"/>
                </a:solidFill>
              </a:rPr>
              <a:t>2</a:t>
            </a:r>
          </a:p>
        </p:txBody>
      </p:sp>
      <p:sp>
        <p:nvSpPr>
          <p:cNvPr id="64" name="Oval 63">
            <a:extLst>
              <a:ext uri="{FF2B5EF4-FFF2-40B4-BE49-F238E27FC236}">
                <a16:creationId xmlns:a16="http://schemas.microsoft.com/office/drawing/2014/main" id="{B892EE19-6E73-4E00-A37B-2DA5F749EFE6}"/>
              </a:ext>
            </a:extLst>
          </p:cNvPr>
          <p:cNvSpPr/>
          <p:nvPr/>
        </p:nvSpPr>
        <p:spPr bwMode="gray">
          <a:xfrm>
            <a:off x="1147094" y="4054141"/>
            <a:ext cx="279568" cy="258144"/>
          </a:xfrm>
          <a:prstGeom prst="ellipse">
            <a:avLst/>
          </a:prstGeom>
          <a:solidFill>
            <a:schemeClr val="accent3"/>
          </a:solidFill>
          <a:ln w="19050" algn="ctr">
            <a:noFill/>
            <a:miter lim="800000"/>
            <a:headEnd/>
            <a:tailEnd/>
          </a:ln>
        </p:spPr>
        <p:txBody>
          <a:bodyPr wrap="square" lIns="0" tIns="0" rIns="0" bIns="0" rtlCol="0" anchor="ctr"/>
          <a:lstStyle/>
          <a:p>
            <a:pPr algn="ctr"/>
            <a:r>
              <a:rPr lang="en-US" sz="1600">
                <a:solidFill>
                  <a:schemeClr val="bg1"/>
                </a:solidFill>
              </a:rPr>
              <a:t>3</a:t>
            </a:r>
          </a:p>
        </p:txBody>
      </p:sp>
      <p:sp>
        <p:nvSpPr>
          <p:cNvPr id="65" name="Oval 64">
            <a:extLst>
              <a:ext uri="{FF2B5EF4-FFF2-40B4-BE49-F238E27FC236}">
                <a16:creationId xmlns:a16="http://schemas.microsoft.com/office/drawing/2014/main" id="{8672451D-203D-41BD-840D-26066F3EC901}"/>
              </a:ext>
            </a:extLst>
          </p:cNvPr>
          <p:cNvSpPr/>
          <p:nvPr/>
        </p:nvSpPr>
        <p:spPr bwMode="gray">
          <a:xfrm>
            <a:off x="1147094" y="5393217"/>
            <a:ext cx="279568" cy="258144"/>
          </a:xfrm>
          <a:prstGeom prst="ellipse">
            <a:avLst/>
          </a:prstGeom>
          <a:solidFill>
            <a:schemeClr val="accent3"/>
          </a:solidFill>
          <a:ln w="19050" algn="ctr">
            <a:noFill/>
            <a:miter lim="800000"/>
            <a:headEnd/>
            <a:tailEnd/>
          </a:ln>
        </p:spPr>
        <p:txBody>
          <a:bodyPr wrap="square" lIns="0" tIns="0" rIns="0" bIns="0" rtlCol="0" anchor="ctr"/>
          <a:lstStyle/>
          <a:p>
            <a:pPr algn="ctr"/>
            <a:r>
              <a:rPr lang="en-US" sz="1600">
                <a:solidFill>
                  <a:schemeClr val="bg1"/>
                </a:solidFill>
              </a:rPr>
              <a:t>4</a:t>
            </a:r>
          </a:p>
        </p:txBody>
      </p:sp>
      <p:cxnSp>
        <p:nvCxnSpPr>
          <p:cNvPr id="17" name="Straight Connector 16">
            <a:extLst>
              <a:ext uri="{FF2B5EF4-FFF2-40B4-BE49-F238E27FC236}">
                <a16:creationId xmlns:a16="http://schemas.microsoft.com/office/drawing/2014/main" id="{EB10E6D0-A8DF-4D44-8AB2-7CFCF38B266B}"/>
              </a:ext>
            </a:extLst>
          </p:cNvPr>
          <p:cNvCxnSpPr>
            <a:cxnSpLocks/>
          </p:cNvCxnSpPr>
          <p:nvPr/>
        </p:nvCxnSpPr>
        <p:spPr>
          <a:xfrm>
            <a:off x="1438109" y="3865418"/>
            <a:ext cx="4867094" cy="0"/>
          </a:xfrm>
          <a:prstGeom prst="line">
            <a:avLst/>
          </a:prstGeom>
          <a:ln w="12700">
            <a:solidFill>
              <a:srgbClr val="A6A6A6"/>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773314-281A-4DFF-863A-DE46E3EFFC80}"/>
              </a:ext>
            </a:extLst>
          </p:cNvPr>
          <p:cNvCxnSpPr>
            <a:cxnSpLocks/>
          </p:cNvCxnSpPr>
          <p:nvPr/>
        </p:nvCxnSpPr>
        <p:spPr>
          <a:xfrm>
            <a:off x="1438109" y="2769815"/>
            <a:ext cx="4867094" cy="0"/>
          </a:xfrm>
          <a:prstGeom prst="line">
            <a:avLst/>
          </a:prstGeom>
          <a:ln w="12700">
            <a:solidFill>
              <a:srgbClr val="A6A6A6"/>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ABC31EC-BEDA-40C6-918E-26354300F6E5}"/>
              </a:ext>
            </a:extLst>
          </p:cNvPr>
          <p:cNvCxnSpPr>
            <a:cxnSpLocks/>
          </p:cNvCxnSpPr>
          <p:nvPr/>
        </p:nvCxnSpPr>
        <p:spPr>
          <a:xfrm>
            <a:off x="1438109" y="5266266"/>
            <a:ext cx="4867094" cy="0"/>
          </a:xfrm>
          <a:prstGeom prst="line">
            <a:avLst/>
          </a:prstGeom>
          <a:ln w="12700">
            <a:solidFill>
              <a:srgbClr val="A6A6A6"/>
            </a:solidFill>
            <a:prstDash val="sysDot"/>
          </a:ln>
        </p:spPr>
        <p:style>
          <a:lnRef idx="1">
            <a:schemeClr val="accent1"/>
          </a:lnRef>
          <a:fillRef idx="0">
            <a:schemeClr val="accent1"/>
          </a:fillRef>
          <a:effectRef idx="0">
            <a:schemeClr val="accent1"/>
          </a:effectRef>
          <a:fontRef idx="minor">
            <a:schemeClr val="tx1"/>
          </a:fontRef>
        </p:style>
      </p:cxnSp>
      <p:sp>
        <p:nvSpPr>
          <p:cNvPr id="4" name="Slide Number Placeholder 4">
            <a:extLst>
              <a:ext uri="{FF2B5EF4-FFF2-40B4-BE49-F238E27FC236}">
                <a16:creationId xmlns:a16="http://schemas.microsoft.com/office/drawing/2014/main" id="{B96F9454-6330-D8D6-B52A-045B89790F3C}"/>
              </a:ext>
            </a:extLst>
          </p:cNvPr>
          <p:cNvSpPr>
            <a:spLocks noGrp="1"/>
          </p:cNvSpPr>
          <p:nvPr>
            <p:ph type="sldNum" sz="quarter" idx="4"/>
          </p:nvPr>
        </p:nvSpPr>
        <p:spPr>
          <a:xfrm>
            <a:off x="10629330" y="6493064"/>
            <a:ext cx="1056118" cy="252001"/>
          </a:xfrm>
        </p:spPr>
        <p:txBody>
          <a:bodyPr/>
          <a:lstStyle/>
          <a:p>
            <a:pPr defTabSz="714403"/>
            <a:fld id="{95CC1D26-A9BD-4BDE-BDD9-08EDBAE96860}" type="slidenum">
              <a:rPr lang="en-US">
                <a:solidFill>
                  <a:srgbClr val="53565A"/>
                </a:solidFill>
                <a:latin typeface="Verdana"/>
              </a:rPr>
              <a:pPr defTabSz="714403"/>
              <a:t>177</a:t>
            </a:fld>
            <a:endParaRPr lang="en-US" dirty="0">
              <a:solidFill>
                <a:srgbClr val="53565A"/>
              </a:solidFill>
              <a:latin typeface="Verdana"/>
            </a:endParaRPr>
          </a:p>
        </p:txBody>
      </p:sp>
      <p:sp>
        <p:nvSpPr>
          <p:cNvPr id="12" name="Text Placeholder 1">
            <a:extLst>
              <a:ext uri="{FF2B5EF4-FFF2-40B4-BE49-F238E27FC236}">
                <a16:creationId xmlns:a16="http://schemas.microsoft.com/office/drawing/2014/main" id="{EC688D76-BA1C-5828-3813-7CA1CA627240}"/>
              </a:ext>
            </a:extLst>
          </p:cNvPr>
          <p:cNvSpPr txBox="1">
            <a:spLocks/>
          </p:cNvSpPr>
          <p:nvPr/>
        </p:nvSpPr>
        <p:spPr>
          <a:xfrm>
            <a:off x="361695" y="695640"/>
            <a:ext cx="11277600" cy="757255"/>
          </a:xfrm>
          <a:prstGeom prst="rect">
            <a:avLst/>
          </a:prstGeom>
        </p:spPr>
        <p:txBody>
          <a:bodyPr/>
          <a:lstStyle>
            <a:lvl1pPr marL="0" indent="0" algn="l" defTabSz="898646" rtl="0" eaLnBrk="1" latinLnBrk="0" hangingPunct="1">
              <a:spcBef>
                <a:spcPts val="0"/>
              </a:spcBef>
              <a:spcAft>
                <a:spcPts val="982"/>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898646" rtl="0" eaLnBrk="1" latinLnBrk="0"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0"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0"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0"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0"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a:lstStyle>
          <a:p>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Building a </a:t>
            </a:r>
            <a:r>
              <a:rPr lang="en-US" sz="1800" b="1" dirty="0">
                <a:solidFill>
                  <a:schemeClr val="tx2"/>
                </a:solidFill>
                <a:latin typeface="Calibri" panose="020F0502020204030204" pitchFamily="34" charset="0"/>
                <a:ea typeface="Open Sans Light" panose="020B0306030504020204" pitchFamily="34" charset="0"/>
                <a:cs typeface="Calibri" panose="020F0502020204030204" pitchFamily="34" charset="0"/>
              </a:rPr>
              <a:t>Skills-based Organization</a:t>
            </a:r>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 means creating a shared “hub” as well as integrating skills through the “spokes” of various talent processes</a:t>
            </a:r>
          </a:p>
        </p:txBody>
      </p:sp>
      <p:sp>
        <p:nvSpPr>
          <p:cNvPr id="13" name="Title 2">
            <a:extLst>
              <a:ext uri="{FF2B5EF4-FFF2-40B4-BE49-F238E27FC236}">
                <a16:creationId xmlns:a16="http://schemas.microsoft.com/office/drawing/2014/main" id="{AFF8961B-EE7F-8638-D167-ABEE9B26A893}"/>
              </a:ext>
            </a:extLst>
          </p:cNvPr>
          <p:cNvSpPr>
            <a:spLocks noGrp="1"/>
          </p:cNvSpPr>
          <p:nvPr>
            <p:ph type="title"/>
          </p:nvPr>
        </p:nvSpPr>
        <p:spPr>
          <a:xfrm>
            <a:off x="463295" y="345992"/>
            <a:ext cx="11277600" cy="334099"/>
          </a:xfrm>
        </p:spPr>
        <p:txBody>
          <a:bodyPr vert="horz"/>
          <a:lstStyle/>
          <a:p>
            <a:r>
              <a:rPr lang="en-US" sz="2100" dirty="0">
                <a:latin typeface="Calibri" panose="020F0502020204030204" pitchFamily="34" charset="0"/>
                <a:cs typeface="Calibri" panose="020F0502020204030204" pitchFamily="34" charset="0"/>
              </a:rPr>
              <a:t>Capability and skill assessment and development (</a:t>
            </a:r>
            <a:r>
              <a:rPr lang="hu-HU" sz="2100" dirty="0">
                <a:latin typeface="Calibri" panose="020F0502020204030204" pitchFamily="34" charset="0"/>
                <a:cs typeface="Calibri" panose="020F0502020204030204" pitchFamily="34" charset="0"/>
              </a:rPr>
              <a:t>2</a:t>
            </a:r>
            <a:r>
              <a:rPr lang="en-US" sz="2100" dirty="0">
                <a:latin typeface="Calibri" panose="020F0502020204030204" pitchFamily="34" charset="0"/>
                <a:cs typeface="Calibri" panose="020F0502020204030204" pitchFamily="34" charset="0"/>
              </a:rPr>
              <a:t>/</a:t>
            </a:r>
            <a:r>
              <a:rPr lang="hu-HU" sz="2100" dirty="0">
                <a:latin typeface="Calibri" panose="020F0502020204030204" pitchFamily="34" charset="0"/>
                <a:cs typeface="Calibri" panose="020F0502020204030204" pitchFamily="34" charset="0"/>
              </a:rPr>
              <a:t>3</a:t>
            </a:r>
            <a:r>
              <a:rPr lang="en-US" sz="21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022392917"/>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99D0B9-F824-B9F2-97CB-F3CB7409D44C}"/>
              </a:ext>
            </a:extLst>
          </p:cNvPr>
          <p:cNvSpPr/>
          <p:nvPr/>
        </p:nvSpPr>
        <p:spPr bwMode="gray">
          <a:xfrm>
            <a:off x="1539083" y="1967533"/>
            <a:ext cx="8937170" cy="1589315"/>
          </a:xfrm>
          <a:prstGeom prst="rect">
            <a:avLst/>
          </a:prstGeom>
          <a:noFill/>
          <a:ln w="19050" algn="ctr">
            <a:solidFill>
              <a:schemeClr val="accent5"/>
            </a:solidFill>
            <a:miter lim="800000"/>
            <a:headEnd/>
            <a:tailEnd/>
          </a:ln>
        </p:spPr>
        <p:txBody>
          <a:bodyPr wrap="square" lIns="91440" tIns="91440" rIns="91440" bIns="91440" rtlCol="0" anchor="t"/>
          <a:lstStyle/>
          <a:p>
            <a:pPr algn="ctr"/>
            <a:endParaRPr lang="en-US" dirty="0">
              <a:solidFill>
                <a:schemeClr val="accent6">
                  <a:lumMod val="50000"/>
                </a:schemeClr>
              </a:solidFill>
            </a:endParaRPr>
          </a:p>
        </p:txBody>
      </p:sp>
      <p:sp>
        <p:nvSpPr>
          <p:cNvPr id="8" name="Rectangle 7">
            <a:extLst>
              <a:ext uri="{FF2B5EF4-FFF2-40B4-BE49-F238E27FC236}">
                <a16:creationId xmlns:a16="http://schemas.microsoft.com/office/drawing/2014/main" id="{FF750312-7CBE-C5B1-6EE3-E989240AA2B5}"/>
              </a:ext>
            </a:extLst>
          </p:cNvPr>
          <p:cNvSpPr/>
          <p:nvPr/>
        </p:nvSpPr>
        <p:spPr bwMode="gray">
          <a:xfrm>
            <a:off x="1745911" y="2577134"/>
            <a:ext cx="1436914" cy="979714"/>
          </a:xfrm>
          <a:prstGeom prst="rect">
            <a:avLst/>
          </a:prstGeom>
          <a:solidFill>
            <a:schemeClr val="accent3"/>
          </a:solidFill>
          <a:ln w="19050" algn="ctr">
            <a:noFill/>
            <a:miter lim="800000"/>
            <a:headEnd/>
            <a:tailEnd/>
          </a:ln>
        </p:spPr>
        <p:txBody>
          <a:bodyPr wrap="square" lIns="0" tIns="0" rIns="0" bIns="0" rtlCol="0" anchor="ctr"/>
          <a:lstStyle/>
          <a:p>
            <a:pPr algn="ctr"/>
            <a:r>
              <a:rPr lang="en-US" sz="1400" b="1" dirty="0">
                <a:solidFill>
                  <a:schemeClr val="bg1"/>
                </a:solidFill>
              </a:rPr>
              <a:t>Identify Critical Skills </a:t>
            </a:r>
          </a:p>
        </p:txBody>
      </p:sp>
      <p:sp>
        <p:nvSpPr>
          <p:cNvPr id="9" name="Oval 8">
            <a:extLst>
              <a:ext uri="{FF2B5EF4-FFF2-40B4-BE49-F238E27FC236}">
                <a16:creationId xmlns:a16="http://schemas.microsoft.com/office/drawing/2014/main" id="{E5EA790C-08FE-9D41-B44A-1457F36C5EF2}"/>
              </a:ext>
            </a:extLst>
          </p:cNvPr>
          <p:cNvSpPr/>
          <p:nvPr/>
        </p:nvSpPr>
        <p:spPr bwMode="gray">
          <a:xfrm>
            <a:off x="1563031" y="2394254"/>
            <a:ext cx="365760" cy="365760"/>
          </a:xfrm>
          <a:prstGeom prst="ellipse">
            <a:avLst/>
          </a:prstGeom>
          <a:solidFill>
            <a:schemeClr val="bg1"/>
          </a:solidFill>
          <a:ln w="19050" algn="ctr">
            <a:solidFill>
              <a:schemeClr val="accent5"/>
            </a:solidFill>
            <a:miter lim="800000"/>
            <a:headEnd/>
            <a:tailEnd/>
          </a:ln>
        </p:spPr>
        <p:txBody>
          <a:bodyPr wrap="square" lIns="0" tIns="0" rIns="0" bIns="0" rtlCol="0" anchor="ctr"/>
          <a:lstStyle/>
          <a:p>
            <a:pPr algn="ctr"/>
            <a:r>
              <a:rPr lang="en-US" dirty="0">
                <a:solidFill>
                  <a:schemeClr val="accent6"/>
                </a:solidFill>
              </a:rPr>
              <a:t>1</a:t>
            </a:r>
          </a:p>
        </p:txBody>
      </p:sp>
      <p:sp>
        <p:nvSpPr>
          <p:cNvPr id="10" name="Rectangle 9">
            <a:extLst>
              <a:ext uri="{FF2B5EF4-FFF2-40B4-BE49-F238E27FC236}">
                <a16:creationId xmlns:a16="http://schemas.microsoft.com/office/drawing/2014/main" id="{DEEDE44C-3A20-F0F1-5F86-9ABC296EFE87}"/>
              </a:ext>
            </a:extLst>
          </p:cNvPr>
          <p:cNvSpPr/>
          <p:nvPr/>
        </p:nvSpPr>
        <p:spPr bwMode="gray">
          <a:xfrm>
            <a:off x="3474561" y="2577134"/>
            <a:ext cx="1436914" cy="979714"/>
          </a:xfrm>
          <a:prstGeom prst="rect">
            <a:avLst/>
          </a:prstGeom>
          <a:solidFill>
            <a:schemeClr val="accent3"/>
          </a:solidFill>
          <a:ln w="19050" algn="ctr">
            <a:noFill/>
            <a:miter lim="800000"/>
            <a:headEnd/>
            <a:tailEnd/>
          </a:ln>
        </p:spPr>
        <p:txBody>
          <a:bodyPr wrap="square" lIns="0" tIns="0" rIns="0" bIns="0" rtlCol="0" anchor="ctr"/>
          <a:lstStyle/>
          <a:p>
            <a:pPr algn="ctr"/>
            <a:r>
              <a:rPr lang="en-US" sz="1400" b="1" dirty="0">
                <a:solidFill>
                  <a:schemeClr val="bg1"/>
                </a:solidFill>
              </a:rPr>
              <a:t>Develop Skills Framework</a:t>
            </a:r>
          </a:p>
        </p:txBody>
      </p:sp>
      <p:sp>
        <p:nvSpPr>
          <p:cNvPr id="11" name="Oval 10">
            <a:extLst>
              <a:ext uri="{FF2B5EF4-FFF2-40B4-BE49-F238E27FC236}">
                <a16:creationId xmlns:a16="http://schemas.microsoft.com/office/drawing/2014/main" id="{DA9B289E-CE66-A7AF-D7DB-7562DF765B4F}"/>
              </a:ext>
            </a:extLst>
          </p:cNvPr>
          <p:cNvSpPr/>
          <p:nvPr/>
        </p:nvSpPr>
        <p:spPr bwMode="gray">
          <a:xfrm>
            <a:off x="3291681" y="2405140"/>
            <a:ext cx="365760" cy="365760"/>
          </a:xfrm>
          <a:prstGeom prst="ellipse">
            <a:avLst/>
          </a:prstGeom>
          <a:solidFill>
            <a:schemeClr val="bg1"/>
          </a:solidFill>
          <a:ln w="19050" algn="ctr">
            <a:solidFill>
              <a:schemeClr val="accent5"/>
            </a:solidFill>
            <a:miter lim="800000"/>
            <a:headEnd/>
            <a:tailEnd/>
          </a:ln>
        </p:spPr>
        <p:txBody>
          <a:bodyPr wrap="square" lIns="0" tIns="0" rIns="0" bIns="0" rtlCol="0" anchor="ctr"/>
          <a:lstStyle/>
          <a:p>
            <a:pPr algn="ctr"/>
            <a:r>
              <a:rPr lang="en-US" dirty="0">
                <a:solidFill>
                  <a:schemeClr val="accent6"/>
                </a:solidFill>
              </a:rPr>
              <a:t>2</a:t>
            </a:r>
          </a:p>
        </p:txBody>
      </p:sp>
      <p:sp>
        <p:nvSpPr>
          <p:cNvPr id="12" name="Rectangle 11">
            <a:extLst>
              <a:ext uri="{FF2B5EF4-FFF2-40B4-BE49-F238E27FC236}">
                <a16:creationId xmlns:a16="http://schemas.microsoft.com/office/drawing/2014/main" id="{1CF0305B-F95E-A126-C7CE-423C9FC9F8B3}"/>
              </a:ext>
            </a:extLst>
          </p:cNvPr>
          <p:cNvSpPr/>
          <p:nvPr/>
        </p:nvSpPr>
        <p:spPr bwMode="gray">
          <a:xfrm>
            <a:off x="5233691" y="2577134"/>
            <a:ext cx="1436914" cy="979714"/>
          </a:xfrm>
          <a:prstGeom prst="rect">
            <a:avLst/>
          </a:prstGeom>
          <a:solidFill>
            <a:schemeClr val="accent5">
              <a:lumMod val="75000"/>
            </a:schemeClr>
          </a:solidFill>
          <a:ln w="19050" algn="ctr">
            <a:noFill/>
            <a:miter lim="800000"/>
            <a:headEnd/>
            <a:tailEnd/>
          </a:ln>
        </p:spPr>
        <p:txBody>
          <a:bodyPr wrap="square" lIns="0" tIns="0" rIns="0" bIns="0" rtlCol="0" anchor="ctr"/>
          <a:lstStyle/>
          <a:p>
            <a:pPr algn="ctr"/>
            <a:r>
              <a:rPr lang="en-US" sz="1400" b="1" dirty="0">
                <a:solidFill>
                  <a:schemeClr val="bg1"/>
                </a:solidFill>
              </a:rPr>
              <a:t>Deploy Skills Assessment</a:t>
            </a:r>
          </a:p>
        </p:txBody>
      </p:sp>
      <p:sp>
        <p:nvSpPr>
          <p:cNvPr id="13" name="Oval 12">
            <a:extLst>
              <a:ext uri="{FF2B5EF4-FFF2-40B4-BE49-F238E27FC236}">
                <a16:creationId xmlns:a16="http://schemas.microsoft.com/office/drawing/2014/main" id="{A10EE9F9-3B24-92D2-603F-5B55FCE99FDF}"/>
              </a:ext>
            </a:extLst>
          </p:cNvPr>
          <p:cNvSpPr/>
          <p:nvPr/>
        </p:nvSpPr>
        <p:spPr bwMode="gray">
          <a:xfrm>
            <a:off x="5050811" y="2394254"/>
            <a:ext cx="365760" cy="365760"/>
          </a:xfrm>
          <a:prstGeom prst="ellipse">
            <a:avLst/>
          </a:prstGeom>
          <a:solidFill>
            <a:schemeClr val="bg1"/>
          </a:solidFill>
          <a:ln w="19050" algn="ctr">
            <a:solidFill>
              <a:schemeClr val="accent5">
                <a:lumMod val="75000"/>
              </a:schemeClr>
            </a:solidFill>
            <a:miter lim="800000"/>
            <a:headEnd/>
            <a:tailEnd/>
          </a:ln>
        </p:spPr>
        <p:txBody>
          <a:bodyPr wrap="square" lIns="0" tIns="0" rIns="0" bIns="0" rtlCol="0" anchor="ctr"/>
          <a:lstStyle/>
          <a:p>
            <a:pPr algn="ctr"/>
            <a:r>
              <a:rPr lang="en-US" dirty="0">
                <a:solidFill>
                  <a:schemeClr val="accent5">
                    <a:lumMod val="75000"/>
                  </a:schemeClr>
                </a:solidFill>
              </a:rPr>
              <a:t>3</a:t>
            </a:r>
          </a:p>
        </p:txBody>
      </p:sp>
      <p:sp>
        <p:nvSpPr>
          <p:cNvPr id="14" name="Rectangle 13">
            <a:extLst>
              <a:ext uri="{FF2B5EF4-FFF2-40B4-BE49-F238E27FC236}">
                <a16:creationId xmlns:a16="http://schemas.microsoft.com/office/drawing/2014/main" id="{3009C70A-EBE6-18AB-B11D-D5970EEB8AF0}"/>
              </a:ext>
            </a:extLst>
          </p:cNvPr>
          <p:cNvSpPr/>
          <p:nvPr/>
        </p:nvSpPr>
        <p:spPr bwMode="gray">
          <a:xfrm>
            <a:off x="7005885" y="2588020"/>
            <a:ext cx="1436914" cy="979714"/>
          </a:xfrm>
          <a:prstGeom prst="rect">
            <a:avLst/>
          </a:prstGeom>
          <a:solidFill>
            <a:schemeClr val="accent5">
              <a:lumMod val="50000"/>
            </a:schemeClr>
          </a:solidFill>
          <a:ln w="19050" algn="ctr">
            <a:noFill/>
            <a:miter lim="800000"/>
            <a:headEnd/>
            <a:tailEnd/>
          </a:ln>
        </p:spPr>
        <p:txBody>
          <a:bodyPr wrap="square" lIns="0" tIns="0" rIns="0" bIns="0" rtlCol="0" anchor="ctr"/>
          <a:lstStyle/>
          <a:p>
            <a:pPr algn="ctr"/>
            <a:r>
              <a:rPr lang="en-US" sz="1400" b="1" dirty="0">
                <a:solidFill>
                  <a:schemeClr val="bg1"/>
                </a:solidFill>
              </a:rPr>
              <a:t>Define future demand of Skills</a:t>
            </a:r>
          </a:p>
        </p:txBody>
      </p:sp>
      <p:sp>
        <p:nvSpPr>
          <p:cNvPr id="15" name="Oval 14">
            <a:extLst>
              <a:ext uri="{FF2B5EF4-FFF2-40B4-BE49-F238E27FC236}">
                <a16:creationId xmlns:a16="http://schemas.microsoft.com/office/drawing/2014/main" id="{D9B89738-4BAE-1C93-0693-F3CFB43CA7CE}"/>
              </a:ext>
            </a:extLst>
          </p:cNvPr>
          <p:cNvSpPr/>
          <p:nvPr/>
        </p:nvSpPr>
        <p:spPr bwMode="gray">
          <a:xfrm>
            <a:off x="6823005" y="2405140"/>
            <a:ext cx="365760" cy="365760"/>
          </a:xfrm>
          <a:prstGeom prst="ellipse">
            <a:avLst/>
          </a:prstGeom>
          <a:solidFill>
            <a:schemeClr val="bg1"/>
          </a:solidFill>
          <a:ln w="19050" algn="ctr">
            <a:solidFill>
              <a:schemeClr val="accent5">
                <a:lumMod val="50000"/>
              </a:schemeClr>
            </a:solidFill>
            <a:miter lim="800000"/>
            <a:headEnd/>
            <a:tailEnd/>
          </a:ln>
        </p:spPr>
        <p:txBody>
          <a:bodyPr wrap="square" lIns="0" tIns="0" rIns="0" bIns="0" rtlCol="0" anchor="ctr"/>
          <a:lstStyle/>
          <a:p>
            <a:pPr algn="ctr"/>
            <a:r>
              <a:rPr lang="en-US" dirty="0">
                <a:solidFill>
                  <a:schemeClr val="accent5">
                    <a:lumMod val="50000"/>
                  </a:schemeClr>
                </a:solidFill>
              </a:rPr>
              <a:t>4</a:t>
            </a:r>
          </a:p>
        </p:txBody>
      </p:sp>
      <p:sp>
        <p:nvSpPr>
          <p:cNvPr id="16" name="Rectangle 15">
            <a:extLst>
              <a:ext uri="{FF2B5EF4-FFF2-40B4-BE49-F238E27FC236}">
                <a16:creationId xmlns:a16="http://schemas.microsoft.com/office/drawing/2014/main" id="{511CF641-50E9-1584-6F54-2D7751B52D13}"/>
              </a:ext>
            </a:extLst>
          </p:cNvPr>
          <p:cNvSpPr/>
          <p:nvPr/>
        </p:nvSpPr>
        <p:spPr bwMode="gray">
          <a:xfrm>
            <a:off x="8788965" y="2588020"/>
            <a:ext cx="1436914" cy="979714"/>
          </a:xfrm>
          <a:prstGeom prst="rect">
            <a:avLst/>
          </a:prstGeom>
          <a:solidFill>
            <a:schemeClr val="accent5">
              <a:lumMod val="50000"/>
            </a:schemeClr>
          </a:solidFill>
          <a:ln w="19050" algn="ctr">
            <a:noFill/>
            <a:miter lim="800000"/>
            <a:headEnd/>
            <a:tailEnd/>
          </a:ln>
        </p:spPr>
        <p:txBody>
          <a:bodyPr wrap="square" lIns="0" tIns="0" rIns="0" bIns="0" rtlCol="0" anchor="ctr"/>
          <a:lstStyle/>
          <a:p>
            <a:pPr algn="ctr"/>
            <a:r>
              <a:rPr lang="en-US" sz="1400" b="1" dirty="0">
                <a:solidFill>
                  <a:schemeClr val="bg1"/>
                </a:solidFill>
              </a:rPr>
              <a:t>Build Skills Inventory / Database</a:t>
            </a:r>
          </a:p>
        </p:txBody>
      </p:sp>
      <p:sp>
        <p:nvSpPr>
          <p:cNvPr id="17" name="Oval 16">
            <a:extLst>
              <a:ext uri="{FF2B5EF4-FFF2-40B4-BE49-F238E27FC236}">
                <a16:creationId xmlns:a16="http://schemas.microsoft.com/office/drawing/2014/main" id="{21913986-D990-3FD4-FD12-ADAF99C75AD6}"/>
              </a:ext>
            </a:extLst>
          </p:cNvPr>
          <p:cNvSpPr/>
          <p:nvPr/>
        </p:nvSpPr>
        <p:spPr bwMode="gray">
          <a:xfrm>
            <a:off x="8606085" y="2405140"/>
            <a:ext cx="365760" cy="365760"/>
          </a:xfrm>
          <a:prstGeom prst="ellipse">
            <a:avLst/>
          </a:prstGeom>
          <a:solidFill>
            <a:schemeClr val="bg1"/>
          </a:solidFill>
          <a:ln w="19050" algn="ctr">
            <a:solidFill>
              <a:schemeClr val="accent5">
                <a:lumMod val="50000"/>
              </a:schemeClr>
            </a:solidFill>
            <a:miter lim="800000"/>
            <a:headEnd/>
            <a:tailEnd/>
          </a:ln>
        </p:spPr>
        <p:txBody>
          <a:bodyPr wrap="square" lIns="0" tIns="0" rIns="0" bIns="0" rtlCol="0" anchor="ctr"/>
          <a:lstStyle/>
          <a:p>
            <a:pPr algn="ctr"/>
            <a:r>
              <a:rPr lang="en-US" dirty="0">
                <a:solidFill>
                  <a:schemeClr val="accent5">
                    <a:lumMod val="50000"/>
                  </a:schemeClr>
                </a:solidFill>
              </a:rPr>
              <a:t>5</a:t>
            </a:r>
          </a:p>
        </p:txBody>
      </p:sp>
      <p:sp>
        <p:nvSpPr>
          <p:cNvPr id="18" name="Rectangle 17">
            <a:extLst>
              <a:ext uri="{FF2B5EF4-FFF2-40B4-BE49-F238E27FC236}">
                <a16:creationId xmlns:a16="http://schemas.microsoft.com/office/drawing/2014/main" id="{B972A21B-E3D9-8589-DCCC-E3601A5037FE}"/>
              </a:ext>
            </a:extLst>
          </p:cNvPr>
          <p:cNvSpPr/>
          <p:nvPr/>
        </p:nvSpPr>
        <p:spPr bwMode="gray">
          <a:xfrm>
            <a:off x="1527107" y="1967533"/>
            <a:ext cx="8937170" cy="337456"/>
          </a:xfrm>
          <a:prstGeom prst="rect">
            <a:avLst/>
          </a:prstGeom>
          <a:solidFill>
            <a:schemeClr val="accent3"/>
          </a:solidFill>
          <a:ln w="19050" algn="ctr">
            <a:noFill/>
            <a:miter lim="800000"/>
            <a:headEnd/>
            <a:tailEnd/>
          </a:ln>
        </p:spPr>
        <p:txBody>
          <a:bodyPr wrap="square" lIns="0" tIns="0" rIns="0" bIns="0" rtlCol="0" anchor="ctr"/>
          <a:lstStyle/>
          <a:p>
            <a:pPr algn="ctr"/>
            <a:r>
              <a:rPr lang="en-US" sz="1600" b="1" dirty="0">
                <a:solidFill>
                  <a:schemeClr val="bg1"/>
                </a:solidFill>
              </a:rPr>
              <a:t>Building the Skills Hub</a:t>
            </a:r>
          </a:p>
        </p:txBody>
      </p:sp>
      <p:sp>
        <p:nvSpPr>
          <p:cNvPr id="21" name="Arrow: Right 20">
            <a:extLst>
              <a:ext uri="{FF2B5EF4-FFF2-40B4-BE49-F238E27FC236}">
                <a16:creationId xmlns:a16="http://schemas.microsoft.com/office/drawing/2014/main" id="{ED773DE5-0DDE-A07C-E2D4-E5FD54A270F5}"/>
              </a:ext>
            </a:extLst>
          </p:cNvPr>
          <p:cNvSpPr/>
          <p:nvPr/>
        </p:nvSpPr>
        <p:spPr bwMode="gray">
          <a:xfrm>
            <a:off x="3217657" y="3077877"/>
            <a:ext cx="256904" cy="262344"/>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22" name="Arrow: Right 21">
            <a:extLst>
              <a:ext uri="{FF2B5EF4-FFF2-40B4-BE49-F238E27FC236}">
                <a16:creationId xmlns:a16="http://schemas.microsoft.com/office/drawing/2014/main" id="{A817E264-515C-648A-A99C-F5760494461D}"/>
              </a:ext>
            </a:extLst>
          </p:cNvPr>
          <p:cNvSpPr/>
          <p:nvPr/>
        </p:nvSpPr>
        <p:spPr bwMode="gray">
          <a:xfrm>
            <a:off x="4948322" y="3090755"/>
            <a:ext cx="256904" cy="262344"/>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23" name="Arrow: Right 22">
            <a:extLst>
              <a:ext uri="{FF2B5EF4-FFF2-40B4-BE49-F238E27FC236}">
                <a16:creationId xmlns:a16="http://schemas.microsoft.com/office/drawing/2014/main" id="{57C8029A-362E-1C66-4C93-9F8F6607A98E}"/>
              </a:ext>
            </a:extLst>
          </p:cNvPr>
          <p:cNvSpPr/>
          <p:nvPr/>
        </p:nvSpPr>
        <p:spPr bwMode="gray">
          <a:xfrm>
            <a:off x="6727209" y="3090755"/>
            <a:ext cx="256904" cy="262344"/>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24" name="Arrow: Right 23">
            <a:extLst>
              <a:ext uri="{FF2B5EF4-FFF2-40B4-BE49-F238E27FC236}">
                <a16:creationId xmlns:a16="http://schemas.microsoft.com/office/drawing/2014/main" id="{D9BA8DE1-A992-D9FE-B773-AA3F93B622D8}"/>
              </a:ext>
            </a:extLst>
          </p:cNvPr>
          <p:cNvSpPr/>
          <p:nvPr/>
        </p:nvSpPr>
        <p:spPr bwMode="gray">
          <a:xfrm>
            <a:off x="8510289" y="3090755"/>
            <a:ext cx="256904" cy="262344"/>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25" name="Rectangle 24">
            <a:extLst>
              <a:ext uri="{FF2B5EF4-FFF2-40B4-BE49-F238E27FC236}">
                <a16:creationId xmlns:a16="http://schemas.microsoft.com/office/drawing/2014/main" id="{F777240E-73AC-DDC7-D522-87BF6D7A05A9}"/>
              </a:ext>
            </a:extLst>
          </p:cNvPr>
          <p:cNvSpPr/>
          <p:nvPr/>
        </p:nvSpPr>
        <p:spPr bwMode="gray">
          <a:xfrm>
            <a:off x="322059" y="4179328"/>
            <a:ext cx="11559857" cy="1589315"/>
          </a:xfrm>
          <a:prstGeom prst="rect">
            <a:avLst/>
          </a:prstGeom>
          <a:noFill/>
          <a:ln w="19050" algn="ctr">
            <a:solidFill>
              <a:schemeClr val="accent5"/>
            </a:solidFill>
            <a:miter lim="800000"/>
            <a:headEnd/>
            <a:tailEnd/>
          </a:ln>
        </p:spPr>
        <p:txBody>
          <a:bodyPr wrap="square" lIns="91440" tIns="91440" rIns="91440" bIns="91440" rtlCol="0" anchor="t"/>
          <a:lstStyle/>
          <a:p>
            <a:pPr algn="ctr"/>
            <a:endParaRPr lang="en-US" dirty="0">
              <a:solidFill>
                <a:schemeClr val="accent6">
                  <a:lumMod val="50000"/>
                </a:schemeClr>
              </a:solidFill>
            </a:endParaRPr>
          </a:p>
        </p:txBody>
      </p:sp>
      <p:sp>
        <p:nvSpPr>
          <p:cNvPr id="26" name="Rectangle 25">
            <a:extLst>
              <a:ext uri="{FF2B5EF4-FFF2-40B4-BE49-F238E27FC236}">
                <a16:creationId xmlns:a16="http://schemas.microsoft.com/office/drawing/2014/main" id="{DE6757E5-DB12-5C8B-4052-DA48EE7BA7B7}"/>
              </a:ext>
            </a:extLst>
          </p:cNvPr>
          <p:cNvSpPr/>
          <p:nvPr/>
        </p:nvSpPr>
        <p:spPr bwMode="gray">
          <a:xfrm>
            <a:off x="528888" y="4788929"/>
            <a:ext cx="1436914" cy="979714"/>
          </a:xfrm>
          <a:prstGeom prst="rect">
            <a:avLst/>
          </a:prstGeom>
          <a:solidFill>
            <a:schemeClr val="accent4">
              <a:lumMod val="60000"/>
              <a:lumOff val="40000"/>
            </a:schemeClr>
          </a:solidFill>
          <a:ln w="19050" algn="ctr">
            <a:noFill/>
            <a:miter lim="800000"/>
            <a:headEnd/>
            <a:tailEnd/>
          </a:ln>
        </p:spPr>
        <p:txBody>
          <a:bodyPr wrap="square" lIns="0" tIns="0" rIns="0" bIns="0" rtlCol="0" anchor="ctr"/>
          <a:lstStyle/>
          <a:p>
            <a:pPr algn="ctr"/>
            <a:r>
              <a:rPr lang="en-US" sz="1400" b="1" dirty="0">
                <a:solidFill>
                  <a:schemeClr val="bg1"/>
                </a:solidFill>
              </a:rPr>
              <a:t>Strategic Workforce Planning</a:t>
            </a:r>
          </a:p>
        </p:txBody>
      </p:sp>
      <p:sp>
        <p:nvSpPr>
          <p:cNvPr id="27" name="Oval 26">
            <a:extLst>
              <a:ext uri="{FF2B5EF4-FFF2-40B4-BE49-F238E27FC236}">
                <a16:creationId xmlns:a16="http://schemas.microsoft.com/office/drawing/2014/main" id="{A2B408B7-8D10-D54A-59F1-3528A2A439F9}"/>
              </a:ext>
            </a:extLst>
          </p:cNvPr>
          <p:cNvSpPr/>
          <p:nvPr/>
        </p:nvSpPr>
        <p:spPr bwMode="gray">
          <a:xfrm>
            <a:off x="346008" y="4606049"/>
            <a:ext cx="365760" cy="365760"/>
          </a:xfrm>
          <a:prstGeom prst="ellipse">
            <a:avLst/>
          </a:prstGeom>
          <a:solidFill>
            <a:schemeClr val="bg1"/>
          </a:solidFill>
          <a:ln w="19050" algn="ctr">
            <a:solidFill>
              <a:schemeClr val="accent4">
                <a:lumMod val="75000"/>
              </a:schemeClr>
            </a:solidFill>
            <a:miter lim="800000"/>
            <a:headEnd/>
            <a:tailEnd/>
          </a:ln>
        </p:spPr>
        <p:txBody>
          <a:bodyPr wrap="square" lIns="0" tIns="0" rIns="0" bIns="0" rtlCol="0" anchor="ctr"/>
          <a:lstStyle/>
          <a:p>
            <a:pPr algn="ctr"/>
            <a:r>
              <a:rPr lang="en-US" dirty="0">
                <a:solidFill>
                  <a:schemeClr val="accent4">
                    <a:lumMod val="75000"/>
                  </a:schemeClr>
                </a:solidFill>
              </a:rPr>
              <a:t>A</a:t>
            </a:r>
          </a:p>
        </p:txBody>
      </p:sp>
      <p:sp>
        <p:nvSpPr>
          <p:cNvPr id="28" name="Rectangle 27">
            <a:extLst>
              <a:ext uri="{FF2B5EF4-FFF2-40B4-BE49-F238E27FC236}">
                <a16:creationId xmlns:a16="http://schemas.microsoft.com/office/drawing/2014/main" id="{A54FD3BC-F37F-8BFD-BD17-E860FF6E7F05}"/>
              </a:ext>
            </a:extLst>
          </p:cNvPr>
          <p:cNvSpPr/>
          <p:nvPr/>
        </p:nvSpPr>
        <p:spPr bwMode="gray">
          <a:xfrm>
            <a:off x="2181336" y="4788929"/>
            <a:ext cx="1436914" cy="979714"/>
          </a:xfrm>
          <a:prstGeom prst="rect">
            <a:avLst/>
          </a:prstGeom>
          <a:solidFill>
            <a:schemeClr val="accent4">
              <a:lumMod val="60000"/>
              <a:lumOff val="40000"/>
            </a:schemeClr>
          </a:solidFill>
          <a:ln w="19050" algn="ctr">
            <a:noFill/>
            <a:miter lim="800000"/>
            <a:headEnd/>
            <a:tailEnd/>
          </a:ln>
        </p:spPr>
        <p:txBody>
          <a:bodyPr wrap="square" lIns="0" tIns="0" rIns="0" bIns="0" rtlCol="0" anchor="ctr"/>
          <a:lstStyle/>
          <a:p>
            <a:pPr algn="ctr"/>
            <a:r>
              <a:rPr lang="en-US" sz="1400" b="1" dirty="0">
                <a:solidFill>
                  <a:schemeClr val="bg1"/>
                </a:solidFill>
              </a:rPr>
              <a:t>Talent Acquisition</a:t>
            </a:r>
          </a:p>
        </p:txBody>
      </p:sp>
      <p:sp>
        <p:nvSpPr>
          <p:cNvPr id="29" name="Oval 28">
            <a:extLst>
              <a:ext uri="{FF2B5EF4-FFF2-40B4-BE49-F238E27FC236}">
                <a16:creationId xmlns:a16="http://schemas.microsoft.com/office/drawing/2014/main" id="{8D1F1FF2-578D-90B0-BFE9-B7DB16B83309}"/>
              </a:ext>
            </a:extLst>
          </p:cNvPr>
          <p:cNvSpPr/>
          <p:nvPr/>
        </p:nvSpPr>
        <p:spPr bwMode="gray">
          <a:xfrm>
            <a:off x="1998456" y="4616935"/>
            <a:ext cx="365760" cy="365760"/>
          </a:xfrm>
          <a:prstGeom prst="ellipse">
            <a:avLst/>
          </a:prstGeom>
          <a:solidFill>
            <a:schemeClr val="bg1"/>
          </a:solidFill>
          <a:ln w="19050" algn="ctr">
            <a:solidFill>
              <a:schemeClr val="accent4">
                <a:lumMod val="75000"/>
              </a:schemeClr>
            </a:solidFill>
            <a:miter lim="800000"/>
            <a:headEnd/>
            <a:tailEnd/>
          </a:ln>
        </p:spPr>
        <p:txBody>
          <a:bodyPr wrap="square" lIns="0" tIns="0" rIns="0" bIns="0" rtlCol="0" anchor="ctr"/>
          <a:lstStyle/>
          <a:p>
            <a:pPr algn="ctr"/>
            <a:r>
              <a:rPr lang="en-US" dirty="0">
                <a:solidFill>
                  <a:schemeClr val="accent4">
                    <a:lumMod val="75000"/>
                  </a:schemeClr>
                </a:solidFill>
              </a:rPr>
              <a:t>B</a:t>
            </a:r>
          </a:p>
        </p:txBody>
      </p:sp>
      <p:sp>
        <p:nvSpPr>
          <p:cNvPr id="30" name="Rectangle 29">
            <a:extLst>
              <a:ext uri="{FF2B5EF4-FFF2-40B4-BE49-F238E27FC236}">
                <a16:creationId xmlns:a16="http://schemas.microsoft.com/office/drawing/2014/main" id="{77165D49-0F35-D0FB-2FCA-9AAEC1B20E66}"/>
              </a:ext>
            </a:extLst>
          </p:cNvPr>
          <p:cNvSpPr/>
          <p:nvPr/>
        </p:nvSpPr>
        <p:spPr bwMode="gray">
          <a:xfrm>
            <a:off x="3820725" y="4788929"/>
            <a:ext cx="1436914" cy="979714"/>
          </a:xfrm>
          <a:prstGeom prst="rect">
            <a:avLst/>
          </a:prstGeom>
          <a:solidFill>
            <a:schemeClr val="accent4">
              <a:lumMod val="60000"/>
              <a:lumOff val="40000"/>
            </a:schemeClr>
          </a:solidFill>
          <a:ln w="19050" algn="ctr">
            <a:noFill/>
            <a:miter lim="800000"/>
            <a:headEnd/>
            <a:tailEnd/>
          </a:ln>
        </p:spPr>
        <p:txBody>
          <a:bodyPr wrap="square" lIns="0" tIns="0" rIns="0" bIns="0" rtlCol="0" anchor="ctr"/>
          <a:lstStyle/>
          <a:p>
            <a:pPr algn="ctr"/>
            <a:r>
              <a:rPr lang="en-US" sz="1400" b="1" dirty="0">
                <a:solidFill>
                  <a:schemeClr val="bg1"/>
                </a:solidFill>
              </a:rPr>
              <a:t>Performance &amp;Feedback</a:t>
            </a:r>
          </a:p>
        </p:txBody>
      </p:sp>
      <p:sp>
        <p:nvSpPr>
          <p:cNvPr id="31" name="Oval 30">
            <a:extLst>
              <a:ext uri="{FF2B5EF4-FFF2-40B4-BE49-F238E27FC236}">
                <a16:creationId xmlns:a16="http://schemas.microsoft.com/office/drawing/2014/main" id="{2E6BFB0E-0C18-ACC9-23B3-C3E1CD37C45B}"/>
              </a:ext>
            </a:extLst>
          </p:cNvPr>
          <p:cNvSpPr/>
          <p:nvPr/>
        </p:nvSpPr>
        <p:spPr bwMode="gray">
          <a:xfrm>
            <a:off x="3637845" y="4606049"/>
            <a:ext cx="365760" cy="365760"/>
          </a:xfrm>
          <a:prstGeom prst="ellipse">
            <a:avLst/>
          </a:prstGeom>
          <a:solidFill>
            <a:schemeClr val="bg1"/>
          </a:solidFill>
          <a:ln w="19050" algn="ctr">
            <a:solidFill>
              <a:schemeClr val="accent4">
                <a:lumMod val="75000"/>
              </a:schemeClr>
            </a:solidFill>
            <a:miter lim="800000"/>
            <a:headEnd/>
            <a:tailEnd/>
          </a:ln>
        </p:spPr>
        <p:txBody>
          <a:bodyPr wrap="square" lIns="0" tIns="0" rIns="0" bIns="0" rtlCol="0" anchor="ctr"/>
          <a:lstStyle/>
          <a:p>
            <a:pPr algn="ctr"/>
            <a:r>
              <a:rPr lang="en-US" dirty="0">
                <a:solidFill>
                  <a:schemeClr val="accent4">
                    <a:lumMod val="75000"/>
                  </a:schemeClr>
                </a:solidFill>
              </a:rPr>
              <a:t>C</a:t>
            </a:r>
          </a:p>
        </p:txBody>
      </p:sp>
      <p:sp>
        <p:nvSpPr>
          <p:cNvPr id="32" name="Rectangle 31">
            <a:extLst>
              <a:ext uri="{FF2B5EF4-FFF2-40B4-BE49-F238E27FC236}">
                <a16:creationId xmlns:a16="http://schemas.microsoft.com/office/drawing/2014/main" id="{56109F45-D2F3-92DF-D018-8B8FBEF2115E}"/>
              </a:ext>
            </a:extLst>
          </p:cNvPr>
          <p:cNvSpPr/>
          <p:nvPr/>
        </p:nvSpPr>
        <p:spPr bwMode="gray">
          <a:xfrm>
            <a:off x="5473174" y="4799815"/>
            <a:ext cx="1436914" cy="979714"/>
          </a:xfrm>
          <a:prstGeom prst="rect">
            <a:avLst/>
          </a:prstGeom>
          <a:solidFill>
            <a:schemeClr val="accent4">
              <a:lumMod val="60000"/>
              <a:lumOff val="40000"/>
            </a:schemeClr>
          </a:solidFill>
          <a:ln w="19050" algn="ctr">
            <a:noFill/>
            <a:miter lim="800000"/>
            <a:headEnd/>
            <a:tailEnd/>
          </a:ln>
        </p:spPr>
        <p:txBody>
          <a:bodyPr wrap="square" lIns="0" tIns="0" rIns="0" bIns="0" rtlCol="0" anchor="ctr"/>
          <a:lstStyle/>
          <a:p>
            <a:pPr algn="ctr"/>
            <a:r>
              <a:rPr lang="en-US" sz="1400" b="1" dirty="0">
                <a:solidFill>
                  <a:schemeClr val="bg1"/>
                </a:solidFill>
              </a:rPr>
              <a:t>Learning &amp; Development</a:t>
            </a:r>
          </a:p>
        </p:txBody>
      </p:sp>
      <p:sp>
        <p:nvSpPr>
          <p:cNvPr id="33" name="Oval 32">
            <a:extLst>
              <a:ext uri="{FF2B5EF4-FFF2-40B4-BE49-F238E27FC236}">
                <a16:creationId xmlns:a16="http://schemas.microsoft.com/office/drawing/2014/main" id="{FB58BC61-F46D-4C02-449B-83525A84FBBB}"/>
              </a:ext>
            </a:extLst>
          </p:cNvPr>
          <p:cNvSpPr/>
          <p:nvPr/>
        </p:nvSpPr>
        <p:spPr bwMode="gray">
          <a:xfrm>
            <a:off x="5290294" y="4616935"/>
            <a:ext cx="365760" cy="365760"/>
          </a:xfrm>
          <a:prstGeom prst="ellipse">
            <a:avLst/>
          </a:prstGeom>
          <a:solidFill>
            <a:schemeClr val="bg1"/>
          </a:solidFill>
          <a:ln w="19050" algn="ctr">
            <a:solidFill>
              <a:schemeClr val="accent4">
                <a:lumMod val="75000"/>
              </a:schemeClr>
            </a:solidFill>
            <a:miter lim="800000"/>
            <a:headEnd/>
            <a:tailEnd/>
          </a:ln>
        </p:spPr>
        <p:txBody>
          <a:bodyPr wrap="square" lIns="0" tIns="0" rIns="0" bIns="0" rtlCol="0" anchor="ctr"/>
          <a:lstStyle/>
          <a:p>
            <a:pPr algn="ctr"/>
            <a:r>
              <a:rPr lang="en-US" dirty="0">
                <a:solidFill>
                  <a:schemeClr val="accent4">
                    <a:lumMod val="75000"/>
                  </a:schemeClr>
                </a:solidFill>
              </a:rPr>
              <a:t>D</a:t>
            </a:r>
          </a:p>
        </p:txBody>
      </p:sp>
      <p:sp>
        <p:nvSpPr>
          <p:cNvPr id="34" name="Rectangle 33">
            <a:extLst>
              <a:ext uri="{FF2B5EF4-FFF2-40B4-BE49-F238E27FC236}">
                <a16:creationId xmlns:a16="http://schemas.microsoft.com/office/drawing/2014/main" id="{09B9FDFA-B5B7-97C7-F8EA-85771B990A97}"/>
              </a:ext>
            </a:extLst>
          </p:cNvPr>
          <p:cNvSpPr/>
          <p:nvPr/>
        </p:nvSpPr>
        <p:spPr bwMode="gray">
          <a:xfrm>
            <a:off x="7125628" y="4799815"/>
            <a:ext cx="1436914" cy="979714"/>
          </a:xfrm>
          <a:prstGeom prst="rect">
            <a:avLst/>
          </a:prstGeom>
          <a:solidFill>
            <a:schemeClr val="accent4">
              <a:lumMod val="60000"/>
              <a:lumOff val="40000"/>
            </a:schemeClr>
          </a:solidFill>
          <a:ln w="19050" algn="ctr">
            <a:noFill/>
            <a:miter lim="800000"/>
            <a:headEnd/>
            <a:tailEnd/>
          </a:ln>
        </p:spPr>
        <p:txBody>
          <a:bodyPr wrap="square" lIns="0" tIns="0" rIns="0" bIns="0" rtlCol="0" anchor="ctr"/>
          <a:lstStyle/>
          <a:p>
            <a:pPr algn="ctr"/>
            <a:r>
              <a:rPr lang="en-US" sz="1400" b="1" dirty="0">
                <a:solidFill>
                  <a:schemeClr val="bg1"/>
                </a:solidFill>
              </a:rPr>
              <a:t>Career Management</a:t>
            </a:r>
          </a:p>
        </p:txBody>
      </p:sp>
      <p:sp>
        <p:nvSpPr>
          <p:cNvPr id="35" name="Oval 34">
            <a:extLst>
              <a:ext uri="{FF2B5EF4-FFF2-40B4-BE49-F238E27FC236}">
                <a16:creationId xmlns:a16="http://schemas.microsoft.com/office/drawing/2014/main" id="{119682EA-B396-1FD5-1ACF-1C95DF21D226}"/>
              </a:ext>
            </a:extLst>
          </p:cNvPr>
          <p:cNvSpPr/>
          <p:nvPr/>
        </p:nvSpPr>
        <p:spPr bwMode="gray">
          <a:xfrm>
            <a:off x="6942748" y="4616935"/>
            <a:ext cx="365760" cy="365760"/>
          </a:xfrm>
          <a:prstGeom prst="ellipse">
            <a:avLst/>
          </a:prstGeom>
          <a:solidFill>
            <a:schemeClr val="bg1"/>
          </a:solidFill>
          <a:ln w="19050" algn="ctr">
            <a:solidFill>
              <a:schemeClr val="accent4">
                <a:lumMod val="75000"/>
              </a:schemeClr>
            </a:solidFill>
            <a:miter lim="800000"/>
            <a:headEnd/>
            <a:tailEnd/>
          </a:ln>
        </p:spPr>
        <p:txBody>
          <a:bodyPr wrap="square" lIns="0" tIns="0" rIns="0" bIns="0" rtlCol="0" anchor="ctr"/>
          <a:lstStyle/>
          <a:p>
            <a:pPr algn="ctr"/>
            <a:r>
              <a:rPr lang="en-US" dirty="0">
                <a:solidFill>
                  <a:schemeClr val="accent4">
                    <a:lumMod val="75000"/>
                  </a:schemeClr>
                </a:solidFill>
              </a:rPr>
              <a:t>E</a:t>
            </a:r>
          </a:p>
        </p:txBody>
      </p:sp>
      <p:sp>
        <p:nvSpPr>
          <p:cNvPr id="36" name="Rectangle 35">
            <a:extLst>
              <a:ext uri="{FF2B5EF4-FFF2-40B4-BE49-F238E27FC236}">
                <a16:creationId xmlns:a16="http://schemas.microsoft.com/office/drawing/2014/main" id="{B937F53A-E5E7-A4D1-B44F-D1CCA9344C98}"/>
              </a:ext>
            </a:extLst>
          </p:cNvPr>
          <p:cNvSpPr/>
          <p:nvPr/>
        </p:nvSpPr>
        <p:spPr bwMode="gray">
          <a:xfrm>
            <a:off x="310082" y="4179327"/>
            <a:ext cx="11571833" cy="365761"/>
          </a:xfrm>
          <a:prstGeom prst="rect">
            <a:avLst/>
          </a:prstGeom>
          <a:solidFill>
            <a:schemeClr val="accent4">
              <a:lumMod val="60000"/>
              <a:lumOff val="40000"/>
            </a:schemeClr>
          </a:solidFill>
          <a:ln w="19050" algn="ctr">
            <a:noFill/>
            <a:miter lim="800000"/>
            <a:headEnd/>
            <a:tailEnd/>
          </a:ln>
        </p:spPr>
        <p:txBody>
          <a:bodyPr wrap="square" lIns="0" tIns="0" rIns="0" bIns="0" rtlCol="0" anchor="ctr"/>
          <a:lstStyle/>
          <a:p>
            <a:pPr algn="ctr"/>
            <a:r>
              <a:rPr lang="en-US" sz="1600" b="1" dirty="0">
                <a:solidFill>
                  <a:schemeClr val="bg1"/>
                </a:solidFill>
              </a:rPr>
              <a:t>Applying the Skills Framework in People Management</a:t>
            </a:r>
          </a:p>
        </p:txBody>
      </p:sp>
      <p:sp>
        <p:nvSpPr>
          <p:cNvPr id="42" name="Arrow: Right 41">
            <a:extLst>
              <a:ext uri="{FF2B5EF4-FFF2-40B4-BE49-F238E27FC236}">
                <a16:creationId xmlns:a16="http://schemas.microsoft.com/office/drawing/2014/main" id="{BF25C98B-9991-1B2E-FF34-DA9EB1B5CE2F}"/>
              </a:ext>
            </a:extLst>
          </p:cNvPr>
          <p:cNvSpPr/>
          <p:nvPr/>
        </p:nvSpPr>
        <p:spPr bwMode="gray">
          <a:xfrm rot="5400000">
            <a:off x="2202114" y="3563396"/>
            <a:ext cx="500555" cy="509609"/>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43" name="Arrow: Right 42">
            <a:extLst>
              <a:ext uri="{FF2B5EF4-FFF2-40B4-BE49-F238E27FC236}">
                <a16:creationId xmlns:a16="http://schemas.microsoft.com/office/drawing/2014/main" id="{3DCFEB7A-6763-3799-B4D4-F5EB0A58D0FF}"/>
              </a:ext>
            </a:extLst>
          </p:cNvPr>
          <p:cNvSpPr/>
          <p:nvPr/>
        </p:nvSpPr>
        <p:spPr bwMode="gray">
          <a:xfrm rot="5400000">
            <a:off x="3930764" y="3541531"/>
            <a:ext cx="500555" cy="509609"/>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50" name="Rectangle 49">
            <a:extLst>
              <a:ext uri="{FF2B5EF4-FFF2-40B4-BE49-F238E27FC236}">
                <a16:creationId xmlns:a16="http://schemas.microsoft.com/office/drawing/2014/main" id="{FAF29F4B-2C2F-4D0D-885C-78B25E33CC83}"/>
              </a:ext>
            </a:extLst>
          </p:cNvPr>
          <p:cNvSpPr/>
          <p:nvPr/>
        </p:nvSpPr>
        <p:spPr bwMode="gray">
          <a:xfrm>
            <a:off x="8786784" y="4778043"/>
            <a:ext cx="1436914" cy="979714"/>
          </a:xfrm>
          <a:prstGeom prst="rect">
            <a:avLst/>
          </a:prstGeom>
          <a:solidFill>
            <a:schemeClr val="accent4">
              <a:lumMod val="60000"/>
              <a:lumOff val="40000"/>
            </a:schemeClr>
          </a:solidFill>
          <a:ln w="19050" algn="ctr">
            <a:noFill/>
            <a:miter lim="800000"/>
            <a:headEnd/>
            <a:tailEnd/>
          </a:ln>
        </p:spPr>
        <p:txBody>
          <a:bodyPr wrap="square" lIns="0" tIns="0" rIns="0" bIns="0" rtlCol="0" anchor="ctr"/>
          <a:lstStyle/>
          <a:p>
            <a:pPr algn="ctr"/>
            <a:r>
              <a:rPr lang="en-US" sz="1400" b="1" dirty="0">
                <a:solidFill>
                  <a:schemeClr val="bg1"/>
                </a:solidFill>
              </a:rPr>
              <a:t>Talent / Opportunity Marketplace</a:t>
            </a:r>
          </a:p>
        </p:txBody>
      </p:sp>
      <p:sp>
        <p:nvSpPr>
          <p:cNvPr id="53" name="Oval 52">
            <a:extLst>
              <a:ext uri="{FF2B5EF4-FFF2-40B4-BE49-F238E27FC236}">
                <a16:creationId xmlns:a16="http://schemas.microsoft.com/office/drawing/2014/main" id="{98E07F3A-D775-141C-F1E6-99253DDA34A0}"/>
              </a:ext>
            </a:extLst>
          </p:cNvPr>
          <p:cNvSpPr/>
          <p:nvPr/>
        </p:nvSpPr>
        <p:spPr bwMode="gray">
          <a:xfrm>
            <a:off x="8603904" y="4595163"/>
            <a:ext cx="365760" cy="365760"/>
          </a:xfrm>
          <a:prstGeom prst="ellipse">
            <a:avLst/>
          </a:prstGeom>
          <a:solidFill>
            <a:schemeClr val="bg1"/>
          </a:solidFill>
          <a:ln w="19050" algn="ctr">
            <a:solidFill>
              <a:schemeClr val="accent4">
                <a:lumMod val="75000"/>
              </a:schemeClr>
            </a:solidFill>
            <a:miter lim="800000"/>
            <a:headEnd/>
            <a:tailEnd/>
          </a:ln>
        </p:spPr>
        <p:txBody>
          <a:bodyPr wrap="square" lIns="0" tIns="0" rIns="0" bIns="0" rtlCol="0" anchor="ctr"/>
          <a:lstStyle/>
          <a:p>
            <a:pPr algn="ctr"/>
            <a:r>
              <a:rPr lang="en-US" dirty="0">
                <a:solidFill>
                  <a:schemeClr val="accent4">
                    <a:lumMod val="75000"/>
                  </a:schemeClr>
                </a:solidFill>
              </a:rPr>
              <a:t>F</a:t>
            </a:r>
          </a:p>
        </p:txBody>
      </p:sp>
      <p:sp>
        <p:nvSpPr>
          <p:cNvPr id="55" name="Rectangle 54">
            <a:extLst>
              <a:ext uri="{FF2B5EF4-FFF2-40B4-BE49-F238E27FC236}">
                <a16:creationId xmlns:a16="http://schemas.microsoft.com/office/drawing/2014/main" id="{18CF61FC-0555-9E34-90A8-F5C94AB9674B}"/>
              </a:ext>
            </a:extLst>
          </p:cNvPr>
          <p:cNvSpPr/>
          <p:nvPr/>
        </p:nvSpPr>
        <p:spPr bwMode="gray">
          <a:xfrm>
            <a:off x="10417460" y="4799815"/>
            <a:ext cx="1436914" cy="979714"/>
          </a:xfrm>
          <a:prstGeom prst="rect">
            <a:avLst/>
          </a:prstGeom>
          <a:solidFill>
            <a:schemeClr val="accent4">
              <a:lumMod val="60000"/>
              <a:lumOff val="40000"/>
            </a:schemeClr>
          </a:solidFill>
          <a:ln w="19050" algn="ctr">
            <a:noFill/>
            <a:miter lim="800000"/>
            <a:headEnd/>
            <a:tailEnd/>
          </a:ln>
        </p:spPr>
        <p:txBody>
          <a:bodyPr wrap="square" lIns="0" tIns="0" rIns="0" bIns="0" rtlCol="0" anchor="ctr"/>
          <a:lstStyle/>
          <a:p>
            <a:pPr algn="ctr"/>
            <a:r>
              <a:rPr lang="en-US" sz="1400" b="1" dirty="0">
                <a:solidFill>
                  <a:schemeClr val="bg1"/>
                </a:solidFill>
              </a:rPr>
              <a:t>Succession Management</a:t>
            </a:r>
          </a:p>
        </p:txBody>
      </p:sp>
      <p:sp>
        <p:nvSpPr>
          <p:cNvPr id="56" name="Oval 55">
            <a:extLst>
              <a:ext uri="{FF2B5EF4-FFF2-40B4-BE49-F238E27FC236}">
                <a16:creationId xmlns:a16="http://schemas.microsoft.com/office/drawing/2014/main" id="{F5CAF7D4-B098-1CC9-1D5D-48C61C935DA3}"/>
              </a:ext>
            </a:extLst>
          </p:cNvPr>
          <p:cNvSpPr/>
          <p:nvPr/>
        </p:nvSpPr>
        <p:spPr bwMode="gray">
          <a:xfrm>
            <a:off x="10234580" y="4616935"/>
            <a:ext cx="365760" cy="365760"/>
          </a:xfrm>
          <a:prstGeom prst="ellipse">
            <a:avLst/>
          </a:prstGeom>
          <a:solidFill>
            <a:schemeClr val="bg1"/>
          </a:solidFill>
          <a:ln w="19050" algn="ctr">
            <a:solidFill>
              <a:schemeClr val="accent4">
                <a:lumMod val="75000"/>
              </a:schemeClr>
            </a:solidFill>
            <a:miter lim="800000"/>
            <a:headEnd/>
            <a:tailEnd/>
          </a:ln>
        </p:spPr>
        <p:txBody>
          <a:bodyPr wrap="square" lIns="0" tIns="0" rIns="0" bIns="0" rtlCol="0" anchor="ctr"/>
          <a:lstStyle/>
          <a:p>
            <a:pPr algn="ctr"/>
            <a:r>
              <a:rPr lang="en-US" dirty="0">
                <a:solidFill>
                  <a:schemeClr val="accent4">
                    <a:lumMod val="75000"/>
                  </a:schemeClr>
                </a:solidFill>
              </a:rPr>
              <a:t>G</a:t>
            </a:r>
          </a:p>
        </p:txBody>
      </p:sp>
      <p:sp>
        <p:nvSpPr>
          <p:cNvPr id="58" name="Arrow: Right 57">
            <a:extLst>
              <a:ext uri="{FF2B5EF4-FFF2-40B4-BE49-F238E27FC236}">
                <a16:creationId xmlns:a16="http://schemas.microsoft.com/office/drawing/2014/main" id="{7F5A1CC3-1C2F-93BB-7231-E89A1B80C42E}"/>
              </a:ext>
            </a:extLst>
          </p:cNvPr>
          <p:cNvSpPr/>
          <p:nvPr/>
        </p:nvSpPr>
        <p:spPr bwMode="gray">
          <a:xfrm rot="5400000">
            <a:off x="5701870" y="3552416"/>
            <a:ext cx="500555" cy="509609"/>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59" name="Arrow: Right 58">
            <a:extLst>
              <a:ext uri="{FF2B5EF4-FFF2-40B4-BE49-F238E27FC236}">
                <a16:creationId xmlns:a16="http://schemas.microsoft.com/office/drawing/2014/main" id="{8CCEC9C5-020E-9F13-1C63-5D0E76E6AAAB}"/>
              </a:ext>
            </a:extLst>
          </p:cNvPr>
          <p:cNvSpPr/>
          <p:nvPr/>
        </p:nvSpPr>
        <p:spPr bwMode="gray">
          <a:xfrm rot="5400000">
            <a:off x="7474064" y="3563395"/>
            <a:ext cx="500555" cy="509609"/>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60" name="Arrow: Right 59">
            <a:extLst>
              <a:ext uri="{FF2B5EF4-FFF2-40B4-BE49-F238E27FC236}">
                <a16:creationId xmlns:a16="http://schemas.microsoft.com/office/drawing/2014/main" id="{FE0434A8-B875-1B04-4BED-45DADECEAE5F}"/>
              </a:ext>
            </a:extLst>
          </p:cNvPr>
          <p:cNvSpPr/>
          <p:nvPr/>
        </p:nvSpPr>
        <p:spPr bwMode="gray">
          <a:xfrm rot="5400000">
            <a:off x="9254963" y="3563394"/>
            <a:ext cx="500555" cy="509609"/>
          </a:xfrm>
          <a:prstGeom prst="rightArrow">
            <a:avLst/>
          </a:prstGeom>
          <a:solidFill>
            <a:schemeClr val="accent3"/>
          </a:solidFill>
          <a:ln w="19050" algn="ctr">
            <a:noFill/>
            <a:miter lim="800000"/>
            <a:headEnd/>
            <a:tailEnd/>
          </a:ln>
        </p:spPr>
        <p:txBody>
          <a:bodyPr wrap="square" lIns="0" tIns="0" rIns="0" bIns="0" rtlCol="0" anchor="ctr"/>
          <a:lstStyle/>
          <a:p>
            <a:pPr algn="ctr"/>
            <a:endParaRPr lang="en-US" dirty="0"/>
          </a:p>
        </p:txBody>
      </p:sp>
      <p:sp>
        <p:nvSpPr>
          <p:cNvPr id="5" name="Text Placeholder 1">
            <a:extLst>
              <a:ext uri="{FF2B5EF4-FFF2-40B4-BE49-F238E27FC236}">
                <a16:creationId xmlns:a16="http://schemas.microsoft.com/office/drawing/2014/main" id="{C32FBD7F-F148-8DC6-01A0-FD36DB42F9DC}"/>
              </a:ext>
            </a:extLst>
          </p:cNvPr>
          <p:cNvSpPr txBox="1">
            <a:spLocks/>
          </p:cNvSpPr>
          <p:nvPr/>
        </p:nvSpPr>
        <p:spPr>
          <a:xfrm>
            <a:off x="361695" y="695640"/>
            <a:ext cx="11277600" cy="757255"/>
          </a:xfrm>
          <a:prstGeom prst="rect">
            <a:avLst/>
          </a:prstGeom>
        </p:spPr>
        <p:txBody>
          <a:bodyPr/>
          <a:lstStyle>
            <a:lvl1pPr marL="0" indent="0" algn="l" defTabSz="898646" rtl="0" eaLnBrk="1" latinLnBrk="0" hangingPunct="1">
              <a:spcBef>
                <a:spcPts val="0"/>
              </a:spcBef>
              <a:spcAft>
                <a:spcPts val="982"/>
              </a:spcAft>
              <a:buSzPct val="100000"/>
              <a:buFont typeface="Arial" panose="020B0604020202020204" pitchFamily="34" charset="0"/>
              <a:buNone/>
              <a:defRPr sz="907" b="0" kern="1200">
                <a:solidFill>
                  <a:schemeClr val="tx1"/>
                </a:solidFill>
                <a:latin typeface="+mn-lt"/>
                <a:ea typeface="+mn-ea"/>
                <a:cs typeface="+mn-cs"/>
              </a:defRPr>
            </a:lvl1pPr>
            <a:lvl2pPr marL="0" indent="0" algn="l" defTabSz="898646" rtl="0" eaLnBrk="1" latinLnBrk="0"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0"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0"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0"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0"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0"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a:lstStyle>
          <a:p>
            <a:r>
              <a:rPr lang="en-US" sz="1800" dirty="0">
                <a:solidFill>
                  <a:schemeClr val="tx2"/>
                </a:solidFill>
                <a:latin typeface="Calibri" panose="020F0502020204030204" pitchFamily="34" charset="0"/>
                <a:ea typeface="Open Sans Light" panose="020B0306030504020204" pitchFamily="34" charset="0"/>
                <a:cs typeface="Calibri" panose="020F0502020204030204" pitchFamily="34" charset="0"/>
              </a:rPr>
              <a:t>Possible ways to begin the skill-based transformation journey are multiple</a:t>
            </a:r>
          </a:p>
        </p:txBody>
      </p:sp>
      <p:sp>
        <p:nvSpPr>
          <p:cNvPr id="6" name="Title 2">
            <a:extLst>
              <a:ext uri="{FF2B5EF4-FFF2-40B4-BE49-F238E27FC236}">
                <a16:creationId xmlns:a16="http://schemas.microsoft.com/office/drawing/2014/main" id="{FD4E803E-CEAF-3E52-41C2-5A49A7CB808F}"/>
              </a:ext>
            </a:extLst>
          </p:cNvPr>
          <p:cNvSpPr>
            <a:spLocks noGrp="1"/>
          </p:cNvSpPr>
          <p:nvPr>
            <p:ph type="title"/>
          </p:nvPr>
        </p:nvSpPr>
        <p:spPr>
          <a:xfrm>
            <a:off x="463295" y="345992"/>
            <a:ext cx="11277600" cy="334099"/>
          </a:xfrm>
        </p:spPr>
        <p:txBody>
          <a:bodyPr vert="horz"/>
          <a:lstStyle/>
          <a:p>
            <a:r>
              <a:rPr lang="en-US" sz="2100" dirty="0">
                <a:latin typeface="Calibri" panose="020F0502020204030204" pitchFamily="34" charset="0"/>
                <a:cs typeface="Calibri" panose="020F0502020204030204" pitchFamily="34" charset="0"/>
              </a:rPr>
              <a:t>Capability and skill assessment and development (</a:t>
            </a:r>
            <a:r>
              <a:rPr lang="hu-HU" sz="2100" dirty="0">
                <a:latin typeface="Calibri" panose="020F0502020204030204" pitchFamily="34" charset="0"/>
                <a:cs typeface="Calibri" panose="020F0502020204030204" pitchFamily="34" charset="0"/>
              </a:rPr>
              <a:t>3</a:t>
            </a:r>
            <a:r>
              <a:rPr lang="en-US" sz="2100" dirty="0">
                <a:latin typeface="Calibri" panose="020F0502020204030204" pitchFamily="34" charset="0"/>
                <a:cs typeface="Calibri" panose="020F0502020204030204" pitchFamily="34" charset="0"/>
              </a:rPr>
              <a:t>/</a:t>
            </a:r>
            <a:r>
              <a:rPr lang="hu-HU" sz="2100" dirty="0">
                <a:latin typeface="Calibri" panose="020F0502020204030204" pitchFamily="34" charset="0"/>
                <a:cs typeface="Calibri" panose="020F0502020204030204" pitchFamily="34" charset="0"/>
              </a:rPr>
              <a:t>3</a:t>
            </a:r>
            <a:r>
              <a:rPr lang="en-US" sz="2100" dirty="0">
                <a:latin typeface="Calibri" panose="020F0502020204030204" pitchFamily="34" charset="0"/>
                <a:cs typeface="Calibri" panose="020F0502020204030204" pitchFamily="34" charset="0"/>
              </a:rPr>
              <a:t>)</a:t>
            </a:r>
          </a:p>
        </p:txBody>
      </p:sp>
      <p:sp>
        <p:nvSpPr>
          <p:cNvPr id="19" name="Slide Number Placeholder 4">
            <a:extLst>
              <a:ext uri="{FF2B5EF4-FFF2-40B4-BE49-F238E27FC236}">
                <a16:creationId xmlns:a16="http://schemas.microsoft.com/office/drawing/2014/main" id="{0CAA39BF-0DF5-916C-E2CA-178C4782D181}"/>
              </a:ext>
            </a:extLst>
          </p:cNvPr>
          <p:cNvSpPr>
            <a:spLocks noGrp="1"/>
          </p:cNvSpPr>
          <p:nvPr>
            <p:ph type="sldNum" sz="quarter" idx="4"/>
          </p:nvPr>
        </p:nvSpPr>
        <p:spPr>
          <a:xfrm>
            <a:off x="10629330" y="6408002"/>
            <a:ext cx="1056118" cy="252001"/>
          </a:xfrm>
        </p:spPr>
        <p:txBody>
          <a:bodyPr/>
          <a:lstStyle/>
          <a:p>
            <a:pPr defTabSz="714403"/>
            <a:fld id="{95CC1D26-A9BD-4BDE-BDD9-08EDBAE96860}" type="slidenum">
              <a:rPr lang="en-US">
                <a:solidFill>
                  <a:srgbClr val="53565A"/>
                </a:solidFill>
                <a:latin typeface="Verdana"/>
              </a:rPr>
              <a:pPr defTabSz="714403"/>
              <a:t>178</a:t>
            </a:fld>
            <a:endParaRPr lang="en-US" dirty="0">
              <a:solidFill>
                <a:srgbClr val="53565A"/>
              </a:solidFill>
              <a:latin typeface="Verdana"/>
            </a:endParaRPr>
          </a:p>
        </p:txBody>
      </p:sp>
    </p:spTree>
    <p:extLst>
      <p:ext uri="{BB962C8B-B14F-4D97-AF65-F5344CB8AC3E}">
        <p14:creationId xmlns:p14="http://schemas.microsoft.com/office/powerpoint/2010/main" val="480167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99B310FC-92AD-ED35-10E0-8DCF6F0B99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2" name="think-cell data - do not delete" hidden="1">
                        <a:extLst>
                          <a:ext uri="{FF2B5EF4-FFF2-40B4-BE49-F238E27FC236}">
                            <a16:creationId xmlns:a16="http://schemas.microsoft.com/office/drawing/2014/main" id="{99B310FC-92AD-ED35-10E0-8DCF6F0B99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3" name="Picture 42">
            <a:extLst>
              <a:ext uri="{FF2B5EF4-FFF2-40B4-BE49-F238E27FC236}">
                <a16:creationId xmlns:a16="http://schemas.microsoft.com/office/drawing/2014/main" id="{F2C9EBFC-7038-6614-0188-996852578F4C}"/>
              </a:ext>
            </a:extLst>
          </p:cNvPr>
          <p:cNvPicPr>
            <a:picLocks noChangeAspect="1"/>
          </p:cNvPicPr>
          <p:nvPr/>
        </p:nvPicPr>
        <p:blipFill rotWithShape="1">
          <a:blip r:embed="rId6" cstate="email">
            <a:alphaModFix amt="7000"/>
            <a:extLst>
              <a:ext uri="{28A0092B-C50C-407E-A947-70E740481C1C}">
                <a14:useLocalDpi xmlns:a14="http://schemas.microsoft.com/office/drawing/2010/main"/>
              </a:ext>
            </a:extLst>
          </a:blip>
          <a:srcRect/>
          <a:stretch/>
        </p:blipFill>
        <p:spPr>
          <a:xfrm>
            <a:off x="463294" y="1725923"/>
            <a:ext cx="11271505" cy="4786085"/>
          </a:xfrm>
          <a:prstGeom prst="rect">
            <a:avLst/>
          </a:prstGeom>
        </p:spPr>
      </p:pic>
      <p:sp>
        <p:nvSpPr>
          <p:cNvPr id="2" name="Text Placeholder 1">
            <a:extLst>
              <a:ext uri="{FF2B5EF4-FFF2-40B4-BE49-F238E27FC236}">
                <a16:creationId xmlns:a16="http://schemas.microsoft.com/office/drawing/2014/main" id="{E5AAF043-9110-6B54-9EDC-ED629009ADB4}"/>
              </a:ext>
            </a:extLst>
          </p:cNvPr>
          <p:cNvSpPr>
            <a:spLocks noGrp="1"/>
          </p:cNvSpPr>
          <p:nvPr>
            <p:ph type="body" sz="quarter" idx="22"/>
          </p:nvPr>
        </p:nvSpPr>
        <p:spPr/>
        <p:txBody>
          <a:bodyPr/>
          <a:lstStyle/>
          <a:p>
            <a:r>
              <a:rPr lang="en-US" dirty="0">
                <a:latin typeface="+mj-lt"/>
              </a:rPr>
              <a:t>Deloitte’s proven </a:t>
            </a:r>
            <a:r>
              <a:rPr lang="en-US" b="1" dirty="0">
                <a:latin typeface="+mj-lt"/>
              </a:rPr>
              <a:t>Hallmark Change Management Approach</a:t>
            </a:r>
            <a:r>
              <a:rPr lang="en-US" dirty="0">
                <a:latin typeface="+mj-lt"/>
              </a:rPr>
              <a:t> can be utilized for designing impactful change and communication enablement.</a:t>
            </a:r>
          </a:p>
          <a:p>
            <a:endParaRPr lang="en-US" dirty="0">
              <a:latin typeface="+mj-lt"/>
            </a:endParaRPr>
          </a:p>
        </p:txBody>
      </p:sp>
      <p:sp>
        <p:nvSpPr>
          <p:cNvPr id="3" name="Title 2">
            <a:extLst>
              <a:ext uri="{FF2B5EF4-FFF2-40B4-BE49-F238E27FC236}">
                <a16:creationId xmlns:a16="http://schemas.microsoft.com/office/drawing/2014/main" id="{0873D9FF-3A53-37D0-D19B-67E623BA40F1}"/>
              </a:ext>
            </a:extLst>
          </p:cNvPr>
          <p:cNvSpPr>
            <a:spLocks noGrp="1"/>
          </p:cNvSpPr>
          <p:nvPr>
            <p:ph type="title"/>
          </p:nvPr>
        </p:nvSpPr>
        <p:spPr/>
        <p:txBody>
          <a:bodyPr vert="horz"/>
          <a:lstStyle/>
          <a:p>
            <a:r>
              <a:rPr lang="en-US" dirty="0"/>
              <a:t>Change Management Strategy (1/2)</a:t>
            </a:r>
          </a:p>
        </p:txBody>
      </p:sp>
      <p:sp>
        <p:nvSpPr>
          <p:cNvPr id="4" name="Rectangle 3">
            <a:extLst>
              <a:ext uri="{FF2B5EF4-FFF2-40B4-BE49-F238E27FC236}">
                <a16:creationId xmlns:a16="http://schemas.microsoft.com/office/drawing/2014/main" id="{7FE18835-B60E-F0B8-B55E-921D15D406A9}"/>
              </a:ext>
            </a:extLst>
          </p:cNvPr>
          <p:cNvSpPr/>
          <p:nvPr/>
        </p:nvSpPr>
        <p:spPr bwMode="gray">
          <a:xfrm>
            <a:off x="457199" y="5340313"/>
            <a:ext cx="11283696" cy="75725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grpSp>
        <p:nvGrpSpPr>
          <p:cNvPr id="5" name="Group 4">
            <a:extLst>
              <a:ext uri="{FF2B5EF4-FFF2-40B4-BE49-F238E27FC236}">
                <a16:creationId xmlns:a16="http://schemas.microsoft.com/office/drawing/2014/main" id="{F3B5B5C9-C73A-C1AE-400F-420B3D98BF96}"/>
              </a:ext>
            </a:extLst>
          </p:cNvPr>
          <p:cNvGrpSpPr/>
          <p:nvPr/>
        </p:nvGrpSpPr>
        <p:grpSpPr>
          <a:xfrm>
            <a:off x="501651" y="3750528"/>
            <a:ext cx="11188699" cy="590863"/>
            <a:chOff x="690310" y="3638869"/>
            <a:chExt cx="11507304" cy="664314"/>
          </a:xfrm>
          <a:gradFill flip="none" rotWithShape="1">
            <a:gsLst>
              <a:gs pos="100000">
                <a:srgbClr val="003299">
                  <a:alpha val="30000"/>
                </a:srgbClr>
              </a:gs>
              <a:gs pos="0">
                <a:schemeClr val="accent3">
                  <a:alpha val="30000"/>
                </a:schemeClr>
              </a:gs>
            </a:gsLst>
            <a:lin ang="0" scaled="1"/>
            <a:tileRect/>
          </a:gradFill>
        </p:grpSpPr>
        <p:sp>
          <p:nvSpPr>
            <p:cNvPr id="6" name="Chevron 9">
              <a:extLst>
                <a:ext uri="{FF2B5EF4-FFF2-40B4-BE49-F238E27FC236}">
                  <a16:creationId xmlns:a16="http://schemas.microsoft.com/office/drawing/2014/main" id="{3B546274-3FF8-A7A3-1EE5-68DB8D09AA95}"/>
                </a:ext>
              </a:extLst>
            </p:cNvPr>
            <p:cNvSpPr>
              <a:spLocks/>
            </p:cNvSpPr>
            <p:nvPr/>
          </p:nvSpPr>
          <p:spPr bwMode="ltGray">
            <a:xfrm>
              <a:off x="9317614" y="3638869"/>
              <a:ext cx="2880000" cy="664314"/>
            </a:xfrm>
            <a:prstGeom prst="chevron">
              <a:avLst>
                <a:gd name="adj" fmla="val 31595"/>
              </a:avLst>
            </a:prstGeom>
            <a:grpFill/>
            <a:ln w="25400" cap="flat" cmpd="sng" algn="ctr">
              <a:noFill/>
              <a:prstDash val="solid"/>
            </a:ln>
            <a:effectLst/>
          </p:spPr>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dirty="0">
                  <a:ln>
                    <a:noFill/>
                  </a:ln>
                  <a:solidFill>
                    <a:schemeClr val="tx1">
                      <a:lumMod val="100000"/>
                    </a:schemeClr>
                  </a:solidFill>
                  <a:effectLst/>
                  <a:uLnTx/>
                  <a:uFillTx/>
                  <a:latin typeface="+mj-lt"/>
                  <a:ea typeface="+mn-ea"/>
                  <a:cs typeface="+mn-cs"/>
                </a:rPr>
                <a:t>Evolve</a:t>
              </a:r>
            </a:p>
          </p:txBody>
        </p:sp>
        <p:sp>
          <p:nvSpPr>
            <p:cNvPr id="7" name="Chevron 8">
              <a:extLst>
                <a:ext uri="{FF2B5EF4-FFF2-40B4-BE49-F238E27FC236}">
                  <a16:creationId xmlns:a16="http://schemas.microsoft.com/office/drawing/2014/main" id="{357687B5-5B7A-150E-9ECA-81C7E2815F26}"/>
                </a:ext>
              </a:extLst>
            </p:cNvPr>
            <p:cNvSpPr>
              <a:spLocks/>
            </p:cNvSpPr>
            <p:nvPr/>
          </p:nvSpPr>
          <p:spPr bwMode="ltGray">
            <a:xfrm>
              <a:off x="3566078" y="3638869"/>
              <a:ext cx="2880000" cy="664314"/>
            </a:xfrm>
            <a:prstGeom prst="chevron">
              <a:avLst>
                <a:gd name="adj" fmla="val 31595"/>
              </a:avLst>
            </a:prstGeom>
            <a:grpFill/>
            <a:ln w="25400" cap="flat" cmpd="sng" algn="ctr">
              <a:noFill/>
              <a:prstDash val="solid"/>
            </a:ln>
            <a:effectLst/>
          </p:spPr>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dirty="0">
                  <a:ln>
                    <a:noFill/>
                  </a:ln>
                  <a:solidFill>
                    <a:schemeClr val="tx1">
                      <a:lumMod val="100000"/>
                    </a:schemeClr>
                  </a:solidFill>
                  <a:effectLst/>
                  <a:uLnTx/>
                  <a:uFillTx/>
                  <a:latin typeface="+mj-lt"/>
                  <a:ea typeface="+mn-ea"/>
                  <a:cs typeface="+mn-cs"/>
                </a:rPr>
                <a:t>Blueprint</a:t>
              </a:r>
            </a:p>
          </p:txBody>
        </p:sp>
        <p:sp>
          <p:nvSpPr>
            <p:cNvPr id="8" name="Chevron 9">
              <a:extLst>
                <a:ext uri="{FF2B5EF4-FFF2-40B4-BE49-F238E27FC236}">
                  <a16:creationId xmlns:a16="http://schemas.microsoft.com/office/drawing/2014/main" id="{DB59992D-C0C8-5987-D936-8F7346311428}"/>
                </a:ext>
              </a:extLst>
            </p:cNvPr>
            <p:cNvSpPr>
              <a:spLocks/>
            </p:cNvSpPr>
            <p:nvPr/>
          </p:nvSpPr>
          <p:spPr bwMode="ltGray">
            <a:xfrm>
              <a:off x="6441846" y="3638869"/>
              <a:ext cx="2880000" cy="664314"/>
            </a:xfrm>
            <a:prstGeom prst="chevron">
              <a:avLst>
                <a:gd name="adj" fmla="val 31595"/>
              </a:avLst>
            </a:prstGeom>
            <a:grpFill/>
            <a:ln w="25400" cap="flat" cmpd="sng" algn="ctr">
              <a:noFill/>
              <a:prstDash val="solid"/>
            </a:ln>
            <a:effectLst/>
          </p:spPr>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dirty="0">
                  <a:ln>
                    <a:noFill/>
                  </a:ln>
                  <a:solidFill>
                    <a:schemeClr val="tx1">
                      <a:lumMod val="100000"/>
                    </a:schemeClr>
                  </a:solidFill>
                  <a:effectLst/>
                  <a:uLnTx/>
                  <a:uFillTx/>
                  <a:latin typeface="+mj-lt"/>
                  <a:ea typeface="+mn-ea"/>
                  <a:cs typeface="+mn-cs"/>
                </a:rPr>
                <a:t>Deliver</a:t>
              </a:r>
            </a:p>
          </p:txBody>
        </p:sp>
        <p:sp>
          <p:nvSpPr>
            <p:cNvPr id="9" name="Arrow: Pentagon 8">
              <a:extLst>
                <a:ext uri="{FF2B5EF4-FFF2-40B4-BE49-F238E27FC236}">
                  <a16:creationId xmlns:a16="http://schemas.microsoft.com/office/drawing/2014/main" id="{74877476-EAD6-F045-AF12-88CB5159EDEF}"/>
                </a:ext>
              </a:extLst>
            </p:cNvPr>
            <p:cNvSpPr/>
            <p:nvPr/>
          </p:nvSpPr>
          <p:spPr bwMode="gray">
            <a:xfrm>
              <a:off x="690310" y="3638869"/>
              <a:ext cx="2880000" cy="664314"/>
            </a:xfrm>
            <a:prstGeom prst="homePlate">
              <a:avLst>
                <a:gd name="adj" fmla="val 32544"/>
              </a:avLst>
            </a:prstGeom>
            <a:grpFill/>
            <a:ln w="25400" cap="flat" cmpd="sng" algn="ctr">
              <a:noFill/>
              <a:prstDash val="solid"/>
            </a:ln>
            <a:effectLst/>
          </p:spPr>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dirty="0">
                  <a:ln>
                    <a:noFill/>
                  </a:ln>
                  <a:solidFill>
                    <a:schemeClr val="tx1">
                      <a:lumMod val="100000"/>
                    </a:schemeClr>
                  </a:solidFill>
                  <a:effectLst/>
                  <a:uLnTx/>
                  <a:uFillTx/>
                  <a:latin typeface="+mj-lt"/>
                  <a:ea typeface="+mn-ea"/>
                  <a:cs typeface="+mn-cs"/>
                </a:rPr>
                <a:t>Evaluate</a:t>
              </a:r>
            </a:p>
          </p:txBody>
        </p:sp>
      </p:grpSp>
      <p:sp>
        <p:nvSpPr>
          <p:cNvPr id="10" name="TextBox 9">
            <a:extLst>
              <a:ext uri="{FF2B5EF4-FFF2-40B4-BE49-F238E27FC236}">
                <a16:creationId xmlns:a16="http://schemas.microsoft.com/office/drawing/2014/main" id="{11A22462-B109-A70D-B50D-625B54F44302}"/>
              </a:ext>
            </a:extLst>
          </p:cNvPr>
          <p:cNvSpPr txBox="1"/>
          <p:nvPr/>
        </p:nvSpPr>
        <p:spPr>
          <a:xfrm>
            <a:off x="2407641" y="2206825"/>
            <a:ext cx="9282710" cy="100027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dirty="0">
                <a:ln>
                  <a:noFill/>
                </a:ln>
                <a:solidFill>
                  <a:srgbClr val="000000"/>
                </a:solidFill>
                <a:effectLst/>
                <a:uLnTx/>
                <a:uFillTx/>
                <a:latin typeface="+mj-lt"/>
                <a:ea typeface="+mn-ea"/>
                <a:cs typeface="+mn-cs"/>
              </a:rPr>
              <a:t>Research* has shown that a focused </a:t>
            </a:r>
            <a:r>
              <a:rPr kumimoji="0" lang="en-US" sz="1200" b="1" i="0" u="none" strike="noStrike" kern="1200" cap="none" spc="0" normalizeH="0" baseline="0" dirty="0">
                <a:ln>
                  <a:noFill/>
                </a:ln>
                <a:solidFill>
                  <a:srgbClr val="000000"/>
                </a:solidFill>
                <a:effectLst/>
                <a:uLnTx/>
                <a:uFillTx/>
                <a:latin typeface="+mj-lt"/>
                <a:ea typeface="+mn-ea"/>
                <a:cs typeface="+mn-cs"/>
              </a:rPr>
              <a:t>25% minority can drive a tipping point</a:t>
            </a:r>
            <a:r>
              <a:rPr kumimoji="0" lang="en-US" sz="1200" b="0" i="0" u="none" strike="noStrike" kern="1200" cap="none" spc="0" normalizeH="0" baseline="0" dirty="0">
                <a:ln>
                  <a:noFill/>
                </a:ln>
                <a:solidFill>
                  <a:srgbClr val="000000"/>
                </a:solidFill>
                <a:effectLst/>
                <a:uLnTx/>
                <a:uFillTx/>
                <a:latin typeface="+mj-lt"/>
                <a:ea typeface="+mn-ea"/>
                <a:cs typeface="+mn-cs"/>
              </a:rPr>
              <a:t>, such that it will </a:t>
            </a:r>
            <a:r>
              <a:rPr kumimoji="0" lang="en-US" sz="1200" b="1" i="0" u="none" strike="noStrike" kern="1200" cap="none" spc="0" normalizeH="0" baseline="0" dirty="0">
                <a:ln>
                  <a:noFill/>
                </a:ln>
                <a:solidFill>
                  <a:srgbClr val="000000"/>
                </a:solidFill>
                <a:effectLst/>
                <a:uLnTx/>
                <a:uFillTx/>
                <a:latin typeface="+mj-lt"/>
                <a:ea typeface="+mn-ea"/>
                <a:cs typeface="+mn-cs"/>
              </a:rPr>
              <a:t>cascade adoption of a change through the organization</a:t>
            </a:r>
            <a:r>
              <a:rPr kumimoji="0" lang="en-US" sz="1200" b="0" i="0" u="none" strike="noStrike" kern="1200" cap="none" spc="0" normalizeH="0" baseline="0" dirty="0">
                <a:ln>
                  <a:noFill/>
                </a:ln>
                <a:solidFill>
                  <a:srgbClr val="000000"/>
                </a:solidFill>
                <a:effectLst/>
                <a:uLnTx/>
                <a:uFillTx/>
                <a:latin typeface="+mj-lt"/>
                <a:ea typeface="+mn-ea"/>
                <a:cs typeface="+mn-cs"/>
              </a:rPr>
              <a:t>. Our approach is to ensure the 25% tipping point will have </a:t>
            </a:r>
            <a:r>
              <a:rPr kumimoji="0" lang="en-US" sz="1200" b="1" i="0" u="none" strike="noStrike" kern="1200" cap="none" spc="0" normalizeH="0" baseline="0" dirty="0">
                <a:ln>
                  <a:noFill/>
                </a:ln>
                <a:solidFill>
                  <a:prstClr val="black"/>
                </a:solidFill>
                <a:effectLst/>
                <a:uLnTx/>
                <a:uFillTx/>
                <a:latin typeface="+mj-lt"/>
                <a:ea typeface="+mn-ea"/>
                <a:cs typeface="+mn-cs"/>
              </a:rPr>
              <a:t>increased change accountability and leadership capabilities to drive successful adoption for the rest of the organization.</a:t>
            </a:r>
          </a:p>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dirty="0">
                <a:ln>
                  <a:noFill/>
                </a:ln>
                <a:solidFill>
                  <a:prstClr val="black"/>
                </a:solidFill>
                <a:effectLst/>
                <a:uLnTx/>
                <a:uFillTx/>
                <a:latin typeface="+mj-lt"/>
                <a:ea typeface="+mn-ea"/>
                <a:cs typeface="+mn-cs"/>
              </a:rPr>
              <a:t>Our methodology involves </a:t>
            </a:r>
            <a:r>
              <a:rPr kumimoji="0" lang="en-US" sz="1200" b="1" i="0" u="none" strike="noStrike" kern="1200" cap="none" spc="0" normalizeH="0" baseline="0" dirty="0">
                <a:ln>
                  <a:noFill/>
                </a:ln>
                <a:solidFill>
                  <a:prstClr val="black"/>
                </a:solidFill>
                <a:effectLst/>
                <a:uLnTx/>
                <a:uFillTx/>
                <a:latin typeface="+mj-lt"/>
                <a:ea typeface="+mn-ea"/>
                <a:cs typeface="+mn-cs"/>
              </a:rPr>
              <a:t>identifying and mobilizing the 25% </a:t>
            </a:r>
            <a:r>
              <a:rPr kumimoji="0" lang="en-US" sz="1200" b="0" i="0" u="none" strike="noStrike" kern="1200" cap="none" spc="0" normalizeH="0" baseline="0" dirty="0">
                <a:ln>
                  <a:noFill/>
                </a:ln>
                <a:solidFill>
                  <a:prstClr val="black"/>
                </a:solidFill>
                <a:effectLst/>
                <a:uLnTx/>
                <a:uFillTx/>
                <a:latin typeface="+mj-lt"/>
                <a:ea typeface="+mn-ea"/>
                <a:cs typeface="+mn-cs"/>
              </a:rPr>
              <a:t>most impacted, passionate and influential people in the organization</a:t>
            </a:r>
            <a:r>
              <a:rPr kumimoji="0" lang="en-US" sz="1200" b="1" i="0" u="none" strike="noStrike" kern="1200" cap="none" spc="0" normalizeH="0" baseline="0" dirty="0">
                <a:ln>
                  <a:noFill/>
                </a:ln>
                <a:solidFill>
                  <a:prstClr val="black"/>
                </a:solidFill>
                <a:effectLst/>
                <a:uLnTx/>
                <a:uFillTx/>
                <a:latin typeface="+mj-lt"/>
                <a:ea typeface="+mn-ea"/>
                <a:cs typeface="+mn-cs"/>
              </a:rPr>
              <a:t> (‘the tipping point”).</a:t>
            </a:r>
            <a:endParaRPr kumimoji="0" lang="en-US" sz="1200" b="1" i="1" u="none" strike="noStrike" kern="1200" cap="none" spc="0" normalizeH="0" baseline="0" dirty="0">
              <a:ln>
                <a:noFill/>
              </a:ln>
              <a:solidFill>
                <a:prstClr val="black"/>
              </a:solidFill>
              <a:effectLst/>
              <a:uLnTx/>
              <a:uFillTx/>
              <a:latin typeface="+mj-lt"/>
              <a:ea typeface="+mn-ea"/>
              <a:cs typeface="+mn-cs"/>
            </a:endParaRPr>
          </a:p>
        </p:txBody>
      </p:sp>
      <p:sp>
        <p:nvSpPr>
          <p:cNvPr id="11" name="TextBox 10">
            <a:extLst>
              <a:ext uri="{FF2B5EF4-FFF2-40B4-BE49-F238E27FC236}">
                <a16:creationId xmlns:a16="http://schemas.microsoft.com/office/drawing/2014/main" id="{937E615D-9CC6-F1DD-4743-03E8071046D8}"/>
              </a:ext>
            </a:extLst>
          </p:cNvPr>
          <p:cNvSpPr txBox="1"/>
          <p:nvPr/>
        </p:nvSpPr>
        <p:spPr>
          <a:xfrm>
            <a:off x="501648" y="2206825"/>
            <a:ext cx="1763379" cy="104257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6600" b="1" i="0" u="none" strike="noStrike" kern="1200" cap="none" spc="0" normalizeH="0" baseline="0" dirty="0">
                <a:ln>
                  <a:noFill/>
                </a:ln>
                <a:solidFill>
                  <a:srgbClr val="000000"/>
                </a:solidFill>
                <a:effectLst/>
                <a:uLnTx/>
                <a:uFillTx/>
                <a:latin typeface="+mj-lt"/>
                <a:ea typeface="+mn-ea"/>
                <a:cs typeface="+mn-cs"/>
              </a:rPr>
              <a:t>25%</a:t>
            </a:r>
            <a:endParaRPr kumimoji="0" lang="en-US" sz="6600" b="1" i="1" u="none" strike="noStrike" kern="1200" cap="none" spc="0" normalizeH="0" baseline="0" dirty="0">
              <a:ln>
                <a:noFill/>
              </a:ln>
              <a:solidFill>
                <a:prstClr val="black"/>
              </a:solidFill>
              <a:effectLst/>
              <a:uLnTx/>
              <a:uFillTx/>
              <a:latin typeface="+mj-lt"/>
              <a:ea typeface="+mn-ea"/>
              <a:cs typeface="+mn-cs"/>
            </a:endParaRPr>
          </a:p>
        </p:txBody>
      </p:sp>
      <p:sp>
        <p:nvSpPr>
          <p:cNvPr id="12" name="TextBox 11">
            <a:extLst>
              <a:ext uri="{FF2B5EF4-FFF2-40B4-BE49-F238E27FC236}">
                <a16:creationId xmlns:a16="http://schemas.microsoft.com/office/drawing/2014/main" id="{4E446C50-8558-1522-0862-A4D963EB5A94}"/>
              </a:ext>
            </a:extLst>
          </p:cNvPr>
          <p:cNvSpPr txBox="1"/>
          <p:nvPr/>
        </p:nvSpPr>
        <p:spPr>
          <a:xfrm>
            <a:off x="1089159" y="5459239"/>
            <a:ext cx="3204001" cy="523220"/>
          </a:xfrm>
          <a:prstGeom prst="rect">
            <a:avLst/>
          </a:prstGeom>
          <a:noFill/>
        </p:spPr>
        <p:txBody>
          <a:bodyPr wrap="square">
            <a:spAutoFit/>
          </a:bodyPr>
          <a:lstStyle/>
          <a:p>
            <a:r>
              <a:rPr lang="en-US" sz="1400" dirty="0">
                <a:latin typeface="+mj-lt"/>
              </a:rPr>
              <a:t>Anchored on successfully achieving Business Outcomes.</a:t>
            </a:r>
          </a:p>
        </p:txBody>
      </p:sp>
      <p:sp>
        <p:nvSpPr>
          <p:cNvPr id="13" name="TextBox 12">
            <a:extLst>
              <a:ext uri="{FF2B5EF4-FFF2-40B4-BE49-F238E27FC236}">
                <a16:creationId xmlns:a16="http://schemas.microsoft.com/office/drawing/2014/main" id="{3AE58193-E269-D53B-6432-C73B33BF57DD}"/>
              </a:ext>
            </a:extLst>
          </p:cNvPr>
          <p:cNvSpPr txBox="1"/>
          <p:nvPr/>
        </p:nvSpPr>
        <p:spPr>
          <a:xfrm>
            <a:off x="4788629" y="5459238"/>
            <a:ext cx="3204002" cy="523220"/>
          </a:xfrm>
          <a:prstGeom prst="rect">
            <a:avLst/>
          </a:prstGeom>
          <a:noFill/>
        </p:spPr>
        <p:txBody>
          <a:bodyPr wrap="square">
            <a:spAutoFit/>
          </a:bodyPr>
          <a:lstStyle/>
          <a:p>
            <a:r>
              <a:rPr lang="en-US" sz="1400" dirty="0">
                <a:latin typeface="+mj-lt"/>
              </a:rPr>
              <a:t>Human Centered Architecture ensuring a meaningful employee experience.</a:t>
            </a:r>
          </a:p>
        </p:txBody>
      </p:sp>
      <p:sp>
        <p:nvSpPr>
          <p:cNvPr id="14" name="TextBox 13">
            <a:extLst>
              <a:ext uri="{FF2B5EF4-FFF2-40B4-BE49-F238E27FC236}">
                <a16:creationId xmlns:a16="http://schemas.microsoft.com/office/drawing/2014/main" id="{6BE6D1C6-76CB-2E53-B04D-E7E3DF128160}"/>
              </a:ext>
            </a:extLst>
          </p:cNvPr>
          <p:cNvSpPr txBox="1"/>
          <p:nvPr/>
        </p:nvSpPr>
        <p:spPr>
          <a:xfrm>
            <a:off x="8688218" y="5459238"/>
            <a:ext cx="3204001" cy="523220"/>
          </a:xfrm>
          <a:prstGeom prst="rect">
            <a:avLst/>
          </a:prstGeom>
          <a:noFill/>
        </p:spPr>
        <p:txBody>
          <a:bodyPr wrap="square">
            <a:spAutoFit/>
          </a:bodyPr>
          <a:lstStyle>
            <a:defPPr>
              <a:defRPr lang="en-US"/>
            </a:defPPr>
            <a:lvl1pPr>
              <a:defRPr sz="1400"/>
            </a:lvl1pPr>
          </a:lstStyle>
          <a:p>
            <a:r>
              <a:rPr lang="en-US" dirty="0">
                <a:latin typeface="+mj-lt"/>
              </a:rPr>
              <a:t>Leader led change powered by data insights.</a:t>
            </a:r>
          </a:p>
        </p:txBody>
      </p:sp>
      <p:sp>
        <p:nvSpPr>
          <p:cNvPr id="15" name="TextBox 14">
            <a:extLst>
              <a:ext uri="{FF2B5EF4-FFF2-40B4-BE49-F238E27FC236}">
                <a16:creationId xmlns:a16="http://schemas.microsoft.com/office/drawing/2014/main" id="{F241AC87-1C3D-1392-A9E3-9D482775D3B1}"/>
              </a:ext>
            </a:extLst>
          </p:cNvPr>
          <p:cNvSpPr txBox="1"/>
          <p:nvPr/>
        </p:nvSpPr>
        <p:spPr>
          <a:xfrm>
            <a:off x="501649" y="5005575"/>
            <a:ext cx="6094602" cy="338554"/>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dirty="0">
                <a:ln>
                  <a:noFill/>
                </a:ln>
                <a:solidFill>
                  <a:srgbClr val="000000"/>
                </a:solidFill>
                <a:effectLst/>
                <a:uLnTx/>
                <a:uFillTx/>
                <a:latin typeface="+mj-lt"/>
                <a:ea typeface="Open Sans" panose="020B0606030504020204" pitchFamily="34" charset="0"/>
                <a:cs typeface="Open Sans" panose="020B0606030504020204" pitchFamily="34" charset="0"/>
              </a:rPr>
              <a:t>Our key principles </a:t>
            </a:r>
          </a:p>
        </p:txBody>
      </p:sp>
      <p:sp>
        <p:nvSpPr>
          <p:cNvPr id="16" name="TextBox 15">
            <a:extLst>
              <a:ext uri="{FF2B5EF4-FFF2-40B4-BE49-F238E27FC236}">
                <a16:creationId xmlns:a16="http://schemas.microsoft.com/office/drawing/2014/main" id="{7AD5F437-0897-4468-7FFC-21D9B4C97604}"/>
              </a:ext>
            </a:extLst>
          </p:cNvPr>
          <p:cNvSpPr txBox="1">
            <a:spLocks/>
          </p:cNvSpPr>
          <p:nvPr/>
        </p:nvSpPr>
        <p:spPr>
          <a:xfrm>
            <a:off x="501648" y="3404380"/>
            <a:ext cx="6094602" cy="338554"/>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dirty="0">
                <a:ln>
                  <a:noFill/>
                </a:ln>
                <a:solidFill>
                  <a:srgbClr val="000000"/>
                </a:solidFill>
                <a:effectLst/>
                <a:uLnTx/>
                <a:uFillTx/>
                <a:latin typeface="+mj-lt"/>
                <a:ea typeface="Open Sans" panose="020B0606030504020204" pitchFamily="34" charset="0"/>
                <a:cs typeface="Open Sans" panose="020B0606030504020204" pitchFamily="34" charset="0"/>
              </a:rPr>
              <a:t>Change Management journey</a:t>
            </a:r>
          </a:p>
        </p:txBody>
      </p:sp>
      <p:sp>
        <p:nvSpPr>
          <p:cNvPr id="17" name="TextBox 16">
            <a:extLst>
              <a:ext uri="{FF2B5EF4-FFF2-40B4-BE49-F238E27FC236}">
                <a16:creationId xmlns:a16="http://schemas.microsoft.com/office/drawing/2014/main" id="{C36FA16B-65EE-6649-D782-5578E5D884B9}"/>
              </a:ext>
            </a:extLst>
          </p:cNvPr>
          <p:cNvSpPr txBox="1">
            <a:spLocks/>
          </p:cNvSpPr>
          <p:nvPr/>
        </p:nvSpPr>
        <p:spPr>
          <a:xfrm>
            <a:off x="501648" y="4306926"/>
            <a:ext cx="2689721" cy="461665"/>
          </a:xfrm>
          <a:prstGeom prst="rect">
            <a:avLst/>
          </a:prstGeom>
          <a:noFill/>
        </p:spPr>
        <p:txBody>
          <a:bodyPr wrap="square" lIns="36000" rIns="36000">
            <a:spAutoFit/>
          </a:bodyPr>
          <a:lstStyle/>
          <a:p>
            <a:r>
              <a:rPr lang="en-US" sz="1200" i="1" dirty="0">
                <a:latin typeface="+mj-lt"/>
              </a:rPr>
              <a:t>Capture and analyze data to understand the case for change and identify gaps.</a:t>
            </a:r>
          </a:p>
        </p:txBody>
      </p:sp>
      <p:sp>
        <p:nvSpPr>
          <p:cNvPr id="18" name="TextBox 17">
            <a:extLst>
              <a:ext uri="{FF2B5EF4-FFF2-40B4-BE49-F238E27FC236}">
                <a16:creationId xmlns:a16="http://schemas.microsoft.com/office/drawing/2014/main" id="{96B802B8-04B6-16CF-1148-91A867EFBAFF}"/>
              </a:ext>
            </a:extLst>
          </p:cNvPr>
          <p:cNvSpPr txBox="1"/>
          <p:nvPr/>
        </p:nvSpPr>
        <p:spPr>
          <a:xfrm>
            <a:off x="3306024" y="4306926"/>
            <a:ext cx="2689721" cy="646331"/>
          </a:xfrm>
          <a:prstGeom prst="rect">
            <a:avLst/>
          </a:prstGeom>
          <a:noFill/>
        </p:spPr>
        <p:txBody>
          <a:bodyPr wrap="square" lIns="36000" rIns="36000">
            <a:spAutoFit/>
          </a:bodyPr>
          <a:lstStyle/>
          <a:p>
            <a:r>
              <a:rPr lang="en-US" sz="1200" i="1" dirty="0">
                <a:latin typeface="+mj-lt"/>
              </a:rPr>
              <a:t>Develop and provide tailored interventions to further the client’s journey toward its business outcomes.</a:t>
            </a:r>
          </a:p>
        </p:txBody>
      </p:sp>
      <p:sp>
        <p:nvSpPr>
          <p:cNvPr id="19" name="TextBox 18">
            <a:extLst>
              <a:ext uri="{FF2B5EF4-FFF2-40B4-BE49-F238E27FC236}">
                <a16:creationId xmlns:a16="http://schemas.microsoft.com/office/drawing/2014/main" id="{FB7E3E2B-97B9-EC58-D310-B10DD6D076B2}"/>
              </a:ext>
            </a:extLst>
          </p:cNvPr>
          <p:cNvSpPr txBox="1"/>
          <p:nvPr/>
        </p:nvSpPr>
        <p:spPr>
          <a:xfrm>
            <a:off x="6098056" y="4306926"/>
            <a:ext cx="2689721" cy="461665"/>
          </a:xfrm>
          <a:prstGeom prst="rect">
            <a:avLst/>
          </a:prstGeom>
          <a:noFill/>
        </p:spPr>
        <p:txBody>
          <a:bodyPr wrap="square" lIns="36000" rIns="36000">
            <a:spAutoFit/>
          </a:bodyPr>
          <a:lstStyle/>
          <a:p>
            <a:r>
              <a:rPr lang="en-US" sz="1200" i="1" dirty="0">
                <a:latin typeface="+mj-lt"/>
              </a:rPr>
              <a:t>Assessing the impact of leader led change and its adoption.</a:t>
            </a:r>
          </a:p>
        </p:txBody>
      </p:sp>
      <p:sp>
        <p:nvSpPr>
          <p:cNvPr id="20" name="TextBox 19">
            <a:extLst>
              <a:ext uri="{FF2B5EF4-FFF2-40B4-BE49-F238E27FC236}">
                <a16:creationId xmlns:a16="http://schemas.microsoft.com/office/drawing/2014/main" id="{F00ADB56-3DFC-4144-C2AF-8AAEDF8A317C}"/>
              </a:ext>
            </a:extLst>
          </p:cNvPr>
          <p:cNvSpPr txBox="1"/>
          <p:nvPr/>
        </p:nvSpPr>
        <p:spPr>
          <a:xfrm>
            <a:off x="8898317" y="4306926"/>
            <a:ext cx="2689721" cy="646331"/>
          </a:xfrm>
          <a:prstGeom prst="rect">
            <a:avLst/>
          </a:prstGeom>
          <a:noFill/>
        </p:spPr>
        <p:txBody>
          <a:bodyPr wrap="square" lIns="36000" rIns="36000">
            <a:spAutoFit/>
          </a:bodyPr>
          <a:lstStyle/>
          <a:p>
            <a:r>
              <a:rPr lang="en-US" sz="1200" i="1" dirty="0">
                <a:latin typeface="+mj-lt"/>
              </a:rPr>
              <a:t>Measure progress against business outcomes, develop change capability, and future change agility.</a:t>
            </a:r>
          </a:p>
        </p:txBody>
      </p:sp>
      <p:sp>
        <p:nvSpPr>
          <p:cNvPr id="21" name="TextBox 20">
            <a:extLst>
              <a:ext uri="{FF2B5EF4-FFF2-40B4-BE49-F238E27FC236}">
                <a16:creationId xmlns:a16="http://schemas.microsoft.com/office/drawing/2014/main" id="{62A75448-A127-DD05-EFE3-8203330381F0}"/>
              </a:ext>
            </a:extLst>
          </p:cNvPr>
          <p:cNvSpPr txBox="1"/>
          <p:nvPr/>
        </p:nvSpPr>
        <p:spPr>
          <a:xfrm>
            <a:off x="457199" y="6327692"/>
            <a:ext cx="10295681" cy="20774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tabLst/>
              <a:defRPr/>
            </a:pPr>
            <a:r>
              <a:rPr kumimoji="0" lang="en-US" sz="750" b="0" strike="noStrike" kern="1200" cap="none" spc="0" normalizeH="0" baseline="0" dirty="0">
                <a:ln>
                  <a:noFill/>
                </a:ln>
                <a:solidFill>
                  <a:prstClr val="black"/>
                </a:solidFill>
                <a:effectLst/>
                <a:uLnTx/>
                <a:uFillTx/>
                <a:latin typeface="+mj-lt"/>
                <a:ea typeface="+mn-lt"/>
                <a:cs typeface="Calibri"/>
              </a:rPr>
              <a:t>* </a:t>
            </a:r>
            <a:r>
              <a:rPr lang="en-US" sz="750" dirty="0">
                <a:solidFill>
                  <a:prstClr val="black"/>
                </a:solidFill>
                <a:latin typeface="+mj-lt"/>
                <a:ea typeface="+mn-lt"/>
                <a:cs typeface="Calibri"/>
              </a:rPr>
              <a:t>1) How Behavior Spreads: The Science of Complex Contagions by Damon </a:t>
            </a:r>
            <a:r>
              <a:rPr lang="en-US" sz="750" dirty="0" err="1">
                <a:solidFill>
                  <a:prstClr val="black"/>
                </a:solidFill>
                <a:latin typeface="+mj-lt"/>
                <a:ea typeface="+mn-lt"/>
                <a:cs typeface="Calibri"/>
              </a:rPr>
              <a:t>Centola</a:t>
            </a:r>
            <a:r>
              <a:rPr lang="en-US" sz="750" dirty="0">
                <a:solidFill>
                  <a:prstClr val="black"/>
                </a:solidFill>
                <a:latin typeface="+mj-lt"/>
                <a:ea typeface="+mn-lt"/>
                <a:cs typeface="Calibri"/>
              </a:rPr>
              <a:t> (2018) 2) </a:t>
            </a:r>
            <a:r>
              <a:rPr kumimoji="0" lang="en-US" sz="750" b="0" strike="noStrike" kern="1200" cap="none" spc="0" normalizeH="0" baseline="0" dirty="0">
                <a:ln>
                  <a:noFill/>
                </a:ln>
                <a:solidFill>
                  <a:prstClr val="black"/>
                </a:solidFill>
                <a:effectLst/>
                <a:uLnTx/>
                <a:uFillTx/>
                <a:latin typeface="+mj-lt"/>
                <a:ea typeface="+mn-lt"/>
                <a:cs typeface="Calibri"/>
              </a:rPr>
              <a:t>Why Change Happens by Cass Sunstein (2019) ; 3) How to Change by Katy Milkman (2021)</a:t>
            </a:r>
          </a:p>
        </p:txBody>
      </p:sp>
      <p:sp>
        <p:nvSpPr>
          <p:cNvPr id="22" name="TextBox 21">
            <a:extLst>
              <a:ext uri="{FF2B5EF4-FFF2-40B4-BE49-F238E27FC236}">
                <a16:creationId xmlns:a16="http://schemas.microsoft.com/office/drawing/2014/main" id="{2A3C674D-E192-A120-AFD2-91FA0EC94F68}"/>
              </a:ext>
            </a:extLst>
          </p:cNvPr>
          <p:cNvSpPr txBox="1"/>
          <p:nvPr/>
        </p:nvSpPr>
        <p:spPr>
          <a:xfrm>
            <a:off x="501649" y="1725923"/>
            <a:ext cx="6094602" cy="338554"/>
          </a:xfrm>
          <a:prstGeom prst="rect">
            <a:avLst/>
          </a:prstGeom>
          <a:noFill/>
        </p:spPr>
        <p:txBody>
          <a:bodyPr wrap="square" lIns="36000" rIns="36000">
            <a:spAutoFit/>
          </a:bodyPr>
          <a:lstStyle/>
          <a:p>
            <a:pPr>
              <a:defRPr/>
            </a:pPr>
            <a:r>
              <a:rPr kumimoji="0" lang="en-US" sz="1600" b="1" i="0" u="none" strike="noStrike" kern="1200" cap="none" spc="0" normalizeH="0" baseline="0" dirty="0">
                <a:ln>
                  <a:noFill/>
                </a:ln>
                <a:solidFill>
                  <a:prstClr val="black"/>
                </a:solidFill>
                <a:effectLst/>
                <a:uLnTx/>
                <a:uFillTx/>
                <a:latin typeface="+mj-lt"/>
                <a:ea typeface="+mn-ea"/>
                <a:cs typeface="+mn-cs"/>
              </a:rPr>
              <a:t>Deloitte </a:t>
            </a:r>
            <a:r>
              <a:rPr kumimoji="0" lang="en-US" sz="1600" b="1" i="0" u="none" strike="noStrike" kern="1200" cap="none" spc="0" normalizeH="0" baseline="0" dirty="0" err="1">
                <a:ln>
                  <a:noFill/>
                </a:ln>
                <a:solidFill>
                  <a:prstClr val="black"/>
                </a:solidFill>
                <a:effectLst/>
                <a:uLnTx/>
                <a:uFillTx/>
                <a:latin typeface="+mj-lt"/>
                <a:ea typeface="+mn-ea"/>
                <a:cs typeface="+mn-cs"/>
              </a:rPr>
              <a:t>Hallmark</a:t>
            </a:r>
            <a:r>
              <a:rPr kumimoji="0" lang="en-US" sz="1600" b="1" i="0" u="none" strike="noStrike" kern="1200" cap="none" spc="0" normalizeH="0" baseline="30000" dirty="0" err="1">
                <a:ln>
                  <a:noFill/>
                </a:ln>
                <a:solidFill>
                  <a:prstClr val="black"/>
                </a:solidFill>
                <a:effectLst/>
                <a:uLnTx/>
                <a:uFillTx/>
                <a:latin typeface="+mj-lt"/>
                <a:ea typeface="+mn-ea"/>
                <a:cs typeface="+mn-cs"/>
              </a:rPr>
              <a:t>TM</a:t>
            </a:r>
            <a:r>
              <a:rPr kumimoji="0" lang="en-US" sz="1600" b="1" i="0" u="none" strike="noStrike" kern="1200" cap="none" spc="0" normalizeH="0" baseline="0" dirty="0">
                <a:ln>
                  <a:noFill/>
                </a:ln>
                <a:solidFill>
                  <a:prstClr val="black"/>
                </a:solidFill>
                <a:effectLst/>
                <a:uLnTx/>
                <a:uFillTx/>
                <a:latin typeface="+mj-lt"/>
                <a:ea typeface="+mn-ea"/>
                <a:cs typeface="+mn-cs"/>
              </a:rPr>
              <a:t> Change Management Approach</a:t>
            </a:r>
          </a:p>
        </p:txBody>
      </p:sp>
      <p:grpSp>
        <p:nvGrpSpPr>
          <p:cNvPr id="23" name="Graphic 4">
            <a:extLst>
              <a:ext uri="{FF2B5EF4-FFF2-40B4-BE49-F238E27FC236}">
                <a16:creationId xmlns:a16="http://schemas.microsoft.com/office/drawing/2014/main" id="{3C5A25B0-5021-7599-3359-457E393CC37C}"/>
              </a:ext>
            </a:extLst>
          </p:cNvPr>
          <p:cNvGrpSpPr>
            <a:grpSpLocks noChangeAspect="1"/>
          </p:cNvGrpSpPr>
          <p:nvPr/>
        </p:nvGrpSpPr>
        <p:grpSpPr>
          <a:xfrm>
            <a:off x="621159" y="5486127"/>
            <a:ext cx="468000" cy="468390"/>
            <a:chOff x="467743" y="4793256"/>
            <a:chExt cx="361670" cy="361971"/>
          </a:xfrm>
          <a:solidFill>
            <a:schemeClr val="accent1"/>
          </a:solidFill>
        </p:grpSpPr>
        <p:sp>
          <p:nvSpPr>
            <p:cNvPr id="24" name="Graphic 4">
              <a:extLst>
                <a:ext uri="{FF2B5EF4-FFF2-40B4-BE49-F238E27FC236}">
                  <a16:creationId xmlns:a16="http://schemas.microsoft.com/office/drawing/2014/main" id="{9362D560-79CB-E173-0255-50ADB0CFA698}"/>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endParaRPr lang="en-US" dirty="0">
                <a:latin typeface="+mj-lt"/>
              </a:endParaRPr>
            </a:p>
          </p:txBody>
        </p:sp>
        <p:sp>
          <p:nvSpPr>
            <p:cNvPr id="25" name="Graphic 4">
              <a:extLst>
                <a:ext uri="{FF2B5EF4-FFF2-40B4-BE49-F238E27FC236}">
                  <a16:creationId xmlns:a16="http://schemas.microsoft.com/office/drawing/2014/main" id="{F82BCFBD-6841-1EDC-144C-97416AB85F91}"/>
                </a:ext>
              </a:extLst>
            </p:cNvPr>
            <p:cNvSpPr/>
            <p:nvPr/>
          </p:nvSpPr>
          <p:spPr>
            <a:xfrm>
              <a:off x="540176" y="4865395"/>
              <a:ext cx="217670" cy="217055"/>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grpFill/>
            <a:ln w="6390" cap="flat">
              <a:noFill/>
              <a:prstDash val="solid"/>
              <a:miter/>
            </a:ln>
          </p:spPr>
          <p:txBody>
            <a:bodyPr rtlCol="0" anchor="ctr"/>
            <a:lstStyle/>
            <a:p>
              <a:endParaRPr lang="en-US" dirty="0">
                <a:latin typeface="+mj-lt"/>
              </a:endParaRPr>
            </a:p>
          </p:txBody>
        </p:sp>
      </p:grpSp>
      <p:grpSp>
        <p:nvGrpSpPr>
          <p:cNvPr id="26" name="Graphic 4">
            <a:extLst>
              <a:ext uri="{FF2B5EF4-FFF2-40B4-BE49-F238E27FC236}">
                <a16:creationId xmlns:a16="http://schemas.microsoft.com/office/drawing/2014/main" id="{941C66F9-3A00-59A7-CF2E-A5E844D85AB0}"/>
              </a:ext>
            </a:extLst>
          </p:cNvPr>
          <p:cNvGrpSpPr>
            <a:grpSpLocks noChangeAspect="1"/>
          </p:cNvGrpSpPr>
          <p:nvPr/>
        </p:nvGrpSpPr>
        <p:grpSpPr>
          <a:xfrm>
            <a:off x="4359530" y="5485909"/>
            <a:ext cx="468441" cy="468000"/>
            <a:chOff x="4660820" y="4308712"/>
            <a:chExt cx="362312" cy="361971"/>
          </a:xfrm>
          <a:solidFill>
            <a:schemeClr val="accent1"/>
          </a:solidFill>
        </p:grpSpPr>
        <p:sp>
          <p:nvSpPr>
            <p:cNvPr id="27" name="Graphic 4">
              <a:extLst>
                <a:ext uri="{FF2B5EF4-FFF2-40B4-BE49-F238E27FC236}">
                  <a16:creationId xmlns:a16="http://schemas.microsoft.com/office/drawing/2014/main" id="{5ADE2FBA-0FC6-5A5B-A1BC-B70B276E44A3}"/>
                </a:ext>
              </a:extLst>
            </p:cNvPr>
            <p:cNvSpPr/>
            <p:nvPr/>
          </p:nvSpPr>
          <p:spPr>
            <a:xfrm>
              <a:off x="4660820" y="4308712"/>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dirty="0">
                <a:latin typeface="+mj-lt"/>
              </a:endParaRPr>
            </a:p>
          </p:txBody>
        </p:sp>
        <p:sp>
          <p:nvSpPr>
            <p:cNvPr id="28" name="Graphic 4">
              <a:extLst>
                <a:ext uri="{FF2B5EF4-FFF2-40B4-BE49-F238E27FC236}">
                  <a16:creationId xmlns:a16="http://schemas.microsoft.com/office/drawing/2014/main" id="{9D55AA52-2757-F422-A37C-4290CB7CF18D}"/>
                </a:ext>
              </a:extLst>
            </p:cNvPr>
            <p:cNvSpPr/>
            <p:nvPr/>
          </p:nvSpPr>
          <p:spPr>
            <a:xfrm>
              <a:off x="4813539" y="4405748"/>
              <a:ext cx="33227" cy="33196"/>
            </a:xfrm>
            <a:custGeom>
              <a:avLst/>
              <a:gdLst>
                <a:gd name="connsiteX0" fmla="*/ 16614 w 33227"/>
                <a:gd name="connsiteY0" fmla="*/ 33197 h 33196"/>
                <a:gd name="connsiteX1" fmla="*/ 33228 w 33227"/>
                <a:gd name="connsiteY1" fmla="*/ 16598 h 33196"/>
                <a:gd name="connsiteX2" fmla="*/ 16614 w 33227"/>
                <a:gd name="connsiteY2" fmla="*/ 0 h 33196"/>
                <a:gd name="connsiteX3" fmla="*/ 0 w 33227"/>
                <a:gd name="connsiteY3" fmla="*/ 16598 h 33196"/>
                <a:gd name="connsiteX4" fmla="*/ 16614 w 33227"/>
                <a:gd name="connsiteY4" fmla="*/ 33197 h 33196"/>
                <a:gd name="connsiteX5" fmla="*/ 16614 w 33227"/>
                <a:gd name="connsiteY5" fmla="*/ 33197 h 33196"/>
                <a:gd name="connsiteX6" fmla="*/ 16614 w 33227"/>
                <a:gd name="connsiteY6" fmla="*/ 12768 h 33196"/>
                <a:gd name="connsiteX7" fmla="*/ 20448 w 33227"/>
                <a:gd name="connsiteY7" fmla="*/ 16598 h 33196"/>
                <a:gd name="connsiteX8" fmla="*/ 16614 w 33227"/>
                <a:gd name="connsiteY8" fmla="*/ 20429 h 33196"/>
                <a:gd name="connsiteX9" fmla="*/ 12780 w 33227"/>
                <a:gd name="connsiteY9" fmla="*/ 16598 h 33196"/>
                <a:gd name="connsiteX10" fmla="*/ 12780 w 33227"/>
                <a:gd name="connsiteY10" fmla="*/ 16598 h 33196"/>
                <a:gd name="connsiteX11" fmla="*/ 16614 w 33227"/>
                <a:gd name="connsiteY11" fmla="*/ 12768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227" h="33196">
                  <a:moveTo>
                    <a:pt x="16614" y="33197"/>
                  </a:moveTo>
                  <a:cubicBezTo>
                    <a:pt x="25560" y="33197"/>
                    <a:pt x="33228" y="25536"/>
                    <a:pt x="33228" y="16598"/>
                  </a:cubicBezTo>
                  <a:cubicBezTo>
                    <a:pt x="33228" y="7661"/>
                    <a:pt x="25560" y="0"/>
                    <a:pt x="16614" y="0"/>
                  </a:cubicBezTo>
                  <a:cubicBezTo>
                    <a:pt x="7668" y="0"/>
                    <a:pt x="0" y="7661"/>
                    <a:pt x="0" y="16598"/>
                  </a:cubicBezTo>
                  <a:cubicBezTo>
                    <a:pt x="0" y="25536"/>
                    <a:pt x="7029" y="33197"/>
                    <a:pt x="16614" y="33197"/>
                  </a:cubicBezTo>
                  <a:lnTo>
                    <a:pt x="16614" y="33197"/>
                  </a:lnTo>
                  <a:close/>
                  <a:moveTo>
                    <a:pt x="16614" y="12768"/>
                  </a:moveTo>
                  <a:cubicBezTo>
                    <a:pt x="18531" y="12768"/>
                    <a:pt x="20448" y="14683"/>
                    <a:pt x="20448" y="16598"/>
                  </a:cubicBezTo>
                  <a:cubicBezTo>
                    <a:pt x="20448" y="18514"/>
                    <a:pt x="18531" y="20429"/>
                    <a:pt x="16614" y="20429"/>
                  </a:cubicBezTo>
                  <a:cubicBezTo>
                    <a:pt x="14697" y="20429"/>
                    <a:pt x="12780" y="18514"/>
                    <a:pt x="12780" y="16598"/>
                  </a:cubicBezTo>
                  <a:cubicBezTo>
                    <a:pt x="12780" y="16598"/>
                    <a:pt x="12780" y="16598"/>
                    <a:pt x="12780" y="16598"/>
                  </a:cubicBezTo>
                  <a:cubicBezTo>
                    <a:pt x="12780" y="14683"/>
                    <a:pt x="14058" y="12768"/>
                    <a:pt x="16614" y="12768"/>
                  </a:cubicBezTo>
                  <a:close/>
                </a:path>
              </a:pathLst>
            </a:custGeom>
            <a:grpFill/>
            <a:ln w="6390" cap="flat">
              <a:noFill/>
              <a:prstDash val="solid"/>
              <a:miter/>
            </a:ln>
          </p:spPr>
          <p:txBody>
            <a:bodyPr rtlCol="0" anchor="ctr"/>
            <a:lstStyle/>
            <a:p>
              <a:endParaRPr lang="en-US" dirty="0">
                <a:latin typeface="+mj-lt"/>
              </a:endParaRPr>
            </a:p>
          </p:txBody>
        </p:sp>
        <p:sp>
          <p:nvSpPr>
            <p:cNvPr id="29" name="Graphic 4">
              <a:extLst>
                <a:ext uri="{FF2B5EF4-FFF2-40B4-BE49-F238E27FC236}">
                  <a16:creationId xmlns:a16="http://schemas.microsoft.com/office/drawing/2014/main" id="{3B6688A8-5865-A876-53D5-F233D2E35DA1}"/>
                </a:ext>
              </a:extLst>
            </p:cNvPr>
            <p:cNvSpPr/>
            <p:nvPr/>
          </p:nvSpPr>
          <p:spPr>
            <a:xfrm>
              <a:off x="4732561" y="4379109"/>
              <a:ext cx="217084" cy="217520"/>
            </a:xfrm>
            <a:custGeom>
              <a:avLst/>
              <a:gdLst>
                <a:gd name="connsiteX0" fmla="*/ 168521 w 217084"/>
                <a:gd name="connsiteY0" fmla="*/ 158788 h 217520"/>
                <a:gd name="connsiteX1" fmla="*/ 158936 w 217084"/>
                <a:gd name="connsiteY1" fmla="*/ 23447 h 217520"/>
                <a:gd name="connsiteX2" fmla="*/ 23469 w 217084"/>
                <a:gd name="connsiteY2" fmla="*/ 33023 h 217520"/>
                <a:gd name="connsiteX3" fmla="*/ 33054 w 217084"/>
                <a:gd name="connsiteY3" fmla="*/ 168364 h 217520"/>
                <a:gd name="connsiteX4" fmla="*/ 159574 w 217084"/>
                <a:gd name="connsiteY4" fmla="*/ 167725 h 217520"/>
                <a:gd name="connsiteX5" fmla="*/ 206221 w 217084"/>
                <a:gd name="connsiteY5" fmla="*/ 215605 h 217520"/>
                <a:gd name="connsiteX6" fmla="*/ 215167 w 217084"/>
                <a:gd name="connsiteY6" fmla="*/ 215605 h 217520"/>
                <a:gd name="connsiteX7" fmla="*/ 215167 w 217084"/>
                <a:gd name="connsiteY7" fmla="*/ 206668 h 217520"/>
                <a:gd name="connsiteX8" fmla="*/ 168521 w 217084"/>
                <a:gd name="connsiteY8" fmla="*/ 158788 h 217520"/>
                <a:gd name="connsiteX9" fmla="*/ 15162 w 217084"/>
                <a:gd name="connsiteY9" fmla="*/ 97501 h 217520"/>
                <a:gd name="connsiteX10" fmla="*/ 96953 w 217084"/>
                <a:gd name="connsiteY10" fmla="*/ 15786 h 217520"/>
                <a:gd name="connsiteX11" fmla="*/ 178744 w 217084"/>
                <a:gd name="connsiteY11" fmla="*/ 97501 h 217520"/>
                <a:gd name="connsiteX12" fmla="*/ 114206 w 217084"/>
                <a:gd name="connsiteY12" fmla="*/ 177301 h 217520"/>
                <a:gd name="connsiteX13" fmla="*/ 114206 w 217084"/>
                <a:gd name="connsiteY13" fmla="*/ 133252 h 217520"/>
                <a:gd name="connsiteX14" fmla="*/ 118679 w 217084"/>
                <a:gd name="connsiteY14" fmla="*/ 133252 h 217520"/>
                <a:gd name="connsiteX15" fmla="*/ 125069 w 217084"/>
                <a:gd name="connsiteY15" fmla="*/ 126868 h 217520"/>
                <a:gd name="connsiteX16" fmla="*/ 125069 w 217084"/>
                <a:gd name="connsiteY16" fmla="*/ 73881 h 217520"/>
                <a:gd name="connsiteX17" fmla="*/ 118679 w 217084"/>
                <a:gd name="connsiteY17" fmla="*/ 67497 h 217520"/>
                <a:gd name="connsiteX18" fmla="*/ 76505 w 217084"/>
                <a:gd name="connsiteY18" fmla="*/ 67497 h 217520"/>
                <a:gd name="connsiteX19" fmla="*/ 70115 w 217084"/>
                <a:gd name="connsiteY19" fmla="*/ 73881 h 217520"/>
                <a:gd name="connsiteX20" fmla="*/ 70115 w 217084"/>
                <a:gd name="connsiteY20" fmla="*/ 126868 h 217520"/>
                <a:gd name="connsiteX21" fmla="*/ 76505 w 217084"/>
                <a:gd name="connsiteY21" fmla="*/ 133252 h 217520"/>
                <a:gd name="connsiteX22" fmla="*/ 80978 w 217084"/>
                <a:gd name="connsiteY22" fmla="*/ 133252 h 217520"/>
                <a:gd name="connsiteX23" fmla="*/ 80978 w 217084"/>
                <a:gd name="connsiteY23" fmla="*/ 177940 h 217520"/>
                <a:gd name="connsiteX24" fmla="*/ 15162 w 217084"/>
                <a:gd name="connsiteY24" fmla="*/ 97501 h 217520"/>
                <a:gd name="connsiteX25" fmla="*/ 82256 w 217084"/>
                <a:gd name="connsiteY25" fmla="*/ 120484 h 217520"/>
                <a:gd name="connsiteX26" fmla="*/ 82256 w 217084"/>
                <a:gd name="connsiteY26" fmla="*/ 80265 h 217520"/>
                <a:gd name="connsiteX27" fmla="*/ 111650 w 217084"/>
                <a:gd name="connsiteY27" fmla="*/ 80265 h 217520"/>
                <a:gd name="connsiteX28" fmla="*/ 111650 w 217084"/>
                <a:gd name="connsiteY28" fmla="*/ 120484 h 217520"/>
                <a:gd name="connsiteX29" fmla="*/ 82256 w 217084"/>
                <a:gd name="connsiteY29" fmla="*/ 120484 h 217520"/>
                <a:gd name="connsiteX30" fmla="*/ 93119 w 217084"/>
                <a:gd name="connsiteY30" fmla="*/ 178578 h 217520"/>
                <a:gd name="connsiteX31" fmla="*/ 93119 w 217084"/>
                <a:gd name="connsiteY31" fmla="*/ 132613 h 217520"/>
                <a:gd name="connsiteX32" fmla="*/ 101426 w 217084"/>
                <a:gd name="connsiteY32" fmla="*/ 132613 h 217520"/>
                <a:gd name="connsiteX33" fmla="*/ 101426 w 217084"/>
                <a:gd name="connsiteY33" fmla="*/ 178578 h 217520"/>
                <a:gd name="connsiteX34" fmla="*/ 96953 w 217084"/>
                <a:gd name="connsiteY34" fmla="*/ 178578 h 217520"/>
                <a:gd name="connsiteX35" fmla="*/ 93119 w 217084"/>
                <a:gd name="connsiteY35" fmla="*/ 178578 h 217520"/>
                <a:gd name="connsiteX36" fmla="*/ 93119 w 217084"/>
                <a:gd name="connsiteY36" fmla="*/ 178578 h 21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7084" h="217520">
                  <a:moveTo>
                    <a:pt x="168521" y="158788"/>
                  </a:moveTo>
                  <a:cubicBezTo>
                    <a:pt x="203026" y="118569"/>
                    <a:pt x="199192" y="58559"/>
                    <a:pt x="158936" y="23447"/>
                  </a:cubicBezTo>
                  <a:cubicBezTo>
                    <a:pt x="118679" y="-11026"/>
                    <a:pt x="58614" y="-7196"/>
                    <a:pt x="23469" y="33023"/>
                  </a:cubicBezTo>
                  <a:cubicBezTo>
                    <a:pt x="-11037" y="73242"/>
                    <a:pt x="-7203" y="133252"/>
                    <a:pt x="33054" y="168364"/>
                  </a:cubicBezTo>
                  <a:cubicBezTo>
                    <a:pt x="69477" y="199645"/>
                    <a:pt x="123152" y="199645"/>
                    <a:pt x="159574" y="167725"/>
                  </a:cubicBezTo>
                  <a:lnTo>
                    <a:pt x="206221" y="215605"/>
                  </a:lnTo>
                  <a:cubicBezTo>
                    <a:pt x="208777" y="218159"/>
                    <a:pt x="212611" y="218159"/>
                    <a:pt x="215167" y="215605"/>
                  </a:cubicBezTo>
                  <a:cubicBezTo>
                    <a:pt x="217723" y="213052"/>
                    <a:pt x="217723" y="209221"/>
                    <a:pt x="215167" y="206668"/>
                  </a:cubicBezTo>
                  <a:lnTo>
                    <a:pt x="168521" y="158788"/>
                  </a:lnTo>
                  <a:close/>
                  <a:moveTo>
                    <a:pt x="15162" y="97501"/>
                  </a:moveTo>
                  <a:cubicBezTo>
                    <a:pt x="15162" y="52175"/>
                    <a:pt x="51585" y="15786"/>
                    <a:pt x="96953" y="15786"/>
                  </a:cubicBezTo>
                  <a:cubicBezTo>
                    <a:pt x="142322" y="15786"/>
                    <a:pt x="178744" y="52175"/>
                    <a:pt x="178744" y="97501"/>
                  </a:cubicBezTo>
                  <a:cubicBezTo>
                    <a:pt x="178744" y="135805"/>
                    <a:pt x="151907" y="169002"/>
                    <a:pt x="114206" y="177301"/>
                  </a:cubicBezTo>
                  <a:lnTo>
                    <a:pt x="114206" y="133252"/>
                  </a:lnTo>
                  <a:lnTo>
                    <a:pt x="118679" y="133252"/>
                  </a:lnTo>
                  <a:cubicBezTo>
                    <a:pt x="122513" y="133252"/>
                    <a:pt x="125069" y="130698"/>
                    <a:pt x="125069" y="126868"/>
                  </a:cubicBezTo>
                  <a:lnTo>
                    <a:pt x="125069" y="73881"/>
                  </a:lnTo>
                  <a:cubicBezTo>
                    <a:pt x="125069" y="70050"/>
                    <a:pt x="122513" y="67497"/>
                    <a:pt x="118679" y="67497"/>
                  </a:cubicBezTo>
                  <a:lnTo>
                    <a:pt x="76505" y="67497"/>
                  </a:lnTo>
                  <a:cubicBezTo>
                    <a:pt x="72671" y="67497"/>
                    <a:pt x="70115" y="70050"/>
                    <a:pt x="70115" y="73881"/>
                  </a:cubicBezTo>
                  <a:lnTo>
                    <a:pt x="70115" y="126868"/>
                  </a:lnTo>
                  <a:cubicBezTo>
                    <a:pt x="70115" y="130698"/>
                    <a:pt x="72671" y="133252"/>
                    <a:pt x="76505" y="133252"/>
                  </a:cubicBezTo>
                  <a:lnTo>
                    <a:pt x="80978" y="133252"/>
                  </a:lnTo>
                  <a:lnTo>
                    <a:pt x="80978" y="177940"/>
                  </a:lnTo>
                  <a:cubicBezTo>
                    <a:pt x="42000" y="169641"/>
                    <a:pt x="15162" y="136444"/>
                    <a:pt x="15162" y="97501"/>
                  </a:cubicBezTo>
                  <a:close/>
                  <a:moveTo>
                    <a:pt x="82256" y="120484"/>
                  </a:moveTo>
                  <a:lnTo>
                    <a:pt x="82256" y="80265"/>
                  </a:lnTo>
                  <a:lnTo>
                    <a:pt x="111650" y="80265"/>
                  </a:lnTo>
                  <a:lnTo>
                    <a:pt x="111650" y="120484"/>
                  </a:lnTo>
                  <a:lnTo>
                    <a:pt x="82256" y="120484"/>
                  </a:lnTo>
                  <a:close/>
                  <a:moveTo>
                    <a:pt x="93119" y="178578"/>
                  </a:moveTo>
                  <a:lnTo>
                    <a:pt x="93119" y="132613"/>
                  </a:lnTo>
                  <a:lnTo>
                    <a:pt x="101426" y="132613"/>
                  </a:lnTo>
                  <a:lnTo>
                    <a:pt x="101426" y="178578"/>
                  </a:lnTo>
                  <a:cubicBezTo>
                    <a:pt x="100148" y="178578"/>
                    <a:pt x="98231" y="178578"/>
                    <a:pt x="96953" y="178578"/>
                  </a:cubicBezTo>
                  <a:cubicBezTo>
                    <a:pt x="95675" y="178578"/>
                    <a:pt x="94397" y="179217"/>
                    <a:pt x="93119" y="178578"/>
                  </a:cubicBezTo>
                  <a:lnTo>
                    <a:pt x="93119" y="178578"/>
                  </a:lnTo>
                  <a:close/>
                </a:path>
              </a:pathLst>
            </a:custGeom>
            <a:grpFill/>
            <a:ln w="6390" cap="flat">
              <a:noFill/>
              <a:prstDash val="solid"/>
              <a:miter/>
            </a:ln>
          </p:spPr>
          <p:txBody>
            <a:bodyPr rtlCol="0" anchor="ctr"/>
            <a:lstStyle/>
            <a:p>
              <a:endParaRPr lang="en-US" dirty="0">
                <a:latin typeface="+mj-lt"/>
              </a:endParaRPr>
            </a:p>
          </p:txBody>
        </p:sp>
      </p:grpSp>
      <p:grpSp>
        <p:nvGrpSpPr>
          <p:cNvPr id="30" name="Graphic 4">
            <a:extLst>
              <a:ext uri="{FF2B5EF4-FFF2-40B4-BE49-F238E27FC236}">
                <a16:creationId xmlns:a16="http://schemas.microsoft.com/office/drawing/2014/main" id="{A9DA4E1B-E4BC-783E-3449-152DC73587CD}"/>
              </a:ext>
            </a:extLst>
          </p:cNvPr>
          <p:cNvGrpSpPr/>
          <p:nvPr/>
        </p:nvGrpSpPr>
        <p:grpSpPr>
          <a:xfrm>
            <a:off x="8220218" y="5485909"/>
            <a:ext cx="468000" cy="468000"/>
            <a:chOff x="3607758" y="3824806"/>
            <a:chExt cx="361674" cy="361333"/>
          </a:xfrm>
          <a:solidFill>
            <a:schemeClr val="accent1"/>
          </a:solidFill>
        </p:grpSpPr>
        <p:sp>
          <p:nvSpPr>
            <p:cNvPr id="31" name="Graphic 4">
              <a:extLst>
                <a:ext uri="{FF2B5EF4-FFF2-40B4-BE49-F238E27FC236}">
                  <a16:creationId xmlns:a16="http://schemas.microsoft.com/office/drawing/2014/main" id="{4950AA66-F8F0-C5EC-9ACA-2005A0400879}"/>
                </a:ext>
              </a:extLst>
            </p:cNvPr>
            <p:cNvSpPr/>
            <p:nvPr/>
          </p:nvSpPr>
          <p:spPr>
            <a:xfrm>
              <a:off x="3607758" y="3824806"/>
              <a:ext cx="361674" cy="361333"/>
            </a:xfrm>
            <a:custGeom>
              <a:avLst/>
              <a:gdLst>
                <a:gd name="connsiteX0" fmla="*/ 180836 w 361674"/>
                <a:gd name="connsiteY0" fmla="*/ 12130 h 361333"/>
                <a:gd name="connsiteX1" fmla="*/ 12780 w 361674"/>
                <a:gd name="connsiteY1" fmla="*/ 180028 h 361333"/>
                <a:gd name="connsiteX2" fmla="*/ 180836 w 361674"/>
                <a:gd name="connsiteY2" fmla="*/ 347927 h 361333"/>
                <a:gd name="connsiteX3" fmla="*/ 348891 w 361674"/>
                <a:gd name="connsiteY3" fmla="*/ 180028 h 361333"/>
                <a:gd name="connsiteX4" fmla="*/ 180836 w 361674"/>
                <a:gd name="connsiteY4" fmla="*/ 12130 h 361333"/>
                <a:gd name="connsiteX5" fmla="*/ 180836 w 361674"/>
                <a:gd name="connsiteY5" fmla="*/ 361333 h 361333"/>
                <a:gd name="connsiteX6" fmla="*/ 0 w 361674"/>
                <a:gd name="connsiteY6" fmla="*/ 180667 h 361333"/>
                <a:gd name="connsiteX7" fmla="*/ 180836 w 361674"/>
                <a:gd name="connsiteY7" fmla="*/ 0 h 361333"/>
                <a:gd name="connsiteX8" fmla="*/ 361671 w 361674"/>
                <a:gd name="connsiteY8" fmla="*/ 180667 h 361333"/>
                <a:gd name="connsiteX9" fmla="*/ 180836 w 361674"/>
                <a:gd name="connsiteY9" fmla="*/ 36133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12130"/>
                  </a:moveTo>
                  <a:cubicBezTo>
                    <a:pt x="88181" y="12130"/>
                    <a:pt x="12780" y="87461"/>
                    <a:pt x="12780" y="180028"/>
                  </a:cubicBezTo>
                  <a:cubicBezTo>
                    <a:pt x="12780" y="272596"/>
                    <a:pt x="88181" y="347927"/>
                    <a:pt x="180836" y="347927"/>
                  </a:cubicBezTo>
                  <a:cubicBezTo>
                    <a:pt x="273490" y="347927"/>
                    <a:pt x="348891" y="272596"/>
                    <a:pt x="348891" y="180028"/>
                  </a:cubicBezTo>
                  <a:cubicBezTo>
                    <a:pt x="349530" y="87461"/>
                    <a:pt x="274128" y="12130"/>
                    <a:pt x="180836" y="12130"/>
                  </a:cubicBezTo>
                  <a:moveTo>
                    <a:pt x="180836" y="361333"/>
                  </a:moveTo>
                  <a:cubicBezTo>
                    <a:pt x="81152" y="361333"/>
                    <a:pt x="0" y="280257"/>
                    <a:pt x="0" y="180667"/>
                  </a:cubicBezTo>
                  <a:cubicBezTo>
                    <a:pt x="0" y="81077"/>
                    <a:pt x="81152" y="0"/>
                    <a:pt x="180836" y="0"/>
                  </a:cubicBezTo>
                  <a:cubicBezTo>
                    <a:pt x="280518" y="0"/>
                    <a:pt x="361671" y="81077"/>
                    <a:pt x="361671" y="180667"/>
                  </a:cubicBezTo>
                  <a:cubicBezTo>
                    <a:pt x="362310" y="280257"/>
                    <a:pt x="281157" y="361333"/>
                    <a:pt x="180836" y="361333"/>
                  </a:cubicBezTo>
                </a:path>
              </a:pathLst>
            </a:custGeom>
            <a:grpFill/>
            <a:ln w="6390" cap="flat">
              <a:noFill/>
              <a:prstDash val="solid"/>
              <a:miter/>
            </a:ln>
          </p:spPr>
          <p:txBody>
            <a:bodyPr rtlCol="0" anchor="ctr"/>
            <a:lstStyle/>
            <a:p>
              <a:endParaRPr lang="en-US" dirty="0">
                <a:latin typeface="+mj-lt"/>
              </a:endParaRPr>
            </a:p>
          </p:txBody>
        </p:sp>
        <p:sp>
          <p:nvSpPr>
            <p:cNvPr id="32" name="Graphic 4">
              <a:extLst>
                <a:ext uri="{FF2B5EF4-FFF2-40B4-BE49-F238E27FC236}">
                  <a16:creationId xmlns:a16="http://schemas.microsoft.com/office/drawing/2014/main" id="{39543E76-6763-F989-45B0-0AB78EF87379}"/>
                </a:ext>
              </a:extLst>
            </p:cNvPr>
            <p:cNvSpPr/>
            <p:nvPr/>
          </p:nvSpPr>
          <p:spPr>
            <a:xfrm>
              <a:off x="3709358" y="4015687"/>
              <a:ext cx="12779" cy="33196"/>
            </a:xfrm>
            <a:custGeom>
              <a:avLst/>
              <a:gdLst>
                <a:gd name="connsiteX0" fmla="*/ 6390 w 12779"/>
                <a:gd name="connsiteY0" fmla="*/ 33196 h 33196"/>
                <a:gd name="connsiteX1" fmla="*/ 0 w 12779"/>
                <a:gd name="connsiteY1" fmla="*/ 26812 h 33196"/>
                <a:gd name="connsiteX2" fmla="*/ 0 w 12779"/>
                <a:gd name="connsiteY2" fmla="*/ 6384 h 33196"/>
                <a:gd name="connsiteX3" fmla="*/ 6390 w 12779"/>
                <a:gd name="connsiteY3" fmla="*/ 0 h 33196"/>
                <a:gd name="connsiteX4" fmla="*/ 12780 w 12779"/>
                <a:gd name="connsiteY4" fmla="*/ 6384 h 33196"/>
                <a:gd name="connsiteX5" fmla="*/ 12780 w 12779"/>
                <a:gd name="connsiteY5" fmla="*/ 26812 h 33196"/>
                <a:gd name="connsiteX6" fmla="*/ 6390 w 12779"/>
                <a:gd name="connsiteY6" fmla="*/ 33196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3196">
                  <a:moveTo>
                    <a:pt x="6390" y="33196"/>
                  </a:moveTo>
                  <a:cubicBezTo>
                    <a:pt x="2556" y="33196"/>
                    <a:pt x="0" y="30643"/>
                    <a:pt x="0" y="26812"/>
                  </a:cubicBezTo>
                  <a:lnTo>
                    <a:pt x="0" y="6384"/>
                  </a:lnTo>
                  <a:cubicBezTo>
                    <a:pt x="0" y="2553"/>
                    <a:pt x="2556" y="0"/>
                    <a:pt x="6390" y="0"/>
                  </a:cubicBezTo>
                  <a:cubicBezTo>
                    <a:pt x="10224" y="0"/>
                    <a:pt x="12780" y="2553"/>
                    <a:pt x="12780" y="6384"/>
                  </a:cubicBezTo>
                  <a:lnTo>
                    <a:pt x="12780" y="26812"/>
                  </a:lnTo>
                  <a:cubicBezTo>
                    <a:pt x="12780" y="30004"/>
                    <a:pt x="10224" y="33196"/>
                    <a:pt x="6390" y="33196"/>
                  </a:cubicBezTo>
                </a:path>
              </a:pathLst>
            </a:custGeom>
            <a:grpFill/>
            <a:ln w="6390" cap="flat">
              <a:noFill/>
              <a:prstDash val="solid"/>
              <a:miter/>
            </a:ln>
          </p:spPr>
          <p:txBody>
            <a:bodyPr rtlCol="0" anchor="ctr"/>
            <a:lstStyle/>
            <a:p>
              <a:endParaRPr lang="en-US" dirty="0">
                <a:latin typeface="+mj-lt"/>
              </a:endParaRPr>
            </a:p>
          </p:txBody>
        </p:sp>
        <p:sp>
          <p:nvSpPr>
            <p:cNvPr id="33" name="Graphic 4">
              <a:extLst>
                <a:ext uri="{FF2B5EF4-FFF2-40B4-BE49-F238E27FC236}">
                  <a16:creationId xmlns:a16="http://schemas.microsoft.com/office/drawing/2014/main" id="{3301D9A0-2EA0-E126-7732-C259F02A518B}"/>
                </a:ext>
              </a:extLst>
            </p:cNvPr>
            <p:cNvSpPr/>
            <p:nvPr/>
          </p:nvSpPr>
          <p:spPr>
            <a:xfrm>
              <a:off x="3675491" y="3915459"/>
              <a:ext cx="226842" cy="157045"/>
            </a:xfrm>
            <a:custGeom>
              <a:avLst/>
              <a:gdLst>
                <a:gd name="connsiteX0" fmla="*/ 28755 w 226842"/>
                <a:gd name="connsiteY0" fmla="*/ 13406 h 157045"/>
                <a:gd name="connsiteX1" fmla="*/ 12780 w 226842"/>
                <a:gd name="connsiteY1" fmla="*/ 29366 h 157045"/>
                <a:gd name="connsiteX2" fmla="*/ 12780 w 226842"/>
                <a:gd name="connsiteY2" fmla="*/ 128957 h 157045"/>
                <a:gd name="connsiteX3" fmla="*/ 28755 w 226842"/>
                <a:gd name="connsiteY3" fmla="*/ 144916 h 157045"/>
                <a:gd name="connsiteX4" fmla="*/ 198088 w 226842"/>
                <a:gd name="connsiteY4" fmla="*/ 144916 h 157045"/>
                <a:gd name="connsiteX5" fmla="*/ 214063 w 226842"/>
                <a:gd name="connsiteY5" fmla="*/ 128957 h 157045"/>
                <a:gd name="connsiteX6" fmla="*/ 214063 w 226842"/>
                <a:gd name="connsiteY6" fmla="*/ 29366 h 157045"/>
                <a:gd name="connsiteX7" fmla="*/ 198088 w 226842"/>
                <a:gd name="connsiteY7" fmla="*/ 13406 h 157045"/>
                <a:gd name="connsiteX8" fmla="*/ 28755 w 226842"/>
                <a:gd name="connsiteY8" fmla="*/ 13406 h 157045"/>
                <a:gd name="connsiteX9" fmla="*/ 198088 w 226842"/>
                <a:gd name="connsiteY9" fmla="*/ 157046 h 157045"/>
                <a:gd name="connsiteX10" fmla="*/ 28755 w 226842"/>
                <a:gd name="connsiteY10" fmla="*/ 157046 h 157045"/>
                <a:gd name="connsiteX11" fmla="*/ 0 w 226842"/>
                <a:gd name="connsiteY11" fmla="*/ 128318 h 157045"/>
                <a:gd name="connsiteX12" fmla="*/ 0 w 226842"/>
                <a:gd name="connsiteY12" fmla="*/ 28728 h 157045"/>
                <a:gd name="connsiteX13" fmla="*/ 28755 w 226842"/>
                <a:gd name="connsiteY13" fmla="*/ 0 h 157045"/>
                <a:gd name="connsiteX14" fmla="*/ 198088 w 226842"/>
                <a:gd name="connsiteY14" fmla="*/ 0 h 157045"/>
                <a:gd name="connsiteX15" fmla="*/ 226843 w 226842"/>
                <a:gd name="connsiteY15" fmla="*/ 28728 h 157045"/>
                <a:gd name="connsiteX16" fmla="*/ 226843 w 226842"/>
                <a:gd name="connsiteY16" fmla="*/ 128318 h 157045"/>
                <a:gd name="connsiteX17" fmla="*/ 198088 w 226842"/>
                <a:gd name="connsiteY17" fmla="*/ 157046 h 15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42" h="157045">
                  <a:moveTo>
                    <a:pt x="28755" y="13406"/>
                  </a:moveTo>
                  <a:cubicBezTo>
                    <a:pt x="19809" y="13406"/>
                    <a:pt x="12780" y="20429"/>
                    <a:pt x="12780" y="29366"/>
                  </a:cubicBezTo>
                  <a:lnTo>
                    <a:pt x="12780" y="128957"/>
                  </a:lnTo>
                  <a:cubicBezTo>
                    <a:pt x="12780" y="137256"/>
                    <a:pt x="19809" y="144916"/>
                    <a:pt x="28755" y="144916"/>
                  </a:cubicBezTo>
                  <a:lnTo>
                    <a:pt x="198088" y="144916"/>
                  </a:lnTo>
                  <a:cubicBezTo>
                    <a:pt x="207034" y="144916"/>
                    <a:pt x="214063" y="137894"/>
                    <a:pt x="214063" y="128957"/>
                  </a:cubicBezTo>
                  <a:lnTo>
                    <a:pt x="214063" y="29366"/>
                  </a:lnTo>
                  <a:cubicBezTo>
                    <a:pt x="214063" y="20429"/>
                    <a:pt x="207034" y="13406"/>
                    <a:pt x="198088" y="13406"/>
                  </a:cubicBezTo>
                  <a:lnTo>
                    <a:pt x="28755" y="13406"/>
                  </a:lnTo>
                  <a:close/>
                  <a:moveTo>
                    <a:pt x="198088" y="157046"/>
                  </a:moveTo>
                  <a:lnTo>
                    <a:pt x="28755" y="157046"/>
                  </a:lnTo>
                  <a:cubicBezTo>
                    <a:pt x="12780" y="157046"/>
                    <a:pt x="0" y="144278"/>
                    <a:pt x="0" y="128318"/>
                  </a:cubicBezTo>
                  <a:lnTo>
                    <a:pt x="0" y="28728"/>
                  </a:lnTo>
                  <a:cubicBezTo>
                    <a:pt x="0" y="12768"/>
                    <a:pt x="12780" y="0"/>
                    <a:pt x="28755" y="0"/>
                  </a:cubicBezTo>
                  <a:lnTo>
                    <a:pt x="198088" y="0"/>
                  </a:lnTo>
                  <a:cubicBezTo>
                    <a:pt x="214063" y="0"/>
                    <a:pt x="226843" y="12768"/>
                    <a:pt x="226843" y="28728"/>
                  </a:cubicBezTo>
                  <a:lnTo>
                    <a:pt x="226843" y="128318"/>
                  </a:lnTo>
                  <a:cubicBezTo>
                    <a:pt x="226843" y="144278"/>
                    <a:pt x="214063" y="157046"/>
                    <a:pt x="198088" y="157046"/>
                  </a:cubicBezTo>
                </a:path>
              </a:pathLst>
            </a:custGeom>
            <a:grpFill/>
            <a:ln w="6390" cap="flat">
              <a:noFill/>
              <a:prstDash val="solid"/>
              <a:miter/>
            </a:ln>
          </p:spPr>
          <p:txBody>
            <a:bodyPr rtlCol="0" anchor="ctr"/>
            <a:lstStyle/>
            <a:p>
              <a:endParaRPr lang="en-US" dirty="0">
                <a:latin typeface="+mj-lt"/>
              </a:endParaRPr>
            </a:p>
          </p:txBody>
        </p:sp>
        <p:sp>
          <p:nvSpPr>
            <p:cNvPr id="34" name="Graphic 4">
              <a:extLst>
                <a:ext uri="{FF2B5EF4-FFF2-40B4-BE49-F238E27FC236}">
                  <a16:creationId xmlns:a16="http://schemas.microsoft.com/office/drawing/2014/main" id="{1135CC0C-8D5F-3C61-8F15-8F14C003DA63}"/>
                </a:ext>
              </a:extLst>
            </p:cNvPr>
            <p:cNvSpPr/>
            <p:nvPr/>
          </p:nvSpPr>
          <p:spPr>
            <a:xfrm>
              <a:off x="3824377" y="3988874"/>
              <a:ext cx="12779" cy="61924"/>
            </a:xfrm>
            <a:custGeom>
              <a:avLst/>
              <a:gdLst>
                <a:gd name="connsiteX0" fmla="*/ 6390 w 12779"/>
                <a:gd name="connsiteY0" fmla="*/ 61925 h 61924"/>
                <a:gd name="connsiteX1" fmla="*/ 0 w 12779"/>
                <a:gd name="connsiteY1" fmla="*/ 55541 h 61924"/>
                <a:gd name="connsiteX2" fmla="*/ 0 w 12779"/>
                <a:gd name="connsiteY2" fmla="*/ 6384 h 61924"/>
                <a:gd name="connsiteX3" fmla="*/ 6390 w 12779"/>
                <a:gd name="connsiteY3" fmla="*/ 0 h 61924"/>
                <a:gd name="connsiteX4" fmla="*/ 12780 w 12779"/>
                <a:gd name="connsiteY4" fmla="*/ 6384 h 61924"/>
                <a:gd name="connsiteX5" fmla="*/ 1278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2556" y="61925"/>
                    <a:pt x="0" y="59371"/>
                    <a:pt x="0" y="55541"/>
                  </a:cubicBezTo>
                  <a:lnTo>
                    <a:pt x="0" y="6384"/>
                  </a:lnTo>
                  <a:cubicBezTo>
                    <a:pt x="0" y="2553"/>
                    <a:pt x="2556" y="0"/>
                    <a:pt x="6390" y="0"/>
                  </a:cubicBezTo>
                  <a:cubicBezTo>
                    <a:pt x="10224" y="0"/>
                    <a:pt x="12780" y="2553"/>
                    <a:pt x="12780" y="6384"/>
                  </a:cubicBezTo>
                  <a:lnTo>
                    <a:pt x="12780" y="55541"/>
                  </a:lnTo>
                  <a:cubicBezTo>
                    <a:pt x="12780" y="59371"/>
                    <a:pt x="9585" y="61925"/>
                    <a:pt x="6390" y="61925"/>
                  </a:cubicBezTo>
                </a:path>
              </a:pathLst>
            </a:custGeom>
            <a:grpFill/>
            <a:ln w="6390" cap="flat">
              <a:noFill/>
              <a:prstDash val="solid"/>
              <a:miter/>
            </a:ln>
          </p:spPr>
          <p:txBody>
            <a:bodyPr rtlCol="0" anchor="ctr"/>
            <a:lstStyle/>
            <a:p>
              <a:endParaRPr lang="en-US" dirty="0">
                <a:latin typeface="+mj-lt"/>
              </a:endParaRPr>
            </a:p>
          </p:txBody>
        </p:sp>
        <p:sp>
          <p:nvSpPr>
            <p:cNvPr id="35" name="Graphic 4">
              <a:extLst>
                <a:ext uri="{FF2B5EF4-FFF2-40B4-BE49-F238E27FC236}">
                  <a16:creationId xmlns:a16="http://schemas.microsoft.com/office/drawing/2014/main" id="{34C80F9D-BE1A-2A48-83A2-CE82444C2695}"/>
                </a:ext>
              </a:extLst>
            </p:cNvPr>
            <p:cNvSpPr/>
            <p:nvPr/>
          </p:nvSpPr>
          <p:spPr>
            <a:xfrm>
              <a:off x="3853132" y="3974829"/>
              <a:ext cx="12779" cy="75969"/>
            </a:xfrm>
            <a:custGeom>
              <a:avLst/>
              <a:gdLst>
                <a:gd name="connsiteX0" fmla="*/ 6390 w 12779"/>
                <a:gd name="connsiteY0" fmla="*/ 75970 h 75969"/>
                <a:gd name="connsiteX1" fmla="*/ 0 w 12779"/>
                <a:gd name="connsiteY1" fmla="*/ 69586 h 75969"/>
                <a:gd name="connsiteX2" fmla="*/ 0 w 12779"/>
                <a:gd name="connsiteY2" fmla="*/ 6384 h 75969"/>
                <a:gd name="connsiteX3" fmla="*/ 6390 w 12779"/>
                <a:gd name="connsiteY3" fmla="*/ 0 h 75969"/>
                <a:gd name="connsiteX4" fmla="*/ 12780 w 12779"/>
                <a:gd name="connsiteY4" fmla="*/ 6384 h 75969"/>
                <a:gd name="connsiteX5" fmla="*/ 12780 w 12779"/>
                <a:gd name="connsiteY5" fmla="*/ 69586 h 75969"/>
                <a:gd name="connsiteX6" fmla="*/ 6390 w 12779"/>
                <a:gd name="connsiteY6" fmla="*/ 7597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5969">
                  <a:moveTo>
                    <a:pt x="6390" y="75970"/>
                  </a:moveTo>
                  <a:cubicBezTo>
                    <a:pt x="2556" y="75970"/>
                    <a:pt x="0" y="73416"/>
                    <a:pt x="0" y="69586"/>
                  </a:cubicBezTo>
                  <a:lnTo>
                    <a:pt x="0" y="6384"/>
                  </a:lnTo>
                  <a:cubicBezTo>
                    <a:pt x="0" y="2554"/>
                    <a:pt x="2556" y="0"/>
                    <a:pt x="6390" y="0"/>
                  </a:cubicBezTo>
                  <a:cubicBezTo>
                    <a:pt x="10224" y="0"/>
                    <a:pt x="12780" y="2554"/>
                    <a:pt x="12780" y="6384"/>
                  </a:cubicBezTo>
                  <a:lnTo>
                    <a:pt x="12780" y="69586"/>
                  </a:lnTo>
                  <a:cubicBezTo>
                    <a:pt x="12780" y="73416"/>
                    <a:pt x="9585" y="75970"/>
                    <a:pt x="6390" y="75970"/>
                  </a:cubicBezTo>
                </a:path>
              </a:pathLst>
            </a:custGeom>
            <a:grpFill/>
            <a:ln w="6390" cap="flat">
              <a:noFill/>
              <a:prstDash val="solid"/>
              <a:miter/>
            </a:ln>
          </p:spPr>
          <p:txBody>
            <a:bodyPr rtlCol="0" anchor="ctr"/>
            <a:lstStyle/>
            <a:p>
              <a:endParaRPr lang="en-US" dirty="0">
                <a:latin typeface="+mj-lt"/>
              </a:endParaRPr>
            </a:p>
          </p:txBody>
        </p:sp>
        <p:sp>
          <p:nvSpPr>
            <p:cNvPr id="36" name="Graphic 4">
              <a:extLst>
                <a:ext uri="{FF2B5EF4-FFF2-40B4-BE49-F238E27FC236}">
                  <a16:creationId xmlns:a16="http://schemas.microsoft.com/office/drawing/2014/main" id="{AE731336-3FEB-2BDB-4A5D-8E83DEB0D3E8}"/>
                </a:ext>
              </a:extLst>
            </p:cNvPr>
            <p:cNvSpPr/>
            <p:nvPr/>
          </p:nvSpPr>
          <p:spPr>
            <a:xfrm>
              <a:off x="3795622" y="4002919"/>
              <a:ext cx="12779" cy="47879"/>
            </a:xfrm>
            <a:custGeom>
              <a:avLst/>
              <a:gdLst>
                <a:gd name="connsiteX0" fmla="*/ 6390 w 12779"/>
                <a:gd name="connsiteY0" fmla="*/ 47880 h 47879"/>
                <a:gd name="connsiteX1" fmla="*/ 0 w 12779"/>
                <a:gd name="connsiteY1" fmla="*/ 41496 h 47879"/>
                <a:gd name="connsiteX2" fmla="*/ 0 w 12779"/>
                <a:gd name="connsiteY2" fmla="*/ 6384 h 47879"/>
                <a:gd name="connsiteX3" fmla="*/ 6390 w 12779"/>
                <a:gd name="connsiteY3" fmla="*/ 0 h 47879"/>
                <a:gd name="connsiteX4" fmla="*/ 12780 w 12779"/>
                <a:gd name="connsiteY4" fmla="*/ 6384 h 47879"/>
                <a:gd name="connsiteX5" fmla="*/ 12780 w 12779"/>
                <a:gd name="connsiteY5" fmla="*/ 41496 h 47879"/>
                <a:gd name="connsiteX6" fmla="*/ 6390 w 12779"/>
                <a:gd name="connsiteY6"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7879">
                  <a:moveTo>
                    <a:pt x="6390" y="47880"/>
                  </a:moveTo>
                  <a:cubicBezTo>
                    <a:pt x="2556" y="47880"/>
                    <a:pt x="0" y="45326"/>
                    <a:pt x="0" y="41496"/>
                  </a:cubicBezTo>
                  <a:lnTo>
                    <a:pt x="0" y="6384"/>
                  </a:lnTo>
                  <a:cubicBezTo>
                    <a:pt x="0" y="2553"/>
                    <a:pt x="2556" y="0"/>
                    <a:pt x="6390" y="0"/>
                  </a:cubicBezTo>
                  <a:cubicBezTo>
                    <a:pt x="10224" y="0"/>
                    <a:pt x="12780" y="2553"/>
                    <a:pt x="12780" y="6384"/>
                  </a:cubicBezTo>
                  <a:lnTo>
                    <a:pt x="12780" y="41496"/>
                  </a:lnTo>
                  <a:cubicBezTo>
                    <a:pt x="12780" y="45326"/>
                    <a:pt x="10224" y="47880"/>
                    <a:pt x="6390" y="47880"/>
                  </a:cubicBezTo>
                </a:path>
              </a:pathLst>
            </a:custGeom>
            <a:grpFill/>
            <a:ln w="6390" cap="flat">
              <a:noFill/>
              <a:prstDash val="solid"/>
              <a:miter/>
            </a:ln>
          </p:spPr>
          <p:txBody>
            <a:bodyPr rtlCol="0" anchor="ctr"/>
            <a:lstStyle/>
            <a:p>
              <a:endParaRPr lang="en-US" dirty="0">
                <a:latin typeface="+mj-lt"/>
              </a:endParaRPr>
            </a:p>
          </p:txBody>
        </p:sp>
        <p:sp>
          <p:nvSpPr>
            <p:cNvPr id="37" name="Graphic 4">
              <a:extLst>
                <a:ext uri="{FF2B5EF4-FFF2-40B4-BE49-F238E27FC236}">
                  <a16:creationId xmlns:a16="http://schemas.microsoft.com/office/drawing/2014/main" id="{37B82FE0-0A6B-B64E-8D73-79BC850F0376}"/>
                </a:ext>
              </a:extLst>
            </p:cNvPr>
            <p:cNvSpPr/>
            <p:nvPr/>
          </p:nvSpPr>
          <p:spPr>
            <a:xfrm>
              <a:off x="3766867" y="3990151"/>
              <a:ext cx="12779" cy="60647"/>
            </a:xfrm>
            <a:custGeom>
              <a:avLst/>
              <a:gdLst>
                <a:gd name="connsiteX0" fmla="*/ 6390 w 12779"/>
                <a:gd name="connsiteY0" fmla="*/ 60648 h 60647"/>
                <a:gd name="connsiteX1" fmla="*/ 0 w 12779"/>
                <a:gd name="connsiteY1" fmla="*/ 54264 h 60647"/>
                <a:gd name="connsiteX2" fmla="*/ 0 w 12779"/>
                <a:gd name="connsiteY2" fmla="*/ 6384 h 60647"/>
                <a:gd name="connsiteX3" fmla="*/ 6390 w 12779"/>
                <a:gd name="connsiteY3" fmla="*/ 0 h 60647"/>
                <a:gd name="connsiteX4" fmla="*/ 12780 w 12779"/>
                <a:gd name="connsiteY4" fmla="*/ 6384 h 60647"/>
                <a:gd name="connsiteX5" fmla="*/ 12780 w 12779"/>
                <a:gd name="connsiteY5" fmla="*/ 54264 h 60647"/>
                <a:gd name="connsiteX6" fmla="*/ 6390 w 12779"/>
                <a:gd name="connsiteY6" fmla="*/ 60648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0647">
                  <a:moveTo>
                    <a:pt x="6390" y="60648"/>
                  </a:moveTo>
                  <a:cubicBezTo>
                    <a:pt x="2556" y="60648"/>
                    <a:pt x="0" y="58094"/>
                    <a:pt x="0" y="54264"/>
                  </a:cubicBezTo>
                  <a:lnTo>
                    <a:pt x="0" y="6384"/>
                  </a:lnTo>
                  <a:cubicBezTo>
                    <a:pt x="0" y="2553"/>
                    <a:pt x="2556" y="0"/>
                    <a:pt x="6390" y="0"/>
                  </a:cubicBezTo>
                  <a:cubicBezTo>
                    <a:pt x="10224" y="0"/>
                    <a:pt x="12780" y="2553"/>
                    <a:pt x="12780" y="6384"/>
                  </a:cubicBezTo>
                  <a:lnTo>
                    <a:pt x="12780" y="54264"/>
                  </a:lnTo>
                  <a:cubicBezTo>
                    <a:pt x="12780" y="58094"/>
                    <a:pt x="10224" y="60648"/>
                    <a:pt x="6390" y="60648"/>
                  </a:cubicBezTo>
                </a:path>
              </a:pathLst>
            </a:custGeom>
            <a:grpFill/>
            <a:ln w="6390" cap="flat">
              <a:noFill/>
              <a:prstDash val="solid"/>
              <a:miter/>
            </a:ln>
          </p:spPr>
          <p:txBody>
            <a:bodyPr rtlCol="0" anchor="ctr"/>
            <a:lstStyle/>
            <a:p>
              <a:endParaRPr lang="en-US" dirty="0">
                <a:latin typeface="+mj-lt"/>
              </a:endParaRPr>
            </a:p>
          </p:txBody>
        </p:sp>
        <p:sp>
          <p:nvSpPr>
            <p:cNvPr id="38" name="Graphic 4">
              <a:extLst>
                <a:ext uri="{FF2B5EF4-FFF2-40B4-BE49-F238E27FC236}">
                  <a16:creationId xmlns:a16="http://schemas.microsoft.com/office/drawing/2014/main" id="{B4E6E7A5-3AC1-24EA-A837-2FFC1D3C0DAE}"/>
                </a:ext>
              </a:extLst>
            </p:cNvPr>
            <p:cNvSpPr/>
            <p:nvPr/>
          </p:nvSpPr>
          <p:spPr>
            <a:xfrm>
              <a:off x="3738113" y="4007388"/>
              <a:ext cx="12779" cy="43411"/>
            </a:xfrm>
            <a:custGeom>
              <a:avLst/>
              <a:gdLst>
                <a:gd name="connsiteX0" fmla="*/ 6390 w 12779"/>
                <a:gd name="connsiteY0" fmla="*/ 43411 h 43411"/>
                <a:gd name="connsiteX1" fmla="*/ 0 w 12779"/>
                <a:gd name="connsiteY1" fmla="*/ 37027 h 43411"/>
                <a:gd name="connsiteX2" fmla="*/ 0 w 12779"/>
                <a:gd name="connsiteY2" fmla="*/ 6384 h 43411"/>
                <a:gd name="connsiteX3" fmla="*/ 6390 w 12779"/>
                <a:gd name="connsiteY3" fmla="*/ 0 h 43411"/>
                <a:gd name="connsiteX4" fmla="*/ 12780 w 12779"/>
                <a:gd name="connsiteY4" fmla="*/ 6384 h 43411"/>
                <a:gd name="connsiteX5" fmla="*/ 12780 w 12779"/>
                <a:gd name="connsiteY5" fmla="*/ 37027 h 43411"/>
                <a:gd name="connsiteX6" fmla="*/ 6390 w 12779"/>
                <a:gd name="connsiteY6" fmla="*/ 4341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3411">
                  <a:moveTo>
                    <a:pt x="6390" y="43411"/>
                  </a:moveTo>
                  <a:cubicBezTo>
                    <a:pt x="2556" y="43411"/>
                    <a:pt x="0" y="40858"/>
                    <a:pt x="0" y="37027"/>
                  </a:cubicBezTo>
                  <a:lnTo>
                    <a:pt x="0" y="6384"/>
                  </a:lnTo>
                  <a:cubicBezTo>
                    <a:pt x="0" y="2554"/>
                    <a:pt x="2556" y="0"/>
                    <a:pt x="6390" y="0"/>
                  </a:cubicBezTo>
                  <a:cubicBezTo>
                    <a:pt x="10224" y="0"/>
                    <a:pt x="12780" y="2554"/>
                    <a:pt x="12780" y="6384"/>
                  </a:cubicBezTo>
                  <a:lnTo>
                    <a:pt x="12780" y="37027"/>
                  </a:lnTo>
                  <a:cubicBezTo>
                    <a:pt x="12780" y="40858"/>
                    <a:pt x="10224" y="43411"/>
                    <a:pt x="6390" y="43411"/>
                  </a:cubicBezTo>
                </a:path>
              </a:pathLst>
            </a:custGeom>
            <a:grpFill/>
            <a:ln w="6390" cap="flat">
              <a:noFill/>
              <a:prstDash val="solid"/>
              <a:miter/>
            </a:ln>
          </p:spPr>
          <p:txBody>
            <a:bodyPr rtlCol="0" anchor="ctr"/>
            <a:lstStyle/>
            <a:p>
              <a:endParaRPr lang="en-US" dirty="0">
                <a:latin typeface="+mj-lt"/>
              </a:endParaRPr>
            </a:p>
          </p:txBody>
        </p:sp>
        <p:sp>
          <p:nvSpPr>
            <p:cNvPr id="39" name="Graphic 4">
              <a:extLst>
                <a:ext uri="{FF2B5EF4-FFF2-40B4-BE49-F238E27FC236}">
                  <a16:creationId xmlns:a16="http://schemas.microsoft.com/office/drawing/2014/main" id="{8F81F308-2261-1A84-5DF0-B398317DE3D7}"/>
                </a:ext>
              </a:extLst>
            </p:cNvPr>
            <p:cNvSpPr/>
            <p:nvPr/>
          </p:nvSpPr>
          <p:spPr>
            <a:xfrm>
              <a:off x="3696716" y="3936526"/>
              <a:ext cx="179684" cy="74692"/>
            </a:xfrm>
            <a:custGeom>
              <a:avLst/>
              <a:gdLst>
                <a:gd name="connsiteX0" fmla="*/ 6252 w 179684"/>
                <a:gd name="connsiteY0" fmla="*/ 74693 h 74692"/>
                <a:gd name="connsiteX1" fmla="*/ 501 w 179684"/>
                <a:gd name="connsiteY1" fmla="*/ 70862 h 74692"/>
                <a:gd name="connsiteX2" fmla="*/ 3057 w 179684"/>
                <a:gd name="connsiteY2" fmla="*/ 62563 h 74692"/>
                <a:gd name="connsiteX3" fmla="*/ 79098 w 179684"/>
                <a:gd name="connsiteY3" fmla="*/ 24259 h 74692"/>
                <a:gd name="connsiteX4" fmla="*/ 86127 w 179684"/>
                <a:gd name="connsiteY4" fmla="*/ 24898 h 74692"/>
                <a:gd name="connsiteX5" fmla="*/ 106574 w 179684"/>
                <a:gd name="connsiteY5" fmla="*/ 40858 h 74692"/>
                <a:gd name="connsiteX6" fmla="*/ 154499 w 179684"/>
                <a:gd name="connsiteY6" fmla="*/ 11491 h 74692"/>
                <a:gd name="connsiteX7" fmla="*/ 151943 w 179684"/>
                <a:gd name="connsiteY7" fmla="*/ 5746 h 74692"/>
                <a:gd name="connsiteX8" fmla="*/ 158972 w 179684"/>
                <a:gd name="connsiteY8" fmla="*/ 0 h 74692"/>
                <a:gd name="connsiteX9" fmla="*/ 173669 w 179684"/>
                <a:gd name="connsiteY9" fmla="*/ 1277 h 74692"/>
                <a:gd name="connsiteX10" fmla="*/ 174308 w 179684"/>
                <a:gd name="connsiteY10" fmla="*/ 1277 h 74692"/>
                <a:gd name="connsiteX11" fmla="*/ 174308 w 179684"/>
                <a:gd name="connsiteY11" fmla="*/ 1277 h 74692"/>
                <a:gd name="connsiteX12" fmla="*/ 174308 w 179684"/>
                <a:gd name="connsiteY12" fmla="*/ 1277 h 74692"/>
                <a:gd name="connsiteX13" fmla="*/ 174947 w 179684"/>
                <a:gd name="connsiteY13" fmla="*/ 1277 h 74692"/>
                <a:gd name="connsiteX14" fmla="*/ 174947 w 179684"/>
                <a:gd name="connsiteY14" fmla="*/ 1277 h 74692"/>
                <a:gd name="connsiteX15" fmla="*/ 178781 w 179684"/>
                <a:gd name="connsiteY15" fmla="*/ 3830 h 74692"/>
                <a:gd name="connsiteX16" fmla="*/ 178781 w 179684"/>
                <a:gd name="connsiteY16" fmla="*/ 3830 h 74692"/>
                <a:gd name="connsiteX17" fmla="*/ 178781 w 179684"/>
                <a:gd name="connsiteY17" fmla="*/ 3830 h 74692"/>
                <a:gd name="connsiteX18" fmla="*/ 178781 w 179684"/>
                <a:gd name="connsiteY18" fmla="*/ 3830 h 74692"/>
                <a:gd name="connsiteX19" fmla="*/ 178781 w 179684"/>
                <a:gd name="connsiteY19" fmla="*/ 3830 h 74692"/>
                <a:gd name="connsiteX20" fmla="*/ 178781 w 179684"/>
                <a:gd name="connsiteY20" fmla="*/ 3830 h 74692"/>
                <a:gd name="connsiteX21" fmla="*/ 178781 w 179684"/>
                <a:gd name="connsiteY21" fmla="*/ 3830 h 74692"/>
                <a:gd name="connsiteX22" fmla="*/ 179419 w 179684"/>
                <a:gd name="connsiteY22" fmla="*/ 8299 h 74692"/>
                <a:gd name="connsiteX23" fmla="*/ 179419 w 179684"/>
                <a:gd name="connsiteY23" fmla="*/ 8938 h 74692"/>
                <a:gd name="connsiteX24" fmla="*/ 179419 w 179684"/>
                <a:gd name="connsiteY24" fmla="*/ 8938 h 74692"/>
                <a:gd name="connsiteX25" fmla="*/ 179419 w 179684"/>
                <a:gd name="connsiteY25" fmla="*/ 9576 h 74692"/>
                <a:gd name="connsiteX26" fmla="*/ 174947 w 179684"/>
                <a:gd name="connsiteY26" fmla="*/ 22982 h 74692"/>
                <a:gd name="connsiteX27" fmla="*/ 166640 w 179684"/>
                <a:gd name="connsiteY27" fmla="*/ 26813 h 74692"/>
                <a:gd name="connsiteX28" fmla="*/ 162806 w 179684"/>
                <a:gd name="connsiteY28" fmla="*/ 21706 h 74692"/>
                <a:gd name="connsiteX29" fmla="*/ 110408 w 179684"/>
                <a:gd name="connsiteY29" fmla="*/ 53626 h 74692"/>
                <a:gd name="connsiteX30" fmla="*/ 103379 w 179684"/>
                <a:gd name="connsiteY30" fmla="*/ 52987 h 74692"/>
                <a:gd name="connsiteX31" fmla="*/ 82293 w 179684"/>
                <a:gd name="connsiteY31" fmla="*/ 36389 h 74692"/>
                <a:gd name="connsiteX32" fmla="*/ 9447 w 179684"/>
                <a:gd name="connsiteY32" fmla="*/ 72778 h 74692"/>
                <a:gd name="connsiteX33" fmla="*/ 6252 w 179684"/>
                <a:gd name="connsiteY33" fmla="*/ 7469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9684" h="74692">
                  <a:moveTo>
                    <a:pt x="6252" y="74693"/>
                  </a:moveTo>
                  <a:cubicBezTo>
                    <a:pt x="3696" y="74693"/>
                    <a:pt x="1779" y="73416"/>
                    <a:pt x="501" y="70862"/>
                  </a:cubicBezTo>
                  <a:cubicBezTo>
                    <a:pt x="-776" y="67670"/>
                    <a:pt x="501" y="63840"/>
                    <a:pt x="3057" y="62563"/>
                  </a:cubicBezTo>
                  <a:lnTo>
                    <a:pt x="79098" y="24259"/>
                  </a:lnTo>
                  <a:cubicBezTo>
                    <a:pt x="81015" y="22982"/>
                    <a:pt x="84210" y="23621"/>
                    <a:pt x="86127" y="24898"/>
                  </a:cubicBezTo>
                  <a:lnTo>
                    <a:pt x="106574" y="40858"/>
                  </a:lnTo>
                  <a:lnTo>
                    <a:pt x="154499" y="11491"/>
                  </a:lnTo>
                  <a:cubicBezTo>
                    <a:pt x="152582" y="10214"/>
                    <a:pt x="151304" y="7661"/>
                    <a:pt x="151943" y="5746"/>
                  </a:cubicBezTo>
                  <a:cubicBezTo>
                    <a:pt x="152582" y="2554"/>
                    <a:pt x="155138" y="0"/>
                    <a:pt x="158972" y="0"/>
                  </a:cubicBezTo>
                  <a:lnTo>
                    <a:pt x="173669" y="1277"/>
                  </a:lnTo>
                  <a:cubicBezTo>
                    <a:pt x="173669" y="1277"/>
                    <a:pt x="174308" y="1277"/>
                    <a:pt x="174308" y="1277"/>
                  </a:cubicBezTo>
                  <a:cubicBezTo>
                    <a:pt x="174308" y="1277"/>
                    <a:pt x="174308" y="1277"/>
                    <a:pt x="174308" y="1277"/>
                  </a:cubicBezTo>
                  <a:lnTo>
                    <a:pt x="174308" y="1277"/>
                  </a:lnTo>
                  <a:cubicBezTo>
                    <a:pt x="174308" y="1277"/>
                    <a:pt x="174947" y="1277"/>
                    <a:pt x="174947" y="1277"/>
                  </a:cubicBezTo>
                  <a:cubicBezTo>
                    <a:pt x="174947" y="1277"/>
                    <a:pt x="174947" y="1277"/>
                    <a:pt x="174947" y="1277"/>
                  </a:cubicBezTo>
                  <a:cubicBezTo>
                    <a:pt x="176225" y="1915"/>
                    <a:pt x="177503" y="2554"/>
                    <a:pt x="178781" y="3830"/>
                  </a:cubicBezTo>
                  <a:lnTo>
                    <a:pt x="178781" y="3830"/>
                  </a:lnTo>
                  <a:cubicBezTo>
                    <a:pt x="178781" y="3830"/>
                    <a:pt x="178781" y="3830"/>
                    <a:pt x="178781" y="3830"/>
                  </a:cubicBezTo>
                  <a:cubicBezTo>
                    <a:pt x="178781" y="3830"/>
                    <a:pt x="178781" y="3830"/>
                    <a:pt x="178781" y="3830"/>
                  </a:cubicBezTo>
                  <a:lnTo>
                    <a:pt x="178781" y="3830"/>
                  </a:lnTo>
                  <a:lnTo>
                    <a:pt x="178781" y="3830"/>
                  </a:lnTo>
                  <a:cubicBezTo>
                    <a:pt x="178781" y="3830"/>
                    <a:pt x="178781" y="3830"/>
                    <a:pt x="178781" y="3830"/>
                  </a:cubicBezTo>
                  <a:cubicBezTo>
                    <a:pt x="179419" y="5107"/>
                    <a:pt x="180059" y="7022"/>
                    <a:pt x="179419" y="8299"/>
                  </a:cubicBezTo>
                  <a:cubicBezTo>
                    <a:pt x="179419" y="8299"/>
                    <a:pt x="179419" y="8938"/>
                    <a:pt x="179419" y="8938"/>
                  </a:cubicBezTo>
                  <a:cubicBezTo>
                    <a:pt x="179419" y="8938"/>
                    <a:pt x="179419" y="8938"/>
                    <a:pt x="179419" y="8938"/>
                  </a:cubicBezTo>
                  <a:cubicBezTo>
                    <a:pt x="179419" y="8938"/>
                    <a:pt x="179419" y="9576"/>
                    <a:pt x="179419" y="9576"/>
                  </a:cubicBezTo>
                  <a:lnTo>
                    <a:pt x="174947" y="22982"/>
                  </a:lnTo>
                  <a:cubicBezTo>
                    <a:pt x="173669" y="26174"/>
                    <a:pt x="169835" y="28090"/>
                    <a:pt x="166640" y="26813"/>
                  </a:cubicBezTo>
                  <a:cubicBezTo>
                    <a:pt x="164084" y="26174"/>
                    <a:pt x="162806" y="24259"/>
                    <a:pt x="162806" y="21706"/>
                  </a:cubicBezTo>
                  <a:lnTo>
                    <a:pt x="110408" y="53626"/>
                  </a:lnTo>
                  <a:cubicBezTo>
                    <a:pt x="107852" y="54902"/>
                    <a:pt x="105296" y="54902"/>
                    <a:pt x="103379" y="52987"/>
                  </a:cubicBezTo>
                  <a:lnTo>
                    <a:pt x="82293" y="36389"/>
                  </a:lnTo>
                  <a:lnTo>
                    <a:pt x="9447" y="72778"/>
                  </a:lnTo>
                  <a:cubicBezTo>
                    <a:pt x="8169" y="74054"/>
                    <a:pt x="7530" y="74693"/>
                    <a:pt x="6252" y="74693"/>
                  </a:cubicBezTo>
                </a:path>
              </a:pathLst>
            </a:custGeom>
            <a:grpFill/>
            <a:ln w="6390" cap="flat">
              <a:noFill/>
              <a:prstDash val="solid"/>
              <a:miter/>
            </a:ln>
          </p:spPr>
          <p:txBody>
            <a:bodyPr rtlCol="0" anchor="ctr"/>
            <a:lstStyle/>
            <a:p>
              <a:endParaRPr lang="en-US" dirty="0">
                <a:latin typeface="+mj-lt"/>
              </a:endParaRPr>
            </a:p>
          </p:txBody>
        </p:sp>
        <p:sp>
          <p:nvSpPr>
            <p:cNvPr id="40" name="Graphic 4">
              <a:extLst>
                <a:ext uri="{FF2B5EF4-FFF2-40B4-BE49-F238E27FC236}">
                  <a16:creationId xmlns:a16="http://schemas.microsoft.com/office/drawing/2014/main" id="{E1BF70B1-98A5-D832-DF8F-19D9997F9C4E}"/>
                </a:ext>
              </a:extLst>
            </p:cNvPr>
            <p:cNvSpPr/>
            <p:nvPr/>
          </p:nvSpPr>
          <p:spPr>
            <a:xfrm>
              <a:off x="3709358" y="4081442"/>
              <a:ext cx="159109" cy="12767"/>
            </a:xfrm>
            <a:custGeom>
              <a:avLst/>
              <a:gdLst>
                <a:gd name="connsiteX0" fmla="*/ 152720 w 159109"/>
                <a:gd name="connsiteY0" fmla="*/ 12768 h 12767"/>
                <a:gd name="connsiteX1" fmla="*/ 6390 w 159109"/>
                <a:gd name="connsiteY1" fmla="*/ 12768 h 12767"/>
                <a:gd name="connsiteX2" fmla="*/ 0 w 159109"/>
                <a:gd name="connsiteY2" fmla="*/ 6384 h 12767"/>
                <a:gd name="connsiteX3" fmla="*/ 6390 w 159109"/>
                <a:gd name="connsiteY3" fmla="*/ 0 h 12767"/>
                <a:gd name="connsiteX4" fmla="*/ 152720 w 159109"/>
                <a:gd name="connsiteY4" fmla="*/ 0 h 12767"/>
                <a:gd name="connsiteX5" fmla="*/ 159110 w 159109"/>
                <a:gd name="connsiteY5" fmla="*/ 6384 h 12767"/>
                <a:gd name="connsiteX6" fmla="*/ 152720 w 159109"/>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109" h="12767">
                  <a:moveTo>
                    <a:pt x="152720" y="12768"/>
                  </a:moveTo>
                  <a:lnTo>
                    <a:pt x="6390" y="12768"/>
                  </a:lnTo>
                  <a:cubicBezTo>
                    <a:pt x="2556" y="12768"/>
                    <a:pt x="0" y="10214"/>
                    <a:pt x="0" y="6384"/>
                  </a:cubicBezTo>
                  <a:cubicBezTo>
                    <a:pt x="0" y="2553"/>
                    <a:pt x="2556" y="0"/>
                    <a:pt x="6390" y="0"/>
                  </a:cubicBezTo>
                  <a:lnTo>
                    <a:pt x="152720" y="0"/>
                  </a:lnTo>
                  <a:cubicBezTo>
                    <a:pt x="156553" y="0"/>
                    <a:pt x="159110" y="2553"/>
                    <a:pt x="159110" y="6384"/>
                  </a:cubicBezTo>
                  <a:cubicBezTo>
                    <a:pt x="159110" y="10214"/>
                    <a:pt x="156553" y="12768"/>
                    <a:pt x="152720" y="12768"/>
                  </a:cubicBezTo>
                </a:path>
              </a:pathLst>
            </a:custGeom>
            <a:grpFill/>
            <a:ln w="6390" cap="flat">
              <a:noFill/>
              <a:prstDash val="solid"/>
              <a:miter/>
            </a:ln>
          </p:spPr>
          <p:txBody>
            <a:bodyPr rtlCol="0" anchor="ctr"/>
            <a:lstStyle/>
            <a:p>
              <a:endParaRPr lang="en-US" dirty="0">
                <a:latin typeface="+mj-lt"/>
              </a:endParaRPr>
            </a:p>
          </p:txBody>
        </p:sp>
      </p:grpSp>
    </p:spTree>
    <p:extLst>
      <p:ext uri="{BB962C8B-B14F-4D97-AF65-F5344CB8AC3E}">
        <p14:creationId xmlns:p14="http://schemas.microsoft.com/office/powerpoint/2010/main" val="215948021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71105B4-93BD-C67E-D93C-C69E0911F218}"/>
              </a:ext>
            </a:extLst>
          </p:cNvPr>
          <p:cNvGraphicFramePr>
            <a:graphicFrameLocks noChangeAspect="1"/>
          </p:cNvGraphicFramePr>
          <p:nvPr>
            <p:custDataLst>
              <p:tags r:id="rId1"/>
            </p:custDataLst>
            <p:extLst>
              <p:ext uri="{D42A27DB-BD31-4B8C-83A1-F6EECF244321}">
                <p14:modId xmlns:p14="http://schemas.microsoft.com/office/powerpoint/2010/main" val="1749512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3" name="think-cell data - do not delete" hidden="1">
                        <a:extLst>
                          <a:ext uri="{FF2B5EF4-FFF2-40B4-BE49-F238E27FC236}">
                            <a16:creationId xmlns:a16="http://schemas.microsoft.com/office/drawing/2014/main" id="{371105B4-93BD-C67E-D93C-C69E0911F2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A69BA5-D1EC-9861-8B1E-FE11AA93A561}"/>
              </a:ext>
            </a:extLst>
          </p:cNvPr>
          <p:cNvSpPr>
            <a:spLocks noGrp="1"/>
          </p:cNvSpPr>
          <p:nvPr>
            <p:ph type="title"/>
          </p:nvPr>
        </p:nvSpPr>
        <p:spPr/>
        <p:txBody>
          <a:bodyPr vert="horz"/>
          <a:lstStyle/>
          <a:p>
            <a:r>
              <a:rPr lang="en-US" dirty="0"/>
              <a:t>We serve a wide spectrum of global NGO clients, including most agencies of the United Nations</a:t>
            </a:r>
            <a:endParaRPr lang="en-CH" dirty="0"/>
          </a:p>
        </p:txBody>
      </p:sp>
      <p:sp>
        <p:nvSpPr>
          <p:cNvPr id="7" name="TextBox 6">
            <a:extLst>
              <a:ext uri="{FF2B5EF4-FFF2-40B4-BE49-F238E27FC236}">
                <a16:creationId xmlns:a16="http://schemas.microsoft.com/office/drawing/2014/main" id="{EA286163-BDE3-4771-14DA-79812D3F7499}"/>
              </a:ext>
            </a:extLst>
          </p:cNvPr>
          <p:cNvSpPr txBox="1">
            <a:spLocks/>
          </p:cNvSpPr>
          <p:nvPr/>
        </p:nvSpPr>
        <p:spPr>
          <a:xfrm>
            <a:off x="457200" y="1367990"/>
            <a:ext cx="3488042" cy="4660900"/>
          </a:xfrm>
          <a:prstGeom prst="rect">
            <a:avLst/>
          </a:prstGeom>
          <a:noFill/>
        </p:spPr>
        <p:txBody>
          <a:bodyPr wrap="square" lIns="0" tIns="0" rIns="0" bIns="0" rtlCol="0">
            <a:noAutofit/>
          </a:bodyP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collaborate daily with the International Organizations in the public and private sector and at all levels and in varied technical areas to respond to a number of the organizations” needs. These experiences have allowed us to become familiar with the culture, organizational structure, policies and procedures, tools, methodologies, staff, rules and regulations, systems, controls, communication protocols, and other characteristics that typically define governance and oversight structures for multi-lateral and </a:t>
            </a:r>
            <a:br>
              <a:rPr kumimoji="0" lang="en-US"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ulti-national clients.</a:t>
            </a:r>
            <a:endParaRPr kumimoji="0" lang="hu-HU"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A focus on multi-lateral public sector organizations</a:t>
            </a:r>
          </a:p>
          <a:p>
            <a:pPr marL="0" marR="0" lvl="0" indent="0" algn="l" defTabSz="91440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have achieved international recognition for dealing with significant public sector issues and have developed a large and prestigious public sector practice, even as some of our competitors have significantly reduced or eliminated theirs. Today, Deloitte has approximately over 37,300 professionals dedicated to serving national government, regional or state government, local government, education, international government organizations, and international not-for-profit entities in a variety of capacities worldwide. </a:t>
            </a:r>
          </a:p>
          <a:p>
            <a:pPr marL="0" marR="0" lvl="0" indent="0" algn="l" defTabSz="91440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8" name="Table 7">
            <a:extLst>
              <a:ext uri="{FF2B5EF4-FFF2-40B4-BE49-F238E27FC236}">
                <a16:creationId xmlns:a16="http://schemas.microsoft.com/office/drawing/2014/main" id="{0A0F7D8C-C8A0-0756-204E-F3D1D743A847}"/>
              </a:ext>
            </a:extLst>
          </p:cNvPr>
          <p:cNvGraphicFramePr>
            <a:graphicFrameLocks noGrp="1"/>
          </p:cNvGraphicFramePr>
          <p:nvPr>
            <p:extLst>
              <p:ext uri="{D42A27DB-BD31-4B8C-83A1-F6EECF244321}">
                <p14:modId xmlns:p14="http://schemas.microsoft.com/office/powerpoint/2010/main" val="1810151592"/>
              </p:ext>
            </p:extLst>
          </p:nvPr>
        </p:nvGraphicFramePr>
        <p:xfrm>
          <a:off x="4318000" y="1773511"/>
          <a:ext cx="3555999" cy="4751112"/>
        </p:xfrm>
        <a:graphic>
          <a:graphicData uri="http://schemas.openxmlformats.org/drawingml/2006/table">
            <a:tbl>
              <a:tblPr firstRow="1" bandRow="1"/>
              <a:tblGrid>
                <a:gridCol w="1185333">
                  <a:extLst>
                    <a:ext uri="{9D8B030D-6E8A-4147-A177-3AD203B41FA5}">
                      <a16:colId xmlns:a16="http://schemas.microsoft.com/office/drawing/2014/main" val="4149747138"/>
                    </a:ext>
                  </a:extLst>
                </a:gridCol>
                <a:gridCol w="1185333">
                  <a:extLst>
                    <a:ext uri="{9D8B030D-6E8A-4147-A177-3AD203B41FA5}">
                      <a16:colId xmlns:a16="http://schemas.microsoft.com/office/drawing/2014/main" val="775685763"/>
                    </a:ext>
                  </a:extLst>
                </a:gridCol>
                <a:gridCol w="1185333">
                  <a:extLst>
                    <a:ext uri="{9D8B030D-6E8A-4147-A177-3AD203B41FA5}">
                      <a16:colId xmlns:a16="http://schemas.microsoft.com/office/drawing/2014/main" val="1732833660"/>
                    </a:ext>
                  </a:extLst>
                </a:gridCol>
              </a:tblGrid>
              <a:tr h="593889">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World Health Organization</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12700" cmpd="sng">
                      <a:noFill/>
                      <a:prstDash val="soli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UNHCR</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12700" cmpd="sng">
                      <a:noFill/>
                      <a:prstDash val="soli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WIPO’s (World Intellectual Property Organization)</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12700" cmpd="sng">
                      <a:noFill/>
                      <a:prstDash val="soli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4275252"/>
                  </a:ext>
                </a:extLst>
              </a:tr>
              <a:tr h="593889">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UNITAID</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UNAIDS</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he Global Fund</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163790"/>
                  </a:ext>
                </a:extLst>
              </a:tr>
              <a:tr h="593889">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nternational Committee of the Red Cross (ICRC)</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nternational Federation of Red Cross and red Crescent societies (IFRC)</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Gavi the Vaccine Alliance</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8604244"/>
                  </a:ext>
                </a:extLst>
              </a:tr>
              <a:tr h="593889">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nternational Organization for Migration (IOM)</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UNICEF</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Roll Back Malaria</a:t>
                      </a:r>
                      <a:endParaRPr lang="en-US" sz="700" b="0" i="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1898340"/>
                  </a:ext>
                </a:extLst>
              </a:tr>
              <a:tr h="593889">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rugs for Neglected Diseases Initiative (DNDi)</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Foundation for Innovative New Diagnostics (FIND)</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ternational Labor Organization (ILO)</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6621253"/>
                  </a:ext>
                </a:extLst>
              </a:tr>
              <a:tr h="593889">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Geneva Centre for Security Policy (GCSP)</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illennium Foundation for Innovative Finance and Health</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ternational Union for the Conservation of Nature and Natural Resources (IUCN)</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383308"/>
                  </a:ext>
                </a:extLst>
              </a:tr>
              <a:tr h="593889">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ARE International</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orld Trade Organization (WTO)</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orld Business Council for Sustainable Development</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8761572"/>
                  </a:ext>
                </a:extLst>
              </a:tr>
              <a:tr h="593889">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WF</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octors Without Borders (MSF)</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en-US" sz="7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 Office for Coordination of Humanitarian Affairs (OCHA)</a:t>
                      </a:r>
                      <a:endParaRPr lang="en-US" sz="7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4632167"/>
                  </a:ext>
                </a:extLst>
              </a:tr>
            </a:tbl>
          </a:graphicData>
        </a:graphic>
      </p:graphicFrame>
      <p:graphicFrame>
        <p:nvGraphicFramePr>
          <p:cNvPr id="9" name="Table 8">
            <a:extLst>
              <a:ext uri="{FF2B5EF4-FFF2-40B4-BE49-F238E27FC236}">
                <a16:creationId xmlns:a16="http://schemas.microsoft.com/office/drawing/2014/main" id="{42EB8A6E-D783-7730-0556-D9EA69FA1902}"/>
              </a:ext>
            </a:extLst>
          </p:cNvPr>
          <p:cNvGraphicFramePr>
            <a:graphicFrameLocks noGrp="1"/>
          </p:cNvGraphicFramePr>
          <p:nvPr>
            <p:extLst>
              <p:ext uri="{D42A27DB-BD31-4B8C-83A1-F6EECF244321}">
                <p14:modId xmlns:p14="http://schemas.microsoft.com/office/powerpoint/2010/main" val="211101986"/>
              </p:ext>
            </p:extLst>
          </p:nvPr>
        </p:nvGraphicFramePr>
        <p:xfrm>
          <a:off x="8178800" y="1773514"/>
          <a:ext cx="3555999" cy="4391464"/>
        </p:xfrm>
        <a:graphic>
          <a:graphicData uri="http://schemas.openxmlformats.org/drawingml/2006/table">
            <a:tbl>
              <a:tblPr firstRow="1" bandRow="1"/>
              <a:tblGrid>
                <a:gridCol w="1185333">
                  <a:extLst>
                    <a:ext uri="{9D8B030D-6E8A-4147-A177-3AD203B41FA5}">
                      <a16:colId xmlns:a16="http://schemas.microsoft.com/office/drawing/2014/main" val="4149747138"/>
                    </a:ext>
                  </a:extLst>
                </a:gridCol>
                <a:gridCol w="1185333">
                  <a:extLst>
                    <a:ext uri="{9D8B030D-6E8A-4147-A177-3AD203B41FA5}">
                      <a16:colId xmlns:a16="http://schemas.microsoft.com/office/drawing/2014/main" val="775685763"/>
                    </a:ext>
                  </a:extLst>
                </a:gridCol>
                <a:gridCol w="1185333">
                  <a:extLst>
                    <a:ext uri="{9D8B030D-6E8A-4147-A177-3AD203B41FA5}">
                      <a16:colId xmlns:a16="http://schemas.microsoft.com/office/drawing/2014/main" val="1732833660"/>
                    </a:ext>
                  </a:extLst>
                </a:gridCol>
              </a:tblGrid>
              <a:tr h="576658">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 Office for Project Services</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12700" cmpd="sng">
                      <a:noFill/>
                      <a:prstDash val="soli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 Development Programme</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12700" cmpd="sng">
                      <a:noFill/>
                      <a:prstDash val="soli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 World Food Programme (UNFPA)</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12700" cmpd="sng">
                      <a:noFill/>
                      <a:prstDash val="soli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4275252"/>
                  </a:ext>
                </a:extLst>
              </a:tr>
              <a:tr h="739782">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 System Staff College (UNSSC)</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 Environment Programme (UNEP)</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 Educational, Scientific and Cultural Organization (UNESCO)</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163790"/>
                  </a:ext>
                </a:extLst>
              </a:tr>
              <a:tr h="739782">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 Women</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 Framework Convention on Climate Change (UNFCCC)</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orld Food Programme</a:t>
                      </a:r>
                    </a:p>
                    <a:p>
                      <a:pPr algn="ctr" rtl="0"/>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8604244"/>
                  </a:ext>
                </a:extLst>
              </a:tr>
              <a:tr h="576658">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 Joint Staff Pension Fund (UNJSPF)</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orld Economic forum</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Nations</a:t>
                      </a:r>
                    </a:p>
                    <a:p>
                      <a:pPr algn="ctr" rtl="0"/>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1898340"/>
                  </a:ext>
                </a:extLst>
              </a:tr>
              <a:tr h="602785">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partment for International Development (DFID)</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uropean Patent office</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dependent Inquiry Committee Into the UN Oil-for-Food Programme (ICC)</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6621253"/>
                  </a:ext>
                </a:extLst>
              </a:tr>
              <a:tr h="576658">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orld Bank</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ited States Agency for International Development (USAID)</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enters for Disease control &amp; Prevention (CDC)</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383308"/>
                  </a:ext>
                </a:extLst>
              </a:tr>
              <a:tr h="576658">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MOJA</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uropean Union/Commission</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9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Gates Foundation</a:t>
                      </a:r>
                      <a:endParaRPr lang="en-US" sz="900" b="0" i="0" kern="12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marL="27432" marR="27432" marT="27432" marB="27432" anchor="ctr">
                    <a:lnL w="12700" cmpd="sng">
                      <a:noFill/>
                      <a:prstDash val="solid"/>
                    </a:lnL>
                    <a:lnR w="12700" cmpd="sng">
                      <a:noFill/>
                      <a:prstDash val="soli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8761572"/>
                  </a:ext>
                </a:extLst>
              </a:tr>
            </a:tbl>
          </a:graphicData>
        </a:graphic>
      </p:graphicFrame>
      <p:sp>
        <p:nvSpPr>
          <p:cNvPr id="10" name="TextBox 9">
            <a:extLst>
              <a:ext uri="{FF2B5EF4-FFF2-40B4-BE49-F238E27FC236}">
                <a16:creationId xmlns:a16="http://schemas.microsoft.com/office/drawing/2014/main" id="{C74432D6-8A9B-CB37-9B8C-A1004AF82B3A}"/>
              </a:ext>
            </a:extLst>
          </p:cNvPr>
          <p:cNvSpPr txBox="1"/>
          <p:nvPr/>
        </p:nvSpPr>
        <p:spPr bwMode="gray">
          <a:xfrm>
            <a:off x="4318000" y="1367990"/>
            <a:ext cx="3337560" cy="184666"/>
          </a:xfrm>
          <a:prstGeom prst="rect">
            <a:avLst/>
          </a:prstGeom>
        </p:spPr>
        <p:txBody>
          <a:bodyPr wrap="square" lIns="0" tIns="0" rIns="0" bIns="0" rtlCol="0" anchor="t" anchorCtr="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A selection of our global NGO clients</a:t>
            </a:r>
          </a:p>
        </p:txBody>
      </p:sp>
      <p:pic>
        <p:nvPicPr>
          <p:cNvPr id="4" name="Picture 3">
            <a:extLst>
              <a:ext uri="{FF2B5EF4-FFF2-40B4-BE49-F238E27FC236}">
                <a16:creationId xmlns:a16="http://schemas.microsoft.com/office/drawing/2014/main" id="{5A103722-FC67-651D-DFF0-0D9DE13E225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299327" y="1862459"/>
            <a:ext cx="1044000" cy="307437"/>
          </a:xfrm>
          <a:prstGeom prst="rect">
            <a:avLst/>
          </a:prstGeom>
        </p:spPr>
      </p:pic>
      <p:pic>
        <p:nvPicPr>
          <p:cNvPr id="1028" name="Picture 4" descr="UNHCR Logo png transparent">
            <a:extLst>
              <a:ext uri="{FF2B5EF4-FFF2-40B4-BE49-F238E27FC236}">
                <a16:creationId xmlns:a16="http://schemas.microsoft.com/office/drawing/2014/main" id="{0F70D5FC-6453-2EC0-173C-6AB3DBD2C241}"/>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5516079" y="1859282"/>
            <a:ext cx="1044000" cy="37727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e New WIPO Logo">
            <a:extLst>
              <a:ext uri="{FF2B5EF4-FFF2-40B4-BE49-F238E27FC236}">
                <a16:creationId xmlns:a16="http://schemas.microsoft.com/office/drawing/2014/main" id="{756E78C2-600B-285D-4EDB-5EA412A1BE7E}"/>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r="53002" b="24768"/>
          <a:stretch/>
        </p:blipFill>
        <p:spPr bwMode="auto">
          <a:xfrm>
            <a:off x="7053564" y="1754070"/>
            <a:ext cx="449755" cy="51547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Unitaid - Wikipedia">
            <a:extLst>
              <a:ext uri="{FF2B5EF4-FFF2-40B4-BE49-F238E27FC236}">
                <a16:creationId xmlns:a16="http://schemas.microsoft.com/office/drawing/2014/main" id="{472F3CFE-724F-DA17-3306-72CA71421948}"/>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380342" y="2463137"/>
            <a:ext cx="1044000" cy="42689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UNAIDS | United Nations Development Programme">
            <a:extLst>
              <a:ext uri="{FF2B5EF4-FFF2-40B4-BE49-F238E27FC236}">
                <a16:creationId xmlns:a16="http://schemas.microsoft.com/office/drawing/2014/main" id="{B7DDFE36-4489-5973-916D-62F0910EE663}"/>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575754" y="2570498"/>
            <a:ext cx="1044000" cy="21217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World Vision and the Global Fund | Infectious Diseases | World Vision  International">
            <a:extLst>
              <a:ext uri="{FF2B5EF4-FFF2-40B4-BE49-F238E27FC236}">
                <a16:creationId xmlns:a16="http://schemas.microsoft.com/office/drawing/2014/main" id="{63CA2555-F86F-B574-DD26-8248C3F0C04A}"/>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781800" y="2499105"/>
            <a:ext cx="1044000" cy="35496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CRC demands urgent action to protect journalists in armed conflicts -  Peoples Gazette">
            <a:extLst>
              <a:ext uri="{FF2B5EF4-FFF2-40B4-BE49-F238E27FC236}">
                <a16:creationId xmlns:a16="http://schemas.microsoft.com/office/drawing/2014/main" id="{312439FD-EE97-D044-C36E-BB2077387F9D}"/>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4349862" y="3060700"/>
            <a:ext cx="1044000" cy="3480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omepage | IFRC">
            <a:extLst>
              <a:ext uri="{FF2B5EF4-FFF2-40B4-BE49-F238E27FC236}">
                <a16:creationId xmlns:a16="http://schemas.microsoft.com/office/drawing/2014/main" id="{16CA0AEC-F027-6067-5B6B-2C405AE3FFBB}"/>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l="15569" t="32781" r="15869" b="32119"/>
          <a:stretch/>
        </p:blipFill>
        <p:spPr bwMode="auto">
          <a:xfrm>
            <a:off x="5562600" y="3175000"/>
            <a:ext cx="1044000" cy="24162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Gavi vaccinates more children with Salesforce">
            <a:extLst>
              <a:ext uri="{FF2B5EF4-FFF2-40B4-BE49-F238E27FC236}">
                <a16:creationId xmlns:a16="http://schemas.microsoft.com/office/drawing/2014/main" id="{D1DA4EAF-3BE0-18A8-B3D6-700C392123BC}"/>
              </a:ext>
            </a:extLst>
          </p:cNvPr>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6772275" y="3041651"/>
            <a:ext cx="1044000" cy="43411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0832559-EC03-EA2E-8168-0668D6719502}"/>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405204" y="3626351"/>
            <a:ext cx="1044000" cy="422724"/>
          </a:xfrm>
          <a:prstGeom prst="rect">
            <a:avLst/>
          </a:prstGeom>
        </p:spPr>
      </p:pic>
      <p:pic>
        <p:nvPicPr>
          <p:cNvPr id="1026" name="Picture 2" descr="UNICEF welcomes the initiative of the Government to increase child benefits  for the most vulnerable children">
            <a:extLst>
              <a:ext uri="{FF2B5EF4-FFF2-40B4-BE49-F238E27FC236}">
                <a16:creationId xmlns:a16="http://schemas.microsoft.com/office/drawing/2014/main" id="{1A21260E-62D6-CBB2-3CDE-EDFCFB8785AE}"/>
              </a:ext>
            </a:extLst>
          </p:cNvPr>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5610225" y="3687684"/>
            <a:ext cx="1044000" cy="3000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C5D042E-BA35-995A-9FF5-50CF0D255BD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753061" y="3667957"/>
            <a:ext cx="1044000" cy="339512"/>
          </a:xfrm>
          <a:prstGeom prst="rect">
            <a:avLst/>
          </a:prstGeom>
        </p:spPr>
      </p:pic>
    </p:spTree>
    <p:extLst>
      <p:ext uri="{BB962C8B-B14F-4D97-AF65-F5344CB8AC3E}">
        <p14:creationId xmlns:p14="http://schemas.microsoft.com/office/powerpoint/2010/main" val="3434869336"/>
      </p:ext>
    </p:extLst>
  </p:cSld>
  <p:clrMapOvr>
    <a:masterClrMapping/>
  </p:clrMapOvr>
  <p:transition>
    <p:fade/>
  </p:transition>
  <p:extLst>
    <p:ext uri="{6950BFC3-D8DA-4A85-94F7-54DA5524770B}">
      <p188:commentRel xmlns:p188="http://schemas.microsoft.com/office/powerpoint/2018/8/main" r:id="rId4"/>
    </p:ext>
  </p:extLs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24279494-CEC3-60D1-F79F-091A9B772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27" name="think-cell data - do not delete" hidden="1">
                        <a:extLst>
                          <a:ext uri="{FF2B5EF4-FFF2-40B4-BE49-F238E27FC236}">
                            <a16:creationId xmlns:a16="http://schemas.microsoft.com/office/drawing/2014/main" id="{24279494-CEC3-60D1-F79F-091A9B772A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9DFF1F4-DD5D-4EFC-929B-7EE980400350}"/>
              </a:ext>
            </a:extLst>
          </p:cNvPr>
          <p:cNvSpPr>
            <a:spLocks noGrp="1"/>
          </p:cNvSpPr>
          <p:nvPr>
            <p:ph type="body" sz="quarter" idx="22"/>
          </p:nvPr>
        </p:nvSpPr>
        <p:spPr/>
        <p:txBody>
          <a:bodyPr/>
          <a:lstStyle/>
          <a:p>
            <a:r>
              <a:rPr lang="en-US" dirty="0">
                <a:latin typeface="+mj-lt"/>
              </a:rPr>
              <a:t>The involvement of the 25% most impacted and influential people in the organization is ensured in each phase of the change management process. </a:t>
            </a:r>
          </a:p>
          <a:p>
            <a:endParaRPr lang="en-US" dirty="0">
              <a:latin typeface="+mj-lt"/>
            </a:endParaRPr>
          </a:p>
        </p:txBody>
      </p:sp>
      <p:sp>
        <p:nvSpPr>
          <p:cNvPr id="3" name="Title 2">
            <a:extLst>
              <a:ext uri="{FF2B5EF4-FFF2-40B4-BE49-F238E27FC236}">
                <a16:creationId xmlns:a16="http://schemas.microsoft.com/office/drawing/2014/main" id="{B4A0F035-CF34-2548-CAAD-D99D0485D368}"/>
              </a:ext>
            </a:extLst>
          </p:cNvPr>
          <p:cNvSpPr>
            <a:spLocks noGrp="1"/>
          </p:cNvSpPr>
          <p:nvPr>
            <p:ph type="title"/>
          </p:nvPr>
        </p:nvSpPr>
        <p:spPr/>
        <p:txBody>
          <a:bodyPr vert="horz"/>
          <a:lstStyle/>
          <a:p>
            <a:r>
              <a:rPr lang="en-US" dirty="0"/>
              <a:t>Change Management Strategy (2/2)</a:t>
            </a:r>
          </a:p>
        </p:txBody>
      </p:sp>
      <p:graphicFrame>
        <p:nvGraphicFramePr>
          <p:cNvPr id="4" name="Table 3">
            <a:extLst>
              <a:ext uri="{FF2B5EF4-FFF2-40B4-BE49-F238E27FC236}">
                <a16:creationId xmlns:a16="http://schemas.microsoft.com/office/drawing/2014/main" id="{67E5FAB1-D81E-4C85-7A0E-242973B14FDE}"/>
              </a:ext>
            </a:extLst>
          </p:cNvPr>
          <p:cNvGraphicFramePr>
            <a:graphicFrameLocks noGrp="1"/>
          </p:cNvGraphicFramePr>
          <p:nvPr/>
        </p:nvGraphicFramePr>
        <p:xfrm>
          <a:off x="451106" y="1714500"/>
          <a:ext cx="11289790" cy="4794194"/>
        </p:xfrm>
        <a:graphic>
          <a:graphicData uri="http://schemas.openxmlformats.org/drawingml/2006/table">
            <a:tbl>
              <a:tblPr firstRow="1" bandRow="1">
                <a:tableStyleId>{5C22544A-7EE6-4342-B048-85BDC9FD1C3A}</a:tableStyleId>
              </a:tblPr>
              <a:tblGrid>
                <a:gridCol w="11289790">
                  <a:extLst>
                    <a:ext uri="{9D8B030D-6E8A-4147-A177-3AD203B41FA5}">
                      <a16:colId xmlns:a16="http://schemas.microsoft.com/office/drawing/2014/main" val="1632052282"/>
                    </a:ext>
                  </a:extLst>
                </a:gridCol>
              </a:tblGrid>
              <a:tr h="4794194">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mn-lt"/>
                        <a:ea typeface="+mn-ea"/>
                        <a:cs typeface="+mn-cs"/>
                      </a:endParaRPr>
                    </a:p>
                  </a:txBody>
                  <a:tcPr marT="36000" marB="3600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1">
                            <a:alpha val="10000"/>
                          </a:schemeClr>
                        </a:gs>
                        <a:gs pos="100000">
                          <a:srgbClr val="003299">
                            <a:alpha val="10000"/>
                          </a:srgbClr>
                        </a:gs>
                      </a:gsLst>
                      <a:lin ang="2700000" scaled="1"/>
                      <a:tileRect/>
                    </a:gradFill>
                  </a:tcPr>
                </a:tc>
                <a:extLst>
                  <a:ext uri="{0D108BD9-81ED-4DB2-BD59-A6C34878D82A}">
                    <a16:rowId xmlns:a16="http://schemas.microsoft.com/office/drawing/2014/main" val="556046466"/>
                  </a:ext>
                </a:extLst>
              </a:tr>
            </a:tbl>
          </a:graphicData>
        </a:graphic>
      </p:graphicFrame>
      <p:sp>
        <p:nvSpPr>
          <p:cNvPr id="6" name="Text Placeholder 2">
            <a:extLst>
              <a:ext uri="{FF2B5EF4-FFF2-40B4-BE49-F238E27FC236}">
                <a16:creationId xmlns:a16="http://schemas.microsoft.com/office/drawing/2014/main" id="{064B22E9-BB00-8EE2-FD04-030A859BA3FF}"/>
              </a:ext>
            </a:extLst>
          </p:cNvPr>
          <p:cNvSpPr txBox="1">
            <a:spLocks/>
          </p:cNvSpPr>
          <p:nvPr/>
        </p:nvSpPr>
        <p:spPr>
          <a:xfrm>
            <a:off x="2972849" y="4559000"/>
            <a:ext cx="1685763" cy="354465"/>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7" name="Text Placeholder 2">
            <a:extLst>
              <a:ext uri="{FF2B5EF4-FFF2-40B4-BE49-F238E27FC236}">
                <a16:creationId xmlns:a16="http://schemas.microsoft.com/office/drawing/2014/main" id="{52794D71-AC9A-8C60-684B-47BEFC44313B}"/>
              </a:ext>
            </a:extLst>
          </p:cNvPr>
          <p:cNvSpPr txBox="1">
            <a:spLocks/>
          </p:cNvSpPr>
          <p:nvPr/>
        </p:nvSpPr>
        <p:spPr>
          <a:xfrm>
            <a:off x="4825716" y="4559000"/>
            <a:ext cx="2291922" cy="354465"/>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8" name="Text Placeholder 2">
            <a:extLst>
              <a:ext uri="{FF2B5EF4-FFF2-40B4-BE49-F238E27FC236}">
                <a16:creationId xmlns:a16="http://schemas.microsoft.com/office/drawing/2014/main" id="{2F4EB427-68CE-F97F-5B80-76A95B730BAF}"/>
              </a:ext>
            </a:extLst>
          </p:cNvPr>
          <p:cNvSpPr txBox="1">
            <a:spLocks/>
          </p:cNvSpPr>
          <p:nvPr/>
        </p:nvSpPr>
        <p:spPr>
          <a:xfrm>
            <a:off x="7287764" y="4559000"/>
            <a:ext cx="2185126" cy="354465"/>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9" name="Text Placeholder 2">
            <a:extLst>
              <a:ext uri="{FF2B5EF4-FFF2-40B4-BE49-F238E27FC236}">
                <a16:creationId xmlns:a16="http://schemas.microsoft.com/office/drawing/2014/main" id="{AE4A4DA3-253F-C55A-F705-1E4CCD2487E4}"/>
              </a:ext>
            </a:extLst>
          </p:cNvPr>
          <p:cNvSpPr txBox="1">
            <a:spLocks/>
          </p:cNvSpPr>
          <p:nvPr/>
        </p:nvSpPr>
        <p:spPr>
          <a:xfrm>
            <a:off x="9702671" y="4559000"/>
            <a:ext cx="1973542" cy="354465"/>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mn-ea"/>
              <a:cs typeface="+mn-cs"/>
            </a:endParaRPr>
          </a:p>
        </p:txBody>
      </p:sp>
      <p:sp>
        <p:nvSpPr>
          <p:cNvPr id="10" name="Text Placeholder 2">
            <a:extLst>
              <a:ext uri="{FF2B5EF4-FFF2-40B4-BE49-F238E27FC236}">
                <a16:creationId xmlns:a16="http://schemas.microsoft.com/office/drawing/2014/main" id="{223A9092-4AB4-79E7-E4BD-A6F6269575F7}"/>
              </a:ext>
            </a:extLst>
          </p:cNvPr>
          <p:cNvSpPr txBox="1">
            <a:spLocks/>
          </p:cNvSpPr>
          <p:nvPr/>
        </p:nvSpPr>
        <p:spPr>
          <a:xfrm>
            <a:off x="2170041" y="1791779"/>
            <a:ext cx="2162596" cy="4034624"/>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1" i="0" u="none" strike="noStrike" kern="1200" cap="none" spc="0" normalizeH="0" baseline="0" dirty="0">
                <a:ln>
                  <a:noFill/>
                </a:ln>
                <a:solidFill>
                  <a:srgbClr val="26890D"/>
                </a:solidFill>
                <a:effectLst/>
                <a:uLnTx/>
                <a:uFillTx/>
                <a:latin typeface="Calibri" panose="020F0502020204030204"/>
                <a:ea typeface="Open Sans" panose="020B0606030504020204" pitchFamily="34" charset="0"/>
                <a:cs typeface="Open Sans" panose="020B0606030504020204" pitchFamily="34" charset="0"/>
              </a:rPr>
              <a:t>Identify the client’s most impacted and influential 25% to make up the ‘tipping point’. </a:t>
            </a: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Align and engage these leaders, key employees and select end users on the purpose and vision of the change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Understand the current-state experience with our client’s people affected by the change</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Co-define business outcomes that will resonate for the organization</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Document your determined business outcomes, and diagnose the change</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Define measures of success and tracking of business outcomes</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Segment your audience and understand high level changes and behavior shifts required</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Set up the change team and required effort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1" name="Text Placeholder 2">
            <a:extLst>
              <a:ext uri="{FF2B5EF4-FFF2-40B4-BE49-F238E27FC236}">
                <a16:creationId xmlns:a16="http://schemas.microsoft.com/office/drawing/2014/main" id="{2EF9B6D1-60BB-5BAA-7C44-5D0149A2D686}"/>
              </a:ext>
            </a:extLst>
          </p:cNvPr>
          <p:cNvSpPr txBox="1">
            <a:spLocks/>
          </p:cNvSpPr>
          <p:nvPr/>
        </p:nvSpPr>
        <p:spPr>
          <a:xfrm>
            <a:off x="4606958" y="1791780"/>
            <a:ext cx="2162596" cy="4034624"/>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Validate changes with our client’s people, ensuring their pain-points and needs are addressed in their experience design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Co-design a compelling narrative and vision incorporating business outcomes to guide the communications and </a:t>
            </a:r>
            <a:r>
              <a:rPr kumimoji="0" lang="en-US" sz="1000" b="0" i="0" u="none" strike="noStrike" kern="1200" cap="none" spc="0" normalizeH="0" baseline="0" dirty="0" err="1">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galvanise</a:t>
            </a: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 the organization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1" i="0" u="none" strike="noStrike" kern="1200" cap="none" spc="0" normalizeH="0" baseline="0" dirty="0">
                <a:ln>
                  <a:noFill/>
                </a:ln>
                <a:solidFill>
                  <a:srgbClr val="26890D"/>
                </a:solidFill>
                <a:effectLst/>
                <a:uLnTx/>
                <a:uFillTx/>
                <a:latin typeface="Calibri" panose="020F0502020204030204"/>
                <a:ea typeface="Open Sans" panose="020B0606030504020204" pitchFamily="34" charset="0"/>
                <a:cs typeface="Open Sans" panose="020B0606030504020204" pitchFamily="34" charset="0"/>
              </a:rPr>
              <a:t>Build the program for the identified 25% of impacted and influential people </a:t>
            </a: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to set the foundations and drive change in respective area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Assess, equip and coach change leaders and adoption network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Deep-dive into how the change will impact your people, incl. psychological enablers and barrier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Define the change strategy, incorporating outcomes, and design change experiences (incl. clear timelines)</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Set up major change foundations, i.e. Transformation Mission Control, business readiness structure and adoption metric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Assess learning needs and design learning experience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2" name="Text Placeholder 2">
            <a:extLst>
              <a:ext uri="{FF2B5EF4-FFF2-40B4-BE49-F238E27FC236}">
                <a16:creationId xmlns:a16="http://schemas.microsoft.com/office/drawing/2014/main" id="{DE2E65C6-F1E4-6E44-8532-F5F084CD87E8}"/>
              </a:ext>
            </a:extLst>
          </p:cNvPr>
          <p:cNvSpPr txBox="1">
            <a:spLocks/>
          </p:cNvSpPr>
          <p:nvPr/>
        </p:nvSpPr>
        <p:spPr>
          <a:xfrm>
            <a:off x="7043874" y="1791779"/>
            <a:ext cx="2162596" cy="4034624"/>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1" i="0" u="none" strike="noStrike" kern="1200" cap="none" spc="0" normalizeH="0" baseline="0" dirty="0">
                <a:ln>
                  <a:noFill/>
                </a:ln>
                <a:solidFill>
                  <a:srgbClr val="26890D"/>
                </a:solidFill>
                <a:effectLst/>
                <a:uLnTx/>
                <a:uFillTx/>
                <a:latin typeface="Calibri" panose="020F0502020204030204"/>
                <a:ea typeface="Open Sans" panose="020B0606030504020204" pitchFamily="34" charset="0"/>
                <a:cs typeface="Open Sans" panose="020B0606030504020204" pitchFamily="34" charset="0"/>
              </a:rPr>
              <a:t>Support the 25% and change leaders  </a:t>
            </a: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and mobilize influencers to drive the change with the remaining 75% of the population</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Deliver tailored, immersive and high impact change experiences clients, i.e. communications, learning experiences, self-service content, cultural intervention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Set choice architecture and deliver behavior nudges and intervention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1" i="0" u="none" strike="noStrike" kern="1200" cap="none" spc="0" normalizeH="0" baseline="0" dirty="0">
                <a:ln>
                  <a:noFill/>
                </a:ln>
                <a:solidFill>
                  <a:srgbClr val="26890D"/>
                </a:solidFill>
                <a:effectLst/>
                <a:uLnTx/>
                <a:uFillTx/>
                <a:latin typeface="Calibri" panose="020F0502020204030204"/>
                <a:ea typeface="Open Sans" panose="020B0606030504020204" pitchFamily="34" charset="0"/>
                <a:cs typeface="Open Sans" panose="020B0606030504020204" pitchFamily="34" charset="0"/>
              </a:rPr>
              <a:t>Measure, test, learn and adapt interventions through delivery to track progress, business outcomes and ensure change efforts and outcomes piece land successfully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Develop change artefacts, experiences, elements, assets and communication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Facilitate business readiness mechanisms and instill ownership</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Build transformation leadership capability and organizational agilit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3" name="Text Placeholder 2">
            <a:extLst>
              <a:ext uri="{FF2B5EF4-FFF2-40B4-BE49-F238E27FC236}">
                <a16:creationId xmlns:a16="http://schemas.microsoft.com/office/drawing/2014/main" id="{44DC4FC1-4A85-8D06-C957-EF34615AFF83}"/>
              </a:ext>
            </a:extLst>
          </p:cNvPr>
          <p:cNvSpPr txBox="1">
            <a:spLocks/>
          </p:cNvSpPr>
          <p:nvPr/>
        </p:nvSpPr>
        <p:spPr>
          <a:xfrm>
            <a:off x="9480791" y="1791779"/>
            <a:ext cx="2162596" cy="4034624"/>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Deliver on-going change and support as needed through reinforcement intervention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Mobilize peer to peer networks</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Define adoption KPIs and targets that chart a path to recognition of the business outcome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Track adoption KPIs and mitigate risks that jeopardize the realization of business outcomes</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Stand up heightened support model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Build post go-live plan, incl. prioritized reinforcement interventions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1" i="0" u="none" strike="noStrike" kern="1200" cap="none" spc="0" normalizeH="0" baseline="0" dirty="0">
                <a:ln>
                  <a:noFill/>
                </a:ln>
                <a:solidFill>
                  <a:srgbClr val="26890D"/>
                </a:solidFill>
                <a:effectLst/>
                <a:uLnTx/>
                <a:uFillTx/>
                <a:latin typeface="Calibri" panose="020F0502020204030204"/>
                <a:ea typeface="Open Sans" panose="020B0606030504020204" pitchFamily="34" charset="0"/>
                <a:cs typeface="Open Sans" panose="020B0606030504020204" pitchFamily="34" charset="0"/>
              </a:rPr>
              <a:t>Measure the effectiveness of the 25% through valuation of the 75%</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Assess and review the business outcomes and iterate as necessary </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rPr>
              <a:t>Transition change architecture and learnings for future change programs</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rgbClr val="000000"/>
                </a:solidFill>
                <a:effectLst/>
                <a:uLnTx/>
                <a:uFillTx/>
                <a:latin typeface="Calibri" panose="020F0502020204030204"/>
                <a:ea typeface="+mn-ea"/>
                <a:cs typeface="+mn-cs"/>
              </a:rPr>
              <a:t>Assess the effectiveness of the change plan and strategy and adjust</a:t>
            </a: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0" b="0" i="0" u="none" strike="noStrike" kern="1200" cap="none" spc="0" normalizeH="0" baseline="0" dirty="0">
              <a:ln>
                <a:noFill/>
              </a:ln>
              <a:solidFill>
                <a:srgbClr val="000000"/>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4" name="Content Placeholder 4">
            <a:extLst>
              <a:ext uri="{FF2B5EF4-FFF2-40B4-BE49-F238E27FC236}">
                <a16:creationId xmlns:a16="http://schemas.microsoft.com/office/drawing/2014/main" id="{C49071B6-A2D2-8DB0-6635-018736D650E0}"/>
              </a:ext>
            </a:extLst>
          </p:cNvPr>
          <p:cNvSpPr txBox="1">
            <a:spLocks/>
          </p:cNvSpPr>
          <p:nvPr/>
        </p:nvSpPr>
        <p:spPr>
          <a:xfrm>
            <a:off x="2173070" y="1500080"/>
            <a:ext cx="1599557" cy="24560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Font typeface="Arial" panose="020B0604020202020204" pitchFamily="34" charset="0"/>
              <a:buNone/>
              <a:defRPr sz="1400" b="0" i="0" kern="1200">
                <a:solidFill>
                  <a:schemeClr val="tx1"/>
                </a:solidFill>
                <a:latin typeface="Calibri Light" panose="020F0302020204030204" pitchFamily="34" charset="0"/>
                <a:ea typeface="+mn-ea"/>
                <a:cs typeface="Calibri Light" panose="020F0302020204030204" pitchFamily="34" charset="0"/>
              </a:defRPr>
            </a:lvl1pPr>
            <a:lvl2pPr marL="182563" indent="-182563" algn="l" defTabSz="914400" rtl="0" eaLnBrk="1" latinLnBrk="0" hangingPunct="1">
              <a:lnSpc>
                <a:spcPct val="100000"/>
              </a:lnSpc>
              <a:spcBef>
                <a:spcPts val="0"/>
              </a:spcBef>
              <a:spcAft>
                <a:spcPts val="1000"/>
              </a:spcAft>
              <a:buFont typeface="Arial" panose="020B0604020202020204" pitchFamily="34" charset="0"/>
              <a:buChar char="•"/>
              <a:tabLst/>
              <a:defRPr sz="900" b="0" i="0" kern="1200">
                <a:solidFill>
                  <a:schemeClr val="tx1"/>
                </a:solidFill>
                <a:latin typeface="Calibri Light" panose="020F0302020204030204" pitchFamily="34" charset="0"/>
                <a:ea typeface="+mn-ea"/>
                <a:cs typeface="+mn-cs"/>
              </a:defRPr>
            </a:lvl2pPr>
            <a:lvl3pPr marL="403225" indent="-220663" algn="l" defTabSz="914400" rtl="0" eaLnBrk="1" latinLnBrk="0" hangingPunct="1">
              <a:lnSpc>
                <a:spcPct val="90000"/>
              </a:lnSpc>
              <a:spcBef>
                <a:spcPts val="500"/>
              </a:spcBef>
              <a:buFont typeface="System Font Regular"/>
              <a:buChar char="–"/>
              <a:tabLst/>
              <a:defRPr sz="800" b="0" i="0" kern="1200">
                <a:solidFill>
                  <a:schemeClr val="tx1"/>
                </a:solidFill>
                <a:latin typeface="Calibri Light" panose="020F0302020204030204" pitchFamily="34" charset="0"/>
                <a:ea typeface="+mn-ea"/>
                <a:cs typeface="+mn-cs"/>
              </a:defRPr>
            </a:lvl3pPr>
            <a:lvl4pPr marL="623888" indent="-192088" algn="l" defTabSz="914400" rtl="0" eaLnBrk="1" latinLnBrk="0" hangingPunct="1">
              <a:lnSpc>
                <a:spcPct val="90000"/>
              </a:lnSpc>
              <a:spcBef>
                <a:spcPts val="500"/>
              </a:spcBef>
              <a:buFont typeface="Courier New" panose="02070309020205020404" pitchFamily="49" charset="0"/>
              <a:buChar char="o"/>
              <a:tabLst/>
              <a:defRPr sz="700" b="0" i="0" kern="1200">
                <a:solidFill>
                  <a:schemeClr val="tx1"/>
                </a:solidFill>
                <a:latin typeface="Calibri Light" panose="020F0302020204030204" pitchFamily="34" charset="0"/>
                <a:ea typeface="+mn-ea"/>
                <a:cs typeface="+mn-cs"/>
              </a:defRPr>
            </a:lvl4pPr>
            <a:lvl5pPr marL="846138" indent="-222250" algn="l" defTabSz="914400" rtl="0" eaLnBrk="1" latinLnBrk="0" hangingPunct="1">
              <a:lnSpc>
                <a:spcPct val="90000"/>
              </a:lnSpc>
              <a:spcBef>
                <a:spcPts val="500"/>
              </a:spcBef>
              <a:buFont typeface="Arial" panose="020B0604020202020204" pitchFamily="34" charset="0"/>
              <a:buChar char="•"/>
              <a:tabLst/>
              <a:defRPr sz="700" b="0" i="0" kern="1200">
                <a:solidFill>
                  <a:schemeClr val="tx1"/>
                </a:solidFill>
                <a:latin typeface="Calibri Light" panose="020F03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b="1" i="0" u="none" strike="noStrike" kern="1200" cap="none" spc="0" normalizeH="0" baseline="0" dirty="0">
                <a:ln>
                  <a:noFill/>
                </a:ln>
                <a:solidFill>
                  <a:schemeClr val="accent6">
                    <a:lumMod val="100000"/>
                  </a:schemeClr>
                </a:solidFill>
                <a:effectLst/>
                <a:uLnTx/>
                <a:uFillTx/>
                <a:latin typeface="Calibri" panose="020F0502020204030204"/>
                <a:ea typeface="Open Sans" panose="020B0606030504020204" pitchFamily="34" charset="0"/>
                <a:cs typeface="Open Sans" panose="020B0606030504020204" pitchFamily="34" charset="0"/>
              </a:rPr>
              <a:t>EVALUATE</a:t>
            </a:r>
            <a:endParaRPr kumimoji="0" lang="en-US" sz="1200" b="0" i="0" u="none" strike="noStrike" kern="1200" cap="none" spc="0" normalizeH="0" baseline="0" dirty="0">
              <a:ln>
                <a:noFill/>
              </a:ln>
              <a:solidFill>
                <a:schemeClr val="accent6">
                  <a:lumMod val="100000"/>
                </a:schemeClr>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5" name="Content Placeholder 4">
            <a:extLst>
              <a:ext uri="{FF2B5EF4-FFF2-40B4-BE49-F238E27FC236}">
                <a16:creationId xmlns:a16="http://schemas.microsoft.com/office/drawing/2014/main" id="{EE016094-EEC6-5C82-8FA0-D3D9DBE14C4E}"/>
              </a:ext>
            </a:extLst>
          </p:cNvPr>
          <p:cNvSpPr txBox="1">
            <a:spLocks/>
          </p:cNvSpPr>
          <p:nvPr/>
        </p:nvSpPr>
        <p:spPr>
          <a:xfrm>
            <a:off x="4606958" y="1500080"/>
            <a:ext cx="1599557" cy="24560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Font typeface="Arial" panose="020B0604020202020204" pitchFamily="34" charset="0"/>
              <a:buNone/>
              <a:defRPr sz="1400" b="0" i="0" kern="1200">
                <a:solidFill>
                  <a:schemeClr val="tx1"/>
                </a:solidFill>
                <a:latin typeface="Calibri Light" panose="020F0302020204030204" pitchFamily="34" charset="0"/>
                <a:ea typeface="+mn-ea"/>
                <a:cs typeface="Calibri Light" panose="020F0302020204030204" pitchFamily="34" charset="0"/>
              </a:defRPr>
            </a:lvl1pPr>
            <a:lvl2pPr marL="182563" indent="-182563" algn="l" defTabSz="914400" rtl="0" eaLnBrk="1" latinLnBrk="0" hangingPunct="1">
              <a:lnSpc>
                <a:spcPct val="100000"/>
              </a:lnSpc>
              <a:spcBef>
                <a:spcPts val="0"/>
              </a:spcBef>
              <a:spcAft>
                <a:spcPts val="1000"/>
              </a:spcAft>
              <a:buFont typeface="Arial" panose="020B0604020202020204" pitchFamily="34" charset="0"/>
              <a:buChar char="•"/>
              <a:tabLst/>
              <a:defRPr sz="900" b="0" i="0" kern="1200">
                <a:solidFill>
                  <a:schemeClr val="tx1"/>
                </a:solidFill>
                <a:latin typeface="Calibri Light" panose="020F0302020204030204" pitchFamily="34" charset="0"/>
                <a:ea typeface="+mn-ea"/>
                <a:cs typeface="+mn-cs"/>
              </a:defRPr>
            </a:lvl2pPr>
            <a:lvl3pPr marL="403225" indent="-220663" algn="l" defTabSz="914400" rtl="0" eaLnBrk="1" latinLnBrk="0" hangingPunct="1">
              <a:lnSpc>
                <a:spcPct val="90000"/>
              </a:lnSpc>
              <a:spcBef>
                <a:spcPts val="500"/>
              </a:spcBef>
              <a:buFont typeface="System Font Regular"/>
              <a:buChar char="–"/>
              <a:tabLst/>
              <a:defRPr sz="800" b="0" i="0" kern="1200">
                <a:solidFill>
                  <a:schemeClr val="tx1"/>
                </a:solidFill>
                <a:latin typeface="Calibri Light" panose="020F0302020204030204" pitchFamily="34" charset="0"/>
                <a:ea typeface="+mn-ea"/>
                <a:cs typeface="+mn-cs"/>
              </a:defRPr>
            </a:lvl3pPr>
            <a:lvl4pPr marL="623888" indent="-192088" algn="l" defTabSz="914400" rtl="0" eaLnBrk="1" latinLnBrk="0" hangingPunct="1">
              <a:lnSpc>
                <a:spcPct val="90000"/>
              </a:lnSpc>
              <a:spcBef>
                <a:spcPts val="500"/>
              </a:spcBef>
              <a:buFont typeface="Courier New" panose="02070309020205020404" pitchFamily="49" charset="0"/>
              <a:buChar char="o"/>
              <a:tabLst/>
              <a:defRPr sz="700" b="0" i="0" kern="1200">
                <a:solidFill>
                  <a:schemeClr val="tx1"/>
                </a:solidFill>
                <a:latin typeface="Calibri Light" panose="020F0302020204030204" pitchFamily="34" charset="0"/>
                <a:ea typeface="+mn-ea"/>
                <a:cs typeface="+mn-cs"/>
              </a:defRPr>
            </a:lvl4pPr>
            <a:lvl5pPr marL="846138" indent="-222250" algn="l" defTabSz="914400" rtl="0" eaLnBrk="1" latinLnBrk="0" hangingPunct="1">
              <a:lnSpc>
                <a:spcPct val="90000"/>
              </a:lnSpc>
              <a:spcBef>
                <a:spcPts val="500"/>
              </a:spcBef>
              <a:buFont typeface="Arial" panose="020B0604020202020204" pitchFamily="34" charset="0"/>
              <a:buChar char="•"/>
              <a:tabLst/>
              <a:defRPr sz="700" b="0" i="0" kern="1200">
                <a:solidFill>
                  <a:schemeClr val="tx1"/>
                </a:solidFill>
                <a:latin typeface="Calibri Light" panose="020F03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b="1" i="0" u="none" strike="noStrike" kern="1200" cap="none" spc="0" normalizeH="0" baseline="0" dirty="0">
                <a:ln>
                  <a:noFill/>
                </a:ln>
                <a:solidFill>
                  <a:schemeClr val="accent6">
                    <a:lumMod val="100000"/>
                  </a:schemeClr>
                </a:solidFill>
                <a:effectLst/>
                <a:uLnTx/>
                <a:uFillTx/>
                <a:latin typeface="Calibri" panose="020F0502020204030204"/>
                <a:ea typeface="Open Sans" panose="020B0606030504020204" pitchFamily="34" charset="0"/>
                <a:cs typeface="Open Sans" panose="020B0606030504020204" pitchFamily="34" charset="0"/>
              </a:rPr>
              <a:t>BLUEPRINT</a:t>
            </a:r>
            <a:endParaRPr kumimoji="0" lang="en-US" sz="1200" b="0" i="0" u="none" strike="noStrike" kern="1200" cap="none" spc="0" normalizeH="0" baseline="0" dirty="0">
              <a:ln>
                <a:noFill/>
              </a:ln>
              <a:solidFill>
                <a:schemeClr val="accent6">
                  <a:lumMod val="100000"/>
                </a:schemeClr>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6" name="Content Placeholder 4">
            <a:extLst>
              <a:ext uri="{FF2B5EF4-FFF2-40B4-BE49-F238E27FC236}">
                <a16:creationId xmlns:a16="http://schemas.microsoft.com/office/drawing/2014/main" id="{B9DFB9AA-82FE-06DA-0196-C7CC69352E88}"/>
              </a:ext>
            </a:extLst>
          </p:cNvPr>
          <p:cNvSpPr txBox="1">
            <a:spLocks/>
          </p:cNvSpPr>
          <p:nvPr/>
        </p:nvSpPr>
        <p:spPr>
          <a:xfrm>
            <a:off x="7043874" y="1500080"/>
            <a:ext cx="1599557" cy="24560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Font typeface="Arial" panose="020B0604020202020204" pitchFamily="34" charset="0"/>
              <a:buNone/>
              <a:defRPr sz="1400" b="0" i="0" kern="1200">
                <a:solidFill>
                  <a:schemeClr val="tx1"/>
                </a:solidFill>
                <a:latin typeface="Calibri Light" panose="020F0302020204030204" pitchFamily="34" charset="0"/>
                <a:ea typeface="+mn-ea"/>
                <a:cs typeface="Calibri Light" panose="020F0302020204030204" pitchFamily="34" charset="0"/>
              </a:defRPr>
            </a:lvl1pPr>
            <a:lvl2pPr marL="182563" indent="-182563" algn="l" defTabSz="914400" rtl="0" eaLnBrk="1" latinLnBrk="0" hangingPunct="1">
              <a:lnSpc>
                <a:spcPct val="100000"/>
              </a:lnSpc>
              <a:spcBef>
                <a:spcPts val="0"/>
              </a:spcBef>
              <a:spcAft>
                <a:spcPts val="1000"/>
              </a:spcAft>
              <a:buFont typeface="Arial" panose="020B0604020202020204" pitchFamily="34" charset="0"/>
              <a:buChar char="•"/>
              <a:tabLst/>
              <a:defRPr sz="900" b="0" i="0" kern="1200">
                <a:solidFill>
                  <a:schemeClr val="tx1"/>
                </a:solidFill>
                <a:latin typeface="Calibri Light" panose="020F0302020204030204" pitchFamily="34" charset="0"/>
                <a:ea typeface="+mn-ea"/>
                <a:cs typeface="+mn-cs"/>
              </a:defRPr>
            </a:lvl2pPr>
            <a:lvl3pPr marL="403225" indent="-220663" algn="l" defTabSz="914400" rtl="0" eaLnBrk="1" latinLnBrk="0" hangingPunct="1">
              <a:lnSpc>
                <a:spcPct val="90000"/>
              </a:lnSpc>
              <a:spcBef>
                <a:spcPts val="500"/>
              </a:spcBef>
              <a:buFont typeface="System Font Regular"/>
              <a:buChar char="–"/>
              <a:tabLst/>
              <a:defRPr sz="800" b="0" i="0" kern="1200">
                <a:solidFill>
                  <a:schemeClr val="tx1"/>
                </a:solidFill>
                <a:latin typeface="Calibri Light" panose="020F0302020204030204" pitchFamily="34" charset="0"/>
                <a:ea typeface="+mn-ea"/>
                <a:cs typeface="+mn-cs"/>
              </a:defRPr>
            </a:lvl3pPr>
            <a:lvl4pPr marL="623888" indent="-192088" algn="l" defTabSz="914400" rtl="0" eaLnBrk="1" latinLnBrk="0" hangingPunct="1">
              <a:lnSpc>
                <a:spcPct val="90000"/>
              </a:lnSpc>
              <a:spcBef>
                <a:spcPts val="500"/>
              </a:spcBef>
              <a:buFont typeface="Courier New" panose="02070309020205020404" pitchFamily="49" charset="0"/>
              <a:buChar char="o"/>
              <a:tabLst/>
              <a:defRPr sz="700" b="0" i="0" kern="1200">
                <a:solidFill>
                  <a:schemeClr val="tx1"/>
                </a:solidFill>
                <a:latin typeface="Calibri Light" panose="020F0302020204030204" pitchFamily="34" charset="0"/>
                <a:ea typeface="+mn-ea"/>
                <a:cs typeface="+mn-cs"/>
              </a:defRPr>
            </a:lvl4pPr>
            <a:lvl5pPr marL="846138" indent="-222250" algn="l" defTabSz="914400" rtl="0" eaLnBrk="1" latinLnBrk="0" hangingPunct="1">
              <a:lnSpc>
                <a:spcPct val="90000"/>
              </a:lnSpc>
              <a:spcBef>
                <a:spcPts val="500"/>
              </a:spcBef>
              <a:buFont typeface="Arial" panose="020B0604020202020204" pitchFamily="34" charset="0"/>
              <a:buChar char="•"/>
              <a:tabLst/>
              <a:defRPr sz="700" b="0" i="0" kern="1200">
                <a:solidFill>
                  <a:schemeClr val="tx1"/>
                </a:solidFill>
                <a:latin typeface="Calibri Light" panose="020F03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b="1" i="0" u="none" strike="noStrike" kern="1200" cap="none" spc="0" normalizeH="0" baseline="0" dirty="0">
                <a:ln>
                  <a:noFill/>
                </a:ln>
                <a:solidFill>
                  <a:schemeClr val="accent6">
                    <a:lumMod val="100000"/>
                  </a:schemeClr>
                </a:solidFill>
                <a:effectLst/>
                <a:uLnTx/>
                <a:uFillTx/>
                <a:latin typeface="Calibri" panose="020F0502020204030204"/>
                <a:ea typeface="Open Sans" panose="020B0606030504020204" pitchFamily="34" charset="0"/>
                <a:cs typeface="Open Sans" panose="020B0606030504020204" pitchFamily="34" charset="0"/>
              </a:rPr>
              <a:t>DELIVER</a:t>
            </a:r>
            <a:endParaRPr kumimoji="0" lang="en-US" sz="1200" b="0" i="0" u="none" strike="noStrike" kern="1200" cap="none" spc="0" normalizeH="0" baseline="0" dirty="0">
              <a:ln>
                <a:noFill/>
              </a:ln>
              <a:solidFill>
                <a:schemeClr val="accent6">
                  <a:lumMod val="100000"/>
                </a:schemeClr>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7" name="Content Placeholder 4">
            <a:extLst>
              <a:ext uri="{FF2B5EF4-FFF2-40B4-BE49-F238E27FC236}">
                <a16:creationId xmlns:a16="http://schemas.microsoft.com/office/drawing/2014/main" id="{FCA0605B-D63F-70C0-5706-92A2C1B724C3}"/>
              </a:ext>
            </a:extLst>
          </p:cNvPr>
          <p:cNvSpPr txBox="1">
            <a:spLocks/>
          </p:cNvSpPr>
          <p:nvPr/>
        </p:nvSpPr>
        <p:spPr>
          <a:xfrm>
            <a:off x="9480791" y="1500081"/>
            <a:ext cx="1599557" cy="25214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Font typeface="Arial" panose="020B0604020202020204" pitchFamily="34" charset="0"/>
              <a:buNone/>
              <a:defRPr sz="1400" b="0" i="0" kern="1200">
                <a:solidFill>
                  <a:schemeClr val="tx1"/>
                </a:solidFill>
                <a:latin typeface="Calibri Light" panose="020F0302020204030204" pitchFamily="34" charset="0"/>
                <a:ea typeface="+mn-ea"/>
                <a:cs typeface="Calibri Light" panose="020F0302020204030204" pitchFamily="34" charset="0"/>
              </a:defRPr>
            </a:lvl1pPr>
            <a:lvl2pPr marL="182563" indent="-182563" algn="l" defTabSz="914400" rtl="0" eaLnBrk="1" latinLnBrk="0" hangingPunct="1">
              <a:lnSpc>
                <a:spcPct val="100000"/>
              </a:lnSpc>
              <a:spcBef>
                <a:spcPts val="0"/>
              </a:spcBef>
              <a:spcAft>
                <a:spcPts val="1000"/>
              </a:spcAft>
              <a:buFont typeface="Arial" panose="020B0604020202020204" pitchFamily="34" charset="0"/>
              <a:buChar char="•"/>
              <a:tabLst/>
              <a:defRPr sz="900" b="0" i="0" kern="1200">
                <a:solidFill>
                  <a:schemeClr val="tx1"/>
                </a:solidFill>
                <a:latin typeface="Calibri Light" panose="020F0302020204030204" pitchFamily="34" charset="0"/>
                <a:ea typeface="+mn-ea"/>
                <a:cs typeface="+mn-cs"/>
              </a:defRPr>
            </a:lvl2pPr>
            <a:lvl3pPr marL="403225" indent="-220663" algn="l" defTabSz="914400" rtl="0" eaLnBrk="1" latinLnBrk="0" hangingPunct="1">
              <a:lnSpc>
                <a:spcPct val="90000"/>
              </a:lnSpc>
              <a:spcBef>
                <a:spcPts val="500"/>
              </a:spcBef>
              <a:buFont typeface="System Font Regular"/>
              <a:buChar char="–"/>
              <a:tabLst/>
              <a:defRPr sz="800" b="0" i="0" kern="1200">
                <a:solidFill>
                  <a:schemeClr val="tx1"/>
                </a:solidFill>
                <a:latin typeface="Calibri Light" panose="020F0302020204030204" pitchFamily="34" charset="0"/>
                <a:ea typeface="+mn-ea"/>
                <a:cs typeface="+mn-cs"/>
              </a:defRPr>
            </a:lvl3pPr>
            <a:lvl4pPr marL="623888" indent="-192088" algn="l" defTabSz="914400" rtl="0" eaLnBrk="1" latinLnBrk="0" hangingPunct="1">
              <a:lnSpc>
                <a:spcPct val="90000"/>
              </a:lnSpc>
              <a:spcBef>
                <a:spcPts val="500"/>
              </a:spcBef>
              <a:buFont typeface="Courier New" panose="02070309020205020404" pitchFamily="49" charset="0"/>
              <a:buChar char="o"/>
              <a:tabLst/>
              <a:defRPr sz="700" b="0" i="0" kern="1200">
                <a:solidFill>
                  <a:schemeClr val="tx1"/>
                </a:solidFill>
                <a:latin typeface="Calibri Light" panose="020F0302020204030204" pitchFamily="34" charset="0"/>
                <a:ea typeface="+mn-ea"/>
                <a:cs typeface="+mn-cs"/>
              </a:defRPr>
            </a:lvl4pPr>
            <a:lvl5pPr marL="846138" indent="-222250" algn="l" defTabSz="914400" rtl="0" eaLnBrk="1" latinLnBrk="0" hangingPunct="1">
              <a:lnSpc>
                <a:spcPct val="90000"/>
              </a:lnSpc>
              <a:spcBef>
                <a:spcPts val="500"/>
              </a:spcBef>
              <a:buFont typeface="Arial" panose="020B0604020202020204" pitchFamily="34" charset="0"/>
              <a:buChar char="•"/>
              <a:tabLst/>
              <a:defRPr sz="700" b="0" i="0" kern="1200">
                <a:solidFill>
                  <a:schemeClr val="tx1"/>
                </a:solidFill>
                <a:latin typeface="Calibri Light" panose="020F03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b="1" i="0" u="none" strike="noStrike" kern="1200" cap="none" spc="0" normalizeH="0" baseline="0" dirty="0">
                <a:ln>
                  <a:noFill/>
                </a:ln>
                <a:solidFill>
                  <a:schemeClr val="accent6">
                    <a:lumMod val="100000"/>
                  </a:schemeClr>
                </a:solidFill>
                <a:effectLst/>
                <a:uLnTx/>
                <a:uFillTx/>
                <a:latin typeface="Calibri" panose="020F0502020204030204"/>
                <a:ea typeface="Open Sans" panose="020B0606030504020204" pitchFamily="34" charset="0"/>
                <a:cs typeface="Open Sans" panose="020B0606030504020204" pitchFamily="34" charset="0"/>
              </a:rPr>
              <a:t>EVOLVE </a:t>
            </a:r>
            <a:endParaRPr kumimoji="0" lang="en-US" sz="1200" b="0" i="0" u="none" strike="noStrike" kern="1200" cap="none" spc="0" normalizeH="0" baseline="0" dirty="0">
              <a:ln>
                <a:noFill/>
              </a:ln>
              <a:solidFill>
                <a:schemeClr val="accent6">
                  <a:lumMod val="100000"/>
                </a:schemeClr>
              </a:solidFill>
              <a:effectLst/>
              <a:uLnTx/>
              <a:uFillTx/>
              <a:latin typeface="Calibri" panose="020F0502020204030204"/>
              <a:ea typeface="Open Sans" panose="020B0606030504020204" pitchFamily="34" charset="0"/>
              <a:cs typeface="Open Sans" panose="020B0606030504020204" pitchFamily="34" charset="0"/>
            </a:endParaRPr>
          </a:p>
        </p:txBody>
      </p:sp>
      <p:graphicFrame>
        <p:nvGraphicFramePr>
          <p:cNvPr id="20" name="Table 19">
            <a:extLst>
              <a:ext uri="{FF2B5EF4-FFF2-40B4-BE49-F238E27FC236}">
                <a16:creationId xmlns:a16="http://schemas.microsoft.com/office/drawing/2014/main" id="{F4FD29F6-EFA8-F895-B9FD-A039C0684E7A}"/>
              </a:ext>
            </a:extLst>
          </p:cNvPr>
          <p:cNvGraphicFramePr>
            <a:graphicFrameLocks noGrp="1"/>
          </p:cNvGraphicFramePr>
          <p:nvPr/>
        </p:nvGraphicFramePr>
        <p:xfrm>
          <a:off x="451106" y="1713494"/>
          <a:ext cx="1537850" cy="4794194"/>
        </p:xfrm>
        <a:graphic>
          <a:graphicData uri="http://schemas.openxmlformats.org/drawingml/2006/table">
            <a:tbl>
              <a:tblPr firstRow="1" bandRow="1">
                <a:tableStyleId>{5C22544A-7EE6-4342-B048-85BDC9FD1C3A}</a:tableStyleId>
              </a:tblPr>
              <a:tblGrid>
                <a:gridCol w="1537850">
                  <a:extLst>
                    <a:ext uri="{9D8B030D-6E8A-4147-A177-3AD203B41FA5}">
                      <a16:colId xmlns:a16="http://schemas.microsoft.com/office/drawing/2014/main" val="1632052282"/>
                    </a:ext>
                  </a:extLst>
                </a:gridCol>
              </a:tblGrid>
              <a:tr h="4794194">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50" b="0" i="0" u="none" strike="noStrike" kern="1200" cap="none" spc="0" normalizeH="0" baseline="0" noProof="0" dirty="0">
                        <a:ln>
                          <a:noFill/>
                        </a:ln>
                        <a:solidFill>
                          <a:schemeClr val="bg1">
                            <a:lumMod val="100000"/>
                          </a:schemeClr>
                        </a:solidFill>
                        <a:effectLst/>
                        <a:uLnTx/>
                        <a:uFillTx/>
                        <a:latin typeface="+mn-lt"/>
                        <a:ea typeface="+mn-ea"/>
                        <a:cs typeface="+mn-cs"/>
                      </a:endParaRPr>
                    </a:p>
                  </a:txBody>
                  <a:tcPr marT="36000" marB="3600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87E80"/>
                    </a:solidFill>
                  </a:tcPr>
                </a:tc>
                <a:extLst>
                  <a:ext uri="{0D108BD9-81ED-4DB2-BD59-A6C34878D82A}">
                    <a16:rowId xmlns:a16="http://schemas.microsoft.com/office/drawing/2014/main" val="556046466"/>
                  </a:ext>
                </a:extLst>
              </a:tr>
            </a:tbl>
          </a:graphicData>
        </a:graphic>
      </p:graphicFrame>
      <p:sp>
        <p:nvSpPr>
          <p:cNvPr id="21" name="Text Placeholder 2">
            <a:extLst>
              <a:ext uri="{FF2B5EF4-FFF2-40B4-BE49-F238E27FC236}">
                <a16:creationId xmlns:a16="http://schemas.microsoft.com/office/drawing/2014/main" id="{F7AB6FE6-C1C5-9495-DBA8-6F5DF2B2DD8F}"/>
              </a:ext>
            </a:extLst>
          </p:cNvPr>
          <p:cNvSpPr txBox="1">
            <a:spLocks/>
          </p:cNvSpPr>
          <p:nvPr/>
        </p:nvSpPr>
        <p:spPr>
          <a:xfrm>
            <a:off x="514015" y="2115926"/>
            <a:ext cx="1299546" cy="3506951"/>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dirty="0">
                <a:ln>
                  <a:noFill/>
                </a:ln>
                <a:solidFill>
                  <a:schemeClr val="bg1">
                    <a:lumMod val="100000"/>
                  </a:schemeClr>
                </a:solidFill>
                <a:effectLst/>
                <a:uLnTx/>
                <a:uFillTx/>
                <a:latin typeface="Calibri" panose="020F0502020204030204"/>
                <a:ea typeface="Open Sans" panose="020B0606030504020204" pitchFamily="34" charset="0"/>
                <a:cs typeface="Open Sans" panose="020B0606030504020204" pitchFamily="34" charset="0"/>
              </a:rPr>
              <a:t>Anchored on successfully achieving Business Outcome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dirty="0">
              <a:ln>
                <a:noFill/>
              </a:ln>
              <a:solidFill>
                <a:schemeClr val="bg1">
                  <a:lumMod val="100000"/>
                </a:schemeClr>
              </a:solidFill>
              <a:effectLst/>
              <a:uLnTx/>
              <a:uFillTx/>
              <a:latin typeface="Calibri" panose="020F0502020204030204"/>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1000"/>
              </a:spcBef>
              <a:spcAft>
                <a:spcPts val="0"/>
              </a:spcAft>
              <a:buClrTx/>
              <a:buSzTx/>
              <a:buFont typeface="Arial" panose="020B0604020202020204" pitchFamily="34" charset="0"/>
              <a:buChar char="•"/>
              <a:tabLst/>
              <a:defRPr/>
            </a:pPr>
            <a:r>
              <a:rPr kumimoji="0" lang="en-US" sz="1200" b="1" i="0" u="none" strike="noStrike" kern="1200" cap="none" spc="0" normalizeH="0" baseline="0" dirty="0">
                <a:ln>
                  <a:noFill/>
                </a:ln>
                <a:solidFill>
                  <a:schemeClr val="bg1">
                    <a:lumMod val="100000"/>
                  </a:schemeClr>
                </a:solidFill>
                <a:effectLst/>
                <a:uLnTx/>
                <a:uFillTx/>
                <a:latin typeface="Calibri" panose="020F0502020204030204"/>
                <a:ea typeface="Open Sans Light" panose="020B0306030504020204" pitchFamily="34" charset="0"/>
                <a:cs typeface="Open Sans Light" panose="020B0306030504020204" pitchFamily="34" charset="0"/>
              </a:rPr>
              <a:t>Human Centered Architecture ensuring a meaningful employee experience</a:t>
            </a:r>
          </a:p>
          <a:p>
            <a:pPr marL="171450" marR="0" lvl="0" indent="-171450" algn="l" defTabSz="914400" rtl="0" eaLnBrk="1" fontAlgn="auto" latinLnBrk="0" hangingPunct="1">
              <a:lnSpc>
                <a:spcPct val="106000"/>
              </a:lnSpc>
              <a:spcBef>
                <a:spcPts val="1000"/>
              </a:spcBef>
              <a:spcAft>
                <a:spcPts val="0"/>
              </a:spcAft>
              <a:buClrTx/>
              <a:buSzTx/>
              <a:buFont typeface="Arial" panose="020B0604020202020204" pitchFamily="34" charset="0"/>
              <a:buChar char="•"/>
              <a:tabLst/>
              <a:defRPr/>
            </a:pPr>
            <a:endParaRPr kumimoji="0" lang="en-US" sz="1200" b="1" i="0" u="none" strike="noStrike" kern="1200" cap="none" spc="0" normalizeH="0" baseline="0" dirty="0">
              <a:ln>
                <a:noFill/>
              </a:ln>
              <a:solidFill>
                <a:schemeClr val="bg1">
                  <a:lumMod val="100000"/>
                </a:schemeClr>
              </a:solidFill>
              <a:effectLst/>
              <a:uLnTx/>
              <a:uFillTx/>
              <a:latin typeface="Calibri" panose="020F0502020204030204"/>
              <a:ea typeface="Open Sans Light" panose="020B0306030504020204" pitchFamily="34" charset="0"/>
              <a:cs typeface="Open Sans Light" panose="020B0306030504020204" pitchFamily="34" charset="0"/>
            </a:endParaRPr>
          </a:p>
          <a:p>
            <a:pPr marL="171450" marR="0" lvl="0" indent="-171450" algn="l" defTabSz="914400" rtl="0" eaLnBrk="1" fontAlgn="auto" latinLnBrk="0" hangingPunct="1">
              <a:lnSpc>
                <a:spcPct val="106000"/>
              </a:lnSpc>
              <a:spcBef>
                <a:spcPts val="1000"/>
              </a:spcBef>
              <a:spcAft>
                <a:spcPts val="0"/>
              </a:spcAft>
              <a:buClrTx/>
              <a:buSzTx/>
              <a:buFont typeface="Arial" panose="020B0604020202020204" pitchFamily="34" charset="0"/>
              <a:buChar char="•"/>
              <a:tabLst/>
              <a:defRPr/>
            </a:pPr>
            <a:r>
              <a:rPr kumimoji="0" lang="en-US" sz="1200" b="1" i="0" u="none" strike="noStrike" kern="1200" cap="none" spc="0" normalizeH="0" baseline="0" dirty="0">
                <a:ln>
                  <a:noFill/>
                </a:ln>
                <a:solidFill>
                  <a:schemeClr val="bg1">
                    <a:lumMod val="100000"/>
                  </a:schemeClr>
                </a:solidFill>
                <a:effectLst/>
                <a:uLnTx/>
                <a:uFillTx/>
                <a:latin typeface="Calibri" panose="020F0502020204030204"/>
                <a:ea typeface="Open Sans" panose="020B0606030504020204" pitchFamily="34" charset="0"/>
                <a:cs typeface="Open Sans" panose="020B0606030504020204" pitchFamily="34" charset="0"/>
              </a:rPr>
              <a:t>Leader led change powered by data insights</a:t>
            </a:r>
          </a:p>
        </p:txBody>
      </p:sp>
      <p:sp>
        <p:nvSpPr>
          <p:cNvPr id="25" name="Text Placeholder 2">
            <a:extLst>
              <a:ext uri="{FF2B5EF4-FFF2-40B4-BE49-F238E27FC236}">
                <a16:creationId xmlns:a16="http://schemas.microsoft.com/office/drawing/2014/main" id="{34EF1A97-F276-0950-AF41-DA394B984FB6}"/>
              </a:ext>
            </a:extLst>
          </p:cNvPr>
          <p:cNvSpPr txBox="1">
            <a:spLocks/>
          </p:cNvSpPr>
          <p:nvPr/>
        </p:nvSpPr>
        <p:spPr>
          <a:xfrm>
            <a:off x="548612" y="1791779"/>
            <a:ext cx="1725888" cy="280368"/>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strike="noStrike" kern="1200" cap="none" spc="0" normalizeH="0" baseline="0" dirty="0">
                <a:ln>
                  <a:noFill/>
                </a:ln>
                <a:solidFill>
                  <a:schemeClr val="bg1">
                    <a:lumMod val="100000"/>
                  </a:schemeClr>
                </a:solidFill>
                <a:effectLst/>
                <a:uLnTx/>
                <a:uFillTx/>
                <a:latin typeface="Calibri" panose="020F0502020204030204"/>
                <a:ea typeface="Open Sans" panose="020B0606030504020204" pitchFamily="34" charset="0"/>
                <a:cs typeface="Open Sans" panose="020B0606030504020204" pitchFamily="34" charset="0"/>
              </a:rPr>
              <a:t>Our key principles </a:t>
            </a:r>
          </a:p>
        </p:txBody>
      </p:sp>
      <p:graphicFrame>
        <p:nvGraphicFramePr>
          <p:cNvPr id="22" name="Table 21">
            <a:extLst>
              <a:ext uri="{FF2B5EF4-FFF2-40B4-BE49-F238E27FC236}">
                <a16:creationId xmlns:a16="http://schemas.microsoft.com/office/drawing/2014/main" id="{379595F9-5D01-8DFE-0A11-923C94B4A16C}"/>
              </a:ext>
            </a:extLst>
          </p:cNvPr>
          <p:cNvGraphicFramePr>
            <a:graphicFrameLocks noGrp="1"/>
          </p:cNvGraphicFramePr>
          <p:nvPr/>
        </p:nvGraphicFramePr>
        <p:xfrm>
          <a:off x="1988957" y="6277350"/>
          <a:ext cx="9751939" cy="233264"/>
        </p:xfrm>
        <a:graphic>
          <a:graphicData uri="http://schemas.openxmlformats.org/drawingml/2006/table">
            <a:tbl>
              <a:tblPr firstRow="1" bandRow="1">
                <a:tableStyleId>{5C22544A-7EE6-4342-B048-85BDC9FD1C3A}</a:tableStyleId>
              </a:tblPr>
              <a:tblGrid>
                <a:gridCol w="9751939">
                  <a:extLst>
                    <a:ext uri="{9D8B030D-6E8A-4147-A177-3AD203B41FA5}">
                      <a16:colId xmlns:a16="http://schemas.microsoft.com/office/drawing/2014/main" val="1632052282"/>
                    </a:ext>
                  </a:extLst>
                </a:gridCol>
              </a:tblGrid>
              <a:tr h="233264">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900" b="1"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Track, evaluate and report on effectiveness of change </a:t>
                      </a:r>
                      <a:r>
                        <a:rPr kumimoji="0" lang="en-US" sz="900" b="1" i="0" u="none" strike="noStrike" kern="1200" cap="none" spc="0" normalizeH="0" baseline="0" noProof="0" dirty="0">
                          <a:ln>
                            <a:noFill/>
                          </a:ln>
                          <a:solidFill>
                            <a:schemeClr val="bg1"/>
                          </a:solidFill>
                          <a:effectLst/>
                          <a:uLnTx/>
                          <a:uFillTx/>
                          <a:latin typeface="+mj-lt"/>
                          <a:ea typeface="Open Sans" panose="020B0606030504020204" pitchFamily="34" charset="0"/>
                          <a:cs typeface="Open Sans" panose="020B0606030504020204" pitchFamily="34" charset="0"/>
                        </a:rPr>
                        <a:t>&amp; </a:t>
                      </a:r>
                      <a:r>
                        <a:rPr kumimoji="0" lang="en-US" sz="900" b="1" i="0" u="none" strike="noStrike" kern="1200" cap="none" spc="0" normalizeH="0" baseline="0" noProof="0" dirty="0" err="1">
                          <a:ln>
                            <a:noFill/>
                          </a:ln>
                          <a:solidFill>
                            <a:schemeClr val="bg1"/>
                          </a:solidFill>
                          <a:effectLst/>
                          <a:uLnTx/>
                          <a:uFillTx/>
                          <a:latin typeface="+mj-lt"/>
                          <a:ea typeface="Open Sans" panose="020B0606030504020204" pitchFamily="34" charset="0"/>
                          <a:cs typeface="Open Sans" panose="020B0606030504020204" pitchFamily="34" charset="0"/>
                        </a:rPr>
                        <a:t>realisation</a:t>
                      </a:r>
                      <a:r>
                        <a:rPr kumimoji="0" lang="en-US" sz="900" b="1" i="0" u="none" strike="noStrike" kern="1200" cap="none" spc="0" normalizeH="0" baseline="0" noProof="0" dirty="0">
                          <a:ln>
                            <a:noFill/>
                          </a:ln>
                          <a:solidFill>
                            <a:schemeClr val="bg1"/>
                          </a:solidFill>
                          <a:effectLst/>
                          <a:uLnTx/>
                          <a:uFillTx/>
                          <a:latin typeface="+mj-lt"/>
                          <a:ea typeface="Open Sans" panose="020B0606030504020204" pitchFamily="34" charset="0"/>
                          <a:cs typeface="Open Sans" panose="020B0606030504020204" pitchFamily="34" charset="0"/>
                        </a:rPr>
                        <a:t> of business outcomes</a:t>
                      </a:r>
                    </a:p>
                  </a:txBody>
                  <a:tcPr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4F59">
                        <a:alpha val="41000"/>
                      </a:srgbClr>
                    </a:solidFill>
                  </a:tcPr>
                </a:tc>
                <a:extLst>
                  <a:ext uri="{0D108BD9-81ED-4DB2-BD59-A6C34878D82A}">
                    <a16:rowId xmlns:a16="http://schemas.microsoft.com/office/drawing/2014/main" val="2667378756"/>
                  </a:ext>
                </a:extLst>
              </a:tr>
            </a:tbl>
          </a:graphicData>
        </a:graphic>
      </p:graphicFrame>
      <p:graphicFrame>
        <p:nvGraphicFramePr>
          <p:cNvPr id="23" name="Table 22">
            <a:extLst>
              <a:ext uri="{FF2B5EF4-FFF2-40B4-BE49-F238E27FC236}">
                <a16:creationId xmlns:a16="http://schemas.microsoft.com/office/drawing/2014/main" id="{54DB9C10-C48D-0819-EC8B-7C97DFB82BD0}"/>
              </a:ext>
            </a:extLst>
          </p:cNvPr>
          <p:cNvGraphicFramePr>
            <a:graphicFrameLocks noGrp="1"/>
          </p:cNvGraphicFramePr>
          <p:nvPr/>
        </p:nvGraphicFramePr>
        <p:xfrm>
          <a:off x="1988956" y="6049608"/>
          <a:ext cx="9751939" cy="233264"/>
        </p:xfrm>
        <a:graphic>
          <a:graphicData uri="http://schemas.openxmlformats.org/drawingml/2006/table">
            <a:tbl>
              <a:tblPr firstRow="1" bandRow="1">
                <a:tableStyleId>{5C22544A-7EE6-4342-B048-85BDC9FD1C3A}</a:tableStyleId>
              </a:tblPr>
              <a:tblGrid>
                <a:gridCol w="9751939">
                  <a:extLst>
                    <a:ext uri="{9D8B030D-6E8A-4147-A177-3AD203B41FA5}">
                      <a16:colId xmlns:a16="http://schemas.microsoft.com/office/drawing/2014/main" val="1632052282"/>
                    </a:ext>
                  </a:extLst>
                </a:gridCol>
              </a:tblGrid>
              <a:tr h="233264">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900" b="1" i="0" u="none" strike="noStrike" kern="1200" cap="none" spc="0" normalizeH="0" baseline="0" noProof="0" dirty="0">
                          <a:ln>
                            <a:noFill/>
                          </a:ln>
                          <a:solidFill>
                            <a:schemeClr val="tx1"/>
                          </a:solidFill>
                          <a:effectLst/>
                          <a:uLnTx/>
                          <a:uFillTx/>
                          <a:latin typeface="+mj-lt"/>
                          <a:ea typeface="Open Sans" panose="020B0606030504020204" pitchFamily="34" charset="0"/>
                          <a:cs typeface="Open Sans" panose="020B0606030504020204" pitchFamily="34" charset="0"/>
                        </a:rPr>
                        <a:t>Continuously listen, engage and collaborate</a:t>
                      </a:r>
                    </a:p>
                  </a:txBody>
                  <a:tcPr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41000"/>
                      </a:schemeClr>
                    </a:solidFill>
                  </a:tcPr>
                </a:tc>
                <a:extLst>
                  <a:ext uri="{0D108BD9-81ED-4DB2-BD59-A6C34878D82A}">
                    <a16:rowId xmlns:a16="http://schemas.microsoft.com/office/drawing/2014/main" val="2667378756"/>
                  </a:ext>
                </a:extLst>
              </a:tr>
            </a:tbl>
          </a:graphicData>
        </a:graphic>
      </p:graphicFrame>
      <p:cxnSp>
        <p:nvCxnSpPr>
          <p:cNvPr id="32" name="Straight Connector 31">
            <a:extLst>
              <a:ext uri="{FF2B5EF4-FFF2-40B4-BE49-F238E27FC236}">
                <a16:creationId xmlns:a16="http://schemas.microsoft.com/office/drawing/2014/main" id="{BC545DE2-59D2-08C6-5EE5-A31D2F8D833B}"/>
              </a:ext>
            </a:extLst>
          </p:cNvPr>
          <p:cNvCxnSpPr>
            <a:cxnSpLocks/>
          </p:cNvCxnSpPr>
          <p:nvPr/>
        </p:nvCxnSpPr>
        <p:spPr>
          <a:xfrm flipV="1">
            <a:off x="4420534" y="1714500"/>
            <a:ext cx="0" cy="433510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8B1335C-97E3-3A17-997E-75E5E21A533C}"/>
              </a:ext>
            </a:extLst>
          </p:cNvPr>
          <p:cNvCxnSpPr>
            <a:cxnSpLocks/>
          </p:cNvCxnSpPr>
          <p:nvPr/>
        </p:nvCxnSpPr>
        <p:spPr>
          <a:xfrm flipV="1">
            <a:off x="6889414" y="1713494"/>
            <a:ext cx="0" cy="433510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8764ABC-B7C2-D9D7-963D-EC88C5262507}"/>
              </a:ext>
            </a:extLst>
          </p:cNvPr>
          <p:cNvCxnSpPr>
            <a:cxnSpLocks/>
          </p:cNvCxnSpPr>
          <p:nvPr/>
        </p:nvCxnSpPr>
        <p:spPr>
          <a:xfrm flipV="1">
            <a:off x="9320194" y="1713494"/>
            <a:ext cx="0" cy="433510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6591F34-D128-71D6-1F5D-3774B0FC6A9D}"/>
              </a:ext>
            </a:extLst>
          </p:cNvPr>
          <p:cNvPicPr>
            <a:picLocks noChangeAspect="1"/>
          </p:cNvPicPr>
          <p:nvPr/>
        </p:nvPicPr>
        <p:blipFill rotWithShape="1">
          <a:blip r:embed="rId6" cstate="email">
            <a:alphaModFix amt="7000"/>
            <a:extLst>
              <a:ext uri="{28A0092B-C50C-407E-A947-70E740481C1C}">
                <a14:useLocalDpi xmlns:a14="http://schemas.microsoft.com/office/drawing/2010/main"/>
              </a:ext>
            </a:extLst>
          </a:blip>
          <a:srcRect/>
          <a:stretch/>
        </p:blipFill>
        <p:spPr>
          <a:xfrm>
            <a:off x="463294" y="1725923"/>
            <a:ext cx="11271505" cy="4786085"/>
          </a:xfrm>
          <a:prstGeom prst="rect">
            <a:avLst/>
          </a:prstGeom>
        </p:spPr>
      </p:pic>
    </p:spTree>
    <p:extLst>
      <p:ext uri="{BB962C8B-B14F-4D97-AF65-F5344CB8AC3E}">
        <p14:creationId xmlns:p14="http://schemas.microsoft.com/office/powerpoint/2010/main" val="4090906389"/>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Management Advisory 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9.</a:t>
            </a:r>
            <a:endParaRPr lang="en-GB" dirty="0"/>
          </a:p>
        </p:txBody>
      </p:sp>
      <p:sp>
        <p:nvSpPr>
          <p:cNvPr id="3" name="Text Placeholder 2">
            <a:extLst>
              <a:ext uri="{FF2B5EF4-FFF2-40B4-BE49-F238E27FC236}">
                <a16:creationId xmlns:a16="http://schemas.microsoft.com/office/drawing/2014/main" id="{A2868329-6EF2-A8A9-9B50-624028F2FA7F}"/>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100144997"/>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lowchart: Manual Operation 11">
            <a:extLst>
              <a:ext uri="{FF2B5EF4-FFF2-40B4-BE49-F238E27FC236}">
                <a16:creationId xmlns:a16="http://schemas.microsoft.com/office/drawing/2014/main" id="{03A60296-E453-5E4A-45FF-AD385BBB1A7A}"/>
              </a:ext>
            </a:extLst>
          </p:cNvPr>
          <p:cNvSpPr/>
          <p:nvPr/>
        </p:nvSpPr>
        <p:spPr bwMode="gray">
          <a:xfrm rot="16200000">
            <a:off x="4295372" y="-83749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4" name="Rectangle 3">
            <a:extLst>
              <a:ext uri="{FF2B5EF4-FFF2-40B4-BE49-F238E27FC236}">
                <a16:creationId xmlns:a16="http://schemas.microsoft.com/office/drawing/2014/main" id="{0ADEA8D4-09B3-160B-36BE-E0CDDF3DF866}"/>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3406183"/>
            <a:ext cx="0" cy="0"/>
          </a:xfrm>
          <a:prstGeom prst="rect">
            <a:avLst/>
          </a:prstGeom>
          <a:noFill/>
        </p:spPr>
        <p:txBody>
          <a:bodyPr wrap="none" lIns="0" tIns="0" rIns="0" bIns="0" rtlCol="0">
            <a:noAutofit/>
          </a:bodyPr>
          <a:lstStyle/>
          <a:p>
            <a:pPr algn="l">
              <a:spcBef>
                <a:spcPts val="600"/>
              </a:spcBef>
              <a:buSzPct val="100000"/>
            </a:pPr>
            <a:endParaRPr lang="en-US" sz="900" dirty="0"/>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3736729"/>
            <a:ext cx="0" cy="0"/>
          </a:xfrm>
          <a:prstGeom prst="rect">
            <a:avLst/>
          </a:prstGeom>
          <a:noFill/>
        </p:spPr>
        <p:txBody>
          <a:bodyPr wrap="none" lIns="0" tIns="0" rIns="0" bIns="0" rtlCol="0">
            <a:noAutofit/>
          </a:bodyPr>
          <a:lstStyle/>
          <a:p>
            <a:pPr algn="l">
              <a:spcBef>
                <a:spcPts val="600"/>
              </a:spcBef>
              <a:buSzPct val="100000"/>
            </a:pPr>
            <a:endParaRPr lang="en-US" sz="900" dirty="0"/>
          </a:p>
        </p:txBody>
      </p:sp>
      <p:sp>
        <p:nvSpPr>
          <p:cNvPr id="28" name="Rectangle 27">
            <a:extLst>
              <a:ext uri="{FF2B5EF4-FFF2-40B4-BE49-F238E27FC236}">
                <a16:creationId xmlns:a16="http://schemas.microsoft.com/office/drawing/2014/main" id="{5E35D33A-6811-BC69-383E-8FAB16E98661}"/>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47206" y="4283516"/>
            <a:ext cx="1596400" cy="347936"/>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377803"/>
            <a:ext cx="1596393" cy="617225"/>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a:latin typeface="+mn-lt"/>
              </a:rPr>
              <a:t>9. </a:t>
            </a:r>
            <a:r>
              <a:rPr lang="en-US" sz="2000" dirty="0">
                <a:latin typeface="+mn-lt"/>
              </a:rPr>
              <a:t>Management Advisory services</a:t>
            </a:r>
            <a:r>
              <a:rPr lang="en-US" sz="2000">
                <a:latin typeface="+mn-lt"/>
              </a:rPr>
              <a:t> (1/3)</a:t>
            </a:r>
            <a:endParaRPr lang="en-US" sz="2000" dirty="0">
              <a:latin typeface="+mn-lt"/>
            </a:endParaRPr>
          </a:p>
        </p:txBody>
      </p:sp>
      <p:sp>
        <p:nvSpPr>
          <p:cNvPr id="6" name="TextBox 5">
            <a:extLst>
              <a:ext uri="{FF2B5EF4-FFF2-40B4-BE49-F238E27FC236}">
                <a16:creationId xmlns:a16="http://schemas.microsoft.com/office/drawing/2014/main" id="{FAEF6724-E8B7-7C0B-158A-01A618E22EC0}"/>
              </a:ext>
            </a:extLst>
          </p:cNvPr>
          <p:cNvSpPr txBox="1"/>
          <p:nvPr/>
        </p:nvSpPr>
        <p:spPr>
          <a:xfrm>
            <a:off x="1109960" y="2425764"/>
            <a:ext cx="1533638" cy="548117"/>
          </a:xfrm>
          <a:prstGeom prst="rect">
            <a:avLst/>
          </a:prstGeom>
          <a:noFill/>
        </p:spPr>
        <p:txBody>
          <a:bodyPr wrap="square" lIns="0" tIns="0" rIns="0" bIns="0" rtlCol="0" anchor="t">
            <a:noAutofit/>
          </a:bodyPr>
          <a:lstStyle/>
          <a:p>
            <a:pPr>
              <a:spcAft>
                <a:spcPts val="1000"/>
              </a:spcAft>
            </a:pPr>
            <a:r>
              <a:rPr lang="en-US" sz="900" b="1" cap="all" dirty="0">
                <a:ea typeface="Open Sans Light"/>
                <a:cs typeface="Open Sans Light"/>
              </a:rPr>
              <a:t>9.1 Development and review of </a:t>
            </a:r>
            <a:r>
              <a:rPr lang="en-US" sz="900" b="1" cap="all" err="1">
                <a:ea typeface="Open Sans Light"/>
                <a:cs typeface="Open Sans Light"/>
              </a:rPr>
              <a:t>organisational</a:t>
            </a:r>
            <a:r>
              <a:rPr lang="en-US" sz="900" b="1" cap="all" dirty="0">
                <a:ea typeface="Open Sans Light"/>
                <a:cs typeface="Open Sans Light"/>
              </a:rPr>
              <a:t> strategies</a:t>
            </a:r>
            <a:br>
              <a:rPr lang="en-US" sz="900" b="1" cap="all" dirty="0">
                <a:ea typeface="Open Sans Light"/>
                <a:cs typeface="Open Sans Light"/>
              </a:rPr>
            </a:br>
            <a:r>
              <a:rPr lang="en-US" sz="900" b="1" cap="all" dirty="0">
                <a:ea typeface="Open Sans Light"/>
                <a:cs typeface="Calibri"/>
              </a:rPr>
              <a:t>9.4 DEVELOPMENT STRATEGIES</a:t>
            </a:r>
            <a:endParaRPr lang="en-US" sz="900" b="1" cap="all">
              <a:ea typeface="Open Sans Light"/>
              <a:cs typeface="Open Sans Light" panose="020B0306030504020204" pitchFamily="34" charset="0"/>
            </a:endParaRP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chemeClr val="bg1"/>
                </a:solidFill>
                <a:latin typeface="Open Sans"/>
              </a:rPr>
              <a:t>SUBCHAPTERS</a:t>
            </a:r>
            <a:endParaRPr kumimoji="0" lang="en-US" sz="1200" b="1" i="0" u="none" strike="noStrike" kern="1200" cap="none" spc="300" normalizeH="0" baseline="0" dirty="0">
              <a:ln>
                <a:noFill/>
              </a:ln>
              <a:solidFill>
                <a:schemeClr val="bg1"/>
              </a:solidFill>
              <a:effectLst/>
              <a:uLnTx/>
              <a:uFillTx/>
              <a:latin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dirty="0">
                <a:latin typeface="Open Sans"/>
              </a:rPr>
              <a:t>METHODOLOGIES</a:t>
            </a:r>
            <a:endParaRPr kumimoji="0" lang="en-US" sz="1200" b="0" i="1" u="none" strike="noStrike" kern="1200" cap="none" spc="600" normalizeH="0" baseline="0" dirty="0">
              <a:ln>
                <a:noFill/>
              </a:ln>
              <a:effectLst/>
              <a:uLnTx/>
              <a:uFillTx/>
              <a:latin typeface="Open Sans"/>
            </a:endParaRPr>
          </a:p>
        </p:txBody>
      </p: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dirty="0"/>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dirty="0"/>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dirty="0"/>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dirty="0"/>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dirty="0"/>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dirty="0"/>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dirty="0"/>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610088"/>
            <a:ext cx="0" cy="0"/>
          </a:xfrm>
          <a:prstGeom prst="rect">
            <a:avLst/>
          </a:prstGeom>
          <a:noFill/>
        </p:spPr>
        <p:txBody>
          <a:bodyPr wrap="none" lIns="0" tIns="0" rIns="0" bIns="0" rtlCol="0">
            <a:noAutofit/>
          </a:bodyPr>
          <a:lstStyle/>
          <a:p>
            <a:pPr algn="l">
              <a:spcBef>
                <a:spcPts val="600"/>
              </a:spcBef>
              <a:buSzPct val="100000"/>
            </a:pPr>
            <a:endParaRPr lang="en-US" sz="900" dirty="0"/>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554907"/>
            <a:ext cx="0" cy="0"/>
          </a:xfrm>
          <a:prstGeom prst="rect">
            <a:avLst/>
          </a:prstGeom>
          <a:noFill/>
        </p:spPr>
        <p:txBody>
          <a:bodyPr wrap="none" lIns="0" tIns="0" rIns="0" bIns="0" rtlCol="0">
            <a:noAutofit/>
          </a:bodyPr>
          <a:lstStyle/>
          <a:p>
            <a:pPr algn="l">
              <a:spcBef>
                <a:spcPts val="600"/>
              </a:spcBef>
              <a:buSzPct val="100000"/>
            </a:pPr>
            <a:endParaRPr lang="en-US" sz="900" dirty="0"/>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3392153"/>
            <a:ext cx="1693153" cy="699247"/>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403155"/>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3" name="TextBox 22">
            <a:extLst>
              <a:ext uri="{FF2B5EF4-FFF2-40B4-BE49-F238E27FC236}">
                <a16:creationId xmlns:a16="http://schemas.microsoft.com/office/drawing/2014/main" id="{71042AB0-6C28-0519-0123-4B35425F7BBA}"/>
              </a:ext>
            </a:extLst>
          </p:cNvPr>
          <p:cNvSpPr txBox="1"/>
          <p:nvPr/>
        </p:nvSpPr>
        <p:spPr>
          <a:xfrm>
            <a:off x="1109961" y="3429918"/>
            <a:ext cx="1443116" cy="739765"/>
          </a:xfrm>
          <a:prstGeom prst="rect">
            <a:avLst/>
          </a:prstGeom>
          <a:noFill/>
        </p:spPr>
        <p:txBody>
          <a:bodyPr wrap="square" lIns="0" tIns="0" rIns="0" bIns="0" rtlCol="0" anchor="t">
            <a:noAutofit/>
          </a:bodyPr>
          <a:lstStyle/>
          <a:p>
            <a:pPr>
              <a:spcAft>
                <a:spcPts val="1000"/>
              </a:spcAft>
            </a:pPr>
            <a:r>
              <a:rPr lang="en-US" sz="900" b="1" cap="all" dirty="0">
                <a:ea typeface="Open Sans Light"/>
                <a:cs typeface="Open Sans Light"/>
              </a:rPr>
              <a:t>9.2 Strategic business planning</a:t>
            </a:r>
            <a:br>
              <a:rPr lang="en-US" sz="900" b="1" cap="all" dirty="0">
                <a:ea typeface="Open Sans Light" panose="020B0306030504020204" pitchFamily="34" charset="0"/>
                <a:cs typeface="Open Sans Light" panose="020B0306030504020204" pitchFamily="34" charset="0"/>
              </a:rPr>
            </a:br>
            <a:endParaRPr lang="en-US" sz="900" b="1" cap="all" dirty="0">
              <a:highlight>
                <a:srgbClr val="FFFF00"/>
              </a:highlight>
              <a:latin typeface="+mj-lt"/>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id="{5C8FF9D1-C272-F408-C331-07E40145140C}"/>
              </a:ext>
            </a:extLst>
          </p:cNvPr>
          <p:cNvSpPr txBox="1"/>
          <p:nvPr/>
        </p:nvSpPr>
        <p:spPr>
          <a:xfrm>
            <a:off x="1109960" y="4287061"/>
            <a:ext cx="1426190" cy="261175"/>
          </a:xfrm>
          <a:prstGeom prst="rect">
            <a:avLst/>
          </a:prstGeom>
          <a:noFill/>
        </p:spPr>
        <p:txBody>
          <a:bodyPr wrap="square" lIns="0" tIns="0" rIns="0" bIns="0" rtlCol="0" anchor="t">
            <a:noAutofit/>
          </a:bodyPr>
          <a:lstStyle/>
          <a:p>
            <a:pPr>
              <a:spcAft>
                <a:spcPts val="1000"/>
              </a:spcAft>
            </a:pPr>
            <a:r>
              <a:rPr lang="en-US" sz="900" b="1" cap="all" dirty="0">
                <a:ea typeface="Open Sans Light" panose="020B0306030504020204" pitchFamily="34" charset="0"/>
                <a:cs typeface="Open Sans Light" panose="020B0306030504020204" pitchFamily="34" charset="0"/>
              </a:rPr>
              <a:t>9.3 Product and service design</a:t>
            </a:r>
            <a:endParaRPr lang="en-US" sz="900" b="1" cap="all" dirty="0">
              <a:latin typeface="+mj-lt"/>
              <a:ea typeface="Open Sans Light" panose="020B0306030504020204" pitchFamily="34" charset="0"/>
              <a:cs typeface="Open Sans Light" panose="020B0306030504020204" pitchFamily="34" charset="0"/>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8" y="3552365"/>
            <a:ext cx="4830876" cy="692967"/>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900" dirty="0"/>
          </a:p>
        </p:txBody>
      </p:sp>
      <p:sp>
        <p:nvSpPr>
          <p:cNvPr id="125" name="TextBox 124">
            <a:extLst>
              <a:ext uri="{FF2B5EF4-FFF2-40B4-BE49-F238E27FC236}">
                <a16:creationId xmlns:a16="http://schemas.microsoft.com/office/drawing/2014/main" id="{BFC289BE-3B1A-26AD-07CC-7670D2377D1C}"/>
              </a:ext>
            </a:extLst>
          </p:cNvPr>
          <p:cNvSpPr txBox="1"/>
          <p:nvPr/>
        </p:nvSpPr>
        <p:spPr>
          <a:xfrm>
            <a:off x="4189845" y="3592663"/>
            <a:ext cx="3476294"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hu-HU" sz="900" b="1" dirty="0">
                <a:solidFill>
                  <a:srgbClr val="000000"/>
                </a:solidFill>
              </a:rPr>
              <a:t>STRATEGIC PLANNING SERVICES</a:t>
            </a:r>
            <a:endParaRPr lang="en-US" sz="900" b="1" dirty="0">
              <a:solidFill>
                <a:srgbClr val="000000"/>
              </a:solidFill>
            </a:endParaRPr>
          </a:p>
        </p:txBody>
      </p:sp>
      <p:sp>
        <p:nvSpPr>
          <p:cNvPr id="126" name="TextBox 125">
            <a:extLst>
              <a:ext uri="{FF2B5EF4-FFF2-40B4-BE49-F238E27FC236}">
                <a16:creationId xmlns:a16="http://schemas.microsoft.com/office/drawing/2014/main" id="{BF7B5CCB-9160-DE5F-7993-F08D514E177C}"/>
              </a:ext>
            </a:extLst>
          </p:cNvPr>
          <p:cNvSpPr txBox="1"/>
          <p:nvPr/>
        </p:nvSpPr>
        <p:spPr>
          <a:xfrm>
            <a:off x="4189845" y="3761675"/>
            <a:ext cx="3308991" cy="415498"/>
          </a:xfrm>
          <a:prstGeom prst="rect">
            <a:avLst/>
          </a:prstGeom>
          <a:noFill/>
        </p:spPr>
        <p:txBody>
          <a:bodyPr wrap="square" lIns="0" tIns="0" rIns="0" bIns="0" rtlCol="0" anchor="t">
            <a:spAutoFit/>
          </a:bodyPr>
          <a:lstStyle/>
          <a:p>
            <a:r>
              <a:rPr lang="en-US" sz="900" dirty="0"/>
              <a:t>Deloitte can support the clients in</a:t>
            </a:r>
            <a:r>
              <a:rPr lang="hu-HU" sz="900" dirty="0"/>
              <a:t> </a:t>
            </a:r>
            <a:r>
              <a:rPr lang="en-US" sz="900" dirty="0"/>
              <a:t>strategic business planning activities through the three specified phases of (1) Discovery, (2) Design and (3) implementation.  </a:t>
            </a: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40358" y="3425984"/>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A619C93D-496C-FCD4-4237-1E45BA090C0C}"/>
              </a:ext>
            </a:extLst>
          </p:cNvPr>
          <p:cNvGrpSpPr/>
          <p:nvPr/>
        </p:nvGrpSpPr>
        <p:grpSpPr>
          <a:xfrm>
            <a:off x="2711783" y="4370186"/>
            <a:ext cx="6240680" cy="108000"/>
            <a:chOff x="2740358" y="3290138"/>
            <a:chExt cx="6240680" cy="108000"/>
          </a:xfrm>
        </p:grpSpPr>
        <p:cxnSp>
          <p:nvCxnSpPr>
            <p:cNvPr id="43" name="Straight Connector 42">
              <a:extLst>
                <a:ext uri="{FF2B5EF4-FFF2-40B4-BE49-F238E27FC236}">
                  <a16:creationId xmlns:a16="http://schemas.microsoft.com/office/drawing/2014/main" id="{D70B4522-DBE8-DD56-B5E7-7222357A16D6}"/>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90224F47-1079-6FC0-B316-CEFA3396CAE1}"/>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45" name="Straight Connector 44">
              <a:extLst>
                <a:ext uri="{FF2B5EF4-FFF2-40B4-BE49-F238E27FC236}">
                  <a16:creationId xmlns:a16="http://schemas.microsoft.com/office/drawing/2014/main" id="{75443865-B44F-1344-A20B-9784C234035E}"/>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4BD032D-C5C7-05B2-D1C9-E9ECC3B13F93}"/>
              </a:ext>
            </a:extLst>
          </p:cNvPr>
          <p:cNvGrpSpPr/>
          <p:nvPr/>
        </p:nvGrpSpPr>
        <p:grpSpPr>
          <a:xfrm>
            <a:off x="3964516" y="10073540"/>
            <a:ext cx="1778439" cy="12260137"/>
            <a:chOff x="3951537" y="11943705"/>
            <a:chExt cx="1643502" cy="12260137"/>
          </a:xfrm>
        </p:grpSpPr>
        <p:sp>
          <p:nvSpPr>
            <p:cNvPr id="59" name="Rectangle: Rounded Corners 58">
              <a:extLst>
                <a:ext uri="{FF2B5EF4-FFF2-40B4-BE49-F238E27FC236}">
                  <a16:creationId xmlns:a16="http://schemas.microsoft.com/office/drawing/2014/main" id="{998800BF-9689-4C74-95DE-DAA5A1B257AC}"/>
                </a:ext>
              </a:extLst>
            </p:cNvPr>
            <p:cNvSpPr/>
            <p:nvPr/>
          </p:nvSpPr>
          <p:spPr bwMode="gray">
            <a:xfrm>
              <a:off x="3951537" y="23124397"/>
              <a:ext cx="1036848" cy="1079445"/>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61" name="TextBox 60">
              <a:extLst>
                <a:ext uri="{FF2B5EF4-FFF2-40B4-BE49-F238E27FC236}">
                  <a16:creationId xmlns:a16="http://schemas.microsoft.com/office/drawing/2014/main" id="{DBB3B5EF-E0B3-8F2B-4503-E90C2BB9AB6B}"/>
                </a:ext>
              </a:extLst>
            </p:cNvPr>
            <p:cNvSpPr txBox="1"/>
            <p:nvPr/>
          </p:nvSpPr>
          <p:spPr>
            <a:xfrm>
              <a:off x="4060618" y="14114354"/>
              <a:ext cx="1505762" cy="984885"/>
            </a:xfrm>
            <a:prstGeom prst="rect">
              <a:avLst/>
            </a:prstGeom>
            <a:noFill/>
          </p:spPr>
          <p:txBody>
            <a:bodyPr wrap="square" lIns="0" tIns="0" rIns="0" bIns="0" rtlCol="0" anchor="t">
              <a:spAutoFit/>
            </a:bodyPr>
            <a:lstStyle/>
            <a:p>
              <a:pPr>
                <a:defRPr/>
              </a:pPr>
              <a:r>
                <a:rPr lang="en-US" sz="800" dirty="0">
                  <a:solidFill>
                    <a:srgbClr val="000000"/>
                  </a:solidFill>
                </a:rPr>
                <a:t>A one-day long function-focused session designed to accelerate client solution development through an environment-based experience. Through a number of consciously designed activities , it aims to create a breakthrough for participants with their own solutions </a:t>
              </a:r>
            </a:p>
          </p:txBody>
        </p:sp>
        <p:sp>
          <p:nvSpPr>
            <p:cNvPr id="60" name="TextBox 59">
              <a:extLst>
                <a:ext uri="{FF2B5EF4-FFF2-40B4-BE49-F238E27FC236}">
                  <a16:creationId xmlns:a16="http://schemas.microsoft.com/office/drawing/2014/main" id="{18BFA1F5-9825-B35F-0AB4-AAF1A5ED65B5}"/>
                </a:ext>
              </a:extLst>
            </p:cNvPr>
            <p:cNvSpPr txBox="1"/>
            <p:nvPr/>
          </p:nvSpPr>
          <p:spPr>
            <a:xfrm>
              <a:off x="4082554" y="11943705"/>
              <a:ext cx="1512485" cy="2769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a:solidFill>
                    <a:srgbClr val="000000"/>
                  </a:solidFill>
                </a:rPr>
                <a:t>DELOITTE STRATEGY LAB METHODOLOGY</a:t>
              </a:r>
              <a:endParaRPr lang="en-US" sz="900" b="1" dirty="0">
                <a:solidFill>
                  <a:srgbClr val="000000"/>
                </a:solidFill>
              </a:endParaRPr>
            </a:p>
          </p:txBody>
        </p:sp>
      </p:grpSp>
      <p:grpSp>
        <p:nvGrpSpPr>
          <p:cNvPr id="65" name="Group 64">
            <a:extLst>
              <a:ext uri="{FF2B5EF4-FFF2-40B4-BE49-F238E27FC236}">
                <a16:creationId xmlns:a16="http://schemas.microsoft.com/office/drawing/2014/main" id="{10D1DA93-D451-1161-5E3E-27B3E02251D1}"/>
              </a:ext>
            </a:extLst>
          </p:cNvPr>
          <p:cNvGrpSpPr/>
          <p:nvPr/>
        </p:nvGrpSpPr>
        <p:grpSpPr>
          <a:xfrm>
            <a:off x="4138176" y="2536219"/>
            <a:ext cx="4820312" cy="674013"/>
            <a:chOff x="6620756" y="3416517"/>
            <a:chExt cx="2488238" cy="886383"/>
          </a:xfrm>
        </p:grpSpPr>
        <p:sp>
          <p:nvSpPr>
            <p:cNvPr id="66" name="Rectangle: Rounded Corners 65">
              <a:extLst>
                <a:ext uri="{FF2B5EF4-FFF2-40B4-BE49-F238E27FC236}">
                  <a16:creationId xmlns:a16="http://schemas.microsoft.com/office/drawing/2014/main" id="{6CF28895-0A65-AA40-A505-65EB5ED5B301}"/>
                </a:ext>
              </a:extLst>
            </p:cNvPr>
            <p:cNvSpPr/>
            <p:nvPr/>
          </p:nvSpPr>
          <p:spPr bwMode="gray">
            <a:xfrm>
              <a:off x="6620756" y="3416517"/>
              <a:ext cx="2488238" cy="886383"/>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900" dirty="0"/>
            </a:p>
          </p:txBody>
        </p:sp>
        <p:sp>
          <p:nvSpPr>
            <p:cNvPr id="68" name="TextBox 67">
              <a:extLst>
                <a:ext uri="{FF2B5EF4-FFF2-40B4-BE49-F238E27FC236}">
                  <a16:creationId xmlns:a16="http://schemas.microsoft.com/office/drawing/2014/main" id="{2433C298-4AC7-38C6-4873-64961156D0B2}"/>
                </a:ext>
              </a:extLst>
            </p:cNvPr>
            <p:cNvSpPr txBox="1"/>
            <p:nvPr/>
          </p:nvSpPr>
          <p:spPr>
            <a:xfrm>
              <a:off x="6678598" y="3468890"/>
              <a:ext cx="2411763" cy="182138"/>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ENTERPRISE MODEL DESIGN (EMD)</a:t>
              </a:r>
            </a:p>
          </p:txBody>
        </p:sp>
        <p:sp>
          <p:nvSpPr>
            <p:cNvPr id="70" name="TextBox 69">
              <a:extLst>
                <a:ext uri="{FF2B5EF4-FFF2-40B4-BE49-F238E27FC236}">
                  <a16:creationId xmlns:a16="http://schemas.microsoft.com/office/drawing/2014/main" id="{B5AB55D7-97E1-A02C-9525-00B7A0BDADE2}"/>
                </a:ext>
              </a:extLst>
            </p:cNvPr>
            <p:cNvSpPr txBox="1"/>
            <p:nvPr/>
          </p:nvSpPr>
          <p:spPr>
            <a:xfrm>
              <a:off x="6682292" y="3649661"/>
              <a:ext cx="1735043" cy="546414"/>
            </a:xfrm>
            <a:prstGeom prst="rect">
              <a:avLst/>
            </a:prstGeom>
            <a:noFill/>
          </p:spPr>
          <p:txBody>
            <a:bodyPr wrap="square" lIns="0" tIns="0" rIns="0" bIns="0" rtlCol="0" anchor="t">
              <a:spAutoFit/>
            </a:bodyPr>
            <a:lstStyle/>
            <a:p>
              <a:pPr>
                <a:spcBef>
                  <a:spcPts val="1000"/>
                </a:spcBef>
                <a:buClr>
                  <a:srgbClr val="FFFFFF">
                    <a:lumMod val="50000"/>
                  </a:srgbClr>
                </a:buClr>
                <a:defRPr/>
              </a:pPr>
              <a:r>
                <a:rPr lang="en-US" sz="900" dirty="0">
                  <a:solidFill>
                    <a:srgbClr val="000000"/>
                  </a:solidFill>
                </a:rPr>
                <a:t>Design the </a:t>
              </a:r>
              <a:r>
                <a:rPr lang="en-US" sz="900" dirty="0"/>
                <a:t>company's strategy into strategic capabilities and effective operating </a:t>
              </a:r>
              <a:r>
                <a:rPr lang="en-US" sz="900" dirty="0">
                  <a:solidFill>
                    <a:srgbClr val="000000"/>
                  </a:solidFill>
                </a:rPr>
                <a:t>prints for answering how to operate to deliver aligned to strategy. </a:t>
              </a:r>
            </a:p>
          </p:txBody>
        </p:sp>
      </p:grpSp>
      <p:pic>
        <p:nvPicPr>
          <p:cNvPr id="95" name="Picture 94">
            <a:extLst>
              <a:ext uri="{FF2B5EF4-FFF2-40B4-BE49-F238E27FC236}">
                <a16:creationId xmlns:a16="http://schemas.microsoft.com/office/drawing/2014/main" id="{7792C0C9-25EE-0348-0351-24ED0438DBD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29729" y="2515940"/>
            <a:ext cx="1211724" cy="693747"/>
          </a:xfrm>
          <a:prstGeom prst="rect">
            <a:avLst/>
          </a:prstGeom>
        </p:spPr>
      </p:pic>
      <p:sp>
        <p:nvSpPr>
          <p:cNvPr id="97" name="TextBox 96">
            <a:extLst>
              <a:ext uri="{FF2B5EF4-FFF2-40B4-BE49-F238E27FC236}">
                <a16:creationId xmlns:a16="http://schemas.microsoft.com/office/drawing/2014/main" id="{2D7F674C-F344-62B5-03A8-FF0EBCE38875}"/>
              </a:ext>
            </a:extLst>
          </p:cNvPr>
          <p:cNvSpPr txBox="1"/>
          <p:nvPr/>
        </p:nvSpPr>
        <p:spPr>
          <a:xfrm>
            <a:off x="4212603" y="2987690"/>
            <a:ext cx="3647484" cy="323221"/>
          </a:xfrm>
          <a:prstGeom prst="rect">
            <a:avLst/>
          </a:prstGeom>
          <a:noFill/>
        </p:spPr>
        <p:txBody>
          <a:bodyPr wrap="square" lIns="0" tIns="0" rIns="0" bIns="0" rtlCol="0">
            <a:noAutofit/>
          </a:bodyPr>
          <a:lstStyle/>
          <a:p>
            <a:pPr algn="l">
              <a:spcBef>
                <a:spcPts val="600"/>
              </a:spcBef>
              <a:buSzPct val="100000"/>
            </a:pPr>
            <a:endParaRPr lang="en-US" sz="900" dirty="0"/>
          </a:p>
        </p:txBody>
      </p:sp>
      <p:cxnSp>
        <p:nvCxnSpPr>
          <p:cNvPr id="14" name="Straight Connector 13">
            <a:extLst>
              <a:ext uri="{FF2B5EF4-FFF2-40B4-BE49-F238E27FC236}">
                <a16:creationId xmlns:a16="http://schemas.microsoft.com/office/drawing/2014/main" id="{415F261C-D790-6E6D-1863-D601110DD222}"/>
              </a:ext>
            </a:extLst>
          </p:cNvPr>
          <p:cNvCxnSpPr>
            <a:cxnSpLocks/>
          </p:cNvCxnSpPr>
          <p:nvPr/>
        </p:nvCxnSpPr>
        <p:spPr>
          <a:xfrm>
            <a:off x="922093" y="2286431"/>
            <a:ext cx="0" cy="205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descr="Medium shot of a person smiling&#10;&#10;Description automatically generated">
            <a:extLst>
              <a:ext uri="{FF2B5EF4-FFF2-40B4-BE49-F238E27FC236}">
                <a16:creationId xmlns:a16="http://schemas.microsoft.com/office/drawing/2014/main" id="{47241B8D-1606-C687-78C6-0141EEA8F4E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402026" y="497410"/>
            <a:ext cx="1307592" cy="1307592"/>
          </a:xfrm>
          <a:prstGeom prst="rect">
            <a:avLst/>
          </a:prstGeom>
        </p:spPr>
      </p:pic>
      <p:sp>
        <p:nvSpPr>
          <p:cNvPr id="10" name="Rectangle: Rounded Corners 9">
            <a:extLst>
              <a:ext uri="{FF2B5EF4-FFF2-40B4-BE49-F238E27FC236}">
                <a16:creationId xmlns:a16="http://schemas.microsoft.com/office/drawing/2014/main" id="{7A7A3D9B-0AAD-1736-49D3-E195327D924D}"/>
              </a:ext>
            </a:extLst>
          </p:cNvPr>
          <p:cNvSpPr/>
          <p:nvPr/>
        </p:nvSpPr>
        <p:spPr bwMode="gray">
          <a:xfrm>
            <a:off x="4194865" y="4495488"/>
            <a:ext cx="4830876" cy="153233"/>
          </a:xfrm>
          <a:prstGeom prst="roundRect">
            <a:avLst/>
          </a:prstGeom>
          <a:noFill/>
        </p:spPr>
        <p:txBody>
          <a:bodyPr wrap="square" lIns="0" tIns="0" rIns="0" bIns="0" rtlCol="0" anchor="t">
            <a:spAutoFit/>
          </a:bodyPr>
          <a:lstStyle/>
          <a:p>
            <a:endParaRPr lang="en-US" sz="900" dirty="0"/>
          </a:p>
        </p:txBody>
      </p:sp>
      <p:sp>
        <p:nvSpPr>
          <p:cNvPr id="19" name="Oval 18">
            <a:extLst>
              <a:ext uri="{FF2B5EF4-FFF2-40B4-BE49-F238E27FC236}">
                <a16:creationId xmlns:a16="http://schemas.microsoft.com/office/drawing/2014/main" id="{EC4D3458-7B74-C769-3EAC-4D414BD50F28}"/>
              </a:ext>
            </a:extLst>
          </p:cNvPr>
          <p:cNvSpPr/>
          <p:nvPr/>
        </p:nvSpPr>
        <p:spPr bwMode="gray">
          <a:xfrm>
            <a:off x="872321" y="4303842"/>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grpSp>
        <p:nvGrpSpPr>
          <p:cNvPr id="2" name="Group 1">
            <a:extLst>
              <a:ext uri="{FF2B5EF4-FFF2-40B4-BE49-F238E27FC236}">
                <a16:creationId xmlns:a16="http://schemas.microsoft.com/office/drawing/2014/main" id="{E16578F3-9453-4D39-42FC-18585BA9D973}"/>
              </a:ext>
            </a:extLst>
          </p:cNvPr>
          <p:cNvGrpSpPr/>
          <p:nvPr/>
        </p:nvGrpSpPr>
        <p:grpSpPr>
          <a:xfrm>
            <a:off x="2695048" y="2429206"/>
            <a:ext cx="6240680" cy="108000"/>
            <a:chOff x="2740358" y="3290138"/>
            <a:chExt cx="6240680" cy="108000"/>
          </a:xfrm>
        </p:grpSpPr>
        <p:cxnSp>
          <p:nvCxnSpPr>
            <p:cNvPr id="9" name="Straight Connector 8">
              <a:extLst>
                <a:ext uri="{FF2B5EF4-FFF2-40B4-BE49-F238E27FC236}">
                  <a16:creationId xmlns:a16="http://schemas.microsoft.com/office/drawing/2014/main" id="{79D534AD-4B10-7E45-6ABF-D48A91D2CAAC}"/>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AC98F78E-C7FB-F0AA-0B4D-21375B3718FE}"/>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29" name="Straight Connector 28">
              <a:extLst>
                <a:ext uri="{FF2B5EF4-FFF2-40B4-BE49-F238E27FC236}">
                  <a16:creationId xmlns:a16="http://schemas.microsoft.com/office/drawing/2014/main" id="{8F9F28AD-814E-F638-849D-947680AF008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9E5BFAF0-F1DC-3048-B98C-DB55BD7974D5}"/>
              </a:ext>
            </a:extLst>
          </p:cNvPr>
          <p:cNvSpPr/>
          <p:nvPr/>
        </p:nvSpPr>
        <p:spPr>
          <a:xfrm>
            <a:off x="9292664" y="2012605"/>
            <a:ext cx="1303215"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a:solidFill>
                  <a:srgbClr val="000000"/>
                </a:solidFill>
                <a:latin typeface="Open Sans"/>
                <a:ea typeface="Open Sans"/>
                <a:cs typeface="Open Sans"/>
              </a:rPr>
              <a:t>Eszter Lukác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Open Sans"/>
                <a:cs typeface="Open Sans"/>
              </a:rPr>
              <a:t>Director</a:t>
            </a:r>
            <a:endParaRPr lang="en-US" sz="1200" b="0" i="0" u="none" strike="noStrike" kern="1200" cap="none" spc="0" normalizeH="0" baseline="0" noProof="0" dirty="0">
              <a:ln>
                <a:noFill/>
              </a:ln>
              <a:solidFill>
                <a:srgbClr val="000000"/>
              </a:solidFill>
              <a:effectLst/>
              <a:uLnTx/>
              <a:uFillTx/>
              <a:latin typeface="+mj-lt"/>
              <a:ea typeface="Open Sans"/>
              <a:cs typeface="Open Sans"/>
            </a:endParaRPr>
          </a:p>
        </p:txBody>
      </p:sp>
      <p:sp>
        <p:nvSpPr>
          <p:cNvPr id="38" name="Rectangle 37">
            <a:extLst>
              <a:ext uri="{FF2B5EF4-FFF2-40B4-BE49-F238E27FC236}">
                <a16:creationId xmlns:a16="http://schemas.microsoft.com/office/drawing/2014/main" id="{D99D2FD0-9C59-671E-556C-718C67182266}"/>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a:rPr>
              <a:t>CHAPTER LEAD EXPERT</a:t>
            </a:r>
            <a:endParaRPr kumimoji="0" lang="en-US" sz="1200" b="0" i="1" u="none" strike="noStrike" kern="1200" cap="none" spc="300" normalizeH="0" baseline="0" noProof="0" dirty="0">
              <a:ln>
                <a:noFill/>
              </a:ln>
              <a:solidFill>
                <a:srgbClr val="38B6FF"/>
              </a:solidFill>
              <a:effectLst/>
              <a:uLnTx/>
              <a:uFillTx/>
              <a:latin typeface="Open Sans"/>
            </a:endParaRPr>
          </a:p>
        </p:txBody>
      </p:sp>
      <p:pic>
        <p:nvPicPr>
          <p:cNvPr id="39" name="Picture 4" descr="Linkedin logo png - greorder">
            <a:hlinkClick r:id="rId9"/>
            <a:extLst>
              <a:ext uri="{FF2B5EF4-FFF2-40B4-BE49-F238E27FC236}">
                <a16:creationId xmlns:a16="http://schemas.microsoft.com/office/drawing/2014/main" id="{928DF24B-CFB5-8540-2F64-3BE9E174CE94}"/>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392500" y="2069320"/>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DE0FF069-8A58-68BA-31AB-BC23A36B3484}"/>
              </a:ext>
            </a:extLst>
          </p:cNvPr>
          <p:cNvSpPr/>
          <p:nvPr/>
        </p:nvSpPr>
        <p:spPr>
          <a:xfrm>
            <a:off x="9292664" y="2373331"/>
            <a:ext cx="2697252" cy="923330"/>
          </a:xfrm>
          <a:prstGeom prst="rect">
            <a:avLst/>
          </a:prstGeom>
          <a:noFill/>
        </p:spPr>
        <p:txBody>
          <a:bodyPr wrap="square" lIns="91440" tIns="45720" rIns="91440" bIns="45720" anchor="t">
            <a:spAutoFit/>
          </a:bodyPr>
          <a:lstStyle/>
          <a:p>
            <a:pPr>
              <a:defRPr/>
            </a:pPr>
            <a:r>
              <a:rPr lang="en-US" sz="900" b="1" i="1" dirty="0"/>
              <a:t>“In my profession as a consultant, it has always been important for me to create value to my clients and the community around us. As a mother of 3</a:t>
            </a:r>
            <a:r>
              <a:rPr lang="hu-HU" sz="900" b="1" i="1" dirty="0"/>
              <a:t> </a:t>
            </a:r>
            <a:r>
              <a:rPr lang="hu-HU" sz="900" b="1" i="1" dirty="0" err="1"/>
              <a:t>children</a:t>
            </a:r>
            <a:r>
              <a:rPr lang="en-US" sz="900" b="1" i="1" dirty="0"/>
              <a:t>, serving UNICEF would be a precious stone of my career serving a highly-appreciated purpose...the welfare of new generations.”</a:t>
            </a:r>
            <a:endParaRPr lang="en-US" dirty="0">
              <a:ea typeface="Open Sans"/>
              <a:cs typeface="Open Sans"/>
            </a:endParaRPr>
          </a:p>
        </p:txBody>
      </p:sp>
      <p:sp>
        <p:nvSpPr>
          <p:cNvPr id="56" name="Rectangle 55">
            <a:extLst>
              <a:ext uri="{FF2B5EF4-FFF2-40B4-BE49-F238E27FC236}">
                <a16:creationId xmlns:a16="http://schemas.microsoft.com/office/drawing/2014/main" id="{5CA7D4D3-861E-0D15-C580-AA9FB2A0396C}"/>
              </a:ext>
            </a:extLst>
          </p:cNvPr>
          <p:cNvSpPr/>
          <p:nvPr/>
        </p:nvSpPr>
        <p:spPr>
          <a:xfrm>
            <a:off x="9301748" y="3399004"/>
            <a:ext cx="2889029" cy="784830"/>
          </a:xfrm>
          <a:prstGeom prst="rect">
            <a:avLst/>
          </a:prstGeom>
          <a:noFill/>
        </p:spPr>
        <p:txBody>
          <a:bodyPr wrap="square" lIns="91440" tIns="45720" rIns="91440" bIns="45720" anchor="t">
            <a:spAutoFit/>
          </a:bodyPr>
          <a:lstStyle/>
          <a:p>
            <a:pPr>
              <a:defRPr/>
            </a:pPr>
            <a:r>
              <a:rPr lang="en-US" sz="900" dirty="0"/>
              <a:t>With 20 years of experience at Deloitte, Eszter has expertise with target operating model design, process transformation, cost efficiency, continuous improvement, robotic process automation, process analytics and shared business services set-up and operations projects. </a:t>
            </a:r>
          </a:p>
        </p:txBody>
      </p:sp>
      <p:pic>
        <p:nvPicPr>
          <p:cNvPr id="15" name="Picture 14">
            <a:extLst>
              <a:ext uri="{FF2B5EF4-FFF2-40B4-BE49-F238E27FC236}">
                <a16:creationId xmlns:a16="http://schemas.microsoft.com/office/drawing/2014/main" id="{BB2BCC04-FCFB-FCB5-6169-8BF274E649FA}"/>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7505272" y="3598140"/>
            <a:ext cx="1412509" cy="593589"/>
          </a:xfrm>
          <a:prstGeom prst="rect">
            <a:avLst/>
          </a:prstGeom>
        </p:spPr>
      </p:pic>
      <p:sp>
        <p:nvSpPr>
          <p:cNvPr id="18" name="TextBox 17">
            <a:extLst>
              <a:ext uri="{FF2B5EF4-FFF2-40B4-BE49-F238E27FC236}">
                <a16:creationId xmlns:a16="http://schemas.microsoft.com/office/drawing/2014/main" id="{8A70489C-F558-7F6D-5EFB-E985EA6854CD}"/>
              </a:ext>
            </a:extLst>
          </p:cNvPr>
          <p:cNvSpPr txBox="1"/>
          <p:nvPr/>
        </p:nvSpPr>
        <p:spPr>
          <a:xfrm>
            <a:off x="4868153" y="4597953"/>
            <a:ext cx="0" cy="0"/>
          </a:xfrm>
          <a:prstGeom prst="rect">
            <a:avLst/>
          </a:prstGeom>
          <a:noFill/>
        </p:spPr>
        <p:txBody>
          <a:bodyPr wrap="none" lIns="0" tIns="0" rIns="0" bIns="0" rtlCol="0">
            <a:noAutofit/>
          </a:bodyPr>
          <a:lstStyle/>
          <a:p>
            <a:pPr algn="l">
              <a:spcBef>
                <a:spcPts val="600"/>
              </a:spcBef>
              <a:buSzPct val="100000"/>
            </a:pPr>
            <a:endParaRPr lang="en-US" sz="900" dirty="0"/>
          </a:p>
        </p:txBody>
      </p:sp>
      <p:sp>
        <p:nvSpPr>
          <p:cNvPr id="40" name="TextBox 39">
            <a:extLst>
              <a:ext uri="{FF2B5EF4-FFF2-40B4-BE49-F238E27FC236}">
                <a16:creationId xmlns:a16="http://schemas.microsoft.com/office/drawing/2014/main" id="{33E88799-4E5C-5971-6F96-A881CA182D91}"/>
              </a:ext>
            </a:extLst>
          </p:cNvPr>
          <p:cNvSpPr txBox="1"/>
          <p:nvPr/>
        </p:nvSpPr>
        <p:spPr>
          <a:xfrm>
            <a:off x="3899980" y="4541520"/>
            <a:ext cx="0" cy="0"/>
          </a:xfrm>
          <a:prstGeom prst="rect">
            <a:avLst/>
          </a:prstGeom>
          <a:noFill/>
        </p:spPr>
        <p:txBody>
          <a:bodyPr wrap="none" lIns="0" tIns="0" rIns="0" bIns="0" rtlCol="0">
            <a:noAutofit/>
          </a:bodyPr>
          <a:lstStyle/>
          <a:p>
            <a:pPr algn="l">
              <a:spcBef>
                <a:spcPts val="600"/>
              </a:spcBef>
              <a:buSzPct val="100000"/>
            </a:pPr>
            <a:endParaRPr lang="en-US" sz="900" dirty="0"/>
          </a:p>
        </p:txBody>
      </p:sp>
      <p:sp>
        <p:nvSpPr>
          <p:cNvPr id="46" name="Rectangle: Rounded Corners 45">
            <a:extLst>
              <a:ext uri="{FF2B5EF4-FFF2-40B4-BE49-F238E27FC236}">
                <a16:creationId xmlns:a16="http://schemas.microsoft.com/office/drawing/2014/main" id="{B6EFFAB7-9AFC-83C1-FCBE-D979A67882C1}"/>
              </a:ext>
            </a:extLst>
          </p:cNvPr>
          <p:cNvSpPr/>
          <p:nvPr/>
        </p:nvSpPr>
        <p:spPr bwMode="gray">
          <a:xfrm>
            <a:off x="4185229" y="4499459"/>
            <a:ext cx="1544226" cy="1332000"/>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900" dirty="0"/>
          </a:p>
        </p:txBody>
      </p:sp>
      <p:sp>
        <p:nvSpPr>
          <p:cNvPr id="50" name="TextBox 49">
            <a:extLst>
              <a:ext uri="{FF2B5EF4-FFF2-40B4-BE49-F238E27FC236}">
                <a16:creationId xmlns:a16="http://schemas.microsoft.com/office/drawing/2014/main" id="{683299EF-AD2D-FDA9-C8B8-219CC2911888}"/>
              </a:ext>
            </a:extLst>
          </p:cNvPr>
          <p:cNvSpPr txBox="1"/>
          <p:nvPr/>
        </p:nvSpPr>
        <p:spPr>
          <a:xfrm>
            <a:off x="4212926" y="4522354"/>
            <a:ext cx="1451934"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9.3.1 Digital </a:t>
            </a:r>
            <a:r>
              <a:rPr lang="en-US" sz="900" b="1" dirty="0" err="1">
                <a:solidFill>
                  <a:srgbClr val="000000"/>
                </a:solidFill>
              </a:rPr>
              <a:t>StrategyByDesign</a:t>
            </a:r>
            <a:endParaRPr lang="en-US" sz="900" b="1" dirty="0">
              <a:solidFill>
                <a:srgbClr val="000000"/>
              </a:solidFill>
            </a:endParaRPr>
          </a:p>
        </p:txBody>
      </p:sp>
      <p:sp>
        <p:nvSpPr>
          <p:cNvPr id="51" name="TextBox 50">
            <a:extLst>
              <a:ext uri="{FF2B5EF4-FFF2-40B4-BE49-F238E27FC236}">
                <a16:creationId xmlns:a16="http://schemas.microsoft.com/office/drawing/2014/main" id="{F43826E4-5E1A-291B-A5E8-9D93B6788F72}"/>
              </a:ext>
            </a:extLst>
          </p:cNvPr>
          <p:cNvSpPr txBox="1"/>
          <p:nvPr/>
        </p:nvSpPr>
        <p:spPr>
          <a:xfrm>
            <a:off x="4236318" y="4691366"/>
            <a:ext cx="1506637" cy="969496"/>
          </a:xfrm>
          <a:prstGeom prst="rect">
            <a:avLst/>
          </a:prstGeom>
          <a:noFill/>
        </p:spPr>
        <p:txBody>
          <a:bodyPr wrap="square" lIns="0" tIns="0" rIns="0" bIns="0" rtlCol="0" anchor="t">
            <a:spAutoFit/>
          </a:bodyPr>
          <a:lstStyle/>
          <a:p>
            <a:r>
              <a:rPr lang="en-US" sz="900" dirty="0"/>
              <a:t>We answer the key questions regarding demand on the market, product concept and business model, while delivering an operating model concept and an action plan for the implementation phase.</a:t>
            </a:r>
          </a:p>
        </p:txBody>
      </p:sp>
      <p:sp>
        <p:nvSpPr>
          <p:cNvPr id="76" name="TextBox 75">
            <a:extLst>
              <a:ext uri="{FF2B5EF4-FFF2-40B4-BE49-F238E27FC236}">
                <a16:creationId xmlns:a16="http://schemas.microsoft.com/office/drawing/2014/main" id="{9F7F29D1-729B-7F57-84E2-958B4ADE6DC8}"/>
              </a:ext>
            </a:extLst>
          </p:cNvPr>
          <p:cNvSpPr txBox="1"/>
          <p:nvPr/>
        </p:nvSpPr>
        <p:spPr>
          <a:xfrm>
            <a:off x="6542417" y="4610558"/>
            <a:ext cx="0" cy="0"/>
          </a:xfrm>
          <a:prstGeom prst="rect">
            <a:avLst/>
          </a:prstGeom>
          <a:noFill/>
        </p:spPr>
        <p:txBody>
          <a:bodyPr wrap="none" lIns="0" tIns="0" rIns="0" bIns="0" rtlCol="0">
            <a:noAutofit/>
          </a:bodyPr>
          <a:lstStyle/>
          <a:p>
            <a:pPr algn="l">
              <a:spcBef>
                <a:spcPts val="600"/>
              </a:spcBef>
              <a:buSzPct val="100000"/>
            </a:pPr>
            <a:endParaRPr lang="en-US" sz="900" dirty="0"/>
          </a:p>
        </p:txBody>
      </p:sp>
      <p:sp>
        <p:nvSpPr>
          <p:cNvPr id="77" name="Rectangle: Rounded Corners 76">
            <a:extLst>
              <a:ext uri="{FF2B5EF4-FFF2-40B4-BE49-F238E27FC236}">
                <a16:creationId xmlns:a16="http://schemas.microsoft.com/office/drawing/2014/main" id="{288C269F-884D-3995-D02D-BC27257AAC54}"/>
              </a:ext>
            </a:extLst>
          </p:cNvPr>
          <p:cNvSpPr/>
          <p:nvPr/>
        </p:nvSpPr>
        <p:spPr bwMode="gray">
          <a:xfrm>
            <a:off x="5859493" y="4488000"/>
            <a:ext cx="1544226" cy="1331268"/>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900" dirty="0"/>
          </a:p>
        </p:txBody>
      </p:sp>
      <p:sp>
        <p:nvSpPr>
          <p:cNvPr id="85" name="TextBox 84">
            <a:extLst>
              <a:ext uri="{FF2B5EF4-FFF2-40B4-BE49-F238E27FC236}">
                <a16:creationId xmlns:a16="http://schemas.microsoft.com/office/drawing/2014/main" id="{E862F481-AD3D-9763-BF9B-D2C9580CF89D}"/>
              </a:ext>
            </a:extLst>
          </p:cNvPr>
          <p:cNvSpPr txBox="1"/>
          <p:nvPr/>
        </p:nvSpPr>
        <p:spPr>
          <a:xfrm>
            <a:off x="5887190" y="4510895"/>
            <a:ext cx="135792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9.3.2 The 5s’ and 3 lenses </a:t>
            </a:r>
          </a:p>
        </p:txBody>
      </p:sp>
      <p:sp>
        <p:nvSpPr>
          <p:cNvPr id="94" name="TextBox 93">
            <a:extLst>
              <a:ext uri="{FF2B5EF4-FFF2-40B4-BE49-F238E27FC236}">
                <a16:creationId xmlns:a16="http://schemas.microsoft.com/office/drawing/2014/main" id="{A77C2056-7540-099F-8113-5EBCA51BFB8B}"/>
              </a:ext>
            </a:extLst>
          </p:cNvPr>
          <p:cNvSpPr txBox="1"/>
          <p:nvPr/>
        </p:nvSpPr>
        <p:spPr>
          <a:xfrm>
            <a:off x="5910582" y="4667875"/>
            <a:ext cx="1515256" cy="1107996"/>
          </a:xfrm>
          <a:prstGeom prst="rect">
            <a:avLst/>
          </a:prstGeom>
          <a:noFill/>
        </p:spPr>
        <p:txBody>
          <a:bodyPr wrap="square" lIns="0" tIns="0" rIns="0" bIns="0" rtlCol="0" anchor="t">
            <a:spAutoFit/>
          </a:bodyPr>
          <a:lstStyle/>
          <a:p>
            <a:r>
              <a:rPr lang="en-US" sz="900" dirty="0"/>
              <a:t>Within our Innovation Hub we use a proven process, the 5s’ – Select, Search, Solve, Ship and Scale to identify, conceive, design, build and scale key ‘Missions’. At all stages we embed a customer centric philosophy with a selected </a:t>
            </a:r>
            <a:r>
              <a:rPr lang="en-US" sz="900" dirty="0" err="1"/>
              <a:t>len</a:t>
            </a:r>
            <a:r>
              <a:rPr lang="hu-HU" sz="900" dirty="0"/>
              <a:t>s.</a:t>
            </a:r>
            <a:endParaRPr lang="en-US" sz="900" dirty="0"/>
          </a:p>
        </p:txBody>
      </p:sp>
      <p:sp>
        <p:nvSpPr>
          <p:cNvPr id="96" name="TextBox 95">
            <a:extLst>
              <a:ext uri="{FF2B5EF4-FFF2-40B4-BE49-F238E27FC236}">
                <a16:creationId xmlns:a16="http://schemas.microsoft.com/office/drawing/2014/main" id="{85CE7A44-0B28-6B63-60A5-60D00D5791EA}"/>
              </a:ext>
            </a:extLst>
          </p:cNvPr>
          <p:cNvSpPr txBox="1"/>
          <p:nvPr/>
        </p:nvSpPr>
        <p:spPr>
          <a:xfrm>
            <a:off x="8213135" y="4590794"/>
            <a:ext cx="0" cy="0"/>
          </a:xfrm>
          <a:prstGeom prst="rect">
            <a:avLst/>
          </a:prstGeom>
          <a:noFill/>
        </p:spPr>
        <p:txBody>
          <a:bodyPr wrap="none" lIns="0" tIns="0" rIns="0" bIns="0" rtlCol="0">
            <a:noAutofit/>
          </a:bodyPr>
          <a:lstStyle/>
          <a:p>
            <a:pPr algn="l">
              <a:spcBef>
                <a:spcPts val="600"/>
              </a:spcBef>
              <a:buSzPct val="100000"/>
            </a:pPr>
            <a:endParaRPr lang="en-US" sz="900" dirty="0"/>
          </a:p>
        </p:txBody>
      </p:sp>
      <p:sp>
        <p:nvSpPr>
          <p:cNvPr id="98" name="Rectangle: Rounded Corners 97">
            <a:extLst>
              <a:ext uri="{FF2B5EF4-FFF2-40B4-BE49-F238E27FC236}">
                <a16:creationId xmlns:a16="http://schemas.microsoft.com/office/drawing/2014/main" id="{72936844-B7D5-D270-BD2A-AD4D0994D18B}"/>
              </a:ext>
            </a:extLst>
          </p:cNvPr>
          <p:cNvSpPr/>
          <p:nvPr/>
        </p:nvSpPr>
        <p:spPr bwMode="gray">
          <a:xfrm>
            <a:off x="7530211" y="4492300"/>
            <a:ext cx="1544226" cy="1332000"/>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sz="900" dirty="0"/>
          </a:p>
        </p:txBody>
      </p:sp>
      <p:sp>
        <p:nvSpPr>
          <p:cNvPr id="99" name="TextBox 98">
            <a:extLst>
              <a:ext uri="{FF2B5EF4-FFF2-40B4-BE49-F238E27FC236}">
                <a16:creationId xmlns:a16="http://schemas.microsoft.com/office/drawing/2014/main" id="{CF84426D-50AC-1204-C3DD-927A9BDC3C67}"/>
              </a:ext>
            </a:extLst>
          </p:cNvPr>
          <p:cNvSpPr txBox="1"/>
          <p:nvPr/>
        </p:nvSpPr>
        <p:spPr>
          <a:xfrm>
            <a:off x="7557907" y="4485911"/>
            <a:ext cx="1381735" cy="2769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9.3.3 Connected Design for Products</a:t>
            </a:r>
          </a:p>
        </p:txBody>
      </p:sp>
      <p:sp>
        <p:nvSpPr>
          <p:cNvPr id="100" name="TextBox 99">
            <a:extLst>
              <a:ext uri="{FF2B5EF4-FFF2-40B4-BE49-F238E27FC236}">
                <a16:creationId xmlns:a16="http://schemas.microsoft.com/office/drawing/2014/main" id="{E2B5D2D9-FBE4-60D6-07C3-4EA0376EE781}"/>
              </a:ext>
            </a:extLst>
          </p:cNvPr>
          <p:cNvSpPr txBox="1"/>
          <p:nvPr/>
        </p:nvSpPr>
        <p:spPr>
          <a:xfrm>
            <a:off x="7581300" y="4792491"/>
            <a:ext cx="1506637" cy="830997"/>
          </a:xfrm>
          <a:prstGeom prst="rect">
            <a:avLst/>
          </a:prstGeom>
          <a:noFill/>
        </p:spPr>
        <p:txBody>
          <a:bodyPr wrap="square" lIns="0" tIns="0" rIns="0" bIns="0" rtlCol="0" anchor="t">
            <a:spAutoFit/>
          </a:bodyPr>
          <a:lstStyle/>
          <a:p>
            <a:r>
              <a:rPr lang="en-US" sz="900" dirty="0"/>
              <a:t>The focus of this methodology is that Success of new products relies on smart connections and intentional arrangement of services, spaces and objects — real or virtual</a:t>
            </a:r>
          </a:p>
        </p:txBody>
      </p:sp>
      <p:sp>
        <p:nvSpPr>
          <p:cNvPr id="101" name="Oval 100">
            <a:extLst>
              <a:ext uri="{FF2B5EF4-FFF2-40B4-BE49-F238E27FC236}">
                <a16:creationId xmlns:a16="http://schemas.microsoft.com/office/drawing/2014/main" id="{CDA8B700-AD15-7369-8FEE-C5DDF7607981}"/>
              </a:ext>
            </a:extLst>
          </p:cNvPr>
          <p:cNvSpPr/>
          <p:nvPr/>
        </p:nvSpPr>
        <p:spPr bwMode="gray">
          <a:xfrm>
            <a:off x="5826763" y="4379711"/>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102" name="Oval 101">
            <a:extLst>
              <a:ext uri="{FF2B5EF4-FFF2-40B4-BE49-F238E27FC236}">
                <a16:creationId xmlns:a16="http://schemas.microsoft.com/office/drawing/2014/main" id="{8F32F404-0D7F-7416-C67E-4A2C4F241DCC}"/>
              </a:ext>
            </a:extLst>
          </p:cNvPr>
          <p:cNvSpPr/>
          <p:nvPr/>
        </p:nvSpPr>
        <p:spPr bwMode="gray">
          <a:xfrm>
            <a:off x="7522213" y="4360661"/>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Tree>
    <p:extLst>
      <p:ext uri="{BB962C8B-B14F-4D97-AF65-F5344CB8AC3E}">
        <p14:creationId xmlns:p14="http://schemas.microsoft.com/office/powerpoint/2010/main" val="822969730"/>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EA8D4-09B3-160B-36BE-E0CDDF3DF866}"/>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sp>
        <p:nvSpPr>
          <p:cNvPr id="53" name="Rectangle: Rounded Corners 52">
            <a:extLst>
              <a:ext uri="{FF2B5EF4-FFF2-40B4-BE49-F238E27FC236}">
                <a16:creationId xmlns:a16="http://schemas.microsoft.com/office/drawing/2014/main" id="{2F4BDFD8-B1BD-F8A7-142C-61DA1F2469A5}"/>
              </a:ext>
            </a:extLst>
          </p:cNvPr>
          <p:cNvSpPr/>
          <p:nvPr/>
        </p:nvSpPr>
        <p:spPr bwMode="gray">
          <a:xfrm>
            <a:off x="1074915" y="4026145"/>
            <a:ext cx="16920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lowchart: Manual Operation 11">
            <a:extLst>
              <a:ext uri="{FF2B5EF4-FFF2-40B4-BE49-F238E27FC236}">
                <a16:creationId xmlns:a16="http://schemas.microsoft.com/office/drawing/2014/main" id="{03A60296-E453-5E4A-45FF-AD385BBB1A7A}"/>
              </a:ext>
            </a:extLst>
          </p:cNvPr>
          <p:cNvSpPr/>
          <p:nvPr/>
        </p:nvSpPr>
        <p:spPr bwMode="gray">
          <a:xfrm rot="16200000">
            <a:off x="4491226" y="-84277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275633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47206" y="3148019"/>
            <a:ext cx="16920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a:latin typeface="+mn-lt"/>
              </a:rPr>
              <a:t>9. </a:t>
            </a:r>
            <a:r>
              <a:rPr lang="en-US" sz="2000" dirty="0">
                <a:latin typeface="+mn-lt"/>
              </a:rPr>
              <a:t>Management Advisory services</a:t>
            </a:r>
            <a:r>
              <a:rPr lang="en-US" sz="2000">
                <a:latin typeface="+mn-lt"/>
              </a:rPr>
              <a:t> (2/3)</a:t>
            </a:r>
            <a:endParaRPr lang="en-US" sz="2000" dirty="0">
              <a:latin typeface="+mn-lt"/>
            </a:endParaRP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a:solidFill>
                  <a:schemeClr val="bg1"/>
                </a:solidFill>
                <a:latin typeface="Open Sans"/>
              </a:rPr>
              <a:t>SUBCHAPTERS</a:t>
            </a:r>
            <a:endParaRPr kumimoji="0" lang="en-US" sz="1200" b="1" i="0" u="none" strike="noStrike" kern="1200" cap="none" spc="300" normalizeH="0" baseline="0" noProof="0" dirty="0">
              <a:ln>
                <a:noFill/>
              </a:ln>
              <a:solidFill>
                <a:schemeClr val="bg1"/>
              </a:solidFill>
              <a:effectLst/>
              <a:uLnTx/>
              <a:uFillTx/>
              <a:latin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a:latin typeface="Open Sans"/>
              </a:rPr>
              <a:t>METHODOLOGIES</a:t>
            </a:r>
            <a:endParaRPr kumimoji="0" lang="en-US" sz="1200" b="0" i="1" u="none" strike="noStrike" kern="1200" cap="none" spc="600" normalizeH="0" baseline="0" noProof="0" dirty="0">
              <a:ln>
                <a:noFill/>
              </a:ln>
              <a:effectLst/>
              <a:uLnTx/>
              <a:uFillTx/>
              <a:latin typeface="Open Sans"/>
            </a:endParaRPr>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2629693"/>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2411759"/>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165099"/>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3" name="TextBox 22">
            <a:extLst>
              <a:ext uri="{FF2B5EF4-FFF2-40B4-BE49-F238E27FC236}">
                <a16:creationId xmlns:a16="http://schemas.microsoft.com/office/drawing/2014/main" id="{71042AB0-6C28-0519-0123-4B35425F7BBA}"/>
              </a:ext>
            </a:extLst>
          </p:cNvPr>
          <p:cNvSpPr txBox="1"/>
          <p:nvPr/>
        </p:nvSpPr>
        <p:spPr>
          <a:xfrm>
            <a:off x="1109961" y="2449524"/>
            <a:ext cx="1443116" cy="246222"/>
          </a:xfrm>
          <a:prstGeom prst="rect">
            <a:avLst/>
          </a:prstGeom>
          <a:noFill/>
        </p:spPr>
        <p:txBody>
          <a:bodyPr wrap="square" lIns="0" tIns="0" rIns="0" bIns="0" rtlCol="0" anchor="t">
            <a:noAutofit/>
          </a:bodyPr>
          <a:lstStyle/>
          <a:p>
            <a:pPr>
              <a:spcAft>
                <a:spcPts val="1000"/>
              </a:spcAft>
            </a:pPr>
            <a:r>
              <a:rPr lang="en-US" sz="900" b="1" cap="all" dirty="0">
                <a:ea typeface="Open Sans Light" panose="020B0306030504020204" pitchFamily="34" charset="0"/>
                <a:cs typeface="Open Sans Light" panose="020B0306030504020204" pitchFamily="34" charset="0"/>
              </a:rPr>
              <a:t>9.5 Business case and options appraisal</a:t>
            </a:r>
            <a:endParaRPr lang="en-US" sz="900" b="1" cap="all" dirty="0">
              <a:latin typeface="+mj-lt"/>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id="{5C8FF9D1-C272-F408-C331-07E40145140C}"/>
              </a:ext>
            </a:extLst>
          </p:cNvPr>
          <p:cNvSpPr txBox="1"/>
          <p:nvPr/>
        </p:nvSpPr>
        <p:spPr>
          <a:xfrm>
            <a:off x="1109960" y="3182734"/>
            <a:ext cx="1426190" cy="261175"/>
          </a:xfrm>
          <a:prstGeom prst="rect">
            <a:avLst/>
          </a:prstGeom>
          <a:noFill/>
        </p:spPr>
        <p:txBody>
          <a:bodyPr wrap="square" lIns="0" tIns="0" rIns="0" bIns="0" rtlCol="0" anchor="t">
            <a:noAutofit/>
          </a:bodyPr>
          <a:lstStyle/>
          <a:p>
            <a:pPr>
              <a:spcAft>
                <a:spcPts val="1000"/>
              </a:spcAft>
            </a:pPr>
            <a:r>
              <a:rPr lang="en-US" sz="900" b="1" cap="all" dirty="0">
                <a:ea typeface="Open Sans Light" panose="020B0306030504020204" pitchFamily="34" charset="0"/>
                <a:cs typeface="Open Sans Light" panose="020B0306030504020204" pitchFamily="34" charset="0"/>
              </a:rPr>
              <a:t>9.6 Business sourcing strategies</a:t>
            </a:r>
            <a:endParaRPr lang="en-US" sz="900" b="1" cap="all" dirty="0">
              <a:latin typeface="+mj-lt"/>
              <a:ea typeface="Open Sans Light" panose="020B0306030504020204" pitchFamily="34" charset="0"/>
              <a:cs typeface="Open Sans Light" panose="020B0306030504020204" pitchFamily="34" charset="0"/>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8" y="2571971"/>
            <a:ext cx="4830876" cy="527029"/>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25" name="TextBox 124">
            <a:extLst>
              <a:ext uri="{FF2B5EF4-FFF2-40B4-BE49-F238E27FC236}">
                <a16:creationId xmlns:a16="http://schemas.microsoft.com/office/drawing/2014/main" id="{BFC289BE-3B1A-26AD-07CC-7670D2377D1C}"/>
              </a:ext>
            </a:extLst>
          </p:cNvPr>
          <p:cNvSpPr txBox="1"/>
          <p:nvPr/>
        </p:nvSpPr>
        <p:spPr>
          <a:xfrm>
            <a:off x="4189845" y="2612268"/>
            <a:ext cx="3476294"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BUSINESS CASE DEVELOPMENT METHODOLOGY</a:t>
            </a:r>
          </a:p>
        </p:txBody>
      </p:sp>
      <p:sp>
        <p:nvSpPr>
          <p:cNvPr id="126" name="TextBox 125">
            <a:extLst>
              <a:ext uri="{FF2B5EF4-FFF2-40B4-BE49-F238E27FC236}">
                <a16:creationId xmlns:a16="http://schemas.microsoft.com/office/drawing/2014/main" id="{BF7B5CCB-9160-DE5F-7993-F08D514E177C}"/>
              </a:ext>
            </a:extLst>
          </p:cNvPr>
          <p:cNvSpPr txBox="1"/>
          <p:nvPr/>
        </p:nvSpPr>
        <p:spPr>
          <a:xfrm>
            <a:off x="4189845" y="2760352"/>
            <a:ext cx="4725555" cy="246221"/>
          </a:xfrm>
          <a:prstGeom prst="rect">
            <a:avLst/>
          </a:prstGeom>
          <a:noFill/>
        </p:spPr>
        <p:txBody>
          <a:bodyPr wrap="square" lIns="0" tIns="0" rIns="0" bIns="0" rtlCol="0" anchor="t">
            <a:spAutoFit/>
          </a:bodyPr>
          <a:lstStyle/>
          <a:p>
            <a:r>
              <a:rPr lang="en-US" sz="800" dirty="0"/>
              <a:t>We support our client in business case preparation driven by calculations to assess financial viability and give an essential input to decision making. We can also support the implementation and operation processes.</a:t>
            </a:r>
          </a:p>
        </p:txBody>
      </p:sp>
      <p:sp>
        <p:nvSpPr>
          <p:cNvPr id="36" name="Rectangle: Rounded Corners 35">
            <a:extLst>
              <a:ext uri="{FF2B5EF4-FFF2-40B4-BE49-F238E27FC236}">
                <a16:creationId xmlns:a16="http://schemas.microsoft.com/office/drawing/2014/main" id="{923ADA77-FB88-DA9E-EBA7-64FA843FD2F2}"/>
              </a:ext>
            </a:extLst>
          </p:cNvPr>
          <p:cNvSpPr/>
          <p:nvPr/>
        </p:nvSpPr>
        <p:spPr bwMode="gray">
          <a:xfrm>
            <a:off x="4112893" y="3309116"/>
            <a:ext cx="4830876" cy="498517"/>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37" name="TextBox 36">
            <a:extLst>
              <a:ext uri="{FF2B5EF4-FFF2-40B4-BE49-F238E27FC236}">
                <a16:creationId xmlns:a16="http://schemas.microsoft.com/office/drawing/2014/main" id="{AAAFD5AC-5419-EFB1-5813-AF70ABA72015}"/>
              </a:ext>
            </a:extLst>
          </p:cNvPr>
          <p:cNvSpPr txBox="1"/>
          <p:nvPr/>
        </p:nvSpPr>
        <p:spPr>
          <a:xfrm>
            <a:off x="4161270" y="3349413"/>
            <a:ext cx="3476294"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DELOITTE </a:t>
            </a:r>
            <a:r>
              <a:rPr lang="hu-HU" sz="900" b="1" dirty="0">
                <a:solidFill>
                  <a:srgbClr val="000000"/>
                </a:solidFill>
              </a:rPr>
              <a:t>BUSINESS SOURCING STRATEGIES METHODOLOGIES</a:t>
            </a:r>
            <a:endParaRPr lang="en-US" sz="900" b="1" dirty="0">
              <a:solidFill>
                <a:srgbClr val="000000"/>
              </a:solidFill>
            </a:endParaRPr>
          </a:p>
        </p:txBody>
      </p:sp>
      <p:sp>
        <p:nvSpPr>
          <p:cNvPr id="40" name="TextBox 39">
            <a:extLst>
              <a:ext uri="{FF2B5EF4-FFF2-40B4-BE49-F238E27FC236}">
                <a16:creationId xmlns:a16="http://schemas.microsoft.com/office/drawing/2014/main" id="{44DC373E-EFAB-AA86-5BF8-67243D4531D2}"/>
              </a:ext>
            </a:extLst>
          </p:cNvPr>
          <p:cNvSpPr txBox="1"/>
          <p:nvPr/>
        </p:nvSpPr>
        <p:spPr>
          <a:xfrm>
            <a:off x="4161270" y="3497497"/>
            <a:ext cx="4725555" cy="246221"/>
          </a:xfrm>
          <a:prstGeom prst="rect">
            <a:avLst/>
          </a:prstGeom>
          <a:noFill/>
        </p:spPr>
        <p:txBody>
          <a:bodyPr wrap="square" lIns="0" tIns="0" rIns="0" bIns="0" rtlCol="0" anchor="t">
            <a:spAutoFit/>
          </a:bodyPr>
          <a:lstStyle/>
          <a:p>
            <a:r>
              <a:rPr lang="en-US" sz="800" dirty="0"/>
              <a:t>Based on the methodology Deloitte supports clients in decision making regarding where to perform the activities: captive – near-shore or off-shore or outsourced</a:t>
            </a:r>
            <a:r>
              <a:rPr lang="hu-HU" sz="800" dirty="0"/>
              <a:t>.</a:t>
            </a:r>
            <a:endParaRPr lang="en-US" sz="800" dirty="0"/>
          </a:p>
        </p:txBody>
      </p:sp>
      <p:grpSp>
        <p:nvGrpSpPr>
          <p:cNvPr id="42" name="Group 41">
            <a:extLst>
              <a:ext uri="{FF2B5EF4-FFF2-40B4-BE49-F238E27FC236}">
                <a16:creationId xmlns:a16="http://schemas.microsoft.com/office/drawing/2014/main" id="{A619C93D-496C-FCD4-4237-1E45BA090C0C}"/>
              </a:ext>
            </a:extLst>
          </p:cNvPr>
          <p:cNvGrpSpPr/>
          <p:nvPr/>
        </p:nvGrpSpPr>
        <p:grpSpPr>
          <a:xfrm>
            <a:off x="2711783" y="3182734"/>
            <a:ext cx="6240680" cy="108000"/>
            <a:chOff x="2740358" y="3290138"/>
            <a:chExt cx="6240680" cy="108000"/>
          </a:xfrm>
        </p:grpSpPr>
        <p:cxnSp>
          <p:nvCxnSpPr>
            <p:cNvPr id="43" name="Straight Connector 42">
              <a:extLst>
                <a:ext uri="{FF2B5EF4-FFF2-40B4-BE49-F238E27FC236}">
                  <a16:creationId xmlns:a16="http://schemas.microsoft.com/office/drawing/2014/main" id="{D70B4522-DBE8-DD56-B5E7-7222357A16D6}"/>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90224F47-1079-6FC0-B316-CEFA3396CAE1}"/>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45" name="Straight Connector 44">
              <a:extLst>
                <a:ext uri="{FF2B5EF4-FFF2-40B4-BE49-F238E27FC236}">
                  <a16:creationId xmlns:a16="http://schemas.microsoft.com/office/drawing/2014/main" id="{75443865-B44F-1344-A20B-9784C234035E}"/>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cxnSp>
        <p:nvCxnSpPr>
          <p:cNvPr id="14" name="Straight Connector 13">
            <a:extLst>
              <a:ext uri="{FF2B5EF4-FFF2-40B4-BE49-F238E27FC236}">
                <a16:creationId xmlns:a16="http://schemas.microsoft.com/office/drawing/2014/main" id="{415F261C-D790-6E6D-1863-D601110DD222}"/>
              </a:ext>
            </a:extLst>
          </p:cNvPr>
          <p:cNvCxnSpPr>
            <a:cxnSpLocks/>
          </p:cNvCxnSpPr>
          <p:nvPr/>
        </p:nvCxnSpPr>
        <p:spPr>
          <a:xfrm>
            <a:off x="922093" y="2192912"/>
            <a:ext cx="0" cy="2988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44DCEF5-57A6-CE04-3006-20A9ED7B20EC}"/>
              </a:ext>
            </a:extLst>
          </p:cNvPr>
          <p:cNvGrpSpPr/>
          <p:nvPr/>
        </p:nvGrpSpPr>
        <p:grpSpPr>
          <a:xfrm>
            <a:off x="2718710" y="2457715"/>
            <a:ext cx="6240680" cy="108000"/>
            <a:chOff x="2740358" y="3290138"/>
            <a:chExt cx="6240680" cy="108000"/>
          </a:xfrm>
        </p:grpSpPr>
        <p:cxnSp>
          <p:nvCxnSpPr>
            <p:cNvPr id="16" name="Straight Connector 15">
              <a:extLst>
                <a:ext uri="{FF2B5EF4-FFF2-40B4-BE49-F238E27FC236}">
                  <a16:creationId xmlns:a16="http://schemas.microsoft.com/office/drawing/2014/main" id="{08606054-24B1-3B6F-B38E-449DF6BC4488}"/>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ADBD8A67-482C-E161-A54B-6477A197FE72}"/>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9" name="Straight Connector 18">
              <a:extLst>
                <a:ext uri="{FF2B5EF4-FFF2-40B4-BE49-F238E27FC236}">
                  <a16:creationId xmlns:a16="http://schemas.microsoft.com/office/drawing/2014/main" id="{F6B21EAC-20FB-055A-BF2D-3EC8E94854C8}"/>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22" name="Oval 21">
            <a:extLst>
              <a:ext uri="{FF2B5EF4-FFF2-40B4-BE49-F238E27FC236}">
                <a16:creationId xmlns:a16="http://schemas.microsoft.com/office/drawing/2014/main" id="{451BC8E2-D2F5-B51B-0351-B5F70045A0D1}"/>
              </a:ext>
            </a:extLst>
          </p:cNvPr>
          <p:cNvSpPr/>
          <p:nvPr/>
        </p:nvSpPr>
        <p:spPr bwMode="gray">
          <a:xfrm>
            <a:off x="872321" y="2467564"/>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5" name="TextBox 24">
            <a:extLst>
              <a:ext uri="{FF2B5EF4-FFF2-40B4-BE49-F238E27FC236}">
                <a16:creationId xmlns:a16="http://schemas.microsoft.com/office/drawing/2014/main" id="{3775D952-AF7F-5F29-C204-C7D8B781F03B}"/>
              </a:ext>
            </a:extLst>
          </p:cNvPr>
          <p:cNvSpPr txBox="1"/>
          <p:nvPr/>
        </p:nvSpPr>
        <p:spPr>
          <a:xfrm>
            <a:off x="1119942" y="4063209"/>
            <a:ext cx="1624106" cy="184042"/>
          </a:xfrm>
          <a:prstGeom prst="rect">
            <a:avLst/>
          </a:prstGeom>
          <a:noFill/>
        </p:spPr>
        <p:txBody>
          <a:bodyPr wrap="square" lIns="0" tIns="0" rIns="0" bIns="0" rtlCol="0" anchor="t">
            <a:noAutofit/>
          </a:bodyPr>
          <a:lstStyle/>
          <a:p>
            <a:pPr>
              <a:spcAft>
                <a:spcPts val="1000"/>
              </a:spcAft>
            </a:pPr>
            <a:r>
              <a:rPr lang="en-US" sz="900" b="1" cap="all" dirty="0">
                <a:ea typeface="Open Sans Light" panose="020B0306030504020204" pitchFamily="34" charset="0"/>
                <a:cs typeface="Open Sans Light" panose="020B0306030504020204" pitchFamily="34" charset="0"/>
              </a:rPr>
              <a:t>9.7 Risk strategy and business continuity</a:t>
            </a:r>
          </a:p>
        </p:txBody>
      </p:sp>
      <p:sp>
        <p:nvSpPr>
          <p:cNvPr id="30" name="Oval 29">
            <a:extLst>
              <a:ext uri="{FF2B5EF4-FFF2-40B4-BE49-F238E27FC236}">
                <a16:creationId xmlns:a16="http://schemas.microsoft.com/office/drawing/2014/main" id="{F6F4256B-59A5-2FBE-9054-B1AC7DBE65E7}"/>
              </a:ext>
            </a:extLst>
          </p:cNvPr>
          <p:cNvSpPr/>
          <p:nvPr/>
        </p:nvSpPr>
        <p:spPr bwMode="gray">
          <a:xfrm>
            <a:off x="875786" y="4096356"/>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grpSp>
        <p:nvGrpSpPr>
          <p:cNvPr id="31" name="Group 30">
            <a:extLst>
              <a:ext uri="{FF2B5EF4-FFF2-40B4-BE49-F238E27FC236}">
                <a16:creationId xmlns:a16="http://schemas.microsoft.com/office/drawing/2014/main" id="{90919B30-C020-D6F2-CCD2-82A287B8CBE6}"/>
              </a:ext>
            </a:extLst>
          </p:cNvPr>
          <p:cNvGrpSpPr/>
          <p:nvPr/>
        </p:nvGrpSpPr>
        <p:grpSpPr>
          <a:xfrm>
            <a:off x="2591643" y="4002804"/>
            <a:ext cx="6337440" cy="108000"/>
            <a:chOff x="2643598" y="3290138"/>
            <a:chExt cx="6337440" cy="108000"/>
          </a:xfrm>
        </p:grpSpPr>
        <p:cxnSp>
          <p:nvCxnSpPr>
            <p:cNvPr id="33" name="Straight Connector 32">
              <a:extLst>
                <a:ext uri="{FF2B5EF4-FFF2-40B4-BE49-F238E27FC236}">
                  <a16:creationId xmlns:a16="http://schemas.microsoft.com/office/drawing/2014/main" id="{23A57C3B-84A5-CDF3-3C4F-D93DBF16F1CE}"/>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8FC98E15-53A4-0B14-1806-13B2DFCF47A6}"/>
                </a:ext>
              </a:extLst>
            </p:cNvPr>
            <p:cNvSpPr/>
            <p:nvPr/>
          </p:nvSpPr>
          <p:spPr bwMode="gray">
            <a:xfrm>
              <a:off x="6628013"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41" name="Oval 40">
              <a:extLst>
                <a:ext uri="{FF2B5EF4-FFF2-40B4-BE49-F238E27FC236}">
                  <a16:creationId xmlns:a16="http://schemas.microsoft.com/office/drawing/2014/main" id="{C8B6B069-42F4-086D-0969-2649E7B80065}"/>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47" name="Straight Connector 46">
              <a:extLst>
                <a:ext uri="{FF2B5EF4-FFF2-40B4-BE49-F238E27FC236}">
                  <a16:creationId xmlns:a16="http://schemas.microsoft.com/office/drawing/2014/main" id="{25A835F2-B72B-D412-388C-81163BA9F66E}"/>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DDBFCFCD-427E-24D5-0E3B-8AF42C2F0B4C}"/>
              </a:ext>
            </a:extLst>
          </p:cNvPr>
          <p:cNvGrpSpPr/>
          <p:nvPr/>
        </p:nvGrpSpPr>
        <p:grpSpPr>
          <a:xfrm>
            <a:off x="4115730" y="4128276"/>
            <a:ext cx="2282465" cy="903224"/>
            <a:chOff x="4141468" y="4360402"/>
            <a:chExt cx="2282465" cy="686652"/>
          </a:xfrm>
        </p:grpSpPr>
        <p:sp>
          <p:nvSpPr>
            <p:cNvPr id="50" name="Rectangle: Rounded Corners 49">
              <a:extLst>
                <a:ext uri="{FF2B5EF4-FFF2-40B4-BE49-F238E27FC236}">
                  <a16:creationId xmlns:a16="http://schemas.microsoft.com/office/drawing/2014/main" id="{43295390-B8BA-FE23-3103-D31E7EABD9D4}"/>
                </a:ext>
              </a:extLst>
            </p:cNvPr>
            <p:cNvSpPr/>
            <p:nvPr/>
          </p:nvSpPr>
          <p:spPr bwMode="gray">
            <a:xfrm>
              <a:off x="4141468" y="4360402"/>
              <a:ext cx="2282465"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51" name="TextBox 50">
              <a:extLst>
                <a:ext uri="{FF2B5EF4-FFF2-40B4-BE49-F238E27FC236}">
                  <a16:creationId xmlns:a16="http://schemas.microsoft.com/office/drawing/2014/main" id="{7D384C3B-3706-5111-861A-7995163B599F}"/>
                </a:ext>
              </a:extLst>
            </p:cNvPr>
            <p:cNvSpPr txBox="1"/>
            <p:nvPr/>
          </p:nvSpPr>
          <p:spPr>
            <a:xfrm>
              <a:off x="4189845" y="4380540"/>
              <a:ext cx="2073797" cy="97419"/>
            </a:xfrm>
            <a:prstGeom prst="rect">
              <a:avLst/>
            </a:prstGeom>
            <a:noFill/>
          </p:spPr>
          <p:txBody>
            <a:bodyPr wrap="square" lIns="0" tIns="0" rIns="0" bIns="0" rtlCol="0" anchor="t">
              <a:spAutoFit/>
            </a:bodyPr>
            <a:lstStyle/>
            <a:p>
              <a:pPr>
                <a:spcBef>
                  <a:spcPts val="1000"/>
                </a:spcBef>
                <a:buClr>
                  <a:srgbClr val="FFFFFF">
                    <a:lumMod val="50000"/>
                  </a:srgbClr>
                </a:buClr>
                <a:defRPr/>
              </a:pPr>
              <a:r>
                <a:rPr lang="en-US" sz="900" b="1">
                  <a:solidFill>
                    <a:srgbClr val="000000"/>
                  </a:solidFill>
                </a:rPr>
                <a:t>9.7.1 RISK STRATEGY</a:t>
              </a:r>
              <a:endParaRPr lang="en-US" sz="900" b="1" dirty="0">
                <a:solidFill>
                  <a:srgbClr val="000000"/>
                </a:solidFill>
              </a:endParaRPr>
            </a:p>
          </p:txBody>
        </p:sp>
        <p:sp>
          <p:nvSpPr>
            <p:cNvPr id="52" name="TextBox 51">
              <a:extLst>
                <a:ext uri="{FF2B5EF4-FFF2-40B4-BE49-F238E27FC236}">
                  <a16:creationId xmlns:a16="http://schemas.microsoft.com/office/drawing/2014/main" id="{097A4CA2-802B-6FB4-B529-FD010308208A}"/>
                </a:ext>
              </a:extLst>
            </p:cNvPr>
            <p:cNvSpPr txBox="1"/>
            <p:nvPr/>
          </p:nvSpPr>
          <p:spPr>
            <a:xfrm>
              <a:off x="4189844" y="4498741"/>
              <a:ext cx="2224903" cy="374367"/>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Deloitte helps prepare its clients for developing and implementing a tailored risk management strategy in the field of business, operational, finance, IT and cyber risks</a:t>
              </a:r>
              <a:r>
                <a:rPr lang="hu-HU" sz="800" dirty="0">
                  <a:solidFill>
                    <a:srgbClr val="000000"/>
                  </a:solidFill>
                </a:rPr>
                <a:t>.</a:t>
              </a:r>
              <a:endParaRPr lang="en-US" sz="800" dirty="0">
                <a:solidFill>
                  <a:srgbClr val="000000"/>
                </a:solidFill>
              </a:endParaRPr>
            </a:p>
          </p:txBody>
        </p:sp>
      </p:grpSp>
      <p:sp>
        <p:nvSpPr>
          <p:cNvPr id="54" name="Rectangle: Rounded Corners 53">
            <a:extLst>
              <a:ext uri="{FF2B5EF4-FFF2-40B4-BE49-F238E27FC236}">
                <a16:creationId xmlns:a16="http://schemas.microsoft.com/office/drawing/2014/main" id="{6E062E45-9DCE-B890-9C41-E03DA49D4AD7}"/>
              </a:ext>
            </a:extLst>
          </p:cNvPr>
          <p:cNvSpPr/>
          <p:nvPr/>
        </p:nvSpPr>
        <p:spPr bwMode="gray">
          <a:xfrm>
            <a:off x="6637257" y="4135202"/>
            <a:ext cx="2282465" cy="875396"/>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55" name="TextBox 54">
            <a:extLst>
              <a:ext uri="{FF2B5EF4-FFF2-40B4-BE49-F238E27FC236}">
                <a16:creationId xmlns:a16="http://schemas.microsoft.com/office/drawing/2014/main" id="{479AE9F6-2D21-9A3E-B5B8-5FFD02F05FB4}"/>
              </a:ext>
            </a:extLst>
          </p:cNvPr>
          <p:cNvSpPr txBox="1"/>
          <p:nvPr/>
        </p:nvSpPr>
        <p:spPr>
          <a:xfrm>
            <a:off x="6685634" y="4323583"/>
            <a:ext cx="2238110" cy="61555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The Business Continuity Methodology establishes a process framework from which methods can be developed to implement the BCM program. We help in the development and implementation of a resilient BCM program according to these models.</a:t>
            </a:r>
          </a:p>
        </p:txBody>
      </p:sp>
      <p:sp>
        <p:nvSpPr>
          <p:cNvPr id="67" name="TextBox 66">
            <a:extLst>
              <a:ext uri="{FF2B5EF4-FFF2-40B4-BE49-F238E27FC236}">
                <a16:creationId xmlns:a16="http://schemas.microsoft.com/office/drawing/2014/main" id="{60B3968E-3A5D-33F0-C6DE-77B593A99223}"/>
              </a:ext>
            </a:extLst>
          </p:cNvPr>
          <p:cNvSpPr txBox="1"/>
          <p:nvPr/>
        </p:nvSpPr>
        <p:spPr>
          <a:xfrm>
            <a:off x="6685632" y="4165109"/>
            <a:ext cx="2073797" cy="138499"/>
          </a:xfrm>
          <a:prstGeom prst="rect">
            <a:avLst/>
          </a:prstGeom>
          <a:noFill/>
        </p:spPr>
        <p:txBody>
          <a:bodyPr wrap="square" lIns="0" tIns="0" rIns="0" bIns="0" rtlCol="0" anchor="t">
            <a:spAutoFit/>
          </a:bodyPr>
          <a:lstStyle/>
          <a:p>
            <a:pPr>
              <a:spcBef>
                <a:spcPts val="1000"/>
              </a:spcBef>
              <a:buClr>
                <a:srgbClr val="FFFFFF">
                  <a:lumMod val="50000"/>
                </a:srgbClr>
              </a:buClr>
              <a:defRPr/>
            </a:pPr>
            <a:r>
              <a:rPr lang="en-US" sz="900" b="1">
                <a:solidFill>
                  <a:srgbClr val="000000"/>
                </a:solidFill>
              </a:rPr>
              <a:t>9.7.2 BUSINESS CONTINUITY</a:t>
            </a:r>
            <a:endParaRPr lang="en-US" sz="900" b="1" dirty="0">
              <a:solidFill>
                <a:srgbClr val="000000"/>
              </a:solidFill>
            </a:endParaRPr>
          </a:p>
        </p:txBody>
      </p:sp>
      <p:sp>
        <p:nvSpPr>
          <p:cNvPr id="76" name="Rectangle: Rounded Corners 75">
            <a:extLst>
              <a:ext uri="{FF2B5EF4-FFF2-40B4-BE49-F238E27FC236}">
                <a16:creationId xmlns:a16="http://schemas.microsoft.com/office/drawing/2014/main" id="{3EB1E3DB-2091-FE57-FEDE-F00E380821EB}"/>
              </a:ext>
            </a:extLst>
          </p:cNvPr>
          <p:cNvSpPr/>
          <p:nvPr/>
        </p:nvSpPr>
        <p:spPr bwMode="gray">
          <a:xfrm>
            <a:off x="1047204" y="4999256"/>
            <a:ext cx="1692000" cy="47189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77" name="TextBox 76">
            <a:extLst>
              <a:ext uri="{FF2B5EF4-FFF2-40B4-BE49-F238E27FC236}">
                <a16:creationId xmlns:a16="http://schemas.microsoft.com/office/drawing/2014/main" id="{FB23602A-4899-CD43-6FAF-2323D4455EF4}"/>
              </a:ext>
            </a:extLst>
          </p:cNvPr>
          <p:cNvSpPr txBox="1"/>
          <p:nvPr/>
        </p:nvSpPr>
        <p:spPr>
          <a:xfrm>
            <a:off x="1109960" y="5031500"/>
            <a:ext cx="1760210" cy="254377"/>
          </a:xfrm>
          <a:prstGeom prst="rect">
            <a:avLst/>
          </a:prstGeom>
          <a:noFill/>
        </p:spPr>
        <p:txBody>
          <a:bodyPr wrap="square" lIns="0" tIns="0" rIns="0" bIns="0" rtlCol="0" anchor="t">
            <a:noAutofit/>
          </a:bodyPr>
          <a:lstStyle/>
          <a:p>
            <a:pPr>
              <a:spcAft>
                <a:spcPts val="1000"/>
              </a:spcAft>
            </a:pPr>
            <a:r>
              <a:rPr lang="en-US" sz="900" b="1" cap="all" dirty="0">
                <a:ea typeface="Open Sans Light" panose="020B0306030504020204" pitchFamily="34" charset="0"/>
                <a:cs typeface="Open Sans Light" panose="020B0306030504020204" pitchFamily="34" charset="0"/>
              </a:rPr>
              <a:t>9.8 Business performance measurement and improvement</a:t>
            </a:r>
          </a:p>
        </p:txBody>
      </p:sp>
      <p:sp>
        <p:nvSpPr>
          <p:cNvPr id="78" name="Oval 77">
            <a:extLst>
              <a:ext uri="{FF2B5EF4-FFF2-40B4-BE49-F238E27FC236}">
                <a16:creationId xmlns:a16="http://schemas.microsoft.com/office/drawing/2014/main" id="{7F19B6DB-5F81-4681-E6C7-1352DCA0B118}"/>
              </a:ext>
            </a:extLst>
          </p:cNvPr>
          <p:cNvSpPr/>
          <p:nvPr/>
        </p:nvSpPr>
        <p:spPr bwMode="gray">
          <a:xfrm>
            <a:off x="875786" y="5125052"/>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grpSp>
        <p:nvGrpSpPr>
          <p:cNvPr id="96" name="Group 95">
            <a:extLst>
              <a:ext uri="{FF2B5EF4-FFF2-40B4-BE49-F238E27FC236}">
                <a16:creationId xmlns:a16="http://schemas.microsoft.com/office/drawing/2014/main" id="{EA3C358B-F9A0-05A9-3580-F640244183ED}"/>
              </a:ext>
            </a:extLst>
          </p:cNvPr>
          <p:cNvGrpSpPr/>
          <p:nvPr/>
        </p:nvGrpSpPr>
        <p:grpSpPr>
          <a:xfrm>
            <a:off x="4167685" y="5273585"/>
            <a:ext cx="4791705" cy="686652"/>
            <a:chOff x="4141468" y="4453921"/>
            <a:chExt cx="2282465" cy="686652"/>
          </a:xfrm>
        </p:grpSpPr>
        <p:sp>
          <p:nvSpPr>
            <p:cNvPr id="98" name="Rectangle: Rounded Corners 97">
              <a:extLst>
                <a:ext uri="{FF2B5EF4-FFF2-40B4-BE49-F238E27FC236}">
                  <a16:creationId xmlns:a16="http://schemas.microsoft.com/office/drawing/2014/main" id="{7FB0B721-35FD-9063-8002-A2648AD6A0B4}"/>
                </a:ext>
              </a:extLst>
            </p:cNvPr>
            <p:cNvSpPr/>
            <p:nvPr/>
          </p:nvSpPr>
          <p:spPr bwMode="gray">
            <a:xfrm>
              <a:off x="4141468" y="4453921"/>
              <a:ext cx="2282465"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99" name="TextBox 98">
              <a:extLst>
                <a:ext uri="{FF2B5EF4-FFF2-40B4-BE49-F238E27FC236}">
                  <a16:creationId xmlns:a16="http://schemas.microsoft.com/office/drawing/2014/main" id="{144ECDF9-8781-EE3C-F92F-4EA24FE6EC07}"/>
                </a:ext>
              </a:extLst>
            </p:cNvPr>
            <p:cNvSpPr txBox="1"/>
            <p:nvPr/>
          </p:nvSpPr>
          <p:spPr>
            <a:xfrm>
              <a:off x="4189845" y="4463045"/>
              <a:ext cx="2073797" cy="138499"/>
            </a:xfrm>
            <a:prstGeom prst="rect">
              <a:avLst/>
            </a:prstGeom>
            <a:noFill/>
          </p:spPr>
          <p:txBody>
            <a:bodyPr wrap="square" lIns="0" tIns="0" rIns="0" bIns="0" rtlCol="0" anchor="t">
              <a:spAutoFit/>
            </a:bodyPr>
            <a:lstStyle/>
            <a:p>
              <a:pPr>
                <a:spcBef>
                  <a:spcPts val="1000"/>
                </a:spcBef>
                <a:buClr>
                  <a:srgbClr val="FFFFFF">
                    <a:lumMod val="50000"/>
                  </a:srgbClr>
                </a:buClr>
                <a:defRPr/>
              </a:pPr>
              <a:r>
                <a:rPr lang="en-US" sz="900" b="1" dirty="0">
                  <a:solidFill>
                    <a:srgbClr val="000000"/>
                  </a:solidFill>
                </a:rPr>
                <a:t>DELOITTE PERORMANCE MANAGEMENT FRAMEWORK</a:t>
              </a:r>
            </a:p>
          </p:txBody>
        </p:sp>
        <p:sp>
          <p:nvSpPr>
            <p:cNvPr id="100" name="TextBox 99">
              <a:extLst>
                <a:ext uri="{FF2B5EF4-FFF2-40B4-BE49-F238E27FC236}">
                  <a16:creationId xmlns:a16="http://schemas.microsoft.com/office/drawing/2014/main" id="{226C9018-DD7B-EDFB-6B98-6C5CFB6D84FA}"/>
                </a:ext>
              </a:extLst>
            </p:cNvPr>
            <p:cNvSpPr txBox="1"/>
            <p:nvPr/>
          </p:nvSpPr>
          <p:spPr>
            <a:xfrm>
              <a:off x="4188946" y="4641678"/>
              <a:ext cx="1490941" cy="374461"/>
            </a:xfrm>
            <a:prstGeom prst="rect">
              <a:avLst/>
            </a:prstGeom>
            <a:noFill/>
          </p:spPr>
          <p:txBody>
            <a:bodyPr wrap="square" lIns="0" tIns="0" rIns="0" bIns="0" rtlCol="0" anchor="t">
              <a:spAutoFit/>
            </a:bodyPr>
            <a:lstStyle/>
            <a:p>
              <a:pPr>
                <a:spcBef>
                  <a:spcPts val="1000"/>
                </a:spcBef>
                <a:defRPr/>
              </a:pPr>
              <a:endParaRPr lang="en-US" sz="800" dirty="0">
                <a:solidFill>
                  <a:srgbClr val="000000"/>
                </a:solidFill>
              </a:endParaRPr>
            </a:p>
            <a:p>
              <a:pPr marL="171450" indent="-171450">
                <a:spcBef>
                  <a:spcPts val="1000"/>
                </a:spcBef>
                <a:buClr>
                  <a:srgbClr val="FFFFFF">
                    <a:lumMod val="50000"/>
                  </a:srgbClr>
                </a:buClr>
                <a:buFont typeface="Arial" panose="020B0604020202020204" pitchFamily="34" charset="0"/>
                <a:buChar char="•"/>
                <a:defRPr/>
              </a:pPr>
              <a:endParaRPr lang="en-US" sz="800" dirty="0">
                <a:solidFill>
                  <a:srgbClr val="000000"/>
                </a:solidFill>
              </a:endParaRPr>
            </a:p>
          </p:txBody>
        </p:sp>
      </p:grpSp>
      <p:sp>
        <p:nvSpPr>
          <p:cNvPr id="6" name="Rectangle 5">
            <a:extLst>
              <a:ext uri="{FF2B5EF4-FFF2-40B4-BE49-F238E27FC236}">
                <a16:creationId xmlns:a16="http://schemas.microsoft.com/office/drawing/2014/main" id="{A0EE3AB7-3B2B-BEFE-7389-D6DE9A40DEE6}"/>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5" name="Picture 64" descr="Medium shot of a person smiling&#10;&#10;Description automatically generated">
            <a:extLst>
              <a:ext uri="{FF2B5EF4-FFF2-40B4-BE49-F238E27FC236}">
                <a16:creationId xmlns:a16="http://schemas.microsoft.com/office/drawing/2014/main" id="{1E77F7DF-535B-128E-E7AD-7A5BA4B54E7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02026" y="497410"/>
            <a:ext cx="1307592" cy="1307592"/>
          </a:xfrm>
          <a:prstGeom prst="rect">
            <a:avLst/>
          </a:prstGeom>
        </p:spPr>
      </p:pic>
      <p:grpSp>
        <p:nvGrpSpPr>
          <p:cNvPr id="11" name="Group 10">
            <a:extLst>
              <a:ext uri="{FF2B5EF4-FFF2-40B4-BE49-F238E27FC236}">
                <a16:creationId xmlns:a16="http://schemas.microsoft.com/office/drawing/2014/main" id="{4604B7CE-8FCC-BD4E-8605-C69984C70100}"/>
              </a:ext>
            </a:extLst>
          </p:cNvPr>
          <p:cNvGrpSpPr/>
          <p:nvPr/>
        </p:nvGrpSpPr>
        <p:grpSpPr>
          <a:xfrm>
            <a:off x="2707769" y="5151904"/>
            <a:ext cx="6240680" cy="108000"/>
            <a:chOff x="2740358" y="3290138"/>
            <a:chExt cx="6240680" cy="108000"/>
          </a:xfrm>
        </p:grpSpPr>
        <p:cxnSp>
          <p:nvCxnSpPr>
            <p:cNvPr id="13" name="Straight Connector 12">
              <a:extLst>
                <a:ext uri="{FF2B5EF4-FFF2-40B4-BE49-F238E27FC236}">
                  <a16:creationId xmlns:a16="http://schemas.microsoft.com/office/drawing/2014/main" id="{F3C8DA6F-416B-D91E-98B2-6468727A99D5}"/>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3987AE65-60BE-479C-1B6B-94C2ECA391BA}"/>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8" name="Straight Connector 17">
              <a:extLst>
                <a:ext uri="{FF2B5EF4-FFF2-40B4-BE49-F238E27FC236}">
                  <a16:creationId xmlns:a16="http://schemas.microsoft.com/office/drawing/2014/main" id="{B7D23C2C-3FC6-AAFE-2DE8-8DACBC876EB2}"/>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24928090-7F6B-AF7F-D790-C9BF9090026E}"/>
              </a:ext>
            </a:extLst>
          </p:cNvPr>
          <p:cNvSpPr/>
          <p:nvPr/>
        </p:nvSpPr>
        <p:spPr>
          <a:xfrm>
            <a:off x="9292664" y="2012605"/>
            <a:ext cx="1303215"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a:solidFill>
                  <a:srgbClr val="000000"/>
                </a:solidFill>
                <a:latin typeface="Open Sans"/>
                <a:ea typeface="Open Sans"/>
                <a:cs typeface="Open Sans"/>
              </a:rPr>
              <a:t>Eszter Lukác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Open Sans"/>
                <a:cs typeface="Open Sans"/>
              </a:rPr>
              <a:t>Director</a:t>
            </a:r>
            <a:endParaRPr lang="en-US" sz="1200" b="0" i="0" u="none" strike="noStrike" kern="1200" cap="none" spc="0" normalizeH="0" baseline="0" noProof="0" dirty="0">
              <a:ln>
                <a:noFill/>
              </a:ln>
              <a:solidFill>
                <a:srgbClr val="000000"/>
              </a:solidFill>
              <a:effectLst/>
              <a:uLnTx/>
              <a:uFillTx/>
              <a:latin typeface="+mj-lt"/>
              <a:ea typeface="Open Sans"/>
              <a:cs typeface="Open Sans"/>
            </a:endParaRPr>
          </a:p>
        </p:txBody>
      </p:sp>
      <p:sp>
        <p:nvSpPr>
          <p:cNvPr id="5" name="Rectangle 4">
            <a:extLst>
              <a:ext uri="{FF2B5EF4-FFF2-40B4-BE49-F238E27FC236}">
                <a16:creationId xmlns:a16="http://schemas.microsoft.com/office/drawing/2014/main" id="{462129A3-4BBE-4BC8-7200-97E20C32772F}"/>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a:rPr>
              <a:t>CHAPTER LEAD EXPERT</a:t>
            </a:r>
            <a:endParaRPr kumimoji="0" lang="en-US" sz="1200" b="0" i="1" u="none" strike="noStrike" kern="1200" cap="none" spc="300" normalizeH="0" baseline="0" noProof="0" dirty="0">
              <a:ln>
                <a:noFill/>
              </a:ln>
              <a:solidFill>
                <a:srgbClr val="38B6FF"/>
              </a:solidFill>
              <a:effectLst/>
              <a:uLnTx/>
              <a:uFillTx/>
              <a:latin typeface="Open Sans"/>
            </a:endParaRPr>
          </a:p>
        </p:txBody>
      </p:sp>
      <p:pic>
        <p:nvPicPr>
          <p:cNvPr id="28" name="Picture 4" descr="Linkedin logo png - greorder">
            <a:hlinkClick r:id="rId8"/>
            <a:extLst>
              <a:ext uri="{FF2B5EF4-FFF2-40B4-BE49-F238E27FC236}">
                <a16:creationId xmlns:a16="http://schemas.microsoft.com/office/drawing/2014/main" id="{9FF389C6-C056-316A-2D3F-17EFB368BCB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392500" y="2069320"/>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5B65BE11-76FE-F981-487A-4FF07E630634}"/>
              </a:ext>
            </a:extLst>
          </p:cNvPr>
          <p:cNvSpPr/>
          <p:nvPr/>
        </p:nvSpPr>
        <p:spPr>
          <a:xfrm>
            <a:off x="9292664" y="2373331"/>
            <a:ext cx="2697252" cy="923330"/>
          </a:xfrm>
          <a:prstGeom prst="rect">
            <a:avLst/>
          </a:prstGeom>
          <a:noFill/>
        </p:spPr>
        <p:txBody>
          <a:bodyPr wrap="square" lIns="91440" tIns="45720" rIns="91440" bIns="45720" anchor="t">
            <a:spAutoFit/>
          </a:bodyPr>
          <a:lstStyle/>
          <a:p>
            <a:pPr>
              <a:defRPr/>
            </a:pPr>
            <a:r>
              <a:rPr lang="en-US" sz="900" b="1" i="1" dirty="0"/>
              <a:t>“In my profession as a consultant, it has always been important for me to create value to my clients and the community around us. As a mother of 3</a:t>
            </a:r>
            <a:r>
              <a:rPr lang="hu-HU" sz="900" b="1" i="1" dirty="0"/>
              <a:t> </a:t>
            </a:r>
            <a:r>
              <a:rPr lang="hu-HU" sz="900" b="1" i="1" dirty="0" err="1"/>
              <a:t>children</a:t>
            </a:r>
            <a:r>
              <a:rPr lang="en-US" sz="900" b="1" i="1" dirty="0"/>
              <a:t>, serving UNICEF would be a precious stone of my career serving a highly-appreciated purpose...the welfare of new generations.”</a:t>
            </a:r>
            <a:endParaRPr lang="en-US" dirty="0">
              <a:ea typeface="Open Sans"/>
              <a:cs typeface="Open Sans"/>
            </a:endParaRPr>
          </a:p>
        </p:txBody>
      </p:sp>
      <p:sp>
        <p:nvSpPr>
          <p:cNvPr id="34" name="Rectangle 33">
            <a:extLst>
              <a:ext uri="{FF2B5EF4-FFF2-40B4-BE49-F238E27FC236}">
                <a16:creationId xmlns:a16="http://schemas.microsoft.com/office/drawing/2014/main" id="{49048052-E691-A17E-FCBD-726D0E6A38F6}"/>
              </a:ext>
            </a:extLst>
          </p:cNvPr>
          <p:cNvSpPr/>
          <p:nvPr/>
        </p:nvSpPr>
        <p:spPr>
          <a:xfrm>
            <a:off x="9301748" y="3399004"/>
            <a:ext cx="2889029" cy="784830"/>
          </a:xfrm>
          <a:prstGeom prst="rect">
            <a:avLst/>
          </a:prstGeom>
          <a:noFill/>
        </p:spPr>
        <p:txBody>
          <a:bodyPr wrap="square" lIns="91440" tIns="45720" rIns="91440" bIns="45720" anchor="t">
            <a:spAutoFit/>
          </a:bodyPr>
          <a:lstStyle/>
          <a:p>
            <a:pPr>
              <a:defRPr/>
            </a:pPr>
            <a:r>
              <a:rPr lang="en-US" sz="900" dirty="0"/>
              <a:t>With 20 years of experience at Deloitte, Eszter has expertise with target operating model design, process transformation, cost efficiency, continuous improvement, robotic process automation, process analytics and shared business services set-up and operations projects. </a:t>
            </a:r>
          </a:p>
        </p:txBody>
      </p:sp>
      <p:sp>
        <p:nvSpPr>
          <p:cNvPr id="104" name="TextBox 103">
            <a:extLst>
              <a:ext uri="{FF2B5EF4-FFF2-40B4-BE49-F238E27FC236}">
                <a16:creationId xmlns:a16="http://schemas.microsoft.com/office/drawing/2014/main" id="{37F40D74-CDB2-47E6-F98E-5DB2855868F9}"/>
              </a:ext>
            </a:extLst>
          </p:cNvPr>
          <p:cNvSpPr txBox="1"/>
          <p:nvPr/>
        </p:nvSpPr>
        <p:spPr>
          <a:xfrm>
            <a:off x="4274480" y="5425021"/>
            <a:ext cx="3667374" cy="246221"/>
          </a:xfrm>
          <a:prstGeom prst="rect">
            <a:avLst/>
          </a:prstGeom>
          <a:noFill/>
        </p:spPr>
        <p:txBody>
          <a:bodyPr wrap="square" lIns="0" tIns="0" rIns="0" bIns="0" rtlCol="0" anchor="t">
            <a:spAutoFit/>
          </a:bodyPr>
          <a:lstStyle/>
          <a:p>
            <a:r>
              <a:rPr lang="en-US" sz="800" dirty="0"/>
              <a:t>Based on the methodology Deloitte supports clients define, implement and operate KPI system aligned to organizational strategy.</a:t>
            </a:r>
          </a:p>
        </p:txBody>
      </p:sp>
      <p:pic>
        <p:nvPicPr>
          <p:cNvPr id="105" name="Picture 104">
            <a:extLst>
              <a:ext uri="{FF2B5EF4-FFF2-40B4-BE49-F238E27FC236}">
                <a16:creationId xmlns:a16="http://schemas.microsoft.com/office/drawing/2014/main" id="{912C7A5C-DDF6-F67D-8BA5-2B38BC04CDA7}"/>
              </a:ext>
            </a:extLst>
          </p:cNvPr>
          <p:cNvPicPr>
            <a:picLocks noChangeAspect="1"/>
          </p:cNvPicPr>
          <p:nvPr/>
        </p:nvPicPr>
        <p:blipFill>
          <a:blip r:embed="rId10" cstate="email">
            <a:duotone>
              <a:schemeClr val="accent3">
                <a:shade val="45000"/>
                <a:satMod val="135000"/>
              </a:schemeClr>
              <a:prstClr val="white"/>
            </a:duotone>
            <a:extLst>
              <a:ext uri="{BEBA8EAE-BF5A-486C-A8C5-ECC9F3942E4B}">
                <a14:imgProps xmlns:a14="http://schemas.microsoft.com/office/drawing/2010/main">
                  <a14:imgLayer r:embed="rId11">
                    <a14:imgEffect>
                      <a14:artisticPhotocopy/>
                    </a14:imgEffect>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8028563" y="5290404"/>
            <a:ext cx="644935" cy="644935"/>
          </a:xfrm>
          <a:prstGeom prst="rect">
            <a:avLst/>
          </a:prstGeom>
        </p:spPr>
      </p:pic>
    </p:spTree>
    <p:extLst>
      <p:ext uri="{BB962C8B-B14F-4D97-AF65-F5344CB8AC3E}">
        <p14:creationId xmlns:p14="http://schemas.microsoft.com/office/powerpoint/2010/main" val="974292871"/>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Flowchart: Manual Operation 43">
            <a:extLst>
              <a:ext uri="{FF2B5EF4-FFF2-40B4-BE49-F238E27FC236}">
                <a16:creationId xmlns:a16="http://schemas.microsoft.com/office/drawing/2014/main" id="{958BBAA1-22FD-09EA-A5DE-EB447AEBDD59}"/>
              </a:ext>
            </a:extLst>
          </p:cNvPr>
          <p:cNvSpPr/>
          <p:nvPr/>
        </p:nvSpPr>
        <p:spPr bwMode="gray">
          <a:xfrm rot="16200000">
            <a:off x="4491226" y="-84277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12" name="Rectangle 11">
            <a:extLst>
              <a:ext uri="{FF2B5EF4-FFF2-40B4-BE49-F238E27FC236}">
                <a16:creationId xmlns:a16="http://schemas.microsoft.com/office/drawing/2014/main" id="{03D55876-D918-29F9-5F14-F2DF0162ED08}"/>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232150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2652051"/>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47206" y="4036411"/>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a:latin typeface="+mn-lt"/>
              </a:rPr>
              <a:t>9. </a:t>
            </a:r>
            <a:r>
              <a:rPr lang="en-US" sz="2000" dirty="0">
                <a:latin typeface="+mn-lt"/>
              </a:rPr>
              <a:t>Management Advisory services</a:t>
            </a:r>
            <a:r>
              <a:rPr lang="en-US" sz="2000">
                <a:latin typeface="+mn-lt"/>
              </a:rPr>
              <a:t> (3/3)</a:t>
            </a:r>
            <a:endParaRPr lang="en-US" sz="2000" dirty="0">
              <a:latin typeface="+mn-lt"/>
            </a:endParaRP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a:solidFill>
                  <a:schemeClr val="bg1"/>
                </a:solidFill>
                <a:latin typeface="Open Sans"/>
              </a:rPr>
              <a:t>SUBCHAPTERS</a:t>
            </a:r>
            <a:endParaRPr kumimoji="0" lang="en-US" sz="1200" b="1" i="0" u="none" strike="noStrike" kern="1200" cap="none" spc="300" normalizeH="0" baseline="0" noProof="0" dirty="0">
              <a:ln>
                <a:noFill/>
              </a:ln>
              <a:solidFill>
                <a:schemeClr val="bg1"/>
              </a:solidFill>
              <a:effectLst/>
              <a:uLnTx/>
              <a:uFillTx/>
              <a:latin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a:latin typeface="Open Sans"/>
              </a:rPr>
              <a:t>METHODOLOGIES</a:t>
            </a:r>
            <a:endParaRPr kumimoji="0" lang="en-US" sz="1200" b="0" i="1" u="none" strike="noStrike" kern="1200" cap="none" spc="600" normalizeH="0" baseline="0" noProof="0" dirty="0">
              <a:ln>
                <a:noFill/>
              </a:ln>
              <a:effectLst/>
              <a:uLnTx/>
              <a:uFillTx/>
              <a:latin typeface="Open San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a:off x="922093" y="2203798"/>
            <a:ext cx="0" cy="3024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2525410"/>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2470229"/>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2307476"/>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2432778"/>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1" name="Oval 20">
            <a:extLst>
              <a:ext uri="{FF2B5EF4-FFF2-40B4-BE49-F238E27FC236}">
                <a16:creationId xmlns:a16="http://schemas.microsoft.com/office/drawing/2014/main" id="{D219154D-E203-927A-E17E-7821D7AFA343}"/>
              </a:ext>
            </a:extLst>
          </p:cNvPr>
          <p:cNvSpPr/>
          <p:nvPr/>
        </p:nvSpPr>
        <p:spPr bwMode="gray">
          <a:xfrm>
            <a:off x="875786" y="4098301"/>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3" name="TextBox 22">
            <a:extLst>
              <a:ext uri="{FF2B5EF4-FFF2-40B4-BE49-F238E27FC236}">
                <a16:creationId xmlns:a16="http://schemas.microsoft.com/office/drawing/2014/main" id="{71042AB0-6C28-0519-0123-4B35425F7BBA}"/>
              </a:ext>
            </a:extLst>
          </p:cNvPr>
          <p:cNvSpPr txBox="1"/>
          <p:nvPr/>
        </p:nvSpPr>
        <p:spPr>
          <a:xfrm>
            <a:off x="1109961" y="2372793"/>
            <a:ext cx="1566978" cy="218670"/>
          </a:xfrm>
          <a:prstGeom prst="rect">
            <a:avLst/>
          </a:prstGeom>
          <a:noFill/>
        </p:spPr>
        <p:txBody>
          <a:bodyPr wrap="square" lIns="0" tIns="0" rIns="0" bIns="0" rtlCol="0" anchor="t">
            <a:noAutofit/>
          </a:bodyPr>
          <a:lstStyle/>
          <a:p>
            <a:pPr>
              <a:spcAft>
                <a:spcPts val="1000"/>
              </a:spcAft>
            </a:pPr>
            <a:r>
              <a:rPr lang="en-US" sz="900" b="1" cap="all" dirty="0">
                <a:ea typeface="Open Sans Light" panose="020B0306030504020204" pitchFamily="34" charset="0"/>
                <a:cs typeface="Open Sans Light" panose="020B0306030504020204" pitchFamily="34" charset="0"/>
              </a:rPr>
              <a:t>9.9 Development of innovation strategies</a:t>
            </a:r>
            <a:endParaRPr lang="en-US" sz="900" b="1" cap="all" dirty="0">
              <a:latin typeface="+mj-lt"/>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id="{5C8FF9D1-C272-F408-C331-07E40145140C}"/>
              </a:ext>
            </a:extLst>
          </p:cNvPr>
          <p:cNvSpPr txBox="1"/>
          <p:nvPr/>
        </p:nvSpPr>
        <p:spPr>
          <a:xfrm>
            <a:off x="1109960" y="4086079"/>
            <a:ext cx="1232290" cy="246222"/>
          </a:xfrm>
          <a:prstGeom prst="rect">
            <a:avLst/>
          </a:prstGeom>
          <a:noFill/>
        </p:spPr>
        <p:txBody>
          <a:bodyPr wrap="square" lIns="0" tIns="0" rIns="0" bIns="0" rtlCol="0" anchor="t">
            <a:noAutofit/>
          </a:bodyPr>
          <a:lstStyle/>
          <a:p>
            <a:pPr>
              <a:spcAft>
                <a:spcPts val="1000"/>
              </a:spcAft>
            </a:pPr>
            <a:r>
              <a:rPr lang="en-US" sz="900" b="1" cap="all">
                <a:ea typeface="Open Sans Light" panose="020B0306030504020204" pitchFamily="34" charset="0"/>
                <a:cs typeface="Open Sans Light" panose="020B0306030504020204" pitchFamily="34" charset="0"/>
              </a:rPr>
              <a:t>9.11 </a:t>
            </a:r>
            <a:r>
              <a:rPr lang="en-US" sz="900" b="1" cap="all" dirty="0">
                <a:ea typeface="Open Sans Light" panose="020B0306030504020204" pitchFamily="34" charset="0"/>
                <a:cs typeface="Open Sans Light" panose="020B0306030504020204" pitchFamily="34" charset="0"/>
              </a:rPr>
              <a:t>Planning and forecasting</a:t>
            </a:r>
            <a:endParaRPr lang="en-US" sz="900" b="1" cap="all" dirty="0">
              <a:latin typeface="+mj-lt"/>
              <a:ea typeface="Open Sans Light" panose="020B0306030504020204" pitchFamily="34" charset="0"/>
              <a:cs typeface="Open Sans Light" panose="020B0306030504020204" pitchFamily="34" charset="0"/>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85012" y="4217918"/>
            <a:ext cx="4830876" cy="873693"/>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25" name="TextBox 124">
            <a:extLst>
              <a:ext uri="{FF2B5EF4-FFF2-40B4-BE49-F238E27FC236}">
                <a16:creationId xmlns:a16="http://schemas.microsoft.com/office/drawing/2014/main" id="{BFC289BE-3B1A-26AD-07CC-7670D2377D1C}"/>
              </a:ext>
            </a:extLst>
          </p:cNvPr>
          <p:cNvSpPr txBox="1"/>
          <p:nvPr/>
        </p:nvSpPr>
        <p:spPr>
          <a:xfrm>
            <a:off x="4217677" y="4247916"/>
            <a:ext cx="4583421" cy="138499"/>
          </a:xfrm>
          <a:prstGeom prst="rect">
            <a:avLst/>
          </a:prstGeom>
          <a:noFill/>
        </p:spPr>
        <p:txBody>
          <a:bodyPr wrap="square" lIns="0" tIns="0" rIns="0" bIns="0" rtlCol="0" anchor="t">
            <a:spAutoFit/>
          </a:bodyPr>
          <a:lstStyle/>
          <a:p>
            <a:pPr>
              <a:spcBef>
                <a:spcPts val="1000"/>
              </a:spcBef>
              <a:buClr>
                <a:srgbClr val="FFFFFF">
                  <a:lumMod val="50000"/>
                </a:srgbClr>
              </a:buClr>
              <a:defRPr/>
            </a:pPr>
            <a:r>
              <a:rPr lang="en-US" sz="900" b="1">
                <a:solidFill>
                  <a:srgbClr val="000000"/>
                </a:solidFill>
              </a:rPr>
              <a:t>DELOITTE ENTERPRISE PERFORMANCE MANAGEMENT (EPM) FRAMEWORK</a:t>
            </a:r>
            <a:endParaRPr lang="en-US" sz="900" b="1" dirty="0">
              <a:solidFill>
                <a:srgbClr val="000000"/>
              </a:solidFill>
            </a:endParaRP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50941" y="2309556"/>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5" name="Rectangle: Rounded Corners 4">
            <a:extLst>
              <a:ext uri="{FF2B5EF4-FFF2-40B4-BE49-F238E27FC236}">
                <a16:creationId xmlns:a16="http://schemas.microsoft.com/office/drawing/2014/main" id="{F182A0E5-8D26-2334-2C15-6702484FCCBA}"/>
              </a:ext>
            </a:extLst>
          </p:cNvPr>
          <p:cNvSpPr/>
          <p:nvPr/>
        </p:nvSpPr>
        <p:spPr bwMode="gray">
          <a:xfrm>
            <a:off x="4168534" y="2408324"/>
            <a:ext cx="4736389" cy="502418"/>
          </a:xfrm>
          <a:prstGeom prst="roundRect">
            <a:avLst>
              <a:gd name="adj" fmla="val 9889"/>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 name="TextBox 13">
            <a:extLst>
              <a:ext uri="{FF2B5EF4-FFF2-40B4-BE49-F238E27FC236}">
                <a16:creationId xmlns:a16="http://schemas.microsoft.com/office/drawing/2014/main" id="{CC24F355-9BD3-6AD6-1705-E29882A29AFC}"/>
              </a:ext>
            </a:extLst>
          </p:cNvPr>
          <p:cNvSpPr txBox="1"/>
          <p:nvPr/>
        </p:nvSpPr>
        <p:spPr>
          <a:xfrm>
            <a:off x="4223465" y="2465969"/>
            <a:ext cx="236218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TEN TYPES OF INNOVATION BY DOBLIN</a:t>
            </a:r>
          </a:p>
        </p:txBody>
      </p:sp>
      <p:grpSp>
        <p:nvGrpSpPr>
          <p:cNvPr id="4" name="Group 3">
            <a:extLst>
              <a:ext uri="{FF2B5EF4-FFF2-40B4-BE49-F238E27FC236}">
                <a16:creationId xmlns:a16="http://schemas.microsoft.com/office/drawing/2014/main" id="{BAE2DC27-06FC-8FD3-3DFD-1C73F3133D59}"/>
              </a:ext>
            </a:extLst>
          </p:cNvPr>
          <p:cNvGrpSpPr/>
          <p:nvPr/>
        </p:nvGrpSpPr>
        <p:grpSpPr>
          <a:xfrm>
            <a:off x="2699784" y="4070571"/>
            <a:ext cx="6240680" cy="108000"/>
            <a:chOff x="2740358" y="3290138"/>
            <a:chExt cx="6240680" cy="108000"/>
          </a:xfrm>
        </p:grpSpPr>
        <p:cxnSp>
          <p:nvCxnSpPr>
            <p:cNvPr id="40" name="Straight Connector 39">
              <a:extLst>
                <a:ext uri="{FF2B5EF4-FFF2-40B4-BE49-F238E27FC236}">
                  <a16:creationId xmlns:a16="http://schemas.microsoft.com/office/drawing/2014/main" id="{00CECD40-FCD0-4EA5-B078-907DB098BCEC}"/>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CC940E1E-BD25-B87A-F8EC-03D2EE89041E}"/>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42" name="Straight Connector 41">
              <a:extLst>
                <a:ext uri="{FF2B5EF4-FFF2-40B4-BE49-F238E27FC236}">
                  <a16:creationId xmlns:a16="http://schemas.microsoft.com/office/drawing/2014/main" id="{C08854A6-B0E7-06BE-CD70-9384B92F76AC}"/>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7" name="Rectangle: Rounded Corners 6">
            <a:extLst>
              <a:ext uri="{FF2B5EF4-FFF2-40B4-BE49-F238E27FC236}">
                <a16:creationId xmlns:a16="http://schemas.microsoft.com/office/drawing/2014/main" id="{A945C138-340C-F615-A285-F5CFE74AD904}"/>
              </a:ext>
            </a:extLst>
          </p:cNvPr>
          <p:cNvSpPr/>
          <p:nvPr/>
        </p:nvSpPr>
        <p:spPr bwMode="gray">
          <a:xfrm>
            <a:off x="1056170" y="3138211"/>
            <a:ext cx="1692000" cy="524549"/>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0" name="Oval 9">
            <a:extLst>
              <a:ext uri="{FF2B5EF4-FFF2-40B4-BE49-F238E27FC236}">
                <a16:creationId xmlns:a16="http://schemas.microsoft.com/office/drawing/2014/main" id="{81C29370-0119-E391-9CC7-2386BBBFD5C1}"/>
              </a:ext>
            </a:extLst>
          </p:cNvPr>
          <p:cNvSpPr/>
          <p:nvPr/>
        </p:nvSpPr>
        <p:spPr bwMode="gray">
          <a:xfrm>
            <a:off x="875786" y="3137363"/>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45" name="TextBox 44">
            <a:extLst>
              <a:ext uri="{FF2B5EF4-FFF2-40B4-BE49-F238E27FC236}">
                <a16:creationId xmlns:a16="http://schemas.microsoft.com/office/drawing/2014/main" id="{70581099-096C-F152-1DD2-730AB8D6A86A}"/>
              </a:ext>
            </a:extLst>
          </p:cNvPr>
          <p:cNvSpPr txBox="1"/>
          <p:nvPr/>
        </p:nvSpPr>
        <p:spPr>
          <a:xfrm>
            <a:off x="1109959" y="3202063"/>
            <a:ext cx="1566979" cy="214110"/>
          </a:xfrm>
          <a:prstGeom prst="rect">
            <a:avLst/>
          </a:prstGeom>
          <a:noFill/>
        </p:spPr>
        <p:txBody>
          <a:bodyPr wrap="square" lIns="0" tIns="0" rIns="0" bIns="0" rtlCol="0" anchor="t">
            <a:noAutofit/>
          </a:bodyPr>
          <a:lstStyle/>
          <a:p>
            <a:pPr>
              <a:spcAft>
                <a:spcPts val="1000"/>
              </a:spcAft>
            </a:pPr>
            <a:r>
              <a:rPr lang="en-US" sz="900" b="1" cap="all">
                <a:ea typeface="Open Sans Light" panose="020B0306030504020204" pitchFamily="34" charset="0"/>
                <a:cs typeface="Open Sans Light" panose="020B0306030504020204" pitchFamily="34" charset="0"/>
              </a:rPr>
              <a:t>9.10 </a:t>
            </a:r>
            <a:r>
              <a:rPr lang="en-US" sz="900" b="1" cap="all" dirty="0">
                <a:ea typeface="Open Sans Light" panose="020B0306030504020204" pitchFamily="34" charset="0"/>
                <a:cs typeface="Open Sans Light" panose="020B0306030504020204" pitchFamily="34" charset="0"/>
              </a:rPr>
              <a:t>Business process analysis, re-engineering and improvement</a:t>
            </a:r>
            <a:endParaRPr lang="en-US" sz="900" b="1" cap="all" dirty="0">
              <a:latin typeface="+mj-lt"/>
              <a:ea typeface="Open Sans Light" panose="020B0306030504020204" pitchFamily="34" charset="0"/>
              <a:cs typeface="Open Sans Light" panose="020B0306030504020204" pitchFamily="34" charset="0"/>
            </a:endParaRPr>
          </a:p>
        </p:txBody>
      </p:sp>
      <p:sp>
        <p:nvSpPr>
          <p:cNvPr id="46" name="Rectangle: Rounded Corners 45">
            <a:extLst>
              <a:ext uri="{FF2B5EF4-FFF2-40B4-BE49-F238E27FC236}">
                <a16:creationId xmlns:a16="http://schemas.microsoft.com/office/drawing/2014/main" id="{EE499F64-5097-6C76-3159-25B3F1CA1934}"/>
              </a:ext>
            </a:extLst>
          </p:cNvPr>
          <p:cNvSpPr/>
          <p:nvPr/>
        </p:nvSpPr>
        <p:spPr bwMode="gray">
          <a:xfrm>
            <a:off x="4133675" y="3299309"/>
            <a:ext cx="4821912" cy="407975"/>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47" name="TextBox 46">
            <a:extLst>
              <a:ext uri="{FF2B5EF4-FFF2-40B4-BE49-F238E27FC236}">
                <a16:creationId xmlns:a16="http://schemas.microsoft.com/office/drawing/2014/main" id="{924987D9-0AB4-A21F-F8D6-AF11E9DDAFA2}"/>
              </a:ext>
            </a:extLst>
          </p:cNvPr>
          <p:cNvSpPr txBox="1"/>
          <p:nvPr/>
        </p:nvSpPr>
        <p:spPr>
          <a:xfrm>
            <a:off x="4182052" y="3321677"/>
            <a:ext cx="4632741" cy="276999"/>
          </a:xfrm>
          <a:prstGeom prst="rect">
            <a:avLst/>
          </a:prstGeom>
          <a:noFill/>
        </p:spPr>
        <p:txBody>
          <a:bodyPr wrap="square" lIns="0" tIns="0" rIns="0" bIns="0" rtlCol="0" anchor="t">
            <a:spAutoFit/>
          </a:bodyPr>
          <a:lstStyle/>
          <a:p>
            <a:pPr>
              <a:spcBef>
                <a:spcPts val="1000"/>
              </a:spcBef>
              <a:defRPr/>
            </a:pPr>
            <a:r>
              <a:rPr lang="en-US" sz="900" b="1" dirty="0">
                <a:solidFill>
                  <a:srgbClr val="000000"/>
                </a:solidFill>
                <a:highlight>
                  <a:srgbClr val="FFFF00"/>
                </a:highlight>
                <a:ea typeface="Calibri"/>
                <a:cs typeface="Calibri"/>
              </a:rPr>
              <a:t>PLEASE FIND THE RELEVANT METHODOLOGIES UNDER CHAPTER 3:  PROCESS IMPROVEMENT SERVICES</a:t>
            </a:r>
            <a:endParaRPr lang="en-US" sz="900" b="1" dirty="0"/>
          </a:p>
        </p:txBody>
      </p:sp>
      <p:grpSp>
        <p:nvGrpSpPr>
          <p:cNvPr id="51" name="Group 50">
            <a:extLst>
              <a:ext uri="{FF2B5EF4-FFF2-40B4-BE49-F238E27FC236}">
                <a16:creationId xmlns:a16="http://schemas.microsoft.com/office/drawing/2014/main" id="{A6B11EBF-CD11-3107-7D4D-D478AFEC76CA}"/>
              </a:ext>
            </a:extLst>
          </p:cNvPr>
          <p:cNvGrpSpPr/>
          <p:nvPr/>
        </p:nvGrpSpPr>
        <p:grpSpPr>
          <a:xfrm>
            <a:off x="2711783" y="3154998"/>
            <a:ext cx="6240680" cy="108000"/>
            <a:chOff x="2740358" y="3290138"/>
            <a:chExt cx="6240680" cy="108000"/>
          </a:xfrm>
        </p:grpSpPr>
        <p:cxnSp>
          <p:nvCxnSpPr>
            <p:cNvPr id="52" name="Straight Connector 51">
              <a:extLst>
                <a:ext uri="{FF2B5EF4-FFF2-40B4-BE49-F238E27FC236}">
                  <a16:creationId xmlns:a16="http://schemas.microsoft.com/office/drawing/2014/main" id="{429B1E4A-1FC6-68FA-EB66-9C0ECA2087F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75206B01-8CAC-DB14-5EA0-B913CBA1E9D4}"/>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54" name="Straight Connector 53">
              <a:extLst>
                <a:ext uri="{FF2B5EF4-FFF2-40B4-BE49-F238E27FC236}">
                  <a16:creationId xmlns:a16="http://schemas.microsoft.com/office/drawing/2014/main" id="{94855A1B-A10A-2F73-087C-E960D6D32348}"/>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72" name="Rectangle: Rounded Corners 71">
            <a:extLst>
              <a:ext uri="{FF2B5EF4-FFF2-40B4-BE49-F238E27FC236}">
                <a16:creationId xmlns:a16="http://schemas.microsoft.com/office/drawing/2014/main" id="{4E163DC2-F3AA-7B69-E9D1-359E2B5ABE96}"/>
              </a:ext>
            </a:extLst>
          </p:cNvPr>
          <p:cNvSpPr/>
          <p:nvPr/>
        </p:nvSpPr>
        <p:spPr bwMode="gray">
          <a:xfrm>
            <a:off x="1054132" y="5123997"/>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73" name="Oval 72">
            <a:extLst>
              <a:ext uri="{FF2B5EF4-FFF2-40B4-BE49-F238E27FC236}">
                <a16:creationId xmlns:a16="http://schemas.microsoft.com/office/drawing/2014/main" id="{5F2045AC-E587-849D-61F9-BA9188F575C7}"/>
              </a:ext>
            </a:extLst>
          </p:cNvPr>
          <p:cNvSpPr/>
          <p:nvPr/>
        </p:nvSpPr>
        <p:spPr bwMode="gray">
          <a:xfrm>
            <a:off x="882712" y="5185887"/>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74" name="TextBox 73">
            <a:extLst>
              <a:ext uri="{FF2B5EF4-FFF2-40B4-BE49-F238E27FC236}">
                <a16:creationId xmlns:a16="http://schemas.microsoft.com/office/drawing/2014/main" id="{7D177E74-FE9D-C9D3-BA2A-40B89D3562A4}"/>
              </a:ext>
            </a:extLst>
          </p:cNvPr>
          <p:cNvSpPr txBox="1"/>
          <p:nvPr/>
        </p:nvSpPr>
        <p:spPr>
          <a:xfrm>
            <a:off x="1116886" y="5173665"/>
            <a:ext cx="1232290" cy="246222"/>
          </a:xfrm>
          <a:prstGeom prst="rect">
            <a:avLst/>
          </a:prstGeom>
          <a:noFill/>
        </p:spPr>
        <p:txBody>
          <a:bodyPr wrap="square" lIns="0" tIns="0" rIns="0" bIns="0" rtlCol="0" anchor="t">
            <a:noAutofit/>
          </a:bodyPr>
          <a:lstStyle/>
          <a:p>
            <a:pPr>
              <a:spcAft>
                <a:spcPts val="1000"/>
              </a:spcAft>
            </a:pPr>
            <a:r>
              <a:rPr lang="en-US" sz="900" b="1" cap="all">
                <a:ea typeface="Open Sans Light" panose="020B0306030504020204" pitchFamily="34" charset="0"/>
                <a:cs typeface="Open Sans Light" panose="020B0306030504020204" pitchFamily="34" charset="0"/>
              </a:rPr>
              <a:t>9.12 </a:t>
            </a:r>
            <a:r>
              <a:rPr lang="en-US" sz="900" b="1" cap="all" dirty="0">
                <a:ea typeface="Open Sans Light" panose="020B0306030504020204" pitchFamily="34" charset="0"/>
                <a:cs typeface="Open Sans Light" panose="020B0306030504020204" pitchFamily="34" charset="0"/>
              </a:rPr>
              <a:t>Insurance advisory services</a:t>
            </a:r>
            <a:endParaRPr lang="en-US" sz="900" b="1" cap="all" dirty="0">
              <a:latin typeface="+mj-lt"/>
              <a:ea typeface="Open Sans Light" panose="020B0306030504020204" pitchFamily="34" charset="0"/>
              <a:cs typeface="Open Sans Light" panose="020B0306030504020204" pitchFamily="34" charset="0"/>
            </a:endParaRPr>
          </a:p>
        </p:txBody>
      </p:sp>
      <p:sp>
        <p:nvSpPr>
          <p:cNvPr id="75" name="Rectangle: Rounded Corners 74">
            <a:extLst>
              <a:ext uri="{FF2B5EF4-FFF2-40B4-BE49-F238E27FC236}">
                <a16:creationId xmlns:a16="http://schemas.microsoft.com/office/drawing/2014/main" id="{94213B79-D86A-AF16-B69C-10DF6EFD02A3}"/>
              </a:ext>
            </a:extLst>
          </p:cNvPr>
          <p:cNvSpPr/>
          <p:nvPr/>
        </p:nvSpPr>
        <p:spPr bwMode="gray">
          <a:xfrm>
            <a:off x="4191938" y="5305505"/>
            <a:ext cx="4830876" cy="700018"/>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76" name="TextBox 75">
            <a:extLst>
              <a:ext uri="{FF2B5EF4-FFF2-40B4-BE49-F238E27FC236}">
                <a16:creationId xmlns:a16="http://schemas.microsoft.com/office/drawing/2014/main" id="{B497A7CE-A290-8D44-A1AF-8FDE5FE2F366}"/>
              </a:ext>
            </a:extLst>
          </p:cNvPr>
          <p:cNvSpPr txBox="1"/>
          <p:nvPr/>
        </p:nvSpPr>
        <p:spPr>
          <a:xfrm>
            <a:off x="4224604" y="5335502"/>
            <a:ext cx="3550662" cy="138499"/>
          </a:xfrm>
          <a:prstGeom prst="rect">
            <a:avLst/>
          </a:prstGeom>
          <a:noFill/>
        </p:spPr>
        <p:txBody>
          <a:bodyPr wrap="square" lIns="0" tIns="0" rIns="0" bIns="0" rtlCol="0" anchor="t">
            <a:spAutoFit/>
          </a:bodyPr>
          <a:lstStyle/>
          <a:p>
            <a:pPr>
              <a:spcBef>
                <a:spcPts val="1000"/>
              </a:spcBef>
              <a:buClr>
                <a:srgbClr val="FFFFFF">
                  <a:lumMod val="50000"/>
                </a:srgbClr>
              </a:buClr>
              <a:defRPr/>
            </a:pPr>
            <a:r>
              <a:rPr lang="en-US" sz="900" b="1">
                <a:solidFill>
                  <a:srgbClr val="000000"/>
                </a:solidFill>
              </a:rPr>
              <a:t>METHODOLOGY_1</a:t>
            </a:r>
            <a:endParaRPr lang="en-US" sz="900" b="1" dirty="0">
              <a:solidFill>
                <a:srgbClr val="000000"/>
              </a:solidFill>
            </a:endParaRPr>
          </a:p>
        </p:txBody>
      </p:sp>
      <p:grpSp>
        <p:nvGrpSpPr>
          <p:cNvPr id="77" name="Group 76">
            <a:extLst>
              <a:ext uri="{FF2B5EF4-FFF2-40B4-BE49-F238E27FC236}">
                <a16:creationId xmlns:a16="http://schemas.microsoft.com/office/drawing/2014/main" id="{2A5FB314-0641-83CB-BDCA-F0810216D47F}"/>
              </a:ext>
            </a:extLst>
          </p:cNvPr>
          <p:cNvGrpSpPr/>
          <p:nvPr/>
        </p:nvGrpSpPr>
        <p:grpSpPr>
          <a:xfrm>
            <a:off x="2706710" y="5158157"/>
            <a:ext cx="6240680" cy="108000"/>
            <a:chOff x="2740358" y="3290138"/>
            <a:chExt cx="6240680" cy="108000"/>
          </a:xfrm>
        </p:grpSpPr>
        <p:cxnSp>
          <p:nvCxnSpPr>
            <p:cNvPr id="78" name="Straight Connector 77">
              <a:extLst>
                <a:ext uri="{FF2B5EF4-FFF2-40B4-BE49-F238E27FC236}">
                  <a16:creationId xmlns:a16="http://schemas.microsoft.com/office/drawing/2014/main" id="{85BE6E05-D3F1-C247-A96F-8279AE88B5C8}"/>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ECE602B4-FE25-0F86-1BE9-6F69EC8EF18F}"/>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80" name="Straight Connector 79">
              <a:extLst>
                <a:ext uri="{FF2B5EF4-FFF2-40B4-BE49-F238E27FC236}">
                  <a16:creationId xmlns:a16="http://schemas.microsoft.com/office/drawing/2014/main" id="{106B24BB-27D2-6E73-B76E-07004CA62473}"/>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81" name="TextBox 80">
            <a:extLst>
              <a:ext uri="{FF2B5EF4-FFF2-40B4-BE49-F238E27FC236}">
                <a16:creationId xmlns:a16="http://schemas.microsoft.com/office/drawing/2014/main" id="{F993261B-189A-1237-85F0-AF30D137D14C}"/>
              </a:ext>
            </a:extLst>
          </p:cNvPr>
          <p:cNvSpPr txBox="1"/>
          <p:nvPr/>
        </p:nvSpPr>
        <p:spPr>
          <a:xfrm>
            <a:off x="4230542" y="5534085"/>
            <a:ext cx="4725555" cy="123111"/>
          </a:xfrm>
          <a:prstGeom prst="rect">
            <a:avLst/>
          </a:prstGeom>
          <a:noFill/>
        </p:spPr>
        <p:txBody>
          <a:bodyPr wrap="square" lIns="0" tIns="0" rIns="0" bIns="0" rtlCol="0" anchor="t">
            <a:spAutoFit/>
          </a:bodyPr>
          <a:lstStyle/>
          <a:p>
            <a:r>
              <a:rPr lang="en-US" sz="800">
                <a:highlight>
                  <a:srgbClr val="FFFF00"/>
                </a:highlight>
              </a:rPr>
              <a:t>UNICEF input </a:t>
            </a:r>
            <a:endParaRPr lang="en-US" sz="800" dirty="0">
              <a:highlight>
                <a:srgbClr val="FFFF00"/>
              </a:highlight>
            </a:endParaRPr>
          </a:p>
        </p:txBody>
      </p:sp>
      <p:sp>
        <p:nvSpPr>
          <p:cNvPr id="83" name="TextBox 82">
            <a:extLst>
              <a:ext uri="{FF2B5EF4-FFF2-40B4-BE49-F238E27FC236}">
                <a16:creationId xmlns:a16="http://schemas.microsoft.com/office/drawing/2014/main" id="{67C23F09-10AD-58CB-B36D-5B4896EC7658}"/>
              </a:ext>
            </a:extLst>
          </p:cNvPr>
          <p:cNvSpPr txBox="1"/>
          <p:nvPr/>
        </p:nvSpPr>
        <p:spPr>
          <a:xfrm>
            <a:off x="4227623" y="2607310"/>
            <a:ext cx="4667631" cy="369332"/>
          </a:xfrm>
          <a:prstGeom prst="rect">
            <a:avLst/>
          </a:prstGeom>
          <a:noFill/>
        </p:spPr>
        <p:txBody>
          <a:bodyPr wrap="square" lIns="0" tIns="0" rIns="0" bIns="0" rtlCol="0" anchor="t">
            <a:spAutoFit/>
          </a:bodyPr>
          <a:lstStyle/>
          <a:p>
            <a:pPr>
              <a:defRPr/>
            </a:pPr>
            <a:r>
              <a:rPr lang="en-US" sz="800" dirty="0"/>
              <a:t>Doblin, our innovation firm developed a framework to categorize and understand the various dimensions in which innovation can occur within an organization. Our methodology is based on these categories.</a:t>
            </a:r>
          </a:p>
          <a:p>
            <a:pPr>
              <a:defRPr/>
            </a:pPr>
            <a:endParaRPr lang="en-US" sz="800" b="0" i="0" dirty="0">
              <a:solidFill>
                <a:srgbClr val="000000"/>
              </a:solidFill>
              <a:effectLst/>
              <a:latin typeface="Open Sans" panose="020B0606030504020204" pitchFamily="34" charset="0"/>
            </a:endParaRPr>
          </a:p>
        </p:txBody>
      </p:sp>
      <p:sp>
        <p:nvSpPr>
          <p:cNvPr id="16" name="Rectangle 15">
            <a:extLst>
              <a:ext uri="{FF2B5EF4-FFF2-40B4-BE49-F238E27FC236}">
                <a16:creationId xmlns:a16="http://schemas.microsoft.com/office/drawing/2014/main" id="{2CB2FE04-6257-19B3-C308-838213906A35}"/>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Medium shot of a person smiling&#10;&#10;Description automatically generated">
            <a:extLst>
              <a:ext uri="{FF2B5EF4-FFF2-40B4-BE49-F238E27FC236}">
                <a16:creationId xmlns:a16="http://schemas.microsoft.com/office/drawing/2014/main" id="{302CD62E-371B-AED1-7B0C-CC66B606E2D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02026" y="497410"/>
            <a:ext cx="1307592" cy="1307592"/>
          </a:xfrm>
          <a:prstGeom prst="rect">
            <a:avLst/>
          </a:prstGeom>
        </p:spPr>
      </p:pic>
      <p:pic>
        <p:nvPicPr>
          <p:cNvPr id="39" name="Picture 38">
            <a:extLst>
              <a:ext uri="{FF2B5EF4-FFF2-40B4-BE49-F238E27FC236}">
                <a16:creationId xmlns:a16="http://schemas.microsoft.com/office/drawing/2014/main" id="{43F64BEC-9A13-DBFC-579F-3B2B685CB07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959570" y="4264080"/>
            <a:ext cx="923660" cy="737580"/>
          </a:xfrm>
          <a:prstGeom prst="rect">
            <a:avLst/>
          </a:prstGeom>
        </p:spPr>
      </p:pic>
      <p:sp>
        <p:nvSpPr>
          <p:cNvPr id="43" name="TextBox 42">
            <a:extLst>
              <a:ext uri="{FF2B5EF4-FFF2-40B4-BE49-F238E27FC236}">
                <a16:creationId xmlns:a16="http://schemas.microsoft.com/office/drawing/2014/main" id="{8BB68468-99C3-E6B4-09A4-3A688394E8F1}"/>
              </a:ext>
            </a:extLst>
          </p:cNvPr>
          <p:cNvSpPr txBox="1"/>
          <p:nvPr/>
        </p:nvSpPr>
        <p:spPr>
          <a:xfrm>
            <a:off x="4232279" y="4416085"/>
            <a:ext cx="3786795" cy="615553"/>
          </a:xfrm>
          <a:prstGeom prst="rect">
            <a:avLst/>
          </a:prstGeom>
          <a:noFill/>
        </p:spPr>
        <p:txBody>
          <a:bodyPr wrap="square" lIns="0" tIns="0" rIns="0" bIns="0" rtlCol="0" anchor="t">
            <a:spAutoFit/>
          </a:bodyPr>
          <a:lstStyle/>
          <a:p>
            <a:pPr>
              <a:defRPr/>
            </a:pPr>
            <a:r>
              <a:rPr lang="en-US" sz="800" b="0" i="0" dirty="0">
                <a:solidFill>
                  <a:srgbClr val="000000"/>
                </a:solidFill>
                <a:effectLst/>
                <a:latin typeface="Open Sans" panose="020B0606030504020204" pitchFamily="34" charset="0"/>
              </a:rPr>
              <a:t>Enterprise Performance Management (EPM) covers end-to-end core financial planning and analysis (FP&amp;A) processes as well as operational and strategic planning </a:t>
            </a:r>
            <a:r>
              <a:rPr lang="en-US" sz="800" b="0" i="0">
                <a:solidFill>
                  <a:srgbClr val="000000"/>
                </a:solidFill>
                <a:effectLst/>
                <a:latin typeface="Open Sans" panose="020B0606030504020204" pitchFamily="34" charset="0"/>
              </a:rPr>
              <a:t>efforts</a:t>
            </a:r>
            <a:r>
              <a:rPr lang="en-US" sz="800" b="0" i="0" dirty="0">
                <a:solidFill>
                  <a:srgbClr val="000000"/>
                </a:solidFill>
                <a:effectLst/>
                <a:latin typeface="Open Sans" panose="020B0606030504020204" pitchFamily="34" charset="0"/>
              </a:rPr>
              <a:t>.</a:t>
            </a:r>
            <a:endParaRPr lang="en-US" sz="800" b="0" i="0">
              <a:solidFill>
                <a:srgbClr val="000000"/>
              </a:solidFill>
              <a:effectLst/>
              <a:latin typeface="Open Sans" panose="020B0606030504020204" pitchFamily="34" charset="0"/>
            </a:endParaRPr>
          </a:p>
          <a:p>
            <a:pPr>
              <a:defRPr/>
            </a:pPr>
            <a:r>
              <a:rPr lang="en-US" sz="800" b="0" i="0" dirty="0">
                <a:solidFill>
                  <a:srgbClr val="000000"/>
                </a:solidFill>
                <a:effectLst/>
                <a:latin typeface="Open Sans" panose="020B0606030504020204" pitchFamily="34" charset="0"/>
              </a:rPr>
              <a:t>Deloitte helps clients implement next-gen technologies, processes, and governance structure to create highly predictive financial plans and forecasts</a:t>
            </a:r>
            <a:r>
              <a:rPr lang="en-US" sz="800" b="0" i="0">
                <a:solidFill>
                  <a:srgbClr val="000000"/>
                </a:solidFill>
                <a:effectLst/>
                <a:latin typeface="Open Sans" panose="020B0606030504020204" pitchFamily="34" charset="0"/>
              </a:rPr>
              <a:t>.</a:t>
            </a:r>
            <a:r>
              <a:rPr lang="en-US" sz="800" b="0" i="0" dirty="0">
                <a:solidFill>
                  <a:srgbClr val="000000"/>
                </a:solidFill>
                <a:effectLst/>
                <a:latin typeface="Open Sans" panose="020B0606030504020204" pitchFamily="34" charset="0"/>
              </a:rPr>
              <a:t> </a:t>
            </a:r>
          </a:p>
        </p:txBody>
      </p:sp>
      <p:sp>
        <p:nvSpPr>
          <p:cNvPr id="2" name="Rectangle 1">
            <a:extLst>
              <a:ext uri="{FF2B5EF4-FFF2-40B4-BE49-F238E27FC236}">
                <a16:creationId xmlns:a16="http://schemas.microsoft.com/office/drawing/2014/main" id="{B3F581FA-433A-5266-4D0C-19387ACB8D9D}"/>
              </a:ext>
            </a:extLst>
          </p:cNvPr>
          <p:cNvSpPr/>
          <p:nvPr/>
        </p:nvSpPr>
        <p:spPr>
          <a:xfrm>
            <a:off x="9292664" y="2012605"/>
            <a:ext cx="1303215"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a:solidFill>
                  <a:srgbClr val="000000"/>
                </a:solidFill>
                <a:latin typeface="Open Sans"/>
                <a:ea typeface="Open Sans"/>
                <a:cs typeface="Open Sans"/>
              </a:rPr>
              <a:t>Eszter Lukác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Open Sans"/>
                <a:cs typeface="Open Sans"/>
              </a:rPr>
              <a:t>Director</a:t>
            </a:r>
            <a:endParaRPr lang="en-US" sz="1200" b="0" i="0" u="none" strike="noStrike" kern="1200" cap="none" spc="0" normalizeH="0" baseline="0" noProof="0" dirty="0">
              <a:ln>
                <a:noFill/>
              </a:ln>
              <a:solidFill>
                <a:srgbClr val="000000"/>
              </a:solidFill>
              <a:effectLst/>
              <a:uLnTx/>
              <a:uFillTx/>
              <a:latin typeface="+mj-lt"/>
              <a:ea typeface="Open Sans"/>
              <a:cs typeface="Open Sans"/>
            </a:endParaRPr>
          </a:p>
        </p:txBody>
      </p:sp>
      <p:sp>
        <p:nvSpPr>
          <p:cNvPr id="9" name="Rectangle 8">
            <a:extLst>
              <a:ext uri="{FF2B5EF4-FFF2-40B4-BE49-F238E27FC236}">
                <a16:creationId xmlns:a16="http://schemas.microsoft.com/office/drawing/2014/main" id="{4FEE545C-04E9-A3CD-C848-68801F4521F2}"/>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a:rPr>
              <a:t>CHAPTER LEAD EXPERT</a:t>
            </a:r>
            <a:endParaRPr kumimoji="0" lang="en-US" sz="1200" b="0" i="1" u="none" strike="noStrike" kern="1200" cap="none" spc="300" normalizeH="0" baseline="0" noProof="0" dirty="0">
              <a:ln>
                <a:noFill/>
              </a:ln>
              <a:solidFill>
                <a:srgbClr val="38B6FF"/>
              </a:solidFill>
              <a:effectLst/>
              <a:uLnTx/>
              <a:uFillTx/>
              <a:latin typeface="Open Sans"/>
            </a:endParaRPr>
          </a:p>
        </p:txBody>
      </p:sp>
      <p:pic>
        <p:nvPicPr>
          <p:cNvPr id="11" name="Picture 4" descr="Linkedin logo png - greorder">
            <a:hlinkClick r:id="rId9"/>
            <a:extLst>
              <a:ext uri="{FF2B5EF4-FFF2-40B4-BE49-F238E27FC236}">
                <a16:creationId xmlns:a16="http://schemas.microsoft.com/office/drawing/2014/main" id="{7A7631F0-04B4-14D6-2856-6FAEE44321F8}"/>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392500" y="2069320"/>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621C86B-22A6-A67D-70FA-F2E920B0838C}"/>
              </a:ext>
            </a:extLst>
          </p:cNvPr>
          <p:cNvSpPr/>
          <p:nvPr/>
        </p:nvSpPr>
        <p:spPr>
          <a:xfrm>
            <a:off x="9292664" y="2373331"/>
            <a:ext cx="2697252" cy="923330"/>
          </a:xfrm>
          <a:prstGeom prst="rect">
            <a:avLst/>
          </a:prstGeom>
          <a:noFill/>
        </p:spPr>
        <p:txBody>
          <a:bodyPr wrap="square" lIns="91440" tIns="45720" rIns="91440" bIns="45720" anchor="t">
            <a:spAutoFit/>
          </a:bodyPr>
          <a:lstStyle/>
          <a:p>
            <a:pPr>
              <a:defRPr/>
            </a:pPr>
            <a:r>
              <a:rPr lang="en-US" sz="900" b="1" i="1" dirty="0"/>
              <a:t>“In my profession as a consultant, it has always been important for me to create value to my clients and the community around us. As a mother of 3</a:t>
            </a:r>
            <a:r>
              <a:rPr lang="hu-HU" sz="900" b="1" i="1" dirty="0"/>
              <a:t> </a:t>
            </a:r>
            <a:r>
              <a:rPr lang="hu-HU" sz="900" b="1" i="1" dirty="0" err="1"/>
              <a:t>children</a:t>
            </a:r>
            <a:r>
              <a:rPr lang="en-US" sz="900" b="1" i="1" dirty="0"/>
              <a:t>, serving UNICEF would be a precious stone of my career serving a highly-appreciated purpose...the welfare of new generations.”</a:t>
            </a:r>
            <a:endParaRPr lang="en-US" dirty="0">
              <a:ea typeface="Open Sans"/>
              <a:cs typeface="Open Sans"/>
            </a:endParaRPr>
          </a:p>
        </p:txBody>
      </p:sp>
      <p:sp>
        <p:nvSpPr>
          <p:cNvPr id="15" name="Rectangle 14">
            <a:extLst>
              <a:ext uri="{FF2B5EF4-FFF2-40B4-BE49-F238E27FC236}">
                <a16:creationId xmlns:a16="http://schemas.microsoft.com/office/drawing/2014/main" id="{519A45E7-95EA-2C8D-5D55-FCE61A187178}"/>
              </a:ext>
            </a:extLst>
          </p:cNvPr>
          <p:cNvSpPr/>
          <p:nvPr/>
        </p:nvSpPr>
        <p:spPr>
          <a:xfrm>
            <a:off x="9301748" y="3399004"/>
            <a:ext cx="2889029" cy="784830"/>
          </a:xfrm>
          <a:prstGeom prst="rect">
            <a:avLst/>
          </a:prstGeom>
          <a:noFill/>
        </p:spPr>
        <p:txBody>
          <a:bodyPr wrap="square" lIns="91440" tIns="45720" rIns="91440" bIns="45720" anchor="t">
            <a:spAutoFit/>
          </a:bodyPr>
          <a:lstStyle/>
          <a:p>
            <a:pPr>
              <a:defRPr/>
            </a:pPr>
            <a:r>
              <a:rPr lang="en-US" sz="900" dirty="0"/>
              <a:t>With 20 years of experience at Deloitte, Eszter has expertise with target operating model design, process transformation, cost efficiency, continuous improvement, </a:t>
            </a:r>
            <a:r>
              <a:rPr lang="en-US" sz="900"/>
              <a:t>robotic </a:t>
            </a:r>
            <a:r>
              <a:rPr lang="en-US" sz="900" dirty="0"/>
              <a:t>process automation, process analytics and shared business services set-up and operations projects. </a:t>
            </a:r>
          </a:p>
        </p:txBody>
      </p:sp>
    </p:spTree>
    <p:extLst>
      <p:ext uri="{BB962C8B-B14F-4D97-AF65-F5344CB8AC3E}">
        <p14:creationId xmlns:p14="http://schemas.microsoft.com/office/powerpoint/2010/main" val="2768136236"/>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7232" y="2619214"/>
            <a:ext cx="9282796" cy="1303580"/>
            <a:chOff x="-100395" y="2557220"/>
            <a:chExt cx="9282796" cy="130358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100395" y="2557220"/>
              <a:ext cx="9282796" cy="130358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1 Development and review of </a:t>
              </a:r>
              <a:r>
                <a:rPr lang="en-US" sz="2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rganisational</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strategies </a:t>
              </a:r>
            </a:p>
            <a:p>
              <a:pPr>
                <a:lnSpc>
                  <a:spcPct val="106000"/>
                </a:lnSpc>
              </a:pP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4 Development strategies</a:t>
              </a:r>
              <a:endParaRPr lang="en-US" dirty="0"/>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8400081" y="2557220"/>
              <a:ext cx="782320" cy="130358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40414466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F52B0C-B637-D68D-C3FA-11246B945795}"/>
              </a:ext>
            </a:extLst>
          </p:cNvPr>
          <p:cNvGraphicFramePr>
            <a:graphicFrameLocks noChangeAspect="1"/>
          </p:cNvGraphicFramePr>
          <p:nvPr>
            <p:custDataLst>
              <p:tags r:id="rId1"/>
            </p:custDataLst>
            <p:extLst>
              <p:ext uri="{D42A27DB-BD31-4B8C-83A1-F6EECF244321}">
                <p14:modId xmlns:p14="http://schemas.microsoft.com/office/powerpoint/2010/main" val="447178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54F52B0C-B637-D68D-C3FA-11246B9457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AF28E11-6F2C-2C86-11DE-5E35143FB0BC}"/>
              </a:ext>
            </a:extLst>
          </p:cNvPr>
          <p:cNvSpPr>
            <a:spLocks noGrp="1"/>
          </p:cNvSpPr>
          <p:nvPr>
            <p:ph type="body" sz="quarter" idx="22"/>
          </p:nvPr>
        </p:nvSpPr>
        <p:spPr/>
        <p:txBody>
          <a:bodyPr/>
          <a:lstStyle/>
          <a:p>
            <a:r>
              <a:rPr lang="en-US" dirty="0"/>
              <a:t>During the evaluation of the operating model, it is critical to reflect the specifics of the business and the balance between various priorities</a:t>
            </a:r>
          </a:p>
        </p:txBody>
      </p:sp>
      <p:sp>
        <p:nvSpPr>
          <p:cNvPr id="3" name="Title 2">
            <a:extLst>
              <a:ext uri="{FF2B5EF4-FFF2-40B4-BE49-F238E27FC236}">
                <a16:creationId xmlns:a16="http://schemas.microsoft.com/office/drawing/2014/main" id="{3BCC0C0F-B5C2-55DD-275E-1ED5465D9A1E}"/>
              </a:ext>
            </a:extLst>
          </p:cNvPr>
          <p:cNvSpPr>
            <a:spLocks noGrp="1"/>
          </p:cNvSpPr>
          <p:nvPr>
            <p:ph type="title"/>
          </p:nvPr>
        </p:nvSpPr>
        <p:spPr>
          <a:xfrm>
            <a:off x="463295" y="417911"/>
            <a:ext cx="11049832" cy="334099"/>
          </a:xfrm>
        </p:spPr>
        <p:txBody>
          <a:bodyPr vert="horz"/>
          <a:lstStyle/>
          <a:p>
            <a:r>
              <a:rPr lang="en-US" dirty="0">
                <a:latin typeface="Open Sans Light"/>
                <a:ea typeface="Open Sans Light"/>
                <a:cs typeface="Open Sans Light"/>
              </a:rPr>
              <a:t>Deloitte Enterprise Model Design (EMD) Methodology</a:t>
            </a:r>
            <a:endParaRPr lang="en-US" strike="sngStrike" dirty="0">
              <a:solidFill>
                <a:srgbClr val="FF0000"/>
              </a:solidFill>
              <a:latin typeface="Open Sans Light"/>
              <a:ea typeface="Open Sans Light"/>
              <a:cs typeface="Open Sans Light"/>
            </a:endParaRPr>
          </a:p>
        </p:txBody>
      </p:sp>
      <p:cxnSp>
        <p:nvCxnSpPr>
          <p:cNvPr id="27" name="Straight Connector 26">
            <a:extLst>
              <a:ext uri="{FF2B5EF4-FFF2-40B4-BE49-F238E27FC236}">
                <a16:creationId xmlns:a16="http://schemas.microsoft.com/office/drawing/2014/main" id="{B2779AF6-7600-4831-D58A-617328853C10}"/>
              </a:ext>
            </a:extLst>
          </p:cNvPr>
          <p:cNvCxnSpPr>
            <a:cxnSpLocks/>
          </p:cNvCxnSpPr>
          <p:nvPr/>
        </p:nvCxnSpPr>
        <p:spPr>
          <a:xfrm>
            <a:off x="3232763" y="5053574"/>
            <a:ext cx="2362310" cy="7740"/>
          </a:xfrm>
          <a:prstGeom prst="line">
            <a:avLst/>
          </a:prstGeom>
          <a:noFill/>
          <a:ln w="38100" cap="flat" cmpd="sng" algn="ctr">
            <a:solidFill>
              <a:srgbClr val="A0DCFF"/>
            </a:solidFill>
            <a:prstDash val="solid"/>
          </a:ln>
          <a:effectLst>
            <a:outerShdw blurRad="40000" dist="23000" dir="5400000" rotWithShape="0">
              <a:srgbClr val="000000">
                <a:alpha val="35000"/>
              </a:srgbClr>
            </a:outerShdw>
          </a:effectLst>
        </p:spPr>
      </p:cxnSp>
      <p:cxnSp>
        <p:nvCxnSpPr>
          <p:cNvPr id="28" name="Straight Connector 27">
            <a:extLst>
              <a:ext uri="{FF2B5EF4-FFF2-40B4-BE49-F238E27FC236}">
                <a16:creationId xmlns:a16="http://schemas.microsoft.com/office/drawing/2014/main" id="{75C1F22C-4D92-6A14-D877-C6AF85A9F6D8}"/>
              </a:ext>
            </a:extLst>
          </p:cNvPr>
          <p:cNvCxnSpPr>
            <a:cxnSpLocks/>
          </p:cNvCxnSpPr>
          <p:nvPr/>
        </p:nvCxnSpPr>
        <p:spPr>
          <a:xfrm>
            <a:off x="2717690" y="3022360"/>
            <a:ext cx="2362310" cy="7740"/>
          </a:xfrm>
          <a:prstGeom prst="line">
            <a:avLst/>
          </a:prstGeom>
          <a:noFill/>
          <a:ln w="38100" cap="flat" cmpd="sng" algn="ctr">
            <a:solidFill>
              <a:srgbClr val="A0DCFF"/>
            </a:solidFill>
            <a:prstDash val="solid"/>
          </a:ln>
          <a:effectLst>
            <a:outerShdw blurRad="40000" dist="23000" dir="5400000" rotWithShape="0">
              <a:srgbClr val="000000">
                <a:alpha val="35000"/>
              </a:srgbClr>
            </a:outerShdw>
          </a:effectLst>
        </p:spPr>
      </p:cxnSp>
      <p:sp>
        <p:nvSpPr>
          <p:cNvPr id="29" name="Freeform 7">
            <a:extLst>
              <a:ext uri="{FF2B5EF4-FFF2-40B4-BE49-F238E27FC236}">
                <a16:creationId xmlns:a16="http://schemas.microsoft.com/office/drawing/2014/main" id="{89CFE1DB-1E3B-E984-66B7-395FE895B43B}"/>
              </a:ext>
            </a:extLst>
          </p:cNvPr>
          <p:cNvSpPr>
            <a:spLocks/>
          </p:cNvSpPr>
          <p:nvPr/>
        </p:nvSpPr>
        <p:spPr bwMode="gray">
          <a:xfrm>
            <a:off x="1365828" y="2890422"/>
            <a:ext cx="1805066" cy="11314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rgbClr val="62B5E5"/>
          </a:solidFill>
          <a:ln w="12700">
            <a:noFill/>
            <a:round/>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0" fontAlgn="auto" latinLnBrk="0" hangingPunct="0">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endParaRPr>
          </a:p>
        </p:txBody>
      </p:sp>
      <p:sp>
        <p:nvSpPr>
          <p:cNvPr id="30" name="Freeform 9">
            <a:extLst>
              <a:ext uri="{FF2B5EF4-FFF2-40B4-BE49-F238E27FC236}">
                <a16:creationId xmlns:a16="http://schemas.microsoft.com/office/drawing/2014/main" id="{02F8EA62-464F-D8A7-A933-C459F8BFA902}"/>
              </a:ext>
            </a:extLst>
          </p:cNvPr>
          <p:cNvSpPr>
            <a:spLocks/>
          </p:cNvSpPr>
          <p:nvPr/>
        </p:nvSpPr>
        <p:spPr bwMode="gray">
          <a:xfrm>
            <a:off x="1074419" y="3695559"/>
            <a:ext cx="2375361" cy="1446766"/>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rgbClr val="62B5E5">
              <a:lumMod val="40000"/>
              <a:lumOff val="60000"/>
            </a:srgbClr>
          </a:solidFill>
          <a:ln w="12700">
            <a:noFill/>
            <a:round/>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0" fontAlgn="auto" latinLnBrk="0" hangingPunct="0">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endParaRPr>
          </a:p>
        </p:txBody>
      </p:sp>
      <p:sp>
        <p:nvSpPr>
          <p:cNvPr id="31" name="Text Box 16">
            <a:extLst>
              <a:ext uri="{FF2B5EF4-FFF2-40B4-BE49-F238E27FC236}">
                <a16:creationId xmlns:a16="http://schemas.microsoft.com/office/drawing/2014/main" id="{CF3EDA6D-3935-9727-0354-CC8DFB032D7A}"/>
              </a:ext>
            </a:extLst>
          </p:cNvPr>
          <p:cNvSpPr txBox="1">
            <a:spLocks noChangeArrowheads="1"/>
          </p:cNvSpPr>
          <p:nvPr/>
        </p:nvSpPr>
        <p:spPr bwMode="gray">
          <a:xfrm>
            <a:off x="1656342" y="3030100"/>
            <a:ext cx="1226618" cy="573212"/>
          </a:xfrm>
          <a:prstGeom prst="rect">
            <a:avLst/>
          </a:prstGeom>
          <a:noFill/>
          <a:ln w="9525">
            <a:noFill/>
            <a:miter lim="800000"/>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eaLnBrk="0" hangingPunct="0"/>
            <a:r>
              <a:rPr lang="hu-HU" sz="1100" b="1" dirty="0">
                <a:solidFill>
                  <a:prstClr val="black"/>
                </a:solidFill>
                <a:latin typeface="Open Sans"/>
                <a:cs typeface="Calibri" panose="020F0502020204030204" pitchFamily="34" charset="0"/>
              </a:rPr>
              <a:t>Business </a:t>
            </a:r>
            <a:r>
              <a:rPr lang="hu-HU" sz="1100" b="1" dirty="0" err="1">
                <a:solidFill>
                  <a:prstClr val="black"/>
                </a:solidFill>
                <a:latin typeface="Open Sans"/>
                <a:cs typeface="Calibri" panose="020F0502020204030204" pitchFamily="34" charset="0"/>
              </a:rPr>
              <a:t>model</a:t>
            </a:r>
            <a:endParaRPr lang="en-AU" sz="1100" b="1" dirty="0">
              <a:solidFill>
                <a:prstClr val="black"/>
              </a:solidFill>
              <a:latin typeface="Open Sans"/>
              <a:cs typeface="Calibri" panose="020F0502020204030204" pitchFamily="34" charset="0"/>
            </a:endParaRPr>
          </a:p>
        </p:txBody>
      </p:sp>
      <p:sp>
        <p:nvSpPr>
          <p:cNvPr id="32" name="Isosceles Triangle 31">
            <a:extLst>
              <a:ext uri="{FF2B5EF4-FFF2-40B4-BE49-F238E27FC236}">
                <a16:creationId xmlns:a16="http://schemas.microsoft.com/office/drawing/2014/main" id="{F0A5C270-A617-9324-C1F0-1D8EF7BB039C}"/>
              </a:ext>
            </a:extLst>
          </p:cNvPr>
          <p:cNvSpPr/>
          <p:nvPr/>
        </p:nvSpPr>
        <p:spPr bwMode="gray">
          <a:xfrm flipH="1">
            <a:off x="2985231" y="3699328"/>
            <a:ext cx="603197" cy="1446766"/>
          </a:xfrm>
          <a:prstGeom prst="triangle">
            <a:avLst>
              <a:gd name="adj" fmla="val 89538"/>
            </a:avLst>
          </a:prstGeom>
          <a:solidFill>
            <a:srgbClr val="62B5E5">
              <a:lumMod val="40000"/>
              <a:lumOff val="6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33" name="Isosceles Triangle 32">
            <a:extLst>
              <a:ext uri="{FF2B5EF4-FFF2-40B4-BE49-F238E27FC236}">
                <a16:creationId xmlns:a16="http://schemas.microsoft.com/office/drawing/2014/main" id="{019CB37D-97D2-3120-75EA-A22C03C37916}"/>
              </a:ext>
            </a:extLst>
          </p:cNvPr>
          <p:cNvSpPr/>
          <p:nvPr/>
        </p:nvSpPr>
        <p:spPr bwMode="gray">
          <a:xfrm>
            <a:off x="906008" y="3695559"/>
            <a:ext cx="597625" cy="1446766"/>
          </a:xfrm>
          <a:prstGeom prst="triangle">
            <a:avLst>
              <a:gd name="adj" fmla="val 98423"/>
            </a:avLst>
          </a:prstGeom>
          <a:solidFill>
            <a:srgbClr val="62B5E5">
              <a:lumMod val="40000"/>
              <a:lumOff val="6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34" name="Freeform 6">
            <a:extLst>
              <a:ext uri="{FF2B5EF4-FFF2-40B4-BE49-F238E27FC236}">
                <a16:creationId xmlns:a16="http://schemas.microsoft.com/office/drawing/2014/main" id="{460DB28D-B965-777C-EB14-86749E32C1BE}"/>
              </a:ext>
            </a:extLst>
          </p:cNvPr>
          <p:cNvSpPr>
            <a:spLocks/>
          </p:cNvSpPr>
          <p:nvPr/>
        </p:nvSpPr>
        <p:spPr bwMode="gray">
          <a:xfrm>
            <a:off x="1815158" y="1775562"/>
            <a:ext cx="902532" cy="1118633"/>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rgbClr val="53565A">
              <a:lumMod val="20000"/>
              <a:lumOff val="80000"/>
            </a:srgbClr>
          </a:solidFill>
          <a:ln w="12700">
            <a:noFill/>
            <a:round/>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0" fontAlgn="auto" latinLnBrk="0" hangingPunct="0">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endParaRPr>
          </a:p>
        </p:txBody>
      </p:sp>
      <p:sp>
        <p:nvSpPr>
          <p:cNvPr id="35" name="Freeform 8">
            <a:extLst>
              <a:ext uri="{FF2B5EF4-FFF2-40B4-BE49-F238E27FC236}">
                <a16:creationId xmlns:a16="http://schemas.microsoft.com/office/drawing/2014/main" id="{BF9F6A68-9CF5-9CA8-30C3-DB98E72ECD63}"/>
              </a:ext>
            </a:extLst>
          </p:cNvPr>
          <p:cNvSpPr>
            <a:spLocks/>
          </p:cNvSpPr>
          <p:nvPr/>
        </p:nvSpPr>
        <p:spPr bwMode="gray">
          <a:xfrm>
            <a:off x="473455" y="5136791"/>
            <a:ext cx="3547590" cy="1146096"/>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rgbClr val="53565A">
              <a:lumMod val="20000"/>
              <a:lumOff val="80000"/>
            </a:srgbClr>
          </a:solidFill>
          <a:ln w="12700">
            <a:noFill/>
            <a:round/>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0" fontAlgn="auto" latinLnBrk="0" hangingPunct="0">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endParaRPr>
          </a:p>
        </p:txBody>
      </p:sp>
      <p:sp>
        <p:nvSpPr>
          <p:cNvPr id="36" name="Text Box 11">
            <a:extLst>
              <a:ext uri="{FF2B5EF4-FFF2-40B4-BE49-F238E27FC236}">
                <a16:creationId xmlns:a16="http://schemas.microsoft.com/office/drawing/2014/main" id="{95EF32A7-A6CB-4DD1-E511-8D8DFBEB95E6}"/>
              </a:ext>
            </a:extLst>
          </p:cNvPr>
          <p:cNvSpPr txBox="1">
            <a:spLocks noChangeArrowheads="1"/>
          </p:cNvSpPr>
          <p:nvPr/>
        </p:nvSpPr>
        <p:spPr bwMode="gray">
          <a:xfrm>
            <a:off x="686669" y="5503902"/>
            <a:ext cx="3165966" cy="510589"/>
          </a:xfrm>
          <a:prstGeom prst="rect">
            <a:avLst/>
          </a:prstGeom>
          <a:noFill/>
          <a:ln w="9525">
            <a:noFill/>
            <a:miter lim="800000"/>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eaLnBrk="0" hangingPunct="0"/>
            <a:r>
              <a:rPr lang="en-AU" sz="1100" b="1" dirty="0">
                <a:solidFill>
                  <a:prstClr val="black"/>
                </a:solidFill>
                <a:latin typeface="Open Sans"/>
                <a:cs typeface="Calibri" panose="020F0502020204030204" pitchFamily="34" charset="0"/>
              </a:rPr>
              <a:t>People, Process, and </a:t>
            </a:r>
          </a:p>
          <a:p>
            <a:pPr algn="ctr" eaLnBrk="0" hangingPunct="0"/>
            <a:r>
              <a:rPr lang="en-AU" sz="1100" b="1" dirty="0">
                <a:solidFill>
                  <a:prstClr val="black"/>
                </a:solidFill>
                <a:latin typeface="Open Sans"/>
                <a:cs typeface="Calibri" panose="020F0502020204030204" pitchFamily="34" charset="0"/>
              </a:rPr>
              <a:t>Technology</a:t>
            </a:r>
          </a:p>
        </p:txBody>
      </p:sp>
      <p:sp>
        <p:nvSpPr>
          <p:cNvPr id="37" name="Text Box 17">
            <a:extLst>
              <a:ext uri="{FF2B5EF4-FFF2-40B4-BE49-F238E27FC236}">
                <a16:creationId xmlns:a16="http://schemas.microsoft.com/office/drawing/2014/main" id="{7A0FF18B-AECE-387E-0E00-48E567AE4CE0}"/>
              </a:ext>
            </a:extLst>
          </p:cNvPr>
          <p:cNvSpPr txBox="1">
            <a:spLocks noChangeArrowheads="1"/>
          </p:cNvSpPr>
          <p:nvPr/>
        </p:nvSpPr>
        <p:spPr bwMode="gray">
          <a:xfrm>
            <a:off x="1802246" y="2299905"/>
            <a:ext cx="934811" cy="454612"/>
          </a:xfrm>
          <a:prstGeom prst="rect">
            <a:avLst/>
          </a:prstGeom>
          <a:noFill/>
          <a:ln w="9525">
            <a:noFill/>
            <a:miter lim="800000"/>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eaLnBrk="0" hangingPunct="0"/>
            <a:r>
              <a:rPr lang="en-AU" sz="1100" b="1" dirty="0">
                <a:solidFill>
                  <a:prstClr val="black"/>
                </a:solidFill>
                <a:latin typeface="Open Sans"/>
                <a:cs typeface="Calibri" panose="020F0502020204030204" pitchFamily="34" charset="0"/>
              </a:rPr>
              <a:t>Vision</a:t>
            </a:r>
          </a:p>
        </p:txBody>
      </p:sp>
      <p:sp>
        <p:nvSpPr>
          <p:cNvPr id="38" name="Text Box 15">
            <a:extLst>
              <a:ext uri="{FF2B5EF4-FFF2-40B4-BE49-F238E27FC236}">
                <a16:creationId xmlns:a16="http://schemas.microsoft.com/office/drawing/2014/main" id="{EC0FBD8B-5399-BEA0-A024-315B035DFC46}"/>
              </a:ext>
            </a:extLst>
          </p:cNvPr>
          <p:cNvSpPr txBox="1">
            <a:spLocks noChangeArrowheads="1"/>
          </p:cNvSpPr>
          <p:nvPr/>
        </p:nvSpPr>
        <p:spPr bwMode="gray">
          <a:xfrm>
            <a:off x="1597317" y="4750032"/>
            <a:ext cx="1300222" cy="372082"/>
          </a:xfrm>
          <a:prstGeom prst="rect">
            <a:avLst/>
          </a:prstGeom>
          <a:noFill/>
          <a:ln w="9525">
            <a:noFill/>
            <a:miter lim="800000"/>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eaLnBrk="0" hangingPunct="0"/>
            <a:r>
              <a:rPr lang="en-AU" sz="1100" b="1" dirty="0">
                <a:solidFill>
                  <a:prstClr val="black"/>
                </a:solidFill>
                <a:latin typeface="Open Sans"/>
                <a:cs typeface="Calibri" panose="020F0502020204030204" pitchFamily="34" charset="0"/>
              </a:rPr>
              <a:t>Operating model</a:t>
            </a:r>
          </a:p>
        </p:txBody>
      </p:sp>
      <p:sp>
        <p:nvSpPr>
          <p:cNvPr id="39" name="Rectangle: Rounded Corners 38">
            <a:extLst>
              <a:ext uri="{FF2B5EF4-FFF2-40B4-BE49-F238E27FC236}">
                <a16:creationId xmlns:a16="http://schemas.microsoft.com/office/drawing/2014/main" id="{810F58D0-3E8D-98EB-5159-4FBE6A8BCE2B}"/>
              </a:ext>
            </a:extLst>
          </p:cNvPr>
          <p:cNvSpPr/>
          <p:nvPr/>
        </p:nvSpPr>
        <p:spPr bwMode="gray">
          <a:xfrm>
            <a:off x="686669" y="3603313"/>
            <a:ext cx="3165966" cy="1622746"/>
          </a:xfrm>
          <a:prstGeom prst="roundRect">
            <a:avLst/>
          </a:prstGeom>
          <a:noFill/>
          <a:ln w="25400" cap="flat" cmpd="sng" algn="ctr">
            <a:solidFill>
              <a:sysClr val="window" lastClr="FFFFFF">
                <a:lumMod val="50000"/>
              </a:sysClr>
            </a:solidFill>
            <a:prstDash val="solid"/>
            <a:headEnd/>
            <a:tailEnd/>
          </a:ln>
          <a:effectLst/>
        </p:spPr>
        <p:txBody>
          <a:bodyPr wrap="square" lIns="88900" tIns="88900" rIns="88900" bIns="88900" rtlCol="0" anchor="ctr"/>
          <a:lstStyle>
            <a:defPPr>
              <a:defRPr lang="en-US"/>
            </a:defPPr>
            <a:lvl1pPr marL="0" algn="l" defTabSz="1219170" rtl="0" eaLnBrk="1" latinLnBrk="0" hangingPunct="1">
              <a:defRPr sz="2400" kern="1200">
                <a:solidFill>
                  <a:schemeClr val="dk1"/>
                </a:solidFill>
                <a:latin typeface="+mn-lt"/>
                <a:ea typeface="+mn-ea"/>
                <a:cs typeface="+mn-cs"/>
              </a:defRPr>
            </a:lvl1pPr>
            <a:lvl2pPr marL="609585" algn="l" defTabSz="1219170" rtl="0" eaLnBrk="1" latinLnBrk="0" hangingPunct="1">
              <a:defRPr sz="2400" kern="1200">
                <a:solidFill>
                  <a:schemeClr val="dk1"/>
                </a:solidFill>
                <a:latin typeface="+mn-lt"/>
                <a:ea typeface="+mn-ea"/>
                <a:cs typeface="+mn-cs"/>
              </a:defRPr>
            </a:lvl2pPr>
            <a:lvl3pPr marL="1219170" algn="l" defTabSz="1219170" rtl="0" eaLnBrk="1" latinLnBrk="0" hangingPunct="1">
              <a:defRPr sz="2400" kern="1200">
                <a:solidFill>
                  <a:schemeClr val="dk1"/>
                </a:solidFill>
                <a:latin typeface="+mn-lt"/>
                <a:ea typeface="+mn-ea"/>
                <a:cs typeface="+mn-cs"/>
              </a:defRPr>
            </a:lvl3pPr>
            <a:lvl4pPr marL="1828754" algn="l" defTabSz="1219170" rtl="0" eaLnBrk="1" latinLnBrk="0" hangingPunct="1">
              <a:defRPr sz="2400" kern="1200">
                <a:solidFill>
                  <a:schemeClr val="dk1"/>
                </a:solidFill>
                <a:latin typeface="+mn-lt"/>
                <a:ea typeface="+mn-ea"/>
                <a:cs typeface="+mn-cs"/>
              </a:defRPr>
            </a:lvl4pPr>
            <a:lvl5pPr marL="2438339" algn="l" defTabSz="1219170" rtl="0" eaLnBrk="1" latinLnBrk="0" hangingPunct="1">
              <a:defRPr sz="2400" kern="1200">
                <a:solidFill>
                  <a:schemeClr val="dk1"/>
                </a:solidFill>
                <a:latin typeface="+mn-lt"/>
                <a:ea typeface="+mn-ea"/>
                <a:cs typeface="+mn-cs"/>
              </a:defRPr>
            </a:lvl5pPr>
            <a:lvl6pPr marL="3047924" algn="l" defTabSz="1219170" rtl="0" eaLnBrk="1" latinLnBrk="0" hangingPunct="1">
              <a:defRPr sz="2400" kern="1200">
                <a:solidFill>
                  <a:schemeClr val="dk1"/>
                </a:solidFill>
                <a:latin typeface="+mn-lt"/>
                <a:ea typeface="+mn-ea"/>
                <a:cs typeface="+mn-cs"/>
              </a:defRPr>
            </a:lvl6pPr>
            <a:lvl7pPr marL="3657509" algn="l" defTabSz="1219170" rtl="0" eaLnBrk="1" latinLnBrk="0" hangingPunct="1">
              <a:defRPr sz="2400" kern="1200">
                <a:solidFill>
                  <a:schemeClr val="dk1"/>
                </a:solidFill>
                <a:latin typeface="+mn-lt"/>
                <a:ea typeface="+mn-ea"/>
                <a:cs typeface="+mn-cs"/>
              </a:defRPr>
            </a:lvl7pPr>
            <a:lvl8pPr marL="4267093" algn="l" defTabSz="1219170" rtl="0" eaLnBrk="1" latinLnBrk="0" hangingPunct="1">
              <a:defRPr sz="2400" kern="1200">
                <a:solidFill>
                  <a:schemeClr val="dk1"/>
                </a:solidFill>
                <a:latin typeface="+mn-lt"/>
                <a:ea typeface="+mn-ea"/>
                <a:cs typeface="+mn-cs"/>
              </a:defRPr>
            </a:lvl8pPr>
            <a:lvl9pPr marL="4876678" algn="l" defTabSz="1219170" rtl="0" eaLnBrk="1" latinLnBrk="0" hangingPunct="1">
              <a:defRPr sz="2400" kern="1200">
                <a:solidFill>
                  <a:schemeClr val="dk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100" b="1" i="0" u="none" strike="noStrike" kern="1200" cap="none" spc="0" normalizeH="0" baseline="0" noProof="0" dirty="0">
              <a:ln>
                <a:noFill/>
              </a:ln>
              <a:solidFill>
                <a:prstClr val="white"/>
              </a:solidFill>
              <a:effectLst/>
              <a:uLnTx/>
              <a:uFillTx/>
              <a:latin typeface="Open Sans"/>
              <a:ea typeface="+mn-ea"/>
              <a:cs typeface="Calibri" panose="020F0502020204030204" pitchFamily="34" charset="0"/>
            </a:endParaRPr>
          </a:p>
        </p:txBody>
      </p:sp>
      <p:sp>
        <p:nvSpPr>
          <p:cNvPr id="40" name="TextBox 19">
            <a:extLst>
              <a:ext uri="{FF2B5EF4-FFF2-40B4-BE49-F238E27FC236}">
                <a16:creationId xmlns:a16="http://schemas.microsoft.com/office/drawing/2014/main" id="{218E49BE-ED34-66AE-D012-634ACA8131B5}"/>
              </a:ext>
            </a:extLst>
          </p:cNvPr>
          <p:cNvSpPr txBox="1"/>
          <p:nvPr/>
        </p:nvSpPr>
        <p:spPr>
          <a:xfrm rot="16200000">
            <a:off x="182308" y="4330047"/>
            <a:ext cx="1031463" cy="169277"/>
          </a:xfrm>
          <a:prstGeom prst="rect">
            <a:avLst/>
          </a:prstGeom>
          <a:solidFill>
            <a:srgbClr val="F4FAF9"/>
          </a:solid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600"/>
              </a:spcBef>
              <a:buSzPct val="100000"/>
            </a:pPr>
            <a:r>
              <a:rPr lang="hu-HU" sz="1100" b="1" dirty="0" err="1">
                <a:solidFill>
                  <a:srgbClr val="313131"/>
                </a:solidFill>
                <a:latin typeface="Open Sans"/>
                <a:cs typeface="Calibri" panose="020F0502020204030204" pitchFamily="34" charset="0"/>
              </a:rPr>
              <a:t>Primary</a:t>
            </a:r>
            <a:r>
              <a:rPr lang="en-AU" sz="1100" b="1" dirty="0">
                <a:solidFill>
                  <a:srgbClr val="313131"/>
                </a:solidFill>
                <a:latin typeface="Open Sans"/>
                <a:cs typeface="Calibri" panose="020F0502020204030204" pitchFamily="34" charset="0"/>
              </a:rPr>
              <a:t>  focus</a:t>
            </a:r>
          </a:p>
        </p:txBody>
      </p:sp>
      <p:sp>
        <p:nvSpPr>
          <p:cNvPr id="41" name="Text Box 16">
            <a:extLst>
              <a:ext uri="{FF2B5EF4-FFF2-40B4-BE49-F238E27FC236}">
                <a16:creationId xmlns:a16="http://schemas.microsoft.com/office/drawing/2014/main" id="{E33E2851-1FDC-68AD-7866-6B3D438FAF2D}"/>
              </a:ext>
            </a:extLst>
          </p:cNvPr>
          <p:cNvSpPr txBox="1">
            <a:spLocks noChangeArrowheads="1"/>
          </p:cNvSpPr>
          <p:nvPr/>
        </p:nvSpPr>
        <p:spPr bwMode="gray">
          <a:xfrm rot="17424430">
            <a:off x="1008226" y="2558219"/>
            <a:ext cx="1226618" cy="573212"/>
          </a:xfrm>
          <a:prstGeom prst="rect">
            <a:avLst/>
          </a:prstGeom>
          <a:noFill/>
          <a:ln w="9525">
            <a:noFill/>
            <a:miter lim="800000"/>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eaLnBrk="0" hangingPunct="0"/>
            <a:r>
              <a:rPr lang="hu-HU" sz="1100" b="1" dirty="0" err="1">
                <a:solidFill>
                  <a:prstClr val="black"/>
                </a:solidFill>
                <a:latin typeface="Open Sans"/>
                <a:cs typeface="Calibri" panose="020F0502020204030204" pitchFamily="34" charset="0"/>
              </a:rPr>
              <a:t>Strategy</a:t>
            </a:r>
            <a:endParaRPr lang="en-AU" sz="1100" b="1" dirty="0">
              <a:solidFill>
                <a:prstClr val="black"/>
              </a:solidFill>
              <a:latin typeface="Open Sans"/>
              <a:cs typeface="Calibri" panose="020F0502020204030204" pitchFamily="34" charset="0"/>
            </a:endParaRPr>
          </a:p>
        </p:txBody>
      </p:sp>
      <p:sp>
        <p:nvSpPr>
          <p:cNvPr id="42" name="Rectangle 41">
            <a:extLst>
              <a:ext uri="{FF2B5EF4-FFF2-40B4-BE49-F238E27FC236}">
                <a16:creationId xmlns:a16="http://schemas.microsoft.com/office/drawing/2014/main" id="{F4A23A2A-B326-E2A0-9C99-2C0F6A4678F0}"/>
              </a:ext>
            </a:extLst>
          </p:cNvPr>
          <p:cNvSpPr/>
          <p:nvPr/>
        </p:nvSpPr>
        <p:spPr bwMode="gray">
          <a:xfrm>
            <a:off x="5080000" y="1967894"/>
            <a:ext cx="5984240" cy="1118633"/>
          </a:xfrm>
          <a:prstGeom prst="rect">
            <a:avLst/>
          </a:prstGeom>
          <a:solidFill>
            <a:sysClr val="window" lastClr="FFFFFF"/>
          </a:solidFill>
          <a:ln w="25400" cap="flat" cmpd="sng" algn="ctr">
            <a:solidFill>
              <a:srgbClr val="A0DCFF"/>
            </a:solidFill>
            <a:prstDash val="solid"/>
            <a:headEnd/>
            <a:tailEnd/>
          </a:ln>
          <a:effectLst>
            <a:outerShdw blurRad="50800" dist="38100" dir="2700000" algn="tl" rotWithShape="0">
              <a:prstClr val="black">
                <a:alpha val="40000"/>
              </a:prstClr>
            </a:outerShdw>
          </a:effectLst>
        </p:spPr>
        <p:txBody>
          <a:bodyPr wrap="square" lIns="18288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mn-cs"/>
              </a:rPr>
              <a:t>The “who, what, and how” of a company’s busine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Open Sans"/>
                <a:ea typeface="+mn-ea"/>
                <a:cs typeface="+mn-cs"/>
              </a:rPr>
              <a:t>Exampl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Open Sans"/>
                <a:ea typeface="+mn-ea"/>
                <a:cs typeface="+mn-cs"/>
              </a:rPr>
              <a:t>Who a company’s customers ar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Open Sans"/>
                <a:ea typeface="+mn-ea"/>
                <a:cs typeface="+mn-cs"/>
              </a:rPr>
              <a:t>What offerings a company brings to marke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Open Sans"/>
                <a:ea typeface="+mn-ea"/>
                <a:cs typeface="+mn-cs"/>
              </a:rPr>
              <a:t>How a company uses their assets and resources to deliver value</a:t>
            </a:r>
            <a:endParaRPr kumimoji="0" lang="hu-HU" sz="1200" b="0" i="0" u="none" strike="noStrike" kern="0" cap="none" spc="0" normalizeH="0" baseline="0" noProof="0" dirty="0">
              <a:ln>
                <a:noFill/>
              </a:ln>
              <a:solidFill>
                <a:prstClr val="black"/>
              </a:solidFill>
              <a:effectLst/>
              <a:uLnTx/>
              <a:uFillTx/>
              <a:latin typeface="Open Sans"/>
              <a:ea typeface="+mn-ea"/>
              <a:cs typeface="+mn-cs"/>
            </a:endParaRPr>
          </a:p>
        </p:txBody>
      </p:sp>
      <p:cxnSp>
        <p:nvCxnSpPr>
          <p:cNvPr id="43" name="Straight Connector 42">
            <a:extLst>
              <a:ext uri="{FF2B5EF4-FFF2-40B4-BE49-F238E27FC236}">
                <a16:creationId xmlns:a16="http://schemas.microsoft.com/office/drawing/2014/main" id="{C6666DA3-B301-CDA7-5F4C-77C3B39D11D2}"/>
              </a:ext>
            </a:extLst>
          </p:cNvPr>
          <p:cNvCxnSpPr>
            <a:cxnSpLocks/>
          </p:cNvCxnSpPr>
          <p:nvPr/>
        </p:nvCxnSpPr>
        <p:spPr>
          <a:xfrm>
            <a:off x="2730999" y="4019691"/>
            <a:ext cx="2362310" cy="7740"/>
          </a:xfrm>
          <a:prstGeom prst="line">
            <a:avLst/>
          </a:prstGeom>
          <a:noFill/>
          <a:ln w="38100" cap="flat" cmpd="sng" algn="ctr">
            <a:solidFill>
              <a:srgbClr val="A0DCFF"/>
            </a:solidFill>
            <a:prstDash val="solid"/>
          </a:ln>
          <a:effectLst>
            <a:outerShdw blurRad="40000" dist="23000" dir="5400000" rotWithShape="0">
              <a:srgbClr val="000000">
                <a:alpha val="35000"/>
              </a:srgbClr>
            </a:outerShdw>
          </a:effectLst>
        </p:spPr>
      </p:cxnSp>
      <p:sp>
        <p:nvSpPr>
          <p:cNvPr id="44" name="Freeform 9">
            <a:extLst>
              <a:ext uri="{FF2B5EF4-FFF2-40B4-BE49-F238E27FC236}">
                <a16:creationId xmlns:a16="http://schemas.microsoft.com/office/drawing/2014/main" id="{1AA3237C-C636-65B7-8797-65164AAEE4FF}"/>
              </a:ext>
            </a:extLst>
          </p:cNvPr>
          <p:cNvSpPr>
            <a:spLocks/>
          </p:cNvSpPr>
          <p:nvPr/>
        </p:nvSpPr>
        <p:spPr bwMode="gray">
          <a:xfrm>
            <a:off x="1283515" y="3958226"/>
            <a:ext cx="1969690" cy="776535"/>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rgbClr val="62B5E5">
              <a:lumMod val="75000"/>
            </a:srgbClr>
          </a:solidFill>
          <a:ln w="12700">
            <a:noFill/>
            <a:round/>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0" fontAlgn="auto" latinLnBrk="0" hangingPunct="0">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endParaRPr>
          </a:p>
        </p:txBody>
      </p:sp>
      <p:sp>
        <p:nvSpPr>
          <p:cNvPr id="45" name="Text Box 15">
            <a:extLst>
              <a:ext uri="{FF2B5EF4-FFF2-40B4-BE49-F238E27FC236}">
                <a16:creationId xmlns:a16="http://schemas.microsoft.com/office/drawing/2014/main" id="{8DE5D307-214C-30D6-7EA4-DA402469E897}"/>
              </a:ext>
            </a:extLst>
          </p:cNvPr>
          <p:cNvSpPr txBox="1">
            <a:spLocks noChangeArrowheads="1"/>
          </p:cNvSpPr>
          <p:nvPr/>
        </p:nvSpPr>
        <p:spPr bwMode="gray">
          <a:xfrm>
            <a:off x="1536543" y="4036073"/>
            <a:ext cx="1451111" cy="618715"/>
          </a:xfrm>
          <a:prstGeom prst="rect">
            <a:avLst/>
          </a:prstGeom>
          <a:noFill/>
          <a:ln w="9525">
            <a:noFill/>
            <a:miter lim="800000"/>
            <a:headEnd/>
            <a:tailEnd/>
          </a:ln>
        </p:spPr>
        <p:txBody>
          <a:bodyPr lIns="0" tIns="0" rIns="0" bIns="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eaLnBrk="0" hangingPunct="0"/>
            <a:r>
              <a:rPr lang="en-AU" sz="1100" b="1" dirty="0" err="1">
                <a:solidFill>
                  <a:prstClr val="black"/>
                </a:solidFill>
                <a:latin typeface="Open Sans"/>
                <a:cs typeface="Calibri" panose="020F0502020204030204" pitchFamily="34" charset="0"/>
              </a:rPr>
              <a:t>Capabilties</a:t>
            </a:r>
            <a:endParaRPr lang="en-AU" sz="1100" b="1" dirty="0">
              <a:solidFill>
                <a:prstClr val="black"/>
              </a:solidFill>
              <a:latin typeface="Open Sans"/>
              <a:cs typeface="Calibri" panose="020F0502020204030204" pitchFamily="34" charset="0"/>
            </a:endParaRPr>
          </a:p>
        </p:txBody>
      </p:sp>
      <p:sp>
        <p:nvSpPr>
          <p:cNvPr id="46" name="Rectangle 45">
            <a:extLst>
              <a:ext uri="{FF2B5EF4-FFF2-40B4-BE49-F238E27FC236}">
                <a16:creationId xmlns:a16="http://schemas.microsoft.com/office/drawing/2014/main" id="{7B76E767-09C8-ED28-6E1F-D0DF7D184196}"/>
              </a:ext>
            </a:extLst>
          </p:cNvPr>
          <p:cNvSpPr/>
          <p:nvPr/>
        </p:nvSpPr>
        <p:spPr bwMode="gray">
          <a:xfrm>
            <a:off x="5080000" y="4729870"/>
            <a:ext cx="5984240" cy="1118633"/>
          </a:xfrm>
          <a:prstGeom prst="rect">
            <a:avLst/>
          </a:prstGeom>
          <a:solidFill>
            <a:sysClr val="window" lastClr="FFFFFF"/>
          </a:solidFill>
          <a:ln w="25400" cap="flat" cmpd="sng" algn="ctr">
            <a:solidFill>
              <a:srgbClr val="A0DCFF"/>
            </a:solidFill>
            <a:prstDash val="solid"/>
            <a:headEnd/>
            <a:tailEnd/>
          </a:ln>
          <a:effectLst>
            <a:outerShdw blurRad="50800" dist="38100" dir="2700000" algn="tl" rotWithShape="0">
              <a:prstClr val="black">
                <a:alpha val="40000"/>
              </a:prstClr>
            </a:outerShdw>
          </a:effectLst>
        </p:spPr>
        <p:txBody>
          <a:bodyPr wrap="square" lIns="18288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mn-cs"/>
              </a:rPr>
              <a:t>Configuration of capabilities into business units, shared functions, and the ecosyst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Open Sans"/>
                <a:ea typeface="+mn-ea"/>
                <a:cs typeface="+mn-cs"/>
              </a:rPr>
              <a:t>Exampl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Open Sans"/>
                <a:ea typeface="+mn-ea"/>
                <a:cs typeface="+mn-cs"/>
              </a:rPr>
              <a:t>Company X organizes into five product-focused BUs with shared and dedicated sales to support small and large enterprise customers</a:t>
            </a:r>
            <a:endParaRPr kumimoji="0" lang="hu-HU" sz="1200" b="0" i="0" u="none" strike="noStrike" kern="0" cap="none" spc="0" normalizeH="0" baseline="0" noProof="0" dirty="0">
              <a:ln>
                <a:noFill/>
              </a:ln>
              <a:solidFill>
                <a:prstClr val="black"/>
              </a:solidFill>
              <a:effectLst/>
              <a:uLnTx/>
              <a:uFillTx/>
              <a:latin typeface="Open Sans"/>
              <a:ea typeface="+mn-ea"/>
              <a:cs typeface="+mn-cs"/>
            </a:endParaRPr>
          </a:p>
        </p:txBody>
      </p:sp>
      <p:sp>
        <p:nvSpPr>
          <p:cNvPr id="47" name="Rectangle 46">
            <a:extLst>
              <a:ext uri="{FF2B5EF4-FFF2-40B4-BE49-F238E27FC236}">
                <a16:creationId xmlns:a16="http://schemas.microsoft.com/office/drawing/2014/main" id="{6BD35CC8-3542-D793-056D-80012E849514}"/>
              </a:ext>
            </a:extLst>
          </p:cNvPr>
          <p:cNvSpPr/>
          <p:nvPr/>
        </p:nvSpPr>
        <p:spPr bwMode="gray">
          <a:xfrm>
            <a:off x="5080000" y="3348882"/>
            <a:ext cx="5984240" cy="1118633"/>
          </a:xfrm>
          <a:prstGeom prst="rect">
            <a:avLst/>
          </a:prstGeom>
          <a:solidFill>
            <a:sysClr val="window" lastClr="FFFFFF"/>
          </a:solidFill>
          <a:ln w="25400" cap="flat" cmpd="sng" algn="ctr">
            <a:solidFill>
              <a:srgbClr val="A0DCFF"/>
            </a:solidFill>
            <a:prstDash val="solid"/>
            <a:headEnd/>
            <a:tailEnd/>
          </a:ln>
          <a:effectLst>
            <a:outerShdw blurRad="50800" dist="38100" dir="2700000" algn="tl" rotWithShape="0">
              <a:prstClr val="black">
                <a:alpha val="40000"/>
              </a:prstClr>
            </a:outerShdw>
          </a:effectLst>
        </p:spPr>
        <p:txBody>
          <a:bodyPr wrap="square" lIns="18288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mn-cs"/>
              </a:rPr>
              <a:t>Combinations of people, process, and technology that define how a company operat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Open Sans"/>
                <a:ea typeface="+mn-ea"/>
                <a:cs typeface="+mn-cs"/>
              </a:rPr>
              <a:t>Exampl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Open Sans"/>
                <a:ea typeface="+mn-ea"/>
                <a:cs typeface="+mn-cs"/>
              </a:rPr>
              <a:t>Sales capabilities (e.g. Direct Sal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Open Sans"/>
                <a:ea typeface="+mn-ea"/>
                <a:cs typeface="+mn-cs"/>
              </a:rPr>
              <a:t>Supply chain capabilities (e.g. Inventory Management)</a:t>
            </a:r>
            <a:endParaRPr kumimoji="0" lang="hu-HU" sz="1200" b="0" i="0" u="none" strike="noStrike" kern="0" cap="none" spc="0" normalizeH="0" baseline="0" noProof="0" dirty="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3041382934"/>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think-cell data - do not delete" hidden="1">
            <a:extLst>
              <a:ext uri="{FF2B5EF4-FFF2-40B4-BE49-F238E27FC236}">
                <a16:creationId xmlns:a16="http://schemas.microsoft.com/office/drawing/2014/main" id="{253F0DFB-42FB-1F11-1847-8608EC7DADB2}"/>
              </a:ext>
            </a:extLst>
          </p:cNvPr>
          <p:cNvGraphicFramePr>
            <a:graphicFrameLocks noChangeAspect="1"/>
          </p:cNvGraphicFramePr>
          <p:nvPr>
            <p:custDataLst>
              <p:tags r:id="rId1"/>
            </p:custDataLst>
            <p:extLst>
              <p:ext uri="{D42A27DB-BD31-4B8C-83A1-F6EECF244321}">
                <p14:modId xmlns:p14="http://schemas.microsoft.com/office/powerpoint/2010/main" val="2626643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7" name="think-cell data - do not delete" hidden="1">
                        <a:extLst>
                          <a:ext uri="{FF2B5EF4-FFF2-40B4-BE49-F238E27FC236}">
                            <a16:creationId xmlns:a16="http://schemas.microsoft.com/office/drawing/2014/main" id="{253F0DFB-42FB-1F11-1847-8608EC7DAD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AF28E11-6F2C-2C86-11DE-5E35143FB0BC}"/>
              </a:ext>
            </a:extLst>
          </p:cNvPr>
          <p:cNvSpPr>
            <a:spLocks noGrp="1"/>
          </p:cNvSpPr>
          <p:nvPr>
            <p:ph type="body" sz="quarter" idx="22"/>
          </p:nvPr>
        </p:nvSpPr>
        <p:spPr/>
        <p:txBody>
          <a:bodyPr/>
          <a:lstStyle/>
          <a:p>
            <a:r>
              <a:rPr lang="en-US" dirty="0"/>
              <a:t>Leading companies are evaluating their operating models to understand how structure contributes to performance challenges, and how to optimize to enable success</a:t>
            </a:r>
          </a:p>
          <a:p>
            <a:endParaRPr lang="en-US"/>
          </a:p>
        </p:txBody>
      </p:sp>
      <p:sp>
        <p:nvSpPr>
          <p:cNvPr id="3" name="Title 2">
            <a:extLst>
              <a:ext uri="{FF2B5EF4-FFF2-40B4-BE49-F238E27FC236}">
                <a16:creationId xmlns:a16="http://schemas.microsoft.com/office/drawing/2014/main" id="{3BCC0C0F-B5C2-55DD-275E-1ED5465D9A1E}"/>
              </a:ext>
            </a:extLst>
          </p:cNvPr>
          <p:cNvSpPr>
            <a:spLocks noGrp="1"/>
          </p:cNvSpPr>
          <p:nvPr>
            <p:ph type="title"/>
          </p:nvPr>
        </p:nvSpPr>
        <p:spPr>
          <a:xfrm>
            <a:off x="463295" y="417911"/>
            <a:ext cx="11912278" cy="334099"/>
          </a:xfrm>
        </p:spPr>
        <p:txBody>
          <a:bodyPr vert="horz"/>
          <a:lstStyle/>
          <a:p>
            <a:r>
              <a:rPr lang="en-US" dirty="0">
                <a:latin typeface="Open Sans Light"/>
                <a:ea typeface="Open Sans Light"/>
                <a:cs typeface="Open Sans Light"/>
              </a:rPr>
              <a:t>Deloitte Enterprise Model Design (EMD) Methodology</a:t>
            </a:r>
            <a:endParaRPr lang="en-US" strike="sngStrike" dirty="0">
              <a:solidFill>
                <a:srgbClr val="FF0000"/>
              </a:solidFill>
              <a:latin typeface="Open Sans Light"/>
              <a:ea typeface="Open Sans Light"/>
              <a:cs typeface="Open Sans Light"/>
            </a:endParaRPr>
          </a:p>
        </p:txBody>
      </p:sp>
      <p:sp>
        <p:nvSpPr>
          <p:cNvPr id="50" name="Rectangle 49">
            <a:extLst>
              <a:ext uri="{FF2B5EF4-FFF2-40B4-BE49-F238E27FC236}">
                <a16:creationId xmlns:a16="http://schemas.microsoft.com/office/drawing/2014/main" id="{5498D96C-E3F9-78C3-3626-250AE6FFC616}"/>
              </a:ext>
            </a:extLst>
          </p:cNvPr>
          <p:cNvSpPr/>
          <p:nvPr/>
        </p:nvSpPr>
        <p:spPr bwMode="gray">
          <a:xfrm>
            <a:off x="0" y="1798320"/>
            <a:ext cx="12192000" cy="757255"/>
          </a:xfrm>
          <a:prstGeom prst="rect">
            <a:avLst/>
          </a:prstGeom>
          <a:solidFill>
            <a:sysClr val="window" lastClr="FFFFFF">
              <a:lumMod val="95000"/>
            </a:sys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51" name="Arrow: Right 50">
            <a:extLst>
              <a:ext uri="{FF2B5EF4-FFF2-40B4-BE49-F238E27FC236}">
                <a16:creationId xmlns:a16="http://schemas.microsoft.com/office/drawing/2014/main" id="{C08CFF9B-FAD3-6A56-776C-BB758FF1DE80}"/>
              </a:ext>
            </a:extLst>
          </p:cNvPr>
          <p:cNvSpPr/>
          <p:nvPr/>
        </p:nvSpPr>
        <p:spPr bwMode="gray">
          <a:xfrm>
            <a:off x="7525513" y="1877245"/>
            <a:ext cx="3550920" cy="573265"/>
          </a:xfrm>
          <a:prstGeom prst="rightArrow">
            <a:avLst>
              <a:gd name="adj1" fmla="val 100000"/>
              <a:gd name="adj2" fmla="val 50000"/>
            </a:avLst>
          </a:prstGeom>
          <a:solidFill>
            <a:srgbClr val="62B5E5"/>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400" b="0" i="0" u="none" strike="noStrike" kern="0" cap="none" spc="0" normalizeH="0" baseline="0" noProof="0" dirty="0" err="1">
                <a:ln>
                  <a:noFill/>
                </a:ln>
                <a:solidFill>
                  <a:prstClr val="black"/>
                </a:solidFill>
                <a:effectLst/>
                <a:uLnTx/>
                <a:uFillTx/>
                <a:latin typeface="Open Sans"/>
              </a:rPr>
              <a:t>Operating</a:t>
            </a:r>
            <a:r>
              <a:rPr kumimoji="0" lang="hu-HU" sz="1400" b="0" i="0" u="none" strike="noStrike" kern="0" cap="none" spc="0" normalizeH="0" baseline="0" noProof="0" dirty="0">
                <a:ln>
                  <a:noFill/>
                </a:ln>
                <a:solidFill>
                  <a:prstClr val="black"/>
                </a:solidFill>
                <a:effectLst/>
                <a:uLnTx/>
                <a:uFillTx/>
                <a:latin typeface="Open Sans"/>
              </a:rPr>
              <a:t> </a:t>
            </a:r>
            <a:r>
              <a:rPr kumimoji="0" lang="hu-HU" sz="1400" b="0" i="0" u="none" strike="noStrike" kern="0" cap="none" spc="0" normalizeH="0" baseline="0" noProof="0" dirty="0" err="1">
                <a:ln>
                  <a:noFill/>
                </a:ln>
                <a:solidFill>
                  <a:prstClr val="black"/>
                </a:solidFill>
                <a:effectLst/>
                <a:uLnTx/>
                <a:uFillTx/>
                <a:latin typeface="Open Sans"/>
              </a:rPr>
              <a:t>model</a:t>
            </a:r>
            <a:endParaRPr kumimoji="0" lang="hu-HU" sz="1400" b="0" i="0" u="none" strike="noStrike" kern="0" cap="none" spc="0" normalizeH="0" baseline="0" noProof="0" dirty="0">
              <a:ln>
                <a:noFill/>
              </a:ln>
              <a:solidFill>
                <a:prstClr val="black"/>
              </a:solidFill>
              <a:effectLst/>
              <a:uLnTx/>
              <a:uFillTx/>
              <a:latin typeface="Open Sans"/>
            </a:endParaRPr>
          </a:p>
        </p:txBody>
      </p:sp>
      <p:sp>
        <p:nvSpPr>
          <p:cNvPr id="52" name="Arrow: Right 51">
            <a:extLst>
              <a:ext uri="{FF2B5EF4-FFF2-40B4-BE49-F238E27FC236}">
                <a16:creationId xmlns:a16="http://schemas.microsoft.com/office/drawing/2014/main" id="{602D13E3-A50D-C0FF-202F-6EC30545A79F}"/>
              </a:ext>
            </a:extLst>
          </p:cNvPr>
          <p:cNvSpPr/>
          <p:nvPr/>
        </p:nvSpPr>
        <p:spPr bwMode="gray">
          <a:xfrm>
            <a:off x="4289553" y="1877245"/>
            <a:ext cx="3550920" cy="573265"/>
          </a:xfrm>
          <a:prstGeom prst="rightArrow">
            <a:avLst>
              <a:gd name="adj1" fmla="val 100000"/>
              <a:gd name="adj2" fmla="val 50000"/>
            </a:avLst>
          </a:prstGeom>
          <a:solidFill>
            <a:srgbClr val="62B5E5">
              <a:lumMod val="60000"/>
              <a:lumOff val="4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400" b="0" i="0" u="none" strike="noStrike" kern="0" cap="none" spc="0" normalizeH="0" baseline="0" noProof="0" dirty="0" err="1">
                <a:ln>
                  <a:noFill/>
                </a:ln>
                <a:solidFill>
                  <a:prstClr val="black"/>
                </a:solidFill>
                <a:effectLst/>
                <a:uLnTx/>
                <a:uFillTx/>
                <a:latin typeface="Open Sans"/>
              </a:rPr>
              <a:t>Capability</a:t>
            </a:r>
            <a:r>
              <a:rPr kumimoji="0" lang="hu-HU" sz="1400" b="0" i="0" u="none" strike="noStrike" kern="0" cap="none" spc="0" normalizeH="0" baseline="0" noProof="0" dirty="0">
                <a:ln>
                  <a:noFill/>
                </a:ln>
                <a:solidFill>
                  <a:prstClr val="black"/>
                </a:solidFill>
                <a:effectLst/>
                <a:uLnTx/>
                <a:uFillTx/>
                <a:latin typeface="Open Sans"/>
              </a:rPr>
              <a:t> </a:t>
            </a:r>
            <a:r>
              <a:rPr kumimoji="0" lang="hu-HU" sz="1400" b="0" i="0" u="none" strike="noStrike" kern="0" cap="none" spc="0" normalizeH="0" baseline="0" noProof="0" dirty="0" err="1">
                <a:ln>
                  <a:noFill/>
                </a:ln>
                <a:solidFill>
                  <a:prstClr val="black"/>
                </a:solidFill>
                <a:effectLst/>
                <a:uLnTx/>
                <a:uFillTx/>
                <a:latin typeface="Open Sans"/>
              </a:rPr>
              <a:t>vision</a:t>
            </a:r>
            <a:endParaRPr kumimoji="0" lang="hu-HU" sz="1400" b="0" i="0" u="none" strike="noStrike" kern="0" cap="none" spc="0" normalizeH="0" baseline="0" noProof="0" dirty="0">
              <a:ln>
                <a:noFill/>
              </a:ln>
              <a:solidFill>
                <a:prstClr val="black"/>
              </a:solidFill>
              <a:effectLst/>
              <a:uLnTx/>
              <a:uFillTx/>
              <a:latin typeface="Open Sans"/>
            </a:endParaRPr>
          </a:p>
        </p:txBody>
      </p:sp>
      <p:sp>
        <p:nvSpPr>
          <p:cNvPr id="53" name="Arrow: Right 52">
            <a:extLst>
              <a:ext uri="{FF2B5EF4-FFF2-40B4-BE49-F238E27FC236}">
                <a16:creationId xmlns:a16="http://schemas.microsoft.com/office/drawing/2014/main" id="{39DEA7D3-5CA2-215A-6080-32C43B499501}"/>
              </a:ext>
            </a:extLst>
          </p:cNvPr>
          <p:cNvSpPr/>
          <p:nvPr/>
        </p:nvSpPr>
        <p:spPr bwMode="gray">
          <a:xfrm>
            <a:off x="1053593" y="1877245"/>
            <a:ext cx="3550920" cy="573265"/>
          </a:xfrm>
          <a:prstGeom prst="rightArrow">
            <a:avLst>
              <a:gd name="adj1" fmla="val 100000"/>
              <a:gd name="adj2" fmla="val 50000"/>
            </a:avLst>
          </a:prstGeom>
          <a:solidFill>
            <a:srgbClr val="62B5E5">
              <a:lumMod val="20000"/>
              <a:lumOff val="8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400" b="0" i="0" u="none" strike="noStrike" kern="0" cap="none" spc="0" normalizeH="0" baseline="0" noProof="0" dirty="0">
                <a:ln>
                  <a:noFill/>
                </a:ln>
                <a:solidFill>
                  <a:prstClr val="black"/>
                </a:solidFill>
                <a:effectLst/>
                <a:uLnTx/>
                <a:uFillTx/>
                <a:latin typeface="Open Sans"/>
              </a:rPr>
              <a:t>Business </a:t>
            </a:r>
            <a:r>
              <a:rPr kumimoji="0" lang="hu-HU" sz="1400" b="0" i="0" u="none" strike="noStrike" kern="0" cap="none" spc="0" normalizeH="0" baseline="0" noProof="0" dirty="0" err="1">
                <a:ln>
                  <a:noFill/>
                </a:ln>
                <a:solidFill>
                  <a:prstClr val="black"/>
                </a:solidFill>
                <a:effectLst/>
                <a:uLnTx/>
                <a:uFillTx/>
                <a:latin typeface="Open Sans"/>
              </a:rPr>
              <a:t>model</a:t>
            </a:r>
            <a:endParaRPr kumimoji="0" lang="hu-HU" sz="1400" b="0" i="0" u="none" strike="noStrike" kern="0" cap="none" spc="0" normalizeH="0" baseline="0" noProof="0" dirty="0">
              <a:ln>
                <a:noFill/>
              </a:ln>
              <a:solidFill>
                <a:prstClr val="black"/>
              </a:solidFill>
              <a:effectLst/>
              <a:uLnTx/>
              <a:uFillTx/>
              <a:latin typeface="Open Sans"/>
            </a:endParaRPr>
          </a:p>
        </p:txBody>
      </p:sp>
      <p:sp>
        <p:nvSpPr>
          <p:cNvPr id="54" name="Rectangle: Rounded Corners 53">
            <a:extLst>
              <a:ext uri="{FF2B5EF4-FFF2-40B4-BE49-F238E27FC236}">
                <a16:creationId xmlns:a16="http://schemas.microsoft.com/office/drawing/2014/main" id="{D11092E4-487D-FA1B-FE7B-873D53E6B6A3}"/>
              </a:ext>
            </a:extLst>
          </p:cNvPr>
          <p:cNvSpPr/>
          <p:nvPr/>
        </p:nvSpPr>
        <p:spPr bwMode="gray">
          <a:xfrm>
            <a:off x="1215137" y="1693257"/>
            <a:ext cx="579120" cy="336254"/>
          </a:xfrm>
          <a:prstGeom prst="roundRect">
            <a:avLst/>
          </a:prstGeom>
          <a:solidFill>
            <a:sysClr val="window" lastClr="FFFFFF"/>
          </a:solidFill>
          <a:ln w="38100" algn="ctr">
            <a:solidFill>
              <a:srgbClr val="62B5E5">
                <a:lumMod val="20000"/>
                <a:lumOff val="80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solidFill>
                  <a:prstClr val="black"/>
                </a:solidFill>
                <a:effectLst/>
                <a:uLnTx/>
                <a:uFillTx/>
                <a:latin typeface="Open Sans"/>
              </a:rPr>
              <a:t>1</a:t>
            </a:r>
          </a:p>
        </p:txBody>
      </p:sp>
      <p:sp>
        <p:nvSpPr>
          <p:cNvPr id="55" name="Rectangle: Rounded Corners 54">
            <a:extLst>
              <a:ext uri="{FF2B5EF4-FFF2-40B4-BE49-F238E27FC236}">
                <a16:creationId xmlns:a16="http://schemas.microsoft.com/office/drawing/2014/main" id="{945B6B20-AA0B-3E66-0FB4-CE90E8DC1A52}"/>
              </a:ext>
            </a:extLst>
          </p:cNvPr>
          <p:cNvSpPr/>
          <p:nvPr/>
        </p:nvSpPr>
        <p:spPr bwMode="gray">
          <a:xfrm>
            <a:off x="4604513" y="1693257"/>
            <a:ext cx="579120" cy="336254"/>
          </a:xfrm>
          <a:prstGeom prst="roundRect">
            <a:avLst/>
          </a:prstGeom>
          <a:solidFill>
            <a:sysClr val="window" lastClr="FFFFFF"/>
          </a:solidFill>
          <a:ln w="38100" algn="ctr">
            <a:solidFill>
              <a:srgbClr val="62B5E5">
                <a:lumMod val="60000"/>
                <a:lumOff val="40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solidFill>
                  <a:prstClr val="black"/>
                </a:solidFill>
                <a:effectLst/>
                <a:uLnTx/>
                <a:uFillTx/>
                <a:latin typeface="Open Sans"/>
              </a:rPr>
              <a:t>2</a:t>
            </a:r>
          </a:p>
        </p:txBody>
      </p:sp>
      <p:sp>
        <p:nvSpPr>
          <p:cNvPr id="56" name="Rectangle: Rounded Corners 55">
            <a:extLst>
              <a:ext uri="{FF2B5EF4-FFF2-40B4-BE49-F238E27FC236}">
                <a16:creationId xmlns:a16="http://schemas.microsoft.com/office/drawing/2014/main" id="{EDA55E87-6109-79CD-364A-FC44DBF94A3E}"/>
              </a:ext>
            </a:extLst>
          </p:cNvPr>
          <p:cNvSpPr/>
          <p:nvPr/>
        </p:nvSpPr>
        <p:spPr bwMode="gray">
          <a:xfrm>
            <a:off x="7933946" y="1693257"/>
            <a:ext cx="579120" cy="336254"/>
          </a:xfrm>
          <a:prstGeom prst="roundRect">
            <a:avLst/>
          </a:prstGeom>
          <a:solidFill>
            <a:sysClr val="window" lastClr="FFFFFF"/>
          </a:solidFill>
          <a:ln w="38100" algn="ctr">
            <a:solidFill>
              <a:srgbClr val="62B5E5"/>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solidFill>
                  <a:prstClr val="black"/>
                </a:solidFill>
                <a:effectLst/>
                <a:uLnTx/>
                <a:uFillTx/>
                <a:latin typeface="Open Sans"/>
              </a:rPr>
              <a:t>3</a:t>
            </a:r>
          </a:p>
        </p:txBody>
      </p:sp>
      <p:sp>
        <p:nvSpPr>
          <p:cNvPr id="57" name="TextBox 56">
            <a:extLst>
              <a:ext uri="{FF2B5EF4-FFF2-40B4-BE49-F238E27FC236}">
                <a16:creationId xmlns:a16="http://schemas.microsoft.com/office/drawing/2014/main" id="{09D8B134-F325-275D-8B25-7E976A568624}"/>
              </a:ext>
            </a:extLst>
          </p:cNvPr>
          <p:cNvSpPr txBox="1"/>
          <p:nvPr/>
        </p:nvSpPr>
        <p:spPr>
          <a:xfrm>
            <a:off x="36578" y="2009986"/>
            <a:ext cx="1365504" cy="307777"/>
          </a:xfrm>
          <a:prstGeom prst="rect">
            <a:avLst/>
          </a:prstGeom>
          <a:noFill/>
        </p:spPr>
        <p:txBody>
          <a:bodyPr wrap="square">
            <a:spAutoFit/>
          </a:bodyPr>
          <a:lstStyle/>
          <a:p>
            <a:r>
              <a:rPr lang="hu-HU" sz="1400" i="1" dirty="0" err="1">
                <a:solidFill>
                  <a:srgbClr val="000000"/>
                </a:solidFill>
                <a:latin typeface="Open Sans"/>
              </a:rPr>
              <a:t>Strategy</a:t>
            </a:r>
            <a:endParaRPr lang="hu-HU" sz="1400" dirty="0">
              <a:solidFill>
                <a:prstClr val="black"/>
              </a:solidFill>
              <a:latin typeface="Open Sans"/>
            </a:endParaRPr>
          </a:p>
        </p:txBody>
      </p:sp>
      <p:sp>
        <p:nvSpPr>
          <p:cNvPr id="58" name="TextBox 57">
            <a:extLst>
              <a:ext uri="{FF2B5EF4-FFF2-40B4-BE49-F238E27FC236}">
                <a16:creationId xmlns:a16="http://schemas.microsoft.com/office/drawing/2014/main" id="{9B36EF15-CB3B-5714-4B09-60C3C7BEE5EC}"/>
              </a:ext>
            </a:extLst>
          </p:cNvPr>
          <p:cNvSpPr txBox="1"/>
          <p:nvPr/>
        </p:nvSpPr>
        <p:spPr>
          <a:xfrm>
            <a:off x="11076433" y="1816911"/>
            <a:ext cx="1078989" cy="738664"/>
          </a:xfrm>
          <a:prstGeom prst="rect">
            <a:avLst/>
          </a:prstGeom>
          <a:noFill/>
        </p:spPr>
        <p:txBody>
          <a:bodyPr wrap="square">
            <a:spAutoFit/>
          </a:bodyPr>
          <a:lstStyle/>
          <a:p>
            <a:pPr algn="ctr"/>
            <a:r>
              <a:rPr lang="hu-HU" sz="1400" i="1" dirty="0" err="1">
                <a:solidFill>
                  <a:srgbClr val="000000"/>
                </a:solidFill>
                <a:latin typeface="Open Sans"/>
              </a:rPr>
              <a:t>Detailed</a:t>
            </a:r>
            <a:r>
              <a:rPr lang="hu-HU" sz="1400" i="1" dirty="0">
                <a:solidFill>
                  <a:srgbClr val="000000"/>
                </a:solidFill>
                <a:latin typeface="Open Sans"/>
              </a:rPr>
              <a:t> design and </a:t>
            </a:r>
            <a:r>
              <a:rPr lang="hu-HU" sz="1400" i="1" dirty="0" err="1">
                <a:solidFill>
                  <a:srgbClr val="000000"/>
                </a:solidFill>
                <a:latin typeface="Open Sans"/>
              </a:rPr>
              <a:t>execution</a:t>
            </a:r>
            <a:endParaRPr lang="hu-HU" sz="1400" dirty="0">
              <a:solidFill>
                <a:prstClr val="black"/>
              </a:solidFill>
              <a:latin typeface="Open Sans"/>
            </a:endParaRPr>
          </a:p>
        </p:txBody>
      </p:sp>
      <p:sp>
        <p:nvSpPr>
          <p:cNvPr id="59" name="TextBox 58">
            <a:extLst>
              <a:ext uri="{FF2B5EF4-FFF2-40B4-BE49-F238E27FC236}">
                <a16:creationId xmlns:a16="http://schemas.microsoft.com/office/drawing/2014/main" id="{67F134DC-E3FA-12BF-A6FC-02FA00CC237C}"/>
              </a:ext>
            </a:extLst>
          </p:cNvPr>
          <p:cNvSpPr txBox="1"/>
          <p:nvPr/>
        </p:nvSpPr>
        <p:spPr>
          <a:xfrm>
            <a:off x="327660" y="2782669"/>
            <a:ext cx="4935220" cy="461665"/>
          </a:xfrm>
          <a:prstGeom prst="rect">
            <a:avLst/>
          </a:prstGeom>
          <a:noFill/>
        </p:spPr>
        <p:txBody>
          <a:bodyPr wrap="square">
            <a:spAutoFit/>
          </a:bodyPr>
          <a:lstStyle/>
          <a:p>
            <a:r>
              <a:rPr lang="en-US" sz="1200" b="1" dirty="0">
                <a:solidFill>
                  <a:srgbClr val="000000"/>
                </a:solidFill>
                <a:latin typeface="Open Sans"/>
              </a:rPr>
              <a:t>Identifying</a:t>
            </a:r>
            <a:r>
              <a:rPr lang="en-US" sz="1200" dirty="0">
                <a:solidFill>
                  <a:srgbClr val="000000"/>
                </a:solidFill>
                <a:latin typeface="Open Sans"/>
              </a:rPr>
              <a:t> </a:t>
            </a:r>
            <a:r>
              <a:rPr lang="en-US" sz="1200" b="1" dirty="0">
                <a:solidFill>
                  <a:srgbClr val="000000"/>
                </a:solidFill>
                <a:latin typeface="Open Sans"/>
              </a:rPr>
              <a:t>where to start </a:t>
            </a:r>
            <a:r>
              <a:rPr lang="en-US" sz="1200" dirty="0">
                <a:solidFill>
                  <a:srgbClr val="000000"/>
                </a:solidFill>
                <a:latin typeface="Open Sans"/>
              </a:rPr>
              <a:t>and </a:t>
            </a:r>
            <a:r>
              <a:rPr lang="en-US" sz="1200" b="1" dirty="0">
                <a:solidFill>
                  <a:srgbClr val="000000"/>
                </a:solidFill>
                <a:latin typeface="Open Sans"/>
              </a:rPr>
              <a:t>what matters most </a:t>
            </a:r>
            <a:r>
              <a:rPr lang="en-US" sz="1200" dirty="0">
                <a:solidFill>
                  <a:srgbClr val="000000"/>
                </a:solidFill>
                <a:latin typeface="Open Sans"/>
              </a:rPr>
              <a:t>in evaluating an operating model </a:t>
            </a:r>
            <a:r>
              <a:rPr lang="en-US" sz="1200" b="1" dirty="0">
                <a:solidFill>
                  <a:srgbClr val="000000"/>
                </a:solidFill>
                <a:latin typeface="Open Sans"/>
              </a:rPr>
              <a:t>is </a:t>
            </a:r>
            <a:r>
              <a:rPr lang="hu-HU" sz="1200" b="1" dirty="0" err="1">
                <a:solidFill>
                  <a:srgbClr val="000000"/>
                </a:solidFill>
                <a:latin typeface="Open Sans"/>
              </a:rPr>
              <a:t>the</a:t>
            </a:r>
            <a:r>
              <a:rPr lang="hu-HU" sz="1200" b="1" dirty="0">
                <a:solidFill>
                  <a:srgbClr val="000000"/>
                </a:solidFill>
                <a:latin typeface="Open Sans"/>
              </a:rPr>
              <a:t> </a:t>
            </a:r>
            <a:r>
              <a:rPr lang="hu-HU" sz="1200" b="1" dirty="0" err="1">
                <a:solidFill>
                  <a:srgbClr val="000000"/>
                </a:solidFill>
                <a:latin typeface="Open Sans"/>
              </a:rPr>
              <a:t>key</a:t>
            </a:r>
            <a:r>
              <a:rPr lang="hu-HU" sz="1200" b="1" dirty="0">
                <a:solidFill>
                  <a:srgbClr val="000000"/>
                </a:solidFill>
                <a:latin typeface="Open Sans"/>
              </a:rPr>
              <a:t> </a:t>
            </a:r>
            <a:r>
              <a:rPr lang="hu-HU" sz="1200" b="1" dirty="0" err="1">
                <a:solidFill>
                  <a:srgbClr val="000000"/>
                </a:solidFill>
                <a:latin typeface="Open Sans"/>
              </a:rPr>
              <a:t>challenge</a:t>
            </a:r>
            <a:endParaRPr lang="hu-HU" sz="1200" b="1" dirty="0">
              <a:solidFill>
                <a:prstClr val="black"/>
              </a:solidFill>
              <a:latin typeface="Open Sans"/>
            </a:endParaRPr>
          </a:p>
        </p:txBody>
      </p:sp>
      <p:sp>
        <p:nvSpPr>
          <p:cNvPr id="60" name="TextBox 59">
            <a:extLst>
              <a:ext uri="{FF2B5EF4-FFF2-40B4-BE49-F238E27FC236}">
                <a16:creationId xmlns:a16="http://schemas.microsoft.com/office/drawing/2014/main" id="{8A7D0268-4DF0-917C-0BB6-54A9B1C6CC09}"/>
              </a:ext>
            </a:extLst>
          </p:cNvPr>
          <p:cNvSpPr txBox="1"/>
          <p:nvPr/>
        </p:nvSpPr>
        <p:spPr>
          <a:xfrm>
            <a:off x="814267" y="3469353"/>
            <a:ext cx="4141219" cy="276999"/>
          </a:xfrm>
          <a:prstGeom prst="rect">
            <a:avLst/>
          </a:prstGeom>
          <a:noFill/>
        </p:spPr>
        <p:txBody>
          <a:bodyPr wrap="square">
            <a:spAutoFit/>
          </a:bodyPr>
          <a:lstStyle/>
          <a:p>
            <a:r>
              <a:rPr lang="en-US" sz="1200" dirty="0">
                <a:solidFill>
                  <a:srgbClr val="000000"/>
                </a:solidFill>
                <a:latin typeface="Open Sans"/>
              </a:rPr>
              <a:t>Where do we get </a:t>
            </a:r>
            <a:r>
              <a:rPr lang="en-US" sz="1200" b="1" dirty="0">
                <a:solidFill>
                  <a:srgbClr val="000000"/>
                </a:solidFill>
                <a:latin typeface="Open Sans"/>
              </a:rPr>
              <a:t>started</a:t>
            </a:r>
            <a:r>
              <a:rPr lang="en-US" sz="1200" dirty="0">
                <a:solidFill>
                  <a:srgbClr val="000000"/>
                </a:solidFill>
                <a:latin typeface="Open Sans"/>
              </a:rPr>
              <a:t>?</a:t>
            </a:r>
            <a:endParaRPr lang="hu-HU" sz="1200" dirty="0">
              <a:solidFill>
                <a:prstClr val="black"/>
              </a:solidFill>
              <a:latin typeface="Open Sans"/>
            </a:endParaRPr>
          </a:p>
        </p:txBody>
      </p:sp>
      <p:sp>
        <p:nvSpPr>
          <p:cNvPr id="61" name="TextBox 60">
            <a:extLst>
              <a:ext uri="{FF2B5EF4-FFF2-40B4-BE49-F238E27FC236}">
                <a16:creationId xmlns:a16="http://schemas.microsoft.com/office/drawing/2014/main" id="{734B467E-0763-CBD6-772D-04B151492233}"/>
              </a:ext>
            </a:extLst>
          </p:cNvPr>
          <p:cNvSpPr txBox="1"/>
          <p:nvPr/>
        </p:nvSpPr>
        <p:spPr>
          <a:xfrm>
            <a:off x="814267" y="4081643"/>
            <a:ext cx="4141219" cy="276999"/>
          </a:xfrm>
          <a:prstGeom prst="rect">
            <a:avLst/>
          </a:prstGeom>
          <a:noFill/>
        </p:spPr>
        <p:txBody>
          <a:bodyPr wrap="square">
            <a:spAutoFit/>
          </a:bodyPr>
          <a:lstStyle/>
          <a:p>
            <a:r>
              <a:rPr lang="en-US" sz="1200" dirty="0">
                <a:solidFill>
                  <a:srgbClr val="000000"/>
                </a:solidFill>
                <a:latin typeface="Open Sans"/>
              </a:rPr>
              <a:t>Which objectives should we </a:t>
            </a:r>
            <a:r>
              <a:rPr lang="en-US" sz="1200" b="1" dirty="0">
                <a:solidFill>
                  <a:srgbClr val="000000"/>
                </a:solidFill>
                <a:latin typeface="Open Sans"/>
              </a:rPr>
              <a:t>prioritize</a:t>
            </a:r>
            <a:r>
              <a:rPr lang="en-US" sz="1200" dirty="0">
                <a:solidFill>
                  <a:srgbClr val="000000"/>
                </a:solidFill>
                <a:latin typeface="Open Sans"/>
              </a:rPr>
              <a:t>?</a:t>
            </a:r>
            <a:endParaRPr lang="hu-HU" sz="1200" dirty="0">
              <a:solidFill>
                <a:prstClr val="black"/>
              </a:solidFill>
              <a:latin typeface="Open Sans"/>
            </a:endParaRPr>
          </a:p>
        </p:txBody>
      </p:sp>
      <p:sp>
        <p:nvSpPr>
          <p:cNvPr id="62" name="TextBox 61">
            <a:extLst>
              <a:ext uri="{FF2B5EF4-FFF2-40B4-BE49-F238E27FC236}">
                <a16:creationId xmlns:a16="http://schemas.microsoft.com/office/drawing/2014/main" id="{CA26975D-5C40-BE72-DAC9-5A1DA0F55DD4}"/>
              </a:ext>
            </a:extLst>
          </p:cNvPr>
          <p:cNvSpPr txBox="1"/>
          <p:nvPr/>
        </p:nvSpPr>
        <p:spPr>
          <a:xfrm>
            <a:off x="814267" y="4693933"/>
            <a:ext cx="4141219" cy="276999"/>
          </a:xfrm>
          <a:prstGeom prst="rect">
            <a:avLst/>
          </a:prstGeom>
          <a:noFill/>
        </p:spPr>
        <p:txBody>
          <a:bodyPr wrap="square">
            <a:spAutoFit/>
          </a:bodyPr>
          <a:lstStyle/>
          <a:p>
            <a:r>
              <a:rPr lang="en-US" sz="1200" dirty="0">
                <a:solidFill>
                  <a:srgbClr val="000000"/>
                </a:solidFill>
                <a:latin typeface="Open Sans"/>
              </a:rPr>
              <a:t>What are my operating model </a:t>
            </a:r>
            <a:r>
              <a:rPr lang="en-US" sz="1200" b="1" dirty="0">
                <a:solidFill>
                  <a:srgbClr val="000000"/>
                </a:solidFill>
                <a:latin typeface="Open Sans"/>
              </a:rPr>
              <a:t>options </a:t>
            </a:r>
            <a:r>
              <a:rPr lang="en-US" sz="1200" dirty="0">
                <a:solidFill>
                  <a:srgbClr val="000000"/>
                </a:solidFill>
                <a:latin typeface="Open Sans"/>
              </a:rPr>
              <a:t>and </a:t>
            </a:r>
            <a:r>
              <a:rPr lang="en-US" sz="1200" b="1" dirty="0">
                <a:solidFill>
                  <a:srgbClr val="000000"/>
                </a:solidFill>
                <a:latin typeface="Open Sans"/>
              </a:rPr>
              <a:t>tradeoffs</a:t>
            </a:r>
            <a:r>
              <a:rPr lang="en-US" sz="1200" dirty="0">
                <a:solidFill>
                  <a:srgbClr val="000000"/>
                </a:solidFill>
                <a:latin typeface="Open Sans"/>
              </a:rPr>
              <a:t>?</a:t>
            </a:r>
            <a:endParaRPr lang="hu-HU" sz="1200" dirty="0">
              <a:solidFill>
                <a:prstClr val="black"/>
              </a:solidFill>
              <a:latin typeface="Open Sans"/>
            </a:endParaRPr>
          </a:p>
        </p:txBody>
      </p:sp>
      <p:sp>
        <p:nvSpPr>
          <p:cNvPr id="63" name="TextBox 62">
            <a:extLst>
              <a:ext uri="{FF2B5EF4-FFF2-40B4-BE49-F238E27FC236}">
                <a16:creationId xmlns:a16="http://schemas.microsoft.com/office/drawing/2014/main" id="{13292CC8-88CB-153A-8971-0F2B0C0A2848}"/>
              </a:ext>
            </a:extLst>
          </p:cNvPr>
          <p:cNvSpPr txBox="1"/>
          <p:nvPr/>
        </p:nvSpPr>
        <p:spPr>
          <a:xfrm>
            <a:off x="814267" y="5306223"/>
            <a:ext cx="4141219" cy="276999"/>
          </a:xfrm>
          <a:prstGeom prst="rect">
            <a:avLst/>
          </a:prstGeom>
          <a:noFill/>
        </p:spPr>
        <p:txBody>
          <a:bodyPr wrap="square">
            <a:spAutoFit/>
          </a:bodyPr>
          <a:lstStyle/>
          <a:p>
            <a:r>
              <a:rPr lang="en-US" sz="1200" dirty="0">
                <a:solidFill>
                  <a:srgbClr val="000000"/>
                </a:solidFill>
                <a:latin typeface="Open Sans"/>
              </a:rPr>
              <a:t>What is the </a:t>
            </a:r>
            <a:r>
              <a:rPr lang="en-US" sz="1200" b="1" dirty="0">
                <a:solidFill>
                  <a:srgbClr val="000000"/>
                </a:solidFill>
                <a:latin typeface="Open Sans"/>
              </a:rPr>
              <a:t>tipping point </a:t>
            </a:r>
            <a:r>
              <a:rPr lang="en-US" sz="1200" dirty="0">
                <a:solidFill>
                  <a:srgbClr val="000000"/>
                </a:solidFill>
                <a:latin typeface="Open Sans"/>
              </a:rPr>
              <a:t>for when it must change? </a:t>
            </a:r>
            <a:endParaRPr lang="hu-HU" sz="1200" dirty="0">
              <a:solidFill>
                <a:prstClr val="black"/>
              </a:solidFill>
              <a:latin typeface="Open Sans"/>
            </a:endParaRPr>
          </a:p>
        </p:txBody>
      </p:sp>
      <p:sp>
        <p:nvSpPr>
          <p:cNvPr id="64" name="TextBox 79">
            <a:extLst>
              <a:ext uri="{FF2B5EF4-FFF2-40B4-BE49-F238E27FC236}">
                <a16:creationId xmlns:a16="http://schemas.microsoft.com/office/drawing/2014/main" id="{CA7DFD7D-F9A9-88FE-6B03-9EC8B09CDE42}"/>
              </a:ext>
            </a:extLst>
          </p:cNvPr>
          <p:cNvSpPr txBox="1"/>
          <p:nvPr/>
        </p:nvSpPr>
        <p:spPr>
          <a:xfrm>
            <a:off x="6243368" y="2778678"/>
            <a:ext cx="5582016" cy="573106"/>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nSpc>
                <a:spcPct val="150000"/>
              </a:lnSpc>
            </a:pPr>
            <a:r>
              <a:rPr lang="en-AU" sz="1100" b="1" dirty="0">
                <a:solidFill>
                  <a:prstClr val="black"/>
                </a:solidFill>
                <a:latin typeface="Open Sans"/>
                <a:cs typeface="Calibri" panose="020F0502020204030204" pitchFamily="34" charset="0"/>
              </a:rPr>
              <a:t>An operating model </a:t>
            </a:r>
            <a:r>
              <a:rPr lang="en-AU" sz="1100" dirty="0">
                <a:solidFill>
                  <a:prstClr val="black"/>
                </a:solidFill>
                <a:latin typeface="Open Sans"/>
                <a:cs typeface="Calibri" panose="020F0502020204030204" pitchFamily="34" charset="0"/>
              </a:rPr>
              <a:t>‘wireframe’</a:t>
            </a:r>
            <a:r>
              <a:rPr lang="en-AU" sz="1100" b="1" dirty="0">
                <a:solidFill>
                  <a:prstClr val="black"/>
                </a:solidFill>
                <a:latin typeface="Open Sans"/>
                <a:cs typeface="Calibri" panose="020F0502020204030204" pitchFamily="34" charset="0"/>
              </a:rPr>
              <a:t> includes </a:t>
            </a:r>
            <a:r>
              <a:rPr lang="en-AU" sz="1100" dirty="0">
                <a:solidFill>
                  <a:prstClr val="black"/>
                </a:solidFill>
                <a:latin typeface="Open Sans"/>
                <a:cs typeface="Calibri" panose="020F0502020204030204" pitchFamily="34" charset="0"/>
              </a:rPr>
              <a:t>the essential </a:t>
            </a:r>
            <a:r>
              <a:rPr lang="en-AU" sz="1100" b="1" dirty="0">
                <a:solidFill>
                  <a:prstClr val="black"/>
                </a:solidFill>
                <a:latin typeface="Open Sans"/>
                <a:cs typeface="Calibri" panose="020F0502020204030204" pitchFamily="34" charset="0"/>
              </a:rPr>
              <a:t>components</a:t>
            </a:r>
            <a:r>
              <a:rPr lang="en-AU" sz="1100" dirty="0">
                <a:solidFill>
                  <a:prstClr val="black"/>
                </a:solidFill>
                <a:latin typeface="Open Sans"/>
                <a:cs typeface="Calibri" panose="020F0502020204030204" pitchFamily="34" charset="0"/>
              </a:rPr>
              <a:t> that have </a:t>
            </a:r>
            <a:r>
              <a:rPr lang="en-AU" sz="1100" b="1" dirty="0">
                <a:solidFill>
                  <a:prstClr val="black"/>
                </a:solidFill>
                <a:latin typeface="Open Sans"/>
                <a:cs typeface="Calibri" panose="020F0502020204030204" pitchFamily="34" charset="0"/>
              </a:rPr>
              <a:t>P&amp;L accountability </a:t>
            </a:r>
            <a:r>
              <a:rPr lang="en-AU" sz="1100" dirty="0">
                <a:solidFill>
                  <a:prstClr val="black"/>
                </a:solidFill>
                <a:latin typeface="Open Sans"/>
                <a:cs typeface="Calibri" panose="020F0502020204030204" pitchFamily="34" charset="0"/>
              </a:rPr>
              <a:t>and </a:t>
            </a:r>
            <a:r>
              <a:rPr lang="en-AU" sz="1100" b="1" dirty="0">
                <a:solidFill>
                  <a:prstClr val="black"/>
                </a:solidFill>
                <a:latin typeface="Open Sans"/>
                <a:cs typeface="Calibri" panose="020F0502020204030204" pitchFamily="34" charset="0"/>
              </a:rPr>
              <a:t>contribute to the formation</a:t>
            </a:r>
            <a:r>
              <a:rPr lang="en-AU" sz="1100" dirty="0">
                <a:solidFill>
                  <a:prstClr val="black"/>
                </a:solidFill>
                <a:latin typeface="Open Sans"/>
                <a:cs typeface="Calibri" panose="020F0502020204030204" pitchFamily="34" charset="0"/>
              </a:rPr>
              <a:t> of a matrix.</a:t>
            </a:r>
          </a:p>
        </p:txBody>
      </p:sp>
      <p:sp>
        <p:nvSpPr>
          <p:cNvPr id="65" name="Cube 64">
            <a:extLst>
              <a:ext uri="{FF2B5EF4-FFF2-40B4-BE49-F238E27FC236}">
                <a16:creationId xmlns:a16="http://schemas.microsoft.com/office/drawing/2014/main" id="{C6FAC531-E46E-ECD5-B000-DE02E9301721}"/>
              </a:ext>
            </a:extLst>
          </p:cNvPr>
          <p:cNvSpPr/>
          <p:nvPr/>
        </p:nvSpPr>
        <p:spPr bwMode="gray">
          <a:xfrm>
            <a:off x="9985156" y="3976677"/>
            <a:ext cx="1226634" cy="1390157"/>
          </a:xfrm>
          <a:prstGeom prst="cube">
            <a:avLst/>
          </a:prstGeom>
          <a:solidFill>
            <a:sysClr val="window" lastClr="FFFFFF">
              <a:lumMod val="85000"/>
            </a:sysClr>
          </a:solidFill>
          <a:ln w="19050" algn="ctr">
            <a:noFill/>
            <a:miter lim="800000"/>
            <a:headEnd/>
            <a:tailEnd/>
          </a:ln>
        </p:spPr>
        <p:txBody>
          <a:bodyPr vert="vert270" wrap="square" lIns="88900" tIns="88900" rIns="88900" bIns="88900" rtlCol="0" anchor="b"/>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100" b="0" i="0" u="none" strike="noStrike" kern="1200" cap="none" spc="0" normalizeH="0" baseline="0" noProof="0" dirty="0">
              <a:ln>
                <a:noFill/>
              </a:ln>
              <a:solidFill>
                <a:prstClr val="white"/>
              </a:solidFill>
              <a:effectLst/>
              <a:uLnTx/>
              <a:uFillTx/>
              <a:latin typeface="Open Sans"/>
              <a:ea typeface="+mn-ea"/>
              <a:cs typeface="Calibri" panose="020F0502020204030204" pitchFamily="34" charset="0"/>
            </a:endParaRPr>
          </a:p>
        </p:txBody>
      </p:sp>
      <p:cxnSp>
        <p:nvCxnSpPr>
          <p:cNvPr id="66" name="Straight Connector 65">
            <a:extLst>
              <a:ext uri="{FF2B5EF4-FFF2-40B4-BE49-F238E27FC236}">
                <a16:creationId xmlns:a16="http://schemas.microsoft.com/office/drawing/2014/main" id="{F7BE4E3A-5F27-2ED9-F264-88E52804B93E}"/>
              </a:ext>
            </a:extLst>
          </p:cNvPr>
          <p:cNvCxnSpPr>
            <a:cxnSpLocks/>
          </p:cNvCxnSpPr>
          <p:nvPr/>
        </p:nvCxnSpPr>
        <p:spPr>
          <a:xfrm>
            <a:off x="10552504" y="5062295"/>
            <a:ext cx="350567" cy="0"/>
          </a:xfrm>
          <a:prstGeom prst="line">
            <a:avLst/>
          </a:prstGeom>
          <a:noFill/>
          <a:ln w="9525" cap="flat" cmpd="sng" algn="ctr">
            <a:solidFill>
              <a:sysClr val="windowText" lastClr="000000">
                <a:lumMod val="50000"/>
                <a:lumOff val="50000"/>
              </a:sysClr>
            </a:solidFill>
            <a:prstDash val="dash"/>
          </a:ln>
          <a:effectLst/>
        </p:spPr>
      </p:cxnSp>
      <p:cxnSp>
        <p:nvCxnSpPr>
          <p:cNvPr id="67" name="Straight Connector 66">
            <a:extLst>
              <a:ext uri="{FF2B5EF4-FFF2-40B4-BE49-F238E27FC236}">
                <a16:creationId xmlns:a16="http://schemas.microsoft.com/office/drawing/2014/main" id="{9F38572D-28EF-712A-D386-5FF02EB76477}"/>
              </a:ext>
            </a:extLst>
          </p:cNvPr>
          <p:cNvCxnSpPr>
            <a:cxnSpLocks/>
          </p:cNvCxnSpPr>
          <p:nvPr/>
        </p:nvCxnSpPr>
        <p:spPr>
          <a:xfrm>
            <a:off x="10552504" y="4781305"/>
            <a:ext cx="350567" cy="0"/>
          </a:xfrm>
          <a:prstGeom prst="line">
            <a:avLst/>
          </a:prstGeom>
          <a:noFill/>
          <a:ln w="9525" cap="flat" cmpd="sng" algn="ctr">
            <a:solidFill>
              <a:sysClr val="windowText" lastClr="000000">
                <a:lumMod val="50000"/>
                <a:lumOff val="50000"/>
              </a:sysClr>
            </a:solidFill>
            <a:prstDash val="dash"/>
          </a:ln>
          <a:effectLst/>
        </p:spPr>
      </p:cxnSp>
      <p:cxnSp>
        <p:nvCxnSpPr>
          <p:cNvPr id="68" name="Straight Connector 67">
            <a:extLst>
              <a:ext uri="{FF2B5EF4-FFF2-40B4-BE49-F238E27FC236}">
                <a16:creationId xmlns:a16="http://schemas.microsoft.com/office/drawing/2014/main" id="{DC56E362-B195-51FA-4DC5-B1B6628D347E}"/>
              </a:ext>
            </a:extLst>
          </p:cNvPr>
          <p:cNvCxnSpPr>
            <a:cxnSpLocks/>
          </p:cNvCxnSpPr>
          <p:nvPr/>
        </p:nvCxnSpPr>
        <p:spPr>
          <a:xfrm>
            <a:off x="10552504" y="4500314"/>
            <a:ext cx="350567" cy="0"/>
          </a:xfrm>
          <a:prstGeom prst="line">
            <a:avLst/>
          </a:prstGeom>
          <a:noFill/>
          <a:ln w="9525" cap="flat" cmpd="sng" algn="ctr">
            <a:solidFill>
              <a:sysClr val="windowText" lastClr="000000">
                <a:lumMod val="50000"/>
                <a:lumOff val="50000"/>
              </a:sysClr>
            </a:solidFill>
            <a:prstDash val="dash"/>
          </a:ln>
          <a:effectLst/>
        </p:spPr>
      </p:cxnSp>
      <p:cxnSp>
        <p:nvCxnSpPr>
          <p:cNvPr id="69" name="Straight Connector 68">
            <a:extLst>
              <a:ext uri="{FF2B5EF4-FFF2-40B4-BE49-F238E27FC236}">
                <a16:creationId xmlns:a16="http://schemas.microsoft.com/office/drawing/2014/main" id="{6253F2F4-3C06-B00D-BBDB-B6F1B1BDE819}"/>
              </a:ext>
            </a:extLst>
          </p:cNvPr>
          <p:cNvCxnSpPr>
            <a:cxnSpLocks/>
          </p:cNvCxnSpPr>
          <p:nvPr/>
        </p:nvCxnSpPr>
        <p:spPr>
          <a:xfrm flipV="1">
            <a:off x="10903071" y="4331159"/>
            <a:ext cx="308719" cy="169155"/>
          </a:xfrm>
          <a:prstGeom prst="line">
            <a:avLst/>
          </a:prstGeom>
          <a:noFill/>
          <a:ln w="9525" cap="flat" cmpd="sng" algn="ctr">
            <a:solidFill>
              <a:sysClr val="windowText" lastClr="000000">
                <a:lumMod val="50000"/>
                <a:lumOff val="50000"/>
              </a:sysClr>
            </a:solidFill>
            <a:prstDash val="dash"/>
          </a:ln>
          <a:effectLst/>
        </p:spPr>
      </p:cxnSp>
      <p:cxnSp>
        <p:nvCxnSpPr>
          <p:cNvPr id="70" name="Straight Connector 69">
            <a:extLst>
              <a:ext uri="{FF2B5EF4-FFF2-40B4-BE49-F238E27FC236}">
                <a16:creationId xmlns:a16="http://schemas.microsoft.com/office/drawing/2014/main" id="{25EB866F-D90B-BF9D-B672-3057C4ED8F54}"/>
              </a:ext>
            </a:extLst>
          </p:cNvPr>
          <p:cNvCxnSpPr>
            <a:cxnSpLocks/>
          </p:cNvCxnSpPr>
          <p:nvPr/>
        </p:nvCxnSpPr>
        <p:spPr>
          <a:xfrm flipV="1">
            <a:off x="10903070" y="4612149"/>
            <a:ext cx="308719" cy="169155"/>
          </a:xfrm>
          <a:prstGeom prst="line">
            <a:avLst/>
          </a:prstGeom>
          <a:noFill/>
          <a:ln w="9525" cap="flat" cmpd="sng" algn="ctr">
            <a:solidFill>
              <a:sysClr val="windowText" lastClr="000000">
                <a:lumMod val="50000"/>
                <a:lumOff val="50000"/>
              </a:sysClr>
            </a:solidFill>
            <a:prstDash val="dash"/>
          </a:ln>
          <a:effectLst/>
        </p:spPr>
      </p:cxnSp>
      <p:cxnSp>
        <p:nvCxnSpPr>
          <p:cNvPr id="71" name="Straight Connector 70">
            <a:extLst>
              <a:ext uri="{FF2B5EF4-FFF2-40B4-BE49-F238E27FC236}">
                <a16:creationId xmlns:a16="http://schemas.microsoft.com/office/drawing/2014/main" id="{E4D238A0-12D1-3328-22B6-19E3387E9FE1}"/>
              </a:ext>
            </a:extLst>
          </p:cNvPr>
          <p:cNvCxnSpPr>
            <a:cxnSpLocks/>
          </p:cNvCxnSpPr>
          <p:nvPr/>
        </p:nvCxnSpPr>
        <p:spPr>
          <a:xfrm flipV="1">
            <a:off x="10900836" y="4896255"/>
            <a:ext cx="308719" cy="169155"/>
          </a:xfrm>
          <a:prstGeom prst="line">
            <a:avLst/>
          </a:prstGeom>
          <a:noFill/>
          <a:ln w="9525" cap="flat" cmpd="sng" algn="ctr">
            <a:solidFill>
              <a:sysClr val="windowText" lastClr="000000">
                <a:lumMod val="50000"/>
                <a:lumOff val="50000"/>
              </a:sysClr>
            </a:solidFill>
            <a:prstDash val="dash"/>
          </a:ln>
          <a:effectLst/>
        </p:spPr>
      </p:cxnSp>
      <p:sp>
        <p:nvSpPr>
          <p:cNvPr id="72" name="TextBox 46">
            <a:extLst>
              <a:ext uri="{FF2B5EF4-FFF2-40B4-BE49-F238E27FC236}">
                <a16:creationId xmlns:a16="http://schemas.microsoft.com/office/drawing/2014/main" id="{80B57CCC-F503-FF5B-7AD3-4C6CBB5265AF}"/>
              </a:ext>
            </a:extLst>
          </p:cNvPr>
          <p:cNvSpPr txBox="1"/>
          <p:nvPr/>
        </p:nvSpPr>
        <p:spPr>
          <a:xfrm rot="16200000">
            <a:off x="10320008" y="4633377"/>
            <a:ext cx="773713" cy="1692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600"/>
              </a:spcBef>
              <a:buSzPct val="100000"/>
            </a:pPr>
            <a:r>
              <a:rPr lang="en-AU" sz="1100" dirty="0">
                <a:solidFill>
                  <a:srgbClr val="313131"/>
                </a:solidFill>
                <a:latin typeface="Open Sans"/>
                <a:cs typeface="Calibri" panose="020F0502020204030204" pitchFamily="34" charset="0"/>
              </a:rPr>
              <a:t>Geography</a:t>
            </a:r>
          </a:p>
        </p:txBody>
      </p:sp>
      <p:sp>
        <p:nvSpPr>
          <p:cNvPr id="73" name="Cube 72">
            <a:extLst>
              <a:ext uri="{FF2B5EF4-FFF2-40B4-BE49-F238E27FC236}">
                <a16:creationId xmlns:a16="http://schemas.microsoft.com/office/drawing/2014/main" id="{DD5E5380-A061-8E5C-DB8C-88D20AA85094}"/>
              </a:ext>
            </a:extLst>
          </p:cNvPr>
          <p:cNvSpPr/>
          <p:nvPr/>
        </p:nvSpPr>
        <p:spPr bwMode="gray">
          <a:xfrm>
            <a:off x="9355780" y="4185294"/>
            <a:ext cx="1226634" cy="1390157"/>
          </a:xfrm>
          <a:prstGeom prst="cube">
            <a:avLst/>
          </a:prstGeom>
          <a:solidFill>
            <a:sysClr val="window" lastClr="FFFFFF">
              <a:lumMod val="85000"/>
            </a:sysClr>
          </a:solidFill>
          <a:ln w="19050" algn="ctr">
            <a:noFill/>
            <a:miter lim="800000"/>
            <a:headEnd/>
            <a:tailEnd/>
          </a:ln>
        </p:spPr>
        <p:txBody>
          <a:bodyPr vert="vert270" wrap="square" lIns="88900" tIns="88900" rIns="88900" bIns="88900" rtlCol="0" anchor="b"/>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100" b="0" i="0" u="none" strike="noStrike" kern="1200" cap="none" spc="0" normalizeH="0" baseline="0" noProof="0" dirty="0">
              <a:ln>
                <a:noFill/>
              </a:ln>
              <a:solidFill>
                <a:prstClr val="white"/>
              </a:solidFill>
              <a:effectLst/>
              <a:uLnTx/>
              <a:uFillTx/>
              <a:latin typeface="Open Sans"/>
              <a:ea typeface="+mn-ea"/>
              <a:cs typeface="Calibri" panose="020F0502020204030204" pitchFamily="34" charset="0"/>
            </a:endParaRPr>
          </a:p>
        </p:txBody>
      </p:sp>
      <p:sp>
        <p:nvSpPr>
          <p:cNvPr id="74" name="Cube 73">
            <a:extLst>
              <a:ext uri="{FF2B5EF4-FFF2-40B4-BE49-F238E27FC236}">
                <a16:creationId xmlns:a16="http://schemas.microsoft.com/office/drawing/2014/main" id="{18173CB1-D330-8FE0-4264-D5C2724B79EA}"/>
              </a:ext>
            </a:extLst>
          </p:cNvPr>
          <p:cNvSpPr/>
          <p:nvPr/>
        </p:nvSpPr>
        <p:spPr bwMode="gray">
          <a:xfrm>
            <a:off x="6741316" y="4362225"/>
            <a:ext cx="1226634" cy="1390157"/>
          </a:xfrm>
          <a:prstGeom prst="cube">
            <a:avLst/>
          </a:prstGeom>
          <a:solidFill>
            <a:srgbClr val="62B5E5">
              <a:lumMod val="40000"/>
              <a:lumOff val="60000"/>
            </a:srgbClr>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t>Product</a:t>
            </a:r>
            <a:b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br>
            <a: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t> BU 1</a:t>
            </a:r>
          </a:p>
        </p:txBody>
      </p:sp>
      <p:sp>
        <p:nvSpPr>
          <p:cNvPr id="75" name="Cube 74">
            <a:extLst>
              <a:ext uri="{FF2B5EF4-FFF2-40B4-BE49-F238E27FC236}">
                <a16:creationId xmlns:a16="http://schemas.microsoft.com/office/drawing/2014/main" id="{D856677A-59A2-F328-7969-1E2278890963}"/>
              </a:ext>
            </a:extLst>
          </p:cNvPr>
          <p:cNvSpPr/>
          <p:nvPr/>
        </p:nvSpPr>
        <p:spPr bwMode="gray">
          <a:xfrm>
            <a:off x="7718906" y="4362225"/>
            <a:ext cx="1226634" cy="1390157"/>
          </a:xfrm>
          <a:prstGeom prst="cube">
            <a:avLst/>
          </a:prstGeom>
          <a:solidFill>
            <a:srgbClr val="62B5E5">
              <a:lumMod val="40000"/>
              <a:lumOff val="60000"/>
            </a:srgbClr>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t>Product </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t>BU 2</a:t>
            </a:r>
          </a:p>
        </p:txBody>
      </p:sp>
      <p:sp>
        <p:nvSpPr>
          <p:cNvPr id="76" name="Cube 75">
            <a:extLst>
              <a:ext uri="{FF2B5EF4-FFF2-40B4-BE49-F238E27FC236}">
                <a16:creationId xmlns:a16="http://schemas.microsoft.com/office/drawing/2014/main" id="{5123CD3F-4937-D643-0C61-F031681C0CD7}"/>
              </a:ext>
            </a:extLst>
          </p:cNvPr>
          <p:cNvSpPr/>
          <p:nvPr/>
        </p:nvSpPr>
        <p:spPr bwMode="gray">
          <a:xfrm>
            <a:off x="8696496" y="4362225"/>
            <a:ext cx="1226634" cy="1390157"/>
          </a:xfrm>
          <a:prstGeom prst="cube">
            <a:avLst/>
          </a:prstGeom>
          <a:solidFill>
            <a:srgbClr val="62B5E5">
              <a:lumMod val="40000"/>
              <a:lumOff val="60000"/>
            </a:srgbClr>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t>Product </a:t>
            </a:r>
            <a:b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br>
            <a: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t>BU 3</a:t>
            </a:r>
          </a:p>
        </p:txBody>
      </p:sp>
      <p:sp>
        <p:nvSpPr>
          <p:cNvPr id="77" name="Parallelogram 76">
            <a:extLst>
              <a:ext uri="{FF2B5EF4-FFF2-40B4-BE49-F238E27FC236}">
                <a16:creationId xmlns:a16="http://schemas.microsoft.com/office/drawing/2014/main" id="{785C6C61-7734-21C8-8604-6A5ED16FF5B1}"/>
              </a:ext>
            </a:extLst>
          </p:cNvPr>
          <p:cNvSpPr/>
          <p:nvPr/>
        </p:nvSpPr>
        <p:spPr bwMode="gray">
          <a:xfrm>
            <a:off x="6851347" y="3815773"/>
            <a:ext cx="4159520" cy="612780"/>
          </a:xfrm>
          <a:prstGeom prst="parallelogram">
            <a:avLst>
              <a:gd name="adj" fmla="val 100415"/>
            </a:avLst>
          </a:prstGeom>
          <a:solidFill>
            <a:srgbClr val="62B5E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AU" sz="1100" b="0" i="0" u="none" strike="noStrike" kern="1200" cap="none" spc="0" normalizeH="0" baseline="0" noProof="0" dirty="0">
                <a:ln>
                  <a:noFill/>
                </a:ln>
                <a:solidFill>
                  <a:prstClr val="black"/>
                </a:solidFill>
                <a:effectLst/>
                <a:uLnTx/>
                <a:uFillTx/>
                <a:latin typeface="Open Sans"/>
                <a:ea typeface="+mn-ea"/>
                <a:cs typeface="Calibri" panose="020F0502020204030204" pitchFamily="34" charset="0"/>
              </a:rPr>
              <a:t>Corporate</a:t>
            </a:r>
          </a:p>
        </p:txBody>
      </p:sp>
      <p:cxnSp>
        <p:nvCxnSpPr>
          <p:cNvPr id="78" name="Straight Connector 77">
            <a:extLst>
              <a:ext uri="{FF2B5EF4-FFF2-40B4-BE49-F238E27FC236}">
                <a16:creationId xmlns:a16="http://schemas.microsoft.com/office/drawing/2014/main" id="{88AC4AB8-D2A7-2C97-2014-7C66447D7D9B}"/>
              </a:ext>
            </a:extLst>
          </p:cNvPr>
          <p:cNvCxnSpPr>
            <a:cxnSpLocks/>
          </p:cNvCxnSpPr>
          <p:nvPr/>
        </p:nvCxnSpPr>
        <p:spPr>
          <a:xfrm>
            <a:off x="9923128" y="5270912"/>
            <a:ext cx="350567" cy="0"/>
          </a:xfrm>
          <a:prstGeom prst="line">
            <a:avLst/>
          </a:prstGeom>
          <a:noFill/>
          <a:ln w="9525" cap="flat" cmpd="sng" algn="ctr">
            <a:solidFill>
              <a:sysClr val="windowText" lastClr="000000">
                <a:lumMod val="50000"/>
                <a:lumOff val="50000"/>
              </a:sysClr>
            </a:solidFill>
            <a:prstDash val="dash"/>
          </a:ln>
          <a:effectLst/>
        </p:spPr>
      </p:cxnSp>
      <p:cxnSp>
        <p:nvCxnSpPr>
          <p:cNvPr id="79" name="Straight Connector 78">
            <a:extLst>
              <a:ext uri="{FF2B5EF4-FFF2-40B4-BE49-F238E27FC236}">
                <a16:creationId xmlns:a16="http://schemas.microsoft.com/office/drawing/2014/main" id="{385A1EE4-1587-D8D9-5C06-F95B6DB8C312}"/>
              </a:ext>
            </a:extLst>
          </p:cNvPr>
          <p:cNvCxnSpPr>
            <a:cxnSpLocks/>
          </p:cNvCxnSpPr>
          <p:nvPr/>
        </p:nvCxnSpPr>
        <p:spPr>
          <a:xfrm>
            <a:off x="9923128" y="4989922"/>
            <a:ext cx="350567" cy="0"/>
          </a:xfrm>
          <a:prstGeom prst="line">
            <a:avLst/>
          </a:prstGeom>
          <a:noFill/>
          <a:ln w="9525" cap="flat" cmpd="sng" algn="ctr">
            <a:solidFill>
              <a:sysClr val="windowText" lastClr="000000">
                <a:lumMod val="50000"/>
                <a:lumOff val="50000"/>
              </a:sysClr>
            </a:solidFill>
            <a:prstDash val="dash"/>
          </a:ln>
          <a:effectLst/>
        </p:spPr>
      </p:cxnSp>
      <p:cxnSp>
        <p:nvCxnSpPr>
          <p:cNvPr id="80" name="Straight Connector 79">
            <a:extLst>
              <a:ext uri="{FF2B5EF4-FFF2-40B4-BE49-F238E27FC236}">
                <a16:creationId xmlns:a16="http://schemas.microsoft.com/office/drawing/2014/main" id="{22D48D61-1B0A-8C47-0317-A7A5D4562BE8}"/>
              </a:ext>
            </a:extLst>
          </p:cNvPr>
          <p:cNvCxnSpPr>
            <a:cxnSpLocks/>
          </p:cNvCxnSpPr>
          <p:nvPr/>
        </p:nvCxnSpPr>
        <p:spPr>
          <a:xfrm>
            <a:off x="9923128" y="4708931"/>
            <a:ext cx="350567" cy="0"/>
          </a:xfrm>
          <a:prstGeom prst="line">
            <a:avLst/>
          </a:prstGeom>
          <a:noFill/>
          <a:ln w="9525" cap="flat" cmpd="sng" algn="ctr">
            <a:solidFill>
              <a:sysClr val="windowText" lastClr="000000">
                <a:lumMod val="50000"/>
                <a:lumOff val="50000"/>
              </a:sysClr>
            </a:solidFill>
            <a:prstDash val="dash"/>
          </a:ln>
          <a:effectLst/>
        </p:spPr>
      </p:cxnSp>
      <p:cxnSp>
        <p:nvCxnSpPr>
          <p:cNvPr id="81" name="Straight Connector 80">
            <a:extLst>
              <a:ext uri="{FF2B5EF4-FFF2-40B4-BE49-F238E27FC236}">
                <a16:creationId xmlns:a16="http://schemas.microsoft.com/office/drawing/2014/main" id="{98E615B2-93BA-69A6-6119-ED299074017B}"/>
              </a:ext>
            </a:extLst>
          </p:cNvPr>
          <p:cNvCxnSpPr>
            <a:cxnSpLocks/>
          </p:cNvCxnSpPr>
          <p:nvPr/>
        </p:nvCxnSpPr>
        <p:spPr>
          <a:xfrm flipV="1">
            <a:off x="10273695" y="4539776"/>
            <a:ext cx="308719" cy="169155"/>
          </a:xfrm>
          <a:prstGeom prst="line">
            <a:avLst/>
          </a:prstGeom>
          <a:noFill/>
          <a:ln w="9525" cap="flat" cmpd="sng" algn="ctr">
            <a:solidFill>
              <a:sysClr val="windowText" lastClr="000000">
                <a:lumMod val="50000"/>
                <a:lumOff val="50000"/>
              </a:sysClr>
            </a:solidFill>
            <a:prstDash val="dash"/>
          </a:ln>
          <a:effectLst/>
        </p:spPr>
      </p:cxnSp>
      <p:cxnSp>
        <p:nvCxnSpPr>
          <p:cNvPr id="82" name="Straight Connector 81">
            <a:extLst>
              <a:ext uri="{FF2B5EF4-FFF2-40B4-BE49-F238E27FC236}">
                <a16:creationId xmlns:a16="http://schemas.microsoft.com/office/drawing/2014/main" id="{F1D90BAA-8781-AB41-DA40-1A2DE4857DC4}"/>
              </a:ext>
            </a:extLst>
          </p:cNvPr>
          <p:cNvCxnSpPr>
            <a:cxnSpLocks/>
          </p:cNvCxnSpPr>
          <p:nvPr/>
        </p:nvCxnSpPr>
        <p:spPr>
          <a:xfrm flipV="1">
            <a:off x="10273694" y="4820766"/>
            <a:ext cx="308719" cy="169155"/>
          </a:xfrm>
          <a:prstGeom prst="line">
            <a:avLst/>
          </a:prstGeom>
          <a:noFill/>
          <a:ln w="9525" cap="flat" cmpd="sng" algn="ctr">
            <a:solidFill>
              <a:sysClr val="windowText" lastClr="000000">
                <a:lumMod val="50000"/>
                <a:lumOff val="50000"/>
              </a:sysClr>
            </a:solidFill>
            <a:prstDash val="dash"/>
          </a:ln>
          <a:effectLst/>
        </p:spPr>
      </p:cxnSp>
      <p:cxnSp>
        <p:nvCxnSpPr>
          <p:cNvPr id="83" name="Straight Connector 82">
            <a:extLst>
              <a:ext uri="{FF2B5EF4-FFF2-40B4-BE49-F238E27FC236}">
                <a16:creationId xmlns:a16="http://schemas.microsoft.com/office/drawing/2014/main" id="{016106C2-B1C7-8099-A68C-6E522B29917A}"/>
              </a:ext>
            </a:extLst>
          </p:cNvPr>
          <p:cNvCxnSpPr>
            <a:cxnSpLocks/>
          </p:cNvCxnSpPr>
          <p:nvPr/>
        </p:nvCxnSpPr>
        <p:spPr>
          <a:xfrm flipV="1">
            <a:off x="10271460" y="5104872"/>
            <a:ext cx="308719" cy="169155"/>
          </a:xfrm>
          <a:prstGeom prst="line">
            <a:avLst/>
          </a:prstGeom>
          <a:noFill/>
          <a:ln w="9525" cap="flat" cmpd="sng" algn="ctr">
            <a:solidFill>
              <a:sysClr val="windowText" lastClr="000000">
                <a:lumMod val="50000"/>
                <a:lumOff val="50000"/>
              </a:sysClr>
            </a:solidFill>
            <a:prstDash val="dash"/>
          </a:ln>
          <a:effectLst/>
        </p:spPr>
      </p:cxnSp>
      <p:sp>
        <p:nvSpPr>
          <p:cNvPr id="84" name="TextBox 38">
            <a:extLst>
              <a:ext uri="{FF2B5EF4-FFF2-40B4-BE49-F238E27FC236}">
                <a16:creationId xmlns:a16="http://schemas.microsoft.com/office/drawing/2014/main" id="{B5208D3A-7CDA-4A47-E699-1942666DD6E3}"/>
              </a:ext>
            </a:extLst>
          </p:cNvPr>
          <p:cNvSpPr txBox="1"/>
          <p:nvPr/>
        </p:nvSpPr>
        <p:spPr>
          <a:xfrm rot="16200000">
            <a:off x="9719838" y="4765390"/>
            <a:ext cx="715301" cy="1692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600"/>
              </a:spcBef>
              <a:buSzPct val="100000"/>
            </a:pPr>
            <a:r>
              <a:rPr lang="en-AU" sz="1100" dirty="0">
                <a:solidFill>
                  <a:srgbClr val="313131"/>
                </a:solidFill>
                <a:latin typeface="Open Sans"/>
                <a:cs typeface="Calibri" panose="020F0502020204030204" pitchFamily="34" charset="0"/>
              </a:rPr>
              <a:t>Customer</a:t>
            </a:r>
          </a:p>
        </p:txBody>
      </p:sp>
      <p:sp>
        <p:nvSpPr>
          <p:cNvPr id="85" name="TextBox 47">
            <a:extLst>
              <a:ext uri="{FF2B5EF4-FFF2-40B4-BE49-F238E27FC236}">
                <a16:creationId xmlns:a16="http://schemas.microsoft.com/office/drawing/2014/main" id="{41A4D2D9-2859-32D9-4F19-01EDBA2459E0}"/>
              </a:ext>
            </a:extLst>
          </p:cNvPr>
          <p:cNvSpPr txBox="1"/>
          <p:nvPr/>
        </p:nvSpPr>
        <p:spPr>
          <a:xfrm rot="1610013">
            <a:off x="10247245" y="3905459"/>
            <a:ext cx="1223902" cy="169277"/>
          </a:xfrm>
          <a:prstGeom prst="rect">
            <a:avLst/>
          </a:prstGeom>
          <a:solidFill>
            <a:sysClr val="window" lastClr="FFFFFF"/>
          </a:solidFill>
          <a:ln>
            <a:solidFill>
              <a:srgbClr val="FF0000"/>
            </a:solidFill>
            <a:prstDash val="dash"/>
          </a:ln>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AU" sz="1100" b="0" i="0" u="none" strike="noStrike" kern="1200" cap="none" spc="0" normalizeH="0" baseline="0" noProof="0" dirty="0">
                <a:ln>
                  <a:noFill/>
                </a:ln>
                <a:solidFill>
                  <a:srgbClr val="313131"/>
                </a:solidFill>
                <a:effectLst/>
                <a:uLnTx/>
                <a:uFillTx/>
                <a:latin typeface="Open Sans"/>
                <a:ea typeface="+mn-ea"/>
                <a:cs typeface="Calibri" panose="020F0502020204030204" pitchFamily="34" charset="0"/>
              </a:rPr>
              <a:t>         </a:t>
            </a:r>
            <a:r>
              <a:rPr kumimoji="0" lang="en-AU" sz="1100" b="1" i="0" u="none" strike="noStrike" kern="1200" cap="none" spc="0" normalizeH="0" baseline="0" noProof="0" dirty="0">
                <a:ln>
                  <a:noFill/>
                </a:ln>
                <a:solidFill>
                  <a:srgbClr val="313131"/>
                </a:solidFill>
                <a:effectLst/>
                <a:uLnTx/>
                <a:uFillTx/>
                <a:latin typeface="Open Sans"/>
                <a:ea typeface="+mn-ea"/>
                <a:cs typeface="Calibri" panose="020F0502020204030204" pitchFamily="34" charset="0"/>
              </a:rPr>
              <a:t>Example</a:t>
            </a:r>
            <a:r>
              <a:rPr kumimoji="0" lang="en-AU" sz="1100" b="0" i="0" u="none" strike="noStrike" kern="1200" cap="none" spc="0" normalizeH="0" baseline="0" noProof="0" dirty="0">
                <a:ln>
                  <a:noFill/>
                </a:ln>
                <a:solidFill>
                  <a:srgbClr val="313131"/>
                </a:solidFill>
                <a:effectLst/>
                <a:uLnTx/>
                <a:uFillTx/>
                <a:latin typeface="Open Sans"/>
                <a:ea typeface="+mn-ea"/>
                <a:cs typeface="Calibri" panose="020F0502020204030204" pitchFamily="34" charset="0"/>
              </a:rPr>
              <a:t>   </a:t>
            </a:r>
          </a:p>
        </p:txBody>
      </p:sp>
      <p:cxnSp>
        <p:nvCxnSpPr>
          <p:cNvPr id="86" name="Straight Arrow Connector 85">
            <a:extLst>
              <a:ext uri="{FF2B5EF4-FFF2-40B4-BE49-F238E27FC236}">
                <a16:creationId xmlns:a16="http://schemas.microsoft.com/office/drawing/2014/main" id="{9A7F9545-67E8-B24A-D41C-60E74E182D3D}"/>
              </a:ext>
            </a:extLst>
          </p:cNvPr>
          <p:cNvCxnSpPr>
            <a:cxnSpLocks/>
          </p:cNvCxnSpPr>
          <p:nvPr/>
        </p:nvCxnSpPr>
        <p:spPr>
          <a:xfrm>
            <a:off x="6464881" y="4612149"/>
            <a:ext cx="0" cy="1138879"/>
          </a:xfrm>
          <a:prstGeom prst="straightConnector1">
            <a:avLst/>
          </a:prstGeom>
          <a:noFill/>
          <a:ln w="12700" cap="flat" cmpd="sng" algn="ctr">
            <a:solidFill>
              <a:srgbClr val="D0D0CE"/>
            </a:solidFill>
            <a:prstDash val="solid"/>
            <a:tailEnd type="triangle"/>
          </a:ln>
          <a:effectLst/>
        </p:spPr>
      </p:cxnSp>
      <p:sp>
        <p:nvSpPr>
          <p:cNvPr id="87" name="TextBox 51">
            <a:extLst>
              <a:ext uri="{FF2B5EF4-FFF2-40B4-BE49-F238E27FC236}">
                <a16:creationId xmlns:a16="http://schemas.microsoft.com/office/drawing/2014/main" id="{E3E2B186-1D68-F318-EDB0-654D6E7EB501}"/>
              </a:ext>
            </a:extLst>
          </p:cNvPr>
          <p:cNvSpPr txBox="1"/>
          <p:nvPr/>
        </p:nvSpPr>
        <p:spPr>
          <a:xfrm rot="16200000">
            <a:off x="5683735" y="4981398"/>
            <a:ext cx="1237432" cy="1692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600"/>
              </a:spcBef>
              <a:buSzPct val="100000"/>
            </a:pPr>
            <a:r>
              <a:rPr lang="en-AU" sz="1100" dirty="0">
                <a:solidFill>
                  <a:srgbClr val="313131"/>
                </a:solidFill>
                <a:latin typeface="Open Sans"/>
                <a:cs typeface="Calibri" panose="020F0502020204030204" pitchFamily="34" charset="0"/>
              </a:rPr>
              <a:t>Level of Hierarchy</a:t>
            </a:r>
          </a:p>
        </p:txBody>
      </p:sp>
      <p:cxnSp>
        <p:nvCxnSpPr>
          <p:cNvPr id="88" name="Straight Arrow Connector 87">
            <a:extLst>
              <a:ext uri="{FF2B5EF4-FFF2-40B4-BE49-F238E27FC236}">
                <a16:creationId xmlns:a16="http://schemas.microsoft.com/office/drawing/2014/main" id="{151CEDF1-DA19-BB73-CE2B-C9271BBFE3D0}"/>
              </a:ext>
            </a:extLst>
          </p:cNvPr>
          <p:cNvCxnSpPr>
            <a:cxnSpLocks/>
          </p:cNvCxnSpPr>
          <p:nvPr/>
        </p:nvCxnSpPr>
        <p:spPr>
          <a:xfrm flipV="1">
            <a:off x="6491943" y="3788986"/>
            <a:ext cx="638551" cy="665818"/>
          </a:xfrm>
          <a:prstGeom prst="straightConnector1">
            <a:avLst/>
          </a:prstGeom>
          <a:noFill/>
          <a:ln w="12700" cap="flat" cmpd="sng" algn="ctr">
            <a:solidFill>
              <a:srgbClr val="D0D0CE"/>
            </a:solidFill>
            <a:prstDash val="solid"/>
            <a:tailEnd type="triangle"/>
          </a:ln>
          <a:effectLst/>
        </p:spPr>
      </p:cxnSp>
      <p:sp>
        <p:nvSpPr>
          <p:cNvPr id="89" name="TextBox 55">
            <a:extLst>
              <a:ext uri="{FF2B5EF4-FFF2-40B4-BE49-F238E27FC236}">
                <a16:creationId xmlns:a16="http://schemas.microsoft.com/office/drawing/2014/main" id="{378698AA-F8B3-71BF-B7AB-49D61C76FEA8}"/>
              </a:ext>
            </a:extLst>
          </p:cNvPr>
          <p:cNvSpPr txBox="1"/>
          <p:nvPr/>
        </p:nvSpPr>
        <p:spPr>
          <a:xfrm rot="18718459">
            <a:off x="6460859" y="3973833"/>
            <a:ext cx="421692" cy="1692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600"/>
              </a:spcBef>
              <a:buSzPct val="100000"/>
            </a:pPr>
            <a:r>
              <a:rPr lang="en-AU" sz="1100" dirty="0">
                <a:solidFill>
                  <a:srgbClr val="313131"/>
                </a:solidFill>
                <a:latin typeface="Open Sans"/>
                <a:cs typeface="Calibri" panose="020F0502020204030204" pitchFamily="34" charset="0"/>
              </a:rPr>
              <a:t>Matrix</a:t>
            </a:r>
          </a:p>
        </p:txBody>
      </p:sp>
      <p:sp>
        <p:nvSpPr>
          <p:cNvPr id="90" name="TextBox 80">
            <a:extLst>
              <a:ext uri="{FF2B5EF4-FFF2-40B4-BE49-F238E27FC236}">
                <a16:creationId xmlns:a16="http://schemas.microsoft.com/office/drawing/2014/main" id="{F479134D-8360-EE8B-0A3A-70B49582D1B6}"/>
              </a:ext>
            </a:extLst>
          </p:cNvPr>
          <p:cNvSpPr txBox="1"/>
          <p:nvPr/>
        </p:nvSpPr>
        <p:spPr>
          <a:xfrm>
            <a:off x="7965334" y="5756366"/>
            <a:ext cx="650816" cy="1692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600"/>
              </a:spcBef>
              <a:buSzPct val="100000"/>
            </a:pPr>
            <a:r>
              <a:rPr lang="en-AU" sz="1100" dirty="0">
                <a:solidFill>
                  <a:srgbClr val="313131"/>
                </a:solidFill>
                <a:latin typeface="Open Sans"/>
                <a:cs typeface="Calibri" panose="020F0502020204030204" pitchFamily="34" charset="0"/>
              </a:rPr>
              <a:t>Functions</a:t>
            </a:r>
          </a:p>
        </p:txBody>
      </p:sp>
      <p:sp>
        <p:nvSpPr>
          <p:cNvPr id="91" name="Isosceles Triangle 90">
            <a:extLst>
              <a:ext uri="{FF2B5EF4-FFF2-40B4-BE49-F238E27FC236}">
                <a16:creationId xmlns:a16="http://schemas.microsoft.com/office/drawing/2014/main" id="{9E16194B-CA2B-3C9D-D6CC-AA01F0372F43}"/>
              </a:ext>
            </a:extLst>
          </p:cNvPr>
          <p:cNvSpPr/>
          <p:nvPr/>
        </p:nvSpPr>
        <p:spPr bwMode="gray">
          <a:xfrm rot="5400000">
            <a:off x="4293381" y="4393240"/>
            <a:ext cx="3025445" cy="265967"/>
          </a:xfrm>
          <a:prstGeom prst="triangle">
            <a:avLst/>
          </a:prstGeom>
          <a:solidFill>
            <a:srgbClr val="53565A">
              <a:lumMod val="20000"/>
              <a:lumOff val="80000"/>
            </a:srgb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92" name="Oval 91">
            <a:extLst>
              <a:ext uri="{FF2B5EF4-FFF2-40B4-BE49-F238E27FC236}">
                <a16:creationId xmlns:a16="http://schemas.microsoft.com/office/drawing/2014/main" id="{FF7D4A24-664F-D14A-971A-9A223619D470}"/>
              </a:ext>
            </a:extLst>
          </p:cNvPr>
          <p:cNvSpPr/>
          <p:nvPr/>
        </p:nvSpPr>
        <p:spPr bwMode="gray">
          <a:xfrm>
            <a:off x="332148" y="3350719"/>
            <a:ext cx="451106" cy="416113"/>
          </a:xfrm>
          <a:prstGeom prst="ellipse">
            <a:avLst/>
          </a:prstGeom>
          <a:solidFill>
            <a:srgbClr val="9DD4C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93" name="Oval 92">
            <a:extLst>
              <a:ext uri="{FF2B5EF4-FFF2-40B4-BE49-F238E27FC236}">
                <a16:creationId xmlns:a16="http://schemas.microsoft.com/office/drawing/2014/main" id="{E3F35526-FEE1-CB5D-32A1-CC549721179E}"/>
              </a:ext>
            </a:extLst>
          </p:cNvPr>
          <p:cNvSpPr/>
          <p:nvPr/>
        </p:nvSpPr>
        <p:spPr bwMode="gray">
          <a:xfrm>
            <a:off x="332148" y="4010876"/>
            <a:ext cx="451106" cy="416113"/>
          </a:xfrm>
          <a:prstGeom prst="ellipse">
            <a:avLst/>
          </a:prstGeom>
          <a:solidFill>
            <a:srgbClr val="9DD4C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94" name="Oval 93">
            <a:extLst>
              <a:ext uri="{FF2B5EF4-FFF2-40B4-BE49-F238E27FC236}">
                <a16:creationId xmlns:a16="http://schemas.microsoft.com/office/drawing/2014/main" id="{4AD90BCA-7CC5-6119-A0C7-74D3574FD8F9}"/>
              </a:ext>
            </a:extLst>
          </p:cNvPr>
          <p:cNvSpPr/>
          <p:nvPr/>
        </p:nvSpPr>
        <p:spPr bwMode="gray">
          <a:xfrm>
            <a:off x="332148" y="4671755"/>
            <a:ext cx="451106" cy="416113"/>
          </a:xfrm>
          <a:prstGeom prst="ellipse">
            <a:avLst/>
          </a:prstGeom>
          <a:solidFill>
            <a:srgbClr val="9DD4C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95" name="Oval 94">
            <a:extLst>
              <a:ext uri="{FF2B5EF4-FFF2-40B4-BE49-F238E27FC236}">
                <a16:creationId xmlns:a16="http://schemas.microsoft.com/office/drawing/2014/main" id="{00C9184A-2584-3EB3-BA2D-B81F3691DC1F}"/>
              </a:ext>
            </a:extLst>
          </p:cNvPr>
          <p:cNvSpPr/>
          <p:nvPr/>
        </p:nvSpPr>
        <p:spPr bwMode="gray">
          <a:xfrm>
            <a:off x="332148" y="5331190"/>
            <a:ext cx="451106" cy="416113"/>
          </a:xfrm>
          <a:prstGeom prst="ellipse">
            <a:avLst/>
          </a:prstGeom>
          <a:solidFill>
            <a:srgbClr val="9DD4C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Tree>
    <p:extLst>
      <p:ext uri="{BB962C8B-B14F-4D97-AF65-F5344CB8AC3E}">
        <p14:creationId xmlns:p14="http://schemas.microsoft.com/office/powerpoint/2010/main" val="618078708"/>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9" name="think-cell data - do not delete" hidden="1">
            <a:extLst>
              <a:ext uri="{FF2B5EF4-FFF2-40B4-BE49-F238E27FC236}">
                <a16:creationId xmlns:a16="http://schemas.microsoft.com/office/drawing/2014/main" id="{7C0B7BE6-52CB-D1E0-41EB-4084FB2ACF67}"/>
              </a:ext>
            </a:extLst>
          </p:cNvPr>
          <p:cNvGraphicFramePr>
            <a:graphicFrameLocks noChangeAspect="1"/>
          </p:cNvGraphicFramePr>
          <p:nvPr>
            <p:custDataLst>
              <p:tags r:id="rId1"/>
            </p:custDataLst>
            <p:extLst>
              <p:ext uri="{D42A27DB-BD31-4B8C-83A1-F6EECF244321}">
                <p14:modId xmlns:p14="http://schemas.microsoft.com/office/powerpoint/2010/main" val="163568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349" name="think-cell data - do not delete" hidden="1">
                        <a:extLst>
                          <a:ext uri="{FF2B5EF4-FFF2-40B4-BE49-F238E27FC236}">
                            <a16:creationId xmlns:a16="http://schemas.microsoft.com/office/drawing/2014/main" id="{7C0B7BE6-52CB-D1E0-41EB-4084FB2ACF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4">
            <a:extLst>
              <a:ext uri="{FF2B5EF4-FFF2-40B4-BE49-F238E27FC236}">
                <a16:creationId xmlns:a16="http://schemas.microsoft.com/office/drawing/2014/main" id="{75B00949-0505-983D-DF51-2474A6946FEC}"/>
              </a:ext>
            </a:extLst>
          </p:cNvPr>
          <p:cNvSpPr/>
          <p:nvPr/>
        </p:nvSpPr>
        <p:spPr>
          <a:xfrm>
            <a:off x="1312370" y="4957923"/>
            <a:ext cx="10053074" cy="876865"/>
          </a:xfrm>
          <a:prstGeom prst="rect">
            <a:avLst/>
          </a:prstGeom>
          <a:solidFill>
            <a:schemeClr val="tx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sp>
        <p:nvSpPr>
          <p:cNvPr id="58" name="Oval 57">
            <a:extLst>
              <a:ext uri="{FF2B5EF4-FFF2-40B4-BE49-F238E27FC236}">
                <a16:creationId xmlns:a16="http://schemas.microsoft.com/office/drawing/2014/main" id="{87A97094-C4CB-6644-AE9C-53F6F0CCBF96}"/>
              </a:ext>
            </a:extLst>
          </p:cNvPr>
          <p:cNvSpPr/>
          <p:nvPr/>
        </p:nvSpPr>
        <p:spPr bwMode="gray">
          <a:xfrm>
            <a:off x="10132522" y="5075024"/>
            <a:ext cx="365760" cy="384048"/>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hu-HU" sz="1600" b="1" dirty="0">
              <a:solidFill>
                <a:schemeClr val="bg1"/>
              </a:solidFill>
            </a:endParaRPr>
          </a:p>
        </p:txBody>
      </p:sp>
      <p:sp>
        <p:nvSpPr>
          <p:cNvPr id="60" name="Oval 59">
            <a:extLst>
              <a:ext uri="{FF2B5EF4-FFF2-40B4-BE49-F238E27FC236}">
                <a16:creationId xmlns:a16="http://schemas.microsoft.com/office/drawing/2014/main" id="{8E2CD041-1F3C-3D26-DE47-9B38F95DD26B}"/>
              </a:ext>
            </a:extLst>
          </p:cNvPr>
          <p:cNvSpPr/>
          <p:nvPr/>
        </p:nvSpPr>
        <p:spPr bwMode="gray">
          <a:xfrm>
            <a:off x="8755563" y="5075024"/>
            <a:ext cx="365760" cy="384048"/>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hu-HU" sz="1600" b="1" dirty="0">
              <a:solidFill>
                <a:schemeClr val="bg1"/>
              </a:solidFill>
            </a:endParaRPr>
          </a:p>
        </p:txBody>
      </p:sp>
      <p:sp>
        <p:nvSpPr>
          <p:cNvPr id="61" name="Oval 60">
            <a:extLst>
              <a:ext uri="{FF2B5EF4-FFF2-40B4-BE49-F238E27FC236}">
                <a16:creationId xmlns:a16="http://schemas.microsoft.com/office/drawing/2014/main" id="{6ABE9980-71A6-9E2C-01D9-B835A0ABE608}"/>
              </a:ext>
            </a:extLst>
          </p:cNvPr>
          <p:cNvSpPr/>
          <p:nvPr/>
        </p:nvSpPr>
        <p:spPr bwMode="gray">
          <a:xfrm>
            <a:off x="7369894" y="5075024"/>
            <a:ext cx="365760" cy="384048"/>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hu-HU" sz="1600" b="1" dirty="0">
              <a:solidFill>
                <a:schemeClr val="bg1"/>
              </a:solidFill>
            </a:endParaRPr>
          </a:p>
        </p:txBody>
      </p:sp>
      <p:sp>
        <p:nvSpPr>
          <p:cNvPr id="62" name="Oval 61">
            <a:extLst>
              <a:ext uri="{FF2B5EF4-FFF2-40B4-BE49-F238E27FC236}">
                <a16:creationId xmlns:a16="http://schemas.microsoft.com/office/drawing/2014/main" id="{4BDD76BB-F33B-C73C-46E0-98C266D30E69}"/>
              </a:ext>
            </a:extLst>
          </p:cNvPr>
          <p:cNvSpPr/>
          <p:nvPr/>
        </p:nvSpPr>
        <p:spPr bwMode="gray">
          <a:xfrm>
            <a:off x="5992154" y="5075024"/>
            <a:ext cx="365760" cy="384048"/>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hu-HU" sz="1600" b="1" dirty="0">
              <a:solidFill>
                <a:schemeClr val="bg1"/>
              </a:solidFill>
            </a:endParaRPr>
          </a:p>
        </p:txBody>
      </p:sp>
      <p:sp>
        <p:nvSpPr>
          <p:cNvPr id="63" name="Oval 62">
            <a:extLst>
              <a:ext uri="{FF2B5EF4-FFF2-40B4-BE49-F238E27FC236}">
                <a16:creationId xmlns:a16="http://schemas.microsoft.com/office/drawing/2014/main" id="{1650DAA6-6036-965E-EBA2-22FD6245A852}"/>
              </a:ext>
            </a:extLst>
          </p:cNvPr>
          <p:cNvSpPr/>
          <p:nvPr/>
        </p:nvSpPr>
        <p:spPr bwMode="gray">
          <a:xfrm>
            <a:off x="4603861" y="5074962"/>
            <a:ext cx="365760" cy="384048"/>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hu-HU" sz="1600" b="1" dirty="0">
              <a:solidFill>
                <a:schemeClr val="bg1"/>
              </a:solidFill>
            </a:endParaRPr>
          </a:p>
        </p:txBody>
      </p:sp>
      <p:sp>
        <p:nvSpPr>
          <p:cNvPr id="640" name="Oval 639">
            <a:extLst>
              <a:ext uri="{FF2B5EF4-FFF2-40B4-BE49-F238E27FC236}">
                <a16:creationId xmlns:a16="http://schemas.microsoft.com/office/drawing/2014/main" id="{72888FF4-A20B-9A09-E3CA-95C66EF92F1C}"/>
              </a:ext>
            </a:extLst>
          </p:cNvPr>
          <p:cNvSpPr/>
          <p:nvPr/>
        </p:nvSpPr>
        <p:spPr bwMode="gray">
          <a:xfrm>
            <a:off x="3224588" y="5074850"/>
            <a:ext cx="365760" cy="384048"/>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hu-HU" sz="1600" b="1" dirty="0">
              <a:solidFill>
                <a:schemeClr val="bg1"/>
              </a:solidFill>
            </a:endParaRPr>
          </a:p>
        </p:txBody>
      </p:sp>
      <p:sp>
        <p:nvSpPr>
          <p:cNvPr id="641" name="Oval 640">
            <a:extLst>
              <a:ext uri="{FF2B5EF4-FFF2-40B4-BE49-F238E27FC236}">
                <a16:creationId xmlns:a16="http://schemas.microsoft.com/office/drawing/2014/main" id="{1DB5B3D0-B542-90F7-C1C1-B9D56D42608C}"/>
              </a:ext>
            </a:extLst>
          </p:cNvPr>
          <p:cNvSpPr/>
          <p:nvPr/>
        </p:nvSpPr>
        <p:spPr bwMode="gray">
          <a:xfrm>
            <a:off x="1846894" y="5067430"/>
            <a:ext cx="365760" cy="384048"/>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hu-HU" sz="1600" b="1" dirty="0">
              <a:solidFill>
                <a:schemeClr val="bg1"/>
              </a:solidFill>
            </a:endParaRPr>
          </a:p>
        </p:txBody>
      </p:sp>
      <p:grpSp>
        <p:nvGrpSpPr>
          <p:cNvPr id="50" name="Group 897">
            <a:extLst>
              <a:ext uri="{FF2B5EF4-FFF2-40B4-BE49-F238E27FC236}">
                <a16:creationId xmlns:a16="http://schemas.microsoft.com/office/drawing/2014/main" id="{28D41019-A664-1E3D-7835-53D87D26BA0C}"/>
              </a:ext>
            </a:extLst>
          </p:cNvPr>
          <p:cNvGrpSpPr>
            <a:grpSpLocks noChangeAspect="1"/>
          </p:cNvGrpSpPr>
          <p:nvPr/>
        </p:nvGrpSpPr>
        <p:grpSpPr bwMode="auto">
          <a:xfrm>
            <a:off x="10133690" y="5075596"/>
            <a:ext cx="365760" cy="381410"/>
            <a:chOff x="3891" y="3373"/>
            <a:chExt cx="340" cy="340"/>
          </a:xfrm>
          <a:solidFill>
            <a:srgbClr val="62B5E5"/>
          </a:solidFill>
          <a:effectLst/>
        </p:grpSpPr>
        <p:sp>
          <p:nvSpPr>
            <p:cNvPr id="51" name="Freeform 898">
              <a:extLst>
                <a:ext uri="{FF2B5EF4-FFF2-40B4-BE49-F238E27FC236}">
                  <a16:creationId xmlns:a16="http://schemas.microsoft.com/office/drawing/2014/main" id="{AC60F3E8-B393-28FC-BF3A-C7552BC26FC6}"/>
                </a:ext>
              </a:extLst>
            </p:cNvPr>
            <p:cNvSpPr>
              <a:spLocks noEditPoints="1"/>
            </p:cNvSpPr>
            <p:nvPr/>
          </p:nvSpPr>
          <p:spPr bwMode="auto">
            <a:xfrm>
              <a:off x="3891" y="337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sp>
          <p:nvSpPr>
            <p:cNvPr id="52" name="Oval 899">
              <a:extLst>
                <a:ext uri="{FF2B5EF4-FFF2-40B4-BE49-F238E27FC236}">
                  <a16:creationId xmlns:a16="http://schemas.microsoft.com/office/drawing/2014/main" id="{C186DEE3-9C8B-B073-BFCB-74F0E41A0EA8}"/>
                </a:ext>
              </a:extLst>
            </p:cNvPr>
            <p:cNvSpPr>
              <a:spLocks noChangeArrowheads="1"/>
            </p:cNvSpPr>
            <p:nvPr/>
          </p:nvSpPr>
          <p:spPr bwMode="auto">
            <a:xfrm>
              <a:off x="3968" y="3456"/>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grpSp>
      <p:sp>
        <p:nvSpPr>
          <p:cNvPr id="10" name="Rectangle 3">
            <a:extLst>
              <a:ext uri="{FF2B5EF4-FFF2-40B4-BE49-F238E27FC236}">
                <a16:creationId xmlns:a16="http://schemas.microsoft.com/office/drawing/2014/main" id="{64E407C5-B845-04EA-F252-B566FD056CC0}"/>
              </a:ext>
            </a:extLst>
          </p:cNvPr>
          <p:cNvSpPr/>
          <p:nvPr/>
        </p:nvSpPr>
        <p:spPr bwMode="gray">
          <a:xfrm>
            <a:off x="444176" y="4957922"/>
            <a:ext cx="891415" cy="890756"/>
          </a:xfrm>
          <a:prstGeom prst="rect">
            <a:avLst/>
          </a:prstGeom>
          <a:solidFill>
            <a:srgbClr val="62B5E5"/>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FFFFFF"/>
                </a:solidFill>
                <a:effectLst/>
                <a:uLnTx/>
                <a:uFillTx/>
                <a:latin typeface="Open Sans (Body)"/>
              </a:rPr>
              <a:t>Model evaluation criteria</a:t>
            </a:r>
          </a:p>
        </p:txBody>
      </p:sp>
      <p:sp>
        <p:nvSpPr>
          <p:cNvPr id="12" name="Rectangle 5">
            <a:extLst>
              <a:ext uri="{FF2B5EF4-FFF2-40B4-BE49-F238E27FC236}">
                <a16:creationId xmlns:a16="http://schemas.microsoft.com/office/drawing/2014/main" id="{FB726A82-7727-E9DF-9DB8-439FA5BB35D1}"/>
              </a:ext>
            </a:extLst>
          </p:cNvPr>
          <p:cNvSpPr/>
          <p:nvPr/>
        </p:nvSpPr>
        <p:spPr bwMode="gray">
          <a:xfrm>
            <a:off x="1410538" y="5530602"/>
            <a:ext cx="1315257" cy="168654"/>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Open Sans (Body)"/>
              </a:rPr>
              <a:t>Type of change</a:t>
            </a:r>
          </a:p>
        </p:txBody>
      </p:sp>
      <p:sp>
        <p:nvSpPr>
          <p:cNvPr id="13" name="Rectangle 6">
            <a:extLst>
              <a:ext uri="{FF2B5EF4-FFF2-40B4-BE49-F238E27FC236}">
                <a16:creationId xmlns:a16="http://schemas.microsoft.com/office/drawing/2014/main" id="{F4AD75FB-457D-EDF7-8E14-BBA5C830B9FC}"/>
              </a:ext>
            </a:extLst>
          </p:cNvPr>
          <p:cNvSpPr/>
          <p:nvPr/>
        </p:nvSpPr>
        <p:spPr bwMode="gray">
          <a:xfrm>
            <a:off x="2718951" y="5419443"/>
            <a:ext cx="1581087" cy="390973"/>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Open Sans (Body)"/>
              </a:rPr>
              <a:t>Customer intimacy</a:t>
            </a:r>
          </a:p>
        </p:txBody>
      </p:sp>
      <p:sp>
        <p:nvSpPr>
          <p:cNvPr id="15" name="Rectangle 7">
            <a:extLst>
              <a:ext uri="{FF2B5EF4-FFF2-40B4-BE49-F238E27FC236}">
                <a16:creationId xmlns:a16="http://schemas.microsoft.com/office/drawing/2014/main" id="{E005F738-84F6-8F34-1D1E-EE46815DF292}"/>
              </a:ext>
            </a:extLst>
          </p:cNvPr>
          <p:cNvSpPr/>
          <p:nvPr/>
        </p:nvSpPr>
        <p:spPr bwMode="gray">
          <a:xfrm>
            <a:off x="4460171" y="5495072"/>
            <a:ext cx="1097280" cy="239714"/>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i="0" u="none" strike="noStrike" kern="1200" cap="none" spc="0" normalizeH="0" baseline="0" noProof="0" dirty="0">
                <a:ln>
                  <a:noFill/>
                </a:ln>
                <a:solidFill>
                  <a:srgbClr val="000000"/>
                </a:solidFill>
                <a:effectLst/>
                <a:uLnTx/>
                <a:uFillTx/>
                <a:latin typeface="Open Sans (Body)"/>
              </a:rPr>
              <a:t>Culture</a:t>
            </a:r>
          </a:p>
        </p:txBody>
      </p:sp>
      <p:sp>
        <p:nvSpPr>
          <p:cNvPr id="17" name="Rectangle 8">
            <a:extLst>
              <a:ext uri="{FF2B5EF4-FFF2-40B4-BE49-F238E27FC236}">
                <a16:creationId xmlns:a16="http://schemas.microsoft.com/office/drawing/2014/main" id="{8F4B8415-FF03-2188-6BAE-84FE7814BB9D}"/>
              </a:ext>
            </a:extLst>
          </p:cNvPr>
          <p:cNvSpPr/>
          <p:nvPr/>
        </p:nvSpPr>
        <p:spPr bwMode="gray">
          <a:xfrm>
            <a:off x="5609906" y="5477636"/>
            <a:ext cx="1322934" cy="274586"/>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i="0" u="none" strike="noStrike" kern="1200" cap="none" spc="0" normalizeH="0" baseline="0" noProof="0" dirty="0">
                <a:ln>
                  <a:noFill/>
                </a:ln>
                <a:solidFill>
                  <a:srgbClr val="000000"/>
                </a:solidFill>
                <a:effectLst/>
                <a:uLnTx/>
                <a:uFillTx/>
                <a:latin typeface="Open Sans (Body)"/>
              </a:rPr>
              <a:t>Connections</a:t>
            </a:r>
          </a:p>
        </p:txBody>
      </p:sp>
      <p:sp>
        <p:nvSpPr>
          <p:cNvPr id="19" name="Rectangle 13">
            <a:extLst>
              <a:ext uri="{FF2B5EF4-FFF2-40B4-BE49-F238E27FC236}">
                <a16:creationId xmlns:a16="http://schemas.microsoft.com/office/drawing/2014/main" id="{52A25D0A-8E26-CE0C-5F45-0CB0FDF38E83}"/>
              </a:ext>
            </a:extLst>
          </p:cNvPr>
          <p:cNvSpPr/>
          <p:nvPr/>
        </p:nvSpPr>
        <p:spPr bwMode="gray">
          <a:xfrm>
            <a:off x="7175430" y="5474009"/>
            <a:ext cx="993583" cy="281841"/>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Open Sans (Body)"/>
              </a:rPr>
              <a:t>Control</a:t>
            </a:r>
          </a:p>
        </p:txBody>
      </p:sp>
      <p:sp>
        <p:nvSpPr>
          <p:cNvPr id="22" name="Rectangle 15">
            <a:extLst>
              <a:ext uri="{FF2B5EF4-FFF2-40B4-BE49-F238E27FC236}">
                <a16:creationId xmlns:a16="http://schemas.microsoft.com/office/drawing/2014/main" id="{4493A914-B4A6-440E-6555-321ABE8CF5BD}"/>
              </a:ext>
            </a:extLst>
          </p:cNvPr>
          <p:cNvSpPr/>
          <p:nvPr/>
        </p:nvSpPr>
        <p:spPr bwMode="gray">
          <a:xfrm>
            <a:off x="8489278" y="5509841"/>
            <a:ext cx="1048582" cy="210176"/>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Open Sans (Body)"/>
              </a:rPr>
              <a:t>Execution</a:t>
            </a:r>
          </a:p>
        </p:txBody>
      </p:sp>
      <p:sp>
        <p:nvSpPr>
          <p:cNvPr id="23" name="Rectangle 17">
            <a:extLst>
              <a:ext uri="{FF2B5EF4-FFF2-40B4-BE49-F238E27FC236}">
                <a16:creationId xmlns:a16="http://schemas.microsoft.com/office/drawing/2014/main" id="{ACB09898-361F-65B9-15C9-5393AD63A425}"/>
              </a:ext>
            </a:extLst>
          </p:cNvPr>
          <p:cNvSpPr/>
          <p:nvPr/>
        </p:nvSpPr>
        <p:spPr bwMode="gray">
          <a:xfrm>
            <a:off x="9757138" y="5509841"/>
            <a:ext cx="1260475" cy="210176"/>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Open Sans (Body)"/>
              </a:rPr>
              <a:t>Responsibility</a:t>
            </a:r>
          </a:p>
        </p:txBody>
      </p:sp>
      <p:sp>
        <p:nvSpPr>
          <p:cNvPr id="24" name="Freeform 259">
            <a:extLst>
              <a:ext uri="{FF2B5EF4-FFF2-40B4-BE49-F238E27FC236}">
                <a16:creationId xmlns:a16="http://schemas.microsoft.com/office/drawing/2014/main" id="{B2F59485-322D-8CEC-68E8-713DC0CD753A}"/>
              </a:ext>
            </a:extLst>
          </p:cNvPr>
          <p:cNvSpPr>
            <a:spLocks noChangeAspect="1" noEditPoints="1"/>
          </p:cNvSpPr>
          <p:nvPr/>
        </p:nvSpPr>
        <p:spPr bwMode="auto">
          <a:xfrm>
            <a:off x="1846894" y="5067943"/>
            <a:ext cx="365760" cy="382533"/>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rgbClr val="62B5E5"/>
          </a:solidFill>
          <a:ln>
            <a:noFill/>
          </a:ln>
          <a:effec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sp>
        <p:nvSpPr>
          <p:cNvPr id="25" name="Freeform 189">
            <a:extLst>
              <a:ext uri="{FF2B5EF4-FFF2-40B4-BE49-F238E27FC236}">
                <a16:creationId xmlns:a16="http://schemas.microsoft.com/office/drawing/2014/main" id="{F4192AE7-B116-FD2B-B542-EB061CDD7F8F}"/>
              </a:ext>
            </a:extLst>
          </p:cNvPr>
          <p:cNvSpPr>
            <a:spLocks noChangeAspect="1" noEditPoints="1"/>
          </p:cNvSpPr>
          <p:nvPr/>
        </p:nvSpPr>
        <p:spPr bwMode="auto">
          <a:xfrm>
            <a:off x="3228026" y="5075563"/>
            <a:ext cx="365760" cy="38141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2B5E5"/>
          </a:solidFill>
          <a:ln>
            <a:noFill/>
          </a:ln>
          <a:effec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sp>
        <p:nvSpPr>
          <p:cNvPr id="26" name="Freeform 10">
            <a:extLst>
              <a:ext uri="{FF2B5EF4-FFF2-40B4-BE49-F238E27FC236}">
                <a16:creationId xmlns:a16="http://schemas.microsoft.com/office/drawing/2014/main" id="{5589554D-5F38-DCD2-B3A0-2B70448B3C3D}"/>
              </a:ext>
            </a:extLst>
          </p:cNvPr>
          <p:cNvSpPr>
            <a:spLocks noEditPoints="1"/>
          </p:cNvSpPr>
          <p:nvPr/>
        </p:nvSpPr>
        <p:spPr bwMode="auto">
          <a:xfrm>
            <a:off x="4609158" y="5075563"/>
            <a:ext cx="365765" cy="379496"/>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rgbClr val="62B5E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sp>
        <p:nvSpPr>
          <p:cNvPr id="27" name="Freeform 756">
            <a:extLst>
              <a:ext uri="{FF2B5EF4-FFF2-40B4-BE49-F238E27FC236}">
                <a16:creationId xmlns:a16="http://schemas.microsoft.com/office/drawing/2014/main" id="{89675912-C543-6B88-918E-742366AF786F}"/>
              </a:ext>
            </a:extLst>
          </p:cNvPr>
          <p:cNvSpPr>
            <a:spLocks noChangeAspect="1" noEditPoints="1"/>
          </p:cNvSpPr>
          <p:nvPr/>
        </p:nvSpPr>
        <p:spPr bwMode="auto">
          <a:xfrm>
            <a:off x="5990295" y="5075563"/>
            <a:ext cx="365760" cy="38141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62B5E5"/>
          </a:solidFill>
          <a:ln>
            <a:noFill/>
          </a:ln>
          <a:effec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sp>
        <p:nvSpPr>
          <p:cNvPr id="29" name="Freeform 813">
            <a:extLst>
              <a:ext uri="{FF2B5EF4-FFF2-40B4-BE49-F238E27FC236}">
                <a16:creationId xmlns:a16="http://schemas.microsoft.com/office/drawing/2014/main" id="{DF8AA294-DEFD-2939-3CCB-66802D185C7E}"/>
              </a:ext>
            </a:extLst>
          </p:cNvPr>
          <p:cNvSpPr>
            <a:spLocks noChangeAspect="1" noEditPoints="1"/>
          </p:cNvSpPr>
          <p:nvPr/>
        </p:nvSpPr>
        <p:spPr bwMode="auto">
          <a:xfrm>
            <a:off x="7371427" y="5075563"/>
            <a:ext cx="365760" cy="381410"/>
          </a:xfrm>
          <a:custGeom>
            <a:avLst/>
            <a:gdLst>
              <a:gd name="T0" fmla="*/ 352 w 512"/>
              <a:gd name="T1" fmla="*/ 245 h 512"/>
              <a:gd name="T2" fmla="*/ 288 w 512"/>
              <a:gd name="T3" fmla="*/ 245 h 512"/>
              <a:gd name="T4" fmla="*/ 288 w 512"/>
              <a:gd name="T5" fmla="*/ 202 h 512"/>
              <a:gd name="T6" fmla="*/ 352 w 512"/>
              <a:gd name="T7" fmla="*/ 202 h 512"/>
              <a:gd name="T8" fmla="*/ 352 w 512"/>
              <a:gd name="T9" fmla="*/ 245 h 512"/>
              <a:gd name="T10" fmla="*/ 224 w 512"/>
              <a:gd name="T11" fmla="*/ 202 h 512"/>
              <a:gd name="T12" fmla="*/ 160 w 512"/>
              <a:gd name="T13" fmla="*/ 202 h 512"/>
              <a:gd name="T14" fmla="*/ 160 w 512"/>
              <a:gd name="T15" fmla="*/ 245 h 512"/>
              <a:gd name="T16" fmla="*/ 224 w 512"/>
              <a:gd name="T17" fmla="*/ 245 h 512"/>
              <a:gd name="T18" fmla="*/ 224 w 512"/>
              <a:gd name="T19" fmla="*/ 202 h 512"/>
              <a:gd name="T20" fmla="*/ 320 w 512"/>
              <a:gd name="T21" fmla="*/ 138 h 512"/>
              <a:gd name="T22" fmla="*/ 330 w 512"/>
              <a:gd name="T23" fmla="*/ 128 h 512"/>
              <a:gd name="T24" fmla="*/ 320 w 512"/>
              <a:gd name="T25" fmla="*/ 117 h 512"/>
              <a:gd name="T26" fmla="*/ 309 w 512"/>
              <a:gd name="T27" fmla="*/ 128 h 512"/>
              <a:gd name="T28" fmla="*/ 320 w 512"/>
              <a:gd name="T29" fmla="*/ 138 h 512"/>
              <a:gd name="T30" fmla="*/ 192 w 512"/>
              <a:gd name="T31" fmla="*/ 138 h 512"/>
              <a:gd name="T32" fmla="*/ 202 w 512"/>
              <a:gd name="T33" fmla="*/ 128 h 512"/>
              <a:gd name="T34" fmla="*/ 192 w 512"/>
              <a:gd name="T35" fmla="*/ 117 h 512"/>
              <a:gd name="T36" fmla="*/ 181 w 512"/>
              <a:gd name="T37" fmla="*/ 128 h 512"/>
              <a:gd name="T38" fmla="*/ 192 w 512"/>
              <a:gd name="T39" fmla="*/ 138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88 w 512"/>
              <a:gd name="T51" fmla="*/ 128 h 512"/>
              <a:gd name="T52" fmla="*/ 320 w 512"/>
              <a:gd name="T53" fmla="*/ 160 h 512"/>
              <a:gd name="T54" fmla="*/ 352 w 512"/>
              <a:gd name="T55" fmla="*/ 128 h 512"/>
              <a:gd name="T56" fmla="*/ 320 w 512"/>
              <a:gd name="T57" fmla="*/ 96 h 512"/>
              <a:gd name="T58" fmla="*/ 288 w 512"/>
              <a:gd name="T59" fmla="*/ 128 h 512"/>
              <a:gd name="T60" fmla="*/ 160 w 512"/>
              <a:gd name="T61" fmla="*/ 128 h 512"/>
              <a:gd name="T62" fmla="*/ 192 w 512"/>
              <a:gd name="T63" fmla="*/ 160 h 512"/>
              <a:gd name="T64" fmla="*/ 224 w 512"/>
              <a:gd name="T65" fmla="*/ 128 h 512"/>
              <a:gd name="T66" fmla="*/ 192 w 512"/>
              <a:gd name="T67" fmla="*/ 96 h 512"/>
              <a:gd name="T68" fmla="*/ 160 w 512"/>
              <a:gd name="T69" fmla="*/ 128 h 512"/>
              <a:gd name="T70" fmla="*/ 405 w 512"/>
              <a:gd name="T71" fmla="*/ 256 h 512"/>
              <a:gd name="T72" fmla="*/ 394 w 512"/>
              <a:gd name="T73" fmla="*/ 245 h 512"/>
              <a:gd name="T74" fmla="*/ 373 w 512"/>
              <a:gd name="T75" fmla="*/ 245 h 512"/>
              <a:gd name="T76" fmla="*/ 373 w 512"/>
              <a:gd name="T77" fmla="*/ 192 h 512"/>
              <a:gd name="T78" fmla="*/ 362 w 512"/>
              <a:gd name="T79" fmla="*/ 181 h 512"/>
              <a:gd name="T80" fmla="*/ 277 w 512"/>
              <a:gd name="T81" fmla="*/ 181 h 512"/>
              <a:gd name="T82" fmla="*/ 266 w 512"/>
              <a:gd name="T83" fmla="*/ 192 h 512"/>
              <a:gd name="T84" fmla="*/ 266 w 512"/>
              <a:gd name="T85" fmla="*/ 245 h 512"/>
              <a:gd name="T86" fmla="*/ 245 w 512"/>
              <a:gd name="T87" fmla="*/ 245 h 512"/>
              <a:gd name="T88" fmla="*/ 245 w 512"/>
              <a:gd name="T89" fmla="*/ 192 h 512"/>
              <a:gd name="T90" fmla="*/ 234 w 512"/>
              <a:gd name="T91" fmla="*/ 181 h 512"/>
              <a:gd name="T92" fmla="*/ 149 w 512"/>
              <a:gd name="T93" fmla="*/ 181 h 512"/>
              <a:gd name="T94" fmla="*/ 138 w 512"/>
              <a:gd name="T95" fmla="*/ 192 h 512"/>
              <a:gd name="T96" fmla="*/ 138 w 512"/>
              <a:gd name="T97" fmla="*/ 245 h 512"/>
              <a:gd name="T98" fmla="*/ 117 w 512"/>
              <a:gd name="T99" fmla="*/ 245 h 512"/>
              <a:gd name="T100" fmla="*/ 106 w 512"/>
              <a:gd name="T101" fmla="*/ 256 h 512"/>
              <a:gd name="T102" fmla="*/ 117 w 512"/>
              <a:gd name="T103" fmla="*/ 266 h 512"/>
              <a:gd name="T104" fmla="*/ 117 w 512"/>
              <a:gd name="T105" fmla="*/ 384 h 512"/>
              <a:gd name="T106" fmla="*/ 128 w 512"/>
              <a:gd name="T107" fmla="*/ 394 h 512"/>
              <a:gd name="T108" fmla="*/ 384 w 512"/>
              <a:gd name="T109" fmla="*/ 394 h 512"/>
              <a:gd name="T110" fmla="*/ 394 w 512"/>
              <a:gd name="T111" fmla="*/ 384 h 512"/>
              <a:gd name="T112" fmla="*/ 394 w 512"/>
              <a:gd name="T113" fmla="*/ 266 h 512"/>
              <a:gd name="T114" fmla="*/ 405 w 512"/>
              <a:gd name="T115" fmla="*/ 256 h 512"/>
              <a:gd name="T116" fmla="*/ 138 w 512"/>
              <a:gd name="T117" fmla="*/ 373 h 512"/>
              <a:gd name="T118" fmla="*/ 373 w 512"/>
              <a:gd name="T119" fmla="*/ 373 h 512"/>
              <a:gd name="T120" fmla="*/ 373 w 512"/>
              <a:gd name="T121" fmla="*/ 266 h 512"/>
              <a:gd name="T122" fmla="*/ 138 w 512"/>
              <a:gd name="T123" fmla="*/ 266 h 512"/>
              <a:gd name="T124" fmla="*/ 138 w 512"/>
              <a:gd name="T12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2" y="245"/>
                </a:moveTo>
                <a:cubicBezTo>
                  <a:pt x="288" y="245"/>
                  <a:pt x="288" y="245"/>
                  <a:pt x="288" y="245"/>
                </a:cubicBezTo>
                <a:cubicBezTo>
                  <a:pt x="288" y="202"/>
                  <a:pt x="288" y="202"/>
                  <a:pt x="288" y="202"/>
                </a:cubicBezTo>
                <a:cubicBezTo>
                  <a:pt x="352" y="202"/>
                  <a:pt x="352" y="202"/>
                  <a:pt x="352" y="202"/>
                </a:cubicBezTo>
                <a:lnTo>
                  <a:pt x="352" y="245"/>
                </a:lnTo>
                <a:close/>
                <a:moveTo>
                  <a:pt x="224" y="202"/>
                </a:moveTo>
                <a:cubicBezTo>
                  <a:pt x="160" y="202"/>
                  <a:pt x="160" y="202"/>
                  <a:pt x="160" y="202"/>
                </a:cubicBezTo>
                <a:cubicBezTo>
                  <a:pt x="160" y="245"/>
                  <a:pt x="160" y="245"/>
                  <a:pt x="160" y="245"/>
                </a:cubicBezTo>
                <a:cubicBezTo>
                  <a:pt x="224" y="245"/>
                  <a:pt x="224" y="245"/>
                  <a:pt x="224" y="245"/>
                </a:cubicBezTo>
                <a:lnTo>
                  <a:pt x="224" y="202"/>
                </a:lnTo>
                <a:close/>
                <a:moveTo>
                  <a:pt x="320" y="138"/>
                </a:moveTo>
                <a:cubicBezTo>
                  <a:pt x="326" y="138"/>
                  <a:pt x="330" y="134"/>
                  <a:pt x="330" y="128"/>
                </a:cubicBezTo>
                <a:cubicBezTo>
                  <a:pt x="330" y="122"/>
                  <a:pt x="326" y="117"/>
                  <a:pt x="320" y="117"/>
                </a:cubicBezTo>
                <a:cubicBezTo>
                  <a:pt x="314" y="117"/>
                  <a:pt x="309" y="122"/>
                  <a:pt x="309" y="128"/>
                </a:cubicBezTo>
                <a:cubicBezTo>
                  <a:pt x="309" y="134"/>
                  <a:pt x="314" y="138"/>
                  <a:pt x="320" y="138"/>
                </a:cubicBezTo>
                <a:close/>
                <a:moveTo>
                  <a:pt x="192" y="138"/>
                </a:moveTo>
                <a:cubicBezTo>
                  <a:pt x="198" y="138"/>
                  <a:pt x="202" y="134"/>
                  <a:pt x="202" y="128"/>
                </a:cubicBezTo>
                <a:cubicBezTo>
                  <a:pt x="202" y="122"/>
                  <a:pt x="198" y="117"/>
                  <a:pt x="192" y="117"/>
                </a:cubicBezTo>
                <a:cubicBezTo>
                  <a:pt x="186" y="117"/>
                  <a:pt x="181" y="122"/>
                  <a:pt x="181" y="128"/>
                </a:cubicBezTo>
                <a:cubicBezTo>
                  <a:pt x="181" y="134"/>
                  <a:pt x="186" y="138"/>
                  <a:pt x="19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128"/>
                </a:moveTo>
                <a:cubicBezTo>
                  <a:pt x="288" y="145"/>
                  <a:pt x="302" y="160"/>
                  <a:pt x="320" y="160"/>
                </a:cubicBezTo>
                <a:cubicBezTo>
                  <a:pt x="337" y="160"/>
                  <a:pt x="352" y="145"/>
                  <a:pt x="352" y="128"/>
                </a:cubicBezTo>
                <a:cubicBezTo>
                  <a:pt x="352" y="110"/>
                  <a:pt x="337" y="96"/>
                  <a:pt x="320" y="96"/>
                </a:cubicBezTo>
                <a:cubicBezTo>
                  <a:pt x="302" y="96"/>
                  <a:pt x="288" y="110"/>
                  <a:pt x="288" y="128"/>
                </a:cubicBezTo>
                <a:close/>
                <a:moveTo>
                  <a:pt x="160" y="128"/>
                </a:moveTo>
                <a:cubicBezTo>
                  <a:pt x="160" y="145"/>
                  <a:pt x="174" y="160"/>
                  <a:pt x="192" y="160"/>
                </a:cubicBezTo>
                <a:cubicBezTo>
                  <a:pt x="209" y="160"/>
                  <a:pt x="224" y="145"/>
                  <a:pt x="224" y="128"/>
                </a:cubicBezTo>
                <a:cubicBezTo>
                  <a:pt x="224" y="110"/>
                  <a:pt x="209" y="96"/>
                  <a:pt x="192" y="96"/>
                </a:cubicBezTo>
                <a:cubicBezTo>
                  <a:pt x="174" y="96"/>
                  <a:pt x="160" y="110"/>
                  <a:pt x="160" y="128"/>
                </a:cubicBezTo>
                <a:close/>
                <a:moveTo>
                  <a:pt x="405" y="256"/>
                </a:moveTo>
                <a:cubicBezTo>
                  <a:pt x="405" y="250"/>
                  <a:pt x="400" y="245"/>
                  <a:pt x="394" y="245"/>
                </a:cubicBezTo>
                <a:cubicBezTo>
                  <a:pt x="373" y="245"/>
                  <a:pt x="373" y="245"/>
                  <a:pt x="373" y="245"/>
                </a:cubicBezTo>
                <a:cubicBezTo>
                  <a:pt x="373" y="192"/>
                  <a:pt x="373" y="192"/>
                  <a:pt x="373" y="192"/>
                </a:cubicBezTo>
                <a:cubicBezTo>
                  <a:pt x="373" y="186"/>
                  <a:pt x="368" y="181"/>
                  <a:pt x="362" y="181"/>
                </a:cubicBezTo>
                <a:cubicBezTo>
                  <a:pt x="277" y="181"/>
                  <a:pt x="277" y="181"/>
                  <a:pt x="277" y="181"/>
                </a:cubicBezTo>
                <a:cubicBezTo>
                  <a:pt x="271" y="181"/>
                  <a:pt x="266" y="186"/>
                  <a:pt x="266" y="192"/>
                </a:cubicBezTo>
                <a:cubicBezTo>
                  <a:pt x="266" y="245"/>
                  <a:pt x="266" y="245"/>
                  <a:pt x="266" y="245"/>
                </a:cubicBezTo>
                <a:cubicBezTo>
                  <a:pt x="245" y="245"/>
                  <a:pt x="245" y="245"/>
                  <a:pt x="245" y="245"/>
                </a:cubicBezTo>
                <a:cubicBezTo>
                  <a:pt x="245" y="192"/>
                  <a:pt x="245" y="192"/>
                  <a:pt x="245" y="192"/>
                </a:cubicBezTo>
                <a:cubicBezTo>
                  <a:pt x="245" y="186"/>
                  <a:pt x="240" y="181"/>
                  <a:pt x="234" y="181"/>
                </a:cubicBezTo>
                <a:cubicBezTo>
                  <a:pt x="149" y="181"/>
                  <a:pt x="149" y="181"/>
                  <a:pt x="149" y="181"/>
                </a:cubicBezTo>
                <a:cubicBezTo>
                  <a:pt x="143" y="181"/>
                  <a:pt x="138" y="186"/>
                  <a:pt x="138" y="192"/>
                </a:cubicBezTo>
                <a:cubicBezTo>
                  <a:pt x="138" y="245"/>
                  <a:pt x="138" y="245"/>
                  <a:pt x="138" y="245"/>
                </a:cubicBezTo>
                <a:cubicBezTo>
                  <a:pt x="117" y="245"/>
                  <a:pt x="117" y="245"/>
                  <a:pt x="117" y="245"/>
                </a:cubicBezTo>
                <a:cubicBezTo>
                  <a:pt x="111" y="245"/>
                  <a:pt x="106" y="250"/>
                  <a:pt x="106" y="256"/>
                </a:cubicBezTo>
                <a:cubicBezTo>
                  <a:pt x="106" y="262"/>
                  <a:pt x="112" y="266"/>
                  <a:pt x="117" y="266"/>
                </a:cubicBezTo>
                <a:cubicBezTo>
                  <a:pt x="117" y="384"/>
                  <a:pt x="117" y="384"/>
                  <a:pt x="117" y="384"/>
                </a:cubicBezTo>
                <a:cubicBezTo>
                  <a:pt x="117" y="390"/>
                  <a:pt x="122" y="394"/>
                  <a:pt x="128" y="394"/>
                </a:cubicBezTo>
                <a:cubicBezTo>
                  <a:pt x="384" y="394"/>
                  <a:pt x="384" y="394"/>
                  <a:pt x="384" y="394"/>
                </a:cubicBezTo>
                <a:cubicBezTo>
                  <a:pt x="390" y="394"/>
                  <a:pt x="394" y="390"/>
                  <a:pt x="394" y="384"/>
                </a:cubicBezTo>
                <a:cubicBezTo>
                  <a:pt x="394" y="266"/>
                  <a:pt x="394" y="266"/>
                  <a:pt x="394" y="266"/>
                </a:cubicBezTo>
                <a:cubicBezTo>
                  <a:pt x="400" y="266"/>
                  <a:pt x="405" y="262"/>
                  <a:pt x="405" y="256"/>
                </a:cubicBezTo>
                <a:close/>
                <a:moveTo>
                  <a:pt x="138" y="373"/>
                </a:moveTo>
                <a:cubicBezTo>
                  <a:pt x="373" y="373"/>
                  <a:pt x="373" y="373"/>
                  <a:pt x="373" y="373"/>
                </a:cubicBezTo>
                <a:cubicBezTo>
                  <a:pt x="373" y="266"/>
                  <a:pt x="373" y="266"/>
                  <a:pt x="373" y="266"/>
                </a:cubicBezTo>
                <a:cubicBezTo>
                  <a:pt x="138" y="266"/>
                  <a:pt x="138" y="266"/>
                  <a:pt x="138" y="266"/>
                </a:cubicBezTo>
                <a:lnTo>
                  <a:pt x="138" y="373"/>
                </a:lnTo>
                <a:close/>
              </a:path>
            </a:pathLst>
          </a:custGeom>
          <a:solidFill>
            <a:srgbClr val="62B5E5"/>
          </a:solidFill>
          <a:ln>
            <a:noFill/>
          </a:ln>
          <a:effec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sp>
        <p:nvSpPr>
          <p:cNvPr id="49" name="Freeform 976">
            <a:extLst>
              <a:ext uri="{FF2B5EF4-FFF2-40B4-BE49-F238E27FC236}">
                <a16:creationId xmlns:a16="http://schemas.microsoft.com/office/drawing/2014/main" id="{A3B2C8F6-2AFD-B797-C43A-696008742D43}"/>
              </a:ext>
            </a:extLst>
          </p:cNvPr>
          <p:cNvSpPr>
            <a:spLocks noChangeAspect="1" noEditPoints="1"/>
          </p:cNvSpPr>
          <p:nvPr/>
        </p:nvSpPr>
        <p:spPr bwMode="auto">
          <a:xfrm>
            <a:off x="8762084" y="5075563"/>
            <a:ext cx="365760" cy="3814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62B5E5"/>
          </a:solidFill>
          <a:ln>
            <a:noFill/>
          </a:ln>
          <a:effec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Body)"/>
            </a:endParaRPr>
          </a:p>
        </p:txBody>
      </p:sp>
      <p:sp>
        <p:nvSpPr>
          <p:cNvPr id="53" name="object 38">
            <a:extLst>
              <a:ext uri="{FF2B5EF4-FFF2-40B4-BE49-F238E27FC236}">
                <a16:creationId xmlns:a16="http://schemas.microsoft.com/office/drawing/2014/main" id="{E6F3A5BD-C97C-28FC-DFF1-1FC3FA34874E}"/>
              </a:ext>
            </a:extLst>
          </p:cNvPr>
          <p:cNvSpPr txBox="1"/>
          <p:nvPr/>
        </p:nvSpPr>
        <p:spPr>
          <a:xfrm>
            <a:off x="1851435" y="6151923"/>
            <a:ext cx="3210349" cy="369332"/>
          </a:xfrm>
          <a:prstGeom prst="rect">
            <a:avLst/>
          </a:prstGeom>
        </p:spPr>
        <p:txBody>
          <a:bodyPr vert="horz" wrap="square" lIns="0" tIns="0" rIns="0" bIns="0" rtlCol="0">
            <a:spAutoFit/>
          </a:bodyPr>
          <a:lstStyle/>
          <a:p>
            <a:pPr marL="13999" marR="560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6" normalizeH="0" baseline="0" noProof="0" dirty="0">
                <a:ln>
                  <a:noFill/>
                </a:ln>
                <a:solidFill>
                  <a:srgbClr val="000000"/>
                </a:solidFill>
                <a:effectLst/>
                <a:uLnTx/>
                <a:uFillTx/>
                <a:latin typeface="Open Sans (Body)"/>
                <a:ea typeface="Verdana" panose="020B0604030504040204" pitchFamily="34" charset="0"/>
                <a:cs typeface="Verdana" panose="020B0604030504040204" pitchFamily="34" charset="0"/>
              </a:rPr>
              <a:t>It can be derived from the strategic / business expectations of the organization</a:t>
            </a:r>
            <a:endParaRPr kumimoji="0" lang="en-US" sz="1200" i="0" u="none" strike="noStrike" kern="1200" cap="none" spc="0" normalizeH="0" baseline="0" noProof="0" dirty="0">
              <a:ln>
                <a:noFill/>
              </a:ln>
              <a:solidFill>
                <a:srgbClr val="000000"/>
              </a:solidFill>
              <a:effectLst/>
              <a:uLnTx/>
              <a:uFillTx/>
              <a:latin typeface="Open Sans (Body)"/>
              <a:ea typeface="Verdana" panose="020B0604030504040204" pitchFamily="34" charset="0"/>
              <a:cs typeface="Verdana" panose="020B0604030504040204" pitchFamily="34" charset="0"/>
            </a:endParaRPr>
          </a:p>
        </p:txBody>
      </p:sp>
      <p:sp>
        <p:nvSpPr>
          <p:cNvPr id="54" name="object 42">
            <a:extLst>
              <a:ext uri="{FF2B5EF4-FFF2-40B4-BE49-F238E27FC236}">
                <a16:creationId xmlns:a16="http://schemas.microsoft.com/office/drawing/2014/main" id="{8F322188-4E00-AD49-37E1-B9DAB6BFADA7}"/>
              </a:ext>
            </a:extLst>
          </p:cNvPr>
          <p:cNvSpPr txBox="1"/>
          <p:nvPr/>
        </p:nvSpPr>
        <p:spPr>
          <a:xfrm>
            <a:off x="6479729" y="6151923"/>
            <a:ext cx="3998332" cy="369332"/>
          </a:xfrm>
          <a:prstGeom prst="rect">
            <a:avLst/>
          </a:prstGeom>
        </p:spPr>
        <p:txBody>
          <a:bodyPr vert="horz" wrap="square" lIns="0" tIns="0" rIns="0" bIns="0" rtlCol="0">
            <a:spAutoFit/>
          </a:bodyPr>
          <a:lstStyle>
            <a:defPPr>
              <a:defRPr lang="en-US"/>
            </a:defPPr>
            <a:lvl1pPr marL="13999" marR="5600" algn="ctr">
              <a:defRPr sz="1400" b="1" spc="-6">
                <a:ea typeface="Verdana" panose="020B0604030504040204" pitchFamily="34" charset="0"/>
                <a:cs typeface="Verdana" panose="020B0604030504040204" pitchFamily="34" charset="0"/>
              </a:defRPr>
            </a:lvl1pPr>
          </a:lstStyle>
          <a:p>
            <a:pPr marL="13999" marR="560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6" normalizeH="0" baseline="0" noProof="0" dirty="0">
                <a:ln>
                  <a:noFill/>
                </a:ln>
                <a:solidFill>
                  <a:srgbClr val="000000"/>
                </a:solidFill>
                <a:effectLst/>
                <a:uLnTx/>
                <a:uFillTx/>
                <a:latin typeface="Open Sans (Body)"/>
              </a:rPr>
              <a:t>It can be derived from the organization’s operational expectations and capability assessment</a:t>
            </a:r>
          </a:p>
        </p:txBody>
      </p:sp>
      <p:sp>
        <p:nvSpPr>
          <p:cNvPr id="2" name="Text Placeholder 1">
            <a:extLst>
              <a:ext uri="{FF2B5EF4-FFF2-40B4-BE49-F238E27FC236}">
                <a16:creationId xmlns:a16="http://schemas.microsoft.com/office/drawing/2014/main" id="{2AF28E11-6F2C-2C86-11DE-5E35143FB0BC}"/>
              </a:ext>
            </a:extLst>
          </p:cNvPr>
          <p:cNvSpPr>
            <a:spLocks noGrp="1"/>
          </p:cNvSpPr>
          <p:nvPr>
            <p:ph type="body" sz="quarter" idx="22"/>
          </p:nvPr>
        </p:nvSpPr>
        <p:spPr/>
        <p:txBody>
          <a:bodyPr/>
          <a:lstStyle/>
          <a:p>
            <a:r>
              <a:rPr lang="en-US" dirty="0"/>
              <a:t>The right-fit operating model is a key enabler for efficient operation that must be aligned with the strategy</a:t>
            </a:r>
          </a:p>
          <a:p>
            <a:endParaRPr lang="en-US" dirty="0"/>
          </a:p>
        </p:txBody>
      </p:sp>
      <p:sp>
        <p:nvSpPr>
          <p:cNvPr id="3" name="Title 2">
            <a:extLst>
              <a:ext uri="{FF2B5EF4-FFF2-40B4-BE49-F238E27FC236}">
                <a16:creationId xmlns:a16="http://schemas.microsoft.com/office/drawing/2014/main" id="{3BCC0C0F-B5C2-55DD-275E-1ED5465D9A1E}"/>
              </a:ext>
            </a:extLst>
          </p:cNvPr>
          <p:cNvSpPr>
            <a:spLocks noGrp="1"/>
          </p:cNvSpPr>
          <p:nvPr>
            <p:ph type="title"/>
          </p:nvPr>
        </p:nvSpPr>
        <p:spPr>
          <a:xfrm>
            <a:off x="463295" y="417911"/>
            <a:ext cx="11053474" cy="334099"/>
          </a:xfrm>
        </p:spPr>
        <p:txBody>
          <a:bodyPr vert="horz"/>
          <a:lstStyle/>
          <a:p>
            <a:r>
              <a:rPr lang="hu-HU" dirty="0" err="1"/>
              <a:t>Typical</a:t>
            </a:r>
            <a:r>
              <a:rPr lang="hu-HU" dirty="0"/>
              <a:t> </a:t>
            </a:r>
            <a:r>
              <a:rPr lang="hu-HU" dirty="0" err="1"/>
              <a:t>Operating</a:t>
            </a:r>
            <a:r>
              <a:rPr lang="hu-HU" dirty="0"/>
              <a:t> Model </a:t>
            </a:r>
            <a:r>
              <a:rPr lang="hu-HU" dirty="0" err="1"/>
              <a:t>options</a:t>
            </a:r>
            <a:endParaRPr lang="en-US" strike="sngStrike" dirty="0">
              <a:solidFill>
                <a:srgbClr val="FF0000"/>
              </a:solidFill>
            </a:endParaRPr>
          </a:p>
        </p:txBody>
      </p:sp>
      <p:grpSp>
        <p:nvGrpSpPr>
          <p:cNvPr id="48" name="Group 47">
            <a:extLst>
              <a:ext uri="{FF2B5EF4-FFF2-40B4-BE49-F238E27FC236}">
                <a16:creationId xmlns:a16="http://schemas.microsoft.com/office/drawing/2014/main" id="{A49725E7-E624-F67D-EA7D-1C764C63CD33}"/>
              </a:ext>
            </a:extLst>
          </p:cNvPr>
          <p:cNvGrpSpPr/>
          <p:nvPr/>
        </p:nvGrpSpPr>
        <p:grpSpPr>
          <a:xfrm>
            <a:off x="574584" y="1505771"/>
            <a:ext cx="2541919" cy="1531030"/>
            <a:chOff x="574584" y="1673459"/>
            <a:chExt cx="2541919" cy="1531030"/>
          </a:xfrm>
        </p:grpSpPr>
        <p:grpSp>
          <p:nvGrpSpPr>
            <p:cNvPr id="816" name="Group 815">
              <a:extLst>
                <a:ext uri="{FF2B5EF4-FFF2-40B4-BE49-F238E27FC236}">
                  <a16:creationId xmlns:a16="http://schemas.microsoft.com/office/drawing/2014/main" id="{191EE6C1-7482-8E92-9ADD-DC71E5D89938}"/>
                </a:ext>
              </a:extLst>
            </p:cNvPr>
            <p:cNvGrpSpPr/>
            <p:nvPr/>
          </p:nvGrpSpPr>
          <p:grpSpPr>
            <a:xfrm>
              <a:off x="624040" y="1957203"/>
              <a:ext cx="2320316" cy="1247286"/>
              <a:chOff x="1614646" y="2129969"/>
              <a:chExt cx="1573306" cy="1024677"/>
            </a:xfrm>
            <a:effectLst>
              <a:outerShdw blurRad="50800" dist="38100" dir="5400000" algn="t" rotWithShape="0">
                <a:prstClr val="black">
                  <a:alpha val="40000"/>
                </a:prstClr>
              </a:outerShdw>
            </a:effectLst>
          </p:grpSpPr>
          <p:sp>
            <p:nvSpPr>
              <p:cNvPr id="817" name="object 267">
                <a:extLst>
                  <a:ext uri="{FF2B5EF4-FFF2-40B4-BE49-F238E27FC236}">
                    <a16:creationId xmlns:a16="http://schemas.microsoft.com/office/drawing/2014/main" id="{A40816EF-1FAB-A161-CE73-15E8AADE14AB}"/>
                  </a:ext>
                </a:extLst>
              </p:cNvPr>
              <p:cNvSpPr/>
              <p:nvPr/>
            </p:nvSpPr>
            <p:spPr>
              <a:xfrm>
                <a:off x="1614646" y="2736432"/>
                <a:ext cx="1551791" cy="39669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18" name="object 268">
                <a:extLst>
                  <a:ext uri="{FF2B5EF4-FFF2-40B4-BE49-F238E27FC236}">
                    <a16:creationId xmlns:a16="http://schemas.microsoft.com/office/drawing/2014/main" id="{44CEB236-81A7-6BF9-5364-452FDE564B80}"/>
                  </a:ext>
                </a:extLst>
              </p:cNvPr>
              <p:cNvSpPr/>
              <p:nvPr/>
            </p:nvSpPr>
            <p:spPr>
              <a:xfrm>
                <a:off x="1636161" y="2757947"/>
                <a:ext cx="1551791" cy="39669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19" name="object 269">
                <a:extLst>
                  <a:ext uri="{FF2B5EF4-FFF2-40B4-BE49-F238E27FC236}">
                    <a16:creationId xmlns:a16="http://schemas.microsoft.com/office/drawing/2014/main" id="{A50F9F0A-95C8-93B5-2154-732B7677E83C}"/>
                  </a:ext>
                </a:extLst>
              </p:cNvPr>
              <p:cNvSpPr/>
              <p:nvPr/>
            </p:nvSpPr>
            <p:spPr>
              <a:xfrm>
                <a:off x="1626748" y="2745290"/>
                <a:ext cx="1549213" cy="394447"/>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62B5E5">
                  <a:lumMod val="40000"/>
                  <a:lumOff val="6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0" name="object 270">
                <a:extLst>
                  <a:ext uri="{FF2B5EF4-FFF2-40B4-BE49-F238E27FC236}">
                    <a16:creationId xmlns:a16="http://schemas.microsoft.com/office/drawing/2014/main" id="{397FE189-CEEA-A753-F4BE-440E92652635}"/>
                  </a:ext>
                </a:extLst>
              </p:cNvPr>
              <p:cNvSpPr/>
              <p:nvPr/>
            </p:nvSpPr>
            <p:spPr>
              <a:xfrm>
                <a:off x="1788113" y="2768705"/>
                <a:ext cx="1331259" cy="98163"/>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1" name="object 271">
                <a:extLst>
                  <a:ext uri="{FF2B5EF4-FFF2-40B4-BE49-F238E27FC236}">
                    <a16:creationId xmlns:a16="http://schemas.microsoft.com/office/drawing/2014/main" id="{112660EF-BE93-F279-964F-E8F813379D23}"/>
                  </a:ext>
                </a:extLst>
              </p:cNvPr>
              <p:cNvSpPr/>
              <p:nvPr/>
            </p:nvSpPr>
            <p:spPr>
              <a:xfrm>
                <a:off x="1809628" y="2790219"/>
                <a:ext cx="1331259" cy="98163"/>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2" name="object 272">
                <a:extLst>
                  <a:ext uri="{FF2B5EF4-FFF2-40B4-BE49-F238E27FC236}">
                    <a16:creationId xmlns:a16="http://schemas.microsoft.com/office/drawing/2014/main" id="{56C003C0-A693-D897-AA76-B94311894448}"/>
                  </a:ext>
                </a:extLst>
              </p:cNvPr>
              <p:cNvSpPr/>
              <p:nvPr/>
            </p:nvSpPr>
            <p:spPr>
              <a:xfrm>
                <a:off x="1809628" y="2790219"/>
                <a:ext cx="1309744" cy="76648"/>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3" name="object 273">
                <a:extLst>
                  <a:ext uri="{FF2B5EF4-FFF2-40B4-BE49-F238E27FC236}">
                    <a16:creationId xmlns:a16="http://schemas.microsoft.com/office/drawing/2014/main" id="{5AEFFF56-AEFB-D0EB-AA70-76E0D1A2523F}"/>
                  </a:ext>
                </a:extLst>
              </p:cNvPr>
              <p:cNvSpPr/>
              <p:nvPr/>
            </p:nvSpPr>
            <p:spPr>
              <a:xfrm>
                <a:off x="1800215" y="2780806"/>
                <a:ext cx="1329018" cy="95810"/>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4" name="object 274">
                <a:extLst>
                  <a:ext uri="{FF2B5EF4-FFF2-40B4-BE49-F238E27FC236}">
                    <a16:creationId xmlns:a16="http://schemas.microsoft.com/office/drawing/2014/main" id="{D14234F5-E5EE-9CCF-2C48-77842C987163}"/>
                  </a:ext>
                </a:extLst>
              </p:cNvPr>
              <p:cNvSpPr/>
              <p:nvPr/>
            </p:nvSpPr>
            <p:spPr>
              <a:xfrm>
                <a:off x="1788113" y="2896451"/>
                <a:ext cx="1331259" cy="95475"/>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5" name="object 275">
                <a:extLst>
                  <a:ext uri="{FF2B5EF4-FFF2-40B4-BE49-F238E27FC236}">
                    <a16:creationId xmlns:a16="http://schemas.microsoft.com/office/drawing/2014/main" id="{3CBC5B7C-EB83-9ED0-3651-46B8903A032B}"/>
                  </a:ext>
                </a:extLst>
              </p:cNvPr>
              <p:cNvSpPr/>
              <p:nvPr/>
            </p:nvSpPr>
            <p:spPr>
              <a:xfrm>
                <a:off x="1809628" y="2917967"/>
                <a:ext cx="1331259" cy="95485"/>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6" name="object 276">
                <a:extLst>
                  <a:ext uri="{FF2B5EF4-FFF2-40B4-BE49-F238E27FC236}">
                    <a16:creationId xmlns:a16="http://schemas.microsoft.com/office/drawing/2014/main" id="{450A10F9-54B0-B895-045D-5DD3C435B2C5}"/>
                  </a:ext>
                </a:extLst>
              </p:cNvPr>
              <p:cNvSpPr/>
              <p:nvPr/>
            </p:nvSpPr>
            <p:spPr>
              <a:xfrm>
                <a:off x="1809628" y="2917967"/>
                <a:ext cx="1309744" cy="73959"/>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7" name="object 277">
                <a:extLst>
                  <a:ext uri="{FF2B5EF4-FFF2-40B4-BE49-F238E27FC236}">
                    <a16:creationId xmlns:a16="http://schemas.microsoft.com/office/drawing/2014/main" id="{5E586023-288C-7203-D3B1-18CDE59E6788}"/>
                  </a:ext>
                </a:extLst>
              </p:cNvPr>
              <p:cNvSpPr/>
              <p:nvPr/>
            </p:nvSpPr>
            <p:spPr>
              <a:xfrm>
                <a:off x="1800215" y="2908554"/>
                <a:ext cx="1329018" cy="93009"/>
              </a:xfrm>
              <a:custGeom>
                <a:avLst/>
                <a:gdLst/>
                <a:ahLst/>
                <a:cxnLst/>
                <a:rect l="l" t="t" r="r" b="b"/>
                <a:pathLst>
                  <a:path w="1506220" h="105410">
                    <a:moveTo>
                      <a:pt x="0" y="0"/>
                    </a:moveTo>
                    <a:lnTo>
                      <a:pt x="0" y="105155"/>
                    </a:lnTo>
                    <a:lnTo>
                      <a:pt x="1505712" y="105155"/>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8" name="object 278">
                <a:extLst>
                  <a:ext uri="{FF2B5EF4-FFF2-40B4-BE49-F238E27FC236}">
                    <a16:creationId xmlns:a16="http://schemas.microsoft.com/office/drawing/2014/main" id="{18BBE649-4730-C976-3573-CFC6FA6B4382}"/>
                  </a:ext>
                </a:extLst>
              </p:cNvPr>
              <p:cNvSpPr/>
              <p:nvPr/>
            </p:nvSpPr>
            <p:spPr>
              <a:xfrm>
                <a:off x="1788113" y="3021508"/>
                <a:ext cx="1331259" cy="92796"/>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29" name="object 279">
                <a:extLst>
                  <a:ext uri="{FF2B5EF4-FFF2-40B4-BE49-F238E27FC236}">
                    <a16:creationId xmlns:a16="http://schemas.microsoft.com/office/drawing/2014/main" id="{9F613A21-AC0F-3F1C-6D86-F5AFDA4D853F}"/>
                  </a:ext>
                </a:extLst>
              </p:cNvPr>
              <p:cNvSpPr/>
              <p:nvPr/>
            </p:nvSpPr>
            <p:spPr>
              <a:xfrm>
                <a:off x="1809628" y="3048785"/>
                <a:ext cx="1331259" cy="92796"/>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30" name="object 280">
                <a:extLst>
                  <a:ext uri="{FF2B5EF4-FFF2-40B4-BE49-F238E27FC236}">
                    <a16:creationId xmlns:a16="http://schemas.microsoft.com/office/drawing/2014/main" id="{1CF02F92-BF45-FA34-E893-3B3779D4680C}"/>
                  </a:ext>
                </a:extLst>
              </p:cNvPr>
              <p:cNvSpPr/>
              <p:nvPr/>
            </p:nvSpPr>
            <p:spPr>
              <a:xfrm>
                <a:off x="1809628" y="3043025"/>
                <a:ext cx="1309744" cy="71280"/>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31" name="object 281">
                <a:extLst>
                  <a:ext uri="{FF2B5EF4-FFF2-40B4-BE49-F238E27FC236}">
                    <a16:creationId xmlns:a16="http://schemas.microsoft.com/office/drawing/2014/main" id="{0A5466BC-7188-5EAB-57B0-8B8AA9613C76}"/>
                  </a:ext>
                </a:extLst>
              </p:cNvPr>
              <p:cNvSpPr/>
              <p:nvPr/>
            </p:nvSpPr>
            <p:spPr>
              <a:xfrm>
                <a:off x="1800215" y="3033612"/>
                <a:ext cx="1329018" cy="90207"/>
              </a:xfrm>
              <a:custGeom>
                <a:avLst/>
                <a:gdLst/>
                <a:ahLst/>
                <a:cxnLst/>
                <a:rect l="l" t="t" r="r" b="b"/>
                <a:pathLst>
                  <a:path w="1506220" h="102235">
                    <a:moveTo>
                      <a:pt x="0" y="0"/>
                    </a:moveTo>
                    <a:lnTo>
                      <a:pt x="0" y="102108"/>
                    </a:lnTo>
                    <a:lnTo>
                      <a:pt x="1505712" y="102108"/>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32" name="object 282">
                <a:extLst>
                  <a:ext uri="{FF2B5EF4-FFF2-40B4-BE49-F238E27FC236}">
                    <a16:creationId xmlns:a16="http://schemas.microsoft.com/office/drawing/2014/main" id="{A0B1A7F0-D61C-857C-0CAD-3ED38A414959}"/>
                  </a:ext>
                </a:extLst>
              </p:cNvPr>
              <p:cNvSpPr txBox="1"/>
              <p:nvPr/>
            </p:nvSpPr>
            <p:spPr>
              <a:xfrm>
                <a:off x="1626749" y="2751414"/>
                <a:ext cx="228079" cy="91452"/>
              </a:xfrm>
              <a:prstGeom prst="rect">
                <a:avLst/>
              </a:prstGeom>
            </p:spPr>
            <p:txBody>
              <a:bodyPr vert="horz" wrap="square" lIns="0" tIns="2801" rIns="0" bIns="0" rtlCol="0">
                <a:spAutoFit/>
              </a:bodyPr>
              <a:lstStyle/>
              <a:p>
                <a:pPr marL="0" marR="0" lvl="0" indent="0" defTabSz="914400" eaLnBrk="1" fontAlgn="auto" latinLnBrk="0" hangingPunct="1">
                  <a:lnSpc>
                    <a:spcPct val="100000"/>
                  </a:lnSpc>
                  <a:spcBef>
                    <a:spcPts val="22"/>
                  </a:spcBef>
                  <a:spcAft>
                    <a:spcPts val="0"/>
                  </a:spcAft>
                  <a:buClrTx/>
                  <a:buSzTx/>
                  <a:buFontTx/>
                  <a:buNone/>
                  <a:tabLst/>
                  <a:defRPr/>
                </a:pPr>
                <a:endParaRPr kumimoji="0" lang="en-AU" sz="308" b="0" i="0" u="none" strike="noStrike" kern="0" cap="none" spc="0" normalizeH="0" baseline="0" noProof="0" dirty="0">
                  <a:ln>
                    <a:noFill/>
                  </a:ln>
                  <a:solidFill>
                    <a:srgbClr val="000000"/>
                  </a:solidFill>
                  <a:effectLst/>
                  <a:uLnTx/>
                  <a:uFillTx/>
                  <a:latin typeface="Open Sans"/>
                  <a:cs typeface="Times New Roman"/>
                </a:endParaRPr>
              </a:p>
              <a:p>
                <a:pPr marL="128306" marR="0" lvl="0" indent="0" algn="ctr" defTabSz="914400" eaLnBrk="1" fontAlgn="auto" latinLnBrk="0" hangingPunct="1">
                  <a:lnSpc>
                    <a:spcPct val="100000"/>
                  </a:lnSpc>
                  <a:spcBef>
                    <a:spcPts val="0"/>
                  </a:spcBef>
                  <a:spcAft>
                    <a:spcPts val="0"/>
                  </a:spcAft>
                  <a:buClrTx/>
                  <a:buSzTx/>
                  <a:buFontTx/>
                  <a:buNone/>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33" name="object 283">
                <a:extLst>
                  <a:ext uri="{FF2B5EF4-FFF2-40B4-BE49-F238E27FC236}">
                    <a16:creationId xmlns:a16="http://schemas.microsoft.com/office/drawing/2014/main" id="{9981471F-CE57-A660-8860-1B00A1061A84}"/>
                  </a:ext>
                </a:extLst>
              </p:cNvPr>
              <p:cNvSpPr txBox="1"/>
              <p:nvPr/>
            </p:nvSpPr>
            <p:spPr>
              <a:xfrm>
                <a:off x="1655844" y="2784941"/>
                <a:ext cx="41434" cy="315145"/>
              </a:xfrm>
              <a:prstGeom prst="rect">
                <a:avLst/>
              </a:prstGeom>
            </p:spPr>
            <p:txBody>
              <a:bodyPr vert="vert270" wrap="square" lIns="0" tIns="2801" rIns="0" bIns="0" rtlCol="0">
                <a:spAutoFit/>
              </a:bodyPr>
              <a:lstStyle/>
              <a:p>
                <a:pPr marL="11206" marR="0" lvl="0" indent="0" defTabSz="914400" eaLnBrk="1" fontAlgn="auto" latinLnBrk="0" hangingPunct="1">
                  <a:lnSpc>
                    <a:spcPct val="100000"/>
                  </a:lnSpc>
                  <a:spcBef>
                    <a:spcPts val="22"/>
                  </a:spcBef>
                  <a:spcAft>
                    <a:spcPts val="0"/>
                  </a:spcAft>
                  <a:buClrTx/>
                  <a:buSzTx/>
                  <a:buFontTx/>
                  <a:buNone/>
                  <a:tabLst/>
                  <a:defRPr/>
                </a:pPr>
                <a:r>
                  <a:rPr kumimoji="0" lang="en-AU" sz="397" b="0" i="0" u="none" strike="noStrike" kern="0" cap="none" spc="0" normalizeH="0" baseline="0" noProof="0" dirty="0">
                    <a:ln>
                      <a:noFill/>
                    </a:ln>
                    <a:solidFill>
                      <a:srgbClr val="231F20"/>
                    </a:solidFill>
                    <a:effectLst/>
                    <a:uLnTx/>
                    <a:uFillTx/>
                    <a:latin typeface="Open Sans"/>
                    <a:cs typeface="Verdana"/>
                  </a:rPr>
                  <a:t>Sha</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0" normalizeH="0" baseline="0" noProof="0" dirty="0">
                    <a:ln>
                      <a:noFill/>
                    </a:ln>
                    <a:solidFill>
                      <a:srgbClr val="231F20"/>
                    </a:solidFill>
                    <a:effectLst/>
                    <a:uLnTx/>
                    <a:uFillTx/>
                    <a:latin typeface="Open Sans"/>
                    <a:cs typeface="Verdana"/>
                  </a:rPr>
                  <a:t>ed</a:t>
                </a:r>
                <a:r>
                  <a:rPr kumimoji="0" lang="en-AU" sz="397" b="0" i="0" u="none" strike="noStrike" kern="0" cap="none" spc="-22" normalizeH="0" baseline="0" noProof="0" dirty="0">
                    <a:ln>
                      <a:noFill/>
                    </a:ln>
                    <a:solidFill>
                      <a:srgbClr val="231F20"/>
                    </a:solidFill>
                    <a:effectLst/>
                    <a:uLnTx/>
                    <a:uFillTx/>
                    <a:latin typeface="Open Sans"/>
                    <a:cs typeface="Verdana"/>
                  </a:rPr>
                  <a:t> </a:t>
                </a:r>
                <a:r>
                  <a:rPr kumimoji="0" lang="en-AU" sz="397" b="0" i="0" u="none" strike="noStrike" kern="0" cap="none" spc="0" normalizeH="0" baseline="0" noProof="0" dirty="0" err="1">
                    <a:ln>
                      <a:noFill/>
                    </a:ln>
                    <a:solidFill>
                      <a:srgbClr val="231F20"/>
                    </a:solidFill>
                    <a:effectLst/>
                    <a:uLnTx/>
                    <a:uFillTx/>
                    <a:latin typeface="Open Sans"/>
                    <a:cs typeface="Verdana"/>
                  </a:rPr>
                  <a:t>Se</a:t>
                </a:r>
                <a:r>
                  <a:rPr kumimoji="0" lang="en-AU" sz="397" b="0" i="0" u="none" strike="noStrike" kern="0" cap="none" spc="-5" normalizeH="0" baseline="0" noProof="0" dirty="0" err="1">
                    <a:ln>
                      <a:noFill/>
                    </a:ln>
                    <a:solidFill>
                      <a:srgbClr val="231F20"/>
                    </a:solidFill>
                    <a:effectLst/>
                    <a:uLnTx/>
                    <a:uFillTx/>
                    <a:latin typeface="Open Sans"/>
                    <a:cs typeface="Verdana"/>
                  </a:rPr>
                  <a:t>r</a:t>
                </a:r>
                <a:r>
                  <a:rPr kumimoji="0" lang="en-AU" sz="397" b="0" i="0" u="none" strike="noStrike" kern="0" cap="none" spc="-9" normalizeH="0" baseline="0" noProof="0" dirty="0" err="1">
                    <a:ln>
                      <a:noFill/>
                    </a:ln>
                    <a:solidFill>
                      <a:srgbClr val="231F20"/>
                    </a:solidFill>
                    <a:effectLst/>
                    <a:uLnTx/>
                    <a:uFillTx/>
                    <a:latin typeface="Open Sans"/>
                    <a:cs typeface="Verdana"/>
                  </a:rPr>
                  <a:t>vi</a:t>
                </a:r>
                <a:r>
                  <a:rPr kumimoji="0" lang="en-AU" sz="397" b="0" i="0" u="none" strike="noStrike" kern="0" cap="none" spc="0" normalizeH="0" baseline="0" noProof="0" dirty="0" err="1">
                    <a:ln>
                      <a:noFill/>
                    </a:ln>
                    <a:solidFill>
                      <a:srgbClr val="231F20"/>
                    </a:solidFill>
                    <a:effectLst/>
                    <a:uLnTx/>
                    <a:uFillTx/>
                    <a:latin typeface="Open Sans"/>
                    <a:cs typeface="Verdana"/>
                  </a:rPr>
                  <a:t>c</a:t>
                </a:r>
                <a:r>
                  <a:rPr kumimoji="0" lang="hu-HU" sz="397" b="0" i="0" u="none" strike="noStrike" kern="0" cap="none" spc="0" normalizeH="0" baseline="0" noProof="0">
                    <a:ln>
                      <a:noFill/>
                    </a:ln>
                    <a:solidFill>
                      <a:srgbClr val="231F20"/>
                    </a:solidFill>
                    <a:effectLst/>
                    <a:uLnTx/>
                    <a:uFillTx/>
                    <a:latin typeface="Open Sans"/>
                    <a:cs typeface="Verdana"/>
                  </a:rPr>
                  <a:t>es</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834" name="object 284">
                <a:extLst>
                  <a:ext uri="{FF2B5EF4-FFF2-40B4-BE49-F238E27FC236}">
                    <a16:creationId xmlns:a16="http://schemas.microsoft.com/office/drawing/2014/main" id="{D0E3D01F-94B1-B781-663E-B474303CE999}"/>
                  </a:ext>
                </a:extLst>
              </p:cNvPr>
              <p:cNvSpPr/>
              <p:nvPr/>
            </p:nvSpPr>
            <p:spPr>
              <a:xfrm>
                <a:off x="1654987" y="2129969"/>
                <a:ext cx="1532964" cy="73959"/>
              </a:xfrm>
              <a:prstGeom prst="rect">
                <a:avLst/>
              </a:prstGeom>
              <a:blipFill>
                <a:blip r:embed="rId1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35" name="object 285">
                <a:extLst>
                  <a:ext uri="{FF2B5EF4-FFF2-40B4-BE49-F238E27FC236}">
                    <a16:creationId xmlns:a16="http://schemas.microsoft.com/office/drawing/2014/main" id="{D0E96FD4-C2CC-2C7D-F021-9A8AC89A696D}"/>
                  </a:ext>
                </a:extLst>
              </p:cNvPr>
              <p:cNvSpPr/>
              <p:nvPr/>
            </p:nvSpPr>
            <p:spPr>
              <a:xfrm>
                <a:off x="1667090" y="2166948"/>
                <a:ext cx="1508872" cy="0"/>
              </a:xfrm>
              <a:custGeom>
                <a:avLst/>
                <a:gdLst/>
                <a:ahLst/>
                <a:cxnLst/>
                <a:rect l="l" t="t" r="r" b="b"/>
                <a:pathLst>
                  <a:path w="1710055">
                    <a:moveTo>
                      <a:pt x="0" y="0"/>
                    </a:moveTo>
                    <a:lnTo>
                      <a:pt x="1709927" y="0"/>
                    </a:lnTo>
                  </a:path>
                </a:pathLst>
              </a:custGeom>
              <a:ln w="56387">
                <a:solidFill>
                  <a:srgbClr val="A0DC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36" name="object 286">
                <a:extLst>
                  <a:ext uri="{FF2B5EF4-FFF2-40B4-BE49-F238E27FC236}">
                    <a16:creationId xmlns:a16="http://schemas.microsoft.com/office/drawing/2014/main" id="{DC8D8017-2261-004D-5AF6-85CF9BD13B61}"/>
                  </a:ext>
                </a:extLst>
              </p:cNvPr>
              <p:cNvSpPr/>
              <p:nvPr/>
            </p:nvSpPr>
            <p:spPr>
              <a:xfrm>
                <a:off x="1656331" y="2686677"/>
                <a:ext cx="12102" cy="24205"/>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37" name="object 287">
                <a:extLst>
                  <a:ext uri="{FF2B5EF4-FFF2-40B4-BE49-F238E27FC236}">
                    <a16:creationId xmlns:a16="http://schemas.microsoft.com/office/drawing/2014/main" id="{F0FA4DE6-FE6E-ED0F-3C0F-3AB51D805B65}"/>
                  </a:ext>
                </a:extLst>
              </p:cNvPr>
              <p:cNvSpPr/>
              <p:nvPr/>
            </p:nvSpPr>
            <p:spPr>
              <a:xfrm>
                <a:off x="1656331" y="259658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38" name="object 288">
                <a:extLst>
                  <a:ext uri="{FF2B5EF4-FFF2-40B4-BE49-F238E27FC236}">
                    <a16:creationId xmlns:a16="http://schemas.microsoft.com/office/drawing/2014/main" id="{321466F3-C981-5DFC-497E-B5246A0EB809}"/>
                  </a:ext>
                </a:extLst>
              </p:cNvPr>
              <p:cNvSpPr/>
              <p:nvPr/>
            </p:nvSpPr>
            <p:spPr>
              <a:xfrm>
                <a:off x="1656331" y="2506487"/>
                <a:ext cx="12102"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39" name="object 289">
                <a:extLst>
                  <a:ext uri="{FF2B5EF4-FFF2-40B4-BE49-F238E27FC236}">
                    <a16:creationId xmlns:a16="http://schemas.microsoft.com/office/drawing/2014/main" id="{7E1A9562-FD17-97FB-73CF-B4E71A9AC6B3}"/>
                  </a:ext>
                </a:extLst>
              </p:cNvPr>
              <p:cNvSpPr/>
              <p:nvPr/>
            </p:nvSpPr>
            <p:spPr>
              <a:xfrm>
                <a:off x="1656331" y="2415046"/>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40" name="object 290">
                <a:extLst>
                  <a:ext uri="{FF2B5EF4-FFF2-40B4-BE49-F238E27FC236}">
                    <a16:creationId xmlns:a16="http://schemas.microsoft.com/office/drawing/2014/main" id="{8C77C0F1-C7F3-AD85-9C34-7C34AED334AE}"/>
                  </a:ext>
                </a:extLst>
              </p:cNvPr>
              <p:cNvSpPr/>
              <p:nvPr/>
            </p:nvSpPr>
            <p:spPr>
              <a:xfrm>
                <a:off x="1656331" y="2218719"/>
                <a:ext cx="352313"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41" name="object 291">
                <a:extLst>
                  <a:ext uri="{FF2B5EF4-FFF2-40B4-BE49-F238E27FC236}">
                    <a16:creationId xmlns:a16="http://schemas.microsoft.com/office/drawing/2014/main" id="{85B81464-DF9D-72B7-11F2-59901C445CA2}"/>
                  </a:ext>
                </a:extLst>
              </p:cNvPr>
              <p:cNvSpPr/>
              <p:nvPr/>
            </p:nvSpPr>
            <p:spPr>
              <a:xfrm>
                <a:off x="1677847" y="2240236"/>
                <a:ext cx="352313"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42" name="object 292">
                <a:extLst>
                  <a:ext uri="{FF2B5EF4-FFF2-40B4-BE49-F238E27FC236}">
                    <a16:creationId xmlns:a16="http://schemas.microsoft.com/office/drawing/2014/main" id="{D4E4EBB6-59E6-A651-756E-8A46AC6044D9}"/>
                  </a:ext>
                </a:extLst>
              </p:cNvPr>
              <p:cNvSpPr/>
              <p:nvPr/>
            </p:nvSpPr>
            <p:spPr>
              <a:xfrm>
                <a:off x="1668434" y="2230821"/>
                <a:ext cx="349623" cy="489697"/>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43" name="object 293">
                <a:extLst>
                  <a:ext uri="{FF2B5EF4-FFF2-40B4-BE49-F238E27FC236}">
                    <a16:creationId xmlns:a16="http://schemas.microsoft.com/office/drawing/2014/main" id="{5158D02C-34FB-6778-DE7A-68E562D8F56A}"/>
                  </a:ext>
                </a:extLst>
              </p:cNvPr>
              <p:cNvSpPr txBox="1"/>
              <p:nvPr/>
            </p:nvSpPr>
            <p:spPr>
              <a:xfrm>
                <a:off x="1713163" y="2246287"/>
                <a:ext cx="261097" cy="5573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Product </a:t>
                </a:r>
                <a:r>
                  <a:rPr kumimoji="0" lang="en-AU" sz="441" u="none" strike="noStrike" kern="0" cap="none" spc="0" normalizeH="0" baseline="0" noProof="0" dirty="0">
                    <a:ln>
                      <a:noFill/>
                    </a:ln>
                    <a:solidFill>
                      <a:srgbClr val="231F20"/>
                    </a:solidFill>
                    <a:effectLst/>
                    <a:uLnTx/>
                    <a:uFillTx/>
                    <a:latin typeface="Open Sans"/>
                    <a:cs typeface="Open Sans" panose="020B0606030504020204" pitchFamily="34" charset="0"/>
                  </a:rPr>
                  <a:t>1</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44" name="object 294">
                <a:extLst>
                  <a:ext uri="{FF2B5EF4-FFF2-40B4-BE49-F238E27FC236}">
                    <a16:creationId xmlns:a16="http://schemas.microsoft.com/office/drawing/2014/main" id="{64C05ED7-942B-20B5-AD2A-A2778BCE4582}"/>
                  </a:ext>
                </a:extLst>
              </p:cNvPr>
              <p:cNvSpPr/>
              <p:nvPr/>
            </p:nvSpPr>
            <p:spPr>
              <a:xfrm>
                <a:off x="1654987" y="2345122"/>
                <a:ext cx="330797" cy="69925"/>
              </a:xfrm>
              <a:prstGeom prst="rect">
                <a:avLst/>
              </a:prstGeom>
              <a:blipFill>
                <a:blip r:embed="rId2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45" name="object 295">
                <a:extLst>
                  <a:ext uri="{FF2B5EF4-FFF2-40B4-BE49-F238E27FC236}">
                    <a16:creationId xmlns:a16="http://schemas.microsoft.com/office/drawing/2014/main" id="{1655F6FA-F9A1-F393-889C-DFA8C5FFA589}"/>
                  </a:ext>
                </a:extLst>
              </p:cNvPr>
              <p:cNvSpPr/>
              <p:nvPr/>
            </p:nvSpPr>
            <p:spPr>
              <a:xfrm>
                <a:off x="1676503"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46" name="object 296">
                <a:extLst>
                  <a:ext uri="{FF2B5EF4-FFF2-40B4-BE49-F238E27FC236}">
                    <a16:creationId xmlns:a16="http://schemas.microsoft.com/office/drawing/2014/main" id="{4A357A6D-53A7-5E46-1768-F5016818A32C}"/>
                  </a:ext>
                </a:extLst>
              </p:cNvPr>
              <p:cNvSpPr/>
              <p:nvPr/>
            </p:nvSpPr>
            <p:spPr>
              <a:xfrm>
                <a:off x="1667089" y="2357224"/>
                <a:ext cx="328333" cy="67235"/>
              </a:xfrm>
              <a:custGeom>
                <a:avLst/>
                <a:gdLst/>
                <a:ahLst/>
                <a:cxnLst/>
                <a:rect l="l" t="t" r="r" b="b"/>
                <a:pathLst>
                  <a:path w="372109"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47" name="object 297">
                <a:extLst>
                  <a:ext uri="{FF2B5EF4-FFF2-40B4-BE49-F238E27FC236}">
                    <a16:creationId xmlns:a16="http://schemas.microsoft.com/office/drawing/2014/main" id="{ADD53950-4C69-4089-DCE3-154F666BD861}"/>
                  </a:ext>
                </a:extLst>
              </p:cNvPr>
              <p:cNvSpPr txBox="1"/>
              <p:nvPr/>
            </p:nvSpPr>
            <p:spPr>
              <a:xfrm>
                <a:off x="1708860" y="2359241"/>
                <a:ext cx="12886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48" name="object 298">
                <a:extLst>
                  <a:ext uri="{FF2B5EF4-FFF2-40B4-BE49-F238E27FC236}">
                    <a16:creationId xmlns:a16="http://schemas.microsoft.com/office/drawing/2014/main" id="{A6D9A185-3011-AC81-94BF-3BF3FB701E28}"/>
                  </a:ext>
                </a:extLst>
              </p:cNvPr>
              <p:cNvSpPr/>
              <p:nvPr/>
            </p:nvSpPr>
            <p:spPr>
              <a:xfrm>
                <a:off x="1654987" y="2435217"/>
                <a:ext cx="330797"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49" name="object 299">
                <a:extLst>
                  <a:ext uri="{FF2B5EF4-FFF2-40B4-BE49-F238E27FC236}">
                    <a16:creationId xmlns:a16="http://schemas.microsoft.com/office/drawing/2014/main" id="{01961E32-7318-47BD-AE67-F89AF96470BA}"/>
                  </a:ext>
                </a:extLst>
              </p:cNvPr>
              <p:cNvSpPr/>
              <p:nvPr/>
            </p:nvSpPr>
            <p:spPr>
              <a:xfrm>
                <a:off x="1676503"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50" name="object 300">
                <a:extLst>
                  <a:ext uri="{FF2B5EF4-FFF2-40B4-BE49-F238E27FC236}">
                    <a16:creationId xmlns:a16="http://schemas.microsoft.com/office/drawing/2014/main" id="{FCB78973-A96B-706D-1EA7-D727EC1D3A82}"/>
                  </a:ext>
                </a:extLst>
              </p:cNvPr>
              <p:cNvSpPr/>
              <p:nvPr/>
            </p:nvSpPr>
            <p:spPr>
              <a:xfrm>
                <a:off x="1667089" y="2447321"/>
                <a:ext cx="328333" cy="68916"/>
              </a:xfrm>
              <a:custGeom>
                <a:avLst/>
                <a:gdLst/>
                <a:ahLst/>
                <a:cxnLst/>
                <a:rect l="l" t="t" r="r" b="b"/>
                <a:pathLst>
                  <a:path w="372109"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51" name="object 301">
                <a:extLst>
                  <a:ext uri="{FF2B5EF4-FFF2-40B4-BE49-F238E27FC236}">
                    <a16:creationId xmlns:a16="http://schemas.microsoft.com/office/drawing/2014/main" id="{964165D1-CADD-B254-565D-BC6FA96E9D27}"/>
                  </a:ext>
                </a:extLst>
              </p:cNvPr>
              <p:cNvSpPr txBox="1"/>
              <p:nvPr/>
            </p:nvSpPr>
            <p:spPr>
              <a:xfrm>
                <a:off x="1708860" y="2449562"/>
                <a:ext cx="245969"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52" name="object 302">
                <a:extLst>
                  <a:ext uri="{FF2B5EF4-FFF2-40B4-BE49-F238E27FC236}">
                    <a16:creationId xmlns:a16="http://schemas.microsoft.com/office/drawing/2014/main" id="{2864A27C-7DD0-DD60-6FE2-B7E899592ABD}"/>
                  </a:ext>
                </a:extLst>
              </p:cNvPr>
              <p:cNvSpPr/>
              <p:nvPr/>
            </p:nvSpPr>
            <p:spPr>
              <a:xfrm>
                <a:off x="1654987" y="2616752"/>
                <a:ext cx="330797" cy="69925"/>
              </a:xfrm>
              <a:prstGeom prst="rect">
                <a:avLst/>
              </a:prstGeom>
              <a:blipFill>
                <a:blip r:embed="rId2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53" name="object 303">
                <a:extLst>
                  <a:ext uri="{FF2B5EF4-FFF2-40B4-BE49-F238E27FC236}">
                    <a16:creationId xmlns:a16="http://schemas.microsoft.com/office/drawing/2014/main" id="{B822FDBE-31B4-62EB-E9B6-BD358B5F332B}"/>
                  </a:ext>
                </a:extLst>
              </p:cNvPr>
              <p:cNvSpPr/>
              <p:nvPr/>
            </p:nvSpPr>
            <p:spPr>
              <a:xfrm>
                <a:off x="1676503"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54" name="object 304">
                <a:extLst>
                  <a:ext uri="{FF2B5EF4-FFF2-40B4-BE49-F238E27FC236}">
                    <a16:creationId xmlns:a16="http://schemas.microsoft.com/office/drawing/2014/main" id="{262B0EC3-8903-84A0-3C76-E6E27F50B853}"/>
                  </a:ext>
                </a:extLst>
              </p:cNvPr>
              <p:cNvSpPr/>
              <p:nvPr/>
            </p:nvSpPr>
            <p:spPr>
              <a:xfrm>
                <a:off x="1667089" y="2628854"/>
                <a:ext cx="328333" cy="67235"/>
              </a:xfrm>
              <a:custGeom>
                <a:avLst/>
                <a:gdLst/>
                <a:ahLst/>
                <a:cxnLst/>
                <a:rect l="l" t="t" r="r" b="b"/>
                <a:pathLst>
                  <a:path w="372109"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55" name="object 305">
                <a:extLst>
                  <a:ext uri="{FF2B5EF4-FFF2-40B4-BE49-F238E27FC236}">
                    <a16:creationId xmlns:a16="http://schemas.microsoft.com/office/drawing/2014/main" id="{752C53A0-BA91-5AAD-3460-EB99CE620294}"/>
                  </a:ext>
                </a:extLst>
              </p:cNvPr>
              <p:cNvSpPr/>
              <p:nvPr/>
            </p:nvSpPr>
            <p:spPr>
              <a:xfrm>
                <a:off x="1654987" y="2525312"/>
                <a:ext cx="330797"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56" name="object 306">
                <a:extLst>
                  <a:ext uri="{FF2B5EF4-FFF2-40B4-BE49-F238E27FC236}">
                    <a16:creationId xmlns:a16="http://schemas.microsoft.com/office/drawing/2014/main" id="{151DC151-6D83-D261-38C2-8F559349F634}"/>
                  </a:ext>
                </a:extLst>
              </p:cNvPr>
              <p:cNvSpPr/>
              <p:nvPr/>
            </p:nvSpPr>
            <p:spPr>
              <a:xfrm>
                <a:off x="1676503"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57" name="object 307">
                <a:extLst>
                  <a:ext uri="{FF2B5EF4-FFF2-40B4-BE49-F238E27FC236}">
                    <a16:creationId xmlns:a16="http://schemas.microsoft.com/office/drawing/2014/main" id="{A5FB9340-AECB-F8E3-5097-78EBFD5E91E6}"/>
                  </a:ext>
                </a:extLst>
              </p:cNvPr>
              <p:cNvSpPr/>
              <p:nvPr/>
            </p:nvSpPr>
            <p:spPr>
              <a:xfrm>
                <a:off x="1667089"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58" name="object 308">
                <a:extLst>
                  <a:ext uri="{FF2B5EF4-FFF2-40B4-BE49-F238E27FC236}">
                    <a16:creationId xmlns:a16="http://schemas.microsoft.com/office/drawing/2014/main" id="{708108B5-4F2B-ED9A-8F84-D0021C9199B3}"/>
                  </a:ext>
                </a:extLst>
              </p:cNvPr>
              <p:cNvSpPr txBox="1"/>
              <p:nvPr/>
            </p:nvSpPr>
            <p:spPr>
              <a:xfrm>
                <a:off x="1708860" y="2540217"/>
                <a:ext cx="14903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59" name="object 309">
                <a:extLst>
                  <a:ext uri="{FF2B5EF4-FFF2-40B4-BE49-F238E27FC236}">
                    <a16:creationId xmlns:a16="http://schemas.microsoft.com/office/drawing/2014/main" id="{A18AA2CD-52A3-BF24-0BB5-950EC54FCE84}"/>
                  </a:ext>
                </a:extLst>
              </p:cNvPr>
              <p:cNvSpPr/>
              <p:nvPr/>
            </p:nvSpPr>
            <p:spPr>
              <a:xfrm>
                <a:off x="2811433" y="2686677"/>
                <a:ext cx="12103" cy="24205"/>
              </a:xfrm>
              <a:prstGeom prst="rect">
                <a:avLst/>
              </a:prstGeom>
              <a:blipFill>
                <a:blip r:embed="rId2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0" name="object 310">
                <a:extLst>
                  <a:ext uri="{FF2B5EF4-FFF2-40B4-BE49-F238E27FC236}">
                    <a16:creationId xmlns:a16="http://schemas.microsoft.com/office/drawing/2014/main" id="{E04FEA02-01F4-7BDF-9D77-8251D9D29625}"/>
                  </a:ext>
                </a:extLst>
              </p:cNvPr>
              <p:cNvSpPr/>
              <p:nvPr/>
            </p:nvSpPr>
            <p:spPr>
              <a:xfrm>
                <a:off x="2811433" y="2596581"/>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1" name="object 311">
                <a:extLst>
                  <a:ext uri="{FF2B5EF4-FFF2-40B4-BE49-F238E27FC236}">
                    <a16:creationId xmlns:a16="http://schemas.microsoft.com/office/drawing/2014/main" id="{8C0C1A4B-F1AD-8101-5809-B43E732117C5}"/>
                  </a:ext>
                </a:extLst>
              </p:cNvPr>
              <p:cNvSpPr/>
              <p:nvPr/>
            </p:nvSpPr>
            <p:spPr>
              <a:xfrm>
                <a:off x="2811433" y="2506487"/>
                <a:ext cx="12103"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2" name="object 312">
                <a:extLst>
                  <a:ext uri="{FF2B5EF4-FFF2-40B4-BE49-F238E27FC236}">
                    <a16:creationId xmlns:a16="http://schemas.microsoft.com/office/drawing/2014/main" id="{43001097-816E-9F7B-ACE6-FFE20BB91C99}"/>
                  </a:ext>
                </a:extLst>
              </p:cNvPr>
              <p:cNvSpPr/>
              <p:nvPr/>
            </p:nvSpPr>
            <p:spPr>
              <a:xfrm>
                <a:off x="2811433" y="2415046"/>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3" name="object 313">
                <a:extLst>
                  <a:ext uri="{FF2B5EF4-FFF2-40B4-BE49-F238E27FC236}">
                    <a16:creationId xmlns:a16="http://schemas.microsoft.com/office/drawing/2014/main" id="{E10B68A5-C7E8-D17C-C63C-00A3A2AC370C}"/>
                  </a:ext>
                </a:extLst>
              </p:cNvPr>
              <p:cNvSpPr/>
              <p:nvPr/>
            </p:nvSpPr>
            <p:spPr>
              <a:xfrm>
                <a:off x="2811433" y="2218719"/>
                <a:ext cx="352313"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4" name="object 314">
                <a:extLst>
                  <a:ext uri="{FF2B5EF4-FFF2-40B4-BE49-F238E27FC236}">
                    <a16:creationId xmlns:a16="http://schemas.microsoft.com/office/drawing/2014/main" id="{9C7BD54E-379E-E069-0D1B-68FC6806568C}"/>
                  </a:ext>
                </a:extLst>
              </p:cNvPr>
              <p:cNvSpPr/>
              <p:nvPr/>
            </p:nvSpPr>
            <p:spPr>
              <a:xfrm>
                <a:off x="2832949" y="2240236"/>
                <a:ext cx="352313"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5" name="object 315">
                <a:extLst>
                  <a:ext uri="{FF2B5EF4-FFF2-40B4-BE49-F238E27FC236}">
                    <a16:creationId xmlns:a16="http://schemas.microsoft.com/office/drawing/2014/main" id="{0CA41FCC-FCCE-99E2-D7FC-18ED171E132D}"/>
                  </a:ext>
                </a:extLst>
              </p:cNvPr>
              <p:cNvSpPr/>
              <p:nvPr/>
            </p:nvSpPr>
            <p:spPr>
              <a:xfrm>
                <a:off x="2823536" y="2230821"/>
                <a:ext cx="349623" cy="489697"/>
              </a:xfrm>
              <a:custGeom>
                <a:avLst/>
                <a:gdLst/>
                <a:ahLst/>
                <a:cxnLst/>
                <a:rect l="l" t="t" r="r" b="b"/>
                <a:pathLst>
                  <a:path w="396239" h="554989">
                    <a:moveTo>
                      <a:pt x="0" y="0"/>
                    </a:moveTo>
                    <a:lnTo>
                      <a:pt x="0" y="554736"/>
                    </a:lnTo>
                    <a:lnTo>
                      <a:pt x="396240" y="554736"/>
                    </a:lnTo>
                    <a:lnTo>
                      <a:pt x="39623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6" name="object 316">
                <a:extLst>
                  <a:ext uri="{FF2B5EF4-FFF2-40B4-BE49-F238E27FC236}">
                    <a16:creationId xmlns:a16="http://schemas.microsoft.com/office/drawing/2014/main" id="{E6C5AB7C-523E-6316-58EE-6F1C4A5F1865}"/>
                  </a:ext>
                </a:extLst>
              </p:cNvPr>
              <p:cNvSpPr txBox="1"/>
              <p:nvPr/>
            </p:nvSpPr>
            <p:spPr>
              <a:xfrm>
                <a:off x="2868023" y="2246287"/>
                <a:ext cx="261097" cy="5573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Product </a:t>
                </a:r>
                <a:r>
                  <a:rPr kumimoji="0" lang="en-AU" sz="441" u="none" strike="noStrike" kern="0" cap="none" spc="0" normalizeH="0" baseline="0" noProof="0" dirty="0">
                    <a:ln>
                      <a:noFill/>
                    </a:ln>
                    <a:solidFill>
                      <a:srgbClr val="231F20"/>
                    </a:solidFill>
                    <a:effectLst/>
                    <a:uLnTx/>
                    <a:uFillTx/>
                    <a:latin typeface="Open Sans"/>
                    <a:cs typeface="Open Sans" panose="020B0606030504020204" pitchFamily="34" charset="0"/>
                  </a:rPr>
                  <a:t>4</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67" name="object 317">
                <a:extLst>
                  <a:ext uri="{FF2B5EF4-FFF2-40B4-BE49-F238E27FC236}">
                    <a16:creationId xmlns:a16="http://schemas.microsoft.com/office/drawing/2014/main" id="{5CA70ABE-218C-F462-6D0D-B9CE7AE161AF}"/>
                  </a:ext>
                </a:extLst>
              </p:cNvPr>
              <p:cNvSpPr/>
              <p:nvPr/>
            </p:nvSpPr>
            <p:spPr>
              <a:xfrm>
                <a:off x="2810089" y="2345122"/>
                <a:ext cx="330798" cy="69925"/>
              </a:xfrm>
              <a:prstGeom prst="rect">
                <a:avLst/>
              </a:prstGeom>
              <a:blipFill>
                <a:blip r:embed="rId2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8" name="object 318">
                <a:extLst>
                  <a:ext uri="{FF2B5EF4-FFF2-40B4-BE49-F238E27FC236}">
                    <a16:creationId xmlns:a16="http://schemas.microsoft.com/office/drawing/2014/main" id="{68BD47E5-0E7B-FE1F-825E-5D31BCB1B599}"/>
                  </a:ext>
                </a:extLst>
              </p:cNvPr>
              <p:cNvSpPr/>
              <p:nvPr/>
            </p:nvSpPr>
            <p:spPr>
              <a:xfrm>
                <a:off x="2831605"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69" name="object 319">
                <a:extLst>
                  <a:ext uri="{FF2B5EF4-FFF2-40B4-BE49-F238E27FC236}">
                    <a16:creationId xmlns:a16="http://schemas.microsoft.com/office/drawing/2014/main" id="{BE19EA49-587E-FAA0-9113-4424B8F37BB9}"/>
                  </a:ext>
                </a:extLst>
              </p:cNvPr>
              <p:cNvSpPr/>
              <p:nvPr/>
            </p:nvSpPr>
            <p:spPr>
              <a:xfrm>
                <a:off x="2822192" y="235722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70" name="object 320">
                <a:extLst>
                  <a:ext uri="{FF2B5EF4-FFF2-40B4-BE49-F238E27FC236}">
                    <a16:creationId xmlns:a16="http://schemas.microsoft.com/office/drawing/2014/main" id="{59F0F6B3-4DC7-C9FA-2419-EB6560302AEF}"/>
                  </a:ext>
                </a:extLst>
              </p:cNvPr>
              <p:cNvSpPr txBox="1"/>
              <p:nvPr/>
            </p:nvSpPr>
            <p:spPr>
              <a:xfrm>
                <a:off x="2863990" y="2359241"/>
                <a:ext cx="12886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71" name="object 321">
                <a:extLst>
                  <a:ext uri="{FF2B5EF4-FFF2-40B4-BE49-F238E27FC236}">
                    <a16:creationId xmlns:a16="http://schemas.microsoft.com/office/drawing/2014/main" id="{BC85B58C-D762-FDDC-B8C2-C4D726AA9B8B}"/>
                  </a:ext>
                </a:extLst>
              </p:cNvPr>
              <p:cNvSpPr/>
              <p:nvPr/>
            </p:nvSpPr>
            <p:spPr>
              <a:xfrm>
                <a:off x="2810089" y="2435217"/>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72" name="object 322">
                <a:extLst>
                  <a:ext uri="{FF2B5EF4-FFF2-40B4-BE49-F238E27FC236}">
                    <a16:creationId xmlns:a16="http://schemas.microsoft.com/office/drawing/2014/main" id="{1729A3CC-94DE-82B3-23A7-519D8E53BD4E}"/>
                  </a:ext>
                </a:extLst>
              </p:cNvPr>
              <p:cNvSpPr/>
              <p:nvPr/>
            </p:nvSpPr>
            <p:spPr>
              <a:xfrm>
                <a:off x="2831605"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73" name="object 323">
                <a:extLst>
                  <a:ext uri="{FF2B5EF4-FFF2-40B4-BE49-F238E27FC236}">
                    <a16:creationId xmlns:a16="http://schemas.microsoft.com/office/drawing/2014/main" id="{5293C809-8C62-2458-4A55-DB330FA390C4}"/>
                  </a:ext>
                </a:extLst>
              </p:cNvPr>
              <p:cNvSpPr/>
              <p:nvPr/>
            </p:nvSpPr>
            <p:spPr>
              <a:xfrm>
                <a:off x="2822192" y="2447321"/>
                <a:ext cx="328333" cy="68916"/>
              </a:xfrm>
              <a:custGeom>
                <a:avLst/>
                <a:gdLst/>
                <a:ahLst/>
                <a:cxnLst/>
                <a:rect l="l" t="t" r="r" b="b"/>
                <a:pathLst>
                  <a:path w="372110"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74" name="object 324">
                <a:extLst>
                  <a:ext uri="{FF2B5EF4-FFF2-40B4-BE49-F238E27FC236}">
                    <a16:creationId xmlns:a16="http://schemas.microsoft.com/office/drawing/2014/main" id="{1767B920-4E24-A6AD-5865-EBBB7AD50D92}"/>
                  </a:ext>
                </a:extLst>
              </p:cNvPr>
              <p:cNvSpPr txBox="1"/>
              <p:nvPr/>
            </p:nvSpPr>
            <p:spPr>
              <a:xfrm>
                <a:off x="2863990" y="2449562"/>
                <a:ext cx="245969"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75" name="object 325">
                <a:extLst>
                  <a:ext uri="{FF2B5EF4-FFF2-40B4-BE49-F238E27FC236}">
                    <a16:creationId xmlns:a16="http://schemas.microsoft.com/office/drawing/2014/main" id="{9998BE96-D6FC-BEB8-AFDB-E6091D688C59}"/>
                  </a:ext>
                </a:extLst>
              </p:cNvPr>
              <p:cNvSpPr/>
              <p:nvPr/>
            </p:nvSpPr>
            <p:spPr>
              <a:xfrm>
                <a:off x="2810089" y="2616752"/>
                <a:ext cx="330798" cy="69925"/>
              </a:xfrm>
              <a:prstGeom prst="rect">
                <a:avLst/>
              </a:prstGeom>
              <a:blipFill>
                <a:blip r:embed="rId2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76" name="object 326">
                <a:extLst>
                  <a:ext uri="{FF2B5EF4-FFF2-40B4-BE49-F238E27FC236}">
                    <a16:creationId xmlns:a16="http://schemas.microsoft.com/office/drawing/2014/main" id="{2400D54B-59AF-0581-6F0A-2586386DA3AC}"/>
                  </a:ext>
                </a:extLst>
              </p:cNvPr>
              <p:cNvSpPr/>
              <p:nvPr/>
            </p:nvSpPr>
            <p:spPr>
              <a:xfrm>
                <a:off x="2831605"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77" name="object 327">
                <a:extLst>
                  <a:ext uri="{FF2B5EF4-FFF2-40B4-BE49-F238E27FC236}">
                    <a16:creationId xmlns:a16="http://schemas.microsoft.com/office/drawing/2014/main" id="{2DC2F632-2401-0C2D-6CBB-692D8EDB76B8}"/>
                  </a:ext>
                </a:extLst>
              </p:cNvPr>
              <p:cNvSpPr/>
              <p:nvPr/>
            </p:nvSpPr>
            <p:spPr>
              <a:xfrm>
                <a:off x="2822192" y="262885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78" name="object 328">
                <a:extLst>
                  <a:ext uri="{FF2B5EF4-FFF2-40B4-BE49-F238E27FC236}">
                    <a16:creationId xmlns:a16="http://schemas.microsoft.com/office/drawing/2014/main" id="{42E1F680-193A-8E94-EF79-DB62803FA876}"/>
                  </a:ext>
                </a:extLst>
              </p:cNvPr>
              <p:cNvSpPr/>
              <p:nvPr/>
            </p:nvSpPr>
            <p:spPr>
              <a:xfrm>
                <a:off x="2810089" y="2525312"/>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79" name="object 329">
                <a:extLst>
                  <a:ext uri="{FF2B5EF4-FFF2-40B4-BE49-F238E27FC236}">
                    <a16:creationId xmlns:a16="http://schemas.microsoft.com/office/drawing/2014/main" id="{1BE3F1AA-E3EC-4E1F-5B11-891E6A824550}"/>
                  </a:ext>
                </a:extLst>
              </p:cNvPr>
              <p:cNvSpPr/>
              <p:nvPr/>
            </p:nvSpPr>
            <p:spPr>
              <a:xfrm>
                <a:off x="2831605"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0" name="object 330">
                <a:extLst>
                  <a:ext uri="{FF2B5EF4-FFF2-40B4-BE49-F238E27FC236}">
                    <a16:creationId xmlns:a16="http://schemas.microsoft.com/office/drawing/2014/main" id="{55F584CD-D5BE-FCCA-B8CC-C7E0D3240279}"/>
                  </a:ext>
                </a:extLst>
              </p:cNvPr>
              <p:cNvSpPr/>
              <p:nvPr/>
            </p:nvSpPr>
            <p:spPr>
              <a:xfrm>
                <a:off x="2822192" y="2537415"/>
                <a:ext cx="328333" cy="68916"/>
              </a:xfrm>
              <a:custGeom>
                <a:avLst/>
                <a:gdLst/>
                <a:ahLst/>
                <a:cxnLst/>
                <a:rect l="l" t="t" r="r" b="b"/>
                <a:pathLst>
                  <a:path w="372110"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1" name="object 331">
                <a:extLst>
                  <a:ext uri="{FF2B5EF4-FFF2-40B4-BE49-F238E27FC236}">
                    <a16:creationId xmlns:a16="http://schemas.microsoft.com/office/drawing/2014/main" id="{4C526F8F-82B9-3314-9FC8-CB3663355ACE}"/>
                  </a:ext>
                </a:extLst>
              </p:cNvPr>
              <p:cNvSpPr txBox="1"/>
              <p:nvPr/>
            </p:nvSpPr>
            <p:spPr>
              <a:xfrm>
                <a:off x="2863990" y="2540217"/>
                <a:ext cx="14903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82" name="object 332">
                <a:extLst>
                  <a:ext uri="{FF2B5EF4-FFF2-40B4-BE49-F238E27FC236}">
                    <a16:creationId xmlns:a16="http://schemas.microsoft.com/office/drawing/2014/main" id="{EB43918A-F907-E1F3-B2F1-56642AF854FF}"/>
                  </a:ext>
                </a:extLst>
              </p:cNvPr>
              <p:cNvSpPr/>
              <p:nvPr/>
            </p:nvSpPr>
            <p:spPr>
              <a:xfrm>
                <a:off x="2042262" y="2686677"/>
                <a:ext cx="12102" cy="24205"/>
              </a:xfrm>
              <a:prstGeom prst="rect">
                <a:avLst/>
              </a:prstGeom>
              <a:blipFill>
                <a:blip r:embed="rId3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3" name="object 333">
                <a:extLst>
                  <a:ext uri="{FF2B5EF4-FFF2-40B4-BE49-F238E27FC236}">
                    <a16:creationId xmlns:a16="http://schemas.microsoft.com/office/drawing/2014/main" id="{435C43D7-6B91-4137-ECDD-BCDD197C2061}"/>
                  </a:ext>
                </a:extLst>
              </p:cNvPr>
              <p:cNvSpPr/>
              <p:nvPr/>
            </p:nvSpPr>
            <p:spPr>
              <a:xfrm>
                <a:off x="2042262" y="259658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4" name="object 334">
                <a:extLst>
                  <a:ext uri="{FF2B5EF4-FFF2-40B4-BE49-F238E27FC236}">
                    <a16:creationId xmlns:a16="http://schemas.microsoft.com/office/drawing/2014/main" id="{38CE091A-75D8-8C9F-5AFD-CCF9279B3B80}"/>
                  </a:ext>
                </a:extLst>
              </p:cNvPr>
              <p:cNvSpPr/>
              <p:nvPr/>
            </p:nvSpPr>
            <p:spPr>
              <a:xfrm>
                <a:off x="2042262" y="2506487"/>
                <a:ext cx="12102"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5" name="object 335">
                <a:extLst>
                  <a:ext uri="{FF2B5EF4-FFF2-40B4-BE49-F238E27FC236}">
                    <a16:creationId xmlns:a16="http://schemas.microsoft.com/office/drawing/2014/main" id="{F5FD32FB-7066-CC58-AE65-91A1B039C63F}"/>
                  </a:ext>
                </a:extLst>
              </p:cNvPr>
              <p:cNvSpPr/>
              <p:nvPr/>
            </p:nvSpPr>
            <p:spPr>
              <a:xfrm>
                <a:off x="2042262" y="2415046"/>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6" name="object 336">
                <a:extLst>
                  <a:ext uri="{FF2B5EF4-FFF2-40B4-BE49-F238E27FC236}">
                    <a16:creationId xmlns:a16="http://schemas.microsoft.com/office/drawing/2014/main" id="{0C2D63E0-1101-FE6D-EE33-B7093FBA9A11}"/>
                  </a:ext>
                </a:extLst>
              </p:cNvPr>
              <p:cNvSpPr/>
              <p:nvPr/>
            </p:nvSpPr>
            <p:spPr>
              <a:xfrm>
                <a:off x="2042262" y="2218719"/>
                <a:ext cx="350968"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7" name="object 337">
                <a:extLst>
                  <a:ext uri="{FF2B5EF4-FFF2-40B4-BE49-F238E27FC236}">
                    <a16:creationId xmlns:a16="http://schemas.microsoft.com/office/drawing/2014/main" id="{B03838BD-73E7-2A26-CDC9-A16F212B0ADC}"/>
                  </a:ext>
                </a:extLst>
              </p:cNvPr>
              <p:cNvSpPr/>
              <p:nvPr/>
            </p:nvSpPr>
            <p:spPr>
              <a:xfrm>
                <a:off x="2063778" y="2240236"/>
                <a:ext cx="350968"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8" name="object 338">
                <a:extLst>
                  <a:ext uri="{FF2B5EF4-FFF2-40B4-BE49-F238E27FC236}">
                    <a16:creationId xmlns:a16="http://schemas.microsoft.com/office/drawing/2014/main" id="{CFB4F962-0926-6DCC-FA83-C0A4644E1607}"/>
                  </a:ext>
                </a:extLst>
              </p:cNvPr>
              <p:cNvSpPr/>
              <p:nvPr/>
            </p:nvSpPr>
            <p:spPr>
              <a:xfrm>
                <a:off x="2054365" y="2230821"/>
                <a:ext cx="348503" cy="489697"/>
              </a:xfrm>
              <a:custGeom>
                <a:avLst/>
                <a:gdLst/>
                <a:ahLst/>
                <a:cxnLst/>
                <a:rect l="l" t="t" r="r" b="b"/>
                <a:pathLst>
                  <a:path w="394969" h="554989">
                    <a:moveTo>
                      <a:pt x="0" y="0"/>
                    </a:moveTo>
                    <a:lnTo>
                      <a:pt x="0" y="554736"/>
                    </a:lnTo>
                    <a:lnTo>
                      <a:pt x="394716" y="554736"/>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89" name="object 339">
                <a:extLst>
                  <a:ext uri="{FF2B5EF4-FFF2-40B4-BE49-F238E27FC236}">
                    <a16:creationId xmlns:a16="http://schemas.microsoft.com/office/drawing/2014/main" id="{256CAEF6-719E-399B-789B-A69B8D99FD66}"/>
                  </a:ext>
                </a:extLst>
              </p:cNvPr>
              <p:cNvSpPr/>
              <p:nvPr/>
            </p:nvSpPr>
            <p:spPr>
              <a:xfrm>
                <a:off x="2039573" y="2345122"/>
                <a:ext cx="332142" cy="69925"/>
              </a:xfrm>
              <a:prstGeom prst="rect">
                <a:avLst/>
              </a:prstGeom>
              <a:blipFill>
                <a:blip r:embed="rId3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0" name="object 340">
                <a:extLst>
                  <a:ext uri="{FF2B5EF4-FFF2-40B4-BE49-F238E27FC236}">
                    <a16:creationId xmlns:a16="http://schemas.microsoft.com/office/drawing/2014/main" id="{4A5E206C-6098-FE98-BEED-38D3817A0518}"/>
                  </a:ext>
                </a:extLst>
              </p:cNvPr>
              <p:cNvSpPr/>
              <p:nvPr/>
            </p:nvSpPr>
            <p:spPr>
              <a:xfrm>
                <a:off x="2061089" y="2366638"/>
                <a:ext cx="332141" cy="69925"/>
              </a:xfrm>
              <a:prstGeom prst="rect">
                <a:avLst/>
              </a:prstGeom>
              <a:blipFill>
                <a:blip r:embed="rId3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1" name="object 341">
                <a:extLst>
                  <a:ext uri="{FF2B5EF4-FFF2-40B4-BE49-F238E27FC236}">
                    <a16:creationId xmlns:a16="http://schemas.microsoft.com/office/drawing/2014/main" id="{8A12E4A4-6ED7-CD2D-E811-2D49774BB3D0}"/>
                  </a:ext>
                </a:extLst>
              </p:cNvPr>
              <p:cNvSpPr/>
              <p:nvPr/>
            </p:nvSpPr>
            <p:spPr>
              <a:xfrm>
                <a:off x="2051675" y="2357224"/>
                <a:ext cx="329453" cy="67235"/>
              </a:xfrm>
              <a:custGeom>
                <a:avLst/>
                <a:gdLst/>
                <a:ahLst/>
                <a:cxnLst/>
                <a:rect l="l" t="t" r="r" b="b"/>
                <a:pathLst>
                  <a:path w="373380" h="76200">
                    <a:moveTo>
                      <a:pt x="0" y="0"/>
                    </a:moveTo>
                    <a:lnTo>
                      <a:pt x="0" y="76200"/>
                    </a:lnTo>
                    <a:lnTo>
                      <a:pt x="373379" y="76200"/>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2" name="object 342">
                <a:extLst>
                  <a:ext uri="{FF2B5EF4-FFF2-40B4-BE49-F238E27FC236}">
                    <a16:creationId xmlns:a16="http://schemas.microsoft.com/office/drawing/2014/main" id="{755C2B95-40C4-1636-FEEA-DE2EBB7D73F5}"/>
                  </a:ext>
                </a:extLst>
              </p:cNvPr>
              <p:cNvSpPr/>
              <p:nvPr/>
            </p:nvSpPr>
            <p:spPr>
              <a:xfrm>
                <a:off x="2039573" y="2435217"/>
                <a:ext cx="332142" cy="71269"/>
              </a:xfrm>
              <a:prstGeom prst="rect">
                <a:avLst/>
              </a:prstGeom>
              <a:blipFill>
                <a:blip r:embed="rId3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3" name="object 343">
                <a:extLst>
                  <a:ext uri="{FF2B5EF4-FFF2-40B4-BE49-F238E27FC236}">
                    <a16:creationId xmlns:a16="http://schemas.microsoft.com/office/drawing/2014/main" id="{B893B16D-955C-1FD5-B9B2-C3E9BE023D11}"/>
                  </a:ext>
                </a:extLst>
              </p:cNvPr>
              <p:cNvSpPr/>
              <p:nvPr/>
            </p:nvSpPr>
            <p:spPr>
              <a:xfrm>
                <a:off x="2061089" y="2456732"/>
                <a:ext cx="332141" cy="71269"/>
              </a:xfrm>
              <a:prstGeom prst="rect">
                <a:avLst/>
              </a:prstGeom>
              <a:blipFill>
                <a:blip r:embed="rId3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4" name="object 344">
                <a:extLst>
                  <a:ext uri="{FF2B5EF4-FFF2-40B4-BE49-F238E27FC236}">
                    <a16:creationId xmlns:a16="http://schemas.microsoft.com/office/drawing/2014/main" id="{94156CC7-44D4-DB57-F958-5C2A4A753A01}"/>
                  </a:ext>
                </a:extLst>
              </p:cNvPr>
              <p:cNvSpPr/>
              <p:nvPr/>
            </p:nvSpPr>
            <p:spPr>
              <a:xfrm>
                <a:off x="2051675" y="2447321"/>
                <a:ext cx="329453" cy="68916"/>
              </a:xfrm>
              <a:custGeom>
                <a:avLst/>
                <a:gdLst/>
                <a:ahLst/>
                <a:cxnLst/>
                <a:rect l="l" t="t" r="r" b="b"/>
                <a:pathLst>
                  <a:path w="373380" h="78105">
                    <a:moveTo>
                      <a:pt x="0" y="0"/>
                    </a:moveTo>
                    <a:lnTo>
                      <a:pt x="0" y="77724"/>
                    </a:lnTo>
                    <a:lnTo>
                      <a:pt x="373379" y="77724"/>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5" name="object 345">
                <a:extLst>
                  <a:ext uri="{FF2B5EF4-FFF2-40B4-BE49-F238E27FC236}">
                    <a16:creationId xmlns:a16="http://schemas.microsoft.com/office/drawing/2014/main" id="{24907A42-5426-FFDB-0B1B-167413C957A9}"/>
                  </a:ext>
                </a:extLst>
              </p:cNvPr>
              <p:cNvSpPr/>
              <p:nvPr/>
            </p:nvSpPr>
            <p:spPr>
              <a:xfrm>
                <a:off x="2039573" y="2616752"/>
                <a:ext cx="332142" cy="69925"/>
              </a:xfrm>
              <a:prstGeom prst="rect">
                <a:avLst/>
              </a:prstGeom>
              <a:blipFill>
                <a:blip r:embed="rId3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6" name="object 346">
                <a:extLst>
                  <a:ext uri="{FF2B5EF4-FFF2-40B4-BE49-F238E27FC236}">
                    <a16:creationId xmlns:a16="http://schemas.microsoft.com/office/drawing/2014/main" id="{4F948810-A7DD-00A5-C16A-CC004CBD5197}"/>
                  </a:ext>
                </a:extLst>
              </p:cNvPr>
              <p:cNvSpPr/>
              <p:nvPr/>
            </p:nvSpPr>
            <p:spPr>
              <a:xfrm>
                <a:off x="2061089" y="2638267"/>
                <a:ext cx="332141"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7" name="object 347">
                <a:extLst>
                  <a:ext uri="{FF2B5EF4-FFF2-40B4-BE49-F238E27FC236}">
                    <a16:creationId xmlns:a16="http://schemas.microsoft.com/office/drawing/2014/main" id="{E47BA54A-86FC-E6DC-24B1-E78603750918}"/>
                  </a:ext>
                </a:extLst>
              </p:cNvPr>
              <p:cNvSpPr/>
              <p:nvPr/>
            </p:nvSpPr>
            <p:spPr>
              <a:xfrm>
                <a:off x="2051675" y="2628854"/>
                <a:ext cx="329453" cy="67235"/>
              </a:xfrm>
              <a:custGeom>
                <a:avLst/>
                <a:gdLst/>
                <a:ahLst/>
                <a:cxnLst/>
                <a:rect l="l" t="t" r="r" b="b"/>
                <a:pathLst>
                  <a:path w="373380" h="76200">
                    <a:moveTo>
                      <a:pt x="0" y="0"/>
                    </a:moveTo>
                    <a:lnTo>
                      <a:pt x="0" y="76200"/>
                    </a:lnTo>
                    <a:lnTo>
                      <a:pt x="373379" y="76200"/>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8" name="object 348">
                <a:extLst>
                  <a:ext uri="{FF2B5EF4-FFF2-40B4-BE49-F238E27FC236}">
                    <a16:creationId xmlns:a16="http://schemas.microsoft.com/office/drawing/2014/main" id="{4515B19D-2E73-0C5F-520D-BD695FEA8C8D}"/>
                  </a:ext>
                </a:extLst>
              </p:cNvPr>
              <p:cNvSpPr/>
              <p:nvPr/>
            </p:nvSpPr>
            <p:spPr>
              <a:xfrm>
                <a:off x="2039573" y="2525312"/>
                <a:ext cx="332142" cy="71269"/>
              </a:xfrm>
              <a:prstGeom prst="rect">
                <a:avLst/>
              </a:prstGeom>
              <a:blipFill>
                <a:blip r:embed="rId3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99" name="object 349">
                <a:extLst>
                  <a:ext uri="{FF2B5EF4-FFF2-40B4-BE49-F238E27FC236}">
                    <a16:creationId xmlns:a16="http://schemas.microsoft.com/office/drawing/2014/main" id="{61A86441-1CF4-4ABA-BA71-B551B36B58BF}"/>
                  </a:ext>
                </a:extLst>
              </p:cNvPr>
              <p:cNvSpPr/>
              <p:nvPr/>
            </p:nvSpPr>
            <p:spPr>
              <a:xfrm>
                <a:off x="2061089" y="2546828"/>
                <a:ext cx="332141" cy="71269"/>
              </a:xfrm>
              <a:prstGeom prst="rect">
                <a:avLst/>
              </a:prstGeom>
              <a:blipFill>
                <a:blip r:embed="rId3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0" name="object 350">
                <a:extLst>
                  <a:ext uri="{FF2B5EF4-FFF2-40B4-BE49-F238E27FC236}">
                    <a16:creationId xmlns:a16="http://schemas.microsoft.com/office/drawing/2014/main" id="{EF40B9A5-6C9C-21A5-0D59-CCF892586922}"/>
                  </a:ext>
                </a:extLst>
              </p:cNvPr>
              <p:cNvSpPr/>
              <p:nvPr/>
            </p:nvSpPr>
            <p:spPr>
              <a:xfrm>
                <a:off x="2051675" y="2537415"/>
                <a:ext cx="329453" cy="68916"/>
              </a:xfrm>
              <a:custGeom>
                <a:avLst/>
                <a:gdLst/>
                <a:ahLst/>
                <a:cxnLst/>
                <a:rect l="l" t="t" r="r" b="b"/>
                <a:pathLst>
                  <a:path w="373380" h="78105">
                    <a:moveTo>
                      <a:pt x="0" y="0"/>
                    </a:moveTo>
                    <a:lnTo>
                      <a:pt x="0" y="77723"/>
                    </a:lnTo>
                    <a:lnTo>
                      <a:pt x="373379" y="77723"/>
                    </a:lnTo>
                    <a:lnTo>
                      <a:pt x="373379" y="0"/>
                    </a:lnTo>
                    <a:lnTo>
                      <a:pt x="0" y="0"/>
                    </a:lnTo>
                    <a:close/>
                  </a:path>
                </a:pathLst>
              </a:custGeom>
              <a:solidFill>
                <a:srgbClr val="B1C0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1" name="object 351">
                <a:extLst>
                  <a:ext uri="{FF2B5EF4-FFF2-40B4-BE49-F238E27FC236}">
                    <a16:creationId xmlns:a16="http://schemas.microsoft.com/office/drawing/2014/main" id="{6674385D-4E20-F3AB-94FD-1E2079CE92E5}"/>
                  </a:ext>
                </a:extLst>
              </p:cNvPr>
              <p:cNvSpPr/>
              <p:nvPr/>
            </p:nvSpPr>
            <p:spPr>
              <a:xfrm>
                <a:off x="2426848" y="2686677"/>
                <a:ext cx="12103" cy="24205"/>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2" name="object 352">
                <a:extLst>
                  <a:ext uri="{FF2B5EF4-FFF2-40B4-BE49-F238E27FC236}">
                    <a16:creationId xmlns:a16="http://schemas.microsoft.com/office/drawing/2014/main" id="{82A6E046-6FD4-1B95-350D-CC330B6F32CC}"/>
                  </a:ext>
                </a:extLst>
              </p:cNvPr>
              <p:cNvSpPr/>
              <p:nvPr/>
            </p:nvSpPr>
            <p:spPr>
              <a:xfrm>
                <a:off x="2426848" y="2596581"/>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3" name="object 353">
                <a:extLst>
                  <a:ext uri="{FF2B5EF4-FFF2-40B4-BE49-F238E27FC236}">
                    <a16:creationId xmlns:a16="http://schemas.microsoft.com/office/drawing/2014/main" id="{6D360939-2C90-1808-3DA1-D0A29671D92C}"/>
                  </a:ext>
                </a:extLst>
              </p:cNvPr>
              <p:cNvSpPr/>
              <p:nvPr/>
            </p:nvSpPr>
            <p:spPr>
              <a:xfrm>
                <a:off x="2426848" y="2506487"/>
                <a:ext cx="12103"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4" name="object 354">
                <a:extLst>
                  <a:ext uri="{FF2B5EF4-FFF2-40B4-BE49-F238E27FC236}">
                    <a16:creationId xmlns:a16="http://schemas.microsoft.com/office/drawing/2014/main" id="{97183522-F8C2-4F69-1589-F202BBCFC683}"/>
                  </a:ext>
                </a:extLst>
              </p:cNvPr>
              <p:cNvSpPr/>
              <p:nvPr/>
            </p:nvSpPr>
            <p:spPr>
              <a:xfrm>
                <a:off x="2426848" y="2415046"/>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5" name="object 355">
                <a:extLst>
                  <a:ext uri="{FF2B5EF4-FFF2-40B4-BE49-F238E27FC236}">
                    <a16:creationId xmlns:a16="http://schemas.microsoft.com/office/drawing/2014/main" id="{C92D4562-9054-16C4-1052-7A8A6EB34EB0}"/>
                  </a:ext>
                </a:extLst>
              </p:cNvPr>
              <p:cNvSpPr/>
              <p:nvPr/>
            </p:nvSpPr>
            <p:spPr>
              <a:xfrm>
                <a:off x="2426848" y="2218719"/>
                <a:ext cx="350968"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6" name="object 356">
                <a:extLst>
                  <a:ext uri="{FF2B5EF4-FFF2-40B4-BE49-F238E27FC236}">
                    <a16:creationId xmlns:a16="http://schemas.microsoft.com/office/drawing/2014/main" id="{3FCD8456-0B21-262F-F401-660CC89E3FEB}"/>
                  </a:ext>
                </a:extLst>
              </p:cNvPr>
              <p:cNvSpPr/>
              <p:nvPr/>
            </p:nvSpPr>
            <p:spPr>
              <a:xfrm>
                <a:off x="2448364" y="2240236"/>
                <a:ext cx="350968"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7" name="object 357">
                <a:extLst>
                  <a:ext uri="{FF2B5EF4-FFF2-40B4-BE49-F238E27FC236}">
                    <a16:creationId xmlns:a16="http://schemas.microsoft.com/office/drawing/2014/main" id="{2EB5ED4C-746C-8F69-F03E-BAD45BCC9E27}"/>
                  </a:ext>
                </a:extLst>
              </p:cNvPr>
              <p:cNvSpPr/>
              <p:nvPr/>
            </p:nvSpPr>
            <p:spPr>
              <a:xfrm>
                <a:off x="2438950" y="2230821"/>
                <a:ext cx="348503" cy="489697"/>
              </a:xfrm>
              <a:custGeom>
                <a:avLst/>
                <a:gdLst/>
                <a:ahLst/>
                <a:cxnLst/>
                <a:rect l="l" t="t" r="r" b="b"/>
                <a:pathLst>
                  <a:path w="394969" h="554989">
                    <a:moveTo>
                      <a:pt x="0" y="0"/>
                    </a:moveTo>
                    <a:lnTo>
                      <a:pt x="0" y="554736"/>
                    </a:lnTo>
                    <a:lnTo>
                      <a:pt x="394716" y="554736"/>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8" name="object 358">
                <a:extLst>
                  <a:ext uri="{FF2B5EF4-FFF2-40B4-BE49-F238E27FC236}">
                    <a16:creationId xmlns:a16="http://schemas.microsoft.com/office/drawing/2014/main" id="{CDB464A8-D0C4-9942-8226-778A076A5133}"/>
                  </a:ext>
                </a:extLst>
              </p:cNvPr>
              <p:cNvSpPr/>
              <p:nvPr/>
            </p:nvSpPr>
            <p:spPr>
              <a:xfrm>
                <a:off x="2425504" y="2345122"/>
                <a:ext cx="330798" cy="69925"/>
              </a:xfrm>
              <a:prstGeom prst="rect">
                <a:avLst/>
              </a:prstGeom>
              <a:blipFill>
                <a:blip r:embed="rId3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09" name="object 359">
                <a:extLst>
                  <a:ext uri="{FF2B5EF4-FFF2-40B4-BE49-F238E27FC236}">
                    <a16:creationId xmlns:a16="http://schemas.microsoft.com/office/drawing/2014/main" id="{30689932-95B3-3A30-D760-DA0C8FDCB53E}"/>
                  </a:ext>
                </a:extLst>
              </p:cNvPr>
              <p:cNvSpPr/>
              <p:nvPr/>
            </p:nvSpPr>
            <p:spPr>
              <a:xfrm>
                <a:off x="2447019"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0" name="object 360">
                <a:extLst>
                  <a:ext uri="{FF2B5EF4-FFF2-40B4-BE49-F238E27FC236}">
                    <a16:creationId xmlns:a16="http://schemas.microsoft.com/office/drawing/2014/main" id="{40679DDA-258D-82AE-A4D0-DA7B3F5D1C9E}"/>
                  </a:ext>
                </a:extLst>
              </p:cNvPr>
              <p:cNvSpPr/>
              <p:nvPr/>
            </p:nvSpPr>
            <p:spPr>
              <a:xfrm>
                <a:off x="2437606" y="235722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1" name="object 361">
                <a:extLst>
                  <a:ext uri="{FF2B5EF4-FFF2-40B4-BE49-F238E27FC236}">
                    <a16:creationId xmlns:a16="http://schemas.microsoft.com/office/drawing/2014/main" id="{30EB55F3-9993-0A71-5D60-C08050E5AAF7}"/>
                  </a:ext>
                </a:extLst>
              </p:cNvPr>
              <p:cNvSpPr/>
              <p:nvPr/>
            </p:nvSpPr>
            <p:spPr>
              <a:xfrm>
                <a:off x="2425504" y="2435217"/>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2" name="object 362">
                <a:extLst>
                  <a:ext uri="{FF2B5EF4-FFF2-40B4-BE49-F238E27FC236}">
                    <a16:creationId xmlns:a16="http://schemas.microsoft.com/office/drawing/2014/main" id="{457126F0-C552-FC57-EA7D-CD8C6821ED7E}"/>
                  </a:ext>
                </a:extLst>
              </p:cNvPr>
              <p:cNvSpPr/>
              <p:nvPr/>
            </p:nvSpPr>
            <p:spPr>
              <a:xfrm>
                <a:off x="2447019"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3" name="object 363">
                <a:extLst>
                  <a:ext uri="{FF2B5EF4-FFF2-40B4-BE49-F238E27FC236}">
                    <a16:creationId xmlns:a16="http://schemas.microsoft.com/office/drawing/2014/main" id="{D86FB173-D0FE-5715-41C6-CEDB60D74323}"/>
                  </a:ext>
                </a:extLst>
              </p:cNvPr>
              <p:cNvSpPr/>
              <p:nvPr/>
            </p:nvSpPr>
            <p:spPr>
              <a:xfrm>
                <a:off x="2437606" y="2447321"/>
                <a:ext cx="328333" cy="68916"/>
              </a:xfrm>
              <a:custGeom>
                <a:avLst/>
                <a:gdLst/>
                <a:ahLst/>
                <a:cxnLst/>
                <a:rect l="l" t="t" r="r" b="b"/>
                <a:pathLst>
                  <a:path w="372110"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4" name="object 364">
                <a:extLst>
                  <a:ext uri="{FF2B5EF4-FFF2-40B4-BE49-F238E27FC236}">
                    <a16:creationId xmlns:a16="http://schemas.microsoft.com/office/drawing/2014/main" id="{1DB46217-A9EF-0653-9764-4C32E83D40EF}"/>
                  </a:ext>
                </a:extLst>
              </p:cNvPr>
              <p:cNvSpPr/>
              <p:nvPr/>
            </p:nvSpPr>
            <p:spPr>
              <a:xfrm>
                <a:off x="2425504" y="2616752"/>
                <a:ext cx="330798" cy="69925"/>
              </a:xfrm>
              <a:prstGeom prst="rect">
                <a:avLst/>
              </a:prstGeom>
              <a:blipFill>
                <a:blip r:embed="rId3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5" name="object 365">
                <a:extLst>
                  <a:ext uri="{FF2B5EF4-FFF2-40B4-BE49-F238E27FC236}">
                    <a16:creationId xmlns:a16="http://schemas.microsoft.com/office/drawing/2014/main" id="{80490FA1-7FF5-A339-158D-40AC8D09E038}"/>
                  </a:ext>
                </a:extLst>
              </p:cNvPr>
              <p:cNvSpPr/>
              <p:nvPr/>
            </p:nvSpPr>
            <p:spPr>
              <a:xfrm>
                <a:off x="2447019"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6" name="object 366">
                <a:extLst>
                  <a:ext uri="{FF2B5EF4-FFF2-40B4-BE49-F238E27FC236}">
                    <a16:creationId xmlns:a16="http://schemas.microsoft.com/office/drawing/2014/main" id="{16B76CD5-93E8-6B91-96E3-E0445657F9EF}"/>
                  </a:ext>
                </a:extLst>
              </p:cNvPr>
              <p:cNvSpPr/>
              <p:nvPr/>
            </p:nvSpPr>
            <p:spPr>
              <a:xfrm>
                <a:off x="2437606" y="262885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7" name="object 367">
                <a:extLst>
                  <a:ext uri="{FF2B5EF4-FFF2-40B4-BE49-F238E27FC236}">
                    <a16:creationId xmlns:a16="http://schemas.microsoft.com/office/drawing/2014/main" id="{C9FBDC4C-D42B-F4B2-9368-BADDF6EA628C}"/>
                  </a:ext>
                </a:extLst>
              </p:cNvPr>
              <p:cNvSpPr txBox="1"/>
              <p:nvPr/>
            </p:nvSpPr>
            <p:spPr>
              <a:xfrm>
                <a:off x="1708860" y="2630648"/>
                <a:ext cx="200778" cy="1004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18" name="object 368">
                <a:extLst>
                  <a:ext uri="{FF2B5EF4-FFF2-40B4-BE49-F238E27FC236}">
                    <a16:creationId xmlns:a16="http://schemas.microsoft.com/office/drawing/2014/main" id="{64741445-93C8-AAF6-CF4A-4E8900067E8C}"/>
                  </a:ext>
                </a:extLst>
              </p:cNvPr>
              <p:cNvSpPr/>
              <p:nvPr/>
            </p:nvSpPr>
            <p:spPr>
              <a:xfrm>
                <a:off x="2425504" y="2525312"/>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19" name="object 369">
                <a:extLst>
                  <a:ext uri="{FF2B5EF4-FFF2-40B4-BE49-F238E27FC236}">
                    <a16:creationId xmlns:a16="http://schemas.microsoft.com/office/drawing/2014/main" id="{2AEEE4C0-CB4F-195E-F61B-9CFAF2126893}"/>
                  </a:ext>
                </a:extLst>
              </p:cNvPr>
              <p:cNvSpPr/>
              <p:nvPr/>
            </p:nvSpPr>
            <p:spPr>
              <a:xfrm>
                <a:off x="2447019"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20" name="object 370">
                <a:extLst>
                  <a:ext uri="{FF2B5EF4-FFF2-40B4-BE49-F238E27FC236}">
                    <a16:creationId xmlns:a16="http://schemas.microsoft.com/office/drawing/2014/main" id="{00C95B17-69BE-22C1-D78E-EFE3578766DF}"/>
                  </a:ext>
                </a:extLst>
              </p:cNvPr>
              <p:cNvSpPr/>
              <p:nvPr/>
            </p:nvSpPr>
            <p:spPr>
              <a:xfrm>
                <a:off x="2437606" y="2537415"/>
                <a:ext cx="328333" cy="68916"/>
              </a:xfrm>
              <a:custGeom>
                <a:avLst/>
                <a:gdLst/>
                <a:ahLst/>
                <a:cxnLst/>
                <a:rect l="l" t="t" r="r" b="b"/>
                <a:pathLst>
                  <a:path w="372110" h="78105">
                    <a:moveTo>
                      <a:pt x="0" y="0"/>
                    </a:moveTo>
                    <a:lnTo>
                      <a:pt x="0" y="77723"/>
                    </a:lnTo>
                    <a:lnTo>
                      <a:pt x="371856" y="77723"/>
                    </a:lnTo>
                    <a:lnTo>
                      <a:pt x="371856" y="0"/>
                    </a:lnTo>
                    <a:lnTo>
                      <a:pt x="0" y="0"/>
                    </a:lnTo>
                    <a:close/>
                  </a:path>
                </a:pathLst>
              </a:custGeom>
              <a:solidFill>
                <a:srgbClr val="B1C0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21" name="object 371">
                <a:extLst>
                  <a:ext uri="{FF2B5EF4-FFF2-40B4-BE49-F238E27FC236}">
                    <a16:creationId xmlns:a16="http://schemas.microsoft.com/office/drawing/2014/main" id="{36FD4756-51C6-9535-D5AE-617E7206FB7D}"/>
                  </a:ext>
                </a:extLst>
              </p:cNvPr>
              <p:cNvSpPr txBox="1"/>
              <p:nvPr/>
            </p:nvSpPr>
            <p:spPr>
              <a:xfrm>
                <a:off x="2081372" y="2149038"/>
                <a:ext cx="650501" cy="55731"/>
              </a:xfrm>
              <a:prstGeom prst="rect">
                <a:avLst/>
              </a:prstGeom>
            </p:spPr>
            <p:txBody>
              <a:bodyPr vert="horz" wrap="square" lIns="0" tIns="0" rIns="0" bIns="0" rtlCol="0">
                <a:spAutoFit/>
              </a:bodyPr>
              <a:lstStyle/>
              <a:p>
                <a:pPr marL="3922"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0" normalizeH="0" baseline="0" noProof="0" dirty="0">
                    <a:ln>
                      <a:noFill/>
                    </a:ln>
                    <a:solidFill>
                      <a:srgbClr val="FFFFFF"/>
                    </a:solidFill>
                    <a:effectLst/>
                    <a:uLnTx/>
                    <a:uFillTx/>
                    <a:latin typeface="Open Sans"/>
                    <a:cs typeface="Open Sans" panose="020B0606030504020204" pitchFamily="34" charset="0"/>
                  </a:rPr>
                  <a:t>Managemen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22" name="object 293">
                <a:extLst>
                  <a:ext uri="{FF2B5EF4-FFF2-40B4-BE49-F238E27FC236}">
                    <a16:creationId xmlns:a16="http://schemas.microsoft.com/office/drawing/2014/main" id="{11F9D070-CB29-472A-21D6-84EFCFFA1CE1}"/>
                  </a:ext>
                </a:extLst>
              </p:cNvPr>
              <p:cNvSpPr txBox="1"/>
              <p:nvPr/>
            </p:nvSpPr>
            <p:spPr>
              <a:xfrm>
                <a:off x="2083155" y="2246287"/>
                <a:ext cx="261097" cy="5573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Product </a:t>
                </a:r>
                <a:r>
                  <a:rPr kumimoji="0" lang="en-AU" sz="441" u="none" strike="noStrike" kern="0" cap="none" spc="0" normalizeH="0" baseline="0" noProof="0" dirty="0">
                    <a:ln>
                      <a:noFill/>
                    </a:ln>
                    <a:solidFill>
                      <a:srgbClr val="231F20"/>
                    </a:solidFill>
                    <a:effectLst/>
                    <a:uLnTx/>
                    <a:uFillTx/>
                    <a:latin typeface="Open Sans"/>
                    <a:cs typeface="Open Sans" panose="020B0606030504020204" pitchFamily="34" charset="0"/>
                  </a:rPr>
                  <a:t>2</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23" name="object 293">
                <a:extLst>
                  <a:ext uri="{FF2B5EF4-FFF2-40B4-BE49-F238E27FC236}">
                    <a16:creationId xmlns:a16="http://schemas.microsoft.com/office/drawing/2014/main" id="{4A4A33FA-D49B-E64B-C7E1-14C85929BA20}"/>
                  </a:ext>
                </a:extLst>
              </p:cNvPr>
              <p:cNvSpPr txBox="1"/>
              <p:nvPr/>
            </p:nvSpPr>
            <p:spPr>
              <a:xfrm>
                <a:off x="2468311" y="2246287"/>
                <a:ext cx="261097" cy="5573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Product </a:t>
                </a:r>
                <a:r>
                  <a:rPr kumimoji="0" lang="en-AU" sz="441" u="none" strike="noStrike" kern="0" cap="none" spc="0" normalizeH="0" baseline="0" noProof="0" dirty="0">
                    <a:ln>
                      <a:noFill/>
                    </a:ln>
                    <a:solidFill>
                      <a:srgbClr val="231F20"/>
                    </a:solidFill>
                    <a:effectLst/>
                    <a:uLnTx/>
                    <a:uFillTx/>
                    <a:latin typeface="Open Sans"/>
                    <a:cs typeface="Open Sans" panose="020B0606030504020204" pitchFamily="34" charset="0"/>
                  </a:rPr>
                  <a:t>3</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24" name="object 297">
                <a:extLst>
                  <a:ext uri="{FF2B5EF4-FFF2-40B4-BE49-F238E27FC236}">
                    <a16:creationId xmlns:a16="http://schemas.microsoft.com/office/drawing/2014/main" id="{7C524E24-427A-6256-94D2-5623034AE7E3}"/>
                  </a:ext>
                </a:extLst>
              </p:cNvPr>
              <p:cNvSpPr txBox="1"/>
              <p:nvPr/>
            </p:nvSpPr>
            <p:spPr>
              <a:xfrm>
                <a:off x="2092974" y="2359241"/>
                <a:ext cx="12886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25" name="object 301">
                <a:extLst>
                  <a:ext uri="{FF2B5EF4-FFF2-40B4-BE49-F238E27FC236}">
                    <a16:creationId xmlns:a16="http://schemas.microsoft.com/office/drawing/2014/main" id="{920D20B0-8B7B-7526-5A61-C980F6252BBA}"/>
                  </a:ext>
                </a:extLst>
              </p:cNvPr>
              <p:cNvSpPr txBox="1"/>
              <p:nvPr/>
            </p:nvSpPr>
            <p:spPr>
              <a:xfrm>
                <a:off x="2092974" y="2449562"/>
                <a:ext cx="245969"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26" name="object 307">
                <a:extLst>
                  <a:ext uri="{FF2B5EF4-FFF2-40B4-BE49-F238E27FC236}">
                    <a16:creationId xmlns:a16="http://schemas.microsoft.com/office/drawing/2014/main" id="{2841BCFE-27F8-F914-C479-6AA2A924E3AD}"/>
                  </a:ext>
                </a:extLst>
              </p:cNvPr>
              <p:cNvSpPr/>
              <p:nvPr/>
            </p:nvSpPr>
            <p:spPr>
              <a:xfrm>
                <a:off x="2051203"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27" name="object 308">
                <a:extLst>
                  <a:ext uri="{FF2B5EF4-FFF2-40B4-BE49-F238E27FC236}">
                    <a16:creationId xmlns:a16="http://schemas.microsoft.com/office/drawing/2014/main" id="{6C1EF83E-F271-14C0-EDF7-FAAC00082B75}"/>
                  </a:ext>
                </a:extLst>
              </p:cNvPr>
              <p:cNvSpPr txBox="1"/>
              <p:nvPr/>
            </p:nvSpPr>
            <p:spPr>
              <a:xfrm>
                <a:off x="2092974" y="2540217"/>
                <a:ext cx="14903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28" name="object 297">
                <a:extLst>
                  <a:ext uri="{FF2B5EF4-FFF2-40B4-BE49-F238E27FC236}">
                    <a16:creationId xmlns:a16="http://schemas.microsoft.com/office/drawing/2014/main" id="{87EB7251-F2A9-D042-ACBF-ED2DCB912521}"/>
                  </a:ext>
                </a:extLst>
              </p:cNvPr>
              <p:cNvSpPr txBox="1"/>
              <p:nvPr/>
            </p:nvSpPr>
            <p:spPr>
              <a:xfrm>
                <a:off x="2495910" y="2359241"/>
                <a:ext cx="12886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29" name="object 301">
                <a:extLst>
                  <a:ext uri="{FF2B5EF4-FFF2-40B4-BE49-F238E27FC236}">
                    <a16:creationId xmlns:a16="http://schemas.microsoft.com/office/drawing/2014/main" id="{766C922C-416A-B027-18C5-32BEC84A7D2A}"/>
                  </a:ext>
                </a:extLst>
              </p:cNvPr>
              <p:cNvSpPr txBox="1"/>
              <p:nvPr/>
            </p:nvSpPr>
            <p:spPr>
              <a:xfrm>
                <a:off x="2495910" y="2449562"/>
                <a:ext cx="245969"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30" name="object 307">
                <a:extLst>
                  <a:ext uri="{FF2B5EF4-FFF2-40B4-BE49-F238E27FC236}">
                    <a16:creationId xmlns:a16="http://schemas.microsoft.com/office/drawing/2014/main" id="{526BDC3C-3CED-3E79-A653-4D1DA772B83D}"/>
                  </a:ext>
                </a:extLst>
              </p:cNvPr>
              <p:cNvSpPr/>
              <p:nvPr/>
            </p:nvSpPr>
            <p:spPr>
              <a:xfrm>
                <a:off x="2454139"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31" name="object 308">
                <a:extLst>
                  <a:ext uri="{FF2B5EF4-FFF2-40B4-BE49-F238E27FC236}">
                    <a16:creationId xmlns:a16="http://schemas.microsoft.com/office/drawing/2014/main" id="{87B2DB8E-6D02-36FD-0AD6-744350D65C77}"/>
                  </a:ext>
                </a:extLst>
              </p:cNvPr>
              <p:cNvSpPr txBox="1"/>
              <p:nvPr/>
            </p:nvSpPr>
            <p:spPr>
              <a:xfrm>
                <a:off x="2495910" y="2540217"/>
                <a:ext cx="14903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32" name="object 367">
                <a:extLst>
                  <a:ext uri="{FF2B5EF4-FFF2-40B4-BE49-F238E27FC236}">
                    <a16:creationId xmlns:a16="http://schemas.microsoft.com/office/drawing/2014/main" id="{6BD19EBB-AF1F-40B8-4605-D5F7003ED3FE}"/>
                  </a:ext>
                </a:extLst>
              </p:cNvPr>
              <p:cNvSpPr txBox="1"/>
              <p:nvPr/>
            </p:nvSpPr>
            <p:spPr>
              <a:xfrm>
                <a:off x="2092974" y="2630648"/>
                <a:ext cx="200778" cy="1004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33" name="object 367">
                <a:extLst>
                  <a:ext uri="{FF2B5EF4-FFF2-40B4-BE49-F238E27FC236}">
                    <a16:creationId xmlns:a16="http://schemas.microsoft.com/office/drawing/2014/main" id="{A610979E-C59E-AB46-CDD8-2BD329ABE6BA}"/>
                  </a:ext>
                </a:extLst>
              </p:cNvPr>
              <p:cNvSpPr txBox="1"/>
              <p:nvPr/>
            </p:nvSpPr>
            <p:spPr>
              <a:xfrm>
                <a:off x="2495910" y="2630648"/>
                <a:ext cx="20077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34" name="object 367">
                <a:extLst>
                  <a:ext uri="{FF2B5EF4-FFF2-40B4-BE49-F238E27FC236}">
                    <a16:creationId xmlns:a16="http://schemas.microsoft.com/office/drawing/2014/main" id="{509BA4C7-8A19-90FF-DD07-EBAC2834E133}"/>
                  </a:ext>
                </a:extLst>
              </p:cNvPr>
              <p:cNvSpPr txBox="1"/>
              <p:nvPr/>
            </p:nvSpPr>
            <p:spPr>
              <a:xfrm>
                <a:off x="2863990" y="2630648"/>
                <a:ext cx="200778" cy="1004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35" name="object 293">
                <a:extLst>
                  <a:ext uri="{FF2B5EF4-FFF2-40B4-BE49-F238E27FC236}">
                    <a16:creationId xmlns:a16="http://schemas.microsoft.com/office/drawing/2014/main" id="{14293DAA-A7A7-9C18-76C4-AE9C74DDEEB8}"/>
                  </a:ext>
                </a:extLst>
              </p:cNvPr>
              <p:cNvSpPr txBox="1"/>
              <p:nvPr/>
            </p:nvSpPr>
            <p:spPr>
              <a:xfrm>
                <a:off x="2294954" y="2791099"/>
                <a:ext cx="261097" cy="55731"/>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Finance</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36" name="object 293">
                <a:extLst>
                  <a:ext uri="{FF2B5EF4-FFF2-40B4-BE49-F238E27FC236}">
                    <a16:creationId xmlns:a16="http://schemas.microsoft.com/office/drawing/2014/main" id="{406C6A14-D887-1048-C783-7A61CC0FF542}"/>
                  </a:ext>
                </a:extLst>
              </p:cNvPr>
              <p:cNvSpPr txBox="1"/>
              <p:nvPr/>
            </p:nvSpPr>
            <p:spPr>
              <a:xfrm>
                <a:off x="2294954" y="2915969"/>
                <a:ext cx="261097" cy="55731"/>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HR</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937" name="object 293">
                <a:extLst>
                  <a:ext uri="{FF2B5EF4-FFF2-40B4-BE49-F238E27FC236}">
                    <a16:creationId xmlns:a16="http://schemas.microsoft.com/office/drawing/2014/main" id="{029BDE4B-7798-F832-927D-78592573F42E}"/>
                  </a:ext>
                </a:extLst>
              </p:cNvPr>
              <p:cNvSpPr txBox="1"/>
              <p:nvPr/>
            </p:nvSpPr>
            <p:spPr>
              <a:xfrm>
                <a:off x="2294954" y="3045759"/>
                <a:ext cx="261097" cy="55731"/>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I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sp>
          <p:nvSpPr>
            <p:cNvPr id="1039" name="TextBox 1038">
              <a:extLst>
                <a:ext uri="{FF2B5EF4-FFF2-40B4-BE49-F238E27FC236}">
                  <a16:creationId xmlns:a16="http://schemas.microsoft.com/office/drawing/2014/main" id="{54E2B3DB-F294-64A3-80F1-439EC13FE6CD}"/>
                </a:ext>
              </a:extLst>
            </p:cNvPr>
            <p:cNvSpPr txBox="1"/>
            <p:nvPr/>
          </p:nvSpPr>
          <p:spPr>
            <a:xfrm rot="1610013">
              <a:off x="2428724" y="1990541"/>
              <a:ext cx="687779" cy="123111"/>
            </a:xfrm>
            <a:prstGeom prst="rect">
              <a:avLst/>
            </a:prstGeom>
            <a:solidFill>
              <a:sysClr val="window" lastClr="FFFFFF"/>
            </a:solidFill>
            <a:ln>
              <a:solidFill>
                <a:srgbClr val="FF0000"/>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r>
                <a:rPr kumimoji="0" lang="en-AU" sz="800" b="1" i="0" u="none" strike="noStrike" kern="0" cap="none" spc="0" normalizeH="0" baseline="0" noProof="0" dirty="0">
                  <a:ln>
                    <a:noFill/>
                  </a:ln>
                  <a:solidFill>
                    <a:srgbClr val="313131"/>
                  </a:solidFill>
                  <a:effectLst/>
                  <a:uLnTx/>
                  <a:uFillTx/>
                  <a:latin typeface="Open Sans"/>
                  <a:cs typeface="Calibri" panose="020F0502020204030204" pitchFamily="34" charset="0"/>
                </a:rPr>
                <a:t>Example</a:t>
              </a: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p>
          </p:txBody>
        </p:sp>
        <p:sp>
          <p:nvSpPr>
            <p:cNvPr id="1040" name="TextBox 1039">
              <a:extLst>
                <a:ext uri="{FF2B5EF4-FFF2-40B4-BE49-F238E27FC236}">
                  <a16:creationId xmlns:a16="http://schemas.microsoft.com/office/drawing/2014/main" id="{DF784556-203C-192F-3F81-F2A0D43D7BC4}"/>
                </a:ext>
              </a:extLst>
            </p:cNvPr>
            <p:cNvSpPr txBox="1"/>
            <p:nvPr/>
          </p:nvSpPr>
          <p:spPr>
            <a:xfrm>
              <a:off x="837644" y="1700333"/>
              <a:ext cx="1276513" cy="234836"/>
            </a:xfrm>
            <a:prstGeom prst="rect">
              <a:avLst/>
            </a:prstGeom>
            <a:noFill/>
          </p:spPr>
          <p:txBody>
            <a:bodyPr wrap="square" lIns="0" tIns="0" rIns="0" bIns="0" rtlCol="0">
              <a:noAutofit/>
            </a:bodyPr>
            <a:lstStyle/>
            <a:p>
              <a:pPr>
                <a:spcBef>
                  <a:spcPts val="600"/>
                </a:spcBef>
                <a:buSzPct val="100000"/>
              </a:pPr>
              <a:r>
                <a:rPr lang="hu-HU" sz="1200" dirty="0" err="1">
                  <a:solidFill>
                    <a:prstClr val="black"/>
                  </a:solidFill>
                  <a:latin typeface="Open Sans"/>
                </a:rPr>
                <a:t>Product</a:t>
              </a:r>
              <a:r>
                <a:rPr lang="hu-HU" sz="1200" dirty="0">
                  <a:solidFill>
                    <a:prstClr val="black"/>
                  </a:solidFill>
                  <a:latin typeface="Open Sans"/>
                </a:rPr>
                <a:t> </a:t>
              </a:r>
              <a:r>
                <a:rPr lang="hu-HU" sz="1200" dirty="0" err="1">
                  <a:solidFill>
                    <a:prstClr val="black"/>
                  </a:solidFill>
                  <a:latin typeface="Open Sans"/>
                </a:rPr>
                <a:t>oriented</a:t>
              </a:r>
              <a:endParaRPr lang="hu-HU" sz="1200" dirty="0">
                <a:solidFill>
                  <a:prstClr val="black"/>
                </a:solidFill>
                <a:latin typeface="Open Sans"/>
              </a:endParaRPr>
            </a:p>
          </p:txBody>
        </p:sp>
        <p:sp>
          <p:nvSpPr>
            <p:cNvPr id="1271" name="Oval 1270">
              <a:extLst>
                <a:ext uri="{FF2B5EF4-FFF2-40B4-BE49-F238E27FC236}">
                  <a16:creationId xmlns:a16="http://schemas.microsoft.com/office/drawing/2014/main" id="{DD9E107B-A51A-6251-5951-1AF7E5D54552}"/>
                </a:ext>
              </a:extLst>
            </p:cNvPr>
            <p:cNvSpPr/>
            <p:nvPr/>
          </p:nvSpPr>
          <p:spPr bwMode="gray">
            <a:xfrm>
              <a:off x="574584" y="1673459"/>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noProof="0" dirty="0">
                  <a:ln>
                    <a:noFill/>
                  </a:ln>
                  <a:solidFill>
                    <a:prstClr val="black"/>
                  </a:solidFill>
                  <a:effectLst/>
                  <a:uLnTx/>
                  <a:uFillTx/>
                  <a:latin typeface="Open Sans"/>
                </a:rPr>
                <a:t>1</a:t>
              </a:r>
            </a:p>
          </p:txBody>
        </p:sp>
      </p:grpSp>
      <p:grpSp>
        <p:nvGrpSpPr>
          <p:cNvPr id="47" name="Group 46">
            <a:extLst>
              <a:ext uri="{FF2B5EF4-FFF2-40B4-BE49-F238E27FC236}">
                <a16:creationId xmlns:a16="http://schemas.microsoft.com/office/drawing/2014/main" id="{F876CDE1-6C44-C88D-C655-F6D29F3B8B73}"/>
              </a:ext>
            </a:extLst>
          </p:cNvPr>
          <p:cNvGrpSpPr/>
          <p:nvPr/>
        </p:nvGrpSpPr>
        <p:grpSpPr>
          <a:xfrm>
            <a:off x="574584" y="3147056"/>
            <a:ext cx="2531248" cy="1570723"/>
            <a:chOff x="574584" y="3337318"/>
            <a:chExt cx="2531248" cy="1570723"/>
          </a:xfrm>
        </p:grpSpPr>
        <p:grpSp>
          <p:nvGrpSpPr>
            <p:cNvPr id="1105" name="Group 1104">
              <a:extLst>
                <a:ext uri="{FF2B5EF4-FFF2-40B4-BE49-F238E27FC236}">
                  <a16:creationId xmlns:a16="http://schemas.microsoft.com/office/drawing/2014/main" id="{3FDB15E2-A333-BA46-875A-064405A19A12}"/>
                </a:ext>
              </a:extLst>
            </p:cNvPr>
            <p:cNvGrpSpPr/>
            <p:nvPr/>
          </p:nvGrpSpPr>
          <p:grpSpPr>
            <a:xfrm>
              <a:off x="624040" y="3660755"/>
              <a:ext cx="2320316" cy="1247286"/>
              <a:chOff x="1614646" y="2129969"/>
              <a:chExt cx="1573306" cy="1024677"/>
            </a:xfrm>
            <a:effectLst>
              <a:outerShdw blurRad="50800" dist="38100" dir="5400000" algn="t" rotWithShape="0">
                <a:prstClr val="black">
                  <a:alpha val="40000"/>
                </a:prstClr>
              </a:outerShdw>
            </a:effectLst>
          </p:grpSpPr>
          <p:sp>
            <p:nvSpPr>
              <p:cNvPr id="1106" name="object 267">
                <a:extLst>
                  <a:ext uri="{FF2B5EF4-FFF2-40B4-BE49-F238E27FC236}">
                    <a16:creationId xmlns:a16="http://schemas.microsoft.com/office/drawing/2014/main" id="{CABBF4C6-5395-43BC-29BE-B26FF4F870C9}"/>
                  </a:ext>
                </a:extLst>
              </p:cNvPr>
              <p:cNvSpPr/>
              <p:nvPr/>
            </p:nvSpPr>
            <p:spPr>
              <a:xfrm>
                <a:off x="1614646" y="2736432"/>
                <a:ext cx="1551791" cy="39669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07" name="object 268">
                <a:extLst>
                  <a:ext uri="{FF2B5EF4-FFF2-40B4-BE49-F238E27FC236}">
                    <a16:creationId xmlns:a16="http://schemas.microsoft.com/office/drawing/2014/main" id="{9C38757E-06B3-D56E-F2FC-24C63CA99A29}"/>
                  </a:ext>
                </a:extLst>
              </p:cNvPr>
              <p:cNvSpPr/>
              <p:nvPr/>
            </p:nvSpPr>
            <p:spPr>
              <a:xfrm>
                <a:off x="1636161" y="2757947"/>
                <a:ext cx="1551791" cy="39669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08" name="object 269">
                <a:extLst>
                  <a:ext uri="{FF2B5EF4-FFF2-40B4-BE49-F238E27FC236}">
                    <a16:creationId xmlns:a16="http://schemas.microsoft.com/office/drawing/2014/main" id="{D5852AA7-7AD2-07B8-441B-92643862CC1F}"/>
                  </a:ext>
                </a:extLst>
              </p:cNvPr>
              <p:cNvSpPr/>
              <p:nvPr/>
            </p:nvSpPr>
            <p:spPr>
              <a:xfrm>
                <a:off x="1626748" y="2745290"/>
                <a:ext cx="1549213" cy="394447"/>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62B5E5">
                  <a:lumMod val="40000"/>
                  <a:lumOff val="6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09" name="object 270">
                <a:extLst>
                  <a:ext uri="{FF2B5EF4-FFF2-40B4-BE49-F238E27FC236}">
                    <a16:creationId xmlns:a16="http://schemas.microsoft.com/office/drawing/2014/main" id="{A334917F-23DE-11D4-9FBA-21E901A16578}"/>
                  </a:ext>
                </a:extLst>
              </p:cNvPr>
              <p:cNvSpPr/>
              <p:nvPr/>
            </p:nvSpPr>
            <p:spPr>
              <a:xfrm>
                <a:off x="1788113" y="2768705"/>
                <a:ext cx="1331259" cy="98163"/>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0" name="object 271">
                <a:extLst>
                  <a:ext uri="{FF2B5EF4-FFF2-40B4-BE49-F238E27FC236}">
                    <a16:creationId xmlns:a16="http://schemas.microsoft.com/office/drawing/2014/main" id="{BD3CEFA4-4094-9BE2-2F02-38A6F9042400}"/>
                  </a:ext>
                </a:extLst>
              </p:cNvPr>
              <p:cNvSpPr/>
              <p:nvPr/>
            </p:nvSpPr>
            <p:spPr>
              <a:xfrm>
                <a:off x="1809628" y="2790219"/>
                <a:ext cx="1331259" cy="98163"/>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1" name="object 272">
                <a:extLst>
                  <a:ext uri="{FF2B5EF4-FFF2-40B4-BE49-F238E27FC236}">
                    <a16:creationId xmlns:a16="http://schemas.microsoft.com/office/drawing/2014/main" id="{E2FA24C5-9813-40F0-91F2-2696F192885D}"/>
                  </a:ext>
                </a:extLst>
              </p:cNvPr>
              <p:cNvSpPr/>
              <p:nvPr/>
            </p:nvSpPr>
            <p:spPr>
              <a:xfrm>
                <a:off x="1809628" y="2790219"/>
                <a:ext cx="1309744" cy="76648"/>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2" name="object 273">
                <a:extLst>
                  <a:ext uri="{FF2B5EF4-FFF2-40B4-BE49-F238E27FC236}">
                    <a16:creationId xmlns:a16="http://schemas.microsoft.com/office/drawing/2014/main" id="{DC881C21-61EB-C8AE-05D5-12CBCBD884D9}"/>
                  </a:ext>
                </a:extLst>
              </p:cNvPr>
              <p:cNvSpPr/>
              <p:nvPr/>
            </p:nvSpPr>
            <p:spPr>
              <a:xfrm>
                <a:off x="1800215" y="2780806"/>
                <a:ext cx="1329018" cy="95810"/>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3" name="object 274">
                <a:extLst>
                  <a:ext uri="{FF2B5EF4-FFF2-40B4-BE49-F238E27FC236}">
                    <a16:creationId xmlns:a16="http://schemas.microsoft.com/office/drawing/2014/main" id="{D898BB4E-3F94-B03D-CAA4-C92E1167E638}"/>
                  </a:ext>
                </a:extLst>
              </p:cNvPr>
              <p:cNvSpPr/>
              <p:nvPr/>
            </p:nvSpPr>
            <p:spPr>
              <a:xfrm>
                <a:off x="1788113" y="2896451"/>
                <a:ext cx="1331259" cy="95475"/>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4" name="object 275">
                <a:extLst>
                  <a:ext uri="{FF2B5EF4-FFF2-40B4-BE49-F238E27FC236}">
                    <a16:creationId xmlns:a16="http://schemas.microsoft.com/office/drawing/2014/main" id="{80BF1643-FDE4-01D4-E3CB-05C6E69AD850}"/>
                  </a:ext>
                </a:extLst>
              </p:cNvPr>
              <p:cNvSpPr/>
              <p:nvPr/>
            </p:nvSpPr>
            <p:spPr>
              <a:xfrm>
                <a:off x="1809628" y="2917967"/>
                <a:ext cx="1331259" cy="95485"/>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5" name="object 276">
                <a:extLst>
                  <a:ext uri="{FF2B5EF4-FFF2-40B4-BE49-F238E27FC236}">
                    <a16:creationId xmlns:a16="http://schemas.microsoft.com/office/drawing/2014/main" id="{3E1BCA7B-C696-55FF-4B8A-0B37B1309C04}"/>
                  </a:ext>
                </a:extLst>
              </p:cNvPr>
              <p:cNvSpPr/>
              <p:nvPr/>
            </p:nvSpPr>
            <p:spPr>
              <a:xfrm>
                <a:off x="1809628" y="2917967"/>
                <a:ext cx="1309744" cy="73959"/>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6" name="object 277">
                <a:extLst>
                  <a:ext uri="{FF2B5EF4-FFF2-40B4-BE49-F238E27FC236}">
                    <a16:creationId xmlns:a16="http://schemas.microsoft.com/office/drawing/2014/main" id="{A12CF86C-E6C4-A6B2-441D-CA0017E2588C}"/>
                  </a:ext>
                </a:extLst>
              </p:cNvPr>
              <p:cNvSpPr/>
              <p:nvPr/>
            </p:nvSpPr>
            <p:spPr>
              <a:xfrm>
                <a:off x="1800215" y="2908554"/>
                <a:ext cx="1329018" cy="93009"/>
              </a:xfrm>
              <a:custGeom>
                <a:avLst/>
                <a:gdLst/>
                <a:ahLst/>
                <a:cxnLst/>
                <a:rect l="l" t="t" r="r" b="b"/>
                <a:pathLst>
                  <a:path w="1506220" h="105410">
                    <a:moveTo>
                      <a:pt x="0" y="0"/>
                    </a:moveTo>
                    <a:lnTo>
                      <a:pt x="0" y="105155"/>
                    </a:lnTo>
                    <a:lnTo>
                      <a:pt x="1505712" y="105155"/>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7" name="object 278">
                <a:extLst>
                  <a:ext uri="{FF2B5EF4-FFF2-40B4-BE49-F238E27FC236}">
                    <a16:creationId xmlns:a16="http://schemas.microsoft.com/office/drawing/2014/main" id="{E231D782-6A6A-0C5B-929F-152507E0E326}"/>
                  </a:ext>
                </a:extLst>
              </p:cNvPr>
              <p:cNvSpPr/>
              <p:nvPr/>
            </p:nvSpPr>
            <p:spPr>
              <a:xfrm>
                <a:off x="1788113" y="3021508"/>
                <a:ext cx="1331259" cy="92796"/>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8" name="object 279">
                <a:extLst>
                  <a:ext uri="{FF2B5EF4-FFF2-40B4-BE49-F238E27FC236}">
                    <a16:creationId xmlns:a16="http://schemas.microsoft.com/office/drawing/2014/main" id="{8D3C1A4E-8F40-9061-EDEA-2F1C3DF17CA7}"/>
                  </a:ext>
                </a:extLst>
              </p:cNvPr>
              <p:cNvSpPr/>
              <p:nvPr/>
            </p:nvSpPr>
            <p:spPr>
              <a:xfrm>
                <a:off x="1809628" y="3048785"/>
                <a:ext cx="1331259" cy="92796"/>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19" name="object 280">
                <a:extLst>
                  <a:ext uri="{FF2B5EF4-FFF2-40B4-BE49-F238E27FC236}">
                    <a16:creationId xmlns:a16="http://schemas.microsoft.com/office/drawing/2014/main" id="{06B8E9DF-FA37-5811-2D3E-F25C8A559DA1}"/>
                  </a:ext>
                </a:extLst>
              </p:cNvPr>
              <p:cNvSpPr/>
              <p:nvPr/>
            </p:nvSpPr>
            <p:spPr>
              <a:xfrm>
                <a:off x="1809628" y="3043025"/>
                <a:ext cx="1309744" cy="71280"/>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20" name="object 281">
                <a:extLst>
                  <a:ext uri="{FF2B5EF4-FFF2-40B4-BE49-F238E27FC236}">
                    <a16:creationId xmlns:a16="http://schemas.microsoft.com/office/drawing/2014/main" id="{2D79D3F1-1056-0B76-50E0-8505D0A612A6}"/>
                  </a:ext>
                </a:extLst>
              </p:cNvPr>
              <p:cNvSpPr/>
              <p:nvPr/>
            </p:nvSpPr>
            <p:spPr>
              <a:xfrm>
                <a:off x="1800215" y="3033612"/>
                <a:ext cx="1329018" cy="90207"/>
              </a:xfrm>
              <a:custGeom>
                <a:avLst/>
                <a:gdLst/>
                <a:ahLst/>
                <a:cxnLst/>
                <a:rect l="l" t="t" r="r" b="b"/>
                <a:pathLst>
                  <a:path w="1506220" h="102235">
                    <a:moveTo>
                      <a:pt x="0" y="0"/>
                    </a:moveTo>
                    <a:lnTo>
                      <a:pt x="0" y="102108"/>
                    </a:lnTo>
                    <a:lnTo>
                      <a:pt x="1505712" y="102108"/>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21" name="object 282">
                <a:extLst>
                  <a:ext uri="{FF2B5EF4-FFF2-40B4-BE49-F238E27FC236}">
                    <a16:creationId xmlns:a16="http://schemas.microsoft.com/office/drawing/2014/main" id="{7D3783C4-3291-F889-858F-1D98CED7FF80}"/>
                  </a:ext>
                </a:extLst>
              </p:cNvPr>
              <p:cNvSpPr txBox="1"/>
              <p:nvPr/>
            </p:nvSpPr>
            <p:spPr>
              <a:xfrm>
                <a:off x="1626749" y="2751414"/>
                <a:ext cx="228079" cy="91452"/>
              </a:xfrm>
              <a:prstGeom prst="rect">
                <a:avLst/>
              </a:prstGeom>
            </p:spPr>
            <p:txBody>
              <a:bodyPr vert="horz" wrap="square" lIns="0" tIns="2801" rIns="0" bIns="0" rtlCol="0">
                <a:spAutoFit/>
              </a:bodyPr>
              <a:lstStyle/>
              <a:p>
                <a:pPr marL="0" marR="0" lvl="0" indent="0" defTabSz="914400" eaLnBrk="1" fontAlgn="auto" latinLnBrk="0" hangingPunct="1">
                  <a:lnSpc>
                    <a:spcPct val="100000"/>
                  </a:lnSpc>
                  <a:spcBef>
                    <a:spcPts val="22"/>
                  </a:spcBef>
                  <a:spcAft>
                    <a:spcPts val="0"/>
                  </a:spcAft>
                  <a:buClrTx/>
                  <a:buSzTx/>
                  <a:buFontTx/>
                  <a:buNone/>
                  <a:tabLst/>
                  <a:defRPr/>
                </a:pPr>
                <a:endParaRPr kumimoji="0" lang="en-AU" sz="308" b="0" i="0" u="none" strike="noStrike" kern="0" cap="none" spc="0" normalizeH="0" baseline="0" noProof="0" dirty="0">
                  <a:ln>
                    <a:noFill/>
                  </a:ln>
                  <a:solidFill>
                    <a:srgbClr val="000000"/>
                  </a:solidFill>
                  <a:effectLst/>
                  <a:uLnTx/>
                  <a:uFillTx/>
                  <a:latin typeface="Open Sans"/>
                  <a:cs typeface="Times New Roman"/>
                </a:endParaRPr>
              </a:p>
              <a:p>
                <a:pPr marL="128306" marR="0" lvl="0" indent="0" algn="ctr" defTabSz="914400" eaLnBrk="1" fontAlgn="auto" latinLnBrk="0" hangingPunct="1">
                  <a:lnSpc>
                    <a:spcPct val="100000"/>
                  </a:lnSpc>
                  <a:spcBef>
                    <a:spcPts val="0"/>
                  </a:spcBef>
                  <a:spcAft>
                    <a:spcPts val="0"/>
                  </a:spcAft>
                  <a:buClrTx/>
                  <a:buSzTx/>
                  <a:buFontTx/>
                  <a:buNone/>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22" name="object 283">
                <a:extLst>
                  <a:ext uri="{FF2B5EF4-FFF2-40B4-BE49-F238E27FC236}">
                    <a16:creationId xmlns:a16="http://schemas.microsoft.com/office/drawing/2014/main" id="{D2A89332-5012-207B-5A7E-FD036CB36A2C}"/>
                  </a:ext>
                </a:extLst>
              </p:cNvPr>
              <p:cNvSpPr txBox="1"/>
              <p:nvPr/>
            </p:nvSpPr>
            <p:spPr>
              <a:xfrm>
                <a:off x="1655844" y="2784941"/>
                <a:ext cx="41434" cy="315145"/>
              </a:xfrm>
              <a:prstGeom prst="rect">
                <a:avLst/>
              </a:prstGeom>
            </p:spPr>
            <p:txBody>
              <a:bodyPr vert="vert270" wrap="square" lIns="0" tIns="2801" rIns="0" bIns="0" rtlCol="0">
                <a:spAutoFit/>
              </a:bodyPr>
              <a:lstStyle/>
              <a:p>
                <a:pPr marL="11206" marR="0" lvl="0" indent="0" defTabSz="914400" eaLnBrk="1" fontAlgn="auto" latinLnBrk="0" hangingPunct="1">
                  <a:lnSpc>
                    <a:spcPct val="100000"/>
                  </a:lnSpc>
                  <a:spcBef>
                    <a:spcPts val="22"/>
                  </a:spcBef>
                  <a:spcAft>
                    <a:spcPts val="0"/>
                  </a:spcAft>
                  <a:buClrTx/>
                  <a:buSzTx/>
                  <a:buFontTx/>
                  <a:buNone/>
                  <a:tabLst/>
                  <a:defRPr/>
                </a:pPr>
                <a:r>
                  <a:rPr kumimoji="0" lang="en-AU" sz="397" b="0" i="0" u="none" strike="noStrike" kern="0" cap="none" spc="0" normalizeH="0" baseline="0" noProof="0" dirty="0">
                    <a:ln>
                      <a:noFill/>
                    </a:ln>
                    <a:solidFill>
                      <a:srgbClr val="231F20"/>
                    </a:solidFill>
                    <a:effectLst/>
                    <a:uLnTx/>
                    <a:uFillTx/>
                    <a:latin typeface="Open Sans"/>
                    <a:cs typeface="Verdana"/>
                  </a:rPr>
                  <a:t>Sha</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0" normalizeH="0" baseline="0" noProof="0" dirty="0">
                    <a:ln>
                      <a:noFill/>
                    </a:ln>
                    <a:solidFill>
                      <a:srgbClr val="231F20"/>
                    </a:solidFill>
                    <a:effectLst/>
                    <a:uLnTx/>
                    <a:uFillTx/>
                    <a:latin typeface="Open Sans"/>
                    <a:cs typeface="Verdana"/>
                  </a:rPr>
                  <a:t>ed</a:t>
                </a:r>
                <a:r>
                  <a:rPr kumimoji="0" lang="en-AU" sz="397" b="0" i="0" u="none" strike="noStrike" kern="0" cap="none" spc="-22" normalizeH="0" baseline="0" noProof="0" dirty="0">
                    <a:ln>
                      <a:noFill/>
                    </a:ln>
                    <a:solidFill>
                      <a:srgbClr val="231F20"/>
                    </a:solidFill>
                    <a:effectLst/>
                    <a:uLnTx/>
                    <a:uFillTx/>
                    <a:latin typeface="Open Sans"/>
                    <a:cs typeface="Verdana"/>
                  </a:rPr>
                  <a:t> </a:t>
                </a:r>
                <a:r>
                  <a:rPr kumimoji="0" lang="en-AU" sz="397" b="0" i="0" u="none" strike="noStrike" kern="0" cap="none" spc="0" normalizeH="0" baseline="0" noProof="0" dirty="0">
                    <a:ln>
                      <a:noFill/>
                    </a:ln>
                    <a:solidFill>
                      <a:srgbClr val="231F20"/>
                    </a:solidFill>
                    <a:effectLst/>
                    <a:uLnTx/>
                    <a:uFillTx/>
                    <a:latin typeface="Open Sans"/>
                    <a:cs typeface="Verdana"/>
                  </a:rPr>
                  <a:t>Se</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9" normalizeH="0" baseline="0" noProof="0" dirty="0">
                    <a:ln>
                      <a:noFill/>
                    </a:ln>
                    <a:solidFill>
                      <a:srgbClr val="231F20"/>
                    </a:solidFill>
                    <a:effectLst/>
                    <a:uLnTx/>
                    <a:uFillTx/>
                    <a:latin typeface="Open Sans"/>
                    <a:cs typeface="Verdana"/>
                  </a:rPr>
                  <a:t>vi</a:t>
                </a:r>
                <a:r>
                  <a:rPr kumimoji="0" lang="en-AU" sz="397" b="0" i="0" u="none" strike="noStrike" kern="0" cap="none" spc="0" normalizeH="0" baseline="0" noProof="0" dirty="0">
                    <a:ln>
                      <a:noFill/>
                    </a:ln>
                    <a:solidFill>
                      <a:srgbClr val="231F20"/>
                    </a:solidFill>
                    <a:effectLst/>
                    <a:uLnTx/>
                    <a:uFillTx/>
                    <a:latin typeface="Open Sans"/>
                    <a:cs typeface="Verdana"/>
                  </a:rPr>
                  <a:t>ce</a:t>
                </a:r>
                <a:r>
                  <a:rPr kumimoji="0" lang="hu-HU" sz="397" b="0" i="0" u="none" strike="noStrike" kern="0" cap="none" spc="0" normalizeH="0" baseline="0" noProof="0" dirty="0">
                    <a:ln>
                      <a:noFill/>
                    </a:ln>
                    <a:solidFill>
                      <a:srgbClr val="231F20"/>
                    </a:solidFill>
                    <a:effectLst/>
                    <a:uLnTx/>
                    <a:uFillTx/>
                    <a:latin typeface="Open Sans"/>
                    <a:cs typeface="Verdana"/>
                  </a:rPr>
                  <a:t>s</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1123" name="object 284">
                <a:extLst>
                  <a:ext uri="{FF2B5EF4-FFF2-40B4-BE49-F238E27FC236}">
                    <a16:creationId xmlns:a16="http://schemas.microsoft.com/office/drawing/2014/main" id="{3C10E8B0-981F-0073-EC83-268DB1056D0F}"/>
                  </a:ext>
                </a:extLst>
              </p:cNvPr>
              <p:cNvSpPr/>
              <p:nvPr/>
            </p:nvSpPr>
            <p:spPr>
              <a:xfrm>
                <a:off x="1654987" y="2129969"/>
                <a:ext cx="1532964" cy="73959"/>
              </a:xfrm>
              <a:prstGeom prst="rect">
                <a:avLst/>
              </a:prstGeom>
              <a:blipFill>
                <a:blip r:embed="rId1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24" name="object 285">
                <a:extLst>
                  <a:ext uri="{FF2B5EF4-FFF2-40B4-BE49-F238E27FC236}">
                    <a16:creationId xmlns:a16="http://schemas.microsoft.com/office/drawing/2014/main" id="{05D72FCF-4759-769B-C263-F114AC044C82}"/>
                  </a:ext>
                </a:extLst>
              </p:cNvPr>
              <p:cNvSpPr/>
              <p:nvPr/>
            </p:nvSpPr>
            <p:spPr>
              <a:xfrm>
                <a:off x="1667090" y="2166948"/>
                <a:ext cx="1508872" cy="0"/>
              </a:xfrm>
              <a:custGeom>
                <a:avLst/>
                <a:gdLst/>
                <a:ahLst/>
                <a:cxnLst/>
                <a:rect l="l" t="t" r="r" b="b"/>
                <a:pathLst>
                  <a:path w="1710055">
                    <a:moveTo>
                      <a:pt x="0" y="0"/>
                    </a:moveTo>
                    <a:lnTo>
                      <a:pt x="1709927" y="0"/>
                    </a:lnTo>
                  </a:path>
                </a:pathLst>
              </a:custGeom>
              <a:ln w="56387">
                <a:solidFill>
                  <a:srgbClr val="A0DC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25" name="object 286">
                <a:extLst>
                  <a:ext uri="{FF2B5EF4-FFF2-40B4-BE49-F238E27FC236}">
                    <a16:creationId xmlns:a16="http://schemas.microsoft.com/office/drawing/2014/main" id="{F31613E5-4E37-2FEF-F2D0-5485D86A700E}"/>
                  </a:ext>
                </a:extLst>
              </p:cNvPr>
              <p:cNvSpPr/>
              <p:nvPr/>
            </p:nvSpPr>
            <p:spPr>
              <a:xfrm>
                <a:off x="1656331" y="2686677"/>
                <a:ext cx="12102" cy="24205"/>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26" name="object 287">
                <a:extLst>
                  <a:ext uri="{FF2B5EF4-FFF2-40B4-BE49-F238E27FC236}">
                    <a16:creationId xmlns:a16="http://schemas.microsoft.com/office/drawing/2014/main" id="{652BD939-03AB-C32C-BDCB-55390B5BAF70}"/>
                  </a:ext>
                </a:extLst>
              </p:cNvPr>
              <p:cNvSpPr/>
              <p:nvPr/>
            </p:nvSpPr>
            <p:spPr>
              <a:xfrm>
                <a:off x="1656331" y="259658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27" name="object 288">
                <a:extLst>
                  <a:ext uri="{FF2B5EF4-FFF2-40B4-BE49-F238E27FC236}">
                    <a16:creationId xmlns:a16="http://schemas.microsoft.com/office/drawing/2014/main" id="{7FAA7515-E968-75FE-B52F-E20D8F88DD5F}"/>
                  </a:ext>
                </a:extLst>
              </p:cNvPr>
              <p:cNvSpPr/>
              <p:nvPr/>
            </p:nvSpPr>
            <p:spPr>
              <a:xfrm>
                <a:off x="1656331" y="2506487"/>
                <a:ext cx="12102"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28" name="object 289">
                <a:extLst>
                  <a:ext uri="{FF2B5EF4-FFF2-40B4-BE49-F238E27FC236}">
                    <a16:creationId xmlns:a16="http://schemas.microsoft.com/office/drawing/2014/main" id="{E328E88F-781C-D4E5-78DA-21C8B744D5F6}"/>
                  </a:ext>
                </a:extLst>
              </p:cNvPr>
              <p:cNvSpPr/>
              <p:nvPr/>
            </p:nvSpPr>
            <p:spPr>
              <a:xfrm>
                <a:off x="1656331" y="2415046"/>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29" name="object 290">
                <a:extLst>
                  <a:ext uri="{FF2B5EF4-FFF2-40B4-BE49-F238E27FC236}">
                    <a16:creationId xmlns:a16="http://schemas.microsoft.com/office/drawing/2014/main" id="{63166252-4D77-55EE-7DC3-653EDAE7379F}"/>
                  </a:ext>
                </a:extLst>
              </p:cNvPr>
              <p:cNvSpPr/>
              <p:nvPr/>
            </p:nvSpPr>
            <p:spPr>
              <a:xfrm>
                <a:off x="1656331" y="2218719"/>
                <a:ext cx="352313"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30" name="object 291">
                <a:extLst>
                  <a:ext uri="{FF2B5EF4-FFF2-40B4-BE49-F238E27FC236}">
                    <a16:creationId xmlns:a16="http://schemas.microsoft.com/office/drawing/2014/main" id="{AC539A9B-3230-6C10-0D60-B7FC854033CE}"/>
                  </a:ext>
                </a:extLst>
              </p:cNvPr>
              <p:cNvSpPr/>
              <p:nvPr/>
            </p:nvSpPr>
            <p:spPr>
              <a:xfrm>
                <a:off x="1677847" y="2240236"/>
                <a:ext cx="352313"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31" name="object 292">
                <a:extLst>
                  <a:ext uri="{FF2B5EF4-FFF2-40B4-BE49-F238E27FC236}">
                    <a16:creationId xmlns:a16="http://schemas.microsoft.com/office/drawing/2014/main" id="{4E14B1BC-16D6-054F-DDFD-C4B372569038}"/>
                  </a:ext>
                </a:extLst>
              </p:cNvPr>
              <p:cNvSpPr/>
              <p:nvPr/>
            </p:nvSpPr>
            <p:spPr>
              <a:xfrm>
                <a:off x="1668434" y="2230821"/>
                <a:ext cx="349623" cy="489697"/>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32" name="object 293">
                <a:extLst>
                  <a:ext uri="{FF2B5EF4-FFF2-40B4-BE49-F238E27FC236}">
                    <a16:creationId xmlns:a16="http://schemas.microsoft.com/office/drawing/2014/main" id="{12F0C8DE-1547-5A4B-0D32-6AB16F43CB67}"/>
                  </a:ext>
                </a:extLst>
              </p:cNvPr>
              <p:cNvSpPr txBox="1"/>
              <p:nvPr/>
            </p:nvSpPr>
            <p:spPr>
              <a:xfrm>
                <a:off x="1713163" y="2246287"/>
                <a:ext cx="261097" cy="5573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Region</a:t>
                </a: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en-AU" sz="441" u="none" strike="noStrike" kern="0" cap="none" spc="0" normalizeH="0" baseline="0" noProof="0" dirty="0">
                    <a:ln>
                      <a:noFill/>
                    </a:ln>
                    <a:solidFill>
                      <a:srgbClr val="231F20"/>
                    </a:solidFill>
                    <a:effectLst/>
                    <a:uLnTx/>
                    <a:uFillTx/>
                    <a:latin typeface="Open Sans"/>
                    <a:cs typeface="Open Sans" panose="020B0606030504020204" pitchFamily="34" charset="0"/>
                  </a:rPr>
                  <a:t>1</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33" name="object 294">
                <a:extLst>
                  <a:ext uri="{FF2B5EF4-FFF2-40B4-BE49-F238E27FC236}">
                    <a16:creationId xmlns:a16="http://schemas.microsoft.com/office/drawing/2014/main" id="{829504BF-208F-5B9B-2543-5F023AD1B71F}"/>
                  </a:ext>
                </a:extLst>
              </p:cNvPr>
              <p:cNvSpPr/>
              <p:nvPr/>
            </p:nvSpPr>
            <p:spPr>
              <a:xfrm>
                <a:off x="1654987" y="2345122"/>
                <a:ext cx="330797" cy="69925"/>
              </a:xfrm>
              <a:prstGeom prst="rect">
                <a:avLst/>
              </a:prstGeom>
              <a:blipFill>
                <a:blip r:embed="rId2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34" name="object 295">
                <a:extLst>
                  <a:ext uri="{FF2B5EF4-FFF2-40B4-BE49-F238E27FC236}">
                    <a16:creationId xmlns:a16="http://schemas.microsoft.com/office/drawing/2014/main" id="{E5143FAE-C0F4-7FD4-5444-387B287CCDDA}"/>
                  </a:ext>
                </a:extLst>
              </p:cNvPr>
              <p:cNvSpPr/>
              <p:nvPr/>
            </p:nvSpPr>
            <p:spPr>
              <a:xfrm>
                <a:off x="1676503"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35" name="object 296">
                <a:extLst>
                  <a:ext uri="{FF2B5EF4-FFF2-40B4-BE49-F238E27FC236}">
                    <a16:creationId xmlns:a16="http://schemas.microsoft.com/office/drawing/2014/main" id="{76E4F8B8-AA8C-BE26-9E3E-515F9848D76C}"/>
                  </a:ext>
                </a:extLst>
              </p:cNvPr>
              <p:cNvSpPr/>
              <p:nvPr/>
            </p:nvSpPr>
            <p:spPr>
              <a:xfrm>
                <a:off x="1667089" y="2357224"/>
                <a:ext cx="328333" cy="67235"/>
              </a:xfrm>
              <a:custGeom>
                <a:avLst/>
                <a:gdLst/>
                <a:ahLst/>
                <a:cxnLst/>
                <a:rect l="l" t="t" r="r" b="b"/>
                <a:pathLst>
                  <a:path w="372109"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36" name="object 297">
                <a:extLst>
                  <a:ext uri="{FF2B5EF4-FFF2-40B4-BE49-F238E27FC236}">
                    <a16:creationId xmlns:a16="http://schemas.microsoft.com/office/drawing/2014/main" id="{9DC3E07D-CC03-399E-50A7-7020743BDD38}"/>
                  </a:ext>
                </a:extLst>
              </p:cNvPr>
              <p:cNvSpPr txBox="1"/>
              <p:nvPr/>
            </p:nvSpPr>
            <p:spPr>
              <a:xfrm>
                <a:off x="1708860" y="2359241"/>
                <a:ext cx="12886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37" name="object 298">
                <a:extLst>
                  <a:ext uri="{FF2B5EF4-FFF2-40B4-BE49-F238E27FC236}">
                    <a16:creationId xmlns:a16="http://schemas.microsoft.com/office/drawing/2014/main" id="{81B8C20F-05E8-AD95-19FF-D84417D8925E}"/>
                  </a:ext>
                </a:extLst>
              </p:cNvPr>
              <p:cNvSpPr/>
              <p:nvPr/>
            </p:nvSpPr>
            <p:spPr>
              <a:xfrm>
                <a:off x="1654987" y="2435217"/>
                <a:ext cx="330797"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38" name="object 299">
                <a:extLst>
                  <a:ext uri="{FF2B5EF4-FFF2-40B4-BE49-F238E27FC236}">
                    <a16:creationId xmlns:a16="http://schemas.microsoft.com/office/drawing/2014/main" id="{9657EBAB-8EE8-72CC-2179-4B053E0DAD9A}"/>
                  </a:ext>
                </a:extLst>
              </p:cNvPr>
              <p:cNvSpPr/>
              <p:nvPr/>
            </p:nvSpPr>
            <p:spPr>
              <a:xfrm>
                <a:off x="1676503"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39" name="object 300">
                <a:extLst>
                  <a:ext uri="{FF2B5EF4-FFF2-40B4-BE49-F238E27FC236}">
                    <a16:creationId xmlns:a16="http://schemas.microsoft.com/office/drawing/2014/main" id="{4A27EB5F-C2CF-AFBE-6A0E-293B9B57D93C}"/>
                  </a:ext>
                </a:extLst>
              </p:cNvPr>
              <p:cNvSpPr/>
              <p:nvPr/>
            </p:nvSpPr>
            <p:spPr>
              <a:xfrm>
                <a:off x="1667089" y="2447321"/>
                <a:ext cx="328333" cy="68916"/>
              </a:xfrm>
              <a:custGeom>
                <a:avLst/>
                <a:gdLst/>
                <a:ahLst/>
                <a:cxnLst/>
                <a:rect l="l" t="t" r="r" b="b"/>
                <a:pathLst>
                  <a:path w="372109"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40" name="object 301">
                <a:extLst>
                  <a:ext uri="{FF2B5EF4-FFF2-40B4-BE49-F238E27FC236}">
                    <a16:creationId xmlns:a16="http://schemas.microsoft.com/office/drawing/2014/main" id="{B89A8040-2C3D-A075-BBAB-6461BCDA3602}"/>
                  </a:ext>
                </a:extLst>
              </p:cNvPr>
              <p:cNvSpPr txBox="1"/>
              <p:nvPr/>
            </p:nvSpPr>
            <p:spPr>
              <a:xfrm>
                <a:off x="1708860" y="2449562"/>
                <a:ext cx="245969"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41" name="object 302">
                <a:extLst>
                  <a:ext uri="{FF2B5EF4-FFF2-40B4-BE49-F238E27FC236}">
                    <a16:creationId xmlns:a16="http://schemas.microsoft.com/office/drawing/2014/main" id="{07D22F08-2FF4-6CA5-7140-A7F8ED77A5A8}"/>
                  </a:ext>
                </a:extLst>
              </p:cNvPr>
              <p:cNvSpPr/>
              <p:nvPr/>
            </p:nvSpPr>
            <p:spPr>
              <a:xfrm>
                <a:off x="1654987" y="2616752"/>
                <a:ext cx="330797" cy="69925"/>
              </a:xfrm>
              <a:prstGeom prst="rect">
                <a:avLst/>
              </a:prstGeom>
              <a:blipFill>
                <a:blip r:embed="rId2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42" name="object 303">
                <a:extLst>
                  <a:ext uri="{FF2B5EF4-FFF2-40B4-BE49-F238E27FC236}">
                    <a16:creationId xmlns:a16="http://schemas.microsoft.com/office/drawing/2014/main" id="{90C99FC9-F100-2409-4434-450777EC603D}"/>
                  </a:ext>
                </a:extLst>
              </p:cNvPr>
              <p:cNvSpPr/>
              <p:nvPr/>
            </p:nvSpPr>
            <p:spPr>
              <a:xfrm>
                <a:off x="1676503"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43" name="object 304">
                <a:extLst>
                  <a:ext uri="{FF2B5EF4-FFF2-40B4-BE49-F238E27FC236}">
                    <a16:creationId xmlns:a16="http://schemas.microsoft.com/office/drawing/2014/main" id="{72D1DCEA-99D1-B5BC-3719-44C7C2EA9058}"/>
                  </a:ext>
                </a:extLst>
              </p:cNvPr>
              <p:cNvSpPr/>
              <p:nvPr/>
            </p:nvSpPr>
            <p:spPr>
              <a:xfrm>
                <a:off x="1667089" y="2628854"/>
                <a:ext cx="328333" cy="67235"/>
              </a:xfrm>
              <a:custGeom>
                <a:avLst/>
                <a:gdLst/>
                <a:ahLst/>
                <a:cxnLst/>
                <a:rect l="l" t="t" r="r" b="b"/>
                <a:pathLst>
                  <a:path w="372109"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44" name="object 305">
                <a:extLst>
                  <a:ext uri="{FF2B5EF4-FFF2-40B4-BE49-F238E27FC236}">
                    <a16:creationId xmlns:a16="http://schemas.microsoft.com/office/drawing/2014/main" id="{1784F7EA-58B2-7C8C-4E35-B28642EC596F}"/>
                  </a:ext>
                </a:extLst>
              </p:cNvPr>
              <p:cNvSpPr/>
              <p:nvPr/>
            </p:nvSpPr>
            <p:spPr>
              <a:xfrm>
                <a:off x="1654987" y="2525312"/>
                <a:ext cx="330797"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45" name="object 306">
                <a:extLst>
                  <a:ext uri="{FF2B5EF4-FFF2-40B4-BE49-F238E27FC236}">
                    <a16:creationId xmlns:a16="http://schemas.microsoft.com/office/drawing/2014/main" id="{124A10F3-4B38-F661-079E-232AD4730CFF}"/>
                  </a:ext>
                </a:extLst>
              </p:cNvPr>
              <p:cNvSpPr/>
              <p:nvPr/>
            </p:nvSpPr>
            <p:spPr>
              <a:xfrm>
                <a:off x="1676503"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46" name="object 307">
                <a:extLst>
                  <a:ext uri="{FF2B5EF4-FFF2-40B4-BE49-F238E27FC236}">
                    <a16:creationId xmlns:a16="http://schemas.microsoft.com/office/drawing/2014/main" id="{1A698C0E-30BC-75AB-A825-6A0BFEF8F02F}"/>
                  </a:ext>
                </a:extLst>
              </p:cNvPr>
              <p:cNvSpPr/>
              <p:nvPr/>
            </p:nvSpPr>
            <p:spPr>
              <a:xfrm>
                <a:off x="1667089"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47" name="object 308">
                <a:extLst>
                  <a:ext uri="{FF2B5EF4-FFF2-40B4-BE49-F238E27FC236}">
                    <a16:creationId xmlns:a16="http://schemas.microsoft.com/office/drawing/2014/main" id="{728E170C-8B60-C6BB-E649-90FF7186325C}"/>
                  </a:ext>
                </a:extLst>
              </p:cNvPr>
              <p:cNvSpPr txBox="1"/>
              <p:nvPr/>
            </p:nvSpPr>
            <p:spPr>
              <a:xfrm>
                <a:off x="1708860" y="2540217"/>
                <a:ext cx="14903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48" name="object 309">
                <a:extLst>
                  <a:ext uri="{FF2B5EF4-FFF2-40B4-BE49-F238E27FC236}">
                    <a16:creationId xmlns:a16="http://schemas.microsoft.com/office/drawing/2014/main" id="{82D96A57-1C92-1C3B-5B69-61527279AD42}"/>
                  </a:ext>
                </a:extLst>
              </p:cNvPr>
              <p:cNvSpPr/>
              <p:nvPr/>
            </p:nvSpPr>
            <p:spPr>
              <a:xfrm>
                <a:off x="2811433" y="2686677"/>
                <a:ext cx="12103" cy="24205"/>
              </a:xfrm>
              <a:prstGeom prst="rect">
                <a:avLst/>
              </a:prstGeom>
              <a:blipFill>
                <a:blip r:embed="rId2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49" name="object 310">
                <a:extLst>
                  <a:ext uri="{FF2B5EF4-FFF2-40B4-BE49-F238E27FC236}">
                    <a16:creationId xmlns:a16="http://schemas.microsoft.com/office/drawing/2014/main" id="{93A6B7E0-C632-A45A-6632-780FC82B0449}"/>
                  </a:ext>
                </a:extLst>
              </p:cNvPr>
              <p:cNvSpPr/>
              <p:nvPr/>
            </p:nvSpPr>
            <p:spPr>
              <a:xfrm>
                <a:off x="2811433" y="2596581"/>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0" name="object 311">
                <a:extLst>
                  <a:ext uri="{FF2B5EF4-FFF2-40B4-BE49-F238E27FC236}">
                    <a16:creationId xmlns:a16="http://schemas.microsoft.com/office/drawing/2014/main" id="{75A34D55-F3D9-4074-1FEE-AEFDBC06291B}"/>
                  </a:ext>
                </a:extLst>
              </p:cNvPr>
              <p:cNvSpPr/>
              <p:nvPr/>
            </p:nvSpPr>
            <p:spPr>
              <a:xfrm>
                <a:off x="2811433" y="2506487"/>
                <a:ext cx="12103"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1" name="object 312">
                <a:extLst>
                  <a:ext uri="{FF2B5EF4-FFF2-40B4-BE49-F238E27FC236}">
                    <a16:creationId xmlns:a16="http://schemas.microsoft.com/office/drawing/2014/main" id="{20D95764-EEEA-F2CE-B38B-969A9265F4FC}"/>
                  </a:ext>
                </a:extLst>
              </p:cNvPr>
              <p:cNvSpPr/>
              <p:nvPr/>
            </p:nvSpPr>
            <p:spPr>
              <a:xfrm>
                <a:off x="2811433" y="2415046"/>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2" name="object 313">
                <a:extLst>
                  <a:ext uri="{FF2B5EF4-FFF2-40B4-BE49-F238E27FC236}">
                    <a16:creationId xmlns:a16="http://schemas.microsoft.com/office/drawing/2014/main" id="{0C956B00-8F91-C215-981E-3A995B4148F3}"/>
                  </a:ext>
                </a:extLst>
              </p:cNvPr>
              <p:cNvSpPr/>
              <p:nvPr/>
            </p:nvSpPr>
            <p:spPr>
              <a:xfrm>
                <a:off x="2811433" y="2218719"/>
                <a:ext cx="352313"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3" name="object 314">
                <a:extLst>
                  <a:ext uri="{FF2B5EF4-FFF2-40B4-BE49-F238E27FC236}">
                    <a16:creationId xmlns:a16="http://schemas.microsoft.com/office/drawing/2014/main" id="{9BE09609-2CFB-362A-E737-04E7AF545ABF}"/>
                  </a:ext>
                </a:extLst>
              </p:cNvPr>
              <p:cNvSpPr/>
              <p:nvPr/>
            </p:nvSpPr>
            <p:spPr>
              <a:xfrm>
                <a:off x="2832949" y="2240236"/>
                <a:ext cx="352313"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4" name="object 315">
                <a:extLst>
                  <a:ext uri="{FF2B5EF4-FFF2-40B4-BE49-F238E27FC236}">
                    <a16:creationId xmlns:a16="http://schemas.microsoft.com/office/drawing/2014/main" id="{92544564-D437-94E3-10C2-F856304880AE}"/>
                  </a:ext>
                </a:extLst>
              </p:cNvPr>
              <p:cNvSpPr/>
              <p:nvPr/>
            </p:nvSpPr>
            <p:spPr>
              <a:xfrm>
                <a:off x="2823536" y="2230821"/>
                <a:ext cx="349623" cy="489697"/>
              </a:xfrm>
              <a:custGeom>
                <a:avLst/>
                <a:gdLst/>
                <a:ahLst/>
                <a:cxnLst/>
                <a:rect l="l" t="t" r="r" b="b"/>
                <a:pathLst>
                  <a:path w="396239" h="554989">
                    <a:moveTo>
                      <a:pt x="0" y="0"/>
                    </a:moveTo>
                    <a:lnTo>
                      <a:pt x="0" y="554736"/>
                    </a:lnTo>
                    <a:lnTo>
                      <a:pt x="396240" y="554736"/>
                    </a:lnTo>
                    <a:lnTo>
                      <a:pt x="39623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5" name="object 316">
                <a:extLst>
                  <a:ext uri="{FF2B5EF4-FFF2-40B4-BE49-F238E27FC236}">
                    <a16:creationId xmlns:a16="http://schemas.microsoft.com/office/drawing/2014/main" id="{8855FE2A-49EB-0F3F-03D4-19D3217F9E4C}"/>
                  </a:ext>
                </a:extLst>
              </p:cNvPr>
              <p:cNvSpPr txBox="1"/>
              <p:nvPr/>
            </p:nvSpPr>
            <p:spPr>
              <a:xfrm>
                <a:off x="2868023" y="2246287"/>
                <a:ext cx="261097" cy="5573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Region</a:t>
                </a: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en-AU" sz="441" u="none" strike="noStrike" kern="0" cap="none" spc="0" normalizeH="0" baseline="0" noProof="0" dirty="0">
                    <a:ln>
                      <a:noFill/>
                    </a:ln>
                    <a:solidFill>
                      <a:srgbClr val="231F20"/>
                    </a:solidFill>
                    <a:effectLst/>
                    <a:uLnTx/>
                    <a:uFillTx/>
                    <a:latin typeface="Open Sans"/>
                    <a:cs typeface="Open Sans" panose="020B0606030504020204" pitchFamily="34" charset="0"/>
                  </a:rPr>
                  <a:t>4</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56" name="object 317">
                <a:extLst>
                  <a:ext uri="{FF2B5EF4-FFF2-40B4-BE49-F238E27FC236}">
                    <a16:creationId xmlns:a16="http://schemas.microsoft.com/office/drawing/2014/main" id="{73963D99-1A88-788D-82B9-C21EEE853038}"/>
                  </a:ext>
                </a:extLst>
              </p:cNvPr>
              <p:cNvSpPr/>
              <p:nvPr/>
            </p:nvSpPr>
            <p:spPr>
              <a:xfrm>
                <a:off x="2810089" y="2345122"/>
                <a:ext cx="330798" cy="69925"/>
              </a:xfrm>
              <a:prstGeom prst="rect">
                <a:avLst/>
              </a:prstGeom>
              <a:blipFill>
                <a:blip r:embed="rId2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7" name="object 318">
                <a:extLst>
                  <a:ext uri="{FF2B5EF4-FFF2-40B4-BE49-F238E27FC236}">
                    <a16:creationId xmlns:a16="http://schemas.microsoft.com/office/drawing/2014/main" id="{556AB423-E617-3BE7-0D69-925D97FAD5E9}"/>
                  </a:ext>
                </a:extLst>
              </p:cNvPr>
              <p:cNvSpPr/>
              <p:nvPr/>
            </p:nvSpPr>
            <p:spPr>
              <a:xfrm>
                <a:off x="2831605"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8" name="object 319">
                <a:extLst>
                  <a:ext uri="{FF2B5EF4-FFF2-40B4-BE49-F238E27FC236}">
                    <a16:creationId xmlns:a16="http://schemas.microsoft.com/office/drawing/2014/main" id="{0B5A9EF6-087C-0CF1-9B2D-B0B058542FB1}"/>
                  </a:ext>
                </a:extLst>
              </p:cNvPr>
              <p:cNvSpPr/>
              <p:nvPr/>
            </p:nvSpPr>
            <p:spPr>
              <a:xfrm>
                <a:off x="2822192" y="235722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59" name="object 320">
                <a:extLst>
                  <a:ext uri="{FF2B5EF4-FFF2-40B4-BE49-F238E27FC236}">
                    <a16:creationId xmlns:a16="http://schemas.microsoft.com/office/drawing/2014/main" id="{DC462B11-3445-F331-0390-165BA3A6A2C9}"/>
                  </a:ext>
                </a:extLst>
              </p:cNvPr>
              <p:cNvSpPr txBox="1"/>
              <p:nvPr/>
            </p:nvSpPr>
            <p:spPr>
              <a:xfrm>
                <a:off x="2863990" y="2359241"/>
                <a:ext cx="12886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60" name="object 321">
                <a:extLst>
                  <a:ext uri="{FF2B5EF4-FFF2-40B4-BE49-F238E27FC236}">
                    <a16:creationId xmlns:a16="http://schemas.microsoft.com/office/drawing/2014/main" id="{C7C30DE8-3BA9-5AB8-5086-269A54F4075A}"/>
                  </a:ext>
                </a:extLst>
              </p:cNvPr>
              <p:cNvSpPr/>
              <p:nvPr/>
            </p:nvSpPr>
            <p:spPr>
              <a:xfrm>
                <a:off x="2810089" y="2435217"/>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61" name="object 322">
                <a:extLst>
                  <a:ext uri="{FF2B5EF4-FFF2-40B4-BE49-F238E27FC236}">
                    <a16:creationId xmlns:a16="http://schemas.microsoft.com/office/drawing/2014/main" id="{64E3B3DF-FF00-D9EF-8302-A9B6B376D058}"/>
                  </a:ext>
                </a:extLst>
              </p:cNvPr>
              <p:cNvSpPr/>
              <p:nvPr/>
            </p:nvSpPr>
            <p:spPr>
              <a:xfrm>
                <a:off x="2831605"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62" name="object 323">
                <a:extLst>
                  <a:ext uri="{FF2B5EF4-FFF2-40B4-BE49-F238E27FC236}">
                    <a16:creationId xmlns:a16="http://schemas.microsoft.com/office/drawing/2014/main" id="{735D73B3-5176-290D-8F28-9624264CF098}"/>
                  </a:ext>
                </a:extLst>
              </p:cNvPr>
              <p:cNvSpPr/>
              <p:nvPr/>
            </p:nvSpPr>
            <p:spPr>
              <a:xfrm>
                <a:off x="2822192" y="2447321"/>
                <a:ext cx="328333" cy="68916"/>
              </a:xfrm>
              <a:custGeom>
                <a:avLst/>
                <a:gdLst/>
                <a:ahLst/>
                <a:cxnLst/>
                <a:rect l="l" t="t" r="r" b="b"/>
                <a:pathLst>
                  <a:path w="372110"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63" name="object 324">
                <a:extLst>
                  <a:ext uri="{FF2B5EF4-FFF2-40B4-BE49-F238E27FC236}">
                    <a16:creationId xmlns:a16="http://schemas.microsoft.com/office/drawing/2014/main" id="{DC5F0E26-F915-B230-01B2-5BAE376170F6}"/>
                  </a:ext>
                </a:extLst>
              </p:cNvPr>
              <p:cNvSpPr txBox="1"/>
              <p:nvPr/>
            </p:nvSpPr>
            <p:spPr>
              <a:xfrm>
                <a:off x="2863990" y="2449562"/>
                <a:ext cx="245969"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64" name="object 325">
                <a:extLst>
                  <a:ext uri="{FF2B5EF4-FFF2-40B4-BE49-F238E27FC236}">
                    <a16:creationId xmlns:a16="http://schemas.microsoft.com/office/drawing/2014/main" id="{006924BE-92E6-25DD-8C32-B4B443F389C6}"/>
                  </a:ext>
                </a:extLst>
              </p:cNvPr>
              <p:cNvSpPr/>
              <p:nvPr/>
            </p:nvSpPr>
            <p:spPr>
              <a:xfrm>
                <a:off x="2810089" y="2616752"/>
                <a:ext cx="330798" cy="69925"/>
              </a:xfrm>
              <a:prstGeom prst="rect">
                <a:avLst/>
              </a:prstGeom>
              <a:blipFill>
                <a:blip r:embed="rId2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65" name="object 326">
                <a:extLst>
                  <a:ext uri="{FF2B5EF4-FFF2-40B4-BE49-F238E27FC236}">
                    <a16:creationId xmlns:a16="http://schemas.microsoft.com/office/drawing/2014/main" id="{97143418-02D9-D644-D274-3C35D2458ECB}"/>
                  </a:ext>
                </a:extLst>
              </p:cNvPr>
              <p:cNvSpPr/>
              <p:nvPr/>
            </p:nvSpPr>
            <p:spPr>
              <a:xfrm>
                <a:off x="2831605"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66" name="object 327">
                <a:extLst>
                  <a:ext uri="{FF2B5EF4-FFF2-40B4-BE49-F238E27FC236}">
                    <a16:creationId xmlns:a16="http://schemas.microsoft.com/office/drawing/2014/main" id="{D4253360-941B-2909-184B-4CB0F297ABD9}"/>
                  </a:ext>
                </a:extLst>
              </p:cNvPr>
              <p:cNvSpPr/>
              <p:nvPr/>
            </p:nvSpPr>
            <p:spPr>
              <a:xfrm>
                <a:off x="2822192" y="262885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67" name="object 328">
                <a:extLst>
                  <a:ext uri="{FF2B5EF4-FFF2-40B4-BE49-F238E27FC236}">
                    <a16:creationId xmlns:a16="http://schemas.microsoft.com/office/drawing/2014/main" id="{B264BCB8-DF3B-A861-EB9A-57E8DE51A8AA}"/>
                  </a:ext>
                </a:extLst>
              </p:cNvPr>
              <p:cNvSpPr/>
              <p:nvPr/>
            </p:nvSpPr>
            <p:spPr>
              <a:xfrm>
                <a:off x="2810089" y="2525312"/>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68" name="object 329">
                <a:extLst>
                  <a:ext uri="{FF2B5EF4-FFF2-40B4-BE49-F238E27FC236}">
                    <a16:creationId xmlns:a16="http://schemas.microsoft.com/office/drawing/2014/main" id="{DF3E9069-E6BE-892A-701F-5A8ED0C672D0}"/>
                  </a:ext>
                </a:extLst>
              </p:cNvPr>
              <p:cNvSpPr/>
              <p:nvPr/>
            </p:nvSpPr>
            <p:spPr>
              <a:xfrm>
                <a:off x="2831605"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69" name="object 330">
                <a:extLst>
                  <a:ext uri="{FF2B5EF4-FFF2-40B4-BE49-F238E27FC236}">
                    <a16:creationId xmlns:a16="http://schemas.microsoft.com/office/drawing/2014/main" id="{921C5D48-327D-8248-D7DB-A66FE95BA60E}"/>
                  </a:ext>
                </a:extLst>
              </p:cNvPr>
              <p:cNvSpPr/>
              <p:nvPr/>
            </p:nvSpPr>
            <p:spPr>
              <a:xfrm>
                <a:off x="2822192" y="2537415"/>
                <a:ext cx="328333" cy="68916"/>
              </a:xfrm>
              <a:custGeom>
                <a:avLst/>
                <a:gdLst/>
                <a:ahLst/>
                <a:cxnLst/>
                <a:rect l="l" t="t" r="r" b="b"/>
                <a:pathLst>
                  <a:path w="372110"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0" name="object 331">
                <a:extLst>
                  <a:ext uri="{FF2B5EF4-FFF2-40B4-BE49-F238E27FC236}">
                    <a16:creationId xmlns:a16="http://schemas.microsoft.com/office/drawing/2014/main" id="{264A6F21-8AF7-5849-9D51-C01B0A3CC760}"/>
                  </a:ext>
                </a:extLst>
              </p:cNvPr>
              <p:cNvSpPr txBox="1"/>
              <p:nvPr/>
            </p:nvSpPr>
            <p:spPr>
              <a:xfrm>
                <a:off x="2863990" y="2540217"/>
                <a:ext cx="14903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71" name="object 332">
                <a:extLst>
                  <a:ext uri="{FF2B5EF4-FFF2-40B4-BE49-F238E27FC236}">
                    <a16:creationId xmlns:a16="http://schemas.microsoft.com/office/drawing/2014/main" id="{0BE904C8-CE8D-7878-B4F5-ED4A8082E15F}"/>
                  </a:ext>
                </a:extLst>
              </p:cNvPr>
              <p:cNvSpPr/>
              <p:nvPr/>
            </p:nvSpPr>
            <p:spPr>
              <a:xfrm>
                <a:off x="2042262" y="2686677"/>
                <a:ext cx="12102" cy="24205"/>
              </a:xfrm>
              <a:prstGeom prst="rect">
                <a:avLst/>
              </a:prstGeom>
              <a:blipFill>
                <a:blip r:embed="rId3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2" name="object 333">
                <a:extLst>
                  <a:ext uri="{FF2B5EF4-FFF2-40B4-BE49-F238E27FC236}">
                    <a16:creationId xmlns:a16="http://schemas.microsoft.com/office/drawing/2014/main" id="{91B0FA38-54C6-6383-FC8C-01E40AE84367}"/>
                  </a:ext>
                </a:extLst>
              </p:cNvPr>
              <p:cNvSpPr/>
              <p:nvPr/>
            </p:nvSpPr>
            <p:spPr>
              <a:xfrm>
                <a:off x="2042262" y="259658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3" name="object 334">
                <a:extLst>
                  <a:ext uri="{FF2B5EF4-FFF2-40B4-BE49-F238E27FC236}">
                    <a16:creationId xmlns:a16="http://schemas.microsoft.com/office/drawing/2014/main" id="{114BE3A6-2FB2-5E37-E154-094DFA476B6F}"/>
                  </a:ext>
                </a:extLst>
              </p:cNvPr>
              <p:cNvSpPr/>
              <p:nvPr/>
            </p:nvSpPr>
            <p:spPr>
              <a:xfrm>
                <a:off x="2042262" y="2506487"/>
                <a:ext cx="12102"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4" name="object 335">
                <a:extLst>
                  <a:ext uri="{FF2B5EF4-FFF2-40B4-BE49-F238E27FC236}">
                    <a16:creationId xmlns:a16="http://schemas.microsoft.com/office/drawing/2014/main" id="{CC8FB268-05DB-6F5B-E8D2-3DCC5E2535FB}"/>
                  </a:ext>
                </a:extLst>
              </p:cNvPr>
              <p:cNvSpPr/>
              <p:nvPr/>
            </p:nvSpPr>
            <p:spPr>
              <a:xfrm>
                <a:off x="2042262" y="2415046"/>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5" name="object 336">
                <a:extLst>
                  <a:ext uri="{FF2B5EF4-FFF2-40B4-BE49-F238E27FC236}">
                    <a16:creationId xmlns:a16="http://schemas.microsoft.com/office/drawing/2014/main" id="{9E14E004-2604-C91C-0653-6E24B7D1384D}"/>
                  </a:ext>
                </a:extLst>
              </p:cNvPr>
              <p:cNvSpPr/>
              <p:nvPr/>
            </p:nvSpPr>
            <p:spPr>
              <a:xfrm>
                <a:off x="2042262" y="2218719"/>
                <a:ext cx="350968"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6" name="object 337">
                <a:extLst>
                  <a:ext uri="{FF2B5EF4-FFF2-40B4-BE49-F238E27FC236}">
                    <a16:creationId xmlns:a16="http://schemas.microsoft.com/office/drawing/2014/main" id="{DB995C22-8AD2-A3F3-1660-39BFFE9C2E29}"/>
                  </a:ext>
                </a:extLst>
              </p:cNvPr>
              <p:cNvSpPr/>
              <p:nvPr/>
            </p:nvSpPr>
            <p:spPr>
              <a:xfrm>
                <a:off x="2063778" y="2240236"/>
                <a:ext cx="350968"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7" name="object 338">
                <a:extLst>
                  <a:ext uri="{FF2B5EF4-FFF2-40B4-BE49-F238E27FC236}">
                    <a16:creationId xmlns:a16="http://schemas.microsoft.com/office/drawing/2014/main" id="{F96461F2-A4E8-5EFA-6ECA-17C419C4ABBB}"/>
                  </a:ext>
                </a:extLst>
              </p:cNvPr>
              <p:cNvSpPr/>
              <p:nvPr/>
            </p:nvSpPr>
            <p:spPr>
              <a:xfrm>
                <a:off x="2054365" y="2230821"/>
                <a:ext cx="348503" cy="489697"/>
              </a:xfrm>
              <a:custGeom>
                <a:avLst/>
                <a:gdLst/>
                <a:ahLst/>
                <a:cxnLst/>
                <a:rect l="l" t="t" r="r" b="b"/>
                <a:pathLst>
                  <a:path w="394969" h="554989">
                    <a:moveTo>
                      <a:pt x="0" y="0"/>
                    </a:moveTo>
                    <a:lnTo>
                      <a:pt x="0" y="554736"/>
                    </a:lnTo>
                    <a:lnTo>
                      <a:pt x="394716" y="554736"/>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8" name="object 339">
                <a:extLst>
                  <a:ext uri="{FF2B5EF4-FFF2-40B4-BE49-F238E27FC236}">
                    <a16:creationId xmlns:a16="http://schemas.microsoft.com/office/drawing/2014/main" id="{69538FF9-1788-9FBB-BDA1-6FC42A42EC69}"/>
                  </a:ext>
                </a:extLst>
              </p:cNvPr>
              <p:cNvSpPr/>
              <p:nvPr/>
            </p:nvSpPr>
            <p:spPr>
              <a:xfrm>
                <a:off x="2039573" y="2345122"/>
                <a:ext cx="332142" cy="69925"/>
              </a:xfrm>
              <a:prstGeom prst="rect">
                <a:avLst/>
              </a:prstGeom>
              <a:blipFill>
                <a:blip r:embed="rId3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79" name="object 340">
                <a:extLst>
                  <a:ext uri="{FF2B5EF4-FFF2-40B4-BE49-F238E27FC236}">
                    <a16:creationId xmlns:a16="http://schemas.microsoft.com/office/drawing/2014/main" id="{9BACDAC3-49DA-551D-236F-E6B72327E0F0}"/>
                  </a:ext>
                </a:extLst>
              </p:cNvPr>
              <p:cNvSpPr/>
              <p:nvPr/>
            </p:nvSpPr>
            <p:spPr>
              <a:xfrm>
                <a:off x="2061089" y="2366638"/>
                <a:ext cx="332141" cy="69925"/>
              </a:xfrm>
              <a:prstGeom prst="rect">
                <a:avLst/>
              </a:prstGeom>
              <a:blipFill>
                <a:blip r:embed="rId3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0" name="object 341">
                <a:extLst>
                  <a:ext uri="{FF2B5EF4-FFF2-40B4-BE49-F238E27FC236}">
                    <a16:creationId xmlns:a16="http://schemas.microsoft.com/office/drawing/2014/main" id="{64155AF9-B58A-079D-B27B-F35347ADB4E7}"/>
                  </a:ext>
                </a:extLst>
              </p:cNvPr>
              <p:cNvSpPr/>
              <p:nvPr/>
            </p:nvSpPr>
            <p:spPr>
              <a:xfrm>
                <a:off x="2051675" y="2357224"/>
                <a:ext cx="329453" cy="67235"/>
              </a:xfrm>
              <a:custGeom>
                <a:avLst/>
                <a:gdLst/>
                <a:ahLst/>
                <a:cxnLst/>
                <a:rect l="l" t="t" r="r" b="b"/>
                <a:pathLst>
                  <a:path w="373380" h="76200">
                    <a:moveTo>
                      <a:pt x="0" y="0"/>
                    </a:moveTo>
                    <a:lnTo>
                      <a:pt x="0" y="76200"/>
                    </a:lnTo>
                    <a:lnTo>
                      <a:pt x="373379" y="76200"/>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1" name="object 342">
                <a:extLst>
                  <a:ext uri="{FF2B5EF4-FFF2-40B4-BE49-F238E27FC236}">
                    <a16:creationId xmlns:a16="http://schemas.microsoft.com/office/drawing/2014/main" id="{C11444FD-5AA9-EE66-A8DA-B4DCF1B36C7C}"/>
                  </a:ext>
                </a:extLst>
              </p:cNvPr>
              <p:cNvSpPr/>
              <p:nvPr/>
            </p:nvSpPr>
            <p:spPr>
              <a:xfrm>
                <a:off x="2039573" y="2435217"/>
                <a:ext cx="332142" cy="71269"/>
              </a:xfrm>
              <a:prstGeom prst="rect">
                <a:avLst/>
              </a:prstGeom>
              <a:blipFill>
                <a:blip r:embed="rId3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2" name="object 343">
                <a:extLst>
                  <a:ext uri="{FF2B5EF4-FFF2-40B4-BE49-F238E27FC236}">
                    <a16:creationId xmlns:a16="http://schemas.microsoft.com/office/drawing/2014/main" id="{ECF9FD3A-AD54-6490-B0C6-9ED27A815BA3}"/>
                  </a:ext>
                </a:extLst>
              </p:cNvPr>
              <p:cNvSpPr/>
              <p:nvPr/>
            </p:nvSpPr>
            <p:spPr>
              <a:xfrm>
                <a:off x="2061089" y="2456732"/>
                <a:ext cx="332141" cy="71269"/>
              </a:xfrm>
              <a:prstGeom prst="rect">
                <a:avLst/>
              </a:prstGeom>
              <a:blipFill>
                <a:blip r:embed="rId3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3" name="object 344">
                <a:extLst>
                  <a:ext uri="{FF2B5EF4-FFF2-40B4-BE49-F238E27FC236}">
                    <a16:creationId xmlns:a16="http://schemas.microsoft.com/office/drawing/2014/main" id="{006599FA-CBEC-6F07-0854-EC1D961019B2}"/>
                  </a:ext>
                </a:extLst>
              </p:cNvPr>
              <p:cNvSpPr/>
              <p:nvPr/>
            </p:nvSpPr>
            <p:spPr>
              <a:xfrm>
                <a:off x="2051675" y="2447321"/>
                <a:ext cx="329453" cy="68916"/>
              </a:xfrm>
              <a:custGeom>
                <a:avLst/>
                <a:gdLst/>
                <a:ahLst/>
                <a:cxnLst/>
                <a:rect l="l" t="t" r="r" b="b"/>
                <a:pathLst>
                  <a:path w="373380" h="78105">
                    <a:moveTo>
                      <a:pt x="0" y="0"/>
                    </a:moveTo>
                    <a:lnTo>
                      <a:pt x="0" y="77724"/>
                    </a:lnTo>
                    <a:lnTo>
                      <a:pt x="373379" y="77724"/>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4" name="object 345">
                <a:extLst>
                  <a:ext uri="{FF2B5EF4-FFF2-40B4-BE49-F238E27FC236}">
                    <a16:creationId xmlns:a16="http://schemas.microsoft.com/office/drawing/2014/main" id="{4A84C7F9-E172-8093-C11D-69A7ADD3094A}"/>
                  </a:ext>
                </a:extLst>
              </p:cNvPr>
              <p:cNvSpPr/>
              <p:nvPr/>
            </p:nvSpPr>
            <p:spPr>
              <a:xfrm>
                <a:off x="2039573" y="2616752"/>
                <a:ext cx="332142" cy="69925"/>
              </a:xfrm>
              <a:prstGeom prst="rect">
                <a:avLst/>
              </a:prstGeom>
              <a:blipFill>
                <a:blip r:embed="rId3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5" name="object 346">
                <a:extLst>
                  <a:ext uri="{FF2B5EF4-FFF2-40B4-BE49-F238E27FC236}">
                    <a16:creationId xmlns:a16="http://schemas.microsoft.com/office/drawing/2014/main" id="{00A92642-9334-88CE-63F5-8C79194810D8}"/>
                  </a:ext>
                </a:extLst>
              </p:cNvPr>
              <p:cNvSpPr/>
              <p:nvPr/>
            </p:nvSpPr>
            <p:spPr>
              <a:xfrm>
                <a:off x="2061089" y="2638267"/>
                <a:ext cx="332141"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6" name="object 347">
                <a:extLst>
                  <a:ext uri="{FF2B5EF4-FFF2-40B4-BE49-F238E27FC236}">
                    <a16:creationId xmlns:a16="http://schemas.microsoft.com/office/drawing/2014/main" id="{5E8EBDF0-AF95-4D2B-EDA4-6CCB612D72F0}"/>
                  </a:ext>
                </a:extLst>
              </p:cNvPr>
              <p:cNvSpPr/>
              <p:nvPr/>
            </p:nvSpPr>
            <p:spPr>
              <a:xfrm>
                <a:off x="2051675" y="2628854"/>
                <a:ext cx="329453" cy="67235"/>
              </a:xfrm>
              <a:custGeom>
                <a:avLst/>
                <a:gdLst/>
                <a:ahLst/>
                <a:cxnLst/>
                <a:rect l="l" t="t" r="r" b="b"/>
                <a:pathLst>
                  <a:path w="373380" h="76200">
                    <a:moveTo>
                      <a:pt x="0" y="0"/>
                    </a:moveTo>
                    <a:lnTo>
                      <a:pt x="0" y="76200"/>
                    </a:lnTo>
                    <a:lnTo>
                      <a:pt x="373379" y="76200"/>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7" name="object 348">
                <a:extLst>
                  <a:ext uri="{FF2B5EF4-FFF2-40B4-BE49-F238E27FC236}">
                    <a16:creationId xmlns:a16="http://schemas.microsoft.com/office/drawing/2014/main" id="{D7EA9BB5-CBB3-6B10-0727-CD9BE55F3489}"/>
                  </a:ext>
                </a:extLst>
              </p:cNvPr>
              <p:cNvSpPr/>
              <p:nvPr/>
            </p:nvSpPr>
            <p:spPr>
              <a:xfrm>
                <a:off x="2039573" y="2525312"/>
                <a:ext cx="332142" cy="71269"/>
              </a:xfrm>
              <a:prstGeom prst="rect">
                <a:avLst/>
              </a:prstGeom>
              <a:blipFill>
                <a:blip r:embed="rId3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8" name="object 349">
                <a:extLst>
                  <a:ext uri="{FF2B5EF4-FFF2-40B4-BE49-F238E27FC236}">
                    <a16:creationId xmlns:a16="http://schemas.microsoft.com/office/drawing/2014/main" id="{73C9A934-05EA-9976-DA41-04E7DB75C0C2}"/>
                  </a:ext>
                </a:extLst>
              </p:cNvPr>
              <p:cNvSpPr/>
              <p:nvPr/>
            </p:nvSpPr>
            <p:spPr>
              <a:xfrm>
                <a:off x="2061089" y="2546828"/>
                <a:ext cx="332141" cy="71269"/>
              </a:xfrm>
              <a:prstGeom prst="rect">
                <a:avLst/>
              </a:prstGeom>
              <a:blipFill>
                <a:blip r:embed="rId3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89" name="object 350">
                <a:extLst>
                  <a:ext uri="{FF2B5EF4-FFF2-40B4-BE49-F238E27FC236}">
                    <a16:creationId xmlns:a16="http://schemas.microsoft.com/office/drawing/2014/main" id="{198D195B-EB6D-2AD8-F9D0-F212100DEDF1}"/>
                  </a:ext>
                </a:extLst>
              </p:cNvPr>
              <p:cNvSpPr/>
              <p:nvPr/>
            </p:nvSpPr>
            <p:spPr>
              <a:xfrm>
                <a:off x="2051675" y="2537415"/>
                <a:ext cx="329453" cy="68916"/>
              </a:xfrm>
              <a:custGeom>
                <a:avLst/>
                <a:gdLst/>
                <a:ahLst/>
                <a:cxnLst/>
                <a:rect l="l" t="t" r="r" b="b"/>
                <a:pathLst>
                  <a:path w="373380" h="78105">
                    <a:moveTo>
                      <a:pt x="0" y="0"/>
                    </a:moveTo>
                    <a:lnTo>
                      <a:pt x="0" y="77723"/>
                    </a:lnTo>
                    <a:lnTo>
                      <a:pt x="373379" y="77723"/>
                    </a:lnTo>
                    <a:lnTo>
                      <a:pt x="373379" y="0"/>
                    </a:lnTo>
                    <a:lnTo>
                      <a:pt x="0" y="0"/>
                    </a:lnTo>
                    <a:close/>
                  </a:path>
                </a:pathLst>
              </a:custGeom>
              <a:solidFill>
                <a:srgbClr val="B1C0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0" name="object 351">
                <a:extLst>
                  <a:ext uri="{FF2B5EF4-FFF2-40B4-BE49-F238E27FC236}">
                    <a16:creationId xmlns:a16="http://schemas.microsoft.com/office/drawing/2014/main" id="{E506945F-B01A-E9E3-C01D-BB90279F3DF9}"/>
                  </a:ext>
                </a:extLst>
              </p:cNvPr>
              <p:cNvSpPr/>
              <p:nvPr/>
            </p:nvSpPr>
            <p:spPr>
              <a:xfrm>
                <a:off x="2426848" y="2686677"/>
                <a:ext cx="12103" cy="24205"/>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1" name="object 352">
                <a:extLst>
                  <a:ext uri="{FF2B5EF4-FFF2-40B4-BE49-F238E27FC236}">
                    <a16:creationId xmlns:a16="http://schemas.microsoft.com/office/drawing/2014/main" id="{A14BD696-C3F5-B83C-FF9D-4F5949AF831C}"/>
                  </a:ext>
                </a:extLst>
              </p:cNvPr>
              <p:cNvSpPr/>
              <p:nvPr/>
            </p:nvSpPr>
            <p:spPr>
              <a:xfrm>
                <a:off x="2426848" y="2596581"/>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2" name="object 353">
                <a:extLst>
                  <a:ext uri="{FF2B5EF4-FFF2-40B4-BE49-F238E27FC236}">
                    <a16:creationId xmlns:a16="http://schemas.microsoft.com/office/drawing/2014/main" id="{955B4494-E121-71F8-44D3-FBB64435DF91}"/>
                  </a:ext>
                </a:extLst>
              </p:cNvPr>
              <p:cNvSpPr/>
              <p:nvPr/>
            </p:nvSpPr>
            <p:spPr>
              <a:xfrm>
                <a:off x="2426848" y="2506487"/>
                <a:ext cx="12103"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3" name="object 354">
                <a:extLst>
                  <a:ext uri="{FF2B5EF4-FFF2-40B4-BE49-F238E27FC236}">
                    <a16:creationId xmlns:a16="http://schemas.microsoft.com/office/drawing/2014/main" id="{1A0DC28C-BA0F-EF45-E616-85D5ACBEB93E}"/>
                  </a:ext>
                </a:extLst>
              </p:cNvPr>
              <p:cNvSpPr/>
              <p:nvPr/>
            </p:nvSpPr>
            <p:spPr>
              <a:xfrm>
                <a:off x="2426848" y="2415046"/>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4" name="object 355">
                <a:extLst>
                  <a:ext uri="{FF2B5EF4-FFF2-40B4-BE49-F238E27FC236}">
                    <a16:creationId xmlns:a16="http://schemas.microsoft.com/office/drawing/2014/main" id="{16CED14E-24A6-7875-3F0D-23DD41A691E9}"/>
                  </a:ext>
                </a:extLst>
              </p:cNvPr>
              <p:cNvSpPr/>
              <p:nvPr/>
            </p:nvSpPr>
            <p:spPr>
              <a:xfrm>
                <a:off x="2426848" y="2218719"/>
                <a:ext cx="350968"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5" name="object 356">
                <a:extLst>
                  <a:ext uri="{FF2B5EF4-FFF2-40B4-BE49-F238E27FC236}">
                    <a16:creationId xmlns:a16="http://schemas.microsoft.com/office/drawing/2014/main" id="{788DA0E8-AE93-FAF4-7FC7-569997EFFDB2}"/>
                  </a:ext>
                </a:extLst>
              </p:cNvPr>
              <p:cNvSpPr/>
              <p:nvPr/>
            </p:nvSpPr>
            <p:spPr>
              <a:xfrm>
                <a:off x="2448364" y="2240236"/>
                <a:ext cx="350968"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6" name="object 357">
                <a:extLst>
                  <a:ext uri="{FF2B5EF4-FFF2-40B4-BE49-F238E27FC236}">
                    <a16:creationId xmlns:a16="http://schemas.microsoft.com/office/drawing/2014/main" id="{23EF7BE1-B6E9-AFB5-0D19-F0BC6CFD38FE}"/>
                  </a:ext>
                </a:extLst>
              </p:cNvPr>
              <p:cNvSpPr/>
              <p:nvPr/>
            </p:nvSpPr>
            <p:spPr>
              <a:xfrm>
                <a:off x="2438950" y="2230821"/>
                <a:ext cx="348503" cy="489697"/>
              </a:xfrm>
              <a:custGeom>
                <a:avLst/>
                <a:gdLst/>
                <a:ahLst/>
                <a:cxnLst/>
                <a:rect l="l" t="t" r="r" b="b"/>
                <a:pathLst>
                  <a:path w="394969" h="554989">
                    <a:moveTo>
                      <a:pt x="0" y="0"/>
                    </a:moveTo>
                    <a:lnTo>
                      <a:pt x="0" y="554736"/>
                    </a:lnTo>
                    <a:lnTo>
                      <a:pt x="394716" y="554736"/>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7" name="object 358">
                <a:extLst>
                  <a:ext uri="{FF2B5EF4-FFF2-40B4-BE49-F238E27FC236}">
                    <a16:creationId xmlns:a16="http://schemas.microsoft.com/office/drawing/2014/main" id="{02171E34-07EA-1F50-116F-76044940B11A}"/>
                  </a:ext>
                </a:extLst>
              </p:cNvPr>
              <p:cNvSpPr/>
              <p:nvPr/>
            </p:nvSpPr>
            <p:spPr>
              <a:xfrm>
                <a:off x="2425504" y="2345122"/>
                <a:ext cx="330798" cy="69925"/>
              </a:xfrm>
              <a:prstGeom prst="rect">
                <a:avLst/>
              </a:prstGeom>
              <a:blipFill>
                <a:blip r:embed="rId3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8" name="object 359">
                <a:extLst>
                  <a:ext uri="{FF2B5EF4-FFF2-40B4-BE49-F238E27FC236}">
                    <a16:creationId xmlns:a16="http://schemas.microsoft.com/office/drawing/2014/main" id="{310D766E-560C-C923-A2E3-C3E5238DE323}"/>
                  </a:ext>
                </a:extLst>
              </p:cNvPr>
              <p:cNvSpPr/>
              <p:nvPr/>
            </p:nvSpPr>
            <p:spPr>
              <a:xfrm>
                <a:off x="2447019"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99" name="object 360">
                <a:extLst>
                  <a:ext uri="{FF2B5EF4-FFF2-40B4-BE49-F238E27FC236}">
                    <a16:creationId xmlns:a16="http://schemas.microsoft.com/office/drawing/2014/main" id="{927F05C6-71A7-F997-0D03-1800E02CAEFA}"/>
                  </a:ext>
                </a:extLst>
              </p:cNvPr>
              <p:cNvSpPr/>
              <p:nvPr/>
            </p:nvSpPr>
            <p:spPr>
              <a:xfrm>
                <a:off x="2437606" y="235722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0" name="object 361">
                <a:extLst>
                  <a:ext uri="{FF2B5EF4-FFF2-40B4-BE49-F238E27FC236}">
                    <a16:creationId xmlns:a16="http://schemas.microsoft.com/office/drawing/2014/main" id="{C7506859-15D5-99EE-ACD6-E4424F5F170D}"/>
                  </a:ext>
                </a:extLst>
              </p:cNvPr>
              <p:cNvSpPr/>
              <p:nvPr/>
            </p:nvSpPr>
            <p:spPr>
              <a:xfrm>
                <a:off x="2425504" y="2435217"/>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1" name="object 362">
                <a:extLst>
                  <a:ext uri="{FF2B5EF4-FFF2-40B4-BE49-F238E27FC236}">
                    <a16:creationId xmlns:a16="http://schemas.microsoft.com/office/drawing/2014/main" id="{B5F20826-06B6-84C3-2E6E-E9B9DAC47000}"/>
                  </a:ext>
                </a:extLst>
              </p:cNvPr>
              <p:cNvSpPr/>
              <p:nvPr/>
            </p:nvSpPr>
            <p:spPr>
              <a:xfrm>
                <a:off x="2447019"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2" name="object 363">
                <a:extLst>
                  <a:ext uri="{FF2B5EF4-FFF2-40B4-BE49-F238E27FC236}">
                    <a16:creationId xmlns:a16="http://schemas.microsoft.com/office/drawing/2014/main" id="{D39B03F9-1E51-7D6B-701F-BC50771A4649}"/>
                  </a:ext>
                </a:extLst>
              </p:cNvPr>
              <p:cNvSpPr/>
              <p:nvPr/>
            </p:nvSpPr>
            <p:spPr>
              <a:xfrm>
                <a:off x="2437606" y="2447321"/>
                <a:ext cx="328333" cy="68916"/>
              </a:xfrm>
              <a:custGeom>
                <a:avLst/>
                <a:gdLst/>
                <a:ahLst/>
                <a:cxnLst/>
                <a:rect l="l" t="t" r="r" b="b"/>
                <a:pathLst>
                  <a:path w="372110"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3" name="object 364">
                <a:extLst>
                  <a:ext uri="{FF2B5EF4-FFF2-40B4-BE49-F238E27FC236}">
                    <a16:creationId xmlns:a16="http://schemas.microsoft.com/office/drawing/2014/main" id="{8D7001F5-4285-E2D3-BD3F-5ADC3C8DA025}"/>
                  </a:ext>
                </a:extLst>
              </p:cNvPr>
              <p:cNvSpPr/>
              <p:nvPr/>
            </p:nvSpPr>
            <p:spPr>
              <a:xfrm>
                <a:off x="2425504" y="2616752"/>
                <a:ext cx="330798" cy="69925"/>
              </a:xfrm>
              <a:prstGeom prst="rect">
                <a:avLst/>
              </a:prstGeom>
              <a:blipFill>
                <a:blip r:embed="rId3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4" name="object 365">
                <a:extLst>
                  <a:ext uri="{FF2B5EF4-FFF2-40B4-BE49-F238E27FC236}">
                    <a16:creationId xmlns:a16="http://schemas.microsoft.com/office/drawing/2014/main" id="{0D70F755-BAED-085B-0785-6EAB5F4D7848}"/>
                  </a:ext>
                </a:extLst>
              </p:cNvPr>
              <p:cNvSpPr/>
              <p:nvPr/>
            </p:nvSpPr>
            <p:spPr>
              <a:xfrm>
                <a:off x="2447019"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5" name="object 366">
                <a:extLst>
                  <a:ext uri="{FF2B5EF4-FFF2-40B4-BE49-F238E27FC236}">
                    <a16:creationId xmlns:a16="http://schemas.microsoft.com/office/drawing/2014/main" id="{ABC03ED0-DF13-D818-3279-5D9F5CF058C6}"/>
                  </a:ext>
                </a:extLst>
              </p:cNvPr>
              <p:cNvSpPr/>
              <p:nvPr/>
            </p:nvSpPr>
            <p:spPr>
              <a:xfrm>
                <a:off x="2437606" y="262885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6" name="object 367">
                <a:extLst>
                  <a:ext uri="{FF2B5EF4-FFF2-40B4-BE49-F238E27FC236}">
                    <a16:creationId xmlns:a16="http://schemas.microsoft.com/office/drawing/2014/main" id="{1436F3CD-9B01-8983-409F-C1A0B2B5D492}"/>
                  </a:ext>
                </a:extLst>
              </p:cNvPr>
              <p:cNvSpPr txBox="1"/>
              <p:nvPr/>
            </p:nvSpPr>
            <p:spPr>
              <a:xfrm>
                <a:off x="1708860" y="2630648"/>
                <a:ext cx="200778" cy="1004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07" name="object 368">
                <a:extLst>
                  <a:ext uri="{FF2B5EF4-FFF2-40B4-BE49-F238E27FC236}">
                    <a16:creationId xmlns:a16="http://schemas.microsoft.com/office/drawing/2014/main" id="{A93677F4-7BE1-764F-82FA-D63AE2BEE987}"/>
                  </a:ext>
                </a:extLst>
              </p:cNvPr>
              <p:cNvSpPr/>
              <p:nvPr/>
            </p:nvSpPr>
            <p:spPr>
              <a:xfrm>
                <a:off x="2425504" y="2525312"/>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8" name="object 369">
                <a:extLst>
                  <a:ext uri="{FF2B5EF4-FFF2-40B4-BE49-F238E27FC236}">
                    <a16:creationId xmlns:a16="http://schemas.microsoft.com/office/drawing/2014/main" id="{23FE5A68-66BF-D0F5-B140-9C56C5B7197D}"/>
                  </a:ext>
                </a:extLst>
              </p:cNvPr>
              <p:cNvSpPr/>
              <p:nvPr/>
            </p:nvSpPr>
            <p:spPr>
              <a:xfrm>
                <a:off x="2447019"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09" name="object 370">
                <a:extLst>
                  <a:ext uri="{FF2B5EF4-FFF2-40B4-BE49-F238E27FC236}">
                    <a16:creationId xmlns:a16="http://schemas.microsoft.com/office/drawing/2014/main" id="{E6B0D595-65D9-1DBF-5CF6-FB7660A6AD9E}"/>
                  </a:ext>
                </a:extLst>
              </p:cNvPr>
              <p:cNvSpPr/>
              <p:nvPr/>
            </p:nvSpPr>
            <p:spPr>
              <a:xfrm>
                <a:off x="2437606" y="2537415"/>
                <a:ext cx="328333" cy="68916"/>
              </a:xfrm>
              <a:custGeom>
                <a:avLst/>
                <a:gdLst/>
                <a:ahLst/>
                <a:cxnLst/>
                <a:rect l="l" t="t" r="r" b="b"/>
                <a:pathLst>
                  <a:path w="372110" h="78105">
                    <a:moveTo>
                      <a:pt x="0" y="0"/>
                    </a:moveTo>
                    <a:lnTo>
                      <a:pt x="0" y="77723"/>
                    </a:lnTo>
                    <a:lnTo>
                      <a:pt x="371856" y="77723"/>
                    </a:lnTo>
                    <a:lnTo>
                      <a:pt x="371856" y="0"/>
                    </a:lnTo>
                    <a:lnTo>
                      <a:pt x="0" y="0"/>
                    </a:lnTo>
                    <a:close/>
                  </a:path>
                </a:pathLst>
              </a:custGeom>
              <a:solidFill>
                <a:srgbClr val="B1C0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10" name="object 371">
                <a:extLst>
                  <a:ext uri="{FF2B5EF4-FFF2-40B4-BE49-F238E27FC236}">
                    <a16:creationId xmlns:a16="http://schemas.microsoft.com/office/drawing/2014/main" id="{52A38477-9CA6-55B1-0D16-355BD083D8D8}"/>
                  </a:ext>
                </a:extLst>
              </p:cNvPr>
              <p:cNvSpPr txBox="1"/>
              <p:nvPr/>
            </p:nvSpPr>
            <p:spPr>
              <a:xfrm>
                <a:off x="2081372" y="2149038"/>
                <a:ext cx="650501" cy="55731"/>
              </a:xfrm>
              <a:prstGeom prst="rect">
                <a:avLst/>
              </a:prstGeom>
            </p:spPr>
            <p:txBody>
              <a:bodyPr vert="horz" wrap="square" lIns="0" tIns="0" rIns="0" bIns="0" rtlCol="0">
                <a:spAutoFit/>
              </a:bodyPr>
              <a:lstStyle/>
              <a:p>
                <a:pPr marL="3922"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0" normalizeH="0" baseline="0" noProof="0" dirty="0">
                    <a:ln>
                      <a:noFill/>
                    </a:ln>
                    <a:solidFill>
                      <a:srgbClr val="FFFFFF"/>
                    </a:solidFill>
                    <a:effectLst/>
                    <a:uLnTx/>
                    <a:uFillTx/>
                    <a:latin typeface="Open Sans"/>
                    <a:cs typeface="Open Sans" panose="020B0606030504020204" pitchFamily="34" charset="0"/>
                  </a:rPr>
                  <a:t>Managemen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11" name="object 293">
                <a:extLst>
                  <a:ext uri="{FF2B5EF4-FFF2-40B4-BE49-F238E27FC236}">
                    <a16:creationId xmlns:a16="http://schemas.microsoft.com/office/drawing/2014/main" id="{D4C8C8BD-746A-F30F-7EAC-D2BCE126F12C}"/>
                  </a:ext>
                </a:extLst>
              </p:cNvPr>
              <p:cNvSpPr txBox="1"/>
              <p:nvPr/>
            </p:nvSpPr>
            <p:spPr>
              <a:xfrm>
                <a:off x="2083155" y="2246287"/>
                <a:ext cx="261097" cy="5573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Region</a:t>
                </a: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en-AU" sz="441" u="none" strike="noStrike" kern="0" cap="none" spc="0" normalizeH="0" baseline="0" noProof="0" dirty="0">
                    <a:ln>
                      <a:noFill/>
                    </a:ln>
                    <a:solidFill>
                      <a:srgbClr val="231F20"/>
                    </a:solidFill>
                    <a:effectLst/>
                    <a:uLnTx/>
                    <a:uFillTx/>
                    <a:latin typeface="Open Sans"/>
                    <a:cs typeface="Open Sans" panose="020B0606030504020204" pitchFamily="34" charset="0"/>
                  </a:rPr>
                  <a:t>2</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12" name="object 293">
                <a:extLst>
                  <a:ext uri="{FF2B5EF4-FFF2-40B4-BE49-F238E27FC236}">
                    <a16:creationId xmlns:a16="http://schemas.microsoft.com/office/drawing/2014/main" id="{C74128B2-24F3-3C48-29AD-0615389B65FF}"/>
                  </a:ext>
                </a:extLst>
              </p:cNvPr>
              <p:cNvSpPr txBox="1"/>
              <p:nvPr/>
            </p:nvSpPr>
            <p:spPr>
              <a:xfrm>
                <a:off x="2468311" y="2246287"/>
                <a:ext cx="261097" cy="5573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Region</a:t>
                </a: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en-AU" sz="441" u="none" strike="noStrike" kern="0" cap="none" spc="0" normalizeH="0" baseline="0" noProof="0" dirty="0">
                    <a:ln>
                      <a:noFill/>
                    </a:ln>
                    <a:solidFill>
                      <a:srgbClr val="231F20"/>
                    </a:solidFill>
                    <a:effectLst/>
                    <a:uLnTx/>
                    <a:uFillTx/>
                    <a:latin typeface="Open Sans"/>
                    <a:cs typeface="Open Sans" panose="020B0606030504020204" pitchFamily="34" charset="0"/>
                  </a:rPr>
                  <a:t>3</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13" name="object 297">
                <a:extLst>
                  <a:ext uri="{FF2B5EF4-FFF2-40B4-BE49-F238E27FC236}">
                    <a16:creationId xmlns:a16="http://schemas.microsoft.com/office/drawing/2014/main" id="{DD6DB411-F4AF-DB21-DAF3-CDEFDF5FE6C4}"/>
                  </a:ext>
                </a:extLst>
              </p:cNvPr>
              <p:cNvSpPr txBox="1"/>
              <p:nvPr/>
            </p:nvSpPr>
            <p:spPr>
              <a:xfrm>
                <a:off x="2092974" y="2359241"/>
                <a:ext cx="12886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14" name="object 301">
                <a:extLst>
                  <a:ext uri="{FF2B5EF4-FFF2-40B4-BE49-F238E27FC236}">
                    <a16:creationId xmlns:a16="http://schemas.microsoft.com/office/drawing/2014/main" id="{14BC2258-1B7F-9893-B5BA-F6A26F7EDAB6}"/>
                  </a:ext>
                </a:extLst>
              </p:cNvPr>
              <p:cNvSpPr txBox="1"/>
              <p:nvPr/>
            </p:nvSpPr>
            <p:spPr>
              <a:xfrm>
                <a:off x="2092974" y="2449562"/>
                <a:ext cx="245969"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15" name="object 307">
                <a:extLst>
                  <a:ext uri="{FF2B5EF4-FFF2-40B4-BE49-F238E27FC236}">
                    <a16:creationId xmlns:a16="http://schemas.microsoft.com/office/drawing/2014/main" id="{4AC58D3F-B947-03E7-9B10-1A5D283B0105}"/>
                  </a:ext>
                </a:extLst>
              </p:cNvPr>
              <p:cNvSpPr/>
              <p:nvPr/>
            </p:nvSpPr>
            <p:spPr>
              <a:xfrm>
                <a:off x="2051203"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16" name="object 308">
                <a:extLst>
                  <a:ext uri="{FF2B5EF4-FFF2-40B4-BE49-F238E27FC236}">
                    <a16:creationId xmlns:a16="http://schemas.microsoft.com/office/drawing/2014/main" id="{E4FFE2A3-323E-FBAC-9B63-4B4EA2E2F611}"/>
                  </a:ext>
                </a:extLst>
              </p:cNvPr>
              <p:cNvSpPr txBox="1"/>
              <p:nvPr/>
            </p:nvSpPr>
            <p:spPr>
              <a:xfrm>
                <a:off x="2092974" y="2540217"/>
                <a:ext cx="14903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17" name="object 297">
                <a:extLst>
                  <a:ext uri="{FF2B5EF4-FFF2-40B4-BE49-F238E27FC236}">
                    <a16:creationId xmlns:a16="http://schemas.microsoft.com/office/drawing/2014/main" id="{56D9E654-0F6B-2CE9-A8A5-0A22A6521B62}"/>
                  </a:ext>
                </a:extLst>
              </p:cNvPr>
              <p:cNvSpPr txBox="1"/>
              <p:nvPr/>
            </p:nvSpPr>
            <p:spPr>
              <a:xfrm>
                <a:off x="2495910" y="2359241"/>
                <a:ext cx="12886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18" name="object 301">
                <a:extLst>
                  <a:ext uri="{FF2B5EF4-FFF2-40B4-BE49-F238E27FC236}">
                    <a16:creationId xmlns:a16="http://schemas.microsoft.com/office/drawing/2014/main" id="{488D2FFF-6CBF-3991-2781-C5F0C1B21D17}"/>
                  </a:ext>
                </a:extLst>
              </p:cNvPr>
              <p:cNvSpPr txBox="1"/>
              <p:nvPr/>
            </p:nvSpPr>
            <p:spPr>
              <a:xfrm>
                <a:off x="2495910" y="2449562"/>
                <a:ext cx="245969"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19" name="object 307">
                <a:extLst>
                  <a:ext uri="{FF2B5EF4-FFF2-40B4-BE49-F238E27FC236}">
                    <a16:creationId xmlns:a16="http://schemas.microsoft.com/office/drawing/2014/main" id="{A17AC25E-4652-F874-9DFB-F9121E3545C1}"/>
                  </a:ext>
                </a:extLst>
              </p:cNvPr>
              <p:cNvSpPr/>
              <p:nvPr/>
            </p:nvSpPr>
            <p:spPr>
              <a:xfrm>
                <a:off x="2454139"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20" name="object 308">
                <a:extLst>
                  <a:ext uri="{FF2B5EF4-FFF2-40B4-BE49-F238E27FC236}">
                    <a16:creationId xmlns:a16="http://schemas.microsoft.com/office/drawing/2014/main" id="{03F41133-A094-7088-B7EE-5AB18A407104}"/>
                  </a:ext>
                </a:extLst>
              </p:cNvPr>
              <p:cNvSpPr txBox="1"/>
              <p:nvPr/>
            </p:nvSpPr>
            <p:spPr>
              <a:xfrm>
                <a:off x="2495910" y="2540217"/>
                <a:ext cx="14903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21" name="object 367">
                <a:extLst>
                  <a:ext uri="{FF2B5EF4-FFF2-40B4-BE49-F238E27FC236}">
                    <a16:creationId xmlns:a16="http://schemas.microsoft.com/office/drawing/2014/main" id="{2B8690E8-52CF-4386-B230-FFF68FD7023A}"/>
                  </a:ext>
                </a:extLst>
              </p:cNvPr>
              <p:cNvSpPr txBox="1"/>
              <p:nvPr/>
            </p:nvSpPr>
            <p:spPr>
              <a:xfrm>
                <a:off x="2092974" y="2630648"/>
                <a:ext cx="200778" cy="1004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22" name="object 367">
                <a:extLst>
                  <a:ext uri="{FF2B5EF4-FFF2-40B4-BE49-F238E27FC236}">
                    <a16:creationId xmlns:a16="http://schemas.microsoft.com/office/drawing/2014/main" id="{4866926C-FD04-0070-E1FE-D03CFD43C13C}"/>
                  </a:ext>
                </a:extLst>
              </p:cNvPr>
              <p:cNvSpPr txBox="1"/>
              <p:nvPr/>
            </p:nvSpPr>
            <p:spPr>
              <a:xfrm>
                <a:off x="2495910" y="2630648"/>
                <a:ext cx="200778" cy="502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23" name="object 367">
                <a:extLst>
                  <a:ext uri="{FF2B5EF4-FFF2-40B4-BE49-F238E27FC236}">
                    <a16:creationId xmlns:a16="http://schemas.microsoft.com/office/drawing/2014/main" id="{0FA3F155-899B-4B96-7E40-7488527B3435}"/>
                  </a:ext>
                </a:extLst>
              </p:cNvPr>
              <p:cNvSpPr txBox="1"/>
              <p:nvPr/>
            </p:nvSpPr>
            <p:spPr>
              <a:xfrm>
                <a:off x="2863990" y="2630648"/>
                <a:ext cx="200778" cy="100401"/>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24" name="object 293">
                <a:extLst>
                  <a:ext uri="{FF2B5EF4-FFF2-40B4-BE49-F238E27FC236}">
                    <a16:creationId xmlns:a16="http://schemas.microsoft.com/office/drawing/2014/main" id="{9C0F42D5-998F-639F-2ED8-AF7BFE9AC344}"/>
                  </a:ext>
                </a:extLst>
              </p:cNvPr>
              <p:cNvSpPr txBox="1"/>
              <p:nvPr/>
            </p:nvSpPr>
            <p:spPr>
              <a:xfrm>
                <a:off x="2294954" y="2791099"/>
                <a:ext cx="261097" cy="55731"/>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Finance</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25" name="object 293">
                <a:extLst>
                  <a:ext uri="{FF2B5EF4-FFF2-40B4-BE49-F238E27FC236}">
                    <a16:creationId xmlns:a16="http://schemas.microsoft.com/office/drawing/2014/main" id="{E615DB94-5E15-DC6D-2D3E-3845F3BAB142}"/>
                  </a:ext>
                </a:extLst>
              </p:cNvPr>
              <p:cNvSpPr txBox="1"/>
              <p:nvPr/>
            </p:nvSpPr>
            <p:spPr>
              <a:xfrm>
                <a:off x="2294954" y="2915969"/>
                <a:ext cx="261097" cy="55731"/>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HR</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226" name="object 293">
                <a:extLst>
                  <a:ext uri="{FF2B5EF4-FFF2-40B4-BE49-F238E27FC236}">
                    <a16:creationId xmlns:a16="http://schemas.microsoft.com/office/drawing/2014/main" id="{45395533-1F82-9CE7-B2EB-4AAEC9861729}"/>
                  </a:ext>
                </a:extLst>
              </p:cNvPr>
              <p:cNvSpPr txBox="1"/>
              <p:nvPr/>
            </p:nvSpPr>
            <p:spPr>
              <a:xfrm>
                <a:off x="2294954" y="3045759"/>
                <a:ext cx="261097" cy="55731"/>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I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sp>
          <p:nvSpPr>
            <p:cNvPr id="1227" name="TextBox 1226">
              <a:extLst>
                <a:ext uri="{FF2B5EF4-FFF2-40B4-BE49-F238E27FC236}">
                  <a16:creationId xmlns:a16="http://schemas.microsoft.com/office/drawing/2014/main" id="{44E09B9E-69A3-24BE-B60C-2F846D80F77E}"/>
                </a:ext>
              </a:extLst>
            </p:cNvPr>
            <p:cNvSpPr txBox="1"/>
            <p:nvPr/>
          </p:nvSpPr>
          <p:spPr>
            <a:xfrm>
              <a:off x="835564" y="3358571"/>
              <a:ext cx="2039380" cy="234836"/>
            </a:xfrm>
            <a:prstGeom prst="rect">
              <a:avLst/>
            </a:prstGeom>
            <a:noFill/>
          </p:spPr>
          <p:txBody>
            <a:bodyPr wrap="square" lIns="0" tIns="0" rIns="0" bIns="0" rtlCol="0">
              <a:noAutofit/>
            </a:bodyPr>
            <a:lstStyle/>
            <a:p>
              <a:pPr>
                <a:spcBef>
                  <a:spcPts val="600"/>
                </a:spcBef>
                <a:buSzPct val="100000"/>
              </a:pPr>
              <a:r>
                <a:rPr lang="hu-HU" sz="1200" dirty="0" err="1">
                  <a:solidFill>
                    <a:prstClr val="black"/>
                  </a:solidFill>
                  <a:latin typeface="Open Sans"/>
                </a:rPr>
                <a:t>Geography</a:t>
              </a:r>
              <a:r>
                <a:rPr lang="hu-HU" sz="1200" dirty="0">
                  <a:solidFill>
                    <a:prstClr val="black"/>
                  </a:solidFill>
                  <a:latin typeface="Open Sans"/>
                </a:rPr>
                <a:t> </a:t>
              </a:r>
              <a:r>
                <a:rPr lang="hu-HU" sz="1200" dirty="0" err="1">
                  <a:solidFill>
                    <a:prstClr val="black"/>
                  </a:solidFill>
                  <a:latin typeface="Open Sans"/>
                </a:rPr>
                <a:t>oriented</a:t>
              </a:r>
              <a:endParaRPr lang="hu-HU" sz="1200" dirty="0">
                <a:solidFill>
                  <a:prstClr val="black"/>
                </a:solidFill>
                <a:latin typeface="Open Sans"/>
              </a:endParaRPr>
            </a:p>
          </p:txBody>
        </p:sp>
        <p:sp>
          <p:nvSpPr>
            <p:cNvPr id="1270" name="TextBox 1269">
              <a:extLst>
                <a:ext uri="{FF2B5EF4-FFF2-40B4-BE49-F238E27FC236}">
                  <a16:creationId xmlns:a16="http://schemas.microsoft.com/office/drawing/2014/main" id="{3EDCCC2F-F5F2-7A78-68E0-B44199BC32CA}"/>
                </a:ext>
              </a:extLst>
            </p:cNvPr>
            <p:cNvSpPr txBox="1"/>
            <p:nvPr/>
          </p:nvSpPr>
          <p:spPr>
            <a:xfrm rot="1610013">
              <a:off x="2418053" y="3735165"/>
              <a:ext cx="687779" cy="123111"/>
            </a:xfrm>
            <a:prstGeom prst="rect">
              <a:avLst/>
            </a:prstGeom>
            <a:solidFill>
              <a:sysClr val="window" lastClr="FFFFFF"/>
            </a:solidFill>
            <a:ln>
              <a:solidFill>
                <a:srgbClr val="FF0000"/>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r>
                <a:rPr kumimoji="0" lang="en-AU" sz="800" b="1" i="0" u="none" strike="noStrike" kern="0" cap="none" spc="0" normalizeH="0" baseline="0" noProof="0" dirty="0">
                  <a:ln>
                    <a:noFill/>
                  </a:ln>
                  <a:solidFill>
                    <a:srgbClr val="313131"/>
                  </a:solidFill>
                  <a:effectLst/>
                  <a:uLnTx/>
                  <a:uFillTx/>
                  <a:latin typeface="Open Sans"/>
                  <a:cs typeface="Calibri" panose="020F0502020204030204" pitchFamily="34" charset="0"/>
                </a:rPr>
                <a:t>Example</a:t>
              </a: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p>
          </p:txBody>
        </p:sp>
        <p:sp>
          <p:nvSpPr>
            <p:cNvPr id="1272" name="Oval 1271">
              <a:extLst>
                <a:ext uri="{FF2B5EF4-FFF2-40B4-BE49-F238E27FC236}">
                  <a16:creationId xmlns:a16="http://schemas.microsoft.com/office/drawing/2014/main" id="{56CDE026-D81E-D05E-4823-048BDEC059C0}"/>
                </a:ext>
              </a:extLst>
            </p:cNvPr>
            <p:cNvSpPr/>
            <p:nvPr/>
          </p:nvSpPr>
          <p:spPr bwMode="gray">
            <a:xfrm>
              <a:off x="574584" y="3337318"/>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noProof="0" dirty="0">
                  <a:ln>
                    <a:noFill/>
                  </a:ln>
                  <a:solidFill>
                    <a:prstClr val="black"/>
                  </a:solidFill>
                  <a:effectLst/>
                  <a:uLnTx/>
                  <a:uFillTx/>
                  <a:latin typeface="Open Sans"/>
                </a:rPr>
                <a:t>2</a:t>
              </a:r>
            </a:p>
          </p:txBody>
        </p:sp>
      </p:grpSp>
      <p:grpSp>
        <p:nvGrpSpPr>
          <p:cNvPr id="46" name="Group 45">
            <a:extLst>
              <a:ext uri="{FF2B5EF4-FFF2-40B4-BE49-F238E27FC236}">
                <a16:creationId xmlns:a16="http://schemas.microsoft.com/office/drawing/2014/main" id="{9F91AAAA-90E4-010E-4FE9-D282DDB1A706}"/>
              </a:ext>
            </a:extLst>
          </p:cNvPr>
          <p:cNvGrpSpPr/>
          <p:nvPr/>
        </p:nvGrpSpPr>
        <p:grpSpPr>
          <a:xfrm>
            <a:off x="3406934" y="3147056"/>
            <a:ext cx="2496115" cy="1605901"/>
            <a:chOff x="3107255" y="3337318"/>
            <a:chExt cx="2496115" cy="1605901"/>
          </a:xfrm>
        </p:grpSpPr>
        <p:grpSp>
          <p:nvGrpSpPr>
            <p:cNvPr id="938" name="Group 937">
              <a:extLst>
                <a:ext uri="{FF2B5EF4-FFF2-40B4-BE49-F238E27FC236}">
                  <a16:creationId xmlns:a16="http://schemas.microsoft.com/office/drawing/2014/main" id="{6F6772D6-ED65-3CAF-E417-1AF3B516DE93}"/>
                </a:ext>
              </a:extLst>
            </p:cNvPr>
            <p:cNvGrpSpPr/>
            <p:nvPr/>
          </p:nvGrpSpPr>
          <p:grpSpPr>
            <a:xfrm>
              <a:off x="3107255" y="3690491"/>
              <a:ext cx="2372367" cy="1252728"/>
              <a:chOff x="4114682" y="4592453"/>
              <a:chExt cx="1613744" cy="1054280"/>
            </a:xfrm>
          </p:grpSpPr>
          <p:sp>
            <p:nvSpPr>
              <p:cNvPr id="939" name="object 589">
                <a:extLst>
                  <a:ext uri="{FF2B5EF4-FFF2-40B4-BE49-F238E27FC236}">
                    <a16:creationId xmlns:a16="http://schemas.microsoft.com/office/drawing/2014/main" id="{97958DD5-4835-6E8F-F7B6-8760F1332BA7}"/>
                  </a:ext>
                </a:extLst>
              </p:cNvPr>
              <p:cNvSpPr/>
              <p:nvPr/>
            </p:nvSpPr>
            <p:spPr>
              <a:xfrm>
                <a:off x="4114682" y="5246012"/>
                <a:ext cx="1553135" cy="400721"/>
              </a:xfrm>
              <a:prstGeom prst="rect">
                <a:avLst/>
              </a:prstGeom>
              <a:blipFill>
                <a:blip r:embed="rId4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0" name="object 608">
                <a:extLst>
                  <a:ext uri="{FF2B5EF4-FFF2-40B4-BE49-F238E27FC236}">
                    <a16:creationId xmlns:a16="http://schemas.microsoft.com/office/drawing/2014/main" id="{B1935457-F803-3697-64DC-FA0A5903DF4F}"/>
                  </a:ext>
                </a:extLst>
              </p:cNvPr>
              <p:cNvSpPr/>
              <p:nvPr/>
            </p:nvSpPr>
            <p:spPr>
              <a:xfrm>
                <a:off x="4157713" y="5114900"/>
                <a:ext cx="12102" cy="59167"/>
              </a:xfrm>
              <a:prstGeom prst="rect">
                <a:avLst/>
              </a:prstGeom>
              <a:blipFill>
                <a:blip r:embed="rId4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1" name="object 609">
                <a:extLst>
                  <a:ext uri="{FF2B5EF4-FFF2-40B4-BE49-F238E27FC236}">
                    <a16:creationId xmlns:a16="http://schemas.microsoft.com/office/drawing/2014/main" id="{84312AB2-0FA2-4FEC-8220-93816C4278AB}"/>
                  </a:ext>
                </a:extLst>
              </p:cNvPr>
              <p:cNvSpPr/>
              <p:nvPr/>
            </p:nvSpPr>
            <p:spPr>
              <a:xfrm>
                <a:off x="4157713" y="5023460"/>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2" name="object 610">
                <a:extLst>
                  <a:ext uri="{FF2B5EF4-FFF2-40B4-BE49-F238E27FC236}">
                    <a16:creationId xmlns:a16="http://schemas.microsoft.com/office/drawing/2014/main" id="{94332825-C32A-6E84-B1A4-C3DAFD6425B0}"/>
                  </a:ext>
                </a:extLst>
              </p:cNvPr>
              <p:cNvSpPr/>
              <p:nvPr/>
            </p:nvSpPr>
            <p:spPr>
              <a:xfrm>
                <a:off x="4157713" y="493202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3" name="object 611">
                <a:extLst>
                  <a:ext uri="{FF2B5EF4-FFF2-40B4-BE49-F238E27FC236}">
                    <a16:creationId xmlns:a16="http://schemas.microsoft.com/office/drawing/2014/main" id="{356A0686-E203-72CC-C027-E1E283DD6622}"/>
                  </a:ext>
                </a:extLst>
              </p:cNvPr>
              <p:cNvSpPr/>
              <p:nvPr/>
            </p:nvSpPr>
            <p:spPr>
              <a:xfrm>
                <a:off x="4157712" y="4675181"/>
                <a:ext cx="350968" cy="185570"/>
              </a:xfrm>
              <a:prstGeom prst="rect">
                <a:avLst/>
              </a:prstGeom>
              <a:blipFill>
                <a:blip r:embed="rId4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4" name="object 612">
                <a:extLst>
                  <a:ext uri="{FF2B5EF4-FFF2-40B4-BE49-F238E27FC236}">
                    <a16:creationId xmlns:a16="http://schemas.microsoft.com/office/drawing/2014/main" id="{2D36D3FA-7DC3-BE59-55C0-A1B48C2B8002}"/>
                  </a:ext>
                </a:extLst>
              </p:cNvPr>
              <p:cNvSpPr/>
              <p:nvPr/>
            </p:nvSpPr>
            <p:spPr>
              <a:xfrm>
                <a:off x="4179228" y="4696697"/>
                <a:ext cx="350968" cy="498886"/>
              </a:xfrm>
              <a:prstGeom prst="rect">
                <a:avLst/>
              </a:prstGeom>
              <a:blipFill>
                <a:blip r:embed="rId4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5" name="object 613">
                <a:extLst>
                  <a:ext uri="{FF2B5EF4-FFF2-40B4-BE49-F238E27FC236}">
                    <a16:creationId xmlns:a16="http://schemas.microsoft.com/office/drawing/2014/main" id="{BDC031E1-AA5B-A8D5-FC29-32327E634A56}"/>
                  </a:ext>
                </a:extLst>
              </p:cNvPr>
              <p:cNvSpPr/>
              <p:nvPr/>
            </p:nvSpPr>
            <p:spPr>
              <a:xfrm>
                <a:off x="4169815" y="4687284"/>
                <a:ext cx="348503" cy="496421"/>
              </a:xfrm>
              <a:custGeom>
                <a:avLst/>
                <a:gdLst/>
                <a:ahLst/>
                <a:cxnLst/>
                <a:rect l="l" t="t" r="r" b="b"/>
                <a:pathLst>
                  <a:path w="394970" h="562610">
                    <a:moveTo>
                      <a:pt x="0" y="0"/>
                    </a:moveTo>
                    <a:lnTo>
                      <a:pt x="0" y="562355"/>
                    </a:lnTo>
                    <a:lnTo>
                      <a:pt x="394715" y="562355"/>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6" name="object 614">
                <a:extLst>
                  <a:ext uri="{FF2B5EF4-FFF2-40B4-BE49-F238E27FC236}">
                    <a16:creationId xmlns:a16="http://schemas.microsoft.com/office/drawing/2014/main" id="{9F21AB0A-0052-5B3D-AC7E-B8780F4B766D}"/>
                  </a:ext>
                </a:extLst>
              </p:cNvPr>
              <p:cNvSpPr/>
              <p:nvPr/>
            </p:nvSpPr>
            <p:spPr>
              <a:xfrm>
                <a:off x="4155023" y="4860751"/>
                <a:ext cx="332141" cy="71268"/>
              </a:xfrm>
              <a:prstGeom prst="rect">
                <a:avLst/>
              </a:prstGeom>
              <a:blipFill>
                <a:blip r:embed="rId4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7" name="object 615">
                <a:extLst>
                  <a:ext uri="{FF2B5EF4-FFF2-40B4-BE49-F238E27FC236}">
                    <a16:creationId xmlns:a16="http://schemas.microsoft.com/office/drawing/2014/main" id="{5ADBF80F-AFCC-74B6-C923-0F7F13D8AC41}"/>
                  </a:ext>
                </a:extLst>
              </p:cNvPr>
              <p:cNvSpPr/>
              <p:nvPr/>
            </p:nvSpPr>
            <p:spPr>
              <a:xfrm>
                <a:off x="4176539" y="4882266"/>
                <a:ext cx="332141" cy="71269"/>
              </a:xfrm>
              <a:prstGeom prst="rect">
                <a:avLst/>
              </a:prstGeom>
              <a:blipFill>
                <a:blip r:embed="rId3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8" name="object 616">
                <a:extLst>
                  <a:ext uri="{FF2B5EF4-FFF2-40B4-BE49-F238E27FC236}">
                    <a16:creationId xmlns:a16="http://schemas.microsoft.com/office/drawing/2014/main" id="{4443306C-2796-2A71-A830-2C98BB131FD3}"/>
                  </a:ext>
                </a:extLst>
              </p:cNvPr>
              <p:cNvSpPr/>
              <p:nvPr/>
            </p:nvSpPr>
            <p:spPr>
              <a:xfrm>
                <a:off x="4167125" y="4872853"/>
                <a:ext cx="329453" cy="68916"/>
              </a:xfrm>
              <a:custGeom>
                <a:avLst/>
                <a:gdLst/>
                <a:ahLst/>
                <a:cxnLst/>
                <a:rect l="l" t="t" r="r" b="b"/>
                <a:pathLst>
                  <a:path w="373379" h="78104">
                    <a:moveTo>
                      <a:pt x="0" y="0"/>
                    </a:moveTo>
                    <a:lnTo>
                      <a:pt x="0" y="77724"/>
                    </a:lnTo>
                    <a:lnTo>
                      <a:pt x="373379" y="77724"/>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49" name="object 617">
                <a:extLst>
                  <a:ext uri="{FF2B5EF4-FFF2-40B4-BE49-F238E27FC236}">
                    <a16:creationId xmlns:a16="http://schemas.microsoft.com/office/drawing/2014/main" id="{5C9E92A2-D1F7-A994-33F7-54A79FB9C154}"/>
                  </a:ext>
                </a:extLst>
              </p:cNvPr>
              <p:cNvSpPr/>
              <p:nvPr/>
            </p:nvSpPr>
            <p:spPr>
              <a:xfrm>
                <a:off x="4155023" y="4952191"/>
                <a:ext cx="332141" cy="71269"/>
              </a:xfrm>
              <a:prstGeom prst="rect">
                <a:avLst/>
              </a:prstGeom>
              <a:blipFill>
                <a:blip r:embed="rId4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0" name="object 618">
                <a:extLst>
                  <a:ext uri="{FF2B5EF4-FFF2-40B4-BE49-F238E27FC236}">
                    <a16:creationId xmlns:a16="http://schemas.microsoft.com/office/drawing/2014/main" id="{4659D31B-1A9D-E463-D537-BEC5997A44A3}"/>
                  </a:ext>
                </a:extLst>
              </p:cNvPr>
              <p:cNvSpPr/>
              <p:nvPr/>
            </p:nvSpPr>
            <p:spPr>
              <a:xfrm>
                <a:off x="4176539" y="4973706"/>
                <a:ext cx="332141" cy="71269"/>
              </a:xfrm>
              <a:prstGeom prst="rect">
                <a:avLst/>
              </a:prstGeom>
              <a:blipFill>
                <a:blip r:embed="rId3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1" name="object 619">
                <a:extLst>
                  <a:ext uri="{FF2B5EF4-FFF2-40B4-BE49-F238E27FC236}">
                    <a16:creationId xmlns:a16="http://schemas.microsoft.com/office/drawing/2014/main" id="{AC0C6EE6-1060-07E8-E2EE-80F30CD74369}"/>
                  </a:ext>
                </a:extLst>
              </p:cNvPr>
              <p:cNvSpPr/>
              <p:nvPr/>
            </p:nvSpPr>
            <p:spPr>
              <a:xfrm>
                <a:off x="4167125" y="4964294"/>
                <a:ext cx="329453" cy="68916"/>
              </a:xfrm>
              <a:custGeom>
                <a:avLst/>
                <a:gdLst/>
                <a:ahLst/>
                <a:cxnLst/>
                <a:rect l="l" t="t" r="r" b="b"/>
                <a:pathLst>
                  <a:path w="373379" h="78104">
                    <a:moveTo>
                      <a:pt x="0" y="0"/>
                    </a:moveTo>
                    <a:lnTo>
                      <a:pt x="0" y="77724"/>
                    </a:lnTo>
                    <a:lnTo>
                      <a:pt x="373379" y="77724"/>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2" name="object 620">
                <a:extLst>
                  <a:ext uri="{FF2B5EF4-FFF2-40B4-BE49-F238E27FC236}">
                    <a16:creationId xmlns:a16="http://schemas.microsoft.com/office/drawing/2014/main" id="{9CC51B80-B1A6-8469-0EE6-483FFB982019}"/>
                  </a:ext>
                </a:extLst>
              </p:cNvPr>
              <p:cNvSpPr/>
              <p:nvPr/>
            </p:nvSpPr>
            <p:spPr>
              <a:xfrm>
                <a:off x="4155023" y="5043631"/>
                <a:ext cx="332141" cy="71268"/>
              </a:xfrm>
              <a:prstGeom prst="rect">
                <a:avLst/>
              </a:prstGeom>
              <a:blipFill>
                <a:blip r:embed="rId4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3" name="object 621">
                <a:extLst>
                  <a:ext uri="{FF2B5EF4-FFF2-40B4-BE49-F238E27FC236}">
                    <a16:creationId xmlns:a16="http://schemas.microsoft.com/office/drawing/2014/main" id="{5D07DB30-68E4-CBA7-E796-0D7D4E644573}"/>
                  </a:ext>
                </a:extLst>
              </p:cNvPr>
              <p:cNvSpPr/>
              <p:nvPr/>
            </p:nvSpPr>
            <p:spPr>
              <a:xfrm>
                <a:off x="4176539" y="5065146"/>
                <a:ext cx="332141" cy="71269"/>
              </a:xfrm>
              <a:prstGeom prst="rect">
                <a:avLst/>
              </a:prstGeom>
              <a:blipFill>
                <a:blip r:embed="rId3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4" name="object 622">
                <a:extLst>
                  <a:ext uri="{FF2B5EF4-FFF2-40B4-BE49-F238E27FC236}">
                    <a16:creationId xmlns:a16="http://schemas.microsoft.com/office/drawing/2014/main" id="{30ABFA5C-6809-34C5-7848-CB6692693AD1}"/>
                  </a:ext>
                </a:extLst>
              </p:cNvPr>
              <p:cNvSpPr/>
              <p:nvPr/>
            </p:nvSpPr>
            <p:spPr>
              <a:xfrm>
                <a:off x="4167125" y="5055734"/>
                <a:ext cx="329453" cy="68916"/>
              </a:xfrm>
              <a:custGeom>
                <a:avLst/>
                <a:gdLst/>
                <a:ahLst/>
                <a:cxnLst/>
                <a:rect l="l" t="t" r="r" b="b"/>
                <a:pathLst>
                  <a:path w="373379" h="78104">
                    <a:moveTo>
                      <a:pt x="0" y="0"/>
                    </a:moveTo>
                    <a:lnTo>
                      <a:pt x="0" y="77724"/>
                    </a:lnTo>
                    <a:lnTo>
                      <a:pt x="373379" y="77724"/>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5" name="object 623">
                <a:extLst>
                  <a:ext uri="{FF2B5EF4-FFF2-40B4-BE49-F238E27FC236}">
                    <a16:creationId xmlns:a16="http://schemas.microsoft.com/office/drawing/2014/main" id="{CC67463F-7A09-D601-4394-0EB856808603}"/>
                  </a:ext>
                </a:extLst>
              </p:cNvPr>
              <p:cNvSpPr/>
              <p:nvPr/>
            </p:nvSpPr>
            <p:spPr>
              <a:xfrm>
                <a:off x="5311470" y="5114900"/>
                <a:ext cx="12103" cy="59167"/>
              </a:xfrm>
              <a:prstGeom prst="rect">
                <a:avLst/>
              </a:prstGeom>
              <a:blipFill>
                <a:blip r:embed="rId4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6" name="object 624">
                <a:extLst>
                  <a:ext uri="{FF2B5EF4-FFF2-40B4-BE49-F238E27FC236}">
                    <a16:creationId xmlns:a16="http://schemas.microsoft.com/office/drawing/2014/main" id="{17A1C239-BA2A-8760-9642-77E55AE2A064}"/>
                  </a:ext>
                </a:extLst>
              </p:cNvPr>
              <p:cNvSpPr/>
              <p:nvPr/>
            </p:nvSpPr>
            <p:spPr>
              <a:xfrm>
                <a:off x="5311470" y="5023460"/>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7" name="object 625">
                <a:extLst>
                  <a:ext uri="{FF2B5EF4-FFF2-40B4-BE49-F238E27FC236}">
                    <a16:creationId xmlns:a16="http://schemas.microsoft.com/office/drawing/2014/main" id="{E211902D-07CF-DED9-C1C6-9F7DE45764AD}"/>
                  </a:ext>
                </a:extLst>
              </p:cNvPr>
              <p:cNvSpPr/>
              <p:nvPr/>
            </p:nvSpPr>
            <p:spPr>
              <a:xfrm>
                <a:off x="5311470" y="4932021"/>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8" name="object 626">
                <a:extLst>
                  <a:ext uri="{FF2B5EF4-FFF2-40B4-BE49-F238E27FC236}">
                    <a16:creationId xmlns:a16="http://schemas.microsoft.com/office/drawing/2014/main" id="{A88C7D0F-F3D3-722C-4DD5-8FDBA57EB870}"/>
                  </a:ext>
                </a:extLst>
              </p:cNvPr>
              <p:cNvSpPr/>
              <p:nvPr/>
            </p:nvSpPr>
            <p:spPr>
              <a:xfrm>
                <a:off x="5311470" y="4675181"/>
                <a:ext cx="352313" cy="185570"/>
              </a:xfrm>
              <a:prstGeom prst="rect">
                <a:avLst/>
              </a:prstGeom>
              <a:blipFill>
                <a:blip r:embed="rId4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59" name="object 627">
                <a:extLst>
                  <a:ext uri="{FF2B5EF4-FFF2-40B4-BE49-F238E27FC236}">
                    <a16:creationId xmlns:a16="http://schemas.microsoft.com/office/drawing/2014/main" id="{A17E7556-C011-ACC2-CFCB-6379094A8139}"/>
                  </a:ext>
                </a:extLst>
              </p:cNvPr>
              <p:cNvSpPr/>
              <p:nvPr/>
            </p:nvSpPr>
            <p:spPr>
              <a:xfrm>
                <a:off x="5332986" y="4696697"/>
                <a:ext cx="352313" cy="498886"/>
              </a:xfrm>
              <a:prstGeom prst="rect">
                <a:avLst/>
              </a:prstGeom>
              <a:blipFill>
                <a:blip r:embed="rId4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0" name="object 628">
                <a:extLst>
                  <a:ext uri="{FF2B5EF4-FFF2-40B4-BE49-F238E27FC236}">
                    <a16:creationId xmlns:a16="http://schemas.microsoft.com/office/drawing/2014/main" id="{145B84E6-52EC-003B-B620-37301A49B652}"/>
                  </a:ext>
                </a:extLst>
              </p:cNvPr>
              <p:cNvSpPr/>
              <p:nvPr/>
            </p:nvSpPr>
            <p:spPr>
              <a:xfrm>
                <a:off x="5323573" y="4687284"/>
                <a:ext cx="349623" cy="496421"/>
              </a:xfrm>
              <a:custGeom>
                <a:avLst/>
                <a:gdLst/>
                <a:ahLst/>
                <a:cxnLst/>
                <a:rect l="l" t="t" r="r" b="b"/>
                <a:pathLst>
                  <a:path w="396239" h="562610">
                    <a:moveTo>
                      <a:pt x="0" y="0"/>
                    </a:moveTo>
                    <a:lnTo>
                      <a:pt x="0" y="562355"/>
                    </a:lnTo>
                    <a:lnTo>
                      <a:pt x="396239" y="562355"/>
                    </a:lnTo>
                    <a:lnTo>
                      <a:pt x="39623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1" name="object 629">
                <a:extLst>
                  <a:ext uri="{FF2B5EF4-FFF2-40B4-BE49-F238E27FC236}">
                    <a16:creationId xmlns:a16="http://schemas.microsoft.com/office/drawing/2014/main" id="{8321F2E5-B48C-7B4D-77B2-72C14C75FD07}"/>
                  </a:ext>
                </a:extLst>
              </p:cNvPr>
              <p:cNvSpPr/>
              <p:nvPr/>
            </p:nvSpPr>
            <p:spPr>
              <a:xfrm>
                <a:off x="5310125" y="4860751"/>
                <a:ext cx="330798" cy="71268"/>
              </a:xfrm>
              <a:prstGeom prst="rect">
                <a:avLst/>
              </a:prstGeom>
              <a:blipFill>
                <a:blip r:embed="rId4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2" name="object 630">
                <a:extLst>
                  <a:ext uri="{FF2B5EF4-FFF2-40B4-BE49-F238E27FC236}">
                    <a16:creationId xmlns:a16="http://schemas.microsoft.com/office/drawing/2014/main" id="{07515C8B-37D5-2961-3723-9F31CE366059}"/>
                  </a:ext>
                </a:extLst>
              </p:cNvPr>
              <p:cNvSpPr/>
              <p:nvPr/>
            </p:nvSpPr>
            <p:spPr>
              <a:xfrm>
                <a:off x="5331641" y="488226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3" name="object 631">
                <a:extLst>
                  <a:ext uri="{FF2B5EF4-FFF2-40B4-BE49-F238E27FC236}">
                    <a16:creationId xmlns:a16="http://schemas.microsoft.com/office/drawing/2014/main" id="{1597E539-68E8-73A9-1074-9D222D4B22FC}"/>
                  </a:ext>
                </a:extLst>
              </p:cNvPr>
              <p:cNvSpPr/>
              <p:nvPr/>
            </p:nvSpPr>
            <p:spPr>
              <a:xfrm>
                <a:off x="5322227" y="4872853"/>
                <a:ext cx="328333" cy="68916"/>
              </a:xfrm>
              <a:custGeom>
                <a:avLst/>
                <a:gdLst/>
                <a:ahLst/>
                <a:cxnLst/>
                <a:rect l="l" t="t" r="r" b="b"/>
                <a:pathLst>
                  <a:path w="372110" h="78104">
                    <a:moveTo>
                      <a:pt x="0" y="0"/>
                    </a:moveTo>
                    <a:lnTo>
                      <a:pt x="0" y="77724"/>
                    </a:lnTo>
                    <a:lnTo>
                      <a:pt x="371855" y="77724"/>
                    </a:lnTo>
                    <a:lnTo>
                      <a:pt x="37185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4" name="object 632">
                <a:extLst>
                  <a:ext uri="{FF2B5EF4-FFF2-40B4-BE49-F238E27FC236}">
                    <a16:creationId xmlns:a16="http://schemas.microsoft.com/office/drawing/2014/main" id="{42521CE5-4C74-075B-64B2-A38FCE0CB2FD}"/>
                  </a:ext>
                </a:extLst>
              </p:cNvPr>
              <p:cNvSpPr/>
              <p:nvPr/>
            </p:nvSpPr>
            <p:spPr>
              <a:xfrm>
                <a:off x="5310125" y="4952191"/>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5" name="object 633">
                <a:extLst>
                  <a:ext uri="{FF2B5EF4-FFF2-40B4-BE49-F238E27FC236}">
                    <a16:creationId xmlns:a16="http://schemas.microsoft.com/office/drawing/2014/main" id="{71994D20-E9DC-5910-B9B6-BA3498DD6AF4}"/>
                  </a:ext>
                </a:extLst>
              </p:cNvPr>
              <p:cNvSpPr/>
              <p:nvPr/>
            </p:nvSpPr>
            <p:spPr>
              <a:xfrm>
                <a:off x="5331641" y="497370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6" name="object 634">
                <a:extLst>
                  <a:ext uri="{FF2B5EF4-FFF2-40B4-BE49-F238E27FC236}">
                    <a16:creationId xmlns:a16="http://schemas.microsoft.com/office/drawing/2014/main" id="{D89880E6-54CC-6C81-2FF9-CD4266567ADF}"/>
                  </a:ext>
                </a:extLst>
              </p:cNvPr>
              <p:cNvSpPr/>
              <p:nvPr/>
            </p:nvSpPr>
            <p:spPr>
              <a:xfrm>
                <a:off x="5322227" y="4964294"/>
                <a:ext cx="328333" cy="68916"/>
              </a:xfrm>
              <a:custGeom>
                <a:avLst/>
                <a:gdLst/>
                <a:ahLst/>
                <a:cxnLst/>
                <a:rect l="l" t="t" r="r" b="b"/>
                <a:pathLst>
                  <a:path w="372110" h="78104">
                    <a:moveTo>
                      <a:pt x="0" y="0"/>
                    </a:moveTo>
                    <a:lnTo>
                      <a:pt x="0" y="77724"/>
                    </a:lnTo>
                    <a:lnTo>
                      <a:pt x="371855" y="77724"/>
                    </a:lnTo>
                    <a:lnTo>
                      <a:pt x="37185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7" name="object 635">
                <a:extLst>
                  <a:ext uri="{FF2B5EF4-FFF2-40B4-BE49-F238E27FC236}">
                    <a16:creationId xmlns:a16="http://schemas.microsoft.com/office/drawing/2014/main" id="{C3A6D078-6875-1BA9-18B4-38A1F16AF518}"/>
                  </a:ext>
                </a:extLst>
              </p:cNvPr>
              <p:cNvSpPr/>
              <p:nvPr/>
            </p:nvSpPr>
            <p:spPr>
              <a:xfrm>
                <a:off x="5310125" y="5043631"/>
                <a:ext cx="330798" cy="71268"/>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8" name="object 636">
                <a:extLst>
                  <a:ext uri="{FF2B5EF4-FFF2-40B4-BE49-F238E27FC236}">
                    <a16:creationId xmlns:a16="http://schemas.microsoft.com/office/drawing/2014/main" id="{BDA1DBE2-79D0-BE93-963F-9EBF51181BC1}"/>
                  </a:ext>
                </a:extLst>
              </p:cNvPr>
              <p:cNvSpPr/>
              <p:nvPr/>
            </p:nvSpPr>
            <p:spPr>
              <a:xfrm>
                <a:off x="5331641" y="506514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69" name="object 637">
                <a:extLst>
                  <a:ext uri="{FF2B5EF4-FFF2-40B4-BE49-F238E27FC236}">
                    <a16:creationId xmlns:a16="http://schemas.microsoft.com/office/drawing/2014/main" id="{9CB6FD4B-8108-A494-79FF-5AA24CCCDA48}"/>
                  </a:ext>
                </a:extLst>
              </p:cNvPr>
              <p:cNvSpPr/>
              <p:nvPr/>
            </p:nvSpPr>
            <p:spPr>
              <a:xfrm>
                <a:off x="5322227" y="5055734"/>
                <a:ext cx="328333" cy="68916"/>
              </a:xfrm>
              <a:custGeom>
                <a:avLst/>
                <a:gdLst/>
                <a:ahLst/>
                <a:cxnLst/>
                <a:rect l="l" t="t" r="r" b="b"/>
                <a:pathLst>
                  <a:path w="372110" h="78104">
                    <a:moveTo>
                      <a:pt x="0" y="0"/>
                    </a:moveTo>
                    <a:lnTo>
                      <a:pt x="0" y="77724"/>
                    </a:lnTo>
                    <a:lnTo>
                      <a:pt x="371855" y="77724"/>
                    </a:lnTo>
                    <a:lnTo>
                      <a:pt x="37185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0" name="object 638">
                <a:extLst>
                  <a:ext uri="{FF2B5EF4-FFF2-40B4-BE49-F238E27FC236}">
                    <a16:creationId xmlns:a16="http://schemas.microsoft.com/office/drawing/2014/main" id="{466EE18C-AF63-F01A-EEC8-E97B3993F105}"/>
                  </a:ext>
                </a:extLst>
              </p:cNvPr>
              <p:cNvSpPr/>
              <p:nvPr/>
            </p:nvSpPr>
            <p:spPr>
              <a:xfrm>
                <a:off x="4542298" y="5114900"/>
                <a:ext cx="12102" cy="59167"/>
              </a:xfrm>
              <a:prstGeom prst="rect">
                <a:avLst/>
              </a:prstGeom>
              <a:blipFill>
                <a:blip r:embed="rId4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1" name="object 639">
                <a:extLst>
                  <a:ext uri="{FF2B5EF4-FFF2-40B4-BE49-F238E27FC236}">
                    <a16:creationId xmlns:a16="http://schemas.microsoft.com/office/drawing/2014/main" id="{8B3EF8C0-E5B0-7A2D-E5FE-F5D8B20B3CDA}"/>
                  </a:ext>
                </a:extLst>
              </p:cNvPr>
              <p:cNvSpPr/>
              <p:nvPr/>
            </p:nvSpPr>
            <p:spPr>
              <a:xfrm>
                <a:off x="4542298" y="5023460"/>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2" name="object 640">
                <a:extLst>
                  <a:ext uri="{FF2B5EF4-FFF2-40B4-BE49-F238E27FC236}">
                    <a16:creationId xmlns:a16="http://schemas.microsoft.com/office/drawing/2014/main" id="{7CFFE2FC-848F-4A54-2430-ADDEE1D0D28B}"/>
                  </a:ext>
                </a:extLst>
              </p:cNvPr>
              <p:cNvSpPr/>
              <p:nvPr/>
            </p:nvSpPr>
            <p:spPr>
              <a:xfrm>
                <a:off x="4542298" y="493202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3" name="object 641">
                <a:extLst>
                  <a:ext uri="{FF2B5EF4-FFF2-40B4-BE49-F238E27FC236}">
                    <a16:creationId xmlns:a16="http://schemas.microsoft.com/office/drawing/2014/main" id="{23200863-1409-32D9-26F8-15A55E722C59}"/>
                  </a:ext>
                </a:extLst>
              </p:cNvPr>
              <p:cNvSpPr/>
              <p:nvPr/>
            </p:nvSpPr>
            <p:spPr>
              <a:xfrm>
                <a:off x="4542298" y="4675181"/>
                <a:ext cx="350968" cy="185570"/>
              </a:xfrm>
              <a:prstGeom prst="rect">
                <a:avLst/>
              </a:prstGeom>
              <a:blipFill>
                <a:blip r:embed="rId4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4" name="object 642">
                <a:extLst>
                  <a:ext uri="{FF2B5EF4-FFF2-40B4-BE49-F238E27FC236}">
                    <a16:creationId xmlns:a16="http://schemas.microsoft.com/office/drawing/2014/main" id="{21797B71-995A-8034-4662-59E80D7C45D7}"/>
                  </a:ext>
                </a:extLst>
              </p:cNvPr>
              <p:cNvSpPr/>
              <p:nvPr/>
            </p:nvSpPr>
            <p:spPr>
              <a:xfrm>
                <a:off x="4563814" y="4696697"/>
                <a:ext cx="350968" cy="498886"/>
              </a:xfrm>
              <a:prstGeom prst="rect">
                <a:avLst/>
              </a:prstGeom>
              <a:blipFill>
                <a:blip r:embed="rId4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5" name="object 643">
                <a:extLst>
                  <a:ext uri="{FF2B5EF4-FFF2-40B4-BE49-F238E27FC236}">
                    <a16:creationId xmlns:a16="http://schemas.microsoft.com/office/drawing/2014/main" id="{92D36254-5F63-EA9B-0780-47672103FF99}"/>
                  </a:ext>
                </a:extLst>
              </p:cNvPr>
              <p:cNvSpPr/>
              <p:nvPr/>
            </p:nvSpPr>
            <p:spPr>
              <a:xfrm>
                <a:off x="4554401" y="4687284"/>
                <a:ext cx="348503" cy="496421"/>
              </a:xfrm>
              <a:custGeom>
                <a:avLst/>
                <a:gdLst/>
                <a:ahLst/>
                <a:cxnLst/>
                <a:rect l="l" t="t" r="r" b="b"/>
                <a:pathLst>
                  <a:path w="394970" h="562610">
                    <a:moveTo>
                      <a:pt x="0" y="0"/>
                    </a:moveTo>
                    <a:lnTo>
                      <a:pt x="0" y="562355"/>
                    </a:lnTo>
                    <a:lnTo>
                      <a:pt x="394715" y="562355"/>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6" name="object 644">
                <a:extLst>
                  <a:ext uri="{FF2B5EF4-FFF2-40B4-BE49-F238E27FC236}">
                    <a16:creationId xmlns:a16="http://schemas.microsoft.com/office/drawing/2014/main" id="{B45F0250-7519-5334-0C94-013374905CF5}"/>
                  </a:ext>
                </a:extLst>
              </p:cNvPr>
              <p:cNvSpPr/>
              <p:nvPr/>
            </p:nvSpPr>
            <p:spPr>
              <a:xfrm>
                <a:off x="4540954" y="4860751"/>
                <a:ext cx="330797" cy="71268"/>
              </a:xfrm>
              <a:prstGeom prst="rect">
                <a:avLst/>
              </a:prstGeom>
              <a:blipFill>
                <a:blip r:embed="rId4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7" name="object 645">
                <a:extLst>
                  <a:ext uri="{FF2B5EF4-FFF2-40B4-BE49-F238E27FC236}">
                    <a16:creationId xmlns:a16="http://schemas.microsoft.com/office/drawing/2014/main" id="{56C11969-CD16-6DE1-CE82-62FDEDCC9609}"/>
                  </a:ext>
                </a:extLst>
              </p:cNvPr>
              <p:cNvSpPr/>
              <p:nvPr/>
            </p:nvSpPr>
            <p:spPr>
              <a:xfrm>
                <a:off x="4562470" y="488226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8" name="object 646">
                <a:extLst>
                  <a:ext uri="{FF2B5EF4-FFF2-40B4-BE49-F238E27FC236}">
                    <a16:creationId xmlns:a16="http://schemas.microsoft.com/office/drawing/2014/main" id="{E9FA18B4-1786-E8FC-B8DF-41AC6C8580CE}"/>
                  </a:ext>
                </a:extLst>
              </p:cNvPr>
              <p:cNvSpPr/>
              <p:nvPr/>
            </p:nvSpPr>
            <p:spPr>
              <a:xfrm>
                <a:off x="4553056" y="4872853"/>
                <a:ext cx="328333" cy="68916"/>
              </a:xfrm>
              <a:custGeom>
                <a:avLst/>
                <a:gdLst/>
                <a:ahLst/>
                <a:cxnLst/>
                <a:rect l="l" t="t" r="r" b="b"/>
                <a:pathLst>
                  <a:path w="372110" h="78104">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79" name="object 647">
                <a:extLst>
                  <a:ext uri="{FF2B5EF4-FFF2-40B4-BE49-F238E27FC236}">
                    <a16:creationId xmlns:a16="http://schemas.microsoft.com/office/drawing/2014/main" id="{9E194953-0B7B-9EB3-7CD3-DAE9FB95128B}"/>
                  </a:ext>
                </a:extLst>
              </p:cNvPr>
              <p:cNvSpPr/>
              <p:nvPr/>
            </p:nvSpPr>
            <p:spPr>
              <a:xfrm>
                <a:off x="4540954" y="4952191"/>
                <a:ext cx="330797"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0" name="object 648">
                <a:extLst>
                  <a:ext uri="{FF2B5EF4-FFF2-40B4-BE49-F238E27FC236}">
                    <a16:creationId xmlns:a16="http://schemas.microsoft.com/office/drawing/2014/main" id="{6367B60F-BE35-E2F0-399A-3900A773322A}"/>
                  </a:ext>
                </a:extLst>
              </p:cNvPr>
              <p:cNvSpPr/>
              <p:nvPr/>
            </p:nvSpPr>
            <p:spPr>
              <a:xfrm>
                <a:off x="4562470" y="497370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1" name="object 649">
                <a:extLst>
                  <a:ext uri="{FF2B5EF4-FFF2-40B4-BE49-F238E27FC236}">
                    <a16:creationId xmlns:a16="http://schemas.microsoft.com/office/drawing/2014/main" id="{9612AD98-7F0D-3C2D-C5F8-077A4547809B}"/>
                  </a:ext>
                </a:extLst>
              </p:cNvPr>
              <p:cNvSpPr/>
              <p:nvPr/>
            </p:nvSpPr>
            <p:spPr>
              <a:xfrm>
                <a:off x="4553056" y="4964294"/>
                <a:ext cx="328333" cy="68916"/>
              </a:xfrm>
              <a:custGeom>
                <a:avLst/>
                <a:gdLst/>
                <a:ahLst/>
                <a:cxnLst/>
                <a:rect l="l" t="t" r="r" b="b"/>
                <a:pathLst>
                  <a:path w="372110" h="78104">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2" name="object 650">
                <a:extLst>
                  <a:ext uri="{FF2B5EF4-FFF2-40B4-BE49-F238E27FC236}">
                    <a16:creationId xmlns:a16="http://schemas.microsoft.com/office/drawing/2014/main" id="{6B77FB78-075C-89C6-7DFB-86DF44B2759C}"/>
                  </a:ext>
                </a:extLst>
              </p:cNvPr>
              <p:cNvSpPr/>
              <p:nvPr/>
            </p:nvSpPr>
            <p:spPr>
              <a:xfrm>
                <a:off x="4540954" y="5043631"/>
                <a:ext cx="330797" cy="71268"/>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3" name="object 651">
                <a:extLst>
                  <a:ext uri="{FF2B5EF4-FFF2-40B4-BE49-F238E27FC236}">
                    <a16:creationId xmlns:a16="http://schemas.microsoft.com/office/drawing/2014/main" id="{C429971E-84A7-5B24-4037-54B7953DCC17}"/>
                  </a:ext>
                </a:extLst>
              </p:cNvPr>
              <p:cNvSpPr/>
              <p:nvPr/>
            </p:nvSpPr>
            <p:spPr>
              <a:xfrm>
                <a:off x="4562470" y="506514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4" name="object 652">
                <a:extLst>
                  <a:ext uri="{FF2B5EF4-FFF2-40B4-BE49-F238E27FC236}">
                    <a16:creationId xmlns:a16="http://schemas.microsoft.com/office/drawing/2014/main" id="{331A4585-AE46-445E-25D2-4D3375E5ED28}"/>
                  </a:ext>
                </a:extLst>
              </p:cNvPr>
              <p:cNvSpPr/>
              <p:nvPr/>
            </p:nvSpPr>
            <p:spPr>
              <a:xfrm>
                <a:off x="4553056" y="5055734"/>
                <a:ext cx="328333" cy="68916"/>
              </a:xfrm>
              <a:custGeom>
                <a:avLst/>
                <a:gdLst/>
                <a:ahLst/>
                <a:cxnLst/>
                <a:rect l="l" t="t" r="r" b="b"/>
                <a:pathLst>
                  <a:path w="372110" h="78104">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5" name="object 653">
                <a:extLst>
                  <a:ext uri="{FF2B5EF4-FFF2-40B4-BE49-F238E27FC236}">
                    <a16:creationId xmlns:a16="http://schemas.microsoft.com/office/drawing/2014/main" id="{A2F7834D-F724-7625-2C79-3E41A5F757F7}"/>
                  </a:ext>
                </a:extLst>
              </p:cNvPr>
              <p:cNvSpPr/>
              <p:nvPr/>
            </p:nvSpPr>
            <p:spPr>
              <a:xfrm>
                <a:off x="4926885" y="5114900"/>
                <a:ext cx="12102" cy="59167"/>
              </a:xfrm>
              <a:prstGeom prst="rect">
                <a:avLst/>
              </a:prstGeom>
              <a:blipFill>
                <a:blip r:embed="rId4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6" name="object 654">
                <a:extLst>
                  <a:ext uri="{FF2B5EF4-FFF2-40B4-BE49-F238E27FC236}">
                    <a16:creationId xmlns:a16="http://schemas.microsoft.com/office/drawing/2014/main" id="{A841DB84-26F4-5ABE-1E1A-B1B263666143}"/>
                  </a:ext>
                </a:extLst>
              </p:cNvPr>
              <p:cNvSpPr/>
              <p:nvPr/>
            </p:nvSpPr>
            <p:spPr>
              <a:xfrm>
                <a:off x="4926885" y="5023460"/>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7" name="object 655">
                <a:extLst>
                  <a:ext uri="{FF2B5EF4-FFF2-40B4-BE49-F238E27FC236}">
                    <a16:creationId xmlns:a16="http://schemas.microsoft.com/office/drawing/2014/main" id="{3B71F1AD-DF85-0F42-4572-91F667F4256C}"/>
                  </a:ext>
                </a:extLst>
              </p:cNvPr>
              <p:cNvSpPr/>
              <p:nvPr/>
            </p:nvSpPr>
            <p:spPr>
              <a:xfrm>
                <a:off x="4926885" y="493202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8" name="object 656">
                <a:extLst>
                  <a:ext uri="{FF2B5EF4-FFF2-40B4-BE49-F238E27FC236}">
                    <a16:creationId xmlns:a16="http://schemas.microsoft.com/office/drawing/2014/main" id="{D4F20C41-CBA5-7CA0-9598-197393FD9233}"/>
                  </a:ext>
                </a:extLst>
              </p:cNvPr>
              <p:cNvSpPr/>
              <p:nvPr/>
            </p:nvSpPr>
            <p:spPr>
              <a:xfrm>
                <a:off x="4926885" y="4675181"/>
                <a:ext cx="352313" cy="185570"/>
              </a:xfrm>
              <a:prstGeom prst="rect">
                <a:avLst/>
              </a:prstGeom>
              <a:blipFill>
                <a:blip r:embed="rId4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89" name="object 657">
                <a:extLst>
                  <a:ext uri="{FF2B5EF4-FFF2-40B4-BE49-F238E27FC236}">
                    <a16:creationId xmlns:a16="http://schemas.microsoft.com/office/drawing/2014/main" id="{D8E73327-8D0F-18C6-0FDA-93EA9EB6EE9F}"/>
                  </a:ext>
                </a:extLst>
              </p:cNvPr>
              <p:cNvSpPr/>
              <p:nvPr/>
            </p:nvSpPr>
            <p:spPr>
              <a:xfrm>
                <a:off x="4948399" y="4696697"/>
                <a:ext cx="352313" cy="498886"/>
              </a:xfrm>
              <a:prstGeom prst="rect">
                <a:avLst/>
              </a:prstGeom>
              <a:blipFill>
                <a:blip r:embed="rId4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0" name="object 658">
                <a:extLst>
                  <a:ext uri="{FF2B5EF4-FFF2-40B4-BE49-F238E27FC236}">
                    <a16:creationId xmlns:a16="http://schemas.microsoft.com/office/drawing/2014/main" id="{62E3497C-AACA-DA63-6F11-1D5FC766BB64}"/>
                  </a:ext>
                </a:extLst>
              </p:cNvPr>
              <p:cNvSpPr/>
              <p:nvPr/>
            </p:nvSpPr>
            <p:spPr>
              <a:xfrm>
                <a:off x="4938986" y="4687284"/>
                <a:ext cx="349623" cy="496421"/>
              </a:xfrm>
              <a:custGeom>
                <a:avLst/>
                <a:gdLst/>
                <a:ahLst/>
                <a:cxnLst/>
                <a:rect l="l" t="t" r="r" b="b"/>
                <a:pathLst>
                  <a:path w="396239" h="562610">
                    <a:moveTo>
                      <a:pt x="0" y="0"/>
                    </a:moveTo>
                    <a:lnTo>
                      <a:pt x="0" y="562355"/>
                    </a:lnTo>
                    <a:lnTo>
                      <a:pt x="396239" y="562355"/>
                    </a:lnTo>
                    <a:lnTo>
                      <a:pt x="39623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1" name="object 659">
                <a:extLst>
                  <a:ext uri="{FF2B5EF4-FFF2-40B4-BE49-F238E27FC236}">
                    <a16:creationId xmlns:a16="http://schemas.microsoft.com/office/drawing/2014/main" id="{8521C92B-4428-7C3E-F508-874F00D97646}"/>
                  </a:ext>
                </a:extLst>
              </p:cNvPr>
              <p:cNvSpPr/>
              <p:nvPr/>
            </p:nvSpPr>
            <p:spPr>
              <a:xfrm>
                <a:off x="4925539" y="4860751"/>
                <a:ext cx="330798" cy="71268"/>
              </a:xfrm>
              <a:prstGeom prst="rect">
                <a:avLst/>
              </a:prstGeom>
              <a:blipFill>
                <a:blip r:embed="rId4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2" name="object 660">
                <a:extLst>
                  <a:ext uri="{FF2B5EF4-FFF2-40B4-BE49-F238E27FC236}">
                    <a16:creationId xmlns:a16="http://schemas.microsoft.com/office/drawing/2014/main" id="{ACEB933F-2A91-C59C-31D7-AEF93BEC5A65}"/>
                  </a:ext>
                </a:extLst>
              </p:cNvPr>
              <p:cNvSpPr/>
              <p:nvPr/>
            </p:nvSpPr>
            <p:spPr>
              <a:xfrm>
                <a:off x="4947056" y="488226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3" name="object 661">
                <a:extLst>
                  <a:ext uri="{FF2B5EF4-FFF2-40B4-BE49-F238E27FC236}">
                    <a16:creationId xmlns:a16="http://schemas.microsoft.com/office/drawing/2014/main" id="{B3B5BA76-4901-EE0B-E7DB-16520FA30435}"/>
                  </a:ext>
                </a:extLst>
              </p:cNvPr>
              <p:cNvSpPr/>
              <p:nvPr/>
            </p:nvSpPr>
            <p:spPr>
              <a:xfrm>
                <a:off x="4937642" y="4872853"/>
                <a:ext cx="328333" cy="68916"/>
              </a:xfrm>
              <a:custGeom>
                <a:avLst/>
                <a:gdLst/>
                <a:ahLst/>
                <a:cxnLst/>
                <a:rect l="l" t="t" r="r" b="b"/>
                <a:pathLst>
                  <a:path w="372110" h="78104">
                    <a:moveTo>
                      <a:pt x="0" y="0"/>
                    </a:moveTo>
                    <a:lnTo>
                      <a:pt x="0" y="77724"/>
                    </a:lnTo>
                    <a:lnTo>
                      <a:pt x="371855" y="77724"/>
                    </a:lnTo>
                    <a:lnTo>
                      <a:pt x="37185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4" name="object 662">
                <a:extLst>
                  <a:ext uri="{FF2B5EF4-FFF2-40B4-BE49-F238E27FC236}">
                    <a16:creationId xmlns:a16="http://schemas.microsoft.com/office/drawing/2014/main" id="{DFE79390-7A80-0BF7-2731-BF99D25B9F44}"/>
                  </a:ext>
                </a:extLst>
              </p:cNvPr>
              <p:cNvSpPr/>
              <p:nvPr/>
            </p:nvSpPr>
            <p:spPr>
              <a:xfrm>
                <a:off x="4925539" y="4952191"/>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5" name="object 663">
                <a:extLst>
                  <a:ext uri="{FF2B5EF4-FFF2-40B4-BE49-F238E27FC236}">
                    <a16:creationId xmlns:a16="http://schemas.microsoft.com/office/drawing/2014/main" id="{E7493395-0C71-AC0D-C3B5-F4F48107B07A}"/>
                  </a:ext>
                </a:extLst>
              </p:cNvPr>
              <p:cNvSpPr/>
              <p:nvPr/>
            </p:nvSpPr>
            <p:spPr>
              <a:xfrm>
                <a:off x="4947056" y="497370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6" name="object 664">
                <a:extLst>
                  <a:ext uri="{FF2B5EF4-FFF2-40B4-BE49-F238E27FC236}">
                    <a16:creationId xmlns:a16="http://schemas.microsoft.com/office/drawing/2014/main" id="{E9396584-1A84-0A99-FEFE-A508DE9A33F2}"/>
                  </a:ext>
                </a:extLst>
              </p:cNvPr>
              <p:cNvSpPr/>
              <p:nvPr/>
            </p:nvSpPr>
            <p:spPr>
              <a:xfrm>
                <a:off x="4937642" y="4964294"/>
                <a:ext cx="328333" cy="68916"/>
              </a:xfrm>
              <a:custGeom>
                <a:avLst/>
                <a:gdLst/>
                <a:ahLst/>
                <a:cxnLst/>
                <a:rect l="l" t="t" r="r" b="b"/>
                <a:pathLst>
                  <a:path w="372110" h="78104">
                    <a:moveTo>
                      <a:pt x="0" y="0"/>
                    </a:moveTo>
                    <a:lnTo>
                      <a:pt x="0" y="77724"/>
                    </a:lnTo>
                    <a:lnTo>
                      <a:pt x="371855" y="77724"/>
                    </a:lnTo>
                    <a:lnTo>
                      <a:pt x="37185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7" name="object 665">
                <a:extLst>
                  <a:ext uri="{FF2B5EF4-FFF2-40B4-BE49-F238E27FC236}">
                    <a16:creationId xmlns:a16="http://schemas.microsoft.com/office/drawing/2014/main" id="{73E5A8A8-9EAB-E000-DD14-7875963983A8}"/>
                  </a:ext>
                </a:extLst>
              </p:cNvPr>
              <p:cNvSpPr/>
              <p:nvPr/>
            </p:nvSpPr>
            <p:spPr>
              <a:xfrm>
                <a:off x="4925539" y="5043631"/>
                <a:ext cx="330798" cy="71268"/>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8" name="object 666">
                <a:extLst>
                  <a:ext uri="{FF2B5EF4-FFF2-40B4-BE49-F238E27FC236}">
                    <a16:creationId xmlns:a16="http://schemas.microsoft.com/office/drawing/2014/main" id="{6EF11F58-C8D2-059C-CCD8-D09DABA9B791}"/>
                  </a:ext>
                </a:extLst>
              </p:cNvPr>
              <p:cNvSpPr/>
              <p:nvPr/>
            </p:nvSpPr>
            <p:spPr>
              <a:xfrm>
                <a:off x="4947056" y="5065146"/>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999" name="object 667">
                <a:extLst>
                  <a:ext uri="{FF2B5EF4-FFF2-40B4-BE49-F238E27FC236}">
                    <a16:creationId xmlns:a16="http://schemas.microsoft.com/office/drawing/2014/main" id="{49C31DA4-8E54-FE32-B53B-BAA1C2474658}"/>
                  </a:ext>
                </a:extLst>
              </p:cNvPr>
              <p:cNvSpPr/>
              <p:nvPr/>
            </p:nvSpPr>
            <p:spPr>
              <a:xfrm>
                <a:off x="4937642" y="5055734"/>
                <a:ext cx="328333" cy="68916"/>
              </a:xfrm>
              <a:custGeom>
                <a:avLst/>
                <a:gdLst/>
                <a:ahLst/>
                <a:cxnLst/>
                <a:rect l="l" t="t" r="r" b="b"/>
                <a:pathLst>
                  <a:path w="372110" h="78104">
                    <a:moveTo>
                      <a:pt x="0" y="0"/>
                    </a:moveTo>
                    <a:lnTo>
                      <a:pt x="0" y="77724"/>
                    </a:lnTo>
                    <a:lnTo>
                      <a:pt x="371855" y="77724"/>
                    </a:lnTo>
                    <a:lnTo>
                      <a:pt x="37185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0" name="object 267">
                <a:extLst>
                  <a:ext uri="{FF2B5EF4-FFF2-40B4-BE49-F238E27FC236}">
                    <a16:creationId xmlns:a16="http://schemas.microsoft.com/office/drawing/2014/main" id="{9D5F31C4-3EB5-CAF0-0FEE-FA5559F1DCDE}"/>
                  </a:ext>
                </a:extLst>
              </p:cNvPr>
              <p:cNvSpPr/>
              <p:nvPr/>
            </p:nvSpPr>
            <p:spPr>
              <a:xfrm>
                <a:off x="4155120" y="5198916"/>
                <a:ext cx="1551791" cy="396699"/>
              </a:xfrm>
              <a:prstGeom prst="rect">
                <a:avLst/>
              </a:prstGeom>
              <a:blipFill>
                <a:blip r:embed="rId4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1" name="object 268">
                <a:extLst>
                  <a:ext uri="{FF2B5EF4-FFF2-40B4-BE49-F238E27FC236}">
                    <a16:creationId xmlns:a16="http://schemas.microsoft.com/office/drawing/2014/main" id="{F1D7ACEA-00DC-691A-F797-F8F43D461915}"/>
                  </a:ext>
                </a:extLst>
              </p:cNvPr>
              <p:cNvSpPr/>
              <p:nvPr/>
            </p:nvSpPr>
            <p:spPr>
              <a:xfrm>
                <a:off x="4176635" y="5220431"/>
                <a:ext cx="1551791" cy="396699"/>
              </a:xfrm>
              <a:prstGeom prst="rect">
                <a:avLst/>
              </a:prstGeom>
              <a:blipFill>
                <a:blip r:embed="rId5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2" name="object 269">
                <a:extLst>
                  <a:ext uri="{FF2B5EF4-FFF2-40B4-BE49-F238E27FC236}">
                    <a16:creationId xmlns:a16="http://schemas.microsoft.com/office/drawing/2014/main" id="{B742E3B9-5375-885B-AAC8-63B6E8B41FCD}"/>
                  </a:ext>
                </a:extLst>
              </p:cNvPr>
              <p:cNvSpPr/>
              <p:nvPr/>
            </p:nvSpPr>
            <p:spPr>
              <a:xfrm>
                <a:off x="4167222" y="5211018"/>
                <a:ext cx="1549213" cy="394447"/>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62B5E5">
                  <a:lumMod val="40000"/>
                  <a:lumOff val="6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3" name="object 270">
                <a:extLst>
                  <a:ext uri="{FF2B5EF4-FFF2-40B4-BE49-F238E27FC236}">
                    <a16:creationId xmlns:a16="http://schemas.microsoft.com/office/drawing/2014/main" id="{762685C7-35A5-1781-1319-71F5AC9E0D28}"/>
                  </a:ext>
                </a:extLst>
              </p:cNvPr>
              <p:cNvSpPr/>
              <p:nvPr/>
            </p:nvSpPr>
            <p:spPr>
              <a:xfrm>
                <a:off x="4328587" y="5231189"/>
                <a:ext cx="1331259" cy="98163"/>
              </a:xfrm>
              <a:prstGeom prst="rect">
                <a:avLst/>
              </a:prstGeom>
              <a:blipFill>
                <a:blip r:embed="rId5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4" name="object 271">
                <a:extLst>
                  <a:ext uri="{FF2B5EF4-FFF2-40B4-BE49-F238E27FC236}">
                    <a16:creationId xmlns:a16="http://schemas.microsoft.com/office/drawing/2014/main" id="{F985EE03-954A-F3DC-3A8A-0C76B7EBF8E8}"/>
                  </a:ext>
                </a:extLst>
              </p:cNvPr>
              <p:cNvSpPr/>
              <p:nvPr/>
            </p:nvSpPr>
            <p:spPr>
              <a:xfrm>
                <a:off x="4350102" y="5252703"/>
                <a:ext cx="1331259" cy="98163"/>
              </a:xfrm>
              <a:prstGeom prst="rect">
                <a:avLst/>
              </a:prstGeom>
              <a:blipFill>
                <a:blip r:embed="rId5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5" name="object 272">
                <a:extLst>
                  <a:ext uri="{FF2B5EF4-FFF2-40B4-BE49-F238E27FC236}">
                    <a16:creationId xmlns:a16="http://schemas.microsoft.com/office/drawing/2014/main" id="{470CD282-7FC7-7891-8421-102904B31E6E}"/>
                  </a:ext>
                </a:extLst>
              </p:cNvPr>
              <p:cNvSpPr/>
              <p:nvPr/>
            </p:nvSpPr>
            <p:spPr>
              <a:xfrm>
                <a:off x="4350102" y="5252703"/>
                <a:ext cx="1309744" cy="76648"/>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6" name="object 273">
                <a:extLst>
                  <a:ext uri="{FF2B5EF4-FFF2-40B4-BE49-F238E27FC236}">
                    <a16:creationId xmlns:a16="http://schemas.microsoft.com/office/drawing/2014/main" id="{E01B396E-DBB0-2C75-E359-9F6483AADF4B}"/>
                  </a:ext>
                </a:extLst>
              </p:cNvPr>
              <p:cNvSpPr/>
              <p:nvPr/>
            </p:nvSpPr>
            <p:spPr>
              <a:xfrm>
                <a:off x="4340689" y="5243290"/>
                <a:ext cx="1329018" cy="95810"/>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7" name="object 274">
                <a:extLst>
                  <a:ext uri="{FF2B5EF4-FFF2-40B4-BE49-F238E27FC236}">
                    <a16:creationId xmlns:a16="http://schemas.microsoft.com/office/drawing/2014/main" id="{743C6146-F09B-0903-5E78-882D6979CCEF}"/>
                  </a:ext>
                </a:extLst>
              </p:cNvPr>
              <p:cNvSpPr/>
              <p:nvPr/>
            </p:nvSpPr>
            <p:spPr>
              <a:xfrm>
                <a:off x="4328587" y="5358935"/>
                <a:ext cx="1331259" cy="95475"/>
              </a:xfrm>
              <a:prstGeom prst="rect">
                <a:avLst/>
              </a:prstGeom>
              <a:blipFill>
                <a:blip r:embed="rId5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8" name="object 275">
                <a:extLst>
                  <a:ext uri="{FF2B5EF4-FFF2-40B4-BE49-F238E27FC236}">
                    <a16:creationId xmlns:a16="http://schemas.microsoft.com/office/drawing/2014/main" id="{2C77956C-7A38-8398-C0AE-87865F05B529}"/>
                  </a:ext>
                </a:extLst>
              </p:cNvPr>
              <p:cNvSpPr/>
              <p:nvPr/>
            </p:nvSpPr>
            <p:spPr>
              <a:xfrm>
                <a:off x="4350102" y="5380451"/>
                <a:ext cx="1331259" cy="95485"/>
              </a:xfrm>
              <a:prstGeom prst="rect">
                <a:avLst/>
              </a:prstGeom>
              <a:blipFill>
                <a:blip r:embed="rId5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09" name="object 276">
                <a:extLst>
                  <a:ext uri="{FF2B5EF4-FFF2-40B4-BE49-F238E27FC236}">
                    <a16:creationId xmlns:a16="http://schemas.microsoft.com/office/drawing/2014/main" id="{D4C88F17-383A-D4F0-7BC2-0B6207E4D1DC}"/>
                  </a:ext>
                </a:extLst>
              </p:cNvPr>
              <p:cNvSpPr/>
              <p:nvPr/>
            </p:nvSpPr>
            <p:spPr>
              <a:xfrm>
                <a:off x="4350102" y="5380451"/>
                <a:ext cx="1309744" cy="73959"/>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10" name="object 277">
                <a:extLst>
                  <a:ext uri="{FF2B5EF4-FFF2-40B4-BE49-F238E27FC236}">
                    <a16:creationId xmlns:a16="http://schemas.microsoft.com/office/drawing/2014/main" id="{C425DCC7-3741-AB9E-A58C-0E94506E5DAF}"/>
                  </a:ext>
                </a:extLst>
              </p:cNvPr>
              <p:cNvSpPr/>
              <p:nvPr/>
            </p:nvSpPr>
            <p:spPr>
              <a:xfrm>
                <a:off x="4340689" y="5371038"/>
                <a:ext cx="1329018" cy="93009"/>
              </a:xfrm>
              <a:custGeom>
                <a:avLst/>
                <a:gdLst/>
                <a:ahLst/>
                <a:cxnLst/>
                <a:rect l="l" t="t" r="r" b="b"/>
                <a:pathLst>
                  <a:path w="1506220" h="105410">
                    <a:moveTo>
                      <a:pt x="0" y="0"/>
                    </a:moveTo>
                    <a:lnTo>
                      <a:pt x="0" y="105155"/>
                    </a:lnTo>
                    <a:lnTo>
                      <a:pt x="1505712" y="105155"/>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11" name="object 278">
                <a:extLst>
                  <a:ext uri="{FF2B5EF4-FFF2-40B4-BE49-F238E27FC236}">
                    <a16:creationId xmlns:a16="http://schemas.microsoft.com/office/drawing/2014/main" id="{F0C421DB-2F07-9636-675A-699A141A39DC}"/>
                  </a:ext>
                </a:extLst>
              </p:cNvPr>
              <p:cNvSpPr/>
              <p:nvPr/>
            </p:nvSpPr>
            <p:spPr>
              <a:xfrm>
                <a:off x="4328587" y="5483992"/>
                <a:ext cx="1331259" cy="92796"/>
              </a:xfrm>
              <a:prstGeom prst="rect">
                <a:avLst/>
              </a:prstGeom>
              <a:blipFill>
                <a:blip r:embed="rId5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12" name="object 279">
                <a:extLst>
                  <a:ext uri="{FF2B5EF4-FFF2-40B4-BE49-F238E27FC236}">
                    <a16:creationId xmlns:a16="http://schemas.microsoft.com/office/drawing/2014/main" id="{D2258BB3-D52E-8896-210E-97B5D74221E7}"/>
                  </a:ext>
                </a:extLst>
              </p:cNvPr>
              <p:cNvSpPr/>
              <p:nvPr/>
            </p:nvSpPr>
            <p:spPr>
              <a:xfrm>
                <a:off x="4350102" y="5511269"/>
                <a:ext cx="1331259" cy="92796"/>
              </a:xfrm>
              <a:prstGeom prst="rect">
                <a:avLst/>
              </a:prstGeom>
              <a:blipFill>
                <a:blip r:embed="rId5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13" name="object 280">
                <a:extLst>
                  <a:ext uri="{FF2B5EF4-FFF2-40B4-BE49-F238E27FC236}">
                    <a16:creationId xmlns:a16="http://schemas.microsoft.com/office/drawing/2014/main" id="{7FD2C6D9-0459-5C1B-23BD-FDDA9D23159C}"/>
                  </a:ext>
                </a:extLst>
              </p:cNvPr>
              <p:cNvSpPr/>
              <p:nvPr/>
            </p:nvSpPr>
            <p:spPr>
              <a:xfrm>
                <a:off x="4350102" y="5505509"/>
                <a:ext cx="1309744" cy="71280"/>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14" name="object 281">
                <a:extLst>
                  <a:ext uri="{FF2B5EF4-FFF2-40B4-BE49-F238E27FC236}">
                    <a16:creationId xmlns:a16="http://schemas.microsoft.com/office/drawing/2014/main" id="{DAFF691D-689F-CC57-E9CF-9003615CBD64}"/>
                  </a:ext>
                </a:extLst>
              </p:cNvPr>
              <p:cNvSpPr/>
              <p:nvPr/>
            </p:nvSpPr>
            <p:spPr>
              <a:xfrm>
                <a:off x="4340689" y="5496096"/>
                <a:ext cx="1329018" cy="90207"/>
              </a:xfrm>
              <a:custGeom>
                <a:avLst/>
                <a:gdLst/>
                <a:ahLst/>
                <a:cxnLst/>
                <a:rect l="l" t="t" r="r" b="b"/>
                <a:pathLst>
                  <a:path w="1506220" h="102235">
                    <a:moveTo>
                      <a:pt x="0" y="0"/>
                    </a:moveTo>
                    <a:lnTo>
                      <a:pt x="0" y="102108"/>
                    </a:lnTo>
                    <a:lnTo>
                      <a:pt x="1505712" y="102108"/>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15" name="object 282">
                <a:extLst>
                  <a:ext uri="{FF2B5EF4-FFF2-40B4-BE49-F238E27FC236}">
                    <a16:creationId xmlns:a16="http://schemas.microsoft.com/office/drawing/2014/main" id="{7D8421C0-E122-3278-B504-D845F2CCE116}"/>
                  </a:ext>
                </a:extLst>
              </p:cNvPr>
              <p:cNvSpPr txBox="1"/>
              <p:nvPr/>
            </p:nvSpPr>
            <p:spPr>
              <a:xfrm>
                <a:off x="4167223" y="5213898"/>
                <a:ext cx="228079" cy="93686"/>
              </a:xfrm>
              <a:prstGeom prst="rect">
                <a:avLst/>
              </a:prstGeom>
            </p:spPr>
            <p:txBody>
              <a:bodyPr vert="horz" wrap="square" lIns="0" tIns="2801" rIns="0" bIns="0" rtlCol="0">
                <a:spAutoFit/>
              </a:bodyPr>
              <a:lstStyle/>
              <a:p>
                <a:pPr marL="0" marR="0" lvl="0" indent="0" defTabSz="914400" eaLnBrk="1" fontAlgn="auto" latinLnBrk="0" hangingPunct="1">
                  <a:lnSpc>
                    <a:spcPct val="100000"/>
                  </a:lnSpc>
                  <a:spcBef>
                    <a:spcPts val="22"/>
                  </a:spcBef>
                  <a:spcAft>
                    <a:spcPts val="0"/>
                  </a:spcAft>
                  <a:buClrTx/>
                  <a:buSzTx/>
                  <a:buFontTx/>
                  <a:buNone/>
                  <a:tabLst/>
                  <a:defRPr/>
                </a:pPr>
                <a:endParaRPr kumimoji="0" lang="en-AU" sz="308" b="0" i="0" u="none" strike="noStrike" kern="0" cap="none" spc="0" normalizeH="0" baseline="0" noProof="0" dirty="0">
                  <a:ln>
                    <a:noFill/>
                  </a:ln>
                  <a:solidFill>
                    <a:srgbClr val="000000"/>
                  </a:solidFill>
                  <a:effectLst/>
                  <a:uLnTx/>
                  <a:uFillTx/>
                  <a:latin typeface="Open Sans"/>
                  <a:cs typeface="Times New Roman"/>
                </a:endParaRPr>
              </a:p>
              <a:p>
                <a:pPr marL="128306" marR="0" lvl="0" indent="0" algn="ctr" defTabSz="914400" eaLnBrk="1" fontAlgn="auto" latinLnBrk="0" hangingPunct="1">
                  <a:lnSpc>
                    <a:spcPct val="100000"/>
                  </a:lnSpc>
                  <a:spcBef>
                    <a:spcPts val="0"/>
                  </a:spcBef>
                  <a:spcAft>
                    <a:spcPts val="0"/>
                  </a:spcAft>
                  <a:buClrTx/>
                  <a:buSzTx/>
                  <a:buFontTx/>
                  <a:buNone/>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16" name="object 283">
                <a:extLst>
                  <a:ext uri="{FF2B5EF4-FFF2-40B4-BE49-F238E27FC236}">
                    <a16:creationId xmlns:a16="http://schemas.microsoft.com/office/drawing/2014/main" id="{EE33CBB6-9713-61AF-9FBC-0B42D301A7A4}"/>
                  </a:ext>
                </a:extLst>
              </p:cNvPr>
              <p:cNvSpPr txBox="1"/>
              <p:nvPr/>
            </p:nvSpPr>
            <p:spPr>
              <a:xfrm>
                <a:off x="4195658" y="5203875"/>
                <a:ext cx="41567" cy="361939"/>
              </a:xfrm>
              <a:prstGeom prst="rect">
                <a:avLst/>
              </a:prstGeom>
            </p:spPr>
            <p:txBody>
              <a:bodyPr vert="vert270" wrap="square" lIns="0" tIns="2801" rIns="0" bIns="0" rtlCol="0">
                <a:spAutoFit/>
              </a:bodyPr>
              <a:lstStyle/>
              <a:p>
                <a:pPr marL="11206" marR="0" lvl="0" indent="0" defTabSz="914400" eaLnBrk="1" fontAlgn="auto" latinLnBrk="0" hangingPunct="1">
                  <a:lnSpc>
                    <a:spcPct val="100000"/>
                  </a:lnSpc>
                  <a:spcBef>
                    <a:spcPts val="22"/>
                  </a:spcBef>
                  <a:spcAft>
                    <a:spcPts val="0"/>
                  </a:spcAft>
                  <a:buClrTx/>
                  <a:buSzTx/>
                  <a:buFontTx/>
                  <a:buNone/>
                  <a:tabLst/>
                  <a:defRPr/>
                </a:pPr>
                <a:r>
                  <a:rPr kumimoji="0" lang="en-AU" sz="397" b="0" i="0" u="none" strike="noStrike" kern="0" cap="none" spc="0" normalizeH="0" baseline="0" noProof="0" dirty="0">
                    <a:ln>
                      <a:noFill/>
                    </a:ln>
                    <a:solidFill>
                      <a:srgbClr val="231F20"/>
                    </a:solidFill>
                    <a:effectLst/>
                    <a:uLnTx/>
                    <a:uFillTx/>
                    <a:latin typeface="Open Sans"/>
                    <a:cs typeface="Verdana"/>
                  </a:rPr>
                  <a:t>Sha</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0" normalizeH="0" baseline="0" noProof="0" dirty="0">
                    <a:ln>
                      <a:noFill/>
                    </a:ln>
                    <a:solidFill>
                      <a:srgbClr val="231F20"/>
                    </a:solidFill>
                    <a:effectLst/>
                    <a:uLnTx/>
                    <a:uFillTx/>
                    <a:latin typeface="Open Sans"/>
                    <a:cs typeface="Verdana"/>
                  </a:rPr>
                  <a:t>ed</a:t>
                </a:r>
                <a:r>
                  <a:rPr kumimoji="0" lang="en-AU" sz="397" b="0" i="0" u="none" strike="noStrike" kern="0" cap="none" spc="-22" normalizeH="0" baseline="0" noProof="0" dirty="0">
                    <a:ln>
                      <a:noFill/>
                    </a:ln>
                    <a:solidFill>
                      <a:srgbClr val="231F20"/>
                    </a:solidFill>
                    <a:effectLst/>
                    <a:uLnTx/>
                    <a:uFillTx/>
                    <a:latin typeface="Open Sans"/>
                    <a:cs typeface="Verdana"/>
                  </a:rPr>
                  <a:t> </a:t>
                </a:r>
                <a:r>
                  <a:rPr kumimoji="0" lang="en-AU" sz="397" b="0" i="0" u="none" strike="noStrike" kern="0" cap="none" spc="0" normalizeH="0" baseline="0" noProof="0" dirty="0">
                    <a:ln>
                      <a:noFill/>
                    </a:ln>
                    <a:solidFill>
                      <a:srgbClr val="231F20"/>
                    </a:solidFill>
                    <a:effectLst/>
                    <a:uLnTx/>
                    <a:uFillTx/>
                    <a:latin typeface="Open Sans"/>
                    <a:cs typeface="Verdana"/>
                  </a:rPr>
                  <a:t>Se</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9" normalizeH="0" baseline="0" noProof="0" dirty="0">
                    <a:ln>
                      <a:noFill/>
                    </a:ln>
                    <a:solidFill>
                      <a:srgbClr val="231F20"/>
                    </a:solidFill>
                    <a:effectLst/>
                    <a:uLnTx/>
                    <a:uFillTx/>
                    <a:latin typeface="Open Sans"/>
                    <a:cs typeface="Verdana"/>
                  </a:rPr>
                  <a:t>vi</a:t>
                </a:r>
                <a:r>
                  <a:rPr kumimoji="0" lang="en-AU" sz="397" b="0" i="0" u="none" strike="noStrike" kern="0" cap="none" spc="0" normalizeH="0" baseline="0" noProof="0" dirty="0">
                    <a:ln>
                      <a:noFill/>
                    </a:ln>
                    <a:solidFill>
                      <a:srgbClr val="231F20"/>
                    </a:solidFill>
                    <a:effectLst/>
                    <a:uLnTx/>
                    <a:uFillTx/>
                    <a:latin typeface="Open Sans"/>
                    <a:cs typeface="Verdana"/>
                  </a:rPr>
                  <a:t>ce</a:t>
                </a:r>
                <a:r>
                  <a:rPr kumimoji="0" lang="hu-HU" sz="397" b="0" i="0" u="none" strike="noStrike" kern="0" cap="none" spc="0" normalizeH="0" baseline="0" noProof="0" dirty="0">
                    <a:ln>
                      <a:noFill/>
                    </a:ln>
                    <a:solidFill>
                      <a:srgbClr val="231F20"/>
                    </a:solidFill>
                    <a:effectLst/>
                    <a:uLnTx/>
                    <a:uFillTx/>
                    <a:latin typeface="Open Sans"/>
                    <a:cs typeface="Verdana"/>
                  </a:rPr>
                  <a:t>s</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1017" name="object 293">
                <a:extLst>
                  <a:ext uri="{FF2B5EF4-FFF2-40B4-BE49-F238E27FC236}">
                    <a16:creationId xmlns:a16="http://schemas.microsoft.com/office/drawing/2014/main" id="{D7BDEF56-651C-59A7-7645-F8A1C334A674}"/>
                  </a:ext>
                </a:extLst>
              </p:cNvPr>
              <p:cNvSpPr txBox="1"/>
              <p:nvPr/>
            </p:nvSpPr>
            <p:spPr>
              <a:xfrm>
                <a:off x="4935602" y="5267694"/>
                <a:ext cx="139192" cy="114185"/>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Finance</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18" name="object 293">
                <a:extLst>
                  <a:ext uri="{FF2B5EF4-FFF2-40B4-BE49-F238E27FC236}">
                    <a16:creationId xmlns:a16="http://schemas.microsoft.com/office/drawing/2014/main" id="{3A3BECE0-A9C1-FA24-6CBA-AC66A6D72709}"/>
                  </a:ext>
                </a:extLst>
              </p:cNvPr>
              <p:cNvSpPr txBox="1"/>
              <p:nvPr/>
            </p:nvSpPr>
            <p:spPr>
              <a:xfrm>
                <a:off x="4835428" y="5378453"/>
                <a:ext cx="261097" cy="57092"/>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HR</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19" name="object 293">
                <a:extLst>
                  <a:ext uri="{FF2B5EF4-FFF2-40B4-BE49-F238E27FC236}">
                    <a16:creationId xmlns:a16="http://schemas.microsoft.com/office/drawing/2014/main" id="{1BBF18AE-CC42-8DEF-7B90-4EEF61958624}"/>
                  </a:ext>
                </a:extLst>
              </p:cNvPr>
              <p:cNvSpPr txBox="1"/>
              <p:nvPr/>
            </p:nvSpPr>
            <p:spPr>
              <a:xfrm>
                <a:off x="4835428" y="5508243"/>
                <a:ext cx="261097" cy="57092"/>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I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20" name="object 284">
                <a:extLst>
                  <a:ext uri="{FF2B5EF4-FFF2-40B4-BE49-F238E27FC236}">
                    <a16:creationId xmlns:a16="http://schemas.microsoft.com/office/drawing/2014/main" id="{5E66D3AD-E522-48E2-F328-7F0E4AC66D10}"/>
                  </a:ext>
                </a:extLst>
              </p:cNvPr>
              <p:cNvSpPr/>
              <p:nvPr/>
            </p:nvSpPr>
            <p:spPr>
              <a:xfrm>
                <a:off x="4165949" y="4592453"/>
                <a:ext cx="1532964" cy="73959"/>
              </a:xfrm>
              <a:prstGeom prst="rect">
                <a:avLst/>
              </a:prstGeom>
              <a:blipFill>
                <a:blip r:embed="rId5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21" name="object 285">
                <a:extLst>
                  <a:ext uri="{FF2B5EF4-FFF2-40B4-BE49-F238E27FC236}">
                    <a16:creationId xmlns:a16="http://schemas.microsoft.com/office/drawing/2014/main" id="{0CCC2F9D-9544-9A57-40C2-7578B4585FC3}"/>
                  </a:ext>
                </a:extLst>
              </p:cNvPr>
              <p:cNvSpPr/>
              <p:nvPr/>
            </p:nvSpPr>
            <p:spPr>
              <a:xfrm>
                <a:off x="4178052" y="4629432"/>
                <a:ext cx="1508872" cy="0"/>
              </a:xfrm>
              <a:custGeom>
                <a:avLst/>
                <a:gdLst/>
                <a:ahLst/>
                <a:cxnLst/>
                <a:rect l="l" t="t" r="r" b="b"/>
                <a:pathLst>
                  <a:path w="1710055">
                    <a:moveTo>
                      <a:pt x="0" y="0"/>
                    </a:moveTo>
                    <a:lnTo>
                      <a:pt x="1709927" y="0"/>
                    </a:lnTo>
                  </a:path>
                </a:pathLst>
              </a:custGeom>
              <a:ln w="56387">
                <a:solidFill>
                  <a:srgbClr val="A0DC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22" name="object 371">
                <a:extLst>
                  <a:ext uri="{FF2B5EF4-FFF2-40B4-BE49-F238E27FC236}">
                    <a16:creationId xmlns:a16="http://schemas.microsoft.com/office/drawing/2014/main" id="{CFCBEE91-B96B-8A92-447F-33F417081133}"/>
                  </a:ext>
                </a:extLst>
              </p:cNvPr>
              <p:cNvSpPr txBox="1"/>
              <p:nvPr/>
            </p:nvSpPr>
            <p:spPr>
              <a:xfrm>
                <a:off x="4647795" y="4612274"/>
                <a:ext cx="650501" cy="57092"/>
              </a:xfrm>
              <a:prstGeom prst="rect">
                <a:avLst/>
              </a:prstGeom>
            </p:spPr>
            <p:txBody>
              <a:bodyPr vert="horz" wrap="square" lIns="0" tIns="0" rIns="0" bIns="0" rtlCol="0">
                <a:spAutoFit/>
              </a:bodyPr>
              <a:lstStyle/>
              <a:p>
                <a:pPr marL="3922"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0" normalizeH="0" baseline="0" noProof="0" dirty="0">
                    <a:ln>
                      <a:noFill/>
                    </a:ln>
                    <a:solidFill>
                      <a:srgbClr val="FFFFFF"/>
                    </a:solidFill>
                    <a:effectLst/>
                    <a:uLnTx/>
                    <a:uFillTx/>
                    <a:latin typeface="Open Sans"/>
                    <a:cs typeface="Open Sans" panose="020B0606030504020204" pitchFamily="34" charset="0"/>
                  </a:rPr>
                  <a:t>Managemen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23" name="object 293">
                <a:extLst>
                  <a:ext uri="{FF2B5EF4-FFF2-40B4-BE49-F238E27FC236}">
                    <a16:creationId xmlns:a16="http://schemas.microsoft.com/office/drawing/2014/main" id="{FE2FDEA3-9EAF-09C2-BE59-186DEA51972D}"/>
                  </a:ext>
                </a:extLst>
              </p:cNvPr>
              <p:cNvSpPr txBox="1"/>
              <p:nvPr/>
            </p:nvSpPr>
            <p:spPr>
              <a:xfrm>
                <a:off x="4253291" y="4705214"/>
                <a:ext cx="161498" cy="57092"/>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24" name="object 316">
                <a:extLst>
                  <a:ext uri="{FF2B5EF4-FFF2-40B4-BE49-F238E27FC236}">
                    <a16:creationId xmlns:a16="http://schemas.microsoft.com/office/drawing/2014/main" id="{43A2162B-D680-1C3B-C368-5AEF45255B4D}"/>
                  </a:ext>
                </a:extLst>
              </p:cNvPr>
              <p:cNvSpPr txBox="1"/>
              <p:nvPr/>
            </p:nvSpPr>
            <p:spPr>
              <a:xfrm>
                <a:off x="5385316" y="4708771"/>
                <a:ext cx="261097" cy="57092"/>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25" name="object 293">
                <a:extLst>
                  <a:ext uri="{FF2B5EF4-FFF2-40B4-BE49-F238E27FC236}">
                    <a16:creationId xmlns:a16="http://schemas.microsoft.com/office/drawing/2014/main" id="{2D3415F1-2987-475E-D88A-652AF715D1C6}"/>
                  </a:ext>
                </a:extLst>
              </p:cNvPr>
              <p:cNvSpPr txBox="1"/>
              <p:nvPr/>
            </p:nvSpPr>
            <p:spPr>
              <a:xfrm>
                <a:off x="4570404" y="4708771"/>
                <a:ext cx="261097" cy="57092"/>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26" name="object 293">
                <a:extLst>
                  <a:ext uri="{FF2B5EF4-FFF2-40B4-BE49-F238E27FC236}">
                    <a16:creationId xmlns:a16="http://schemas.microsoft.com/office/drawing/2014/main" id="{D82D156A-46D6-333B-B4CB-DC3E536A1099}"/>
                  </a:ext>
                </a:extLst>
              </p:cNvPr>
              <p:cNvSpPr txBox="1"/>
              <p:nvPr/>
            </p:nvSpPr>
            <p:spPr>
              <a:xfrm>
                <a:off x="5013841" y="4708771"/>
                <a:ext cx="261097" cy="57092"/>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Sales</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27" name="object 301">
                <a:extLst>
                  <a:ext uri="{FF2B5EF4-FFF2-40B4-BE49-F238E27FC236}">
                    <a16:creationId xmlns:a16="http://schemas.microsoft.com/office/drawing/2014/main" id="{62AA1BD5-1C6F-DC03-88A1-2844106F08BD}"/>
                  </a:ext>
                </a:extLst>
              </p:cNvPr>
              <p:cNvSpPr txBox="1"/>
              <p:nvPr/>
            </p:nvSpPr>
            <p:spPr>
              <a:xfrm>
                <a:off x="4215156" y="4881206"/>
                <a:ext cx="245969"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1</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28" name="object 308">
                <a:extLst>
                  <a:ext uri="{FF2B5EF4-FFF2-40B4-BE49-F238E27FC236}">
                    <a16:creationId xmlns:a16="http://schemas.microsoft.com/office/drawing/2014/main" id="{AA7F811B-E329-248C-E56A-27AF6ECE3064}"/>
                  </a:ext>
                </a:extLst>
              </p:cNvPr>
              <p:cNvSpPr txBox="1"/>
              <p:nvPr/>
            </p:nvSpPr>
            <p:spPr>
              <a:xfrm>
                <a:off x="4215770" y="4978365"/>
                <a:ext cx="224191"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2</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29" name="object 367">
                <a:extLst>
                  <a:ext uri="{FF2B5EF4-FFF2-40B4-BE49-F238E27FC236}">
                    <a16:creationId xmlns:a16="http://schemas.microsoft.com/office/drawing/2014/main" id="{207AF6E4-8EC4-E6B1-8012-7FFBF38DFB11}"/>
                  </a:ext>
                </a:extLst>
              </p:cNvPr>
              <p:cNvSpPr txBox="1"/>
              <p:nvPr/>
            </p:nvSpPr>
            <p:spPr>
              <a:xfrm>
                <a:off x="4213542" y="5075308"/>
                <a:ext cx="270260"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3</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0" name="object 301">
                <a:extLst>
                  <a:ext uri="{FF2B5EF4-FFF2-40B4-BE49-F238E27FC236}">
                    <a16:creationId xmlns:a16="http://schemas.microsoft.com/office/drawing/2014/main" id="{7919DFC6-6422-381B-49AB-63BD6D87A544}"/>
                  </a:ext>
                </a:extLst>
              </p:cNvPr>
              <p:cNvSpPr txBox="1"/>
              <p:nvPr/>
            </p:nvSpPr>
            <p:spPr>
              <a:xfrm>
                <a:off x="4607887" y="4881206"/>
                <a:ext cx="245969"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1</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1" name="object 308">
                <a:extLst>
                  <a:ext uri="{FF2B5EF4-FFF2-40B4-BE49-F238E27FC236}">
                    <a16:creationId xmlns:a16="http://schemas.microsoft.com/office/drawing/2014/main" id="{E5662DBC-1364-909B-4CB8-3B562F1B8639}"/>
                  </a:ext>
                </a:extLst>
              </p:cNvPr>
              <p:cNvSpPr txBox="1"/>
              <p:nvPr/>
            </p:nvSpPr>
            <p:spPr>
              <a:xfrm>
                <a:off x="4608501" y="4978365"/>
                <a:ext cx="224191"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2</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2" name="object 367">
                <a:extLst>
                  <a:ext uri="{FF2B5EF4-FFF2-40B4-BE49-F238E27FC236}">
                    <a16:creationId xmlns:a16="http://schemas.microsoft.com/office/drawing/2014/main" id="{58ACD550-EB67-D676-66DC-5F15EF115BA2}"/>
                  </a:ext>
                </a:extLst>
              </p:cNvPr>
              <p:cNvSpPr txBox="1"/>
              <p:nvPr/>
            </p:nvSpPr>
            <p:spPr>
              <a:xfrm>
                <a:off x="4606273" y="5075308"/>
                <a:ext cx="270260"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3</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3" name="object 301">
                <a:extLst>
                  <a:ext uri="{FF2B5EF4-FFF2-40B4-BE49-F238E27FC236}">
                    <a16:creationId xmlns:a16="http://schemas.microsoft.com/office/drawing/2014/main" id="{374D9405-D89D-AAFC-B587-62CA4B32EF26}"/>
                  </a:ext>
                </a:extLst>
              </p:cNvPr>
              <p:cNvSpPr txBox="1"/>
              <p:nvPr/>
            </p:nvSpPr>
            <p:spPr>
              <a:xfrm>
                <a:off x="4974218" y="4881206"/>
                <a:ext cx="245969"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1</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4" name="object 308">
                <a:extLst>
                  <a:ext uri="{FF2B5EF4-FFF2-40B4-BE49-F238E27FC236}">
                    <a16:creationId xmlns:a16="http://schemas.microsoft.com/office/drawing/2014/main" id="{02127AE6-D731-6576-048D-C90B11963D2A}"/>
                  </a:ext>
                </a:extLst>
              </p:cNvPr>
              <p:cNvSpPr txBox="1"/>
              <p:nvPr/>
            </p:nvSpPr>
            <p:spPr>
              <a:xfrm>
                <a:off x="4974832" y="4978365"/>
                <a:ext cx="224191"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2</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5" name="object 367">
                <a:extLst>
                  <a:ext uri="{FF2B5EF4-FFF2-40B4-BE49-F238E27FC236}">
                    <a16:creationId xmlns:a16="http://schemas.microsoft.com/office/drawing/2014/main" id="{CF3C9AFA-E6CF-524D-8155-6230F9B8DAEA}"/>
                  </a:ext>
                </a:extLst>
              </p:cNvPr>
              <p:cNvSpPr txBox="1"/>
              <p:nvPr/>
            </p:nvSpPr>
            <p:spPr>
              <a:xfrm>
                <a:off x="4972604" y="5075308"/>
                <a:ext cx="270260"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3</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6" name="object 301">
                <a:extLst>
                  <a:ext uri="{FF2B5EF4-FFF2-40B4-BE49-F238E27FC236}">
                    <a16:creationId xmlns:a16="http://schemas.microsoft.com/office/drawing/2014/main" id="{FE254F56-385F-17CE-21D8-1607203BCC6D}"/>
                  </a:ext>
                </a:extLst>
              </p:cNvPr>
              <p:cNvSpPr txBox="1"/>
              <p:nvPr/>
            </p:nvSpPr>
            <p:spPr>
              <a:xfrm>
                <a:off x="5363779" y="4881206"/>
                <a:ext cx="245969"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1</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7" name="object 308">
                <a:extLst>
                  <a:ext uri="{FF2B5EF4-FFF2-40B4-BE49-F238E27FC236}">
                    <a16:creationId xmlns:a16="http://schemas.microsoft.com/office/drawing/2014/main" id="{F06A739D-C1EE-9728-47A4-41A63C77587A}"/>
                  </a:ext>
                </a:extLst>
              </p:cNvPr>
              <p:cNvSpPr txBox="1"/>
              <p:nvPr/>
            </p:nvSpPr>
            <p:spPr>
              <a:xfrm>
                <a:off x="5364393" y="4978365"/>
                <a:ext cx="224191"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2</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38" name="object 367">
                <a:extLst>
                  <a:ext uri="{FF2B5EF4-FFF2-40B4-BE49-F238E27FC236}">
                    <a16:creationId xmlns:a16="http://schemas.microsoft.com/office/drawing/2014/main" id="{46413E1D-79EE-F5CF-362F-2D4959FCAAB0}"/>
                  </a:ext>
                </a:extLst>
              </p:cNvPr>
              <p:cNvSpPr txBox="1"/>
              <p:nvPr/>
            </p:nvSpPr>
            <p:spPr>
              <a:xfrm>
                <a:off x="5362165" y="5075308"/>
                <a:ext cx="270260" cy="5142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 3</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sp>
          <p:nvSpPr>
            <p:cNvPr id="1043" name="TextBox 1042">
              <a:extLst>
                <a:ext uri="{FF2B5EF4-FFF2-40B4-BE49-F238E27FC236}">
                  <a16:creationId xmlns:a16="http://schemas.microsoft.com/office/drawing/2014/main" id="{F3FB1317-49D0-FF1A-17AB-31E632833114}"/>
                </a:ext>
              </a:extLst>
            </p:cNvPr>
            <p:cNvSpPr txBox="1"/>
            <p:nvPr/>
          </p:nvSpPr>
          <p:spPr>
            <a:xfrm>
              <a:off x="3419829" y="3358571"/>
              <a:ext cx="1276513" cy="234836"/>
            </a:xfrm>
            <a:prstGeom prst="rect">
              <a:avLst/>
            </a:prstGeom>
            <a:noFill/>
          </p:spPr>
          <p:txBody>
            <a:bodyPr wrap="square" lIns="0" tIns="0" rIns="0" bIns="0" rtlCol="0">
              <a:noAutofit/>
            </a:bodyPr>
            <a:lstStyle/>
            <a:p>
              <a:pPr>
                <a:spcBef>
                  <a:spcPts val="600"/>
                </a:spcBef>
                <a:buSzPct val="100000"/>
              </a:pPr>
              <a:r>
                <a:rPr lang="hu-HU" sz="1200" dirty="0" err="1">
                  <a:solidFill>
                    <a:prstClr val="black"/>
                  </a:solidFill>
                  <a:latin typeface="Open Sans"/>
                </a:rPr>
                <a:t>Function</a:t>
              </a:r>
              <a:r>
                <a:rPr lang="hu-HU" sz="1200" dirty="0">
                  <a:solidFill>
                    <a:prstClr val="black"/>
                  </a:solidFill>
                  <a:latin typeface="Open Sans"/>
                </a:rPr>
                <a:t> </a:t>
              </a:r>
              <a:r>
                <a:rPr lang="hu-HU" sz="1200" dirty="0" err="1">
                  <a:solidFill>
                    <a:prstClr val="black"/>
                  </a:solidFill>
                  <a:latin typeface="Open Sans"/>
                </a:rPr>
                <a:t>oriented</a:t>
              </a:r>
              <a:endParaRPr lang="hu-HU" sz="1200" dirty="0">
                <a:solidFill>
                  <a:prstClr val="black"/>
                </a:solidFill>
                <a:latin typeface="Open Sans"/>
              </a:endParaRPr>
            </a:p>
          </p:txBody>
        </p:sp>
        <p:sp>
          <p:nvSpPr>
            <p:cNvPr id="1104" name="TextBox 1103">
              <a:extLst>
                <a:ext uri="{FF2B5EF4-FFF2-40B4-BE49-F238E27FC236}">
                  <a16:creationId xmlns:a16="http://schemas.microsoft.com/office/drawing/2014/main" id="{DB0756CE-2DB0-D018-834C-A8047032562B}"/>
                </a:ext>
              </a:extLst>
            </p:cNvPr>
            <p:cNvSpPr txBox="1"/>
            <p:nvPr/>
          </p:nvSpPr>
          <p:spPr>
            <a:xfrm rot="1610013">
              <a:off x="4915591" y="3735165"/>
              <a:ext cx="687779" cy="123111"/>
            </a:xfrm>
            <a:prstGeom prst="rect">
              <a:avLst/>
            </a:prstGeom>
            <a:solidFill>
              <a:sysClr val="window" lastClr="FFFFFF"/>
            </a:solidFill>
            <a:ln>
              <a:solidFill>
                <a:srgbClr val="FF0000"/>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r>
                <a:rPr kumimoji="0" lang="en-AU" sz="800" b="1" i="0" u="none" strike="noStrike" kern="0" cap="none" spc="0" normalizeH="0" baseline="0" noProof="0" dirty="0">
                  <a:ln>
                    <a:noFill/>
                  </a:ln>
                  <a:solidFill>
                    <a:srgbClr val="313131"/>
                  </a:solidFill>
                  <a:effectLst/>
                  <a:uLnTx/>
                  <a:uFillTx/>
                  <a:latin typeface="Open Sans"/>
                  <a:cs typeface="Calibri" panose="020F0502020204030204" pitchFamily="34" charset="0"/>
                </a:rPr>
                <a:t>Example</a:t>
              </a: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p>
          </p:txBody>
        </p:sp>
        <p:sp>
          <p:nvSpPr>
            <p:cNvPr id="1273" name="Oval 1272">
              <a:extLst>
                <a:ext uri="{FF2B5EF4-FFF2-40B4-BE49-F238E27FC236}">
                  <a16:creationId xmlns:a16="http://schemas.microsoft.com/office/drawing/2014/main" id="{BF2B65F3-C9E5-CD7D-A160-B3E3C318F4D7}"/>
                </a:ext>
              </a:extLst>
            </p:cNvPr>
            <p:cNvSpPr/>
            <p:nvPr/>
          </p:nvSpPr>
          <p:spPr bwMode="gray">
            <a:xfrm>
              <a:off x="3136299" y="3337318"/>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noProof="0" dirty="0">
                  <a:ln>
                    <a:noFill/>
                  </a:ln>
                  <a:solidFill>
                    <a:prstClr val="black"/>
                  </a:solidFill>
                  <a:effectLst/>
                  <a:uLnTx/>
                  <a:uFillTx/>
                  <a:latin typeface="Open Sans"/>
                </a:rPr>
                <a:t>4</a:t>
              </a:r>
            </a:p>
          </p:txBody>
        </p:sp>
      </p:grpSp>
      <p:grpSp>
        <p:nvGrpSpPr>
          <p:cNvPr id="43" name="Group 42">
            <a:extLst>
              <a:ext uri="{FF2B5EF4-FFF2-40B4-BE49-F238E27FC236}">
                <a16:creationId xmlns:a16="http://schemas.microsoft.com/office/drawing/2014/main" id="{BB2E1B65-A9AB-1BBB-FFEC-288CCE4F2121}"/>
              </a:ext>
            </a:extLst>
          </p:cNvPr>
          <p:cNvGrpSpPr/>
          <p:nvPr/>
        </p:nvGrpSpPr>
        <p:grpSpPr>
          <a:xfrm>
            <a:off x="3414369" y="1505771"/>
            <a:ext cx="2479224" cy="1546610"/>
            <a:chOff x="3136299" y="1656246"/>
            <a:chExt cx="2479224" cy="1546610"/>
          </a:xfrm>
        </p:grpSpPr>
        <p:grpSp>
          <p:nvGrpSpPr>
            <p:cNvPr id="694" name="Group 693">
              <a:extLst>
                <a:ext uri="{FF2B5EF4-FFF2-40B4-BE49-F238E27FC236}">
                  <a16:creationId xmlns:a16="http://schemas.microsoft.com/office/drawing/2014/main" id="{B4B94160-1800-5014-EE3F-A88FD620FFBA}"/>
                </a:ext>
              </a:extLst>
            </p:cNvPr>
            <p:cNvGrpSpPr/>
            <p:nvPr/>
          </p:nvGrpSpPr>
          <p:grpSpPr>
            <a:xfrm>
              <a:off x="3161022" y="1959272"/>
              <a:ext cx="2322576" cy="1243584"/>
              <a:chOff x="1614646" y="2129969"/>
              <a:chExt cx="1573306" cy="1024677"/>
            </a:xfrm>
          </p:grpSpPr>
          <p:sp>
            <p:nvSpPr>
              <p:cNvPr id="695" name="object 267">
                <a:extLst>
                  <a:ext uri="{FF2B5EF4-FFF2-40B4-BE49-F238E27FC236}">
                    <a16:creationId xmlns:a16="http://schemas.microsoft.com/office/drawing/2014/main" id="{B6E58A52-6A48-0530-91BE-C2C3ABFB715D}"/>
                  </a:ext>
                </a:extLst>
              </p:cNvPr>
              <p:cNvSpPr/>
              <p:nvPr/>
            </p:nvSpPr>
            <p:spPr>
              <a:xfrm>
                <a:off x="1614646" y="2736432"/>
                <a:ext cx="1551791" cy="39669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696" name="object 268">
                <a:extLst>
                  <a:ext uri="{FF2B5EF4-FFF2-40B4-BE49-F238E27FC236}">
                    <a16:creationId xmlns:a16="http://schemas.microsoft.com/office/drawing/2014/main" id="{EB1A4928-A5CC-7936-622C-32370D3AB54C}"/>
                  </a:ext>
                </a:extLst>
              </p:cNvPr>
              <p:cNvSpPr/>
              <p:nvPr/>
            </p:nvSpPr>
            <p:spPr>
              <a:xfrm>
                <a:off x="1636161" y="2757947"/>
                <a:ext cx="1551791" cy="39669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697" name="object 269">
                <a:extLst>
                  <a:ext uri="{FF2B5EF4-FFF2-40B4-BE49-F238E27FC236}">
                    <a16:creationId xmlns:a16="http://schemas.microsoft.com/office/drawing/2014/main" id="{B148EF4C-3358-EF9A-9C48-1346AFDAC56A}"/>
                  </a:ext>
                </a:extLst>
              </p:cNvPr>
              <p:cNvSpPr/>
              <p:nvPr/>
            </p:nvSpPr>
            <p:spPr>
              <a:xfrm>
                <a:off x="1626748" y="2745291"/>
                <a:ext cx="1549213" cy="394447"/>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62B5E5">
                  <a:lumMod val="40000"/>
                  <a:lumOff val="6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698" name="object 270">
                <a:extLst>
                  <a:ext uri="{FF2B5EF4-FFF2-40B4-BE49-F238E27FC236}">
                    <a16:creationId xmlns:a16="http://schemas.microsoft.com/office/drawing/2014/main" id="{B8DDB927-726E-6F35-8D3C-8D892716C893}"/>
                  </a:ext>
                </a:extLst>
              </p:cNvPr>
              <p:cNvSpPr/>
              <p:nvPr/>
            </p:nvSpPr>
            <p:spPr>
              <a:xfrm>
                <a:off x="1788113" y="2768705"/>
                <a:ext cx="1331259" cy="98163"/>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699" name="object 271">
                <a:extLst>
                  <a:ext uri="{FF2B5EF4-FFF2-40B4-BE49-F238E27FC236}">
                    <a16:creationId xmlns:a16="http://schemas.microsoft.com/office/drawing/2014/main" id="{456A5C18-F3E4-A2BC-F6D3-A520560A8629}"/>
                  </a:ext>
                </a:extLst>
              </p:cNvPr>
              <p:cNvSpPr/>
              <p:nvPr/>
            </p:nvSpPr>
            <p:spPr>
              <a:xfrm>
                <a:off x="1809628" y="2790219"/>
                <a:ext cx="1331259" cy="98163"/>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0" name="object 272">
                <a:extLst>
                  <a:ext uri="{FF2B5EF4-FFF2-40B4-BE49-F238E27FC236}">
                    <a16:creationId xmlns:a16="http://schemas.microsoft.com/office/drawing/2014/main" id="{0F49B7F2-D789-9572-CF0C-86882F935D51}"/>
                  </a:ext>
                </a:extLst>
              </p:cNvPr>
              <p:cNvSpPr/>
              <p:nvPr/>
            </p:nvSpPr>
            <p:spPr>
              <a:xfrm>
                <a:off x="1809628" y="2790219"/>
                <a:ext cx="1309744" cy="76648"/>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1" name="object 273">
                <a:extLst>
                  <a:ext uri="{FF2B5EF4-FFF2-40B4-BE49-F238E27FC236}">
                    <a16:creationId xmlns:a16="http://schemas.microsoft.com/office/drawing/2014/main" id="{15837423-7FF3-3716-DEDB-812B7BE75D7E}"/>
                  </a:ext>
                </a:extLst>
              </p:cNvPr>
              <p:cNvSpPr/>
              <p:nvPr/>
            </p:nvSpPr>
            <p:spPr>
              <a:xfrm>
                <a:off x="1800215" y="2780806"/>
                <a:ext cx="1329018" cy="95810"/>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2" name="object 274">
                <a:extLst>
                  <a:ext uri="{FF2B5EF4-FFF2-40B4-BE49-F238E27FC236}">
                    <a16:creationId xmlns:a16="http://schemas.microsoft.com/office/drawing/2014/main" id="{EDC24138-7569-EBF7-E286-796BE11EBFDF}"/>
                  </a:ext>
                </a:extLst>
              </p:cNvPr>
              <p:cNvSpPr/>
              <p:nvPr/>
            </p:nvSpPr>
            <p:spPr>
              <a:xfrm>
                <a:off x="1788113" y="2896451"/>
                <a:ext cx="1331259" cy="95475"/>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3" name="object 275">
                <a:extLst>
                  <a:ext uri="{FF2B5EF4-FFF2-40B4-BE49-F238E27FC236}">
                    <a16:creationId xmlns:a16="http://schemas.microsoft.com/office/drawing/2014/main" id="{8127130E-BCFB-D887-1E7E-569BB0610109}"/>
                  </a:ext>
                </a:extLst>
              </p:cNvPr>
              <p:cNvSpPr/>
              <p:nvPr/>
            </p:nvSpPr>
            <p:spPr>
              <a:xfrm>
                <a:off x="1809628" y="2917967"/>
                <a:ext cx="1331259" cy="95485"/>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4" name="object 276">
                <a:extLst>
                  <a:ext uri="{FF2B5EF4-FFF2-40B4-BE49-F238E27FC236}">
                    <a16:creationId xmlns:a16="http://schemas.microsoft.com/office/drawing/2014/main" id="{F32BAA56-C063-095E-6378-49023B38ABFC}"/>
                  </a:ext>
                </a:extLst>
              </p:cNvPr>
              <p:cNvSpPr/>
              <p:nvPr/>
            </p:nvSpPr>
            <p:spPr>
              <a:xfrm>
                <a:off x="1809628" y="2917967"/>
                <a:ext cx="1309744" cy="73959"/>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5" name="object 277">
                <a:extLst>
                  <a:ext uri="{FF2B5EF4-FFF2-40B4-BE49-F238E27FC236}">
                    <a16:creationId xmlns:a16="http://schemas.microsoft.com/office/drawing/2014/main" id="{7F95EA9D-824A-F879-7612-DE91C82F9D4E}"/>
                  </a:ext>
                </a:extLst>
              </p:cNvPr>
              <p:cNvSpPr/>
              <p:nvPr/>
            </p:nvSpPr>
            <p:spPr>
              <a:xfrm>
                <a:off x="1800215" y="2908554"/>
                <a:ext cx="1329018" cy="93009"/>
              </a:xfrm>
              <a:custGeom>
                <a:avLst/>
                <a:gdLst/>
                <a:ahLst/>
                <a:cxnLst/>
                <a:rect l="l" t="t" r="r" b="b"/>
                <a:pathLst>
                  <a:path w="1506220" h="105410">
                    <a:moveTo>
                      <a:pt x="0" y="0"/>
                    </a:moveTo>
                    <a:lnTo>
                      <a:pt x="0" y="105155"/>
                    </a:lnTo>
                    <a:lnTo>
                      <a:pt x="1505712" y="105155"/>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6" name="object 278">
                <a:extLst>
                  <a:ext uri="{FF2B5EF4-FFF2-40B4-BE49-F238E27FC236}">
                    <a16:creationId xmlns:a16="http://schemas.microsoft.com/office/drawing/2014/main" id="{9C3D38C0-D202-DFD8-B469-831A42E83485}"/>
                  </a:ext>
                </a:extLst>
              </p:cNvPr>
              <p:cNvSpPr/>
              <p:nvPr/>
            </p:nvSpPr>
            <p:spPr>
              <a:xfrm>
                <a:off x="1788113" y="3021508"/>
                <a:ext cx="1331259" cy="92796"/>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7" name="object 279">
                <a:extLst>
                  <a:ext uri="{FF2B5EF4-FFF2-40B4-BE49-F238E27FC236}">
                    <a16:creationId xmlns:a16="http://schemas.microsoft.com/office/drawing/2014/main" id="{B1D8A0F4-A757-FB7D-9A58-1138608AE1CB}"/>
                  </a:ext>
                </a:extLst>
              </p:cNvPr>
              <p:cNvSpPr/>
              <p:nvPr/>
            </p:nvSpPr>
            <p:spPr>
              <a:xfrm>
                <a:off x="1809628" y="3048785"/>
                <a:ext cx="1331259" cy="92796"/>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8" name="object 280">
                <a:extLst>
                  <a:ext uri="{FF2B5EF4-FFF2-40B4-BE49-F238E27FC236}">
                    <a16:creationId xmlns:a16="http://schemas.microsoft.com/office/drawing/2014/main" id="{A35316EE-A211-EDE2-B0A7-8D5C08C435A9}"/>
                  </a:ext>
                </a:extLst>
              </p:cNvPr>
              <p:cNvSpPr/>
              <p:nvPr/>
            </p:nvSpPr>
            <p:spPr>
              <a:xfrm>
                <a:off x="1809628" y="3043025"/>
                <a:ext cx="1309744" cy="71280"/>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09" name="object 281">
                <a:extLst>
                  <a:ext uri="{FF2B5EF4-FFF2-40B4-BE49-F238E27FC236}">
                    <a16:creationId xmlns:a16="http://schemas.microsoft.com/office/drawing/2014/main" id="{BD71A061-E740-C8C6-0C58-54E957D6AAE5}"/>
                  </a:ext>
                </a:extLst>
              </p:cNvPr>
              <p:cNvSpPr/>
              <p:nvPr/>
            </p:nvSpPr>
            <p:spPr>
              <a:xfrm>
                <a:off x="1800215" y="3033612"/>
                <a:ext cx="1329018" cy="90207"/>
              </a:xfrm>
              <a:custGeom>
                <a:avLst/>
                <a:gdLst/>
                <a:ahLst/>
                <a:cxnLst/>
                <a:rect l="l" t="t" r="r" b="b"/>
                <a:pathLst>
                  <a:path w="1506220" h="102235">
                    <a:moveTo>
                      <a:pt x="0" y="0"/>
                    </a:moveTo>
                    <a:lnTo>
                      <a:pt x="0" y="102108"/>
                    </a:lnTo>
                    <a:lnTo>
                      <a:pt x="1505712" y="102108"/>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10" name="object 282">
                <a:extLst>
                  <a:ext uri="{FF2B5EF4-FFF2-40B4-BE49-F238E27FC236}">
                    <a16:creationId xmlns:a16="http://schemas.microsoft.com/office/drawing/2014/main" id="{E663E532-C9AB-E8F1-2A8F-DC199730C56F}"/>
                  </a:ext>
                </a:extLst>
              </p:cNvPr>
              <p:cNvSpPr txBox="1"/>
              <p:nvPr/>
            </p:nvSpPr>
            <p:spPr>
              <a:xfrm>
                <a:off x="1626749" y="2751414"/>
                <a:ext cx="228079" cy="91724"/>
              </a:xfrm>
              <a:prstGeom prst="rect">
                <a:avLst/>
              </a:prstGeom>
            </p:spPr>
            <p:txBody>
              <a:bodyPr vert="horz" wrap="square" lIns="0" tIns="2801" rIns="0" bIns="0" rtlCol="0">
                <a:spAutoFit/>
              </a:bodyPr>
              <a:lstStyle/>
              <a:p>
                <a:pPr marL="0" marR="0" lvl="0" indent="0" defTabSz="914400" eaLnBrk="1" fontAlgn="auto" latinLnBrk="0" hangingPunct="1">
                  <a:lnSpc>
                    <a:spcPct val="100000"/>
                  </a:lnSpc>
                  <a:spcBef>
                    <a:spcPts val="22"/>
                  </a:spcBef>
                  <a:spcAft>
                    <a:spcPts val="0"/>
                  </a:spcAft>
                  <a:buClrTx/>
                  <a:buSzTx/>
                  <a:buFontTx/>
                  <a:buNone/>
                  <a:tabLst/>
                  <a:defRPr/>
                </a:pPr>
                <a:endParaRPr kumimoji="0" lang="en-AU" sz="308" b="0" i="0" u="none" strike="noStrike" kern="0" cap="none" spc="0" normalizeH="0" baseline="0" noProof="0" dirty="0">
                  <a:ln>
                    <a:noFill/>
                  </a:ln>
                  <a:solidFill>
                    <a:srgbClr val="000000"/>
                  </a:solidFill>
                  <a:effectLst/>
                  <a:uLnTx/>
                  <a:uFillTx/>
                  <a:latin typeface="Open Sans"/>
                  <a:cs typeface="Times New Roman"/>
                </a:endParaRPr>
              </a:p>
              <a:p>
                <a:pPr marL="128306" marR="0" lvl="0" indent="0" algn="ctr" defTabSz="914400" eaLnBrk="1" fontAlgn="auto" latinLnBrk="0" hangingPunct="1">
                  <a:lnSpc>
                    <a:spcPct val="100000"/>
                  </a:lnSpc>
                  <a:spcBef>
                    <a:spcPts val="0"/>
                  </a:spcBef>
                  <a:spcAft>
                    <a:spcPts val="0"/>
                  </a:spcAft>
                  <a:buClrTx/>
                  <a:buSzTx/>
                  <a:buFontTx/>
                  <a:buNone/>
                  <a:tabLst/>
                  <a:defRPr/>
                </a:pP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11" name="object 283">
                <a:extLst>
                  <a:ext uri="{FF2B5EF4-FFF2-40B4-BE49-F238E27FC236}">
                    <a16:creationId xmlns:a16="http://schemas.microsoft.com/office/drawing/2014/main" id="{9690A9C1-5FC0-19FE-E15F-8A70FC40117D}"/>
                  </a:ext>
                </a:extLst>
              </p:cNvPr>
              <p:cNvSpPr txBox="1"/>
              <p:nvPr/>
            </p:nvSpPr>
            <p:spPr>
              <a:xfrm>
                <a:off x="1655844" y="2784942"/>
                <a:ext cx="41394" cy="315145"/>
              </a:xfrm>
              <a:prstGeom prst="rect">
                <a:avLst/>
              </a:prstGeom>
            </p:spPr>
            <p:txBody>
              <a:bodyPr vert="vert270" wrap="square" lIns="0" tIns="2801" rIns="0" bIns="0" rtlCol="0">
                <a:spAutoFit/>
              </a:bodyPr>
              <a:lstStyle/>
              <a:p>
                <a:pPr marL="11206" marR="0" lvl="0" indent="0" defTabSz="914400" eaLnBrk="1" fontAlgn="auto" latinLnBrk="0" hangingPunct="1">
                  <a:lnSpc>
                    <a:spcPct val="100000"/>
                  </a:lnSpc>
                  <a:spcBef>
                    <a:spcPts val="22"/>
                  </a:spcBef>
                  <a:spcAft>
                    <a:spcPts val="0"/>
                  </a:spcAft>
                  <a:buClrTx/>
                  <a:buSzTx/>
                  <a:buFontTx/>
                  <a:buNone/>
                  <a:tabLst/>
                  <a:defRPr/>
                </a:pPr>
                <a:r>
                  <a:rPr kumimoji="0" lang="en-AU" sz="397" b="0" i="0" u="none" strike="noStrike" kern="0" cap="none" spc="0" normalizeH="0" baseline="0" noProof="0" dirty="0">
                    <a:ln>
                      <a:noFill/>
                    </a:ln>
                    <a:solidFill>
                      <a:srgbClr val="231F20"/>
                    </a:solidFill>
                    <a:effectLst/>
                    <a:uLnTx/>
                    <a:uFillTx/>
                    <a:latin typeface="Open Sans"/>
                    <a:cs typeface="Verdana"/>
                  </a:rPr>
                  <a:t>Sha</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0" normalizeH="0" baseline="0" noProof="0" dirty="0">
                    <a:ln>
                      <a:noFill/>
                    </a:ln>
                    <a:solidFill>
                      <a:srgbClr val="231F20"/>
                    </a:solidFill>
                    <a:effectLst/>
                    <a:uLnTx/>
                    <a:uFillTx/>
                    <a:latin typeface="Open Sans"/>
                    <a:cs typeface="Verdana"/>
                  </a:rPr>
                  <a:t>ed</a:t>
                </a:r>
                <a:r>
                  <a:rPr kumimoji="0" lang="en-AU" sz="397" b="0" i="0" u="none" strike="noStrike" kern="0" cap="none" spc="-22" normalizeH="0" baseline="0" noProof="0" dirty="0">
                    <a:ln>
                      <a:noFill/>
                    </a:ln>
                    <a:solidFill>
                      <a:srgbClr val="231F20"/>
                    </a:solidFill>
                    <a:effectLst/>
                    <a:uLnTx/>
                    <a:uFillTx/>
                    <a:latin typeface="Open Sans"/>
                    <a:cs typeface="Verdana"/>
                  </a:rPr>
                  <a:t> </a:t>
                </a:r>
                <a:r>
                  <a:rPr kumimoji="0" lang="en-AU" sz="397" b="0" i="0" u="none" strike="noStrike" kern="0" cap="none" spc="0" normalizeH="0" baseline="0" noProof="0" dirty="0">
                    <a:ln>
                      <a:noFill/>
                    </a:ln>
                    <a:solidFill>
                      <a:srgbClr val="231F20"/>
                    </a:solidFill>
                    <a:effectLst/>
                    <a:uLnTx/>
                    <a:uFillTx/>
                    <a:latin typeface="Open Sans"/>
                    <a:cs typeface="Verdana"/>
                  </a:rPr>
                  <a:t>Se</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9" normalizeH="0" baseline="0" noProof="0" dirty="0">
                    <a:ln>
                      <a:noFill/>
                    </a:ln>
                    <a:solidFill>
                      <a:srgbClr val="231F20"/>
                    </a:solidFill>
                    <a:effectLst/>
                    <a:uLnTx/>
                    <a:uFillTx/>
                    <a:latin typeface="Open Sans"/>
                    <a:cs typeface="Verdana"/>
                  </a:rPr>
                  <a:t>vi</a:t>
                </a:r>
                <a:r>
                  <a:rPr kumimoji="0" lang="en-AU" sz="397" b="0" i="0" u="none" strike="noStrike" kern="0" cap="none" spc="0" normalizeH="0" baseline="0" noProof="0" dirty="0">
                    <a:ln>
                      <a:noFill/>
                    </a:ln>
                    <a:solidFill>
                      <a:srgbClr val="231F20"/>
                    </a:solidFill>
                    <a:effectLst/>
                    <a:uLnTx/>
                    <a:uFillTx/>
                    <a:latin typeface="Open Sans"/>
                    <a:cs typeface="Verdana"/>
                  </a:rPr>
                  <a:t>ce</a:t>
                </a:r>
                <a:r>
                  <a:rPr kumimoji="0" lang="hu-HU" sz="397" b="0" i="0" u="none" strike="noStrike" kern="0" cap="none" spc="0" normalizeH="0" baseline="0" noProof="0" dirty="0">
                    <a:ln>
                      <a:noFill/>
                    </a:ln>
                    <a:solidFill>
                      <a:srgbClr val="231F20"/>
                    </a:solidFill>
                    <a:effectLst/>
                    <a:uLnTx/>
                    <a:uFillTx/>
                    <a:latin typeface="Open Sans"/>
                    <a:cs typeface="Verdana"/>
                  </a:rPr>
                  <a:t>s</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712" name="object 284">
                <a:extLst>
                  <a:ext uri="{FF2B5EF4-FFF2-40B4-BE49-F238E27FC236}">
                    <a16:creationId xmlns:a16="http://schemas.microsoft.com/office/drawing/2014/main" id="{4A4BC06D-D837-81E9-24BC-95A599C046A0}"/>
                  </a:ext>
                </a:extLst>
              </p:cNvPr>
              <p:cNvSpPr/>
              <p:nvPr/>
            </p:nvSpPr>
            <p:spPr>
              <a:xfrm>
                <a:off x="1654987" y="2129969"/>
                <a:ext cx="1532964" cy="73959"/>
              </a:xfrm>
              <a:prstGeom prst="rect">
                <a:avLst/>
              </a:prstGeom>
              <a:blipFill>
                <a:blip r:embed="rId1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13" name="object 285">
                <a:extLst>
                  <a:ext uri="{FF2B5EF4-FFF2-40B4-BE49-F238E27FC236}">
                    <a16:creationId xmlns:a16="http://schemas.microsoft.com/office/drawing/2014/main" id="{2BDD0C6E-7BA4-36B9-0EB8-E440D9E475E8}"/>
                  </a:ext>
                </a:extLst>
              </p:cNvPr>
              <p:cNvSpPr/>
              <p:nvPr/>
            </p:nvSpPr>
            <p:spPr>
              <a:xfrm>
                <a:off x="1667090" y="2166948"/>
                <a:ext cx="1508872" cy="0"/>
              </a:xfrm>
              <a:custGeom>
                <a:avLst/>
                <a:gdLst/>
                <a:ahLst/>
                <a:cxnLst/>
                <a:rect l="l" t="t" r="r" b="b"/>
                <a:pathLst>
                  <a:path w="1710055">
                    <a:moveTo>
                      <a:pt x="0" y="0"/>
                    </a:moveTo>
                    <a:lnTo>
                      <a:pt x="1709927" y="0"/>
                    </a:lnTo>
                  </a:path>
                </a:pathLst>
              </a:custGeom>
              <a:ln w="56387">
                <a:solidFill>
                  <a:srgbClr val="A0DC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14" name="object 286">
                <a:extLst>
                  <a:ext uri="{FF2B5EF4-FFF2-40B4-BE49-F238E27FC236}">
                    <a16:creationId xmlns:a16="http://schemas.microsoft.com/office/drawing/2014/main" id="{4A582918-A3C7-F852-3698-5E54255DD956}"/>
                  </a:ext>
                </a:extLst>
              </p:cNvPr>
              <p:cNvSpPr/>
              <p:nvPr/>
            </p:nvSpPr>
            <p:spPr>
              <a:xfrm>
                <a:off x="1656331" y="2686677"/>
                <a:ext cx="12102" cy="24205"/>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15" name="object 287">
                <a:extLst>
                  <a:ext uri="{FF2B5EF4-FFF2-40B4-BE49-F238E27FC236}">
                    <a16:creationId xmlns:a16="http://schemas.microsoft.com/office/drawing/2014/main" id="{AF14778B-18B7-7755-7C66-BA177EB3BD4D}"/>
                  </a:ext>
                </a:extLst>
              </p:cNvPr>
              <p:cNvSpPr/>
              <p:nvPr/>
            </p:nvSpPr>
            <p:spPr>
              <a:xfrm>
                <a:off x="1656331" y="259658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16" name="object 288">
                <a:extLst>
                  <a:ext uri="{FF2B5EF4-FFF2-40B4-BE49-F238E27FC236}">
                    <a16:creationId xmlns:a16="http://schemas.microsoft.com/office/drawing/2014/main" id="{DF0522C6-B70F-CDC7-CD4F-35A87220716A}"/>
                  </a:ext>
                </a:extLst>
              </p:cNvPr>
              <p:cNvSpPr/>
              <p:nvPr/>
            </p:nvSpPr>
            <p:spPr>
              <a:xfrm>
                <a:off x="1656331" y="2506487"/>
                <a:ext cx="12102"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17" name="object 289">
                <a:extLst>
                  <a:ext uri="{FF2B5EF4-FFF2-40B4-BE49-F238E27FC236}">
                    <a16:creationId xmlns:a16="http://schemas.microsoft.com/office/drawing/2014/main" id="{5D8B7EC6-BCA5-304D-0CDC-9CF35AC13D3D}"/>
                  </a:ext>
                </a:extLst>
              </p:cNvPr>
              <p:cNvSpPr/>
              <p:nvPr/>
            </p:nvSpPr>
            <p:spPr>
              <a:xfrm>
                <a:off x="1656331" y="2415046"/>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18" name="object 290">
                <a:extLst>
                  <a:ext uri="{FF2B5EF4-FFF2-40B4-BE49-F238E27FC236}">
                    <a16:creationId xmlns:a16="http://schemas.microsoft.com/office/drawing/2014/main" id="{EB1772F4-71D8-D7DA-99C0-02C6A95DFB10}"/>
                  </a:ext>
                </a:extLst>
              </p:cNvPr>
              <p:cNvSpPr/>
              <p:nvPr/>
            </p:nvSpPr>
            <p:spPr>
              <a:xfrm>
                <a:off x="1656331" y="2218719"/>
                <a:ext cx="352313"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19" name="object 291">
                <a:extLst>
                  <a:ext uri="{FF2B5EF4-FFF2-40B4-BE49-F238E27FC236}">
                    <a16:creationId xmlns:a16="http://schemas.microsoft.com/office/drawing/2014/main" id="{DF984769-C82B-4D75-6BB4-2B5BCE7DCE12}"/>
                  </a:ext>
                </a:extLst>
              </p:cNvPr>
              <p:cNvSpPr/>
              <p:nvPr/>
            </p:nvSpPr>
            <p:spPr>
              <a:xfrm>
                <a:off x="1677847" y="2240236"/>
                <a:ext cx="352313"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20" name="object 292">
                <a:extLst>
                  <a:ext uri="{FF2B5EF4-FFF2-40B4-BE49-F238E27FC236}">
                    <a16:creationId xmlns:a16="http://schemas.microsoft.com/office/drawing/2014/main" id="{345AC4A2-1264-8E6B-A1EE-10A23B05847C}"/>
                  </a:ext>
                </a:extLst>
              </p:cNvPr>
              <p:cNvSpPr/>
              <p:nvPr/>
            </p:nvSpPr>
            <p:spPr>
              <a:xfrm>
                <a:off x="1668434" y="2230821"/>
                <a:ext cx="349623" cy="489697"/>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21" name="object 293">
                <a:extLst>
                  <a:ext uri="{FF2B5EF4-FFF2-40B4-BE49-F238E27FC236}">
                    <a16:creationId xmlns:a16="http://schemas.microsoft.com/office/drawing/2014/main" id="{291545AE-16A0-D2BE-8BD7-69842A6B87C1}"/>
                  </a:ext>
                </a:extLst>
              </p:cNvPr>
              <p:cNvSpPr txBox="1"/>
              <p:nvPr/>
            </p:nvSpPr>
            <p:spPr>
              <a:xfrm>
                <a:off x="1664400" y="2254528"/>
                <a:ext cx="356121" cy="5589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Segment 1</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22" name="object 294">
                <a:extLst>
                  <a:ext uri="{FF2B5EF4-FFF2-40B4-BE49-F238E27FC236}">
                    <a16:creationId xmlns:a16="http://schemas.microsoft.com/office/drawing/2014/main" id="{4FB77CBA-6FD5-B6FA-41AD-4D88760545A7}"/>
                  </a:ext>
                </a:extLst>
              </p:cNvPr>
              <p:cNvSpPr/>
              <p:nvPr/>
            </p:nvSpPr>
            <p:spPr>
              <a:xfrm>
                <a:off x="1654987" y="2345122"/>
                <a:ext cx="330797" cy="69925"/>
              </a:xfrm>
              <a:prstGeom prst="rect">
                <a:avLst/>
              </a:prstGeom>
              <a:blipFill>
                <a:blip r:embed="rId2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23" name="object 295">
                <a:extLst>
                  <a:ext uri="{FF2B5EF4-FFF2-40B4-BE49-F238E27FC236}">
                    <a16:creationId xmlns:a16="http://schemas.microsoft.com/office/drawing/2014/main" id="{FBAB6F25-2213-5A6F-BDEE-DFF47DF89B6B}"/>
                  </a:ext>
                </a:extLst>
              </p:cNvPr>
              <p:cNvSpPr/>
              <p:nvPr/>
            </p:nvSpPr>
            <p:spPr>
              <a:xfrm>
                <a:off x="1676503"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24" name="object 296">
                <a:extLst>
                  <a:ext uri="{FF2B5EF4-FFF2-40B4-BE49-F238E27FC236}">
                    <a16:creationId xmlns:a16="http://schemas.microsoft.com/office/drawing/2014/main" id="{464EBDBB-ABFB-1CA7-7B38-3652BE75BFAD}"/>
                  </a:ext>
                </a:extLst>
              </p:cNvPr>
              <p:cNvSpPr/>
              <p:nvPr/>
            </p:nvSpPr>
            <p:spPr>
              <a:xfrm>
                <a:off x="1667089" y="2357224"/>
                <a:ext cx="328333" cy="67235"/>
              </a:xfrm>
              <a:custGeom>
                <a:avLst/>
                <a:gdLst/>
                <a:ahLst/>
                <a:cxnLst/>
                <a:rect l="l" t="t" r="r" b="b"/>
                <a:pathLst>
                  <a:path w="372109"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25" name="object 297">
                <a:extLst>
                  <a:ext uri="{FF2B5EF4-FFF2-40B4-BE49-F238E27FC236}">
                    <a16:creationId xmlns:a16="http://schemas.microsoft.com/office/drawing/2014/main" id="{A03B2A7D-74D8-CF4A-622B-184D8676415A}"/>
                  </a:ext>
                </a:extLst>
              </p:cNvPr>
              <p:cNvSpPr txBox="1"/>
              <p:nvPr/>
            </p:nvSpPr>
            <p:spPr>
              <a:xfrm>
                <a:off x="1708860" y="2359241"/>
                <a:ext cx="12886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26" name="object 298">
                <a:extLst>
                  <a:ext uri="{FF2B5EF4-FFF2-40B4-BE49-F238E27FC236}">
                    <a16:creationId xmlns:a16="http://schemas.microsoft.com/office/drawing/2014/main" id="{FEA65405-5C48-8D49-8582-264637EA2AC0}"/>
                  </a:ext>
                </a:extLst>
              </p:cNvPr>
              <p:cNvSpPr/>
              <p:nvPr/>
            </p:nvSpPr>
            <p:spPr>
              <a:xfrm>
                <a:off x="1654987" y="2435217"/>
                <a:ext cx="330797"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27" name="object 299">
                <a:extLst>
                  <a:ext uri="{FF2B5EF4-FFF2-40B4-BE49-F238E27FC236}">
                    <a16:creationId xmlns:a16="http://schemas.microsoft.com/office/drawing/2014/main" id="{CD28661F-28A1-F4D3-BD28-E5379C5FF398}"/>
                  </a:ext>
                </a:extLst>
              </p:cNvPr>
              <p:cNvSpPr/>
              <p:nvPr/>
            </p:nvSpPr>
            <p:spPr>
              <a:xfrm>
                <a:off x="1676503"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28" name="object 300">
                <a:extLst>
                  <a:ext uri="{FF2B5EF4-FFF2-40B4-BE49-F238E27FC236}">
                    <a16:creationId xmlns:a16="http://schemas.microsoft.com/office/drawing/2014/main" id="{AD66D100-AB31-9793-D345-0DC016A048B7}"/>
                  </a:ext>
                </a:extLst>
              </p:cNvPr>
              <p:cNvSpPr/>
              <p:nvPr/>
            </p:nvSpPr>
            <p:spPr>
              <a:xfrm>
                <a:off x="1667089" y="2447321"/>
                <a:ext cx="328333" cy="68916"/>
              </a:xfrm>
              <a:custGeom>
                <a:avLst/>
                <a:gdLst/>
                <a:ahLst/>
                <a:cxnLst/>
                <a:rect l="l" t="t" r="r" b="b"/>
                <a:pathLst>
                  <a:path w="372109"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29" name="object 301">
                <a:extLst>
                  <a:ext uri="{FF2B5EF4-FFF2-40B4-BE49-F238E27FC236}">
                    <a16:creationId xmlns:a16="http://schemas.microsoft.com/office/drawing/2014/main" id="{F34B050A-B883-910F-B192-9F943027F820}"/>
                  </a:ext>
                </a:extLst>
              </p:cNvPr>
              <p:cNvSpPr txBox="1"/>
              <p:nvPr/>
            </p:nvSpPr>
            <p:spPr>
              <a:xfrm>
                <a:off x="1708860" y="2449562"/>
                <a:ext cx="245969"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30" name="object 302">
                <a:extLst>
                  <a:ext uri="{FF2B5EF4-FFF2-40B4-BE49-F238E27FC236}">
                    <a16:creationId xmlns:a16="http://schemas.microsoft.com/office/drawing/2014/main" id="{4E5DA0E3-6EF9-F819-B36A-D87197186705}"/>
                  </a:ext>
                </a:extLst>
              </p:cNvPr>
              <p:cNvSpPr/>
              <p:nvPr/>
            </p:nvSpPr>
            <p:spPr>
              <a:xfrm>
                <a:off x="1654987" y="2616752"/>
                <a:ext cx="330797" cy="69925"/>
              </a:xfrm>
              <a:prstGeom prst="rect">
                <a:avLst/>
              </a:prstGeom>
              <a:blipFill>
                <a:blip r:embed="rId2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31" name="object 303">
                <a:extLst>
                  <a:ext uri="{FF2B5EF4-FFF2-40B4-BE49-F238E27FC236}">
                    <a16:creationId xmlns:a16="http://schemas.microsoft.com/office/drawing/2014/main" id="{CCB46AB0-D551-78FD-A42D-8B234F11BE0B}"/>
                  </a:ext>
                </a:extLst>
              </p:cNvPr>
              <p:cNvSpPr/>
              <p:nvPr/>
            </p:nvSpPr>
            <p:spPr>
              <a:xfrm>
                <a:off x="1676503"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32" name="object 304">
                <a:extLst>
                  <a:ext uri="{FF2B5EF4-FFF2-40B4-BE49-F238E27FC236}">
                    <a16:creationId xmlns:a16="http://schemas.microsoft.com/office/drawing/2014/main" id="{0DAD8700-ABFB-35C0-4224-BCFC05C7537D}"/>
                  </a:ext>
                </a:extLst>
              </p:cNvPr>
              <p:cNvSpPr/>
              <p:nvPr/>
            </p:nvSpPr>
            <p:spPr>
              <a:xfrm>
                <a:off x="1667089" y="2628854"/>
                <a:ext cx="328333" cy="67235"/>
              </a:xfrm>
              <a:custGeom>
                <a:avLst/>
                <a:gdLst/>
                <a:ahLst/>
                <a:cxnLst/>
                <a:rect l="l" t="t" r="r" b="b"/>
                <a:pathLst>
                  <a:path w="372109"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33" name="object 305">
                <a:extLst>
                  <a:ext uri="{FF2B5EF4-FFF2-40B4-BE49-F238E27FC236}">
                    <a16:creationId xmlns:a16="http://schemas.microsoft.com/office/drawing/2014/main" id="{D15C0A24-6250-BD37-033A-272515FF2C74}"/>
                  </a:ext>
                </a:extLst>
              </p:cNvPr>
              <p:cNvSpPr/>
              <p:nvPr/>
            </p:nvSpPr>
            <p:spPr>
              <a:xfrm>
                <a:off x="1654987" y="2525312"/>
                <a:ext cx="330797"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34" name="object 306">
                <a:extLst>
                  <a:ext uri="{FF2B5EF4-FFF2-40B4-BE49-F238E27FC236}">
                    <a16:creationId xmlns:a16="http://schemas.microsoft.com/office/drawing/2014/main" id="{3B2F8F3D-4E1D-0028-0A50-932B335A10C6}"/>
                  </a:ext>
                </a:extLst>
              </p:cNvPr>
              <p:cNvSpPr/>
              <p:nvPr/>
            </p:nvSpPr>
            <p:spPr>
              <a:xfrm>
                <a:off x="1676503"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35" name="object 307">
                <a:extLst>
                  <a:ext uri="{FF2B5EF4-FFF2-40B4-BE49-F238E27FC236}">
                    <a16:creationId xmlns:a16="http://schemas.microsoft.com/office/drawing/2014/main" id="{247788C5-2DC9-88B7-F606-62A752C470F6}"/>
                  </a:ext>
                </a:extLst>
              </p:cNvPr>
              <p:cNvSpPr/>
              <p:nvPr/>
            </p:nvSpPr>
            <p:spPr>
              <a:xfrm>
                <a:off x="1667089"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36" name="object 308">
                <a:extLst>
                  <a:ext uri="{FF2B5EF4-FFF2-40B4-BE49-F238E27FC236}">
                    <a16:creationId xmlns:a16="http://schemas.microsoft.com/office/drawing/2014/main" id="{32E1479F-3861-438E-C97B-2844A9EBC9DB}"/>
                  </a:ext>
                </a:extLst>
              </p:cNvPr>
              <p:cNvSpPr txBox="1"/>
              <p:nvPr/>
            </p:nvSpPr>
            <p:spPr>
              <a:xfrm>
                <a:off x="1708860" y="2540217"/>
                <a:ext cx="14903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37" name="object 309">
                <a:extLst>
                  <a:ext uri="{FF2B5EF4-FFF2-40B4-BE49-F238E27FC236}">
                    <a16:creationId xmlns:a16="http://schemas.microsoft.com/office/drawing/2014/main" id="{2B869045-3E03-AF84-51B7-1AE214EDF8A9}"/>
                  </a:ext>
                </a:extLst>
              </p:cNvPr>
              <p:cNvSpPr/>
              <p:nvPr/>
            </p:nvSpPr>
            <p:spPr>
              <a:xfrm>
                <a:off x="2811433" y="2686677"/>
                <a:ext cx="12103" cy="24205"/>
              </a:xfrm>
              <a:prstGeom prst="rect">
                <a:avLst/>
              </a:prstGeom>
              <a:blipFill>
                <a:blip r:embed="rId2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38" name="object 310">
                <a:extLst>
                  <a:ext uri="{FF2B5EF4-FFF2-40B4-BE49-F238E27FC236}">
                    <a16:creationId xmlns:a16="http://schemas.microsoft.com/office/drawing/2014/main" id="{A0A57219-F390-5530-917B-CC40A5046A71}"/>
                  </a:ext>
                </a:extLst>
              </p:cNvPr>
              <p:cNvSpPr/>
              <p:nvPr/>
            </p:nvSpPr>
            <p:spPr>
              <a:xfrm>
                <a:off x="2811433" y="2596581"/>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39" name="object 311">
                <a:extLst>
                  <a:ext uri="{FF2B5EF4-FFF2-40B4-BE49-F238E27FC236}">
                    <a16:creationId xmlns:a16="http://schemas.microsoft.com/office/drawing/2014/main" id="{30C3A941-ED18-0760-B97B-B2F30BE417C0}"/>
                  </a:ext>
                </a:extLst>
              </p:cNvPr>
              <p:cNvSpPr/>
              <p:nvPr/>
            </p:nvSpPr>
            <p:spPr>
              <a:xfrm>
                <a:off x="2811433" y="2506487"/>
                <a:ext cx="12103"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0" name="object 312">
                <a:extLst>
                  <a:ext uri="{FF2B5EF4-FFF2-40B4-BE49-F238E27FC236}">
                    <a16:creationId xmlns:a16="http://schemas.microsoft.com/office/drawing/2014/main" id="{A9D98444-7851-0287-8BFF-CC6094B126BD}"/>
                  </a:ext>
                </a:extLst>
              </p:cNvPr>
              <p:cNvSpPr/>
              <p:nvPr/>
            </p:nvSpPr>
            <p:spPr>
              <a:xfrm>
                <a:off x="2811433" y="2415046"/>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1" name="object 313">
                <a:extLst>
                  <a:ext uri="{FF2B5EF4-FFF2-40B4-BE49-F238E27FC236}">
                    <a16:creationId xmlns:a16="http://schemas.microsoft.com/office/drawing/2014/main" id="{9732C04A-29CF-C8B0-3FF4-2B4D93285960}"/>
                  </a:ext>
                </a:extLst>
              </p:cNvPr>
              <p:cNvSpPr/>
              <p:nvPr/>
            </p:nvSpPr>
            <p:spPr>
              <a:xfrm>
                <a:off x="2811433" y="2218719"/>
                <a:ext cx="352313"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2" name="object 314">
                <a:extLst>
                  <a:ext uri="{FF2B5EF4-FFF2-40B4-BE49-F238E27FC236}">
                    <a16:creationId xmlns:a16="http://schemas.microsoft.com/office/drawing/2014/main" id="{837C8EE8-D6F5-5B90-5689-78EBE4BF58AB}"/>
                  </a:ext>
                </a:extLst>
              </p:cNvPr>
              <p:cNvSpPr/>
              <p:nvPr/>
            </p:nvSpPr>
            <p:spPr>
              <a:xfrm>
                <a:off x="2832949" y="2240236"/>
                <a:ext cx="352313"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3" name="object 315">
                <a:extLst>
                  <a:ext uri="{FF2B5EF4-FFF2-40B4-BE49-F238E27FC236}">
                    <a16:creationId xmlns:a16="http://schemas.microsoft.com/office/drawing/2014/main" id="{31B4E297-2FB7-5822-AF8D-02054F0B8944}"/>
                  </a:ext>
                </a:extLst>
              </p:cNvPr>
              <p:cNvSpPr/>
              <p:nvPr/>
            </p:nvSpPr>
            <p:spPr>
              <a:xfrm>
                <a:off x="2823536" y="2230821"/>
                <a:ext cx="349623" cy="489697"/>
              </a:xfrm>
              <a:custGeom>
                <a:avLst/>
                <a:gdLst/>
                <a:ahLst/>
                <a:cxnLst/>
                <a:rect l="l" t="t" r="r" b="b"/>
                <a:pathLst>
                  <a:path w="396239" h="554989">
                    <a:moveTo>
                      <a:pt x="0" y="0"/>
                    </a:moveTo>
                    <a:lnTo>
                      <a:pt x="0" y="554736"/>
                    </a:lnTo>
                    <a:lnTo>
                      <a:pt x="396240" y="554736"/>
                    </a:lnTo>
                    <a:lnTo>
                      <a:pt x="39623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4" name="object 317">
                <a:extLst>
                  <a:ext uri="{FF2B5EF4-FFF2-40B4-BE49-F238E27FC236}">
                    <a16:creationId xmlns:a16="http://schemas.microsoft.com/office/drawing/2014/main" id="{7559171A-56D5-E1C2-1E9E-AF639BC54C5D}"/>
                  </a:ext>
                </a:extLst>
              </p:cNvPr>
              <p:cNvSpPr/>
              <p:nvPr/>
            </p:nvSpPr>
            <p:spPr>
              <a:xfrm>
                <a:off x="2810089" y="2345122"/>
                <a:ext cx="330798" cy="69925"/>
              </a:xfrm>
              <a:prstGeom prst="rect">
                <a:avLst/>
              </a:prstGeom>
              <a:blipFill>
                <a:blip r:embed="rId2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5" name="object 318">
                <a:extLst>
                  <a:ext uri="{FF2B5EF4-FFF2-40B4-BE49-F238E27FC236}">
                    <a16:creationId xmlns:a16="http://schemas.microsoft.com/office/drawing/2014/main" id="{2F2246C5-25A9-CFB3-09D9-1F271477B44A}"/>
                  </a:ext>
                </a:extLst>
              </p:cNvPr>
              <p:cNvSpPr/>
              <p:nvPr/>
            </p:nvSpPr>
            <p:spPr>
              <a:xfrm>
                <a:off x="2831605"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6" name="object 319">
                <a:extLst>
                  <a:ext uri="{FF2B5EF4-FFF2-40B4-BE49-F238E27FC236}">
                    <a16:creationId xmlns:a16="http://schemas.microsoft.com/office/drawing/2014/main" id="{90F6A512-E65E-EA50-6585-EF49C031E2AE}"/>
                  </a:ext>
                </a:extLst>
              </p:cNvPr>
              <p:cNvSpPr/>
              <p:nvPr/>
            </p:nvSpPr>
            <p:spPr>
              <a:xfrm>
                <a:off x="2822192" y="235722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7" name="object 320">
                <a:extLst>
                  <a:ext uri="{FF2B5EF4-FFF2-40B4-BE49-F238E27FC236}">
                    <a16:creationId xmlns:a16="http://schemas.microsoft.com/office/drawing/2014/main" id="{A26FC0B5-145E-393D-7342-996A0ADBB476}"/>
                  </a:ext>
                </a:extLst>
              </p:cNvPr>
              <p:cNvSpPr txBox="1"/>
              <p:nvPr/>
            </p:nvSpPr>
            <p:spPr>
              <a:xfrm>
                <a:off x="2863990" y="2359241"/>
                <a:ext cx="12886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48" name="object 321">
                <a:extLst>
                  <a:ext uri="{FF2B5EF4-FFF2-40B4-BE49-F238E27FC236}">
                    <a16:creationId xmlns:a16="http://schemas.microsoft.com/office/drawing/2014/main" id="{0573B1DB-FB16-183B-CEB8-BC63EA66A406}"/>
                  </a:ext>
                </a:extLst>
              </p:cNvPr>
              <p:cNvSpPr/>
              <p:nvPr/>
            </p:nvSpPr>
            <p:spPr>
              <a:xfrm>
                <a:off x="2810089" y="2435217"/>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49" name="object 322">
                <a:extLst>
                  <a:ext uri="{FF2B5EF4-FFF2-40B4-BE49-F238E27FC236}">
                    <a16:creationId xmlns:a16="http://schemas.microsoft.com/office/drawing/2014/main" id="{07744ABC-2008-E5B6-141A-50BF0BE54A0A}"/>
                  </a:ext>
                </a:extLst>
              </p:cNvPr>
              <p:cNvSpPr/>
              <p:nvPr/>
            </p:nvSpPr>
            <p:spPr>
              <a:xfrm>
                <a:off x="2831605"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50" name="object 323">
                <a:extLst>
                  <a:ext uri="{FF2B5EF4-FFF2-40B4-BE49-F238E27FC236}">
                    <a16:creationId xmlns:a16="http://schemas.microsoft.com/office/drawing/2014/main" id="{157D57EA-EC2B-D28D-E306-9A235433EBE4}"/>
                  </a:ext>
                </a:extLst>
              </p:cNvPr>
              <p:cNvSpPr/>
              <p:nvPr/>
            </p:nvSpPr>
            <p:spPr>
              <a:xfrm>
                <a:off x="2822192" y="2447321"/>
                <a:ext cx="328333" cy="68916"/>
              </a:xfrm>
              <a:custGeom>
                <a:avLst/>
                <a:gdLst/>
                <a:ahLst/>
                <a:cxnLst/>
                <a:rect l="l" t="t" r="r" b="b"/>
                <a:pathLst>
                  <a:path w="372110"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51" name="object 324">
                <a:extLst>
                  <a:ext uri="{FF2B5EF4-FFF2-40B4-BE49-F238E27FC236}">
                    <a16:creationId xmlns:a16="http://schemas.microsoft.com/office/drawing/2014/main" id="{8852BB03-37D7-3344-DC27-258A6B24C14C}"/>
                  </a:ext>
                </a:extLst>
              </p:cNvPr>
              <p:cNvSpPr txBox="1"/>
              <p:nvPr/>
            </p:nvSpPr>
            <p:spPr>
              <a:xfrm>
                <a:off x="2863990" y="2449562"/>
                <a:ext cx="245969"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52" name="object 325">
                <a:extLst>
                  <a:ext uri="{FF2B5EF4-FFF2-40B4-BE49-F238E27FC236}">
                    <a16:creationId xmlns:a16="http://schemas.microsoft.com/office/drawing/2014/main" id="{ABA19F7C-B587-3683-47C4-F1BDE268A9FF}"/>
                  </a:ext>
                </a:extLst>
              </p:cNvPr>
              <p:cNvSpPr/>
              <p:nvPr/>
            </p:nvSpPr>
            <p:spPr>
              <a:xfrm>
                <a:off x="2810089" y="2616752"/>
                <a:ext cx="330798" cy="69925"/>
              </a:xfrm>
              <a:prstGeom prst="rect">
                <a:avLst/>
              </a:prstGeom>
              <a:blipFill>
                <a:blip r:embed="rId2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53" name="object 326">
                <a:extLst>
                  <a:ext uri="{FF2B5EF4-FFF2-40B4-BE49-F238E27FC236}">
                    <a16:creationId xmlns:a16="http://schemas.microsoft.com/office/drawing/2014/main" id="{72F62CC0-F96D-ADAA-1D93-E28A8BD3C098}"/>
                  </a:ext>
                </a:extLst>
              </p:cNvPr>
              <p:cNvSpPr/>
              <p:nvPr/>
            </p:nvSpPr>
            <p:spPr>
              <a:xfrm>
                <a:off x="2831605"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54" name="object 327">
                <a:extLst>
                  <a:ext uri="{FF2B5EF4-FFF2-40B4-BE49-F238E27FC236}">
                    <a16:creationId xmlns:a16="http://schemas.microsoft.com/office/drawing/2014/main" id="{C05E8E24-A5BC-8B66-ECDA-225F6F5DC3C6}"/>
                  </a:ext>
                </a:extLst>
              </p:cNvPr>
              <p:cNvSpPr/>
              <p:nvPr/>
            </p:nvSpPr>
            <p:spPr>
              <a:xfrm>
                <a:off x="2822192" y="262885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55" name="object 328">
                <a:extLst>
                  <a:ext uri="{FF2B5EF4-FFF2-40B4-BE49-F238E27FC236}">
                    <a16:creationId xmlns:a16="http://schemas.microsoft.com/office/drawing/2014/main" id="{51134489-F653-EF3D-4BFE-E4690D73BD8C}"/>
                  </a:ext>
                </a:extLst>
              </p:cNvPr>
              <p:cNvSpPr/>
              <p:nvPr/>
            </p:nvSpPr>
            <p:spPr>
              <a:xfrm>
                <a:off x="2810089" y="2525312"/>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56" name="object 329">
                <a:extLst>
                  <a:ext uri="{FF2B5EF4-FFF2-40B4-BE49-F238E27FC236}">
                    <a16:creationId xmlns:a16="http://schemas.microsoft.com/office/drawing/2014/main" id="{D9B6A82C-B392-277B-806A-C77845757995}"/>
                  </a:ext>
                </a:extLst>
              </p:cNvPr>
              <p:cNvSpPr/>
              <p:nvPr/>
            </p:nvSpPr>
            <p:spPr>
              <a:xfrm>
                <a:off x="2831605"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57" name="object 330">
                <a:extLst>
                  <a:ext uri="{FF2B5EF4-FFF2-40B4-BE49-F238E27FC236}">
                    <a16:creationId xmlns:a16="http://schemas.microsoft.com/office/drawing/2014/main" id="{F269B371-E788-104D-BB11-3F6358B35608}"/>
                  </a:ext>
                </a:extLst>
              </p:cNvPr>
              <p:cNvSpPr/>
              <p:nvPr/>
            </p:nvSpPr>
            <p:spPr>
              <a:xfrm>
                <a:off x="2822192" y="2537415"/>
                <a:ext cx="328333" cy="68916"/>
              </a:xfrm>
              <a:custGeom>
                <a:avLst/>
                <a:gdLst/>
                <a:ahLst/>
                <a:cxnLst/>
                <a:rect l="l" t="t" r="r" b="b"/>
                <a:pathLst>
                  <a:path w="372110"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58" name="object 331">
                <a:extLst>
                  <a:ext uri="{FF2B5EF4-FFF2-40B4-BE49-F238E27FC236}">
                    <a16:creationId xmlns:a16="http://schemas.microsoft.com/office/drawing/2014/main" id="{58A50C51-F642-E727-C464-70AF0DFC8281}"/>
                  </a:ext>
                </a:extLst>
              </p:cNvPr>
              <p:cNvSpPr txBox="1"/>
              <p:nvPr/>
            </p:nvSpPr>
            <p:spPr>
              <a:xfrm>
                <a:off x="2863990" y="2540217"/>
                <a:ext cx="14903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59" name="object 332">
                <a:extLst>
                  <a:ext uri="{FF2B5EF4-FFF2-40B4-BE49-F238E27FC236}">
                    <a16:creationId xmlns:a16="http://schemas.microsoft.com/office/drawing/2014/main" id="{5DEC5F42-304E-3379-83FE-C0C1275F506D}"/>
                  </a:ext>
                </a:extLst>
              </p:cNvPr>
              <p:cNvSpPr/>
              <p:nvPr/>
            </p:nvSpPr>
            <p:spPr>
              <a:xfrm>
                <a:off x="2042262" y="2686677"/>
                <a:ext cx="12102" cy="24205"/>
              </a:xfrm>
              <a:prstGeom prst="rect">
                <a:avLst/>
              </a:prstGeom>
              <a:blipFill>
                <a:blip r:embed="rId3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0" name="object 333">
                <a:extLst>
                  <a:ext uri="{FF2B5EF4-FFF2-40B4-BE49-F238E27FC236}">
                    <a16:creationId xmlns:a16="http://schemas.microsoft.com/office/drawing/2014/main" id="{C038BCF5-6F84-3A0D-F1AE-FA6DD19586A3}"/>
                  </a:ext>
                </a:extLst>
              </p:cNvPr>
              <p:cNvSpPr/>
              <p:nvPr/>
            </p:nvSpPr>
            <p:spPr>
              <a:xfrm>
                <a:off x="2042262" y="2596581"/>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1" name="object 334">
                <a:extLst>
                  <a:ext uri="{FF2B5EF4-FFF2-40B4-BE49-F238E27FC236}">
                    <a16:creationId xmlns:a16="http://schemas.microsoft.com/office/drawing/2014/main" id="{955442B0-717B-690D-239C-68D0B99779B3}"/>
                  </a:ext>
                </a:extLst>
              </p:cNvPr>
              <p:cNvSpPr/>
              <p:nvPr/>
            </p:nvSpPr>
            <p:spPr>
              <a:xfrm>
                <a:off x="2042262" y="2506487"/>
                <a:ext cx="12102"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2" name="object 335">
                <a:extLst>
                  <a:ext uri="{FF2B5EF4-FFF2-40B4-BE49-F238E27FC236}">
                    <a16:creationId xmlns:a16="http://schemas.microsoft.com/office/drawing/2014/main" id="{2ACE2DD3-864A-1892-D46E-956399A0BE19}"/>
                  </a:ext>
                </a:extLst>
              </p:cNvPr>
              <p:cNvSpPr/>
              <p:nvPr/>
            </p:nvSpPr>
            <p:spPr>
              <a:xfrm>
                <a:off x="2042262" y="2415046"/>
                <a:ext cx="12102"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3" name="object 336">
                <a:extLst>
                  <a:ext uri="{FF2B5EF4-FFF2-40B4-BE49-F238E27FC236}">
                    <a16:creationId xmlns:a16="http://schemas.microsoft.com/office/drawing/2014/main" id="{64CA50CC-5BD7-7BC0-E676-BA415DDD8D90}"/>
                  </a:ext>
                </a:extLst>
              </p:cNvPr>
              <p:cNvSpPr/>
              <p:nvPr/>
            </p:nvSpPr>
            <p:spPr>
              <a:xfrm>
                <a:off x="2042262" y="2218719"/>
                <a:ext cx="350968"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4" name="object 337">
                <a:extLst>
                  <a:ext uri="{FF2B5EF4-FFF2-40B4-BE49-F238E27FC236}">
                    <a16:creationId xmlns:a16="http://schemas.microsoft.com/office/drawing/2014/main" id="{2920833C-063F-A690-AACA-2E94FBACE81C}"/>
                  </a:ext>
                </a:extLst>
              </p:cNvPr>
              <p:cNvSpPr/>
              <p:nvPr/>
            </p:nvSpPr>
            <p:spPr>
              <a:xfrm>
                <a:off x="2063778" y="2240236"/>
                <a:ext cx="350968"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5" name="object 338">
                <a:extLst>
                  <a:ext uri="{FF2B5EF4-FFF2-40B4-BE49-F238E27FC236}">
                    <a16:creationId xmlns:a16="http://schemas.microsoft.com/office/drawing/2014/main" id="{4AEC4E40-BD8B-E4D9-A730-1AD9AEE4F833}"/>
                  </a:ext>
                </a:extLst>
              </p:cNvPr>
              <p:cNvSpPr/>
              <p:nvPr/>
            </p:nvSpPr>
            <p:spPr>
              <a:xfrm>
                <a:off x="2054365" y="2230821"/>
                <a:ext cx="348503" cy="489697"/>
              </a:xfrm>
              <a:custGeom>
                <a:avLst/>
                <a:gdLst/>
                <a:ahLst/>
                <a:cxnLst/>
                <a:rect l="l" t="t" r="r" b="b"/>
                <a:pathLst>
                  <a:path w="394969" h="554989">
                    <a:moveTo>
                      <a:pt x="0" y="0"/>
                    </a:moveTo>
                    <a:lnTo>
                      <a:pt x="0" y="554736"/>
                    </a:lnTo>
                    <a:lnTo>
                      <a:pt x="394716" y="554736"/>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6" name="object 339">
                <a:extLst>
                  <a:ext uri="{FF2B5EF4-FFF2-40B4-BE49-F238E27FC236}">
                    <a16:creationId xmlns:a16="http://schemas.microsoft.com/office/drawing/2014/main" id="{C988E032-9E08-AC64-A9C5-9E203CEC9C05}"/>
                  </a:ext>
                </a:extLst>
              </p:cNvPr>
              <p:cNvSpPr/>
              <p:nvPr/>
            </p:nvSpPr>
            <p:spPr>
              <a:xfrm>
                <a:off x="2039573" y="2345122"/>
                <a:ext cx="332142" cy="69925"/>
              </a:xfrm>
              <a:prstGeom prst="rect">
                <a:avLst/>
              </a:prstGeom>
              <a:blipFill>
                <a:blip r:embed="rId3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7" name="object 340">
                <a:extLst>
                  <a:ext uri="{FF2B5EF4-FFF2-40B4-BE49-F238E27FC236}">
                    <a16:creationId xmlns:a16="http://schemas.microsoft.com/office/drawing/2014/main" id="{2B09DE9E-3016-523A-AB71-1F04989D902C}"/>
                  </a:ext>
                </a:extLst>
              </p:cNvPr>
              <p:cNvSpPr/>
              <p:nvPr/>
            </p:nvSpPr>
            <p:spPr>
              <a:xfrm>
                <a:off x="2061089" y="2366638"/>
                <a:ext cx="332141" cy="69925"/>
              </a:xfrm>
              <a:prstGeom prst="rect">
                <a:avLst/>
              </a:prstGeom>
              <a:blipFill>
                <a:blip r:embed="rId3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8" name="object 341">
                <a:extLst>
                  <a:ext uri="{FF2B5EF4-FFF2-40B4-BE49-F238E27FC236}">
                    <a16:creationId xmlns:a16="http://schemas.microsoft.com/office/drawing/2014/main" id="{BD7C9130-F5CC-4E11-17D7-27C22EDF3E91}"/>
                  </a:ext>
                </a:extLst>
              </p:cNvPr>
              <p:cNvSpPr/>
              <p:nvPr/>
            </p:nvSpPr>
            <p:spPr>
              <a:xfrm>
                <a:off x="2051675" y="2357224"/>
                <a:ext cx="329453" cy="67235"/>
              </a:xfrm>
              <a:custGeom>
                <a:avLst/>
                <a:gdLst/>
                <a:ahLst/>
                <a:cxnLst/>
                <a:rect l="l" t="t" r="r" b="b"/>
                <a:pathLst>
                  <a:path w="373380" h="76200">
                    <a:moveTo>
                      <a:pt x="0" y="0"/>
                    </a:moveTo>
                    <a:lnTo>
                      <a:pt x="0" y="76200"/>
                    </a:lnTo>
                    <a:lnTo>
                      <a:pt x="373379" y="76200"/>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69" name="object 342">
                <a:extLst>
                  <a:ext uri="{FF2B5EF4-FFF2-40B4-BE49-F238E27FC236}">
                    <a16:creationId xmlns:a16="http://schemas.microsoft.com/office/drawing/2014/main" id="{A8A5717F-461F-B6DA-74CF-06B3F9B65978}"/>
                  </a:ext>
                </a:extLst>
              </p:cNvPr>
              <p:cNvSpPr/>
              <p:nvPr/>
            </p:nvSpPr>
            <p:spPr>
              <a:xfrm>
                <a:off x="2039573" y="2435217"/>
                <a:ext cx="332142" cy="71269"/>
              </a:xfrm>
              <a:prstGeom prst="rect">
                <a:avLst/>
              </a:prstGeom>
              <a:blipFill>
                <a:blip r:embed="rId3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0" name="object 343">
                <a:extLst>
                  <a:ext uri="{FF2B5EF4-FFF2-40B4-BE49-F238E27FC236}">
                    <a16:creationId xmlns:a16="http://schemas.microsoft.com/office/drawing/2014/main" id="{B2E21644-7202-526E-BD14-89B20AFF3F74}"/>
                  </a:ext>
                </a:extLst>
              </p:cNvPr>
              <p:cNvSpPr/>
              <p:nvPr/>
            </p:nvSpPr>
            <p:spPr>
              <a:xfrm>
                <a:off x="2061089" y="2456732"/>
                <a:ext cx="332141" cy="71269"/>
              </a:xfrm>
              <a:prstGeom prst="rect">
                <a:avLst/>
              </a:prstGeom>
              <a:blipFill>
                <a:blip r:embed="rId3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1" name="object 344">
                <a:extLst>
                  <a:ext uri="{FF2B5EF4-FFF2-40B4-BE49-F238E27FC236}">
                    <a16:creationId xmlns:a16="http://schemas.microsoft.com/office/drawing/2014/main" id="{5262B4F8-E551-14EC-3202-9F5C1D5A3CD8}"/>
                  </a:ext>
                </a:extLst>
              </p:cNvPr>
              <p:cNvSpPr/>
              <p:nvPr/>
            </p:nvSpPr>
            <p:spPr>
              <a:xfrm>
                <a:off x="2051675" y="2447321"/>
                <a:ext cx="329453" cy="68916"/>
              </a:xfrm>
              <a:custGeom>
                <a:avLst/>
                <a:gdLst/>
                <a:ahLst/>
                <a:cxnLst/>
                <a:rect l="l" t="t" r="r" b="b"/>
                <a:pathLst>
                  <a:path w="373380" h="78105">
                    <a:moveTo>
                      <a:pt x="0" y="0"/>
                    </a:moveTo>
                    <a:lnTo>
                      <a:pt x="0" y="77724"/>
                    </a:lnTo>
                    <a:lnTo>
                      <a:pt x="373379" y="77724"/>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2" name="object 345">
                <a:extLst>
                  <a:ext uri="{FF2B5EF4-FFF2-40B4-BE49-F238E27FC236}">
                    <a16:creationId xmlns:a16="http://schemas.microsoft.com/office/drawing/2014/main" id="{16A0C44A-3EA7-C604-1473-28698774AC40}"/>
                  </a:ext>
                </a:extLst>
              </p:cNvPr>
              <p:cNvSpPr/>
              <p:nvPr/>
            </p:nvSpPr>
            <p:spPr>
              <a:xfrm>
                <a:off x="2039573" y="2616752"/>
                <a:ext cx="332142" cy="69925"/>
              </a:xfrm>
              <a:prstGeom prst="rect">
                <a:avLst/>
              </a:prstGeom>
              <a:blipFill>
                <a:blip r:embed="rId3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3" name="object 346">
                <a:extLst>
                  <a:ext uri="{FF2B5EF4-FFF2-40B4-BE49-F238E27FC236}">
                    <a16:creationId xmlns:a16="http://schemas.microsoft.com/office/drawing/2014/main" id="{F43FF31C-9B20-9B1F-25A3-44492C5C2818}"/>
                  </a:ext>
                </a:extLst>
              </p:cNvPr>
              <p:cNvSpPr/>
              <p:nvPr/>
            </p:nvSpPr>
            <p:spPr>
              <a:xfrm>
                <a:off x="2061089" y="2638267"/>
                <a:ext cx="332141"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4" name="object 347">
                <a:extLst>
                  <a:ext uri="{FF2B5EF4-FFF2-40B4-BE49-F238E27FC236}">
                    <a16:creationId xmlns:a16="http://schemas.microsoft.com/office/drawing/2014/main" id="{480D777E-B149-E1B6-6EEF-CA7C42101D6E}"/>
                  </a:ext>
                </a:extLst>
              </p:cNvPr>
              <p:cNvSpPr/>
              <p:nvPr/>
            </p:nvSpPr>
            <p:spPr>
              <a:xfrm>
                <a:off x="2051675" y="2628854"/>
                <a:ext cx="329453" cy="67235"/>
              </a:xfrm>
              <a:custGeom>
                <a:avLst/>
                <a:gdLst/>
                <a:ahLst/>
                <a:cxnLst/>
                <a:rect l="l" t="t" r="r" b="b"/>
                <a:pathLst>
                  <a:path w="373380" h="76200">
                    <a:moveTo>
                      <a:pt x="0" y="0"/>
                    </a:moveTo>
                    <a:lnTo>
                      <a:pt x="0" y="76200"/>
                    </a:lnTo>
                    <a:lnTo>
                      <a:pt x="373379" y="76200"/>
                    </a:lnTo>
                    <a:lnTo>
                      <a:pt x="37337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5" name="object 348">
                <a:extLst>
                  <a:ext uri="{FF2B5EF4-FFF2-40B4-BE49-F238E27FC236}">
                    <a16:creationId xmlns:a16="http://schemas.microsoft.com/office/drawing/2014/main" id="{67C6C8DC-0EB9-32EB-D921-5FB69F3DF85C}"/>
                  </a:ext>
                </a:extLst>
              </p:cNvPr>
              <p:cNvSpPr/>
              <p:nvPr/>
            </p:nvSpPr>
            <p:spPr>
              <a:xfrm>
                <a:off x="2039573" y="2525312"/>
                <a:ext cx="332142" cy="71269"/>
              </a:xfrm>
              <a:prstGeom prst="rect">
                <a:avLst/>
              </a:prstGeom>
              <a:blipFill>
                <a:blip r:embed="rId3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6" name="object 349">
                <a:extLst>
                  <a:ext uri="{FF2B5EF4-FFF2-40B4-BE49-F238E27FC236}">
                    <a16:creationId xmlns:a16="http://schemas.microsoft.com/office/drawing/2014/main" id="{0B0BF16B-F5FD-89BD-2141-FC15BAC00013}"/>
                  </a:ext>
                </a:extLst>
              </p:cNvPr>
              <p:cNvSpPr/>
              <p:nvPr/>
            </p:nvSpPr>
            <p:spPr>
              <a:xfrm>
                <a:off x="2061089" y="2546828"/>
                <a:ext cx="332141" cy="71269"/>
              </a:xfrm>
              <a:prstGeom prst="rect">
                <a:avLst/>
              </a:prstGeom>
              <a:blipFill>
                <a:blip r:embed="rId3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7" name="object 350">
                <a:extLst>
                  <a:ext uri="{FF2B5EF4-FFF2-40B4-BE49-F238E27FC236}">
                    <a16:creationId xmlns:a16="http://schemas.microsoft.com/office/drawing/2014/main" id="{8AFB696F-C67A-0D71-B0E1-7940659C90E6}"/>
                  </a:ext>
                </a:extLst>
              </p:cNvPr>
              <p:cNvSpPr/>
              <p:nvPr/>
            </p:nvSpPr>
            <p:spPr>
              <a:xfrm>
                <a:off x="2051675" y="2537415"/>
                <a:ext cx="329453" cy="68916"/>
              </a:xfrm>
              <a:custGeom>
                <a:avLst/>
                <a:gdLst/>
                <a:ahLst/>
                <a:cxnLst/>
                <a:rect l="l" t="t" r="r" b="b"/>
                <a:pathLst>
                  <a:path w="373380" h="78105">
                    <a:moveTo>
                      <a:pt x="0" y="0"/>
                    </a:moveTo>
                    <a:lnTo>
                      <a:pt x="0" y="77723"/>
                    </a:lnTo>
                    <a:lnTo>
                      <a:pt x="373379" y="77723"/>
                    </a:lnTo>
                    <a:lnTo>
                      <a:pt x="373379" y="0"/>
                    </a:lnTo>
                    <a:lnTo>
                      <a:pt x="0" y="0"/>
                    </a:lnTo>
                    <a:close/>
                  </a:path>
                </a:pathLst>
              </a:custGeom>
              <a:solidFill>
                <a:srgbClr val="B1C0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8" name="object 351">
                <a:extLst>
                  <a:ext uri="{FF2B5EF4-FFF2-40B4-BE49-F238E27FC236}">
                    <a16:creationId xmlns:a16="http://schemas.microsoft.com/office/drawing/2014/main" id="{4294D18F-45AF-D5F1-0515-82966ADC7C74}"/>
                  </a:ext>
                </a:extLst>
              </p:cNvPr>
              <p:cNvSpPr/>
              <p:nvPr/>
            </p:nvSpPr>
            <p:spPr>
              <a:xfrm>
                <a:off x="2426848" y="2686677"/>
                <a:ext cx="12103" cy="24205"/>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79" name="object 352">
                <a:extLst>
                  <a:ext uri="{FF2B5EF4-FFF2-40B4-BE49-F238E27FC236}">
                    <a16:creationId xmlns:a16="http://schemas.microsoft.com/office/drawing/2014/main" id="{F88D81D6-E2B8-0D56-6504-8D7CFE510E4B}"/>
                  </a:ext>
                </a:extLst>
              </p:cNvPr>
              <p:cNvSpPr/>
              <p:nvPr/>
            </p:nvSpPr>
            <p:spPr>
              <a:xfrm>
                <a:off x="2426848" y="2596581"/>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0" name="object 353">
                <a:extLst>
                  <a:ext uri="{FF2B5EF4-FFF2-40B4-BE49-F238E27FC236}">
                    <a16:creationId xmlns:a16="http://schemas.microsoft.com/office/drawing/2014/main" id="{DDC1D8A1-44F8-C97F-21EE-BA1E2B74B87E}"/>
                  </a:ext>
                </a:extLst>
              </p:cNvPr>
              <p:cNvSpPr/>
              <p:nvPr/>
            </p:nvSpPr>
            <p:spPr>
              <a:xfrm>
                <a:off x="2426848" y="2506487"/>
                <a:ext cx="12103" cy="18825"/>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1" name="object 354">
                <a:extLst>
                  <a:ext uri="{FF2B5EF4-FFF2-40B4-BE49-F238E27FC236}">
                    <a16:creationId xmlns:a16="http://schemas.microsoft.com/office/drawing/2014/main" id="{492DA079-2D7F-1A1D-EFE9-F4EC2B9601EF}"/>
                  </a:ext>
                </a:extLst>
              </p:cNvPr>
              <p:cNvSpPr/>
              <p:nvPr/>
            </p:nvSpPr>
            <p:spPr>
              <a:xfrm>
                <a:off x="2426848" y="2415046"/>
                <a:ext cx="12103" cy="20170"/>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2" name="object 355">
                <a:extLst>
                  <a:ext uri="{FF2B5EF4-FFF2-40B4-BE49-F238E27FC236}">
                    <a16:creationId xmlns:a16="http://schemas.microsoft.com/office/drawing/2014/main" id="{523D8155-D9B3-9025-4B6C-4ECEBA9D5594}"/>
                  </a:ext>
                </a:extLst>
              </p:cNvPr>
              <p:cNvSpPr/>
              <p:nvPr/>
            </p:nvSpPr>
            <p:spPr>
              <a:xfrm>
                <a:off x="2426848" y="2218719"/>
                <a:ext cx="350968" cy="126402"/>
              </a:xfrm>
              <a:prstGeom prst="rect">
                <a:avLst/>
              </a:prstGeom>
              <a:blipFill>
                <a:blip r:embed="rId1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3" name="object 356">
                <a:extLst>
                  <a:ext uri="{FF2B5EF4-FFF2-40B4-BE49-F238E27FC236}">
                    <a16:creationId xmlns:a16="http://schemas.microsoft.com/office/drawing/2014/main" id="{FF929794-D805-C83F-22A7-356103ACFD23}"/>
                  </a:ext>
                </a:extLst>
              </p:cNvPr>
              <p:cNvSpPr/>
              <p:nvPr/>
            </p:nvSpPr>
            <p:spPr>
              <a:xfrm>
                <a:off x="2448364" y="2240236"/>
                <a:ext cx="350968" cy="492162"/>
              </a:xfrm>
              <a:prstGeom prst="rect">
                <a:avLst/>
              </a:prstGeom>
              <a:blipFill>
                <a:blip r:embed="rId1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4" name="object 357">
                <a:extLst>
                  <a:ext uri="{FF2B5EF4-FFF2-40B4-BE49-F238E27FC236}">
                    <a16:creationId xmlns:a16="http://schemas.microsoft.com/office/drawing/2014/main" id="{F422DD88-B93B-B2A9-2B91-694B9414A067}"/>
                  </a:ext>
                </a:extLst>
              </p:cNvPr>
              <p:cNvSpPr/>
              <p:nvPr/>
            </p:nvSpPr>
            <p:spPr>
              <a:xfrm>
                <a:off x="2438950" y="2230821"/>
                <a:ext cx="348503" cy="489697"/>
              </a:xfrm>
              <a:custGeom>
                <a:avLst/>
                <a:gdLst/>
                <a:ahLst/>
                <a:cxnLst/>
                <a:rect l="l" t="t" r="r" b="b"/>
                <a:pathLst>
                  <a:path w="394969" h="554989">
                    <a:moveTo>
                      <a:pt x="0" y="0"/>
                    </a:moveTo>
                    <a:lnTo>
                      <a:pt x="0" y="554736"/>
                    </a:lnTo>
                    <a:lnTo>
                      <a:pt x="394716" y="554736"/>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5" name="object 358">
                <a:extLst>
                  <a:ext uri="{FF2B5EF4-FFF2-40B4-BE49-F238E27FC236}">
                    <a16:creationId xmlns:a16="http://schemas.microsoft.com/office/drawing/2014/main" id="{5CD8359A-FB8B-9A63-2A29-E040CE6926CC}"/>
                  </a:ext>
                </a:extLst>
              </p:cNvPr>
              <p:cNvSpPr/>
              <p:nvPr/>
            </p:nvSpPr>
            <p:spPr>
              <a:xfrm>
                <a:off x="2425504" y="2345122"/>
                <a:ext cx="330798" cy="69925"/>
              </a:xfrm>
              <a:prstGeom prst="rect">
                <a:avLst/>
              </a:prstGeom>
              <a:blipFill>
                <a:blip r:embed="rId3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6" name="object 359">
                <a:extLst>
                  <a:ext uri="{FF2B5EF4-FFF2-40B4-BE49-F238E27FC236}">
                    <a16:creationId xmlns:a16="http://schemas.microsoft.com/office/drawing/2014/main" id="{38E6EA1D-348A-155D-2237-7217B874B6C1}"/>
                  </a:ext>
                </a:extLst>
              </p:cNvPr>
              <p:cNvSpPr/>
              <p:nvPr/>
            </p:nvSpPr>
            <p:spPr>
              <a:xfrm>
                <a:off x="2447019" y="2366638"/>
                <a:ext cx="330797" cy="69925"/>
              </a:xfrm>
              <a:prstGeom prst="rect">
                <a:avLst/>
              </a:prstGeom>
              <a:blipFill>
                <a:blip r:embed="rId2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7" name="object 360">
                <a:extLst>
                  <a:ext uri="{FF2B5EF4-FFF2-40B4-BE49-F238E27FC236}">
                    <a16:creationId xmlns:a16="http://schemas.microsoft.com/office/drawing/2014/main" id="{572AEE6D-0709-297E-9D19-811D23C3628D}"/>
                  </a:ext>
                </a:extLst>
              </p:cNvPr>
              <p:cNvSpPr/>
              <p:nvPr/>
            </p:nvSpPr>
            <p:spPr>
              <a:xfrm>
                <a:off x="2437606" y="235722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8" name="object 361">
                <a:extLst>
                  <a:ext uri="{FF2B5EF4-FFF2-40B4-BE49-F238E27FC236}">
                    <a16:creationId xmlns:a16="http://schemas.microsoft.com/office/drawing/2014/main" id="{6EBFFB32-2A44-F7BD-44B4-7AA1404120AE}"/>
                  </a:ext>
                </a:extLst>
              </p:cNvPr>
              <p:cNvSpPr/>
              <p:nvPr/>
            </p:nvSpPr>
            <p:spPr>
              <a:xfrm>
                <a:off x="2425504" y="2435217"/>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89" name="object 362">
                <a:extLst>
                  <a:ext uri="{FF2B5EF4-FFF2-40B4-BE49-F238E27FC236}">
                    <a16:creationId xmlns:a16="http://schemas.microsoft.com/office/drawing/2014/main" id="{E0FC83A7-E95A-1CC4-F1F3-3D2F0EABD04C}"/>
                  </a:ext>
                </a:extLst>
              </p:cNvPr>
              <p:cNvSpPr/>
              <p:nvPr/>
            </p:nvSpPr>
            <p:spPr>
              <a:xfrm>
                <a:off x="2447019" y="2456732"/>
                <a:ext cx="330797" cy="71269"/>
              </a:xfrm>
              <a:prstGeom prst="rect">
                <a:avLst/>
              </a:prstGeom>
              <a:blipFill>
                <a:blip r:embed="rId2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90" name="object 363">
                <a:extLst>
                  <a:ext uri="{FF2B5EF4-FFF2-40B4-BE49-F238E27FC236}">
                    <a16:creationId xmlns:a16="http://schemas.microsoft.com/office/drawing/2014/main" id="{5776AFBC-0128-A136-96B1-DD08C2477357}"/>
                  </a:ext>
                </a:extLst>
              </p:cNvPr>
              <p:cNvSpPr/>
              <p:nvPr/>
            </p:nvSpPr>
            <p:spPr>
              <a:xfrm>
                <a:off x="2437606" y="2447321"/>
                <a:ext cx="328333" cy="68916"/>
              </a:xfrm>
              <a:custGeom>
                <a:avLst/>
                <a:gdLst/>
                <a:ahLst/>
                <a:cxnLst/>
                <a:rect l="l" t="t" r="r" b="b"/>
                <a:pathLst>
                  <a:path w="372110" h="78105">
                    <a:moveTo>
                      <a:pt x="0" y="0"/>
                    </a:moveTo>
                    <a:lnTo>
                      <a:pt x="0" y="77724"/>
                    </a:lnTo>
                    <a:lnTo>
                      <a:pt x="371856" y="77724"/>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91" name="object 364">
                <a:extLst>
                  <a:ext uri="{FF2B5EF4-FFF2-40B4-BE49-F238E27FC236}">
                    <a16:creationId xmlns:a16="http://schemas.microsoft.com/office/drawing/2014/main" id="{B16EFB06-A56A-6470-BCB6-D570FC5252DF}"/>
                  </a:ext>
                </a:extLst>
              </p:cNvPr>
              <p:cNvSpPr/>
              <p:nvPr/>
            </p:nvSpPr>
            <p:spPr>
              <a:xfrm>
                <a:off x="2425504" y="2616752"/>
                <a:ext cx="330798" cy="69925"/>
              </a:xfrm>
              <a:prstGeom prst="rect">
                <a:avLst/>
              </a:prstGeom>
              <a:blipFill>
                <a:blip r:embed="rId3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92" name="object 365">
                <a:extLst>
                  <a:ext uri="{FF2B5EF4-FFF2-40B4-BE49-F238E27FC236}">
                    <a16:creationId xmlns:a16="http://schemas.microsoft.com/office/drawing/2014/main" id="{E2439D57-BC6A-9A0E-270F-FAB34B5EBA14}"/>
                  </a:ext>
                </a:extLst>
              </p:cNvPr>
              <p:cNvSpPr/>
              <p:nvPr/>
            </p:nvSpPr>
            <p:spPr>
              <a:xfrm>
                <a:off x="2447019" y="2638267"/>
                <a:ext cx="330797" cy="69925"/>
              </a:xfrm>
              <a:prstGeom prst="rect">
                <a:avLst/>
              </a:prstGeom>
              <a:blipFill>
                <a:blip r:embed="rId2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93" name="object 366">
                <a:extLst>
                  <a:ext uri="{FF2B5EF4-FFF2-40B4-BE49-F238E27FC236}">
                    <a16:creationId xmlns:a16="http://schemas.microsoft.com/office/drawing/2014/main" id="{2D4FEA2D-A982-323F-C71E-7D7F3539026B}"/>
                  </a:ext>
                </a:extLst>
              </p:cNvPr>
              <p:cNvSpPr/>
              <p:nvPr/>
            </p:nvSpPr>
            <p:spPr>
              <a:xfrm>
                <a:off x="2437606" y="2628854"/>
                <a:ext cx="328333" cy="67235"/>
              </a:xfrm>
              <a:custGeom>
                <a:avLst/>
                <a:gdLst/>
                <a:ahLst/>
                <a:cxnLst/>
                <a:rect l="l" t="t" r="r" b="b"/>
                <a:pathLst>
                  <a:path w="372110" h="76200">
                    <a:moveTo>
                      <a:pt x="0" y="0"/>
                    </a:moveTo>
                    <a:lnTo>
                      <a:pt x="0" y="76200"/>
                    </a:lnTo>
                    <a:lnTo>
                      <a:pt x="371856" y="76200"/>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94" name="object 367">
                <a:extLst>
                  <a:ext uri="{FF2B5EF4-FFF2-40B4-BE49-F238E27FC236}">
                    <a16:creationId xmlns:a16="http://schemas.microsoft.com/office/drawing/2014/main" id="{6B451812-E00B-24A2-627C-00B8C779B65F}"/>
                  </a:ext>
                </a:extLst>
              </p:cNvPr>
              <p:cNvSpPr txBox="1"/>
              <p:nvPr/>
            </p:nvSpPr>
            <p:spPr>
              <a:xfrm>
                <a:off x="1708860" y="2630648"/>
                <a:ext cx="20077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95" name="object 368">
                <a:extLst>
                  <a:ext uri="{FF2B5EF4-FFF2-40B4-BE49-F238E27FC236}">
                    <a16:creationId xmlns:a16="http://schemas.microsoft.com/office/drawing/2014/main" id="{BB1D9800-2E8E-FE01-902E-1FD22F304AFF}"/>
                  </a:ext>
                </a:extLst>
              </p:cNvPr>
              <p:cNvSpPr/>
              <p:nvPr/>
            </p:nvSpPr>
            <p:spPr>
              <a:xfrm>
                <a:off x="2425504" y="2525312"/>
                <a:ext cx="330798" cy="71269"/>
              </a:xfrm>
              <a:prstGeom prst="rect">
                <a:avLst/>
              </a:prstGeom>
              <a:blipFill>
                <a:blip r:embed="rId2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96" name="object 369">
                <a:extLst>
                  <a:ext uri="{FF2B5EF4-FFF2-40B4-BE49-F238E27FC236}">
                    <a16:creationId xmlns:a16="http://schemas.microsoft.com/office/drawing/2014/main" id="{712E5DDC-9A52-1D1A-19F0-45C0F9B54E75}"/>
                  </a:ext>
                </a:extLst>
              </p:cNvPr>
              <p:cNvSpPr/>
              <p:nvPr/>
            </p:nvSpPr>
            <p:spPr>
              <a:xfrm>
                <a:off x="2447019" y="2546828"/>
                <a:ext cx="330797" cy="71269"/>
              </a:xfrm>
              <a:prstGeom prst="rect">
                <a:avLst/>
              </a:prstGeom>
              <a:blipFill>
                <a:blip r:embed="rId2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97" name="object 370">
                <a:extLst>
                  <a:ext uri="{FF2B5EF4-FFF2-40B4-BE49-F238E27FC236}">
                    <a16:creationId xmlns:a16="http://schemas.microsoft.com/office/drawing/2014/main" id="{408B705D-0EF9-6206-E594-A78DF9B88BC6}"/>
                  </a:ext>
                </a:extLst>
              </p:cNvPr>
              <p:cNvSpPr/>
              <p:nvPr/>
            </p:nvSpPr>
            <p:spPr>
              <a:xfrm>
                <a:off x="2437606" y="2537415"/>
                <a:ext cx="328333" cy="68916"/>
              </a:xfrm>
              <a:custGeom>
                <a:avLst/>
                <a:gdLst/>
                <a:ahLst/>
                <a:cxnLst/>
                <a:rect l="l" t="t" r="r" b="b"/>
                <a:pathLst>
                  <a:path w="372110" h="78105">
                    <a:moveTo>
                      <a:pt x="0" y="0"/>
                    </a:moveTo>
                    <a:lnTo>
                      <a:pt x="0" y="77723"/>
                    </a:lnTo>
                    <a:lnTo>
                      <a:pt x="371856" y="77723"/>
                    </a:lnTo>
                    <a:lnTo>
                      <a:pt x="371856" y="0"/>
                    </a:lnTo>
                    <a:lnTo>
                      <a:pt x="0" y="0"/>
                    </a:lnTo>
                    <a:close/>
                  </a:path>
                </a:pathLst>
              </a:custGeom>
              <a:solidFill>
                <a:srgbClr val="B1C0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798" name="object 371">
                <a:extLst>
                  <a:ext uri="{FF2B5EF4-FFF2-40B4-BE49-F238E27FC236}">
                    <a16:creationId xmlns:a16="http://schemas.microsoft.com/office/drawing/2014/main" id="{AE2AEA7D-6669-DF15-67A7-106221A3AAD5}"/>
                  </a:ext>
                </a:extLst>
              </p:cNvPr>
              <p:cNvSpPr txBox="1"/>
              <p:nvPr/>
            </p:nvSpPr>
            <p:spPr>
              <a:xfrm>
                <a:off x="2093989" y="2150880"/>
                <a:ext cx="650501" cy="55897"/>
              </a:xfrm>
              <a:prstGeom prst="rect">
                <a:avLst/>
              </a:prstGeom>
            </p:spPr>
            <p:txBody>
              <a:bodyPr vert="horz" wrap="square" lIns="0" tIns="0" rIns="0" bIns="0" rtlCol="0">
                <a:spAutoFit/>
              </a:bodyPr>
              <a:lstStyle/>
              <a:p>
                <a:pPr marL="3922"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0" normalizeH="0" baseline="0" noProof="0" dirty="0">
                    <a:ln>
                      <a:noFill/>
                    </a:ln>
                    <a:solidFill>
                      <a:srgbClr val="FFFFFF"/>
                    </a:solidFill>
                    <a:effectLst/>
                    <a:uLnTx/>
                    <a:uFillTx/>
                    <a:latin typeface="Open Sans"/>
                    <a:cs typeface="Open Sans" panose="020B0606030504020204" pitchFamily="34" charset="0"/>
                  </a:rPr>
                  <a:t>Managemen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799" name="object 297">
                <a:extLst>
                  <a:ext uri="{FF2B5EF4-FFF2-40B4-BE49-F238E27FC236}">
                    <a16:creationId xmlns:a16="http://schemas.microsoft.com/office/drawing/2014/main" id="{17BCC68F-55B9-B471-9FD7-3C665030ADC2}"/>
                  </a:ext>
                </a:extLst>
              </p:cNvPr>
              <p:cNvSpPr txBox="1"/>
              <p:nvPr/>
            </p:nvSpPr>
            <p:spPr>
              <a:xfrm>
                <a:off x="2092974" y="2359241"/>
                <a:ext cx="12886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00" name="object 301">
                <a:extLst>
                  <a:ext uri="{FF2B5EF4-FFF2-40B4-BE49-F238E27FC236}">
                    <a16:creationId xmlns:a16="http://schemas.microsoft.com/office/drawing/2014/main" id="{DC7EFB0D-6DB5-A659-49D8-34F6A0BB046F}"/>
                  </a:ext>
                </a:extLst>
              </p:cNvPr>
              <p:cNvSpPr txBox="1"/>
              <p:nvPr/>
            </p:nvSpPr>
            <p:spPr>
              <a:xfrm>
                <a:off x="2092974" y="2449562"/>
                <a:ext cx="245969"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01" name="object 307">
                <a:extLst>
                  <a:ext uri="{FF2B5EF4-FFF2-40B4-BE49-F238E27FC236}">
                    <a16:creationId xmlns:a16="http://schemas.microsoft.com/office/drawing/2014/main" id="{E1FD1C1C-48E1-7371-0504-6151F10F1D07}"/>
                  </a:ext>
                </a:extLst>
              </p:cNvPr>
              <p:cNvSpPr/>
              <p:nvPr/>
            </p:nvSpPr>
            <p:spPr>
              <a:xfrm>
                <a:off x="2051203"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02" name="object 308">
                <a:extLst>
                  <a:ext uri="{FF2B5EF4-FFF2-40B4-BE49-F238E27FC236}">
                    <a16:creationId xmlns:a16="http://schemas.microsoft.com/office/drawing/2014/main" id="{079551C2-8E68-01F9-485E-C4BC9F1D4BC2}"/>
                  </a:ext>
                </a:extLst>
              </p:cNvPr>
              <p:cNvSpPr txBox="1"/>
              <p:nvPr/>
            </p:nvSpPr>
            <p:spPr>
              <a:xfrm>
                <a:off x="2092974" y="2540217"/>
                <a:ext cx="14903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03" name="object 297">
                <a:extLst>
                  <a:ext uri="{FF2B5EF4-FFF2-40B4-BE49-F238E27FC236}">
                    <a16:creationId xmlns:a16="http://schemas.microsoft.com/office/drawing/2014/main" id="{3D298CF9-1D8B-F78C-8585-BC114199BF4C}"/>
                  </a:ext>
                </a:extLst>
              </p:cNvPr>
              <p:cNvSpPr txBox="1"/>
              <p:nvPr/>
            </p:nvSpPr>
            <p:spPr>
              <a:xfrm>
                <a:off x="2495910" y="2359241"/>
                <a:ext cx="12886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R+D</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04" name="object 301">
                <a:extLst>
                  <a:ext uri="{FF2B5EF4-FFF2-40B4-BE49-F238E27FC236}">
                    <a16:creationId xmlns:a16="http://schemas.microsoft.com/office/drawing/2014/main" id="{731E5CEB-D147-2F3A-2A5B-27FCD21F3D73}"/>
                  </a:ext>
                </a:extLst>
              </p:cNvPr>
              <p:cNvSpPr txBox="1"/>
              <p:nvPr/>
            </p:nvSpPr>
            <p:spPr>
              <a:xfrm>
                <a:off x="2495910" y="2449562"/>
                <a:ext cx="245969"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Marketing</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05" name="object 307">
                <a:extLst>
                  <a:ext uri="{FF2B5EF4-FFF2-40B4-BE49-F238E27FC236}">
                    <a16:creationId xmlns:a16="http://schemas.microsoft.com/office/drawing/2014/main" id="{7DA55395-B85E-198C-2E20-C4684E5A4F9D}"/>
                  </a:ext>
                </a:extLst>
              </p:cNvPr>
              <p:cNvSpPr/>
              <p:nvPr/>
            </p:nvSpPr>
            <p:spPr>
              <a:xfrm>
                <a:off x="2454139" y="2537415"/>
                <a:ext cx="328333" cy="68916"/>
              </a:xfrm>
              <a:custGeom>
                <a:avLst/>
                <a:gdLst/>
                <a:ahLst/>
                <a:cxnLst/>
                <a:rect l="l" t="t" r="r" b="b"/>
                <a:pathLst>
                  <a:path w="372109" h="78105">
                    <a:moveTo>
                      <a:pt x="0" y="0"/>
                    </a:moveTo>
                    <a:lnTo>
                      <a:pt x="0" y="77723"/>
                    </a:lnTo>
                    <a:lnTo>
                      <a:pt x="371856" y="77723"/>
                    </a:lnTo>
                    <a:lnTo>
                      <a:pt x="371856"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806" name="object 308">
                <a:extLst>
                  <a:ext uri="{FF2B5EF4-FFF2-40B4-BE49-F238E27FC236}">
                    <a16:creationId xmlns:a16="http://schemas.microsoft.com/office/drawing/2014/main" id="{6A56438B-ABB2-E1D7-C572-062EF68BB121}"/>
                  </a:ext>
                </a:extLst>
              </p:cNvPr>
              <p:cNvSpPr txBox="1"/>
              <p:nvPr/>
            </p:nvSpPr>
            <p:spPr>
              <a:xfrm>
                <a:off x="2495910" y="2540217"/>
                <a:ext cx="14903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Sa</a:t>
                </a: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l</a:t>
                </a:r>
                <a:r>
                  <a:rPr kumimoji="0" lang="en-AU" sz="397" u="none" strike="noStrike" kern="0" cap="none" spc="-14" normalizeH="0" baseline="0" noProof="0" dirty="0">
                    <a:ln>
                      <a:noFill/>
                    </a:ln>
                    <a:solidFill>
                      <a:srgbClr val="231F20"/>
                    </a:solidFill>
                    <a:effectLst/>
                    <a:uLnTx/>
                    <a:uFillTx/>
                    <a:latin typeface="Open Sans"/>
                    <a:cs typeface="Open Sans" panose="020B0606030504020204" pitchFamily="34" charset="0"/>
                  </a:rPr>
                  <a:t>e</a:t>
                </a:r>
                <a:r>
                  <a:rPr kumimoji="0" lang="en-AU" sz="397" u="none" strike="noStrike" kern="0" cap="none" spc="0" normalizeH="0" baseline="0" noProof="0" dirty="0">
                    <a:ln>
                      <a:noFill/>
                    </a:ln>
                    <a:solidFill>
                      <a:srgbClr val="231F20"/>
                    </a:solidFill>
                    <a:effectLst/>
                    <a:uLnTx/>
                    <a:uFillTx/>
                    <a:latin typeface="Open Sans"/>
                    <a:cs typeface="Open Sans" panose="020B0606030504020204" pitchFamily="34" charset="0"/>
                  </a:rPr>
                  <a:t>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07" name="object 367">
                <a:extLst>
                  <a:ext uri="{FF2B5EF4-FFF2-40B4-BE49-F238E27FC236}">
                    <a16:creationId xmlns:a16="http://schemas.microsoft.com/office/drawing/2014/main" id="{26C0B643-35C0-94B3-5400-04F2C719B545}"/>
                  </a:ext>
                </a:extLst>
              </p:cNvPr>
              <p:cNvSpPr txBox="1"/>
              <p:nvPr/>
            </p:nvSpPr>
            <p:spPr>
              <a:xfrm>
                <a:off x="2092974" y="2630648"/>
                <a:ext cx="20077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08" name="object 367">
                <a:extLst>
                  <a:ext uri="{FF2B5EF4-FFF2-40B4-BE49-F238E27FC236}">
                    <a16:creationId xmlns:a16="http://schemas.microsoft.com/office/drawing/2014/main" id="{E9B5F218-3A2D-6BDB-D845-44A419B17958}"/>
                  </a:ext>
                </a:extLst>
              </p:cNvPr>
              <p:cNvSpPr txBox="1"/>
              <p:nvPr/>
            </p:nvSpPr>
            <p:spPr>
              <a:xfrm>
                <a:off x="2495910" y="2630648"/>
                <a:ext cx="20077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09" name="object 367">
                <a:extLst>
                  <a:ext uri="{FF2B5EF4-FFF2-40B4-BE49-F238E27FC236}">
                    <a16:creationId xmlns:a16="http://schemas.microsoft.com/office/drawing/2014/main" id="{6944D312-6FE4-AA47-3959-7B61A721C77D}"/>
                  </a:ext>
                </a:extLst>
              </p:cNvPr>
              <p:cNvSpPr txBox="1"/>
              <p:nvPr/>
            </p:nvSpPr>
            <p:spPr>
              <a:xfrm>
                <a:off x="2863990" y="2630648"/>
                <a:ext cx="200778" cy="50350"/>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tab pos="396123" algn="l"/>
                    <a:tab pos="781041" algn="l"/>
                    <a:tab pos="1165959" algn="l"/>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duction</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10" name="object 293">
                <a:extLst>
                  <a:ext uri="{FF2B5EF4-FFF2-40B4-BE49-F238E27FC236}">
                    <a16:creationId xmlns:a16="http://schemas.microsoft.com/office/drawing/2014/main" id="{110F5FC7-6A03-6BCE-37DC-524F1FF1B35D}"/>
                  </a:ext>
                </a:extLst>
              </p:cNvPr>
              <p:cNvSpPr txBox="1"/>
              <p:nvPr/>
            </p:nvSpPr>
            <p:spPr>
              <a:xfrm>
                <a:off x="2294954" y="2791099"/>
                <a:ext cx="261097" cy="55897"/>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Finance</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11" name="object 293">
                <a:extLst>
                  <a:ext uri="{FF2B5EF4-FFF2-40B4-BE49-F238E27FC236}">
                    <a16:creationId xmlns:a16="http://schemas.microsoft.com/office/drawing/2014/main" id="{07DFDAC7-8419-67F1-4AE9-39D625E68777}"/>
                  </a:ext>
                </a:extLst>
              </p:cNvPr>
              <p:cNvSpPr txBox="1"/>
              <p:nvPr/>
            </p:nvSpPr>
            <p:spPr>
              <a:xfrm>
                <a:off x="2294954" y="2915969"/>
                <a:ext cx="261097" cy="55897"/>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HR</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12" name="object 293">
                <a:extLst>
                  <a:ext uri="{FF2B5EF4-FFF2-40B4-BE49-F238E27FC236}">
                    <a16:creationId xmlns:a16="http://schemas.microsoft.com/office/drawing/2014/main" id="{8A843873-8A31-732C-0A1C-DDC86CAFA387}"/>
                  </a:ext>
                </a:extLst>
              </p:cNvPr>
              <p:cNvSpPr txBox="1"/>
              <p:nvPr/>
            </p:nvSpPr>
            <p:spPr>
              <a:xfrm>
                <a:off x="2294954" y="3045759"/>
                <a:ext cx="261097" cy="55897"/>
              </a:xfrm>
              <a:prstGeom prst="rect">
                <a:avLst/>
              </a:prstGeom>
            </p:spPr>
            <p:txBody>
              <a:bodyPr vert="horz" wrap="square" lIns="0" tIns="0" rIns="0" bIns="0" rtlCol="0">
                <a:spAutoFit/>
              </a:bodyPr>
              <a:lstStyle/>
              <a:p>
                <a:pPr marL="11206"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I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13" name="object 293">
                <a:extLst>
                  <a:ext uri="{FF2B5EF4-FFF2-40B4-BE49-F238E27FC236}">
                    <a16:creationId xmlns:a16="http://schemas.microsoft.com/office/drawing/2014/main" id="{E9AECD86-49EE-1DD4-EBFA-A121392D6123}"/>
                  </a:ext>
                </a:extLst>
              </p:cNvPr>
              <p:cNvSpPr txBox="1"/>
              <p:nvPr/>
            </p:nvSpPr>
            <p:spPr>
              <a:xfrm>
                <a:off x="2054223" y="2254528"/>
                <a:ext cx="356121" cy="5589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Segment 2</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14" name="object 293">
                <a:extLst>
                  <a:ext uri="{FF2B5EF4-FFF2-40B4-BE49-F238E27FC236}">
                    <a16:creationId xmlns:a16="http://schemas.microsoft.com/office/drawing/2014/main" id="{8A5E3F49-C418-71C9-C58B-B0D26407ED68}"/>
                  </a:ext>
                </a:extLst>
              </p:cNvPr>
              <p:cNvSpPr txBox="1"/>
              <p:nvPr/>
            </p:nvSpPr>
            <p:spPr>
              <a:xfrm>
                <a:off x="2435491" y="2254528"/>
                <a:ext cx="356121" cy="5589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Segment 3</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815" name="object 293">
                <a:extLst>
                  <a:ext uri="{FF2B5EF4-FFF2-40B4-BE49-F238E27FC236}">
                    <a16:creationId xmlns:a16="http://schemas.microsoft.com/office/drawing/2014/main" id="{A9258D01-2631-2D8E-B27F-E2339D511467}"/>
                  </a:ext>
                </a:extLst>
              </p:cNvPr>
              <p:cNvSpPr txBox="1"/>
              <p:nvPr/>
            </p:nvSpPr>
            <p:spPr>
              <a:xfrm>
                <a:off x="2822522" y="2254528"/>
                <a:ext cx="356121" cy="55897"/>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5" normalizeH="0" baseline="0" noProof="0" dirty="0">
                    <a:ln>
                      <a:noFill/>
                    </a:ln>
                    <a:solidFill>
                      <a:srgbClr val="231F20"/>
                    </a:solidFill>
                    <a:effectLst/>
                    <a:uLnTx/>
                    <a:uFillTx/>
                    <a:latin typeface="Open Sans"/>
                    <a:cs typeface="Open Sans" panose="020B0606030504020204" pitchFamily="34" charset="0"/>
                  </a:rPr>
                  <a:t>Segment 4</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sp>
          <p:nvSpPr>
            <p:cNvPr id="1041" name="TextBox 1040">
              <a:extLst>
                <a:ext uri="{FF2B5EF4-FFF2-40B4-BE49-F238E27FC236}">
                  <a16:creationId xmlns:a16="http://schemas.microsoft.com/office/drawing/2014/main" id="{AAE45011-78F4-7BB1-A291-B44A0475EF20}"/>
                </a:ext>
              </a:extLst>
            </p:cNvPr>
            <p:cNvSpPr txBox="1"/>
            <p:nvPr/>
          </p:nvSpPr>
          <p:spPr>
            <a:xfrm>
              <a:off x="3317690" y="1656246"/>
              <a:ext cx="1598169" cy="278923"/>
            </a:xfrm>
            <a:prstGeom prst="rect">
              <a:avLst/>
            </a:prstGeom>
            <a:noFill/>
          </p:spPr>
          <p:txBody>
            <a:bodyPr wrap="square">
              <a:spAutoFit/>
            </a:bodyPr>
            <a:lstStyle/>
            <a:p>
              <a:pPr>
                <a:lnSpc>
                  <a:spcPct val="106000"/>
                </a:lnSpc>
                <a:buFont typeface="Wingdings 2" pitchFamily="18" charset="2"/>
                <a:buNone/>
                <a:defRPr/>
              </a:pPr>
              <a:r>
                <a:rPr lang="en-AU" sz="1200" dirty="0">
                  <a:solidFill>
                    <a:prstClr val="black"/>
                  </a:solidFill>
                  <a:latin typeface="Open Sans"/>
                  <a:cs typeface="Calibri" panose="020F0502020204030204" pitchFamily="34" charset="0"/>
                </a:rPr>
                <a:t>Customer </a:t>
              </a:r>
              <a:r>
                <a:rPr lang="hu-HU" sz="1200" dirty="0" err="1">
                  <a:solidFill>
                    <a:prstClr val="black"/>
                  </a:solidFill>
                  <a:latin typeface="Open Sans"/>
                  <a:cs typeface="Calibri" panose="020F0502020204030204" pitchFamily="34" charset="0"/>
                </a:rPr>
                <a:t>oriented</a:t>
              </a:r>
              <a:endParaRPr lang="en-AU" sz="1200" dirty="0">
                <a:solidFill>
                  <a:prstClr val="black"/>
                </a:solidFill>
                <a:latin typeface="Open Sans"/>
                <a:cs typeface="Calibri" panose="020F0502020204030204" pitchFamily="34" charset="0"/>
              </a:endParaRPr>
            </a:p>
          </p:txBody>
        </p:sp>
        <p:sp>
          <p:nvSpPr>
            <p:cNvPr id="1102" name="TextBox 1101">
              <a:extLst>
                <a:ext uri="{FF2B5EF4-FFF2-40B4-BE49-F238E27FC236}">
                  <a16:creationId xmlns:a16="http://schemas.microsoft.com/office/drawing/2014/main" id="{6853C5DB-2C31-6B03-4510-78F59C10752C}"/>
                </a:ext>
              </a:extLst>
            </p:cNvPr>
            <p:cNvSpPr txBox="1"/>
            <p:nvPr/>
          </p:nvSpPr>
          <p:spPr>
            <a:xfrm rot="1610013">
              <a:off x="4927744" y="1990286"/>
              <a:ext cx="687779" cy="123111"/>
            </a:xfrm>
            <a:prstGeom prst="rect">
              <a:avLst/>
            </a:prstGeom>
            <a:solidFill>
              <a:sysClr val="window" lastClr="FFFFFF"/>
            </a:solidFill>
            <a:ln>
              <a:solidFill>
                <a:srgbClr val="FF0000"/>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r>
                <a:rPr kumimoji="0" lang="en-AU" sz="800" b="1" i="0" u="none" strike="noStrike" kern="0" cap="none" spc="0" normalizeH="0" baseline="0" noProof="0" dirty="0">
                  <a:ln>
                    <a:noFill/>
                  </a:ln>
                  <a:solidFill>
                    <a:srgbClr val="313131"/>
                  </a:solidFill>
                  <a:effectLst/>
                  <a:uLnTx/>
                  <a:uFillTx/>
                  <a:latin typeface="Open Sans"/>
                  <a:cs typeface="Calibri" panose="020F0502020204030204" pitchFamily="34" charset="0"/>
                </a:rPr>
                <a:t>Example</a:t>
              </a: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p>
          </p:txBody>
        </p:sp>
        <p:sp>
          <p:nvSpPr>
            <p:cNvPr id="1274" name="Oval 1273">
              <a:extLst>
                <a:ext uri="{FF2B5EF4-FFF2-40B4-BE49-F238E27FC236}">
                  <a16:creationId xmlns:a16="http://schemas.microsoft.com/office/drawing/2014/main" id="{30844B56-1B10-F0E7-D795-0EDDC58BA86A}"/>
                </a:ext>
              </a:extLst>
            </p:cNvPr>
            <p:cNvSpPr/>
            <p:nvPr/>
          </p:nvSpPr>
          <p:spPr bwMode="gray">
            <a:xfrm>
              <a:off x="3136299" y="1673459"/>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noProof="0" dirty="0">
                  <a:ln>
                    <a:noFill/>
                  </a:ln>
                  <a:solidFill>
                    <a:prstClr val="black"/>
                  </a:solidFill>
                  <a:effectLst/>
                  <a:uLnTx/>
                  <a:uFillTx/>
                  <a:latin typeface="Open Sans"/>
                </a:rPr>
                <a:t>3</a:t>
              </a:r>
            </a:p>
          </p:txBody>
        </p:sp>
      </p:grpSp>
      <p:grpSp>
        <p:nvGrpSpPr>
          <p:cNvPr id="44" name="Group 43">
            <a:extLst>
              <a:ext uri="{FF2B5EF4-FFF2-40B4-BE49-F238E27FC236}">
                <a16:creationId xmlns:a16="http://schemas.microsoft.com/office/drawing/2014/main" id="{619D1873-BB66-5AC0-85AF-0989FA5588FE}"/>
              </a:ext>
            </a:extLst>
          </p:cNvPr>
          <p:cNvGrpSpPr/>
          <p:nvPr/>
        </p:nvGrpSpPr>
        <p:grpSpPr>
          <a:xfrm>
            <a:off x="6191459" y="1505771"/>
            <a:ext cx="2515487" cy="1548029"/>
            <a:chOff x="6134151" y="1656246"/>
            <a:chExt cx="2515487" cy="1548029"/>
          </a:xfrm>
        </p:grpSpPr>
        <p:sp>
          <p:nvSpPr>
            <p:cNvPr id="1042" name="TextBox 1041">
              <a:extLst>
                <a:ext uri="{FF2B5EF4-FFF2-40B4-BE49-F238E27FC236}">
                  <a16:creationId xmlns:a16="http://schemas.microsoft.com/office/drawing/2014/main" id="{419C5A16-7186-7112-AB35-F66E366E35CF}"/>
                </a:ext>
              </a:extLst>
            </p:cNvPr>
            <p:cNvSpPr txBox="1"/>
            <p:nvPr/>
          </p:nvSpPr>
          <p:spPr>
            <a:xfrm>
              <a:off x="6277723" y="1656246"/>
              <a:ext cx="1441189" cy="278923"/>
            </a:xfrm>
            <a:prstGeom prst="rect">
              <a:avLst/>
            </a:prstGeom>
            <a:noFill/>
          </p:spPr>
          <p:txBody>
            <a:bodyPr wrap="square">
              <a:spAutoFit/>
            </a:bodyPr>
            <a:lstStyle/>
            <a:p>
              <a:pPr algn="ctr">
                <a:lnSpc>
                  <a:spcPct val="106000"/>
                </a:lnSpc>
                <a:buFont typeface="Wingdings 2" pitchFamily="18" charset="2"/>
                <a:buNone/>
                <a:defRPr/>
              </a:pPr>
              <a:r>
                <a:rPr lang="hu-HU" sz="1200" dirty="0" err="1">
                  <a:solidFill>
                    <a:prstClr val="black"/>
                  </a:solidFill>
                  <a:latin typeface="Open Sans"/>
                  <a:cs typeface="Calibri" panose="020F0502020204030204" pitchFamily="34" charset="0"/>
                </a:rPr>
                <a:t>Process</a:t>
              </a:r>
              <a:r>
                <a:rPr lang="hu-HU" sz="1200" dirty="0">
                  <a:solidFill>
                    <a:prstClr val="black"/>
                  </a:solidFill>
                  <a:latin typeface="Open Sans"/>
                  <a:cs typeface="Calibri" panose="020F0502020204030204" pitchFamily="34" charset="0"/>
                </a:rPr>
                <a:t> </a:t>
              </a:r>
              <a:r>
                <a:rPr lang="hu-HU" sz="1200" dirty="0" err="1">
                  <a:solidFill>
                    <a:prstClr val="black"/>
                  </a:solidFill>
                  <a:latin typeface="Open Sans"/>
                  <a:cs typeface="Calibri" panose="020F0502020204030204" pitchFamily="34" charset="0"/>
                </a:rPr>
                <a:t>oriented</a:t>
              </a:r>
              <a:endParaRPr lang="en-AU" sz="1200" dirty="0">
                <a:solidFill>
                  <a:prstClr val="black"/>
                </a:solidFill>
                <a:latin typeface="Open Sans"/>
                <a:cs typeface="Calibri" panose="020F0502020204030204" pitchFamily="34" charset="0"/>
              </a:endParaRPr>
            </a:p>
          </p:txBody>
        </p:sp>
        <p:grpSp>
          <p:nvGrpSpPr>
            <p:cNvPr id="1044" name="Group 1043">
              <a:extLst>
                <a:ext uri="{FF2B5EF4-FFF2-40B4-BE49-F238E27FC236}">
                  <a16:creationId xmlns:a16="http://schemas.microsoft.com/office/drawing/2014/main" id="{092D14B8-D201-D3FA-23E9-A5B710439296}"/>
                </a:ext>
              </a:extLst>
            </p:cNvPr>
            <p:cNvGrpSpPr/>
            <p:nvPr/>
          </p:nvGrpSpPr>
          <p:grpSpPr>
            <a:xfrm>
              <a:off x="6143367" y="1960696"/>
              <a:ext cx="2322576" cy="1243579"/>
              <a:chOff x="9028878" y="1771095"/>
              <a:chExt cx="2322576" cy="1243579"/>
            </a:xfrm>
          </p:grpSpPr>
          <p:grpSp>
            <p:nvGrpSpPr>
              <p:cNvPr id="1045" name="Group 1044">
                <a:extLst>
                  <a:ext uri="{FF2B5EF4-FFF2-40B4-BE49-F238E27FC236}">
                    <a16:creationId xmlns:a16="http://schemas.microsoft.com/office/drawing/2014/main" id="{240331BA-22FA-E315-EE56-4817FAF07B08}"/>
                  </a:ext>
                </a:extLst>
              </p:cNvPr>
              <p:cNvGrpSpPr/>
              <p:nvPr/>
            </p:nvGrpSpPr>
            <p:grpSpPr>
              <a:xfrm>
                <a:off x="9028878" y="1771095"/>
                <a:ext cx="2322576" cy="1243579"/>
                <a:chOff x="1661967" y="4700617"/>
                <a:chExt cx="1574662" cy="965510"/>
              </a:xfrm>
            </p:grpSpPr>
            <p:sp>
              <p:nvSpPr>
                <p:cNvPr id="1049" name="object 138">
                  <a:extLst>
                    <a:ext uri="{FF2B5EF4-FFF2-40B4-BE49-F238E27FC236}">
                      <a16:creationId xmlns:a16="http://schemas.microsoft.com/office/drawing/2014/main" id="{25E05570-E54F-23AC-7871-FB56B5FEEBD9}"/>
                    </a:ext>
                  </a:extLst>
                </p:cNvPr>
                <p:cNvSpPr/>
                <p:nvPr/>
              </p:nvSpPr>
              <p:spPr>
                <a:xfrm>
                  <a:off x="1717101" y="5264050"/>
                  <a:ext cx="1498013" cy="92784"/>
                </a:xfrm>
                <a:prstGeom prst="rect">
                  <a:avLst/>
                </a:prstGeom>
                <a:blipFill>
                  <a:blip r:embed="rId5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50" name="object 139">
                  <a:extLst>
                    <a:ext uri="{FF2B5EF4-FFF2-40B4-BE49-F238E27FC236}">
                      <a16:creationId xmlns:a16="http://schemas.microsoft.com/office/drawing/2014/main" id="{1B4D8FFB-7622-F1B2-9D28-204DC71E5150}"/>
                    </a:ext>
                  </a:extLst>
                </p:cNvPr>
                <p:cNvSpPr/>
                <p:nvPr/>
              </p:nvSpPr>
              <p:spPr>
                <a:xfrm>
                  <a:off x="1738616" y="5285564"/>
                  <a:ext cx="1498013" cy="92784"/>
                </a:xfrm>
                <a:prstGeom prst="rect">
                  <a:avLst/>
                </a:prstGeom>
                <a:blipFill>
                  <a:blip r:embed="rId5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51" name="object 140">
                  <a:extLst>
                    <a:ext uri="{FF2B5EF4-FFF2-40B4-BE49-F238E27FC236}">
                      <a16:creationId xmlns:a16="http://schemas.microsoft.com/office/drawing/2014/main" id="{60933282-E8C9-A63A-843C-6BB912478708}"/>
                    </a:ext>
                  </a:extLst>
                </p:cNvPr>
                <p:cNvSpPr/>
                <p:nvPr/>
              </p:nvSpPr>
              <p:spPr>
                <a:xfrm>
                  <a:off x="1729203" y="5276152"/>
                  <a:ext cx="1495424" cy="90207"/>
                </a:xfrm>
                <a:custGeom>
                  <a:avLst/>
                  <a:gdLst/>
                  <a:ahLst/>
                  <a:cxnLst/>
                  <a:rect l="l" t="t" r="r" b="b"/>
                  <a:pathLst>
                    <a:path w="1694815" h="102235">
                      <a:moveTo>
                        <a:pt x="0" y="0"/>
                      </a:moveTo>
                      <a:lnTo>
                        <a:pt x="0" y="102107"/>
                      </a:lnTo>
                      <a:lnTo>
                        <a:pt x="1694688" y="102107"/>
                      </a:lnTo>
                      <a:lnTo>
                        <a:pt x="1694688" y="0"/>
                      </a:lnTo>
                      <a:lnTo>
                        <a:pt x="0" y="0"/>
                      </a:lnTo>
                      <a:close/>
                    </a:path>
                  </a:pathLst>
                </a:custGeom>
                <a:solidFill>
                  <a:srgbClr val="E3E48D">
                    <a:lumMod val="20000"/>
                    <a:lumOff val="80000"/>
                  </a:srgbClr>
                </a:solidFill>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52" name="object 141">
                  <a:extLst>
                    <a:ext uri="{FF2B5EF4-FFF2-40B4-BE49-F238E27FC236}">
                      <a16:creationId xmlns:a16="http://schemas.microsoft.com/office/drawing/2014/main" id="{4EE664BA-D15B-5CA6-F948-10E49B9246AD}"/>
                    </a:ext>
                  </a:extLst>
                </p:cNvPr>
                <p:cNvSpPr txBox="1"/>
                <p:nvPr/>
              </p:nvSpPr>
              <p:spPr>
                <a:xfrm>
                  <a:off x="2368218" y="5297534"/>
                  <a:ext cx="217394" cy="47443"/>
                </a:xfrm>
                <a:prstGeom prst="rect">
                  <a:avLst/>
                </a:prstGeom>
              </p:spPr>
              <p:txBody>
                <a:bodyPr vert="horz" wrap="square" lIns="0" tIns="0" rIns="0" bIns="0" rtlCol="0" anchor="ctr">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5" normalizeH="0" baseline="0" noProof="0" dirty="0">
                      <a:ln>
                        <a:noFill/>
                      </a:ln>
                      <a:solidFill>
                        <a:srgbClr val="231F20"/>
                      </a:solidFill>
                      <a:effectLst/>
                      <a:uLnTx/>
                      <a:uFillTx/>
                      <a:latin typeface="Open Sans"/>
                      <a:cs typeface="Open Sans" panose="020B0606030504020204" pitchFamily="34" charset="0"/>
                    </a:rPr>
                    <a:t>Professionals</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53" name="object 142">
                  <a:extLst>
                    <a:ext uri="{FF2B5EF4-FFF2-40B4-BE49-F238E27FC236}">
                      <a16:creationId xmlns:a16="http://schemas.microsoft.com/office/drawing/2014/main" id="{3B41A221-9151-D4D1-1239-36CF23FF2E0B}"/>
                    </a:ext>
                  </a:extLst>
                </p:cNvPr>
                <p:cNvSpPr/>
                <p:nvPr/>
              </p:nvSpPr>
              <p:spPr>
                <a:xfrm>
                  <a:off x="1704999" y="4700617"/>
                  <a:ext cx="1518172" cy="69925"/>
                </a:xfrm>
                <a:prstGeom prst="rect">
                  <a:avLst/>
                </a:prstGeom>
                <a:blipFill>
                  <a:blip r:embed="rId5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54" name="object 143">
                  <a:extLst>
                    <a:ext uri="{FF2B5EF4-FFF2-40B4-BE49-F238E27FC236}">
                      <a16:creationId xmlns:a16="http://schemas.microsoft.com/office/drawing/2014/main" id="{83A1D345-895F-5BA1-A5FC-21F008974E8B}"/>
                    </a:ext>
                  </a:extLst>
                </p:cNvPr>
                <p:cNvSpPr/>
                <p:nvPr/>
              </p:nvSpPr>
              <p:spPr>
                <a:xfrm>
                  <a:off x="1717101" y="4735579"/>
                  <a:ext cx="1494304" cy="0"/>
                </a:xfrm>
                <a:custGeom>
                  <a:avLst/>
                  <a:gdLst/>
                  <a:ahLst/>
                  <a:cxnLst/>
                  <a:rect l="l" t="t" r="r" b="b"/>
                  <a:pathLst>
                    <a:path w="1693545">
                      <a:moveTo>
                        <a:pt x="0" y="0"/>
                      </a:moveTo>
                      <a:lnTo>
                        <a:pt x="1693164" y="0"/>
                      </a:lnTo>
                    </a:path>
                  </a:pathLst>
                </a:custGeom>
                <a:ln w="51816">
                  <a:solidFill>
                    <a:srgbClr val="A0DC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55" name="object 144">
                  <a:extLst>
                    <a:ext uri="{FF2B5EF4-FFF2-40B4-BE49-F238E27FC236}">
                      <a16:creationId xmlns:a16="http://schemas.microsoft.com/office/drawing/2014/main" id="{F71BE236-6ED2-CAB4-CA14-9F01F7F810B7}"/>
                    </a:ext>
                  </a:extLst>
                </p:cNvPr>
                <p:cNvSpPr txBox="1"/>
                <p:nvPr/>
              </p:nvSpPr>
              <p:spPr>
                <a:xfrm>
                  <a:off x="2121230" y="4709728"/>
                  <a:ext cx="788804" cy="52670"/>
                </a:xfrm>
                <a:prstGeom prst="rect">
                  <a:avLst/>
                </a:prstGeom>
              </p:spPr>
              <p:txBody>
                <a:bodyPr vert="horz" wrap="square" lIns="0" tIns="0" rIns="0" bIns="0" rtlCol="0">
                  <a:spAutoFit/>
                </a:bodyPr>
                <a:lstStyle/>
                <a:p>
                  <a:pPr marL="3922" marR="0" lvl="0" indent="0" algn="ctr" defTabSz="914400" eaLnBrk="1" fontAlgn="auto" latinLnBrk="0" hangingPunct="1">
                    <a:lnSpc>
                      <a:spcPct val="100000"/>
                    </a:lnSpc>
                    <a:spcBef>
                      <a:spcPts val="0"/>
                    </a:spcBef>
                    <a:spcAft>
                      <a:spcPts val="0"/>
                    </a:spcAft>
                    <a:buClrTx/>
                    <a:buSzTx/>
                    <a:buFontTx/>
                    <a:buNone/>
                    <a:tabLst/>
                    <a:defRPr/>
                  </a:pPr>
                  <a:r>
                    <a:rPr kumimoji="0" lang="en-AU" sz="441" u="none" strike="noStrike" kern="0" cap="none" spc="0" normalizeH="0" baseline="0" noProof="0" dirty="0">
                      <a:ln>
                        <a:noFill/>
                      </a:ln>
                      <a:solidFill>
                        <a:srgbClr val="FFFFFF"/>
                      </a:solidFill>
                      <a:effectLst/>
                      <a:uLnTx/>
                      <a:uFillTx/>
                      <a:latin typeface="Open Sans"/>
                      <a:cs typeface="Open Sans" panose="020B0606030504020204" pitchFamily="34" charset="0"/>
                    </a:rPr>
                    <a:t>Management</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56" name="object 145">
                  <a:extLst>
                    <a:ext uri="{FF2B5EF4-FFF2-40B4-BE49-F238E27FC236}">
                      <a16:creationId xmlns:a16="http://schemas.microsoft.com/office/drawing/2014/main" id="{B1950862-2FD7-2085-EC12-13ED8218DCCF}"/>
                    </a:ext>
                  </a:extLst>
                </p:cNvPr>
                <p:cNvSpPr/>
                <p:nvPr/>
              </p:nvSpPr>
              <p:spPr>
                <a:xfrm>
                  <a:off x="1694240" y="4783989"/>
                  <a:ext cx="1520873" cy="450476"/>
                </a:xfrm>
                <a:prstGeom prst="rect">
                  <a:avLst/>
                </a:prstGeom>
                <a:blipFill>
                  <a:blip r:embed="rId5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57" name="object 146">
                  <a:extLst>
                    <a:ext uri="{FF2B5EF4-FFF2-40B4-BE49-F238E27FC236}">
                      <a16:creationId xmlns:a16="http://schemas.microsoft.com/office/drawing/2014/main" id="{89816C02-65ED-85F1-81B9-2B570F139EC1}"/>
                    </a:ext>
                  </a:extLst>
                </p:cNvPr>
                <p:cNvSpPr/>
                <p:nvPr/>
              </p:nvSpPr>
              <p:spPr>
                <a:xfrm>
                  <a:off x="1715756" y="4805505"/>
                  <a:ext cx="1520873" cy="450476"/>
                </a:xfrm>
                <a:prstGeom prst="rect">
                  <a:avLst/>
                </a:prstGeom>
                <a:blipFill>
                  <a:blip r:embed="rId6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58" name="object 147">
                  <a:extLst>
                    <a:ext uri="{FF2B5EF4-FFF2-40B4-BE49-F238E27FC236}">
                      <a16:creationId xmlns:a16="http://schemas.microsoft.com/office/drawing/2014/main" id="{89856B9F-6082-53E9-E832-F777EAE80169}"/>
                    </a:ext>
                  </a:extLst>
                </p:cNvPr>
                <p:cNvSpPr/>
                <p:nvPr/>
              </p:nvSpPr>
              <p:spPr>
                <a:xfrm>
                  <a:off x="1706343" y="4796092"/>
                  <a:ext cx="1518397" cy="448235"/>
                </a:xfrm>
                <a:custGeom>
                  <a:avLst/>
                  <a:gdLst/>
                  <a:ahLst/>
                  <a:cxnLst/>
                  <a:rect l="l" t="t" r="r" b="b"/>
                  <a:pathLst>
                    <a:path w="1720850" h="508000">
                      <a:moveTo>
                        <a:pt x="0" y="0"/>
                      </a:moveTo>
                      <a:lnTo>
                        <a:pt x="0" y="507491"/>
                      </a:lnTo>
                      <a:lnTo>
                        <a:pt x="1720596" y="507491"/>
                      </a:lnTo>
                      <a:lnTo>
                        <a:pt x="1720596" y="0"/>
                      </a:lnTo>
                      <a:lnTo>
                        <a:pt x="0" y="0"/>
                      </a:lnTo>
                      <a:close/>
                    </a:path>
                  </a:pathLst>
                </a:custGeom>
                <a:solidFill>
                  <a:srgbClr val="EAEBE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59" name="object 148">
                  <a:extLst>
                    <a:ext uri="{FF2B5EF4-FFF2-40B4-BE49-F238E27FC236}">
                      <a16:creationId xmlns:a16="http://schemas.microsoft.com/office/drawing/2014/main" id="{1143B41B-CDDF-5FDC-70CB-60C3DD223F36}"/>
                    </a:ext>
                  </a:extLst>
                </p:cNvPr>
                <p:cNvSpPr txBox="1"/>
                <p:nvPr/>
              </p:nvSpPr>
              <p:spPr>
                <a:xfrm>
                  <a:off x="1961029" y="5118820"/>
                  <a:ext cx="51546" cy="34102"/>
                </a:xfrm>
                <a:prstGeom prst="rect">
                  <a:avLst/>
                </a:prstGeom>
              </p:spPr>
              <p:txBody>
                <a:bodyPr vert="horz" wrap="square" lIns="0" tIns="0" rIns="0" bIns="0" rtlCol="0">
                  <a:spAutoFit/>
                </a:bodyPr>
                <a:lstStyle/>
                <a:p>
                  <a:pPr marL="0" marR="0" lvl="0" indent="0" defTabSz="914400" eaLnBrk="1" fontAlgn="auto" latinLnBrk="0" hangingPunct="1">
                    <a:lnSpc>
                      <a:spcPts val="353"/>
                    </a:lnSpc>
                    <a:spcBef>
                      <a:spcPts val="0"/>
                    </a:spcBef>
                    <a:spcAft>
                      <a:spcPts val="0"/>
                    </a:spcAft>
                    <a:buClrTx/>
                    <a:buSzTx/>
                    <a:buFontTx/>
                    <a:buNone/>
                    <a:tabLst/>
                    <a:defRPr/>
                  </a:pPr>
                  <a:r>
                    <a:rPr kumimoji="0" lang="en-AU" sz="397" b="0" i="0" u="none" strike="noStrike" kern="0" cap="none" spc="0" normalizeH="0" baseline="0" noProof="0" dirty="0">
                      <a:ln>
                        <a:noFill/>
                      </a:ln>
                      <a:solidFill>
                        <a:srgbClr val="231F20"/>
                      </a:solidFill>
                      <a:effectLst/>
                      <a:uLnTx/>
                      <a:uFillTx/>
                      <a:latin typeface="Open Sans"/>
                      <a:cs typeface="Verdana"/>
                    </a:rPr>
                    <a:t>C</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1060" name="object 154">
                  <a:extLst>
                    <a:ext uri="{FF2B5EF4-FFF2-40B4-BE49-F238E27FC236}">
                      <a16:creationId xmlns:a16="http://schemas.microsoft.com/office/drawing/2014/main" id="{56ED76D0-3647-3737-1266-EAA08BE68663}"/>
                    </a:ext>
                  </a:extLst>
                </p:cNvPr>
                <p:cNvSpPr txBox="1"/>
                <p:nvPr/>
              </p:nvSpPr>
              <p:spPr>
                <a:xfrm>
                  <a:off x="2021541" y="4970902"/>
                  <a:ext cx="51546" cy="41001"/>
                </a:xfrm>
                <a:prstGeom prst="rect">
                  <a:avLst/>
                </a:prstGeom>
              </p:spPr>
              <p:txBody>
                <a:bodyPr vert="horz" wrap="square" lIns="0" tIns="561" rIns="0" bIns="0" rtlCol="0">
                  <a:spAutoFit/>
                </a:bodyPr>
                <a:lstStyle/>
                <a:p>
                  <a:pPr marL="0" marR="0" lvl="0" indent="0" defTabSz="914400" eaLnBrk="1" fontAlgn="auto" latinLnBrk="0" hangingPunct="1">
                    <a:lnSpc>
                      <a:spcPct val="100000"/>
                    </a:lnSpc>
                    <a:spcBef>
                      <a:spcPts val="5"/>
                    </a:spcBef>
                    <a:spcAft>
                      <a:spcPts val="0"/>
                    </a:spcAft>
                    <a:buClrTx/>
                    <a:buSzTx/>
                    <a:buFontTx/>
                    <a:buNone/>
                    <a:tabLst/>
                    <a:defRPr/>
                  </a:pPr>
                  <a:r>
                    <a:rPr kumimoji="0" lang="en-AU" sz="397" b="0" i="0" u="none" strike="noStrike" kern="0" cap="none" spc="0" normalizeH="0" baseline="0" noProof="0" dirty="0">
                      <a:ln>
                        <a:noFill/>
                      </a:ln>
                      <a:solidFill>
                        <a:srgbClr val="231F20"/>
                      </a:solidFill>
                      <a:effectLst/>
                      <a:uLnTx/>
                      <a:uFillTx/>
                      <a:latin typeface="Open Sans"/>
                      <a:cs typeface="Verdana"/>
                    </a:rPr>
                    <a:t>a</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1061" name="object 155">
                  <a:extLst>
                    <a:ext uri="{FF2B5EF4-FFF2-40B4-BE49-F238E27FC236}">
                      <a16:creationId xmlns:a16="http://schemas.microsoft.com/office/drawing/2014/main" id="{18DD36B2-6833-4106-094C-992CBE1241E8}"/>
                    </a:ext>
                  </a:extLst>
                </p:cNvPr>
                <p:cNvSpPr txBox="1"/>
                <p:nvPr/>
              </p:nvSpPr>
              <p:spPr>
                <a:xfrm>
                  <a:off x="2021541" y="4941724"/>
                  <a:ext cx="51546" cy="34102"/>
                </a:xfrm>
                <a:prstGeom prst="rect">
                  <a:avLst/>
                </a:prstGeom>
              </p:spPr>
              <p:txBody>
                <a:bodyPr vert="horz" wrap="square" lIns="0" tIns="0" rIns="0" bIns="0" rtlCol="0">
                  <a:spAutoFit/>
                </a:bodyPr>
                <a:lstStyle/>
                <a:p>
                  <a:pPr marL="0" marR="0" lvl="0" indent="0" defTabSz="914400" eaLnBrk="1" fontAlgn="auto" latinLnBrk="0" hangingPunct="1">
                    <a:lnSpc>
                      <a:spcPts val="393"/>
                    </a:lnSpc>
                    <a:spcBef>
                      <a:spcPts val="0"/>
                    </a:spcBef>
                    <a:spcAft>
                      <a:spcPts val="0"/>
                    </a:spcAft>
                    <a:buClrTx/>
                    <a:buSzTx/>
                    <a:buFontTx/>
                    <a:buNone/>
                    <a:tabLst/>
                    <a:defRPr/>
                  </a:pPr>
                  <a:r>
                    <a:rPr kumimoji="0" lang="en-AU" sz="397" b="0" i="0" u="none" strike="noStrike" kern="0" cap="none" spc="5" normalizeH="0" baseline="0" noProof="0" dirty="0">
                      <a:ln>
                        <a:noFill/>
                      </a:ln>
                      <a:solidFill>
                        <a:srgbClr val="231F20"/>
                      </a:solidFill>
                      <a:effectLst/>
                      <a:uLnTx/>
                      <a:uFillTx/>
                      <a:latin typeface="Open Sans"/>
                      <a:cs typeface="Verdana"/>
                    </a:rPr>
                    <a:t>m</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1062" name="object 157">
                  <a:extLst>
                    <a:ext uri="{FF2B5EF4-FFF2-40B4-BE49-F238E27FC236}">
                      <a16:creationId xmlns:a16="http://schemas.microsoft.com/office/drawing/2014/main" id="{08E2E81B-6FD2-3EAE-955F-898993857793}"/>
                    </a:ext>
                  </a:extLst>
                </p:cNvPr>
                <p:cNvSpPr/>
                <p:nvPr/>
              </p:nvSpPr>
              <p:spPr>
                <a:xfrm>
                  <a:off x="1871742" y="4802815"/>
                  <a:ext cx="1316466" cy="98162"/>
                </a:xfrm>
                <a:prstGeom prst="rect">
                  <a:avLst/>
                </a:prstGeom>
                <a:blipFill>
                  <a:blip r:embed="rId6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63" name="object 158">
                  <a:extLst>
                    <a:ext uri="{FF2B5EF4-FFF2-40B4-BE49-F238E27FC236}">
                      <a16:creationId xmlns:a16="http://schemas.microsoft.com/office/drawing/2014/main" id="{D5E5669D-79E6-2F48-8724-3F80DE65BC64}"/>
                    </a:ext>
                  </a:extLst>
                </p:cNvPr>
                <p:cNvSpPr/>
                <p:nvPr/>
              </p:nvSpPr>
              <p:spPr>
                <a:xfrm>
                  <a:off x="1893257" y="4824330"/>
                  <a:ext cx="1316478" cy="98162"/>
                </a:xfrm>
                <a:prstGeom prst="rect">
                  <a:avLst/>
                </a:prstGeom>
                <a:blipFill>
                  <a:blip r:embed="rId6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64" name="object 159">
                  <a:extLst>
                    <a:ext uri="{FF2B5EF4-FFF2-40B4-BE49-F238E27FC236}">
                      <a16:creationId xmlns:a16="http://schemas.microsoft.com/office/drawing/2014/main" id="{04C427D0-24CD-FA7C-8DFA-DB0C719D6E0B}"/>
                    </a:ext>
                  </a:extLst>
                </p:cNvPr>
                <p:cNvSpPr/>
                <p:nvPr/>
              </p:nvSpPr>
              <p:spPr>
                <a:xfrm>
                  <a:off x="1893257" y="4824330"/>
                  <a:ext cx="1294952" cy="76648"/>
                </a:xfrm>
                <a:prstGeom prst="rect">
                  <a:avLst/>
                </a:prstGeom>
                <a:blipFill>
                  <a:blip r:embed="rId6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65" name="object 160">
                  <a:extLst>
                    <a:ext uri="{FF2B5EF4-FFF2-40B4-BE49-F238E27FC236}">
                      <a16:creationId xmlns:a16="http://schemas.microsoft.com/office/drawing/2014/main" id="{566A5237-FC1B-11DD-07EB-238685B577A8}"/>
                    </a:ext>
                  </a:extLst>
                </p:cNvPr>
                <p:cNvSpPr/>
                <p:nvPr/>
              </p:nvSpPr>
              <p:spPr>
                <a:xfrm>
                  <a:off x="1883845" y="4814917"/>
                  <a:ext cx="1313889" cy="95810"/>
                </a:xfrm>
                <a:custGeom>
                  <a:avLst/>
                  <a:gdLst/>
                  <a:ahLst/>
                  <a:cxnLst/>
                  <a:rect l="l" t="t" r="r" b="b"/>
                  <a:pathLst>
                    <a:path w="1489075" h="108585">
                      <a:moveTo>
                        <a:pt x="0" y="0"/>
                      </a:moveTo>
                      <a:lnTo>
                        <a:pt x="0" y="108204"/>
                      </a:lnTo>
                      <a:lnTo>
                        <a:pt x="1488948" y="108204"/>
                      </a:lnTo>
                      <a:lnTo>
                        <a:pt x="1488948"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66" name="object 161">
                  <a:extLst>
                    <a:ext uri="{FF2B5EF4-FFF2-40B4-BE49-F238E27FC236}">
                      <a16:creationId xmlns:a16="http://schemas.microsoft.com/office/drawing/2014/main" id="{09CC293B-AC2F-5E91-DD68-E7EB33564918}"/>
                    </a:ext>
                  </a:extLst>
                </p:cNvPr>
                <p:cNvSpPr txBox="1"/>
                <p:nvPr/>
              </p:nvSpPr>
              <p:spPr>
                <a:xfrm>
                  <a:off x="1889559" y="4844769"/>
                  <a:ext cx="373593" cy="42166"/>
                </a:xfrm>
                <a:prstGeom prst="rect">
                  <a:avLst/>
                </a:prstGeom>
              </p:spPr>
              <p:txBody>
                <a:bodyPr vert="horz" wrap="square" lIns="0" tIns="0" rIns="0" bIns="0" rtlCol="0">
                  <a:spAutoFit/>
                </a:bodyPr>
                <a:lstStyle/>
                <a:p>
                  <a:pPr marL="11206" marR="4482" lvl="0" indent="0" defTabSz="914400" eaLnBrk="1" fontAlgn="auto" latinLnBrk="0" hangingPunct="1">
                    <a:lnSpc>
                      <a:spcPct val="100000"/>
                    </a:lnSpc>
                    <a:spcBef>
                      <a:spcPts val="0"/>
                    </a:spcBef>
                    <a:spcAft>
                      <a:spcPts val="0"/>
                    </a:spcAft>
                    <a:buClrTx/>
                    <a:buSzTx/>
                    <a:buFontTx/>
                    <a:buNone/>
                    <a:tabLst/>
                    <a:defRPr/>
                  </a:pPr>
                  <a:r>
                    <a:rPr kumimoji="0" lang="en-AU" sz="353" u="none" strike="noStrike" kern="0" cap="none" spc="-9" normalizeH="0" baseline="0" noProof="0" dirty="0">
                      <a:ln>
                        <a:noFill/>
                      </a:ln>
                      <a:solidFill>
                        <a:srgbClr val="231F20"/>
                      </a:solidFill>
                      <a:effectLst/>
                      <a:uLnTx/>
                      <a:uFillTx/>
                      <a:latin typeface="Open Sans"/>
                      <a:cs typeface="Open Sans" panose="020B0606030504020204" pitchFamily="34" charset="0"/>
                    </a:rPr>
                    <a:t>Product development</a:t>
                  </a:r>
                  <a:endParaRPr kumimoji="0" lang="en-AU" sz="353"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67" name="object 163">
                  <a:extLst>
                    <a:ext uri="{FF2B5EF4-FFF2-40B4-BE49-F238E27FC236}">
                      <a16:creationId xmlns:a16="http://schemas.microsoft.com/office/drawing/2014/main" id="{6F71BA5D-743D-11A0-9202-EB70F6A85BD6}"/>
                    </a:ext>
                  </a:extLst>
                </p:cNvPr>
                <p:cNvSpPr/>
                <p:nvPr/>
              </p:nvSpPr>
              <p:spPr>
                <a:xfrm>
                  <a:off x="2275153" y="4827020"/>
                  <a:ext cx="227479" cy="71717"/>
                </a:xfrm>
                <a:custGeom>
                  <a:avLst/>
                  <a:gdLst/>
                  <a:ahLst/>
                  <a:cxnLst/>
                  <a:rect l="l" t="t" r="r" b="b"/>
                  <a:pathLst>
                    <a:path w="257810" h="81280">
                      <a:moveTo>
                        <a:pt x="0" y="0"/>
                      </a:moveTo>
                      <a:lnTo>
                        <a:pt x="231521" y="0"/>
                      </a:lnTo>
                      <a:lnTo>
                        <a:pt x="257556" y="40385"/>
                      </a:lnTo>
                      <a:lnTo>
                        <a:pt x="231521" y="80772"/>
                      </a:lnTo>
                      <a:lnTo>
                        <a:pt x="0" y="80772"/>
                      </a:lnTo>
                      <a:lnTo>
                        <a:pt x="26034" y="40386"/>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68" name="object 165">
                  <a:extLst>
                    <a:ext uri="{FF2B5EF4-FFF2-40B4-BE49-F238E27FC236}">
                      <a16:creationId xmlns:a16="http://schemas.microsoft.com/office/drawing/2014/main" id="{644F8C89-9B0A-E043-B9C3-D7F4300EB211}"/>
                    </a:ext>
                  </a:extLst>
                </p:cNvPr>
                <p:cNvSpPr/>
                <p:nvPr/>
              </p:nvSpPr>
              <p:spPr>
                <a:xfrm>
                  <a:off x="2495686" y="4827020"/>
                  <a:ext cx="226359" cy="71717"/>
                </a:xfrm>
                <a:custGeom>
                  <a:avLst/>
                  <a:gdLst/>
                  <a:ahLst/>
                  <a:cxnLst/>
                  <a:rect l="l" t="t" r="r" b="b"/>
                  <a:pathLst>
                    <a:path w="256539" h="81280">
                      <a:moveTo>
                        <a:pt x="0" y="0"/>
                      </a:moveTo>
                      <a:lnTo>
                        <a:pt x="229997" y="0"/>
                      </a:lnTo>
                      <a:lnTo>
                        <a:pt x="256032" y="40385"/>
                      </a:lnTo>
                      <a:lnTo>
                        <a:pt x="229997" y="80772"/>
                      </a:lnTo>
                      <a:lnTo>
                        <a:pt x="0" y="80772"/>
                      </a:lnTo>
                      <a:lnTo>
                        <a:pt x="26034" y="40386"/>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69" name="object 167">
                  <a:extLst>
                    <a:ext uri="{FF2B5EF4-FFF2-40B4-BE49-F238E27FC236}">
                      <a16:creationId xmlns:a16="http://schemas.microsoft.com/office/drawing/2014/main" id="{03808756-C8CF-B277-A3CF-9B9B45B1D8BF}"/>
                    </a:ext>
                  </a:extLst>
                </p:cNvPr>
                <p:cNvSpPr/>
                <p:nvPr/>
              </p:nvSpPr>
              <p:spPr>
                <a:xfrm>
                  <a:off x="2714873" y="4827020"/>
                  <a:ext cx="227479" cy="71717"/>
                </a:xfrm>
                <a:custGeom>
                  <a:avLst/>
                  <a:gdLst/>
                  <a:ahLst/>
                  <a:cxnLst/>
                  <a:rect l="l" t="t" r="r" b="b"/>
                  <a:pathLst>
                    <a:path w="257809" h="81280">
                      <a:moveTo>
                        <a:pt x="0" y="0"/>
                      </a:moveTo>
                      <a:lnTo>
                        <a:pt x="231521" y="0"/>
                      </a:lnTo>
                      <a:lnTo>
                        <a:pt x="257556" y="40385"/>
                      </a:lnTo>
                      <a:lnTo>
                        <a:pt x="231521" y="80772"/>
                      </a:lnTo>
                      <a:lnTo>
                        <a:pt x="0" y="80772"/>
                      </a:lnTo>
                      <a:lnTo>
                        <a:pt x="26034" y="40386"/>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70" name="object 169">
                  <a:extLst>
                    <a:ext uri="{FF2B5EF4-FFF2-40B4-BE49-F238E27FC236}">
                      <a16:creationId xmlns:a16="http://schemas.microsoft.com/office/drawing/2014/main" id="{ACD43081-38F1-000E-9417-EB5E7CB06813}"/>
                    </a:ext>
                  </a:extLst>
                </p:cNvPr>
                <p:cNvSpPr/>
                <p:nvPr/>
              </p:nvSpPr>
              <p:spPr>
                <a:xfrm>
                  <a:off x="2934070" y="4827020"/>
                  <a:ext cx="227479" cy="71717"/>
                </a:xfrm>
                <a:custGeom>
                  <a:avLst/>
                  <a:gdLst/>
                  <a:ahLst/>
                  <a:cxnLst/>
                  <a:rect l="l" t="t" r="r" b="b"/>
                  <a:pathLst>
                    <a:path w="257809" h="81280">
                      <a:moveTo>
                        <a:pt x="0" y="0"/>
                      </a:moveTo>
                      <a:lnTo>
                        <a:pt x="231521" y="0"/>
                      </a:lnTo>
                      <a:lnTo>
                        <a:pt x="257556" y="40385"/>
                      </a:lnTo>
                      <a:lnTo>
                        <a:pt x="231521" y="80772"/>
                      </a:lnTo>
                      <a:lnTo>
                        <a:pt x="0" y="80772"/>
                      </a:lnTo>
                      <a:lnTo>
                        <a:pt x="26034" y="40386"/>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71" name="object 170">
                  <a:extLst>
                    <a:ext uri="{FF2B5EF4-FFF2-40B4-BE49-F238E27FC236}">
                      <a16:creationId xmlns:a16="http://schemas.microsoft.com/office/drawing/2014/main" id="{5E362156-F12D-A9F2-8826-0FBC7FEA88D0}"/>
                    </a:ext>
                  </a:extLst>
                </p:cNvPr>
                <p:cNvSpPr/>
                <p:nvPr/>
              </p:nvSpPr>
              <p:spPr>
                <a:xfrm>
                  <a:off x="1871742" y="4949387"/>
                  <a:ext cx="1316466" cy="98162"/>
                </a:xfrm>
                <a:prstGeom prst="rect">
                  <a:avLst/>
                </a:prstGeom>
                <a:blipFill>
                  <a:blip r:embed="rId6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72" name="object 172">
                  <a:extLst>
                    <a:ext uri="{FF2B5EF4-FFF2-40B4-BE49-F238E27FC236}">
                      <a16:creationId xmlns:a16="http://schemas.microsoft.com/office/drawing/2014/main" id="{892DC2A6-976F-0496-EFC0-2A46923FDAD1}"/>
                    </a:ext>
                  </a:extLst>
                </p:cNvPr>
                <p:cNvSpPr/>
                <p:nvPr/>
              </p:nvSpPr>
              <p:spPr>
                <a:xfrm>
                  <a:off x="1893257" y="4970903"/>
                  <a:ext cx="1316478" cy="98162"/>
                </a:xfrm>
                <a:prstGeom prst="rect">
                  <a:avLst/>
                </a:prstGeom>
                <a:blipFill>
                  <a:blip r:embed="rId65"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73" name="object 173">
                  <a:extLst>
                    <a:ext uri="{FF2B5EF4-FFF2-40B4-BE49-F238E27FC236}">
                      <a16:creationId xmlns:a16="http://schemas.microsoft.com/office/drawing/2014/main" id="{29A1B224-4834-FBF7-5BD3-234283356935}"/>
                    </a:ext>
                  </a:extLst>
                </p:cNvPr>
                <p:cNvSpPr/>
                <p:nvPr/>
              </p:nvSpPr>
              <p:spPr>
                <a:xfrm>
                  <a:off x="1893257" y="4970903"/>
                  <a:ext cx="1294952" cy="76648"/>
                </a:xfrm>
                <a:prstGeom prst="rect">
                  <a:avLst/>
                </a:prstGeom>
                <a:blipFill>
                  <a:blip r:embed="rId6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74" name="object 174">
                  <a:extLst>
                    <a:ext uri="{FF2B5EF4-FFF2-40B4-BE49-F238E27FC236}">
                      <a16:creationId xmlns:a16="http://schemas.microsoft.com/office/drawing/2014/main" id="{B1C884C6-F3EC-4088-1FB9-F65F3B892087}"/>
                    </a:ext>
                  </a:extLst>
                </p:cNvPr>
                <p:cNvSpPr txBox="1"/>
                <p:nvPr/>
              </p:nvSpPr>
              <p:spPr>
                <a:xfrm>
                  <a:off x="1883845" y="4961491"/>
                  <a:ext cx="1313889" cy="50941"/>
                </a:xfrm>
                <a:prstGeom prst="rect">
                  <a:avLst/>
                </a:prstGeom>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77" b="0" i="0" u="none" strike="noStrike" kern="0" cap="none" spc="0" normalizeH="0" baseline="0" noProof="0" dirty="0">
                    <a:ln>
                      <a:noFill/>
                    </a:ln>
                    <a:solidFill>
                      <a:srgbClr val="000000"/>
                    </a:solidFill>
                    <a:effectLst/>
                    <a:uLnTx/>
                    <a:uFillTx/>
                    <a:latin typeface="Open Sans"/>
                    <a:cs typeface="Times New Roman"/>
                  </a:endParaRPr>
                </a:p>
                <a:p>
                  <a:pPr marL="137270" marR="1117774" lvl="0" indent="0" defTabSz="914400" eaLnBrk="1" fontAlgn="auto" latinLnBrk="0" hangingPunct="1">
                    <a:lnSpc>
                      <a:spcPct val="50800"/>
                    </a:lnSpc>
                    <a:spcBef>
                      <a:spcPts val="114"/>
                    </a:spcBef>
                    <a:spcAft>
                      <a:spcPts val="0"/>
                    </a:spcAft>
                    <a:buClrTx/>
                    <a:buSzTx/>
                    <a:buFontTx/>
                    <a:buNone/>
                    <a:tabLst/>
                    <a:defRPr/>
                  </a:pPr>
                  <a:r>
                    <a:rPr kumimoji="0" lang="en-AU" sz="397" b="0" i="0" u="none" strike="noStrike" kern="0" cap="none" spc="0" normalizeH="0" baseline="0" noProof="0" dirty="0">
                      <a:ln>
                        <a:noFill/>
                      </a:ln>
                      <a:solidFill>
                        <a:srgbClr val="405374"/>
                      </a:solidFill>
                      <a:effectLst/>
                      <a:uLnTx/>
                      <a:uFillTx/>
                      <a:latin typeface="Open Sans"/>
                      <a:cs typeface="Verdana"/>
                    </a:rPr>
                    <a:t>a  e</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1075" name="object 175">
                  <a:extLst>
                    <a:ext uri="{FF2B5EF4-FFF2-40B4-BE49-F238E27FC236}">
                      <a16:creationId xmlns:a16="http://schemas.microsoft.com/office/drawing/2014/main" id="{1D3CE3F4-D15A-996A-BE4B-A90AB38F975E}"/>
                    </a:ext>
                  </a:extLst>
                </p:cNvPr>
                <p:cNvSpPr/>
                <p:nvPr/>
              </p:nvSpPr>
              <p:spPr>
                <a:xfrm>
                  <a:off x="1883845" y="4961491"/>
                  <a:ext cx="1313889" cy="95810"/>
                </a:xfrm>
                <a:custGeom>
                  <a:avLst/>
                  <a:gdLst/>
                  <a:ahLst/>
                  <a:cxnLst/>
                  <a:rect l="l" t="t" r="r" b="b"/>
                  <a:pathLst>
                    <a:path w="1489075" h="108585">
                      <a:moveTo>
                        <a:pt x="0" y="0"/>
                      </a:moveTo>
                      <a:lnTo>
                        <a:pt x="0" y="108203"/>
                      </a:lnTo>
                      <a:lnTo>
                        <a:pt x="1488948" y="108203"/>
                      </a:lnTo>
                      <a:lnTo>
                        <a:pt x="1488948"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76" name="object 176">
                  <a:extLst>
                    <a:ext uri="{FF2B5EF4-FFF2-40B4-BE49-F238E27FC236}">
                      <a16:creationId xmlns:a16="http://schemas.microsoft.com/office/drawing/2014/main" id="{91919D70-8813-B5FC-58EC-4DC12D91E2D1}"/>
                    </a:ext>
                  </a:extLst>
                </p:cNvPr>
                <p:cNvSpPr txBox="1"/>
                <p:nvPr/>
              </p:nvSpPr>
              <p:spPr>
                <a:xfrm>
                  <a:off x="1883845" y="4975293"/>
                  <a:ext cx="1313889" cy="79652"/>
                </a:xfrm>
                <a:prstGeom prst="rect">
                  <a:avLst/>
                </a:prstGeom>
              </p:spPr>
              <p:txBody>
                <a:bodyPr vert="horz" wrap="square" lIns="0" tIns="0" rIns="0" bIns="0" rtlCol="0">
                  <a:spAutoFit/>
                </a:bodyPr>
                <a:lstStyle/>
                <a:p>
                  <a:pPr marL="16809" marR="0" lvl="0" indent="0" defTabSz="914400" eaLnBrk="1" fontAlgn="auto" latinLnBrk="0" hangingPunct="1">
                    <a:lnSpc>
                      <a:spcPts val="370"/>
                    </a:lnSpc>
                    <a:spcBef>
                      <a:spcPts val="0"/>
                    </a:spcBef>
                    <a:spcAft>
                      <a:spcPts val="0"/>
                    </a:spcAft>
                    <a:buClrTx/>
                    <a:buSzTx/>
                    <a:buFontTx/>
                    <a:buNone/>
                    <a:tabLst/>
                    <a:defRPr/>
                  </a:pPr>
                  <a:r>
                    <a:rPr kumimoji="0" lang="en-AU" sz="353" u="none" strike="noStrike" kern="0" cap="none" spc="-5" normalizeH="0" baseline="0" noProof="0" dirty="0">
                      <a:ln>
                        <a:noFill/>
                      </a:ln>
                      <a:solidFill>
                        <a:srgbClr val="231F20"/>
                      </a:solidFill>
                      <a:effectLst/>
                      <a:uLnTx/>
                      <a:uFillTx/>
                      <a:latin typeface="Open Sans"/>
                      <a:cs typeface="Open Sans" panose="020B0606030504020204" pitchFamily="34" charset="0"/>
                    </a:rPr>
                    <a:t>Procurement</a:t>
                  </a:r>
                  <a:endParaRPr kumimoji="0" lang="en-AU" sz="353" u="none" strike="noStrike" kern="0" cap="none" spc="0" normalizeH="0" baseline="0" noProof="0" dirty="0">
                    <a:ln>
                      <a:noFill/>
                    </a:ln>
                    <a:solidFill>
                      <a:srgbClr val="000000"/>
                    </a:solidFill>
                    <a:effectLst/>
                    <a:uLnTx/>
                    <a:uFillTx/>
                    <a:latin typeface="Open Sans"/>
                    <a:cs typeface="Open Sans" panose="020B0606030504020204" pitchFamily="34" charset="0"/>
                  </a:endParaRPr>
                </a:p>
                <a:p>
                  <a:pPr marL="16809" marR="0" lvl="0" indent="0" defTabSz="914400" eaLnBrk="1" fontAlgn="auto" latinLnBrk="0" hangingPunct="1">
                    <a:lnSpc>
                      <a:spcPts val="383"/>
                    </a:lnSpc>
                    <a:spcBef>
                      <a:spcPts val="0"/>
                    </a:spcBef>
                    <a:spcAft>
                      <a:spcPts val="0"/>
                    </a:spcAft>
                    <a:buClrTx/>
                    <a:buSzTx/>
                    <a:buFontTx/>
                    <a:buNone/>
                    <a:tabLst/>
                    <a:defRPr/>
                  </a:pPr>
                  <a:r>
                    <a:rPr kumimoji="0" lang="en-AU" sz="353" u="none" strike="noStrike" kern="0" cap="none" spc="-5" normalizeH="0" baseline="0" noProof="0" dirty="0">
                      <a:ln>
                        <a:noFill/>
                      </a:ln>
                      <a:solidFill>
                        <a:srgbClr val="231F20"/>
                      </a:solidFill>
                      <a:effectLst/>
                      <a:uLnTx/>
                      <a:uFillTx/>
                      <a:latin typeface="Open Sans"/>
                      <a:cs typeface="Open Sans" panose="020B0606030504020204" pitchFamily="34" charset="0"/>
                    </a:rPr>
                    <a:t>&amp;</a:t>
                  </a:r>
                  <a:r>
                    <a:rPr kumimoji="0" lang="en-AU" sz="353" u="none" strike="noStrike" kern="0" cap="none" spc="-57" normalizeH="0" baseline="0" noProof="0" dirty="0">
                      <a:ln>
                        <a:noFill/>
                      </a:ln>
                      <a:solidFill>
                        <a:srgbClr val="231F20"/>
                      </a:solidFill>
                      <a:effectLst/>
                      <a:uLnTx/>
                      <a:uFillTx/>
                      <a:latin typeface="Open Sans"/>
                      <a:cs typeface="Open Sans" panose="020B0606030504020204" pitchFamily="34" charset="0"/>
                    </a:rPr>
                    <a:t> </a:t>
                  </a:r>
                  <a:r>
                    <a:rPr kumimoji="0" lang="en-AU" sz="353" u="none" strike="noStrike" kern="0" cap="none" spc="-9" normalizeH="0" baseline="0" noProof="0" dirty="0">
                      <a:ln>
                        <a:noFill/>
                      </a:ln>
                      <a:solidFill>
                        <a:srgbClr val="231F20"/>
                      </a:solidFill>
                      <a:effectLst/>
                      <a:uLnTx/>
                      <a:uFillTx/>
                      <a:latin typeface="Open Sans"/>
                      <a:cs typeface="Open Sans" panose="020B0606030504020204" pitchFamily="34" charset="0"/>
                    </a:rPr>
                    <a:t>Logistics</a:t>
                  </a:r>
                  <a:endParaRPr kumimoji="0" lang="en-AU" sz="353"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077" name="object 177">
                  <a:extLst>
                    <a:ext uri="{FF2B5EF4-FFF2-40B4-BE49-F238E27FC236}">
                      <a16:creationId xmlns:a16="http://schemas.microsoft.com/office/drawing/2014/main" id="{64362141-F000-8718-9AFA-CDCCD708089E}"/>
                    </a:ext>
                  </a:extLst>
                </p:cNvPr>
                <p:cNvSpPr/>
                <p:nvPr/>
              </p:nvSpPr>
              <p:spPr>
                <a:xfrm>
                  <a:off x="2275153" y="4973593"/>
                  <a:ext cx="227479" cy="72839"/>
                </a:xfrm>
                <a:custGeom>
                  <a:avLst/>
                  <a:gdLst/>
                  <a:ahLst/>
                  <a:cxnLst/>
                  <a:rect l="l" t="t" r="r" b="b"/>
                  <a:pathLst>
                    <a:path w="257810" h="82550">
                      <a:moveTo>
                        <a:pt x="257556" y="41147"/>
                      </a:moveTo>
                      <a:lnTo>
                        <a:pt x="231013" y="0"/>
                      </a:lnTo>
                      <a:lnTo>
                        <a:pt x="0" y="0"/>
                      </a:lnTo>
                      <a:lnTo>
                        <a:pt x="26543" y="41148"/>
                      </a:lnTo>
                      <a:lnTo>
                        <a:pt x="26543" y="82296"/>
                      </a:lnTo>
                      <a:lnTo>
                        <a:pt x="231013" y="82296"/>
                      </a:lnTo>
                      <a:lnTo>
                        <a:pt x="257556" y="41147"/>
                      </a:lnTo>
                      <a:close/>
                    </a:path>
                    <a:path w="257810" h="82550">
                      <a:moveTo>
                        <a:pt x="26543" y="82296"/>
                      </a:moveTo>
                      <a:lnTo>
                        <a:pt x="26543" y="41148"/>
                      </a:lnTo>
                      <a:lnTo>
                        <a:pt x="0" y="82296"/>
                      </a:lnTo>
                      <a:lnTo>
                        <a:pt x="26543" y="82296"/>
                      </a:lnTo>
                      <a:close/>
                    </a:path>
                  </a:pathLst>
                </a:custGeom>
                <a:solidFill>
                  <a:srgbClr val="F7FCF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78" name="object 178">
                  <a:extLst>
                    <a:ext uri="{FF2B5EF4-FFF2-40B4-BE49-F238E27FC236}">
                      <a16:creationId xmlns:a16="http://schemas.microsoft.com/office/drawing/2014/main" id="{403B6034-47BC-0868-CC66-4E941093D77C}"/>
                    </a:ext>
                  </a:extLst>
                </p:cNvPr>
                <p:cNvSpPr/>
                <p:nvPr/>
              </p:nvSpPr>
              <p:spPr>
                <a:xfrm>
                  <a:off x="2275153" y="4973593"/>
                  <a:ext cx="227479" cy="72839"/>
                </a:xfrm>
                <a:custGeom>
                  <a:avLst/>
                  <a:gdLst/>
                  <a:ahLst/>
                  <a:cxnLst/>
                  <a:rect l="l" t="t" r="r" b="b"/>
                  <a:pathLst>
                    <a:path w="257810" h="82550">
                      <a:moveTo>
                        <a:pt x="0" y="0"/>
                      </a:moveTo>
                      <a:lnTo>
                        <a:pt x="231013" y="0"/>
                      </a:lnTo>
                      <a:lnTo>
                        <a:pt x="257556" y="41147"/>
                      </a:lnTo>
                      <a:lnTo>
                        <a:pt x="231013" y="82296"/>
                      </a:lnTo>
                      <a:lnTo>
                        <a:pt x="0" y="82296"/>
                      </a:lnTo>
                      <a:lnTo>
                        <a:pt x="26543" y="41148"/>
                      </a:lnTo>
                      <a:lnTo>
                        <a:pt x="0" y="0"/>
                      </a:lnTo>
                      <a:close/>
                    </a:path>
                  </a:pathLst>
                </a:custGeom>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79" name="object 179">
                  <a:extLst>
                    <a:ext uri="{FF2B5EF4-FFF2-40B4-BE49-F238E27FC236}">
                      <a16:creationId xmlns:a16="http://schemas.microsoft.com/office/drawing/2014/main" id="{2C2BB2F6-B2E4-32C4-BDBB-BEE573E285A6}"/>
                    </a:ext>
                  </a:extLst>
                </p:cNvPr>
                <p:cNvSpPr/>
                <p:nvPr/>
              </p:nvSpPr>
              <p:spPr>
                <a:xfrm>
                  <a:off x="2495686" y="4973593"/>
                  <a:ext cx="226359" cy="72839"/>
                </a:xfrm>
                <a:custGeom>
                  <a:avLst/>
                  <a:gdLst/>
                  <a:ahLst/>
                  <a:cxnLst/>
                  <a:rect l="l" t="t" r="r" b="b"/>
                  <a:pathLst>
                    <a:path w="256539" h="82550">
                      <a:moveTo>
                        <a:pt x="256032" y="41147"/>
                      </a:moveTo>
                      <a:lnTo>
                        <a:pt x="229489" y="0"/>
                      </a:lnTo>
                      <a:lnTo>
                        <a:pt x="0" y="0"/>
                      </a:lnTo>
                      <a:lnTo>
                        <a:pt x="26543" y="41148"/>
                      </a:lnTo>
                      <a:lnTo>
                        <a:pt x="26543" y="82296"/>
                      </a:lnTo>
                      <a:lnTo>
                        <a:pt x="229489" y="82296"/>
                      </a:lnTo>
                      <a:lnTo>
                        <a:pt x="256032" y="41147"/>
                      </a:lnTo>
                      <a:close/>
                    </a:path>
                    <a:path w="256539" h="82550">
                      <a:moveTo>
                        <a:pt x="26543" y="82296"/>
                      </a:moveTo>
                      <a:lnTo>
                        <a:pt x="26543" y="41148"/>
                      </a:lnTo>
                      <a:lnTo>
                        <a:pt x="0" y="82296"/>
                      </a:lnTo>
                      <a:lnTo>
                        <a:pt x="26543" y="82296"/>
                      </a:lnTo>
                      <a:close/>
                    </a:path>
                  </a:pathLst>
                </a:custGeom>
                <a:solidFill>
                  <a:srgbClr val="F7FCF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80" name="object 180">
                  <a:extLst>
                    <a:ext uri="{FF2B5EF4-FFF2-40B4-BE49-F238E27FC236}">
                      <a16:creationId xmlns:a16="http://schemas.microsoft.com/office/drawing/2014/main" id="{87FE5683-1FF2-1DA6-8F12-EB78A09409D8}"/>
                    </a:ext>
                  </a:extLst>
                </p:cNvPr>
                <p:cNvSpPr/>
                <p:nvPr/>
              </p:nvSpPr>
              <p:spPr>
                <a:xfrm>
                  <a:off x="2495686" y="4973593"/>
                  <a:ext cx="226359" cy="72839"/>
                </a:xfrm>
                <a:custGeom>
                  <a:avLst/>
                  <a:gdLst/>
                  <a:ahLst/>
                  <a:cxnLst/>
                  <a:rect l="l" t="t" r="r" b="b"/>
                  <a:pathLst>
                    <a:path w="256539" h="82550">
                      <a:moveTo>
                        <a:pt x="0" y="0"/>
                      </a:moveTo>
                      <a:lnTo>
                        <a:pt x="229489" y="0"/>
                      </a:lnTo>
                      <a:lnTo>
                        <a:pt x="256032" y="41147"/>
                      </a:lnTo>
                      <a:lnTo>
                        <a:pt x="229489" y="82296"/>
                      </a:lnTo>
                      <a:lnTo>
                        <a:pt x="0" y="82296"/>
                      </a:lnTo>
                      <a:lnTo>
                        <a:pt x="26543" y="41148"/>
                      </a:lnTo>
                      <a:lnTo>
                        <a:pt x="0" y="0"/>
                      </a:lnTo>
                      <a:close/>
                    </a:path>
                  </a:pathLst>
                </a:custGeom>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81" name="object 182">
                  <a:extLst>
                    <a:ext uri="{FF2B5EF4-FFF2-40B4-BE49-F238E27FC236}">
                      <a16:creationId xmlns:a16="http://schemas.microsoft.com/office/drawing/2014/main" id="{3BD26051-780E-3A9C-8969-94E2934BA566}"/>
                    </a:ext>
                  </a:extLst>
                </p:cNvPr>
                <p:cNvSpPr/>
                <p:nvPr/>
              </p:nvSpPr>
              <p:spPr>
                <a:xfrm>
                  <a:off x="2714873" y="4973593"/>
                  <a:ext cx="227479" cy="72839"/>
                </a:xfrm>
                <a:custGeom>
                  <a:avLst/>
                  <a:gdLst/>
                  <a:ahLst/>
                  <a:cxnLst/>
                  <a:rect l="l" t="t" r="r" b="b"/>
                  <a:pathLst>
                    <a:path w="257809" h="82550">
                      <a:moveTo>
                        <a:pt x="0" y="0"/>
                      </a:moveTo>
                      <a:lnTo>
                        <a:pt x="231013" y="0"/>
                      </a:lnTo>
                      <a:lnTo>
                        <a:pt x="257556" y="41147"/>
                      </a:lnTo>
                      <a:lnTo>
                        <a:pt x="231013" y="82296"/>
                      </a:lnTo>
                      <a:lnTo>
                        <a:pt x="0" y="82296"/>
                      </a:lnTo>
                      <a:lnTo>
                        <a:pt x="26543" y="41148"/>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82" name="object 184">
                  <a:extLst>
                    <a:ext uri="{FF2B5EF4-FFF2-40B4-BE49-F238E27FC236}">
                      <a16:creationId xmlns:a16="http://schemas.microsoft.com/office/drawing/2014/main" id="{2469E499-863F-97CF-9076-0D1BAB617170}"/>
                    </a:ext>
                  </a:extLst>
                </p:cNvPr>
                <p:cNvSpPr/>
                <p:nvPr/>
              </p:nvSpPr>
              <p:spPr>
                <a:xfrm>
                  <a:off x="2934070" y="4973593"/>
                  <a:ext cx="227479" cy="72839"/>
                </a:xfrm>
                <a:custGeom>
                  <a:avLst/>
                  <a:gdLst/>
                  <a:ahLst/>
                  <a:cxnLst/>
                  <a:rect l="l" t="t" r="r" b="b"/>
                  <a:pathLst>
                    <a:path w="257809" h="82550">
                      <a:moveTo>
                        <a:pt x="0" y="0"/>
                      </a:moveTo>
                      <a:lnTo>
                        <a:pt x="231013" y="0"/>
                      </a:lnTo>
                      <a:lnTo>
                        <a:pt x="257556" y="41147"/>
                      </a:lnTo>
                      <a:lnTo>
                        <a:pt x="231013" y="82296"/>
                      </a:lnTo>
                      <a:lnTo>
                        <a:pt x="0" y="82296"/>
                      </a:lnTo>
                      <a:lnTo>
                        <a:pt x="26543" y="41148"/>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83" name="object 185">
                  <a:extLst>
                    <a:ext uri="{FF2B5EF4-FFF2-40B4-BE49-F238E27FC236}">
                      <a16:creationId xmlns:a16="http://schemas.microsoft.com/office/drawing/2014/main" id="{61C4BBC3-D838-DE94-07C9-A034301A0F1C}"/>
                    </a:ext>
                  </a:extLst>
                </p:cNvPr>
                <p:cNvSpPr/>
                <p:nvPr/>
              </p:nvSpPr>
              <p:spPr>
                <a:xfrm>
                  <a:off x="1871742" y="5097305"/>
                  <a:ext cx="1316466" cy="98162"/>
                </a:xfrm>
                <a:prstGeom prst="rect">
                  <a:avLst/>
                </a:prstGeom>
                <a:blipFill>
                  <a:blip r:embed="rId6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84" name="object 186">
                  <a:extLst>
                    <a:ext uri="{FF2B5EF4-FFF2-40B4-BE49-F238E27FC236}">
                      <a16:creationId xmlns:a16="http://schemas.microsoft.com/office/drawing/2014/main" id="{24DDC06B-890F-5C82-6E43-0886BE9BFD4B}"/>
                    </a:ext>
                  </a:extLst>
                </p:cNvPr>
                <p:cNvSpPr/>
                <p:nvPr/>
              </p:nvSpPr>
              <p:spPr>
                <a:xfrm>
                  <a:off x="1893257" y="5118821"/>
                  <a:ext cx="1316478" cy="98162"/>
                </a:xfrm>
                <a:prstGeom prst="rect">
                  <a:avLst/>
                </a:prstGeom>
                <a:blipFill>
                  <a:blip r:embed="rId6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85" name="object 187">
                  <a:extLst>
                    <a:ext uri="{FF2B5EF4-FFF2-40B4-BE49-F238E27FC236}">
                      <a16:creationId xmlns:a16="http://schemas.microsoft.com/office/drawing/2014/main" id="{FB9AC15F-CAD0-8EC3-E7F0-04493A69EAD2}"/>
                    </a:ext>
                  </a:extLst>
                </p:cNvPr>
                <p:cNvSpPr/>
                <p:nvPr/>
              </p:nvSpPr>
              <p:spPr>
                <a:xfrm>
                  <a:off x="1893257" y="5118821"/>
                  <a:ext cx="1294952" cy="76648"/>
                </a:xfrm>
                <a:prstGeom prst="rect">
                  <a:avLst/>
                </a:prstGeom>
                <a:blipFill>
                  <a:blip r:embed="rId6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86" name="object 188">
                  <a:extLst>
                    <a:ext uri="{FF2B5EF4-FFF2-40B4-BE49-F238E27FC236}">
                      <a16:creationId xmlns:a16="http://schemas.microsoft.com/office/drawing/2014/main" id="{5F67DA69-A6FC-AF5E-092A-9E9ACD230F50}"/>
                    </a:ext>
                  </a:extLst>
                </p:cNvPr>
                <p:cNvSpPr txBox="1"/>
                <p:nvPr/>
              </p:nvSpPr>
              <p:spPr>
                <a:xfrm>
                  <a:off x="1883845" y="5109407"/>
                  <a:ext cx="1313889" cy="42882"/>
                </a:xfrm>
                <a:prstGeom prst="rect">
                  <a:avLst/>
                </a:prstGeom>
              </p:spPr>
              <p:txBody>
                <a:bodyPr vert="horz" wrap="square" lIns="0" tIns="3362" rIns="0" bIns="0" rtlCol="0">
                  <a:spAutoFit/>
                </a:bodyPr>
                <a:lstStyle/>
                <a:p>
                  <a:pPr marL="76759" marR="0" lvl="0" indent="0" defTabSz="914400" eaLnBrk="1" fontAlgn="auto" latinLnBrk="0" hangingPunct="1">
                    <a:lnSpc>
                      <a:spcPct val="100000"/>
                    </a:lnSpc>
                    <a:spcBef>
                      <a:spcPts val="26"/>
                    </a:spcBef>
                    <a:spcAft>
                      <a:spcPts val="0"/>
                    </a:spcAft>
                    <a:buClrTx/>
                    <a:buSzTx/>
                    <a:buFontTx/>
                    <a:buNone/>
                    <a:tabLst/>
                    <a:defRPr/>
                  </a:pPr>
                  <a:r>
                    <a:rPr kumimoji="0" lang="en-AU" sz="397" b="0" i="0" u="none" strike="noStrike" kern="0" cap="none" spc="0" normalizeH="0" baseline="0" noProof="0" dirty="0">
                      <a:ln>
                        <a:noFill/>
                      </a:ln>
                      <a:solidFill>
                        <a:srgbClr val="405374"/>
                      </a:solidFill>
                      <a:effectLst/>
                      <a:uLnTx/>
                      <a:uFillTx/>
                      <a:latin typeface="Open Sans"/>
                      <a:cs typeface="Verdana"/>
                    </a:rPr>
                    <a:t>C</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sp>
              <p:nvSpPr>
                <p:cNvPr id="1087" name="object 189">
                  <a:extLst>
                    <a:ext uri="{FF2B5EF4-FFF2-40B4-BE49-F238E27FC236}">
                      <a16:creationId xmlns:a16="http://schemas.microsoft.com/office/drawing/2014/main" id="{8FE1EB20-F703-AB99-35AF-49F97F82FAE6}"/>
                    </a:ext>
                  </a:extLst>
                </p:cNvPr>
                <p:cNvSpPr/>
                <p:nvPr/>
              </p:nvSpPr>
              <p:spPr>
                <a:xfrm>
                  <a:off x="1883845" y="5106421"/>
                  <a:ext cx="1313889" cy="95810"/>
                </a:xfrm>
                <a:custGeom>
                  <a:avLst/>
                  <a:gdLst/>
                  <a:ahLst/>
                  <a:cxnLst/>
                  <a:rect l="l" t="t" r="r" b="b"/>
                  <a:pathLst>
                    <a:path w="1489075" h="108585">
                      <a:moveTo>
                        <a:pt x="0" y="0"/>
                      </a:moveTo>
                      <a:lnTo>
                        <a:pt x="0" y="108204"/>
                      </a:lnTo>
                      <a:lnTo>
                        <a:pt x="1488948" y="108204"/>
                      </a:lnTo>
                      <a:lnTo>
                        <a:pt x="1488948"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88" name="object 190">
                  <a:extLst>
                    <a:ext uri="{FF2B5EF4-FFF2-40B4-BE49-F238E27FC236}">
                      <a16:creationId xmlns:a16="http://schemas.microsoft.com/office/drawing/2014/main" id="{5949D065-1D7D-55A1-FB4A-24ACA71991E5}"/>
                    </a:ext>
                  </a:extLst>
                </p:cNvPr>
                <p:cNvSpPr txBox="1"/>
                <p:nvPr/>
              </p:nvSpPr>
              <p:spPr>
                <a:xfrm>
                  <a:off x="1889560" y="5136273"/>
                  <a:ext cx="290119" cy="84331"/>
                </a:xfrm>
                <a:prstGeom prst="rect">
                  <a:avLst/>
                </a:prstGeom>
              </p:spPr>
              <p:txBody>
                <a:bodyPr vert="horz" wrap="square" lIns="0" tIns="0" rIns="0" bIns="0" rtlCol="0">
                  <a:spAutoFit/>
                </a:bodyPr>
                <a:lstStyle/>
                <a:p>
                  <a:pPr marL="11206" marR="4482" lvl="0" indent="0" defTabSz="914400" eaLnBrk="1" fontAlgn="auto" latinLnBrk="0" hangingPunct="1">
                    <a:lnSpc>
                      <a:spcPct val="100000"/>
                    </a:lnSpc>
                    <a:spcBef>
                      <a:spcPts val="0"/>
                    </a:spcBef>
                    <a:spcAft>
                      <a:spcPts val="0"/>
                    </a:spcAft>
                    <a:buClrTx/>
                    <a:buSzTx/>
                    <a:buFontTx/>
                    <a:buNone/>
                    <a:tabLst/>
                    <a:defRPr/>
                  </a:pPr>
                  <a:r>
                    <a:rPr kumimoji="0" lang="en-AU" sz="353" u="none" strike="noStrike" kern="0" cap="none" spc="-5" normalizeH="0" baseline="0" noProof="0" dirty="0">
                      <a:ln>
                        <a:noFill/>
                      </a:ln>
                      <a:solidFill>
                        <a:srgbClr val="231F20"/>
                      </a:solidFill>
                      <a:effectLst/>
                      <a:uLnTx/>
                      <a:uFillTx/>
                      <a:latin typeface="Open Sans"/>
                      <a:cs typeface="Open Sans" panose="020B0606030504020204" pitchFamily="34" charset="0"/>
                    </a:rPr>
                    <a:t>Fulfillment of the order</a:t>
                  </a:r>
                </a:p>
              </p:txBody>
            </p:sp>
            <p:sp>
              <p:nvSpPr>
                <p:cNvPr id="1089" name="object 192">
                  <a:extLst>
                    <a:ext uri="{FF2B5EF4-FFF2-40B4-BE49-F238E27FC236}">
                      <a16:creationId xmlns:a16="http://schemas.microsoft.com/office/drawing/2014/main" id="{F7CD4B5E-7D17-5C86-F251-CFE6DD5E79FF}"/>
                    </a:ext>
                  </a:extLst>
                </p:cNvPr>
                <p:cNvSpPr/>
                <p:nvPr/>
              </p:nvSpPr>
              <p:spPr>
                <a:xfrm>
                  <a:off x="2267086" y="5120165"/>
                  <a:ext cx="227479" cy="72839"/>
                </a:xfrm>
                <a:custGeom>
                  <a:avLst/>
                  <a:gdLst/>
                  <a:ahLst/>
                  <a:cxnLst/>
                  <a:rect l="l" t="t" r="r" b="b"/>
                  <a:pathLst>
                    <a:path w="257810" h="82550">
                      <a:moveTo>
                        <a:pt x="0" y="0"/>
                      </a:moveTo>
                      <a:lnTo>
                        <a:pt x="231013" y="0"/>
                      </a:lnTo>
                      <a:lnTo>
                        <a:pt x="257556" y="41147"/>
                      </a:lnTo>
                      <a:lnTo>
                        <a:pt x="231013" y="82296"/>
                      </a:lnTo>
                      <a:lnTo>
                        <a:pt x="0" y="82296"/>
                      </a:lnTo>
                      <a:lnTo>
                        <a:pt x="26543" y="41148"/>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0" name="object 194">
                  <a:extLst>
                    <a:ext uri="{FF2B5EF4-FFF2-40B4-BE49-F238E27FC236}">
                      <a16:creationId xmlns:a16="http://schemas.microsoft.com/office/drawing/2014/main" id="{047FCE40-34C7-B730-A677-FDB76DE5EEB9}"/>
                    </a:ext>
                  </a:extLst>
                </p:cNvPr>
                <p:cNvSpPr/>
                <p:nvPr/>
              </p:nvSpPr>
              <p:spPr>
                <a:xfrm>
                  <a:off x="2488962" y="5120165"/>
                  <a:ext cx="226359" cy="72839"/>
                </a:xfrm>
                <a:custGeom>
                  <a:avLst/>
                  <a:gdLst/>
                  <a:ahLst/>
                  <a:cxnLst/>
                  <a:rect l="l" t="t" r="r" b="b"/>
                  <a:pathLst>
                    <a:path w="256539" h="82550">
                      <a:moveTo>
                        <a:pt x="0" y="0"/>
                      </a:moveTo>
                      <a:lnTo>
                        <a:pt x="229489" y="0"/>
                      </a:lnTo>
                      <a:lnTo>
                        <a:pt x="256032" y="41147"/>
                      </a:lnTo>
                      <a:lnTo>
                        <a:pt x="229489" y="82296"/>
                      </a:lnTo>
                      <a:lnTo>
                        <a:pt x="0" y="82296"/>
                      </a:lnTo>
                      <a:lnTo>
                        <a:pt x="26543" y="41148"/>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1" name="object 196">
                  <a:extLst>
                    <a:ext uri="{FF2B5EF4-FFF2-40B4-BE49-F238E27FC236}">
                      <a16:creationId xmlns:a16="http://schemas.microsoft.com/office/drawing/2014/main" id="{A611F9E2-FFB9-0EC1-A4EB-CCE032CC7547}"/>
                    </a:ext>
                  </a:extLst>
                </p:cNvPr>
                <p:cNvSpPr/>
                <p:nvPr/>
              </p:nvSpPr>
              <p:spPr>
                <a:xfrm>
                  <a:off x="2709494" y="5120165"/>
                  <a:ext cx="227479" cy="72839"/>
                </a:xfrm>
                <a:custGeom>
                  <a:avLst/>
                  <a:gdLst/>
                  <a:ahLst/>
                  <a:cxnLst/>
                  <a:rect l="l" t="t" r="r" b="b"/>
                  <a:pathLst>
                    <a:path w="257809" h="82550">
                      <a:moveTo>
                        <a:pt x="0" y="0"/>
                      </a:moveTo>
                      <a:lnTo>
                        <a:pt x="231013" y="0"/>
                      </a:lnTo>
                      <a:lnTo>
                        <a:pt x="257556" y="41147"/>
                      </a:lnTo>
                      <a:lnTo>
                        <a:pt x="231013" y="82296"/>
                      </a:lnTo>
                      <a:lnTo>
                        <a:pt x="0" y="82296"/>
                      </a:lnTo>
                      <a:lnTo>
                        <a:pt x="26543" y="41148"/>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2" name="object 198">
                  <a:extLst>
                    <a:ext uri="{FF2B5EF4-FFF2-40B4-BE49-F238E27FC236}">
                      <a16:creationId xmlns:a16="http://schemas.microsoft.com/office/drawing/2014/main" id="{34B9FCC6-04BA-B762-A510-90E412664623}"/>
                    </a:ext>
                  </a:extLst>
                </p:cNvPr>
                <p:cNvSpPr/>
                <p:nvPr/>
              </p:nvSpPr>
              <p:spPr>
                <a:xfrm>
                  <a:off x="2939438" y="5120165"/>
                  <a:ext cx="227479" cy="72839"/>
                </a:xfrm>
                <a:custGeom>
                  <a:avLst/>
                  <a:gdLst/>
                  <a:ahLst/>
                  <a:cxnLst/>
                  <a:rect l="l" t="t" r="r" b="b"/>
                  <a:pathLst>
                    <a:path w="257809" h="82550">
                      <a:moveTo>
                        <a:pt x="0" y="0"/>
                      </a:moveTo>
                      <a:lnTo>
                        <a:pt x="231013" y="0"/>
                      </a:lnTo>
                      <a:lnTo>
                        <a:pt x="257556" y="41147"/>
                      </a:lnTo>
                      <a:lnTo>
                        <a:pt x="231013" y="82296"/>
                      </a:lnTo>
                      <a:lnTo>
                        <a:pt x="0" y="82296"/>
                      </a:lnTo>
                      <a:lnTo>
                        <a:pt x="26543" y="41148"/>
                      </a:lnTo>
                      <a:lnTo>
                        <a:pt x="0" y="0"/>
                      </a:lnTo>
                      <a:close/>
                    </a:path>
                  </a:pathLst>
                </a:custGeom>
                <a:solidFill>
                  <a:sysClr val="window" lastClr="FFFFFF"/>
                </a:solidFill>
                <a:ln w="12192">
                  <a:solidFill>
                    <a:srgbClr val="A0DCFF">
                      <a:lumMod val="50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3" name="object 199">
                  <a:extLst>
                    <a:ext uri="{FF2B5EF4-FFF2-40B4-BE49-F238E27FC236}">
                      <a16:creationId xmlns:a16="http://schemas.microsoft.com/office/drawing/2014/main" id="{C59FA9F5-E470-445B-996D-64910E047EF4}"/>
                    </a:ext>
                  </a:extLst>
                </p:cNvPr>
                <p:cNvSpPr/>
                <p:nvPr/>
              </p:nvSpPr>
              <p:spPr>
                <a:xfrm>
                  <a:off x="1661967" y="5383727"/>
                  <a:ext cx="1553146" cy="260884"/>
                </a:xfrm>
                <a:prstGeom prst="rect">
                  <a:avLst/>
                </a:prstGeom>
                <a:blipFill>
                  <a:blip r:embed="rId7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4" name="object 200">
                  <a:extLst>
                    <a:ext uri="{FF2B5EF4-FFF2-40B4-BE49-F238E27FC236}">
                      <a16:creationId xmlns:a16="http://schemas.microsoft.com/office/drawing/2014/main" id="{EFDB862F-301E-A866-52F2-EA3F5F00C386}"/>
                    </a:ext>
                  </a:extLst>
                </p:cNvPr>
                <p:cNvSpPr/>
                <p:nvPr/>
              </p:nvSpPr>
              <p:spPr>
                <a:xfrm>
                  <a:off x="1683483" y="5405243"/>
                  <a:ext cx="1553146" cy="260884"/>
                </a:xfrm>
                <a:prstGeom prst="rect">
                  <a:avLst/>
                </a:prstGeom>
                <a:blipFill>
                  <a:blip r:embed="rId7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5" name="object 201">
                  <a:extLst>
                    <a:ext uri="{FF2B5EF4-FFF2-40B4-BE49-F238E27FC236}">
                      <a16:creationId xmlns:a16="http://schemas.microsoft.com/office/drawing/2014/main" id="{C77B60F9-CD88-1960-7678-72E9766F321A}"/>
                    </a:ext>
                  </a:extLst>
                </p:cNvPr>
                <p:cNvSpPr/>
                <p:nvPr/>
              </p:nvSpPr>
              <p:spPr>
                <a:xfrm>
                  <a:off x="1674070" y="5395830"/>
                  <a:ext cx="1550894" cy="258295"/>
                </a:xfrm>
                <a:custGeom>
                  <a:avLst/>
                  <a:gdLst/>
                  <a:ahLst/>
                  <a:cxnLst/>
                  <a:rect l="l" t="t" r="r" b="b"/>
                  <a:pathLst>
                    <a:path w="1757679" h="292735">
                      <a:moveTo>
                        <a:pt x="0" y="0"/>
                      </a:moveTo>
                      <a:lnTo>
                        <a:pt x="0" y="292608"/>
                      </a:lnTo>
                      <a:lnTo>
                        <a:pt x="1757172" y="292607"/>
                      </a:lnTo>
                      <a:lnTo>
                        <a:pt x="1757172" y="0"/>
                      </a:lnTo>
                      <a:lnTo>
                        <a:pt x="0" y="0"/>
                      </a:lnTo>
                      <a:close/>
                    </a:path>
                  </a:pathLst>
                </a:custGeom>
                <a:solidFill>
                  <a:srgbClr val="62B5E5">
                    <a:lumMod val="40000"/>
                    <a:lumOff val="6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6" name="object 206">
                  <a:extLst>
                    <a:ext uri="{FF2B5EF4-FFF2-40B4-BE49-F238E27FC236}">
                      <a16:creationId xmlns:a16="http://schemas.microsoft.com/office/drawing/2014/main" id="{FEC7772C-9B44-C13A-4480-AF2AC88597B4}"/>
                    </a:ext>
                  </a:extLst>
                </p:cNvPr>
                <p:cNvSpPr/>
                <p:nvPr/>
              </p:nvSpPr>
              <p:spPr>
                <a:xfrm>
                  <a:off x="1819299" y="5538369"/>
                  <a:ext cx="1331257" cy="84727"/>
                </a:xfrm>
                <a:prstGeom prst="rect">
                  <a:avLst/>
                </a:prstGeom>
                <a:blipFill>
                  <a:blip r:embed="rId7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7" name="object 207">
                  <a:extLst>
                    <a:ext uri="{FF2B5EF4-FFF2-40B4-BE49-F238E27FC236}">
                      <a16:creationId xmlns:a16="http://schemas.microsoft.com/office/drawing/2014/main" id="{1917749D-02FD-F239-8680-FE4D421AB758}"/>
                    </a:ext>
                  </a:extLst>
                </p:cNvPr>
                <p:cNvSpPr/>
                <p:nvPr/>
              </p:nvSpPr>
              <p:spPr>
                <a:xfrm>
                  <a:off x="1840814" y="5559895"/>
                  <a:ext cx="1331258" cy="84716"/>
                </a:xfrm>
                <a:prstGeom prst="rect">
                  <a:avLst/>
                </a:prstGeom>
                <a:blipFill>
                  <a:blip r:embed="rId7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8" name="object 208">
                  <a:extLst>
                    <a:ext uri="{FF2B5EF4-FFF2-40B4-BE49-F238E27FC236}">
                      <a16:creationId xmlns:a16="http://schemas.microsoft.com/office/drawing/2014/main" id="{2BE57EB7-67BE-DD6A-45D1-077987AEF2AD}"/>
                    </a:ext>
                  </a:extLst>
                </p:cNvPr>
                <p:cNvSpPr/>
                <p:nvPr/>
              </p:nvSpPr>
              <p:spPr>
                <a:xfrm>
                  <a:off x="1840814" y="5559895"/>
                  <a:ext cx="1309744" cy="63202"/>
                </a:xfrm>
                <a:prstGeom prst="rect">
                  <a:avLst/>
                </a:prstGeom>
                <a:blipFill>
                  <a:blip r:embed="rId7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99" name="object 209">
                  <a:extLst>
                    <a:ext uri="{FF2B5EF4-FFF2-40B4-BE49-F238E27FC236}">
                      <a16:creationId xmlns:a16="http://schemas.microsoft.com/office/drawing/2014/main" id="{2438292F-A1A6-5ECC-6DB2-574EDD952194}"/>
                    </a:ext>
                  </a:extLst>
                </p:cNvPr>
                <p:cNvSpPr/>
                <p:nvPr/>
              </p:nvSpPr>
              <p:spPr>
                <a:xfrm>
                  <a:off x="1831401" y="5550471"/>
                  <a:ext cx="1329018" cy="82363"/>
                </a:xfrm>
                <a:custGeom>
                  <a:avLst/>
                  <a:gdLst/>
                  <a:ahLst/>
                  <a:cxnLst/>
                  <a:rect l="l" t="t" r="r" b="b"/>
                  <a:pathLst>
                    <a:path w="1506220" h="93345">
                      <a:moveTo>
                        <a:pt x="0" y="0"/>
                      </a:moveTo>
                      <a:lnTo>
                        <a:pt x="0" y="92964"/>
                      </a:lnTo>
                      <a:lnTo>
                        <a:pt x="1505712" y="92963"/>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100" name="object 210">
                  <a:extLst>
                    <a:ext uri="{FF2B5EF4-FFF2-40B4-BE49-F238E27FC236}">
                      <a16:creationId xmlns:a16="http://schemas.microsoft.com/office/drawing/2014/main" id="{3E99ACDE-FD06-B9A8-C5EA-97EFCBB06D88}"/>
                    </a:ext>
                  </a:extLst>
                </p:cNvPr>
                <p:cNvSpPr txBox="1"/>
                <p:nvPr/>
              </p:nvSpPr>
              <p:spPr>
                <a:xfrm>
                  <a:off x="1831401" y="5559773"/>
                  <a:ext cx="1329018" cy="47443"/>
                </a:xfrm>
                <a:prstGeom prst="rect">
                  <a:avLst/>
                </a:prstGeom>
              </p:spPr>
              <p:txBody>
                <a:bodyPr vert="horz" wrap="square" lIns="0" tIns="0" rIns="0" bIns="0" rtlCol="0">
                  <a:spAutoFit/>
                </a:bodyPr>
                <a:lstStyle/>
                <a:p>
                  <a:pPr marL="561" marR="0" lvl="0" indent="0" algn="ctr" defTabSz="914400" eaLnBrk="1" fontAlgn="auto" latinLnBrk="0" hangingPunct="1">
                    <a:lnSpc>
                      <a:spcPct val="100000"/>
                    </a:lnSpc>
                    <a:spcBef>
                      <a:spcPts val="0"/>
                    </a:spcBef>
                    <a:spcAft>
                      <a:spcPts val="0"/>
                    </a:spcAft>
                    <a:buClrTx/>
                    <a:buSzTx/>
                    <a:buFontTx/>
                    <a:buNone/>
                    <a:tabLst/>
                    <a:defRPr/>
                  </a:pPr>
                  <a:r>
                    <a:rPr kumimoji="0" lang="en-AU" sz="397" u="none" strike="noStrike" kern="0" cap="none" spc="-9" normalizeH="0" baseline="0" noProof="0" dirty="0">
                      <a:ln>
                        <a:noFill/>
                      </a:ln>
                      <a:solidFill>
                        <a:srgbClr val="231F20"/>
                      </a:solidFill>
                      <a:effectLst/>
                      <a:uLnTx/>
                      <a:uFillTx/>
                      <a:latin typeface="Open Sans"/>
                      <a:cs typeface="Open Sans" panose="020B0606030504020204" pitchFamily="34" charset="0"/>
                    </a:rPr>
                    <a:t>HR</a:t>
                  </a:r>
                  <a:endParaRPr kumimoji="0" lang="en-AU" sz="397"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sp>
              <p:nvSpPr>
                <p:cNvPr id="1101" name="object 211">
                  <a:extLst>
                    <a:ext uri="{FF2B5EF4-FFF2-40B4-BE49-F238E27FC236}">
                      <a16:creationId xmlns:a16="http://schemas.microsoft.com/office/drawing/2014/main" id="{F3A1FBA0-31CF-E223-C3BC-2C451CD923DA}"/>
                    </a:ext>
                  </a:extLst>
                </p:cNvPr>
                <p:cNvSpPr txBox="1"/>
                <p:nvPr/>
              </p:nvSpPr>
              <p:spPr>
                <a:xfrm>
                  <a:off x="1696748" y="5401207"/>
                  <a:ext cx="82858" cy="237565"/>
                </a:xfrm>
                <a:prstGeom prst="rect">
                  <a:avLst/>
                </a:prstGeom>
              </p:spPr>
              <p:txBody>
                <a:bodyPr vert="vert270" wrap="square" lIns="0" tIns="2801" rIns="0" bIns="0" rtlCol="0" anchor="ctr">
                  <a:spAutoFit/>
                </a:bodyPr>
                <a:lstStyle/>
                <a:p>
                  <a:pPr marL="11206" marR="4482" lvl="0" indent="15688" algn="ctr" defTabSz="914400" eaLnBrk="1" fontAlgn="auto" latinLnBrk="0" hangingPunct="1">
                    <a:lnSpc>
                      <a:spcPct val="100000"/>
                    </a:lnSpc>
                    <a:spcBef>
                      <a:spcPts val="22"/>
                    </a:spcBef>
                    <a:spcAft>
                      <a:spcPts val="0"/>
                    </a:spcAft>
                    <a:buClrTx/>
                    <a:buSzTx/>
                    <a:buFontTx/>
                    <a:buNone/>
                    <a:tabLst/>
                    <a:defRPr/>
                  </a:pPr>
                  <a:r>
                    <a:rPr kumimoji="0" lang="en-AU" sz="397" b="0" i="0" u="none" strike="noStrike" kern="0" cap="none" spc="0" normalizeH="0" baseline="0" noProof="0" dirty="0">
                      <a:ln>
                        <a:noFill/>
                      </a:ln>
                      <a:solidFill>
                        <a:srgbClr val="231F20"/>
                      </a:solidFill>
                      <a:effectLst/>
                      <a:uLnTx/>
                      <a:uFillTx/>
                      <a:latin typeface="Open Sans"/>
                      <a:cs typeface="Verdana"/>
                    </a:rPr>
                    <a:t>Sha</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0" normalizeH="0" baseline="0" noProof="0" dirty="0">
                      <a:ln>
                        <a:noFill/>
                      </a:ln>
                      <a:solidFill>
                        <a:srgbClr val="231F20"/>
                      </a:solidFill>
                      <a:effectLst/>
                      <a:uLnTx/>
                      <a:uFillTx/>
                      <a:latin typeface="Open Sans"/>
                      <a:cs typeface="Verdana"/>
                    </a:rPr>
                    <a:t>ed Se</a:t>
                  </a:r>
                  <a:r>
                    <a:rPr kumimoji="0" lang="en-AU" sz="397" b="0" i="0" u="none" strike="noStrike" kern="0" cap="none" spc="-5" normalizeH="0" baseline="0" noProof="0" dirty="0">
                      <a:ln>
                        <a:noFill/>
                      </a:ln>
                      <a:solidFill>
                        <a:srgbClr val="231F20"/>
                      </a:solidFill>
                      <a:effectLst/>
                      <a:uLnTx/>
                      <a:uFillTx/>
                      <a:latin typeface="Open Sans"/>
                      <a:cs typeface="Verdana"/>
                    </a:rPr>
                    <a:t>r</a:t>
                  </a:r>
                  <a:r>
                    <a:rPr kumimoji="0" lang="en-AU" sz="397" b="0" i="0" u="none" strike="noStrike" kern="0" cap="none" spc="-9" normalizeH="0" baseline="0" noProof="0" dirty="0">
                      <a:ln>
                        <a:noFill/>
                      </a:ln>
                      <a:solidFill>
                        <a:srgbClr val="231F20"/>
                      </a:solidFill>
                      <a:effectLst/>
                      <a:uLnTx/>
                      <a:uFillTx/>
                      <a:latin typeface="Open Sans"/>
                      <a:cs typeface="Verdana"/>
                    </a:rPr>
                    <a:t>vi</a:t>
                  </a:r>
                  <a:r>
                    <a:rPr kumimoji="0" lang="en-AU" sz="397" b="0" i="0" u="none" strike="noStrike" kern="0" cap="none" spc="0" normalizeH="0" baseline="0" noProof="0" dirty="0">
                      <a:ln>
                        <a:noFill/>
                      </a:ln>
                      <a:solidFill>
                        <a:srgbClr val="231F20"/>
                      </a:solidFill>
                      <a:effectLst/>
                      <a:uLnTx/>
                      <a:uFillTx/>
                      <a:latin typeface="Open Sans"/>
                      <a:cs typeface="Verdana"/>
                    </a:rPr>
                    <a:t>ce</a:t>
                  </a:r>
                  <a:r>
                    <a:rPr kumimoji="0" lang="hu-HU" sz="397" b="0" i="0" u="none" strike="noStrike" kern="0" cap="none" spc="0" normalizeH="0" baseline="0" noProof="0">
                      <a:ln>
                        <a:noFill/>
                      </a:ln>
                      <a:solidFill>
                        <a:srgbClr val="231F20"/>
                      </a:solidFill>
                      <a:effectLst/>
                      <a:uLnTx/>
                      <a:uFillTx/>
                      <a:latin typeface="Open Sans"/>
                      <a:cs typeface="Verdana"/>
                    </a:rPr>
                    <a:t>s</a:t>
                  </a:r>
                  <a:endParaRPr kumimoji="0" lang="en-AU" sz="397" b="0" i="0" u="none" strike="noStrike" kern="0" cap="none" spc="0" normalizeH="0" baseline="0" noProof="0" dirty="0">
                    <a:ln>
                      <a:noFill/>
                    </a:ln>
                    <a:solidFill>
                      <a:srgbClr val="000000"/>
                    </a:solidFill>
                    <a:effectLst/>
                    <a:uLnTx/>
                    <a:uFillTx/>
                    <a:latin typeface="Open Sans"/>
                    <a:cs typeface="Verdana"/>
                  </a:endParaRPr>
                </a:p>
              </p:txBody>
            </p:sp>
          </p:grpSp>
          <p:sp>
            <p:nvSpPr>
              <p:cNvPr id="1046" name="object 206">
                <a:extLst>
                  <a:ext uri="{FF2B5EF4-FFF2-40B4-BE49-F238E27FC236}">
                    <a16:creationId xmlns:a16="http://schemas.microsoft.com/office/drawing/2014/main" id="{7AC67ED2-4602-30F5-F9BB-DFEA787AF063}"/>
                  </a:ext>
                </a:extLst>
              </p:cNvPr>
              <p:cNvSpPr/>
              <p:nvPr/>
            </p:nvSpPr>
            <p:spPr>
              <a:xfrm>
                <a:off x="9260934" y="2695820"/>
                <a:ext cx="1963561" cy="109129"/>
              </a:xfrm>
              <a:prstGeom prst="rect">
                <a:avLst/>
              </a:prstGeom>
              <a:blipFill>
                <a:blip r:embed="rId7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47" name="object 207">
                <a:extLst>
                  <a:ext uri="{FF2B5EF4-FFF2-40B4-BE49-F238E27FC236}">
                    <a16:creationId xmlns:a16="http://schemas.microsoft.com/office/drawing/2014/main" id="{D49C389C-3DE7-6C67-3784-E5A12670C6D8}"/>
                  </a:ext>
                </a:extLst>
              </p:cNvPr>
              <p:cNvSpPr/>
              <p:nvPr/>
            </p:nvSpPr>
            <p:spPr>
              <a:xfrm>
                <a:off x="9292668" y="2723545"/>
                <a:ext cx="1963563" cy="109115"/>
              </a:xfrm>
              <a:prstGeom prst="rect">
                <a:avLst/>
              </a:prstGeom>
              <a:blipFill>
                <a:blip r:embed="rId7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048" name="object 209">
                <a:extLst>
                  <a:ext uri="{FF2B5EF4-FFF2-40B4-BE49-F238E27FC236}">
                    <a16:creationId xmlns:a16="http://schemas.microsoft.com/office/drawing/2014/main" id="{D8549445-B471-E8FC-F60B-AA06429E9F9A}"/>
                  </a:ext>
                </a:extLst>
              </p:cNvPr>
              <p:cNvSpPr/>
              <p:nvPr/>
            </p:nvSpPr>
            <p:spPr>
              <a:xfrm>
                <a:off x="9278784" y="2711407"/>
                <a:ext cx="1960259" cy="106084"/>
              </a:xfrm>
              <a:custGeom>
                <a:avLst/>
                <a:gdLst/>
                <a:ahLst/>
                <a:cxnLst/>
                <a:rect l="l" t="t" r="r" b="b"/>
                <a:pathLst>
                  <a:path w="1506220" h="93345">
                    <a:moveTo>
                      <a:pt x="0" y="0"/>
                    </a:moveTo>
                    <a:lnTo>
                      <a:pt x="0" y="92964"/>
                    </a:lnTo>
                    <a:lnTo>
                      <a:pt x="1505712" y="92963"/>
                    </a:lnTo>
                    <a:lnTo>
                      <a:pt x="1505712" y="0"/>
                    </a:lnTo>
                    <a:lnTo>
                      <a:pt x="0" y="0"/>
                    </a:lnTo>
                    <a:close/>
                  </a:path>
                </a:pathLst>
              </a:custGeom>
              <a:solidFill>
                <a:sysClr val="window" lastClr="FFFFFF">
                  <a:lumMod val="85000"/>
                </a:sysClr>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400" b="0" i="0" u="none" strike="noStrike" kern="0" cap="none" spc="0" normalizeH="0" baseline="0" noProof="0" dirty="0" err="1">
                    <a:ln>
                      <a:noFill/>
                    </a:ln>
                    <a:solidFill>
                      <a:srgbClr val="000000"/>
                    </a:solidFill>
                    <a:effectLst/>
                    <a:uLnTx/>
                    <a:uFillTx/>
                    <a:latin typeface="Open Sans"/>
                  </a:rPr>
                  <a:t>Finance</a:t>
                </a:r>
                <a:endParaRPr kumimoji="0" lang="en-AU" sz="400" b="0" i="0" u="none" strike="noStrike" kern="0" cap="none" spc="0" normalizeH="0" baseline="0" noProof="0" dirty="0">
                  <a:ln>
                    <a:noFill/>
                  </a:ln>
                  <a:solidFill>
                    <a:srgbClr val="000000"/>
                  </a:solidFill>
                  <a:effectLst/>
                  <a:uLnTx/>
                  <a:uFillTx/>
                  <a:latin typeface="Open Sans"/>
                </a:endParaRPr>
              </a:p>
            </p:txBody>
          </p:sp>
        </p:grpSp>
        <p:sp>
          <p:nvSpPr>
            <p:cNvPr id="1103" name="TextBox 1102">
              <a:extLst>
                <a:ext uri="{FF2B5EF4-FFF2-40B4-BE49-F238E27FC236}">
                  <a16:creationId xmlns:a16="http://schemas.microsoft.com/office/drawing/2014/main" id="{462ED4B7-BFF7-8436-A77E-7401544197F3}"/>
                </a:ext>
              </a:extLst>
            </p:cNvPr>
            <p:cNvSpPr txBox="1"/>
            <p:nvPr/>
          </p:nvSpPr>
          <p:spPr>
            <a:xfrm rot="1610013">
              <a:off x="7961859" y="1990272"/>
              <a:ext cx="687779" cy="123111"/>
            </a:xfrm>
            <a:prstGeom prst="rect">
              <a:avLst/>
            </a:prstGeom>
            <a:solidFill>
              <a:sysClr val="window" lastClr="FFFFFF"/>
            </a:solidFill>
            <a:ln>
              <a:solidFill>
                <a:srgbClr val="FF0000"/>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r>
                <a:rPr kumimoji="0" lang="en-AU" sz="800" b="1" i="0" u="none" strike="noStrike" kern="0" cap="none" spc="0" normalizeH="0" baseline="0" noProof="0" dirty="0">
                  <a:ln>
                    <a:noFill/>
                  </a:ln>
                  <a:solidFill>
                    <a:srgbClr val="313131"/>
                  </a:solidFill>
                  <a:effectLst/>
                  <a:uLnTx/>
                  <a:uFillTx/>
                  <a:latin typeface="Open Sans"/>
                  <a:cs typeface="Calibri" panose="020F0502020204030204" pitchFamily="34" charset="0"/>
                </a:rPr>
                <a:t>Example</a:t>
              </a: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p>
          </p:txBody>
        </p:sp>
        <p:sp>
          <p:nvSpPr>
            <p:cNvPr id="1275" name="Oval 1274">
              <a:extLst>
                <a:ext uri="{FF2B5EF4-FFF2-40B4-BE49-F238E27FC236}">
                  <a16:creationId xmlns:a16="http://schemas.microsoft.com/office/drawing/2014/main" id="{B710370E-9A1D-0654-1938-2855B5C5E163}"/>
                </a:ext>
              </a:extLst>
            </p:cNvPr>
            <p:cNvSpPr/>
            <p:nvPr/>
          </p:nvSpPr>
          <p:spPr bwMode="gray">
            <a:xfrm>
              <a:off x="6134151" y="1673459"/>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noProof="0" dirty="0">
                  <a:ln>
                    <a:noFill/>
                  </a:ln>
                  <a:solidFill>
                    <a:prstClr val="black"/>
                  </a:solidFill>
                  <a:effectLst/>
                  <a:uLnTx/>
                  <a:uFillTx/>
                  <a:latin typeface="Open Sans"/>
                </a:rPr>
                <a:t>5</a:t>
              </a:r>
            </a:p>
          </p:txBody>
        </p:sp>
      </p:grpSp>
      <p:grpSp>
        <p:nvGrpSpPr>
          <p:cNvPr id="45" name="Group 44">
            <a:extLst>
              <a:ext uri="{FF2B5EF4-FFF2-40B4-BE49-F238E27FC236}">
                <a16:creationId xmlns:a16="http://schemas.microsoft.com/office/drawing/2014/main" id="{4D673EEB-2590-39CC-939E-28DB9081FA9C}"/>
              </a:ext>
            </a:extLst>
          </p:cNvPr>
          <p:cNvGrpSpPr/>
          <p:nvPr/>
        </p:nvGrpSpPr>
        <p:grpSpPr>
          <a:xfrm>
            <a:off x="6204153" y="3147056"/>
            <a:ext cx="2515487" cy="1531029"/>
            <a:chOff x="6134151" y="3337318"/>
            <a:chExt cx="2515487" cy="1531029"/>
          </a:xfrm>
        </p:grpSpPr>
        <p:sp>
          <p:nvSpPr>
            <p:cNvPr id="1228" name="object 611">
              <a:extLst>
                <a:ext uri="{FF2B5EF4-FFF2-40B4-BE49-F238E27FC236}">
                  <a16:creationId xmlns:a16="http://schemas.microsoft.com/office/drawing/2014/main" id="{938B86B0-ACF7-2704-9878-D6399C8FF890}"/>
                </a:ext>
              </a:extLst>
            </p:cNvPr>
            <p:cNvSpPr/>
            <p:nvPr/>
          </p:nvSpPr>
          <p:spPr>
            <a:xfrm>
              <a:off x="6201371" y="3780885"/>
              <a:ext cx="515958" cy="220500"/>
            </a:xfrm>
            <a:prstGeom prst="rect">
              <a:avLst/>
            </a:prstGeom>
            <a:blipFill>
              <a:blip r:embed="rId42"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29" name="object 612">
              <a:extLst>
                <a:ext uri="{FF2B5EF4-FFF2-40B4-BE49-F238E27FC236}">
                  <a16:creationId xmlns:a16="http://schemas.microsoft.com/office/drawing/2014/main" id="{32F6992C-CB9E-75D8-6B7B-2366B2788C45}"/>
                </a:ext>
              </a:extLst>
            </p:cNvPr>
            <p:cNvSpPr/>
            <p:nvPr/>
          </p:nvSpPr>
          <p:spPr>
            <a:xfrm>
              <a:off x="6233002" y="3806451"/>
              <a:ext cx="515958" cy="445738"/>
            </a:xfrm>
            <a:prstGeom prst="rect">
              <a:avLst/>
            </a:prstGeom>
            <a:blipFill>
              <a:blip r:embed="rId75"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30" name="object 613">
              <a:extLst>
                <a:ext uri="{FF2B5EF4-FFF2-40B4-BE49-F238E27FC236}">
                  <a16:creationId xmlns:a16="http://schemas.microsoft.com/office/drawing/2014/main" id="{EC91FCAE-FFFB-9662-A0F1-8BD3BC672B3C}"/>
                </a:ext>
              </a:extLst>
            </p:cNvPr>
            <p:cNvSpPr/>
            <p:nvPr/>
          </p:nvSpPr>
          <p:spPr>
            <a:xfrm>
              <a:off x="6219164" y="3795267"/>
              <a:ext cx="512335" cy="443536"/>
            </a:xfrm>
            <a:custGeom>
              <a:avLst/>
              <a:gdLst/>
              <a:ahLst/>
              <a:cxnLst/>
              <a:rect l="l" t="t" r="r" b="b"/>
              <a:pathLst>
                <a:path w="394970" h="562610">
                  <a:moveTo>
                    <a:pt x="0" y="0"/>
                  </a:moveTo>
                  <a:lnTo>
                    <a:pt x="0" y="562355"/>
                  </a:lnTo>
                  <a:lnTo>
                    <a:pt x="394715" y="562355"/>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31" name="object 626">
              <a:extLst>
                <a:ext uri="{FF2B5EF4-FFF2-40B4-BE49-F238E27FC236}">
                  <a16:creationId xmlns:a16="http://schemas.microsoft.com/office/drawing/2014/main" id="{7B438774-FC9E-ABE6-E48A-A33F5798F654}"/>
                </a:ext>
              </a:extLst>
            </p:cNvPr>
            <p:cNvSpPr/>
            <p:nvPr/>
          </p:nvSpPr>
          <p:spPr>
            <a:xfrm>
              <a:off x="7897512" y="3780885"/>
              <a:ext cx="517936" cy="220500"/>
            </a:xfrm>
            <a:prstGeom prst="rect">
              <a:avLst/>
            </a:prstGeom>
            <a:blipFill>
              <a:blip r:embed="rId47"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32" name="object 627">
              <a:extLst>
                <a:ext uri="{FF2B5EF4-FFF2-40B4-BE49-F238E27FC236}">
                  <a16:creationId xmlns:a16="http://schemas.microsoft.com/office/drawing/2014/main" id="{144E0DC2-1FFE-A204-B3D7-310CFF43E2C0}"/>
                </a:ext>
              </a:extLst>
            </p:cNvPr>
            <p:cNvSpPr/>
            <p:nvPr/>
          </p:nvSpPr>
          <p:spPr>
            <a:xfrm>
              <a:off x="7929143" y="3806451"/>
              <a:ext cx="517936" cy="445738"/>
            </a:xfrm>
            <a:prstGeom prst="rect">
              <a:avLst/>
            </a:prstGeom>
            <a:solidFill>
              <a:srgbClr val="9DD4CF">
                <a:lumMod val="20000"/>
                <a:lumOff val="80000"/>
              </a:srgbClr>
            </a:solidFill>
            <a:ln>
              <a:solidFill>
                <a:sysClr val="windowText" lastClr="000000"/>
              </a:solidFill>
              <a:prstDash val="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33" name="object 628">
              <a:extLst>
                <a:ext uri="{FF2B5EF4-FFF2-40B4-BE49-F238E27FC236}">
                  <a16:creationId xmlns:a16="http://schemas.microsoft.com/office/drawing/2014/main" id="{3E117603-0675-3322-AC03-FB9654E328B1}"/>
                </a:ext>
              </a:extLst>
            </p:cNvPr>
            <p:cNvSpPr/>
            <p:nvPr/>
          </p:nvSpPr>
          <p:spPr>
            <a:xfrm>
              <a:off x="7966701" y="3822955"/>
              <a:ext cx="372283" cy="415847"/>
            </a:xfrm>
            <a:custGeom>
              <a:avLst/>
              <a:gdLst/>
              <a:ahLst/>
              <a:cxnLst/>
              <a:rect l="l" t="t" r="r" b="b"/>
              <a:pathLst>
                <a:path w="396239" h="562610">
                  <a:moveTo>
                    <a:pt x="0" y="0"/>
                  </a:moveTo>
                  <a:lnTo>
                    <a:pt x="0" y="562355"/>
                  </a:lnTo>
                  <a:lnTo>
                    <a:pt x="396239" y="562355"/>
                  </a:lnTo>
                  <a:lnTo>
                    <a:pt x="39623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34" name="object 641">
              <a:extLst>
                <a:ext uri="{FF2B5EF4-FFF2-40B4-BE49-F238E27FC236}">
                  <a16:creationId xmlns:a16="http://schemas.microsoft.com/office/drawing/2014/main" id="{9F32128F-2EAF-F422-FF1D-8905AD12261F}"/>
                </a:ext>
              </a:extLst>
            </p:cNvPr>
            <p:cNvSpPr/>
            <p:nvPr/>
          </p:nvSpPr>
          <p:spPr>
            <a:xfrm>
              <a:off x="6766752" y="3780885"/>
              <a:ext cx="515958" cy="220500"/>
            </a:xfrm>
            <a:prstGeom prst="rect">
              <a:avLst/>
            </a:prstGeom>
            <a:blipFill>
              <a:blip r:embed="rId42"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35" name="object 642">
              <a:extLst>
                <a:ext uri="{FF2B5EF4-FFF2-40B4-BE49-F238E27FC236}">
                  <a16:creationId xmlns:a16="http://schemas.microsoft.com/office/drawing/2014/main" id="{B5845CA4-1C50-58F7-19FF-744FF7E690E2}"/>
                </a:ext>
              </a:extLst>
            </p:cNvPr>
            <p:cNvSpPr/>
            <p:nvPr/>
          </p:nvSpPr>
          <p:spPr>
            <a:xfrm>
              <a:off x="6798382" y="3806451"/>
              <a:ext cx="515958" cy="445738"/>
            </a:xfrm>
            <a:prstGeom prst="rect">
              <a:avLst/>
            </a:prstGeom>
            <a:blipFill>
              <a:blip r:embed="rId75"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36" name="object 643">
              <a:extLst>
                <a:ext uri="{FF2B5EF4-FFF2-40B4-BE49-F238E27FC236}">
                  <a16:creationId xmlns:a16="http://schemas.microsoft.com/office/drawing/2014/main" id="{3BB7D332-7A49-8838-B13C-116CD87242A4}"/>
                </a:ext>
              </a:extLst>
            </p:cNvPr>
            <p:cNvSpPr/>
            <p:nvPr/>
          </p:nvSpPr>
          <p:spPr>
            <a:xfrm>
              <a:off x="6784544" y="3795267"/>
              <a:ext cx="512335" cy="443536"/>
            </a:xfrm>
            <a:custGeom>
              <a:avLst/>
              <a:gdLst/>
              <a:ahLst/>
              <a:cxnLst/>
              <a:rect l="l" t="t" r="r" b="b"/>
              <a:pathLst>
                <a:path w="394970" h="562610">
                  <a:moveTo>
                    <a:pt x="0" y="0"/>
                  </a:moveTo>
                  <a:lnTo>
                    <a:pt x="0" y="562355"/>
                  </a:lnTo>
                  <a:lnTo>
                    <a:pt x="394715" y="562355"/>
                  </a:lnTo>
                  <a:lnTo>
                    <a:pt x="394715"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37" name="object 656">
              <a:extLst>
                <a:ext uri="{FF2B5EF4-FFF2-40B4-BE49-F238E27FC236}">
                  <a16:creationId xmlns:a16="http://schemas.microsoft.com/office/drawing/2014/main" id="{6077B37A-6C42-F415-2146-6DF1261D970E}"/>
                </a:ext>
              </a:extLst>
            </p:cNvPr>
            <p:cNvSpPr/>
            <p:nvPr/>
          </p:nvSpPr>
          <p:spPr>
            <a:xfrm>
              <a:off x="7332134" y="3780885"/>
              <a:ext cx="517936" cy="220500"/>
            </a:xfrm>
            <a:prstGeom prst="rect">
              <a:avLst/>
            </a:prstGeom>
            <a:blipFill>
              <a:blip r:embed="rId47"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38" name="object 657">
              <a:extLst>
                <a:ext uri="{FF2B5EF4-FFF2-40B4-BE49-F238E27FC236}">
                  <a16:creationId xmlns:a16="http://schemas.microsoft.com/office/drawing/2014/main" id="{B6DBE8DC-954B-4347-AC4B-940A0BE0E3D7}"/>
                </a:ext>
              </a:extLst>
            </p:cNvPr>
            <p:cNvSpPr/>
            <p:nvPr/>
          </p:nvSpPr>
          <p:spPr>
            <a:xfrm>
              <a:off x="7363761" y="3806451"/>
              <a:ext cx="517936" cy="445738"/>
            </a:xfrm>
            <a:prstGeom prst="rect">
              <a:avLst/>
            </a:prstGeom>
            <a:blipFill>
              <a:blip r:embed="rId76"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39" name="object 658">
              <a:extLst>
                <a:ext uri="{FF2B5EF4-FFF2-40B4-BE49-F238E27FC236}">
                  <a16:creationId xmlns:a16="http://schemas.microsoft.com/office/drawing/2014/main" id="{11C69AF8-9198-D403-1F76-B516E41FCE7B}"/>
                </a:ext>
              </a:extLst>
            </p:cNvPr>
            <p:cNvSpPr/>
            <p:nvPr/>
          </p:nvSpPr>
          <p:spPr>
            <a:xfrm>
              <a:off x="7349923" y="3795267"/>
              <a:ext cx="513981" cy="443536"/>
            </a:xfrm>
            <a:custGeom>
              <a:avLst/>
              <a:gdLst/>
              <a:ahLst/>
              <a:cxnLst/>
              <a:rect l="l" t="t" r="r" b="b"/>
              <a:pathLst>
                <a:path w="396239" h="562610">
                  <a:moveTo>
                    <a:pt x="0" y="0"/>
                  </a:moveTo>
                  <a:lnTo>
                    <a:pt x="0" y="562355"/>
                  </a:lnTo>
                  <a:lnTo>
                    <a:pt x="396239" y="562355"/>
                  </a:lnTo>
                  <a:lnTo>
                    <a:pt x="396239"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40" name="object 267">
              <a:extLst>
                <a:ext uri="{FF2B5EF4-FFF2-40B4-BE49-F238E27FC236}">
                  <a16:creationId xmlns:a16="http://schemas.microsoft.com/office/drawing/2014/main" id="{2C7F4F32-0357-9258-EFDF-46F57673EE2E}"/>
                </a:ext>
              </a:extLst>
            </p:cNvPr>
            <p:cNvSpPr/>
            <p:nvPr/>
          </p:nvSpPr>
          <p:spPr>
            <a:xfrm>
              <a:off x="6197561" y="4271123"/>
              <a:ext cx="2281290" cy="383354"/>
            </a:xfrm>
            <a:prstGeom prst="rect">
              <a:avLst/>
            </a:prstGeom>
            <a:blipFill>
              <a:blip r:embed="rId77"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41" name="object 268">
              <a:extLst>
                <a:ext uri="{FF2B5EF4-FFF2-40B4-BE49-F238E27FC236}">
                  <a16:creationId xmlns:a16="http://schemas.microsoft.com/office/drawing/2014/main" id="{668317B1-70CC-C821-9C59-03D7D473D682}"/>
                </a:ext>
              </a:extLst>
            </p:cNvPr>
            <p:cNvSpPr/>
            <p:nvPr/>
          </p:nvSpPr>
          <p:spPr>
            <a:xfrm>
              <a:off x="6229190" y="4296688"/>
              <a:ext cx="2281290" cy="357789"/>
            </a:xfrm>
            <a:prstGeom prst="rect">
              <a:avLst/>
            </a:prstGeom>
            <a:blipFill>
              <a:blip r:embed="rId78"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42" name="object 269">
              <a:extLst>
                <a:ext uri="{FF2B5EF4-FFF2-40B4-BE49-F238E27FC236}">
                  <a16:creationId xmlns:a16="http://schemas.microsoft.com/office/drawing/2014/main" id="{65427CF7-C2B6-E6EA-C970-342D95F93B82}"/>
                </a:ext>
              </a:extLst>
            </p:cNvPr>
            <p:cNvSpPr/>
            <p:nvPr/>
          </p:nvSpPr>
          <p:spPr>
            <a:xfrm>
              <a:off x="6215352" y="4285503"/>
              <a:ext cx="2277500" cy="354594"/>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62B5E5">
                <a:lumMod val="40000"/>
                <a:lumOff val="6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43" name="object 270">
              <a:extLst>
                <a:ext uri="{FF2B5EF4-FFF2-40B4-BE49-F238E27FC236}">
                  <a16:creationId xmlns:a16="http://schemas.microsoft.com/office/drawing/2014/main" id="{01FE9BC0-79F7-919D-79C3-9693891A666E}"/>
                </a:ext>
              </a:extLst>
            </p:cNvPr>
            <p:cNvSpPr/>
            <p:nvPr/>
          </p:nvSpPr>
          <p:spPr>
            <a:xfrm>
              <a:off x="6452575" y="4309471"/>
              <a:ext cx="1957085" cy="116640"/>
            </a:xfrm>
            <a:prstGeom prst="rect">
              <a:avLst/>
            </a:prstGeom>
            <a:blipFill>
              <a:blip r:embed="rId51"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44" name="object 271">
              <a:extLst>
                <a:ext uri="{FF2B5EF4-FFF2-40B4-BE49-F238E27FC236}">
                  <a16:creationId xmlns:a16="http://schemas.microsoft.com/office/drawing/2014/main" id="{A1EC8D9B-87EE-458A-4F74-514824373385}"/>
                </a:ext>
              </a:extLst>
            </p:cNvPr>
            <p:cNvSpPr/>
            <p:nvPr/>
          </p:nvSpPr>
          <p:spPr>
            <a:xfrm>
              <a:off x="6484204" y="4335034"/>
              <a:ext cx="1957085" cy="116640"/>
            </a:xfrm>
            <a:prstGeom prst="rect">
              <a:avLst/>
            </a:prstGeom>
            <a:blipFill>
              <a:blip r:embed="rId52"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45" name="object 272">
              <a:extLst>
                <a:ext uri="{FF2B5EF4-FFF2-40B4-BE49-F238E27FC236}">
                  <a16:creationId xmlns:a16="http://schemas.microsoft.com/office/drawing/2014/main" id="{EC17D45C-E88D-17FD-B582-E76C2991F357}"/>
                </a:ext>
              </a:extLst>
            </p:cNvPr>
            <p:cNvSpPr/>
            <p:nvPr/>
          </p:nvSpPr>
          <p:spPr>
            <a:xfrm>
              <a:off x="6484204" y="4335034"/>
              <a:ext cx="1925456" cy="91076"/>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46" name="object 273">
              <a:extLst>
                <a:ext uri="{FF2B5EF4-FFF2-40B4-BE49-F238E27FC236}">
                  <a16:creationId xmlns:a16="http://schemas.microsoft.com/office/drawing/2014/main" id="{1A679495-7FF1-B840-0D33-4FBC9FFB8E57}"/>
                </a:ext>
              </a:extLst>
            </p:cNvPr>
            <p:cNvSpPr/>
            <p:nvPr/>
          </p:nvSpPr>
          <p:spPr>
            <a:xfrm>
              <a:off x="6470366" y="4323850"/>
              <a:ext cx="1953791" cy="113844"/>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47" name="object 274">
              <a:extLst>
                <a:ext uri="{FF2B5EF4-FFF2-40B4-BE49-F238E27FC236}">
                  <a16:creationId xmlns:a16="http://schemas.microsoft.com/office/drawing/2014/main" id="{FBDC2F02-6C6A-0C63-101E-B46EA6314483}"/>
                </a:ext>
              </a:extLst>
            </p:cNvPr>
            <p:cNvSpPr/>
            <p:nvPr/>
          </p:nvSpPr>
          <p:spPr>
            <a:xfrm>
              <a:off x="6452575" y="4461263"/>
              <a:ext cx="1957085" cy="113446"/>
            </a:xfrm>
            <a:prstGeom prst="rect">
              <a:avLst/>
            </a:prstGeom>
            <a:blipFill>
              <a:blip r:embed="rId53"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48" name="object 275">
              <a:extLst>
                <a:ext uri="{FF2B5EF4-FFF2-40B4-BE49-F238E27FC236}">
                  <a16:creationId xmlns:a16="http://schemas.microsoft.com/office/drawing/2014/main" id="{309330D9-59A3-09C9-D4E5-7B7DD148886B}"/>
                </a:ext>
              </a:extLst>
            </p:cNvPr>
            <p:cNvSpPr/>
            <p:nvPr/>
          </p:nvSpPr>
          <p:spPr>
            <a:xfrm>
              <a:off x="6484204" y="4486829"/>
              <a:ext cx="1957085" cy="113458"/>
            </a:xfrm>
            <a:prstGeom prst="rect">
              <a:avLst/>
            </a:prstGeom>
            <a:blipFill>
              <a:blip r:embed="rId52"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49" name="object 276">
              <a:extLst>
                <a:ext uri="{FF2B5EF4-FFF2-40B4-BE49-F238E27FC236}">
                  <a16:creationId xmlns:a16="http://schemas.microsoft.com/office/drawing/2014/main" id="{74CB5325-6844-A9E5-1616-632D5D3B67C1}"/>
                </a:ext>
              </a:extLst>
            </p:cNvPr>
            <p:cNvSpPr/>
            <p:nvPr/>
          </p:nvSpPr>
          <p:spPr>
            <a:xfrm>
              <a:off x="6484204" y="4486829"/>
              <a:ext cx="1925456" cy="87880"/>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50" name="object 277">
              <a:extLst>
                <a:ext uri="{FF2B5EF4-FFF2-40B4-BE49-F238E27FC236}">
                  <a16:creationId xmlns:a16="http://schemas.microsoft.com/office/drawing/2014/main" id="{FAD51911-B7DB-8BB4-CF8F-D79FF2FC4653}"/>
                </a:ext>
              </a:extLst>
            </p:cNvPr>
            <p:cNvSpPr/>
            <p:nvPr/>
          </p:nvSpPr>
          <p:spPr>
            <a:xfrm>
              <a:off x="6470366" y="4475644"/>
              <a:ext cx="1953791" cy="110516"/>
            </a:xfrm>
            <a:custGeom>
              <a:avLst/>
              <a:gdLst/>
              <a:ahLst/>
              <a:cxnLst/>
              <a:rect l="l" t="t" r="r" b="b"/>
              <a:pathLst>
                <a:path w="1506220" h="105410">
                  <a:moveTo>
                    <a:pt x="0" y="0"/>
                  </a:moveTo>
                  <a:lnTo>
                    <a:pt x="0" y="105155"/>
                  </a:lnTo>
                  <a:lnTo>
                    <a:pt x="1505712" y="105155"/>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51" name="object 282">
              <a:extLst>
                <a:ext uri="{FF2B5EF4-FFF2-40B4-BE49-F238E27FC236}">
                  <a16:creationId xmlns:a16="http://schemas.microsoft.com/office/drawing/2014/main" id="{32D6C331-940E-B453-4B63-CABCFFA92164}"/>
                </a:ext>
              </a:extLst>
            </p:cNvPr>
            <p:cNvSpPr txBox="1"/>
            <p:nvPr/>
          </p:nvSpPr>
          <p:spPr>
            <a:xfrm>
              <a:off x="6215354" y="4288925"/>
              <a:ext cx="335299" cy="111320"/>
            </a:xfrm>
            <a:prstGeom prst="rect">
              <a:avLst/>
            </a:prstGeom>
          </p:spPr>
          <p:txBody>
            <a:bodyPr vert="horz" wrap="square" lIns="0" tIns="2801" rIns="0" bIns="0" rtlCol="0">
              <a:spAutoFit/>
            </a:bodyPr>
            <a:lstStyle/>
            <a:p>
              <a:pPr>
                <a:spcBef>
                  <a:spcPts val="22"/>
                </a:spcBef>
                <a:defRPr/>
              </a:pPr>
              <a:endParaRPr lang="en-AU" sz="308" dirty="0">
                <a:solidFill>
                  <a:srgbClr val="000000"/>
                </a:solidFill>
                <a:latin typeface="Open Sans"/>
                <a:cs typeface="Times New Roman"/>
              </a:endParaRPr>
            </a:p>
            <a:p>
              <a:pPr marL="128306" algn="ctr">
                <a:defRPr/>
              </a:pPr>
              <a:endParaRPr lang="en-AU" sz="397" dirty="0">
                <a:solidFill>
                  <a:srgbClr val="000000"/>
                </a:solidFill>
                <a:latin typeface="Open Sans"/>
                <a:cs typeface="Open Sans" panose="020B0606030504020204" pitchFamily="34" charset="0"/>
              </a:endParaRPr>
            </a:p>
          </p:txBody>
        </p:sp>
        <p:sp>
          <p:nvSpPr>
            <p:cNvPr id="1252" name="object 283">
              <a:extLst>
                <a:ext uri="{FF2B5EF4-FFF2-40B4-BE49-F238E27FC236}">
                  <a16:creationId xmlns:a16="http://schemas.microsoft.com/office/drawing/2014/main" id="{D06E02C9-BA48-A532-5B2D-7822EBDA3FE3}"/>
                </a:ext>
              </a:extLst>
            </p:cNvPr>
            <p:cNvSpPr txBox="1"/>
            <p:nvPr/>
          </p:nvSpPr>
          <p:spPr>
            <a:xfrm>
              <a:off x="6256418" y="4303382"/>
              <a:ext cx="122213" cy="337535"/>
            </a:xfrm>
            <a:prstGeom prst="rect">
              <a:avLst/>
            </a:prstGeom>
          </p:spPr>
          <p:txBody>
            <a:bodyPr vert="vert270" wrap="square" lIns="0" tIns="2801" rIns="0" bIns="0" rtlCol="0">
              <a:spAutoFit/>
            </a:bodyPr>
            <a:lstStyle/>
            <a:p>
              <a:pPr marL="11206" algn="ctr">
                <a:spcBef>
                  <a:spcPts val="22"/>
                </a:spcBef>
                <a:defRPr/>
              </a:pPr>
              <a:r>
                <a:rPr lang="en-AU" sz="397" dirty="0">
                  <a:solidFill>
                    <a:srgbClr val="231F20"/>
                  </a:solidFill>
                  <a:latin typeface="Open Sans"/>
                  <a:cs typeface="Verdana"/>
                </a:rPr>
                <a:t>Sha</a:t>
              </a:r>
              <a:r>
                <a:rPr lang="en-AU" sz="397" spc="-5" dirty="0">
                  <a:solidFill>
                    <a:srgbClr val="231F20"/>
                  </a:solidFill>
                  <a:latin typeface="Open Sans"/>
                  <a:cs typeface="Verdana"/>
                </a:rPr>
                <a:t>r</a:t>
              </a:r>
              <a:r>
                <a:rPr lang="en-AU" sz="397" dirty="0">
                  <a:solidFill>
                    <a:srgbClr val="231F20"/>
                  </a:solidFill>
                  <a:latin typeface="Open Sans"/>
                  <a:cs typeface="Verdana"/>
                </a:rPr>
                <a:t>ed</a:t>
              </a:r>
              <a:r>
                <a:rPr lang="en-AU" sz="397" spc="-22" dirty="0">
                  <a:solidFill>
                    <a:srgbClr val="231F20"/>
                  </a:solidFill>
                  <a:latin typeface="Open Sans"/>
                  <a:cs typeface="Verdana"/>
                </a:rPr>
                <a:t> </a:t>
              </a:r>
              <a:r>
                <a:rPr lang="en-AU" sz="397" dirty="0">
                  <a:solidFill>
                    <a:srgbClr val="231F20"/>
                  </a:solidFill>
                  <a:latin typeface="Open Sans"/>
                  <a:cs typeface="Verdana"/>
                </a:rPr>
                <a:t>Se</a:t>
              </a:r>
              <a:r>
                <a:rPr lang="en-AU" sz="397" spc="-5" dirty="0">
                  <a:solidFill>
                    <a:srgbClr val="231F20"/>
                  </a:solidFill>
                  <a:latin typeface="Open Sans"/>
                  <a:cs typeface="Verdana"/>
                </a:rPr>
                <a:t>r</a:t>
              </a:r>
              <a:r>
                <a:rPr lang="en-AU" sz="397" spc="-9" dirty="0">
                  <a:solidFill>
                    <a:srgbClr val="231F20"/>
                  </a:solidFill>
                  <a:latin typeface="Open Sans"/>
                  <a:cs typeface="Verdana"/>
                </a:rPr>
                <a:t>vi</a:t>
              </a:r>
              <a:r>
                <a:rPr lang="en-AU" sz="397" dirty="0">
                  <a:solidFill>
                    <a:srgbClr val="231F20"/>
                  </a:solidFill>
                  <a:latin typeface="Open Sans"/>
                  <a:cs typeface="Verdana"/>
                </a:rPr>
                <a:t>ce</a:t>
              </a:r>
              <a:r>
                <a:rPr lang="hu-HU" sz="397" dirty="0">
                  <a:solidFill>
                    <a:srgbClr val="231F20"/>
                  </a:solidFill>
                  <a:latin typeface="Open Sans"/>
                  <a:cs typeface="Verdana"/>
                </a:rPr>
                <a:t>s</a:t>
              </a:r>
              <a:endParaRPr lang="en-AU" sz="397" dirty="0">
                <a:solidFill>
                  <a:srgbClr val="000000"/>
                </a:solidFill>
                <a:latin typeface="Open Sans"/>
                <a:cs typeface="Verdana"/>
              </a:endParaRPr>
            </a:p>
          </p:txBody>
        </p:sp>
        <p:sp>
          <p:nvSpPr>
            <p:cNvPr id="1253" name="object 293">
              <a:extLst>
                <a:ext uri="{FF2B5EF4-FFF2-40B4-BE49-F238E27FC236}">
                  <a16:creationId xmlns:a16="http://schemas.microsoft.com/office/drawing/2014/main" id="{DBED1B8C-ADD5-E9E8-1D51-FBC41E212404}"/>
                </a:ext>
              </a:extLst>
            </p:cNvPr>
            <p:cNvSpPr txBox="1"/>
            <p:nvPr/>
          </p:nvSpPr>
          <p:spPr>
            <a:xfrm>
              <a:off x="7344948" y="4352847"/>
              <a:ext cx="257272" cy="67839"/>
            </a:xfrm>
            <a:prstGeom prst="rect">
              <a:avLst/>
            </a:prstGeom>
          </p:spPr>
          <p:txBody>
            <a:bodyPr vert="horz" wrap="square" lIns="0" tIns="0" rIns="0" bIns="0" rtlCol="0">
              <a:spAutoFit/>
            </a:bodyPr>
            <a:lstStyle/>
            <a:p>
              <a:pPr marL="11206">
                <a:defRPr/>
              </a:pPr>
              <a:r>
                <a:rPr lang="en-AU" sz="441" spc="-5" dirty="0">
                  <a:solidFill>
                    <a:srgbClr val="231F20"/>
                  </a:solidFill>
                  <a:latin typeface="Open Sans"/>
                  <a:cs typeface="Open Sans" panose="020B0606030504020204" pitchFamily="34" charset="0"/>
                </a:rPr>
                <a:t>Finance</a:t>
              </a:r>
              <a:endParaRPr lang="en-AU" sz="441" dirty="0">
                <a:solidFill>
                  <a:srgbClr val="000000"/>
                </a:solidFill>
                <a:latin typeface="Open Sans"/>
                <a:cs typeface="Open Sans" panose="020B0606030504020204" pitchFamily="34" charset="0"/>
              </a:endParaRPr>
            </a:p>
          </p:txBody>
        </p:sp>
        <p:sp>
          <p:nvSpPr>
            <p:cNvPr id="1254" name="object 293">
              <a:extLst>
                <a:ext uri="{FF2B5EF4-FFF2-40B4-BE49-F238E27FC236}">
                  <a16:creationId xmlns:a16="http://schemas.microsoft.com/office/drawing/2014/main" id="{85DE10B6-5515-B680-B5F7-3939862E26A7}"/>
                </a:ext>
              </a:extLst>
            </p:cNvPr>
            <p:cNvSpPr txBox="1"/>
            <p:nvPr/>
          </p:nvSpPr>
          <p:spPr>
            <a:xfrm>
              <a:off x="7197683" y="4484454"/>
              <a:ext cx="383839" cy="67839"/>
            </a:xfrm>
            <a:prstGeom prst="rect">
              <a:avLst/>
            </a:prstGeom>
          </p:spPr>
          <p:txBody>
            <a:bodyPr vert="horz" wrap="square" lIns="0" tIns="0" rIns="0" bIns="0" rtlCol="0">
              <a:spAutoFit/>
            </a:bodyPr>
            <a:lstStyle/>
            <a:p>
              <a:pPr marL="11206" algn="ctr">
                <a:defRPr/>
              </a:pPr>
              <a:r>
                <a:rPr lang="en-AU" sz="441" spc="-5" dirty="0">
                  <a:solidFill>
                    <a:srgbClr val="231F20"/>
                  </a:solidFill>
                  <a:latin typeface="Open Sans"/>
                  <a:cs typeface="Open Sans" panose="020B0606030504020204" pitchFamily="34" charset="0"/>
                </a:rPr>
                <a:t>HR</a:t>
              </a:r>
              <a:endParaRPr lang="en-AU" sz="441" dirty="0">
                <a:solidFill>
                  <a:srgbClr val="000000"/>
                </a:solidFill>
                <a:latin typeface="Open Sans"/>
                <a:cs typeface="Open Sans" panose="020B0606030504020204" pitchFamily="34" charset="0"/>
              </a:endParaRPr>
            </a:p>
          </p:txBody>
        </p:sp>
        <p:sp>
          <p:nvSpPr>
            <p:cNvPr id="1255" name="object 284">
              <a:extLst>
                <a:ext uri="{FF2B5EF4-FFF2-40B4-BE49-F238E27FC236}">
                  <a16:creationId xmlns:a16="http://schemas.microsoft.com/office/drawing/2014/main" id="{18BBC731-F9E9-D6FF-75EA-17C0A2F071F0}"/>
                </a:ext>
              </a:extLst>
            </p:cNvPr>
            <p:cNvSpPr/>
            <p:nvPr/>
          </p:nvSpPr>
          <p:spPr>
            <a:xfrm>
              <a:off x="6213481" y="3682585"/>
              <a:ext cx="2253612" cy="87880"/>
            </a:xfrm>
            <a:prstGeom prst="rect">
              <a:avLst/>
            </a:prstGeom>
            <a:blipFill>
              <a:blip r:embed="rId55"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56" name="object 285">
              <a:extLst>
                <a:ext uri="{FF2B5EF4-FFF2-40B4-BE49-F238E27FC236}">
                  <a16:creationId xmlns:a16="http://schemas.microsoft.com/office/drawing/2014/main" id="{C3D25217-82EA-2EAE-7E1F-2632F6170690}"/>
                </a:ext>
              </a:extLst>
            </p:cNvPr>
            <p:cNvSpPr/>
            <p:nvPr/>
          </p:nvSpPr>
          <p:spPr>
            <a:xfrm>
              <a:off x="6231273" y="3726525"/>
              <a:ext cx="2218195" cy="0"/>
            </a:xfrm>
            <a:custGeom>
              <a:avLst/>
              <a:gdLst/>
              <a:ahLst/>
              <a:cxnLst/>
              <a:rect l="l" t="t" r="r" b="b"/>
              <a:pathLst>
                <a:path w="1710055">
                  <a:moveTo>
                    <a:pt x="0" y="0"/>
                  </a:moveTo>
                  <a:lnTo>
                    <a:pt x="1709927" y="0"/>
                  </a:lnTo>
                </a:path>
              </a:pathLst>
            </a:custGeom>
            <a:ln w="56387">
              <a:solidFill>
                <a:srgbClr val="A0DC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57" name="object 371">
              <a:extLst>
                <a:ext uri="{FF2B5EF4-FFF2-40B4-BE49-F238E27FC236}">
                  <a16:creationId xmlns:a16="http://schemas.microsoft.com/office/drawing/2014/main" id="{5C620142-A002-B60F-1D17-F8B86622133A}"/>
                </a:ext>
              </a:extLst>
            </p:cNvPr>
            <p:cNvSpPr txBox="1"/>
            <p:nvPr/>
          </p:nvSpPr>
          <p:spPr>
            <a:xfrm>
              <a:off x="6921843" y="3706137"/>
              <a:ext cx="956302" cy="67839"/>
            </a:xfrm>
            <a:prstGeom prst="rect">
              <a:avLst/>
            </a:prstGeom>
          </p:spPr>
          <p:txBody>
            <a:bodyPr vert="horz" wrap="square" lIns="0" tIns="0" rIns="0" bIns="0" rtlCol="0">
              <a:spAutoFit/>
            </a:bodyPr>
            <a:lstStyle/>
            <a:p>
              <a:pPr marL="3922" algn="ctr">
                <a:defRPr/>
              </a:pPr>
              <a:r>
                <a:rPr lang="en-AU" sz="441" dirty="0">
                  <a:solidFill>
                    <a:srgbClr val="FFFFFF"/>
                  </a:solidFill>
                  <a:latin typeface="Open Sans"/>
                  <a:cs typeface="Open Sans" panose="020B0606030504020204" pitchFamily="34" charset="0"/>
                </a:rPr>
                <a:t>Management</a:t>
              </a:r>
              <a:endParaRPr lang="en-AU" sz="441" dirty="0">
                <a:solidFill>
                  <a:srgbClr val="000000"/>
                </a:solidFill>
                <a:latin typeface="Open Sans"/>
                <a:cs typeface="Open Sans" panose="020B0606030504020204" pitchFamily="34" charset="0"/>
              </a:endParaRPr>
            </a:p>
          </p:txBody>
        </p:sp>
        <p:sp>
          <p:nvSpPr>
            <p:cNvPr id="1258" name="object 293">
              <a:extLst>
                <a:ext uri="{FF2B5EF4-FFF2-40B4-BE49-F238E27FC236}">
                  <a16:creationId xmlns:a16="http://schemas.microsoft.com/office/drawing/2014/main" id="{492E587E-BEFF-5F87-CF4E-5EC28AD78D9B}"/>
                </a:ext>
              </a:extLst>
            </p:cNvPr>
            <p:cNvSpPr txBox="1"/>
            <p:nvPr/>
          </p:nvSpPr>
          <p:spPr>
            <a:xfrm>
              <a:off x="6311693" y="3914107"/>
              <a:ext cx="267607" cy="67839"/>
            </a:xfrm>
            <a:prstGeom prst="rect">
              <a:avLst/>
            </a:prstGeom>
          </p:spPr>
          <p:txBody>
            <a:bodyPr vert="horz" wrap="square" lIns="0" tIns="0" rIns="0" bIns="0" rtlCol="0">
              <a:spAutoFit/>
            </a:bodyPr>
            <a:lstStyle/>
            <a:p>
              <a:pPr marL="11206">
                <a:defRPr/>
              </a:pPr>
              <a:r>
                <a:rPr lang="hu-HU" sz="441" spc="-5" dirty="0" err="1">
                  <a:solidFill>
                    <a:srgbClr val="231F20"/>
                  </a:solidFill>
                  <a:latin typeface="Open Sans"/>
                  <a:cs typeface="Open Sans" panose="020B0606030504020204" pitchFamily="34" charset="0"/>
                </a:rPr>
                <a:t>Core</a:t>
              </a:r>
              <a:r>
                <a:rPr lang="hu-HU" sz="441" spc="-5" dirty="0">
                  <a:solidFill>
                    <a:srgbClr val="231F20"/>
                  </a:solidFill>
                  <a:latin typeface="Open Sans"/>
                  <a:cs typeface="Open Sans" panose="020B0606030504020204" pitchFamily="34" charset="0"/>
                </a:rPr>
                <a:t> R&amp;D</a:t>
              </a:r>
              <a:endParaRPr lang="en-AU" sz="441" dirty="0">
                <a:solidFill>
                  <a:srgbClr val="000000"/>
                </a:solidFill>
                <a:latin typeface="Open Sans"/>
                <a:cs typeface="Open Sans" panose="020B0606030504020204" pitchFamily="34" charset="0"/>
              </a:endParaRPr>
            </a:p>
          </p:txBody>
        </p:sp>
        <p:sp>
          <p:nvSpPr>
            <p:cNvPr id="1259" name="object 316">
              <a:extLst>
                <a:ext uri="{FF2B5EF4-FFF2-40B4-BE49-F238E27FC236}">
                  <a16:creationId xmlns:a16="http://schemas.microsoft.com/office/drawing/2014/main" id="{74BF80D1-7041-FD0E-62F0-123320CB5B3D}"/>
                </a:ext>
              </a:extLst>
            </p:cNvPr>
            <p:cNvSpPr txBox="1"/>
            <p:nvPr/>
          </p:nvSpPr>
          <p:spPr>
            <a:xfrm>
              <a:off x="8006074" y="3918334"/>
              <a:ext cx="383839" cy="135678"/>
            </a:xfrm>
            <a:prstGeom prst="rect">
              <a:avLst/>
            </a:prstGeom>
          </p:spPr>
          <p:txBody>
            <a:bodyPr vert="horz" wrap="square" lIns="0" tIns="0" rIns="0" bIns="0" rtlCol="0">
              <a:spAutoFit/>
            </a:bodyPr>
            <a:lstStyle/>
            <a:p>
              <a:pPr marL="11206">
                <a:defRPr/>
              </a:pPr>
              <a:r>
                <a:rPr lang="hu-HU" sz="441" spc="-5" dirty="0" err="1">
                  <a:solidFill>
                    <a:srgbClr val="231F20"/>
                  </a:solidFill>
                  <a:latin typeface="Open Sans"/>
                  <a:cs typeface="Open Sans" panose="020B0606030504020204" pitchFamily="34" charset="0"/>
                </a:rPr>
                <a:t>Manu-facturing</a:t>
              </a:r>
              <a:endParaRPr lang="en-AU" sz="441" dirty="0">
                <a:solidFill>
                  <a:srgbClr val="000000"/>
                </a:solidFill>
                <a:latin typeface="Open Sans"/>
                <a:cs typeface="Open Sans" panose="020B0606030504020204" pitchFamily="34" charset="0"/>
              </a:endParaRPr>
            </a:p>
          </p:txBody>
        </p:sp>
        <p:sp>
          <p:nvSpPr>
            <p:cNvPr id="1260" name="object 293">
              <a:extLst>
                <a:ext uri="{FF2B5EF4-FFF2-40B4-BE49-F238E27FC236}">
                  <a16:creationId xmlns:a16="http://schemas.microsoft.com/office/drawing/2014/main" id="{AAEC1B11-D605-26E4-03C3-0D598AE849DC}"/>
                </a:ext>
              </a:extLst>
            </p:cNvPr>
            <p:cNvSpPr txBox="1"/>
            <p:nvPr/>
          </p:nvSpPr>
          <p:spPr>
            <a:xfrm>
              <a:off x="6881467" y="3922458"/>
              <a:ext cx="383839" cy="67839"/>
            </a:xfrm>
            <a:prstGeom prst="rect">
              <a:avLst/>
            </a:prstGeom>
          </p:spPr>
          <p:txBody>
            <a:bodyPr vert="horz" wrap="square" lIns="0" tIns="0" rIns="0" bIns="0" rtlCol="0">
              <a:spAutoFit/>
            </a:bodyPr>
            <a:lstStyle/>
            <a:p>
              <a:pPr marL="11206">
                <a:defRPr/>
              </a:pPr>
              <a:r>
                <a:rPr lang="en-AU" sz="441" spc="-5" dirty="0">
                  <a:solidFill>
                    <a:srgbClr val="231F20"/>
                  </a:solidFill>
                  <a:latin typeface="Open Sans"/>
                  <a:cs typeface="Open Sans" panose="020B0606030504020204" pitchFamily="34" charset="0"/>
                </a:rPr>
                <a:t>Marketing</a:t>
              </a:r>
              <a:endParaRPr lang="en-AU" sz="441" dirty="0">
                <a:solidFill>
                  <a:srgbClr val="000000"/>
                </a:solidFill>
                <a:latin typeface="Open Sans"/>
                <a:cs typeface="Open Sans" panose="020B0606030504020204" pitchFamily="34" charset="0"/>
              </a:endParaRPr>
            </a:p>
          </p:txBody>
        </p:sp>
        <p:sp>
          <p:nvSpPr>
            <p:cNvPr id="1261" name="object 293">
              <a:extLst>
                <a:ext uri="{FF2B5EF4-FFF2-40B4-BE49-F238E27FC236}">
                  <a16:creationId xmlns:a16="http://schemas.microsoft.com/office/drawing/2014/main" id="{888EAED9-88AE-84C2-99B7-9481B51133E7}"/>
                </a:ext>
              </a:extLst>
            </p:cNvPr>
            <p:cNvSpPr txBox="1"/>
            <p:nvPr/>
          </p:nvSpPr>
          <p:spPr>
            <a:xfrm>
              <a:off x="7505931" y="3926399"/>
              <a:ext cx="383839" cy="67839"/>
            </a:xfrm>
            <a:prstGeom prst="rect">
              <a:avLst/>
            </a:prstGeom>
          </p:spPr>
          <p:txBody>
            <a:bodyPr vert="horz" wrap="square" lIns="0" tIns="0" rIns="0" bIns="0" rtlCol="0">
              <a:spAutoFit/>
            </a:bodyPr>
            <a:lstStyle/>
            <a:p>
              <a:pPr marL="11206">
                <a:defRPr/>
              </a:pPr>
              <a:r>
                <a:rPr lang="en-AU" sz="441" spc="-5" dirty="0">
                  <a:solidFill>
                    <a:srgbClr val="231F20"/>
                  </a:solidFill>
                  <a:latin typeface="Open Sans"/>
                  <a:cs typeface="Open Sans" panose="020B0606030504020204" pitchFamily="34" charset="0"/>
                </a:rPr>
                <a:t>Sales</a:t>
              </a:r>
              <a:endParaRPr lang="en-AU" sz="441" dirty="0">
                <a:solidFill>
                  <a:srgbClr val="000000"/>
                </a:solidFill>
                <a:latin typeface="Open Sans"/>
                <a:cs typeface="Open Sans" panose="020B0606030504020204" pitchFamily="34" charset="0"/>
              </a:endParaRPr>
            </a:p>
          </p:txBody>
        </p:sp>
        <p:sp>
          <p:nvSpPr>
            <p:cNvPr id="1262" name="object 269">
              <a:extLst>
                <a:ext uri="{FF2B5EF4-FFF2-40B4-BE49-F238E27FC236}">
                  <a16:creationId xmlns:a16="http://schemas.microsoft.com/office/drawing/2014/main" id="{6FBD77AE-02FC-520E-DF0F-5A0E3A8F383F}"/>
                </a:ext>
              </a:extLst>
            </p:cNvPr>
            <p:cNvSpPr/>
            <p:nvPr/>
          </p:nvSpPr>
          <p:spPr>
            <a:xfrm>
              <a:off x="6216896" y="4682059"/>
              <a:ext cx="2277500" cy="186288"/>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9DD4CF">
                <a:lumMod val="20000"/>
                <a:lumOff val="80000"/>
              </a:srgbClr>
            </a:solidFill>
            <a:ln w="6350">
              <a:solidFill>
                <a:sysClr val="windowText" lastClr="000000"/>
              </a:solidFill>
              <a:prstDash val="lg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63" name="object 273">
              <a:extLst>
                <a:ext uri="{FF2B5EF4-FFF2-40B4-BE49-F238E27FC236}">
                  <a16:creationId xmlns:a16="http://schemas.microsoft.com/office/drawing/2014/main" id="{3BE6C1AE-874B-28B1-3DE9-BCBC516FF097}"/>
                </a:ext>
              </a:extLst>
            </p:cNvPr>
            <p:cNvSpPr/>
            <p:nvPr/>
          </p:nvSpPr>
          <p:spPr>
            <a:xfrm>
              <a:off x="6400561" y="4776572"/>
              <a:ext cx="936139" cy="63180"/>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400" b="0" i="0" u="none" strike="noStrike" kern="0" cap="none" spc="0" normalizeH="0" baseline="0" noProof="0" dirty="0" err="1">
                  <a:ln>
                    <a:noFill/>
                  </a:ln>
                  <a:solidFill>
                    <a:srgbClr val="000000"/>
                  </a:solidFill>
                  <a:effectLst/>
                  <a:uLnTx/>
                  <a:uFillTx/>
                  <a:latin typeface="Open Sans"/>
                </a:rPr>
                <a:t>Product</a:t>
              </a:r>
              <a:r>
                <a:rPr kumimoji="0" lang="hu-HU" sz="400" b="0" i="0" u="none" strike="noStrike" kern="0" cap="none" spc="0" normalizeH="0" baseline="0" noProof="0" dirty="0">
                  <a:ln>
                    <a:noFill/>
                  </a:ln>
                  <a:solidFill>
                    <a:srgbClr val="000000"/>
                  </a:solidFill>
                  <a:effectLst/>
                  <a:uLnTx/>
                  <a:uFillTx/>
                  <a:latin typeface="Open Sans"/>
                </a:rPr>
                <a:t> </a:t>
              </a:r>
              <a:r>
                <a:rPr kumimoji="0" lang="hu-HU" sz="400" b="0" i="0" u="none" strike="noStrike" kern="0" cap="none" spc="0" normalizeH="0" baseline="0" noProof="0" dirty="0" err="1">
                  <a:ln>
                    <a:noFill/>
                  </a:ln>
                  <a:solidFill>
                    <a:srgbClr val="000000"/>
                  </a:solidFill>
                  <a:effectLst/>
                  <a:uLnTx/>
                  <a:uFillTx/>
                  <a:latin typeface="Open Sans"/>
                </a:rPr>
                <a:t>Component</a:t>
              </a:r>
              <a:r>
                <a:rPr kumimoji="0" lang="hu-HU" sz="400" b="0" i="0" u="none" strike="noStrike" kern="0" cap="none" spc="0" normalizeH="0" baseline="0" noProof="0" dirty="0">
                  <a:ln>
                    <a:noFill/>
                  </a:ln>
                  <a:solidFill>
                    <a:srgbClr val="000000"/>
                  </a:solidFill>
                  <a:effectLst/>
                  <a:uLnTx/>
                  <a:uFillTx/>
                  <a:latin typeface="Open Sans"/>
                </a:rPr>
                <a:t> 1</a:t>
              </a:r>
              <a:endParaRPr kumimoji="0" lang="en-AU" sz="400" b="0" i="0" u="none" strike="noStrike" kern="0" cap="none" spc="0" normalizeH="0" baseline="0" noProof="0" dirty="0">
                <a:ln>
                  <a:noFill/>
                </a:ln>
                <a:solidFill>
                  <a:srgbClr val="000000"/>
                </a:solidFill>
                <a:effectLst/>
                <a:uLnTx/>
                <a:uFillTx/>
                <a:latin typeface="Open Sans"/>
              </a:endParaRPr>
            </a:p>
          </p:txBody>
        </p:sp>
        <p:sp>
          <p:nvSpPr>
            <p:cNvPr id="1264" name="object 273">
              <a:extLst>
                <a:ext uri="{FF2B5EF4-FFF2-40B4-BE49-F238E27FC236}">
                  <a16:creationId xmlns:a16="http://schemas.microsoft.com/office/drawing/2014/main" id="{74818A33-82F6-8EF3-C0DC-4600AA175E02}"/>
                </a:ext>
              </a:extLst>
            </p:cNvPr>
            <p:cNvSpPr/>
            <p:nvPr/>
          </p:nvSpPr>
          <p:spPr>
            <a:xfrm>
              <a:off x="7440316" y="4771381"/>
              <a:ext cx="936139" cy="63180"/>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400" b="0" i="0" u="none" strike="noStrike" kern="0" cap="none" spc="0" normalizeH="0" baseline="0" noProof="0" dirty="0" err="1">
                  <a:ln>
                    <a:noFill/>
                  </a:ln>
                  <a:solidFill>
                    <a:srgbClr val="000000"/>
                  </a:solidFill>
                  <a:effectLst/>
                  <a:uLnTx/>
                  <a:uFillTx/>
                  <a:latin typeface="Open Sans"/>
                </a:rPr>
                <a:t>Product</a:t>
              </a:r>
              <a:r>
                <a:rPr kumimoji="0" lang="hu-HU" sz="400" b="0" i="0" u="none" strike="noStrike" kern="0" cap="none" spc="0" normalizeH="0" baseline="0" noProof="0" dirty="0">
                  <a:ln>
                    <a:noFill/>
                  </a:ln>
                  <a:solidFill>
                    <a:srgbClr val="000000"/>
                  </a:solidFill>
                  <a:effectLst/>
                  <a:uLnTx/>
                  <a:uFillTx/>
                  <a:latin typeface="Open Sans"/>
                </a:rPr>
                <a:t> </a:t>
              </a:r>
              <a:r>
                <a:rPr kumimoji="0" lang="hu-HU" sz="400" b="0" i="0" u="none" strike="noStrike" kern="0" cap="none" spc="0" normalizeH="0" baseline="0" noProof="0" dirty="0" err="1">
                  <a:ln>
                    <a:noFill/>
                  </a:ln>
                  <a:solidFill>
                    <a:srgbClr val="000000"/>
                  </a:solidFill>
                  <a:effectLst/>
                  <a:uLnTx/>
                  <a:uFillTx/>
                  <a:latin typeface="Open Sans"/>
                </a:rPr>
                <a:t>Component</a:t>
              </a:r>
              <a:r>
                <a:rPr kumimoji="0" lang="hu-HU" sz="400" b="0" i="0" u="none" strike="noStrike" kern="0" cap="none" spc="0" normalizeH="0" baseline="0" noProof="0" dirty="0">
                  <a:ln>
                    <a:noFill/>
                  </a:ln>
                  <a:solidFill>
                    <a:srgbClr val="000000"/>
                  </a:solidFill>
                  <a:effectLst/>
                  <a:uLnTx/>
                  <a:uFillTx/>
                  <a:latin typeface="Open Sans"/>
                </a:rPr>
                <a:t> 2</a:t>
              </a:r>
              <a:endParaRPr kumimoji="0" lang="en-AU" sz="400" b="0" i="0" u="none" strike="noStrike" kern="0" cap="none" spc="0" normalizeH="0" baseline="0" noProof="0" dirty="0">
                <a:ln>
                  <a:noFill/>
                </a:ln>
                <a:solidFill>
                  <a:srgbClr val="000000"/>
                </a:solidFill>
                <a:effectLst/>
                <a:uLnTx/>
                <a:uFillTx/>
                <a:latin typeface="Open Sans"/>
              </a:endParaRPr>
            </a:p>
          </p:txBody>
        </p:sp>
        <p:sp>
          <p:nvSpPr>
            <p:cNvPr id="1265" name="object 273">
              <a:extLst>
                <a:ext uri="{FF2B5EF4-FFF2-40B4-BE49-F238E27FC236}">
                  <a16:creationId xmlns:a16="http://schemas.microsoft.com/office/drawing/2014/main" id="{EDEFCC3B-B7B5-C9C6-15B8-8D7BD58E32A9}"/>
                </a:ext>
              </a:extLst>
            </p:cNvPr>
            <p:cNvSpPr/>
            <p:nvPr/>
          </p:nvSpPr>
          <p:spPr>
            <a:xfrm>
              <a:off x="6909727" y="4686598"/>
              <a:ext cx="936139" cy="63180"/>
            </a:xfrm>
            <a:custGeom>
              <a:avLst/>
              <a:gdLst/>
              <a:ahLst/>
              <a:cxnLst/>
              <a:rect l="l" t="t" r="r" b="b"/>
              <a:pathLst>
                <a:path w="1506220" h="108585">
                  <a:moveTo>
                    <a:pt x="0" y="0"/>
                  </a:moveTo>
                  <a:lnTo>
                    <a:pt x="0" y="108204"/>
                  </a:lnTo>
                  <a:lnTo>
                    <a:pt x="1505712" y="108204"/>
                  </a:lnTo>
                  <a:lnTo>
                    <a:pt x="1505712" y="0"/>
                  </a:lnTo>
                  <a:lnTo>
                    <a:pt x="0" y="0"/>
                  </a:lnTo>
                  <a:close/>
                </a:path>
              </a:pathLst>
            </a:custGeom>
            <a:noFill/>
          </p:spPr>
          <p:txBody>
            <a:bodyPr wrap="square" lIns="0" tIns="0" rIns="0" bIns="0" rtlCol="0" anchor="ctr"/>
            <a:lstStyle/>
            <a:p>
              <a:pPr algn="ctr">
                <a:defRPr/>
              </a:pPr>
              <a:r>
                <a:rPr lang="hu-HU" sz="400" dirty="0" err="1">
                  <a:solidFill>
                    <a:srgbClr val="000000"/>
                  </a:solidFill>
                  <a:latin typeface="Open Sans"/>
                </a:rPr>
                <a:t>Outsourced</a:t>
              </a:r>
              <a:endParaRPr lang="en-AU" sz="400" dirty="0">
                <a:solidFill>
                  <a:srgbClr val="000000"/>
                </a:solidFill>
                <a:latin typeface="Open Sans"/>
              </a:endParaRPr>
            </a:p>
          </p:txBody>
        </p:sp>
        <p:sp>
          <p:nvSpPr>
            <p:cNvPr id="1266" name="object 273">
              <a:extLst>
                <a:ext uri="{FF2B5EF4-FFF2-40B4-BE49-F238E27FC236}">
                  <a16:creationId xmlns:a16="http://schemas.microsoft.com/office/drawing/2014/main" id="{9F03AF6A-7E23-0571-B897-B8367575CEAE}"/>
                </a:ext>
              </a:extLst>
            </p:cNvPr>
            <p:cNvSpPr/>
            <p:nvPr/>
          </p:nvSpPr>
          <p:spPr>
            <a:xfrm rot="5400000">
              <a:off x="8069618" y="4014284"/>
              <a:ext cx="652792" cy="64243"/>
            </a:xfrm>
            <a:custGeom>
              <a:avLst/>
              <a:gdLst/>
              <a:ahLst/>
              <a:cxnLst/>
              <a:rect l="l" t="t" r="r" b="b"/>
              <a:pathLst>
                <a:path w="1506220" h="108585">
                  <a:moveTo>
                    <a:pt x="0" y="0"/>
                  </a:moveTo>
                  <a:lnTo>
                    <a:pt x="0" y="108204"/>
                  </a:lnTo>
                  <a:lnTo>
                    <a:pt x="1505712" y="108204"/>
                  </a:lnTo>
                  <a:lnTo>
                    <a:pt x="1505712" y="0"/>
                  </a:lnTo>
                  <a:lnTo>
                    <a:pt x="0" y="0"/>
                  </a:lnTo>
                  <a:close/>
                </a:path>
              </a:pathLst>
            </a:custGeom>
            <a:noFill/>
          </p:spPr>
          <p:txBody>
            <a:bodyPr wrap="square" lIns="0" tIns="0" rIns="0" bIns="0" rtlCol="0" anchor="ctr"/>
            <a:lstStyle/>
            <a:p>
              <a:pPr algn="ctr">
                <a:defRPr/>
              </a:pPr>
              <a:r>
                <a:rPr lang="hu-HU" sz="400" dirty="0" err="1">
                  <a:solidFill>
                    <a:srgbClr val="000000"/>
                  </a:solidFill>
                  <a:latin typeface="Open Sans"/>
                </a:rPr>
                <a:t>Outsourced</a:t>
              </a:r>
              <a:endParaRPr lang="en-AU" sz="400" dirty="0">
                <a:solidFill>
                  <a:srgbClr val="000000"/>
                </a:solidFill>
                <a:latin typeface="Open Sans"/>
              </a:endParaRPr>
            </a:p>
          </p:txBody>
        </p:sp>
        <p:sp>
          <p:nvSpPr>
            <p:cNvPr id="1267" name="TextBox 1266">
              <a:extLst>
                <a:ext uri="{FF2B5EF4-FFF2-40B4-BE49-F238E27FC236}">
                  <a16:creationId xmlns:a16="http://schemas.microsoft.com/office/drawing/2014/main" id="{C49F3091-7102-91B0-0CD6-8BDDC05849F9}"/>
                </a:ext>
              </a:extLst>
            </p:cNvPr>
            <p:cNvSpPr txBox="1"/>
            <p:nvPr/>
          </p:nvSpPr>
          <p:spPr>
            <a:xfrm>
              <a:off x="6459350" y="3364783"/>
              <a:ext cx="1276513" cy="234836"/>
            </a:xfrm>
            <a:prstGeom prst="rect">
              <a:avLst/>
            </a:prstGeom>
            <a:noFill/>
          </p:spPr>
          <p:txBody>
            <a:bodyPr wrap="square" lIns="0" tIns="0" rIns="0" bIns="0" rtlCol="0">
              <a:noAutofit/>
            </a:bodyPr>
            <a:lstStyle/>
            <a:p>
              <a:pPr>
                <a:spcBef>
                  <a:spcPts val="600"/>
                </a:spcBef>
                <a:buSzPct val="100000"/>
              </a:pPr>
              <a:r>
                <a:rPr lang="hu-HU" sz="1200" dirty="0">
                  <a:solidFill>
                    <a:prstClr val="black"/>
                  </a:solidFill>
                  <a:latin typeface="Open Sans"/>
                </a:rPr>
                <a:t>Network </a:t>
              </a:r>
              <a:r>
                <a:rPr lang="hu-HU" sz="1200" dirty="0" err="1">
                  <a:solidFill>
                    <a:prstClr val="black"/>
                  </a:solidFill>
                  <a:latin typeface="Open Sans"/>
                </a:rPr>
                <a:t>oriented</a:t>
              </a:r>
              <a:endParaRPr lang="hu-HU" sz="1200" dirty="0">
                <a:solidFill>
                  <a:prstClr val="black"/>
                </a:solidFill>
                <a:latin typeface="Open Sans"/>
              </a:endParaRPr>
            </a:p>
          </p:txBody>
        </p:sp>
        <p:sp>
          <p:nvSpPr>
            <p:cNvPr id="1269" name="TextBox 1268">
              <a:extLst>
                <a:ext uri="{FF2B5EF4-FFF2-40B4-BE49-F238E27FC236}">
                  <a16:creationId xmlns:a16="http://schemas.microsoft.com/office/drawing/2014/main" id="{085F50D0-5613-D472-02A7-BA9A27F77B5C}"/>
                </a:ext>
              </a:extLst>
            </p:cNvPr>
            <p:cNvSpPr txBox="1"/>
            <p:nvPr/>
          </p:nvSpPr>
          <p:spPr>
            <a:xfrm rot="1610013">
              <a:off x="7961859" y="3735165"/>
              <a:ext cx="687779" cy="123111"/>
            </a:xfrm>
            <a:prstGeom prst="rect">
              <a:avLst/>
            </a:prstGeom>
            <a:solidFill>
              <a:sysClr val="window" lastClr="FFFFFF"/>
            </a:solidFill>
            <a:ln>
              <a:solidFill>
                <a:srgbClr val="FF0000"/>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r>
                <a:rPr kumimoji="0" lang="en-AU" sz="800" b="1" i="0" u="none" strike="noStrike" kern="0" cap="none" spc="0" normalizeH="0" baseline="0" noProof="0" dirty="0">
                  <a:ln>
                    <a:noFill/>
                  </a:ln>
                  <a:solidFill>
                    <a:srgbClr val="313131"/>
                  </a:solidFill>
                  <a:effectLst/>
                  <a:uLnTx/>
                  <a:uFillTx/>
                  <a:latin typeface="Open Sans"/>
                  <a:cs typeface="Calibri" panose="020F0502020204030204" pitchFamily="34" charset="0"/>
                </a:rPr>
                <a:t>Example</a:t>
              </a: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p>
          </p:txBody>
        </p:sp>
        <p:sp>
          <p:nvSpPr>
            <p:cNvPr id="1276" name="Oval 1275">
              <a:extLst>
                <a:ext uri="{FF2B5EF4-FFF2-40B4-BE49-F238E27FC236}">
                  <a16:creationId xmlns:a16="http://schemas.microsoft.com/office/drawing/2014/main" id="{CBE95EC9-DACF-C841-8ECB-B1A6F2F85940}"/>
                </a:ext>
              </a:extLst>
            </p:cNvPr>
            <p:cNvSpPr/>
            <p:nvPr/>
          </p:nvSpPr>
          <p:spPr bwMode="gray">
            <a:xfrm>
              <a:off x="6134151" y="3337318"/>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noProof="0" dirty="0">
                  <a:ln>
                    <a:noFill/>
                  </a:ln>
                  <a:solidFill>
                    <a:prstClr val="black"/>
                  </a:solidFill>
                  <a:effectLst/>
                  <a:uLnTx/>
                  <a:uFillTx/>
                  <a:latin typeface="Open Sans"/>
                </a:rPr>
                <a:t>6</a:t>
              </a:r>
            </a:p>
          </p:txBody>
        </p:sp>
      </p:grpSp>
      <p:grpSp>
        <p:nvGrpSpPr>
          <p:cNvPr id="41" name="Group 40">
            <a:extLst>
              <a:ext uri="{FF2B5EF4-FFF2-40B4-BE49-F238E27FC236}">
                <a16:creationId xmlns:a16="http://schemas.microsoft.com/office/drawing/2014/main" id="{C752B79E-A0D4-B490-510C-2F4332D60E3D}"/>
              </a:ext>
            </a:extLst>
          </p:cNvPr>
          <p:cNvGrpSpPr/>
          <p:nvPr/>
        </p:nvGrpSpPr>
        <p:grpSpPr>
          <a:xfrm>
            <a:off x="9020743" y="3147056"/>
            <a:ext cx="2515487" cy="1531029"/>
            <a:chOff x="9010525" y="1661467"/>
            <a:chExt cx="2515487" cy="1531029"/>
          </a:xfrm>
        </p:grpSpPr>
        <p:sp>
          <p:nvSpPr>
            <p:cNvPr id="676" name="object 269">
              <a:extLst>
                <a:ext uri="{FF2B5EF4-FFF2-40B4-BE49-F238E27FC236}">
                  <a16:creationId xmlns:a16="http://schemas.microsoft.com/office/drawing/2014/main" id="{4A491CFB-DB38-65AD-D126-6102141F731D}"/>
                </a:ext>
              </a:extLst>
            </p:cNvPr>
            <p:cNvSpPr/>
            <p:nvPr/>
          </p:nvSpPr>
          <p:spPr>
            <a:xfrm>
              <a:off x="9091726" y="2134982"/>
              <a:ext cx="2277500" cy="386353"/>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6FC2B4">
                <a:lumMod val="40000"/>
                <a:lumOff val="60000"/>
              </a:srgbClr>
            </a:solidFill>
          </p:spPr>
          <p:txBody>
            <a:bodyPr wrap="square" lIns="0" tIns="0" rIns="0" bIns="0" rtlCol="0" anchor="t"/>
            <a:lstStyle/>
            <a:p>
              <a:pPr marL="0" marR="0" lvl="0" indent="0" algn="ctr" defTabSz="914400" eaLnBrk="1" fontAlgn="auto" latinLnBrk="0" hangingPunct="1">
                <a:lnSpc>
                  <a:spcPct val="100000"/>
                </a:lnSpc>
                <a:spcBef>
                  <a:spcPts val="1200"/>
                </a:spcBef>
                <a:spcAft>
                  <a:spcPts val="0"/>
                </a:spcAft>
                <a:buClrTx/>
                <a:buSzTx/>
                <a:buFontTx/>
                <a:buNone/>
                <a:tabLst/>
                <a:defRPr/>
              </a:pPr>
              <a:r>
                <a:rPr kumimoji="0" lang="hu-HU" sz="500" b="0" i="0" u="none" strike="noStrike" kern="0" cap="none" spc="0" normalizeH="0" baseline="0" noProof="0" dirty="0" err="1">
                  <a:ln>
                    <a:noFill/>
                  </a:ln>
                  <a:solidFill>
                    <a:srgbClr val="000000"/>
                  </a:solidFill>
                  <a:effectLst/>
                  <a:uLnTx/>
                  <a:uFillTx/>
                  <a:latin typeface="Open Sans"/>
                </a:rPr>
                <a:t>Matrix</a:t>
              </a:r>
              <a:r>
                <a:rPr kumimoji="0" lang="hu-HU" sz="500" b="0" i="0" u="none" strike="noStrike" kern="0" cap="none" spc="0" normalizeH="0" baseline="0" noProof="0" dirty="0">
                  <a:ln>
                    <a:noFill/>
                  </a:ln>
                  <a:solidFill>
                    <a:srgbClr val="000000"/>
                  </a:solidFill>
                  <a:effectLst/>
                  <a:uLnTx/>
                  <a:uFillTx/>
                  <a:latin typeface="Open Sans"/>
                </a:rPr>
                <a:t> </a:t>
              </a:r>
              <a:r>
                <a:rPr kumimoji="0" lang="hu-HU" sz="500" b="0" i="0" u="none" strike="noStrike" kern="0" cap="none" spc="0" normalizeH="0" baseline="0" noProof="0" dirty="0" err="1">
                  <a:ln>
                    <a:noFill/>
                  </a:ln>
                  <a:solidFill>
                    <a:srgbClr val="000000"/>
                  </a:solidFill>
                  <a:effectLst/>
                  <a:uLnTx/>
                  <a:uFillTx/>
                  <a:latin typeface="Open Sans"/>
                </a:rPr>
                <a:t>structure</a:t>
              </a:r>
              <a:endParaRPr kumimoji="0" lang="en-AU" sz="500" b="0" i="0" u="none" strike="noStrike" kern="0" cap="none" spc="0" normalizeH="0" baseline="0" noProof="0" dirty="0">
                <a:ln>
                  <a:noFill/>
                </a:ln>
                <a:solidFill>
                  <a:srgbClr val="000000"/>
                </a:solidFill>
                <a:effectLst/>
                <a:uLnTx/>
                <a:uFillTx/>
                <a:latin typeface="Open Sans"/>
              </a:endParaRPr>
            </a:p>
          </p:txBody>
        </p:sp>
        <p:sp>
          <p:nvSpPr>
            <p:cNvPr id="677" name="object 267">
              <a:extLst>
                <a:ext uri="{FF2B5EF4-FFF2-40B4-BE49-F238E27FC236}">
                  <a16:creationId xmlns:a16="http://schemas.microsoft.com/office/drawing/2014/main" id="{0C3CD736-9802-1E93-BD4C-507DB4211DB1}"/>
                </a:ext>
              </a:extLst>
            </p:cNvPr>
            <p:cNvSpPr/>
            <p:nvPr/>
          </p:nvSpPr>
          <p:spPr>
            <a:xfrm>
              <a:off x="9073935" y="2595272"/>
              <a:ext cx="2281290" cy="383354"/>
            </a:xfrm>
            <a:prstGeom prst="rect">
              <a:avLst/>
            </a:prstGeom>
            <a:blipFill>
              <a:blip r:embed="rId77"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678" name="object 269">
              <a:extLst>
                <a:ext uri="{FF2B5EF4-FFF2-40B4-BE49-F238E27FC236}">
                  <a16:creationId xmlns:a16="http://schemas.microsoft.com/office/drawing/2014/main" id="{A515ECE1-ADCB-EBEA-B354-71F26D8C8CAB}"/>
                </a:ext>
              </a:extLst>
            </p:cNvPr>
            <p:cNvSpPr/>
            <p:nvPr/>
          </p:nvSpPr>
          <p:spPr>
            <a:xfrm>
              <a:off x="9091726" y="2796937"/>
              <a:ext cx="2277500" cy="172905"/>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D0D0CE"/>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500" b="0" i="0" u="none" strike="noStrike" kern="0" cap="none" spc="0" normalizeH="0" baseline="0" noProof="0" dirty="0" err="1">
                  <a:ln>
                    <a:noFill/>
                  </a:ln>
                  <a:solidFill>
                    <a:srgbClr val="000000"/>
                  </a:solidFill>
                  <a:effectLst/>
                  <a:uLnTx/>
                  <a:uFillTx/>
                  <a:latin typeface="Open Sans"/>
                </a:rPr>
                <a:t>Core</a:t>
              </a:r>
              <a:r>
                <a:rPr kumimoji="0" lang="hu-HU" sz="500" b="0" i="0" u="none" strike="noStrike" kern="0" cap="none" spc="0" normalizeH="0" baseline="0" noProof="0" dirty="0">
                  <a:ln>
                    <a:noFill/>
                  </a:ln>
                  <a:solidFill>
                    <a:srgbClr val="000000"/>
                  </a:solidFill>
                  <a:effectLst/>
                  <a:uLnTx/>
                  <a:uFillTx/>
                  <a:latin typeface="Open Sans"/>
                </a:rPr>
                <a:t> </a:t>
              </a:r>
              <a:r>
                <a:rPr kumimoji="0" lang="hu-HU" sz="500" b="0" i="0" u="none" strike="noStrike" kern="0" cap="none" spc="0" normalizeH="0" baseline="0" noProof="0" dirty="0" err="1">
                  <a:ln>
                    <a:noFill/>
                  </a:ln>
                  <a:solidFill>
                    <a:srgbClr val="000000"/>
                  </a:solidFill>
                  <a:effectLst/>
                  <a:uLnTx/>
                  <a:uFillTx/>
                  <a:latin typeface="Open Sans"/>
                </a:rPr>
                <a:t>Process</a:t>
              </a:r>
              <a:r>
                <a:rPr kumimoji="0" lang="hu-HU" sz="500" b="0" i="0" u="none" strike="noStrike" kern="0" cap="none" spc="0" normalizeH="0" baseline="0" noProof="0" dirty="0">
                  <a:ln>
                    <a:noFill/>
                  </a:ln>
                  <a:solidFill>
                    <a:srgbClr val="000000"/>
                  </a:solidFill>
                  <a:effectLst/>
                  <a:uLnTx/>
                  <a:uFillTx/>
                  <a:latin typeface="Open Sans"/>
                </a:rPr>
                <a:t> </a:t>
              </a:r>
              <a:r>
                <a:rPr kumimoji="0" lang="hu-HU" sz="500" b="0" i="0" u="none" strike="noStrike" kern="0" cap="none" spc="0" normalizeH="0" baseline="0" noProof="0" dirty="0" err="1">
                  <a:ln>
                    <a:noFill/>
                  </a:ln>
                  <a:solidFill>
                    <a:srgbClr val="000000"/>
                  </a:solidFill>
                  <a:effectLst/>
                  <a:uLnTx/>
                  <a:uFillTx/>
                  <a:latin typeface="Open Sans"/>
                </a:rPr>
                <a:t>Teams</a:t>
              </a:r>
              <a:endParaRPr kumimoji="0" lang="en-AU" sz="500" b="0" i="0" u="none" strike="noStrike" kern="0" cap="none" spc="0" normalizeH="0" baseline="0" noProof="0" dirty="0">
                <a:ln>
                  <a:noFill/>
                </a:ln>
                <a:solidFill>
                  <a:srgbClr val="000000"/>
                </a:solidFill>
                <a:effectLst/>
                <a:uLnTx/>
                <a:uFillTx/>
                <a:latin typeface="Open Sans"/>
              </a:endParaRPr>
            </a:p>
          </p:txBody>
        </p:sp>
        <p:sp>
          <p:nvSpPr>
            <p:cNvPr id="679" name="object 282">
              <a:extLst>
                <a:ext uri="{FF2B5EF4-FFF2-40B4-BE49-F238E27FC236}">
                  <a16:creationId xmlns:a16="http://schemas.microsoft.com/office/drawing/2014/main" id="{2B8EC938-C8F8-E86D-B055-B6CA8D4C5F98}"/>
                </a:ext>
              </a:extLst>
            </p:cNvPr>
            <p:cNvSpPr txBox="1"/>
            <p:nvPr/>
          </p:nvSpPr>
          <p:spPr>
            <a:xfrm>
              <a:off x="9091728" y="2613074"/>
              <a:ext cx="335299" cy="111320"/>
            </a:xfrm>
            <a:prstGeom prst="rect">
              <a:avLst/>
            </a:prstGeom>
          </p:spPr>
          <p:txBody>
            <a:bodyPr vert="horz" wrap="square" lIns="0" tIns="2801" rIns="0" bIns="0" rtlCol="0">
              <a:spAutoFit/>
            </a:bodyPr>
            <a:lstStyle/>
            <a:p>
              <a:pPr>
                <a:spcBef>
                  <a:spcPts val="22"/>
                </a:spcBef>
                <a:defRPr/>
              </a:pPr>
              <a:endParaRPr lang="en-AU" sz="308" dirty="0">
                <a:solidFill>
                  <a:srgbClr val="000000"/>
                </a:solidFill>
                <a:latin typeface="Open Sans"/>
                <a:cs typeface="Times New Roman"/>
              </a:endParaRPr>
            </a:p>
            <a:p>
              <a:pPr marL="128306" algn="ctr">
                <a:defRPr/>
              </a:pPr>
              <a:endParaRPr lang="en-AU" sz="397" dirty="0">
                <a:solidFill>
                  <a:srgbClr val="000000"/>
                </a:solidFill>
                <a:latin typeface="Open Sans"/>
                <a:cs typeface="Open Sans" panose="020B0606030504020204" pitchFamily="34" charset="0"/>
              </a:endParaRPr>
            </a:p>
          </p:txBody>
        </p:sp>
        <p:sp>
          <p:nvSpPr>
            <p:cNvPr id="680" name="object 284">
              <a:extLst>
                <a:ext uri="{FF2B5EF4-FFF2-40B4-BE49-F238E27FC236}">
                  <a16:creationId xmlns:a16="http://schemas.microsoft.com/office/drawing/2014/main" id="{8E55CA1C-EC95-6138-F217-C7744D924170}"/>
                </a:ext>
              </a:extLst>
            </p:cNvPr>
            <p:cNvSpPr/>
            <p:nvPr/>
          </p:nvSpPr>
          <p:spPr>
            <a:xfrm>
              <a:off x="9089855" y="2006734"/>
              <a:ext cx="2253612" cy="87880"/>
            </a:xfrm>
            <a:prstGeom prst="rect">
              <a:avLst/>
            </a:prstGeom>
            <a:blipFill>
              <a:blip r:embed="rId55"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681" name="object 285">
              <a:extLst>
                <a:ext uri="{FF2B5EF4-FFF2-40B4-BE49-F238E27FC236}">
                  <a16:creationId xmlns:a16="http://schemas.microsoft.com/office/drawing/2014/main" id="{B1D34162-42AE-49E1-8E47-536B44E59F7D}"/>
                </a:ext>
              </a:extLst>
            </p:cNvPr>
            <p:cNvSpPr/>
            <p:nvPr/>
          </p:nvSpPr>
          <p:spPr>
            <a:xfrm>
              <a:off x="9107647" y="2050674"/>
              <a:ext cx="2218195" cy="0"/>
            </a:xfrm>
            <a:custGeom>
              <a:avLst/>
              <a:gdLst/>
              <a:ahLst/>
              <a:cxnLst/>
              <a:rect l="l" t="t" r="r" b="b"/>
              <a:pathLst>
                <a:path w="1710055">
                  <a:moveTo>
                    <a:pt x="0" y="0"/>
                  </a:moveTo>
                  <a:lnTo>
                    <a:pt x="1709927" y="0"/>
                  </a:lnTo>
                </a:path>
              </a:pathLst>
            </a:custGeom>
            <a:ln w="56387">
              <a:solidFill>
                <a:srgbClr val="A0DC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682" name="object 371">
              <a:extLst>
                <a:ext uri="{FF2B5EF4-FFF2-40B4-BE49-F238E27FC236}">
                  <a16:creationId xmlns:a16="http://schemas.microsoft.com/office/drawing/2014/main" id="{82DEED80-5011-2729-6C72-D9230486214F}"/>
                </a:ext>
              </a:extLst>
            </p:cNvPr>
            <p:cNvSpPr txBox="1"/>
            <p:nvPr/>
          </p:nvSpPr>
          <p:spPr>
            <a:xfrm>
              <a:off x="9798217" y="2030286"/>
              <a:ext cx="956302" cy="67839"/>
            </a:xfrm>
            <a:prstGeom prst="rect">
              <a:avLst/>
            </a:prstGeom>
          </p:spPr>
          <p:txBody>
            <a:bodyPr vert="horz" wrap="square" lIns="0" tIns="0" rIns="0" bIns="0" rtlCol="0">
              <a:spAutoFit/>
            </a:bodyPr>
            <a:lstStyle/>
            <a:p>
              <a:pPr marL="3922" algn="ctr">
                <a:defRPr/>
              </a:pPr>
              <a:r>
                <a:rPr lang="en-AU" sz="441" dirty="0">
                  <a:solidFill>
                    <a:srgbClr val="FFFFFF"/>
                  </a:solidFill>
                  <a:latin typeface="Open Sans"/>
                  <a:cs typeface="Open Sans" panose="020B0606030504020204" pitchFamily="34" charset="0"/>
                </a:rPr>
                <a:t>Management</a:t>
              </a:r>
              <a:endParaRPr lang="en-AU" sz="441" dirty="0">
                <a:solidFill>
                  <a:srgbClr val="000000"/>
                </a:solidFill>
                <a:latin typeface="Open Sans"/>
                <a:cs typeface="Open Sans" panose="020B0606030504020204" pitchFamily="34" charset="0"/>
              </a:endParaRPr>
            </a:p>
          </p:txBody>
        </p:sp>
        <p:sp>
          <p:nvSpPr>
            <p:cNvPr id="683" name="object 269">
              <a:extLst>
                <a:ext uri="{FF2B5EF4-FFF2-40B4-BE49-F238E27FC236}">
                  <a16:creationId xmlns:a16="http://schemas.microsoft.com/office/drawing/2014/main" id="{0811C345-BCBD-4F43-4A6D-BDF9A2BAC299}"/>
                </a:ext>
              </a:extLst>
            </p:cNvPr>
            <p:cNvSpPr/>
            <p:nvPr/>
          </p:nvSpPr>
          <p:spPr>
            <a:xfrm>
              <a:off x="9093270" y="3006208"/>
              <a:ext cx="2277500" cy="186288"/>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9DD4CF">
                <a:lumMod val="20000"/>
                <a:lumOff val="80000"/>
              </a:srgbClr>
            </a:solidFill>
            <a:ln w="6350">
              <a:solidFill>
                <a:sysClr val="windowText" lastClr="000000"/>
              </a:solidFill>
              <a:prstDash val="lg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srgbClr val="000000"/>
                </a:solidFill>
                <a:effectLst/>
                <a:uLnTx/>
                <a:uFillTx/>
                <a:latin typeface="Open Sans"/>
              </a:endParaRPr>
            </a:p>
          </p:txBody>
        </p:sp>
        <p:sp>
          <p:nvSpPr>
            <p:cNvPr id="684" name="object 273">
              <a:extLst>
                <a:ext uri="{FF2B5EF4-FFF2-40B4-BE49-F238E27FC236}">
                  <a16:creationId xmlns:a16="http://schemas.microsoft.com/office/drawing/2014/main" id="{B7919953-70A4-E268-ED08-614FDDFDCF04}"/>
                </a:ext>
              </a:extLst>
            </p:cNvPr>
            <p:cNvSpPr/>
            <p:nvPr/>
          </p:nvSpPr>
          <p:spPr>
            <a:xfrm>
              <a:off x="9763951" y="3067762"/>
              <a:ext cx="936139" cy="63180"/>
            </a:xfrm>
            <a:custGeom>
              <a:avLst/>
              <a:gdLst/>
              <a:ahLst/>
              <a:cxnLst/>
              <a:rect l="l" t="t" r="r" b="b"/>
              <a:pathLst>
                <a:path w="1506220" h="108585">
                  <a:moveTo>
                    <a:pt x="0" y="0"/>
                  </a:moveTo>
                  <a:lnTo>
                    <a:pt x="0" y="108204"/>
                  </a:lnTo>
                  <a:lnTo>
                    <a:pt x="1505712" y="108204"/>
                  </a:lnTo>
                  <a:lnTo>
                    <a:pt x="1505712" y="0"/>
                  </a:lnTo>
                  <a:lnTo>
                    <a:pt x="0" y="0"/>
                  </a:lnTo>
                  <a:close/>
                </a:path>
              </a:pathLst>
            </a:custGeom>
            <a:noFill/>
          </p:spPr>
          <p:txBody>
            <a:bodyPr wrap="square" lIns="0" tIns="0" rIns="0" bIns="0" rtlCol="0" anchor="ctr"/>
            <a:lstStyle/>
            <a:p>
              <a:pPr algn="ctr">
                <a:defRPr/>
              </a:pPr>
              <a:r>
                <a:rPr lang="hu-HU" sz="500" dirty="0" err="1">
                  <a:solidFill>
                    <a:srgbClr val="000000"/>
                  </a:solidFill>
                  <a:latin typeface="Open Sans"/>
                </a:rPr>
                <a:t>Outsourced</a:t>
              </a:r>
              <a:r>
                <a:rPr lang="hu-HU" sz="500" dirty="0">
                  <a:solidFill>
                    <a:srgbClr val="000000"/>
                  </a:solidFill>
                  <a:latin typeface="Open Sans"/>
                </a:rPr>
                <a:t> </a:t>
              </a:r>
              <a:r>
                <a:rPr lang="hu-HU" sz="500" dirty="0" err="1">
                  <a:solidFill>
                    <a:srgbClr val="000000"/>
                  </a:solidFill>
                  <a:latin typeface="Open Sans"/>
                </a:rPr>
                <a:t>functions</a:t>
              </a:r>
              <a:endParaRPr lang="en-AU" sz="500" dirty="0">
                <a:solidFill>
                  <a:srgbClr val="000000"/>
                </a:solidFill>
                <a:latin typeface="Open Sans"/>
              </a:endParaRPr>
            </a:p>
          </p:txBody>
        </p:sp>
        <p:sp>
          <p:nvSpPr>
            <p:cNvPr id="685" name="TextBox 684">
              <a:extLst>
                <a:ext uri="{FF2B5EF4-FFF2-40B4-BE49-F238E27FC236}">
                  <a16:creationId xmlns:a16="http://schemas.microsoft.com/office/drawing/2014/main" id="{596F5DD6-35A5-D8AE-52EF-698BFD6B8B9C}"/>
                </a:ext>
              </a:extLst>
            </p:cNvPr>
            <p:cNvSpPr txBox="1"/>
            <p:nvPr/>
          </p:nvSpPr>
          <p:spPr>
            <a:xfrm>
              <a:off x="9335724" y="1688932"/>
              <a:ext cx="1738643" cy="159373"/>
            </a:xfrm>
            <a:prstGeom prst="rect">
              <a:avLst/>
            </a:prstGeom>
            <a:noFill/>
          </p:spPr>
          <p:txBody>
            <a:bodyPr wrap="square" lIns="0" tIns="0" rIns="0" bIns="0" rtlCol="0">
              <a:noAutofit/>
            </a:bodyPr>
            <a:lstStyle/>
            <a:p>
              <a:pPr>
                <a:spcBef>
                  <a:spcPts val="600"/>
                </a:spcBef>
                <a:buSzPct val="100000"/>
              </a:pPr>
              <a:r>
                <a:rPr lang="hu-HU" sz="1200" dirty="0" err="1">
                  <a:solidFill>
                    <a:prstClr val="black"/>
                  </a:solidFill>
                  <a:latin typeface="Open Sans"/>
                </a:rPr>
                <a:t>Hybrid</a:t>
              </a:r>
              <a:r>
                <a:rPr lang="hu-HU" sz="1200" dirty="0">
                  <a:solidFill>
                    <a:prstClr val="black"/>
                  </a:solidFill>
                  <a:latin typeface="Open Sans"/>
                </a:rPr>
                <a:t> </a:t>
              </a:r>
              <a:r>
                <a:rPr lang="hu-HU" sz="1200" dirty="0" err="1">
                  <a:solidFill>
                    <a:prstClr val="black"/>
                  </a:solidFill>
                  <a:latin typeface="Open Sans"/>
                </a:rPr>
                <a:t>Operating</a:t>
              </a:r>
              <a:r>
                <a:rPr lang="hu-HU" sz="1200" dirty="0">
                  <a:solidFill>
                    <a:prstClr val="black"/>
                  </a:solidFill>
                  <a:latin typeface="Open Sans"/>
                </a:rPr>
                <a:t> </a:t>
              </a:r>
              <a:r>
                <a:rPr lang="hu-HU" sz="1200" dirty="0" err="1">
                  <a:solidFill>
                    <a:prstClr val="black"/>
                  </a:solidFill>
                  <a:latin typeface="Open Sans"/>
                </a:rPr>
                <a:t>Model</a:t>
              </a:r>
              <a:endParaRPr lang="hu-HU" sz="1200" dirty="0">
                <a:solidFill>
                  <a:prstClr val="black"/>
                </a:solidFill>
                <a:latin typeface="Open Sans"/>
              </a:endParaRPr>
            </a:p>
          </p:txBody>
        </p:sp>
        <p:sp>
          <p:nvSpPr>
            <p:cNvPr id="686" name="TextBox 685">
              <a:extLst>
                <a:ext uri="{FF2B5EF4-FFF2-40B4-BE49-F238E27FC236}">
                  <a16:creationId xmlns:a16="http://schemas.microsoft.com/office/drawing/2014/main" id="{913C08EE-7D27-ABD3-6AAF-B308FBF0A173}"/>
                </a:ext>
              </a:extLst>
            </p:cNvPr>
            <p:cNvSpPr txBox="1"/>
            <p:nvPr/>
          </p:nvSpPr>
          <p:spPr>
            <a:xfrm rot="1610013">
              <a:off x="10838233" y="2059314"/>
              <a:ext cx="687779" cy="123111"/>
            </a:xfrm>
            <a:prstGeom prst="rect">
              <a:avLst/>
            </a:prstGeom>
            <a:solidFill>
              <a:sysClr val="window" lastClr="FFFFFF"/>
            </a:solidFill>
            <a:ln>
              <a:solidFill>
                <a:srgbClr val="FF0000"/>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r>
                <a:rPr kumimoji="0" lang="en-AU" sz="800" b="1" i="0" u="none" strike="noStrike" kern="0" cap="none" spc="0" normalizeH="0" baseline="0" noProof="0" dirty="0">
                  <a:ln>
                    <a:noFill/>
                  </a:ln>
                  <a:solidFill>
                    <a:srgbClr val="313131"/>
                  </a:solidFill>
                  <a:effectLst/>
                  <a:uLnTx/>
                  <a:uFillTx/>
                  <a:latin typeface="Open Sans"/>
                  <a:cs typeface="Calibri" panose="020F0502020204030204" pitchFamily="34" charset="0"/>
                </a:rPr>
                <a:t>Example</a:t>
              </a: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p>
          </p:txBody>
        </p:sp>
        <p:sp>
          <p:nvSpPr>
            <p:cNvPr id="687" name="Oval 686">
              <a:extLst>
                <a:ext uri="{FF2B5EF4-FFF2-40B4-BE49-F238E27FC236}">
                  <a16:creationId xmlns:a16="http://schemas.microsoft.com/office/drawing/2014/main" id="{2DA2508E-CF15-9C47-32B0-E9BA779405B6}"/>
                </a:ext>
              </a:extLst>
            </p:cNvPr>
            <p:cNvSpPr/>
            <p:nvPr/>
          </p:nvSpPr>
          <p:spPr bwMode="gray">
            <a:xfrm>
              <a:off x="9010525" y="1661467"/>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noProof="0" dirty="0">
                  <a:ln>
                    <a:noFill/>
                  </a:ln>
                  <a:solidFill>
                    <a:prstClr val="black"/>
                  </a:solidFill>
                  <a:effectLst/>
                  <a:uLnTx/>
                  <a:uFillTx/>
                  <a:latin typeface="Open Sans"/>
                </a:rPr>
                <a:t>8</a:t>
              </a:r>
            </a:p>
          </p:txBody>
        </p:sp>
        <p:sp>
          <p:nvSpPr>
            <p:cNvPr id="1338" name="object 269">
              <a:extLst>
                <a:ext uri="{FF2B5EF4-FFF2-40B4-BE49-F238E27FC236}">
                  <a16:creationId xmlns:a16="http://schemas.microsoft.com/office/drawing/2014/main" id="{E2DC0111-A309-9914-D6C4-D0B0EC7BC1D8}"/>
                </a:ext>
              </a:extLst>
            </p:cNvPr>
            <p:cNvSpPr/>
            <p:nvPr/>
          </p:nvSpPr>
          <p:spPr>
            <a:xfrm>
              <a:off x="9091726" y="2587666"/>
              <a:ext cx="2277500" cy="172905"/>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62B5E5">
                <a:lumMod val="40000"/>
                <a:lumOff val="60000"/>
              </a:srgbClr>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500" b="0" i="0" u="none" strike="noStrike" kern="0" cap="none" spc="0" normalizeH="0" baseline="0" noProof="0" dirty="0" err="1">
                  <a:ln>
                    <a:noFill/>
                  </a:ln>
                  <a:solidFill>
                    <a:srgbClr val="000000"/>
                  </a:solidFill>
                  <a:effectLst/>
                  <a:uLnTx/>
                  <a:uFillTx/>
                  <a:latin typeface="Open Sans"/>
                </a:rPr>
                <a:t>Shared</a:t>
              </a:r>
              <a:r>
                <a:rPr kumimoji="0" lang="hu-HU" sz="500" b="0" i="0" u="none" strike="noStrike" kern="0" cap="none" spc="0" normalizeH="0" baseline="0" noProof="0" dirty="0">
                  <a:ln>
                    <a:noFill/>
                  </a:ln>
                  <a:solidFill>
                    <a:srgbClr val="000000"/>
                  </a:solidFill>
                  <a:effectLst/>
                  <a:uLnTx/>
                  <a:uFillTx/>
                  <a:latin typeface="Open Sans"/>
                </a:rPr>
                <a:t> </a:t>
              </a:r>
              <a:r>
                <a:rPr kumimoji="0" lang="hu-HU" sz="500" b="0" i="0" u="none" strike="noStrike" kern="0" cap="none" spc="0" normalizeH="0" baseline="0" noProof="0" dirty="0" err="1">
                  <a:ln>
                    <a:noFill/>
                  </a:ln>
                  <a:solidFill>
                    <a:srgbClr val="000000"/>
                  </a:solidFill>
                  <a:effectLst/>
                  <a:uLnTx/>
                  <a:uFillTx/>
                  <a:latin typeface="Open Sans"/>
                </a:rPr>
                <a:t>Services</a:t>
              </a:r>
              <a:endParaRPr kumimoji="0" lang="en-AU" sz="500" b="0" i="0" u="none" strike="noStrike" kern="0" cap="none" spc="0" normalizeH="0" baseline="0" noProof="0" dirty="0">
                <a:ln>
                  <a:noFill/>
                </a:ln>
                <a:solidFill>
                  <a:srgbClr val="000000"/>
                </a:solidFill>
                <a:effectLst/>
                <a:uLnTx/>
                <a:uFillTx/>
                <a:latin typeface="Open Sans"/>
              </a:endParaRPr>
            </a:p>
          </p:txBody>
        </p:sp>
        <p:sp>
          <p:nvSpPr>
            <p:cNvPr id="1339" name="Rectangle 1338">
              <a:extLst>
                <a:ext uri="{FF2B5EF4-FFF2-40B4-BE49-F238E27FC236}">
                  <a16:creationId xmlns:a16="http://schemas.microsoft.com/office/drawing/2014/main" id="{694601D2-0D92-3B47-ED67-CC3B0DAEC711}"/>
                </a:ext>
              </a:extLst>
            </p:cNvPr>
            <p:cNvSpPr/>
            <p:nvPr/>
          </p:nvSpPr>
          <p:spPr bwMode="gray">
            <a:xfrm>
              <a:off x="9361155" y="2304119"/>
              <a:ext cx="1738643" cy="63276"/>
            </a:xfrm>
            <a:prstGeom prst="rect">
              <a:avLst/>
            </a:prstGeom>
            <a:solidFill>
              <a:srgbClr val="9DD4C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1340" name="Rectangle 1339">
              <a:extLst>
                <a:ext uri="{FF2B5EF4-FFF2-40B4-BE49-F238E27FC236}">
                  <a16:creationId xmlns:a16="http://schemas.microsoft.com/office/drawing/2014/main" id="{1F1FE40E-C3EC-744C-EBE8-85477BED970B}"/>
                </a:ext>
              </a:extLst>
            </p:cNvPr>
            <p:cNvSpPr/>
            <p:nvPr/>
          </p:nvSpPr>
          <p:spPr bwMode="gray">
            <a:xfrm>
              <a:off x="9361155" y="2380455"/>
              <a:ext cx="1738643" cy="63276"/>
            </a:xfrm>
            <a:prstGeom prst="rect">
              <a:avLst/>
            </a:prstGeom>
            <a:solidFill>
              <a:srgbClr val="9DD4C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1341" name="Rectangle 1340">
              <a:extLst>
                <a:ext uri="{FF2B5EF4-FFF2-40B4-BE49-F238E27FC236}">
                  <a16:creationId xmlns:a16="http://schemas.microsoft.com/office/drawing/2014/main" id="{76D032BD-B111-2A37-6FD6-A1BCBBDA358C}"/>
                </a:ext>
              </a:extLst>
            </p:cNvPr>
            <p:cNvSpPr/>
            <p:nvPr/>
          </p:nvSpPr>
          <p:spPr bwMode="gray">
            <a:xfrm>
              <a:off x="9533563" y="2281142"/>
              <a:ext cx="297335" cy="180293"/>
            </a:xfrm>
            <a:prstGeom prst="rect">
              <a:avLst/>
            </a:prstGeom>
            <a:solidFill>
              <a:sysClr val="window" lastClr="FFFFFF">
                <a:lumMod val="85000"/>
              </a:sys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1342" name="Rectangle 1341">
              <a:extLst>
                <a:ext uri="{FF2B5EF4-FFF2-40B4-BE49-F238E27FC236}">
                  <a16:creationId xmlns:a16="http://schemas.microsoft.com/office/drawing/2014/main" id="{CB9BAF96-DD9C-0A54-2A85-FE18F5E57F9D}"/>
                </a:ext>
              </a:extLst>
            </p:cNvPr>
            <p:cNvSpPr/>
            <p:nvPr/>
          </p:nvSpPr>
          <p:spPr bwMode="gray">
            <a:xfrm>
              <a:off x="9915308" y="2281142"/>
              <a:ext cx="297335" cy="180293"/>
            </a:xfrm>
            <a:prstGeom prst="rect">
              <a:avLst/>
            </a:prstGeom>
            <a:solidFill>
              <a:sysClr val="window" lastClr="FFFFFF">
                <a:lumMod val="85000"/>
              </a:sys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1343" name="Rectangle 1342">
              <a:extLst>
                <a:ext uri="{FF2B5EF4-FFF2-40B4-BE49-F238E27FC236}">
                  <a16:creationId xmlns:a16="http://schemas.microsoft.com/office/drawing/2014/main" id="{AE84D8D2-8D98-F9A9-B973-33D8C30AEAA9}"/>
                </a:ext>
              </a:extLst>
            </p:cNvPr>
            <p:cNvSpPr/>
            <p:nvPr/>
          </p:nvSpPr>
          <p:spPr bwMode="gray">
            <a:xfrm>
              <a:off x="10297053" y="2281142"/>
              <a:ext cx="297335" cy="180293"/>
            </a:xfrm>
            <a:prstGeom prst="rect">
              <a:avLst/>
            </a:prstGeom>
            <a:solidFill>
              <a:sysClr val="window" lastClr="FFFFFF">
                <a:lumMod val="85000"/>
              </a:sys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1344" name="Rectangle 1343">
              <a:extLst>
                <a:ext uri="{FF2B5EF4-FFF2-40B4-BE49-F238E27FC236}">
                  <a16:creationId xmlns:a16="http://schemas.microsoft.com/office/drawing/2014/main" id="{0F7D1600-E531-4BBE-22C3-8F8A38B8C7B8}"/>
                </a:ext>
              </a:extLst>
            </p:cNvPr>
            <p:cNvSpPr/>
            <p:nvPr/>
          </p:nvSpPr>
          <p:spPr bwMode="gray">
            <a:xfrm>
              <a:off x="10678799" y="2281142"/>
              <a:ext cx="297335" cy="180293"/>
            </a:xfrm>
            <a:prstGeom prst="rect">
              <a:avLst/>
            </a:prstGeom>
            <a:solidFill>
              <a:sysClr val="window" lastClr="FFFFFF">
                <a:lumMod val="85000"/>
              </a:sys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grpSp>
      <p:grpSp>
        <p:nvGrpSpPr>
          <p:cNvPr id="42" name="Group 41">
            <a:extLst>
              <a:ext uri="{FF2B5EF4-FFF2-40B4-BE49-F238E27FC236}">
                <a16:creationId xmlns:a16="http://schemas.microsoft.com/office/drawing/2014/main" id="{94C7604D-83D9-9B6C-C87D-4AF7A1CC12F6}"/>
              </a:ext>
            </a:extLst>
          </p:cNvPr>
          <p:cNvGrpSpPr/>
          <p:nvPr/>
        </p:nvGrpSpPr>
        <p:grpSpPr>
          <a:xfrm>
            <a:off x="9004812" y="1505771"/>
            <a:ext cx="2586446" cy="1570730"/>
            <a:chOff x="519386" y="5074968"/>
            <a:chExt cx="2586446" cy="1570730"/>
          </a:xfrm>
        </p:grpSpPr>
        <p:sp>
          <p:nvSpPr>
            <p:cNvPr id="689" name="object 273">
              <a:extLst>
                <a:ext uri="{FF2B5EF4-FFF2-40B4-BE49-F238E27FC236}">
                  <a16:creationId xmlns:a16="http://schemas.microsoft.com/office/drawing/2014/main" id="{D0DBEB23-A81A-EB8F-0AA3-8AE7944F9F6D}"/>
                </a:ext>
              </a:extLst>
            </p:cNvPr>
            <p:cNvSpPr/>
            <p:nvPr/>
          </p:nvSpPr>
          <p:spPr>
            <a:xfrm>
              <a:off x="577104" y="5566080"/>
              <a:ext cx="2303955" cy="120575"/>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400" b="0" i="0" u="none" strike="noStrike" kern="0" cap="none" spc="0" normalizeH="0" baseline="0" noProof="0" dirty="0" err="1">
                  <a:ln>
                    <a:noFill/>
                  </a:ln>
                  <a:solidFill>
                    <a:srgbClr val="000000"/>
                  </a:solidFill>
                  <a:effectLst/>
                  <a:uLnTx/>
                  <a:uFillTx/>
                  <a:latin typeface="Open Sans"/>
                </a:rPr>
                <a:t>Second</a:t>
              </a:r>
              <a:br>
                <a:rPr kumimoji="0" lang="hu-HU" sz="400" b="0" i="0" u="none" strike="noStrike" kern="0" cap="none" spc="0" normalizeH="0" baseline="0" noProof="0" dirty="0">
                  <a:ln>
                    <a:noFill/>
                  </a:ln>
                  <a:solidFill>
                    <a:srgbClr val="000000"/>
                  </a:solidFill>
                  <a:effectLst/>
                  <a:uLnTx/>
                  <a:uFillTx/>
                  <a:latin typeface="Open Sans"/>
                </a:rPr>
              </a:br>
              <a:r>
                <a:rPr kumimoji="0" lang="hu-HU" sz="400" b="0" i="0" u="none" strike="noStrike" kern="0" cap="none" spc="0" normalizeH="0" baseline="0" noProof="0" dirty="0" err="1">
                  <a:ln>
                    <a:noFill/>
                  </a:ln>
                  <a:solidFill>
                    <a:srgbClr val="000000"/>
                  </a:solidFill>
                  <a:effectLst/>
                  <a:uLnTx/>
                  <a:uFillTx/>
                  <a:latin typeface="Open Sans"/>
                </a:rPr>
                <a:t>Division</a:t>
              </a:r>
              <a:endParaRPr kumimoji="0" lang="en-AU" sz="400" b="0" i="0" u="none" strike="noStrike" kern="0" cap="none" spc="0" normalizeH="0" baseline="0" noProof="0" dirty="0">
                <a:ln>
                  <a:noFill/>
                </a:ln>
                <a:solidFill>
                  <a:srgbClr val="000000"/>
                </a:solidFill>
                <a:effectLst/>
                <a:uLnTx/>
                <a:uFillTx/>
                <a:latin typeface="Open Sans"/>
              </a:endParaRPr>
            </a:p>
          </p:txBody>
        </p:sp>
        <p:sp>
          <p:nvSpPr>
            <p:cNvPr id="690" name="object 273">
              <a:extLst>
                <a:ext uri="{FF2B5EF4-FFF2-40B4-BE49-F238E27FC236}">
                  <a16:creationId xmlns:a16="http://schemas.microsoft.com/office/drawing/2014/main" id="{D1F8E8E2-9CC2-A65B-8ABA-FBEE485A92E1}"/>
                </a:ext>
              </a:extLst>
            </p:cNvPr>
            <p:cNvSpPr/>
            <p:nvPr/>
          </p:nvSpPr>
          <p:spPr>
            <a:xfrm>
              <a:off x="577104" y="5697926"/>
              <a:ext cx="2303955" cy="120575"/>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400" b="0" i="0" u="none" strike="noStrike" kern="0" cap="none" spc="0" normalizeH="0" baseline="0" noProof="0" dirty="0" err="1">
                  <a:ln>
                    <a:noFill/>
                  </a:ln>
                  <a:solidFill>
                    <a:srgbClr val="000000"/>
                  </a:solidFill>
                  <a:effectLst/>
                  <a:uLnTx/>
                  <a:uFillTx/>
                  <a:latin typeface="Open Sans"/>
                </a:rPr>
                <a:t>Second</a:t>
              </a:r>
              <a:br>
                <a:rPr kumimoji="0" lang="hu-HU" sz="400" b="0" i="0" u="none" strike="noStrike" kern="0" cap="none" spc="0" normalizeH="0" baseline="0" noProof="0" dirty="0">
                  <a:ln>
                    <a:noFill/>
                  </a:ln>
                  <a:solidFill>
                    <a:srgbClr val="000000"/>
                  </a:solidFill>
                  <a:effectLst/>
                  <a:uLnTx/>
                  <a:uFillTx/>
                  <a:latin typeface="Open Sans"/>
                </a:rPr>
              </a:br>
              <a:r>
                <a:rPr kumimoji="0" lang="hu-HU" sz="400" b="0" i="0" u="none" strike="noStrike" kern="0" cap="none" spc="0" normalizeH="0" baseline="0" noProof="0" dirty="0" err="1">
                  <a:ln>
                    <a:noFill/>
                  </a:ln>
                  <a:solidFill>
                    <a:srgbClr val="000000"/>
                  </a:solidFill>
                  <a:effectLst/>
                  <a:uLnTx/>
                  <a:uFillTx/>
                  <a:latin typeface="Open Sans"/>
                </a:rPr>
                <a:t>Division</a:t>
              </a:r>
              <a:endParaRPr kumimoji="0" lang="en-AU" sz="400" b="0" i="0" u="none" strike="noStrike" kern="0" cap="none" spc="0" normalizeH="0" baseline="0" noProof="0" dirty="0">
                <a:ln>
                  <a:noFill/>
                </a:ln>
                <a:solidFill>
                  <a:srgbClr val="000000"/>
                </a:solidFill>
                <a:effectLst/>
                <a:uLnTx/>
                <a:uFillTx/>
                <a:latin typeface="Open Sans"/>
              </a:endParaRPr>
            </a:p>
          </p:txBody>
        </p:sp>
        <p:sp>
          <p:nvSpPr>
            <p:cNvPr id="691" name="object 273">
              <a:extLst>
                <a:ext uri="{FF2B5EF4-FFF2-40B4-BE49-F238E27FC236}">
                  <a16:creationId xmlns:a16="http://schemas.microsoft.com/office/drawing/2014/main" id="{DD7DE5BF-1579-9BAB-861E-821A8FD279DD}"/>
                </a:ext>
              </a:extLst>
            </p:cNvPr>
            <p:cNvSpPr/>
            <p:nvPr/>
          </p:nvSpPr>
          <p:spPr>
            <a:xfrm>
              <a:off x="577104" y="5829772"/>
              <a:ext cx="2303955" cy="120575"/>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400" b="0" i="0" u="none" strike="noStrike" kern="0" cap="none" spc="0" normalizeH="0" baseline="0" noProof="0" dirty="0" err="1">
                  <a:ln>
                    <a:noFill/>
                  </a:ln>
                  <a:solidFill>
                    <a:srgbClr val="000000"/>
                  </a:solidFill>
                  <a:effectLst/>
                  <a:uLnTx/>
                  <a:uFillTx/>
                  <a:latin typeface="Open Sans"/>
                </a:rPr>
                <a:t>Second</a:t>
              </a:r>
              <a:br>
                <a:rPr kumimoji="0" lang="hu-HU" sz="400" b="0" i="0" u="none" strike="noStrike" kern="0" cap="none" spc="0" normalizeH="0" baseline="0" noProof="0" dirty="0">
                  <a:ln>
                    <a:noFill/>
                  </a:ln>
                  <a:solidFill>
                    <a:srgbClr val="000000"/>
                  </a:solidFill>
                  <a:effectLst/>
                  <a:uLnTx/>
                  <a:uFillTx/>
                  <a:latin typeface="Open Sans"/>
                </a:rPr>
              </a:br>
              <a:r>
                <a:rPr kumimoji="0" lang="hu-HU" sz="400" b="0" i="0" u="none" strike="noStrike" kern="0" cap="none" spc="0" normalizeH="0" baseline="0" noProof="0" dirty="0" err="1">
                  <a:ln>
                    <a:noFill/>
                  </a:ln>
                  <a:solidFill>
                    <a:srgbClr val="000000"/>
                  </a:solidFill>
                  <a:effectLst/>
                  <a:uLnTx/>
                  <a:uFillTx/>
                  <a:latin typeface="Open Sans"/>
                </a:rPr>
                <a:t>Division</a:t>
              </a:r>
              <a:endParaRPr kumimoji="0" lang="en-AU" sz="400" b="0" i="0" u="none" strike="noStrike" kern="0" cap="none" spc="0" normalizeH="0" baseline="0" noProof="0" dirty="0">
                <a:ln>
                  <a:noFill/>
                </a:ln>
                <a:solidFill>
                  <a:srgbClr val="000000"/>
                </a:solidFill>
                <a:effectLst/>
                <a:uLnTx/>
                <a:uFillTx/>
                <a:latin typeface="Open Sans"/>
              </a:endParaRPr>
            </a:p>
          </p:txBody>
        </p:sp>
        <p:sp>
          <p:nvSpPr>
            <p:cNvPr id="692" name="object 273">
              <a:extLst>
                <a:ext uri="{FF2B5EF4-FFF2-40B4-BE49-F238E27FC236}">
                  <a16:creationId xmlns:a16="http://schemas.microsoft.com/office/drawing/2014/main" id="{EF6828F8-481D-828B-21D3-0300A787E620}"/>
                </a:ext>
              </a:extLst>
            </p:cNvPr>
            <p:cNvSpPr/>
            <p:nvPr/>
          </p:nvSpPr>
          <p:spPr>
            <a:xfrm>
              <a:off x="577104" y="5961619"/>
              <a:ext cx="2303955" cy="120575"/>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400" b="0" i="0" u="none" strike="noStrike" kern="0" cap="none" spc="0" normalizeH="0" baseline="0" noProof="0" dirty="0" err="1">
                  <a:ln>
                    <a:noFill/>
                  </a:ln>
                  <a:solidFill>
                    <a:srgbClr val="000000"/>
                  </a:solidFill>
                  <a:effectLst/>
                  <a:uLnTx/>
                  <a:uFillTx/>
                  <a:latin typeface="Open Sans"/>
                </a:rPr>
                <a:t>Second</a:t>
              </a:r>
              <a:br>
                <a:rPr kumimoji="0" lang="hu-HU" sz="400" b="0" i="0" u="none" strike="noStrike" kern="0" cap="none" spc="0" normalizeH="0" baseline="0" noProof="0" dirty="0">
                  <a:ln>
                    <a:noFill/>
                  </a:ln>
                  <a:solidFill>
                    <a:srgbClr val="000000"/>
                  </a:solidFill>
                  <a:effectLst/>
                  <a:uLnTx/>
                  <a:uFillTx/>
                  <a:latin typeface="Open Sans"/>
                </a:rPr>
              </a:br>
              <a:r>
                <a:rPr kumimoji="0" lang="hu-HU" sz="400" b="0" i="0" u="none" strike="noStrike" kern="0" cap="none" spc="0" normalizeH="0" baseline="0" noProof="0" dirty="0" err="1">
                  <a:ln>
                    <a:noFill/>
                  </a:ln>
                  <a:solidFill>
                    <a:srgbClr val="000000"/>
                  </a:solidFill>
                  <a:effectLst/>
                  <a:uLnTx/>
                  <a:uFillTx/>
                  <a:latin typeface="Open Sans"/>
                </a:rPr>
                <a:t>Division</a:t>
              </a:r>
              <a:endParaRPr kumimoji="0" lang="en-AU" sz="400" b="0" i="0" u="none" strike="noStrike" kern="0" cap="none" spc="0" normalizeH="0" baseline="0" noProof="0" dirty="0">
                <a:ln>
                  <a:noFill/>
                </a:ln>
                <a:solidFill>
                  <a:srgbClr val="000000"/>
                </a:solidFill>
                <a:effectLst/>
                <a:uLnTx/>
                <a:uFillTx/>
                <a:latin typeface="Open Sans"/>
              </a:endParaRPr>
            </a:p>
          </p:txBody>
        </p:sp>
        <p:sp>
          <p:nvSpPr>
            <p:cNvPr id="1277" name="object 267">
              <a:extLst>
                <a:ext uri="{FF2B5EF4-FFF2-40B4-BE49-F238E27FC236}">
                  <a16:creationId xmlns:a16="http://schemas.microsoft.com/office/drawing/2014/main" id="{A2DAADB3-B9D2-4996-9F9C-741AC1704CC9}"/>
                </a:ext>
              </a:extLst>
            </p:cNvPr>
            <p:cNvSpPr/>
            <p:nvPr/>
          </p:nvSpPr>
          <p:spPr>
            <a:xfrm>
              <a:off x="568842" y="6136627"/>
              <a:ext cx="2288586" cy="482881"/>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78" name="object 268">
              <a:extLst>
                <a:ext uri="{FF2B5EF4-FFF2-40B4-BE49-F238E27FC236}">
                  <a16:creationId xmlns:a16="http://schemas.microsoft.com/office/drawing/2014/main" id="{FAD8E270-0000-6E02-AF8C-942F5E096659}"/>
                </a:ext>
              </a:extLst>
            </p:cNvPr>
            <p:cNvSpPr/>
            <p:nvPr/>
          </p:nvSpPr>
          <p:spPr>
            <a:xfrm>
              <a:off x="600572" y="6162817"/>
              <a:ext cx="2288586" cy="48288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79" name="object 269">
              <a:extLst>
                <a:ext uri="{FF2B5EF4-FFF2-40B4-BE49-F238E27FC236}">
                  <a16:creationId xmlns:a16="http://schemas.microsoft.com/office/drawing/2014/main" id="{37C6BC24-2D22-2A6C-2294-23D53A3219ED}"/>
                </a:ext>
              </a:extLst>
            </p:cNvPr>
            <p:cNvSpPr/>
            <p:nvPr/>
          </p:nvSpPr>
          <p:spPr>
            <a:xfrm>
              <a:off x="586690" y="6147410"/>
              <a:ext cx="2284784" cy="480140"/>
            </a:xfrm>
            <a:custGeom>
              <a:avLst/>
              <a:gdLst/>
              <a:ahLst/>
              <a:cxnLst/>
              <a:rect l="l" t="t" r="r" b="b"/>
              <a:pathLst>
                <a:path w="1755775" h="447039">
                  <a:moveTo>
                    <a:pt x="0" y="0"/>
                  </a:moveTo>
                  <a:lnTo>
                    <a:pt x="0" y="446532"/>
                  </a:lnTo>
                  <a:lnTo>
                    <a:pt x="1755648" y="446532"/>
                  </a:lnTo>
                  <a:lnTo>
                    <a:pt x="1755648" y="0"/>
                  </a:lnTo>
                  <a:lnTo>
                    <a:pt x="0" y="0"/>
                  </a:lnTo>
                  <a:close/>
                </a:path>
              </a:pathLst>
            </a:custGeom>
            <a:solidFill>
              <a:srgbClr val="62B5E5">
                <a:lumMod val="40000"/>
                <a:lumOff val="6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80" name="object 270">
              <a:extLst>
                <a:ext uri="{FF2B5EF4-FFF2-40B4-BE49-F238E27FC236}">
                  <a16:creationId xmlns:a16="http://schemas.microsoft.com/office/drawing/2014/main" id="{F8824845-F60D-95BC-6D68-225BE5C35E8A}"/>
                </a:ext>
              </a:extLst>
            </p:cNvPr>
            <p:cNvSpPr/>
            <p:nvPr/>
          </p:nvSpPr>
          <p:spPr>
            <a:xfrm>
              <a:off x="824672" y="6175912"/>
              <a:ext cx="1963344" cy="119489"/>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81" name="object 271">
              <a:extLst>
                <a:ext uri="{FF2B5EF4-FFF2-40B4-BE49-F238E27FC236}">
                  <a16:creationId xmlns:a16="http://schemas.microsoft.com/office/drawing/2014/main" id="{FBBD5C54-3A9D-F48E-4FAA-9F8C73A47962}"/>
                </a:ext>
              </a:extLst>
            </p:cNvPr>
            <p:cNvSpPr/>
            <p:nvPr/>
          </p:nvSpPr>
          <p:spPr>
            <a:xfrm>
              <a:off x="856402" y="6202100"/>
              <a:ext cx="1963344" cy="11948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82" name="object 272">
              <a:extLst>
                <a:ext uri="{FF2B5EF4-FFF2-40B4-BE49-F238E27FC236}">
                  <a16:creationId xmlns:a16="http://schemas.microsoft.com/office/drawing/2014/main" id="{3C1FBBBF-281A-6DBA-DD38-D633EF718C46}"/>
                </a:ext>
              </a:extLst>
            </p:cNvPr>
            <p:cNvSpPr/>
            <p:nvPr/>
          </p:nvSpPr>
          <p:spPr>
            <a:xfrm>
              <a:off x="856402" y="6202100"/>
              <a:ext cx="1931614" cy="9330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83" name="object 273">
              <a:extLst>
                <a:ext uri="{FF2B5EF4-FFF2-40B4-BE49-F238E27FC236}">
                  <a16:creationId xmlns:a16="http://schemas.microsoft.com/office/drawing/2014/main" id="{0BEC98E8-FDD0-D8EC-AB91-A72C6CACA930}"/>
                </a:ext>
              </a:extLst>
            </p:cNvPr>
            <p:cNvSpPr/>
            <p:nvPr/>
          </p:nvSpPr>
          <p:spPr>
            <a:xfrm>
              <a:off x="842520" y="6190642"/>
              <a:ext cx="1960039" cy="116625"/>
            </a:xfrm>
            <a:custGeom>
              <a:avLst/>
              <a:gdLst/>
              <a:ahLst/>
              <a:cxnLst/>
              <a:rect l="l" t="t" r="r" b="b"/>
              <a:pathLst>
                <a:path w="1506220" h="108585">
                  <a:moveTo>
                    <a:pt x="0" y="0"/>
                  </a:moveTo>
                  <a:lnTo>
                    <a:pt x="0" y="108204"/>
                  </a:lnTo>
                  <a:lnTo>
                    <a:pt x="1505712" y="108204"/>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84" name="object 274">
              <a:extLst>
                <a:ext uri="{FF2B5EF4-FFF2-40B4-BE49-F238E27FC236}">
                  <a16:creationId xmlns:a16="http://schemas.microsoft.com/office/drawing/2014/main" id="{5C9D2B55-154C-E6F5-B4E1-6EB0A719A29F}"/>
                </a:ext>
              </a:extLst>
            </p:cNvPr>
            <p:cNvSpPr/>
            <p:nvPr/>
          </p:nvSpPr>
          <p:spPr>
            <a:xfrm>
              <a:off x="824672" y="6331410"/>
              <a:ext cx="1963344" cy="116217"/>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85" name="object 275">
              <a:extLst>
                <a:ext uri="{FF2B5EF4-FFF2-40B4-BE49-F238E27FC236}">
                  <a16:creationId xmlns:a16="http://schemas.microsoft.com/office/drawing/2014/main" id="{00701986-B217-1FD0-1530-B8FD278B18CE}"/>
                </a:ext>
              </a:extLst>
            </p:cNvPr>
            <p:cNvSpPr/>
            <p:nvPr/>
          </p:nvSpPr>
          <p:spPr>
            <a:xfrm>
              <a:off x="856402" y="6357601"/>
              <a:ext cx="1963344" cy="11622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86" name="object 276">
              <a:extLst>
                <a:ext uri="{FF2B5EF4-FFF2-40B4-BE49-F238E27FC236}">
                  <a16:creationId xmlns:a16="http://schemas.microsoft.com/office/drawing/2014/main" id="{A0057394-FA8B-02F1-D1E0-656BE4A1227E}"/>
                </a:ext>
              </a:extLst>
            </p:cNvPr>
            <p:cNvSpPr/>
            <p:nvPr/>
          </p:nvSpPr>
          <p:spPr>
            <a:xfrm>
              <a:off x="856402" y="6357601"/>
              <a:ext cx="1931614" cy="90027"/>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87" name="object 277">
              <a:extLst>
                <a:ext uri="{FF2B5EF4-FFF2-40B4-BE49-F238E27FC236}">
                  <a16:creationId xmlns:a16="http://schemas.microsoft.com/office/drawing/2014/main" id="{FD48E244-16CB-E983-1E96-7565AEF8F2D2}"/>
                </a:ext>
              </a:extLst>
            </p:cNvPr>
            <p:cNvSpPr/>
            <p:nvPr/>
          </p:nvSpPr>
          <p:spPr>
            <a:xfrm>
              <a:off x="842520" y="6346143"/>
              <a:ext cx="1960039" cy="113215"/>
            </a:xfrm>
            <a:custGeom>
              <a:avLst/>
              <a:gdLst/>
              <a:ahLst/>
              <a:cxnLst/>
              <a:rect l="l" t="t" r="r" b="b"/>
              <a:pathLst>
                <a:path w="1506220" h="105410">
                  <a:moveTo>
                    <a:pt x="0" y="0"/>
                  </a:moveTo>
                  <a:lnTo>
                    <a:pt x="0" y="105155"/>
                  </a:lnTo>
                  <a:lnTo>
                    <a:pt x="1505712" y="105155"/>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88" name="object 278">
              <a:extLst>
                <a:ext uri="{FF2B5EF4-FFF2-40B4-BE49-F238E27FC236}">
                  <a16:creationId xmlns:a16="http://schemas.microsoft.com/office/drawing/2014/main" id="{00FDE891-5F1F-CDC0-9D92-71D069D4543D}"/>
                </a:ext>
              </a:extLst>
            </p:cNvPr>
            <p:cNvSpPr/>
            <p:nvPr/>
          </p:nvSpPr>
          <p:spPr>
            <a:xfrm>
              <a:off x="824672" y="6483636"/>
              <a:ext cx="1963344" cy="112956"/>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89" name="object 279">
              <a:extLst>
                <a:ext uri="{FF2B5EF4-FFF2-40B4-BE49-F238E27FC236}">
                  <a16:creationId xmlns:a16="http://schemas.microsoft.com/office/drawing/2014/main" id="{92FE512C-66AC-BF02-BC69-89229E022C4C}"/>
                </a:ext>
              </a:extLst>
            </p:cNvPr>
            <p:cNvSpPr/>
            <p:nvPr/>
          </p:nvSpPr>
          <p:spPr>
            <a:xfrm>
              <a:off x="856402" y="6516839"/>
              <a:ext cx="1963344" cy="112956"/>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90" name="object 280">
              <a:extLst>
                <a:ext uri="{FF2B5EF4-FFF2-40B4-BE49-F238E27FC236}">
                  <a16:creationId xmlns:a16="http://schemas.microsoft.com/office/drawing/2014/main" id="{6B85ECD9-E6CE-10EB-4416-1642D21D3DA4}"/>
                </a:ext>
              </a:extLst>
            </p:cNvPr>
            <p:cNvSpPr/>
            <p:nvPr/>
          </p:nvSpPr>
          <p:spPr>
            <a:xfrm>
              <a:off x="856402" y="6509827"/>
              <a:ext cx="1931614" cy="86766"/>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91" name="object 281">
              <a:extLst>
                <a:ext uri="{FF2B5EF4-FFF2-40B4-BE49-F238E27FC236}">
                  <a16:creationId xmlns:a16="http://schemas.microsoft.com/office/drawing/2014/main" id="{E70E13C2-51D1-C638-A754-41B641F3AFB0}"/>
                </a:ext>
              </a:extLst>
            </p:cNvPr>
            <p:cNvSpPr/>
            <p:nvPr/>
          </p:nvSpPr>
          <p:spPr>
            <a:xfrm>
              <a:off x="842520" y="6498369"/>
              <a:ext cx="1960039" cy="109804"/>
            </a:xfrm>
            <a:custGeom>
              <a:avLst/>
              <a:gdLst/>
              <a:ahLst/>
              <a:cxnLst/>
              <a:rect l="l" t="t" r="r" b="b"/>
              <a:pathLst>
                <a:path w="1506220" h="102235">
                  <a:moveTo>
                    <a:pt x="0" y="0"/>
                  </a:moveTo>
                  <a:lnTo>
                    <a:pt x="0" y="102108"/>
                  </a:lnTo>
                  <a:lnTo>
                    <a:pt x="1505712" y="102108"/>
                  </a:lnTo>
                  <a:lnTo>
                    <a:pt x="1505712" y="0"/>
                  </a:lnTo>
                  <a:lnTo>
                    <a:pt x="0" y="0"/>
                  </a:lnTo>
                  <a:close/>
                </a:path>
              </a:pathLst>
            </a:custGeom>
            <a:solidFill>
              <a:sysClr val="window" lastClr="FFFFFF">
                <a:lumMod val="85000"/>
              </a:sys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92" name="object 282">
              <a:extLst>
                <a:ext uri="{FF2B5EF4-FFF2-40B4-BE49-F238E27FC236}">
                  <a16:creationId xmlns:a16="http://schemas.microsoft.com/office/drawing/2014/main" id="{F287B0BB-245A-E768-36E6-EB2FAE592095}"/>
                </a:ext>
              </a:extLst>
            </p:cNvPr>
            <p:cNvSpPr txBox="1"/>
            <p:nvPr/>
          </p:nvSpPr>
          <p:spPr>
            <a:xfrm>
              <a:off x="586692" y="6154864"/>
              <a:ext cx="336372" cy="111320"/>
            </a:xfrm>
            <a:prstGeom prst="rect">
              <a:avLst/>
            </a:prstGeom>
          </p:spPr>
          <p:txBody>
            <a:bodyPr vert="horz" wrap="square" lIns="0" tIns="2801" rIns="0" bIns="0" rtlCol="0">
              <a:spAutoFit/>
            </a:bodyPr>
            <a:lstStyle/>
            <a:p>
              <a:pPr>
                <a:spcBef>
                  <a:spcPts val="22"/>
                </a:spcBef>
                <a:defRPr/>
              </a:pPr>
              <a:endParaRPr lang="en-AU" sz="308" dirty="0">
                <a:solidFill>
                  <a:srgbClr val="000000"/>
                </a:solidFill>
                <a:latin typeface="Open Sans"/>
                <a:cs typeface="Times New Roman"/>
              </a:endParaRPr>
            </a:p>
            <a:p>
              <a:pPr marL="128306" algn="ctr">
                <a:defRPr/>
              </a:pPr>
              <a:endParaRPr lang="en-AU" sz="397" dirty="0">
                <a:solidFill>
                  <a:srgbClr val="000000"/>
                </a:solidFill>
                <a:latin typeface="Open Sans"/>
                <a:cs typeface="Open Sans" panose="020B0606030504020204" pitchFamily="34" charset="0"/>
              </a:endParaRPr>
            </a:p>
          </p:txBody>
        </p:sp>
        <p:sp>
          <p:nvSpPr>
            <p:cNvPr id="1293" name="object 283">
              <a:extLst>
                <a:ext uri="{FF2B5EF4-FFF2-40B4-BE49-F238E27FC236}">
                  <a16:creationId xmlns:a16="http://schemas.microsoft.com/office/drawing/2014/main" id="{6D4FEEEE-5180-B52D-B948-90C2B299B1C1}"/>
                </a:ext>
              </a:extLst>
            </p:cNvPr>
            <p:cNvSpPr txBox="1"/>
            <p:nvPr/>
          </p:nvSpPr>
          <p:spPr>
            <a:xfrm>
              <a:off x="629601" y="6195675"/>
              <a:ext cx="61107" cy="383610"/>
            </a:xfrm>
            <a:prstGeom prst="rect">
              <a:avLst/>
            </a:prstGeom>
          </p:spPr>
          <p:txBody>
            <a:bodyPr vert="vert270" wrap="square" lIns="0" tIns="2801" rIns="0" bIns="0" rtlCol="0">
              <a:spAutoFit/>
            </a:bodyPr>
            <a:lstStyle/>
            <a:p>
              <a:pPr marL="11206">
                <a:spcBef>
                  <a:spcPts val="22"/>
                </a:spcBef>
                <a:defRPr/>
              </a:pPr>
              <a:r>
                <a:rPr lang="en-AU" sz="397" dirty="0">
                  <a:solidFill>
                    <a:srgbClr val="231F20"/>
                  </a:solidFill>
                  <a:latin typeface="Open Sans"/>
                  <a:cs typeface="Verdana"/>
                </a:rPr>
                <a:t>Sha</a:t>
              </a:r>
              <a:r>
                <a:rPr lang="en-AU" sz="397" spc="-5" dirty="0">
                  <a:solidFill>
                    <a:srgbClr val="231F20"/>
                  </a:solidFill>
                  <a:latin typeface="Open Sans"/>
                  <a:cs typeface="Verdana"/>
                </a:rPr>
                <a:t>r</a:t>
              </a:r>
              <a:r>
                <a:rPr lang="en-AU" sz="397" dirty="0">
                  <a:solidFill>
                    <a:srgbClr val="231F20"/>
                  </a:solidFill>
                  <a:latin typeface="Open Sans"/>
                  <a:cs typeface="Verdana"/>
                </a:rPr>
                <a:t>ed</a:t>
              </a:r>
              <a:r>
                <a:rPr lang="en-AU" sz="397" spc="-22" dirty="0">
                  <a:solidFill>
                    <a:srgbClr val="231F20"/>
                  </a:solidFill>
                  <a:latin typeface="Open Sans"/>
                  <a:cs typeface="Verdana"/>
                </a:rPr>
                <a:t> </a:t>
              </a:r>
              <a:r>
                <a:rPr lang="en-AU" sz="397" dirty="0">
                  <a:solidFill>
                    <a:srgbClr val="231F20"/>
                  </a:solidFill>
                  <a:latin typeface="Open Sans"/>
                  <a:cs typeface="Verdana"/>
                </a:rPr>
                <a:t>Se</a:t>
              </a:r>
              <a:r>
                <a:rPr lang="en-AU" sz="397" spc="-5" dirty="0">
                  <a:solidFill>
                    <a:srgbClr val="231F20"/>
                  </a:solidFill>
                  <a:latin typeface="Open Sans"/>
                  <a:cs typeface="Verdana"/>
                </a:rPr>
                <a:t>r</a:t>
              </a:r>
              <a:r>
                <a:rPr lang="en-AU" sz="397" spc="-9" dirty="0">
                  <a:solidFill>
                    <a:srgbClr val="231F20"/>
                  </a:solidFill>
                  <a:latin typeface="Open Sans"/>
                  <a:cs typeface="Verdana"/>
                </a:rPr>
                <a:t>vi</a:t>
              </a:r>
              <a:r>
                <a:rPr lang="en-AU" sz="397" dirty="0">
                  <a:solidFill>
                    <a:srgbClr val="231F20"/>
                  </a:solidFill>
                  <a:latin typeface="Open Sans"/>
                  <a:cs typeface="Verdana"/>
                </a:rPr>
                <a:t>ce</a:t>
              </a:r>
              <a:r>
                <a:rPr lang="hu-HU" sz="397" dirty="0">
                  <a:solidFill>
                    <a:srgbClr val="231F20"/>
                  </a:solidFill>
                  <a:latin typeface="Open Sans"/>
                  <a:cs typeface="Verdana"/>
                </a:rPr>
                <a:t>s</a:t>
              </a:r>
              <a:endParaRPr lang="en-AU" sz="397" dirty="0">
                <a:solidFill>
                  <a:srgbClr val="000000"/>
                </a:solidFill>
                <a:latin typeface="Open Sans"/>
                <a:cs typeface="Verdana"/>
              </a:endParaRPr>
            </a:p>
          </p:txBody>
        </p:sp>
        <p:sp>
          <p:nvSpPr>
            <p:cNvPr id="1294" name="object 284">
              <a:extLst>
                <a:ext uri="{FF2B5EF4-FFF2-40B4-BE49-F238E27FC236}">
                  <a16:creationId xmlns:a16="http://schemas.microsoft.com/office/drawing/2014/main" id="{0030FA3B-3C6B-C457-EDD8-41153B8ED57D}"/>
                </a:ext>
              </a:extLst>
            </p:cNvPr>
            <p:cNvSpPr/>
            <p:nvPr/>
          </p:nvSpPr>
          <p:spPr>
            <a:xfrm>
              <a:off x="628337" y="5398411"/>
              <a:ext cx="2260820" cy="90027"/>
            </a:xfrm>
            <a:prstGeom prst="rect">
              <a:avLst/>
            </a:prstGeom>
            <a:blipFill>
              <a:blip r:embed="rId15" cstate="email">
                <a:extLst>
                  <a:ext uri="{28A0092B-C50C-407E-A947-70E740481C1C}">
                    <a14:useLocalDpi xmlns:a14="http://schemas.microsoft.com/office/drawing/2010/main"/>
                  </a:ext>
                </a:extLst>
              </a:blip>
              <a:stretch>
                <a:fillRect/>
              </a:stretch>
            </a:blipFill>
          </p:spPr>
          <p:txBody>
            <a:bodyPr wrap="square" lIns="0" tIns="0" rIns="0" bIns="0" rtlCol="0"/>
            <a:lstStyle/>
            <a:p>
              <a:pPr>
                <a:defRPr/>
              </a:pPr>
              <a:endParaRPr lang="en-AU" sz="1368" dirty="0">
                <a:solidFill>
                  <a:srgbClr val="000000"/>
                </a:solidFill>
                <a:latin typeface="Open Sans"/>
              </a:endParaRPr>
            </a:p>
          </p:txBody>
        </p:sp>
        <p:sp>
          <p:nvSpPr>
            <p:cNvPr id="1295" name="object 285">
              <a:extLst>
                <a:ext uri="{FF2B5EF4-FFF2-40B4-BE49-F238E27FC236}">
                  <a16:creationId xmlns:a16="http://schemas.microsoft.com/office/drawing/2014/main" id="{78ACBE0E-2FA7-3755-F407-D9B0577D013E}"/>
                </a:ext>
              </a:extLst>
            </p:cNvPr>
            <p:cNvSpPr/>
            <p:nvPr/>
          </p:nvSpPr>
          <p:spPr>
            <a:xfrm>
              <a:off x="646187" y="5443424"/>
              <a:ext cx="2225289" cy="0"/>
            </a:xfrm>
            <a:custGeom>
              <a:avLst/>
              <a:gdLst/>
              <a:ahLst/>
              <a:cxnLst/>
              <a:rect l="l" t="t" r="r" b="b"/>
              <a:pathLst>
                <a:path w="1710055">
                  <a:moveTo>
                    <a:pt x="0" y="0"/>
                  </a:moveTo>
                  <a:lnTo>
                    <a:pt x="1709927" y="0"/>
                  </a:lnTo>
                </a:path>
              </a:pathLst>
            </a:custGeom>
            <a:ln w="56387">
              <a:solidFill>
                <a:srgbClr val="A0DC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grpSp>
          <p:nvGrpSpPr>
            <p:cNvPr id="1296" name="Group 1295">
              <a:extLst>
                <a:ext uri="{FF2B5EF4-FFF2-40B4-BE49-F238E27FC236}">
                  <a16:creationId xmlns:a16="http://schemas.microsoft.com/office/drawing/2014/main" id="{C5DA5675-FCA7-C3E6-CFB7-CE3FF061DD1A}"/>
                </a:ext>
              </a:extLst>
            </p:cNvPr>
            <p:cNvGrpSpPr/>
            <p:nvPr/>
          </p:nvGrpSpPr>
          <p:grpSpPr>
            <a:xfrm>
              <a:off x="820705" y="5506442"/>
              <a:ext cx="382421" cy="625275"/>
              <a:chOff x="820705" y="5506442"/>
              <a:chExt cx="382421" cy="625275"/>
            </a:xfrm>
          </p:grpSpPr>
          <p:sp>
            <p:nvSpPr>
              <p:cNvPr id="1297" name="object 290">
                <a:extLst>
                  <a:ext uri="{FF2B5EF4-FFF2-40B4-BE49-F238E27FC236}">
                    <a16:creationId xmlns:a16="http://schemas.microsoft.com/office/drawing/2014/main" id="{96E4895B-AD60-7706-E0D1-BCA0F60E669E}"/>
                  </a:ext>
                </a:extLst>
              </p:cNvPr>
              <p:cNvSpPr/>
              <p:nvPr/>
            </p:nvSpPr>
            <p:spPr>
              <a:xfrm>
                <a:off x="820705" y="5506442"/>
                <a:ext cx="329206" cy="180573"/>
              </a:xfrm>
              <a:prstGeom prst="rect">
                <a:avLst/>
              </a:prstGeom>
              <a:blipFill>
                <a:blip r:embed="rId7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98" name="object 291">
                <a:extLst>
                  <a:ext uri="{FF2B5EF4-FFF2-40B4-BE49-F238E27FC236}">
                    <a16:creationId xmlns:a16="http://schemas.microsoft.com/office/drawing/2014/main" id="{40A8A8D2-AA41-3F1E-CE88-11AA28C3C98B}"/>
                  </a:ext>
                </a:extLst>
              </p:cNvPr>
              <p:cNvSpPr/>
              <p:nvPr/>
            </p:nvSpPr>
            <p:spPr>
              <a:xfrm>
                <a:off x="820705" y="5532633"/>
                <a:ext cx="360937" cy="599084"/>
              </a:xfrm>
              <a:prstGeom prst="rect">
                <a:avLst/>
              </a:prstGeom>
              <a:blipFill>
                <a:blip r:embed="rId8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299" name="object 292">
                <a:extLst>
                  <a:ext uri="{FF2B5EF4-FFF2-40B4-BE49-F238E27FC236}">
                    <a16:creationId xmlns:a16="http://schemas.microsoft.com/office/drawing/2014/main" id="{538E8DE7-431F-7108-95C7-EF6EE7B42E7A}"/>
                  </a:ext>
                </a:extLst>
              </p:cNvPr>
              <p:cNvSpPr/>
              <p:nvPr/>
            </p:nvSpPr>
            <p:spPr>
              <a:xfrm>
                <a:off x="835564" y="5521173"/>
                <a:ext cx="328230" cy="596083"/>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00" name="object 293">
                <a:extLst>
                  <a:ext uri="{FF2B5EF4-FFF2-40B4-BE49-F238E27FC236}">
                    <a16:creationId xmlns:a16="http://schemas.microsoft.com/office/drawing/2014/main" id="{879837E9-386C-C353-CA5E-00810C56BC2E}"/>
                  </a:ext>
                </a:extLst>
              </p:cNvPr>
              <p:cNvSpPr txBox="1"/>
              <p:nvPr/>
            </p:nvSpPr>
            <p:spPr>
              <a:xfrm>
                <a:off x="856401" y="5705849"/>
                <a:ext cx="346725" cy="135678"/>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Primary</a:t>
                </a:r>
                <a:r>
                  <a:rPr kumimoji="0" lang="hu-H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division</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sp>
          <p:nvSpPr>
            <p:cNvPr id="1301" name="object 371">
              <a:extLst>
                <a:ext uri="{FF2B5EF4-FFF2-40B4-BE49-F238E27FC236}">
                  <a16:creationId xmlns:a16="http://schemas.microsoft.com/office/drawing/2014/main" id="{FF9CE8D4-DC38-C673-B464-0F6AF3CA5A10}"/>
                </a:ext>
              </a:extLst>
            </p:cNvPr>
            <p:cNvSpPr txBox="1"/>
            <p:nvPr/>
          </p:nvSpPr>
          <p:spPr>
            <a:xfrm>
              <a:off x="1257171" y="5421623"/>
              <a:ext cx="959361" cy="67839"/>
            </a:xfrm>
            <a:prstGeom prst="rect">
              <a:avLst/>
            </a:prstGeom>
          </p:spPr>
          <p:txBody>
            <a:bodyPr vert="horz" wrap="square" lIns="0" tIns="0" rIns="0" bIns="0" rtlCol="0">
              <a:spAutoFit/>
            </a:bodyPr>
            <a:lstStyle/>
            <a:p>
              <a:pPr marL="3922" algn="ctr">
                <a:defRPr/>
              </a:pPr>
              <a:r>
                <a:rPr lang="en-AU" sz="441" dirty="0">
                  <a:solidFill>
                    <a:srgbClr val="FFFFFF"/>
                  </a:solidFill>
                  <a:latin typeface="Open Sans"/>
                  <a:cs typeface="Open Sans" panose="020B0606030504020204" pitchFamily="34" charset="0"/>
                </a:rPr>
                <a:t>Management</a:t>
              </a:r>
              <a:endParaRPr lang="en-AU" sz="441" dirty="0">
                <a:solidFill>
                  <a:srgbClr val="000000"/>
                </a:solidFill>
                <a:latin typeface="Open Sans"/>
                <a:cs typeface="Open Sans" panose="020B0606030504020204" pitchFamily="34" charset="0"/>
              </a:endParaRPr>
            </a:p>
          </p:txBody>
        </p:sp>
        <p:sp>
          <p:nvSpPr>
            <p:cNvPr id="1302" name="object 293">
              <a:extLst>
                <a:ext uri="{FF2B5EF4-FFF2-40B4-BE49-F238E27FC236}">
                  <a16:creationId xmlns:a16="http://schemas.microsoft.com/office/drawing/2014/main" id="{4864A2A3-54E3-9A4C-859E-ACCC97D2CBAD}"/>
                </a:ext>
              </a:extLst>
            </p:cNvPr>
            <p:cNvSpPr txBox="1"/>
            <p:nvPr/>
          </p:nvSpPr>
          <p:spPr>
            <a:xfrm>
              <a:off x="1572162" y="6203171"/>
              <a:ext cx="385067" cy="67839"/>
            </a:xfrm>
            <a:prstGeom prst="rect">
              <a:avLst/>
            </a:prstGeom>
          </p:spPr>
          <p:txBody>
            <a:bodyPr vert="horz" wrap="square" lIns="0" tIns="0" rIns="0" bIns="0" rtlCol="0">
              <a:spAutoFit/>
            </a:bodyPr>
            <a:lstStyle/>
            <a:p>
              <a:pPr marL="11206" algn="ctr">
                <a:defRPr/>
              </a:pPr>
              <a:r>
                <a:rPr lang="hu-HU" sz="441" spc="-5" dirty="0" err="1">
                  <a:solidFill>
                    <a:srgbClr val="231F20"/>
                  </a:solidFill>
                  <a:latin typeface="Open Sans"/>
                  <a:cs typeface="Open Sans" panose="020B0606030504020204" pitchFamily="34" charset="0"/>
                </a:rPr>
                <a:t>Function</a:t>
              </a:r>
              <a:r>
                <a:rPr lang="hu-HU" sz="441" spc="-5" dirty="0">
                  <a:solidFill>
                    <a:srgbClr val="231F20"/>
                  </a:solidFill>
                  <a:latin typeface="Open Sans"/>
                  <a:cs typeface="Open Sans" panose="020B0606030504020204" pitchFamily="34" charset="0"/>
                </a:rPr>
                <a:t> 1</a:t>
              </a:r>
              <a:endParaRPr lang="en-AU" sz="441" dirty="0">
                <a:solidFill>
                  <a:srgbClr val="000000"/>
                </a:solidFill>
                <a:latin typeface="Open Sans"/>
                <a:cs typeface="Open Sans" panose="020B0606030504020204" pitchFamily="34" charset="0"/>
              </a:endParaRPr>
            </a:p>
          </p:txBody>
        </p:sp>
        <p:sp>
          <p:nvSpPr>
            <p:cNvPr id="1303" name="object 293">
              <a:extLst>
                <a:ext uri="{FF2B5EF4-FFF2-40B4-BE49-F238E27FC236}">
                  <a16:creationId xmlns:a16="http://schemas.microsoft.com/office/drawing/2014/main" id="{8237AB8E-46F9-FF02-D008-416807B8A990}"/>
                </a:ext>
              </a:extLst>
            </p:cNvPr>
            <p:cNvSpPr txBox="1"/>
            <p:nvPr/>
          </p:nvSpPr>
          <p:spPr>
            <a:xfrm>
              <a:off x="1572162" y="6355169"/>
              <a:ext cx="385067" cy="67839"/>
            </a:xfrm>
            <a:prstGeom prst="rect">
              <a:avLst/>
            </a:prstGeom>
          </p:spPr>
          <p:txBody>
            <a:bodyPr vert="horz" wrap="square" lIns="0" tIns="0" rIns="0" bIns="0" rtlCol="0">
              <a:spAutoFit/>
            </a:bodyPr>
            <a:lstStyle/>
            <a:p>
              <a:pPr marL="11206" algn="ctr">
                <a:defRPr/>
              </a:pPr>
              <a:r>
                <a:rPr lang="hu-HU" sz="441" spc="-5" dirty="0" err="1">
                  <a:solidFill>
                    <a:srgbClr val="231F20"/>
                  </a:solidFill>
                  <a:latin typeface="Open Sans"/>
                  <a:cs typeface="Open Sans" panose="020B0606030504020204" pitchFamily="34" charset="0"/>
                </a:rPr>
                <a:t>Function</a:t>
              </a:r>
              <a:r>
                <a:rPr lang="hu-HU" sz="441" spc="-5" dirty="0">
                  <a:solidFill>
                    <a:srgbClr val="231F20"/>
                  </a:solidFill>
                  <a:latin typeface="Open Sans"/>
                  <a:cs typeface="Open Sans" panose="020B0606030504020204" pitchFamily="34" charset="0"/>
                </a:rPr>
                <a:t> 2</a:t>
              </a:r>
              <a:endParaRPr lang="en-AU" sz="441" dirty="0">
                <a:solidFill>
                  <a:srgbClr val="000000"/>
                </a:solidFill>
                <a:latin typeface="Open Sans"/>
                <a:cs typeface="Open Sans" panose="020B0606030504020204" pitchFamily="34" charset="0"/>
              </a:endParaRPr>
            </a:p>
          </p:txBody>
        </p:sp>
        <p:sp>
          <p:nvSpPr>
            <p:cNvPr id="1304" name="object 293">
              <a:extLst>
                <a:ext uri="{FF2B5EF4-FFF2-40B4-BE49-F238E27FC236}">
                  <a16:creationId xmlns:a16="http://schemas.microsoft.com/office/drawing/2014/main" id="{128C2A27-8C7D-1878-AA52-1D02DEA11466}"/>
                </a:ext>
              </a:extLst>
            </p:cNvPr>
            <p:cNvSpPr txBox="1"/>
            <p:nvPr/>
          </p:nvSpPr>
          <p:spPr>
            <a:xfrm>
              <a:off x="1572162" y="6513155"/>
              <a:ext cx="385067" cy="67839"/>
            </a:xfrm>
            <a:prstGeom prst="rect">
              <a:avLst/>
            </a:prstGeom>
          </p:spPr>
          <p:txBody>
            <a:bodyPr vert="horz" wrap="square" lIns="0" tIns="0" rIns="0" bIns="0" rtlCol="0">
              <a:spAutoFit/>
            </a:bodyPr>
            <a:lstStyle/>
            <a:p>
              <a:pPr marL="11206" algn="ctr">
                <a:defRPr/>
              </a:pPr>
              <a:r>
                <a:rPr lang="hu-HU" sz="441" spc="-5" dirty="0" err="1">
                  <a:solidFill>
                    <a:srgbClr val="231F20"/>
                  </a:solidFill>
                  <a:latin typeface="Open Sans"/>
                  <a:cs typeface="Open Sans" panose="020B0606030504020204" pitchFamily="34" charset="0"/>
                </a:rPr>
                <a:t>Function</a:t>
              </a:r>
              <a:r>
                <a:rPr lang="hu-HU" sz="441" spc="-5" dirty="0">
                  <a:solidFill>
                    <a:srgbClr val="231F20"/>
                  </a:solidFill>
                  <a:latin typeface="Open Sans"/>
                  <a:cs typeface="Open Sans" panose="020B0606030504020204" pitchFamily="34" charset="0"/>
                </a:rPr>
                <a:t> 3</a:t>
              </a:r>
              <a:endParaRPr lang="en-AU" sz="441" dirty="0">
                <a:solidFill>
                  <a:srgbClr val="000000"/>
                </a:solidFill>
                <a:latin typeface="Open Sans"/>
                <a:cs typeface="Open Sans" panose="020B0606030504020204" pitchFamily="34" charset="0"/>
              </a:endParaRPr>
            </a:p>
          </p:txBody>
        </p:sp>
        <p:sp>
          <p:nvSpPr>
            <p:cNvPr id="1305" name="TextBox 1304">
              <a:extLst>
                <a:ext uri="{FF2B5EF4-FFF2-40B4-BE49-F238E27FC236}">
                  <a16:creationId xmlns:a16="http://schemas.microsoft.com/office/drawing/2014/main" id="{8BE00356-8E79-4337-B57E-B44AA70AD2F5}"/>
                </a:ext>
              </a:extLst>
            </p:cNvPr>
            <p:cNvSpPr txBox="1"/>
            <p:nvPr/>
          </p:nvSpPr>
          <p:spPr>
            <a:xfrm>
              <a:off x="780366" y="5096221"/>
              <a:ext cx="2039380" cy="234836"/>
            </a:xfrm>
            <a:prstGeom prst="rect">
              <a:avLst/>
            </a:prstGeom>
            <a:noFill/>
          </p:spPr>
          <p:txBody>
            <a:bodyPr wrap="square" lIns="0" tIns="0" rIns="0" bIns="0" rtlCol="0">
              <a:noAutofit/>
            </a:bodyPr>
            <a:lstStyle/>
            <a:p>
              <a:pPr>
                <a:spcBef>
                  <a:spcPts val="600"/>
                </a:spcBef>
                <a:buSzPct val="100000"/>
              </a:pPr>
              <a:r>
                <a:rPr lang="hu-HU" sz="1200" dirty="0" err="1">
                  <a:solidFill>
                    <a:prstClr val="black"/>
                  </a:solidFill>
                  <a:latin typeface="Open Sans"/>
                </a:rPr>
                <a:t>Matrix</a:t>
              </a:r>
              <a:r>
                <a:rPr lang="hu-HU" sz="1200" dirty="0">
                  <a:solidFill>
                    <a:prstClr val="black"/>
                  </a:solidFill>
                  <a:latin typeface="Open Sans"/>
                </a:rPr>
                <a:t> </a:t>
              </a:r>
              <a:r>
                <a:rPr lang="hu-HU" sz="1200" dirty="0" err="1">
                  <a:solidFill>
                    <a:prstClr val="black"/>
                  </a:solidFill>
                  <a:latin typeface="Open Sans"/>
                </a:rPr>
                <a:t>oriented</a:t>
              </a:r>
              <a:endParaRPr lang="hu-HU" sz="1200" dirty="0">
                <a:solidFill>
                  <a:prstClr val="black"/>
                </a:solidFill>
                <a:latin typeface="Open Sans"/>
              </a:endParaRPr>
            </a:p>
          </p:txBody>
        </p:sp>
        <p:sp>
          <p:nvSpPr>
            <p:cNvPr id="1306" name="Oval 1305">
              <a:extLst>
                <a:ext uri="{FF2B5EF4-FFF2-40B4-BE49-F238E27FC236}">
                  <a16:creationId xmlns:a16="http://schemas.microsoft.com/office/drawing/2014/main" id="{5F2CDC7D-224F-0973-4FD9-A8CB3DE9A0DF}"/>
                </a:ext>
              </a:extLst>
            </p:cNvPr>
            <p:cNvSpPr/>
            <p:nvPr/>
          </p:nvSpPr>
          <p:spPr bwMode="gray">
            <a:xfrm>
              <a:off x="519386" y="5074968"/>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noProof="0" dirty="0">
                  <a:ln>
                    <a:noFill/>
                  </a:ln>
                  <a:solidFill>
                    <a:prstClr val="black"/>
                  </a:solidFill>
                  <a:effectLst/>
                  <a:uLnTx/>
                  <a:uFillTx/>
                  <a:latin typeface="Open Sans"/>
                </a:rPr>
                <a:t>7</a:t>
              </a:r>
            </a:p>
          </p:txBody>
        </p:sp>
        <p:grpSp>
          <p:nvGrpSpPr>
            <p:cNvPr id="1307" name="Group 1306">
              <a:extLst>
                <a:ext uri="{FF2B5EF4-FFF2-40B4-BE49-F238E27FC236}">
                  <a16:creationId xmlns:a16="http://schemas.microsoft.com/office/drawing/2014/main" id="{FA869037-6930-A3B5-5507-34D5D0CF7376}"/>
                </a:ext>
              </a:extLst>
            </p:cNvPr>
            <p:cNvGrpSpPr/>
            <p:nvPr/>
          </p:nvGrpSpPr>
          <p:grpSpPr>
            <a:xfrm>
              <a:off x="1222800" y="5505396"/>
              <a:ext cx="382421" cy="625275"/>
              <a:chOff x="1222800" y="5505396"/>
              <a:chExt cx="382421" cy="625275"/>
            </a:xfrm>
          </p:grpSpPr>
          <p:sp>
            <p:nvSpPr>
              <p:cNvPr id="1308" name="object 290">
                <a:extLst>
                  <a:ext uri="{FF2B5EF4-FFF2-40B4-BE49-F238E27FC236}">
                    <a16:creationId xmlns:a16="http://schemas.microsoft.com/office/drawing/2014/main" id="{62C3A81E-62AD-E0CD-5224-DF7D91790AD5}"/>
                  </a:ext>
                </a:extLst>
              </p:cNvPr>
              <p:cNvSpPr/>
              <p:nvPr/>
            </p:nvSpPr>
            <p:spPr>
              <a:xfrm>
                <a:off x="1222800" y="5505396"/>
                <a:ext cx="329206" cy="180573"/>
              </a:xfrm>
              <a:prstGeom prst="rect">
                <a:avLst/>
              </a:prstGeom>
              <a:blipFill>
                <a:blip r:embed="rId7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09" name="object 291">
                <a:extLst>
                  <a:ext uri="{FF2B5EF4-FFF2-40B4-BE49-F238E27FC236}">
                    <a16:creationId xmlns:a16="http://schemas.microsoft.com/office/drawing/2014/main" id="{08672785-1979-EAA3-9B8F-5D963972545D}"/>
                  </a:ext>
                </a:extLst>
              </p:cNvPr>
              <p:cNvSpPr/>
              <p:nvPr/>
            </p:nvSpPr>
            <p:spPr>
              <a:xfrm>
                <a:off x="1222800" y="5531587"/>
                <a:ext cx="360937" cy="599084"/>
              </a:xfrm>
              <a:prstGeom prst="rect">
                <a:avLst/>
              </a:prstGeom>
              <a:blipFill>
                <a:blip r:embed="rId8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10" name="object 292">
                <a:extLst>
                  <a:ext uri="{FF2B5EF4-FFF2-40B4-BE49-F238E27FC236}">
                    <a16:creationId xmlns:a16="http://schemas.microsoft.com/office/drawing/2014/main" id="{B022BC07-EAF2-86C2-7057-A9038D282BE5}"/>
                  </a:ext>
                </a:extLst>
              </p:cNvPr>
              <p:cNvSpPr/>
              <p:nvPr/>
            </p:nvSpPr>
            <p:spPr>
              <a:xfrm>
                <a:off x="1237659" y="5520127"/>
                <a:ext cx="328230" cy="596083"/>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11" name="object 293">
                <a:extLst>
                  <a:ext uri="{FF2B5EF4-FFF2-40B4-BE49-F238E27FC236}">
                    <a16:creationId xmlns:a16="http://schemas.microsoft.com/office/drawing/2014/main" id="{62E7C5BE-665E-6FB3-02E3-2321556588A6}"/>
                  </a:ext>
                </a:extLst>
              </p:cNvPr>
              <p:cNvSpPr txBox="1"/>
              <p:nvPr/>
            </p:nvSpPr>
            <p:spPr>
              <a:xfrm>
                <a:off x="1258496" y="5704803"/>
                <a:ext cx="346725" cy="135678"/>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Primary</a:t>
                </a:r>
                <a:r>
                  <a:rPr kumimoji="0" lang="hu-H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division</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grpSp>
          <p:nvGrpSpPr>
            <p:cNvPr id="1312" name="Group 1311">
              <a:extLst>
                <a:ext uri="{FF2B5EF4-FFF2-40B4-BE49-F238E27FC236}">
                  <a16:creationId xmlns:a16="http://schemas.microsoft.com/office/drawing/2014/main" id="{7DCA2124-4643-C574-CB54-796E547B6AB0}"/>
                </a:ext>
              </a:extLst>
            </p:cNvPr>
            <p:cNvGrpSpPr/>
            <p:nvPr/>
          </p:nvGrpSpPr>
          <p:grpSpPr>
            <a:xfrm>
              <a:off x="1651327" y="5506442"/>
              <a:ext cx="382421" cy="625275"/>
              <a:chOff x="1222800" y="5505396"/>
              <a:chExt cx="382421" cy="625275"/>
            </a:xfrm>
          </p:grpSpPr>
          <p:sp>
            <p:nvSpPr>
              <p:cNvPr id="1313" name="object 290">
                <a:extLst>
                  <a:ext uri="{FF2B5EF4-FFF2-40B4-BE49-F238E27FC236}">
                    <a16:creationId xmlns:a16="http://schemas.microsoft.com/office/drawing/2014/main" id="{9E25BA81-5602-50D2-5BCF-C1D7271E74E9}"/>
                  </a:ext>
                </a:extLst>
              </p:cNvPr>
              <p:cNvSpPr/>
              <p:nvPr/>
            </p:nvSpPr>
            <p:spPr>
              <a:xfrm>
                <a:off x="1222800" y="5505396"/>
                <a:ext cx="329206" cy="180573"/>
              </a:xfrm>
              <a:prstGeom prst="rect">
                <a:avLst/>
              </a:prstGeom>
              <a:blipFill>
                <a:blip r:embed="rId7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14" name="object 291">
                <a:extLst>
                  <a:ext uri="{FF2B5EF4-FFF2-40B4-BE49-F238E27FC236}">
                    <a16:creationId xmlns:a16="http://schemas.microsoft.com/office/drawing/2014/main" id="{F8E83088-9E13-9796-AF8E-4C608F40BCDE}"/>
                  </a:ext>
                </a:extLst>
              </p:cNvPr>
              <p:cNvSpPr/>
              <p:nvPr/>
            </p:nvSpPr>
            <p:spPr>
              <a:xfrm>
                <a:off x="1222800" y="5531587"/>
                <a:ext cx="360937" cy="599084"/>
              </a:xfrm>
              <a:prstGeom prst="rect">
                <a:avLst/>
              </a:prstGeom>
              <a:blipFill>
                <a:blip r:embed="rId8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15" name="object 292">
                <a:extLst>
                  <a:ext uri="{FF2B5EF4-FFF2-40B4-BE49-F238E27FC236}">
                    <a16:creationId xmlns:a16="http://schemas.microsoft.com/office/drawing/2014/main" id="{82FC720B-6DD3-1961-38F7-7A5422C8D84F}"/>
                  </a:ext>
                </a:extLst>
              </p:cNvPr>
              <p:cNvSpPr/>
              <p:nvPr/>
            </p:nvSpPr>
            <p:spPr>
              <a:xfrm>
                <a:off x="1237659" y="5520127"/>
                <a:ext cx="328230" cy="596083"/>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16" name="object 293">
                <a:extLst>
                  <a:ext uri="{FF2B5EF4-FFF2-40B4-BE49-F238E27FC236}">
                    <a16:creationId xmlns:a16="http://schemas.microsoft.com/office/drawing/2014/main" id="{47094C4D-DB3C-A2F3-7208-C8C6CBDEED80}"/>
                  </a:ext>
                </a:extLst>
              </p:cNvPr>
              <p:cNvSpPr txBox="1"/>
              <p:nvPr/>
            </p:nvSpPr>
            <p:spPr>
              <a:xfrm>
                <a:off x="1258496" y="5704803"/>
                <a:ext cx="346725" cy="135678"/>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Primary</a:t>
                </a:r>
                <a:r>
                  <a:rPr kumimoji="0" lang="hu-H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division</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grpSp>
          <p:nvGrpSpPr>
            <p:cNvPr id="1317" name="Group 1316">
              <a:extLst>
                <a:ext uri="{FF2B5EF4-FFF2-40B4-BE49-F238E27FC236}">
                  <a16:creationId xmlns:a16="http://schemas.microsoft.com/office/drawing/2014/main" id="{C9661F62-5D0E-51B1-12BB-6A005DABB658}"/>
                </a:ext>
              </a:extLst>
            </p:cNvPr>
            <p:cNvGrpSpPr/>
            <p:nvPr/>
          </p:nvGrpSpPr>
          <p:grpSpPr>
            <a:xfrm>
              <a:off x="1236016" y="5506442"/>
              <a:ext cx="382421" cy="625275"/>
              <a:chOff x="1222800" y="5505396"/>
              <a:chExt cx="382421" cy="625275"/>
            </a:xfrm>
          </p:grpSpPr>
          <p:sp>
            <p:nvSpPr>
              <p:cNvPr id="1318" name="object 290">
                <a:extLst>
                  <a:ext uri="{FF2B5EF4-FFF2-40B4-BE49-F238E27FC236}">
                    <a16:creationId xmlns:a16="http://schemas.microsoft.com/office/drawing/2014/main" id="{235BF3B1-78C3-46C5-F9DE-9E54B5F8F5E3}"/>
                  </a:ext>
                </a:extLst>
              </p:cNvPr>
              <p:cNvSpPr/>
              <p:nvPr/>
            </p:nvSpPr>
            <p:spPr>
              <a:xfrm>
                <a:off x="1222800" y="5505396"/>
                <a:ext cx="329206" cy="180573"/>
              </a:xfrm>
              <a:prstGeom prst="rect">
                <a:avLst/>
              </a:prstGeom>
              <a:blipFill>
                <a:blip r:embed="rId7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19" name="object 291">
                <a:extLst>
                  <a:ext uri="{FF2B5EF4-FFF2-40B4-BE49-F238E27FC236}">
                    <a16:creationId xmlns:a16="http://schemas.microsoft.com/office/drawing/2014/main" id="{4C5EFB6B-8FCE-9913-0FB9-CBFBBA0FA981}"/>
                  </a:ext>
                </a:extLst>
              </p:cNvPr>
              <p:cNvSpPr/>
              <p:nvPr/>
            </p:nvSpPr>
            <p:spPr>
              <a:xfrm>
                <a:off x="1222800" y="5531587"/>
                <a:ext cx="360937" cy="599084"/>
              </a:xfrm>
              <a:prstGeom prst="rect">
                <a:avLst/>
              </a:prstGeom>
              <a:blipFill>
                <a:blip r:embed="rId8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20" name="object 292">
                <a:extLst>
                  <a:ext uri="{FF2B5EF4-FFF2-40B4-BE49-F238E27FC236}">
                    <a16:creationId xmlns:a16="http://schemas.microsoft.com/office/drawing/2014/main" id="{592B78C4-D059-F1FE-06A2-0959DB84CB45}"/>
                  </a:ext>
                </a:extLst>
              </p:cNvPr>
              <p:cNvSpPr/>
              <p:nvPr/>
            </p:nvSpPr>
            <p:spPr>
              <a:xfrm>
                <a:off x="1237659" y="5520127"/>
                <a:ext cx="328230" cy="596083"/>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21" name="object 293">
                <a:extLst>
                  <a:ext uri="{FF2B5EF4-FFF2-40B4-BE49-F238E27FC236}">
                    <a16:creationId xmlns:a16="http://schemas.microsoft.com/office/drawing/2014/main" id="{30B5A0D2-CC5D-E5A3-656C-BD2FCBAF63AE}"/>
                  </a:ext>
                </a:extLst>
              </p:cNvPr>
              <p:cNvSpPr txBox="1"/>
              <p:nvPr/>
            </p:nvSpPr>
            <p:spPr>
              <a:xfrm>
                <a:off x="1258496" y="5704803"/>
                <a:ext cx="346725" cy="135678"/>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Primary</a:t>
                </a:r>
                <a:r>
                  <a:rPr kumimoji="0" lang="hu-H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division</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grpSp>
          <p:nvGrpSpPr>
            <p:cNvPr id="1322" name="Group 1321">
              <a:extLst>
                <a:ext uri="{FF2B5EF4-FFF2-40B4-BE49-F238E27FC236}">
                  <a16:creationId xmlns:a16="http://schemas.microsoft.com/office/drawing/2014/main" id="{998E1217-1F20-36F5-DCF6-12ECAEF5D668}"/>
                </a:ext>
              </a:extLst>
            </p:cNvPr>
            <p:cNvGrpSpPr/>
            <p:nvPr/>
          </p:nvGrpSpPr>
          <p:grpSpPr>
            <a:xfrm>
              <a:off x="2066638" y="5506442"/>
              <a:ext cx="382421" cy="625275"/>
              <a:chOff x="1222800" y="5505396"/>
              <a:chExt cx="382421" cy="625275"/>
            </a:xfrm>
          </p:grpSpPr>
          <p:sp>
            <p:nvSpPr>
              <p:cNvPr id="1323" name="object 290">
                <a:extLst>
                  <a:ext uri="{FF2B5EF4-FFF2-40B4-BE49-F238E27FC236}">
                    <a16:creationId xmlns:a16="http://schemas.microsoft.com/office/drawing/2014/main" id="{B8E553EC-BBD0-0805-8753-74FFF740AB43}"/>
                  </a:ext>
                </a:extLst>
              </p:cNvPr>
              <p:cNvSpPr/>
              <p:nvPr/>
            </p:nvSpPr>
            <p:spPr>
              <a:xfrm>
                <a:off x="1222800" y="5505396"/>
                <a:ext cx="329206" cy="180573"/>
              </a:xfrm>
              <a:prstGeom prst="rect">
                <a:avLst/>
              </a:prstGeom>
              <a:blipFill>
                <a:blip r:embed="rId7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24" name="object 291">
                <a:extLst>
                  <a:ext uri="{FF2B5EF4-FFF2-40B4-BE49-F238E27FC236}">
                    <a16:creationId xmlns:a16="http://schemas.microsoft.com/office/drawing/2014/main" id="{984B4169-0287-EED6-A480-C502446C87F9}"/>
                  </a:ext>
                </a:extLst>
              </p:cNvPr>
              <p:cNvSpPr/>
              <p:nvPr/>
            </p:nvSpPr>
            <p:spPr>
              <a:xfrm>
                <a:off x="1222800" y="5531587"/>
                <a:ext cx="360937" cy="599084"/>
              </a:xfrm>
              <a:prstGeom prst="rect">
                <a:avLst/>
              </a:prstGeom>
              <a:blipFill>
                <a:blip r:embed="rId8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25" name="object 292">
                <a:extLst>
                  <a:ext uri="{FF2B5EF4-FFF2-40B4-BE49-F238E27FC236}">
                    <a16:creationId xmlns:a16="http://schemas.microsoft.com/office/drawing/2014/main" id="{DC79861C-79D1-26E7-447E-F0D22052EEC4}"/>
                  </a:ext>
                </a:extLst>
              </p:cNvPr>
              <p:cNvSpPr/>
              <p:nvPr/>
            </p:nvSpPr>
            <p:spPr>
              <a:xfrm>
                <a:off x="1237659" y="5520127"/>
                <a:ext cx="328230" cy="596083"/>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26" name="object 293">
                <a:extLst>
                  <a:ext uri="{FF2B5EF4-FFF2-40B4-BE49-F238E27FC236}">
                    <a16:creationId xmlns:a16="http://schemas.microsoft.com/office/drawing/2014/main" id="{80D7C131-E603-C2E1-D4EE-0B4824F91236}"/>
                  </a:ext>
                </a:extLst>
              </p:cNvPr>
              <p:cNvSpPr txBox="1"/>
              <p:nvPr/>
            </p:nvSpPr>
            <p:spPr>
              <a:xfrm>
                <a:off x="1258496" y="5704803"/>
                <a:ext cx="346725" cy="135678"/>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Primary</a:t>
                </a:r>
                <a:r>
                  <a:rPr kumimoji="0" lang="hu-H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division</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grpSp>
          <p:nvGrpSpPr>
            <p:cNvPr id="1327" name="Group 1326">
              <a:extLst>
                <a:ext uri="{FF2B5EF4-FFF2-40B4-BE49-F238E27FC236}">
                  <a16:creationId xmlns:a16="http://schemas.microsoft.com/office/drawing/2014/main" id="{0F2D1732-D4D9-C495-2E83-92AC2D634655}"/>
                </a:ext>
              </a:extLst>
            </p:cNvPr>
            <p:cNvGrpSpPr/>
            <p:nvPr/>
          </p:nvGrpSpPr>
          <p:grpSpPr>
            <a:xfrm>
              <a:off x="2481948" y="5506442"/>
              <a:ext cx="382421" cy="625275"/>
              <a:chOff x="1222800" y="5505396"/>
              <a:chExt cx="382421" cy="625275"/>
            </a:xfrm>
          </p:grpSpPr>
          <p:sp>
            <p:nvSpPr>
              <p:cNvPr id="1328" name="object 290">
                <a:extLst>
                  <a:ext uri="{FF2B5EF4-FFF2-40B4-BE49-F238E27FC236}">
                    <a16:creationId xmlns:a16="http://schemas.microsoft.com/office/drawing/2014/main" id="{15839020-1964-B6B4-B718-57304BE79415}"/>
                  </a:ext>
                </a:extLst>
              </p:cNvPr>
              <p:cNvSpPr/>
              <p:nvPr/>
            </p:nvSpPr>
            <p:spPr>
              <a:xfrm>
                <a:off x="1222800" y="5505396"/>
                <a:ext cx="329206" cy="180573"/>
              </a:xfrm>
              <a:prstGeom prst="rect">
                <a:avLst/>
              </a:prstGeom>
              <a:blipFill>
                <a:blip r:embed="rId7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29" name="object 291">
                <a:extLst>
                  <a:ext uri="{FF2B5EF4-FFF2-40B4-BE49-F238E27FC236}">
                    <a16:creationId xmlns:a16="http://schemas.microsoft.com/office/drawing/2014/main" id="{6FB0F5E9-6310-4022-6B28-E8E2D48500AA}"/>
                  </a:ext>
                </a:extLst>
              </p:cNvPr>
              <p:cNvSpPr/>
              <p:nvPr/>
            </p:nvSpPr>
            <p:spPr>
              <a:xfrm>
                <a:off x="1222800" y="5531587"/>
                <a:ext cx="360937" cy="599084"/>
              </a:xfrm>
              <a:prstGeom prst="rect">
                <a:avLst/>
              </a:prstGeom>
              <a:blipFill>
                <a:blip r:embed="rId8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30" name="object 292">
                <a:extLst>
                  <a:ext uri="{FF2B5EF4-FFF2-40B4-BE49-F238E27FC236}">
                    <a16:creationId xmlns:a16="http://schemas.microsoft.com/office/drawing/2014/main" id="{77B77A92-EB31-619B-53E4-609840ABB208}"/>
                  </a:ext>
                </a:extLst>
              </p:cNvPr>
              <p:cNvSpPr/>
              <p:nvPr/>
            </p:nvSpPr>
            <p:spPr>
              <a:xfrm>
                <a:off x="1237659" y="5520127"/>
                <a:ext cx="328230" cy="596083"/>
              </a:xfrm>
              <a:custGeom>
                <a:avLst/>
                <a:gdLst/>
                <a:ahLst/>
                <a:cxnLst/>
                <a:rect l="l" t="t" r="r" b="b"/>
                <a:pathLst>
                  <a:path w="396240" h="554989">
                    <a:moveTo>
                      <a:pt x="0" y="0"/>
                    </a:moveTo>
                    <a:lnTo>
                      <a:pt x="0" y="554736"/>
                    </a:lnTo>
                    <a:lnTo>
                      <a:pt x="396240" y="554736"/>
                    </a:lnTo>
                    <a:lnTo>
                      <a:pt x="396240" y="0"/>
                    </a:lnTo>
                    <a:lnTo>
                      <a:pt x="0" y="0"/>
                    </a:lnTo>
                    <a:close/>
                  </a:path>
                </a:pathLst>
              </a:custGeom>
              <a:solidFill>
                <a:srgbClr val="E3E48D">
                  <a:lumMod val="20000"/>
                  <a:lumOff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368" b="0" i="0" u="none" strike="noStrike" kern="0" cap="none" spc="0" normalizeH="0" baseline="0" noProof="0" dirty="0">
                  <a:ln>
                    <a:noFill/>
                  </a:ln>
                  <a:solidFill>
                    <a:srgbClr val="000000"/>
                  </a:solidFill>
                  <a:effectLst/>
                  <a:uLnTx/>
                  <a:uFillTx/>
                  <a:latin typeface="Open Sans"/>
                </a:endParaRPr>
              </a:p>
            </p:txBody>
          </p:sp>
          <p:sp>
            <p:nvSpPr>
              <p:cNvPr id="1331" name="object 293">
                <a:extLst>
                  <a:ext uri="{FF2B5EF4-FFF2-40B4-BE49-F238E27FC236}">
                    <a16:creationId xmlns:a16="http://schemas.microsoft.com/office/drawing/2014/main" id="{91EDA53F-FE72-D7C6-AD53-5E021CCF9C42}"/>
                  </a:ext>
                </a:extLst>
              </p:cNvPr>
              <p:cNvSpPr txBox="1"/>
              <p:nvPr/>
            </p:nvSpPr>
            <p:spPr>
              <a:xfrm>
                <a:off x="1258496" y="5704803"/>
                <a:ext cx="346725" cy="135678"/>
              </a:xfrm>
              <a:prstGeom prst="rect">
                <a:avLst/>
              </a:prstGeom>
            </p:spPr>
            <p:txBody>
              <a:bodyPr vert="horz" wrap="square" lIns="0" tIns="0" rIns="0" bIns="0" rtlCol="0">
                <a:spAutoFit/>
              </a:bodyPr>
              <a:lstStyle/>
              <a:p>
                <a:pPr marL="11206" marR="0" lvl="0" indent="0" defTabSz="914400" eaLnBrk="1" fontAlgn="auto" latinLnBrk="0" hangingPunct="1">
                  <a:lnSpc>
                    <a:spcPct val="100000"/>
                  </a:lnSpc>
                  <a:spcBef>
                    <a:spcPts val="0"/>
                  </a:spcBef>
                  <a:spcAft>
                    <a:spcPts val="0"/>
                  </a:spcAft>
                  <a:buClrTx/>
                  <a:buSzTx/>
                  <a:buFontTx/>
                  <a:buNone/>
                  <a:tabLst/>
                  <a:defRPr/>
                </a:pP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Primary</a:t>
                </a:r>
                <a:r>
                  <a:rPr kumimoji="0" lang="hu-HU" sz="441" u="none" strike="noStrike" kern="0" cap="none" spc="-5" normalizeH="0" baseline="0" noProof="0" dirty="0">
                    <a:ln>
                      <a:noFill/>
                    </a:ln>
                    <a:solidFill>
                      <a:srgbClr val="231F20"/>
                    </a:solidFill>
                    <a:effectLst/>
                    <a:uLnTx/>
                    <a:uFillTx/>
                    <a:latin typeface="Open Sans"/>
                    <a:cs typeface="Open Sans" panose="020B0606030504020204" pitchFamily="34" charset="0"/>
                  </a:rPr>
                  <a:t> </a:t>
                </a:r>
                <a:r>
                  <a:rPr kumimoji="0" lang="hu-HU" sz="441" u="none" strike="noStrike" kern="0" cap="none" spc="-5" normalizeH="0" baseline="0" noProof="0" dirty="0" err="1">
                    <a:ln>
                      <a:noFill/>
                    </a:ln>
                    <a:solidFill>
                      <a:srgbClr val="231F20"/>
                    </a:solidFill>
                    <a:effectLst/>
                    <a:uLnTx/>
                    <a:uFillTx/>
                    <a:latin typeface="Open Sans"/>
                    <a:cs typeface="Open Sans" panose="020B0606030504020204" pitchFamily="34" charset="0"/>
                  </a:rPr>
                  <a:t>division</a:t>
                </a:r>
                <a:endParaRPr kumimoji="0" lang="en-AU" sz="441" u="none" strike="noStrike" kern="0" cap="none" spc="0" normalizeH="0" baseline="0" noProof="0" dirty="0">
                  <a:ln>
                    <a:noFill/>
                  </a:ln>
                  <a:solidFill>
                    <a:srgbClr val="000000"/>
                  </a:solidFill>
                  <a:effectLst/>
                  <a:uLnTx/>
                  <a:uFillTx/>
                  <a:latin typeface="Open Sans"/>
                  <a:cs typeface="Open Sans" panose="020B0606030504020204" pitchFamily="34" charset="0"/>
                </a:endParaRPr>
              </a:p>
            </p:txBody>
          </p:sp>
        </p:grpSp>
        <p:sp>
          <p:nvSpPr>
            <p:cNvPr id="1345" name="TextBox 1344">
              <a:extLst>
                <a:ext uri="{FF2B5EF4-FFF2-40B4-BE49-F238E27FC236}">
                  <a16:creationId xmlns:a16="http://schemas.microsoft.com/office/drawing/2014/main" id="{7862058E-B3C5-A4E4-B49C-046D7E5A4132}"/>
                </a:ext>
              </a:extLst>
            </p:cNvPr>
            <p:cNvSpPr txBox="1"/>
            <p:nvPr/>
          </p:nvSpPr>
          <p:spPr>
            <a:xfrm rot="1610013">
              <a:off x="2418053" y="5453491"/>
              <a:ext cx="687779" cy="123111"/>
            </a:xfrm>
            <a:prstGeom prst="rect">
              <a:avLst/>
            </a:prstGeom>
            <a:solidFill>
              <a:sysClr val="window" lastClr="FFFFFF"/>
            </a:solidFill>
            <a:ln>
              <a:solidFill>
                <a:srgbClr val="FF0000"/>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r>
                <a:rPr kumimoji="0" lang="en-AU" sz="800" b="1" i="0" u="none" strike="noStrike" kern="0" cap="none" spc="0" normalizeH="0" baseline="0" noProof="0" dirty="0">
                  <a:ln>
                    <a:noFill/>
                  </a:ln>
                  <a:solidFill>
                    <a:srgbClr val="313131"/>
                  </a:solidFill>
                  <a:effectLst/>
                  <a:uLnTx/>
                  <a:uFillTx/>
                  <a:latin typeface="Open Sans"/>
                  <a:cs typeface="Calibri" panose="020F0502020204030204" pitchFamily="34" charset="0"/>
                </a:rPr>
                <a:t>Example</a:t>
              </a:r>
              <a:r>
                <a:rPr kumimoji="0" lang="en-AU" sz="800" b="0" i="0" u="none" strike="noStrike" kern="0" cap="none" spc="0" normalizeH="0" baseline="0" noProof="0" dirty="0">
                  <a:ln>
                    <a:noFill/>
                  </a:ln>
                  <a:solidFill>
                    <a:srgbClr val="313131"/>
                  </a:solidFill>
                  <a:effectLst/>
                  <a:uLnTx/>
                  <a:uFillTx/>
                  <a:latin typeface="Open Sans"/>
                  <a:cs typeface="Calibri" panose="020F0502020204030204" pitchFamily="34" charset="0"/>
                </a:rPr>
                <a:t>   </a:t>
              </a:r>
            </a:p>
          </p:txBody>
        </p:sp>
      </p:grpSp>
      <p:sp>
        <p:nvSpPr>
          <p:cNvPr id="642" name="Right Brace 641">
            <a:extLst>
              <a:ext uri="{FF2B5EF4-FFF2-40B4-BE49-F238E27FC236}">
                <a16:creationId xmlns:a16="http://schemas.microsoft.com/office/drawing/2014/main" id="{BFD07C20-3266-C9F0-381D-F2F3670A9B7C}"/>
              </a:ext>
            </a:extLst>
          </p:cNvPr>
          <p:cNvSpPr/>
          <p:nvPr/>
        </p:nvSpPr>
        <p:spPr>
          <a:xfrm rot="5400000">
            <a:off x="8286274" y="3241792"/>
            <a:ext cx="220034" cy="5487995"/>
          </a:xfrm>
          <a:prstGeom prst="rightBrace">
            <a:avLst>
              <a:gd name="adj1" fmla="val 109712"/>
              <a:gd name="adj2" fmla="val 50000"/>
            </a:avLst>
          </a:prstGeom>
          <a:ln>
            <a:solidFill>
              <a:srgbClr val="62B5E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643" name="Right Brace 642">
            <a:extLst>
              <a:ext uri="{FF2B5EF4-FFF2-40B4-BE49-F238E27FC236}">
                <a16:creationId xmlns:a16="http://schemas.microsoft.com/office/drawing/2014/main" id="{6B0EB004-4020-719F-8736-DE200F9F1533}"/>
              </a:ext>
            </a:extLst>
          </p:cNvPr>
          <p:cNvSpPr/>
          <p:nvPr/>
        </p:nvSpPr>
        <p:spPr>
          <a:xfrm rot="5400000">
            <a:off x="3406493" y="3882669"/>
            <a:ext cx="220034" cy="4206240"/>
          </a:xfrm>
          <a:prstGeom prst="rightBrace">
            <a:avLst>
              <a:gd name="adj1" fmla="val 109712"/>
              <a:gd name="adj2" fmla="val 50000"/>
            </a:avLst>
          </a:prstGeom>
          <a:ln>
            <a:solidFill>
              <a:srgbClr val="62B5E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4" name="Rectangle 3">
            <a:extLst>
              <a:ext uri="{FF2B5EF4-FFF2-40B4-BE49-F238E27FC236}">
                <a16:creationId xmlns:a16="http://schemas.microsoft.com/office/drawing/2014/main" id="{D6212E78-F809-6CDF-3C6C-9F75DB9BF984}"/>
              </a:ext>
            </a:extLst>
          </p:cNvPr>
          <p:cNvSpPr/>
          <p:nvPr/>
        </p:nvSpPr>
        <p:spPr bwMode="gray">
          <a:xfrm>
            <a:off x="8762083" y="277949"/>
            <a:ext cx="2119187" cy="860034"/>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hu-HU" sz="1600" b="1" dirty="0">
                <a:solidFill>
                  <a:schemeClr val="bg1"/>
                </a:solidFill>
              </a:rPr>
              <a:t>273-276 slide-okat összevonni</a:t>
            </a:r>
          </a:p>
        </p:txBody>
      </p:sp>
    </p:spTree>
    <p:extLst>
      <p:ext uri="{BB962C8B-B14F-4D97-AF65-F5344CB8AC3E}">
        <p14:creationId xmlns:p14="http://schemas.microsoft.com/office/powerpoint/2010/main" val="3803065888"/>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9" name="think-cell data - do not delete" hidden="1">
            <a:extLst>
              <a:ext uri="{FF2B5EF4-FFF2-40B4-BE49-F238E27FC236}">
                <a16:creationId xmlns:a16="http://schemas.microsoft.com/office/drawing/2014/main" id="{7C0B7BE6-52CB-D1E0-41EB-4084FB2ACF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349" name="think-cell data - do not delete" hidden="1">
                        <a:extLst>
                          <a:ext uri="{FF2B5EF4-FFF2-40B4-BE49-F238E27FC236}">
                            <a16:creationId xmlns:a16="http://schemas.microsoft.com/office/drawing/2014/main" id="{7C0B7BE6-52CB-D1E0-41EB-4084FB2ACF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AF28E11-6F2C-2C86-11DE-5E35143FB0BC}"/>
              </a:ext>
            </a:extLst>
          </p:cNvPr>
          <p:cNvSpPr>
            <a:spLocks noGrp="1"/>
          </p:cNvSpPr>
          <p:nvPr>
            <p:ph type="body" sz="quarter" idx="22"/>
          </p:nvPr>
        </p:nvSpPr>
        <p:spPr/>
        <p:txBody>
          <a:bodyPr/>
          <a:lstStyle/>
          <a:p>
            <a:r>
              <a:rPr lang="en-GB" dirty="0"/>
              <a:t>Trade-offs associated with elementary operating models have to be considered to determine what fits best for the organization’s specific design needs </a:t>
            </a:r>
          </a:p>
        </p:txBody>
      </p:sp>
      <p:sp>
        <p:nvSpPr>
          <p:cNvPr id="3" name="Title 2">
            <a:extLst>
              <a:ext uri="{FF2B5EF4-FFF2-40B4-BE49-F238E27FC236}">
                <a16:creationId xmlns:a16="http://schemas.microsoft.com/office/drawing/2014/main" id="{3BCC0C0F-B5C2-55DD-275E-1ED5465D9A1E}"/>
              </a:ext>
            </a:extLst>
          </p:cNvPr>
          <p:cNvSpPr>
            <a:spLocks noGrp="1"/>
          </p:cNvSpPr>
          <p:nvPr>
            <p:ph type="title"/>
          </p:nvPr>
        </p:nvSpPr>
        <p:spPr>
          <a:xfrm>
            <a:off x="463295" y="417911"/>
            <a:ext cx="11053474" cy="334099"/>
          </a:xfrm>
        </p:spPr>
        <p:txBody>
          <a:bodyPr vert="horz"/>
          <a:lstStyle/>
          <a:p>
            <a:r>
              <a:rPr lang="en-GB" dirty="0"/>
              <a:t>Operating model benefits and challenges (1/3)</a:t>
            </a:r>
            <a:endParaRPr lang="en-GB" strike="sngStrike" dirty="0">
              <a:solidFill>
                <a:srgbClr val="FF0000"/>
              </a:solidFill>
            </a:endParaRPr>
          </a:p>
        </p:txBody>
      </p:sp>
      <p:sp>
        <p:nvSpPr>
          <p:cNvPr id="1040" name="TextBox 1039">
            <a:extLst>
              <a:ext uri="{FF2B5EF4-FFF2-40B4-BE49-F238E27FC236}">
                <a16:creationId xmlns:a16="http://schemas.microsoft.com/office/drawing/2014/main" id="{DF784556-203C-192F-3F81-F2A0D43D7BC4}"/>
              </a:ext>
            </a:extLst>
          </p:cNvPr>
          <p:cNvSpPr txBox="1"/>
          <p:nvPr/>
        </p:nvSpPr>
        <p:spPr>
          <a:xfrm>
            <a:off x="851448" y="1632501"/>
            <a:ext cx="1276513" cy="234836"/>
          </a:xfrm>
          <a:prstGeom prst="rect">
            <a:avLst/>
          </a:prstGeom>
          <a:noFill/>
        </p:spPr>
        <p:txBody>
          <a:bodyPr wrap="square" lIns="0" tIns="0" rIns="0" bIns="0" rtlCol="0">
            <a:noAutofit/>
          </a:bodyPr>
          <a:lstStyle/>
          <a:p>
            <a:pPr>
              <a:spcBef>
                <a:spcPts val="600"/>
              </a:spcBef>
              <a:buSzPct val="100000"/>
            </a:pPr>
            <a:r>
              <a:rPr lang="en-GB" sz="1200" dirty="0">
                <a:solidFill>
                  <a:prstClr val="black"/>
                </a:solidFill>
                <a:latin typeface="Open Sans"/>
              </a:rPr>
              <a:t>Product oriented</a:t>
            </a:r>
          </a:p>
        </p:txBody>
      </p:sp>
      <p:sp>
        <p:nvSpPr>
          <p:cNvPr id="1271" name="Oval 1270">
            <a:extLst>
              <a:ext uri="{FF2B5EF4-FFF2-40B4-BE49-F238E27FC236}">
                <a16:creationId xmlns:a16="http://schemas.microsoft.com/office/drawing/2014/main" id="{DD9E107B-A51A-6251-5951-1AF7E5D54552}"/>
              </a:ext>
            </a:extLst>
          </p:cNvPr>
          <p:cNvSpPr/>
          <p:nvPr/>
        </p:nvSpPr>
        <p:spPr bwMode="gray">
          <a:xfrm>
            <a:off x="574584" y="1603881"/>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Open Sans"/>
              </a:rPr>
              <a:t>1</a:t>
            </a:r>
          </a:p>
        </p:txBody>
      </p:sp>
      <p:sp>
        <p:nvSpPr>
          <p:cNvPr id="1227" name="TextBox 1226">
            <a:extLst>
              <a:ext uri="{FF2B5EF4-FFF2-40B4-BE49-F238E27FC236}">
                <a16:creationId xmlns:a16="http://schemas.microsoft.com/office/drawing/2014/main" id="{44E09B9E-69A3-24BE-B60C-2F846D80F77E}"/>
              </a:ext>
            </a:extLst>
          </p:cNvPr>
          <p:cNvSpPr txBox="1"/>
          <p:nvPr/>
        </p:nvSpPr>
        <p:spPr>
          <a:xfrm>
            <a:off x="835564" y="3273162"/>
            <a:ext cx="2039380" cy="234836"/>
          </a:xfrm>
          <a:prstGeom prst="rect">
            <a:avLst/>
          </a:prstGeom>
          <a:noFill/>
        </p:spPr>
        <p:txBody>
          <a:bodyPr wrap="square" lIns="0" tIns="0" rIns="0" bIns="0" rtlCol="0">
            <a:noAutofit/>
          </a:bodyPr>
          <a:lstStyle/>
          <a:p>
            <a:pPr>
              <a:spcBef>
                <a:spcPts val="600"/>
              </a:spcBef>
              <a:buSzPct val="100000"/>
            </a:pPr>
            <a:r>
              <a:rPr lang="en-GB" sz="1200" dirty="0">
                <a:solidFill>
                  <a:prstClr val="black"/>
                </a:solidFill>
                <a:latin typeface="Open Sans"/>
              </a:rPr>
              <a:t>Geography oriented</a:t>
            </a:r>
          </a:p>
        </p:txBody>
      </p:sp>
      <p:sp>
        <p:nvSpPr>
          <p:cNvPr id="1272" name="Oval 1271">
            <a:extLst>
              <a:ext uri="{FF2B5EF4-FFF2-40B4-BE49-F238E27FC236}">
                <a16:creationId xmlns:a16="http://schemas.microsoft.com/office/drawing/2014/main" id="{56CDE026-D81E-D05E-4823-048BDEC059C0}"/>
              </a:ext>
            </a:extLst>
          </p:cNvPr>
          <p:cNvSpPr/>
          <p:nvPr/>
        </p:nvSpPr>
        <p:spPr bwMode="gray">
          <a:xfrm>
            <a:off x="574584" y="3251909"/>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Open Sans"/>
              </a:rPr>
              <a:t>2</a:t>
            </a:r>
          </a:p>
        </p:txBody>
      </p:sp>
      <p:sp>
        <p:nvSpPr>
          <p:cNvPr id="1041" name="TextBox 1040">
            <a:extLst>
              <a:ext uri="{FF2B5EF4-FFF2-40B4-BE49-F238E27FC236}">
                <a16:creationId xmlns:a16="http://schemas.microsoft.com/office/drawing/2014/main" id="{AAE45011-78F4-7BB1-A291-B44A0475EF20}"/>
              </a:ext>
            </a:extLst>
          </p:cNvPr>
          <p:cNvSpPr txBox="1"/>
          <p:nvPr/>
        </p:nvSpPr>
        <p:spPr>
          <a:xfrm>
            <a:off x="763657" y="4929211"/>
            <a:ext cx="1598169" cy="278923"/>
          </a:xfrm>
          <a:prstGeom prst="rect">
            <a:avLst/>
          </a:prstGeom>
          <a:noFill/>
        </p:spPr>
        <p:txBody>
          <a:bodyPr wrap="square">
            <a:spAutoFit/>
          </a:bodyPr>
          <a:lstStyle/>
          <a:p>
            <a:pPr>
              <a:lnSpc>
                <a:spcPct val="106000"/>
              </a:lnSpc>
              <a:buFont typeface="Wingdings 2" pitchFamily="18" charset="2"/>
              <a:buNone/>
              <a:defRPr/>
            </a:pPr>
            <a:r>
              <a:rPr lang="en-GB" sz="1200" dirty="0">
                <a:solidFill>
                  <a:prstClr val="black"/>
                </a:solidFill>
                <a:latin typeface="Open Sans"/>
                <a:cs typeface="Calibri" panose="020F0502020204030204" pitchFamily="34" charset="0"/>
              </a:rPr>
              <a:t>Customer oriented</a:t>
            </a:r>
          </a:p>
        </p:txBody>
      </p:sp>
      <p:sp>
        <p:nvSpPr>
          <p:cNvPr id="1274" name="Oval 1273">
            <a:extLst>
              <a:ext uri="{FF2B5EF4-FFF2-40B4-BE49-F238E27FC236}">
                <a16:creationId xmlns:a16="http://schemas.microsoft.com/office/drawing/2014/main" id="{30844B56-1B10-F0E7-D795-0EDDC58BA86A}"/>
              </a:ext>
            </a:extLst>
          </p:cNvPr>
          <p:cNvSpPr/>
          <p:nvPr/>
        </p:nvSpPr>
        <p:spPr bwMode="gray">
          <a:xfrm>
            <a:off x="582266" y="4946424"/>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Open Sans"/>
              </a:rPr>
              <a:t>3</a:t>
            </a:r>
          </a:p>
        </p:txBody>
      </p:sp>
      <p:sp>
        <p:nvSpPr>
          <p:cNvPr id="20" name="TextBox 19">
            <a:extLst>
              <a:ext uri="{FF2B5EF4-FFF2-40B4-BE49-F238E27FC236}">
                <a16:creationId xmlns:a16="http://schemas.microsoft.com/office/drawing/2014/main" id="{63080E56-82F4-9C34-E23F-16A3E0AE66D0}"/>
              </a:ext>
            </a:extLst>
          </p:cNvPr>
          <p:cNvSpPr txBox="1"/>
          <p:nvPr/>
        </p:nvSpPr>
        <p:spPr>
          <a:xfrm>
            <a:off x="4914899" y="1563507"/>
            <a:ext cx="870857" cy="184666"/>
          </a:xfrm>
          <a:prstGeom prst="rect">
            <a:avLst/>
          </a:prstGeom>
          <a:noFill/>
        </p:spPr>
        <p:txBody>
          <a:bodyPr wrap="square" lIns="0" tIns="0" rIns="0" bIns="0" rtlCol="0">
            <a:spAutoFit/>
          </a:bodyPr>
          <a:lstStyle/>
          <a:p>
            <a:pPr>
              <a:spcBef>
                <a:spcPts val="600"/>
              </a:spcBef>
              <a:buSzPct val="100000"/>
            </a:pPr>
            <a:r>
              <a:rPr lang="en-GB" sz="1200" dirty="0">
                <a:latin typeface="Open Sans (Body)"/>
              </a:rPr>
              <a:t>Benefits</a:t>
            </a:r>
          </a:p>
        </p:txBody>
      </p:sp>
      <p:sp>
        <p:nvSpPr>
          <p:cNvPr id="21" name="TextBox 20">
            <a:extLst>
              <a:ext uri="{FF2B5EF4-FFF2-40B4-BE49-F238E27FC236}">
                <a16:creationId xmlns:a16="http://schemas.microsoft.com/office/drawing/2014/main" id="{7D374F64-C747-90E2-426C-CAF6594ABADE}"/>
              </a:ext>
            </a:extLst>
          </p:cNvPr>
          <p:cNvSpPr txBox="1"/>
          <p:nvPr/>
        </p:nvSpPr>
        <p:spPr>
          <a:xfrm>
            <a:off x="9125692" y="1563507"/>
            <a:ext cx="870857" cy="184666"/>
          </a:xfrm>
          <a:prstGeom prst="rect">
            <a:avLst/>
          </a:prstGeom>
          <a:noFill/>
        </p:spPr>
        <p:txBody>
          <a:bodyPr wrap="square" lIns="0" tIns="0" rIns="0" bIns="0" rtlCol="0">
            <a:spAutoFit/>
          </a:bodyPr>
          <a:lstStyle/>
          <a:p>
            <a:pPr>
              <a:spcBef>
                <a:spcPts val="600"/>
              </a:spcBef>
              <a:buSzPct val="100000"/>
            </a:pPr>
            <a:r>
              <a:rPr lang="en-GB" sz="1200" dirty="0">
                <a:latin typeface="Open Sans (Body)"/>
              </a:rPr>
              <a:t>Challenges</a:t>
            </a:r>
          </a:p>
        </p:txBody>
      </p:sp>
      <p:pic>
        <p:nvPicPr>
          <p:cNvPr id="35" name="Picture 34">
            <a:extLst>
              <a:ext uri="{FF2B5EF4-FFF2-40B4-BE49-F238E27FC236}">
                <a16:creationId xmlns:a16="http://schemas.microsoft.com/office/drawing/2014/main" id="{69783FB6-F893-BE3D-6A71-BA939C695CE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79026" y="1804370"/>
            <a:ext cx="1273175" cy="696580"/>
          </a:xfrm>
          <a:prstGeom prst="rect">
            <a:avLst/>
          </a:prstGeom>
        </p:spPr>
      </p:pic>
      <p:sp>
        <p:nvSpPr>
          <p:cNvPr id="36" name="Rectangle: Rounded Corners 35">
            <a:extLst>
              <a:ext uri="{FF2B5EF4-FFF2-40B4-BE49-F238E27FC236}">
                <a16:creationId xmlns:a16="http://schemas.microsoft.com/office/drawing/2014/main" id="{371CDFE2-7772-25AE-F06C-629E40887602}"/>
              </a:ext>
            </a:extLst>
          </p:cNvPr>
          <p:cNvSpPr/>
          <p:nvPr/>
        </p:nvSpPr>
        <p:spPr bwMode="gray">
          <a:xfrm>
            <a:off x="699077" y="2518935"/>
            <a:ext cx="2260820" cy="682996"/>
          </a:xfrm>
          <a:prstGeom prst="roundRect">
            <a:avLst/>
          </a:prstGeom>
          <a:ln>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000" b="0" i="0" u="none" strike="noStrike" baseline="0" dirty="0">
                <a:solidFill>
                  <a:srgbClr val="000000"/>
                </a:solidFill>
                <a:latin typeface="Open Sans (Body)"/>
              </a:rPr>
              <a:t>Grouping by product/ service and typically used when product lines are fairly independent with low synergies</a:t>
            </a:r>
            <a:endParaRPr lang="hu-HU" sz="1000" b="1" dirty="0">
              <a:solidFill>
                <a:schemeClr val="bg1"/>
              </a:solidFill>
              <a:latin typeface="Open Sans (Body)"/>
            </a:endParaRPr>
          </a:p>
        </p:txBody>
      </p:sp>
      <p:pic>
        <p:nvPicPr>
          <p:cNvPr id="38" name="Picture 37">
            <a:extLst>
              <a:ext uri="{FF2B5EF4-FFF2-40B4-BE49-F238E27FC236}">
                <a16:creationId xmlns:a16="http://schemas.microsoft.com/office/drawing/2014/main" id="{433F2EF1-3F0F-3B4C-089A-8ADDC76FE45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79733" y="3463345"/>
            <a:ext cx="1284283" cy="694944"/>
          </a:xfrm>
          <a:prstGeom prst="rect">
            <a:avLst/>
          </a:prstGeom>
        </p:spPr>
      </p:pic>
      <p:sp>
        <p:nvSpPr>
          <p:cNvPr id="39" name="Rectangle: Rounded Corners 38">
            <a:extLst>
              <a:ext uri="{FF2B5EF4-FFF2-40B4-BE49-F238E27FC236}">
                <a16:creationId xmlns:a16="http://schemas.microsoft.com/office/drawing/2014/main" id="{729CBF68-FC7F-7619-B90A-709242FF03D9}"/>
              </a:ext>
            </a:extLst>
          </p:cNvPr>
          <p:cNvSpPr/>
          <p:nvPr/>
        </p:nvSpPr>
        <p:spPr bwMode="gray">
          <a:xfrm>
            <a:off x="698305" y="4167085"/>
            <a:ext cx="2260820" cy="682996"/>
          </a:xfrm>
          <a:prstGeom prst="roundRect">
            <a:avLst/>
          </a:prstGeom>
          <a:ln>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000" b="0" i="0" u="none" strike="noStrike" baseline="0" dirty="0">
                <a:solidFill>
                  <a:srgbClr val="000000"/>
                </a:solidFill>
                <a:latin typeface="Open Sans (Body)"/>
              </a:rPr>
              <a:t>Grouping by regions and typically used when business environment varies substantially by geographies</a:t>
            </a:r>
            <a:endParaRPr lang="hu-HU" sz="1000" b="1" dirty="0">
              <a:solidFill>
                <a:schemeClr val="bg1"/>
              </a:solidFill>
              <a:latin typeface="Open Sans (Body)"/>
            </a:endParaRPr>
          </a:p>
        </p:txBody>
      </p:sp>
      <p:pic>
        <p:nvPicPr>
          <p:cNvPr id="55" name="Picture 54">
            <a:extLst>
              <a:ext uri="{FF2B5EF4-FFF2-40B4-BE49-F238E27FC236}">
                <a16:creationId xmlns:a16="http://schemas.microsoft.com/office/drawing/2014/main" id="{3894805B-C742-EB87-B72D-2A75DC9D0208}"/>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79026" y="5225499"/>
            <a:ext cx="1264743" cy="694944"/>
          </a:xfrm>
          <a:prstGeom prst="rect">
            <a:avLst/>
          </a:prstGeom>
        </p:spPr>
      </p:pic>
      <p:sp>
        <p:nvSpPr>
          <p:cNvPr id="56" name="Rectangle: Rounded Corners 55">
            <a:extLst>
              <a:ext uri="{FF2B5EF4-FFF2-40B4-BE49-F238E27FC236}">
                <a16:creationId xmlns:a16="http://schemas.microsoft.com/office/drawing/2014/main" id="{DE2EDB13-2C91-97C2-4B2A-D0099D6E1F2D}"/>
              </a:ext>
            </a:extLst>
          </p:cNvPr>
          <p:cNvSpPr/>
          <p:nvPr/>
        </p:nvSpPr>
        <p:spPr bwMode="gray">
          <a:xfrm>
            <a:off x="698304" y="5943090"/>
            <a:ext cx="2260821" cy="682996"/>
          </a:xfrm>
          <a:prstGeom prst="roundRect">
            <a:avLst/>
          </a:prstGeom>
          <a:ln>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000" b="0" i="0" u="none" strike="noStrike" baseline="0" dirty="0">
                <a:solidFill>
                  <a:srgbClr val="000000"/>
                </a:solidFill>
                <a:latin typeface="Open Sans (Body)"/>
              </a:rPr>
              <a:t>Grouping by customer segments and typically used when segments are defined by unique customer needs</a:t>
            </a:r>
            <a:endParaRPr lang="hu-HU" sz="1000" b="1" dirty="0">
              <a:solidFill>
                <a:schemeClr val="bg1"/>
              </a:solidFill>
              <a:latin typeface="Open Sans (Body)"/>
            </a:endParaRPr>
          </a:p>
        </p:txBody>
      </p:sp>
      <p:cxnSp>
        <p:nvCxnSpPr>
          <p:cNvPr id="57" name="Straight Connector 56">
            <a:extLst>
              <a:ext uri="{FF2B5EF4-FFF2-40B4-BE49-F238E27FC236}">
                <a16:creationId xmlns:a16="http://schemas.microsoft.com/office/drawing/2014/main" id="{80D114B8-D400-ACCE-0947-49D8A127D5E7}"/>
              </a:ext>
            </a:extLst>
          </p:cNvPr>
          <p:cNvCxnSpPr>
            <a:cxnSpLocks/>
          </p:cNvCxnSpPr>
          <p:nvPr/>
        </p:nvCxnSpPr>
        <p:spPr>
          <a:xfrm>
            <a:off x="5636820"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5" name="Straight Connector 644">
            <a:extLst>
              <a:ext uri="{FF2B5EF4-FFF2-40B4-BE49-F238E27FC236}">
                <a16:creationId xmlns:a16="http://schemas.microsoft.com/office/drawing/2014/main" id="{DE0CAA04-CC51-09F5-8D60-EC81FF31AC66}"/>
              </a:ext>
            </a:extLst>
          </p:cNvPr>
          <p:cNvCxnSpPr>
            <a:cxnSpLocks/>
          </p:cNvCxnSpPr>
          <p:nvPr/>
        </p:nvCxnSpPr>
        <p:spPr>
          <a:xfrm>
            <a:off x="3257302"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6" name="Straight Connector 645">
            <a:extLst>
              <a:ext uri="{FF2B5EF4-FFF2-40B4-BE49-F238E27FC236}">
                <a16:creationId xmlns:a16="http://schemas.microsoft.com/office/drawing/2014/main" id="{93A7F594-62CD-ABF3-FF5E-DE46C18ED651}"/>
              </a:ext>
            </a:extLst>
          </p:cNvPr>
          <p:cNvCxnSpPr>
            <a:cxnSpLocks/>
          </p:cNvCxnSpPr>
          <p:nvPr/>
        </p:nvCxnSpPr>
        <p:spPr>
          <a:xfrm>
            <a:off x="9954985"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7" name="Straight Connector 646">
            <a:extLst>
              <a:ext uri="{FF2B5EF4-FFF2-40B4-BE49-F238E27FC236}">
                <a16:creationId xmlns:a16="http://schemas.microsoft.com/office/drawing/2014/main" id="{78B8F379-D2EF-10B3-C7D2-82941B9D9289}"/>
              </a:ext>
            </a:extLst>
          </p:cNvPr>
          <p:cNvCxnSpPr>
            <a:cxnSpLocks/>
          </p:cNvCxnSpPr>
          <p:nvPr/>
        </p:nvCxnSpPr>
        <p:spPr>
          <a:xfrm>
            <a:off x="7575467"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sp>
        <p:nvSpPr>
          <p:cNvPr id="649" name="TextBox 648">
            <a:extLst>
              <a:ext uri="{FF2B5EF4-FFF2-40B4-BE49-F238E27FC236}">
                <a16:creationId xmlns:a16="http://schemas.microsoft.com/office/drawing/2014/main" id="{8A07D505-64AC-96A6-9630-03DF73CB68C6}"/>
              </a:ext>
            </a:extLst>
          </p:cNvPr>
          <p:cNvSpPr txBox="1"/>
          <p:nvPr/>
        </p:nvSpPr>
        <p:spPr>
          <a:xfrm>
            <a:off x="3293728" y="1993408"/>
            <a:ext cx="3831656" cy="984885"/>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Product focus results in higher quality output</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Independent decision-making results in faster response times</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Accountability clearly identified at BU level</a:t>
            </a:r>
          </a:p>
        </p:txBody>
      </p:sp>
      <p:sp>
        <p:nvSpPr>
          <p:cNvPr id="650" name="TextBox 649">
            <a:extLst>
              <a:ext uri="{FF2B5EF4-FFF2-40B4-BE49-F238E27FC236}">
                <a16:creationId xmlns:a16="http://schemas.microsoft.com/office/drawing/2014/main" id="{85B49F39-9C4E-9E15-9531-FBC97D153607}"/>
              </a:ext>
            </a:extLst>
          </p:cNvPr>
          <p:cNvSpPr txBox="1"/>
          <p:nvPr/>
        </p:nvSpPr>
        <p:spPr>
          <a:xfrm>
            <a:off x="7545322" y="1993407"/>
            <a:ext cx="3831656" cy="984885"/>
          </a:xfrm>
          <a:prstGeom prst="rect">
            <a:avLst/>
          </a:prstGeom>
          <a:noFill/>
        </p:spPr>
        <p:txBody>
          <a:bodyPr wrap="square">
            <a:spAutoFit/>
          </a:bodyPr>
          <a:lstStyle/>
          <a:p>
            <a:pPr marL="171450" indent="-171450" algn="l">
              <a:spcAft>
                <a:spcPts val="600"/>
              </a:spcAft>
              <a:buFont typeface="Arial" panose="020B0604020202020204" pitchFamily="34" charset="0"/>
              <a:buChar char="•"/>
            </a:pPr>
            <a:r>
              <a:rPr lang="en-US" sz="1200" b="0" i="0" u="none" strike="noStrike" baseline="0" dirty="0">
                <a:solidFill>
                  <a:srgbClr val="000000"/>
                </a:solidFill>
                <a:latin typeface="Open Sans (Body)"/>
              </a:rPr>
              <a:t>Synergies across business units seldom tapped</a:t>
            </a:r>
          </a:p>
          <a:p>
            <a:pPr marL="171450" indent="-171450" algn="l">
              <a:spcAft>
                <a:spcPts val="600"/>
              </a:spcAft>
              <a:buFont typeface="Arial" panose="020B0604020202020204" pitchFamily="34" charset="0"/>
              <a:buChar char="•"/>
            </a:pPr>
            <a:r>
              <a:rPr lang="en-US" sz="1200" b="0" i="0" u="none" strike="noStrike" baseline="0" dirty="0">
                <a:solidFill>
                  <a:srgbClr val="000000"/>
                </a:solidFill>
                <a:latin typeface="Open Sans (Body)"/>
              </a:rPr>
              <a:t>Poor cross-BU customer experience</a:t>
            </a:r>
          </a:p>
          <a:p>
            <a:pPr marL="171450" indent="-171450" algn="l">
              <a:spcAft>
                <a:spcPts val="600"/>
              </a:spcAft>
              <a:buFont typeface="Arial" panose="020B0604020202020204" pitchFamily="34" charset="0"/>
              <a:buChar char="•"/>
            </a:pPr>
            <a:r>
              <a:rPr lang="en-US" sz="1200" b="0" i="0" u="none" strike="noStrike" baseline="0" dirty="0">
                <a:solidFill>
                  <a:srgbClr val="000000"/>
                </a:solidFill>
                <a:latin typeface="Open Sans (Body)"/>
              </a:rPr>
              <a:t>Silo mentality results in BU self-advocacy and low openness to self-criticism</a:t>
            </a:r>
          </a:p>
        </p:txBody>
      </p:sp>
      <p:sp>
        <p:nvSpPr>
          <p:cNvPr id="651" name="TextBox 650">
            <a:extLst>
              <a:ext uri="{FF2B5EF4-FFF2-40B4-BE49-F238E27FC236}">
                <a16:creationId xmlns:a16="http://schemas.microsoft.com/office/drawing/2014/main" id="{BD6D09FE-0651-D420-1C55-7480E50E1CFB}"/>
              </a:ext>
            </a:extLst>
          </p:cNvPr>
          <p:cNvSpPr txBox="1"/>
          <p:nvPr/>
        </p:nvSpPr>
        <p:spPr>
          <a:xfrm>
            <a:off x="3257302" y="3489976"/>
            <a:ext cx="3831656" cy="1354217"/>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Better sensitivity to environmental and local market needs</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Awareness of customer preferences results in greater customer intimacy</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Geography based accountability clearly identified</a:t>
            </a:r>
          </a:p>
        </p:txBody>
      </p:sp>
      <p:sp>
        <p:nvSpPr>
          <p:cNvPr id="652" name="TextBox 651">
            <a:extLst>
              <a:ext uri="{FF2B5EF4-FFF2-40B4-BE49-F238E27FC236}">
                <a16:creationId xmlns:a16="http://schemas.microsoft.com/office/drawing/2014/main" id="{83B5B9DA-2F26-1EC7-7845-31D4C60806EB}"/>
              </a:ext>
            </a:extLst>
          </p:cNvPr>
          <p:cNvSpPr txBox="1"/>
          <p:nvPr/>
        </p:nvSpPr>
        <p:spPr>
          <a:xfrm>
            <a:off x="7575467" y="3480509"/>
            <a:ext cx="3831656" cy="1169551"/>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Synergies between geographies seldom tapped</a:t>
            </a:r>
          </a:p>
          <a:p>
            <a:pPr marL="171450" indent="-171450">
              <a:spcAft>
                <a:spcPts val="600"/>
              </a:spcAft>
              <a:buFont typeface="Arial" panose="020B0604020202020204" pitchFamily="34" charset="0"/>
              <a:buChar char="•"/>
            </a:pPr>
            <a:r>
              <a:rPr lang="en-US" sz="1200" b="0" i="0" u="none" strike="noStrike" baseline="0">
                <a:solidFill>
                  <a:srgbClr val="000000"/>
                </a:solidFill>
                <a:latin typeface="Open Sans (Body)"/>
              </a:rPr>
              <a:t>Varying </a:t>
            </a:r>
            <a:r>
              <a:rPr lang="en-US" sz="1200" b="0" i="0" u="none" strike="noStrike" baseline="0" dirty="0">
                <a:solidFill>
                  <a:srgbClr val="000000"/>
                </a:solidFill>
                <a:latin typeface="Open Sans (Body)"/>
              </a:rPr>
              <a:t>regional capabilities results in inconsistent performance and difficulties in overall management</a:t>
            </a:r>
          </a:p>
          <a:p>
            <a:pPr marL="171450" indent="-171450">
              <a:spcAft>
                <a:spcPts val="600"/>
              </a:spcAft>
              <a:buFont typeface="Arial" panose="020B0604020202020204" pitchFamily="34" charset="0"/>
              <a:buChar char="•"/>
            </a:pPr>
            <a:r>
              <a:rPr lang="en-US" sz="1200" b="0" i="0" u="none" strike="noStrike" baseline="0">
                <a:solidFill>
                  <a:srgbClr val="000000"/>
                </a:solidFill>
                <a:latin typeface="Open Sans (Body)"/>
              </a:rPr>
              <a:t>Lack </a:t>
            </a:r>
            <a:r>
              <a:rPr lang="en-US" sz="1200" b="0" i="0" u="none" strike="noStrike" baseline="0" dirty="0">
                <a:solidFill>
                  <a:srgbClr val="000000"/>
                </a:solidFill>
                <a:latin typeface="Open Sans (Body)"/>
              </a:rPr>
              <a:t>of aligned organizational view</a:t>
            </a:r>
          </a:p>
        </p:txBody>
      </p:sp>
      <p:sp>
        <p:nvSpPr>
          <p:cNvPr id="653" name="TextBox 652">
            <a:extLst>
              <a:ext uri="{FF2B5EF4-FFF2-40B4-BE49-F238E27FC236}">
                <a16:creationId xmlns:a16="http://schemas.microsoft.com/office/drawing/2014/main" id="{F199E8DF-9F10-A23A-FF2C-134BF5E9A61B}"/>
              </a:ext>
            </a:extLst>
          </p:cNvPr>
          <p:cNvSpPr txBox="1"/>
          <p:nvPr/>
        </p:nvSpPr>
        <p:spPr>
          <a:xfrm>
            <a:off x="3257302" y="5171211"/>
            <a:ext cx="3831656" cy="1354217"/>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Customer intimacy results in better strategy -market needs alignment</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Greater customer orientation can lead to enhanced sales due to product bundling</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Accountability clearly aligned along customer segments</a:t>
            </a:r>
          </a:p>
        </p:txBody>
      </p:sp>
      <p:sp>
        <p:nvSpPr>
          <p:cNvPr id="654" name="TextBox 653">
            <a:extLst>
              <a:ext uri="{FF2B5EF4-FFF2-40B4-BE49-F238E27FC236}">
                <a16:creationId xmlns:a16="http://schemas.microsoft.com/office/drawing/2014/main" id="{B510AAED-017F-CEEA-26AF-D8052E0360E0}"/>
              </a:ext>
            </a:extLst>
          </p:cNvPr>
          <p:cNvSpPr txBox="1"/>
          <p:nvPr/>
        </p:nvSpPr>
        <p:spPr>
          <a:xfrm>
            <a:off x="7575467" y="5161744"/>
            <a:ext cx="3831656" cy="984885"/>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Synergies across customer segments may not be entirely tapped</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Results in lack of functional specialization</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Lack of aligned organizational view</a:t>
            </a:r>
          </a:p>
        </p:txBody>
      </p:sp>
      <p:cxnSp>
        <p:nvCxnSpPr>
          <p:cNvPr id="656" name="Straight Connector 655">
            <a:extLst>
              <a:ext uri="{FF2B5EF4-FFF2-40B4-BE49-F238E27FC236}">
                <a16:creationId xmlns:a16="http://schemas.microsoft.com/office/drawing/2014/main" id="{60A9F107-A249-8B40-CC4A-D5FF2C7707DD}"/>
              </a:ext>
            </a:extLst>
          </p:cNvPr>
          <p:cNvCxnSpPr>
            <a:cxnSpLocks/>
          </p:cNvCxnSpPr>
          <p:nvPr/>
        </p:nvCxnSpPr>
        <p:spPr>
          <a:xfrm>
            <a:off x="3257302" y="4946424"/>
            <a:ext cx="8259467"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57" name="Straight Connector 656">
            <a:extLst>
              <a:ext uri="{FF2B5EF4-FFF2-40B4-BE49-F238E27FC236}">
                <a16:creationId xmlns:a16="http://schemas.microsoft.com/office/drawing/2014/main" id="{F188B1D0-D797-BF53-AAE7-AC4C8B02AA76}"/>
              </a:ext>
            </a:extLst>
          </p:cNvPr>
          <p:cNvCxnSpPr>
            <a:cxnSpLocks/>
          </p:cNvCxnSpPr>
          <p:nvPr/>
        </p:nvCxnSpPr>
        <p:spPr>
          <a:xfrm>
            <a:off x="3257302" y="3201931"/>
            <a:ext cx="8259467"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2959808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395B07-C6F0-FED9-8D91-CDFA9379CC2F}"/>
              </a:ext>
            </a:extLst>
          </p:cNvPr>
          <p:cNvGraphicFramePr>
            <a:graphicFrameLocks noChangeAspect="1"/>
          </p:cNvGraphicFramePr>
          <p:nvPr>
            <p:custDataLst>
              <p:tags r:id="rId1"/>
            </p:custDataLst>
            <p:extLst>
              <p:ext uri="{D42A27DB-BD31-4B8C-83A1-F6EECF244321}">
                <p14:modId xmlns:p14="http://schemas.microsoft.com/office/powerpoint/2010/main" val="329091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think-cell data - do not delete" hidden="1">
                        <a:extLst>
                          <a:ext uri="{FF2B5EF4-FFF2-40B4-BE49-F238E27FC236}">
                            <a16:creationId xmlns:a16="http://schemas.microsoft.com/office/drawing/2014/main" id="{31395B07-C6F0-FED9-8D91-CDFA9379CC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4913963-22AD-5284-27E8-463AA2F7EAF6}"/>
              </a:ext>
            </a:extLst>
          </p:cNvPr>
          <p:cNvSpPr>
            <a:spLocks noGrp="1"/>
          </p:cNvSpPr>
          <p:nvPr>
            <p:ph type="title"/>
          </p:nvPr>
        </p:nvSpPr>
        <p:spPr>
          <a:xfrm>
            <a:off x="463295" y="417911"/>
            <a:ext cx="10894516" cy="334099"/>
          </a:xfrm>
        </p:spPr>
        <p:txBody>
          <a:bodyPr vert="horz"/>
          <a:lstStyle/>
          <a:p>
            <a:r>
              <a:rPr lang="en-US" sz="2400" dirty="0"/>
              <a:t>Deloitte is a trusted advisor to the United Nations providing support in overcoming some of its biggest challenges</a:t>
            </a:r>
            <a:br>
              <a:rPr lang="en-US" sz="2400" dirty="0"/>
            </a:br>
            <a:endParaRPr lang="en-US" sz="2400" dirty="0"/>
          </a:p>
        </p:txBody>
      </p:sp>
      <p:graphicFrame>
        <p:nvGraphicFramePr>
          <p:cNvPr id="4" name="Table 3">
            <a:extLst>
              <a:ext uri="{FF2B5EF4-FFF2-40B4-BE49-F238E27FC236}">
                <a16:creationId xmlns:a16="http://schemas.microsoft.com/office/drawing/2014/main" id="{A934913E-354C-E438-46C3-55B59B760699}"/>
              </a:ext>
            </a:extLst>
          </p:cNvPr>
          <p:cNvGraphicFramePr>
            <a:graphicFrameLocks noGrp="1"/>
          </p:cNvGraphicFramePr>
          <p:nvPr>
            <p:extLst>
              <p:ext uri="{D42A27DB-BD31-4B8C-83A1-F6EECF244321}">
                <p14:modId xmlns:p14="http://schemas.microsoft.com/office/powerpoint/2010/main" val="3321881581"/>
              </p:ext>
            </p:extLst>
          </p:nvPr>
        </p:nvGraphicFramePr>
        <p:xfrm>
          <a:off x="4771792" y="1386513"/>
          <a:ext cx="5549065" cy="5052791"/>
        </p:xfrm>
        <a:graphic>
          <a:graphicData uri="http://schemas.openxmlformats.org/drawingml/2006/table">
            <a:tbl>
              <a:tblPr firstRow="1" bandRow="1"/>
              <a:tblGrid>
                <a:gridCol w="5549065">
                  <a:extLst>
                    <a:ext uri="{9D8B030D-6E8A-4147-A177-3AD203B41FA5}">
                      <a16:colId xmlns:a16="http://schemas.microsoft.com/office/drawing/2014/main" val="3114295647"/>
                    </a:ext>
                  </a:extLst>
                </a:gridCol>
              </a:tblGrid>
              <a:tr h="401303">
                <a:tc>
                  <a:txBody>
                    <a:bodyPr/>
                    <a:lstStyle/>
                    <a:p>
                      <a:pPr rtl="0"/>
                      <a:r>
                        <a:rPr lang="en-US" sz="1200" b="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Recent Deloitte projects for United Nations Agencies globally</a:t>
                      </a:r>
                      <a:endParaRPr lang="en-US" sz="1200" b="1"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endParaRPr>
                    </a:p>
                  </a:txBody>
                  <a:tcPr marL="73152" marR="73152" marT="91440" marB="91440">
                    <a:lnL w="12700" cmpd="sng">
                      <a:noFill/>
                      <a:prstDash val="solid"/>
                    </a:lnL>
                    <a:lnR w="12700" cmpd="sng">
                      <a:noFill/>
                      <a:prstDash val="solid"/>
                    </a:lnR>
                    <a:lnT w="12700" cmpd="sng">
                      <a:noFill/>
                      <a:prstDash val="soli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00B0F2"/>
                    </a:solidFill>
                  </a:tcPr>
                </a:tc>
                <a:extLst>
                  <a:ext uri="{0D108BD9-81ED-4DB2-BD59-A6C34878D82A}">
                    <a16:rowId xmlns:a16="http://schemas.microsoft.com/office/drawing/2014/main" val="3218813124"/>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FAO Development International Digital Council</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02134976"/>
                  </a:ext>
                </a:extLst>
              </a:tr>
              <a:tr h="193812">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FAO Information System Analysis for Project and Portfolio Management </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0940384"/>
                  </a:ext>
                </a:extLst>
              </a:tr>
              <a:tr h="193812">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 Secretariat Innovation toolkit</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9904587"/>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 Secretariat Risk Management</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7770069"/>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DP SDG Accelerator</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3313520"/>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HCR Cybersecurity Assessment</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1483868"/>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HCR Senior Leadership Retreat/Training</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601874"/>
                  </a:ext>
                </a:extLst>
              </a:tr>
              <a:tr h="193812">
                <a:tc>
                  <a:txBody>
                    <a:bodyPr/>
                    <a:lstStyle/>
                    <a:p>
                      <a:pPr algn="l" rtl="0" fontAlgn="ctr"/>
                      <a:r>
                        <a:rPr lang="en-US" sz="1000" b="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UNHCR enhancement of talent acquisition </a:t>
                      </a:r>
                      <a:endParaRPr lang="en-US" sz="1000" b="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1198146"/>
                  </a:ext>
                </a:extLst>
              </a:tr>
              <a:tr h="193812">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sz="1000" b="0" kern="120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UNHCR HRSS function Efficientcy improvemnt of </a:t>
                      </a:r>
                      <a:endParaRPr lang="en-US" sz="1000" b="0" kern="1200" dirty="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408307"/>
                  </a:ext>
                </a:extLst>
              </a:tr>
              <a:tr h="193812">
                <a:tc>
                  <a:txBody>
                    <a:bodyPr/>
                    <a:lstStyle/>
                    <a:p>
                      <a:pPr algn="l" rtl="0" fontAlgn="ctr"/>
                      <a:r>
                        <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ICEF Accounting Advise Crypto Currency</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1361830"/>
                  </a:ext>
                </a:extLst>
              </a:tr>
              <a:tr h="193812">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000">
                          <a:latin typeface="Open Sans Light" panose="020B0306030504020204" pitchFamily="34" charset="0"/>
                          <a:ea typeface="Open Sans Light" panose="020B0306030504020204" pitchFamily="34" charset="0"/>
                          <a:cs typeface="Open Sans Light" panose="020B0306030504020204" pitchFamily="34" charset="0"/>
                        </a:rPr>
                        <a:t>UNCIEF </a:t>
                      </a:r>
                      <a:r>
                        <a:rPr lang="en-US" sz="1000" b="0">
                          <a:effectLst/>
                          <a:latin typeface="Open Sans Light" panose="020B0306030504020204" pitchFamily="34" charset="0"/>
                          <a:ea typeface="Open Sans Light" panose="020B0306030504020204" pitchFamily="34" charset="0"/>
                          <a:cs typeface="Open Sans Light" panose="020B0306030504020204" pitchFamily="34" charset="0"/>
                        </a:rPr>
                        <a:t>Business Review Data &amp; Analytics Section</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1475770"/>
                  </a:ext>
                </a:extLst>
              </a:tr>
              <a:tr h="193812">
                <a:tc>
                  <a:txBody>
                    <a:bodyPr/>
                    <a:lstStyle/>
                    <a:p>
                      <a:pPr marL="0" marR="0" lvl="0" indent="0" defTabSz="914400" rtl="0" eaLnBrk="1" fontAlgn="auto" latinLnBrk="0" hangingPunct="1">
                        <a:lnSpc>
                          <a:spcPct val="100000"/>
                        </a:lnSpc>
                        <a:spcBef>
                          <a:spcPts val="0"/>
                        </a:spcBef>
                        <a:spcAft>
                          <a:spcPts val="300"/>
                        </a:spcAft>
                        <a:buClrTx/>
                        <a:buSzTx/>
                        <a:buFontTx/>
                        <a:buNone/>
                        <a:tabLst/>
                        <a:defRPr/>
                      </a:pPr>
                      <a:r>
                        <a:rPr lang="en-US" sz="1000">
                          <a:latin typeface="Open Sans Light" panose="020B0306030504020204" pitchFamily="34" charset="0"/>
                          <a:ea typeface="Open Sans Light" panose="020B0306030504020204" pitchFamily="34" charset="0"/>
                          <a:cs typeface="Open Sans Light" panose="020B0306030504020204" pitchFamily="34" charset="0"/>
                        </a:rPr>
                        <a:t>UNICEF COVID-19 Impact Assessment on the Internal Audit Function </a:t>
                      </a: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2801254"/>
                  </a:ext>
                </a:extLst>
              </a:tr>
              <a:tr h="193812">
                <a:tc>
                  <a:txBody>
                    <a:bodyPr/>
                    <a:lstStyle/>
                    <a:p>
                      <a:pPr algn="l" rtl="0" fontAlgn="ctr"/>
                      <a:r>
                        <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ICEF Evaluation of Innovation Approaches</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43904685"/>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ICEF Harmonized Approach to Cash Transfers</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3043230"/>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ICEF Internal Audit strategy 2020+</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2297972"/>
                  </a:ext>
                </a:extLst>
              </a:tr>
              <a:tr h="193812">
                <a:tc>
                  <a:txBody>
                    <a:bodyPr/>
                    <a:lstStyle/>
                    <a:p>
                      <a:pPr rtl="0">
                        <a:spcAft>
                          <a:spcPts val="0"/>
                        </a:spcAft>
                      </a:pPr>
                      <a:r>
                        <a:rPr lang="en-US" sz="1000">
                          <a:effectLst/>
                          <a:latin typeface="Open Sans Light" panose="020B0306030504020204" pitchFamily="34" charset="0"/>
                          <a:ea typeface="Open Sans Light" panose="020B0306030504020204" pitchFamily="34" charset="0"/>
                          <a:cs typeface="Open Sans Light" panose="020B0306030504020204" pitchFamily="34" charset="0"/>
                        </a:rPr>
                        <a:t>UNICEF Independent Review Strategic Plans Programme Group </a:t>
                      </a:r>
                      <a:endParaRPr lang="en-US" sz="100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42450193"/>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OPS Business Risk Services</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1613410"/>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NOPS E-Discovery Support </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4206481"/>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UPU Use of Distributed Ledger Technologies and Blockchain for the Postal Sector </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5670922"/>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WFP Cyber Assessment</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170792"/>
                  </a:ext>
                </a:extLst>
              </a:tr>
              <a:tr h="19381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WFP </a:t>
                      </a:r>
                      <a:r>
                        <a:rPr lang="en-US" sz="1000">
                          <a:latin typeface="Open Sans Light" panose="020B0306030504020204" pitchFamily="34" charset="0"/>
                          <a:ea typeface="Open Sans Light" panose="020B0306030504020204" pitchFamily="34" charset="0"/>
                          <a:cs typeface="Open Sans Light" panose="020B0306030504020204" pitchFamily="34" charset="0"/>
                        </a:rPr>
                        <a:t>Blockchain for Transport </a:t>
                      </a: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WFP </a:t>
                      </a:r>
                      <a:r>
                        <a:rPr lang="en-US" sz="1000">
                          <a:latin typeface="Open Sans Light" panose="020B0306030504020204" pitchFamily="34" charset="0"/>
                          <a:ea typeface="Open Sans Light" panose="020B0306030504020204" pitchFamily="34" charset="0"/>
                          <a:cs typeface="Open Sans Light" panose="020B0306030504020204" pitchFamily="34" charset="0"/>
                        </a:rPr>
                        <a:t>IT Policies Review and Process Update </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9997889"/>
                  </a:ext>
                </a:extLst>
              </a:tr>
              <a:tr h="19381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a:latin typeface="Open Sans Light" panose="020B0306030504020204" pitchFamily="34" charset="0"/>
                          <a:ea typeface="Open Sans Light" panose="020B0306030504020204" pitchFamily="34" charset="0"/>
                          <a:cs typeface="Open Sans Light" panose="020B0306030504020204" pitchFamily="34" charset="0"/>
                        </a:rPr>
                        <a:t>WTP IT Policies Review and Process Update</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7383515"/>
                  </a:ext>
                </a:extLst>
              </a:tr>
              <a:tr h="193812">
                <a:tc>
                  <a:txBody>
                    <a:bodyPr/>
                    <a:lstStyle/>
                    <a:p>
                      <a:pPr algn="l" rtl="0" fontAlgn="ctr"/>
                      <a:r>
                        <a:rPr lang="en-US" sz="1000" b="0" i="0" u="none" strike="noStrike">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WHO Data Transformation Project: Functional and Technical Support for Priority Data Initiatives </a:t>
                      </a:r>
                      <a:endPar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6800287"/>
                  </a:ext>
                </a:extLst>
              </a:tr>
              <a:tr h="193812">
                <a:tc>
                  <a:txBody>
                    <a:bodyPr/>
                    <a:lstStyle/>
                    <a:p>
                      <a:pPr algn="l" rtl="0" fontAlgn="ctr"/>
                      <a:r>
                        <a:rPr lang="en-US" sz="1000" b="0" i="0" u="none" strike="noStrike"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WTO Human Resource Process Improvement</a:t>
                      </a:r>
                    </a:p>
                  </a:txBody>
                  <a:tcPr marL="9525" marR="9525" marT="9525" marB="0" anchor="ctr">
                    <a:lnL w="12700" cmpd="sng">
                      <a:noFill/>
                      <a:prstDash val="solid"/>
                    </a:lnL>
                    <a:lnR w="12700" cmpd="sng">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17862664"/>
                  </a:ext>
                </a:extLst>
              </a:tr>
            </a:tbl>
          </a:graphicData>
        </a:graphic>
      </p:graphicFrame>
      <p:sp>
        <p:nvSpPr>
          <p:cNvPr id="5" name="Rectangle 4">
            <a:extLst>
              <a:ext uri="{FF2B5EF4-FFF2-40B4-BE49-F238E27FC236}">
                <a16:creationId xmlns:a16="http://schemas.microsoft.com/office/drawing/2014/main" id="{CA239C86-91CF-98A2-E6A1-72FB7D1D93E5}"/>
              </a:ext>
            </a:extLst>
          </p:cNvPr>
          <p:cNvSpPr/>
          <p:nvPr/>
        </p:nvSpPr>
        <p:spPr>
          <a:xfrm>
            <a:off x="463295" y="1386516"/>
            <a:ext cx="3727705" cy="3308598"/>
          </a:xfrm>
          <a:prstGeom prst="rect">
            <a:avLst/>
          </a:prstGeom>
          <a:noFill/>
        </p:spPr>
        <p:txBody>
          <a:bodyPr wrap="square" lIns="0" tIns="0" rIns="0" bIns="0" rtlCol="0">
            <a:noAutofit/>
          </a:bodyPr>
          <a:lstStyle/>
          <a:p>
            <a:pPr>
              <a:spcAft>
                <a:spcPts val="600"/>
              </a:spcAft>
            </a:pPr>
            <a:r>
              <a:rPr lang="en-US" sz="12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Our experience undertaking multiple site global projects for the UN</a:t>
            </a:r>
          </a:p>
          <a:p>
            <a:pPr>
              <a:spcAft>
                <a:spcPts val="600"/>
              </a:spcAft>
            </a:pPr>
            <a:r>
              <a:rPr lang="en-US" sz="12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With projects in over 170 countries, the Deloitte global network has deep experience working with multinational organizations on five continents. </a:t>
            </a:r>
            <a:endParaRPr lang="hu-HU" sz="12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a:spcAft>
                <a:spcPts val="600"/>
              </a:spcAft>
            </a:pPr>
            <a:r>
              <a:rPr lang="en-US" sz="12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No better example of this exists than through our projects with the UN. Deloitte has collaborated with the UN’s management and staff, at all levels and in varied technical areas to respond to a number of the organization's needs for more than 25 UN entities. </a:t>
            </a:r>
            <a:endParaRPr lang="hu-HU" sz="12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a:spcAft>
                <a:spcPts val="600"/>
              </a:spcAft>
            </a:pPr>
            <a:r>
              <a:rPr lang="en-US" sz="12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his experience has allowed Deloitte to become familiar with the culture, organizational structure, policies and procedures, tools, methodologies, staff, rules and regulations, systems, controls, communication protocols, and other characteristics of your organization. </a:t>
            </a:r>
          </a:p>
        </p:txBody>
      </p:sp>
    </p:spTree>
    <p:extLst>
      <p:ext uri="{BB962C8B-B14F-4D97-AF65-F5344CB8AC3E}">
        <p14:creationId xmlns:p14="http://schemas.microsoft.com/office/powerpoint/2010/main" val="547913285"/>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9" name="think-cell data - do not delete" hidden="1">
            <a:extLst>
              <a:ext uri="{FF2B5EF4-FFF2-40B4-BE49-F238E27FC236}">
                <a16:creationId xmlns:a16="http://schemas.microsoft.com/office/drawing/2014/main" id="{7C0B7BE6-52CB-D1E0-41EB-4084FB2ACF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349" name="think-cell data - do not delete" hidden="1">
                        <a:extLst>
                          <a:ext uri="{FF2B5EF4-FFF2-40B4-BE49-F238E27FC236}">
                            <a16:creationId xmlns:a16="http://schemas.microsoft.com/office/drawing/2014/main" id="{7C0B7BE6-52CB-D1E0-41EB-4084FB2ACF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AF28E11-6F2C-2C86-11DE-5E35143FB0BC}"/>
              </a:ext>
            </a:extLst>
          </p:cNvPr>
          <p:cNvSpPr>
            <a:spLocks noGrp="1"/>
          </p:cNvSpPr>
          <p:nvPr>
            <p:ph type="body" sz="quarter" idx="22"/>
          </p:nvPr>
        </p:nvSpPr>
        <p:spPr/>
        <p:txBody>
          <a:bodyPr/>
          <a:lstStyle/>
          <a:p>
            <a:r>
              <a:rPr lang="en-GB" dirty="0"/>
              <a:t>Trade-offs associated with elementary operating models have to be considered to determine what fits best for the organization’s specific design needs </a:t>
            </a:r>
          </a:p>
        </p:txBody>
      </p:sp>
      <p:sp>
        <p:nvSpPr>
          <p:cNvPr id="3" name="Title 2">
            <a:extLst>
              <a:ext uri="{FF2B5EF4-FFF2-40B4-BE49-F238E27FC236}">
                <a16:creationId xmlns:a16="http://schemas.microsoft.com/office/drawing/2014/main" id="{3BCC0C0F-B5C2-55DD-275E-1ED5465D9A1E}"/>
              </a:ext>
            </a:extLst>
          </p:cNvPr>
          <p:cNvSpPr>
            <a:spLocks noGrp="1"/>
          </p:cNvSpPr>
          <p:nvPr>
            <p:ph type="title"/>
          </p:nvPr>
        </p:nvSpPr>
        <p:spPr>
          <a:xfrm>
            <a:off x="463295" y="417911"/>
            <a:ext cx="11053474" cy="334099"/>
          </a:xfrm>
        </p:spPr>
        <p:txBody>
          <a:bodyPr vert="horz"/>
          <a:lstStyle/>
          <a:p>
            <a:r>
              <a:rPr lang="en-GB" dirty="0"/>
              <a:t>Operating model benefits and challenges (</a:t>
            </a:r>
            <a:r>
              <a:rPr lang="hu-HU" dirty="0"/>
              <a:t>2</a:t>
            </a:r>
            <a:r>
              <a:rPr lang="en-GB" dirty="0"/>
              <a:t>/3)</a:t>
            </a:r>
            <a:endParaRPr lang="en-GB" strike="sngStrike" dirty="0">
              <a:solidFill>
                <a:srgbClr val="FF0000"/>
              </a:solidFill>
            </a:endParaRPr>
          </a:p>
        </p:txBody>
      </p:sp>
      <p:sp>
        <p:nvSpPr>
          <p:cNvPr id="1040" name="TextBox 1039">
            <a:extLst>
              <a:ext uri="{FF2B5EF4-FFF2-40B4-BE49-F238E27FC236}">
                <a16:creationId xmlns:a16="http://schemas.microsoft.com/office/drawing/2014/main" id="{DF784556-203C-192F-3F81-F2A0D43D7BC4}"/>
              </a:ext>
            </a:extLst>
          </p:cNvPr>
          <p:cNvSpPr txBox="1"/>
          <p:nvPr/>
        </p:nvSpPr>
        <p:spPr>
          <a:xfrm>
            <a:off x="851448" y="1632501"/>
            <a:ext cx="1276513" cy="234836"/>
          </a:xfrm>
          <a:prstGeom prst="rect">
            <a:avLst/>
          </a:prstGeom>
          <a:noFill/>
        </p:spPr>
        <p:txBody>
          <a:bodyPr wrap="square" lIns="0" tIns="0" rIns="0" bIns="0" rtlCol="0">
            <a:noAutofit/>
          </a:bodyPr>
          <a:lstStyle/>
          <a:p>
            <a:pPr>
              <a:spcBef>
                <a:spcPts val="600"/>
              </a:spcBef>
              <a:buSzPct val="100000"/>
            </a:pPr>
            <a:r>
              <a:rPr lang="hu-HU" sz="1200" dirty="0" err="1">
                <a:solidFill>
                  <a:prstClr val="black"/>
                </a:solidFill>
                <a:latin typeface="Open Sans"/>
              </a:rPr>
              <a:t>Function</a:t>
            </a:r>
            <a:r>
              <a:rPr lang="en-GB" sz="1200" dirty="0">
                <a:solidFill>
                  <a:prstClr val="black"/>
                </a:solidFill>
                <a:latin typeface="Open Sans"/>
              </a:rPr>
              <a:t> oriented</a:t>
            </a:r>
          </a:p>
        </p:txBody>
      </p:sp>
      <p:sp>
        <p:nvSpPr>
          <p:cNvPr id="1271" name="Oval 1270">
            <a:extLst>
              <a:ext uri="{FF2B5EF4-FFF2-40B4-BE49-F238E27FC236}">
                <a16:creationId xmlns:a16="http://schemas.microsoft.com/office/drawing/2014/main" id="{DD9E107B-A51A-6251-5951-1AF7E5D54552}"/>
              </a:ext>
            </a:extLst>
          </p:cNvPr>
          <p:cNvSpPr/>
          <p:nvPr/>
        </p:nvSpPr>
        <p:spPr bwMode="gray">
          <a:xfrm>
            <a:off x="574584" y="1603881"/>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dirty="0">
                <a:ln>
                  <a:noFill/>
                </a:ln>
                <a:solidFill>
                  <a:prstClr val="black"/>
                </a:solidFill>
                <a:effectLst/>
                <a:uLnTx/>
                <a:uFillTx/>
                <a:latin typeface="Open Sans"/>
              </a:rPr>
              <a:t>4</a:t>
            </a:r>
            <a:endParaRPr kumimoji="0" lang="en-GB" sz="1200" b="0" i="0" u="none" strike="noStrike" kern="0" cap="none" spc="0" normalizeH="0" baseline="0" dirty="0">
              <a:ln>
                <a:noFill/>
              </a:ln>
              <a:solidFill>
                <a:prstClr val="black"/>
              </a:solidFill>
              <a:effectLst/>
              <a:uLnTx/>
              <a:uFillTx/>
              <a:latin typeface="Open Sans"/>
            </a:endParaRPr>
          </a:p>
        </p:txBody>
      </p:sp>
      <p:sp>
        <p:nvSpPr>
          <p:cNvPr id="1227" name="TextBox 1226">
            <a:extLst>
              <a:ext uri="{FF2B5EF4-FFF2-40B4-BE49-F238E27FC236}">
                <a16:creationId xmlns:a16="http://schemas.microsoft.com/office/drawing/2014/main" id="{44E09B9E-69A3-24BE-B60C-2F846D80F77E}"/>
              </a:ext>
            </a:extLst>
          </p:cNvPr>
          <p:cNvSpPr txBox="1"/>
          <p:nvPr/>
        </p:nvSpPr>
        <p:spPr>
          <a:xfrm>
            <a:off x="835564" y="3273162"/>
            <a:ext cx="2039380" cy="234836"/>
          </a:xfrm>
          <a:prstGeom prst="rect">
            <a:avLst/>
          </a:prstGeom>
          <a:noFill/>
        </p:spPr>
        <p:txBody>
          <a:bodyPr wrap="square" lIns="0" tIns="0" rIns="0" bIns="0" rtlCol="0">
            <a:noAutofit/>
          </a:bodyPr>
          <a:lstStyle/>
          <a:p>
            <a:pPr>
              <a:spcBef>
                <a:spcPts val="600"/>
              </a:spcBef>
              <a:buSzPct val="100000"/>
            </a:pPr>
            <a:r>
              <a:rPr lang="hu-HU" sz="1200" dirty="0" err="1">
                <a:solidFill>
                  <a:prstClr val="black"/>
                </a:solidFill>
                <a:latin typeface="Open Sans"/>
              </a:rPr>
              <a:t>Process</a:t>
            </a:r>
            <a:r>
              <a:rPr lang="en-GB" sz="1200" dirty="0">
                <a:solidFill>
                  <a:prstClr val="black"/>
                </a:solidFill>
                <a:latin typeface="Open Sans"/>
              </a:rPr>
              <a:t> oriented</a:t>
            </a:r>
          </a:p>
        </p:txBody>
      </p:sp>
      <p:sp>
        <p:nvSpPr>
          <p:cNvPr id="1272" name="Oval 1271">
            <a:extLst>
              <a:ext uri="{FF2B5EF4-FFF2-40B4-BE49-F238E27FC236}">
                <a16:creationId xmlns:a16="http://schemas.microsoft.com/office/drawing/2014/main" id="{56CDE026-D81E-D05E-4823-048BDEC059C0}"/>
              </a:ext>
            </a:extLst>
          </p:cNvPr>
          <p:cNvSpPr/>
          <p:nvPr/>
        </p:nvSpPr>
        <p:spPr bwMode="gray">
          <a:xfrm>
            <a:off x="574584" y="3251909"/>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dirty="0">
                <a:ln>
                  <a:noFill/>
                </a:ln>
                <a:solidFill>
                  <a:prstClr val="black"/>
                </a:solidFill>
                <a:effectLst/>
                <a:uLnTx/>
                <a:uFillTx/>
                <a:latin typeface="Open Sans"/>
              </a:rPr>
              <a:t>5</a:t>
            </a:r>
            <a:endParaRPr kumimoji="0" lang="en-GB" sz="1200" b="0" i="0" u="none" strike="noStrike" kern="0" cap="none" spc="0" normalizeH="0" baseline="0" dirty="0">
              <a:ln>
                <a:noFill/>
              </a:ln>
              <a:solidFill>
                <a:prstClr val="black"/>
              </a:solidFill>
              <a:effectLst/>
              <a:uLnTx/>
              <a:uFillTx/>
              <a:latin typeface="Open Sans"/>
            </a:endParaRPr>
          </a:p>
        </p:txBody>
      </p:sp>
      <p:sp>
        <p:nvSpPr>
          <p:cNvPr id="1041" name="TextBox 1040">
            <a:extLst>
              <a:ext uri="{FF2B5EF4-FFF2-40B4-BE49-F238E27FC236}">
                <a16:creationId xmlns:a16="http://schemas.microsoft.com/office/drawing/2014/main" id="{AAE45011-78F4-7BB1-A291-B44A0475EF20}"/>
              </a:ext>
            </a:extLst>
          </p:cNvPr>
          <p:cNvSpPr txBox="1"/>
          <p:nvPr/>
        </p:nvSpPr>
        <p:spPr>
          <a:xfrm>
            <a:off x="763657" y="4929211"/>
            <a:ext cx="1598169" cy="278923"/>
          </a:xfrm>
          <a:prstGeom prst="rect">
            <a:avLst/>
          </a:prstGeom>
          <a:noFill/>
        </p:spPr>
        <p:txBody>
          <a:bodyPr wrap="square">
            <a:spAutoFit/>
          </a:bodyPr>
          <a:lstStyle/>
          <a:p>
            <a:pPr>
              <a:lnSpc>
                <a:spcPct val="106000"/>
              </a:lnSpc>
              <a:buFont typeface="Wingdings 2" pitchFamily="18" charset="2"/>
              <a:buNone/>
              <a:defRPr/>
            </a:pPr>
            <a:r>
              <a:rPr lang="hu-HU" sz="1200" dirty="0">
                <a:solidFill>
                  <a:prstClr val="black"/>
                </a:solidFill>
                <a:latin typeface="Open Sans"/>
                <a:cs typeface="Calibri" panose="020F0502020204030204" pitchFamily="34" charset="0"/>
              </a:rPr>
              <a:t>Network</a:t>
            </a:r>
            <a:r>
              <a:rPr lang="en-GB" sz="1200" dirty="0">
                <a:solidFill>
                  <a:prstClr val="black"/>
                </a:solidFill>
                <a:latin typeface="Open Sans"/>
                <a:cs typeface="Calibri" panose="020F0502020204030204" pitchFamily="34" charset="0"/>
              </a:rPr>
              <a:t> oriented</a:t>
            </a:r>
          </a:p>
        </p:txBody>
      </p:sp>
      <p:sp>
        <p:nvSpPr>
          <p:cNvPr id="1274" name="Oval 1273">
            <a:extLst>
              <a:ext uri="{FF2B5EF4-FFF2-40B4-BE49-F238E27FC236}">
                <a16:creationId xmlns:a16="http://schemas.microsoft.com/office/drawing/2014/main" id="{30844B56-1B10-F0E7-D795-0EDDC58BA86A}"/>
              </a:ext>
            </a:extLst>
          </p:cNvPr>
          <p:cNvSpPr/>
          <p:nvPr/>
        </p:nvSpPr>
        <p:spPr bwMode="gray">
          <a:xfrm>
            <a:off x="582266" y="4946424"/>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200" b="0" i="0" u="none" strike="noStrike" kern="0" cap="none" spc="0" normalizeH="0" baseline="0" dirty="0">
                <a:ln>
                  <a:noFill/>
                </a:ln>
                <a:solidFill>
                  <a:prstClr val="black"/>
                </a:solidFill>
                <a:effectLst/>
                <a:uLnTx/>
                <a:uFillTx/>
                <a:latin typeface="Open Sans"/>
              </a:rPr>
              <a:t>6</a:t>
            </a:r>
            <a:endParaRPr kumimoji="0" lang="en-GB" sz="1200" b="0" i="0" u="none" strike="noStrike" kern="0" cap="none" spc="0" normalizeH="0" baseline="0" dirty="0">
              <a:ln>
                <a:noFill/>
              </a:ln>
              <a:solidFill>
                <a:prstClr val="black"/>
              </a:solidFill>
              <a:effectLst/>
              <a:uLnTx/>
              <a:uFillTx/>
              <a:latin typeface="Open Sans"/>
            </a:endParaRPr>
          </a:p>
        </p:txBody>
      </p:sp>
      <p:sp>
        <p:nvSpPr>
          <p:cNvPr id="20" name="TextBox 19">
            <a:extLst>
              <a:ext uri="{FF2B5EF4-FFF2-40B4-BE49-F238E27FC236}">
                <a16:creationId xmlns:a16="http://schemas.microsoft.com/office/drawing/2014/main" id="{63080E56-82F4-9C34-E23F-16A3E0AE66D0}"/>
              </a:ext>
            </a:extLst>
          </p:cNvPr>
          <p:cNvSpPr txBox="1"/>
          <p:nvPr/>
        </p:nvSpPr>
        <p:spPr>
          <a:xfrm>
            <a:off x="4914899" y="1563507"/>
            <a:ext cx="870857" cy="184666"/>
          </a:xfrm>
          <a:prstGeom prst="rect">
            <a:avLst/>
          </a:prstGeom>
          <a:noFill/>
        </p:spPr>
        <p:txBody>
          <a:bodyPr wrap="square" lIns="0" tIns="0" rIns="0" bIns="0" rtlCol="0">
            <a:spAutoFit/>
          </a:bodyPr>
          <a:lstStyle/>
          <a:p>
            <a:pPr>
              <a:spcBef>
                <a:spcPts val="600"/>
              </a:spcBef>
              <a:buSzPct val="100000"/>
            </a:pPr>
            <a:r>
              <a:rPr lang="en-GB" sz="1200" dirty="0">
                <a:latin typeface="Open Sans (Body)"/>
              </a:rPr>
              <a:t>Benefits</a:t>
            </a:r>
          </a:p>
        </p:txBody>
      </p:sp>
      <p:sp>
        <p:nvSpPr>
          <p:cNvPr id="21" name="TextBox 20">
            <a:extLst>
              <a:ext uri="{FF2B5EF4-FFF2-40B4-BE49-F238E27FC236}">
                <a16:creationId xmlns:a16="http://schemas.microsoft.com/office/drawing/2014/main" id="{7D374F64-C747-90E2-426C-CAF6594ABADE}"/>
              </a:ext>
            </a:extLst>
          </p:cNvPr>
          <p:cNvSpPr txBox="1"/>
          <p:nvPr/>
        </p:nvSpPr>
        <p:spPr>
          <a:xfrm>
            <a:off x="9125692" y="1563507"/>
            <a:ext cx="870857" cy="184666"/>
          </a:xfrm>
          <a:prstGeom prst="rect">
            <a:avLst/>
          </a:prstGeom>
          <a:noFill/>
        </p:spPr>
        <p:txBody>
          <a:bodyPr wrap="square" lIns="0" tIns="0" rIns="0" bIns="0" rtlCol="0">
            <a:spAutoFit/>
          </a:bodyPr>
          <a:lstStyle/>
          <a:p>
            <a:pPr>
              <a:spcBef>
                <a:spcPts val="600"/>
              </a:spcBef>
              <a:buSzPct val="100000"/>
            </a:pPr>
            <a:r>
              <a:rPr lang="en-GB" sz="1200" dirty="0">
                <a:latin typeface="Open Sans (Body)"/>
              </a:rPr>
              <a:t>Challenges</a:t>
            </a:r>
          </a:p>
        </p:txBody>
      </p:sp>
      <p:pic>
        <p:nvPicPr>
          <p:cNvPr id="35" name="Picture 34">
            <a:extLst>
              <a:ext uri="{FF2B5EF4-FFF2-40B4-BE49-F238E27FC236}">
                <a16:creationId xmlns:a16="http://schemas.microsoft.com/office/drawing/2014/main" id="{69783FB6-F893-BE3D-6A71-BA939C695CEA}"/>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179026" y="1808697"/>
            <a:ext cx="1273175" cy="687925"/>
          </a:xfrm>
          <a:prstGeom prst="rect">
            <a:avLst/>
          </a:prstGeom>
        </p:spPr>
      </p:pic>
      <p:sp>
        <p:nvSpPr>
          <p:cNvPr id="36" name="Rectangle: Rounded Corners 35">
            <a:extLst>
              <a:ext uri="{FF2B5EF4-FFF2-40B4-BE49-F238E27FC236}">
                <a16:creationId xmlns:a16="http://schemas.microsoft.com/office/drawing/2014/main" id="{371CDFE2-7772-25AE-F06C-629E40887602}"/>
              </a:ext>
            </a:extLst>
          </p:cNvPr>
          <p:cNvSpPr/>
          <p:nvPr/>
        </p:nvSpPr>
        <p:spPr bwMode="gray">
          <a:xfrm>
            <a:off x="699077" y="2518935"/>
            <a:ext cx="2260820" cy="682996"/>
          </a:xfrm>
          <a:prstGeom prst="roundRect">
            <a:avLst/>
          </a:prstGeom>
          <a:ln>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000" b="0" i="0" u="none" strike="noStrike" baseline="0" dirty="0">
                <a:solidFill>
                  <a:srgbClr val="000000"/>
                </a:solidFill>
                <a:latin typeface="Open Sans (Body)"/>
              </a:rPr>
              <a:t>Grouping by function and typically used when markets are stable and undifferentiated requiring need for </a:t>
            </a:r>
            <a:r>
              <a:rPr lang="en-US" sz="1000" b="0" i="0" u="none" strike="noStrike" baseline="0" dirty="0" err="1">
                <a:solidFill>
                  <a:srgbClr val="000000"/>
                </a:solidFill>
                <a:latin typeface="Open Sans (Body)"/>
              </a:rPr>
              <a:t>specia</a:t>
            </a:r>
            <a:r>
              <a:rPr lang="hu-HU" sz="1000" b="0" i="0" u="none" strike="noStrike" baseline="0" dirty="0" err="1">
                <a:solidFill>
                  <a:srgbClr val="000000"/>
                </a:solidFill>
                <a:latin typeface="Open Sans (Body)"/>
              </a:rPr>
              <a:t>lization</a:t>
            </a:r>
            <a:endParaRPr lang="hu-HU" sz="1000" b="1" dirty="0">
              <a:solidFill>
                <a:schemeClr val="bg1"/>
              </a:solidFill>
              <a:latin typeface="Open Sans (Body)"/>
            </a:endParaRPr>
          </a:p>
        </p:txBody>
      </p:sp>
      <p:pic>
        <p:nvPicPr>
          <p:cNvPr id="38" name="Picture 37">
            <a:extLst>
              <a:ext uri="{FF2B5EF4-FFF2-40B4-BE49-F238E27FC236}">
                <a16:creationId xmlns:a16="http://schemas.microsoft.com/office/drawing/2014/main" id="{433F2EF1-3F0F-3B4C-089A-8ADDC76FE451}"/>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194730" y="3463345"/>
            <a:ext cx="1254288" cy="694944"/>
          </a:xfrm>
          <a:prstGeom prst="rect">
            <a:avLst/>
          </a:prstGeom>
        </p:spPr>
      </p:pic>
      <p:sp>
        <p:nvSpPr>
          <p:cNvPr id="39" name="Rectangle: Rounded Corners 38">
            <a:extLst>
              <a:ext uri="{FF2B5EF4-FFF2-40B4-BE49-F238E27FC236}">
                <a16:creationId xmlns:a16="http://schemas.microsoft.com/office/drawing/2014/main" id="{729CBF68-FC7F-7619-B90A-709242FF03D9}"/>
              </a:ext>
            </a:extLst>
          </p:cNvPr>
          <p:cNvSpPr/>
          <p:nvPr/>
        </p:nvSpPr>
        <p:spPr bwMode="gray">
          <a:xfrm>
            <a:off x="698305" y="4167085"/>
            <a:ext cx="2260820" cy="682996"/>
          </a:xfrm>
          <a:prstGeom prst="roundRect">
            <a:avLst/>
          </a:prstGeom>
          <a:ln>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000" b="0" i="0" u="none" strike="noStrike" baseline="0" dirty="0">
                <a:solidFill>
                  <a:srgbClr val="000000"/>
                </a:solidFill>
                <a:latin typeface="Open Sans (Body)"/>
              </a:rPr>
              <a:t>Grouping by specialized process teams and typically used when better value can be created by enhancing internal coordination</a:t>
            </a:r>
            <a:endParaRPr lang="hu-HU" sz="1000" b="1" dirty="0">
              <a:solidFill>
                <a:schemeClr val="bg1"/>
              </a:solidFill>
              <a:latin typeface="Open Sans (Body)"/>
            </a:endParaRPr>
          </a:p>
        </p:txBody>
      </p:sp>
      <p:pic>
        <p:nvPicPr>
          <p:cNvPr id="55" name="Picture 54">
            <a:extLst>
              <a:ext uri="{FF2B5EF4-FFF2-40B4-BE49-F238E27FC236}">
                <a16:creationId xmlns:a16="http://schemas.microsoft.com/office/drawing/2014/main" id="{3894805B-C742-EB87-B72D-2A75DC9D0208}"/>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79026" y="5225499"/>
            <a:ext cx="1264743" cy="694944"/>
          </a:xfrm>
          <a:prstGeom prst="rect">
            <a:avLst/>
          </a:prstGeom>
        </p:spPr>
      </p:pic>
      <p:sp>
        <p:nvSpPr>
          <p:cNvPr id="56" name="Rectangle: Rounded Corners 55">
            <a:extLst>
              <a:ext uri="{FF2B5EF4-FFF2-40B4-BE49-F238E27FC236}">
                <a16:creationId xmlns:a16="http://schemas.microsoft.com/office/drawing/2014/main" id="{DE2EDB13-2C91-97C2-4B2A-D0099D6E1F2D}"/>
              </a:ext>
            </a:extLst>
          </p:cNvPr>
          <p:cNvSpPr/>
          <p:nvPr/>
        </p:nvSpPr>
        <p:spPr bwMode="gray">
          <a:xfrm>
            <a:off x="698304" y="5943090"/>
            <a:ext cx="2260821" cy="682996"/>
          </a:xfrm>
          <a:prstGeom prst="roundRect">
            <a:avLst/>
          </a:prstGeom>
          <a:ln>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000" b="0" i="0" u="none" strike="noStrike" baseline="0" dirty="0">
                <a:solidFill>
                  <a:srgbClr val="000000"/>
                </a:solidFill>
                <a:latin typeface="Open Sans (Body)"/>
              </a:rPr>
              <a:t>Configuration used when processes/ functions</a:t>
            </a:r>
            <a:r>
              <a:rPr lang="hu-HU" sz="1000" b="0" i="0" u="none" strike="noStrike" baseline="0" dirty="0">
                <a:solidFill>
                  <a:srgbClr val="000000"/>
                </a:solidFill>
                <a:latin typeface="Open Sans (Body)"/>
              </a:rPr>
              <a:t> </a:t>
            </a:r>
            <a:r>
              <a:rPr lang="en-US" sz="1000" b="0" i="0" u="none" strike="noStrike" baseline="0" dirty="0">
                <a:solidFill>
                  <a:srgbClr val="000000"/>
                </a:solidFill>
                <a:latin typeface="Open Sans (Body)"/>
              </a:rPr>
              <a:t>can be outsourced to achieve better efficiencies and focus</a:t>
            </a:r>
            <a:endParaRPr lang="hu-HU" sz="1000" b="1" dirty="0">
              <a:solidFill>
                <a:schemeClr val="bg1"/>
              </a:solidFill>
              <a:latin typeface="Open Sans (Body)"/>
            </a:endParaRPr>
          </a:p>
        </p:txBody>
      </p:sp>
      <p:cxnSp>
        <p:nvCxnSpPr>
          <p:cNvPr id="57" name="Straight Connector 56">
            <a:extLst>
              <a:ext uri="{FF2B5EF4-FFF2-40B4-BE49-F238E27FC236}">
                <a16:creationId xmlns:a16="http://schemas.microsoft.com/office/drawing/2014/main" id="{80D114B8-D400-ACCE-0947-49D8A127D5E7}"/>
              </a:ext>
            </a:extLst>
          </p:cNvPr>
          <p:cNvCxnSpPr>
            <a:cxnSpLocks/>
          </p:cNvCxnSpPr>
          <p:nvPr/>
        </p:nvCxnSpPr>
        <p:spPr>
          <a:xfrm>
            <a:off x="5636820"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5" name="Straight Connector 644">
            <a:extLst>
              <a:ext uri="{FF2B5EF4-FFF2-40B4-BE49-F238E27FC236}">
                <a16:creationId xmlns:a16="http://schemas.microsoft.com/office/drawing/2014/main" id="{DE0CAA04-CC51-09F5-8D60-EC81FF31AC66}"/>
              </a:ext>
            </a:extLst>
          </p:cNvPr>
          <p:cNvCxnSpPr>
            <a:cxnSpLocks/>
          </p:cNvCxnSpPr>
          <p:nvPr/>
        </p:nvCxnSpPr>
        <p:spPr>
          <a:xfrm>
            <a:off x="3257302"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6" name="Straight Connector 645">
            <a:extLst>
              <a:ext uri="{FF2B5EF4-FFF2-40B4-BE49-F238E27FC236}">
                <a16:creationId xmlns:a16="http://schemas.microsoft.com/office/drawing/2014/main" id="{93A7F594-62CD-ABF3-FF5E-DE46C18ED651}"/>
              </a:ext>
            </a:extLst>
          </p:cNvPr>
          <p:cNvCxnSpPr>
            <a:cxnSpLocks/>
          </p:cNvCxnSpPr>
          <p:nvPr/>
        </p:nvCxnSpPr>
        <p:spPr>
          <a:xfrm>
            <a:off x="9954985"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7" name="Straight Connector 646">
            <a:extLst>
              <a:ext uri="{FF2B5EF4-FFF2-40B4-BE49-F238E27FC236}">
                <a16:creationId xmlns:a16="http://schemas.microsoft.com/office/drawing/2014/main" id="{78B8F379-D2EF-10B3-C7D2-82941B9D9289}"/>
              </a:ext>
            </a:extLst>
          </p:cNvPr>
          <p:cNvCxnSpPr>
            <a:cxnSpLocks/>
          </p:cNvCxnSpPr>
          <p:nvPr/>
        </p:nvCxnSpPr>
        <p:spPr>
          <a:xfrm>
            <a:off x="7575467"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sp>
        <p:nvSpPr>
          <p:cNvPr id="649" name="TextBox 648">
            <a:extLst>
              <a:ext uri="{FF2B5EF4-FFF2-40B4-BE49-F238E27FC236}">
                <a16:creationId xmlns:a16="http://schemas.microsoft.com/office/drawing/2014/main" id="{8A07D505-64AC-96A6-9630-03DF73CB68C6}"/>
              </a:ext>
            </a:extLst>
          </p:cNvPr>
          <p:cNvSpPr txBox="1"/>
          <p:nvPr/>
        </p:nvSpPr>
        <p:spPr>
          <a:xfrm>
            <a:off x="3257302" y="1767231"/>
            <a:ext cx="3831656" cy="1354217"/>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Attention to function results in specialization and better output quality</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Leads to efficiencies as like resources are shares across organization</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Clear line of sight of responsibility within each function</a:t>
            </a:r>
          </a:p>
        </p:txBody>
      </p:sp>
      <p:sp>
        <p:nvSpPr>
          <p:cNvPr id="650" name="TextBox 649">
            <a:extLst>
              <a:ext uri="{FF2B5EF4-FFF2-40B4-BE49-F238E27FC236}">
                <a16:creationId xmlns:a16="http://schemas.microsoft.com/office/drawing/2014/main" id="{85B49F39-9C4E-9E15-9531-FBC97D153607}"/>
              </a:ext>
            </a:extLst>
          </p:cNvPr>
          <p:cNvSpPr txBox="1"/>
          <p:nvPr/>
        </p:nvSpPr>
        <p:spPr>
          <a:xfrm>
            <a:off x="7508896" y="1767231"/>
            <a:ext cx="3831656" cy="1354217"/>
          </a:xfrm>
          <a:prstGeom prst="rect">
            <a:avLst/>
          </a:prstGeom>
          <a:noFill/>
        </p:spPr>
        <p:txBody>
          <a:bodyPr wrap="square">
            <a:spAutoFit/>
          </a:bodyPr>
          <a:lstStyle/>
          <a:p>
            <a:pPr marL="171450" indent="-171450" algn="l">
              <a:spcAft>
                <a:spcPts val="600"/>
              </a:spcAft>
              <a:buFont typeface="Arial" panose="020B0604020202020204" pitchFamily="34" charset="0"/>
              <a:buChar char="•"/>
            </a:pPr>
            <a:r>
              <a:rPr lang="en-US" sz="1200" b="0" i="0" u="none" strike="noStrike" baseline="0" dirty="0">
                <a:solidFill>
                  <a:srgbClr val="000000"/>
                </a:solidFill>
                <a:latin typeface="Open Sans (Body)"/>
              </a:rPr>
              <a:t>Lack of coordination between functions may result in slower execution</a:t>
            </a:r>
          </a:p>
          <a:p>
            <a:pPr marL="171450" indent="-171450" algn="l">
              <a:spcAft>
                <a:spcPts val="600"/>
              </a:spcAft>
              <a:buFont typeface="Arial" panose="020B0604020202020204" pitchFamily="34" charset="0"/>
              <a:buChar char="•"/>
            </a:pPr>
            <a:r>
              <a:rPr lang="en-US" sz="1200" b="0" i="0" u="none" strike="noStrike" baseline="0" dirty="0">
                <a:solidFill>
                  <a:srgbClr val="000000"/>
                </a:solidFill>
                <a:latin typeface="Open Sans (Body)"/>
              </a:rPr>
              <a:t>Priority mismatch between functions may lead to sub-optimal outcomes</a:t>
            </a:r>
          </a:p>
          <a:p>
            <a:pPr marL="171450" indent="-171450" algn="l">
              <a:spcAft>
                <a:spcPts val="600"/>
              </a:spcAft>
              <a:buFont typeface="Arial" panose="020B0604020202020204" pitchFamily="34" charset="0"/>
              <a:buChar char="•"/>
            </a:pPr>
            <a:r>
              <a:rPr lang="en-US" sz="1200" b="0" i="0" u="none" strike="noStrike" baseline="0" dirty="0">
                <a:solidFill>
                  <a:srgbClr val="000000"/>
                </a:solidFill>
                <a:latin typeface="Open Sans (Body)"/>
              </a:rPr>
              <a:t>Functional silos result in lack of identification with organization goals</a:t>
            </a:r>
          </a:p>
        </p:txBody>
      </p:sp>
      <p:sp>
        <p:nvSpPr>
          <p:cNvPr id="651" name="TextBox 650">
            <a:extLst>
              <a:ext uri="{FF2B5EF4-FFF2-40B4-BE49-F238E27FC236}">
                <a16:creationId xmlns:a16="http://schemas.microsoft.com/office/drawing/2014/main" id="{BD6D09FE-0651-D420-1C55-7480E50E1CFB}"/>
              </a:ext>
            </a:extLst>
          </p:cNvPr>
          <p:cNvSpPr txBox="1"/>
          <p:nvPr/>
        </p:nvSpPr>
        <p:spPr>
          <a:xfrm>
            <a:off x="3257302" y="3489976"/>
            <a:ext cx="3831656" cy="1169551"/>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Faster decision making due to reduced hierarchy</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Faster and better-quality response to customer needs</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Empowered employees have better job satisfaction and organizational identity</a:t>
            </a:r>
          </a:p>
        </p:txBody>
      </p:sp>
      <p:sp>
        <p:nvSpPr>
          <p:cNvPr id="652" name="TextBox 651">
            <a:extLst>
              <a:ext uri="{FF2B5EF4-FFF2-40B4-BE49-F238E27FC236}">
                <a16:creationId xmlns:a16="http://schemas.microsoft.com/office/drawing/2014/main" id="{83B5B9DA-2F26-1EC7-7845-31D4C60806EB}"/>
              </a:ext>
            </a:extLst>
          </p:cNvPr>
          <p:cNvSpPr txBox="1"/>
          <p:nvPr/>
        </p:nvSpPr>
        <p:spPr>
          <a:xfrm>
            <a:off x="7575467" y="3480509"/>
            <a:ext cx="3831656" cy="1092607"/>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Redesign to a process oriented structure is often a difficult transformation process with considerable transition time</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May need to maintain a functional expert team to handle exceptional issues</a:t>
            </a:r>
          </a:p>
        </p:txBody>
      </p:sp>
      <p:sp>
        <p:nvSpPr>
          <p:cNvPr id="653" name="TextBox 652">
            <a:extLst>
              <a:ext uri="{FF2B5EF4-FFF2-40B4-BE49-F238E27FC236}">
                <a16:creationId xmlns:a16="http://schemas.microsoft.com/office/drawing/2014/main" id="{F199E8DF-9F10-A23A-FF2C-134BF5E9A61B}"/>
              </a:ext>
            </a:extLst>
          </p:cNvPr>
          <p:cNvSpPr txBox="1"/>
          <p:nvPr/>
        </p:nvSpPr>
        <p:spPr>
          <a:xfrm>
            <a:off x="3257302" y="5171211"/>
            <a:ext cx="3831656" cy="1354217"/>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Resources can focus on core activities that add real value to customer</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Enhanced efficiencies due to labor arbitrage and reduced administration</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Ability to rapidly change operations’ scale, talent mix and other capabilities</a:t>
            </a:r>
          </a:p>
        </p:txBody>
      </p:sp>
      <p:sp>
        <p:nvSpPr>
          <p:cNvPr id="654" name="TextBox 653">
            <a:extLst>
              <a:ext uri="{FF2B5EF4-FFF2-40B4-BE49-F238E27FC236}">
                <a16:creationId xmlns:a16="http://schemas.microsoft.com/office/drawing/2014/main" id="{B510AAED-017F-CEEA-26AF-D8052E0360E0}"/>
              </a:ext>
            </a:extLst>
          </p:cNvPr>
          <p:cNvSpPr txBox="1"/>
          <p:nvPr/>
        </p:nvSpPr>
        <p:spPr>
          <a:xfrm>
            <a:off x="7575467" y="5161744"/>
            <a:ext cx="3831656" cy="1354217"/>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Reduced ability to control output quality from outsourced areas</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Monitoring and switching costs may be associated with outsourcing partners</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May result in loss of organically grown in-house skills in key areas</a:t>
            </a:r>
          </a:p>
        </p:txBody>
      </p:sp>
      <p:cxnSp>
        <p:nvCxnSpPr>
          <p:cNvPr id="656" name="Straight Connector 655">
            <a:extLst>
              <a:ext uri="{FF2B5EF4-FFF2-40B4-BE49-F238E27FC236}">
                <a16:creationId xmlns:a16="http://schemas.microsoft.com/office/drawing/2014/main" id="{60A9F107-A249-8B40-CC4A-D5FF2C7707DD}"/>
              </a:ext>
            </a:extLst>
          </p:cNvPr>
          <p:cNvCxnSpPr>
            <a:cxnSpLocks/>
          </p:cNvCxnSpPr>
          <p:nvPr/>
        </p:nvCxnSpPr>
        <p:spPr>
          <a:xfrm>
            <a:off x="3257302" y="4946424"/>
            <a:ext cx="8259467"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57" name="Straight Connector 656">
            <a:extLst>
              <a:ext uri="{FF2B5EF4-FFF2-40B4-BE49-F238E27FC236}">
                <a16:creationId xmlns:a16="http://schemas.microsoft.com/office/drawing/2014/main" id="{F188B1D0-D797-BF53-AAE7-AC4C8B02AA76}"/>
              </a:ext>
            </a:extLst>
          </p:cNvPr>
          <p:cNvCxnSpPr>
            <a:cxnSpLocks/>
          </p:cNvCxnSpPr>
          <p:nvPr/>
        </p:nvCxnSpPr>
        <p:spPr>
          <a:xfrm>
            <a:off x="3257302" y="3201931"/>
            <a:ext cx="8259467"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3651122273"/>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9" name="think-cell data - do not delete" hidden="1">
            <a:extLst>
              <a:ext uri="{FF2B5EF4-FFF2-40B4-BE49-F238E27FC236}">
                <a16:creationId xmlns:a16="http://schemas.microsoft.com/office/drawing/2014/main" id="{7C0B7BE6-52CB-D1E0-41EB-4084FB2ACF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349" name="think-cell data - do not delete" hidden="1">
                        <a:extLst>
                          <a:ext uri="{FF2B5EF4-FFF2-40B4-BE49-F238E27FC236}">
                            <a16:creationId xmlns:a16="http://schemas.microsoft.com/office/drawing/2014/main" id="{7C0B7BE6-52CB-D1E0-41EB-4084FB2ACF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AF28E11-6F2C-2C86-11DE-5E35143FB0BC}"/>
              </a:ext>
            </a:extLst>
          </p:cNvPr>
          <p:cNvSpPr>
            <a:spLocks noGrp="1"/>
          </p:cNvSpPr>
          <p:nvPr>
            <p:ph type="body" sz="quarter" idx="22"/>
          </p:nvPr>
        </p:nvSpPr>
        <p:spPr/>
        <p:txBody>
          <a:bodyPr/>
          <a:lstStyle/>
          <a:p>
            <a:r>
              <a:rPr lang="en-US" dirty="0"/>
              <a:t>Trade-offs associated with elementary operating models have to be considered to determine what fits best for the organization’s specific design needs </a:t>
            </a:r>
          </a:p>
        </p:txBody>
      </p:sp>
      <p:sp>
        <p:nvSpPr>
          <p:cNvPr id="3" name="Title 2">
            <a:extLst>
              <a:ext uri="{FF2B5EF4-FFF2-40B4-BE49-F238E27FC236}">
                <a16:creationId xmlns:a16="http://schemas.microsoft.com/office/drawing/2014/main" id="{3BCC0C0F-B5C2-55DD-275E-1ED5465D9A1E}"/>
              </a:ext>
            </a:extLst>
          </p:cNvPr>
          <p:cNvSpPr>
            <a:spLocks noGrp="1"/>
          </p:cNvSpPr>
          <p:nvPr>
            <p:ph type="title"/>
          </p:nvPr>
        </p:nvSpPr>
        <p:spPr>
          <a:xfrm>
            <a:off x="463295" y="417911"/>
            <a:ext cx="11053474" cy="334099"/>
          </a:xfrm>
        </p:spPr>
        <p:txBody>
          <a:bodyPr vert="horz"/>
          <a:lstStyle/>
          <a:p>
            <a:r>
              <a:rPr lang="en-US" dirty="0"/>
              <a:t>Operating model benefits and challenges (3/3)</a:t>
            </a:r>
            <a:endParaRPr lang="en-US" strike="sngStrike" dirty="0">
              <a:solidFill>
                <a:srgbClr val="FF0000"/>
              </a:solidFill>
            </a:endParaRPr>
          </a:p>
        </p:txBody>
      </p:sp>
      <p:sp>
        <p:nvSpPr>
          <p:cNvPr id="1040" name="TextBox 1039">
            <a:extLst>
              <a:ext uri="{FF2B5EF4-FFF2-40B4-BE49-F238E27FC236}">
                <a16:creationId xmlns:a16="http://schemas.microsoft.com/office/drawing/2014/main" id="{DF784556-203C-192F-3F81-F2A0D43D7BC4}"/>
              </a:ext>
            </a:extLst>
          </p:cNvPr>
          <p:cNvSpPr txBox="1"/>
          <p:nvPr/>
        </p:nvSpPr>
        <p:spPr>
          <a:xfrm>
            <a:off x="851448" y="1632501"/>
            <a:ext cx="1276513" cy="234836"/>
          </a:xfrm>
          <a:prstGeom prst="rect">
            <a:avLst/>
          </a:prstGeom>
          <a:noFill/>
        </p:spPr>
        <p:txBody>
          <a:bodyPr wrap="square" lIns="0" tIns="0" rIns="0" bIns="0" rtlCol="0">
            <a:noAutofit/>
          </a:bodyPr>
          <a:lstStyle/>
          <a:p>
            <a:pPr>
              <a:spcBef>
                <a:spcPts val="600"/>
              </a:spcBef>
              <a:buSzPct val="100000"/>
            </a:pPr>
            <a:r>
              <a:rPr lang="en-US" sz="1200" dirty="0">
                <a:solidFill>
                  <a:prstClr val="black"/>
                </a:solidFill>
                <a:latin typeface="Open Sans"/>
              </a:rPr>
              <a:t>Matrix oriented</a:t>
            </a:r>
          </a:p>
        </p:txBody>
      </p:sp>
      <p:sp>
        <p:nvSpPr>
          <p:cNvPr id="1271" name="Oval 1270">
            <a:extLst>
              <a:ext uri="{FF2B5EF4-FFF2-40B4-BE49-F238E27FC236}">
                <a16:creationId xmlns:a16="http://schemas.microsoft.com/office/drawing/2014/main" id="{DD9E107B-A51A-6251-5951-1AF7E5D54552}"/>
              </a:ext>
            </a:extLst>
          </p:cNvPr>
          <p:cNvSpPr/>
          <p:nvPr/>
        </p:nvSpPr>
        <p:spPr bwMode="gray">
          <a:xfrm>
            <a:off x="574584" y="1603881"/>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prstClr val="black"/>
                </a:solidFill>
                <a:latin typeface="Open Sans"/>
              </a:rPr>
              <a:t>7</a:t>
            </a:r>
            <a:endParaRPr kumimoji="0" lang="en-US" sz="1200" b="0" i="0" u="none" strike="noStrike" kern="0" cap="none" spc="0" normalizeH="0" baseline="0" dirty="0">
              <a:ln>
                <a:noFill/>
              </a:ln>
              <a:solidFill>
                <a:prstClr val="black"/>
              </a:solidFill>
              <a:effectLst/>
              <a:uLnTx/>
              <a:uFillTx/>
              <a:latin typeface="Open Sans"/>
            </a:endParaRPr>
          </a:p>
        </p:txBody>
      </p:sp>
      <p:sp>
        <p:nvSpPr>
          <p:cNvPr id="1227" name="TextBox 1226">
            <a:extLst>
              <a:ext uri="{FF2B5EF4-FFF2-40B4-BE49-F238E27FC236}">
                <a16:creationId xmlns:a16="http://schemas.microsoft.com/office/drawing/2014/main" id="{44E09B9E-69A3-24BE-B60C-2F846D80F77E}"/>
              </a:ext>
            </a:extLst>
          </p:cNvPr>
          <p:cNvSpPr txBox="1"/>
          <p:nvPr/>
        </p:nvSpPr>
        <p:spPr>
          <a:xfrm>
            <a:off x="835564" y="3273162"/>
            <a:ext cx="2039380" cy="234836"/>
          </a:xfrm>
          <a:prstGeom prst="rect">
            <a:avLst/>
          </a:prstGeom>
          <a:noFill/>
        </p:spPr>
        <p:txBody>
          <a:bodyPr wrap="square" lIns="0" tIns="0" rIns="0" bIns="0" rtlCol="0">
            <a:noAutofit/>
          </a:bodyPr>
          <a:lstStyle/>
          <a:p>
            <a:pPr>
              <a:spcBef>
                <a:spcPts val="600"/>
              </a:spcBef>
              <a:buSzPct val="100000"/>
            </a:pPr>
            <a:r>
              <a:rPr lang="en-US" sz="1200" dirty="0">
                <a:solidFill>
                  <a:prstClr val="black"/>
                </a:solidFill>
                <a:latin typeface="Open Sans"/>
              </a:rPr>
              <a:t>Hybrid Operating oriented</a:t>
            </a:r>
          </a:p>
        </p:txBody>
      </p:sp>
      <p:sp>
        <p:nvSpPr>
          <p:cNvPr id="1272" name="Oval 1271">
            <a:extLst>
              <a:ext uri="{FF2B5EF4-FFF2-40B4-BE49-F238E27FC236}">
                <a16:creationId xmlns:a16="http://schemas.microsoft.com/office/drawing/2014/main" id="{56CDE026-D81E-D05E-4823-048BDEC059C0}"/>
              </a:ext>
            </a:extLst>
          </p:cNvPr>
          <p:cNvSpPr/>
          <p:nvPr/>
        </p:nvSpPr>
        <p:spPr bwMode="gray">
          <a:xfrm>
            <a:off x="574584" y="3251909"/>
            <a:ext cx="232078" cy="228600"/>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dirty="0">
                <a:ln>
                  <a:noFill/>
                </a:ln>
                <a:solidFill>
                  <a:prstClr val="black"/>
                </a:solidFill>
                <a:effectLst/>
                <a:uLnTx/>
                <a:uFillTx/>
                <a:latin typeface="Open Sans"/>
              </a:rPr>
              <a:t>2</a:t>
            </a:r>
          </a:p>
        </p:txBody>
      </p:sp>
      <p:sp>
        <p:nvSpPr>
          <p:cNvPr id="20" name="TextBox 19">
            <a:extLst>
              <a:ext uri="{FF2B5EF4-FFF2-40B4-BE49-F238E27FC236}">
                <a16:creationId xmlns:a16="http://schemas.microsoft.com/office/drawing/2014/main" id="{63080E56-82F4-9C34-E23F-16A3E0AE66D0}"/>
              </a:ext>
            </a:extLst>
          </p:cNvPr>
          <p:cNvSpPr txBox="1"/>
          <p:nvPr/>
        </p:nvSpPr>
        <p:spPr>
          <a:xfrm>
            <a:off x="4914899" y="1563507"/>
            <a:ext cx="870857" cy="184666"/>
          </a:xfrm>
          <a:prstGeom prst="rect">
            <a:avLst/>
          </a:prstGeom>
          <a:noFill/>
        </p:spPr>
        <p:txBody>
          <a:bodyPr wrap="square" lIns="0" tIns="0" rIns="0" bIns="0" rtlCol="0">
            <a:spAutoFit/>
          </a:bodyPr>
          <a:lstStyle/>
          <a:p>
            <a:pPr>
              <a:spcBef>
                <a:spcPts val="600"/>
              </a:spcBef>
              <a:buSzPct val="100000"/>
            </a:pPr>
            <a:r>
              <a:rPr lang="en-US" sz="1200" dirty="0">
                <a:latin typeface="Open Sans (Body)"/>
              </a:rPr>
              <a:t>Benefits</a:t>
            </a:r>
          </a:p>
        </p:txBody>
      </p:sp>
      <p:sp>
        <p:nvSpPr>
          <p:cNvPr id="21" name="TextBox 20">
            <a:extLst>
              <a:ext uri="{FF2B5EF4-FFF2-40B4-BE49-F238E27FC236}">
                <a16:creationId xmlns:a16="http://schemas.microsoft.com/office/drawing/2014/main" id="{7D374F64-C747-90E2-426C-CAF6594ABADE}"/>
              </a:ext>
            </a:extLst>
          </p:cNvPr>
          <p:cNvSpPr txBox="1"/>
          <p:nvPr/>
        </p:nvSpPr>
        <p:spPr>
          <a:xfrm>
            <a:off x="9125692" y="1563507"/>
            <a:ext cx="870857" cy="184666"/>
          </a:xfrm>
          <a:prstGeom prst="rect">
            <a:avLst/>
          </a:prstGeom>
          <a:noFill/>
        </p:spPr>
        <p:txBody>
          <a:bodyPr wrap="square" lIns="0" tIns="0" rIns="0" bIns="0" rtlCol="0">
            <a:spAutoFit/>
          </a:bodyPr>
          <a:lstStyle/>
          <a:p>
            <a:pPr>
              <a:spcBef>
                <a:spcPts val="600"/>
              </a:spcBef>
              <a:buSzPct val="100000"/>
            </a:pPr>
            <a:r>
              <a:rPr lang="en-US" sz="1200" dirty="0">
                <a:latin typeface="Open Sans (Body)"/>
              </a:rPr>
              <a:t>Challenges</a:t>
            </a:r>
          </a:p>
        </p:txBody>
      </p:sp>
      <p:pic>
        <p:nvPicPr>
          <p:cNvPr id="35" name="Picture 34">
            <a:extLst>
              <a:ext uri="{FF2B5EF4-FFF2-40B4-BE49-F238E27FC236}">
                <a16:creationId xmlns:a16="http://schemas.microsoft.com/office/drawing/2014/main" id="{69783FB6-F893-BE3D-6A71-BA939C695CEA}"/>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179026" y="1808003"/>
            <a:ext cx="1273175" cy="689314"/>
          </a:xfrm>
          <a:prstGeom prst="rect">
            <a:avLst/>
          </a:prstGeom>
        </p:spPr>
      </p:pic>
      <p:sp>
        <p:nvSpPr>
          <p:cNvPr id="36" name="Rectangle: Rounded Corners 35">
            <a:extLst>
              <a:ext uri="{FF2B5EF4-FFF2-40B4-BE49-F238E27FC236}">
                <a16:creationId xmlns:a16="http://schemas.microsoft.com/office/drawing/2014/main" id="{371CDFE2-7772-25AE-F06C-629E40887602}"/>
              </a:ext>
            </a:extLst>
          </p:cNvPr>
          <p:cNvSpPr/>
          <p:nvPr/>
        </p:nvSpPr>
        <p:spPr bwMode="gray">
          <a:xfrm>
            <a:off x="699077" y="2518935"/>
            <a:ext cx="2260820" cy="682996"/>
          </a:xfrm>
          <a:prstGeom prst="roundRect">
            <a:avLst/>
          </a:prstGeom>
          <a:ln>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000" b="0" i="0" u="none" strike="noStrike" baseline="0" dirty="0">
                <a:solidFill>
                  <a:srgbClr val="000000"/>
                </a:solidFill>
                <a:latin typeface="Open Sans (Body)"/>
              </a:rPr>
              <a:t>Hybrid Operating Models are formed as combinations of Matrix and Process and / or Network oriented models</a:t>
            </a:r>
          </a:p>
        </p:txBody>
      </p:sp>
      <p:pic>
        <p:nvPicPr>
          <p:cNvPr id="38" name="Picture 37">
            <a:extLst>
              <a:ext uri="{FF2B5EF4-FFF2-40B4-BE49-F238E27FC236}">
                <a16:creationId xmlns:a16="http://schemas.microsoft.com/office/drawing/2014/main" id="{433F2EF1-3F0F-3B4C-089A-8ADDC76FE451}"/>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179733" y="3475958"/>
            <a:ext cx="1284283" cy="669717"/>
          </a:xfrm>
          <a:prstGeom prst="rect">
            <a:avLst/>
          </a:prstGeom>
        </p:spPr>
      </p:pic>
      <p:sp>
        <p:nvSpPr>
          <p:cNvPr id="39" name="Rectangle: Rounded Corners 38">
            <a:extLst>
              <a:ext uri="{FF2B5EF4-FFF2-40B4-BE49-F238E27FC236}">
                <a16:creationId xmlns:a16="http://schemas.microsoft.com/office/drawing/2014/main" id="{729CBF68-FC7F-7619-B90A-709242FF03D9}"/>
              </a:ext>
            </a:extLst>
          </p:cNvPr>
          <p:cNvSpPr/>
          <p:nvPr/>
        </p:nvSpPr>
        <p:spPr bwMode="gray">
          <a:xfrm>
            <a:off x="698305" y="4167085"/>
            <a:ext cx="2260820" cy="682996"/>
          </a:xfrm>
          <a:prstGeom prst="roundRect">
            <a:avLst/>
          </a:prstGeom>
          <a:ln>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000" b="0" i="0" u="none" strike="noStrike" baseline="0" dirty="0">
                <a:solidFill>
                  <a:srgbClr val="000000"/>
                </a:solidFill>
                <a:latin typeface="Open Sans (Body)"/>
              </a:rPr>
              <a:t>Matrix Operating Models are formed as combinations of Product, Geography,</a:t>
            </a:r>
            <a:r>
              <a:rPr lang="hu-HU" sz="1000" b="0" i="0" u="none" strike="noStrike" baseline="0" dirty="0">
                <a:solidFill>
                  <a:srgbClr val="000000"/>
                </a:solidFill>
                <a:latin typeface="Open Sans (Body)"/>
              </a:rPr>
              <a:t> </a:t>
            </a:r>
            <a:r>
              <a:rPr lang="en-US" sz="1000" b="0" i="0" u="none" strike="noStrike" baseline="0" dirty="0">
                <a:solidFill>
                  <a:srgbClr val="000000"/>
                </a:solidFill>
                <a:latin typeface="Open Sans (Body)"/>
              </a:rPr>
              <a:t>Customer, and Functional oriented models</a:t>
            </a:r>
          </a:p>
        </p:txBody>
      </p:sp>
      <p:cxnSp>
        <p:nvCxnSpPr>
          <p:cNvPr id="57" name="Straight Connector 56">
            <a:extLst>
              <a:ext uri="{FF2B5EF4-FFF2-40B4-BE49-F238E27FC236}">
                <a16:creationId xmlns:a16="http://schemas.microsoft.com/office/drawing/2014/main" id="{80D114B8-D400-ACCE-0947-49D8A127D5E7}"/>
              </a:ext>
            </a:extLst>
          </p:cNvPr>
          <p:cNvCxnSpPr>
            <a:cxnSpLocks/>
          </p:cNvCxnSpPr>
          <p:nvPr/>
        </p:nvCxnSpPr>
        <p:spPr>
          <a:xfrm>
            <a:off x="5636820"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5" name="Straight Connector 644">
            <a:extLst>
              <a:ext uri="{FF2B5EF4-FFF2-40B4-BE49-F238E27FC236}">
                <a16:creationId xmlns:a16="http://schemas.microsoft.com/office/drawing/2014/main" id="{DE0CAA04-CC51-09F5-8D60-EC81FF31AC66}"/>
              </a:ext>
            </a:extLst>
          </p:cNvPr>
          <p:cNvCxnSpPr>
            <a:cxnSpLocks/>
          </p:cNvCxnSpPr>
          <p:nvPr/>
        </p:nvCxnSpPr>
        <p:spPr>
          <a:xfrm>
            <a:off x="3257302"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6" name="Straight Connector 645">
            <a:extLst>
              <a:ext uri="{FF2B5EF4-FFF2-40B4-BE49-F238E27FC236}">
                <a16:creationId xmlns:a16="http://schemas.microsoft.com/office/drawing/2014/main" id="{93A7F594-62CD-ABF3-FF5E-DE46C18ED651}"/>
              </a:ext>
            </a:extLst>
          </p:cNvPr>
          <p:cNvCxnSpPr>
            <a:cxnSpLocks/>
          </p:cNvCxnSpPr>
          <p:nvPr/>
        </p:nvCxnSpPr>
        <p:spPr>
          <a:xfrm>
            <a:off x="9954985"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cxnSp>
        <p:nvCxnSpPr>
          <p:cNvPr id="647" name="Straight Connector 646">
            <a:extLst>
              <a:ext uri="{FF2B5EF4-FFF2-40B4-BE49-F238E27FC236}">
                <a16:creationId xmlns:a16="http://schemas.microsoft.com/office/drawing/2014/main" id="{78B8F379-D2EF-10B3-C7D2-82941B9D9289}"/>
              </a:ext>
            </a:extLst>
          </p:cNvPr>
          <p:cNvCxnSpPr>
            <a:cxnSpLocks/>
          </p:cNvCxnSpPr>
          <p:nvPr/>
        </p:nvCxnSpPr>
        <p:spPr>
          <a:xfrm>
            <a:off x="7575467" y="1655840"/>
            <a:ext cx="1463040"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sp>
        <p:nvSpPr>
          <p:cNvPr id="649" name="TextBox 648">
            <a:extLst>
              <a:ext uri="{FF2B5EF4-FFF2-40B4-BE49-F238E27FC236}">
                <a16:creationId xmlns:a16="http://schemas.microsoft.com/office/drawing/2014/main" id="{8A07D505-64AC-96A6-9630-03DF73CB68C6}"/>
              </a:ext>
            </a:extLst>
          </p:cNvPr>
          <p:cNvSpPr txBox="1"/>
          <p:nvPr/>
        </p:nvSpPr>
        <p:spPr>
          <a:xfrm>
            <a:off x="3257302" y="1832481"/>
            <a:ext cx="3831656" cy="1246495"/>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dirty="0">
                <a:solidFill>
                  <a:srgbClr val="000000"/>
                </a:solidFill>
                <a:latin typeface="Open Sans (Body)"/>
              </a:rPr>
              <a:t>H</a:t>
            </a:r>
            <a:r>
              <a:rPr lang="en-US" sz="1200" b="0" i="0" u="none" strike="noStrike" baseline="0" dirty="0">
                <a:solidFill>
                  <a:srgbClr val="000000"/>
                </a:solidFill>
                <a:latin typeface="Open Sans (Body)"/>
              </a:rPr>
              <a:t>elp break down traditional 'silo' barriers</a:t>
            </a:r>
          </a:p>
          <a:p>
            <a:pPr marL="171450" indent="-171450">
              <a:spcAft>
                <a:spcPts val="600"/>
              </a:spcAft>
              <a:buFont typeface="Arial" panose="020B0604020202020204" pitchFamily="34" charset="0"/>
              <a:buChar char="•"/>
            </a:pPr>
            <a:r>
              <a:rPr lang="en-US" sz="1200" dirty="0">
                <a:solidFill>
                  <a:srgbClr val="000000"/>
                </a:solidFill>
                <a:latin typeface="Open Sans (Body)"/>
              </a:rPr>
              <a:t>I</a:t>
            </a:r>
            <a:r>
              <a:rPr lang="en-US" sz="1200" b="0" i="0" u="none" strike="noStrike" baseline="0" dirty="0">
                <a:solidFill>
                  <a:srgbClr val="000000"/>
                </a:solidFill>
                <a:latin typeface="Open Sans (Body)"/>
              </a:rPr>
              <a:t>mprove communication across the business</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Help share best practice and ideas across teams</a:t>
            </a:r>
          </a:p>
          <a:p>
            <a:pPr marL="171450" indent="-171450">
              <a:spcAft>
                <a:spcPts val="600"/>
              </a:spcAft>
              <a:buFont typeface="Arial" panose="020B0604020202020204" pitchFamily="34" charset="0"/>
              <a:buChar char="•"/>
            </a:pPr>
            <a:r>
              <a:rPr lang="en-US" sz="1200" dirty="0">
                <a:solidFill>
                  <a:srgbClr val="000000"/>
                </a:solidFill>
                <a:latin typeface="Open Sans (Body)"/>
              </a:rPr>
              <a:t>I</a:t>
            </a:r>
            <a:r>
              <a:rPr lang="en-US" sz="1200" b="0" i="0" u="none" strike="noStrike" baseline="0" dirty="0">
                <a:solidFill>
                  <a:srgbClr val="000000"/>
                </a:solidFill>
                <a:latin typeface="Open Sans (Body)"/>
              </a:rPr>
              <a:t>ncrease efficiencies due to sharing resources across departments</a:t>
            </a:r>
          </a:p>
        </p:txBody>
      </p:sp>
      <p:sp>
        <p:nvSpPr>
          <p:cNvPr id="650" name="TextBox 649">
            <a:extLst>
              <a:ext uri="{FF2B5EF4-FFF2-40B4-BE49-F238E27FC236}">
                <a16:creationId xmlns:a16="http://schemas.microsoft.com/office/drawing/2014/main" id="{85B49F39-9C4E-9E15-9531-FBC97D153607}"/>
              </a:ext>
            </a:extLst>
          </p:cNvPr>
          <p:cNvSpPr txBox="1"/>
          <p:nvPr/>
        </p:nvSpPr>
        <p:spPr>
          <a:xfrm>
            <a:off x="7575467" y="1925534"/>
            <a:ext cx="3831656" cy="984885"/>
          </a:xfrm>
          <a:prstGeom prst="rect">
            <a:avLst/>
          </a:prstGeom>
          <a:noFill/>
        </p:spPr>
        <p:txBody>
          <a:bodyPr wrap="square">
            <a:spAutoFit/>
          </a:bodyPr>
          <a:lstStyle/>
          <a:p>
            <a:pPr marL="171450" indent="-171450" algn="l">
              <a:spcAft>
                <a:spcPts val="600"/>
              </a:spcAft>
              <a:buFont typeface="Arial" panose="020B0604020202020204" pitchFamily="34" charset="0"/>
              <a:buChar char="•"/>
            </a:pPr>
            <a:r>
              <a:rPr lang="en-US" sz="1200" dirty="0">
                <a:solidFill>
                  <a:srgbClr val="000000"/>
                </a:solidFill>
                <a:latin typeface="Open Sans (Body)"/>
              </a:rPr>
              <a:t>C</a:t>
            </a:r>
            <a:r>
              <a:rPr lang="en-US" sz="1200" b="0" i="0" u="none" strike="noStrike" baseline="0" dirty="0">
                <a:solidFill>
                  <a:srgbClr val="000000"/>
                </a:solidFill>
                <a:latin typeface="Open Sans (Body)"/>
              </a:rPr>
              <a:t>onfusion regarding roles, responsibilities and priorities</a:t>
            </a:r>
          </a:p>
          <a:p>
            <a:pPr marL="171450" indent="-171450" algn="l">
              <a:spcAft>
                <a:spcPts val="600"/>
              </a:spcAft>
              <a:buFont typeface="Arial" panose="020B0604020202020204" pitchFamily="34" charset="0"/>
              <a:buChar char="•"/>
            </a:pPr>
            <a:r>
              <a:rPr lang="en-US" sz="1200" dirty="0">
                <a:solidFill>
                  <a:srgbClr val="000000"/>
                </a:solidFill>
                <a:latin typeface="Open Sans (Body)"/>
              </a:rPr>
              <a:t>B</a:t>
            </a:r>
            <a:r>
              <a:rPr lang="en-US" sz="1200" b="0" i="0" u="none" strike="noStrike" baseline="0" dirty="0">
                <a:solidFill>
                  <a:srgbClr val="000000"/>
                </a:solidFill>
                <a:latin typeface="Open Sans (Body)"/>
              </a:rPr>
              <a:t>lurred lines of accountability</a:t>
            </a:r>
          </a:p>
          <a:p>
            <a:pPr marL="171450" indent="-171450" algn="l">
              <a:spcAft>
                <a:spcPts val="600"/>
              </a:spcAft>
              <a:buFont typeface="Arial" panose="020B0604020202020204" pitchFamily="34" charset="0"/>
              <a:buChar char="•"/>
            </a:pPr>
            <a:r>
              <a:rPr lang="en-US" sz="1200" dirty="0">
                <a:solidFill>
                  <a:srgbClr val="000000"/>
                </a:solidFill>
                <a:latin typeface="Open Sans (Body)"/>
              </a:rPr>
              <a:t>D</a:t>
            </a:r>
            <a:r>
              <a:rPr lang="en-US" sz="1200" b="0" i="0" u="none" strike="noStrike" baseline="0">
                <a:solidFill>
                  <a:srgbClr val="000000"/>
                </a:solidFill>
                <a:latin typeface="Open Sans (Body)"/>
              </a:rPr>
              <a:t>ifficulties</a:t>
            </a:r>
            <a:r>
              <a:rPr lang="en-US" sz="1200" b="0" i="0" u="none" strike="noStrike" baseline="0" dirty="0">
                <a:solidFill>
                  <a:srgbClr val="000000"/>
                </a:solidFill>
                <a:latin typeface="Open Sans (Body)"/>
              </a:rPr>
              <a:t> in coordinating tasks or functions</a:t>
            </a:r>
          </a:p>
        </p:txBody>
      </p:sp>
      <p:sp>
        <p:nvSpPr>
          <p:cNvPr id="651" name="TextBox 650">
            <a:extLst>
              <a:ext uri="{FF2B5EF4-FFF2-40B4-BE49-F238E27FC236}">
                <a16:creationId xmlns:a16="http://schemas.microsoft.com/office/drawing/2014/main" id="{BD6D09FE-0651-D420-1C55-7480E50E1CFB}"/>
              </a:ext>
            </a:extLst>
          </p:cNvPr>
          <p:cNvSpPr txBox="1"/>
          <p:nvPr/>
        </p:nvSpPr>
        <p:spPr>
          <a:xfrm>
            <a:off x="3257302" y="3363210"/>
            <a:ext cx="3831656" cy="1538883"/>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dirty="0">
                <a:solidFill>
                  <a:srgbClr val="000000"/>
                </a:solidFill>
                <a:latin typeface="Open Sans (Body)"/>
              </a:rPr>
              <a:t>A</a:t>
            </a:r>
            <a:r>
              <a:rPr lang="en-US" sz="1200" b="0" i="0" u="none" strike="noStrike" baseline="0" dirty="0">
                <a:solidFill>
                  <a:srgbClr val="000000"/>
                </a:solidFill>
                <a:latin typeface="Open Sans (Body)"/>
              </a:rPr>
              <a:t>llows the organization to adjust the value of the workforce by connecting them with multiple projects</a:t>
            </a:r>
          </a:p>
          <a:p>
            <a:pPr marL="171450" indent="-171450">
              <a:spcAft>
                <a:spcPts val="600"/>
              </a:spcAft>
              <a:buFont typeface="Arial" panose="020B0604020202020204" pitchFamily="34" charset="0"/>
              <a:buChar char="•"/>
            </a:pPr>
            <a:r>
              <a:rPr lang="en-US" sz="1200" dirty="0">
                <a:solidFill>
                  <a:srgbClr val="000000"/>
                </a:solidFill>
                <a:latin typeface="Open Sans (Body)"/>
              </a:rPr>
              <a:t>H</a:t>
            </a:r>
            <a:r>
              <a:rPr lang="en-US" sz="1200" b="0" i="0" u="none" strike="noStrike" baseline="0" dirty="0">
                <a:solidFill>
                  <a:srgbClr val="000000"/>
                </a:solidFill>
                <a:latin typeface="Open Sans (Body)"/>
              </a:rPr>
              <a:t>elps employees learn new processes and improve functional knowledge quickly</a:t>
            </a:r>
          </a:p>
          <a:p>
            <a:pPr marL="171450" indent="-171450">
              <a:spcAft>
                <a:spcPts val="600"/>
              </a:spcAft>
              <a:buFont typeface="Arial" panose="020B0604020202020204" pitchFamily="34" charset="0"/>
              <a:buChar char="•"/>
            </a:pPr>
            <a:r>
              <a:rPr lang="en-US" sz="1200" b="0" i="0" u="none" strike="noStrike" baseline="0" dirty="0">
                <a:solidFill>
                  <a:srgbClr val="000000"/>
                </a:solidFill>
                <a:latin typeface="Open Sans (Body)"/>
              </a:rPr>
              <a:t>Establishes a shared vision and facilitates improved project or team coordination</a:t>
            </a:r>
          </a:p>
        </p:txBody>
      </p:sp>
      <p:sp>
        <p:nvSpPr>
          <p:cNvPr id="652" name="TextBox 651">
            <a:extLst>
              <a:ext uri="{FF2B5EF4-FFF2-40B4-BE49-F238E27FC236}">
                <a16:creationId xmlns:a16="http://schemas.microsoft.com/office/drawing/2014/main" id="{83B5B9DA-2F26-1EC7-7845-31D4C60806EB}"/>
              </a:ext>
            </a:extLst>
          </p:cNvPr>
          <p:cNvSpPr txBox="1"/>
          <p:nvPr/>
        </p:nvSpPr>
        <p:spPr>
          <a:xfrm>
            <a:off x="7575467" y="3480509"/>
            <a:ext cx="3831656" cy="1354217"/>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dirty="0">
                <a:solidFill>
                  <a:srgbClr val="000000"/>
                </a:solidFill>
                <a:latin typeface="Open Sans (Body)"/>
              </a:rPr>
              <a:t>C</a:t>
            </a:r>
            <a:r>
              <a:rPr lang="en-US" sz="1200" b="0" i="0" u="none" strike="noStrike" baseline="0" dirty="0">
                <a:solidFill>
                  <a:srgbClr val="000000"/>
                </a:solidFill>
                <a:latin typeface="Open Sans (Body)"/>
              </a:rPr>
              <a:t>reates conflicts in reporting</a:t>
            </a:r>
          </a:p>
          <a:p>
            <a:pPr marL="171450" indent="-171450">
              <a:spcAft>
                <a:spcPts val="600"/>
              </a:spcAft>
              <a:buFont typeface="Arial" panose="020B0604020202020204" pitchFamily="34" charset="0"/>
              <a:buChar char="•"/>
            </a:pPr>
            <a:r>
              <a:rPr lang="en-US" sz="1200" dirty="0">
                <a:solidFill>
                  <a:srgbClr val="000000"/>
                </a:solidFill>
                <a:latin typeface="Open Sans (Body)"/>
              </a:rPr>
              <a:t>L</a:t>
            </a:r>
            <a:r>
              <a:rPr lang="en-US" sz="1200" b="0" i="0" u="none" strike="noStrike" baseline="0" dirty="0">
                <a:solidFill>
                  <a:srgbClr val="000000"/>
                </a:solidFill>
                <a:latin typeface="Open Sans (Body)"/>
              </a:rPr>
              <a:t>eads to struggles between vertical functions and horizontal manufacturing lines</a:t>
            </a:r>
          </a:p>
          <a:p>
            <a:pPr marL="171450" indent="-171450">
              <a:spcAft>
                <a:spcPts val="600"/>
              </a:spcAft>
              <a:buFont typeface="Arial" panose="020B0604020202020204" pitchFamily="34" charset="0"/>
              <a:buChar char="•"/>
            </a:pPr>
            <a:r>
              <a:rPr lang="en-US" sz="1200" dirty="0">
                <a:solidFill>
                  <a:srgbClr val="000000"/>
                </a:solidFill>
                <a:latin typeface="Open Sans (Body)"/>
              </a:rPr>
              <a:t>C</a:t>
            </a:r>
            <a:r>
              <a:rPr lang="en-US" sz="1200" b="0" i="0" u="none" strike="noStrike" baseline="0" dirty="0">
                <a:solidFill>
                  <a:srgbClr val="000000"/>
                </a:solidFill>
                <a:latin typeface="Open Sans (Body)"/>
              </a:rPr>
              <a:t>an lead to anarchy and low production if the roles and responsibilities of the executives are not identified and communicated correctly</a:t>
            </a:r>
          </a:p>
        </p:txBody>
      </p:sp>
      <p:cxnSp>
        <p:nvCxnSpPr>
          <p:cNvPr id="657" name="Straight Connector 656">
            <a:extLst>
              <a:ext uri="{FF2B5EF4-FFF2-40B4-BE49-F238E27FC236}">
                <a16:creationId xmlns:a16="http://schemas.microsoft.com/office/drawing/2014/main" id="{F188B1D0-D797-BF53-AAE7-AC4C8B02AA76}"/>
              </a:ext>
            </a:extLst>
          </p:cNvPr>
          <p:cNvCxnSpPr>
            <a:cxnSpLocks/>
          </p:cNvCxnSpPr>
          <p:nvPr/>
        </p:nvCxnSpPr>
        <p:spPr>
          <a:xfrm>
            <a:off x="3257302" y="3201931"/>
            <a:ext cx="8259467" cy="0"/>
          </a:xfrm>
          <a:prstGeom prst="line">
            <a:avLst/>
          </a:prstGeom>
          <a:ln>
            <a:solidFill>
              <a:srgbClr val="62B5E5"/>
            </a:solidFill>
          </a:ln>
        </p:spPr>
        <p:style>
          <a:lnRef idx="2">
            <a:schemeClr val="accent3"/>
          </a:lnRef>
          <a:fillRef idx="0">
            <a:schemeClr val="accent3"/>
          </a:fillRef>
          <a:effectRef idx="1">
            <a:schemeClr val="accent3"/>
          </a:effectRef>
          <a:fontRef idx="minor">
            <a:schemeClr val="tx1"/>
          </a:fontRef>
        </p:style>
      </p:cxnSp>
      <p:sp>
        <p:nvSpPr>
          <p:cNvPr id="6" name="Rectangle 5">
            <a:extLst>
              <a:ext uri="{FF2B5EF4-FFF2-40B4-BE49-F238E27FC236}">
                <a16:creationId xmlns:a16="http://schemas.microsoft.com/office/drawing/2014/main" id="{D4C16602-C394-CB76-8169-662921887B6F}"/>
              </a:ext>
            </a:extLst>
          </p:cNvPr>
          <p:cNvSpPr/>
          <p:nvPr/>
        </p:nvSpPr>
        <p:spPr bwMode="gray">
          <a:xfrm>
            <a:off x="0" y="5346700"/>
            <a:ext cx="12192000" cy="1093386"/>
          </a:xfrm>
          <a:prstGeom prst="rect">
            <a:avLst/>
          </a:prstGeom>
          <a:solidFill>
            <a:schemeClr val="bg2">
              <a:lumMod val="75000"/>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TextBox 6">
            <a:extLst>
              <a:ext uri="{FF2B5EF4-FFF2-40B4-BE49-F238E27FC236}">
                <a16:creationId xmlns:a16="http://schemas.microsoft.com/office/drawing/2014/main" id="{AF710CE0-C0E7-9101-4B52-68C6F4138E7B}"/>
              </a:ext>
            </a:extLst>
          </p:cNvPr>
          <p:cNvSpPr txBox="1"/>
          <p:nvPr/>
        </p:nvSpPr>
        <p:spPr>
          <a:xfrm>
            <a:off x="3249253" y="5524061"/>
            <a:ext cx="5693494" cy="738664"/>
          </a:xfrm>
          <a:prstGeom prst="rect">
            <a:avLst/>
          </a:prstGeom>
          <a:noFill/>
        </p:spPr>
        <p:txBody>
          <a:bodyPr wrap="square">
            <a:spAutoFit/>
          </a:bodyPr>
          <a:lstStyle/>
          <a:p>
            <a:pPr algn="ctr"/>
            <a:r>
              <a:rPr lang="en-US" sz="1400" i="1" u="none" strike="noStrike" baseline="0" dirty="0">
                <a:solidFill>
                  <a:srgbClr val="000000"/>
                </a:solidFill>
                <a:latin typeface="Open Sans (Body)"/>
              </a:rPr>
              <a:t>Hybrid and Matrix models are typically the ones found in the “Real-world” as they are able to better capture the complexity that organizations face today</a:t>
            </a:r>
            <a:endParaRPr lang="en-US" sz="1400" i="1" dirty="0">
              <a:latin typeface="Open Sans (Body)"/>
            </a:endParaRPr>
          </a:p>
        </p:txBody>
      </p:sp>
    </p:spTree>
    <p:extLst>
      <p:ext uri="{BB962C8B-B14F-4D97-AF65-F5344CB8AC3E}">
        <p14:creationId xmlns:p14="http://schemas.microsoft.com/office/powerpoint/2010/main" val="2843540396"/>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BC6CF4-1597-E277-F618-D5BFECB055DC}"/>
              </a:ext>
            </a:extLst>
          </p:cNvPr>
          <p:cNvGraphicFramePr>
            <a:graphicFrameLocks noChangeAspect="1"/>
          </p:cNvGraphicFramePr>
          <p:nvPr>
            <p:custDataLst>
              <p:tags r:id="rId1"/>
            </p:custDataLst>
            <p:extLst>
              <p:ext uri="{D42A27DB-BD31-4B8C-83A1-F6EECF244321}">
                <p14:modId xmlns:p14="http://schemas.microsoft.com/office/powerpoint/2010/main" val="17823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6" name="think-cell data - do not delete" hidden="1">
                        <a:extLst>
                          <a:ext uri="{FF2B5EF4-FFF2-40B4-BE49-F238E27FC236}">
                            <a16:creationId xmlns:a16="http://schemas.microsoft.com/office/drawing/2014/main" id="{99BC6CF4-1597-E277-F618-D5BFECB05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55F967C-430C-A432-79D5-BDC8A6A99C11}"/>
              </a:ext>
            </a:extLst>
          </p:cNvPr>
          <p:cNvSpPr>
            <a:spLocks noGrp="1"/>
          </p:cNvSpPr>
          <p:nvPr>
            <p:ph type="body" sz="quarter" idx="22"/>
          </p:nvPr>
        </p:nvSpPr>
        <p:spPr/>
        <p:txBody>
          <a:bodyPr/>
          <a:lstStyle/>
          <a:p>
            <a:endParaRPr lang="en-US"/>
          </a:p>
        </p:txBody>
      </p:sp>
      <p:sp>
        <p:nvSpPr>
          <p:cNvPr id="3" name="Title 2">
            <a:extLst>
              <a:ext uri="{FF2B5EF4-FFF2-40B4-BE49-F238E27FC236}">
                <a16:creationId xmlns:a16="http://schemas.microsoft.com/office/drawing/2014/main" id="{26B9D682-9BEE-6A2D-2575-E487589B3C89}"/>
              </a:ext>
            </a:extLst>
          </p:cNvPr>
          <p:cNvSpPr>
            <a:spLocks noGrp="1"/>
          </p:cNvSpPr>
          <p:nvPr>
            <p:ph type="title"/>
          </p:nvPr>
        </p:nvSpPr>
        <p:spPr/>
        <p:txBody>
          <a:bodyPr vert="horz"/>
          <a:lstStyle/>
          <a:p>
            <a:r>
              <a:rPr lang="hu-HU" dirty="0"/>
              <a:t>Organisational </a:t>
            </a:r>
            <a:r>
              <a:rPr lang="hu-HU" dirty="0" err="1"/>
              <a:t>Strategy</a:t>
            </a:r>
            <a:r>
              <a:rPr lang="hu-HU" dirty="0"/>
              <a:t> </a:t>
            </a:r>
            <a:r>
              <a:rPr lang="hu-HU" dirty="0" err="1"/>
              <a:t>Approcah</a:t>
            </a:r>
            <a:endParaRPr lang="en-US" dirty="0"/>
          </a:p>
        </p:txBody>
      </p:sp>
      <p:pic>
        <p:nvPicPr>
          <p:cNvPr id="5" name="Picture 4">
            <a:extLst>
              <a:ext uri="{FF2B5EF4-FFF2-40B4-BE49-F238E27FC236}">
                <a16:creationId xmlns:a16="http://schemas.microsoft.com/office/drawing/2014/main" id="{3AB4A478-6DA6-B641-97DE-508369AF413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3295" y="936000"/>
            <a:ext cx="10528000" cy="5922000"/>
          </a:xfrm>
          <a:prstGeom prst="rect">
            <a:avLst/>
          </a:prstGeom>
        </p:spPr>
      </p:pic>
      <p:sp>
        <p:nvSpPr>
          <p:cNvPr id="10" name="Rectangle 9">
            <a:extLst>
              <a:ext uri="{FF2B5EF4-FFF2-40B4-BE49-F238E27FC236}">
                <a16:creationId xmlns:a16="http://schemas.microsoft.com/office/drawing/2014/main" id="{084FC8B1-25CB-E3CE-2217-9324DBC613C5}"/>
              </a:ext>
            </a:extLst>
          </p:cNvPr>
          <p:cNvSpPr/>
          <p:nvPr/>
        </p:nvSpPr>
        <p:spPr bwMode="gray">
          <a:xfrm>
            <a:off x="9008198" y="353085"/>
            <a:ext cx="2720507" cy="1158844"/>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hu-HU" sz="1600" b="1" dirty="0" err="1">
                <a:solidFill>
                  <a:schemeClr val="bg1"/>
                </a:solidFill>
              </a:rPr>
              <a:t>Approach</a:t>
            </a:r>
            <a:r>
              <a:rPr lang="hu-HU" sz="1600" b="1" dirty="0">
                <a:solidFill>
                  <a:schemeClr val="bg1"/>
                </a:solidFill>
              </a:rPr>
              <a:t> </a:t>
            </a:r>
            <a:r>
              <a:rPr lang="hu-HU" sz="1600" b="1" dirty="0" err="1">
                <a:solidFill>
                  <a:schemeClr val="bg1"/>
                </a:solidFill>
              </a:rPr>
              <a:t>slie</a:t>
            </a:r>
            <a:r>
              <a:rPr lang="hu-HU" sz="1600" b="1" dirty="0">
                <a:solidFill>
                  <a:schemeClr val="bg1"/>
                </a:solidFill>
              </a:rPr>
              <a:t>-ot beilleszteni</a:t>
            </a:r>
            <a:endParaRPr lang="en-US" sz="1600" b="1" dirty="0">
              <a:solidFill>
                <a:schemeClr val="bg1"/>
              </a:solidFill>
            </a:endParaRPr>
          </a:p>
        </p:txBody>
      </p:sp>
    </p:spTree>
    <p:extLst>
      <p:ext uri="{BB962C8B-B14F-4D97-AF65-F5344CB8AC3E}">
        <p14:creationId xmlns:p14="http://schemas.microsoft.com/office/powerpoint/2010/main" val="2452369513"/>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0" y="2997200"/>
            <a:ext cx="7477760" cy="863600"/>
            <a:chOff x="0" y="2997200"/>
            <a:chExt cx="7477760" cy="86360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0" y="2997200"/>
              <a:ext cx="6695440"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2800" dirty="0">
                  <a:solidFill>
                    <a:schemeClr val="bg1"/>
                  </a:solidFill>
                  <a:latin typeface="Open Sans"/>
                  <a:ea typeface="Open Sans"/>
                  <a:cs typeface="Open Sans"/>
                </a:rPr>
                <a:t>9.2 </a:t>
              </a:r>
              <a:r>
                <a:rPr lang="hu-HU" sz="2800" dirty="0" err="1">
                  <a:solidFill>
                    <a:schemeClr val="bg1"/>
                  </a:solidFill>
                  <a:latin typeface="Open Sans"/>
                  <a:ea typeface="Open Sans"/>
                  <a:cs typeface="Open Sans"/>
                </a:rPr>
                <a:t>Strategic</a:t>
              </a:r>
              <a:r>
                <a:rPr lang="hu-HU" sz="2800" dirty="0">
                  <a:solidFill>
                    <a:schemeClr val="bg1"/>
                  </a:solidFill>
                  <a:latin typeface="Open Sans"/>
                  <a:ea typeface="Open Sans"/>
                  <a:cs typeface="Open Sans"/>
                </a:rPr>
                <a:t> business </a:t>
              </a:r>
              <a:r>
                <a:rPr lang="hu-HU" sz="2800" dirty="0" err="1">
                  <a:solidFill>
                    <a:schemeClr val="bg1"/>
                  </a:solidFill>
                  <a:latin typeface="Open Sans"/>
                  <a:ea typeface="Open Sans"/>
                  <a:cs typeface="Open Sans"/>
                </a:rPr>
                <a:t>planning</a:t>
              </a:r>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1541060326"/>
      </p:ext>
    </p:extLst>
  </p:cSld>
  <p:clrMapOvr>
    <a:masterClrMapping/>
  </p:clrMapOvr>
  <p:extLst>
    <p:ext uri="{6950BFC3-D8DA-4A85-94F7-54DA5524770B}">
      <p188:commentRel xmlns:p188="http://schemas.microsoft.com/office/powerpoint/2018/8/main" r:id="rId3"/>
    </p:ext>
  </p:extLs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CE75C27-86C0-0950-4A9D-F3BB2C908A7E}"/>
              </a:ext>
            </a:extLst>
          </p:cNvPr>
          <p:cNvGraphicFramePr>
            <a:graphicFrameLocks noChangeAspect="1"/>
          </p:cNvGraphicFramePr>
          <p:nvPr>
            <p:custDataLst>
              <p:tags r:id="rId1"/>
            </p:custDataLst>
            <p:extLst>
              <p:ext uri="{D42A27DB-BD31-4B8C-83A1-F6EECF244321}">
                <p14:modId xmlns:p14="http://schemas.microsoft.com/office/powerpoint/2010/main" val="280286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10" name="think-cell data - do not delete" hidden="1">
                        <a:extLst>
                          <a:ext uri="{FF2B5EF4-FFF2-40B4-BE49-F238E27FC236}">
                            <a16:creationId xmlns:a16="http://schemas.microsoft.com/office/drawing/2014/main" id="{9CE75C27-86C0-0950-4A9D-F3BB2C908A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6" name="Straight Arrow Connector 55">
            <a:extLst>
              <a:ext uri="{FF2B5EF4-FFF2-40B4-BE49-F238E27FC236}">
                <a16:creationId xmlns:a16="http://schemas.microsoft.com/office/drawing/2014/main" id="{449E697F-670D-5D63-0D13-80883B6D1DB1}"/>
              </a:ext>
            </a:extLst>
          </p:cNvPr>
          <p:cNvCxnSpPr>
            <a:cxnSpLocks/>
          </p:cNvCxnSpPr>
          <p:nvPr/>
        </p:nvCxnSpPr>
        <p:spPr>
          <a:xfrm flipH="1">
            <a:off x="4257173" y="2340140"/>
            <a:ext cx="8020" cy="3952374"/>
          </a:xfrm>
          <a:prstGeom prst="straightConnector1">
            <a:avLst/>
          </a:prstGeom>
          <a:ln>
            <a:prstDash val="dash"/>
          </a:ln>
        </p:spPr>
        <p:style>
          <a:lnRef idx="1">
            <a:schemeClr val="accent3"/>
          </a:lnRef>
          <a:fillRef idx="0">
            <a:schemeClr val="accent3"/>
          </a:fillRef>
          <a:effectRef idx="0">
            <a:schemeClr val="accent3"/>
          </a:effectRef>
          <a:fontRef idx="minor">
            <a:schemeClr val="tx1"/>
          </a:fontRef>
        </p:style>
      </p:cxnSp>
      <p:cxnSp>
        <p:nvCxnSpPr>
          <p:cNvPr id="55" name="Straight Arrow Connector 54">
            <a:extLst>
              <a:ext uri="{FF2B5EF4-FFF2-40B4-BE49-F238E27FC236}">
                <a16:creationId xmlns:a16="http://schemas.microsoft.com/office/drawing/2014/main" id="{8631D030-9582-DBAE-C893-594D1A57E5BF}"/>
              </a:ext>
            </a:extLst>
          </p:cNvPr>
          <p:cNvCxnSpPr/>
          <p:nvPr/>
        </p:nvCxnSpPr>
        <p:spPr>
          <a:xfrm flipH="1">
            <a:off x="808121" y="2370220"/>
            <a:ext cx="8020" cy="3952374"/>
          </a:xfrm>
          <a:prstGeom prst="straightConnector1">
            <a:avLst/>
          </a:prstGeom>
          <a:ln>
            <a:prstDash val="dash"/>
          </a:ln>
        </p:spPr>
        <p:style>
          <a:lnRef idx="1">
            <a:schemeClr val="accent3"/>
          </a:lnRef>
          <a:fillRef idx="0">
            <a:schemeClr val="accent3"/>
          </a:fillRef>
          <a:effectRef idx="0">
            <a:schemeClr val="accent3"/>
          </a:effectRef>
          <a:fontRef idx="minor">
            <a:schemeClr val="tx1"/>
          </a:fontRef>
        </p:style>
      </p:cxnSp>
      <p:sp>
        <p:nvSpPr>
          <p:cNvPr id="54" name="Rectangle 53">
            <a:extLst>
              <a:ext uri="{FF2B5EF4-FFF2-40B4-BE49-F238E27FC236}">
                <a16:creationId xmlns:a16="http://schemas.microsoft.com/office/drawing/2014/main" id="{D2AA4BD1-AA32-A40B-AF4C-79F4900FFA4B}"/>
              </a:ext>
            </a:extLst>
          </p:cNvPr>
          <p:cNvSpPr/>
          <p:nvPr/>
        </p:nvSpPr>
        <p:spPr bwMode="gray">
          <a:xfrm>
            <a:off x="8406063" y="2129589"/>
            <a:ext cx="2909636" cy="4032584"/>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ext Placeholder 1">
            <a:extLst>
              <a:ext uri="{FF2B5EF4-FFF2-40B4-BE49-F238E27FC236}">
                <a16:creationId xmlns:a16="http://schemas.microsoft.com/office/drawing/2014/main" id="{00FFFDDA-970B-97A4-D5AC-E380BF7C93EB}"/>
              </a:ext>
            </a:extLst>
          </p:cNvPr>
          <p:cNvSpPr>
            <a:spLocks noGrp="1"/>
          </p:cNvSpPr>
          <p:nvPr>
            <p:ph type="body" sz="quarter" idx="22"/>
          </p:nvPr>
        </p:nvSpPr>
        <p:spPr/>
        <p:txBody>
          <a:bodyPr vert="horz" lIns="0" tIns="0" rIns="0" bIns="0" rtlCol="0" anchor="t">
            <a:noAutofit/>
          </a:bodyPr>
          <a:lstStyle/>
          <a:p>
            <a:r>
              <a:rPr lang="en-US" dirty="0">
                <a:latin typeface="Open Sans"/>
                <a:ea typeface="Open Sans"/>
                <a:cs typeface="Open Sans"/>
              </a:rPr>
              <a:t>The process is both rigorous and customized to meet your specific goals. </a:t>
            </a:r>
            <a:r>
              <a:rPr lang="en-US">
                <a:solidFill>
                  <a:srgbClr val="53565A"/>
                </a:solidFill>
                <a:latin typeface="Open Sans"/>
                <a:ea typeface="Open Sans"/>
                <a:cs typeface="Open Sans"/>
              </a:rPr>
              <a:t>We expect to iterate across workshops to develop the scenario stories, implications, and strategic priorities in order to generate relevant and specific outputs for</a:t>
            </a:r>
            <a:r>
              <a:rPr lang="en-US">
                <a:latin typeface="Open Sans"/>
                <a:ea typeface="Open Sans"/>
                <a:cs typeface="Open Sans"/>
              </a:rPr>
              <a:t> </a:t>
            </a:r>
            <a:r>
              <a:rPr lang="en-US" dirty="0">
                <a:latin typeface="Open Sans"/>
                <a:ea typeface="Open Sans"/>
                <a:cs typeface="Open Sans"/>
              </a:rPr>
              <a:t>the organization</a:t>
            </a:r>
            <a:r>
              <a:rPr lang="en-US">
                <a:latin typeface="Open Sans"/>
                <a:ea typeface="Open Sans"/>
                <a:cs typeface="Open Sans"/>
              </a:rPr>
              <a:t>.</a:t>
            </a:r>
            <a:endParaRPr lang="en-US" dirty="0">
              <a:latin typeface="Open Sans"/>
              <a:ea typeface="Open Sans"/>
              <a:cs typeface="Open Sans"/>
            </a:endParaRPr>
          </a:p>
        </p:txBody>
      </p:sp>
      <p:sp>
        <p:nvSpPr>
          <p:cNvPr id="3" name="Title 2">
            <a:extLst>
              <a:ext uri="{FF2B5EF4-FFF2-40B4-BE49-F238E27FC236}">
                <a16:creationId xmlns:a16="http://schemas.microsoft.com/office/drawing/2014/main" id="{4212A4EF-6139-E41C-0543-961776C49D3F}"/>
              </a:ext>
            </a:extLst>
          </p:cNvPr>
          <p:cNvSpPr>
            <a:spLocks noGrp="1"/>
          </p:cNvSpPr>
          <p:nvPr>
            <p:ph type="title"/>
          </p:nvPr>
        </p:nvSpPr>
        <p:spPr/>
        <p:txBody>
          <a:bodyPr vert="horz"/>
          <a:lstStyle/>
          <a:p>
            <a:r>
              <a:rPr lang="en-US" dirty="0">
                <a:latin typeface="Open Sans Light"/>
                <a:ea typeface="Open Sans Light"/>
                <a:cs typeface="Open Sans Light"/>
              </a:rPr>
              <a:t>Scenario planning process</a:t>
            </a:r>
            <a:endParaRPr lang="en-US" dirty="0"/>
          </a:p>
        </p:txBody>
      </p:sp>
      <p:grpSp>
        <p:nvGrpSpPr>
          <p:cNvPr id="9" name="Group 8">
            <a:extLst>
              <a:ext uri="{FF2B5EF4-FFF2-40B4-BE49-F238E27FC236}">
                <a16:creationId xmlns:a16="http://schemas.microsoft.com/office/drawing/2014/main" id="{06E0E054-F51D-545B-06B7-EBC970463313}"/>
              </a:ext>
            </a:extLst>
          </p:cNvPr>
          <p:cNvGrpSpPr/>
          <p:nvPr/>
        </p:nvGrpSpPr>
        <p:grpSpPr>
          <a:xfrm>
            <a:off x="577987" y="2066714"/>
            <a:ext cx="2888015" cy="979245"/>
            <a:chOff x="537882" y="1196788"/>
            <a:chExt cx="2888015" cy="979245"/>
          </a:xfrm>
        </p:grpSpPr>
        <p:sp>
          <p:nvSpPr>
            <p:cNvPr id="5" name="Rectangle 4">
              <a:extLst>
                <a:ext uri="{FF2B5EF4-FFF2-40B4-BE49-F238E27FC236}">
                  <a16:creationId xmlns:a16="http://schemas.microsoft.com/office/drawing/2014/main" id="{3D60116B-2D63-4E44-AB3E-8EB3D5FE87B8}"/>
                </a:ext>
              </a:extLst>
            </p:cNvPr>
            <p:cNvSpPr/>
            <p:nvPr/>
          </p:nvSpPr>
          <p:spPr bwMode="gray">
            <a:xfrm>
              <a:off x="537882" y="1196788"/>
              <a:ext cx="2888015" cy="964505"/>
            </a:xfrm>
            <a:prstGeom prst="rect">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Open Sans"/>
                <a:cs typeface="Open Sans"/>
              </a:endParaRPr>
            </a:p>
          </p:txBody>
        </p:sp>
        <p:sp>
          <p:nvSpPr>
            <p:cNvPr id="6" name="object 29">
              <a:extLst>
                <a:ext uri="{FF2B5EF4-FFF2-40B4-BE49-F238E27FC236}">
                  <a16:creationId xmlns:a16="http://schemas.microsoft.com/office/drawing/2014/main" id="{84CF5F14-8D15-949E-4F0E-B77EE1E3A7B4}"/>
                </a:ext>
              </a:extLst>
            </p:cNvPr>
            <p:cNvSpPr txBox="1"/>
            <p:nvPr/>
          </p:nvSpPr>
          <p:spPr>
            <a:xfrm>
              <a:off x="1022222" y="1691285"/>
              <a:ext cx="2073306" cy="484748"/>
            </a:xfrm>
            <a:prstGeom prst="rect">
              <a:avLst/>
            </a:prstGeom>
            <a:noFill/>
          </p:spPr>
          <p:txBody>
            <a:bodyPr vert="horz" wrap="square" lIns="0" tIns="0" rIns="0" bIns="0" rtlCol="0" anchor="t">
              <a:spAutoFit/>
            </a:bodyPr>
            <a:lstStyle/>
            <a:p>
              <a:pPr marL="12700" marR="5080">
                <a:defRPr/>
              </a:pPr>
              <a:r>
                <a:rPr kumimoji="0" lang="en-US" sz="1050" b="0" i="0" u="none" strike="noStrike" kern="1200" cap="none" spc="0" normalizeH="0" baseline="0" noProof="0" dirty="0">
                  <a:ln>
                    <a:noFill/>
                  </a:ln>
                  <a:solidFill>
                    <a:srgbClr val="515151"/>
                  </a:solidFill>
                  <a:effectLst/>
                  <a:uLnTx/>
                  <a:uFillTx/>
                  <a:latin typeface="Open Sans"/>
                  <a:ea typeface="Open Sans"/>
                  <a:cs typeface="Open Sans"/>
                </a:rPr>
                <a:t>What is the critical issue that </a:t>
              </a:r>
              <a:r>
                <a:rPr lang="en-US" sz="1050" dirty="0">
                  <a:solidFill>
                    <a:srgbClr val="515151"/>
                  </a:solidFill>
                  <a:latin typeface="Open Sans"/>
                  <a:ea typeface="Open Sans"/>
                  <a:cs typeface="Open Sans"/>
                </a:rPr>
                <a:t>the organization is</a:t>
              </a:r>
              <a:r>
                <a:rPr kumimoji="0" lang="en-US" sz="1050" b="0" i="0" u="none" strike="noStrike" kern="1200" cap="none" spc="0" normalizeH="0" baseline="0" noProof="0" dirty="0">
                  <a:ln>
                    <a:noFill/>
                  </a:ln>
                  <a:solidFill>
                    <a:srgbClr val="515151"/>
                  </a:solidFill>
                  <a:effectLst/>
                  <a:uLnTx/>
                  <a:uFillTx/>
                  <a:latin typeface="Open Sans"/>
                  <a:ea typeface="Open Sans"/>
                  <a:cs typeface="Open Sans"/>
                </a:rPr>
                <a:t> trying to address?</a:t>
              </a:r>
              <a:r>
                <a:rPr lang="en-US" sz="1050" dirty="0">
                  <a:solidFill>
                    <a:srgbClr val="515151"/>
                  </a:solidFill>
                  <a:latin typeface="Open Sans"/>
                  <a:ea typeface="Open Sans"/>
                  <a:cs typeface="Open Sans"/>
                </a:rPr>
                <a:t> </a:t>
              </a:r>
              <a:endParaRPr kumimoji="0" sz="1050" b="0" i="0" u="none" strike="noStrike" kern="1200" cap="none" spc="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Oval 31">
              <a:extLst>
                <a:ext uri="{FF2B5EF4-FFF2-40B4-BE49-F238E27FC236}">
                  <a16:creationId xmlns:a16="http://schemas.microsoft.com/office/drawing/2014/main" id="{F5B1B371-983B-3186-0258-FCECA14975B0}"/>
                </a:ext>
              </a:extLst>
            </p:cNvPr>
            <p:cNvSpPr/>
            <p:nvPr/>
          </p:nvSpPr>
          <p:spPr bwMode="auto">
            <a:xfrm>
              <a:off x="658755" y="1342911"/>
              <a:ext cx="253514" cy="253514"/>
            </a:xfrm>
            <a:prstGeom prst="ellipse">
              <a:avLst/>
            </a:prstGeom>
            <a:solidFill>
              <a:schemeClr val="bg1">
                <a:lumMod val="50000"/>
              </a:schemeClr>
            </a:solidFill>
            <a:ln w="28575" cap="flat" cmpd="sng" algn="ctr">
              <a:solidFill>
                <a:sysClr val="window" lastClr="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8" name="Rectangle 7">
              <a:extLst>
                <a:ext uri="{FF2B5EF4-FFF2-40B4-BE49-F238E27FC236}">
                  <a16:creationId xmlns:a16="http://schemas.microsoft.com/office/drawing/2014/main" id="{B12D9EF8-111C-41D2-46B5-19E6A3540F54}"/>
                </a:ext>
              </a:extLst>
            </p:cNvPr>
            <p:cNvSpPr/>
            <p:nvPr/>
          </p:nvSpPr>
          <p:spPr>
            <a:xfrm>
              <a:off x="927640" y="1305164"/>
              <a:ext cx="2430474"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FOCAL QUESTION</a:t>
              </a:r>
            </a:p>
          </p:txBody>
        </p:sp>
      </p:grpSp>
      <p:sp>
        <p:nvSpPr>
          <p:cNvPr id="11" name="object 29">
            <a:extLst>
              <a:ext uri="{FF2B5EF4-FFF2-40B4-BE49-F238E27FC236}">
                <a16:creationId xmlns:a16="http://schemas.microsoft.com/office/drawing/2014/main" id="{4F5B5091-F3E0-BC2D-B1EA-C08438979347}"/>
              </a:ext>
            </a:extLst>
          </p:cNvPr>
          <p:cNvSpPr txBox="1"/>
          <p:nvPr/>
        </p:nvSpPr>
        <p:spPr>
          <a:xfrm>
            <a:off x="1056807" y="3383117"/>
            <a:ext cx="2310814" cy="461665"/>
          </a:xfrm>
          <a:prstGeom prst="rect">
            <a:avLst/>
          </a:prstGeom>
          <a:solidFill>
            <a:schemeClr val="bg1"/>
          </a:solidFill>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What are the underlying drivers of change? What will be disruptive? What are the uncertainties? </a:t>
            </a:r>
            <a:endParaRPr kumimoji="0" sz="1000" b="0" i="0" u="none" strike="noStrike" kern="1200" cap="none" spc="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object 29">
            <a:extLst>
              <a:ext uri="{FF2B5EF4-FFF2-40B4-BE49-F238E27FC236}">
                <a16:creationId xmlns:a16="http://schemas.microsoft.com/office/drawing/2014/main" id="{24CF40F4-EFFD-1B9E-9079-4F9B4F4F4BC8}"/>
              </a:ext>
            </a:extLst>
          </p:cNvPr>
          <p:cNvSpPr txBox="1"/>
          <p:nvPr/>
        </p:nvSpPr>
        <p:spPr>
          <a:xfrm>
            <a:off x="1056806" y="5704741"/>
            <a:ext cx="3035047" cy="461665"/>
          </a:xfrm>
          <a:prstGeom prst="rect">
            <a:avLst/>
          </a:prstGeom>
          <a:noFill/>
        </p:spPr>
        <p:txBody>
          <a:bodyPr vert="horz" wrap="square" lIns="0" tIns="0" rIns="0" bIns="0" rtlCol="0" anchor="t">
            <a:spAutoFit/>
          </a:bodyPr>
          <a:lstStyle/>
          <a:p>
            <a:pPr marL="12700" marR="5080">
              <a:defRPr/>
            </a:pPr>
            <a:r>
              <a:rPr kumimoji="0" lang="en-US" sz="1000" b="0" i="0" u="none" strike="noStrike" kern="1200" cap="none" spc="0" normalizeH="0" baseline="0" noProof="0" dirty="0">
                <a:ln>
                  <a:noFill/>
                </a:ln>
                <a:solidFill>
                  <a:srgbClr val="515151"/>
                </a:solidFill>
                <a:effectLst/>
                <a:uLnTx/>
                <a:uFillTx/>
                <a:latin typeface="Open Sans"/>
                <a:ea typeface="Open Sans"/>
                <a:cs typeface="Open Sans"/>
              </a:rPr>
              <a:t>How could </a:t>
            </a:r>
            <a:r>
              <a:rPr lang="en-US" sz="1000" dirty="0">
                <a:solidFill>
                  <a:srgbClr val="515151"/>
                </a:solidFill>
                <a:latin typeface="Open Sans"/>
                <a:ea typeface="Open Sans"/>
                <a:cs typeface="Open Sans"/>
              </a:rPr>
              <a:t>the organization use</a:t>
            </a:r>
            <a:r>
              <a:rPr kumimoji="0" lang="en-US" sz="1000" b="0" i="0" u="none" strike="noStrike" kern="1200" cap="none" spc="0" normalizeH="0" baseline="0" noProof="0" dirty="0">
                <a:ln>
                  <a:noFill/>
                </a:ln>
                <a:solidFill>
                  <a:srgbClr val="515151"/>
                </a:solidFill>
                <a:effectLst/>
                <a:uLnTx/>
                <a:uFillTx/>
                <a:latin typeface="Open Sans"/>
                <a:ea typeface="Open Sans"/>
                <a:cs typeface="Open Sans"/>
              </a:rPr>
              <a:t> these critical uncertainties to describe surprising futures that challenge today’s conventional wisdom?</a:t>
            </a:r>
          </a:p>
        </p:txBody>
      </p:sp>
      <p:sp>
        <p:nvSpPr>
          <p:cNvPr id="17" name="Oval 31">
            <a:extLst>
              <a:ext uri="{FF2B5EF4-FFF2-40B4-BE49-F238E27FC236}">
                <a16:creationId xmlns:a16="http://schemas.microsoft.com/office/drawing/2014/main" id="{01DA48BB-17A4-A9E6-6043-F5848E74B429}"/>
              </a:ext>
            </a:extLst>
          </p:cNvPr>
          <p:cNvSpPr/>
          <p:nvPr/>
        </p:nvSpPr>
        <p:spPr bwMode="auto">
          <a:xfrm>
            <a:off x="698860" y="3109487"/>
            <a:ext cx="253514" cy="253514"/>
          </a:xfrm>
          <a:prstGeom prst="ellipse">
            <a:avLst/>
          </a:prstGeom>
          <a:solidFill>
            <a:schemeClr val="bg1">
              <a:lumMod val="50000"/>
            </a:schemeClr>
          </a:solidFill>
          <a:ln w="28575" cap="flat" cmpd="sng" algn="ctr">
            <a:solidFill>
              <a:sysClr val="window" lastClr="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19" name="Rectangle 18">
            <a:extLst>
              <a:ext uri="{FF2B5EF4-FFF2-40B4-BE49-F238E27FC236}">
                <a16:creationId xmlns:a16="http://schemas.microsoft.com/office/drawing/2014/main" id="{55E1C293-23B2-2EC7-6A15-40EDA30097F7}"/>
              </a:ext>
            </a:extLst>
          </p:cNvPr>
          <p:cNvSpPr/>
          <p:nvPr/>
        </p:nvSpPr>
        <p:spPr>
          <a:xfrm>
            <a:off x="967745" y="3098634"/>
            <a:ext cx="1729961"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DRIVING FORCES</a:t>
            </a:r>
          </a:p>
        </p:txBody>
      </p:sp>
      <p:sp>
        <p:nvSpPr>
          <p:cNvPr id="21" name="Oval 31">
            <a:extLst>
              <a:ext uri="{FF2B5EF4-FFF2-40B4-BE49-F238E27FC236}">
                <a16:creationId xmlns:a16="http://schemas.microsoft.com/office/drawing/2014/main" id="{A9FABCD6-6C65-13F6-56DC-F1C01F0AD8D8}"/>
              </a:ext>
            </a:extLst>
          </p:cNvPr>
          <p:cNvSpPr/>
          <p:nvPr/>
        </p:nvSpPr>
        <p:spPr bwMode="auto">
          <a:xfrm>
            <a:off x="698860" y="3988249"/>
            <a:ext cx="253514" cy="253514"/>
          </a:xfrm>
          <a:prstGeom prst="ellipse">
            <a:avLst/>
          </a:prstGeom>
          <a:solidFill>
            <a:schemeClr val="bg1">
              <a:lumMod val="50000"/>
            </a:schemeClr>
          </a:solidFill>
          <a:ln w="28575" cap="flat" cmpd="sng" algn="ctr">
            <a:solidFill>
              <a:sysClr val="window" lastClr="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23" name="Rectangle 22">
            <a:extLst>
              <a:ext uri="{FF2B5EF4-FFF2-40B4-BE49-F238E27FC236}">
                <a16:creationId xmlns:a16="http://schemas.microsoft.com/office/drawing/2014/main" id="{EFEB83CE-8D64-B03D-3BA0-473A1810BF17}"/>
              </a:ext>
            </a:extLst>
          </p:cNvPr>
          <p:cNvSpPr/>
          <p:nvPr/>
        </p:nvSpPr>
        <p:spPr>
          <a:xfrm>
            <a:off x="967745" y="3977396"/>
            <a:ext cx="25426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CRITICAL UNCERTAINTIES</a:t>
            </a:r>
          </a:p>
        </p:txBody>
      </p:sp>
      <p:sp>
        <p:nvSpPr>
          <p:cNvPr id="25" name="Oval 31">
            <a:extLst>
              <a:ext uri="{FF2B5EF4-FFF2-40B4-BE49-F238E27FC236}">
                <a16:creationId xmlns:a16="http://schemas.microsoft.com/office/drawing/2014/main" id="{C6AF3DC3-1879-59BE-EDE6-DF2ECE759074}"/>
              </a:ext>
            </a:extLst>
          </p:cNvPr>
          <p:cNvSpPr/>
          <p:nvPr/>
        </p:nvSpPr>
        <p:spPr bwMode="auto">
          <a:xfrm>
            <a:off x="698860" y="5405211"/>
            <a:ext cx="253514" cy="253514"/>
          </a:xfrm>
          <a:prstGeom prst="ellipse">
            <a:avLst/>
          </a:prstGeom>
          <a:solidFill>
            <a:schemeClr val="bg1">
              <a:lumMod val="50000"/>
            </a:schemeClr>
          </a:solidFill>
          <a:ln w="28575" cap="flat" cmpd="sng" algn="ctr">
            <a:solidFill>
              <a:sysClr val="window" lastClr="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sp>
        <p:nvSpPr>
          <p:cNvPr id="27" name="Rectangle 26">
            <a:extLst>
              <a:ext uri="{FF2B5EF4-FFF2-40B4-BE49-F238E27FC236}">
                <a16:creationId xmlns:a16="http://schemas.microsoft.com/office/drawing/2014/main" id="{6C240CB2-B236-913B-B7DE-AB66B617DBBC}"/>
              </a:ext>
            </a:extLst>
          </p:cNvPr>
          <p:cNvSpPr/>
          <p:nvPr/>
        </p:nvSpPr>
        <p:spPr>
          <a:xfrm>
            <a:off x="967745" y="5394358"/>
            <a:ext cx="2419252"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SCENARIO FRAMEWORKS</a:t>
            </a:r>
          </a:p>
        </p:txBody>
      </p:sp>
      <p:sp>
        <p:nvSpPr>
          <p:cNvPr id="29" name="object 29">
            <a:extLst>
              <a:ext uri="{FF2B5EF4-FFF2-40B4-BE49-F238E27FC236}">
                <a16:creationId xmlns:a16="http://schemas.microsoft.com/office/drawing/2014/main" id="{D01D1FB8-9E1F-55FF-CA71-79B06BC782E8}"/>
              </a:ext>
            </a:extLst>
          </p:cNvPr>
          <p:cNvSpPr txBox="1"/>
          <p:nvPr/>
        </p:nvSpPr>
        <p:spPr>
          <a:xfrm>
            <a:off x="4486279" y="2429766"/>
            <a:ext cx="2584947" cy="923330"/>
          </a:xfrm>
          <a:prstGeom prst="rect">
            <a:avLst/>
          </a:prstGeom>
          <a:solidFill>
            <a:schemeClr val="bg1"/>
          </a:solidFill>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What are the indicators that would point to an evolution towards each scenario? How can they be systematically monitored to enable continuous learning about the changing environment within and across markets? </a:t>
            </a:r>
          </a:p>
        </p:txBody>
      </p:sp>
      <p:sp>
        <p:nvSpPr>
          <p:cNvPr id="31" name="object 29">
            <a:extLst>
              <a:ext uri="{FF2B5EF4-FFF2-40B4-BE49-F238E27FC236}">
                <a16:creationId xmlns:a16="http://schemas.microsoft.com/office/drawing/2014/main" id="{470EFDF9-5250-BE44-47B5-AA403CAF47E0}"/>
              </a:ext>
            </a:extLst>
          </p:cNvPr>
          <p:cNvSpPr txBox="1"/>
          <p:nvPr/>
        </p:nvSpPr>
        <p:spPr>
          <a:xfrm>
            <a:off x="4486278" y="4060369"/>
            <a:ext cx="2556215" cy="1077218"/>
          </a:xfrm>
          <a:prstGeom prst="rect">
            <a:avLst/>
          </a:prstGeom>
          <a:solidFill>
            <a:schemeClr val="bg1"/>
          </a:solidFill>
        </p:spPr>
        <p:txBody>
          <a:bodyPr vert="horz" wrap="square" lIns="0" tIns="0" rIns="0" bIns="0" rtlCol="0" anchor="t">
            <a:spAutoFit/>
          </a:bodyPr>
          <a:lstStyle/>
          <a:p>
            <a:pPr marL="12700" marR="5080">
              <a:defRPr/>
            </a:pPr>
            <a:r>
              <a:rPr kumimoji="0" lang="en-US" sz="1000" b="0" i="0" u="none" strike="noStrike" kern="1200" cap="none" spc="0" normalizeH="0" baseline="0" noProof="0" dirty="0">
                <a:ln>
                  <a:noFill/>
                </a:ln>
                <a:solidFill>
                  <a:srgbClr val="515151"/>
                </a:solidFill>
                <a:effectLst/>
                <a:uLnTx/>
                <a:uFillTx/>
                <a:latin typeface="Open Sans"/>
                <a:ea typeface="Open Sans"/>
                <a:cs typeface="Open Sans"/>
              </a:rPr>
              <a:t>How would the conditions in each scenario affect mobility markets? What risks to current assumptions emerge, what impacts could they have, and what steps could </a:t>
            </a:r>
            <a:r>
              <a:rPr lang="en-US" sz="1000" dirty="0">
                <a:solidFill>
                  <a:srgbClr val="515151"/>
                </a:solidFill>
                <a:latin typeface="Open Sans"/>
                <a:ea typeface="Open Sans"/>
                <a:cs typeface="Open Sans"/>
              </a:rPr>
              <a:t>the organization take</a:t>
            </a:r>
            <a:r>
              <a:rPr kumimoji="0" lang="en-US" sz="1000" b="0" i="0" u="none" strike="noStrike" kern="1200" cap="none" spc="0" normalizeH="0" baseline="0" noProof="0" dirty="0">
                <a:ln>
                  <a:noFill/>
                </a:ln>
                <a:solidFill>
                  <a:srgbClr val="515151"/>
                </a:solidFill>
                <a:effectLst/>
                <a:uLnTx/>
                <a:uFillTx/>
                <a:latin typeface="Open Sans"/>
                <a:ea typeface="Open Sans"/>
                <a:cs typeface="Open Sans"/>
              </a:rPr>
              <a:t> to prepare? How does this work complement other ongoing efforts?</a:t>
            </a:r>
          </a:p>
        </p:txBody>
      </p:sp>
      <p:sp>
        <p:nvSpPr>
          <p:cNvPr id="33" name="object 29">
            <a:extLst>
              <a:ext uri="{FF2B5EF4-FFF2-40B4-BE49-F238E27FC236}">
                <a16:creationId xmlns:a16="http://schemas.microsoft.com/office/drawing/2014/main" id="{2E4DB99A-F3DE-50C2-9AF6-41FA1B5DC65F}"/>
              </a:ext>
            </a:extLst>
          </p:cNvPr>
          <p:cNvSpPr txBox="1"/>
          <p:nvPr/>
        </p:nvSpPr>
        <p:spPr>
          <a:xfrm>
            <a:off x="4486280" y="5614504"/>
            <a:ext cx="2584948" cy="615553"/>
          </a:xfrm>
          <a:prstGeom prst="rect">
            <a:avLst/>
          </a:prstGeom>
          <a:solidFill>
            <a:schemeClr val="bg1"/>
          </a:solidFill>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How could these scenarios unfold, and how might they develop differently in different markets or in light of different circumstances around the world?</a:t>
            </a:r>
          </a:p>
        </p:txBody>
      </p:sp>
      <p:sp>
        <p:nvSpPr>
          <p:cNvPr id="35" name="Oval 31">
            <a:extLst>
              <a:ext uri="{FF2B5EF4-FFF2-40B4-BE49-F238E27FC236}">
                <a16:creationId xmlns:a16="http://schemas.microsoft.com/office/drawing/2014/main" id="{5221E1A6-8F86-9826-C7C3-10F0501900CF}"/>
              </a:ext>
            </a:extLst>
          </p:cNvPr>
          <p:cNvSpPr/>
          <p:nvPr/>
        </p:nvSpPr>
        <p:spPr bwMode="auto">
          <a:xfrm>
            <a:off x="4128333" y="2142689"/>
            <a:ext cx="253514" cy="253514"/>
          </a:xfrm>
          <a:prstGeom prst="ellipse">
            <a:avLst/>
          </a:prstGeom>
          <a:solidFill>
            <a:schemeClr val="bg1">
              <a:lumMod val="50000"/>
            </a:schemeClr>
          </a:solidFill>
          <a:ln w="28575" cap="flat" cmpd="sng" algn="ctr">
            <a:solidFill>
              <a:sysClr val="window" lastClr="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7</a:t>
            </a:r>
          </a:p>
        </p:txBody>
      </p:sp>
      <p:sp>
        <p:nvSpPr>
          <p:cNvPr id="37" name="Rectangle 36">
            <a:extLst>
              <a:ext uri="{FF2B5EF4-FFF2-40B4-BE49-F238E27FC236}">
                <a16:creationId xmlns:a16="http://schemas.microsoft.com/office/drawing/2014/main" id="{A72F8F9A-07E7-749B-6ACD-819CEFD624E5}"/>
              </a:ext>
            </a:extLst>
          </p:cNvPr>
          <p:cNvSpPr/>
          <p:nvPr/>
        </p:nvSpPr>
        <p:spPr>
          <a:xfrm>
            <a:off x="4397218" y="2131836"/>
            <a:ext cx="226055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LEADING INDICATORS </a:t>
            </a:r>
          </a:p>
        </p:txBody>
      </p:sp>
      <p:sp>
        <p:nvSpPr>
          <p:cNvPr id="39" name="Oval 31">
            <a:extLst>
              <a:ext uri="{FF2B5EF4-FFF2-40B4-BE49-F238E27FC236}">
                <a16:creationId xmlns:a16="http://schemas.microsoft.com/office/drawing/2014/main" id="{A000D3B9-DF00-663F-F784-972C06CA9399}"/>
              </a:ext>
            </a:extLst>
          </p:cNvPr>
          <p:cNvSpPr/>
          <p:nvPr/>
        </p:nvSpPr>
        <p:spPr bwMode="auto">
          <a:xfrm>
            <a:off x="4128333" y="3639342"/>
            <a:ext cx="253514" cy="253514"/>
          </a:xfrm>
          <a:prstGeom prst="ellipse">
            <a:avLst/>
          </a:prstGeom>
          <a:solidFill>
            <a:schemeClr val="bg1">
              <a:lumMod val="50000"/>
            </a:schemeClr>
          </a:solidFill>
          <a:ln w="28575" cap="flat" cmpd="sng" algn="ctr">
            <a:solidFill>
              <a:sysClr val="window" lastClr="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6</a:t>
            </a:r>
          </a:p>
        </p:txBody>
      </p:sp>
      <p:sp>
        <p:nvSpPr>
          <p:cNvPr id="41" name="Rectangle 40">
            <a:extLst>
              <a:ext uri="{FF2B5EF4-FFF2-40B4-BE49-F238E27FC236}">
                <a16:creationId xmlns:a16="http://schemas.microsoft.com/office/drawing/2014/main" id="{FF2898F2-AF0A-9864-B630-9DE459CBBB04}"/>
              </a:ext>
            </a:extLst>
          </p:cNvPr>
          <p:cNvSpPr/>
          <p:nvPr/>
        </p:nvSpPr>
        <p:spPr>
          <a:xfrm>
            <a:off x="4397218" y="3547807"/>
            <a:ext cx="2361544"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IMPLICATIONS and </a:t>
            </a:r>
            <a:br>
              <a:rPr kumimoji="0" lang="en-GB" sz="10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GB" sz="10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STRATEGIC PRIORITIES </a:t>
            </a:r>
          </a:p>
        </p:txBody>
      </p:sp>
      <p:sp>
        <p:nvSpPr>
          <p:cNvPr id="43" name="Oval 31">
            <a:extLst>
              <a:ext uri="{FF2B5EF4-FFF2-40B4-BE49-F238E27FC236}">
                <a16:creationId xmlns:a16="http://schemas.microsoft.com/office/drawing/2014/main" id="{2BCE1167-1299-45C9-D1DD-5DEEFB57D781}"/>
              </a:ext>
            </a:extLst>
          </p:cNvPr>
          <p:cNvSpPr/>
          <p:nvPr/>
        </p:nvSpPr>
        <p:spPr bwMode="auto">
          <a:xfrm>
            <a:off x="4128333" y="5314974"/>
            <a:ext cx="253514" cy="253514"/>
          </a:xfrm>
          <a:prstGeom prst="ellipse">
            <a:avLst/>
          </a:prstGeom>
          <a:solidFill>
            <a:schemeClr val="bg1">
              <a:lumMod val="50000"/>
            </a:schemeClr>
          </a:solidFill>
          <a:ln w="28575" cap="flat" cmpd="sng" algn="ctr">
            <a:solidFill>
              <a:sysClr val="window" lastClr="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5</a:t>
            </a:r>
          </a:p>
        </p:txBody>
      </p:sp>
      <p:sp>
        <p:nvSpPr>
          <p:cNvPr id="45" name="Rectangle 44">
            <a:extLst>
              <a:ext uri="{FF2B5EF4-FFF2-40B4-BE49-F238E27FC236}">
                <a16:creationId xmlns:a16="http://schemas.microsoft.com/office/drawing/2014/main" id="{81DEC03C-CB4C-4D0A-6DEB-74ECAB7EF4C8}"/>
              </a:ext>
            </a:extLst>
          </p:cNvPr>
          <p:cNvSpPr/>
          <p:nvPr/>
        </p:nvSpPr>
        <p:spPr>
          <a:xfrm>
            <a:off x="4397218" y="5304121"/>
            <a:ext cx="194155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30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SCENARIO STORIES</a:t>
            </a:r>
          </a:p>
        </p:txBody>
      </p:sp>
      <p:grpSp>
        <p:nvGrpSpPr>
          <p:cNvPr id="53" name="Group 52">
            <a:extLst>
              <a:ext uri="{FF2B5EF4-FFF2-40B4-BE49-F238E27FC236}">
                <a16:creationId xmlns:a16="http://schemas.microsoft.com/office/drawing/2014/main" id="{93FFE0B9-EF70-C999-EA62-63C3AC238145}"/>
              </a:ext>
            </a:extLst>
          </p:cNvPr>
          <p:cNvGrpSpPr/>
          <p:nvPr/>
        </p:nvGrpSpPr>
        <p:grpSpPr>
          <a:xfrm>
            <a:off x="8483741" y="2405939"/>
            <a:ext cx="2746315" cy="3526067"/>
            <a:chOff x="8491253" y="1985426"/>
            <a:chExt cx="2365316" cy="3817672"/>
          </a:xfrm>
        </p:grpSpPr>
        <p:sp>
          <p:nvSpPr>
            <p:cNvPr id="47" name="Rectangle 46">
              <a:extLst>
                <a:ext uri="{FF2B5EF4-FFF2-40B4-BE49-F238E27FC236}">
                  <a16:creationId xmlns:a16="http://schemas.microsoft.com/office/drawing/2014/main" id="{2FCDDF8D-590E-3C42-F5B2-3791FC19B94C}"/>
                </a:ext>
              </a:extLst>
            </p:cNvPr>
            <p:cNvSpPr/>
            <p:nvPr/>
          </p:nvSpPr>
          <p:spPr>
            <a:xfrm>
              <a:off x="8569973" y="1985426"/>
              <a:ext cx="1352939" cy="285744"/>
            </a:xfrm>
            <a:prstGeom prst="rect">
              <a:avLst/>
            </a:prstGeom>
            <a:ln>
              <a:noFill/>
            </a:ln>
          </p:spPr>
          <p:style>
            <a:lnRef idx="2">
              <a:schemeClr val="accent3"/>
            </a:lnRef>
            <a:fillRef idx="1">
              <a:schemeClr val="lt1"/>
            </a:fillRef>
            <a:effectRef idx="0">
              <a:schemeClr val="accent3"/>
            </a:effectRef>
            <a:fontRef idx="minor">
              <a:schemeClr val="dk1"/>
            </a:fontRef>
          </p:style>
          <p:txBody>
            <a:bodyPr wrap="square" lIns="0" tIns="45720" rIns="91440" bIns="45720" anchor="t">
              <a:spAutoFit/>
            </a:bodyPr>
            <a:lstStyle/>
            <a:p>
              <a:pPr marL="0" marR="0" lvl="0" indent="0" algn="l" defTabSz="1219170" rtl="0" eaLnBrk="1" fontAlgn="auto" latinLnBrk="0" hangingPunct="1">
                <a:lnSpc>
                  <a:spcPct val="120000"/>
                </a:lnSpc>
                <a:spcBef>
                  <a:spcPts val="600"/>
                </a:spcBef>
                <a:spcAft>
                  <a:spcPts val="0"/>
                </a:spcAft>
                <a:buClrTx/>
                <a:buSzTx/>
                <a:buFontTx/>
                <a:buNone/>
                <a:tabLst/>
                <a:defRPr/>
              </a:pPr>
              <a:r>
                <a:rPr kumimoji="0" lang="en-US" sz="1000" b="1" i="0" u="none" strike="noStrike" kern="1200" cap="none" spc="300" normalizeH="0" baseline="0" noProof="0" dirty="0">
                  <a:ln>
                    <a:noFill/>
                  </a:ln>
                  <a:solidFill>
                    <a:srgbClr val="007CB0"/>
                  </a:solidFill>
                  <a:effectLst/>
                  <a:uLnTx/>
                  <a:uFillTx/>
                  <a:latin typeface="Open Sans"/>
                  <a:ea typeface="Open Sans"/>
                  <a:cs typeface="Open Sans"/>
                  <a:sym typeface="Open Sans"/>
                </a:rPr>
                <a:t>BENEFITS:</a:t>
              </a:r>
            </a:p>
          </p:txBody>
        </p:sp>
        <p:grpSp>
          <p:nvGrpSpPr>
            <p:cNvPr id="48" name="Group 47">
              <a:extLst>
                <a:ext uri="{FF2B5EF4-FFF2-40B4-BE49-F238E27FC236}">
                  <a16:creationId xmlns:a16="http://schemas.microsoft.com/office/drawing/2014/main" id="{FE3FA73A-04D0-2428-22CB-0A9BC5A62982}"/>
                </a:ext>
              </a:extLst>
            </p:cNvPr>
            <p:cNvGrpSpPr/>
            <p:nvPr/>
          </p:nvGrpSpPr>
          <p:grpSpPr>
            <a:xfrm>
              <a:off x="8491253" y="2453208"/>
              <a:ext cx="2365316" cy="3349890"/>
              <a:chOff x="7084856" y="2393333"/>
              <a:chExt cx="1902086" cy="3684878"/>
            </a:xfrm>
          </p:grpSpPr>
          <p:sp>
            <p:nvSpPr>
              <p:cNvPr id="49" name="Rectangle 48">
                <a:extLst>
                  <a:ext uri="{FF2B5EF4-FFF2-40B4-BE49-F238E27FC236}">
                    <a16:creationId xmlns:a16="http://schemas.microsoft.com/office/drawing/2014/main" id="{C68847C0-079B-ABAC-68AD-60F3C69168E1}"/>
                  </a:ext>
                </a:extLst>
              </p:cNvPr>
              <p:cNvSpPr/>
              <p:nvPr/>
            </p:nvSpPr>
            <p:spPr bwMode="gray">
              <a:xfrm>
                <a:off x="7084856" y="2393333"/>
                <a:ext cx="1873661" cy="815697"/>
              </a:xfrm>
              <a:prstGeom prst="rect">
                <a:avLst/>
              </a:prstGeom>
              <a:solidFill>
                <a:srgbClr val="F7F7F7"/>
              </a:solidFill>
              <a:ln>
                <a:no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0000"/>
                  </a:lnSpc>
                  <a:spcBef>
                    <a:spcPts val="400"/>
                  </a:spcBef>
                  <a:spcAft>
                    <a:spcPts val="0"/>
                  </a:spcAft>
                  <a:buClrTx/>
                  <a:buSzTx/>
                  <a:buFontTx/>
                  <a:buNone/>
                  <a:tabLst/>
                  <a:defRPr/>
                </a:pPr>
                <a:r>
                  <a:rPr kumimoji="0" lang="en-CA" sz="1000" b="0" i="0" u="none" strike="noStrike" kern="1200" cap="none" spc="0" normalizeH="0" baseline="0" noProof="0" dirty="0">
                    <a:ln>
                      <a:noFill/>
                    </a:ln>
                    <a:solidFill>
                      <a:srgbClr val="515151"/>
                    </a:solidFill>
                    <a:effectLst/>
                    <a:uLnTx/>
                    <a:uFillTx/>
                    <a:latin typeface="Open Sans"/>
                    <a:ea typeface="Open Sans"/>
                    <a:cs typeface="Open Sans"/>
                  </a:rPr>
                  <a:t>Stress-Test </a:t>
                </a:r>
                <a:br>
                  <a:rPr kumimoji="0" lang="en-CA" sz="1000" b="0" i="0" u="none" strike="noStrike" kern="1200" cap="none" spc="0" normalizeH="0" baseline="0" noProof="0" dirty="0">
                    <a:ln>
                      <a:noFill/>
                    </a:ln>
                    <a:solidFill>
                      <a:srgbClr val="515151"/>
                    </a:solidFill>
                    <a:effectLst/>
                    <a:uLnTx/>
                    <a:uFillTx/>
                    <a:latin typeface="Open Sans"/>
                    <a:ea typeface="Open Sans"/>
                    <a:cs typeface="Open Sans"/>
                  </a:rPr>
                </a:br>
                <a:r>
                  <a:rPr kumimoji="0" lang="en-CA" sz="1000" b="0" i="0" u="none" strike="noStrike" kern="1200" cap="none" spc="0" normalizeH="0" baseline="0" noProof="0" dirty="0">
                    <a:ln>
                      <a:noFill/>
                    </a:ln>
                    <a:solidFill>
                      <a:srgbClr val="515151"/>
                    </a:solidFill>
                    <a:effectLst/>
                    <a:uLnTx/>
                    <a:uFillTx/>
                    <a:latin typeface="Open Sans"/>
                    <a:ea typeface="Open Sans"/>
                    <a:cs typeface="Open Sans"/>
                  </a:rPr>
                  <a:t>Current Strategy </a:t>
                </a:r>
              </a:p>
            </p:txBody>
          </p:sp>
          <p:sp>
            <p:nvSpPr>
              <p:cNvPr id="50" name="Rectangle 49">
                <a:extLst>
                  <a:ext uri="{FF2B5EF4-FFF2-40B4-BE49-F238E27FC236}">
                    <a16:creationId xmlns:a16="http://schemas.microsoft.com/office/drawing/2014/main" id="{B3E15726-204D-B075-0248-A9B61FDC9471}"/>
                  </a:ext>
                </a:extLst>
              </p:cNvPr>
              <p:cNvSpPr/>
              <p:nvPr/>
            </p:nvSpPr>
            <p:spPr bwMode="gray">
              <a:xfrm>
                <a:off x="7110366" y="3340830"/>
                <a:ext cx="1873661" cy="815697"/>
              </a:xfrm>
              <a:prstGeom prst="rect">
                <a:avLst/>
              </a:prstGeom>
              <a:solidFill>
                <a:srgbClr val="F7F7F7"/>
              </a:solidFill>
              <a:ln>
                <a:no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0000"/>
                  </a:lnSpc>
                  <a:spcBef>
                    <a:spcPts val="400"/>
                  </a:spcBef>
                  <a:spcAft>
                    <a:spcPts val="0"/>
                  </a:spcAft>
                  <a:buClrTx/>
                  <a:buSzTx/>
                  <a:buFontTx/>
                  <a:buNone/>
                  <a:tabLst/>
                  <a:defRPr/>
                </a:pPr>
                <a:r>
                  <a:rPr kumimoji="0" lang="en-CA" sz="1000" b="0" i="0" u="none" strike="noStrike" kern="1200" cap="none" spc="0" normalizeH="0" baseline="0" noProof="0" dirty="0">
                    <a:ln>
                      <a:noFill/>
                    </a:ln>
                    <a:solidFill>
                      <a:srgbClr val="515151"/>
                    </a:solidFill>
                    <a:effectLst/>
                    <a:uLnTx/>
                    <a:uFillTx/>
                    <a:latin typeface="Open Sans"/>
                    <a:ea typeface="Open Sans"/>
                    <a:cs typeface="Open Sans"/>
                  </a:rPr>
                  <a:t>Develop Insights into Future Markets</a:t>
                </a:r>
              </a:p>
            </p:txBody>
          </p:sp>
          <p:sp>
            <p:nvSpPr>
              <p:cNvPr id="51" name="Rectangle 50">
                <a:extLst>
                  <a:ext uri="{FF2B5EF4-FFF2-40B4-BE49-F238E27FC236}">
                    <a16:creationId xmlns:a16="http://schemas.microsoft.com/office/drawing/2014/main" id="{6B5A9E62-6D16-2533-DC6A-91E6505A3F70}"/>
                  </a:ext>
                </a:extLst>
              </p:cNvPr>
              <p:cNvSpPr/>
              <p:nvPr/>
            </p:nvSpPr>
            <p:spPr bwMode="gray">
              <a:xfrm>
                <a:off x="7113281" y="4315017"/>
                <a:ext cx="1873661" cy="815697"/>
              </a:xfrm>
              <a:prstGeom prst="rect">
                <a:avLst/>
              </a:prstGeom>
              <a:solidFill>
                <a:srgbClr val="F7F7F7"/>
              </a:solidFill>
              <a:ln>
                <a:no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0000"/>
                  </a:lnSpc>
                  <a:spcBef>
                    <a:spcPts val="400"/>
                  </a:spcBef>
                  <a:spcAft>
                    <a:spcPts val="0"/>
                  </a:spcAft>
                  <a:buClrTx/>
                  <a:buSzTx/>
                  <a:buFontTx/>
                  <a:buNone/>
                  <a:tabLst/>
                  <a:defRPr/>
                </a:pPr>
                <a:r>
                  <a:rPr kumimoji="0" lang="en-CA" sz="1000" b="0" i="0" u="none" strike="noStrike" kern="1200" cap="none" spc="0" normalizeH="0" baseline="0" noProof="0" dirty="0">
                    <a:ln>
                      <a:noFill/>
                    </a:ln>
                    <a:solidFill>
                      <a:srgbClr val="515151"/>
                    </a:solidFill>
                    <a:effectLst/>
                    <a:uLnTx/>
                    <a:uFillTx/>
                    <a:latin typeface="Open Sans"/>
                    <a:ea typeface="Open Sans"/>
                    <a:cs typeface="Open Sans"/>
                  </a:rPr>
                  <a:t>Surface, Assess,</a:t>
                </a:r>
                <a:br>
                  <a:rPr kumimoji="0" lang="en-CA" sz="1000" b="0" i="0" u="none" strike="noStrike" kern="1200" cap="none" spc="0" normalizeH="0" baseline="0" noProof="0" dirty="0">
                    <a:ln>
                      <a:noFill/>
                    </a:ln>
                    <a:solidFill>
                      <a:srgbClr val="515151"/>
                    </a:solidFill>
                    <a:effectLst/>
                    <a:uLnTx/>
                    <a:uFillTx/>
                    <a:latin typeface="Open Sans"/>
                    <a:ea typeface="Open Sans"/>
                    <a:cs typeface="Open Sans"/>
                  </a:rPr>
                </a:br>
                <a:r>
                  <a:rPr kumimoji="0" lang="en-CA" sz="1000" b="0" i="0" u="none" strike="noStrike" kern="1200" cap="none" spc="0" normalizeH="0" baseline="0" noProof="0" dirty="0">
                    <a:ln>
                      <a:noFill/>
                    </a:ln>
                    <a:solidFill>
                      <a:srgbClr val="515151"/>
                    </a:solidFill>
                    <a:effectLst/>
                    <a:uLnTx/>
                    <a:uFillTx/>
                    <a:latin typeface="Open Sans"/>
                    <a:ea typeface="Open Sans"/>
                    <a:cs typeface="Open Sans"/>
                  </a:rPr>
                  <a:t> and Choose Options</a:t>
                </a:r>
              </a:p>
            </p:txBody>
          </p:sp>
          <p:sp>
            <p:nvSpPr>
              <p:cNvPr id="52" name="Rectangle 51">
                <a:extLst>
                  <a:ext uri="{FF2B5EF4-FFF2-40B4-BE49-F238E27FC236}">
                    <a16:creationId xmlns:a16="http://schemas.microsoft.com/office/drawing/2014/main" id="{665657D5-C1B7-8B5E-3D3C-7A36B0F7FAA8}"/>
                  </a:ext>
                </a:extLst>
              </p:cNvPr>
              <p:cNvSpPr/>
              <p:nvPr/>
            </p:nvSpPr>
            <p:spPr bwMode="gray">
              <a:xfrm>
                <a:off x="7105823" y="5262514"/>
                <a:ext cx="1873661" cy="815697"/>
              </a:xfrm>
              <a:prstGeom prst="rect">
                <a:avLst/>
              </a:prstGeom>
              <a:solidFill>
                <a:srgbClr val="F7F7F7"/>
              </a:solidFill>
              <a:ln>
                <a:no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0000"/>
                  </a:lnSpc>
                  <a:spcBef>
                    <a:spcPts val="400"/>
                  </a:spcBef>
                  <a:spcAft>
                    <a:spcPts val="0"/>
                  </a:spcAft>
                  <a:buClrTx/>
                  <a:buSzTx/>
                  <a:buFontTx/>
                  <a:buNone/>
                  <a:tabLst/>
                  <a:defRPr/>
                </a:pPr>
                <a:r>
                  <a:rPr kumimoji="0" lang="en-CA" sz="1000" b="0" i="0" u="none" strike="noStrike" kern="1200" cap="none" spc="0" normalizeH="0" baseline="0" noProof="0" dirty="0">
                    <a:ln>
                      <a:noFill/>
                    </a:ln>
                    <a:solidFill>
                      <a:srgbClr val="515151"/>
                    </a:solidFill>
                    <a:effectLst/>
                    <a:uLnTx/>
                    <a:uFillTx/>
                    <a:latin typeface="Open Sans"/>
                    <a:ea typeface="Open Sans"/>
                    <a:cs typeface="Open Sans"/>
                  </a:rPr>
                  <a:t>Create Shared Vision</a:t>
                </a:r>
              </a:p>
            </p:txBody>
          </p:sp>
        </p:grpSp>
      </p:grpSp>
      <p:sp>
        <p:nvSpPr>
          <p:cNvPr id="13" name="object 29">
            <a:extLst>
              <a:ext uri="{FF2B5EF4-FFF2-40B4-BE49-F238E27FC236}">
                <a16:creationId xmlns:a16="http://schemas.microsoft.com/office/drawing/2014/main" id="{7EB7B48C-9342-1ACE-37E5-B6CCDD66571C}"/>
              </a:ext>
            </a:extLst>
          </p:cNvPr>
          <p:cNvSpPr txBox="1"/>
          <p:nvPr/>
        </p:nvSpPr>
        <p:spPr>
          <a:xfrm>
            <a:off x="1056806" y="4288253"/>
            <a:ext cx="2222840" cy="1000274"/>
          </a:xfrm>
          <a:prstGeom prst="rect">
            <a:avLst/>
          </a:prstGeom>
          <a:noFill/>
        </p:spPr>
        <p:txBody>
          <a:bodyPr vert="horz" wrap="square" lIns="0" tIns="0" rIns="0" bIns="0" rtlCol="0" anchor="t">
            <a:spAutoFit/>
          </a:bodyPr>
          <a:lstStyle/>
          <a:p>
            <a:pPr marL="12700" marR="508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515151"/>
                </a:solidFill>
                <a:effectLst/>
                <a:uLnTx/>
                <a:uFillTx/>
                <a:latin typeface="Open Sans" panose="020B0606030504020204" pitchFamily="34" charset="0"/>
                <a:ea typeface="Open Sans" panose="020B0606030504020204" pitchFamily="34" charset="0"/>
                <a:cs typeface="Open Sans" panose="020B0606030504020204" pitchFamily="34" charset="0"/>
              </a:rPr>
              <a:t>Which of the many uncertainties could affect the focal question most significantly? </a:t>
            </a:r>
          </a:p>
          <a:p>
            <a:pPr marL="12700" marR="5080">
              <a:spcAft>
                <a:spcPts val="600"/>
              </a:spcAft>
              <a:defRPr/>
            </a:pPr>
            <a:r>
              <a:rPr kumimoji="0" lang="en-US" sz="1000" b="0" i="0" u="none" strike="noStrike" kern="1200" cap="none" spc="0" normalizeH="0" baseline="0" noProof="0" dirty="0">
                <a:ln>
                  <a:noFill/>
                </a:ln>
                <a:solidFill>
                  <a:srgbClr val="515151"/>
                </a:solidFill>
                <a:effectLst/>
                <a:uLnTx/>
                <a:uFillTx/>
                <a:latin typeface="Open Sans"/>
                <a:ea typeface="Open Sans"/>
                <a:cs typeface="Open Sans"/>
              </a:rPr>
              <a:t>How is </a:t>
            </a:r>
            <a:r>
              <a:rPr lang="en-US" sz="1000" dirty="0">
                <a:solidFill>
                  <a:srgbClr val="515151"/>
                </a:solidFill>
                <a:latin typeface="Open Sans"/>
                <a:ea typeface="Open Sans"/>
                <a:cs typeface="Open Sans"/>
              </a:rPr>
              <a:t>the organization already</a:t>
            </a:r>
            <a:r>
              <a:rPr kumimoji="0" lang="en-US" sz="1000" b="0" i="0" u="none" strike="noStrike" kern="1200" cap="none" spc="0" normalizeH="0" baseline="0" noProof="0" dirty="0">
                <a:ln>
                  <a:noFill/>
                </a:ln>
                <a:solidFill>
                  <a:srgbClr val="515151"/>
                </a:solidFill>
                <a:effectLst/>
                <a:uLnTx/>
                <a:uFillTx/>
                <a:latin typeface="Open Sans"/>
                <a:ea typeface="Open Sans"/>
                <a:cs typeface="Open Sans"/>
              </a:rPr>
              <a:t> addressing these uncertainties through other parallel efforts?</a:t>
            </a:r>
            <a:endParaRPr kumimoji="0" sz="1000" b="0" i="0" u="none" strike="noStrike" kern="1200" cap="none" spc="0" normalizeH="0" baseline="0" noProof="0" dirty="0">
              <a:ln>
                <a:noFill/>
              </a:ln>
              <a:solidFill>
                <a:srgbClr val="515151"/>
              </a:solidFill>
              <a:effectLst/>
              <a:uLnTx/>
              <a:uFillTx/>
              <a:latin typeface="Open Sans"/>
              <a:ea typeface="Open Sans"/>
              <a:cs typeface="Open Sans"/>
            </a:endParaRPr>
          </a:p>
        </p:txBody>
      </p:sp>
      <p:cxnSp>
        <p:nvCxnSpPr>
          <p:cNvPr id="57" name="Straight Arrow Connector 56">
            <a:extLst>
              <a:ext uri="{FF2B5EF4-FFF2-40B4-BE49-F238E27FC236}">
                <a16:creationId xmlns:a16="http://schemas.microsoft.com/office/drawing/2014/main" id="{26450C9C-DA91-5CEB-587E-E98E93BB45BD}"/>
              </a:ext>
            </a:extLst>
          </p:cNvPr>
          <p:cNvCxnSpPr>
            <a:cxnSpLocks/>
          </p:cNvCxnSpPr>
          <p:nvPr/>
        </p:nvCxnSpPr>
        <p:spPr>
          <a:xfrm flipV="1">
            <a:off x="816141" y="6312566"/>
            <a:ext cx="3471112" cy="18047"/>
          </a:xfrm>
          <a:prstGeom prst="straightConnector1">
            <a:avLst/>
          </a:prstGeom>
          <a:ln>
            <a:prstDash val="dash"/>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91734028"/>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9E20DB2-637A-676C-F8BF-3F61B84123C2}"/>
              </a:ext>
            </a:extLst>
          </p:cNvPr>
          <p:cNvGraphicFramePr>
            <a:graphicFrameLocks noChangeAspect="1"/>
          </p:cNvGraphicFramePr>
          <p:nvPr>
            <p:custDataLst>
              <p:tags r:id="rId1"/>
            </p:custDataLst>
            <p:extLst>
              <p:ext uri="{D42A27DB-BD31-4B8C-83A1-F6EECF244321}">
                <p14:modId xmlns:p14="http://schemas.microsoft.com/office/powerpoint/2010/main" val="463526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6" name="think-cell data - do not delete" hidden="1">
                        <a:extLst>
                          <a:ext uri="{FF2B5EF4-FFF2-40B4-BE49-F238E27FC236}">
                            <a16:creationId xmlns:a16="http://schemas.microsoft.com/office/drawing/2014/main" id="{29E20DB2-637A-676C-F8BF-3F61B84123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944753E-9E4D-31C8-E65F-97A3DA1F8B27}"/>
              </a:ext>
            </a:extLst>
          </p:cNvPr>
          <p:cNvSpPr>
            <a:spLocks noGrp="1"/>
          </p:cNvSpPr>
          <p:nvPr>
            <p:ph type="body" sz="quarter" idx="22"/>
          </p:nvPr>
        </p:nvSpPr>
        <p:spPr/>
        <p:txBody>
          <a:bodyPr vert="horz" lIns="0" tIns="0" rIns="0" bIns="0" rtlCol="0" anchor="t">
            <a:noAutofit/>
          </a:bodyPr>
          <a:lstStyle/>
          <a:p>
            <a:r>
              <a:rPr lang="en-US" dirty="0">
                <a:solidFill>
                  <a:srgbClr val="53565A"/>
                </a:solidFill>
                <a:latin typeface="Open Sans"/>
                <a:ea typeface="Open Sans"/>
                <a:cs typeface="Open Sans"/>
              </a:rPr>
              <a:t>The team is proposing an agile, iterative approach that utilizes best-in-class scenario techniques, integrates global perspectives, and generates insights in priority issues.</a:t>
            </a:r>
          </a:p>
        </p:txBody>
      </p:sp>
      <p:sp>
        <p:nvSpPr>
          <p:cNvPr id="3" name="Title 2">
            <a:extLst>
              <a:ext uri="{FF2B5EF4-FFF2-40B4-BE49-F238E27FC236}">
                <a16:creationId xmlns:a16="http://schemas.microsoft.com/office/drawing/2014/main" id="{26F8823D-8744-54A4-681F-AF641295BC14}"/>
              </a:ext>
            </a:extLst>
          </p:cNvPr>
          <p:cNvSpPr>
            <a:spLocks noGrp="1"/>
          </p:cNvSpPr>
          <p:nvPr>
            <p:ph type="title"/>
          </p:nvPr>
        </p:nvSpPr>
        <p:spPr/>
        <p:txBody>
          <a:bodyPr vert="horz"/>
          <a:lstStyle/>
          <a:p>
            <a:r>
              <a:rPr lang="en-US" dirty="0">
                <a:latin typeface="Open Sans Light"/>
                <a:ea typeface="Open Sans Light"/>
                <a:cs typeface="Open Sans Light"/>
              </a:rPr>
              <a:t>Scenario planning process - Project approach</a:t>
            </a:r>
            <a:endParaRPr lang="en-US" dirty="0"/>
          </a:p>
        </p:txBody>
      </p:sp>
      <p:sp>
        <p:nvSpPr>
          <p:cNvPr id="5" name="Pentagon 79">
            <a:extLst>
              <a:ext uri="{FF2B5EF4-FFF2-40B4-BE49-F238E27FC236}">
                <a16:creationId xmlns:a16="http://schemas.microsoft.com/office/drawing/2014/main" id="{AD91540F-CB53-41E9-FEFB-A1A733613311}"/>
              </a:ext>
            </a:extLst>
          </p:cNvPr>
          <p:cNvSpPr/>
          <p:nvPr/>
        </p:nvSpPr>
        <p:spPr bwMode="gray">
          <a:xfrm>
            <a:off x="9463758" y="1764751"/>
            <a:ext cx="1803413" cy="313038"/>
          </a:xfrm>
          <a:prstGeom prst="homePlat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Shape 564">
            <a:extLst>
              <a:ext uri="{FF2B5EF4-FFF2-40B4-BE49-F238E27FC236}">
                <a16:creationId xmlns:a16="http://schemas.microsoft.com/office/drawing/2014/main" id="{24C0EEED-5483-E147-E466-54114338399D}"/>
              </a:ext>
            </a:extLst>
          </p:cNvPr>
          <p:cNvSpPr/>
          <p:nvPr/>
        </p:nvSpPr>
        <p:spPr>
          <a:xfrm>
            <a:off x="9363988" y="2217136"/>
            <a:ext cx="1993959" cy="695130"/>
          </a:xfrm>
          <a:prstGeom prst="rect">
            <a:avLst/>
          </a:prstGeom>
          <a:noFill/>
          <a:ln>
            <a:noFill/>
          </a:ln>
        </p:spPr>
        <p:txBody>
          <a:bodyPr wrap="square" lIns="36000" tIns="36000" rIns="36000" bIns="36000" anchor="t" anchorCtr="0">
            <a:noAutofit/>
          </a:bodyPr>
          <a:lstStyle/>
          <a:p>
            <a:pPr>
              <a:buClr>
                <a:schemeClr val="dk1"/>
              </a:buClr>
              <a:buSzPct val="25000"/>
            </a:pPr>
            <a:r>
              <a:rPr lang="en-US" sz="1000" dirty="0">
                <a:latin typeface="Open Sans Regular"/>
                <a:ea typeface="Open Sans"/>
                <a:cs typeface="Open Sans"/>
                <a:sym typeface="Open Sans"/>
              </a:rPr>
              <a:t>Enable the organization to integrate findings globally with the messages and tools to achieve strategic alignment.</a:t>
            </a:r>
          </a:p>
        </p:txBody>
      </p:sp>
      <p:grpSp>
        <p:nvGrpSpPr>
          <p:cNvPr id="12" name="Group 11">
            <a:extLst>
              <a:ext uri="{FF2B5EF4-FFF2-40B4-BE49-F238E27FC236}">
                <a16:creationId xmlns:a16="http://schemas.microsoft.com/office/drawing/2014/main" id="{0C4D33F1-AA9C-CD2B-BE62-387EE80F6C43}"/>
              </a:ext>
            </a:extLst>
          </p:cNvPr>
          <p:cNvGrpSpPr>
            <a:grpSpLocks noChangeAspect="1"/>
          </p:cNvGrpSpPr>
          <p:nvPr/>
        </p:nvGrpSpPr>
        <p:grpSpPr>
          <a:xfrm>
            <a:off x="9206580" y="1803913"/>
            <a:ext cx="199514" cy="212025"/>
            <a:chOff x="10672763" y="1898650"/>
            <a:chExt cx="481013" cy="511176"/>
          </a:xfrm>
          <a:solidFill>
            <a:schemeClr val="tx2"/>
          </a:solidFill>
        </p:grpSpPr>
        <p:sp>
          <p:nvSpPr>
            <p:cNvPr id="9" name="Freeform 64">
              <a:extLst>
                <a:ext uri="{FF2B5EF4-FFF2-40B4-BE49-F238E27FC236}">
                  <a16:creationId xmlns:a16="http://schemas.microsoft.com/office/drawing/2014/main" id="{1069CFF9-D39C-CC1C-5422-8DB3558CFC70}"/>
                </a:ext>
              </a:extLst>
            </p:cNvPr>
            <p:cNvSpPr>
              <a:spLocks noEditPoints="1"/>
            </p:cNvSpPr>
            <p:nvPr/>
          </p:nvSpPr>
          <p:spPr bwMode="auto">
            <a:xfrm>
              <a:off x="10771188" y="1898650"/>
              <a:ext cx="284163" cy="374650"/>
            </a:xfrm>
            <a:custGeom>
              <a:avLst/>
              <a:gdLst>
                <a:gd name="T0" fmla="*/ 371 w 718"/>
                <a:gd name="T1" fmla="*/ 4 h 945"/>
                <a:gd name="T2" fmla="*/ 358 w 718"/>
                <a:gd name="T3" fmla="*/ 0 h 945"/>
                <a:gd name="T4" fmla="*/ 346 w 718"/>
                <a:gd name="T5" fmla="*/ 4 h 945"/>
                <a:gd name="T6" fmla="*/ 324 w 718"/>
                <a:gd name="T7" fmla="*/ 28 h 945"/>
                <a:gd name="T8" fmla="*/ 229 w 718"/>
                <a:gd name="T9" fmla="*/ 140 h 945"/>
                <a:gd name="T10" fmla="*/ 136 w 718"/>
                <a:gd name="T11" fmla="*/ 265 h 945"/>
                <a:gd name="T12" fmla="*/ 65 w 718"/>
                <a:gd name="T13" fmla="*/ 379 h 945"/>
                <a:gd name="T14" fmla="*/ 31 w 718"/>
                <a:gd name="T15" fmla="*/ 448 h 945"/>
                <a:gd name="T16" fmla="*/ 9 w 718"/>
                <a:gd name="T17" fmla="*/ 513 h 945"/>
                <a:gd name="T18" fmla="*/ 0 w 718"/>
                <a:gd name="T19" fmla="*/ 573 h 945"/>
                <a:gd name="T20" fmla="*/ 3 w 718"/>
                <a:gd name="T21" fmla="*/ 610 h 945"/>
                <a:gd name="T22" fmla="*/ 12 w 718"/>
                <a:gd name="T23" fmla="*/ 666 h 945"/>
                <a:gd name="T24" fmla="*/ 29 w 718"/>
                <a:gd name="T25" fmla="*/ 717 h 945"/>
                <a:gd name="T26" fmla="*/ 53 w 718"/>
                <a:gd name="T27" fmla="*/ 765 h 945"/>
                <a:gd name="T28" fmla="*/ 83 w 718"/>
                <a:gd name="T29" fmla="*/ 809 h 945"/>
                <a:gd name="T30" fmla="*/ 119 w 718"/>
                <a:gd name="T31" fmla="*/ 847 h 945"/>
                <a:gd name="T32" fmla="*/ 160 w 718"/>
                <a:gd name="T33" fmla="*/ 881 h 945"/>
                <a:gd name="T34" fmla="*/ 205 w 718"/>
                <a:gd name="T35" fmla="*/ 908 h 945"/>
                <a:gd name="T36" fmla="*/ 254 w 718"/>
                <a:gd name="T37" fmla="*/ 928 h 945"/>
                <a:gd name="T38" fmla="*/ 305 w 718"/>
                <a:gd name="T39" fmla="*/ 940 h 945"/>
                <a:gd name="T40" fmla="*/ 359 w 718"/>
                <a:gd name="T41" fmla="*/ 945 h 945"/>
                <a:gd name="T42" fmla="*/ 396 w 718"/>
                <a:gd name="T43" fmla="*/ 943 h 945"/>
                <a:gd name="T44" fmla="*/ 449 w 718"/>
                <a:gd name="T45" fmla="*/ 934 h 945"/>
                <a:gd name="T46" fmla="*/ 499 w 718"/>
                <a:gd name="T47" fmla="*/ 916 h 945"/>
                <a:gd name="T48" fmla="*/ 545 w 718"/>
                <a:gd name="T49" fmla="*/ 891 h 945"/>
                <a:gd name="T50" fmla="*/ 588 w 718"/>
                <a:gd name="T51" fmla="*/ 860 h 945"/>
                <a:gd name="T52" fmla="*/ 625 w 718"/>
                <a:gd name="T53" fmla="*/ 824 h 945"/>
                <a:gd name="T54" fmla="*/ 657 w 718"/>
                <a:gd name="T55" fmla="*/ 781 h 945"/>
                <a:gd name="T56" fmla="*/ 683 w 718"/>
                <a:gd name="T57" fmla="*/ 734 h 945"/>
                <a:gd name="T58" fmla="*/ 702 w 718"/>
                <a:gd name="T59" fmla="*/ 684 h 945"/>
                <a:gd name="T60" fmla="*/ 714 w 718"/>
                <a:gd name="T61" fmla="*/ 629 h 945"/>
                <a:gd name="T62" fmla="*/ 718 w 718"/>
                <a:gd name="T63" fmla="*/ 573 h 945"/>
                <a:gd name="T64" fmla="*/ 715 w 718"/>
                <a:gd name="T65" fmla="*/ 533 h 945"/>
                <a:gd name="T66" fmla="*/ 697 w 718"/>
                <a:gd name="T67" fmla="*/ 470 h 945"/>
                <a:gd name="T68" fmla="*/ 667 w 718"/>
                <a:gd name="T69" fmla="*/ 402 h 945"/>
                <a:gd name="T70" fmla="*/ 614 w 718"/>
                <a:gd name="T71" fmla="*/ 310 h 945"/>
                <a:gd name="T72" fmla="*/ 521 w 718"/>
                <a:gd name="T73" fmla="*/ 179 h 945"/>
                <a:gd name="T74" fmla="*/ 434 w 718"/>
                <a:gd name="T75" fmla="*/ 74 h 945"/>
                <a:gd name="T76" fmla="*/ 375 w 718"/>
                <a:gd name="T77" fmla="*/ 7 h 945"/>
                <a:gd name="T78" fmla="*/ 343 w 718"/>
                <a:gd name="T79" fmla="*/ 755 h 945"/>
                <a:gd name="T80" fmla="*/ 299 w 718"/>
                <a:gd name="T81" fmla="*/ 744 h 945"/>
                <a:gd name="T82" fmla="*/ 259 w 718"/>
                <a:gd name="T83" fmla="*/ 718 h 945"/>
                <a:gd name="T84" fmla="*/ 229 w 718"/>
                <a:gd name="T85" fmla="*/ 682 h 945"/>
                <a:gd name="T86" fmla="*/ 210 w 718"/>
                <a:gd name="T87" fmla="*/ 638 h 945"/>
                <a:gd name="T88" fmla="*/ 202 w 718"/>
                <a:gd name="T89" fmla="*/ 589 h 945"/>
                <a:gd name="T90" fmla="*/ 207 w 718"/>
                <a:gd name="T91" fmla="*/ 566 h 945"/>
                <a:gd name="T92" fmla="*/ 223 w 718"/>
                <a:gd name="T93" fmla="*/ 526 h 945"/>
                <a:gd name="T94" fmla="*/ 270 w 718"/>
                <a:gd name="T95" fmla="*/ 443 h 945"/>
                <a:gd name="T96" fmla="*/ 341 w 718"/>
                <a:gd name="T97" fmla="*/ 342 h 945"/>
                <a:gd name="T98" fmla="*/ 350 w 718"/>
                <a:gd name="T99" fmla="*/ 335 h 945"/>
                <a:gd name="T100" fmla="*/ 359 w 718"/>
                <a:gd name="T101" fmla="*/ 332 h 945"/>
                <a:gd name="T102" fmla="*/ 369 w 718"/>
                <a:gd name="T103" fmla="*/ 334 h 945"/>
                <a:gd name="T104" fmla="*/ 378 w 718"/>
                <a:gd name="T105" fmla="*/ 342 h 945"/>
                <a:gd name="T106" fmla="*/ 458 w 718"/>
                <a:gd name="T107" fmla="*/ 456 h 945"/>
                <a:gd name="T108" fmla="*/ 498 w 718"/>
                <a:gd name="T109" fmla="*/ 528 h 945"/>
                <a:gd name="T110" fmla="*/ 515 w 718"/>
                <a:gd name="T111" fmla="*/ 575 h 945"/>
                <a:gd name="T112" fmla="*/ 515 w 718"/>
                <a:gd name="T113" fmla="*/ 606 h 945"/>
                <a:gd name="T114" fmla="*/ 505 w 718"/>
                <a:gd name="T115" fmla="*/ 654 h 945"/>
                <a:gd name="T116" fmla="*/ 481 w 718"/>
                <a:gd name="T117" fmla="*/ 696 h 945"/>
                <a:gd name="T118" fmla="*/ 448 w 718"/>
                <a:gd name="T119" fmla="*/ 729 h 945"/>
                <a:gd name="T120" fmla="*/ 406 w 718"/>
                <a:gd name="T121" fmla="*/ 749 h 945"/>
                <a:gd name="T122" fmla="*/ 359 w 718"/>
                <a:gd name="T123" fmla="*/ 756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8" h="945">
                  <a:moveTo>
                    <a:pt x="375" y="7"/>
                  </a:moveTo>
                  <a:lnTo>
                    <a:pt x="375" y="7"/>
                  </a:lnTo>
                  <a:lnTo>
                    <a:pt x="371" y="4"/>
                  </a:lnTo>
                  <a:lnTo>
                    <a:pt x="368" y="2"/>
                  </a:lnTo>
                  <a:lnTo>
                    <a:pt x="363" y="1"/>
                  </a:lnTo>
                  <a:lnTo>
                    <a:pt x="358" y="0"/>
                  </a:lnTo>
                  <a:lnTo>
                    <a:pt x="354" y="1"/>
                  </a:lnTo>
                  <a:lnTo>
                    <a:pt x="350" y="2"/>
                  </a:lnTo>
                  <a:lnTo>
                    <a:pt x="346" y="4"/>
                  </a:lnTo>
                  <a:lnTo>
                    <a:pt x="341" y="7"/>
                  </a:lnTo>
                  <a:lnTo>
                    <a:pt x="341" y="7"/>
                  </a:lnTo>
                  <a:lnTo>
                    <a:pt x="324" y="28"/>
                  </a:lnTo>
                  <a:lnTo>
                    <a:pt x="284" y="74"/>
                  </a:lnTo>
                  <a:lnTo>
                    <a:pt x="258" y="105"/>
                  </a:lnTo>
                  <a:lnTo>
                    <a:pt x="229" y="140"/>
                  </a:lnTo>
                  <a:lnTo>
                    <a:pt x="198" y="179"/>
                  </a:lnTo>
                  <a:lnTo>
                    <a:pt x="167" y="221"/>
                  </a:lnTo>
                  <a:lnTo>
                    <a:pt x="136" y="265"/>
                  </a:lnTo>
                  <a:lnTo>
                    <a:pt x="105" y="310"/>
                  </a:lnTo>
                  <a:lnTo>
                    <a:pt x="77" y="356"/>
                  </a:lnTo>
                  <a:lnTo>
                    <a:pt x="65" y="379"/>
                  </a:lnTo>
                  <a:lnTo>
                    <a:pt x="53" y="402"/>
                  </a:lnTo>
                  <a:lnTo>
                    <a:pt x="41" y="425"/>
                  </a:lnTo>
                  <a:lnTo>
                    <a:pt x="31" y="448"/>
                  </a:lnTo>
                  <a:lnTo>
                    <a:pt x="22" y="470"/>
                  </a:lnTo>
                  <a:lnTo>
                    <a:pt x="14" y="491"/>
                  </a:lnTo>
                  <a:lnTo>
                    <a:pt x="9" y="513"/>
                  </a:lnTo>
                  <a:lnTo>
                    <a:pt x="5" y="533"/>
                  </a:lnTo>
                  <a:lnTo>
                    <a:pt x="2" y="553"/>
                  </a:lnTo>
                  <a:lnTo>
                    <a:pt x="0" y="573"/>
                  </a:lnTo>
                  <a:lnTo>
                    <a:pt x="0" y="573"/>
                  </a:lnTo>
                  <a:lnTo>
                    <a:pt x="2" y="592"/>
                  </a:lnTo>
                  <a:lnTo>
                    <a:pt x="3" y="610"/>
                  </a:lnTo>
                  <a:lnTo>
                    <a:pt x="5" y="629"/>
                  </a:lnTo>
                  <a:lnTo>
                    <a:pt x="8" y="647"/>
                  </a:lnTo>
                  <a:lnTo>
                    <a:pt x="12" y="666"/>
                  </a:lnTo>
                  <a:lnTo>
                    <a:pt x="16" y="683"/>
                  </a:lnTo>
                  <a:lnTo>
                    <a:pt x="23" y="700"/>
                  </a:lnTo>
                  <a:lnTo>
                    <a:pt x="29" y="717"/>
                  </a:lnTo>
                  <a:lnTo>
                    <a:pt x="36" y="733"/>
                  </a:lnTo>
                  <a:lnTo>
                    <a:pt x="44" y="749"/>
                  </a:lnTo>
                  <a:lnTo>
                    <a:pt x="53" y="765"/>
                  </a:lnTo>
                  <a:lnTo>
                    <a:pt x="62" y="780"/>
                  </a:lnTo>
                  <a:lnTo>
                    <a:pt x="72" y="795"/>
                  </a:lnTo>
                  <a:lnTo>
                    <a:pt x="83" y="809"/>
                  </a:lnTo>
                  <a:lnTo>
                    <a:pt x="94" y="823"/>
                  </a:lnTo>
                  <a:lnTo>
                    <a:pt x="106" y="836"/>
                  </a:lnTo>
                  <a:lnTo>
                    <a:pt x="119" y="847"/>
                  </a:lnTo>
                  <a:lnTo>
                    <a:pt x="132" y="859"/>
                  </a:lnTo>
                  <a:lnTo>
                    <a:pt x="146" y="871"/>
                  </a:lnTo>
                  <a:lnTo>
                    <a:pt x="160" y="881"/>
                  </a:lnTo>
                  <a:lnTo>
                    <a:pt x="174" y="891"/>
                  </a:lnTo>
                  <a:lnTo>
                    <a:pt x="188" y="900"/>
                  </a:lnTo>
                  <a:lnTo>
                    <a:pt x="205" y="908"/>
                  </a:lnTo>
                  <a:lnTo>
                    <a:pt x="221" y="916"/>
                  </a:lnTo>
                  <a:lnTo>
                    <a:pt x="237" y="922"/>
                  </a:lnTo>
                  <a:lnTo>
                    <a:pt x="254" y="928"/>
                  </a:lnTo>
                  <a:lnTo>
                    <a:pt x="270" y="933"/>
                  </a:lnTo>
                  <a:lnTo>
                    <a:pt x="288" y="937"/>
                  </a:lnTo>
                  <a:lnTo>
                    <a:pt x="305" y="940"/>
                  </a:lnTo>
                  <a:lnTo>
                    <a:pt x="323" y="943"/>
                  </a:lnTo>
                  <a:lnTo>
                    <a:pt x="341" y="945"/>
                  </a:lnTo>
                  <a:lnTo>
                    <a:pt x="359" y="945"/>
                  </a:lnTo>
                  <a:lnTo>
                    <a:pt x="359" y="945"/>
                  </a:lnTo>
                  <a:lnTo>
                    <a:pt x="378" y="945"/>
                  </a:lnTo>
                  <a:lnTo>
                    <a:pt x="396" y="943"/>
                  </a:lnTo>
                  <a:lnTo>
                    <a:pt x="414" y="940"/>
                  </a:lnTo>
                  <a:lnTo>
                    <a:pt x="432" y="937"/>
                  </a:lnTo>
                  <a:lnTo>
                    <a:pt x="449" y="934"/>
                  </a:lnTo>
                  <a:lnTo>
                    <a:pt x="466" y="928"/>
                  </a:lnTo>
                  <a:lnTo>
                    <a:pt x="482" y="922"/>
                  </a:lnTo>
                  <a:lnTo>
                    <a:pt x="499" y="916"/>
                  </a:lnTo>
                  <a:lnTo>
                    <a:pt x="515" y="908"/>
                  </a:lnTo>
                  <a:lnTo>
                    <a:pt x="530" y="901"/>
                  </a:lnTo>
                  <a:lnTo>
                    <a:pt x="545" y="891"/>
                  </a:lnTo>
                  <a:lnTo>
                    <a:pt x="560" y="881"/>
                  </a:lnTo>
                  <a:lnTo>
                    <a:pt x="574" y="871"/>
                  </a:lnTo>
                  <a:lnTo>
                    <a:pt x="588" y="860"/>
                  </a:lnTo>
                  <a:lnTo>
                    <a:pt x="601" y="848"/>
                  </a:lnTo>
                  <a:lnTo>
                    <a:pt x="614" y="837"/>
                  </a:lnTo>
                  <a:lnTo>
                    <a:pt x="625" y="824"/>
                  </a:lnTo>
                  <a:lnTo>
                    <a:pt x="636" y="810"/>
                  </a:lnTo>
                  <a:lnTo>
                    <a:pt x="647" y="796"/>
                  </a:lnTo>
                  <a:lnTo>
                    <a:pt x="657" y="781"/>
                  </a:lnTo>
                  <a:lnTo>
                    <a:pt x="666" y="766"/>
                  </a:lnTo>
                  <a:lnTo>
                    <a:pt x="675" y="750"/>
                  </a:lnTo>
                  <a:lnTo>
                    <a:pt x="683" y="734"/>
                  </a:lnTo>
                  <a:lnTo>
                    <a:pt x="691" y="718"/>
                  </a:lnTo>
                  <a:lnTo>
                    <a:pt x="697" y="701"/>
                  </a:lnTo>
                  <a:lnTo>
                    <a:pt x="702" y="684"/>
                  </a:lnTo>
                  <a:lnTo>
                    <a:pt x="708" y="666"/>
                  </a:lnTo>
                  <a:lnTo>
                    <a:pt x="711" y="647"/>
                  </a:lnTo>
                  <a:lnTo>
                    <a:pt x="714" y="629"/>
                  </a:lnTo>
                  <a:lnTo>
                    <a:pt x="716" y="611"/>
                  </a:lnTo>
                  <a:lnTo>
                    <a:pt x="718" y="592"/>
                  </a:lnTo>
                  <a:lnTo>
                    <a:pt x="718" y="573"/>
                  </a:lnTo>
                  <a:lnTo>
                    <a:pt x="718" y="573"/>
                  </a:lnTo>
                  <a:lnTo>
                    <a:pt x="717" y="553"/>
                  </a:lnTo>
                  <a:lnTo>
                    <a:pt x="715" y="533"/>
                  </a:lnTo>
                  <a:lnTo>
                    <a:pt x="711" y="513"/>
                  </a:lnTo>
                  <a:lnTo>
                    <a:pt x="704" y="491"/>
                  </a:lnTo>
                  <a:lnTo>
                    <a:pt x="697" y="470"/>
                  </a:lnTo>
                  <a:lnTo>
                    <a:pt x="688" y="448"/>
                  </a:lnTo>
                  <a:lnTo>
                    <a:pt x="678" y="425"/>
                  </a:lnTo>
                  <a:lnTo>
                    <a:pt x="667" y="402"/>
                  </a:lnTo>
                  <a:lnTo>
                    <a:pt x="654" y="379"/>
                  </a:lnTo>
                  <a:lnTo>
                    <a:pt x="641" y="356"/>
                  </a:lnTo>
                  <a:lnTo>
                    <a:pt x="614" y="310"/>
                  </a:lnTo>
                  <a:lnTo>
                    <a:pt x="584" y="265"/>
                  </a:lnTo>
                  <a:lnTo>
                    <a:pt x="552" y="221"/>
                  </a:lnTo>
                  <a:lnTo>
                    <a:pt x="521" y="179"/>
                  </a:lnTo>
                  <a:lnTo>
                    <a:pt x="490" y="140"/>
                  </a:lnTo>
                  <a:lnTo>
                    <a:pt x="461" y="105"/>
                  </a:lnTo>
                  <a:lnTo>
                    <a:pt x="434" y="74"/>
                  </a:lnTo>
                  <a:lnTo>
                    <a:pt x="394" y="28"/>
                  </a:lnTo>
                  <a:lnTo>
                    <a:pt x="375" y="7"/>
                  </a:lnTo>
                  <a:lnTo>
                    <a:pt x="375" y="7"/>
                  </a:lnTo>
                  <a:close/>
                  <a:moveTo>
                    <a:pt x="359" y="756"/>
                  </a:moveTo>
                  <a:lnTo>
                    <a:pt x="359" y="756"/>
                  </a:lnTo>
                  <a:lnTo>
                    <a:pt x="343" y="755"/>
                  </a:lnTo>
                  <a:lnTo>
                    <a:pt x="327" y="753"/>
                  </a:lnTo>
                  <a:lnTo>
                    <a:pt x="312" y="749"/>
                  </a:lnTo>
                  <a:lnTo>
                    <a:pt x="299" y="744"/>
                  </a:lnTo>
                  <a:lnTo>
                    <a:pt x="285" y="736"/>
                  </a:lnTo>
                  <a:lnTo>
                    <a:pt x="272" y="728"/>
                  </a:lnTo>
                  <a:lnTo>
                    <a:pt x="259" y="718"/>
                  </a:lnTo>
                  <a:lnTo>
                    <a:pt x="248" y="707"/>
                  </a:lnTo>
                  <a:lnTo>
                    <a:pt x="239" y="694"/>
                  </a:lnTo>
                  <a:lnTo>
                    <a:pt x="229" y="682"/>
                  </a:lnTo>
                  <a:lnTo>
                    <a:pt x="222" y="668"/>
                  </a:lnTo>
                  <a:lnTo>
                    <a:pt x="215" y="654"/>
                  </a:lnTo>
                  <a:lnTo>
                    <a:pt x="210" y="638"/>
                  </a:lnTo>
                  <a:lnTo>
                    <a:pt x="206" y="622"/>
                  </a:lnTo>
                  <a:lnTo>
                    <a:pt x="203" y="606"/>
                  </a:lnTo>
                  <a:lnTo>
                    <a:pt x="202" y="589"/>
                  </a:lnTo>
                  <a:lnTo>
                    <a:pt x="202" y="589"/>
                  </a:lnTo>
                  <a:lnTo>
                    <a:pt x="203" y="578"/>
                  </a:lnTo>
                  <a:lnTo>
                    <a:pt x="207" y="566"/>
                  </a:lnTo>
                  <a:lnTo>
                    <a:pt x="211" y="553"/>
                  </a:lnTo>
                  <a:lnTo>
                    <a:pt x="216" y="540"/>
                  </a:lnTo>
                  <a:lnTo>
                    <a:pt x="223" y="526"/>
                  </a:lnTo>
                  <a:lnTo>
                    <a:pt x="230" y="510"/>
                  </a:lnTo>
                  <a:lnTo>
                    <a:pt x="248" y="478"/>
                  </a:lnTo>
                  <a:lnTo>
                    <a:pt x="270" y="443"/>
                  </a:lnTo>
                  <a:lnTo>
                    <a:pt x="293" y="409"/>
                  </a:lnTo>
                  <a:lnTo>
                    <a:pt x="317" y="374"/>
                  </a:lnTo>
                  <a:lnTo>
                    <a:pt x="341" y="342"/>
                  </a:lnTo>
                  <a:lnTo>
                    <a:pt x="341" y="342"/>
                  </a:lnTo>
                  <a:lnTo>
                    <a:pt x="346" y="338"/>
                  </a:lnTo>
                  <a:lnTo>
                    <a:pt x="350" y="335"/>
                  </a:lnTo>
                  <a:lnTo>
                    <a:pt x="355" y="333"/>
                  </a:lnTo>
                  <a:lnTo>
                    <a:pt x="359" y="332"/>
                  </a:lnTo>
                  <a:lnTo>
                    <a:pt x="359" y="332"/>
                  </a:lnTo>
                  <a:lnTo>
                    <a:pt x="359" y="332"/>
                  </a:lnTo>
                  <a:lnTo>
                    <a:pt x="365" y="333"/>
                  </a:lnTo>
                  <a:lnTo>
                    <a:pt x="369" y="334"/>
                  </a:lnTo>
                  <a:lnTo>
                    <a:pt x="373" y="338"/>
                  </a:lnTo>
                  <a:lnTo>
                    <a:pt x="378" y="342"/>
                  </a:lnTo>
                  <a:lnTo>
                    <a:pt x="378" y="342"/>
                  </a:lnTo>
                  <a:lnTo>
                    <a:pt x="412" y="389"/>
                  </a:lnTo>
                  <a:lnTo>
                    <a:pt x="435" y="421"/>
                  </a:lnTo>
                  <a:lnTo>
                    <a:pt x="458" y="456"/>
                  </a:lnTo>
                  <a:lnTo>
                    <a:pt x="480" y="493"/>
                  </a:lnTo>
                  <a:lnTo>
                    <a:pt x="490" y="511"/>
                  </a:lnTo>
                  <a:lnTo>
                    <a:pt x="498" y="528"/>
                  </a:lnTo>
                  <a:lnTo>
                    <a:pt x="506" y="545"/>
                  </a:lnTo>
                  <a:lnTo>
                    <a:pt x="511" y="561"/>
                  </a:lnTo>
                  <a:lnTo>
                    <a:pt x="515" y="575"/>
                  </a:lnTo>
                  <a:lnTo>
                    <a:pt x="516" y="589"/>
                  </a:lnTo>
                  <a:lnTo>
                    <a:pt x="516" y="589"/>
                  </a:lnTo>
                  <a:lnTo>
                    <a:pt x="515" y="606"/>
                  </a:lnTo>
                  <a:lnTo>
                    <a:pt x="513" y="623"/>
                  </a:lnTo>
                  <a:lnTo>
                    <a:pt x="510" y="639"/>
                  </a:lnTo>
                  <a:lnTo>
                    <a:pt x="505" y="654"/>
                  </a:lnTo>
                  <a:lnTo>
                    <a:pt x="498" y="669"/>
                  </a:lnTo>
                  <a:lnTo>
                    <a:pt x="490" y="683"/>
                  </a:lnTo>
                  <a:lnTo>
                    <a:pt x="481" y="696"/>
                  </a:lnTo>
                  <a:lnTo>
                    <a:pt x="471" y="707"/>
                  </a:lnTo>
                  <a:lnTo>
                    <a:pt x="460" y="719"/>
                  </a:lnTo>
                  <a:lnTo>
                    <a:pt x="448" y="729"/>
                  </a:lnTo>
                  <a:lnTo>
                    <a:pt x="435" y="736"/>
                  </a:lnTo>
                  <a:lnTo>
                    <a:pt x="421" y="744"/>
                  </a:lnTo>
                  <a:lnTo>
                    <a:pt x="406" y="749"/>
                  </a:lnTo>
                  <a:lnTo>
                    <a:pt x="391" y="753"/>
                  </a:lnTo>
                  <a:lnTo>
                    <a:pt x="375" y="755"/>
                  </a:lnTo>
                  <a:lnTo>
                    <a:pt x="359" y="756"/>
                  </a:lnTo>
                  <a:lnTo>
                    <a:pt x="359" y="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65">
              <a:extLst>
                <a:ext uri="{FF2B5EF4-FFF2-40B4-BE49-F238E27FC236}">
                  <a16:creationId xmlns:a16="http://schemas.microsoft.com/office/drawing/2014/main" id="{B5748B34-0EA8-5A6E-253B-41BB94BE49A4}"/>
                </a:ext>
              </a:extLst>
            </p:cNvPr>
            <p:cNvSpPr>
              <a:spLocks/>
            </p:cNvSpPr>
            <p:nvPr/>
          </p:nvSpPr>
          <p:spPr bwMode="auto">
            <a:xfrm>
              <a:off x="10939463" y="2287588"/>
              <a:ext cx="212725" cy="122238"/>
            </a:xfrm>
            <a:custGeom>
              <a:avLst/>
              <a:gdLst>
                <a:gd name="T0" fmla="*/ 525 w 538"/>
                <a:gd name="T1" fmla="*/ 45 h 308"/>
                <a:gd name="T2" fmla="*/ 403 w 538"/>
                <a:gd name="T3" fmla="*/ 0 h 308"/>
                <a:gd name="T4" fmla="*/ 0 w 538"/>
                <a:gd name="T5" fmla="*/ 148 h 308"/>
                <a:gd name="T6" fmla="*/ 430 w 538"/>
                <a:gd name="T7" fmla="*/ 305 h 308"/>
                <a:gd name="T8" fmla="*/ 430 w 538"/>
                <a:gd name="T9" fmla="*/ 305 h 308"/>
                <a:gd name="T10" fmla="*/ 433 w 538"/>
                <a:gd name="T11" fmla="*/ 307 h 308"/>
                <a:gd name="T12" fmla="*/ 438 w 538"/>
                <a:gd name="T13" fmla="*/ 308 h 308"/>
                <a:gd name="T14" fmla="*/ 438 w 538"/>
                <a:gd name="T15" fmla="*/ 308 h 308"/>
                <a:gd name="T16" fmla="*/ 442 w 538"/>
                <a:gd name="T17" fmla="*/ 308 h 308"/>
                <a:gd name="T18" fmla="*/ 444 w 538"/>
                <a:gd name="T19" fmla="*/ 307 h 308"/>
                <a:gd name="T20" fmla="*/ 446 w 538"/>
                <a:gd name="T21" fmla="*/ 305 h 308"/>
                <a:gd name="T22" fmla="*/ 446 w 538"/>
                <a:gd name="T23" fmla="*/ 305 h 308"/>
                <a:gd name="T24" fmla="*/ 449 w 538"/>
                <a:gd name="T25" fmla="*/ 303 h 308"/>
                <a:gd name="T26" fmla="*/ 453 w 538"/>
                <a:gd name="T27" fmla="*/ 300 h 308"/>
                <a:gd name="T28" fmla="*/ 456 w 538"/>
                <a:gd name="T29" fmla="*/ 296 h 308"/>
                <a:gd name="T30" fmla="*/ 458 w 538"/>
                <a:gd name="T31" fmla="*/ 292 h 308"/>
                <a:gd name="T32" fmla="*/ 536 w 538"/>
                <a:gd name="T33" fmla="*/ 74 h 308"/>
                <a:gd name="T34" fmla="*/ 536 w 538"/>
                <a:gd name="T35" fmla="*/ 74 h 308"/>
                <a:gd name="T36" fmla="*/ 537 w 538"/>
                <a:gd name="T37" fmla="*/ 70 h 308"/>
                <a:gd name="T38" fmla="*/ 538 w 538"/>
                <a:gd name="T39" fmla="*/ 66 h 308"/>
                <a:gd name="T40" fmla="*/ 537 w 538"/>
                <a:gd name="T41" fmla="*/ 61 h 308"/>
                <a:gd name="T42" fmla="*/ 536 w 538"/>
                <a:gd name="T43" fmla="*/ 56 h 308"/>
                <a:gd name="T44" fmla="*/ 536 w 538"/>
                <a:gd name="T45" fmla="*/ 56 h 308"/>
                <a:gd name="T46" fmla="*/ 535 w 538"/>
                <a:gd name="T47" fmla="*/ 52 h 308"/>
                <a:gd name="T48" fmla="*/ 533 w 538"/>
                <a:gd name="T49" fmla="*/ 50 h 308"/>
                <a:gd name="T50" fmla="*/ 529 w 538"/>
                <a:gd name="T51" fmla="*/ 47 h 308"/>
                <a:gd name="T52" fmla="*/ 525 w 538"/>
                <a:gd name="T53" fmla="*/ 45 h 308"/>
                <a:gd name="T54" fmla="*/ 525 w 538"/>
                <a:gd name="T55" fmla="*/ 45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8" h="308">
                  <a:moveTo>
                    <a:pt x="525" y="45"/>
                  </a:moveTo>
                  <a:lnTo>
                    <a:pt x="403" y="0"/>
                  </a:lnTo>
                  <a:lnTo>
                    <a:pt x="0" y="148"/>
                  </a:lnTo>
                  <a:lnTo>
                    <a:pt x="430" y="305"/>
                  </a:lnTo>
                  <a:lnTo>
                    <a:pt x="430" y="305"/>
                  </a:lnTo>
                  <a:lnTo>
                    <a:pt x="433" y="307"/>
                  </a:lnTo>
                  <a:lnTo>
                    <a:pt x="438" y="308"/>
                  </a:lnTo>
                  <a:lnTo>
                    <a:pt x="438" y="308"/>
                  </a:lnTo>
                  <a:lnTo>
                    <a:pt x="442" y="308"/>
                  </a:lnTo>
                  <a:lnTo>
                    <a:pt x="444" y="307"/>
                  </a:lnTo>
                  <a:lnTo>
                    <a:pt x="446" y="305"/>
                  </a:lnTo>
                  <a:lnTo>
                    <a:pt x="446" y="305"/>
                  </a:lnTo>
                  <a:lnTo>
                    <a:pt x="449" y="303"/>
                  </a:lnTo>
                  <a:lnTo>
                    <a:pt x="453" y="300"/>
                  </a:lnTo>
                  <a:lnTo>
                    <a:pt x="456" y="296"/>
                  </a:lnTo>
                  <a:lnTo>
                    <a:pt x="458" y="292"/>
                  </a:lnTo>
                  <a:lnTo>
                    <a:pt x="536" y="74"/>
                  </a:lnTo>
                  <a:lnTo>
                    <a:pt x="536" y="74"/>
                  </a:lnTo>
                  <a:lnTo>
                    <a:pt x="537" y="70"/>
                  </a:lnTo>
                  <a:lnTo>
                    <a:pt x="538" y="66"/>
                  </a:lnTo>
                  <a:lnTo>
                    <a:pt x="537" y="61"/>
                  </a:lnTo>
                  <a:lnTo>
                    <a:pt x="536" y="56"/>
                  </a:lnTo>
                  <a:lnTo>
                    <a:pt x="536" y="56"/>
                  </a:lnTo>
                  <a:lnTo>
                    <a:pt x="535" y="52"/>
                  </a:lnTo>
                  <a:lnTo>
                    <a:pt x="533" y="50"/>
                  </a:lnTo>
                  <a:lnTo>
                    <a:pt x="529" y="47"/>
                  </a:lnTo>
                  <a:lnTo>
                    <a:pt x="525" y="45"/>
                  </a:lnTo>
                  <a:lnTo>
                    <a:pt x="525"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66">
              <a:extLst>
                <a:ext uri="{FF2B5EF4-FFF2-40B4-BE49-F238E27FC236}">
                  <a16:creationId xmlns:a16="http://schemas.microsoft.com/office/drawing/2014/main" id="{3416FB47-81A9-71DE-6C14-323156E3243F}"/>
                </a:ext>
              </a:extLst>
            </p:cNvPr>
            <p:cNvSpPr>
              <a:spLocks/>
            </p:cNvSpPr>
            <p:nvPr/>
          </p:nvSpPr>
          <p:spPr bwMode="auto">
            <a:xfrm>
              <a:off x="10672763" y="2147888"/>
              <a:ext cx="481013" cy="261938"/>
            </a:xfrm>
            <a:custGeom>
              <a:avLst/>
              <a:gdLst>
                <a:gd name="T0" fmla="*/ 1130 w 1210"/>
                <a:gd name="T1" fmla="*/ 15 h 660"/>
                <a:gd name="T2" fmla="*/ 1118 w 1210"/>
                <a:gd name="T3" fmla="*/ 1 h 660"/>
                <a:gd name="T4" fmla="*/ 1110 w 1210"/>
                <a:gd name="T5" fmla="*/ 0 h 660"/>
                <a:gd name="T6" fmla="*/ 998 w 1210"/>
                <a:gd name="T7" fmla="*/ 40 h 660"/>
                <a:gd name="T8" fmla="*/ 988 w 1210"/>
                <a:gd name="T9" fmla="*/ 74 h 660"/>
                <a:gd name="T10" fmla="*/ 969 w 1210"/>
                <a:gd name="T11" fmla="*/ 122 h 660"/>
                <a:gd name="T12" fmla="*/ 945 w 1210"/>
                <a:gd name="T13" fmla="*/ 168 h 660"/>
                <a:gd name="T14" fmla="*/ 915 w 1210"/>
                <a:gd name="T15" fmla="*/ 210 h 660"/>
                <a:gd name="T16" fmla="*/ 881 w 1210"/>
                <a:gd name="T17" fmla="*/ 247 h 660"/>
                <a:gd name="T18" fmla="*/ 844 w 1210"/>
                <a:gd name="T19" fmla="*/ 280 h 660"/>
                <a:gd name="T20" fmla="*/ 801 w 1210"/>
                <a:gd name="T21" fmla="*/ 308 h 660"/>
                <a:gd name="T22" fmla="*/ 756 w 1210"/>
                <a:gd name="T23" fmla="*/ 330 h 660"/>
                <a:gd name="T24" fmla="*/ 708 w 1210"/>
                <a:gd name="T25" fmla="*/ 348 h 660"/>
                <a:gd name="T26" fmla="*/ 658 w 1210"/>
                <a:gd name="T27" fmla="*/ 357 h 660"/>
                <a:gd name="T28" fmla="*/ 604 w 1210"/>
                <a:gd name="T29" fmla="*/ 360 h 660"/>
                <a:gd name="T30" fmla="*/ 569 w 1210"/>
                <a:gd name="T31" fmla="*/ 359 h 660"/>
                <a:gd name="T32" fmla="*/ 518 w 1210"/>
                <a:gd name="T33" fmla="*/ 351 h 660"/>
                <a:gd name="T34" fmla="*/ 469 w 1210"/>
                <a:gd name="T35" fmla="*/ 337 h 660"/>
                <a:gd name="T36" fmla="*/ 423 w 1210"/>
                <a:gd name="T37" fmla="*/ 316 h 660"/>
                <a:gd name="T38" fmla="*/ 379 w 1210"/>
                <a:gd name="T39" fmla="*/ 290 h 660"/>
                <a:gd name="T40" fmla="*/ 341 w 1210"/>
                <a:gd name="T41" fmla="*/ 259 h 660"/>
                <a:gd name="T42" fmla="*/ 304 w 1210"/>
                <a:gd name="T43" fmla="*/ 223 h 660"/>
                <a:gd name="T44" fmla="*/ 274 w 1210"/>
                <a:gd name="T45" fmla="*/ 182 h 660"/>
                <a:gd name="T46" fmla="*/ 248 w 1210"/>
                <a:gd name="T47" fmla="*/ 138 h 660"/>
                <a:gd name="T48" fmla="*/ 227 w 1210"/>
                <a:gd name="T49" fmla="*/ 90 h 660"/>
                <a:gd name="T50" fmla="*/ 212 w 1210"/>
                <a:gd name="T51" fmla="*/ 40 h 660"/>
                <a:gd name="T52" fmla="*/ 104 w 1210"/>
                <a:gd name="T53" fmla="*/ 0 h 660"/>
                <a:gd name="T54" fmla="*/ 91 w 1210"/>
                <a:gd name="T55" fmla="*/ 1 h 660"/>
                <a:gd name="T56" fmla="*/ 84 w 1210"/>
                <a:gd name="T57" fmla="*/ 7 h 660"/>
                <a:gd name="T58" fmla="*/ 1 w 1210"/>
                <a:gd name="T59" fmla="*/ 233 h 660"/>
                <a:gd name="T60" fmla="*/ 0 w 1210"/>
                <a:gd name="T61" fmla="*/ 241 h 660"/>
                <a:gd name="T62" fmla="*/ 1 w 1210"/>
                <a:gd name="T63" fmla="*/ 251 h 660"/>
                <a:gd name="T64" fmla="*/ 10 w 1210"/>
                <a:gd name="T65" fmla="*/ 260 h 660"/>
                <a:gd name="T66" fmla="*/ 15 w 1210"/>
                <a:gd name="T67" fmla="*/ 397 h 660"/>
                <a:gd name="T68" fmla="*/ 7 w 1210"/>
                <a:gd name="T69" fmla="*/ 402 h 660"/>
                <a:gd name="T70" fmla="*/ 1 w 1210"/>
                <a:gd name="T71" fmla="*/ 413 h 660"/>
                <a:gd name="T72" fmla="*/ 1 w 1210"/>
                <a:gd name="T73" fmla="*/ 426 h 660"/>
                <a:gd name="T74" fmla="*/ 84 w 1210"/>
                <a:gd name="T75" fmla="*/ 651 h 660"/>
                <a:gd name="T76" fmla="*/ 91 w 1210"/>
                <a:gd name="T77" fmla="*/ 657 h 660"/>
                <a:gd name="T78" fmla="*/ 100 w 1210"/>
                <a:gd name="T79" fmla="*/ 660 h 660"/>
                <a:gd name="T80" fmla="*/ 107 w 1210"/>
                <a:gd name="T81" fmla="*/ 657 h 660"/>
                <a:gd name="T82" fmla="*/ 1203 w 1210"/>
                <a:gd name="T83" fmla="*/ 258 h 660"/>
                <a:gd name="T84" fmla="*/ 1208 w 1210"/>
                <a:gd name="T85" fmla="*/ 251 h 660"/>
                <a:gd name="T86" fmla="*/ 1209 w 1210"/>
                <a:gd name="T87" fmla="*/ 236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0" h="660">
                  <a:moveTo>
                    <a:pt x="1208" y="233"/>
                  </a:moveTo>
                  <a:lnTo>
                    <a:pt x="1130" y="15"/>
                  </a:lnTo>
                  <a:lnTo>
                    <a:pt x="1130" y="15"/>
                  </a:lnTo>
                  <a:lnTo>
                    <a:pt x="1125" y="8"/>
                  </a:lnTo>
                  <a:lnTo>
                    <a:pt x="1121" y="5"/>
                  </a:lnTo>
                  <a:lnTo>
                    <a:pt x="1118" y="1"/>
                  </a:lnTo>
                  <a:lnTo>
                    <a:pt x="1118" y="1"/>
                  </a:lnTo>
                  <a:lnTo>
                    <a:pt x="1115" y="0"/>
                  </a:lnTo>
                  <a:lnTo>
                    <a:pt x="1110" y="0"/>
                  </a:lnTo>
                  <a:lnTo>
                    <a:pt x="1105" y="0"/>
                  </a:lnTo>
                  <a:lnTo>
                    <a:pt x="1100" y="1"/>
                  </a:lnTo>
                  <a:lnTo>
                    <a:pt x="998" y="40"/>
                  </a:lnTo>
                  <a:lnTo>
                    <a:pt x="998" y="40"/>
                  </a:lnTo>
                  <a:lnTo>
                    <a:pt x="993" y="57"/>
                  </a:lnTo>
                  <a:lnTo>
                    <a:pt x="988" y="74"/>
                  </a:lnTo>
                  <a:lnTo>
                    <a:pt x="983" y="90"/>
                  </a:lnTo>
                  <a:lnTo>
                    <a:pt x="976" y="107"/>
                  </a:lnTo>
                  <a:lnTo>
                    <a:pt x="969" y="122"/>
                  </a:lnTo>
                  <a:lnTo>
                    <a:pt x="961" y="138"/>
                  </a:lnTo>
                  <a:lnTo>
                    <a:pt x="954" y="153"/>
                  </a:lnTo>
                  <a:lnTo>
                    <a:pt x="945" y="168"/>
                  </a:lnTo>
                  <a:lnTo>
                    <a:pt x="936" y="182"/>
                  </a:lnTo>
                  <a:lnTo>
                    <a:pt x="926" y="196"/>
                  </a:lnTo>
                  <a:lnTo>
                    <a:pt x="915" y="210"/>
                  </a:lnTo>
                  <a:lnTo>
                    <a:pt x="905" y="223"/>
                  </a:lnTo>
                  <a:lnTo>
                    <a:pt x="893" y="235"/>
                  </a:lnTo>
                  <a:lnTo>
                    <a:pt x="881" y="247"/>
                  </a:lnTo>
                  <a:lnTo>
                    <a:pt x="869" y="259"/>
                  </a:lnTo>
                  <a:lnTo>
                    <a:pt x="857" y="270"/>
                  </a:lnTo>
                  <a:lnTo>
                    <a:pt x="844" y="280"/>
                  </a:lnTo>
                  <a:lnTo>
                    <a:pt x="830" y="290"/>
                  </a:lnTo>
                  <a:lnTo>
                    <a:pt x="816" y="299"/>
                  </a:lnTo>
                  <a:lnTo>
                    <a:pt x="801" y="308"/>
                  </a:lnTo>
                  <a:lnTo>
                    <a:pt x="787" y="316"/>
                  </a:lnTo>
                  <a:lnTo>
                    <a:pt x="772" y="324"/>
                  </a:lnTo>
                  <a:lnTo>
                    <a:pt x="756" y="330"/>
                  </a:lnTo>
                  <a:lnTo>
                    <a:pt x="740" y="337"/>
                  </a:lnTo>
                  <a:lnTo>
                    <a:pt x="724" y="342"/>
                  </a:lnTo>
                  <a:lnTo>
                    <a:pt x="708" y="348"/>
                  </a:lnTo>
                  <a:lnTo>
                    <a:pt x="691" y="351"/>
                  </a:lnTo>
                  <a:lnTo>
                    <a:pt x="675" y="355"/>
                  </a:lnTo>
                  <a:lnTo>
                    <a:pt x="658" y="357"/>
                  </a:lnTo>
                  <a:lnTo>
                    <a:pt x="640" y="359"/>
                  </a:lnTo>
                  <a:lnTo>
                    <a:pt x="623" y="360"/>
                  </a:lnTo>
                  <a:lnTo>
                    <a:pt x="604" y="360"/>
                  </a:lnTo>
                  <a:lnTo>
                    <a:pt x="604" y="360"/>
                  </a:lnTo>
                  <a:lnTo>
                    <a:pt x="587" y="360"/>
                  </a:lnTo>
                  <a:lnTo>
                    <a:pt x="569" y="359"/>
                  </a:lnTo>
                  <a:lnTo>
                    <a:pt x="552" y="357"/>
                  </a:lnTo>
                  <a:lnTo>
                    <a:pt x="535" y="355"/>
                  </a:lnTo>
                  <a:lnTo>
                    <a:pt x="518" y="351"/>
                  </a:lnTo>
                  <a:lnTo>
                    <a:pt x="501" y="348"/>
                  </a:lnTo>
                  <a:lnTo>
                    <a:pt x="485" y="342"/>
                  </a:lnTo>
                  <a:lnTo>
                    <a:pt x="469" y="337"/>
                  </a:lnTo>
                  <a:lnTo>
                    <a:pt x="453" y="330"/>
                  </a:lnTo>
                  <a:lnTo>
                    <a:pt x="438" y="324"/>
                  </a:lnTo>
                  <a:lnTo>
                    <a:pt x="423" y="316"/>
                  </a:lnTo>
                  <a:lnTo>
                    <a:pt x="408" y="308"/>
                  </a:lnTo>
                  <a:lnTo>
                    <a:pt x="394" y="299"/>
                  </a:lnTo>
                  <a:lnTo>
                    <a:pt x="379" y="290"/>
                  </a:lnTo>
                  <a:lnTo>
                    <a:pt x="366" y="280"/>
                  </a:lnTo>
                  <a:lnTo>
                    <a:pt x="352" y="270"/>
                  </a:lnTo>
                  <a:lnTo>
                    <a:pt x="341" y="259"/>
                  </a:lnTo>
                  <a:lnTo>
                    <a:pt x="328" y="247"/>
                  </a:lnTo>
                  <a:lnTo>
                    <a:pt x="316" y="235"/>
                  </a:lnTo>
                  <a:lnTo>
                    <a:pt x="304" y="223"/>
                  </a:lnTo>
                  <a:lnTo>
                    <a:pt x="294" y="210"/>
                  </a:lnTo>
                  <a:lnTo>
                    <a:pt x="284" y="196"/>
                  </a:lnTo>
                  <a:lnTo>
                    <a:pt x="274" y="182"/>
                  </a:lnTo>
                  <a:lnTo>
                    <a:pt x="265" y="168"/>
                  </a:lnTo>
                  <a:lnTo>
                    <a:pt x="256" y="153"/>
                  </a:lnTo>
                  <a:lnTo>
                    <a:pt x="248" y="138"/>
                  </a:lnTo>
                  <a:lnTo>
                    <a:pt x="240" y="122"/>
                  </a:lnTo>
                  <a:lnTo>
                    <a:pt x="234" y="107"/>
                  </a:lnTo>
                  <a:lnTo>
                    <a:pt x="227" y="90"/>
                  </a:lnTo>
                  <a:lnTo>
                    <a:pt x="221" y="74"/>
                  </a:lnTo>
                  <a:lnTo>
                    <a:pt x="217" y="57"/>
                  </a:lnTo>
                  <a:lnTo>
                    <a:pt x="212" y="40"/>
                  </a:lnTo>
                  <a:lnTo>
                    <a:pt x="109" y="1"/>
                  </a:lnTo>
                  <a:lnTo>
                    <a:pt x="109" y="1"/>
                  </a:lnTo>
                  <a:lnTo>
                    <a:pt x="104" y="0"/>
                  </a:lnTo>
                  <a:lnTo>
                    <a:pt x="100" y="0"/>
                  </a:lnTo>
                  <a:lnTo>
                    <a:pt x="96" y="0"/>
                  </a:lnTo>
                  <a:lnTo>
                    <a:pt x="91" y="1"/>
                  </a:lnTo>
                  <a:lnTo>
                    <a:pt x="91" y="1"/>
                  </a:lnTo>
                  <a:lnTo>
                    <a:pt x="87" y="3"/>
                  </a:lnTo>
                  <a:lnTo>
                    <a:pt x="84" y="7"/>
                  </a:lnTo>
                  <a:lnTo>
                    <a:pt x="82" y="11"/>
                  </a:lnTo>
                  <a:lnTo>
                    <a:pt x="80" y="15"/>
                  </a:lnTo>
                  <a:lnTo>
                    <a:pt x="1" y="233"/>
                  </a:lnTo>
                  <a:lnTo>
                    <a:pt x="1" y="233"/>
                  </a:lnTo>
                  <a:lnTo>
                    <a:pt x="0" y="236"/>
                  </a:lnTo>
                  <a:lnTo>
                    <a:pt x="0" y="241"/>
                  </a:lnTo>
                  <a:lnTo>
                    <a:pt x="0" y="246"/>
                  </a:lnTo>
                  <a:lnTo>
                    <a:pt x="1" y="251"/>
                  </a:lnTo>
                  <a:lnTo>
                    <a:pt x="1" y="251"/>
                  </a:lnTo>
                  <a:lnTo>
                    <a:pt x="3" y="255"/>
                  </a:lnTo>
                  <a:lnTo>
                    <a:pt x="6" y="258"/>
                  </a:lnTo>
                  <a:lnTo>
                    <a:pt x="10" y="260"/>
                  </a:lnTo>
                  <a:lnTo>
                    <a:pt x="15" y="262"/>
                  </a:lnTo>
                  <a:lnTo>
                    <a:pt x="201" y="329"/>
                  </a:lnTo>
                  <a:lnTo>
                    <a:pt x="15" y="397"/>
                  </a:lnTo>
                  <a:lnTo>
                    <a:pt x="15" y="397"/>
                  </a:lnTo>
                  <a:lnTo>
                    <a:pt x="10" y="399"/>
                  </a:lnTo>
                  <a:lnTo>
                    <a:pt x="7" y="402"/>
                  </a:lnTo>
                  <a:lnTo>
                    <a:pt x="4" y="405"/>
                  </a:lnTo>
                  <a:lnTo>
                    <a:pt x="2" y="408"/>
                  </a:lnTo>
                  <a:lnTo>
                    <a:pt x="1" y="413"/>
                  </a:lnTo>
                  <a:lnTo>
                    <a:pt x="0" y="417"/>
                  </a:lnTo>
                  <a:lnTo>
                    <a:pt x="0" y="421"/>
                  </a:lnTo>
                  <a:lnTo>
                    <a:pt x="1" y="426"/>
                  </a:lnTo>
                  <a:lnTo>
                    <a:pt x="80" y="644"/>
                  </a:lnTo>
                  <a:lnTo>
                    <a:pt x="80" y="644"/>
                  </a:lnTo>
                  <a:lnTo>
                    <a:pt x="84" y="651"/>
                  </a:lnTo>
                  <a:lnTo>
                    <a:pt x="87" y="654"/>
                  </a:lnTo>
                  <a:lnTo>
                    <a:pt x="91" y="657"/>
                  </a:lnTo>
                  <a:lnTo>
                    <a:pt x="91" y="657"/>
                  </a:lnTo>
                  <a:lnTo>
                    <a:pt x="93" y="659"/>
                  </a:lnTo>
                  <a:lnTo>
                    <a:pt x="96" y="660"/>
                  </a:lnTo>
                  <a:lnTo>
                    <a:pt x="100" y="660"/>
                  </a:lnTo>
                  <a:lnTo>
                    <a:pt x="100" y="660"/>
                  </a:lnTo>
                  <a:lnTo>
                    <a:pt x="103" y="660"/>
                  </a:lnTo>
                  <a:lnTo>
                    <a:pt x="107" y="657"/>
                  </a:lnTo>
                  <a:lnTo>
                    <a:pt x="1195" y="262"/>
                  </a:lnTo>
                  <a:lnTo>
                    <a:pt x="1195" y="262"/>
                  </a:lnTo>
                  <a:lnTo>
                    <a:pt x="1203" y="258"/>
                  </a:lnTo>
                  <a:lnTo>
                    <a:pt x="1206" y="255"/>
                  </a:lnTo>
                  <a:lnTo>
                    <a:pt x="1208" y="251"/>
                  </a:lnTo>
                  <a:lnTo>
                    <a:pt x="1208" y="251"/>
                  </a:lnTo>
                  <a:lnTo>
                    <a:pt x="1209" y="246"/>
                  </a:lnTo>
                  <a:lnTo>
                    <a:pt x="1210" y="241"/>
                  </a:lnTo>
                  <a:lnTo>
                    <a:pt x="1209" y="236"/>
                  </a:lnTo>
                  <a:lnTo>
                    <a:pt x="1208" y="233"/>
                  </a:lnTo>
                  <a:lnTo>
                    <a:pt x="1208" y="2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4" name="Pentagon 7">
            <a:extLst>
              <a:ext uri="{FF2B5EF4-FFF2-40B4-BE49-F238E27FC236}">
                <a16:creationId xmlns:a16="http://schemas.microsoft.com/office/drawing/2014/main" id="{B99CDFC3-7647-A76E-A336-C6B42C2A6B76}"/>
              </a:ext>
            </a:extLst>
          </p:cNvPr>
          <p:cNvSpPr/>
          <p:nvPr/>
        </p:nvSpPr>
        <p:spPr bwMode="gray">
          <a:xfrm>
            <a:off x="908753" y="1794830"/>
            <a:ext cx="1803413" cy="313038"/>
          </a:xfrm>
          <a:prstGeom prst="homePlat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Shape 553">
            <a:extLst>
              <a:ext uri="{FF2B5EF4-FFF2-40B4-BE49-F238E27FC236}">
                <a16:creationId xmlns:a16="http://schemas.microsoft.com/office/drawing/2014/main" id="{4727027E-201E-97D2-BF99-2E6E6228BEAD}"/>
              </a:ext>
            </a:extLst>
          </p:cNvPr>
          <p:cNvSpPr/>
          <p:nvPr/>
        </p:nvSpPr>
        <p:spPr>
          <a:xfrm>
            <a:off x="897557" y="2217135"/>
            <a:ext cx="1744426" cy="775189"/>
          </a:xfrm>
          <a:prstGeom prst="rect">
            <a:avLst/>
          </a:prstGeom>
          <a:noFill/>
          <a:ln>
            <a:noFill/>
          </a:ln>
        </p:spPr>
        <p:txBody>
          <a:bodyPr wrap="square" lIns="36000" tIns="36000" rIns="36000" bIns="36000" anchor="t" anchorCtr="0">
            <a:noAutofit/>
          </a:bodyPr>
          <a:lstStyle/>
          <a:p>
            <a:pPr>
              <a:lnSpc>
                <a:spcPct val="106000"/>
              </a:lnSpc>
              <a:buClr>
                <a:schemeClr val="dk1"/>
              </a:buClr>
              <a:buSzPct val="25000"/>
            </a:pPr>
            <a:r>
              <a:rPr lang="en-US" sz="1000" dirty="0">
                <a:latin typeface="Open Sans Regular" panose="020B0606030504020204" pitchFamily="34" charset="0"/>
                <a:ea typeface="Open Sans" panose="020B0606030504020204" pitchFamily="34" charset="0"/>
                <a:cs typeface="Open Sans" panose="020B0606030504020204" pitchFamily="34" charset="0"/>
                <a:sym typeface="Arial"/>
              </a:rPr>
              <a:t>Source inputs from stakeholders and research to develop a foundation of expertise and insights.</a:t>
            </a:r>
            <a:endParaRPr lang="en-US" sz="1000" u="none" strike="noStrike" cap="none" dirty="0">
              <a:latin typeface="Open Sans Regular" panose="020B0606030504020204" pitchFamily="34" charset="0"/>
              <a:ea typeface="Open Sans" panose="020B0606030504020204" pitchFamily="34" charset="0"/>
              <a:cs typeface="Open Sans" panose="020B0606030504020204" pitchFamily="34" charset="0"/>
              <a:sym typeface="Arial"/>
            </a:endParaRPr>
          </a:p>
        </p:txBody>
      </p:sp>
      <p:grpSp>
        <p:nvGrpSpPr>
          <p:cNvPr id="16" name="Group 15">
            <a:extLst>
              <a:ext uri="{FF2B5EF4-FFF2-40B4-BE49-F238E27FC236}">
                <a16:creationId xmlns:a16="http://schemas.microsoft.com/office/drawing/2014/main" id="{D5165FEF-A5F3-D920-4E09-4339D232E7D0}"/>
              </a:ext>
            </a:extLst>
          </p:cNvPr>
          <p:cNvGrpSpPr>
            <a:grpSpLocks noChangeAspect="1"/>
          </p:cNvGrpSpPr>
          <p:nvPr/>
        </p:nvGrpSpPr>
        <p:grpSpPr>
          <a:xfrm>
            <a:off x="582650" y="1828814"/>
            <a:ext cx="240323" cy="240323"/>
            <a:chOff x="8888413" y="1820863"/>
            <a:chExt cx="552451" cy="552450"/>
          </a:xfrm>
          <a:solidFill>
            <a:schemeClr val="tx2"/>
          </a:solidFill>
        </p:grpSpPr>
        <p:sp>
          <p:nvSpPr>
            <p:cNvPr id="18" name="Freeform 81">
              <a:extLst>
                <a:ext uri="{FF2B5EF4-FFF2-40B4-BE49-F238E27FC236}">
                  <a16:creationId xmlns:a16="http://schemas.microsoft.com/office/drawing/2014/main" id="{A8C3D9B7-E54C-0416-FF18-0F09AEA44F64}"/>
                </a:ext>
              </a:extLst>
            </p:cNvPr>
            <p:cNvSpPr>
              <a:spLocks/>
            </p:cNvSpPr>
            <p:nvPr/>
          </p:nvSpPr>
          <p:spPr bwMode="auto">
            <a:xfrm>
              <a:off x="9048751" y="1981200"/>
              <a:ext cx="231775" cy="231775"/>
            </a:xfrm>
            <a:custGeom>
              <a:avLst/>
              <a:gdLst>
                <a:gd name="T0" fmla="*/ 276 w 583"/>
                <a:gd name="T1" fmla="*/ 0 h 583"/>
                <a:gd name="T2" fmla="*/ 233 w 583"/>
                <a:gd name="T3" fmla="*/ 5 h 583"/>
                <a:gd name="T4" fmla="*/ 191 w 583"/>
                <a:gd name="T5" fmla="*/ 17 h 583"/>
                <a:gd name="T6" fmla="*/ 153 w 583"/>
                <a:gd name="T7" fmla="*/ 35 h 583"/>
                <a:gd name="T8" fmla="*/ 117 w 583"/>
                <a:gd name="T9" fmla="*/ 57 h 583"/>
                <a:gd name="T10" fmla="*/ 85 w 583"/>
                <a:gd name="T11" fmla="*/ 85 h 583"/>
                <a:gd name="T12" fmla="*/ 58 w 583"/>
                <a:gd name="T13" fmla="*/ 116 h 583"/>
                <a:gd name="T14" fmla="*/ 35 w 583"/>
                <a:gd name="T15" fmla="*/ 152 h 583"/>
                <a:gd name="T16" fmla="*/ 18 w 583"/>
                <a:gd name="T17" fmla="*/ 191 h 583"/>
                <a:gd name="T18" fmla="*/ 6 w 583"/>
                <a:gd name="T19" fmla="*/ 232 h 583"/>
                <a:gd name="T20" fmla="*/ 1 w 583"/>
                <a:gd name="T21" fmla="*/ 276 h 583"/>
                <a:gd name="T22" fmla="*/ 1 w 583"/>
                <a:gd name="T23" fmla="*/ 306 h 583"/>
                <a:gd name="T24" fmla="*/ 6 w 583"/>
                <a:gd name="T25" fmla="*/ 350 h 583"/>
                <a:gd name="T26" fmla="*/ 18 w 583"/>
                <a:gd name="T27" fmla="*/ 391 h 583"/>
                <a:gd name="T28" fmla="*/ 35 w 583"/>
                <a:gd name="T29" fmla="*/ 430 h 583"/>
                <a:gd name="T30" fmla="*/ 58 w 583"/>
                <a:gd name="T31" fmla="*/ 465 h 583"/>
                <a:gd name="T32" fmla="*/ 85 w 583"/>
                <a:gd name="T33" fmla="*/ 497 h 583"/>
                <a:gd name="T34" fmla="*/ 117 w 583"/>
                <a:gd name="T35" fmla="*/ 524 h 583"/>
                <a:gd name="T36" fmla="*/ 153 w 583"/>
                <a:gd name="T37" fmla="*/ 548 h 583"/>
                <a:gd name="T38" fmla="*/ 191 w 583"/>
                <a:gd name="T39" fmla="*/ 565 h 583"/>
                <a:gd name="T40" fmla="*/ 233 w 583"/>
                <a:gd name="T41" fmla="*/ 576 h 583"/>
                <a:gd name="T42" fmla="*/ 276 w 583"/>
                <a:gd name="T43" fmla="*/ 582 h 583"/>
                <a:gd name="T44" fmla="*/ 306 w 583"/>
                <a:gd name="T45" fmla="*/ 582 h 583"/>
                <a:gd name="T46" fmla="*/ 350 w 583"/>
                <a:gd name="T47" fmla="*/ 576 h 583"/>
                <a:gd name="T48" fmla="*/ 392 w 583"/>
                <a:gd name="T49" fmla="*/ 565 h 583"/>
                <a:gd name="T50" fmla="*/ 430 w 583"/>
                <a:gd name="T51" fmla="*/ 548 h 583"/>
                <a:gd name="T52" fmla="*/ 466 w 583"/>
                <a:gd name="T53" fmla="*/ 524 h 583"/>
                <a:gd name="T54" fmla="*/ 498 w 583"/>
                <a:gd name="T55" fmla="*/ 497 h 583"/>
                <a:gd name="T56" fmla="*/ 525 w 583"/>
                <a:gd name="T57" fmla="*/ 465 h 583"/>
                <a:gd name="T58" fmla="*/ 548 w 583"/>
                <a:gd name="T59" fmla="*/ 430 h 583"/>
                <a:gd name="T60" fmla="*/ 566 w 583"/>
                <a:gd name="T61" fmla="*/ 391 h 583"/>
                <a:gd name="T62" fmla="*/ 578 w 583"/>
                <a:gd name="T63" fmla="*/ 350 h 583"/>
                <a:gd name="T64" fmla="*/ 583 w 583"/>
                <a:gd name="T65" fmla="*/ 306 h 583"/>
                <a:gd name="T66" fmla="*/ 583 w 583"/>
                <a:gd name="T67" fmla="*/ 276 h 583"/>
                <a:gd name="T68" fmla="*/ 578 w 583"/>
                <a:gd name="T69" fmla="*/ 232 h 583"/>
                <a:gd name="T70" fmla="*/ 566 w 583"/>
                <a:gd name="T71" fmla="*/ 191 h 583"/>
                <a:gd name="T72" fmla="*/ 548 w 583"/>
                <a:gd name="T73" fmla="*/ 152 h 583"/>
                <a:gd name="T74" fmla="*/ 525 w 583"/>
                <a:gd name="T75" fmla="*/ 116 h 583"/>
                <a:gd name="T76" fmla="*/ 498 w 583"/>
                <a:gd name="T77" fmla="*/ 85 h 583"/>
                <a:gd name="T78" fmla="*/ 466 w 583"/>
                <a:gd name="T79" fmla="*/ 57 h 583"/>
                <a:gd name="T80" fmla="*/ 430 w 583"/>
                <a:gd name="T81" fmla="*/ 35 h 583"/>
                <a:gd name="T82" fmla="*/ 392 w 583"/>
                <a:gd name="T83" fmla="*/ 17 h 583"/>
                <a:gd name="T84" fmla="*/ 350 w 583"/>
                <a:gd name="T85" fmla="*/ 5 h 583"/>
                <a:gd name="T86" fmla="*/ 306 w 583"/>
                <a:gd name="T87" fmla="*/ 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3" h="583">
                  <a:moveTo>
                    <a:pt x="291" y="0"/>
                  </a:moveTo>
                  <a:lnTo>
                    <a:pt x="291" y="0"/>
                  </a:lnTo>
                  <a:lnTo>
                    <a:pt x="276" y="0"/>
                  </a:lnTo>
                  <a:lnTo>
                    <a:pt x="262" y="1"/>
                  </a:lnTo>
                  <a:lnTo>
                    <a:pt x="248" y="3"/>
                  </a:lnTo>
                  <a:lnTo>
                    <a:pt x="233" y="5"/>
                  </a:lnTo>
                  <a:lnTo>
                    <a:pt x="219" y="8"/>
                  </a:lnTo>
                  <a:lnTo>
                    <a:pt x="205" y="12"/>
                  </a:lnTo>
                  <a:lnTo>
                    <a:pt x="191" y="17"/>
                  </a:lnTo>
                  <a:lnTo>
                    <a:pt x="178" y="22"/>
                  </a:lnTo>
                  <a:lnTo>
                    <a:pt x="165" y="28"/>
                  </a:lnTo>
                  <a:lnTo>
                    <a:pt x="153" y="35"/>
                  </a:lnTo>
                  <a:lnTo>
                    <a:pt x="141" y="41"/>
                  </a:lnTo>
                  <a:lnTo>
                    <a:pt x="129" y="49"/>
                  </a:lnTo>
                  <a:lnTo>
                    <a:pt x="117" y="57"/>
                  </a:lnTo>
                  <a:lnTo>
                    <a:pt x="107" y="66"/>
                  </a:lnTo>
                  <a:lnTo>
                    <a:pt x="96" y="75"/>
                  </a:lnTo>
                  <a:lnTo>
                    <a:pt x="85" y="85"/>
                  </a:lnTo>
                  <a:lnTo>
                    <a:pt x="76" y="95"/>
                  </a:lnTo>
                  <a:lnTo>
                    <a:pt x="67" y="105"/>
                  </a:lnTo>
                  <a:lnTo>
                    <a:pt x="58" y="116"/>
                  </a:lnTo>
                  <a:lnTo>
                    <a:pt x="50" y="128"/>
                  </a:lnTo>
                  <a:lnTo>
                    <a:pt x="42" y="139"/>
                  </a:lnTo>
                  <a:lnTo>
                    <a:pt x="35" y="152"/>
                  </a:lnTo>
                  <a:lnTo>
                    <a:pt x="29" y="164"/>
                  </a:lnTo>
                  <a:lnTo>
                    <a:pt x="23" y="177"/>
                  </a:lnTo>
                  <a:lnTo>
                    <a:pt x="18" y="191"/>
                  </a:lnTo>
                  <a:lnTo>
                    <a:pt x="14" y="205"/>
                  </a:lnTo>
                  <a:lnTo>
                    <a:pt x="9" y="217"/>
                  </a:lnTo>
                  <a:lnTo>
                    <a:pt x="6" y="232"/>
                  </a:lnTo>
                  <a:lnTo>
                    <a:pt x="3" y="246"/>
                  </a:lnTo>
                  <a:lnTo>
                    <a:pt x="2" y="261"/>
                  </a:lnTo>
                  <a:lnTo>
                    <a:pt x="1" y="276"/>
                  </a:lnTo>
                  <a:lnTo>
                    <a:pt x="0" y="291"/>
                  </a:lnTo>
                  <a:lnTo>
                    <a:pt x="0" y="291"/>
                  </a:lnTo>
                  <a:lnTo>
                    <a:pt x="1" y="306"/>
                  </a:lnTo>
                  <a:lnTo>
                    <a:pt x="2" y="320"/>
                  </a:lnTo>
                  <a:lnTo>
                    <a:pt x="3" y="335"/>
                  </a:lnTo>
                  <a:lnTo>
                    <a:pt x="6" y="350"/>
                  </a:lnTo>
                  <a:lnTo>
                    <a:pt x="9" y="364"/>
                  </a:lnTo>
                  <a:lnTo>
                    <a:pt x="14" y="378"/>
                  </a:lnTo>
                  <a:lnTo>
                    <a:pt x="18" y="391"/>
                  </a:lnTo>
                  <a:lnTo>
                    <a:pt x="23" y="404"/>
                  </a:lnTo>
                  <a:lnTo>
                    <a:pt x="29" y="417"/>
                  </a:lnTo>
                  <a:lnTo>
                    <a:pt x="35" y="430"/>
                  </a:lnTo>
                  <a:lnTo>
                    <a:pt x="42" y="442"/>
                  </a:lnTo>
                  <a:lnTo>
                    <a:pt x="50" y="454"/>
                  </a:lnTo>
                  <a:lnTo>
                    <a:pt x="58" y="465"/>
                  </a:lnTo>
                  <a:lnTo>
                    <a:pt x="67" y="476"/>
                  </a:lnTo>
                  <a:lnTo>
                    <a:pt x="76" y="487"/>
                  </a:lnTo>
                  <a:lnTo>
                    <a:pt x="85" y="497"/>
                  </a:lnTo>
                  <a:lnTo>
                    <a:pt x="96" y="507"/>
                  </a:lnTo>
                  <a:lnTo>
                    <a:pt x="107" y="516"/>
                  </a:lnTo>
                  <a:lnTo>
                    <a:pt x="117" y="524"/>
                  </a:lnTo>
                  <a:lnTo>
                    <a:pt x="129" y="533"/>
                  </a:lnTo>
                  <a:lnTo>
                    <a:pt x="141" y="540"/>
                  </a:lnTo>
                  <a:lnTo>
                    <a:pt x="153" y="548"/>
                  </a:lnTo>
                  <a:lnTo>
                    <a:pt x="165" y="554"/>
                  </a:lnTo>
                  <a:lnTo>
                    <a:pt x="178" y="559"/>
                  </a:lnTo>
                  <a:lnTo>
                    <a:pt x="191" y="565"/>
                  </a:lnTo>
                  <a:lnTo>
                    <a:pt x="205" y="569"/>
                  </a:lnTo>
                  <a:lnTo>
                    <a:pt x="219" y="573"/>
                  </a:lnTo>
                  <a:lnTo>
                    <a:pt x="233" y="576"/>
                  </a:lnTo>
                  <a:lnTo>
                    <a:pt x="248" y="579"/>
                  </a:lnTo>
                  <a:lnTo>
                    <a:pt x="262" y="581"/>
                  </a:lnTo>
                  <a:lnTo>
                    <a:pt x="276" y="582"/>
                  </a:lnTo>
                  <a:lnTo>
                    <a:pt x="291" y="583"/>
                  </a:lnTo>
                  <a:lnTo>
                    <a:pt x="291" y="583"/>
                  </a:lnTo>
                  <a:lnTo>
                    <a:pt x="306" y="582"/>
                  </a:lnTo>
                  <a:lnTo>
                    <a:pt x="321" y="581"/>
                  </a:lnTo>
                  <a:lnTo>
                    <a:pt x="336" y="579"/>
                  </a:lnTo>
                  <a:lnTo>
                    <a:pt x="350" y="576"/>
                  </a:lnTo>
                  <a:lnTo>
                    <a:pt x="364" y="573"/>
                  </a:lnTo>
                  <a:lnTo>
                    <a:pt x="378" y="569"/>
                  </a:lnTo>
                  <a:lnTo>
                    <a:pt x="392" y="565"/>
                  </a:lnTo>
                  <a:lnTo>
                    <a:pt x="405" y="559"/>
                  </a:lnTo>
                  <a:lnTo>
                    <a:pt x="419" y="554"/>
                  </a:lnTo>
                  <a:lnTo>
                    <a:pt x="430" y="548"/>
                  </a:lnTo>
                  <a:lnTo>
                    <a:pt x="443" y="540"/>
                  </a:lnTo>
                  <a:lnTo>
                    <a:pt x="455" y="533"/>
                  </a:lnTo>
                  <a:lnTo>
                    <a:pt x="466" y="524"/>
                  </a:lnTo>
                  <a:lnTo>
                    <a:pt x="477" y="516"/>
                  </a:lnTo>
                  <a:lnTo>
                    <a:pt x="488" y="507"/>
                  </a:lnTo>
                  <a:lnTo>
                    <a:pt x="498" y="497"/>
                  </a:lnTo>
                  <a:lnTo>
                    <a:pt x="507" y="487"/>
                  </a:lnTo>
                  <a:lnTo>
                    <a:pt x="517" y="476"/>
                  </a:lnTo>
                  <a:lnTo>
                    <a:pt x="525" y="465"/>
                  </a:lnTo>
                  <a:lnTo>
                    <a:pt x="534" y="454"/>
                  </a:lnTo>
                  <a:lnTo>
                    <a:pt x="541" y="442"/>
                  </a:lnTo>
                  <a:lnTo>
                    <a:pt x="548" y="430"/>
                  </a:lnTo>
                  <a:lnTo>
                    <a:pt x="554" y="417"/>
                  </a:lnTo>
                  <a:lnTo>
                    <a:pt x="561" y="404"/>
                  </a:lnTo>
                  <a:lnTo>
                    <a:pt x="566" y="391"/>
                  </a:lnTo>
                  <a:lnTo>
                    <a:pt x="570" y="378"/>
                  </a:lnTo>
                  <a:lnTo>
                    <a:pt x="575" y="364"/>
                  </a:lnTo>
                  <a:lnTo>
                    <a:pt x="578" y="350"/>
                  </a:lnTo>
                  <a:lnTo>
                    <a:pt x="580" y="335"/>
                  </a:lnTo>
                  <a:lnTo>
                    <a:pt x="582" y="320"/>
                  </a:lnTo>
                  <a:lnTo>
                    <a:pt x="583" y="306"/>
                  </a:lnTo>
                  <a:lnTo>
                    <a:pt x="583" y="291"/>
                  </a:lnTo>
                  <a:lnTo>
                    <a:pt x="583" y="291"/>
                  </a:lnTo>
                  <a:lnTo>
                    <a:pt x="583" y="276"/>
                  </a:lnTo>
                  <a:lnTo>
                    <a:pt x="582" y="261"/>
                  </a:lnTo>
                  <a:lnTo>
                    <a:pt x="580" y="246"/>
                  </a:lnTo>
                  <a:lnTo>
                    <a:pt x="578" y="232"/>
                  </a:lnTo>
                  <a:lnTo>
                    <a:pt x="575" y="217"/>
                  </a:lnTo>
                  <a:lnTo>
                    <a:pt x="570" y="205"/>
                  </a:lnTo>
                  <a:lnTo>
                    <a:pt x="566" y="191"/>
                  </a:lnTo>
                  <a:lnTo>
                    <a:pt x="561" y="177"/>
                  </a:lnTo>
                  <a:lnTo>
                    <a:pt x="554" y="164"/>
                  </a:lnTo>
                  <a:lnTo>
                    <a:pt x="548" y="152"/>
                  </a:lnTo>
                  <a:lnTo>
                    <a:pt x="541" y="139"/>
                  </a:lnTo>
                  <a:lnTo>
                    <a:pt x="534" y="128"/>
                  </a:lnTo>
                  <a:lnTo>
                    <a:pt x="525" y="116"/>
                  </a:lnTo>
                  <a:lnTo>
                    <a:pt x="517" y="105"/>
                  </a:lnTo>
                  <a:lnTo>
                    <a:pt x="507" y="95"/>
                  </a:lnTo>
                  <a:lnTo>
                    <a:pt x="498" y="85"/>
                  </a:lnTo>
                  <a:lnTo>
                    <a:pt x="488" y="75"/>
                  </a:lnTo>
                  <a:lnTo>
                    <a:pt x="477" y="66"/>
                  </a:lnTo>
                  <a:lnTo>
                    <a:pt x="466" y="57"/>
                  </a:lnTo>
                  <a:lnTo>
                    <a:pt x="455" y="49"/>
                  </a:lnTo>
                  <a:lnTo>
                    <a:pt x="443" y="41"/>
                  </a:lnTo>
                  <a:lnTo>
                    <a:pt x="430" y="35"/>
                  </a:lnTo>
                  <a:lnTo>
                    <a:pt x="419" y="28"/>
                  </a:lnTo>
                  <a:lnTo>
                    <a:pt x="405" y="22"/>
                  </a:lnTo>
                  <a:lnTo>
                    <a:pt x="392" y="17"/>
                  </a:lnTo>
                  <a:lnTo>
                    <a:pt x="378" y="12"/>
                  </a:lnTo>
                  <a:lnTo>
                    <a:pt x="364" y="8"/>
                  </a:lnTo>
                  <a:lnTo>
                    <a:pt x="350" y="5"/>
                  </a:lnTo>
                  <a:lnTo>
                    <a:pt x="336" y="3"/>
                  </a:lnTo>
                  <a:lnTo>
                    <a:pt x="321" y="1"/>
                  </a:lnTo>
                  <a:lnTo>
                    <a:pt x="306" y="0"/>
                  </a:lnTo>
                  <a:lnTo>
                    <a:pt x="291" y="0"/>
                  </a:lnTo>
                  <a:lnTo>
                    <a:pt x="2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82">
              <a:extLst>
                <a:ext uri="{FF2B5EF4-FFF2-40B4-BE49-F238E27FC236}">
                  <a16:creationId xmlns:a16="http://schemas.microsoft.com/office/drawing/2014/main" id="{C5A93695-EF27-A04A-46AD-2AC7C7FE530B}"/>
                </a:ext>
              </a:extLst>
            </p:cNvPr>
            <p:cNvSpPr>
              <a:spLocks/>
            </p:cNvSpPr>
            <p:nvPr/>
          </p:nvSpPr>
          <p:spPr bwMode="auto">
            <a:xfrm>
              <a:off x="8888413" y="1820863"/>
              <a:ext cx="160338" cy="160338"/>
            </a:xfrm>
            <a:custGeom>
              <a:avLst/>
              <a:gdLst>
                <a:gd name="T0" fmla="*/ 171 w 404"/>
                <a:gd name="T1" fmla="*/ 202 h 404"/>
                <a:gd name="T2" fmla="*/ 6 w 404"/>
                <a:gd name="T3" fmla="*/ 365 h 404"/>
                <a:gd name="T4" fmla="*/ 6 w 404"/>
                <a:gd name="T5" fmla="*/ 365 h 404"/>
                <a:gd name="T6" fmla="*/ 3 w 404"/>
                <a:gd name="T7" fmla="*/ 370 h 404"/>
                <a:gd name="T8" fmla="*/ 1 w 404"/>
                <a:gd name="T9" fmla="*/ 377 h 404"/>
                <a:gd name="T10" fmla="*/ 0 w 404"/>
                <a:gd name="T11" fmla="*/ 383 h 404"/>
                <a:gd name="T12" fmla="*/ 2 w 404"/>
                <a:gd name="T13" fmla="*/ 390 h 404"/>
                <a:gd name="T14" fmla="*/ 2 w 404"/>
                <a:gd name="T15" fmla="*/ 390 h 404"/>
                <a:gd name="T16" fmla="*/ 5 w 404"/>
                <a:gd name="T17" fmla="*/ 395 h 404"/>
                <a:gd name="T18" fmla="*/ 10 w 404"/>
                <a:gd name="T19" fmla="*/ 399 h 404"/>
                <a:gd name="T20" fmla="*/ 16 w 404"/>
                <a:gd name="T21" fmla="*/ 402 h 404"/>
                <a:gd name="T22" fmla="*/ 22 w 404"/>
                <a:gd name="T23" fmla="*/ 404 h 404"/>
                <a:gd name="T24" fmla="*/ 381 w 404"/>
                <a:gd name="T25" fmla="*/ 404 h 404"/>
                <a:gd name="T26" fmla="*/ 381 w 404"/>
                <a:gd name="T27" fmla="*/ 404 h 404"/>
                <a:gd name="T28" fmla="*/ 386 w 404"/>
                <a:gd name="T29" fmla="*/ 402 h 404"/>
                <a:gd name="T30" fmla="*/ 390 w 404"/>
                <a:gd name="T31" fmla="*/ 401 h 404"/>
                <a:gd name="T32" fmla="*/ 394 w 404"/>
                <a:gd name="T33" fmla="*/ 399 h 404"/>
                <a:gd name="T34" fmla="*/ 397 w 404"/>
                <a:gd name="T35" fmla="*/ 396 h 404"/>
                <a:gd name="T36" fmla="*/ 401 w 404"/>
                <a:gd name="T37" fmla="*/ 393 h 404"/>
                <a:gd name="T38" fmla="*/ 403 w 404"/>
                <a:gd name="T39" fmla="*/ 390 h 404"/>
                <a:gd name="T40" fmla="*/ 404 w 404"/>
                <a:gd name="T41" fmla="*/ 385 h 404"/>
                <a:gd name="T42" fmla="*/ 404 w 404"/>
                <a:gd name="T43" fmla="*/ 381 h 404"/>
                <a:gd name="T44" fmla="*/ 404 w 404"/>
                <a:gd name="T45" fmla="*/ 22 h 404"/>
                <a:gd name="T46" fmla="*/ 404 w 404"/>
                <a:gd name="T47" fmla="*/ 22 h 404"/>
                <a:gd name="T48" fmla="*/ 403 w 404"/>
                <a:gd name="T49" fmla="*/ 15 h 404"/>
                <a:gd name="T50" fmla="*/ 401 w 404"/>
                <a:gd name="T51" fmla="*/ 9 h 404"/>
                <a:gd name="T52" fmla="*/ 396 w 404"/>
                <a:gd name="T53" fmla="*/ 4 h 404"/>
                <a:gd name="T54" fmla="*/ 390 w 404"/>
                <a:gd name="T55" fmla="*/ 1 h 404"/>
                <a:gd name="T56" fmla="*/ 390 w 404"/>
                <a:gd name="T57" fmla="*/ 1 h 404"/>
                <a:gd name="T58" fmla="*/ 383 w 404"/>
                <a:gd name="T59" fmla="*/ 0 h 404"/>
                <a:gd name="T60" fmla="*/ 377 w 404"/>
                <a:gd name="T61" fmla="*/ 0 h 404"/>
                <a:gd name="T62" fmla="*/ 371 w 404"/>
                <a:gd name="T63" fmla="*/ 2 h 404"/>
                <a:gd name="T64" fmla="*/ 365 w 404"/>
                <a:gd name="T65" fmla="*/ 6 h 404"/>
                <a:gd name="T66" fmla="*/ 202 w 404"/>
                <a:gd name="T67" fmla="*/ 170 h 404"/>
                <a:gd name="T68" fmla="*/ 38 w 404"/>
                <a:gd name="T69" fmla="*/ 6 h 404"/>
                <a:gd name="T70" fmla="*/ 38 w 404"/>
                <a:gd name="T71" fmla="*/ 6 h 404"/>
                <a:gd name="T72" fmla="*/ 35 w 404"/>
                <a:gd name="T73" fmla="*/ 3 h 404"/>
                <a:gd name="T74" fmla="*/ 31 w 404"/>
                <a:gd name="T75" fmla="*/ 1 h 404"/>
                <a:gd name="T76" fmla="*/ 27 w 404"/>
                <a:gd name="T77" fmla="*/ 0 h 404"/>
                <a:gd name="T78" fmla="*/ 22 w 404"/>
                <a:gd name="T79" fmla="*/ 0 h 404"/>
                <a:gd name="T80" fmla="*/ 18 w 404"/>
                <a:gd name="T81" fmla="*/ 0 h 404"/>
                <a:gd name="T82" fmla="*/ 14 w 404"/>
                <a:gd name="T83" fmla="*/ 1 h 404"/>
                <a:gd name="T84" fmla="*/ 10 w 404"/>
                <a:gd name="T85" fmla="*/ 3 h 404"/>
                <a:gd name="T86" fmla="*/ 6 w 404"/>
                <a:gd name="T87" fmla="*/ 6 h 404"/>
                <a:gd name="T88" fmla="*/ 6 w 404"/>
                <a:gd name="T89" fmla="*/ 6 h 404"/>
                <a:gd name="T90" fmla="*/ 4 w 404"/>
                <a:gd name="T91" fmla="*/ 9 h 404"/>
                <a:gd name="T92" fmla="*/ 2 w 404"/>
                <a:gd name="T93" fmla="*/ 14 h 404"/>
                <a:gd name="T94" fmla="*/ 1 w 404"/>
                <a:gd name="T95" fmla="*/ 18 h 404"/>
                <a:gd name="T96" fmla="*/ 0 w 404"/>
                <a:gd name="T97" fmla="*/ 22 h 404"/>
                <a:gd name="T98" fmla="*/ 1 w 404"/>
                <a:gd name="T99" fmla="*/ 26 h 404"/>
                <a:gd name="T100" fmla="*/ 2 w 404"/>
                <a:gd name="T101" fmla="*/ 31 h 404"/>
                <a:gd name="T102" fmla="*/ 4 w 404"/>
                <a:gd name="T103" fmla="*/ 34 h 404"/>
                <a:gd name="T104" fmla="*/ 6 w 404"/>
                <a:gd name="T105" fmla="*/ 37 h 404"/>
                <a:gd name="T106" fmla="*/ 171 w 404"/>
                <a:gd name="T107" fmla="*/ 20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404">
                  <a:moveTo>
                    <a:pt x="171" y="202"/>
                  </a:moveTo>
                  <a:lnTo>
                    <a:pt x="6" y="365"/>
                  </a:lnTo>
                  <a:lnTo>
                    <a:pt x="6" y="365"/>
                  </a:lnTo>
                  <a:lnTo>
                    <a:pt x="3" y="370"/>
                  </a:lnTo>
                  <a:lnTo>
                    <a:pt x="1" y="377"/>
                  </a:lnTo>
                  <a:lnTo>
                    <a:pt x="0" y="383"/>
                  </a:lnTo>
                  <a:lnTo>
                    <a:pt x="2" y="390"/>
                  </a:lnTo>
                  <a:lnTo>
                    <a:pt x="2" y="390"/>
                  </a:lnTo>
                  <a:lnTo>
                    <a:pt x="5" y="395"/>
                  </a:lnTo>
                  <a:lnTo>
                    <a:pt x="10" y="399"/>
                  </a:lnTo>
                  <a:lnTo>
                    <a:pt x="16" y="402"/>
                  </a:lnTo>
                  <a:lnTo>
                    <a:pt x="22" y="404"/>
                  </a:lnTo>
                  <a:lnTo>
                    <a:pt x="381" y="404"/>
                  </a:lnTo>
                  <a:lnTo>
                    <a:pt x="381" y="404"/>
                  </a:lnTo>
                  <a:lnTo>
                    <a:pt x="386" y="402"/>
                  </a:lnTo>
                  <a:lnTo>
                    <a:pt x="390" y="401"/>
                  </a:lnTo>
                  <a:lnTo>
                    <a:pt x="394" y="399"/>
                  </a:lnTo>
                  <a:lnTo>
                    <a:pt x="397" y="396"/>
                  </a:lnTo>
                  <a:lnTo>
                    <a:pt x="401" y="393"/>
                  </a:lnTo>
                  <a:lnTo>
                    <a:pt x="403" y="390"/>
                  </a:lnTo>
                  <a:lnTo>
                    <a:pt x="404" y="385"/>
                  </a:lnTo>
                  <a:lnTo>
                    <a:pt x="404" y="381"/>
                  </a:lnTo>
                  <a:lnTo>
                    <a:pt x="404" y="22"/>
                  </a:lnTo>
                  <a:lnTo>
                    <a:pt x="404" y="22"/>
                  </a:lnTo>
                  <a:lnTo>
                    <a:pt x="403" y="15"/>
                  </a:lnTo>
                  <a:lnTo>
                    <a:pt x="401" y="9"/>
                  </a:lnTo>
                  <a:lnTo>
                    <a:pt x="396" y="4"/>
                  </a:lnTo>
                  <a:lnTo>
                    <a:pt x="390" y="1"/>
                  </a:lnTo>
                  <a:lnTo>
                    <a:pt x="390" y="1"/>
                  </a:lnTo>
                  <a:lnTo>
                    <a:pt x="383" y="0"/>
                  </a:lnTo>
                  <a:lnTo>
                    <a:pt x="377" y="0"/>
                  </a:lnTo>
                  <a:lnTo>
                    <a:pt x="371" y="2"/>
                  </a:lnTo>
                  <a:lnTo>
                    <a:pt x="365" y="6"/>
                  </a:lnTo>
                  <a:lnTo>
                    <a:pt x="202" y="170"/>
                  </a:lnTo>
                  <a:lnTo>
                    <a:pt x="38" y="6"/>
                  </a:lnTo>
                  <a:lnTo>
                    <a:pt x="38" y="6"/>
                  </a:lnTo>
                  <a:lnTo>
                    <a:pt x="35" y="3"/>
                  </a:lnTo>
                  <a:lnTo>
                    <a:pt x="31" y="1"/>
                  </a:lnTo>
                  <a:lnTo>
                    <a:pt x="27" y="0"/>
                  </a:lnTo>
                  <a:lnTo>
                    <a:pt x="22" y="0"/>
                  </a:lnTo>
                  <a:lnTo>
                    <a:pt x="18" y="0"/>
                  </a:lnTo>
                  <a:lnTo>
                    <a:pt x="14" y="1"/>
                  </a:lnTo>
                  <a:lnTo>
                    <a:pt x="10" y="3"/>
                  </a:lnTo>
                  <a:lnTo>
                    <a:pt x="6" y="6"/>
                  </a:lnTo>
                  <a:lnTo>
                    <a:pt x="6" y="6"/>
                  </a:lnTo>
                  <a:lnTo>
                    <a:pt x="4" y="9"/>
                  </a:lnTo>
                  <a:lnTo>
                    <a:pt x="2" y="14"/>
                  </a:lnTo>
                  <a:lnTo>
                    <a:pt x="1" y="18"/>
                  </a:lnTo>
                  <a:lnTo>
                    <a:pt x="0" y="22"/>
                  </a:lnTo>
                  <a:lnTo>
                    <a:pt x="1" y="26"/>
                  </a:lnTo>
                  <a:lnTo>
                    <a:pt x="2" y="31"/>
                  </a:lnTo>
                  <a:lnTo>
                    <a:pt x="4" y="34"/>
                  </a:lnTo>
                  <a:lnTo>
                    <a:pt x="6" y="37"/>
                  </a:lnTo>
                  <a:lnTo>
                    <a:pt x="171" y="2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83">
              <a:extLst>
                <a:ext uri="{FF2B5EF4-FFF2-40B4-BE49-F238E27FC236}">
                  <a16:creationId xmlns:a16="http://schemas.microsoft.com/office/drawing/2014/main" id="{029F38A7-053E-B4C5-D077-6B630E596699}"/>
                </a:ext>
              </a:extLst>
            </p:cNvPr>
            <p:cNvSpPr>
              <a:spLocks/>
            </p:cNvSpPr>
            <p:nvPr/>
          </p:nvSpPr>
          <p:spPr bwMode="auto">
            <a:xfrm>
              <a:off x="9280526" y="1820863"/>
              <a:ext cx="160338" cy="160338"/>
            </a:xfrm>
            <a:custGeom>
              <a:avLst/>
              <a:gdLst>
                <a:gd name="T0" fmla="*/ 23 w 404"/>
                <a:gd name="T1" fmla="*/ 404 h 404"/>
                <a:gd name="T2" fmla="*/ 382 w 404"/>
                <a:gd name="T3" fmla="*/ 404 h 404"/>
                <a:gd name="T4" fmla="*/ 382 w 404"/>
                <a:gd name="T5" fmla="*/ 404 h 404"/>
                <a:gd name="T6" fmla="*/ 388 w 404"/>
                <a:gd name="T7" fmla="*/ 402 h 404"/>
                <a:gd name="T8" fmla="*/ 394 w 404"/>
                <a:gd name="T9" fmla="*/ 399 h 404"/>
                <a:gd name="T10" fmla="*/ 399 w 404"/>
                <a:gd name="T11" fmla="*/ 395 h 404"/>
                <a:gd name="T12" fmla="*/ 403 w 404"/>
                <a:gd name="T13" fmla="*/ 390 h 404"/>
                <a:gd name="T14" fmla="*/ 403 w 404"/>
                <a:gd name="T15" fmla="*/ 390 h 404"/>
                <a:gd name="T16" fmla="*/ 404 w 404"/>
                <a:gd name="T17" fmla="*/ 383 h 404"/>
                <a:gd name="T18" fmla="*/ 404 w 404"/>
                <a:gd name="T19" fmla="*/ 377 h 404"/>
                <a:gd name="T20" fmla="*/ 402 w 404"/>
                <a:gd name="T21" fmla="*/ 370 h 404"/>
                <a:gd name="T22" fmla="*/ 398 w 404"/>
                <a:gd name="T23" fmla="*/ 365 h 404"/>
                <a:gd name="T24" fmla="*/ 234 w 404"/>
                <a:gd name="T25" fmla="*/ 202 h 404"/>
                <a:gd name="T26" fmla="*/ 398 w 404"/>
                <a:gd name="T27" fmla="*/ 37 h 404"/>
                <a:gd name="T28" fmla="*/ 398 w 404"/>
                <a:gd name="T29" fmla="*/ 37 h 404"/>
                <a:gd name="T30" fmla="*/ 401 w 404"/>
                <a:gd name="T31" fmla="*/ 34 h 404"/>
                <a:gd name="T32" fmla="*/ 403 w 404"/>
                <a:gd name="T33" fmla="*/ 31 h 404"/>
                <a:gd name="T34" fmla="*/ 404 w 404"/>
                <a:gd name="T35" fmla="*/ 26 h 404"/>
                <a:gd name="T36" fmla="*/ 404 w 404"/>
                <a:gd name="T37" fmla="*/ 22 h 404"/>
                <a:gd name="T38" fmla="*/ 404 w 404"/>
                <a:gd name="T39" fmla="*/ 18 h 404"/>
                <a:gd name="T40" fmla="*/ 403 w 404"/>
                <a:gd name="T41" fmla="*/ 14 h 404"/>
                <a:gd name="T42" fmla="*/ 401 w 404"/>
                <a:gd name="T43" fmla="*/ 9 h 404"/>
                <a:gd name="T44" fmla="*/ 398 w 404"/>
                <a:gd name="T45" fmla="*/ 6 h 404"/>
                <a:gd name="T46" fmla="*/ 398 w 404"/>
                <a:gd name="T47" fmla="*/ 6 h 404"/>
                <a:gd name="T48" fmla="*/ 394 w 404"/>
                <a:gd name="T49" fmla="*/ 3 h 404"/>
                <a:gd name="T50" fmla="*/ 390 w 404"/>
                <a:gd name="T51" fmla="*/ 1 h 404"/>
                <a:gd name="T52" fmla="*/ 386 w 404"/>
                <a:gd name="T53" fmla="*/ 0 h 404"/>
                <a:gd name="T54" fmla="*/ 382 w 404"/>
                <a:gd name="T55" fmla="*/ 0 h 404"/>
                <a:gd name="T56" fmla="*/ 377 w 404"/>
                <a:gd name="T57" fmla="*/ 0 h 404"/>
                <a:gd name="T58" fmla="*/ 373 w 404"/>
                <a:gd name="T59" fmla="*/ 1 h 404"/>
                <a:gd name="T60" fmla="*/ 370 w 404"/>
                <a:gd name="T61" fmla="*/ 3 h 404"/>
                <a:gd name="T62" fmla="*/ 366 w 404"/>
                <a:gd name="T63" fmla="*/ 6 h 404"/>
                <a:gd name="T64" fmla="*/ 202 w 404"/>
                <a:gd name="T65" fmla="*/ 170 h 404"/>
                <a:gd name="T66" fmla="*/ 39 w 404"/>
                <a:gd name="T67" fmla="*/ 6 h 404"/>
                <a:gd name="T68" fmla="*/ 39 w 404"/>
                <a:gd name="T69" fmla="*/ 6 h 404"/>
                <a:gd name="T70" fmla="*/ 33 w 404"/>
                <a:gd name="T71" fmla="*/ 2 h 404"/>
                <a:gd name="T72" fmla="*/ 27 w 404"/>
                <a:gd name="T73" fmla="*/ 0 h 404"/>
                <a:gd name="T74" fmla="*/ 20 w 404"/>
                <a:gd name="T75" fmla="*/ 0 h 404"/>
                <a:gd name="T76" fmla="*/ 14 w 404"/>
                <a:gd name="T77" fmla="*/ 1 h 404"/>
                <a:gd name="T78" fmla="*/ 14 w 404"/>
                <a:gd name="T79" fmla="*/ 1 h 404"/>
                <a:gd name="T80" fmla="*/ 9 w 404"/>
                <a:gd name="T81" fmla="*/ 4 h 404"/>
                <a:gd name="T82" fmla="*/ 4 w 404"/>
                <a:gd name="T83" fmla="*/ 9 h 404"/>
                <a:gd name="T84" fmla="*/ 1 w 404"/>
                <a:gd name="T85" fmla="*/ 15 h 404"/>
                <a:gd name="T86" fmla="*/ 0 w 404"/>
                <a:gd name="T87" fmla="*/ 22 h 404"/>
                <a:gd name="T88" fmla="*/ 0 w 404"/>
                <a:gd name="T89" fmla="*/ 381 h 404"/>
                <a:gd name="T90" fmla="*/ 0 w 404"/>
                <a:gd name="T91" fmla="*/ 381 h 404"/>
                <a:gd name="T92" fmla="*/ 1 w 404"/>
                <a:gd name="T93" fmla="*/ 385 h 404"/>
                <a:gd name="T94" fmla="*/ 2 w 404"/>
                <a:gd name="T95" fmla="*/ 390 h 404"/>
                <a:gd name="T96" fmla="*/ 4 w 404"/>
                <a:gd name="T97" fmla="*/ 393 h 404"/>
                <a:gd name="T98" fmla="*/ 7 w 404"/>
                <a:gd name="T99" fmla="*/ 396 h 404"/>
                <a:gd name="T100" fmla="*/ 11 w 404"/>
                <a:gd name="T101" fmla="*/ 399 h 404"/>
                <a:gd name="T102" fmla="*/ 14 w 404"/>
                <a:gd name="T103" fmla="*/ 401 h 404"/>
                <a:gd name="T104" fmla="*/ 18 w 404"/>
                <a:gd name="T105" fmla="*/ 402 h 404"/>
                <a:gd name="T106" fmla="*/ 23 w 404"/>
                <a:gd name="T107" fmla="*/ 404 h 404"/>
                <a:gd name="T108" fmla="*/ 23 w 404"/>
                <a:gd name="T109"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4" h="404">
                  <a:moveTo>
                    <a:pt x="23" y="404"/>
                  </a:moveTo>
                  <a:lnTo>
                    <a:pt x="382" y="404"/>
                  </a:lnTo>
                  <a:lnTo>
                    <a:pt x="382" y="404"/>
                  </a:lnTo>
                  <a:lnTo>
                    <a:pt x="388" y="402"/>
                  </a:lnTo>
                  <a:lnTo>
                    <a:pt x="394" y="399"/>
                  </a:lnTo>
                  <a:lnTo>
                    <a:pt x="399" y="395"/>
                  </a:lnTo>
                  <a:lnTo>
                    <a:pt x="403" y="390"/>
                  </a:lnTo>
                  <a:lnTo>
                    <a:pt x="403" y="390"/>
                  </a:lnTo>
                  <a:lnTo>
                    <a:pt x="404" y="383"/>
                  </a:lnTo>
                  <a:lnTo>
                    <a:pt x="404" y="377"/>
                  </a:lnTo>
                  <a:lnTo>
                    <a:pt x="402" y="370"/>
                  </a:lnTo>
                  <a:lnTo>
                    <a:pt x="398" y="365"/>
                  </a:lnTo>
                  <a:lnTo>
                    <a:pt x="234" y="202"/>
                  </a:lnTo>
                  <a:lnTo>
                    <a:pt x="398" y="37"/>
                  </a:lnTo>
                  <a:lnTo>
                    <a:pt x="398" y="37"/>
                  </a:lnTo>
                  <a:lnTo>
                    <a:pt x="401" y="34"/>
                  </a:lnTo>
                  <a:lnTo>
                    <a:pt x="403" y="31"/>
                  </a:lnTo>
                  <a:lnTo>
                    <a:pt x="404" y="26"/>
                  </a:lnTo>
                  <a:lnTo>
                    <a:pt x="404" y="22"/>
                  </a:lnTo>
                  <a:lnTo>
                    <a:pt x="404" y="18"/>
                  </a:lnTo>
                  <a:lnTo>
                    <a:pt x="403" y="14"/>
                  </a:lnTo>
                  <a:lnTo>
                    <a:pt x="401" y="9"/>
                  </a:lnTo>
                  <a:lnTo>
                    <a:pt x="398" y="6"/>
                  </a:lnTo>
                  <a:lnTo>
                    <a:pt x="398" y="6"/>
                  </a:lnTo>
                  <a:lnTo>
                    <a:pt x="394" y="3"/>
                  </a:lnTo>
                  <a:lnTo>
                    <a:pt x="390" y="1"/>
                  </a:lnTo>
                  <a:lnTo>
                    <a:pt x="386" y="0"/>
                  </a:lnTo>
                  <a:lnTo>
                    <a:pt x="382" y="0"/>
                  </a:lnTo>
                  <a:lnTo>
                    <a:pt x="377" y="0"/>
                  </a:lnTo>
                  <a:lnTo>
                    <a:pt x="373" y="1"/>
                  </a:lnTo>
                  <a:lnTo>
                    <a:pt x="370" y="3"/>
                  </a:lnTo>
                  <a:lnTo>
                    <a:pt x="366" y="6"/>
                  </a:lnTo>
                  <a:lnTo>
                    <a:pt x="202" y="170"/>
                  </a:lnTo>
                  <a:lnTo>
                    <a:pt x="39" y="6"/>
                  </a:lnTo>
                  <a:lnTo>
                    <a:pt x="39" y="6"/>
                  </a:lnTo>
                  <a:lnTo>
                    <a:pt x="33" y="2"/>
                  </a:lnTo>
                  <a:lnTo>
                    <a:pt x="27" y="0"/>
                  </a:lnTo>
                  <a:lnTo>
                    <a:pt x="20" y="0"/>
                  </a:lnTo>
                  <a:lnTo>
                    <a:pt x="14" y="1"/>
                  </a:lnTo>
                  <a:lnTo>
                    <a:pt x="14" y="1"/>
                  </a:lnTo>
                  <a:lnTo>
                    <a:pt x="9" y="4"/>
                  </a:lnTo>
                  <a:lnTo>
                    <a:pt x="4" y="9"/>
                  </a:lnTo>
                  <a:lnTo>
                    <a:pt x="1" y="15"/>
                  </a:lnTo>
                  <a:lnTo>
                    <a:pt x="0" y="22"/>
                  </a:lnTo>
                  <a:lnTo>
                    <a:pt x="0" y="381"/>
                  </a:lnTo>
                  <a:lnTo>
                    <a:pt x="0" y="381"/>
                  </a:lnTo>
                  <a:lnTo>
                    <a:pt x="1" y="385"/>
                  </a:lnTo>
                  <a:lnTo>
                    <a:pt x="2" y="390"/>
                  </a:lnTo>
                  <a:lnTo>
                    <a:pt x="4" y="393"/>
                  </a:lnTo>
                  <a:lnTo>
                    <a:pt x="7" y="396"/>
                  </a:lnTo>
                  <a:lnTo>
                    <a:pt x="11" y="399"/>
                  </a:lnTo>
                  <a:lnTo>
                    <a:pt x="14" y="401"/>
                  </a:lnTo>
                  <a:lnTo>
                    <a:pt x="18" y="402"/>
                  </a:lnTo>
                  <a:lnTo>
                    <a:pt x="23" y="404"/>
                  </a:lnTo>
                  <a:lnTo>
                    <a:pt x="23" y="4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84">
              <a:extLst>
                <a:ext uri="{FF2B5EF4-FFF2-40B4-BE49-F238E27FC236}">
                  <a16:creationId xmlns:a16="http://schemas.microsoft.com/office/drawing/2014/main" id="{C9773FCB-6F5A-43D5-D17D-81FB3716C118}"/>
                </a:ext>
              </a:extLst>
            </p:cNvPr>
            <p:cNvSpPr>
              <a:spLocks/>
            </p:cNvSpPr>
            <p:nvPr/>
          </p:nvSpPr>
          <p:spPr bwMode="auto">
            <a:xfrm>
              <a:off x="8888413" y="2212975"/>
              <a:ext cx="160338" cy="160338"/>
            </a:xfrm>
            <a:custGeom>
              <a:avLst/>
              <a:gdLst>
                <a:gd name="T0" fmla="*/ 381 w 404"/>
                <a:gd name="T1" fmla="*/ 0 h 404"/>
                <a:gd name="T2" fmla="*/ 22 w 404"/>
                <a:gd name="T3" fmla="*/ 0 h 404"/>
                <a:gd name="T4" fmla="*/ 22 w 404"/>
                <a:gd name="T5" fmla="*/ 0 h 404"/>
                <a:gd name="T6" fmla="*/ 16 w 404"/>
                <a:gd name="T7" fmla="*/ 1 h 404"/>
                <a:gd name="T8" fmla="*/ 10 w 404"/>
                <a:gd name="T9" fmla="*/ 3 h 404"/>
                <a:gd name="T10" fmla="*/ 5 w 404"/>
                <a:gd name="T11" fmla="*/ 7 h 404"/>
                <a:gd name="T12" fmla="*/ 2 w 404"/>
                <a:gd name="T13" fmla="*/ 14 h 404"/>
                <a:gd name="T14" fmla="*/ 2 w 404"/>
                <a:gd name="T15" fmla="*/ 14 h 404"/>
                <a:gd name="T16" fmla="*/ 0 w 404"/>
                <a:gd name="T17" fmla="*/ 20 h 404"/>
                <a:gd name="T18" fmla="*/ 1 w 404"/>
                <a:gd name="T19" fmla="*/ 27 h 404"/>
                <a:gd name="T20" fmla="*/ 3 w 404"/>
                <a:gd name="T21" fmla="*/ 32 h 404"/>
                <a:gd name="T22" fmla="*/ 6 w 404"/>
                <a:gd name="T23" fmla="*/ 37 h 404"/>
                <a:gd name="T24" fmla="*/ 171 w 404"/>
                <a:gd name="T25" fmla="*/ 202 h 404"/>
                <a:gd name="T26" fmla="*/ 6 w 404"/>
                <a:gd name="T27" fmla="*/ 365 h 404"/>
                <a:gd name="T28" fmla="*/ 6 w 404"/>
                <a:gd name="T29" fmla="*/ 365 h 404"/>
                <a:gd name="T30" fmla="*/ 4 w 404"/>
                <a:gd name="T31" fmla="*/ 368 h 404"/>
                <a:gd name="T32" fmla="*/ 2 w 404"/>
                <a:gd name="T33" fmla="*/ 373 h 404"/>
                <a:gd name="T34" fmla="*/ 1 w 404"/>
                <a:gd name="T35" fmla="*/ 377 h 404"/>
                <a:gd name="T36" fmla="*/ 0 w 404"/>
                <a:gd name="T37" fmla="*/ 381 h 404"/>
                <a:gd name="T38" fmla="*/ 1 w 404"/>
                <a:gd name="T39" fmla="*/ 385 h 404"/>
                <a:gd name="T40" fmla="*/ 2 w 404"/>
                <a:gd name="T41" fmla="*/ 390 h 404"/>
                <a:gd name="T42" fmla="*/ 4 w 404"/>
                <a:gd name="T43" fmla="*/ 393 h 404"/>
                <a:gd name="T44" fmla="*/ 6 w 404"/>
                <a:gd name="T45" fmla="*/ 396 h 404"/>
                <a:gd name="T46" fmla="*/ 6 w 404"/>
                <a:gd name="T47" fmla="*/ 396 h 404"/>
                <a:gd name="T48" fmla="*/ 10 w 404"/>
                <a:gd name="T49" fmla="*/ 399 h 404"/>
                <a:gd name="T50" fmla="*/ 14 w 404"/>
                <a:gd name="T51" fmla="*/ 401 h 404"/>
                <a:gd name="T52" fmla="*/ 18 w 404"/>
                <a:gd name="T53" fmla="*/ 403 h 404"/>
                <a:gd name="T54" fmla="*/ 22 w 404"/>
                <a:gd name="T55" fmla="*/ 404 h 404"/>
                <a:gd name="T56" fmla="*/ 22 w 404"/>
                <a:gd name="T57" fmla="*/ 404 h 404"/>
                <a:gd name="T58" fmla="*/ 27 w 404"/>
                <a:gd name="T59" fmla="*/ 403 h 404"/>
                <a:gd name="T60" fmla="*/ 31 w 404"/>
                <a:gd name="T61" fmla="*/ 401 h 404"/>
                <a:gd name="T62" fmla="*/ 35 w 404"/>
                <a:gd name="T63" fmla="*/ 399 h 404"/>
                <a:gd name="T64" fmla="*/ 38 w 404"/>
                <a:gd name="T65" fmla="*/ 396 h 404"/>
                <a:gd name="T66" fmla="*/ 202 w 404"/>
                <a:gd name="T67" fmla="*/ 233 h 404"/>
                <a:gd name="T68" fmla="*/ 365 w 404"/>
                <a:gd name="T69" fmla="*/ 396 h 404"/>
                <a:gd name="T70" fmla="*/ 365 w 404"/>
                <a:gd name="T71" fmla="*/ 396 h 404"/>
                <a:gd name="T72" fmla="*/ 370 w 404"/>
                <a:gd name="T73" fmla="*/ 399 h 404"/>
                <a:gd name="T74" fmla="*/ 373 w 404"/>
                <a:gd name="T75" fmla="*/ 401 h 404"/>
                <a:gd name="T76" fmla="*/ 377 w 404"/>
                <a:gd name="T77" fmla="*/ 403 h 404"/>
                <a:gd name="T78" fmla="*/ 381 w 404"/>
                <a:gd name="T79" fmla="*/ 404 h 404"/>
                <a:gd name="T80" fmla="*/ 381 w 404"/>
                <a:gd name="T81" fmla="*/ 404 h 404"/>
                <a:gd name="T82" fmla="*/ 386 w 404"/>
                <a:gd name="T83" fmla="*/ 403 h 404"/>
                <a:gd name="T84" fmla="*/ 390 w 404"/>
                <a:gd name="T85" fmla="*/ 401 h 404"/>
                <a:gd name="T86" fmla="*/ 390 w 404"/>
                <a:gd name="T87" fmla="*/ 401 h 404"/>
                <a:gd name="T88" fmla="*/ 396 w 404"/>
                <a:gd name="T89" fmla="*/ 398 h 404"/>
                <a:gd name="T90" fmla="*/ 401 w 404"/>
                <a:gd name="T91" fmla="*/ 393 h 404"/>
                <a:gd name="T92" fmla="*/ 403 w 404"/>
                <a:gd name="T93" fmla="*/ 388 h 404"/>
                <a:gd name="T94" fmla="*/ 404 w 404"/>
                <a:gd name="T95" fmla="*/ 381 h 404"/>
                <a:gd name="T96" fmla="*/ 404 w 404"/>
                <a:gd name="T97" fmla="*/ 22 h 404"/>
                <a:gd name="T98" fmla="*/ 404 w 404"/>
                <a:gd name="T99" fmla="*/ 22 h 404"/>
                <a:gd name="T100" fmla="*/ 404 w 404"/>
                <a:gd name="T101" fmla="*/ 17 h 404"/>
                <a:gd name="T102" fmla="*/ 403 w 404"/>
                <a:gd name="T103" fmla="*/ 13 h 404"/>
                <a:gd name="T104" fmla="*/ 401 w 404"/>
                <a:gd name="T105" fmla="*/ 9 h 404"/>
                <a:gd name="T106" fmla="*/ 397 w 404"/>
                <a:gd name="T107" fmla="*/ 6 h 404"/>
                <a:gd name="T108" fmla="*/ 394 w 404"/>
                <a:gd name="T109" fmla="*/ 3 h 404"/>
                <a:gd name="T110" fmla="*/ 390 w 404"/>
                <a:gd name="T111" fmla="*/ 1 h 404"/>
                <a:gd name="T112" fmla="*/ 386 w 404"/>
                <a:gd name="T113" fmla="*/ 0 h 404"/>
                <a:gd name="T114" fmla="*/ 381 w 404"/>
                <a:gd name="T115" fmla="*/ 0 h 404"/>
                <a:gd name="T116" fmla="*/ 381 w 404"/>
                <a:gd name="T11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 h="404">
                  <a:moveTo>
                    <a:pt x="381" y="0"/>
                  </a:moveTo>
                  <a:lnTo>
                    <a:pt x="22" y="0"/>
                  </a:lnTo>
                  <a:lnTo>
                    <a:pt x="22" y="0"/>
                  </a:lnTo>
                  <a:lnTo>
                    <a:pt x="16" y="1"/>
                  </a:lnTo>
                  <a:lnTo>
                    <a:pt x="10" y="3"/>
                  </a:lnTo>
                  <a:lnTo>
                    <a:pt x="5" y="7"/>
                  </a:lnTo>
                  <a:lnTo>
                    <a:pt x="2" y="14"/>
                  </a:lnTo>
                  <a:lnTo>
                    <a:pt x="2" y="14"/>
                  </a:lnTo>
                  <a:lnTo>
                    <a:pt x="0" y="20"/>
                  </a:lnTo>
                  <a:lnTo>
                    <a:pt x="1" y="27"/>
                  </a:lnTo>
                  <a:lnTo>
                    <a:pt x="3" y="32"/>
                  </a:lnTo>
                  <a:lnTo>
                    <a:pt x="6" y="37"/>
                  </a:lnTo>
                  <a:lnTo>
                    <a:pt x="171" y="202"/>
                  </a:lnTo>
                  <a:lnTo>
                    <a:pt x="6" y="365"/>
                  </a:lnTo>
                  <a:lnTo>
                    <a:pt x="6" y="365"/>
                  </a:lnTo>
                  <a:lnTo>
                    <a:pt x="4" y="368"/>
                  </a:lnTo>
                  <a:lnTo>
                    <a:pt x="2" y="373"/>
                  </a:lnTo>
                  <a:lnTo>
                    <a:pt x="1" y="377"/>
                  </a:lnTo>
                  <a:lnTo>
                    <a:pt x="0" y="381"/>
                  </a:lnTo>
                  <a:lnTo>
                    <a:pt x="1" y="385"/>
                  </a:lnTo>
                  <a:lnTo>
                    <a:pt x="2" y="390"/>
                  </a:lnTo>
                  <a:lnTo>
                    <a:pt x="4" y="393"/>
                  </a:lnTo>
                  <a:lnTo>
                    <a:pt x="6" y="396"/>
                  </a:lnTo>
                  <a:lnTo>
                    <a:pt x="6" y="396"/>
                  </a:lnTo>
                  <a:lnTo>
                    <a:pt x="10" y="399"/>
                  </a:lnTo>
                  <a:lnTo>
                    <a:pt x="14" y="401"/>
                  </a:lnTo>
                  <a:lnTo>
                    <a:pt x="18" y="403"/>
                  </a:lnTo>
                  <a:lnTo>
                    <a:pt x="22" y="404"/>
                  </a:lnTo>
                  <a:lnTo>
                    <a:pt x="22" y="404"/>
                  </a:lnTo>
                  <a:lnTo>
                    <a:pt x="27" y="403"/>
                  </a:lnTo>
                  <a:lnTo>
                    <a:pt x="31" y="401"/>
                  </a:lnTo>
                  <a:lnTo>
                    <a:pt x="35" y="399"/>
                  </a:lnTo>
                  <a:lnTo>
                    <a:pt x="38" y="396"/>
                  </a:lnTo>
                  <a:lnTo>
                    <a:pt x="202" y="233"/>
                  </a:lnTo>
                  <a:lnTo>
                    <a:pt x="365" y="396"/>
                  </a:lnTo>
                  <a:lnTo>
                    <a:pt x="365" y="396"/>
                  </a:lnTo>
                  <a:lnTo>
                    <a:pt x="370" y="399"/>
                  </a:lnTo>
                  <a:lnTo>
                    <a:pt x="373" y="401"/>
                  </a:lnTo>
                  <a:lnTo>
                    <a:pt x="377" y="403"/>
                  </a:lnTo>
                  <a:lnTo>
                    <a:pt x="381" y="404"/>
                  </a:lnTo>
                  <a:lnTo>
                    <a:pt x="381" y="404"/>
                  </a:lnTo>
                  <a:lnTo>
                    <a:pt x="386" y="403"/>
                  </a:lnTo>
                  <a:lnTo>
                    <a:pt x="390" y="401"/>
                  </a:lnTo>
                  <a:lnTo>
                    <a:pt x="390" y="401"/>
                  </a:lnTo>
                  <a:lnTo>
                    <a:pt x="396" y="398"/>
                  </a:lnTo>
                  <a:lnTo>
                    <a:pt x="401" y="393"/>
                  </a:lnTo>
                  <a:lnTo>
                    <a:pt x="403" y="388"/>
                  </a:lnTo>
                  <a:lnTo>
                    <a:pt x="404" y="381"/>
                  </a:lnTo>
                  <a:lnTo>
                    <a:pt x="404" y="22"/>
                  </a:lnTo>
                  <a:lnTo>
                    <a:pt x="404" y="22"/>
                  </a:lnTo>
                  <a:lnTo>
                    <a:pt x="404" y="17"/>
                  </a:lnTo>
                  <a:lnTo>
                    <a:pt x="403" y="13"/>
                  </a:lnTo>
                  <a:lnTo>
                    <a:pt x="401" y="9"/>
                  </a:lnTo>
                  <a:lnTo>
                    <a:pt x="397" y="6"/>
                  </a:lnTo>
                  <a:lnTo>
                    <a:pt x="394" y="3"/>
                  </a:lnTo>
                  <a:lnTo>
                    <a:pt x="390" y="1"/>
                  </a:lnTo>
                  <a:lnTo>
                    <a:pt x="386" y="0"/>
                  </a:lnTo>
                  <a:lnTo>
                    <a:pt x="381" y="0"/>
                  </a:lnTo>
                  <a:lnTo>
                    <a:pt x="38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85">
              <a:extLst>
                <a:ext uri="{FF2B5EF4-FFF2-40B4-BE49-F238E27FC236}">
                  <a16:creationId xmlns:a16="http://schemas.microsoft.com/office/drawing/2014/main" id="{26DB20BB-85B8-FC9E-0C49-CF4E318C8436}"/>
                </a:ext>
              </a:extLst>
            </p:cNvPr>
            <p:cNvSpPr>
              <a:spLocks/>
            </p:cNvSpPr>
            <p:nvPr/>
          </p:nvSpPr>
          <p:spPr bwMode="auto">
            <a:xfrm>
              <a:off x="9280526" y="2212975"/>
              <a:ext cx="160338" cy="160338"/>
            </a:xfrm>
            <a:custGeom>
              <a:avLst/>
              <a:gdLst>
                <a:gd name="T0" fmla="*/ 234 w 404"/>
                <a:gd name="T1" fmla="*/ 202 h 404"/>
                <a:gd name="T2" fmla="*/ 398 w 404"/>
                <a:gd name="T3" fmla="*/ 37 h 404"/>
                <a:gd name="T4" fmla="*/ 398 w 404"/>
                <a:gd name="T5" fmla="*/ 37 h 404"/>
                <a:gd name="T6" fmla="*/ 402 w 404"/>
                <a:gd name="T7" fmla="*/ 32 h 404"/>
                <a:gd name="T8" fmla="*/ 404 w 404"/>
                <a:gd name="T9" fmla="*/ 27 h 404"/>
                <a:gd name="T10" fmla="*/ 404 w 404"/>
                <a:gd name="T11" fmla="*/ 20 h 404"/>
                <a:gd name="T12" fmla="*/ 403 w 404"/>
                <a:gd name="T13" fmla="*/ 14 h 404"/>
                <a:gd name="T14" fmla="*/ 403 w 404"/>
                <a:gd name="T15" fmla="*/ 14 h 404"/>
                <a:gd name="T16" fmla="*/ 399 w 404"/>
                <a:gd name="T17" fmla="*/ 7 h 404"/>
                <a:gd name="T18" fmla="*/ 394 w 404"/>
                <a:gd name="T19" fmla="*/ 3 h 404"/>
                <a:gd name="T20" fmla="*/ 388 w 404"/>
                <a:gd name="T21" fmla="*/ 1 h 404"/>
                <a:gd name="T22" fmla="*/ 382 w 404"/>
                <a:gd name="T23" fmla="*/ 0 h 404"/>
                <a:gd name="T24" fmla="*/ 23 w 404"/>
                <a:gd name="T25" fmla="*/ 0 h 404"/>
                <a:gd name="T26" fmla="*/ 23 w 404"/>
                <a:gd name="T27" fmla="*/ 0 h 404"/>
                <a:gd name="T28" fmla="*/ 18 w 404"/>
                <a:gd name="T29" fmla="*/ 0 h 404"/>
                <a:gd name="T30" fmla="*/ 14 w 404"/>
                <a:gd name="T31" fmla="*/ 1 h 404"/>
                <a:gd name="T32" fmla="*/ 11 w 404"/>
                <a:gd name="T33" fmla="*/ 3 h 404"/>
                <a:gd name="T34" fmla="*/ 7 w 404"/>
                <a:gd name="T35" fmla="*/ 6 h 404"/>
                <a:gd name="T36" fmla="*/ 4 w 404"/>
                <a:gd name="T37" fmla="*/ 9 h 404"/>
                <a:gd name="T38" fmla="*/ 2 w 404"/>
                <a:gd name="T39" fmla="*/ 13 h 404"/>
                <a:gd name="T40" fmla="*/ 1 w 404"/>
                <a:gd name="T41" fmla="*/ 17 h 404"/>
                <a:gd name="T42" fmla="*/ 0 w 404"/>
                <a:gd name="T43" fmla="*/ 22 h 404"/>
                <a:gd name="T44" fmla="*/ 0 w 404"/>
                <a:gd name="T45" fmla="*/ 381 h 404"/>
                <a:gd name="T46" fmla="*/ 0 w 404"/>
                <a:gd name="T47" fmla="*/ 381 h 404"/>
                <a:gd name="T48" fmla="*/ 1 w 404"/>
                <a:gd name="T49" fmla="*/ 388 h 404"/>
                <a:gd name="T50" fmla="*/ 4 w 404"/>
                <a:gd name="T51" fmla="*/ 393 h 404"/>
                <a:gd name="T52" fmla="*/ 9 w 404"/>
                <a:gd name="T53" fmla="*/ 398 h 404"/>
                <a:gd name="T54" fmla="*/ 14 w 404"/>
                <a:gd name="T55" fmla="*/ 401 h 404"/>
                <a:gd name="T56" fmla="*/ 14 w 404"/>
                <a:gd name="T57" fmla="*/ 401 h 404"/>
                <a:gd name="T58" fmla="*/ 18 w 404"/>
                <a:gd name="T59" fmla="*/ 403 h 404"/>
                <a:gd name="T60" fmla="*/ 23 w 404"/>
                <a:gd name="T61" fmla="*/ 404 h 404"/>
                <a:gd name="T62" fmla="*/ 23 w 404"/>
                <a:gd name="T63" fmla="*/ 404 h 404"/>
                <a:gd name="T64" fmla="*/ 27 w 404"/>
                <a:gd name="T65" fmla="*/ 403 h 404"/>
                <a:gd name="T66" fmla="*/ 31 w 404"/>
                <a:gd name="T67" fmla="*/ 401 h 404"/>
                <a:gd name="T68" fmla="*/ 35 w 404"/>
                <a:gd name="T69" fmla="*/ 399 h 404"/>
                <a:gd name="T70" fmla="*/ 39 w 404"/>
                <a:gd name="T71" fmla="*/ 396 h 404"/>
                <a:gd name="T72" fmla="*/ 202 w 404"/>
                <a:gd name="T73" fmla="*/ 233 h 404"/>
                <a:gd name="T74" fmla="*/ 366 w 404"/>
                <a:gd name="T75" fmla="*/ 396 h 404"/>
                <a:gd name="T76" fmla="*/ 366 w 404"/>
                <a:gd name="T77" fmla="*/ 396 h 404"/>
                <a:gd name="T78" fmla="*/ 370 w 404"/>
                <a:gd name="T79" fmla="*/ 399 h 404"/>
                <a:gd name="T80" fmla="*/ 373 w 404"/>
                <a:gd name="T81" fmla="*/ 401 h 404"/>
                <a:gd name="T82" fmla="*/ 377 w 404"/>
                <a:gd name="T83" fmla="*/ 403 h 404"/>
                <a:gd name="T84" fmla="*/ 382 w 404"/>
                <a:gd name="T85" fmla="*/ 404 h 404"/>
                <a:gd name="T86" fmla="*/ 382 w 404"/>
                <a:gd name="T87" fmla="*/ 404 h 404"/>
                <a:gd name="T88" fmla="*/ 386 w 404"/>
                <a:gd name="T89" fmla="*/ 403 h 404"/>
                <a:gd name="T90" fmla="*/ 390 w 404"/>
                <a:gd name="T91" fmla="*/ 401 h 404"/>
                <a:gd name="T92" fmla="*/ 394 w 404"/>
                <a:gd name="T93" fmla="*/ 399 h 404"/>
                <a:gd name="T94" fmla="*/ 398 w 404"/>
                <a:gd name="T95" fmla="*/ 396 h 404"/>
                <a:gd name="T96" fmla="*/ 398 w 404"/>
                <a:gd name="T97" fmla="*/ 396 h 404"/>
                <a:gd name="T98" fmla="*/ 401 w 404"/>
                <a:gd name="T99" fmla="*/ 393 h 404"/>
                <a:gd name="T100" fmla="*/ 403 w 404"/>
                <a:gd name="T101" fmla="*/ 390 h 404"/>
                <a:gd name="T102" fmla="*/ 404 w 404"/>
                <a:gd name="T103" fmla="*/ 385 h 404"/>
                <a:gd name="T104" fmla="*/ 404 w 404"/>
                <a:gd name="T105" fmla="*/ 381 h 404"/>
                <a:gd name="T106" fmla="*/ 404 w 404"/>
                <a:gd name="T107" fmla="*/ 377 h 404"/>
                <a:gd name="T108" fmla="*/ 403 w 404"/>
                <a:gd name="T109" fmla="*/ 373 h 404"/>
                <a:gd name="T110" fmla="*/ 401 w 404"/>
                <a:gd name="T111" fmla="*/ 368 h 404"/>
                <a:gd name="T112" fmla="*/ 398 w 404"/>
                <a:gd name="T113" fmla="*/ 365 h 404"/>
                <a:gd name="T114" fmla="*/ 234 w 404"/>
                <a:gd name="T115" fmla="*/ 20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404">
                  <a:moveTo>
                    <a:pt x="234" y="202"/>
                  </a:moveTo>
                  <a:lnTo>
                    <a:pt x="398" y="37"/>
                  </a:lnTo>
                  <a:lnTo>
                    <a:pt x="398" y="37"/>
                  </a:lnTo>
                  <a:lnTo>
                    <a:pt x="402" y="32"/>
                  </a:lnTo>
                  <a:lnTo>
                    <a:pt x="404" y="27"/>
                  </a:lnTo>
                  <a:lnTo>
                    <a:pt x="404" y="20"/>
                  </a:lnTo>
                  <a:lnTo>
                    <a:pt x="403" y="14"/>
                  </a:lnTo>
                  <a:lnTo>
                    <a:pt x="403" y="14"/>
                  </a:lnTo>
                  <a:lnTo>
                    <a:pt x="399" y="7"/>
                  </a:lnTo>
                  <a:lnTo>
                    <a:pt x="394" y="3"/>
                  </a:lnTo>
                  <a:lnTo>
                    <a:pt x="388" y="1"/>
                  </a:lnTo>
                  <a:lnTo>
                    <a:pt x="382" y="0"/>
                  </a:lnTo>
                  <a:lnTo>
                    <a:pt x="23" y="0"/>
                  </a:lnTo>
                  <a:lnTo>
                    <a:pt x="23" y="0"/>
                  </a:lnTo>
                  <a:lnTo>
                    <a:pt x="18" y="0"/>
                  </a:lnTo>
                  <a:lnTo>
                    <a:pt x="14" y="1"/>
                  </a:lnTo>
                  <a:lnTo>
                    <a:pt x="11" y="3"/>
                  </a:lnTo>
                  <a:lnTo>
                    <a:pt x="7" y="6"/>
                  </a:lnTo>
                  <a:lnTo>
                    <a:pt x="4" y="9"/>
                  </a:lnTo>
                  <a:lnTo>
                    <a:pt x="2" y="13"/>
                  </a:lnTo>
                  <a:lnTo>
                    <a:pt x="1" y="17"/>
                  </a:lnTo>
                  <a:lnTo>
                    <a:pt x="0" y="22"/>
                  </a:lnTo>
                  <a:lnTo>
                    <a:pt x="0" y="381"/>
                  </a:lnTo>
                  <a:lnTo>
                    <a:pt x="0" y="381"/>
                  </a:lnTo>
                  <a:lnTo>
                    <a:pt x="1" y="388"/>
                  </a:lnTo>
                  <a:lnTo>
                    <a:pt x="4" y="393"/>
                  </a:lnTo>
                  <a:lnTo>
                    <a:pt x="9" y="398"/>
                  </a:lnTo>
                  <a:lnTo>
                    <a:pt x="14" y="401"/>
                  </a:lnTo>
                  <a:lnTo>
                    <a:pt x="14" y="401"/>
                  </a:lnTo>
                  <a:lnTo>
                    <a:pt x="18" y="403"/>
                  </a:lnTo>
                  <a:lnTo>
                    <a:pt x="23" y="404"/>
                  </a:lnTo>
                  <a:lnTo>
                    <a:pt x="23" y="404"/>
                  </a:lnTo>
                  <a:lnTo>
                    <a:pt x="27" y="403"/>
                  </a:lnTo>
                  <a:lnTo>
                    <a:pt x="31" y="401"/>
                  </a:lnTo>
                  <a:lnTo>
                    <a:pt x="35" y="399"/>
                  </a:lnTo>
                  <a:lnTo>
                    <a:pt x="39" y="396"/>
                  </a:lnTo>
                  <a:lnTo>
                    <a:pt x="202" y="233"/>
                  </a:lnTo>
                  <a:lnTo>
                    <a:pt x="366" y="396"/>
                  </a:lnTo>
                  <a:lnTo>
                    <a:pt x="366" y="396"/>
                  </a:lnTo>
                  <a:lnTo>
                    <a:pt x="370" y="399"/>
                  </a:lnTo>
                  <a:lnTo>
                    <a:pt x="373" y="401"/>
                  </a:lnTo>
                  <a:lnTo>
                    <a:pt x="377" y="403"/>
                  </a:lnTo>
                  <a:lnTo>
                    <a:pt x="382" y="404"/>
                  </a:lnTo>
                  <a:lnTo>
                    <a:pt x="382" y="404"/>
                  </a:lnTo>
                  <a:lnTo>
                    <a:pt x="386" y="403"/>
                  </a:lnTo>
                  <a:lnTo>
                    <a:pt x="390" y="401"/>
                  </a:lnTo>
                  <a:lnTo>
                    <a:pt x="394" y="399"/>
                  </a:lnTo>
                  <a:lnTo>
                    <a:pt x="398" y="396"/>
                  </a:lnTo>
                  <a:lnTo>
                    <a:pt x="398" y="396"/>
                  </a:lnTo>
                  <a:lnTo>
                    <a:pt x="401" y="393"/>
                  </a:lnTo>
                  <a:lnTo>
                    <a:pt x="403" y="390"/>
                  </a:lnTo>
                  <a:lnTo>
                    <a:pt x="404" y="385"/>
                  </a:lnTo>
                  <a:lnTo>
                    <a:pt x="404" y="381"/>
                  </a:lnTo>
                  <a:lnTo>
                    <a:pt x="404" y="377"/>
                  </a:lnTo>
                  <a:lnTo>
                    <a:pt x="403" y="373"/>
                  </a:lnTo>
                  <a:lnTo>
                    <a:pt x="401" y="368"/>
                  </a:lnTo>
                  <a:lnTo>
                    <a:pt x="398" y="365"/>
                  </a:lnTo>
                  <a:lnTo>
                    <a:pt x="234" y="2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7" name="Rectangle 16">
            <a:extLst>
              <a:ext uri="{FF2B5EF4-FFF2-40B4-BE49-F238E27FC236}">
                <a16:creationId xmlns:a16="http://schemas.microsoft.com/office/drawing/2014/main" id="{100AB92C-3E27-E31D-91CB-F99B909F8785}"/>
              </a:ext>
            </a:extLst>
          </p:cNvPr>
          <p:cNvSpPr/>
          <p:nvPr/>
        </p:nvSpPr>
        <p:spPr>
          <a:xfrm>
            <a:off x="899017" y="1822661"/>
            <a:ext cx="993029" cy="276999"/>
          </a:xfrm>
          <a:prstGeom prst="rect">
            <a:avLst/>
          </a:prstGeom>
        </p:spPr>
        <p:txBody>
          <a:bodyPr wrap="none">
            <a:spAutoFit/>
          </a:bodyPr>
          <a:lstStyle/>
          <a:p>
            <a:r>
              <a:rPr lang="en-US" sz="1200" spc="300" dirty="0">
                <a:latin typeface="Open Sans Regular" panose="020B0606030504020204" pitchFamily="34" charset="0"/>
                <a:ea typeface="Open Sans"/>
                <a:cs typeface="Open Sans"/>
                <a:sym typeface="Open Sans"/>
              </a:rPr>
              <a:t>GATHER</a:t>
            </a:r>
            <a:endParaRPr lang="en-US" sz="1200" spc="300" dirty="0"/>
          </a:p>
        </p:txBody>
      </p:sp>
      <p:sp>
        <p:nvSpPr>
          <p:cNvPr id="25" name="Pentagon 77">
            <a:extLst>
              <a:ext uri="{FF2B5EF4-FFF2-40B4-BE49-F238E27FC236}">
                <a16:creationId xmlns:a16="http://schemas.microsoft.com/office/drawing/2014/main" id="{2F43B357-DCE8-EEB4-F595-E7C435B2CDCA}"/>
              </a:ext>
            </a:extLst>
          </p:cNvPr>
          <p:cNvSpPr/>
          <p:nvPr/>
        </p:nvSpPr>
        <p:spPr bwMode="gray">
          <a:xfrm>
            <a:off x="3765330" y="1804856"/>
            <a:ext cx="1803413" cy="313038"/>
          </a:xfrm>
          <a:prstGeom prst="homePlat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hape 558">
            <a:extLst>
              <a:ext uri="{FF2B5EF4-FFF2-40B4-BE49-F238E27FC236}">
                <a16:creationId xmlns:a16="http://schemas.microsoft.com/office/drawing/2014/main" id="{9A5702C8-E281-69D7-2848-568BA144DF19}"/>
              </a:ext>
            </a:extLst>
          </p:cNvPr>
          <p:cNvSpPr/>
          <p:nvPr/>
        </p:nvSpPr>
        <p:spPr>
          <a:xfrm>
            <a:off x="3678405" y="2217135"/>
            <a:ext cx="1879763" cy="765163"/>
          </a:xfrm>
          <a:prstGeom prst="rect">
            <a:avLst/>
          </a:prstGeom>
          <a:noFill/>
          <a:ln>
            <a:noFill/>
          </a:ln>
        </p:spPr>
        <p:txBody>
          <a:bodyPr wrap="square" lIns="36000" tIns="36000" rIns="36000" bIns="36000" anchor="t" anchorCtr="0">
            <a:noAutofit/>
          </a:bodyPr>
          <a:lstStyle/>
          <a:p>
            <a:pPr>
              <a:lnSpc>
                <a:spcPct val="106000"/>
              </a:lnSpc>
              <a:buClr>
                <a:schemeClr val="dk1"/>
              </a:buClr>
              <a:buSzPct val="25000"/>
            </a:pPr>
            <a:r>
              <a:rPr lang="en-US" sz="1000" dirty="0">
                <a:latin typeface="Open Sans Regular" panose="020B0606030504020204" pitchFamily="34" charset="0"/>
                <a:ea typeface="Open Sans" panose="020B0606030504020204" pitchFamily="34" charset="0"/>
                <a:cs typeface="Open Sans" panose="020B0606030504020204" pitchFamily="34" charset="0"/>
                <a:sym typeface="Arial"/>
              </a:rPr>
              <a:t>Review and enhance future scenarios, aligning global teams through research and external expertise.</a:t>
            </a:r>
          </a:p>
        </p:txBody>
      </p:sp>
      <p:grpSp>
        <p:nvGrpSpPr>
          <p:cNvPr id="27" name="Group 26">
            <a:extLst>
              <a:ext uri="{FF2B5EF4-FFF2-40B4-BE49-F238E27FC236}">
                <a16:creationId xmlns:a16="http://schemas.microsoft.com/office/drawing/2014/main" id="{45B0E57A-6AB7-B93C-BCDD-AB395345BCC1}"/>
              </a:ext>
            </a:extLst>
          </p:cNvPr>
          <p:cNvGrpSpPr>
            <a:grpSpLocks noChangeAspect="1"/>
          </p:cNvGrpSpPr>
          <p:nvPr/>
        </p:nvGrpSpPr>
        <p:grpSpPr>
          <a:xfrm>
            <a:off x="3475868" y="1824419"/>
            <a:ext cx="228618" cy="260829"/>
            <a:chOff x="1954213" y="187325"/>
            <a:chExt cx="461963" cy="527050"/>
          </a:xfrm>
          <a:solidFill>
            <a:schemeClr val="tx2"/>
          </a:solidFill>
        </p:grpSpPr>
        <p:sp>
          <p:nvSpPr>
            <p:cNvPr id="29" name="Freeform 202">
              <a:extLst>
                <a:ext uri="{FF2B5EF4-FFF2-40B4-BE49-F238E27FC236}">
                  <a16:creationId xmlns:a16="http://schemas.microsoft.com/office/drawing/2014/main" id="{06E0382E-7A3B-888E-4A6D-C63B58FC2A62}"/>
                </a:ext>
              </a:extLst>
            </p:cNvPr>
            <p:cNvSpPr>
              <a:spLocks/>
            </p:cNvSpPr>
            <p:nvPr/>
          </p:nvSpPr>
          <p:spPr bwMode="auto">
            <a:xfrm>
              <a:off x="1954213" y="187325"/>
              <a:ext cx="461963" cy="527050"/>
            </a:xfrm>
            <a:custGeom>
              <a:avLst/>
              <a:gdLst>
                <a:gd name="T0" fmla="*/ 1156 w 1161"/>
                <a:gd name="T1" fmla="*/ 453 h 1328"/>
                <a:gd name="T2" fmla="*/ 1123 w 1161"/>
                <a:gd name="T3" fmla="*/ 321 h 1328"/>
                <a:gd name="T4" fmla="*/ 1063 w 1161"/>
                <a:gd name="T5" fmla="*/ 200 h 1328"/>
                <a:gd name="T6" fmla="*/ 1113 w 1161"/>
                <a:gd name="T7" fmla="*/ 36 h 1328"/>
                <a:gd name="T8" fmla="*/ 1118 w 1161"/>
                <a:gd name="T9" fmla="*/ 17 h 1328"/>
                <a:gd name="T10" fmla="*/ 1109 w 1161"/>
                <a:gd name="T11" fmla="*/ 3 h 1328"/>
                <a:gd name="T12" fmla="*/ 1089 w 1161"/>
                <a:gd name="T13" fmla="*/ 1 h 1328"/>
                <a:gd name="T14" fmla="*/ 965 w 1161"/>
                <a:gd name="T15" fmla="*/ 82 h 1328"/>
                <a:gd name="T16" fmla="*/ 892 w 1161"/>
                <a:gd name="T17" fmla="*/ 24 h 1328"/>
                <a:gd name="T18" fmla="*/ 872 w 1161"/>
                <a:gd name="T19" fmla="*/ 25 h 1328"/>
                <a:gd name="T20" fmla="*/ 863 w 1161"/>
                <a:gd name="T21" fmla="*/ 38 h 1328"/>
                <a:gd name="T22" fmla="*/ 868 w 1161"/>
                <a:gd name="T23" fmla="*/ 57 h 1328"/>
                <a:gd name="T24" fmla="*/ 952 w 1161"/>
                <a:gd name="T25" fmla="*/ 128 h 1328"/>
                <a:gd name="T26" fmla="*/ 1053 w 1161"/>
                <a:gd name="T27" fmla="*/ 268 h 1328"/>
                <a:gd name="T28" fmla="*/ 1110 w 1161"/>
                <a:gd name="T29" fmla="*/ 430 h 1328"/>
                <a:gd name="T30" fmla="*/ 1118 w 1161"/>
                <a:gd name="T31" fmla="*/ 564 h 1328"/>
                <a:gd name="T32" fmla="*/ 1093 w 1161"/>
                <a:gd name="T33" fmla="*/ 707 h 1328"/>
                <a:gd name="T34" fmla="*/ 1036 w 1161"/>
                <a:gd name="T35" fmla="*/ 834 h 1328"/>
                <a:gd name="T36" fmla="*/ 950 w 1161"/>
                <a:gd name="T37" fmla="*/ 944 h 1328"/>
                <a:gd name="T38" fmla="*/ 840 w 1161"/>
                <a:gd name="T39" fmla="*/ 1030 h 1328"/>
                <a:gd name="T40" fmla="*/ 712 w 1161"/>
                <a:gd name="T41" fmla="*/ 1087 h 1328"/>
                <a:gd name="T42" fmla="*/ 570 w 1161"/>
                <a:gd name="T43" fmla="*/ 1113 h 1328"/>
                <a:gd name="T44" fmla="*/ 465 w 1161"/>
                <a:gd name="T45" fmla="*/ 1108 h 1328"/>
                <a:gd name="T46" fmla="*/ 284 w 1161"/>
                <a:gd name="T47" fmla="*/ 1054 h 1328"/>
                <a:gd name="T48" fmla="*/ 133 w 1161"/>
                <a:gd name="T49" fmla="*/ 944 h 1328"/>
                <a:gd name="T50" fmla="*/ 39 w 1161"/>
                <a:gd name="T51" fmla="*/ 825 h 1328"/>
                <a:gd name="T52" fmla="*/ 26 w 1161"/>
                <a:gd name="T53" fmla="*/ 814 h 1328"/>
                <a:gd name="T54" fmla="*/ 6 w 1161"/>
                <a:gd name="T55" fmla="*/ 818 h 1328"/>
                <a:gd name="T56" fmla="*/ 0 w 1161"/>
                <a:gd name="T57" fmla="*/ 837 h 1328"/>
                <a:gd name="T58" fmla="*/ 63 w 1161"/>
                <a:gd name="T59" fmla="*/ 933 h 1328"/>
                <a:gd name="T60" fmla="*/ 9 w 1161"/>
                <a:gd name="T61" fmla="*/ 1077 h 1328"/>
                <a:gd name="T62" fmla="*/ 4 w 1161"/>
                <a:gd name="T63" fmla="*/ 1095 h 1328"/>
                <a:gd name="T64" fmla="*/ 18 w 1161"/>
                <a:gd name="T65" fmla="*/ 1112 h 1328"/>
                <a:gd name="T66" fmla="*/ 35 w 1161"/>
                <a:gd name="T67" fmla="*/ 1112 h 1328"/>
                <a:gd name="T68" fmla="*/ 161 w 1161"/>
                <a:gd name="T69" fmla="*/ 1024 h 1328"/>
                <a:gd name="T70" fmla="*/ 269 w 1161"/>
                <a:gd name="T71" fmla="*/ 1092 h 1328"/>
                <a:gd name="T72" fmla="*/ 390 w 1161"/>
                <a:gd name="T73" fmla="*/ 1136 h 1328"/>
                <a:gd name="T74" fmla="*/ 520 w 1161"/>
                <a:gd name="T75" fmla="*/ 1153 h 1328"/>
                <a:gd name="T76" fmla="*/ 275 w 1161"/>
                <a:gd name="T77" fmla="*/ 1286 h 1328"/>
                <a:gd name="T78" fmla="*/ 263 w 1161"/>
                <a:gd name="T79" fmla="*/ 1302 h 1328"/>
                <a:gd name="T80" fmla="*/ 266 w 1161"/>
                <a:gd name="T81" fmla="*/ 1318 h 1328"/>
                <a:gd name="T82" fmla="*/ 283 w 1161"/>
                <a:gd name="T83" fmla="*/ 1328 h 1328"/>
                <a:gd name="T84" fmla="*/ 810 w 1161"/>
                <a:gd name="T85" fmla="*/ 1324 h 1328"/>
                <a:gd name="T86" fmla="*/ 820 w 1161"/>
                <a:gd name="T87" fmla="*/ 1306 h 1328"/>
                <a:gd name="T88" fmla="*/ 813 w 1161"/>
                <a:gd name="T89" fmla="*/ 1290 h 1328"/>
                <a:gd name="T90" fmla="*/ 562 w 1161"/>
                <a:gd name="T91" fmla="*/ 1285 h 1328"/>
                <a:gd name="T92" fmla="*/ 654 w 1161"/>
                <a:gd name="T93" fmla="*/ 1144 h 1328"/>
                <a:gd name="T94" fmla="*/ 796 w 1161"/>
                <a:gd name="T95" fmla="*/ 1100 h 1328"/>
                <a:gd name="T96" fmla="*/ 922 w 1161"/>
                <a:gd name="T97" fmla="*/ 1024 h 1328"/>
                <a:gd name="T98" fmla="*/ 1025 w 1161"/>
                <a:gd name="T99" fmla="*/ 923 h 1328"/>
                <a:gd name="T100" fmla="*/ 1102 w 1161"/>
                <a:gd name="T101" fmla="*/ 799 h 1328"/>
                <a:gd name="T102" fmla="*/ 1150 w 1161"/>
                <a:gd name="T103" fmla="*/ 658 h 1328"/>
                <a:gd name="T104" fmla="*/ 1161 w 1161"/>
                <a:gd name="T105" fmla="*/ 535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61" h="1328">
                  <a:moveTo>
                    <a:pt x="1161" y="535"/>
                  </a:moveTo>
                  <a:lnTo>
                    <a:pt x="1161" y="535"/>
                  </a:lnTo>
                  <a:lnTo>
                    <a:pt x="1161" y="507"/>
                  </a:lnTo>
                  <a:lnTo>
                    <a:pt x="1159" y="479"/>
                  </a:lnTo>
                  <a:lnTo>
                    <a:pt x="1156" y="453"/>
                  </a:lnTo>
                  <a:lnTo>
                    <a:pt x="1152" y="426"/>
                  </a:lnTo>
                  <a:lnTo>
                    <a:pt x="1146" y="399"/>
                  </a:lnTo>
                  <a:lnTo>
                    <a:pt x="1140" y="373"/>
                  </a:lnTo>
                  <a:lnTo>
                    <a:pt x="1132" y="346"/>
                  </a:lnTo>
                  <a:lnTo>
                    <a:pt x="1123" y="321"/>
                  </a:lnTo>
                  <a:lnTo>
                    <a:pt x="1113" y="296"/>
                  </a:lnTo>
                  <a:lnTo>
                    <a:pt x="1102" y="271"/>
                  </a:lnTo>
                  <a:lnTo>
                    <a:pt x="1090" y="247"/>
                  </a:lnTo>
                  <a:lnTo>
                    <a:pt x="1076" y="224"/>
                  </a:lnTo>
                  <a:lnTo>
                    <a:pt x="1063" y="200"/>
                  </a:lnTo>
                  <a:lnTo>
                    <a:pt x="1047" y="177"/>
                  </a:lnTo>
                  <a:lnTo>
                    <a:pt x="1031" y="156"/>
                  </a:lnTo>
                  <a:lnTo>
                    <a:pt x="1014" y="134"/>
                  </a:lnTo>
                  <a:lnTo>
                    <a:pt x="1113" y="36"/>
                  </a:lnTo>
                  <a:lnTo>
                    <a:pt x="1113" y="36"/>
                  </a:lnTo>
                  <a:lnTo>
                    <a:pt x="1115" y="32"/>
                  </a:lnTo>
                  <a:lnTo>
                    <a:pt x="1117" y="29"/>
                  </a:lnTo>
                  <a:lnTo>
                    <a:pt x="1118" y="25"/>
                  </a:lnTo>
                  <a:lnTo>
                    <a:pt x="1119" y="20"/>
                  </a:lnTo>
                  <a:lnTo>
                    <a:pt x="1118" y="17"/>
                  </a:lnTo>
                  <a:lnTo>
                    <a:pt x="1117" y="13"/>
                  </a:lnTo>
                  <a:lnTo>
                    <a:pt x="1115" y="10"/>
                  </a:lnTo>
                  <a:lnTo>
                    <a:pt x="1113" y="7"/>
                  </a:lnTo>
                  <a:lnTo>
                    <a:pt x="1113" y="7"/>
                  </a:lnTo>
                  <a:lnTo>
                    <a:pt x="1109" y="3"/>
                  </a:lnTo>
                  <a:lnTo>
                    <a:pt x="1105" y="1"/>
                  </a:lnTo>
                  <a:lnTo>
                    <a:pt x="1101" y="0"/>
                  </a:lnTo>
                  <a:lnTo>
                    <a:pt x="1098" y="0"/>
                  </a:lnTo>
                  <a:lnTo>
                    <a:pt x="1094" y="0"/>
                  </a:lnTo>
                  <a:lnTo>
                    <a:pt x="1089" y="1"/>
                  </a:lnTo>
                  <a:lnTo>
                    <a:pt x="1086" y="3"/>
                  </a:lnTo>
                  <a:lnTo>
                    <a:pt x="1083" y="7"/>
                  </a:lnTo>
                  <a:lnTo>
                    <a:pt x="986" y="102"/>
                  </a:lnTo>
                  <a:lnTo>
                    <a:pt x="986" y="102"/>
                  </a:lnTo>
                  <a:lnTo>
                    <a:pt x="965" y="82"/>
                  </a:lnTo>
                  <a:lnTo>
                    <a:pt x="943" y="62"/>
                  </a:lnTo>
                  <a:lnTo>
                    <a:pt x="920" y="43"/>
                  </a:lnTo>
                  <a:lnTo>
                    <a:pt x="896" y="25"/>
                  </a:lnTo>
                  <a:lnTo>
                    <a:pt x="896" y="25"/>
                  </a:lnTo>
                  <a:lnTo>
                    <a:pt x="892" y="24"/>
                  </a:lnTo>
                  <a:lnTo>
                    <a:pt x="888" y="22"/>
                  </a:lnTo>
                  <a:lnTo>
                    <a:pt x="884" y="22"/>
                  </a:lnTo>
                  <a:lnTo>
                    <a:pt x="880" y="22"/>
                  </a:lnTo>
                  <a:lnTo>
                    <a:pt x="876" y="23"/>
                  </a:lnTo>
                  <a:lnTo>
                    <a:pt x="872" y="25"/>
                  </a:lnTo>
                  <a:lnTo>
                    <a:pt x="869" y="27"/>
                  </a:lnTo>
                  <a:lnTo>
                    <a:pt x="866" y="29"/>
                  </a:lnTo>
                  <a:lnTo>
                    <a:pt x="866" y="29"/>
                  </a:lnTo>
                  <a:lnTo>
                    <a:pt x="865" y="33"/>
                  </a:lnTo>
                  <a:lnTo>
                    <a:pt x="863" y="38"/>
                  </a:lnTo>
                  <a:lnTo>
                    <a:pt x="863" y="42"/>
                  </a:lnTo>
                  <a:lnTo>
                    <a:pt x="863" y="46"/>
                  </a:lnTo>
                  <a:lnTo>
                    <a:pt x="864" y="51"/>
                  </a:lnTo>
                  <a:lnTo>
                    <a:pt x="866" y="54"/>
                  </a:lnTo>
                  <a:lnTo>
                    <a:pt x="868" y="57"/>
                  </a:lnTo>
                  <a:lnTo>
                    <a:pt x="870" y="59"/>
                  </a:lnTo>
                  <a:lnTo>
                    <a:pt x="870" y="59"/>
                  </a:lnTo>
                  <a:lnTo>
                    <a:pt x="899" y="81"/>
                  </a:lnTo>
                  <a:lnTo>
                    <a:pt x="926" y="103"/>
                  </a:lnTo>
                  <a:lnTo>
                    <a:pt x="952" y="128"/>
                  </a:lnTo>
                  <a:lnTo>
                    <a:pt x="975" y="154"/>
                  </a:lnTo>
                  <a:lnTo>
                    <a:pt x="997" y="181"/>
                  </a:lnTo>
                  <a:lnTo>
                    <a:pt x="1017" y="209"/>
                  </a:lnTo>
                  <a:lnTo>
                    <a:pt x="1037" y="238"/>
                  </a:lnTo>
                  <a:lnTo>
                    <a:pt x="1053" y="268"/>
                  </a:lnTo>
                  <a:lnTo>
                    <a:pt x="1068" y="299"/>
                  </a:lnTo>
                  <a:lnTo>
                    <a:pt x="1082" y="330"/>
                  </a:lnTo>
                  <a:lnTo>
                    <a:pt x="1093" y="363"/>
                  </a:lnTo>
                  <a:lnTo>
                    <a:pt x="1102" y="397"/>
                  </a:lnTo>
                  <a:lnTo>
                    <a:pt x="1110" y="430"/>
                  </a:lnTo>
                  <a:lnTo>
                    <a:pt x="1115" y="464"/>
                  </a:lnTo>
                  <a:lnTo>
                    <a:pt x="1118" y="500"/>
                  </a:lnTo>
                  <a:lnTo>
                    <a:pt x="1119" y="535"/>
                  </a:lnTo>
                  <a:lnTo>
                    <a:pt x="1119" y="535"/>
                  </a:lnTo>
                  <a:lnTo>
                    <a:pt x="1118" y="564"/>
                  </a:lnTo>
                  <a:lnTo>
                    <a:pt x="1116" y="595"/>
                  </a:lnTo>
                  <a:lnTo>
                    <a:pt x="1112" y="624"/>
                  </a:lnTo>
                  <a:lnTo>
                    <a:pt x="1108" y="651"/>
                  </a:lnTo>
                  <a:lnTo>
                    <a:pt x="1101" y="679"/>
                  </a:lnTo>
                  <a:lnTo>
                    <a:pt x="1093" y="707"/>
                  </a:lnTo>
                  <a:lnTo>
                    <a:pt x="1084" y="734"/>
                  </a:lnTo>
                  <a:lnTo>
                    <a:pt x="1073" y="760"/>
                  </a:lnTo>
                  <a:lnTo>
                    <a:pt x="1061" y="786"/>
                  </a:lnTo>
                  <a:lnTo>
                    <a:pt x="1050" y="811"/>
                  </a:lnTo>
                  <a:lnTo>
                    <a:pt x="1036" y="834"/>
                  </a:lnTo>
                  <a:lnTo>
                    <a:pt x="1021" y="858"/>
                  </a:lnTo>
                  <a:lnTo>
                    <a:pt x="1004" y="880"/>
                  </a:lnTo>
                  <a:lnTo>
                    <a:pt x="987" y="903"/>
                  </a:lnTo>
                  <a:lnTo>
                    <a:pt x="969" y="923"/>
                  </a:lnTo>
                  <a:lnTo>
                    <a:pt x="950" y="944"/>
                  </a:lnTo>
                  <a:lnTo>
                    <a:pt x="929" y="963"/>
                  </a:lnTo>
                  <a:lnTo>
                    <a:pt x="909" y="981"/>
                  </a:lnTo>
                  <a:lnTo>
                    <a:pt x="886" y="999"/>
                  </a:lnTo>
                  <a:lnTo>
                    <a:pt x="864" y="1015"/>
                  </a:lnTo>
                  <a:lnTo>
                    <a:pt x="840" y="1030"/>
                  </a:lnTo>
                  <a:lnTo>
                    <a:pt x="816" y="1044"/>
                  </a:lnTo>
                  <a:lnTo>
                    <a:pt x="792" y="1056"/>
                  </a:lnTo>
                  <a:lnTo>
                    <a:pt x="766" y="1067"/>
                  </a:lnTo>
                  <a:lnTo>
                    <a:pt x="739" y="1078"/>
                  </a:lnTo>
                  <a:lnTo>
                    <a:pt x="712" y="1087"/>
                  </a:lnTo>
                  <a:lnTo>
                    <a:pt x="685" y="1095"/>
                  </a:lnTo>
                  <a:lnTo>
                    <a:pt x="657" y="1102"/>
                  </a:lnTo>
                  <a:lnTo>
                    <a:pt x="628" y="1106"/>
                  </a:lnTo>
                  <a:lnTo>
                    <a:pt x="600" y="1110"/>
                  </a:lnTo>
                  <a:lnTo>
                    <a:pt x="570" y="1113"/>
                  </a:lnTo>
                  <a:lnTo>
                    <a:pt x="541" y="1114"/>
                  </a:lnTo>
                  <a:lnTo>
                    <a:pt x="541" y="1114"/>
                  </a:lnTo>
                  <a:lnTo>
                    <a:pt x="522" y="1113"/>
                  </a:lnTo>
                  <a:lnTo>
                    <a:pt x="503" y="1112"/>
                  </a:lnTo>
                  <a:lnTo>
                    <a:pt x="465" y="1108"/>
                  </a:lnTo>
                  <a:lnTo>
                    <a:pt x="427" y="1102"/>
                  </a:lnTo>
                  <a:lnTo>
                    <a:pt x="390" y="1093"/>
                  </a:lnTo>
                  <a:lnTo>
                    <a:pt x="354" y="1083"/>
                  </a:lnTo>
                  <a:lnTo>
                    <a:pt x="319" y="1069"/>
                  </a:lnTo>
                  <a:lnTo>
                    <a:pt x="284" y="1054"/>
                  </a:lnTo>
                  <a:lnTo>
                    <a:pt x="252" y="1035"/>
                  </a:lnTo>
                  <a:lnTo>
                    <a:pt x="220" y="1016"/>
                  </a:lnTo>
                  <a:lnTo>
                    <a:pt x="189" y="993"/>
                  </a:lnTo>
                  <a:lnTo>
                    <a:pt x="160" y="970"/>
                  </a:lnTo>
                  <a:lnTo>
                    <a:pt x="133" y="944"/>
                  </a:lnTo>
                  <a:lnTo>
                    <a:pt x="107" y="917"/>
                  </a:lnTo>
                  <a:lnTo>
                    <a:pt x="82" y="888"/>
                  </a:lnTo>
                  <a:lnTo>
                    <a:pt x="60" y="857"/>
                  </a:lnTo>
                  <a:lnTo>
                    <a:pt x="50" y="841"/>
                  </a:lnTo>
                  <a:lnTo>
                    <a:pt x="39" y="825"/>
                  </a:lnTo>
                  <a:lnTo>
                    <a:pt x="39" y="825"/>
                  </a:lnTo>
                  <a:lnTo>
                    <a:pt x="37" y="820"/>
                  </a:lnTo>
                  <a:lnTo>
                    <a:pt x="34" y="818"/>
                  </a:lnTo>
                  <a:lnTo>
                    <a:pt x="31" y="816"/>
                  </a:lnTo>
                  <a:lnTo>
                    <a:pt x="26" y="814"/>
                  </a:lnTo>
                  <a:lnTo>
                    <a:pt x="22" y="814"/>
                  </a:lnTo>
                  <a:lnTo>
                    <a:pt x="18" y="814"/>
                  </a:lnTo>
                  <a:lnTo>
                    <a:pt x="9" y="816"/>
                  </a:lnTo>
                  <a:lnTo>
                    <a:pt x="9" y="816"/>
                  </a:lnTo>
                  <a:lnTo>
                    <a:pt x="6" y="818"/>
                  </a:lnTo>
                  <a:lnTo>
                    <a:pt x="3" y="821"/>
                  </a:lnTo>
                  <a:lnTo>
                    <a:pt x="2" y="825"/>
                  </a:lnTo>
                  <a:lnTo>
                    <a:pt x="0" y="829"/>
                  </a:lnTo>
                  <a:lnTo>
                    <a:pt x="0" y="833"/>
                  </a:lnTo>
                  <a:lnTo>
                    <a:pt x="0" y="837"/>
                  </a:lnTo>
                  <a:lnTo>
                    <a:pt x="2" y="846"/>
                  </a:lnTo>
                  <a:lnTo>
                    <a:pt x="2" y="846"/>
                  </a:lnTo>
                  <a:lnTo>
                    <a:pt x="24" y="882"/>
                  </a:lnTo>
                  <a:lnTo>
                    <a:pt x="50" y="916"/>
                  </a:lnTo>
                  <a:lnTo>
                    <a:pt x="63" y="933"/>
                  </a:lnTo>
                  <a:lnTo>
                    <a:pt x="77" y="949"/>
                  </a:lnTo>
                  <a:lnTo>
                    <a:pt x="91" y="965"/>
                  </a:lnTo>
                  <a:lnTo>
                    <a:pt x="106" y="980"/>
                  </a:lnTo>
                  <a:lnTo>
                    <a:pt x="9" y="1077"/>
                  </a:lnTo>
                  <a:lnTo>
                    <a:pt x="9" y="1077"/>
                  </a:lnTo>
                  <a:lnTo>
                    <a:pt x="7" y="1080"/>
                  </a:lnTo>
                  <a:lnTo>
                    <a:pt x="5" y="1084"/>
                  </a:lnTo>
                  <a:lnTo>
                    <a:pt x="4" y="1088"/>
                  </a:lnTo>
                  <a:lnTo>
                    <a:pt x="3" y="1092"/>
                  </a:lnTo>
                  <a:lnTo>
                    <a:pt x="4" y="1095"/>
                  </a:lnTo>
                  <a:lnTo>
                    <a:pt x="5" y="1100"/>
                  </a:lnTo>
                  <a:lnTo>
                    <a:pt x="7" y="1103"/>
                  </a:lnTo>
                  <a:lnTo>
                    <a:pt x="9" y="1107"/>
                  </a:lnTo>
                  <a:lnTo>
                    <a:pt x="9" y="1107"/>
                  </a:lnTo>
                  <a:lnTo>
                    <a:pt x="18" y="1112"/>
                  </a:lnTo>
                  <a:lnTo>
                    <a:pt x="22" y="1113"/>
                  </a:lnTo>
                  <a:lnTo>
                    <a:pt x="26" y="1114"/>
                  </a:lnTo>
                  <a:lnTo>
                    <a:pt x="26" y="1114"/>
                  </a:lnTo>
                  <a:lnTo>
                    <a:pt x="32" y="1113"/>
                  </a:lnTo>
                  <a:lnTo>
                    <a:pt x="35" y="1112"/>
                  </a:lnTo>
                  <a:lnTo>
                    <a:pt x="38" y="1109"/>
                  </a:lnTo>
                  <a:lnTo>
                    <a:pt x="42" y="1107"/>
                  </a:lnTo>
                  <a:lnTo>
                    <a:pt x="140" y="1008"/>
                  </a:lnTo>
                  <a:lnTo>
                    <a:pt x="140" y="1008"/>
                  </a:lnTo>
                  <a:lnTo>
                    <a:pt x="161" y="1024"/>
                  </a:lnTo>
                  <a:lnTo>
                    <a:pt x="181" y="1040"/>
                  </a:lnTo>
                  <a:lnTo>
                    <a:pt x="203" y="1054"/>
                  </a:lnTo>
                  <a:lnTo>
                    <a:pt x="224" y="1067"/>
                  </a:lnTo>
                  <a:lnTo>
                    <a:pt x="247" y="1080"/>
                  </a:lnTo>
                  <a:lnTo>
                    <a:pt x="269" y="1092"/>
                  </a:lnTo>
                  <a:lnTo>
                    <a:pt x="293" y="1103"/>
                  </a:lnTo>
                  <a:lnTo>
                    <a:pt x="317" y="1113"/>
                  </a:lnTo>
                  <a:lnTo>
                    <a:pt x="340" y="1121"/>
                  </a:lnTo>
                  <a:lnTo>
                    <a:pt x="365" y="1129"/>
                  </a:lnTo>
                  <a:lnTo>
                    <a:pt x="390" y="1136"/>
                  </a:lnTo>
                  <a:lnTo>
                    <a:pt x="416" y="1142"/>
                  </a:lnTo>
                  <a:lnTo>
                    <a:pt x="441" y="1146"/>
                  </a:lnTo>
                  <a:lnTo>
                    <a:pt x="467" y="1150"/>
                  </a:lnTo>
                  <a:lnTo>
                    <a:pt x="493" y="1152"/>
                  </a:lnTo>
                  <a:lnTo>
                    <a:pt x="520" y="1153"/>
                  </a:lnTo>
                  <a:lnTo>
                    <a:pt x="520" y="1285"/>
                  </a:lnTo>
                  <a:lnTo>
                    <a:pt x="283" y="1285"/>
                  </a:lnTo>
                  <a:lnTo>
                    <a:pt x="283" y="1285"/>
                  </a:lnTo>
                  <a:lnTo>
                    <a:pt x="279" y="1285"/>
                  </a:lnTo>
                  <a:lnTo>
                    <a:pt x="275" y="1286"/>
                  </a:lnTo>
                  <a:lnTo>
                    <a:pt x="272" y="1288"/>
                  </a:lnTo>
                  <a:lnTo>
                    <a:pt x="268" y="1290"/>
                  </a:lnTo>
                  <a:lnTo>
                    <a:pt x="266" y="1293"/>
                  </a:lnTo>
                  <a:lnTo>
                    <a:pt x="264" y="1298"/>
                  </a:lnTo>
                  <a:lnTo>
                    <a:pt x="263" y="1302"/>
                  </a:lnTo>
                  <a:lnTo>
                    <a:pt x="263" y="1306"/>
                  </a:lnTo>
                  <a:lnTo>
                    <a:pt x="263" y="1306"/>
                  </a:lnTo>
                  <a:lnTo>
                    <a:pt x="263" y="1310"/>
                  </a:lnTo>
                  <a:lnTo>
                    <a:pt x="264" y="1315"/>
                  </a:lnTo>
                  <a:lnTo>
                    <a:pt x="266" y="1318"/>
                  </a:lnTo>
                  <a:lnTo>
                    <a:pt x="268" y="1321"/>
                  </a:lnTo>
                  <a:lnTo>
                    <a:pt x="272" y="1324"/>
                  </a:lnTo>
                  <a:lnTo>
                    <a:pt x="275" y="1325"/>
                  </a:lnTo>
                  <a:lnTo>
                    <a:pt x="279" y="1327"/>
                  </a:lnTo>
                  <a:lnTo>
                    <a:pt x="283" y="1328"/>
                  </a:lnTo>
                  <a:lnTo>
                    <a:pt x="798" y="1328"/>
                  </a:lnTo>
                  <a:lnTo>
                    <a:pt x="798" y="1328"/>
                  </a:lnTo>
                  <a:lnTo>
                    <a:pt x="802" y="1327"/>
                  </a:lnTo>
                  <a:lnTo>
                    <a:pt x="807" y="1325"/>
                  </a:lnTo>
                  <a:lnTo>
                    <a:pt x="810" y="1324"/>
                  </a:lnTo>
                  <a:lnTo>
                    <a:pt x="813" y="1321"/>
                  </a:lnTo>
                  <a:lnTo>
                    <a:pt x="815" y="1318"/>
                  </a:lnTo>
                  <a:lnTo>
                    <a:pt x="817" y="1315"/>
                  </a:lnTo>
                  <a:lnTo>
                    <a:pt x="819" y="1310"/>
                  </a:lnTo>
                  <a:lnTo>
                    <a:pt x="820" y="1306"/>
                  </a:lnTo>
                  <a:lnTo>
                    <a:pt x="820" y="1306"/>
                  </a:lnTo>
                  <a:lnTo>
                    <a:pt x="819" y="1302"/>
                  </a:lnTo>
                  <a:lnTo>
                    <a:pt x="817" y="1298"/>
                  </a:lnTo>
                  <a:lnTo>
                    <a:pt x="815" y="1293"/>
                  </a:lnTo>
                  <a:lnTo>
                    <a:pt x="813" y="1290"/>
                  </a:lnTo>
                  <a:lnTo>
                    <a:pt x="810" y="1288"/>
                  </a:lnTo>
                  <a:lnTo>
                    <a:pt x="807" y="1286"/>
                  </a:lnTo>
                  <a:lnTo>
                    <a:pt x="802" y="1285"/>
                  </a:lnTo>
                  <a:lnTo>
                    <a:pt x="798" y="1285"/>
                  </a:lnTo>
                  <a:lnTo>
                    <a:pt x="562" y="1285"/>
                  </a:lnTo>
                  <a:lnTo>
                    <a:pt x="562" y="1153"/>
                  </a:lnTo>
                  <a:lnTo>
                    <a:pt x="562" y="1153"/>
                  </a:lnTo>
                  <a:lnTo>
                    <a:pt x="593" y="1152"/>
                  </a:lnTo>
                  <a:lnTo>
                    <a:pt x="624" y="1149"/>
                  </a:lnTo>
                  <a:lnTo>
                    <a:pt x="654" y="1144"/>
                  </a:lnTo>
                  <a:lnTo>
                    <a:pt x="683" y="1138"/>
                  </a:lnTo>
                  <a:lnTo>
                    <a:pt x="712" y="1131"/>
                  </a:lnTo>
                  <a:lnTo>
                    <a:pt x="741" y="1121"/>
                  </a:lnTo>
                  <a:lnTo>
                    <a:pt x="769" y="1112"/>
                  </a:lnTo>
                  <a:lnTo>
                    <a:pt x="796" y="1100"/>
                  </a:lnTo>
                  <a:lnTo>
                    <a:pt x="823" y="1087"/>
                  </a:lnTo>
                  <a:lnTo>
                    <a:pt x="849" y="1073"/>
                  </a:lnTo>
                  <a:lnTo>
                    <a:pt x="873" y="1058"/>
                  </a:lnTo>
                  <a:lnTo>
                    <a:pt x="898" y="1042"/>
                  </a:lnTo>
                  <a:lnTo>
                    <a:pt x="922" y="1024"/>
                  </a:lnTo>
                  <a:lnTo>
                    <a:pt x="944" y="1006"/>
                  </a:lnTo>
                  <a:lnTo>
                    <a:pt x="966" y="987"/>
                  </a:lnTo>
                  <a:lnTo>
                    <a:pt x="986" y="966"/>
                  </a:lnTo>
                  <a:lnTo>
                    <a:pt x="1007" y="945"/>
                  </a:lnTo>
                  <a:lnTo>
                    <a:pt x="1025" y="923"/>
                  </a:lnTo>
                  <a:lnTo>
                    <a:pt x="1043" y="900"/>
                  </a:lnTo>
                  <a:lnTo>
                    <a:pt x="1059" y="876"/>
                  </a:lnTo>
                  <a:lnTo>
                    <a:pt x="1075" y="851"/>
                  </a:lnTo>
                  <a:lnTo>
                    <a:pt x="1089" y="826"/>
                  </a:lnTo>
                  <a:lnTo>
                    <a:pt x="1102" y="799"/>
                  </a:lnTo>
                  <a:lnTo>
                    <a:pt x="1115" y="772"/>
                  </a:lnTo>
                  <a:lnTo>
                    <a:pt x="1126" y="744"/>
                  </a:lnTo>
                  <a:lnTo>
                    <a:pt x="1135" y="716"/>
                  </a:lnTo>
                  <a:lnTo>
                    <a:pt x="1143" y="687"/>
                  </a:lnTo>
                  <a:lnTo>
                    <a:pt x="1150" y="658"/>
                  </a:lnTo>
                  <a:lnTo>
                    <a:pt x="1155" y="628"/>
                  </a:lnTo>
                  <a:lnTo>
                    <a:pt x="1158" y="598"/>
                  </a:lnTo>
                  <a:lnTo>
                    <a:pt x="1161" y="567"/>
                  </a:lnTo>
                  <a:lnTo>
                    <a:pt x="1161" y="535"/>
                  </a:lnTo>
                  <a:lnTo>
                    <a:pt x="1161" y="5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03">
              <a:extLst>
                <a:ext uri="{FF2B5EF4-FFF2-40B4-BE49-F238E27FC236}">
                  <a16:creationId xmlns:a16="http://schemas.microsoft.com/office/drawing/2014/main" id="{B57460BF-B6C9-C8C5-DAA7-600A5D42B522}"/>
                </a:ext>
              </a:extLst>
            </p:cNvPr>
            <p:cNvSpPr>
              <a:spLocks/>
            </p:cNvSpPr>
            <p:nvPr/>
          </p:nvSpPr>
          <p:spPr bwMode="auto">
            <a:xfrm>
              <a:off x="2074863" y="481013"/>
              <a:ext cx="214313" cy="98425"/>
            </a:xfrm>
            <a:custGeom>
              <a:avLst/>
              <a:gdLst>
                <a:gd name="T0" fmla="*/ 537 w 537"/>
                <a:gd name="T1" fmla="*/ 127 h 248"/>
                <a:gd name="T2" fmla="*/ 409 w 537"/>
                <a:gd name="T3" fmla="*/ 0 h 248"/>
                <a:gd name="T4" fmla="*/ 409 w 537"/>
                <a:gd name="T5" fmla="*/ 0 h 248"/>
                <a:gd name="T6" fmla="*/ 387 w 537"/>
                <a:gd name="T7" fmla="*/ 20 h 248"/>
                <a:gd name="T8" fmla="*/ 364 w 537"/>
                <a:gd name="T9" fmla="*/ 39 h 248"/>
                <a:gd name="T10" fmla="*/ 341 w 537"/>
                <a:gd name="T11" fmla="*/ 58 h 248"/>
                <a:gd name="T12" fmla="*/ 317 w 537"/>
                <a:gd name="T13" fmla="*/ 75 h 248"/>
                <a:gd name="T14" fmla="*/ 292 w 537"/>
                <a:gd name="T15" fmla="*/ 91 h 248"/>
                <a:gd name="T16" fmla="*/ 269 w 537"/>
                <a:gd name="T17" fmla="*/ 106 h 248"/>
                <a:gd name="T18" fmla="*/ 244 w 537"/>
                <a:gd name="T19" fmla="*/ 120 h 248"/>
                <a:gd name="T20" fmla="*/ 219 w 537"/>
                <a:gd name="T21" fmla="*/ 132 h 248"/>
                <a:gd name="T22" fmla="*/ 194 w 537"/>
                <a:gd name="T23" fmla="*/ 144 h 248"/>
                <a:gd name="T24" fmla="*/ 171 w 537"/>
                <a:gd name="T25" fmla="*/ 153 h 248"/>
                <a:gd name="T26" fmla="*/ 146 w 537"/>
                <a:gd name="T27" fmla="*/ 162 h 248"/>
                <a:gd name="T28" fmla="*/ 122 w 537"/>
                <a:gd name="T29" fmla="*/ 168 h 248"/>
                <a:gd name="T30" fmla="*/ 99 w 537"/>
                <a:gd name="T31" fmla="*/ 175 h 248"/>
                <a:gd name="T32" fmla="*/ 76 w 537"/>
                <a:gd name="T33" fmla="*/ 178 h 248"/>
                <a:gd name="T34" fmla="*/ 54 w 537"/>
                <a:gd name="T35" fmla="*/ 181 h 248"/>
                <a:gd name="T36" fmla="*/ 32 w 537"/>
                <a:gd name="T37" fmla="*/ 181 h 248"/>
                <a:gd name="T38" fmla="*/ 32 w 537"/>
                <a:gd name="T39" fmla="*/ 181 h 248"/>
                <a:gd name="T40" fmla="*/ 16 w 537"/>
                <a:gd name="T41" fmla="*/ 181 h 248"/>
                <a:gd name="T42" fmla="*/ 8 w 537"/>
                <a:gd name="T43" fmla="*/ 180 h 248"/>
                <a:gd name="T44" fmla="*/ 0 w 537"/>
                <a:gd name="T45" fmla="*/ 179 h 248"/>
                <a:gd name="T46" fmla="*/ 0 w 537"/>
                <a:gd name="T47" fmla="*/ 179 h 248"/>
                <a:gd name="T48" fmla="*/ 28 w 537"/>
                <a:gd name="T49" fmla="*/ 194 h 248"/>
                <a:gd name="T50" fmla="*/ 55 w 537"/>
                <a:gd name="T51" fmla="*/ 208 h 248"/>
                <a:gd name="T52" fmla="*/ 84 w 537"/>
                <a:gd name="T53" fmla="*/ 220 h 248"/>
                <a:gd name="T54" fmla="*/ 114 w 537"/>
                <a:gd name="T55" fmla="*/ 230 h 248"/>
                <a:gd name="T56" fmla="*/ 143 w 537"/>
                <a:gd name="T57" fmla="*/ 237 h 248"/>
                <a:gd name="T58" fmla="*/ 174 w 537"/>
                <a:gd name="T59" fmla="*/ 244 h 248"/>
                <a:gd name="T60" fmla="*/ 205 w 537"/>
                <a:gd name="T61" fmla="*/ 247 h 248"/>
                <a:gd name="T62" fmla="*/ 236 w 537"/>
                <a:gd name="T63" fmla="*/ 248 h 248"/>
                <a:gd name="T64" fmla="*/ 236 w 537"/>
                <a:gd name="T65" fmla="*/ 248 h 248"/>
                <a:gd name="T66" fmla="*/ 257 w 537"/>
                <a:gd name="T67" fmla="*/ 247 h 248"/>
                <a:gd name="T68" fmla="*/ 278 w 537"/>
                <a:gd name="T69" fmla="*/ 246 h 248"/>
                <a:gd name="T70" fmla="*/ 299 w 537"/>
                <a:gd name="T71" fmla="*/ 242 h 248"/>
                <a:gd name="T72" fmla="*/ 319 w 537"/>
                <a:gd name="T73" fmla="*/ 239 h 248"/>
                <a:gd name="T74" fmla="*/ 339 w 537"/>
                <a:gd name="T75" fmla="*/ 234 h 248"/>
                <a:gd name="T76" fmla="*/ 359 w 537"/>
                <a:gd name="T77" fmla="*/ 229 h 248"/>
                <a:gd name="T78" fmla="*/ 379 w 537"/>
                <a:gd name="T79" fmla="*/ 222 h 248"/>
                <a:gd name="T80" fmla="*/ 397 w 537"/>
                <a:gd name="T81" fmla="*/ 216 h 248"/>
                <a:gd name="T82" fmla="*/ 417 w 537"/>
                <a:gd name="T83" fmla="*/ 207 h 248"/>
                <a:gd name="T84" fmla="*/ 435 w 537"/>
                <a:gd name="T85" fmla="*/ 198 h 248"/>
                <a:gd name="T86" fmla="*/ 453 w 537"/>
                <a:gd name="T87" fmla="*/ 189 h 248"/>
                <a:gd name="T88" fmla="*/ 472 w 537"/>
                <a:gd name="T89" fmla="*/ 178 h 248"/>
                <a:gd name="T90" fmla="*/ 489 w 537"/>
                <a:gd name="T91" fmla="*/ 166 h 248"/>
                <a:gd name="T92" fmla="*/ 505 w 537"/>
                <a:gd name="T93" fmla="*/ 154 h 248"/>
                <a:gd name="T94" fmla="*/ 522 w 537"/>
                <a:gd name="T95" fmla="*/ 141 h 248"/>
                <a:gd name="T96" fmla="*/ 537 w 537"/>
                <a:gd name="T97" fmla="*/ 127 h 248"/>
                <a:gd name="T98" fmla="*/ 537 w 537"/>
                <a:gd name="T99" fmla="*/ 1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7" h="248">
                  <a:moveTo>
                    <a:pt x="537" y="127"/>
                  </a:moveTo>
                  <a:lnTo>
                    <a:pt x="409" y="0"/>
                  </a:lnTo>
                  <a:lnTo>
                    <a:pt x="409" y="0"/>
                  </a:lnTo>
                  <a:lnTo>
                    <a:pt x="387" y="20"/>
                  </a:lnTo>
                  <a:lnTo>
                    <a:pt x="364" y="39"/>
                  </a:lnTo>
                  <a:lnTo>
                    <a:pt x="341" y="58"/>
                  </a:lnTo>
                  <a:lnTo>
                    <a:pt x="317" y="75"/>
                  </a:lnTo>
                  <a:lnTo>
                    <a:pt x="292" y="91"/>
                  </a:lnTo>
                  <a:lnTo>
                    <a:pt x="269" y="106"/>
                  </a:lnTo>
                  <a:lnTo>
                    <a:pt x="244" y="120"/>
                  </a:lnTo>
                  <a:lnTo>
                    <a:pt x="219" y="132"/>
                  </a:lnTo>
                  <a:lnTo>
                    <a:pt x="194" y="144"/>
                  </a:lnTo>
                  <a:lnTo>
                    <a:pt x="171" y="153"/>
                  </a:lnTo>
                  <a:lnTo>
                    <a:pt x="146" y="162"/>
                  </a:lnTo>
                  <a:lnTo>
                    <a:pt x="122" y="168"/>
                  </a:lnTo>
                  <a:lnTo>
                    <a:pt x="99" y="175"/>
                  </a:lnTo>
                  <a:lnTo>
                    <a:pt x="76" y="178"/>
                  </a:lnTo>
                  <a:lnTo>
                    <a:pt x="54" y="181"/>
                  </a:lnTo>
                  <a:lnTo>
                    <a:pt x="32" y="181"/>
                  </a:lnTo>
                  <a:lnTo>
                    <a:pt x="32" y="181"/>
                  </a:lnTo>
                  <a:lnTo>
                    <a:pt x="16" y="181"/>
                  </a:lnTo>
                  <a:lnTo>
                    <a:pt x="8" y="180"/>
                  </a:lnTo>
                  <a:lnTo>
                    <a:pt x="0" y="179"/>
                  </a:lnTo>
                  <a:lnTo>
                    <a:pt x="0" y="179"/>
                  </a:lnTo>
                  <a:lnTo>
                    <a:pt x="28" y="194"/>
                  </a:lnTo>
                  <a:lnTo>
                    <a:pt x="55" y="208"/>
                  </a:lnTo>
                  <a:lnTo>
                    <a:pt x="84" y="220"/>
                  </a:lnTo>
                  <a:lnTo>
                    <a:pt x="114" y="230"/>
                  </a:lnTo>
                  <a:lnTo>
                    <a:pt x="143" y="237"/>
                  </a:lnTo>
                  <a:lnTo>
                    <a:pt x="174" y="244"/>
                  </a:lnTo>
                  <a:lnTo>
                    <a:pt x="205" y="247"/>
                  </a:lnTo>
                  <a:lnTo>
                    <a:pt x="236" y="248"/>
                  </a:lnTo>
                  <a:lnTo>
                    <a:pt x="236" y="248"/>
                  </a:lnTo>
                  <a:lnTo>
                    <a:pt x="257" y="247"/>
                  </a:lnTo>
                  <a:lnTo>
                    <a:pt x="278" y="246"/>
                  </a:lnTo>
                  <a:lnTo>
                    <a:pt x="299" y="242"/>
                  </a:lnTo>
                  <a:lnTo>
                    <a:pt x="319" y="239"/>
                  </a:lnTo>
                  <a:lnTo>
                    <a:pt x="339" y="234"/>
                  </a:lnTo>
                  <a:lnTo>
                    <a:pt x="359" y="229"/>
                  </a:lnTo>
                  <a:lnTo>
                    <a:pt x="379" y="222"/>
                  </a:lnTo>
                  <a:lnTo>
                    <a:pt x="397" y="216"/>
                  </a:lnTo>
                  <a:lnTo>
                    <a:pt x="417" y="207"/>
                  </a:lnTo>
                  <a:lnTo>
                    <a:pt x="435" y="198"/>
                  </a:lnTo>
                  <a:lnTo>
                    <a:pt x="453" y="189"/>
                  </a:lnTo>
                  <a:lnTo>
                    <a:pt x="472" y="178"/>
                  </a:lnTo>
                  <a:lnTo>
                    <a:pt x="489" y="166"/>
                  </a:lnTo>
                  <a:lnTo>
                    <a:pt x="505" y="154"/>
                  </a:lnTo>
                  <a:lnTo>
                    <a:pt x="522" y="141"/>
                  </a:lnTo>
                  <a:lnTo>
                    <a:pt x="537" y="127"/>
                  </a:lnTo>
                  <a:lnTo>
                    <a:pt x="537"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04">
              <a:extLst>
                <a:ext uri="{FF2B5EF4-FFF2-40B4-BE49-F238E27FC236}">
                  <a16:creationId xmlns:a16="http://schemas.microsoft.com/office/drawing/2014/main" id="{A7DBF0AE-5709-376A-786F-0010424CC573}"/>
                </a:ext>
              </a:extLst>
            </p:cNvPr>
            <p:cNvSpPr>
              <a:spLocks/>
            </p:cNvSpPr>
            <p:nvPr/>
          </p:nvSpPr>
          <p:spPr bwMode="auto">
            <a:xfrm>
              <a:off x="2112963" y="265113"/>
              <a:ext cx="171450" cy="123825"/>
            </a:xfrm>
            <a:custGeom>
              <a:avLst/>
              <a:gdLst>
                <a:gd name="T0" fmla="*/ 0 w 433"/>
                <a:gd name="T1" fmla="*/ 166 h 310"/>
                <a:gd name="T2" fmla="*/ 144 w 433"/>
                <a:gd name="T3" fmla="*/ 310 h 310"/>
                <a:gd name="T4" fmla="*/ 433 w 433"/>
                <a:gd name="T5" fmla="*/ 21 h 310"/>
                <a:gd name="T6" fmla="*/ 433 w 433"/>
                <a:gd name="T7" fmla="*/ 21 h 310"/>
                <a:gd name="T8" fmla="*/ 425 w 433"/>
                <a:gd name="T9" fmla="*/ 16 h 310"/>
                <a:gd name="T10" fmla="*/ 415 w 433"/>
                <a:gd name="T11" fmla="*/ 11 h 310"/>
                <a:gd name="T12" fmla="*/ 405 w 433"/>
                <a:gd name="T13" fmla="*/ 7 h 310"/>
                <a:gd name="T14" fmla="*/ 396 w 433"/>
                <a:gd name="T15" fmla="*/ 5 h 310"/>
                <a:gd name="T16" fmla="*/ 385 w 433"/>
                <a:gd name="T17" fmla="*/ 2 h 310"/>
                <a:gd name="T18" fmla="*/ 373 w 433"/>
                <a:gd name="T19" fmla="*/ 1 h 310"/>
                <a:gd name="T20" fmla="*/ 360 w 433"/>
                <a:gd name="T21" fmla="*/ 0 h 310"/>
                <a:gd name="T22" fmla="*/ 347 w 433"/>
                <a:gd name="T23" fmla="*/ 0 h 310"/>
                <a:gd name="T24" fmla="*/ 347 w 433"/>
                <a:gd name="T25" fmla="*/ 0 h 310"/>
                <a:gd name="T26" fmla="*/ 328 w 433"/>
                <a:gd name="T27" fmla="*/ 1 h 310"/>
                <a:gd name="T28" fmla="*/ 308 w 433"/>
                <a:gd name="T29" fmla="*/ 3 h 310"/>
                <a:gd name="T30" fmla="*/ 286 w 433"/>
                <a:gd name="T31" fmla="*/ 6 h 310"/>
                <a:gd name="T32" fmla="*/ 265 w 433"/>
                <a:gd name="T33" fmla="*/ 11 h 310"/>
                <a:gd name="T34" fmla="*/ 243 w 433"/>
                <a:gd name="T35" fmla="*/ 18 h 310"/>
                <a:gd name="T36" fmla="*/ 221 w 433"/>
                <a:gd name="T37" fmla="*/ 25 h 310"/>
                <a:gd name="T38" fmla="*/ 199 w 433"/>
                <a:gd name="T39" fmla="*/ 34 h 310"/>
                <a:gd name="T40" fmla="*/ 177 w 433"/>
                <a:gd name="T41" fmla="*/ 45 h 310"/>
                <a:gd name="T42" fmla="*/ 154 w 433"/>
                <a:gd name="T43" fmla="*/ 56 h 310"/>
                <a:gd name="T44" fmla="*/ 131 w 433"/>
                <a:gd name="T45" fmla="*/ 68 h 310"/>
                <a:gd name="T46" fmla="*/ 109 w 433"/>
                <a:gd name="T47" fmla="*/ 82 h 310"/>
                <a:gd name="T48" fmla="*/ 86 w 433"/>
                <a:gd name="T49" fmla="*/ 97 h 310"/>
                <a:gd name="T50" fmla="*/ 64 w 433"/>
                <a:gd name="T51" fmla="*/ 113 h 310"/>
                <a:gd name="T52" fmla="*/ 42 w 433"/>
                <a:gd name="T53" fmla="*/ 130 h 310"/>
                <a:gd name="T54" fmla="*/ 21 w 433"/>
                <a:gd name="T55" fmla="*/ 148 h 310"/>
                <a:gd name="T56" fmla="*/ 0 w 433"/>
                <a:gd name="T57" fmla="*/ 166 h 310"/>
                <a:gd name="T58" fmla="*/ 0 w 433"/>
                <a:gd name="T59" fmla="*/ 16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3" h="310">
                  <a:moveTo>
                    <a:pt x="0" y="166"/>
                  </a:moveTo>
                  <a:lnTo>
                    <a:pt x="144" y="310"/>
                  </a:lnTo>
                  <a:lnTo>
                    <a:pt x="433" y="21"/>
                  </a:lnTo>
                  <a:lnTo>
                    <a:pt x="433" y="21"/>
                  </a:lnTo>
                  <a:lnTo>
                    <a:pt x="425" y="16"/>
                  </a:lnTo>
                  <a:lnTo>
                    <a:pt x="415" y="11"/>
                  </a:lnTo>
                  <a:lnTo>
                    <a:pt x="405" y="7"/>
                  </a:lnTo>
                  <a:lnTo>
                    <a:pt x="396" y="5"/>
                  </a:lnTo>
                  <a:lnTo>
                    <a:pt x="385" y="2"/>
                  </a:lnTo>
                  <a:lnTo>
                    <a:pt x="373" y="1"/>
                  </a:lnTo>
                  <a:lnTo>
                    <a:pt x="360" y="0"/>
                  </a:lnTo>
                  <a:lnTo>
                    <a:pt x="347" y="0"/>
                  </a:lnTo>
                  <a:lnTo>
                    <a:pt x="347" y="0"/>
                  </a:lnTo>
                  <a:lnTo>
                    <a:pt x="328" y="1"/>
                  </a:lnTo>
                  <a:lnTo>
                    <a:pt x="308" y="3"/>
                  </a:lnTo>
                  <a:lnTo>
                    <a:pt x="286" y="6"/>
                  </a:lnTo>
                  <a:lnTo>
                    <a:pt x="265" y="11"/>
                  </a:lnTo>
                  <a:lnTo>
                    <a:pt x="243" y="18"/>
                  </a:lnTo>
                  <a:lnTo>
                    <a:pt x="221" y="25"/>
                  </a:lnTo>
                  <a:lnTo>
                    <a:pt x="199" y="34"/>
                  </a:lnTo>
                  <a:lnTo>
                    <a:pt x="177" y="45"/>
                  </a:lnTo>
                  <a:lnTo>
                    <a:pt x="154" y="56"/>
                  </a:lnTo>
                  <a:lnTo>
                    <a:pt x="131" y="68"/>
                  </a:lnTo>
                  <a:lnTo>
                    <a:pt x="109" y="82"/>
                  </a:lnTo>
                  <a:lnTo>
                    <a:pt x="86" y="97"/>
                  </a:lnTo>
                  <a:lnTo>
                    <a:pt x="64" y="113"/>
                  </a:lnTo>
                  <a:lnTo>
                    <a:pt x="42" y="130"/>
                  </a:lnTo>
                  <a:lnTo>
                    <a:pt x="21" y="148"/>
                  </a:lnTo>
                  <a:lnTo>
                    <a:pt x="0" y="166"/>
                  </a:lnTo>
                  <a:lnTo>
                    <a:pt x="0" y="1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06">
              <a:extLst>
                <a:ext uri="{FF2B5EF4-FFF2-40B4-BE49-F238E27FC236}">
                  <a16:creationId xmlns:a16="http://schemas.microsoft.com/office/drawing/2014/main" id="{14F4D0A7-E0A6-0F98-5EC8-565BC9807CDC}"/>
                </a:ext>
              </a:extLst>
            </p:cNvPr>
            <p:cNvSpPr>
              <a:spLocks/>
            </p:cNvSpPr>
            <p:nvPr/>
          </p:nvSpPr>
          <p:spPr bwMode="auto">
            <a:xfrm>
              <a:off x="2033588" y="344488"/>
              <a:ext cx="123825" cy="169863"/>
            </a:xfrm>
            <a:custGeom>
              <a:avLst/>
              <a:gdLst>
                <a:gd name="T0" fmla="*/ 16 w 311"/>
                <a:gd name="T1" fmla="*/ 248 h 431"/>
                <a:gd name="T2" fmla="*/ 16 w 311"/>
                <a:gd name="T3" fmla="*/ 248 h 431"/>
                <a:gd name="T4" fmla="*/ 8 w 311"/>
                <a:gd name="T5" fmla="*/ 276 h 431"/>
                <a:gd name="T6" fmla="*/ 3 w 311"/>
                <a:gd name="T7" fmla="*/ 303 h 431"/>
                <a:gd name="T8" fmla="*/ 0 w 311"/>
                <a:gd name="T9" fmla="*/ 328 h 431"/>
                <a:gd name="T10" fmla="*/ 0 w 311"/>
                <a:gd name="T11" fmla="*/ 352 h 431"/>
                <a:gd name="T12" fmla="*/ 2 w 311"/>
                <a:gd name="T13" fmla="*/ 375 h 431"/>
                <a:gd name="T14" fmla="*/ 3 w 311"/>
                <a:gd name="T15" fmla="*/ 385 h 431"/>
                <a:gd name="T16" fmla="*/ 6 w 311"/>
                <a:gd name="T17" fmla="*/ 395 h 431"/>
                <a:gd name="T18" fmla="*/ 9 w 311"/>
                <a:gd name="T19" fmla="*/ 405 h 431"/>
                <a:gd name="T20" fmla="*/ 12 w 311"/>
                <a:gd name="T21" fmla="*/ 413 h 431"/>
                <a:gd name="T22" fmla="*/ 17 w 311"/>
                <a:gd name="T23" fmla="*/ 422 h 431"/>
                <a:gd name="T24" fmla="*/ 22 w 311"/>
                <a:gd name="T25" fmla="*/ 431 h 431"/>
                <a:gd name="T26" fmla="*/ 311 w 311"/>
                <a:gd name="T27" fmla="*/ 141 h 431"/>
                <a:gd name="T28" fmla="*/ 169 w 311"/>
                <a:gd name="T29" fmla="*/ 0 h 431"/>
                <a:gd name="T30" fmla="*/ 169 w 311"/>
                <a:gd name="T31" fmla="*/ 0 h 431"/>
                <a:gd name="T32" fmla="*/ 144 w 311"/>
                <a:gd name="T33" fmla="*/ 29 h 431"/>
                <a:gd name="T34" fmla="*/ 119 w 311"/>
                <a:gd name="T35" fmla="*/ 59 h 431"/>
                <a:gd name="T36" fmla="*/ 95 w 311"/>
                <a:gd name="T37" fmla="*/ 89 h 431"/>
                <a:gd name="T38" fmla="*/ 75 w 311"/>
                <a:gd name="T39" fmla="*/ 121 h 431"/>
                <a:gd name="T40" fmla="*/ 56 w 311"/>
                <a:gd name="T41" fmla="*/ 152 h 431"/>
                <a:gd name="T42" fmla="*/ 40 w 311"/>
                <a:gd name="T43" fmla="*/ 184 h 431"/>
                <a:gd name="T44" fmla="*/ 26 w 311"/>
                <a:gd name="T45" fmla="*/ 217 h 431"/>
                <a:gd name="T46" fmla="*/ 16 w 311"/>
                <a:gd name="T47" fmla="*/ 248 h 431"/>
                <a:gd name="T48" fmla="*/ 16 w 311"/>
                <a:gd name="T49" fmla="*/ 24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1" h="431">
                  <a:moveTo>
                    <a:pt x="16" y="248"/>
                  </a:moveTo>
                  <a:lnTo>
                    <a:pt x="16" y="248"/>
                  </a:lnTo>
                  <a:lnTo>
                    <a:pt x="8" y="276"/>
                  </a:lnTo>
                  <a:lnTo>
                    <a:pt x="3" y="303"/>
                  </a:lnTo>
                  <a:lnTo>
                    <a:pt x="0" y="328"/>
                  </a:lnTo>
                  <a:lnTo>
                    <a:pt x="0" y="352"/>
                  </a:lnTo>
                  <a:lnTo>
                    <a:pt x="2" y="375"/>
                  </a:lnTo>
                  <a:lnTo>
                    <a:pt x="3" y="385"/>
                  </a:lnTo>
                  <a:lnTo>
                    <a:pt x="6" y="395"/>
                  </a:lnTo>
                  <a:lnTo>
                    <a:pt x="9" y="405"/>
                  </a:lnTo>
                  <a:lnTo>
                    <a:pt x="12" y="413"/>
                  </a:lnTo>
                  <a:lnTo>
                    <a:pt x="17" y="422"/>
                  </a:lnTo>
                  <a:lnTo>
                    <a:pt x="22" y="431"/>
                  </a:lnTo>
                  <a:lnTo>
                    <a:pt x="311" y="141"/>
                  </a:lnTo>
                  <a:lnTo>
                    <a:pt x="169" y="0"/>
                  </a:lnTo>
                  <a:lnTo>
                    <a:pt x="169" y="0"/>
                  </a:lnTo>
                  <a:lnTo>
                    <a:pt x="144" y="29"/>
                  </a:lnTo>
                  <a:lnTo>
                    <a:pt x="119" y="59"/>
                  </a:lnTo>
                  <a:lnTo>
                    <a:pt x="95" y="89"/>
                  </a:lnTo>
                  <a:lnTo>
                    <a:pt x="75" y="121"/>
                  </a:lnTo>
                  <a:lnTo>
                    <a:pt x="56" y="152"/>
                  </a:lnTo>
                  <a:lnTo>
                    <a:pt x="40" y="184"/>
                  </a:lnTo>
                  <a:lnTo>
                    <a:pt x="26" y="217"/>
                  </a:lnTo>
                  <a:lnTo>
                    <a:pt x="16" y="248"/>
                  </a:lnTo>
                  <a:lnTo>
                    <a:pt x="16" y="2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207">
              <a:extLst>
                <a:ext uri="{FF2B5EF4-FFF2-40B4-BE49-F238E27FC236}">
                  <a16:creationId xmlns:a16="http://schemas.microsoft.com/office/drawing/2014/main" id="{1FBBB734-4568-3E5A-DC3A-6061A8C6A357}"/>
                </a:ext>
              </a:extLst>
            </p:cNvPr>
            <p:cNvSpPr>
              <a:spLocks/>
            </p:cNvSpPr>
            <p:nvPr/>
          </p:nvSpPr>
          <p:spPr bwMode="auto">
            <a:xfrm>
              <a:off x="2249488" y="306388"/>
              <a:ext cx="98425" cy="214313"/>
            </a:xfrm>
            <a:custGeom>
              <a:avLst/>
              <a:gdLst>
                <a:gd name="T0" fmla="*/ 0 w 245"/>
                <a:gd name="T1" fmla="*/ 409 h 538"/>
                <a:gd name="T2" fmla="*/ 128 w 245"/>
                <a:gd name="T3" fmla="*/ 538 h 538"/>
                <a:gd name="T4" fmla="*/ 128 w 245"/>
                <a:gd name="T5" fmla="*/ 538 h 538"/>
                <a:gd name="T6" fmla="*/ 141 w 245"/>
                <a:gd name="T7" fmla="*/ 523 h 538"/>
                <a:gd name="T8" fmla="*/ 153 w 245"/>
                <a:gd name="T9" fmla="*/ 509 h 538"/>
                <a:gd name="T10" fmla="*/ 164 w 245"/>
                <a:gd name="T11" fmla="*/ 494 h 538"/>
                <a:gd name="T12" fmla="*/ 174 w 245"/>
                <a:gd name="T13" fmla="*/ 478 h 538"/>
                <a:gd name="T14" fmla="*/ 184 w 245"/>
                <a:gd name="T15" fmla="*/ 463 h 538"/>
                <a:gd name="T16" fmla="*/ 193 w 245"/>
                <a:gd name="T17" fmla="*/ 447 h 538"/>
                <a:gd name="T18" fmla="*/ 201 w 245"/>
                <a:gd name="T19" fmla="*/ 431 h 538"/>
                <a:gd name="T20" fmla="*/ 209 w 245"/>
                <a:gd name="T21" fmla="*/ 414 h 538"/>
                <a:gd name="T22" fmla="*/ 215 w 245"/>
                <a:gd name="T23" fmla="*/ 398 h 538"/>
                <a:gd name="T24" fmla="*/ 222 w 245"/>
                <a:gd name="T25" fmla="*/ 380 h 538"/>
                <a:gd name="T26" fmla="*/ 227 w 245"/>
                <a:gd name="T27" fmla="*/ 363 h 538"/>
                <a:gd name="T28" fmla="*/ 233 w 245"/>
                <a:gd name="T29" fmla="*/ 346 h 538"/>
                <a:gd name="T30" fmla="*/ 236 w 245"/>
                <a:gd name="T31" fmla="*/ 329 h 538"/>
                <a:gd name="T32" fmla="*/ 240 w 245"/>
                <a:gd name="T33" fmla="*/ 311 h 538"/>
                <a:gd name="T34" fmla="*/ 242 w 245"/>
                <a:gd name="T35" fmla="*/ 293 h 538"/>
                <a:gd name="T36" fmla="*/ 244 w 245"/>
                <a:gd name="T37" fmla="*/ 276 h 538"/>
                <a:gd name="T38" fmla="*/ 245 w 245"/>
                <a:gd name="T39" fmla="*/ 258 h 538"/>
                <a:gd name="T40" fmla="*/ 245 w 245"/>
                <a:gd name="T41" fmla="*/ 240 h 538"/>
                <a:gd name="T42" fmla="*/ 245 w 245"/>
                <a:gd name="T43" fmla="*/ 222 h 538"/>
                <a:gd name="T44" fmla="*/ 244 w 245"/>
                <a:gd name="T45" fmla="*/ 204 h 538"/>
                <a:gd name="T46" fmla="*/ 243 w 245"/>
                <a:gd name="T47" fmla="*/ 187 h 538"/>
                <a:gd name="T48" fmla="*/ 241 w 245"/>
                <a:gd name="T49" fmla="*/ 169 h 538"/>
                <a:gd name="T50" fmla="*/ 238 w 245"/>
                <a:gd name="T51" fmla="*/ 151 h 538"/>
                <a:gd name="T52" fmla="*/ 234 w 245"/>
                <a:gd name="T53" fmla="*/ 134 h 538"/>
                <a:gd name="T54" fmla="*/ 229 w 245"/>
                <a:gd name="T55" fmla="*/ 116 h 538"/>
                <a:gd name="T56" fmla="*/ 224 w 245"/>
                <a:gd name="T57" fmla="*/ 99 h 538"/>
                <a:gd name="T58" fmla="*/ 219 w 245"/>
                <a:gd name="T59" fmla="*/ 83 h 538"/>
                <a:gd name="T60" fmla="*/ 211 w 245"/>
                <a:gd name="T61" fmla="*/ 65 h 538"/>
                <a:gd name="T62" fmla="*/ 205 w 245"/>
                <a:gd name="T63" fmla="*/ 48 h 538"/>
                <a:gd name="T64" fmla="*/ 196 w 245"/>
                <a:gd name="T65" fmla="*/ 32 h 538"/>
                <a:gd name="T66" fmla="*/ 187 w 245"/>
                <a:gd name="T67" fmla="*/ 16 h 538"/>
                <a:gd name="T68" fmla="*/ 178 w 245"/>
                <a:gd name="T69" fmla="*/ 0 h 538"/>
                <a:gd name="T70" fmla="*/ 178 w 245"/>
                <a:gd name="T71" fmla="*/ 0 h 538"/>
                <a:gd name="T72" fmla="*/ 179 w 245"/>
                <a:gd name="T73" fmla="*/ 16 h 538"/>
                <a:gd name="T74" fmla="*/ 180 w 245"/>
                <a:gd name="T75" fmla="*/ 32 h 538"/>
                <a:gd name="T76" fmla="*/ 179 w 245"/>
                <a:gd name="T77" fmla="*/ 49 h 538"/>
                <a:gd name="T78" fmla="*/ 178 w 245"/>
                <a:gd name="T79" fmla="*/ 67 h 538"/>
                <a:gd name="T80" fmla="*/ 174 w 245"/>
                <a:gd name="T81" fmla="*/ 84 h 538"/>
                <a:gd name="T82" fmla="*/ 171 w 245"/>
                <a:gd name="T83" fmla="*/ 103 h 538"/>
                <a:gd name="T84" fmla="*/ 167 w 245"/>
                <a:gd name="T85" fmla="*/ 122 h 538"/>
                <a:gd name="T86" fmla="*/ 161 w 245"/>
                <a:gd name="T87" fmla="*/ 142 h 538"/>
                <a:gd name="T88" fmla="*/ 161 w 245"/>
                <a:gd name="T89" fmla="*/ 142 h 538"/>
                <a:gd name="T90" fmla="*/ 155 w 245"/>
                <a:gd name="T91" fmla="*/ 159 h 538"/>
                <a:gd name="T92" fmla="*/ 150 w 245"/>
                <a:gd name="T93" fmla="*/ 176 h 538"/>
                <a:gd name="T94" fmla="*/ 143 w 245"/>
                <a:gd name="T95" fmla="*/ 193 h 538"/>
                <a:gd name="T96" fmla="*/ 136 w 245"/>
                <a:gd name="T97" fmla="*/ 211 h 538"/>
                <a:gd name="T98" fmla="*/ 119 w 245"/>
                <a:gd name="T99" fmla="*/ 245 h 538"/>
                <a:gd name="T100" fmla="*/ 99 w 245"/>
                <a:gd name="T101" fmla="*/ 278 h 538"/>
                <a:gd name="T102" fmla="*/ 77 w 245"/>
                <a:gd name="T103" fmla="*/ 313 h 538"/>
                <a:gd name="T104" fmla="*/ 53 w 245"/>
                <a:gd name="T105" fmla="*/ 346 h 538"/>
                <a:gd name="T106" fmla="*/ 27 w 245"/>
                <a:gd name="T107" fmla="*/ 378 h 538"/>
                <a:gd name="T108" fmla="*/ 0 w 245"/>
                <a:gd name="T109" fmla="*/ 409 h 538"/>
                <a:gd name="T110" fmla="*/ 0 w 245"/>
                <a:gd name="T111" fmla="*/ 40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5" h="538">
                  <a:moveTo>
                    <a:pt x="0" y="409"/>
                  </a:moveTo>
                  <a:lnTo>
                    <a:pt x="128" y="538"/>
                  </a:lnTo>
                  <a:lnTo>
                    <a:pt x="128" y="538"/>
                  </a:lnTo>
                  <a:lnTo>
                    <a:pt x="141" y="523"/>
                  </a:lnTo>
                  <a:lnTo>
                    <a:pt x="153" y="509"/>
                  </a:lnTo>
                  <a:lnTo>
                    <a:pt x="164" y="494"/>
                  </a:lnTo>
                  <a:lnTo>
                    <a:pt x="174" y="478"/>
                  </a:lnTo>
                  <a:lnTo>
                    <a:pt x="184" y="463"/>
                  </a:lnTo>
                  <a:lnTo>
                    <a:pt x="193" y="447"/>
                  </a:lnTo>
                  <a:lnTo>
                    <a:pt x="201" y="431"/>
                  </a:lnTo>
                  <a:lnTo>
                    <a:pt x="209" y="414"/>
                  </a:lnTo>
                  <a:lnTo>
                    <a:pt x="215" y="398"/>
                  </a:lnTo>
                  <a:lnTo>
                    <a:pt x="222" y="380"/>
                  </a:lnTo>
                  <a:lnTo>
                    <a:pt x="227" y="363"/>
                  </a:lnTo>
                  <a:lnTo>
                    <a:pt x="233" y="346"/>
                  </a:lnTo>
                  <a:lnTo>
                    <a:pt x="236" y="329"/>
                  </a:lnTo>
                  <a:lnTo>
                    <a:pt x="240" y="311"/>
                  </a:lnTo>
                  <a:lnTo>
                    <a:pt x="242" y="293"/>
                  </a:lnTo>
                  <a:lnTo>
                    <a:pt x="244" y="276"/>
                  </a:lnTo>
                  <a:lnTo>
                    <a:pt x="245" y="258"/>
                  </a:lnTo>
                  <a:lnTo>
                    <a:pt x="245" y="240"/>
                  </a:lnTo>
                  <a:lnTo>
                    <a:pt x="245" y="222"/>
                  </a:lnTo>
                  <a:lnTo>
                    <a:pt x="244" y="204"/>
                  </a:lnTo>
                  <a:lnTo>
                    <a:pt x="243" y="187"/>
                  </a:lnTo>
                  <a:lnTo>
                    <a:pt x="241" y="169"/>
                  </a:lnTo>
                  <a:lnTo>
                    <a:pt x="238" y="151"/>
                  </a:lnTo>
                  <a:lnTo>
                    <a:pt x="234" y="134"/>
                  </a:lnTo>
                  <a:lnTo>
                    <a:pt x="229" y="116"/>
                  </a:lnTo>
                  <a:lnTo>
                    <a:pt x="224" y="99"/>
                  </a:lnTo>
                  <a:lnTo>
                    <a:pt x="219" y="83"/>
                  </a:lnTo>
                  <a:lnTo>
                    <a:pt x="211" y="65"/>
                  </a:lnTo>
                  <a:lnTo>
                    <a:pt x="205" y="48"/>
                  </a:lnTo>
                  <a:lnTo>
                    <a:pt x="196" y="32"/>
                  </a:lnTo>
                  <a:lnTo>
                    <a:pt x="187" y="16"/>
                  </a:lnTo>
                  <a:lnTo>
                    <a:pt x="178" y="0"/>
                  </a:lnTo>
                  <a:lnTo>
                    <a:pt x="178" y="0"/>
                  </a:lnTo>
                  <a:lnTo>
                    <a:pt x="179" y="16"/>
                  </a:lnTo>
                  <a:lnTo>
                    <a:pt x="180" y="32"/>
                  </a:lnTo>
                  <a:lnTo>
                    <a:pt x="179" y="49"/>
                  </a:lnTo>
                  <a:lnTo>
                    <a:pt x="178" y="67"/>
                  </a:lnTo>
                  <a:lnTo>
                    <a:pt x="174" y="84"/>
                  </a:lnTo>
                  <a:lnTo>
                    <a:pt x="171" y="103"/>
                  </a:lnTo>
                  <a:lnTo>
                    <a:pt x="167" y="122"/>
                  </a:lnTo>
                  <a:lnTo>
                    <a:pt x="161" y="142"/>
                  </a:lnTo>
                  <a:lnTo>
                    <a:pt x="161" y="142"/>
                  </a:lnTo>
                  <a:lnTo>
                    <a:pt x="155" y="159"/>
                  </a:lnTo>
                  <a:lnTo>
                    <a:pt x="150" y="176"/>
                  </a:lnTo>
                  <a:lnTo>
                    <a:pt x="143" y="193"/>
                  </a:lnTo>
                  <a:lnTo>
                    <a:pt x="136" y="211"/>
                  </a:lnTo>
                  <a:lnTo>
                    <a:pt x="119" y="245"/>
                  </a:lnTo>
                  <a:lnTo>
                    <a:pt x="99" y="278"/>
                  </a:lnTo>
                  <a:lnTo>
                    <a:pt x="77" y="313"/>
                  </a:lnTo>
                  <a:lnTo>
                    <a:pt x="53" y="346"/>
                  </a:lnTo>
                  <a:lnTo>
                    <a:pt x="27" y="378"/>
                  </a:lnTo>
                  <a:lnTo>
                    <a:pt x="0" y="409"/>
                  </a:lnTo>
                  <a:lnTo>
                    <a:pt x="0" y="4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208">
              <a:extLst>
                <a:ext uri="{FF2B5EF4-FFF2-40B4-BE49-F238E27FC236}">
                  <a16:creationId xmlns:a16="http://schemas.microsoft.com/office/drawing/2014/main" id="{2CD4C966-EA93-7A95-A05A-3904950C79C9}"/>
                </a:ext>
              </a:extLst>
            </p:cNvPr>
            <p:cNvSpPr>
              <a:spLocks/>
            </p:cNvSpPr>
            <p:nvPr/>
          </p:nvSpPr>
          <p:spPr bwMode="auto">
            <a:xfrm>
              <a:off x="2054225" y="412750"/>
              <a:ext cx="171450" cy="122238"/>
            </a:xfrm>
            <a:custGeom>
              <a:avLst/>
              <a:gdLst>
                <a:gd name="T0" fmla="*/ 432 w 432"/>
                <a:gd name="T1" fmla="*/ 143 h 310"/>
                <a:gd name="T2" fmla="*/ 289 w 432"/>
                <a:gd name="T3" fmla="*/ 0 h 310"/>
                <a:gd name="T4" fmla="*/ 0 w 432"/>
                <a:gd name="T5" fmla="*/ 290 h 310"/>
                <a:gd name="T6" fmla="*/ 0 w 432"/>
                <a:gd name="T7" fmla="*/ 290 h 310"/>
                <a:gd name="T8" fmla="*/ 8 w 432"/>
                <a:gd name="T9" fmla="*/ 294 h 310"/>
                <a:gd name="T10" fmla="*/ 17 w 432"/>
                <a:gd name="T11" fmla="*/ 299 h 310"/>
                <a:gd name="T12" fmla="*/ 27 w 432"/>
                <a:gd name="T13" fmla="*/ 303 h 310"/>
                <a:gd name="T14" fmla="*/ 37 w 432"/>
                <a:gd name="T15" fmla="*/ 306 h 310"/>
                <a:gd name="T16" fmla="*/ 47 w 432"/>
                <a:gd name="T17" fmla="*/ 308 h 310"/>
                <a:gd name="T18" fmla="*/ 59 w 432"/>
                <a:gd name="T19" fmla="*/ 309 h 310"/>
                <a:gd name="T20" fmla="*/ 72 w 432"/>
                <a:gd name="T21" fmla="*/ 310 h 310"/>
                <a:gd name="T22" fmla="*/ 85 w 432"/>
                <a:gd name="T23" fmla="*/ 310 h 310"/>
                <a:gd name="T24" fmla="*/ 85 w 432"/>
                <a:gd name="T25" fmla="*/ 310 h 310"/>
                <a:gd name="T26" fmla="*/ 106 w 432"/>
                <a:gd name="T27" fmla="*/ 310 h 310"/>
                <a:gd name="T28" fmla="*/ 125 w 432"/>
                <a:gd name="T29" fmla="*/ 308 h 310"/>
                <a:gd name="T30" fmla="*/ 146 w 432"/>
                <a:gd name="T31" fmla="*/ 304 h 310"/>
                <a:gd name="T32" fmla="*/ 168 w 432"/>
                <a:gd name="T33" fmla="*/ 299 h 310"/>
                <a:gd name="T34" fmla="*/ 189 w 432"/>
                <a:gd name="T35" fmla="*/ 293 h 310"/>
                <a:gd name="T36" fmla="*/ 212 w 432"/>
                <a:gd name="T37" fmla="*/ 284 h 310"/>
                <a:gd name="T38" fmla="*/ 233 w 432"/>
                <a:gd name="T39" fmla="*/ 276 h 310"/>
                <a:gd name="T40" fmla="*/ 256 w 432"/>
                <a:gd name="T41" fmla="*/ 266 h 310"/>
                <a:gd name="T42" fmla="*/ 279 w 432"/>
                <a:gd name="T43" fmla="*/ 254 h 310"/>
                <a:gd name="T44" fmla="*/ 302 w 432"/>
                <a:gd name="T45" fmla="*/ 241 h 310"/>
                <a:gd name="T46" fmla="*/ 324 w 432"/>
                <a:gd name="T47" fmla="*/ 227 h 310"/>
                <a:gd name="T48" fmla="*/ 346 w 432"/>
                <a:gd name="T49" fmla="*/ 213 h 310"/>
                <a:gd name="T50" fmla="*/ 369 w 432"/>
                <a:gd name="T51" fmla="*/ 197 h 310"/>
                <a:gd name="T52" fmla="*/ 390 w 432"/>
                <a:gd name="T53" fmla="*/ 180 h 310"/>
                <a:gd name="T54" fmla="*/ 412 w 432"/>
                <a:gd name="T55" fmla="*/ 163 h 310"/>
                <a:gd name="T56" fmla="*/ 432 w 432"/>
                <a:gd name="T57" fmla="*/ 143 h 310"/>
                <a:gd name="T58" fmla="*/ 432 w 432"/>
                <a:gd name="T59" fmla="*/ 14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2" h="310">
                  <a:moveTo>
                    <a:pt x="432" y="143"/>
                  </a:moveTo>
                  <a:lnTo>
                    <a:pt x="289" y="0"/>
                  </a:lnTo>
                  <a:lnTo>
                    <a:pt x="0" y="290"/>
                  </a:lnTo>
                  <a:lnTo>
                    <a:pt x="0" y="290"/>
                  </a:lnTo>
                  <a:lnTo>
                    <a:pt x="8" y="294"/>
                  </a:lnTo>
                  <a:lnTo>
                    <a:pt x="17" y="299"/>
                  </a:lnTo>
                  <a:lnTo>
                    <a:pt x="27" y="303"/>
                  </a:lnTo>
                  <a:lnTo>
                    <a:pt x="37" y="306"/>
                  </a:lnTo>
                  <a:lnTo>
                    <a:pt x="47" y="308"/>
                  </a:lnTo>
                  <a:lnTo>
                    <a:pt x="59" y="309"/>
                  </a:lnTo>
                  <a:lnTo>
                    <a:pt x="72" y="310"/>
                  </a:lnTo>
                  <a:lnTo>
                    <a:pt x="85" y="310"/>
                  </a:lnTo>
                  <a:lnTo>
                    <a:pt x="85" y="310"/>
                  </a:lnTo>
                  <a:lnTo>
                    <a:pt x="106" y="310"/>
                  </a:lnTo>
                  <a:lnTo>
                    <a:pt x="125" y="308"/>
                  </a:lnTo>
                  <a:lnTo>
                    <a:pt x="146" y="304"/>
                  </a:lnTo>
                  <a:lnTo>
                    <a:pt x="168" y="299"/>
                  </a:lnTo>
                  <a:lnTo>
                    <a:pt x="189" y="293"/>
                  </a:lnTo>
                  <a:lnTo>
                    <a:pt x="212" y="284"/>
                  </a:lnTo>
                  <a:lnTo>
                    <a:pt x="233" y="276"/>
                  </a:lnTo>
                  <a:lnTo>
                    <a:pt x="256" y="266"/>
                  </a:lnTo>
                  <a:lnTo>
                    <a:pt x="279" y="254"/>
                  </a:lnTo>
                  <a:lnTo>
                    <a:pt x="302" y="241"/>
                  </a:lnTo>
                  <a:lnTo>
                    <a:pt x="324" y="227"/>
                  </a:lnTo>
                  <a:lnTo>
                    <a:pt x="346" y="213"/>
                  </a:lnTo>
                  <a:lnTo>
                    <a:pt x="369" y="197"/>
                  </a:lnTo>
                  <a:lnTo>
                    <a:pt x="390" y="180"/>
                  </a:lnTo>
                  <a:lnTo>
                    <a:pt x="412" y="163"/>
                  </a:lnTo>
                  <a:lnTo>
                    <a:pt x="432" y="143"/>
                  </a:lnTo>
                  <a:lnTo>
                    <a:pt x="432" y="1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209">
              <a:extLst>
                <a:ext uri="{FF2B5EF4-FFF2-40B4-BE49-F238E27FC236}">
                  <a16:creationId xmlns:a16="http://schemas.microsoft.com/office/drawing/2014/main" id="{EC8E66A1-44D8-461C-B305-F24B8D261352}"/>
                </a:ext>
              </a:extLst>
            </p:cNvPr>
            <p:cNvSpPr>
              <a:spLocks/>
            </p:cNvSpPr>
            <p:nvPr/>
          </p:nvSpPr>
          <p:spPr bwMode="auto">
            <a:xfrm>
              <a:off x="1990725" y="280988"/>
              <a:ext cx="98425" cy="212725"/>
            </a:xfrm>
            <a:custGeom>
              <a:avLst/>
              <a:gdLst>
                <a:gd name="T0" fmla="*/ 83 w 245"/>
                <a:gd name="T1" fmla="*/ 396 h 538"/>
                <a:gd name="T2" fmla="*/ 83 w 245"/>
                <a:gd name="T3" fmla="*/ 396 h 538"/>
                <a:gd name="T4" fmla="*/ 88 w 245"/>
                <a:gd name="T5" fmla="*/ 380 h 538"/>
                <a:gd name="T6" fmla="*/ 95 w 245"/>
                <a:gd name="T7" fmla="*/ 363 h 538"/>
                <a:gd name="T8" fmla="*/ 110 w 245"/>
                <a:gd name="T9" fmla="*/ 328 h 538"/>
                <a:gd name="T10" fmla="*/ 127 w 245"/>
                <a:gd name="T11" fmla="*/ 294 h 538"/>
                <a:gd name="T12" fmla="*/ 146 w 245"/>
                <a:gd name="T13" fmla="*/ 259 h 538"/>
                <a:gd name="T14" fmla="*/ 169 w 245"/>
                <a:gd name="T15" fmla="*/ 225 h 538"/>
                <a:gd name="T16" fmla="*/ 192 w 245"/>
                <a:gd name="T17" fmla="*/ 192 h 538"/>
                <a:gd name="T18" fmla="*/ 218 w 245"/>
                <a:gd name="T19" fmla="*/ 159 h 538"/>
                <a:gd name="T20" fmla="*/ 245 w 245"/>
                <a:gd name="T21" fmla="*/ 128 h 538"/>
                <a:gd name="T22" fmla="*/ 117 w 245"/>
                <a:gd name="T23" fmla="*/ 0 h 538"/>
                <a:gd name="T24" fmla="*/ 117 w 245"/>
                <a:gd name="T25" fmla="*/ 0 h 538"/>
                <a:gd name="T26" fmla="*/ 104 w 245"/>
                <a:gd name="T27" fmla="*/ 14 h 538"/>
                <a:gd name="T28" fmla="*/ 92 w 245"/>
                <a:gd name="T29" fmla="*/ 29 h 538"/>
                <a:gd name="T30" fmla="*/ 82 w 245"/>
                <a:gd name="T31" fmla="*/ 44 h 538"/>
                <a:gd name="T32" fmla="*/ 71 w 245"/>
                <a:gd name="T33" fmla="*/ 59 h 538"/>
                <a:gd name="T34" fmla="*/ 61 w 245"/>
                <a:gd name="T35" fmla="*/ 75 h 538"/>
                <a:gd name="T36" fmla="*/ 53 w 245"/>
                <a:gd name="T37" fmla="*/ 91 h 538"/>
                <a:gd name="T38" fmla="*/ 44 w 245"/>
                <a:gd name="T39" fmla="*/ 107 h 538"/>
                <a:gd name="T40" fmla="*/ 37 w 245"/>
                <a:gd name="T41" fmla="*/ 124 h 538"/>
                <a:gd name="T42" fmla="*/ 30 w 245"/>
                <a:gd name="T43" fmla="*/ 140 h 538"/>
                <a:gd name="T44" fmla="*/ 24 w 245"/>
                <a:gd name="T45" fmla="*/ 157 h 538"/>
                <a:gd name="T46" fmla="*/ 18 w 245"/>
                <a:gd name="T47" fmla="*/ 174 h 538"/>
                <a:gd name="T48" fmla="*/ 13 w 245"/>
                <a:gd name="T49" fmla="*/ 192 h 538"/>
                <a:gd name="T50" fmla="*/ 10 w 245"/>
                <a:gd name="T51" fmla="*/ 210 h 538"/>
                <a:gd name="T52" fmla="*/ 6 w 245"/>
                <a:gd name="T53" fmla="*/ 227 h 538"/>
                <a:gd name="T54" fmla="*/ 3 w 245"/>
                <a:gd name="T55" fmla="*/ 244 h 538"/>
                <a:gd name="T56" fmla="*/ 1 w 245"/>
                <a:gd name="T57" fmla="*/ 263 h 538"/>
                <a:gd name="T58" fmla="*/ 0 w 245"/>
                <a:gd name="T59" fmla="*/ 280 h 538"/>
                <a:gd name="T60" fmla="*/ 0 w 245"/>
                <a:gd name="T61" fmla="*/ 298 h 538"/>
                <a:gd name="T62" fmla="*/ 0 w 245"/>
                <a:gd name="T63" fmla="*/ 315 h 538"/>
                <a:gd name="T64" fmla="*/ 1 w 245"/>
                <a:gd name="T65" fmla="*/ 334 h 538"/>
                <a:gd name="T66" fmla="*/ 2 w 245"/>
                <a:gd name="T67" fmla="*/ 352 h 538"/>
                <a:gd name="T68" fmla="*/ 5 w 245"/>
                <a:gd name="T69" fmla="*/ 369 h 538"/>
                <a:gd name="T70" fmla="*/ 8 w 245"/>
                <a:gd name="T71" fmla="*/ 386 h 538"/>
                <a:gd name="T72" fmla="*/ 12 w 245"/>
                <a:gd name="T73" fmla="*/ 405 h 538"/>
                <a:gd name="T74" fmla="*/ 16 w 245"/>
                <a:gd name="T75" fmla="*/ 422 h 538"/>
                <a:gd name="T76" fmla="*/ 22 w 245"/>
                <a:gd name="T77" fmla="*/ 439 h 538"/>
                <a:gd name="T78" fmla="*/ 27 w 245"/>
                <a:gd name="T79" fmla="*/ 456 h 538"/>
                <a:gd name="T80" fmla="*/ 34 w 245"/>
                <a:gd name="T81" fmla="*/ 472 h 538"/>
                <a:gd name="T82" fmla="*/ 41 w 245"/>
                <a:gd name="T83" fmla="*/ 489 h 538"/>
                <a:gd name="T84" fmla="*/ 49 w 245"/>
                <a:gd name="T85" fmla="*/ 506 h 538"/>
                <a:gd name="T86" fmla="*/ 58 w 245"/>
                <a:gd name="T87" fmla="*/ 522 h 538"/>
                <a:gd name="T88" fmla="*/ 68 w 245"/>
                <a:gd name="T89" fmla="*/ 538 h 538"/>
                <a:gd name="T90" fmla="*/ 68 w 245"/>
                <a:gd name="T91" fmla="*/ 538 h 538"/>
                <a:gd name="T92" fmla="*/ 66 w 245"/>
                <a:gd name="T93" fmla="*/ 522 h 538"/>
                <a:gd name="T94" fmla="*/ 65 w 245"/>
                <a:gd name="T95" fmla="*/ 506 h 538"/>
                <a:gd name="T96" fmla="*/ 66 w 245"/>
                <a:gd name="T97" fmla="*/ 489 h 538"/>
                <a:gd name="T98" fmla="*/ 67 w 245"/>
                <a:gd name="T99" fmla="*/ 472 h 538"/>
                <a:gd name="T100" fmla="*/ 69 w 245"/>
                <a:gd name="T101" fmla="*/ 454 h 538"/>
                <a:gd name="T102" fmla="*/ 72 w 245"/>
                <a:gd name="T103" fmla="*/ 436 h 538"/>
                <a:gd name="T104" fmla="*/ 76 w 245"/>
                <a:gd name="T105" fmla="*/ 416 h 538"/>
                <a:gd name="T106" fmla="*/ 83 w 245"/>
                <a:gd name="T107" fmla="*/ 396 h 538"/>
                <a:gd name="T108" fmla="*/ 83 w 245"/>
                <a:gd name="T109" fmla="*/ 39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5" h="538">
                  <a:moveTo>
                    <a:pt x="83" y="396"/>
                  </a:moveTo>
                  <a:lnTo>
                    <a:pt x="83" y="396"/>
                  </a:lnTo>
                  <a:lnTo>
                    <a:pt x="88" y="380"/>
                  </a:lnTo>
                  <a:lnTo>
                    <a:pt x="95" y="363"/>
                  </a:lnTo>
                  <a:lnTo>
                    <a:pt x="110" y="328"/>
                  </a:lnTo>
                  <a:lnTo>
                    <a:pt x="127" y="294"/>
                  </a:lnTo>
                  <a:lnTo>
                    <a:pt x="146" y="259"/>
                  </a:lnTo>
                  <a:lnTo>
                    <a:pt x="169" y="225"/>
                  </a:lnTo>
                  <a:lnTo>
                    <a:pt x="192" y="192"/>
                  </a:lnTo>
                  <a:lnTo>
                    <a:pt x="218" y="159"/>
                  </a:lnTo>
                  <a:lnTo>
                    <a:pt x="245" y="128"/>
                  </a:lnTo>
                  <a:lnTo>
                    <a:pt x="117" y="0"/>
                  </a:lnTo>
                  <a:lnTo>
                    <a:pt x="117" y="0"/>
                  </a:lnTo>
                  <a:lnTo>
                    <a:pt x="104" y="14"/>
                  </a:lnTo>
                  <a:lnTo>
                    <a:pt x="92" y="29"/>
                  </a:lnTo>
                  <a:lnTo>
                    <a:pt x="82" y="44"/>
                  </a:lnTo>
                  <a:lnTo>
                    <a:pt x="71" y="59"/>
                  </a:lnTo>
                  <a:lnTo>
                    <a:pt x="61" y="75"/>
                  </a:lnTo>
                  <a:lnTo>
                    <a:pt x="53" y="91"/>
                  </a:lnTo>
                  <a:lnTo>
                    <a:pt x="44" y="107"/>
                  </a:lnTo>
                  <a:lnTo>
                    <a:pt x="37" y="124"/>
                  </a:lnTo>
                  <a:lnTo>
                    <a:pt x="30" y="140"/>
                  </a:lnTo>
                  <a:lnTo>
                    <a:pt x="24" y="157"/>
                  </a:lnTo>
                  <a:lnTo>
                    <a:pt x="18" y="174"/>
                  </a:lnTo>
                  <a:lnTo>
                    <a:pt x="13" y="192"/>
                  </a:lnTo>
                  <a:lnTo>
                    <a:pt x="10" y="210"/>
                  </a:lnTo>
                  <a:lnTo>
                    <a:pt x="6" y="227"/>
                  </a:lnTo>
                  <a:lnTo>
                    <a:pt x="3" y="244"/>
                  </a:lnTo>
                  <a:lnTo>
                    <a:pt x="1" y="263"/>
                  </a:lnTo>
                  <a:lnTo>
                    <a:pt x="0" y="280"/>
                  </a:lnTo>
                  <a:lnTo>
                    <a:pt x="0" y="298"/>
                  </a:lnTo>
                  <a:lnTo>
                    <a:pt x="0" y="315"/>
                  </a:lnTo>
                  <a:lnTo>
                    <a:pt x="1" y="334"/>
                  </a:lnTo>
                  <a:lnTo>
                    <a:pt x="2" y="352"/>
                  </a:lnTo>
                  <a:lnTo>
                    <a:pt x="5" y="369"/>
                  </a:lnTo>
                  <a:lnTo>
                    <a:pt x="8" y="386"/>
                  </a:lnTo>
                  <a:lnTo>
                    <a:pt x="12" y="405"/>
                  </a:lnTo>
                  <a:lnTo>
                    <a:pt x="16" y="422"/>
                  </a:lnTo>
                  <a:lnTo>
                    <a:pt x="22" y="439"/>
                  </a:lnTo>
                  <a:lnTo>
                    <a:pt x="27" y="456"/>
                  </a:lnTo>
                  <a:lnTo>
                    <a:pt x="34" y="472"/>
                  </a:lnTo>
                  <a:lnTo>
                    <a:pt x="41" y="489"/>
                  </a:lnTo>
                  <a:lnTo>
                    <a:pt x="49" y="506"/>
                  </a:lnTo>
                  <a:lnTo>
                    <a:pt x="58" y="522"/>
                  </a:lnTo>
                  <a:lnTo>
                    <a:pt x="68" y="538"/>
                  </a:lnTo>
                  <a:lnTo>
                    <a:pt x="68" y="538"/>
                  </a:lnTo>
                  <a:lnTo>
                    <a:pt x="66" y="522"/>
                  </a:lnTo>
                  <a:lnTo>
                    <a:pt x="65" y="506"/>
                  </a:lnTo>
                  <a:lnTo>
                    <a:pt x="66" y="489"/>
                  </a:lnTo>
                  <a:lnTo>
                    <a:pt x="67" y="472"/>
                  </a:lnTo>
                  <a:lnTo>
                    <a:pt x="69" y="454"/>
                  </a:lnTo>
                  <a:lnTo>
                    <a:pt x="72" y="436"/>
                  </a:lnTo>
                  <a:lnTo>
                    <a:pt x="76" y="416"/>
                  </a:lnTo>
                  <a:lnTo>
                    <a:pt x="83" y="396"/>
                  </a:lnTo>
                  <a:lnTo>
                    <a:pt x="83" y="3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210">
              <a:extLst>
                <a:ext uri="{FF2B5EF4-FFF2-40B4-BE49-F238E27FC236}">
                  <a16:creationId xmlns:a16="http://schemas.microsoft.com/office/drawing/2014/main" id="{7C536E35-BD00-F218-61A5-50109A9A429E}"/>
                </a:ext>
              </a:extLst>
            </p:cNvPr>
            <p:cNvSpPr>
              <a:spLocks/>
            </p:cNvSpPr>
            <p:nvPr/>
          </p:nvSpPr>
          <p:spPr bwMode="auto">
            <a:xfrm>
              <a:off x="2181225" y="284163"/>
              <a:ext cx="122238" cy="171450"/>
            </a:xfrm>
            <a:custGeom>
              <a:avLst/>
              <a:gdLst>
                <a:gd name="T0" fmla="*/ 0 w 310"/>
                <a:gd name="T1" fmla="*/ 291 h 432"/>
                <a:gd name="T2" fmla="*/ 142 w 310"/>
                <a:gd name="T3" fmla="*/ 432 h 432"/>
                <a:gd name="T4" fmla="*/ 142 w 310"/>
                <a:gd name="T5" fmla="*/ 432 h 432"/>
                <a:gd name="T6" fmla="*/ 168 w 310"/>
                <a:gd name="T7" fmla="*/ 403 h 432"/>
                <a:gd name="T8" fmla="*/ 192 w 310"/>
                <a:gd name="T9" fmla="*/ 374 h 432"/>
                <a:gd name="T10" fmla="*/ 214 w 310"/>
                <a:gd name="T11" fmla="*/ 343 h 432"/>
                <a:gd name="T12" fmla="*/ 235 w 310"/>
                <a:gd name="T13" fmla="*/ 311 h 432"/>
                <a:gd name="T14" fmla="*/ 253 w 310"/>
                <a:gd name="T15" fmla="*/ 278 h 432"/>
                <a:gd name="T16" fmla="*/ 269 w 310"/>
                <a:gd name="T17" fmla="*/ 246 h 432"/>
                <a:gd name="T18" fmla="*/ 283 w 310"/>
                <a:gd name="T19" fmla="*/ 214 h 432"/>
                <a:gd name="T20" fmla="*/ 294 w 310"/>
                <a:gd name="T21" fmla="*/ 182 h 432"/>
                <a:gd name="T22" fmla="*/ 294 w 310"/>
                <a:gd name="T23" fmla="*/ 182 h 432"/>
                <a:gd name="T24" fmla="*/ 302 w 310"/>
                <a:gd name="T25" fmla="*/ 154 h 432"/>
                <a:gd name="T26" fmla="*/ 307 w 310"/>
                <a:gd name="T27" fmla="*/ 127 h 432"/>
                <a:gd name="T28" fmla="*/ 310 w 310"/>
                <a:gd name="T29" fmla="*/ 102 h 432"/>
                <a:gd name="T30" fmla="*/ 310 w 310"/>
                <a:gd name="T31" fmla="*/ 77 h 432"/>
                <a:gd name="T32" fmla="*/ 308 w 310"/>
                <a:gd name="T33" fmla="*/ 56 h 432"/>
                <a:gd name="T34" fmla="*/ 307 w 310"/>
                <a:gd name="T35" fmla="*/ 45 h 432"/>
                <a:gd name="T36" fmla="*/ 303 w 310"/>
                <a:gd name="T37" fmla="*/ 34 h 432"/>
                <a:gd name="T38" fmla="*/ 300 w 310"/>
                <a:gd name="T39" fmla="*/ 25 h 432"/>
                <a:gd name="T40" fmla="*/ 297 w 310"/>
                <a:gd name="T41" fmla="*/ 16 h 432"/>
                <a:gd name="T42" fmla="*/ 293 w 310"/>
                <a:gd name="T43" fmla="*/ 8 h 432"/>
                <a:gd name="T44" fmla="*/ 287 w 310"/>
                <a:gd name="T45" fmla="*/ 0 h 432"/>
                <a:gd name="T46" fmla="*/ 0 w 310"/>
                <a:gd name="T47" fmla="*/ 29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0" h="432">
                  <a:moveTo>
                    <a:pt x="0" y="291"/>
                  </a:moveTo>
                  <a:lnTo>
                    <a:pt x="142" y="432"/>
                  </a:lnTo>
                  <a:lnTo>
                    <a:pt x="142" y="432"/>
                  </a:lnTo>
                  <a:lnTo>
                    <a:pt x="168" y="403"/>
                  </a:lnTo>
                  <a:lnTo>
                    <a:pt x="192" y="374"/>
                  </a:lnTo>
                  <a:lnTo>
                    <a:pt x="214" y="343"/>
                  </a:lnTo>
                  <a:lnTo>
                    <a:pt x="235" y="311"/>
                  </a:lnTo>
                  <a:lnTo>
                    <a:pt x="253" y="278"/>
                  </a:lnTo>
                  <a:lnTo>
                    <a:pt x="269" y="246"/>
                  </a:lnTo>
                  <a:lnTo>
                    <a:pt x="283" y="214"/>
                  </a:lnTo>
                  <a:lnTo>
                    <a:pt x="294" y="182"/>
                  </a:lnTo>
                  <a:lnTo>
                    <a:pt x="294" y="182"/>
                  </a:lnTo>
                  <a:lnTo>
                    <a:pt x="302" y="154"/>
                  </a:lnTo>
                  <a:lnTo>
                    <a:pt x="307" y="127"/>
                  </a:lnTo>
                  <a:lnTo>
                    <a:pt x="310" y="102"/>
                  </a:lnTo>
                  <a:lnTo>
                    <a:pt x="310" y="77"/>
                  </a:lnTo>
                  <a:lnTo>
                    <a:pt x="308" y="56"/>
                  </a:lnTo>
                  <a:lnTo>
                    <a:pt x="307" y="45"/>
                  </a:lnTo>
                  <a:lnTo>
                    <a:pt x="303" y="34"/>
                  </a:lnTo>
                  <a:lnTo>
                    <a:pt x="300" y="25"/>
                  </a:lnTo>
                  <a:lnTo>
                    <a:pt x="297" y="16"/>
                  </a:lnTo>
                  <a:lnTo>
                    <a:pt x="293" y="8"/>
                  </a:lnTo>
                  <a:lnTo>
                    <a:pt x="287" y="0"/>
                  </a:lnTo>
                  <a:lnTo>
                    <a:pt x="0" y="2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211">
              <a:extLst>
                <a:ext uri="{FF2B5EF4-FFF2-40B4-BE49-F238E27FC236}">
                  <a16:creationId xmlns:a16="http://schemas.microsoft.com/office/drawing/2014/main" id="{035D51A0-0A52-53C4-86FF-2A5D1D2251F3}"/>
                </a:ext>
              </a:extLst>
            </p:cNvPr>
            <p:cNvSpPr>
              <a:spLocks/>
            </p:cNvSpPr>
            <p:nvPr/>
          </p:nvSpPr>
          <p:spPr bwMode="auto">
            <a:xfrm>
              <a:off x="2049463" y="220663"/>
              <a:ext cx="212725" cy="98425"/>
            </a:xfrm>
            <a:custGeom>
              <a:avLst/>
              <a:gdLst>
                <a:gd name="T0" fmla="*/ 505 w 538"/>
                <a:gd name="T1" fmla="*/ 67 h 246"/>
                <a:gd name="T2" fmla="*/ 505 w 538"/>
                <a:gd name="T3" fmla="*/ 67 h 246"/>
                <a:gd name="T4" fmla="*/ 522 w 538"/>
                <a:gd name="T5" fmla="*/ 67 h 246"/>
                <a:gd name="T6" fmla="*/ 529 w 538"/>
                <a:gd name="T7" fmla="*/ 68 h 246"/>
                <a:gd name="T8" fmla="*/ 538 w 538"/>
                <a:gd name="T9" fmla="*/ 69 h 246"/>
                <a:gd name="T10" fmla="*/ 538 w 538"/>
                <a:gd name="T11" fmla="*/ 69 h 246"/>
                <a:gd name="T12" fmla="*/ 511 w 538"/>
                <a:gd name="T13" fmla="*/ 53 h 246"/>
                <a:gd name="T14" fmla="*/ 484 w 538"/>
                <a:gd name="T15" fmla="*/ 39 h 246"/>
                <a:gd name="T16" fmla="*/ 455 w 538"/>
                <a:gd name="T17" fmla="*/ 27 h 246"/>
                <a:gd name="T18" fmla="*/ 426 w 538"/>
                <a:gd name="T19" fmla="*/ 17 h 246"/>
                <a:gd name="T20" fmla="*/ 396 w 538"/>
                <a:gd name="T21" fmla="*/ 10 h 246"/>
                <a:gd name="T22" fmla="*/ 365 w 538"/>
                <a:gd name="T23" fmla="*/ 4 h 246"/>
                <a:gd name="T24" fmla="*/ 333 w 538"/>
                <a:gd name="T25" fmla="*/ 1 h 246"/>
                <a:gd name="T26" fmla="*/ 302 w 538"/>
                <a:gd name="T27" fmla="*/ 0 h 246"/>
                <a:gd name="T28" fmla="*/ 302 w 538"/>
                <a:gd name="T29" fmla="*/ 0 h 246"/>
                <a:gd name="T30" fmla="*/ 281 w 538"/>
                <a:gd name="T31" fmla="*/ 1 h 246"/>
                <a:gd name="T32" fmla="*/ 259 w 538"/>
                <a:gd name="T33" fmla="*/ 2 h 246"/>
                <a:gd name="T34" fmla="*/ 239 w 538"/>
                <a:gd name="T35" fmla="*/ 4 h 246"/>
                <a:gd name="T36" fmla="*/ 218 w 538"/>
                <a:gd name="T37" fmla="*/ 9 h 246"/>
                <a:gd name="T38" fmla="*/ 198 w 538"/>
                <a:gd name="T39" fmla="*/ 13 h 246"/>
                <a:gd name="T40" fmla="*/ 179 w 538"/>
                <a:gd name="T41" fmla="*/ 18 h 246"/>
                <a:gd name="T42" fmla="*/ 159 w 538"/>
                <a:gd name="T43" fmla="*/ 24 h 246"/>
                <a:gd name="T44" fmla="*/ 140 w 538"/>
                <a:gd name="T45" fmla="*/ 31 h 246"/>
                <a:gd name="T46" fmla="*/ 121 w 538"/>
                <a:gd name="T47" fmla="*/ 39 h 246"/>
                <a:gd name="T48" fmla="*/ 102 w 538"/>
                <a:gd name="T49" fmla="*/ 48 h 246"/>
                <a:gd name="T50" fmla="*/ 84 w 538"/>
                <a:gd name="T51" fmla="*/ 58 h 246"/>
                <a:gd name="T52" fmla="*/ 66 w 538"/>
                <a:gd name="T53" fmla="*/ 68 h 246"/>
                <a:gd name="T54" fmla="*/ 49 w 538"/>
                <a:gd name="T55" fmla="*/ 80 h 246"/>
                <a:gd name="T56" fmla="*/ 33 w 538"/>
                <a:gd name="T57" fmla="*/ 91 h 246"/>
                <a:gd name="T58" fmla="*/ 15 w 538"/>
                <a:gd name="T59" fmla="*/ 104 h 246"/>
                <a:gd name="T60" fmla="*/ 0 w 538"/>
                <a:gd name="T61" fmla="*/ 118 h 246"/>
                <a:gd name="T62" fmla="*/ 128 w 538"/>
                <a:gd name="T63" fmla="*/ 246 h 246"/>
                <a:gd name="T64" fmla="*/ 128 w 538"/>
                <a:gd name="T65" fmla="*/ 246 h 246"/>
                <a:gd name="T66" fmla="*/ 151 w 538"/>
                <a:gd name="T67" fmla="*/ 227 h 246"/>
                <a:gd name="T68" fmla="*/ 173 w 538"/>
                <a:gd name="T69" fmla="*/ 207 h 246"/>
                <a:gd name="T70" fmla="*/ 197 w 538"/>
                <a:gd name="T71" fmla="*/ 189 h 246"/>
                <a:gd name="T72" fmla="*/ 221 w 538"/>
                <a:gd name="T73" fmla="*/ 172 h 246"/>
                <a:gd name="T74" fmla="*/ 245 w 538"/>
                <a:gd name="T75" fmla="*/ 157 h 246"/>
                <a:gd name="T76" fmla="*/ 269 w 538"/>
                <a:gd name="T77" fmla="*/ 142 h 246"/>
                <a:gd name="T78" fmla="*/ 294 w 538"/>
                <a:gd name="T79" fmla="*/ 128 h 246"/>
                <a:gd name="T80" fmla="*/ 318 w 538"/>
                <a:gd name="T81" fmla="*/ 116 h 246"/>
                <a:gd name="T82" fmla="*/ 343 w 538"/>
                <a:gd name="T83" fmla="*/ 104 h 246"/>
                <a:gd name="T84" fmla="*/ 367 w 538"/>
                <a:gd name="T85" fmla="*/ 95 h 246"/>
                <a:gd name="T86" fmla="*/ 391 w 538"/>
                <a:gd name="T87" fmla="*/ 86 h 246"/>
                <a:gd name="T88" fmla="*/ 415 w 538"/>
                <a:gd name="T89" fmla="*/ 80 h 246"/>
                <a:gd name="T90" fmla="*/ 439 w 538"/>
                <a:gd name="T91" fmla="*/ 74 h 246"/>
                <a:gd name="T92" fmla="*/ 461 w 538"/>
                <a:gd name="T93" fmla="*/ 70 h 246"/>
                <a:gd name="T94" fmla="*/ 484 w 538"/>
                <a:gd name="T95" fmla="*/ 68 h 246"/>
                <a:gd name="T96" fmla="*/ 505 w 538"/>
                <a:gd name="T97" fmla="*/ 67 h 246"/>
                <a:gd name="T98" fmla="*/ 505 w 538"/>
                <a:gd name="T99"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246">
                  <a:moveTo>
                    <a:pt x="505" y="67"/>
                  </a:moveTo>
                  <a:lnTo>
                    <a:pt x="505" y="67"/>
                  </a:lnTo>
                  <a:lnTo>
                    <a:pt x="522" y="67"/>
                  </a:lnTo>
                  <a:lnTo>
                    <a:pt x="529" y="68"/>
                  </a:lnTo>
                  <a:lnTo>
                    <a:pt x="538" y="69"/>
                  </a:lnTo>
                  <a:lnTo>
                    <a:pt x="538" y="69"/>
                  </a:lnTo>
                  <a:lnTo>
                    <a:pt x="511" y="53"/>
                  </a:lnTo>
                  <a:lnTo>
                    <a:pt x="484" y="39"/>
                  </a:lnTo>
                  <a:lnTo>
                    <a:pt x="455" y="27"/>
                  </a:lnTo>
                  <a:lnTo>
                    <a:pt x="426" y="17"/>
                  </a:lnTo>
                  <a:lnTo>
                    <a:pt x="396" y="10"/>
                  </a:lnTo>
                  <a:lnTo>
                    <a:pt x="365" y="4"/>
                  </a:lnTo>
                  <a:lnTo>
                    <a:pt x="333" y="1"/>
                  </a:lnTo>
                  <a:lnTo>
                    <a:pt x="302" y="0"/>
                  </a:lnTo>
                  <a:lnTo>
                    <a:pt x="302" y="0"/>
                  </a:lnTo>
                  <a:lnTo>
                    <a:pt x="281" y="1"/>
                  </a:lnTo>
                  <a:lnTo>
                    <a:pt x="259" y="2"/>
                  </a:lnTo>
                  <a:lnTo>
                    <a:pt x="239" y="4"/>
                  </a:lnTo>
                  <a:lnTo>
                    <a:pt x="218" y="9"/>
                  </a:lnTo>
                  <a:lnTo>
                    <a:pt x="198" y="13"/>
                  </a:lnTo>
                  <a:lnTo>
                    <a:pt x="179" y="18"/>
                  </a:lnTo>
                  <a:lnTo>
                    <a:pt x="159" y="24"/>
                  </a:lnTo>
                  <a:lnTo>
                    <a:pt x="140" y="31"/>
                  </a:lnTo>
                  <a:lnTo>
                    <a:pt x="121" y="39"/>
                  </a:lnTo>
                  <a:lnTo>
                    <a:pt x="102" y="48"/>
                  </a:lnTo>
                  <a:lnTo>
                    <a:pt x="84" y="58"/>
                  </a:lnTo>
                  <a:lnTo>
                    <a:pt x="66" y="68"/>
                  </a:lnTo>
                  <a:lnTo>
                    <a:pt x="49" y="80"/>
                  </a:lnTo>
                  <a:lnTo>
                    <a:pt x="33" y="91"/>
                  </a:lnTo>
                  <a:lnTo>
                    <a:pt x="15" y="104"/>
                  </a:lnTo>
                  <a:lnTo>
                    <a:pt x="0" y="118"/>
                  </a:lnTo>
                  <a:lnTo>
                    <a:pt x="128" y="246"/>
                  </a:lnTo>
                  <a:lnTo>
                    <a:pt x="128" y="246"/>
                  </a:lnTo>
                  <a:lnTo>
                    <a:pt x="151" y="227"/>
                  </a:lnTo>
                  <a:lnTo>
                    <a:pt x="173" y="207"/>
                  </a:lnTo>
                  <a:lnTo>
                    <a:pt x="197" y="189"/>
                  </a:lnTo>
                  <a:lnTo>
                    <a:pt x="221" y="172"/>
                  </a:lnTo>
                  <a:lnTo>
                    <a:pt x="245" y="157"/>
                  </a:lnTo>
                  <a:lnTo>
                    <a:pt x="269" y="142"/>
                  </a:lnTo>
                  <a:lnTo>
                    <a:pt x="294" y="128"/>
                  </a:lnTo>
                  <a:lnTo>
                    <a:pt x="318" y="116"/>
                  </a:lnTo>
                  <a:lnTo>
                    <a:pt x="343" y="104"/>
                  </a:lnTo>
                  <a:lnTo>
                    <a:pt x="367" y="95"/>
                  </a:lnTo>
                  <a:lnTo>
                    <a:pt x="391" y="86"/>
                  </a:lnTo>
                  <a:lnTo>
                    <a:pt x="415" y="80"/>
                  </a:lnTo>
                  <a:lnTo>
                    <a:pt x="439" y="74"/>
                  </a:lnTo>
                  <a:lnTo>
                    <a:pt x="461" y="70"/>
                  </a:lnTo>
                  <a:lnTo>
                    <a:pt x="484" y="68"/>
                  </a:lnTo>
                  <a:lnTo>
                    <a:pt x="505" y="67"/>
                  </a:lnTo>
                  <a:lnTo>
                    <a:pt x="50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8" name="Rectangle 27">
            <a:extLst>
              <a:ext uri="{FF2B5EF4-FFF2-40B4-BE49-F238E27FC236}">
                <a16:creationId xmlns:a16="http://schemas.microsoft.com/office/drawing/2014/main" id="{4D90125F-01BF-88A8-D1FB-D4A5D0657BC5}"/>
              </a:ext>
            </a:extLst>
          </p:cNvPr>
          <p:cNvSpPr/>
          <p:nvPr/>
        </p:nvSpPr>
        <p:spPr>
          <a:xfrm>
            <a:off x="3782920" y="1832687"/>
            <a:ext cx="1096903" cy="276999"/>
          </a:xfrm>
          <a:prstGeom prst="rect">
            <a:avLst/>
          </a:prstGeom>
        </p:spPr>
        <p:txBody>
          <a:bodyPr wrap="none">
            <a:spAutoFit/>
          </a:bodyPr>
          <a:lstStyle/>
          <a:p>
            <a:r>
              <a:rPr lang="en-US" sz="1200" spc="300" dirty="0">
                <a:latin typeface="Open Sans Regular" panose="020B0606030504020204" pitchFamily="34" charset="0"/>
                <a:ea typeface="Open Sans"/>
                <a:cs typeface="Open Sans"/>
                <a:sym typeface="Open Sans"/>
              </a:rPr>
              <a:t>EXPLORE</a:t>
            </a:r>
            <a:endParaRPr lang="en-US" sz="1200" spc="300" dirty="0"/>
          </a:p>
        </p:txBody>
      </p:sp>
      <p:sp>
        <p:nvSpPr>
          <p:cNvPr id="40" name="Pentagon 78">
            <a:extLst>
              <a:ext uri="{FF2B5EF4-FFF2-40B4-BE49-F238E27FC236}">
                <a16:creationId xmlns:a16="http://schemas.microsoft.com/office/drawing/2014/main" id="{618185F4-FC77-4007-0820-5F724B920BDE}"/>
              </a:ext>
            </a:extLst>
          </p:cNvPr>
          <p:cNvSpPr/>
          <p:nvPr/>
        </p:nvSpPr>
        <p:spPr bwMode="gray">
          <a:xfrm>
            <a:off x="6532693" y="1804857"/>
            <a:ext cx="2049823" cy="304830"/>
          </a:xfrm>
          <a:prstGeom prst="homePlat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Shape 561">
            <a:extLst>
              <a:ext uri="{FF2B5EF4-FFF2-40B4-BE49-F238E27FC236}">
                <a16:creationId xmlns:a16="http://schemas.microsoft.com/office/drawing/2014/main" id="{D07F2092-A130-41E5-C40B-72D6E1411E67}"/>
              </a:ext>
            </a:extLst>
          </p:cNvPr>
          <p:cNvSpPr/>
          <p:nvPr/>
        </p:nvSpPr>
        <p:spPr>
          <a:xfrm>
            <a:off x="6589309" y="2217135"/>
            <a:ext cx="1827801" cy="654451"/>
          </a:xfrm>
          <a:prstGeom prst="rect">
            <a:avLst/>
          </a:prstGeom>
          <a:noFill/>
          <a:ln>
            <a:noFill/>
          </a:ln>
        </p:spPr>
        <p:txBody>
          <a:bodyPr wrap="square" lIns="36000" tIns="36000" rIns="36000" bIns="36000" anchor="t" anchorCtr="0">
            <a:noAutofit/>
          </a:bodyPr>
          <a:lstStyle/>
          <a:p>
            <a:pPr lvl="0">
              <a:buClr>
                <a:schemeClr val="dk1"/>
              </a:buClr>
              <a:buSzPct val="25000"/>
            </a:pPr>
            <a:r>
              <a:rPr lang="en-US" sz="1000" dirty="0">
                <a:latin typeface="Open Sans Regular" panose="020B0606030504020204" pitchFamily="34" charset="0"/>
                <a:ea typeface="Open Sans" panose="020B0606030504020204" pitchFamily="34" charset="0"/>
                <a:cs typeface="Open Sans" panose="020B0606030504020204" pitchFamily="34" charset="0"/>
                <a:sym typeface="Open Sans"/>
              </a:rPr>
              <a:t>Synthesize workshop outputs and business implications on a global scale to derive strategic priorities.</a:t>
            </a:r>
          </a:p>
        </p:txBody>
      </p:sp>
      <p:grpSp>
        <p:nvGrpSpPr>
          <p:cNvPr id="42" name="Group 41">
            <a:extLst>
              <a:ext uri="{FF2B5EF4-FFF2-40B4-BE49-F238E27FC236}">
                <a16:creationId xmlns:a16="http://schemas.microsoft.com/office/drawing/2014/main" id="{EC4D0275-6421-ABE0-DD8E-7D157EF3D114}"/>
              </a:ext>
            </a:extLst>
          </p:cNvPr>
          <p:cNvGrpSpPr>
            <a:grpSpLocks noChangeAspect="1"/>
          </p:cNvGrpSpPr>
          <p:nvPr/>
        </p:nvGrpSpPr>
        <p:grpSpPr>
          <a:xfrm>
            <a:off x="6245734" y="1860498"/>
            <a:ext cx="225513" cy="223927"/>
            <a:chOff x="8970963" y="1868488"/>
            <a:chExt cx="498475" cy="498475"/>
          </a:xfrm>
          <a:solidFill>
            <a:schemeClr val="tx2"/>
          </a:solidFill>
        </p:grpSpPr>
        <p:sp>
          <p:nvSpPr>
            <p:cNvPr id="44" name="Freeform 185">
              <a:extLst>
                <a:ext uri="{FF2B5EF4-FFF2-40B4-BE49-F238E27FC236}">
                  <a16:creationId xmlns:a16="http://schemas.microsoft.com/office/drawing/2014/main" id="{764FB064-DF0C-B812-9D36-01B050BC4DD6}"/>
                </a:ext>
              </a:extLst>
            </p:cNvPr>
            <p:cNvSpPr>
              <a:spLocks/>
            </p:cNvSpPr>
            <p:nvPr/>
          </p:nvSpPr>
          <p:spPr bwMode="auto">
            <a:xfrm>
              <a:off x="9034463" y="1868488"/>
              <a:ext cx="15875" cy="257175"/>
            </a:xfrm>
            <a:custGeom>
              <a:avLst/>
              <a:gdLst>
                <a:gd name="T0" fmla="*/ 0 w 41"/>
                <a:gd name="T1" fmla="*/ 20 h 647"/>
                <a:gd name="T2" fmla="*/ 0 w 41"/>
                <a:gd name="T3" fmla="*/ 647 h 647"/>
                <a:gd name="T4" fmla="*/ 41 w 41"/>
                <a:gd name="T5" fmla="*/ 647 h 647"/>
                <a:gd name="T6" fmla="*/ 41 w 41"/>
                <a:gd name="T7" fmla="*/ 20 h 647"/>
                <a:gd name="T8" fmla="*/ 41 w 41"/>
                <a:gd name="T9" fmla="*/ 20 h 647"/>
                <a:gd name="T10" fmla="*/ 41 w 41"/>
                <a:gd name="T11" fmla="*/ 16 h 647"/>
                <a:gd name="T12" fmla="*/ 40 w 41"/>
                <a:gd name="T13" fmla="*/ 11 h 647"/>
                <a:gd name="T14" fmla="*/ 38 w 41"/>
                <a:gd name="T15" fmla="*/ 8 h 647"/>
                <a:gd name="T16" fmla="*/ 36 w 41"/>
                <a:gd name="T17" fmla="*/ 5 h 647"/>
                <a:gd name="T18" fmla="*/ 33 w 41"/>
                <a:gd name="T19" fmla="*/ 3 h 647"/>
                <a:gd name="T20" fmla="*/ 29 w 41"/>
                <a:gd name="T21" fmla="*/ 1 h 647"/>
                <a:gd name="T22" fmla="*/ 25 w 41"/>
                <a:gd name="T23" fmla="*/ 0 h 647"/>
                <a:gd name="T24" fmla="*/ 21 w 41"/>
                <a:gd name="T25" fmla="*/ 0 h 647"/>
                <a:gd name="T26" fmla="*/ 21 w 41"/>
                <a:gd name="T27" fmla="*/ 0 h 647"/>
                <a:gd name="T28" fmla="*/ 16 w 41"/>
                <a:gd name="T29" fmla="*/ 0 h 647"/>
                <a:gd name="T30" fmla="*/ 13 w 41"/>
                <a:gd name="T31" fmla="*/ 1 h 647"/>
                <a:gd name="T32" fmla="*/ 10 w 41"/>
                <a:gd name="T33" fmla="*/ 3 h 647"/>
                <a:gd name="T34" fmla="*/ 7 w 41"/>
                <a:gd name="T35" fmla="*/ 5 h 647"/>
                <a:gd name="T36" fmla="*/ 5 w 41"/>
                <a:gd name="T37" fmla="*/ 8 h 647"/>
                <a:gd name="T38" fmla="*/ 2 w 41"/>
                <a:gd name="T39" fmla="*/ 11 h 647"/>
                <a:gd name="T40" fmla="*/ 1 w 41"/>
                <a:gd name="T41" fmla="*/ 16 h 647"/>
                <a:gd name="T42" fmla="*/ 0 w 41"/>
                <a:gd name="T43" fmla="*/ 20 h 647"/>
                <a:gd name="T44" fmla="*/ 0 w 41"/>
                <a:gd name="T45" fmla="*/ 2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647">
                  <a:moveTo>
                    <a:pt x="0" y="20"/>
                  </a:moveTo>
                  <a:lnTo>
                    <a:pt x="0" y="647"/>
                  </a:lnTo>
                  <a:lnTo>
                    <a:pt x="41" y="647"/>
                  </a:lnTo>
                  <a:lnTo>
                    <a:pt x="41" y="20"/>
                  </a:lnTo>
                  <a:lnTo>
                    <a:pt x="41" y="20"/>
                  </a:lnTo>
                  <a:lnTo>
                    <a:pt x="41" y="16"/>
                  </a:lnTo>
                  <a:lnTo>
                    <a:pt x="40" y="11"/>
                  </a:lnTo>
                  <a:lnTo>
                    <a:pt x="38" y="8"/>
                  </a:lnTo>
                  <a:lnTo>
                    <a:pt x="36" y="5"/>
                  </a:lnTo>
                  <a:lnTo>
                    <a:pt x="33" y="3"/>
                  </a:lnTo>
                  <a:lnTo>
                    <a:pt x="29" y="1"/>
                  </a:lnTo>
                  <a:lnTo>
                    <a:pt x="25" y="0"/>
                  </a:lnTo>
                  <a:lnTo>
                    <a:pt x="21" y="0"/>
                  </a:lnTo>
                  <a:lnTo>
                    <a:pt x="21" y="0"/>
                  </a:lnTo>
                  <a:lnTo>
                    <a:pt x="16" y="0"/>
                  </a:lnTo>
                  <a:lnTo>
                    <a:pt x="13" y="1"/>
                  </a:lnTo>
                  <a:lnTo>
                    <a:pt x="10" y="3"/>
                  </a:lnTo>
                  <a:lnTo>
                    <a:pt x="7" y="5"/>
                  </a:lnTo>
                  <a:lnTo>
                    <a:pt x="5" y="8"/>
                  </a:lnTo>
                  <a:lnTo>
                    <a:pt x="2" y="11"/>
                  </a:lnTo>
                  <a:lnTo>
                    <a:pt x="1" y="16"/>
                  </a:lnTo>
                  <a:lnTo>
                    <a:pt x="0" y="20"/>
                  </a:lnTo>
                  <a:lnTo>
                    <a:pt x="0"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86">
              <a:extLst>
                <a:ext uri="{FF2B5EF4-FFF2-40B4-BE49-F238E27FC236}">
                  <a16:creationId xmlns:a16="http://schemas.microsoft.com/office/drawing/2014/main" id="{46DBB375-45DB-94FF-B205-B05714E82E5B}"/>
                </a:ext>
              </a:extLst>
            </p:cNvPr>
            <p:cNvSpPr>
              <a:spLocks/>
            </p:cNvSpPr>
            <p:nvPr/>
          </p:nvSpPr>
          <p:spPr bwMode="auto">
            <a:xfrm>
              <a:off x="8970963" y="2157413"/>
              <a:ext cx="144463" cy="209550"/>
            </a:xfrm>
            <a:custGeom>
              <a:avLst/>
              <a:gdLst>
                <a:gd name="T0" fmla="*/ 0 w 365"/>
                <a:gd name="T1" fmla="*/ 20 h 526"/>
                <a:gd name="T2" fmla="*/ 0 w 365"/>
                <a:gd name="T3" fmla="*/ 223 h 526"/>
                <a:gd name="T4" fmla="*/ 0 w 365"/>
                <a:gd name="T5" fmla="*/ 223 h 526"/>
                <a:gd name="T6" fmla="*/ 1 w 365"/>
                <a:gd name="T7" fmla="*/ 227 h 526"/>
                <a:gd name="T8" fmla="*/ 3 w 365"/>
                <a:gd name="T9" fmla="*/ 230 h 526"/>
                <a:gd name="T10" fmla="*/ 5 w 365"/>
                <a:gd name="T11" fmla="*/ 235 h 526"/>
                <a:gd name="T12" fmla="*/ 7 w 365"/>
                <a:gd name="T13" fmla="*/ 237 h 526"/>
                <a:gd name="T14" fmla="*/ 10 w 365"/>
                <a:gd name="T15" fmla="*/ 240 h 526"/>
                <a:gd name="T16" fmla="*/ 13 w 365"/>
                <a:gd name="T17" fmla="*/ 241 h 526"/>
                <a:gd name="T18" fmla="*/ 16 w 365"/>
                <a:gd name="T19" fmla="*/ 243 h 526"/>
                <a:gd name="T20" fmla="*/ 21 w 365"/>
                <a:gd name="T21" fmla="*/ 243 h 526"/>
                <a:gd name="T22" fmla="*/ 162 w 365"/>
                <a:gd name="T23" fmla="*/ 243 h 526"/>
                <a:gd name="T24" fmla="*/ 162 w 365"/>
                <a:gd name="T25" fmla="*/ 506 h 526"/>
                <a:gd name="T26" fmla="*/ 162 w 365"/>
                <a:gd name="T27" fmla="*/ 506 h 526"/>
                <a:gd name="T28" fmla="*/ 163 w 365"/>
                <a:gd name="T29" fmla="*/ 510 h 526"/>
                <a:gd name="T30" fmla="*/ 164 w 365"/>
                <a:gd name="T31" fmla="*/ 515 h 526"/>
                <a:gd name="T32" fmla="*/ 167 w 365"/>
                <a:gd name="T33" fmla="*/ 518 h 526"/>
                <a:gd name="T34" fmla="*/ 169 w 365"/>
                <a:gd name="T35" fmla="*/ 521 h 526"/>
                <a:gd name="T36" fmla="*/ 172 w 365"/>
                <a:gd name="T37" fmla="*/ 523 h 526"/>
                <a:gd name="T38" fmla="*/ 175 w 365"/>
                <a:gd name="T39" fmla="*/ 525 h 526"/>
                <a:gd name="T40" fmla="*/ 178 w 365"/>
                <a:gd name="T41" fmla="*/ 526 h 526"/>
                <a:gd name="T42" fmla="*/ 183 w 365"/>
                <a:gd name="T43" fmla="*/ 526 h 526"/>
                <a:gd name="T44" fmla="*/ 183 w 365"/>
                <a:gd name="T45" fmla="*/ 526 h 526"/>
                <a:gd name="T46" fmla="*/ 187 w 365"/>
                <a:gd name="T47" fmla="*/ 526 h 526"/>
                <a:gd name="T48" fmla="*/ 191 w 365"/>
                <a:gd name="T49" fmla="*/ 525 h 526"/>
                <a:gd name="T50" fmla="*/ 195 w 365"/>
                <a:gd name="T51" fmla="*/ 523 h 526"/>
                <a:gd name="T52" fmla="*/ 198 w 365"/>
                <a:gd name="T53" fmla="*/ 521 h 526"/>
                <a:gd name="T54" fmla="*/ 200 w 365"/>
                <a:gd name="T55" fmla="*/ 518 h 526"/>
                <a:gd name="T56" fmla="*/ 202 w 365"/>
                <a:gd name="T57" fmla="*/ 515 h 526"/>
                <a:gd name="T58" fmla="*/ 203 w 365"/>
                <a:gd name="T59" fmla="*/ 510 h 526"/>
                <a:gd name="T60" fmla="*/ 203 w 365"/>
                <a:gd name="T61" fmla="*/ 506 h 526"/>
                <a:gd name="T62" fmla="*/ 203 w 365"/>
                <a:gd name="T63" fmla="*/ 243 h 526"/>
                <a:gd name="T64" fmla="*/ 345 w 365"/>
                <a:gd name="T65" fmla="*/ 243 h 526"/>
                <a:gd name="T66" fmla="*/ 345 w 365"/>
                <a:gd name="T67" fmla="*/ 243 h 526"/>
                <a:gd name="T68" fmla="*/ 349 w 365"/>
                <a:gd name="T69" fmla="*/ 243 h 526"/>
                <a:gd name="T70" fmla="*/ 353 w 365"/>
                <a:gd name="T71" fmla="*/ 241 h 526"/>
                <a:gd name="T72" fmla="*/ 356 w 365"/>
                <a:gd name="T73" fmla="*/ 240 h 526"/>
                <a:gd name="T74" fmla="*/ 360 w 365"/>
                <a:gd name="T75" fmla="*/ 237 h 526"/>
                <a:gd name="T76" fmla="*/ 362 w 365"/>
                <a:gd name="T77" fmla="*/ 235 h 526"/>
                <a:gd name="T78" fmla="*/ 364 w 365"/>
                <a:gd name="T79" fmla="*/ 230 h 526"/>
                <a:gd name="T80" fmla="*/ 365 w 365"/>
                <a:gd name="T81" fmla="*/ 227 h 526"/>
                <a:gd name="T82" fmla="*/ 365 w 365"/>
                <a:gd name="T83" fmla="*/ 223 h 526"/>
                <a:gd name="T84" fmla="*/ 365 w 365"/>
                <a:gd name="T85" fmla="*/ 20 h 526"/>
                <a:gd name="T86" fmla="*/ 365 w 365"/>
                <a:gd name="T87" fmla="*/ 20 h 526"/>
                <a:gd name="T88" fmla="*/ 365 w 365"/>
                <a:gd name="T89" fmla="*/ 16 h 526"/>
                <a:gd name="T90" fmla="*/ 364 w 365"/>
                <a:gd name="T91" fmla="*/ 13 h 526"/>
                <a:gd name="T92" fmla="*/ 362 w 365"/>
                <a:gd name="T93" fmla="*/ 9 h 526"/>
                <a:gd name="T94" fmla="*/ 360 w 365"/>
                <a:gd name="T95" fmla="*/ 6 h 526"/>
                <a:gd name="T96" fmla="*/ 356 w 365"/>
                <a:gd name="T97" fmla="*/ 4 h 526"/>
                <a:gd name="T98" fmla="*/ 353 w 365"/>
                <a:gd name="T99" fmla="*/ 2 h 526"/>
                <a:gd name="T100" fmla="*/ 349 w 365"/>
                <a:gd name="T101" fmla="*/ 1 h 526"/>
                <a:gd name="T102" fmla="*/ 345 w 365"/>
                <a:gd name="T103" fmla="*/ 0 h 526"/>
                <a:gd name="T104" fmla="*/ 21 w 365"/>
                <a:gd name="T105" fmla="*/ 0 h 526"/>
                <a:gd name="T106" fmla="*/ 21 w 365"/>
                <a:gd name="T107" fmla="*/ 0 h 526"/>
                <a:gd name="T108" fmla="*/ 16 w 365"/>
                <a:gd name="T109" fmla="*/ 1 h 526"/>
                <a:gd name="T110" fmla="*/ 13 w 365"/>
                <a:gd name="T111" fmla="*/ 2 h 526"/>
                <a:gd name="T112" fmla="*/ 10 w 365"/>
                <a:gd name="T113" fmla="*/ 4 h 526"/>
                <a:gd name="T114" fmla="*/ 7 w 365"/>
                <a:gd name="T115" fmla="*/ 6 h 526"/>
                <a:gd name="T116" fmla="*/ 5 w 365"/>
                <a:gd name="T117" fmla="*/ 9 h 526"/>
                <a:gd name="T118" fmla="*/ 3 w 365"/>
                <a:gd name="T119" fmla="*/ 13 h 526"/>
                <a:gd name="T120" fmla="*/ 1 w 365"/>
                <a:gd name="T121" fmla="*/ 16 h 526"/>
                <a:gd name="T122" fmla="*/ 0 w 365"/>
                <a:gd name="T123" fmla="*/ 20 h 526"/>
                <a:gd name="T124" fmla="*/ 0 w 365"/>
                <a:gd name="T125" fmla="*/ 2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5" h="526">
                  <a:moveTo>
                    <a:pt x="0" y="20"/>
                  </a:moveTo>
                  <a:lnTo>
                    <a:pt x="0" y="223"/>
                  </a:lnTo>
                  <a:lnTo>
                    <a:pt x="0" y="223"/>
                  </a:lnTo>
                  <a:lnTo>
                    <a:pt x="1" y="227"/>
                  </a:lnTo>
                  <a:lnTo>
                    <a:pt x="3" y="230"/>
                  </a:lnTo>
                  <a:lnTo>
                    <a:pt x="5" y="235"/>
                  </a:lnTo>
                  <a:lnTo>
                    <a:pt x="7" y="237"/>
                  </a:lnTo>
                  <a:lnTo>
                    <a:pt x="10" y="240"/>
                  </a:lnTo>
                  <a:lnTo>
                    <a:pt x="13" y="241"/>
                  </a:lnTo>
                  <a:lnTo>
                    <a:pt x="16" y="243"/>
                  </a:lnTo>
                  <a:lnTo>
                    <a:pt x="21" y="243"/>
                  </a:lnTo>
                  <a:lnTo>
                    <a:pt x="162" y="243"/>
                  </a:lnTo>
                  <a:lnTo>
                    <a:pt x="162" y="506"/>
                  </a:lnTo>
                  <a:lnTo>
                    <a:pt x="162" y="506"/>
                  </a:lnTo>
                  <a:lnTo>
                    <a:pt x="163" y="510"/>
                  </a:lnTo>
                  <a:lnTo>
                    <a:pt x="164" y="515"/>
                  </a:lnTo>
                  <a:lnTo>
                    <a:pt x="167" y="518"/>
                  </a:lnTo>
                  <a:lnTo>
                    <a:pt x="169" y="521"/>
                  </a:lnTo>
                  <a:lnTo>
                    <a:pt x="172" y="523"/>
                  </a:lnTo>
                  <a:lnTo>
                    <a:pt x="175" y="525"/>
                  </a:lnTo>
                  <a:lnTo>
                    <a:pt x="178" y="526"/>
                  </a:lnTo>
                  <a:lnTo>
                    <a:pt x="183" y="526"/>
                  </a:lnTo>
                  <a:lnTo>
                    <a:pt x="183" y="526"/>
                  </a:lnTo>
                  <a:lnTo>
                    <a:pt x="187" y="526"/>
                  </a:lnTo>
                  <a:lnTo>
                    <a:pt x="191" y="525"/>
                  </a:lnTo>
                  <a:lnTo>
                    <a:pt x="195" y="523"/>
                  </a:lnTo>
                  <a:lnTo>
                    <a:pt x="198" y="521"/>
                  </a:lnTo>
                  <a:lnTo>
                    <a:pt x="200" y="518"/>
                  </a:lnTo>
                  <a:lnTo>
                    <a:pt x="202" y="515"/>
                  </a:lnTo>
                  <a:lnTo>
                    <a:pt x="203" y="510"/>
                  </a:lnTo>
                  <a:lnTo>
                    <a:pt x="203" y="506"/>
                  </a:lnTo>
                  <a:lnTo>
                    <a:pt x="203" y="243"/>
                  </a:lnTo>
                  <a:lnTo>
                    <a:pt x="345" y="243"/>
                  </a:lnTo>
                  <a:lnTo>
                    <a:pt x="345" y="243"/>
                  </a:lnTo>
                  <a:lnTo>
                    <a:pt x="349" y="243"/>
                  </a:lnTo>
                  <a:lnTo>
                    <a:pt x="353" y="241"/>
                  </a:lnTo>
                  <a:lnTo>
                    <a:pt x="356" y="240"/>
                  </a:lnTo>
                  <a:lnTo>
                    <a:pt x="360" y="237"/>
                  </a:lnTo>
                  <a:lnTo>
                    <a:pt x="362" y="235"/>
                  </a:lnTo>
                  <a:lnTo>
                    <a:pt x="364" y="230"/>
                  </a:lnTo>
                  <a:lnTo>
                    <a:pt x="365" y="227"/>
                  </a:lnTo>
                  <a:lnTo>
                    <a:pt x="365" y="223"/>
                  </a:lnTo>
                  <a:lnTo>
                    <a:pt x="365" y="20"/>
                  </a:lnTo>
                  <a:lnTo>
                    <a:pt x="365" y="20"/>
                  </a:lnTo>
                  <a:lnTo>
                    <a:pt x="365" y="16"/>
                  </a:lnTo>
                  <a:lnTo>
                    <a:pt x="364" y="13"/>
                  </a:lnTo>
                  <a:lnTo>
                    <a:pt x="362" y="9"/>
                  </a:lnTo>
                  <a:lnTo>
                    <a:pt x="360" y="6"/>
                  </a:lnTo>
                  <a:lnTo>
                    <a:pt x="356" y="4"/>
                  </a:lnTo>
                  <a:lnTo>
                    <a:pt x="353" y="2"/>
                  </a:lnTo>
                  <a:lnTo>
                    <a:pt x="349" y="1"/>
                  </a:lnTo>
                  <a:lnTo>
                    <a:pt x="345" y="0"/>
                  </a:lnTo>
                  <a:lnTo>
                    <a:pt x="21" y="0"/>
                  </a:lnTo>
                  <a:lnTo>
                    <a:pt x="21" y="0"/>
                  </a:lnTo>
                  <a:lnTo>
                    <a:pt x="16" y="1"/>
                  </a:lnTo>
                  <a:lnTo>
                    <a:pt x="13" y="2"/>
                  </a:lnTo>
                  <a:lnTo>
                    <a:pt x="10" y="4"/>
                  </a:lnTo>
                  <a:lnTo>
                    <a:pt x="7" y="6"/>
                  </a:lnTo>
                  <a:lnTo>
                    <a:pt x="5" y="9"/>
                  </a:lnTo>
                  <a:lnTo>
                    <a:pt x="3" y="13"/>
                  </a:lnTo>
                  <a:lnTo>
                    <a:pt x="1" y="16"/>
                  </a:lnTo>
                  <a:lnTo>
                    <a:pt x="0" y="20"/>
                  </a:lnTo>
                  <a:lnTo>
                    <a:pt x="0"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87">
              <a:extLst>
                <a:ext uri="{FF2B5EF4-FFF2-40B4-BE49-F238E27FC236}">
                  <a16:creationId xmlns:a16="http://schemas.microsoft.com/office/drawing/2014/main" id="{740CE024-459B-A229-E000-0B43513E6B10}"/>
                </a:ext>
              </a:extLst>
            </p:cNvPr>
            <p:cNvSpPr>
              <a:spLocks/>
            </p:cNvSpPr>
            <p:nvPr/>
          </p:nvSpPr>
          <p:spPr bwMode="auto">
            <a:xfrm>
              <a:off x="9388475" y="1868488"/>
              <a:ext cx="15875" cy="257175"/>
            </a:xfrm>
            <a:custGeom>
              <a:avLst/>
              <a:gdLst>
                <a:gd name="T0" fmla="*/ 0 w 40"/>
                <a:gd name="T1" fmla="*/ 20 h 647"/>
                <a:gd name="T2" fmla="*/ 0 w 40"/>
                <a:gd name="T3" fmla="*/ 647 h 647"/>
                <a:gd name="T4" fmla="*/ 40 w 40"/>
                <a:gd name="T5" fmla="*/ 647 h 647"/>
                <a:gd name="T6" fmla="*/ 40 w 40"/>
                <a:gd name="T7" fmla="*/ 20 h 647"/>
                <a:gd name="T8" fmla="*/ 40 w 40"/>
                <a:gd name="T9" fmla="*/ 20 h 647"/>
                <a:gd name="T10" fmla="*/ 39 w 40"/>
                <a:gd name="T11" fmla="*/ 16 h 647"/>
                <a:gd name="T12" fmla="*/ 38 w 40"/>
                <a:gd name="T13" fmla="*/ 11 h 647"/>
                <a:gd name="T14" fmla="*/ 36 w 40"/>
                <a:gd name="T15" fmla="*/ 8 h 647"/>
                <a:gd name="T16" fmla="*/ 34 w 40"/>
                <a:gd name="T17" fmla="*/ 5 h 647"/>
                <a:gd name="T18" fmla="*/ 31 w 40"/>
                <a:gd name="T19" fmla="*/ 3 h 647"/>
                <a:gd name="T20" fmla="*/ 27 w 40"/>
                <a:gd name="T21" fmla="*/ 1 h 647"/>
                <a:gd name="T22" fmla="*/ 24 w 40"/>
                <a:gd name="T23" fmla="*/ 0 h 647"/>
                <a:gd name="T24" fmla="*/ 20 w 40"/>
                <a:gd name="T25" fmla="*/ 0 h 647"/>
                <a:gd name="T26" fmla="*/ 20 w 40"/>
                <a:gd name="T27" fmla="*/ 0 h 647"/>
                <a:gd name="T28" fmla="*/ 16 w 40"/>
                <a:gd name="T29" fmla="*/ 0 h 647"/>
                <a:gd name="T30" fmla="*/ 11 w 40"/>
                <a:gd name="T31" fmla="*/ 1 h 647"/>
                <a:gd name="T32" fmla="*/ 8 w 40"/>
                <a:gd name="T33" fmla="*/ 3 h 647"/>
                <a:gd name="T34" fmla="*/ 5 w 40"/>
                <a:gd name="T35" fmla="*/ 5 h 647"/>
                <a:gd name="T36" fmla="*/ 3 w 40"/>
                <a:gd name="T37" fmla="*/ 8 h 647"/>
                <a:gd name="T38" fmla="*/ 1 w 40"/>
                <a:gd name="T39" fmla="*/ 11 h 647"/>
                <a:gd name="T40" fmla="*/ 0 w 40"/>
                <a:gd name="T41" fmla="*/ 16 h 647"/>
                <a:gd name="T42" fmla="*/ 0 w 40"/>
                <a:gd name="T43" fmla="*/ 20 h 647"/>
                <a:gd name="T44" fmla="*/ 0 w 40"/>
                <a:gd name="T45" fmla="*/ 2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647">
                  <a:moveTo>
                    <a:pt x="0" y="20"/>
                  </a:moveTo>
                  <a:lnTo>
                    <a:pt x="0" y="647"/>
                  </a:lnTo>
                  <a:lnTo>
                    <a:pt x="40" y="647"/>
                  </a:lnTo>
                  <a:lnTo>
                    <a:pt x="40" y="20"/>
                  </a:lnTo>
                  <a:lnTo>
                    <a:pt x="40" y="20"/>
                  </a:lnTo>
                  <a:lnTo>
                    <a:pt x="39" y="16"/>
                  </a:lnTo>
                  <a:lnTo>
                    <a:pt x="38" y="11"/>
                  </a:lnTo>
                  <a:lnTo>
                    <a:pt x="36" y="8"/>
                  </a:lnTo>
                  <a:lnTo>
                    <a:pt x="34" y="5"/>
                  </a:lnTo>
                  <a:lnTo>
                    <a:pt x="31" y="3"/>
                  </a:lnTo>
                  <a:lnTo>
                    <a:pt x="27" y="1"/>
                  </a:lnTo>
                  <a:lnTo>
                    <a:pt x="24" y="0"/>
                  </a:lnTo>
                  <a:lnTo>
                    <a:pt x="20" y="0"/>
                  </a:lnTo>
                  <a:lnTo>
                    <a:pt x="20" y="0"/>
                  </a:lnTo>
                  <a:lnTo>
                    <a:pt x="16" y="0"/>
                  </a:lnTo>
                  <a:lnTo>
                    <a:pt x="11" y="1"/>
                  </a:lnTo>
                  <a:lnTo>
                    <a:pt x="8" y="3"/>
                  </a:lnTo>
                  <a:lnTo>
                    <a:pt x="5" y="5"/>
                  </a:lnTo>
                  <a:lnTo>
                    <a:pt x="3" y="8"/>
                  </a:lnTo>
                  <a:lnTo>
                    <a:pt x="1" y="11"/>
                  </a:lnTo>
                  <a:lnTo>
                    <a:pt x="0" y="16"/>
                  </a:lnTo>
                  <a:lnTo>
                    <a:pt x="0" y="20"/>
                  </a:lnTo>
                  <a:lnTo>
                    <a:pt x="0"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88">
              <a:extLst>
                <a:ext uri="{FF2B5EF4-FFF2-40B4-BE49-F238E27FC236}">
                  <a16:creationId xmlns:a16="http://schemas.microsoft.com/office/drawing/2014/main" id="{B049CF79-BF5E-41EC-510F-2BD55D6B3522}"/>
                </a:ext>
              </a:extLst>
            </p:cNvPr>
            <p:cNvSpPr>
              <a:spLocks/>
            </p:cNvSpPr>
            <p:nvPr/>
          </p:nvSpPr>
          <p:spPr bwMode="auto">
            <a:xfrm>
              <a:off x="9323388" y="2157413"/>
              <a:ext cx="146050" cy="209550"/>
            </a:xfrm>
            <a:custGeom>
              <a:avLst/>
              <a:gdLst>
                <a:gd name="T0" fmla="*/ 0 w 364"/>
                <a:gd name="T1" fmla="*/ 20 h 526"/>
                <a:gd name="T2" fmla="*/ 0 w 364"/>
                <a:gd name="T3" fmla="*/ 223 h 526"/>
                <a:gd name="T4" fmla="*/ 0 w 364"/>
                <a:gd name="T5" fmla="*/ 223 h 526"/>
                <a:gd name="T6" fmla="*/ 0 w 364"/>
                <a:gd name="T7" fmla="*/ 227 h 526"/>
                <a:gd name="T8" fmla="*/ 1 w 364"/>
                <a:gd name="T9" fmla="*/ 230 h 526"/>
                <a:gd name="T10" fmla="*/ 3 w 364"/>
                <a:gd name="T11" fmla="*/ 235 h 526"/>
                <a:gd name="T12" fmla="*/ 5 w 364"/>
                <a:gd name="T13" fmla="*/ 237 h 526"/>
                <a:gd name="T14" fmla="*/ 8 w 364"/>
                <a:gd name="T15" fmla="*/ 240 h 526"/>
                <a:gd name="T16" fmla="*/ 11 w 364"/>
                <a:gd name="T17" fmla="*/ 241 h 526"/>
                <a:gd name="T18" fmla="*/ 16 w 364"/>
                <a:gd name="T19" fmla="*/ 243 h 526"/>
                <a:gd name="T20" fmla="*/ 20 w 364"/>
                <a:gd name="T21" fmla="*/ 243 h 526"/>
                <a:gd name="T22" fmla="*/ 162 w 364"/>
                <a:gd name="T23" fmla="*/ 243 h 526"/>
                <a:gd name="T24" fmla="*/ 162 w 364"/>
                <a:gd name="T25" fmla="*/ 506 h 526"/>
                <a:gd name="T26" fmla="*/ 162 w 364"/>
                <a:gd name="T27" fmla="*/ 506 h 526"/>
                <a:gd name="T28" fmla="*/ 162 w 364"/>
                <a:gd name="T29" fmla="*/ 510 h 526"/>
                <a:gd name="T30" fmla="*/ 163 w 364"/>
                <a:gd name="T31" fmla="*/ 515 h 526"/>
                <a:gd name="T32" fmla="*/ 165 w 364"/>
                <a:gd name="T33" fmla="*/ 518 h 526"/>
                <a:gd name="T34" fmla="*/ 167 w 364"/>
                <a:gd name="T35" fmla="*/ 521 h 526"/>
                <a:gd name="T36" fmla="*/ 170 w 364"/>
                <a:gd name="T37" fmla="*/ 523 h 526"/>
                <a:gd name="T38" fmla="*/ 173 w 364"/>
                <a:gd name="T39" fmla="*/ 525 h 526"/>
                <a:gd name="T40" fmla="*/ 178 w 364"/>
                <a:gd name="T41" fmla="*/ 526 h 526"/>
                <a:gd name="T42" fmla="*/ 182 w 364"/>
                <a:gd name="T43" fmla="*/ 526 h 526"/>
                <a:gd name="T44" fmla="*/ 182 w 364"/>
                <a:gd name="T45" fmla="*/ 526 h 526"/>
                <a:gd name="T46" fmla="*/ 186 w 364"/>
                <a:gd name="T47" fmla="*/ 526 h 526"/>
                <a:gd name="T48" fmla="*/ 189 w 364"/>
                <a:gd name="T49" fmla="*/ 525 h 526"/>
                <a:gd name="T50" fmla="*/ 193 w 364"/>
                <a:gd name="T51" fmla="*/ 523 h 526"/>
                <a:gd name="T52" fmla="*/ 196 w 364"/>
                <a:gd name="T53" fmla="*/ 521 h 526"/>
                <a:gd name="T54" fmla="*/ 198 w 364"/>
                <a:gd name="T55" fmla="*/ 518 h 526"/>
                <a:gd name="T56" fmla="*/ 200 w 364"/>
                <a:gd name="T57" fmla="*/ 515 h 526"/>
                <a:gd name="T58" fmla="*/ 201 w 364"/>
                <a:gd name="T59" fmla="*/ 510 h 526"/>
                <a:gd name="T60" fmla="*/ 202 w 364"/>
                <a:gd name="T61" fmla="*/ 506 h 526"/>
                <a:gd name="T62" fmla="*/ 202 w 364"/>
                <a:gd name="T63" fmla="*/ 243 h 526"/>
                <a:gd name="T64" fmla="*/ 344 w 364"/>
                <a:gd name="T65" fmla="*/ 243 h 526"/>
                <a:gd name="T66" fmla="*/ 344 w 364"/>
                <a:gd name="T67" fmla="*/ 243 h 526"/>
                <a:gd name="T68" fmla="*/ 348 w 364"/>
                <a:gd name="T69" fmla="*/ 243 h 526"/>
                <a:gd name="T70" fmla="*/ 351 w 364"/>
                <a:gd name="T71" fmla="*/ 241 h 526"/>
                <a:gd name="T72" fmla="*/ 355 w 364"/>
                <a:gd name="T73" fmla="*/ 240 h 526"/>
                <a:gd name="T74" fmla="*/ 358 w 364"/>
                <a:gd name="T75" fmla="*/ 237 h 526"/>
                <a:gd name="T76" fmla="*/ 360 w 364"/>
                <a:gd name="T77" fmla="*/ 235 h 526"/>
                <a:gd name="T78" fmla="*/ 362 w 364"/>
                <a:gd name="T79" fmla="*/ 230 h 526"/>
                <a:gd name="T80" fmla="*/ 363 w 364"/>
                <a:gd name="T81" fmla="*/ 227 h 526"/>
                <a:gd name="T82" fmla="*/ 364 w 364"/>
                <a:gd name="T83" fmla="*/ 223 h 526"/>
                <a:gd name="T84" fmla="*/ 364 w 364"/>
                <a:gd name="T85" fmla="*/ 20 h 526"/>
                <a:gd name="T86" fmla="*/ 364 w 364"/>
                <a:gd name="T87" fmla="*/ 20 h 526"/>
                <a:gd name="T88" fmla="*/ 363 w 364"/>
                <a:gd name="T89" fmla="*/ 16 h 526"/>
                <a:gd name="T90" fmla="*/ 362 w 364"/>
                <a:gd name="T91" fmla="*/ 13 h 526"/>
                <a:gd name="T92" fmla="*/ 360 w 364"/>
                <a:gd name="T93" fmla="*/ 9 h 526"/>
                <a:gd name="T94" fmla="*/ 358 w 364"/>
                <a:gd name="T95" fmla="*/ 6 h 526"/>
                <a:gd name="T96" fmla="*/ 355 w 364"/>
                <a:gd name="T97" fmla="*/ 4 h 526"/>
                <a:gd name="T98" fmla="*/ 351 w 364"/>
                <a:gd name="T99" fmla="*/ 2 h 526"/>
                <a:gd name="T100" fmla="*/ 348 w 364"/>
                <a:gd name="T101" fmla="*/ 1 h 526"/>
                <a:gd name="T102" fmla="*/ 344 w 364"/>
                <a:gd name="T103" fmla="*/ 0 h 526"/>
                <a:gd name="T104" fmla="*/ 20 w 364"/>
                <a:gd name="T105" fmla="*/ 0 h 526"/>
                <a:gd name="T106" fmla="*/ 20 w 364"/>
                <a:gd name="T107" fmla="*/ 0 h 526"/>
                <a:gd name="T108" fmla="*/ 16 w 364"/>
                <a:gd name="T109" fmla="*/ 1 h 526"/>
                <a:gd name="T110" fmla="*/ 11 w 364"/>
                <a:gd name="T111" fmla="*/ 2 h 526"/>
                <a:gd name="T112" fmla="*/ 8 w 364"/>
                <a:gd name="T113" fmla="*/ 4 h 526"/>
                <a:gd name="T114" fmla="*/ 5 w 364"/>
                <a:gd name="T115" fmla="*/ 6 h 526"/>
                <a:gd name="T116" fmla="*/ 3 w 364"/>
                <a:gd name="T117" fmla="*/ 9 h 526"/>
                <a:gd name="T118" fmla="*/ 1 w 364"/>
                <a:gd name="T119" fmla="*/ 13 h 526"/>
                <a:gd name="T120" fmla="*/ 0 w 364"/>
                <a:gd name="T121" fmla="*/ 16 h 526"/>
                <a:gd name="T122" fmla="*/ 0 w 364"/>
                <a:gd name="T123" fmla="*/ 20 h 526"/>
                <a:gd name="T124" fmla="*/ 0 w 364"/>
                <a:gd name="T125" fmla="*/ 2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4" h="526">
                  <a:moveTo>
                    <a:pt x="0" y="20"/>
                  </a:moveTo>
                  <a:lnTo>
                    <a:pt x="0" y="223"/>
                  </a:lnTo>
                  <a:lnTo>
                    <a:pt x="0" y="223"/>
                  </a:lnTo>
                  <a:lnTo>
                    <a:pt x="0" y="227"/>
                  </a:lnTo>
                  <a:lnTo>
                    <a:pt x="1" y="230"/>
                  </a:lnTo>
                  <a:lnTo>
                    <a:pt x="3" y="235"/>
                  </a:lnTo>
                  <a:lnTo>
                    <a:pt x="5" y="237"/>
                  </a:lnTo>
                  <a:lnTo>
                    <a:pt x="8" y="240"/>
                  </a:lnTo>
                  <a:lnTo>
                    <a:pt x="11" y="241"/>
                  </a:lnTo>
                  <a:lnTo>
                    <a:pt x="16" y="243"/>
                  </a:lnTo>
                  <a:lnTo>
                    <a:pt x="20" y="243"/>
                  </a:lnTo>
                  <a:lnTo>
                    <a:pt x="162" y="243"/>
                  </a:lnTo>
                  <a:lnTo>
                    <a:pt x="162" y="506"/>
                  </a:lnTo>
                  <a:lnTo>
                    <a:pt x="162" y="506"/>
                  </a:lnTo>
                  <a:lnTo>
                    <a:pt x="162" y="510"/>
                  </a:lnTo>
                  <a:lnTo>
                    <a:pt x="163" y="515"/>
                  </a:lnTo>
                  <a:lnTo>
                    <a:pt x="165" y="518"/>
                  </a:lnTo>
                  <a:lnTo>
                    <a:pt x="167" y="521"/>
                  </a:lnTo>
                  <a:lnTo>
                    <a:pt x="170" y="523"/>
                  </a:lnTo>
                  <a:lnTo>
                    <a:pt x="173" y="525"/>
                  </a:lnTo>
                  <a:lnTo>
                    <a:pt x="178" y="526"/>
                  </a:lnTo>
                  <a:lnTo>
                    <a:pt x="182" y="526"/>
                  </a:lnTo>
                  <a:lnTo>
                    <a:pt x="182" y="526"/>
                  </a:lnTo>
                  <a:lnTo>
                    <a:pt x="186" y="526"/>
                  </a:lnTo>
                  <a:lnTo>
                    <a:pt x="189" y="525"/>
                  </a:lnTo>
                  <a:lnTo>
                    <a:pt x="193" y="523"/>
                  </a:lnTo>
                  <a:lnTo>
                    <a:pt x="196" y="521"/>
                  </a:lnTo>
                  <a:lnTo>
                    <a:pt x="198" y="518"/>
                  </a:lnTo>
                  <a:lnTo>
                    <a:pt x="200" y="515"/>
                  </a:lnTo>
                  <a:lnTo>
                    <a:pt x="201" y="510"/>
                  </a:lnTo>
                  <a:lnTo>
                    <a:pt x="202" y="506"/>
                  </a:lnTo>
                  <a:lnTo>
                    <a:pt x="202" y="243"/>
                  </a:lnTo>
                  <a:lnTo>
                    <a:pt x="344" y="243"/>
                  </a:lnTo>
                  <a:lnTo>
                    <a:pt x="344" y="243"/>
                  </a:lnTo>
                  <a:lnTo>
                    <a:pt x="348" y="243"/>
                  </a:lnTo>
                  <a:lnTo>
                    <a:pt x="351" y="241"/>
                  </a:lnTo>
                  <a:lnTo>
                    <a:pt x="355" y="240"/>
                  </a:lnTo>
                  <a:lnTo>
                    <a:pt x="358" y="237"/>
                  </a:lnTo>
                  <a:lnTo>
                    <a:pt x="360" y="235"/>
                  </a:lnTo>
                  <a:lnTo>
                    <a:pt x="362" y="230"/>
                  </a:lnTo>
                  <a:lnTo>
                    <a:pt x="363" y="227"/>
                  </a:lnTo>
                  <a:lnTo>
                    <a:pt x="364" y="223"/>
                  </a:lnTo>
                  <a:lnTo>
                    <a:pt x="364" y="20"/>
                  </a:lnTo>
                  <a:lnTo>
                    <a:pt x="364" y="20"/>
                  </a:lnTo>
                  <a:lnTo>
                    <a:pt x="363" y="16"/>
                  </a:lnTo>
                  <a:lnTo>
                    <a:pt x="362" y="13"/>
                  </a:lnTo>
                  <a:lnTo>
                    <a:pt x="360" y="9"/>
                  </a:lnTo>
                  <a:lnTo>
                    <a:pt x="358" y="6"/>
                  </a:lnTo>
                  <a:lnTo>
                    <a:pt x="355" y="4"/>
                  </a:lnTo>
                  <a:lnTo>
                    <a:pt x="351" y="2"/>
                  </a:lnTo>
                  <a:lnTo>
                    <a:pt x="348" y="1"/>
                  </a:lnTo>
                  <a:lnTo>
                    <a:pt x="344" y="0"/>
                  </a:lnTo>
                  <a:lnTo>
                    <a:pt x="20" y="0"/>
                  </a:lnTo>
                  <a:lnTo>
                    <a:pt x="20" y="0"/>
                  </a:lnTo>
                  <a:lnTo>
                    <a:pt x="16" y="1"/>
                  </a:lnTo>
                  <a:lnTo>
                    <a:pt x="11" y="2"/>
                  </a:lnTo>
                  <a:lnTo>
                    <a:pt x="8" y="4"/>
                  </a:lnTo>
                  <a:lnTo>
                    <a:pt x="5" y="6"/>
                  </a:lnTo>
                  <a:lnTo>
                    <a:pt x="3" y="9"/>
                  </a:lnTo>
                  <a:lnTo>
                    <a:pt x="1" y="13"/>
                  </a:lnTo>
                  <a:lnTo>
                    <a:pt x="0" y="16"/>
                  </a:lnTo>
                  <a:lnTo>
                    <a:pt x="0" y="20"/>
                  </a:lnTo>
                  <a:lnTo>
                    <a:pt x="0"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89">
              <a:extLst>
                <a:ext uri="{FF2B5EF4-FFF2-40B4-BE49-F238E27FC236}">
                  <a16:creationId xmlns:a16="http://schemas.microsoft.com/office/drawing/2014/main" id="{543B95BD-6354-005D-DE7B-7264F63CF5BF}"/>
                </a:ext>
              </a:extLst>
            </p:cNvPr>
            <p:cNvSpPr>
              <a:spLocks/>
            </p:cNvSpPr>
            <p:nvPr/>
          </p:nvSpPr>
          <p:spPr bwMode="auto">
            <a:xfrm>
              <a:off x="9212263" y="2109788"/>
              <a:ext cx="15875" cy="257175"/>
            </a:xfrm>
            <a:custGeom>
              <a:avLst/>
              <a:gdLst>
                <a:gd name="T0" fmla="*/ 0 w 40"/>
                <a:gd name="T1" fmla="*/ 627 h 647"/>
                <a:gd name="T2" fmla="*/ 0 w 40"/>
                <a:gd name="T3" fmla="*/ 0 h 647"/>
                <a:gd name="T4" fmla="*/ 40 w 40"/>
                <a:gd name="T5" fmla="*/ 0 h 647"/>
                <a:gd name="T6" fmla="*/ 40 w 40"/>
                <a:gd name="T7" fmla="*/ 627 h 647"/>
                <a:gd name="T8" fmla="*/ 40 w 40"/>
                <a:gd name="T9" fmla="*/ 627 h 647"/>
                <a:gd name="T10" fmla="*/ 40 w 40"/>
                <a:gd name="T11" fmla="*/ 631 h 647"/>
                <a:gd name="T12" fmla="*/ 39 w 40"/>
                <a:gd name="T13" fmla="*/ 636 h 647"/>
                <a:gd name="T14" fmla="*/ 37 w 40"/>
                <a:gd name="T15" fmla="*/ 639 h 647"/>
                <a:gd name="T16" fmla="*/ 35 w 40"/>
                <a:gd name="T17" fmla="*/ 642 h 647"/>
                <a:gd name="T18" fmla="*/ 32 w 40"/>
                <a:gd name="T19" fmla="*/ 644 h 647"/>
                <a:gd name="T20" fmla="*/ 28 w 40"/>
                <a:gd name="T21" fmla="*/ 646 h 647"/>
                <a:gd name="T22" fmla="*/ 24 w 40"/>
                <a:gd name="T23" fmla="*/ 647 h 647"/>
                <a:gd name="T24" fmla="*/ 21 w 40"/>
                <a:gd name="T25" fmla="*/ 647 h 647"/>
                <a:gd name="T26" fmla="*/ 21 w 40"/>
                <a:gd name="T27" fmla="*/ 647 h 647"/>
                <a:gd name="T28" fmla="*/ 17 w 40"/>
                <a:gd name="T29" fmla="*/ 647 h 647"/>
                <a:gd name="T30" fmla="*/ 12 w 40"/>
                <a:gd name="T31" fmla="*/ 646 h 647"/>
                <a:gd name="T32" fmla="*/ 9 w 40"/>
                <a:gd name="T33" fmla="*/ 644 h 647"/>
                <a:gd name="T34" fmla="*/ 6 w 40"/>
                <a:gd name="T35" fmla="*/ 642 h 647"/>
                <a:gd name="T36" fmla="*/ 4 w 40"/>
                <a:gd name="T37" fmla="*/ 639 h 647"/>
                <a:gd name="T38" fmla="*/ 2 w 40"/>
                <a:gd name="T39" fmla="*/ 636 h 647"/>
                <a:gd name="T40" fmla="*/ 0 w 40"/>
                <a:gd name="T41" fmla="*/ 631 h 647"/>
                <a:gd name="T42" fmla="*/ 0 w 40"/>
                <a:gd name="T43" fmla="*/ 627 h 647"/>
                <a:gd name="T44" fmla="*/ 0 w 40"/>
                <a:gd name="T45" fmla="*/ 62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647">
                  <a:moveTo>
                    <a:pt x="0" y="627"/>
                  </a:moveTo>
                  <a:lnTo>
                    <a:pt x="0" y="0"/>
                  </a:lnTo>
                  <a:lnTo>
                    <a:pt x="40" y="0"/>
                  </a:lnTo>
                  <a:lnTo>
                    <a:pt x="40" y="627"/>
                  </a:lnTo>
                  <a:lnTo>
                    <a:pt x="40" y="627"/>
                  </a:lnTo>
                  <a:lnTo>
                    <a:pt x="40" y="631"/>
                  </a:lnTo>
                  <a:lnTo>
                    <a:pt x="39" y="636"/>
                  </a:lnTo>
                  <a:lnTo>
                    <a:pt x="37" y="639"/>
                  </a:lnTo>
                  <a:lnTo>
                    <a:pt x="35" y="642"/>
                  </a:lnTo>
                  <a:lnTo>
                    <a:pt x="32" y="644"/>
                  </a:lnTo>
                  <a:lnTo>
                    <a:pt x="28" y="646"/>
                  </a:lnTo>
                  <a:lnTo>
                    <a:pt x="24" y="647"/>
                  </a:lnTo>
                  <a:lnTo>
                    <a:pt x="21" y="647"/>
                  </a:lnTo>
                  <a:lnTo>
                    <a:pt x="21" y="647"/>
                  </a:lnTo>
                  <a:lnTo>
                    <a:pt x="17" y="647"/>
                  </a:lnTo>
                  <a:lnTo>
                    <a:pt x="12" y="646"/>
                  </a:lnTo>
                  <a:lnTo>
                    <a:pt x="9" y="644"/>
                  </a:lnTo>
                  <a:lnTo>
                    <a:pt x="6" y="642"/>
                  </a:lnTo>
                  <a:lnTo>
                    <a:pt x="4" y="639"/>
                  </a:lnTo>
                  <a:lnTo>
                    <a:pt x="2" y="636"/>
                  </a:lnTo>
                  <a:lnTo>
                    <a:pt x="0" y="631"/>
                  </a:lnTo>
                  <a:lnTo>
                    <a:pt x="0" y="627"/>
                  </a:lnTo>
                  <a:lnTo>
                    <a:pt x="0" y="6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90">
              <a:extLst>
                <a:ext uri="{FF2B5EF4-FFF2-40B4-BE49-F238E27FC236}">
                  <a16:creationId xmlns:a16="http://schemas.microsoft.com/office/drawing/2014/main" id="{BB7C06CD-C588-0E8C-C7F7-B8A586DA7C5E}"/>
                </a:ext>
              </a:extLst>
            </p:cNvPr>
            <p:cNvSpPr>
              <a:spLocks/>
            </p:cNvSpPr>
            <p:nvPr/>
          </p:nvSpPr>
          <p:spPr bwMode="auto">
            <a:xfrm>
              <a:off x="9147175" y="1868488"/>
              <a:ext cx="144463" cy="209550"/>
            </a:xfrm>
            <a:custGeom>
              <a:avLst/>
              <a:gdLst>
                <a:gd name="T0" fmla="*/ 0 w 363"/>
                <a:gd name="T1" fmla="*/ 506 h 526"/>
                <a:gd name="T2" fmla="*/ 0 w 363"/>
                <a:gd name="T3" fmla="*/ 303 h 526"/>
                <a:gd name="T4" fmla="*/ 0 w 363"/>
                <a:gd name="T5" fmla="*/ 303 h 526"/>
                <a:gd name="T6" fmla="*/ 0 w 363"/>
                <a:gd name="T7" fmla="*/ 299 h 526"/>
                <a:gd name="T8" fmla="*/ 1 w 363"/>
                <a:gd name="T9" fmla="*/ 296 h 526"/>
                <a:gd name="T10" fmla="*/ 3 w 363"/>
                <a:gd name="T11" fmla="*/ 291 h 526"/>
                <a:gd name="T12" fmla="*/ 5 w 363"/>
                <a:gd name="T13" fmla="*/ 289 h 526"/>
                <a:gd name="T14" fmla="*/ 8 w 363"/>
                <a:gd name="T15" fmla="*/ 286 h 526"/>
                <a:gd name="T16" fmla="*/ 11 w 363"/>
                <a:gd name="T17" fmla="*/ 285 h 526"/>
                <a:gd name="T18" fmla="*/ 16 w 363"/>
                <a:gd name="T19" fmla="*/ 283 h 526"/>
                <a:gd name="T20" fmla="*/ 19 w 363"/>
                <a:gd name="T21" fmla="*/ 283 h 526"/>
                <a:gd name="T22" fmla="*/ 161 w 363"/>
                <a:gd name="T23" fmla="*/ 283 h 526"/>
                <a:gd name="T24" fmla="*/ 161 w 363"/>
                <a:gd name="T25" fmla="*/ 20 h 526"/>
                <a:gd name="T26" fmla="*/ 161 w 363"/>
                <a:gd name="T27" fmla="*/ 20 h 526"/>
                <a:gd name="T28" fmla="*/ 161 w 363"/>
                <a:gd name="T29" fmla="*/ 16 h 526"/>
                <a:gd name="T30" fmla="*/ 163 w 363"/>
                <a:gd name="T31" fmla="*/ 11 h 526"/>
                <a:gd name="T32" fmla="*/ 165 w 363"/>
                <a:gd name="T33" fmla="*/ 8 h 526"/>
                <a:gd name="T34" fmla="*/ 167 w 363"/>
                <a:gd name="T35" fmla="*/ 5 h 526"/>
                <a:gd name="T36" fmla="*/ 170 w 363"/>
                <a:gd name="T37" fmla="*/ 3 h 526"/>
                <a:gd name="T38" fmla="*/ 173 w 363"/>
                <a:gd name="T39" fmla="*/ 1 h 526"/>
                <a:gd name="T40" fmla="*/ 178 w 363"/>
                <a:gd name="T41" fmla="*/ 0 h 526"/>
                <a:gd name="T42" fmla="*/ 182 w 363"/>
                <a:gd name="T43" fmla="*/ 0 h 526"/>
                <a:gd name="T44" fmla="*/ 182 w 363"/>
                <a:gd name="T45" fmla="*/ 0 h 526"/>
                <a:gd name="T46" fmla="*/ 185 w 363"/>
                <a:gd name="T47" fmla="*/ 0 h 526"/>
                <a:gd name="T48" fmla="*/ 189 w 363"/>
                <a:gd name="T49" fmla="*/ 1 h 526"/>
                <a:gd name="T50" fmla="*/ 193 w 363"/>
                <a:gd name="T51" fmla="*/ 3 h 526"/>
                <a:gd name="T52" fmla="*/ 196 w 363"/>
                <a:gd name="T53" fmla="*/ 5 h 526"/>
                <a:gd name="T54" fmla="*/ 198 w 363"/>
                <a:gd name="T55" fmla="*/ 8 h 526"/>
                <a:gd name="T56" fmla="*/ 200 w 363"/>
                <a:gd name="T57" fmla="*/ 11 h 526"/>
                <a:gd name="T58" fmla="*/ 201 w 363"/>
                <a:gd name="T59" fmla="*/ 16 h 526"/>
                <a:gd name="T60" fmla="*/ 201 w 363"/>
                <a:gd name="T61" fmla="*/ 20 h 526"/>
                <a:gd name="T62" fmla="*/ 201 w 363"/>
                <a:gd name="T63" fmla="*/ 283 h 526"/>
                <a:gd name="T64" fmla="*/ 344 w 363"/>
                <a:gd name="T65" fmla="*/ 283 h 526"/>
                <a:gd name="T66" fmla="*/ 344 w 363"/>
                <a:gd name="T67" fmla="*/ 283 h 526"/>
                <a:gd name="T68" fmla="*/ 347 w 363"/>
                <a:gd name="T69" fmla="*/ 283 h 526"/>
                <a:gd name="T70" fmla="*/ 351 w 363"/>
                <a:gd name="T71" fmla="*/ 285 h 526"/>
                <a:gd name="T72" fmla="*/ 355 w 363"/>
                <a:gd name="T73" fmla="*/ 286 h 526"/>
                <a:gd name="T74" fmla="*/ 358 w 363"/>
                <a:gd name="T75" fmla="*/ 289 h 526"/>
                <a:gd name="T76" fmla="*/ 360 w 363"/>
                <a:gd name="T77" fmla="*/ 291 h 526"/>
                <a:gd name="T78" fmla="*/ 362 w 363"/>
                <a:gd name="T79" fmla="*/ 296 h 526"/>
                <a:gd name="T80" fmla="*/ 363 w 363"/>
                <a:gd name="T81" fmla="*/ 299 h 526"/>
                <a:gd name="T82" fmla="*/ 363 w 363"/>
                <a:gd name="T83" fmla="*/ 303 h 526"/>
                <a:gd name="T84" fmla="*/ 363 w 363"/>
                <a:gd name="T85" fmla="*/ 506 h 526"/>
                <a:gd name="T86" fmla="*/ 363 w 363"/>
                <a:gd name="T87" fmla="*/ 506 h 526"/>
                <a:gd name="T88" fmla="*/ 363 w 363"/>
                <a:gd name="T89" fmla="*/ 510 h 526"/>
                <a:gd name="T90" fmla="*/ 362 w 363"/>
                <a:gd name="T91" fmla="*/ 513 h 526"/>
                <a:gd name="T92" fmla="*/ 360 w 363"/>
                <a:gd name="T93" fmla="*/ 516 h 526"/>
                <a:gd name="T94" fmla="*/ 358 w 363"/>
                <a:gd name="T95" fmla="*/ 520 h 526"/>
                <a:gd name="T96" fmla="*/ 355 w 363"/>
                <a:gd name="T97" fmla="*/ 522 h 526"/>
                <a:gd name="T98" fmla="*/ 351 w 363"/>
                <a:gd name="T99" fmla="*/ 524 h 526"/>
                <a:gd name="T100" fmla="*/ 347 w 363"/>
                <a:gd name="T101" fmla="*/ 525 h 526"/>
                <a:gd name="T102" fmla="*/ 344 w 363"/>
                <a:gd name="T103" fmla="*/ 526 h 526"/>
                <a:gd name="T104" fmla="*/ 19 w 363"/>
                <a:gd name="T105" fmla="*/ 526 h 526"/>
                <a:gd name="T106" fmla="*/ 19 w 363"/>
                <a:gd name="T107" fmla="*/ 526 h 526"/>
                <a:gd name="T108" fmla="*/ 16 w 363"/>
                <a:gd name="T109" fmla="*/ 525 h 526"/>
                <a:gd name="T110" fmla="*/ 11 w 363"/>
                <a:gd name="T111" fmla="*/ 524 h 526"/>
                <a:gd name="T112" fmla="*/ 8 w 363"/>
                <a:gd name="T113" fmla="*/ 522 h 526"/>
                <a:gd name="T114" fmla="*/ 5 w 363"/>
                <a:gd name="T115" fmla="*/ 520 h 526"/>
                <a:gd name="T116" fmla="*/ 3 w 363"/>
                <a:gd name="T117" fmla="*/ 516 h 526"/>
                <a:gd name="T118" fmla="*/ 1 w 363"/>
                <a:gd name="T119" fmla="*/ 513 h 526"/>
                <a:gd name="T120" fmla="*/ 0 w 363"/>
                <a:gd name="T121" fmla="*/ 510 h 526"/>
                <a:gd name="T122" fmla="*/ 0 w 363"/>
                <a:gd name="T123" fmla="*/ 506 h 526"/>
                <a:gd name="T124" fmla="*/ 0 w 363"/>
                <a:gd name="T125" fmla="*/ 50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3" h="526">
                  <a:moveTo>
                    <a:pt x="0" y="506"/>
                  </a:moveTo>
                  <a:lnTo>
                    <a:pt x="0" y="303"/>
                  </a:lnTo>
                  <a:lnTo>
                    <a:pt x="0" y="303"/>
                  </a:lnTo>
                  <a:lnTo>
                    <a:pt x="0" y="299"/>
                  </a:lnTo>
                  <a:lnTo>
                    <a:pt x="1" y="296"/>
                  </a:lnTo>
                  <a:lnTo>
                    <a:pt x="3" y="291"/>
                  </a:lnTo>
                  <a:lnTo>
                    <a:pt x="5" y="289"/>
                  </a:lnTo>
                  <a:lnTo>
                    <a:pt x="8" y="286"/>
                  </a:lnTo>
                  <a:lnTo>
                    <a:pt x="11" y="285"/>
                  </a:lnTo>
                  <a:lnTo>
                    <a:pt x="16" y="283"/>
                  </a:lnTo>
                  <a:lnTo>
                    <a:pt x="19" y="283"/>
                  </a:lnTo>
                  <a:lnTo>
                    <a:pt x="161" y="283"/>
                  </a:lnTo>
                  <a:lnTo>
                    <a:pt x="161" y="20"/>
                  </a:lnTo>
                  <a:lnTo>
                    <a:pt x="161" y="20"/>
                  </a:lnTo>
                  <a:lnTo>
                    <a:pt x="161" y="16"/>
                  </a:lnTo>
                  <a:lnTo>
                    <a:pt x="163" y="11"/>
                  </a:lnTo>
                  <a:lnTo>
                    <a:pt x="165" y="8"/>
                  </a:lnTo>
                  <a:lnTo>
                    <a:pt x="167" y="5"/>
                  </a:lnTo>
                  <a:lnTo>
                    <a:pt x="170" y="3"/>
                  </a:lnTo>
                  <a:lnTo>
                    <a:pt x="173" y="1"/>
                  </a:lnTo>
                  <a:lnTo>
                    <a:pt x="178" y="0"/>
                  </a:lnTo>
                  <a:lnTo>
                    <a:pt x="182" y="0"/>
                  </a:lnTo>
                  <a:lnTo>
                    <a:pt x="182" y="0"/>
                  </a:lnTo>
                  <a:lnTo>
                    <a:pt x="185" y="0"/>
                  </a:lnTo>
                  <a:lnTo>
                    <a:pt x="189" y="1"/>
                  </a:lnTo>
                  <a:lnTo>
                    <a:pt x="193" y="3"/>
                  </a:lnTo>
                  <a:lnTo>
                    <a:pt x="196" y="5"/>
                  </a:lnTo>
                  <a:lnTo>
                    <a:pt x="198" y="8"/>
                  </a:lnTo>
                  <a:lnTo>
                    <a:pt x="200" y="11"/>
                  </a:lnTo>
                  <a:lnTo>
                    <a:pt x="201" y="16"/>
                  </a:lnTo>
                  <a:lnTo>
                    <a:pt x="201" y="20"/>
                  </a:lnTo>
                  <a:lnTo>
                    <a:pt x="201" y="283"/>
                  </a:lnTo>
                  <a:lnTo>
                    <a:pt x="344" y="283"/>
                  </a:lnTo>
                  <a:lnTo>
                    <a:pt x="344" y="283"/>
                  </a:lnTo>
                  <a:lnTo>
                    <a:pt x="347" y="283"/>
                  </a:lnTo>
                  <a:lnTo>
                    <a:pt x="351" y="285"/>
                  </a:lnTo>
                  <a:lnTo>
                    <a:pt x="355" y="286"/>
                  </a:lnTo>
                  <a:lnTo>
                    <a:pt x="358" y="289"/>
                  </a:lnTo>
                  <a:lnTo>
                    <a:pt x="360" y="291"/>
                  </a:lnTo>
                  <a:lnTo>
                    <a:pt x="362" y="296"/>
                  </a:lnTo>
                  <a:lnTo>
                    <a:pt x="363" y="299"/>
                  </a:lnTo>
                  <a:lnTo>
                    <a:pt x="363" y="303"/>
                  </a:lnTo>
                  <a:lnTo>
                    <a:pt x="363" y="506"/>
                  </a:lnTo>
                  <a:lnTo>
                    <a:pt x="363" y="506"/>
                  </a:lnTo>
                  <a:lnTo>
                    <a:pt x="363" y="510"/>
                  </a:lnTo>
                  <a:lnTo>
                    <a:pt x="362" y="513"/>
                  </a:lnTo>
                  <a:lnTo>
                    <a:pt x="360" y="516"/>
                  </a:lnTo>
                  <a:lnTo>
                    <a:pt x="358" y="520"/>
                  </a:lnTo>
                  <a:lnTo>
                    <a:pt x="355" y="522"/>
                  </a:lnTo>
                  <a:lnTo>
                    <a:pt x="351" y="524"/>
                  </a:lnTo>
                  <a:lnTo>
                    <a:pt x="347" y="525"/>
                  </a:lnTo>
                  <a:lnTo>
                    <a:pt x="344" y="526"/>
                  </a:lnTo>
                  <a:lnTo>
                    <a:pt x="19" y="526"/>
                  </a:lnTo>
                  <a:lnTo>
                    <a:pt x="19" y="526"/>
                  </a:lnTo>
                  <a:lnTo>
                    <a:pt x="16" y="525"/>
                  </a:lnTo>
                  <a:lnTo>
                    <a:pt x="11" y="524"/>
                  </a:lnTo>
                  <a:lnTo>
                    <a:pt x="8" y="522"/>
                  </a:lnTo>
                  <a:lnTo>
                    <a:pt x="5" y="520"/>
                  </a:lnTo>
                  <a:lnTo>
                    <a:pt x="3" y="516"/>
                  </a:lnTo>
                  <a:lnTo>
                    <a:pt x="1" y="513"/>
                  </a:lnTo>
                  <a:lnTo>
                    <a:pt x="0" y="510"/>
                  </a:lnTo>
                  <a:lnTo>
                    <a:pt x="0" y="506"/>
                  </a:lnTo>
                  <a:lnTo>
                    <a:pt x="0" y="5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 name="Rectangle 42">
            <a:extLst>
              <a:ext uri="{FF2B5EF4-FFF2-40B4-BE49-F238E27FC236}">
                <a16:creationId xmlns:a16="http://schemas.microsoft.com/office/drawing/2014/main" id="{043FAA6A-6CDC-5490-EE8B-9796C27CFA26}"/>
              </a:ext>
            </a:extLst>
          </p:cNvPr>
          <p:cNvSpPr/>
          <p:nvPr/>
        </p:nvSpPr>
        <p:spPr>
          <a:xfrm>
            <a:off x="6521459" y="1836268"/>
            <a:ext cx="1638369" cy="312641"/>
          </a:xfrm>
          <a:prstGeom prst="rect">
            <a:avLst/>
          </a:prstGeom>
        </p:spPr>
        <p:txBody>
          <a:bodyPr wrap="none">
            <a:spAutoFit/>
          </a:bodyPr>
          <a:lstStyle/>
          <a:p>
            <a:r>
              <a:rPr lang="en-US" sz="1200" spc="300" dirty="0">
                <a:latin typeface="Open Sans Regular" panose="020B0606030504020204" pitchFamily="34" charset="0"/>
                <a:ea typeface="Open Sans"/>
                <a:cs typeface="Open Sans"/>
                <a:sym typeface="Open Sans"/>
              </a:rPr>
              <a:t>SYNTHESIZE</a:t>
            </a:r>
            <a:endParaRPr lang="en-US" sz="1200" spc="300" dirty="0"/>
          </a:p>
        </p:txBody>
      </p:sp>
      <p:sp>
        <p:nvSpPr>
          <p:cNvPr id="52" name="Rectangle 51">
            <a:extLst>
              <a:ext uri="{FF2B5EF4-FFF2-40B4-BE49-F238E27FC236}">
                <a16:creationId xmlns:a16="http://schemas.microsoft.com/office/drawing/2014/main" id="{E8C22CDB-7238-B549-EC7D-250B3B5173F9}"/>
              </a:ext>
            </a:extLst>
          </p:cNvPr>
          <p:cNvSpPr/>
          <p:nvPr/>
        </p:nvSpPr>
        <p:spPr>
          <a:xfrm>
            <a:off x="9472196" y="1792582"/>
            <a:ext cx="1155316" cy="276999"/>
          </a:xfrm>
          <a:prstGeom prst="rect">
            <a:avLst/>
          </a:prstGeom>
        </p:spPr>
        <p:txBody>
          <a:bodyPr wrap="none">
            <a:spAutoFit/>
          </a:bodyPr>
          <a:lstStyle/>
          <a:p>
            <a:r>
              <a:rPr lang="en-US" sz="1200" spc="300" dirty="0">
                <a:latin typeface="Open Sans Regular" panose="020B0606030504020204" pitchFamily="34" charset="0"/>
                <a:ea typeface="Open Sans"/>
                <a:cs typeface="Open Sans"/>
                <a:sym typeface="Open Sans"/>
              </a:rPr>
              <a:t>ACTIVATE</a:t>
            </a:r>
            <a:endParaRPr lang="en-US" sz="1200" spc="300" dirty="0"/>
          </a:p>
        </p:txBody>
      </p:sp>
      <p:sp>
        <p:nvSpPr>
          <p:cNvPr id="54" name="Rectangle 53">
            <a:extLst>
              <a:ext uri="{FF2B5EF4-FFF2-40B4-BE49-F238E27FC236}">
                <a16:creationId xmlns:a16="http://schemas.microsoft.com/office/drawing/2014/main" id="{0DE5E342-EFDF-06E7-7A81-480DCB0D645A}"/>
              </a:ext>
            </a:extLst>
          </p:cNvPr>
          <p:cNvSpPr/>
          <p:nvPr/>
        </p:nvSpPr>
        <p:spPr>
          <a:xfrm rot="-5400000">
            <a:off x="-452249" y="3813089"/>
            <a:ext cx="1828800" cy="281103"/>
          </a:xfrm>
          <a:prstGeom prst="rect">
            <a:avLst/>
          </a:prstGeom>
        </p:spPr>
        <p:txBody>
          <a:bodyPr lIns="0">
            <a:spAutoFit/>
          </a:bodyPr>
          <a:lstStyle/>
          <a:p>
            <a:pPr>
              <a:lnSpc>
                <a:spcPct val="120000"/>
              </a:lnSpc>
              <a:spcBef>
                <a:spcPts val="600"/>
              </a:spcBef>
            </a:pPr>
            <a:r>
              <a:rPr lang="en-US" sz="1100" spc="300" dirty="0">
                <a:solidFill>
                  <a:schemeClr val="accent1"/>
                </a:solidFill>
                <a:latin typeface="Open Sans Regular" panose="020B0606030504020204" pitchFamily="34" charset="0"/>
                <a:sym typeface="Open Sans"/>
              </a:rPr>
              <a:t>KEY ACTIVITIES</a:t>
            </a:r>
          </a:p>
        </p:txBody>
      </p:sp>
      <p:sp>
        <p:nvSpPr>
          <p:cNvPr id="56" name="Rectangle 55">
            <a:extLst>
              <a:ext uri="{FF2B5EF4-FFF2-40B4-BE49-F238E27FC236}">
                <a16:creationId xmlns:a16="http://schemas.microsoft.com/office/drawing/2014/main" id="{7E3686BC-199B-FF9A-394B-CE57277F4DED}"/>
              </a:ext>
            </a:extLst>
          </p:cNvPr>
          <p:cNvSpPr/>
          <p:nvPr/>
        </p:nvSpPr>
        <p:spPr>
          <a:xfrm rot="-5400000">
            <a:off x="-466755" y="5627852"/>
            <a:ext cx="1828800" cy="281103"/>
          </a:xfrm>
          <a:prstGeom prst="rect">
            <a:avLst/>
          </a:prstGeom>
        </p:spPr>
        <p:txBody>
          <a:bodyPr lIns="0">
            <a:spAutoFit/>
          </a:bodyPr>
          <a:lstStyle/>
          <a:p>
            <a:pPr>
              <a:lnSpc>
                <a:spcPct val="120000"/>
              </a:lnSpc>
              <a:spcBef>
                <a:spcPts val="600"/>
              </a:spcBef>
            </a:pPr>
            <a:r>
              <a:rPr lang="en-US" sz="1100" spc="300" dirty="0">
                <a:solidFill>
                  <a:schemeClr val="accent1"/>
                </a:solidFill>
                <a:latin typeface="Open Sans Regular" panose="020B0606030504020204" pitchFamily="34" charset="0"/>
                <a:sym typeface="Open Sans"/>
              </a:rPr>
              <a:t>DELIVERABLES</a:t>
            </a:r>
          </a:p>
        </p:txBody>
      </p:sp>
      <p:sp>
        <p:nvSpPr>
          <p:cNvPr id="57" name="Rectangle 56">
            <a:extLst>
              <a:ext uri="{FF2B5EF4-FFF2-40B4-BE49-F238E27FC236}">
                <a16:creationId xmlns:a16="http://schemas.microsoft.com/office/drawing/2014/main" id="{AF8C8D9A-FB71-739F-FC8F-9AF288A9B7CD}"/>
              </a:ext>
            </a:extLst>
          </p:cNvPr>
          <p:cNvSpPr/>
          <p:nvPr/>
        </p:nvSpPr>
        <p:spPr>
          <a:xfrm rot="16200000">
            <a:off x="-472302" y="1918114"/>
            <a:ext cx="1828800" cy="281103"/>
          </a:xfrm>
          <a:prstGeom prst="rect">
            <a:avLst/>
          </a:prstGeom>
        </p:spPr>
        <p:txBody>
          <a:bodyPr lIns="0" tIns="45720" rIns="91440" bIns="45720" anchor="t">
            <a:spAutoFit/>
          </a:bodyPr>
          <a:lstStyle/>
          <a:p>
            <a:pPr>
              <a:lnSpc>
                <a:spcPct val="120000"/>
              </a:lnSpc>
              <a:spcBef>
                <a:spcPts val="600"/>
              </a:spcBef>
            </a:pPr>
            <a:r>
              <a:rPr lang="en-US" sz="1100" spc="300" dirty="0">
                <a:solidFill>
                  <a:schemeClr val="accent1"/>
                </a:solidFill>
                <a:latin typeface="Open Sans Regular"/>
                <a:ea typeface="Open Sans Regular"/>
                <a:cs typeface="Open Sans Regular"/>
                <a:sym typeface="Open Sans"/>
              </a:rPr>
              <a:t>OBJECTIVES</a:t>
            </a:r>
            <a:endParaRPr lang="en-US" sz="1100" spc="300" dirty="0">
              <a:solidFill>
                <a:schemeClr val="accent1"/>
              </a:solidFill>
              <a:latin typeface="Open Sans Regular" panose="020B0606030504020204" pitchFamily="34" charset="0"/>
              <a:sym typeface="Open Sans"/>
            </a:endParaRPr>
          </a:p>
        </p:txBody>
      </p:sp>
      <p:sp>
        <p:nvSpPr>
          <p:cNvPr id="59" name="TextBox 58">
            <a:extLst>
              <a:ext uri="{FF2B5EF4-FFF2-40B4-BE49-F238E27FC236}">
                <a16:creationId xmlns:a16="http://schemas.microsoft.com/office/drawing/2014/main" id="{94451CCA-82D0-443C-46EF-6ACFBD815EDB}"/>
              </a:ext>
            </a:extLst>
          </p:cNvPr>
          <p:cNvSpPr txBox="1">
            <a:spLocks/>
          </p:cNvSpPr>
          <p:nvPr/>
        </p:nvSpPr>
        <p:spPr>
          <a:xfrm>
            <a:off x="769015" y="3092042"/>
            <a:ext cx="2374176" cy="2308324"/>
          </a:xfrm>
          <a:prstGeom prst="rect">
            <a:avLst/>
          </a:prstGeom>
          <a:noFill/>
        </p:spPr>
        <p:txBody>
          <a:bodyPr vert="horz" wrap="square" lIns="0" tIns="0" rIns="0" bIns="0" rtlCol="0" anchor="t">
            <a:spAutoFit/>
          </a:bodyPr>
          <a:lstStyle/>
          <a:p>
            <a:pPr>
              <a:spcAft>
                <a:spcPts val="600"/>
              </a:spcAft>
              <a:buSzPct val="100000"/>
            </a:pPr>
            <a:r>
              <a:rPr lang="en-US" sz="1000" dirty="0">
                <a:latin typeface="Open Sans"/>
                <a:ea typeface="Open Sans"/>
                <a:cs typeface="Open Sans"/>
              </a:rPr>
              <a:t>A multi faceted research approach:</a:t>
            </a:r>
          </a:p>
          <a:p>
            <a:pPr marL="171450" indent="-171450">
              <a:spcBef>
                <a:spcPts val="600"/>
              </a:spcBef>
              <a:buSzPct val="100000"/>
              <a:buFont typeface="Arial" panose="020B0604020202020204" pitchFamily="34" charset="0"/>
              <a:buChar char="•"/>
            </a:pPr>
            <a:r>
              <a:rPr lang="en-US" sz="1000" dirty="0">
                <a:latin typeface="Open Sans Regular" panose="020B0606030504020204" pitchFamily="34" charset="0"/>
              </a:rPr>
              <a:t>Complete executive and stakeholder interviews</a:t>
            </a:r>
          </a:p>
          <a:p>
            <a:pPr marL="171450" indent="-171450">
              <a:spcBef>
                <a:spcPts val="600"/>
              </a:spcBef>
              <a:buSzPct val="100000"/>
              <a:buFont typeface="Arial" panose="020B0604020202020204" pitchFamily="34" charset="0"/>
              <a:buChar char="•"/>
            </a:pPr>
            <a:r>
              <a:rPr lang="en-US" sz="1000" dirty="0">
                <a:latin typeface="Open Sans Regular" panose="020B0606030504020204" pitchFamily="34" charset="0"/>
              </a:rPr>
              <a:t>Synthesize existing primary and secondary research and analysis</a:t>
            </a:r>
          </a:p>
          <a:p>
            <a:pPr marL="171450" indent="-171450">
              <a:spcBef>
                <a:spcPts val="600"/>
              </a:spcBef>
              <a:buSzPct val="100000"/>
              <a:buFont typeface="Arial" panose="020B0604020202020204" pitchFamily="34" charset="0"/>
              <a:buChar char="•"/>
            </a:pPr>
            <a:r>
              <a:rPr lang="en-US" sz="1000" dirty="0">
                <a:latin typeface="Open Sans Regular"/>
                <a:ea typeface="Open Sans Regular"/>
                <a:cs typeface="Open Sans Regular"/>
              </a:rPr>
              <a:t>Review previous scenario work in depth</a:t>
            </a:r>
          </a:p>
          <a:p>
            <a:pPr marL="171450" indent="-171450">
              <a:spcBef>
                <a:spcPts val="600"/>
              </a:spcBef>
              <a:buSzPct val="100000"/>
              <a:buFont typeface="Arial" panose="020B0604020202020204" pitchFamily="34" charset="0"/>
              <a:buChar char="•"/>
            </a:pPr>
            <a:r>
              <a:rPr lang="en-US" sz="1000" dirty="0">
                <a:latin typeface="Open Sans Regular"/>
                <a:ea typeface="Open Sans Regular"/>
                <a:cs typeface="Open Sans Regular"/>
              </a:rPr>
              <a:t>Develop inputs &amp; materials for Workshops </a:t>
            </a:r>
            <a:endParaRPr lang="en-US" sz="1000" dirty="0">
              <a:latin typeface="Open Sans Regular" panose="020B0606030504020204" pitchFamily="34" charset="0"/>
              <a:ea typeface="Open Sans Regular"/>
              <a:cs typeface="Open Sans Regular"/>
            </a:endParaRPr>
          </a:p>
          <a:p>
            <a:pPr marL="171450" indent="-171450">
              <a:spcBef>
                <a:spcPts val="600"/>
              </a:spcBef>
              <a:buSzPct val="100000"/>
              <a:buFont typeface="Arial" panose="020B0604020202020204" pitchFamily="34" charset="0"/>
              <a:buChar char="•"/>
            </a:pPr>
            <a:r>
              <a:rPr lang="en-US" sz="1000" dirty="0">
                <a:latin typeface="Open Sans Regular" panose="020B0606030504020204" pitchFamily="34" charset="0"/>
              </a:rPr>
              <a:t>Identify potential outside experts (“RPs”) on critical themes and in priority regions</a:t>
            </a:r>
          </a:p>
        </p:txBody>
      </p:sp>
      <p:sp>
        <p:nvSpPr>
          <p:cNvPr id="61" name="TextBox 60">
            <a:extLst>
              <a:ext uri="{FF2B5EF4-FFF2-40B4-BE49-F238E27FC236}">
                <a16:creationId xmlns:a16="http://schemas.microsoft.com/office/drawing/2014/main" id="{9B36E346-FE63-A93D-B794-731E34A72C2E}"/>
              </a:ext>
            </a:extLst>
          </p:cNvPr>
          <p:cNvSpPr txBox="1">
            <a:spLocks/>
          </p:cNvSpPr>
          <p:nvPr/>
        </p:nvSpPr>
        <p:spPr>
          <a:xfrm>
            <a:off x="805352" y="5676974"/>
            <a:ext cx="1911412" cy="769441"/>
          </a:xfrm>
          <a:prstGeom prst="rect">
            <a:avLst/>
          </a:prstGeom>
          <a:noFill/>
        </p:spPr>
        <p:txBody>
          <a:bodyPr vert="horz" wrap="square" lIns="0" tIns="0" rIns="0" bIns="0" rtlCol="0" anchor="t">
            <a:spAutoFit/>
          </a:bodyPr>
          <a:lstStyle>
            <a:defPPr>
              <a:defRPr lang="en-US"/>
            </a:defPPr>
            <a:lvl1pPr marL="171450" indent="-171450">
              <a:lnSpc>
                <a:spcPct val="120000"/>
              </a:lnSpc>
              <a:buSzPct val="100000"/>
              <a:buFont typeface="Arial" panose="020B0604020202020204" pitchFamily="34" charset="0"/>
              <a:buChar char="•"/>
              <a:defRPr sz="1400">
                <a:solidFill>
                  <a:schemeClr val="tx1">
                    <a:lumMod val="65000"/>
                    <a:lumOff val="35000"/>
                  </a:schemeClr>
                </a:solidFill>
              </a:defRPr>
            </a:lvl1pPr>
          </a:lstStyle>
          <a:p>
            <a:pPr>
              <a:lnSpc>
                <a:spcPct val="100000"/>
              </a:lnSpc>
              <a:spcAft>
                <a:spcPts val="600"/>
              </a:spcAft>
            </a:pPr>
            <a:r>
              <a:rPr lang="en-US" sz="1000" dirty="0">
                <a:solidFill>
                  <a:schemeClr val="tx1"/>
                </a:solidFill>
                <a:latin typeface="Open Sans"/>
                <a:ea typeface="Open Sans"/>
                <a:cs typeface="Open Sans"/>
              </a:rPr>
              <a:t>Summary of Findings for Review</a:t>
            </a:r>
            <a:endParaRPr lang="en-US" dirty="0">
              <a:solidFill>
                <a:schemeClr val="tx1"/>
              </a:solidFill>
              <a:latin typeface="Calibri"/>
              <a:ea typeface="Calibri"/>
              <a:cs typeface="Calibri"/>
            </a:endParaRPr>
          </a:p>
          <a:p>
            <a:pPr>
              <a:lnSpc>
                <a:spcPct val="100000"/>
              </a:lnSpc>
              <a:spcAft>
                <a:spcPts val="600"/>
              </a:spcAft>
            </a:pPr>
            <a:r>
              <a:rPr lang="en-US" sz="1000" dirty="0">
                <a:solidFill>
                  <a:schemeClr val="tx1"/>
                </a:solidFill>
                <a:latin typeface="Open Sans"/>
                <a:ea typeface="Open Sans"/>
                <a:cs typeface="Open Sans"/>
              </a:rPr>
              <a:t>Workshop Materials</a:t>
            </a:r>
            <a:endParaRPr lang="en-US" dirty="0">
              <a:solidFill>
                <a:schemeClr val="tx1"/>
              </a:solidFill>
              <a:latin typeface="Calibri"/>
              <a:ea typeface="Calibri"/>
              <a:cs typeface="Calibri"/>
            </a:endParaRPr>
          </a:p>
          <a:p>
            <a:pPr>
              <a:lnSpc>
                <a:spcPct val="100000"/>
              </a:lnSpc>
            </a:pPr>
            <a:endParaRPr lang="en-US" sz="1000" dirty="0">
              <a:solidFill>
                <a:schemeClr val="tx1"/>
              </a:solidFill>
              <a:latin typeface="Open Sans Regular" panose="020B0606030504020204" pitchFamily="34" charset="0"/>
              <a:ea typeface="Open Sans Regular"/>
              <a:cs typeface="Open Sans Regular"/>
            </a:endParaRPr>
          </a:p>
        </p:txBody>
      </p:sp>
      <p:sp>
        <p:nvSpPr>
          <p:cNvPr id="62" name="TextBox 61">
            <a:extLst>
              <a:ext uri="{FF2B5EF4-FFF2-40B4-BE49-F238E27FC236}">
                <a16:creationId xmlns:a16="http://schemas.microsoft.com/office/drawing/2014/main" id="{264F898A-4AAB-F30F-1292-E47CB0FC6649}"/>
              </a:ext>
            </a:extLst>
          </p:cNvPr>
          <p:cNvSpPr txBox="1"/>
          <p:nvPr/>
        </p:nvSpPr>
        <p:spPr>
          <a:xfrm>
            <a:off x="3599506" y="3092042"/>
            <a:ext cx="2412332" cy="207749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US" sz="1000" dirty="0">
                <a:latin typeface="Open Sans"/>
                <a:cs typeface="Segoe UI"/>
              </a:rPr>
              <a:t>Host 5 workshops, including “Remarkable and Provocative Thinker (‘RP’)” panels. Participants will:​</a:t>
            </a:r>
          </a:p>
          <a:p>
            <a:pPr marL="171450" indent="-171450">
              <a:spcBef>
                <a:spcPts val="600"/>
              </a:spcBef>
              <a:buSzPct val="100000"/>
              <a:buFont typeface="Arial"/>
              <a:buChar char="•"/>
            </a:pPr>
            <a:r>
              <a:rPr lang="en-US" sz="1000" dirty="0">
                <a:latin typeface="Open Sans"/>
                <a:cs typeface="Open Sans" panose="020B0606030504020204" pitchFamily="34" charset="0"/>
              </a:rPr>
              <a:t>Review research and insights developed during Gather stage​</a:t>
            </a:r>
          </a:p>
          <a:p>
            <a:pPr marL="171450" indent="-171450">
              <a:spcBef>
                <a:spcPts val="600"/>
              </a:spcBef>
              <a:buSzPct val="100000"/>
              <a:buFont typeface="Arial"/>
              <a:buChar char="•"/>
            </a:pPr>
            <a:r>
              <a:rPr lang="en-US" sz="1000" dirty="0">
                <a:latin typeface="Open Sans"/>
                <a:cs typeface="Open Sans" panose="020B0606030504020204" pitchFamily="34" charset="0"/>
              </a:rPr>
              <a:t>Identify and prioritize the uncertainties they consider to be most important to determining how the future develops​</a:t>
            </a:r>
          </a:p>
          <a:p>
            <a:pPr marL="171450" indent="-171450">
              <a:spcBef>
                <a:spcPts val="600"/>
              </a:spcBef>
              <a:buSzPct val="100000"/>
              <a:buFont typeface="Arial"/>
              <a:buChar char="•"/>
            </a:pPr>
            <a:r>
              <a:rPr lang="en-US" sz="1000" dirty="0">
                <a:latin typeface="Open Sans"/>
                <a:cs typeface="Open Sans" panose="020B0606030504020204" pitchFamily="34" charset="0"/>
              </a:rPr>
              <a:t>Create story outlines about hypothetical scenarios that are plausible and consider implications</a:t>
            </a:r>
          </a:p>
        </p:txBody>
      </p:sp>
      <p:sp>
        <p:nvSpPr>
          <p:cNvPr id="64" name="TextBox 63">
            <a:extLst>
              <a:ext uri="{FF2B5EF4-FFF2-40B4-BE49-F238E27FC236}">
                <a16:creationId xmlns:a16="http://schemas.microsoft.com/office/drawing/2014/main" id="{745116E6-7B57-D68B-FFBE-4ABC2A72213C}"/>
              </a:ext>
            </a:extLst>
          </p:cNvPr>
          <p:cNvSpPr txBox="1">
            <a:spLocks/>
          </p:cNvSpPr>
          <p:nvPr/>
        </p:nvSpPr>
        <p:spPr>
          <a:xfrm>
            <a:off x="3616613" y="5676974"/>
            <a:ext cx="2534588" cy="1154162"/>
          </a:xfrm>
          <a:prstGeom prst="rect">
            <a:avLst/>
          </a:prstGeom>
          <a:noFill/>
        </p:spPr>
        <p:txBody>
          <a:bodyPr vert="horz" wrap="square" lIns="0" tIns="0" rIns="0" bIns="0" rtlCol="0" anchor="t">
            <a:spAutoFit/>
          </a:bodyPr>
          <a:lstStyle>
            <a:defPPr>
              <a:defRPr lang="en-US"/>
            </a:defPPr>
            <a:lvl1pPr marL="171450" indent="-171450">
              <a:lnSpc>
                <a:spcPct val="120000"/>
              </a:lnSpc>
              <a:buSzPct val="100000"/>
              <a:buFont typeface="Arial" panose="020B0604020202020204" pitchFamily="34" charset="0"/>
              <a:buChar char="•"/>
              <a:defRPr sz="1400">
                <a:solidFill>
                  <a:schemeClr val="tx1">
                    <a:lumMod val="65000"/>
                    <a:lumOff val="35000"/>
                  </a:schemeClr>
                </a:solidFill>
              </a:defRPr>
            </a:lvl1pPr>
          </a:lstStyle>
          <a:p>
            <a:pPr>
              <a:lnSpc>
                <a:spcPct val="100000"/>
              </a:lnSpc>
              <a:spcAft>
                <a:spcPts val="600"/>
              </a:spcAft>
              <a:buFont typeface="Wingdings" panose="020B0604020202020204" pitchFamily="34" charset="0"/>
              <a:buChar char="§"/>
            </a:pPr>
            <a:r>
              <a:rPr lang="en-US" sz="1000" dirty="0">
                <a:solidFill>
                  <a:schemeClr val="tx1"/>
                </a:solidFill>
                <a:latin typeface="Open Sans"/>
                <a:ea typeface="Open Sans"/>
                <a:cs typeface="Open Sans"/>
              </a:rPr>
              <a:t>5 Workshops</a:t>
            </a:r>
            <a:endParaRPr lang="en-US" dirty="0">
              <a:solidFill>
                <a:schemeClr val="tx1"/>
              </a:solidFill>
              <a:latin typeface="Open Sans"/>
              <a:ea typeface="Open Sans"/>
              <a:cs typeface="Open Sans"/>
            </a:endParaRPr>
          </a:p>
          <a:p>
            <a:pPr>
              <a:lnSpc>
                <a:spcPct val="100000"/>
              </a:lnSpc>
              <a:spcAft>
                <a:spcPts val="600"/>
              </a:spcAft>
              <a:buFont typeface="Wingdings" panose="020B0604020202020204" pitchFamily="34" charset="0"/>
              <a:buChar char="§"/>
            </a:pPr>
            <a:r>
              <a:rPr lang="en-US" sz="1000" dirty="0">
                <a:solidFill>
                  <a:schemeClr val="tx1"/>
                </a:solidFill>
                <a:latin typeface="Open Sans"/>
                <a:ea typeface="Open Sans"/>
                <a:cs typeface="Open Sans"/>
              </a:rPr>
              <a:t>5 External ‘RP’ (“Remarkable and Provocative Thinker”) Panels</a:t>
            </a:r>
          </a:p>
          <a:p>
            <a:pPr>
              <a:lnSpc>
                <a:spcPct val="100000"/>
              </a:lnSpc>
              <a:spcAft>
                <a:spcPts val="600"/>
              </a:spcAft>
              <a:buFont typeface="Wingdings" panose="020B0604020202020204" pitchFamily="34" charset="0"/>
              <a:buChar char="§"/>
            </a:pPr>
            <a:r>
              <a:rPr lang="hu-HU" sz="1000" dirty="0" err="1">
                <a:solidFill>
                  <a:schemeClr val="tx1"/>
                </a:solidFill>
                <a:latin typeface="Open Sans"/>
                <a:ea typeface="Open Sans"/>
                <a:cs typeface="Open Sans"/>
              </a:rPr>
              <a:t>Documentation</a:t>
            </a:r>
            <a:r>
              <a:rPr lang="hu-HU" sz="1000" dirty="0">
                <a:solidFill>
                  <a:schemeClr val="tx1"/>
                </a:solidFill>
                <a:latin typeface="Open Sans"/>
                <a:ea typeface="Open Sans"/>
                <a:cs typeface="Open Sans"/>
              </a:rPr>
              <a:t> of workshop and panel </a:t>
            </a:r>
            <a:r>
              <a:rPr lang="hu-HU" sz="1000" dirty="0" err="1">
                <a:solidFill>
                  <a:schemeClr val="tx1"/>
                </a:solidFill>
                <a:latin typeface="Open Sans"/>
                <a:ea typeface="Open Sans"/>
                <a:cs typeface="Open Sans"/>
              </a:rPr>
              <a:t>outcomes</a:t>
            </a:r>
            <a:endParaRPr lang="en-US" sz="1000" dirty="0">
              <a:solidFill>
                <a:schemeClr val="tx1"/>
              </a:solidFill>
              <a:latin typeface="Open Sans"/>
              <a:ea typeface="Open Sans"/>
              <a:cs typeface="Open Sans"/>
            </a:endParaRPr>
          </a:p>
          <a:p>
            <a:pPr marL="0" indent="0">
              <a:lnSpc>
                <a:spcPct val="100000"/>
              </a:lnSpc>
              <a:spcAft>
                <a:spcPts val="600"/>
              </a:spcAft>
              <a:buNone/>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6" name="TextBox 65">
            <a:extLst>
              <a:ext uri="{FF2B5EF4-FFF2-40B4-BE49-F238E27FC236}">
                <a16:creationId xmlns:a16="http://schemas.microsoft.com/office/drawing/2014/main" id="{FA04EDC2-F0FB-67C1-D0B3-18A7103B0EA2}"/>
              </a:ext>
            </a:extLst>
          </p:cNvPr>
          <p:cNvSpPr txBox="1">
            <a:spLocks/>
          </p:cNvSpPr>
          <p:nvPr/>
        </p:nvSpPr>
        <p:spPr>
          <a:xfrm>
            <a:off x="6584278" y="3092042"/>
            <a:ext cx="2091369" cy="2154436"/>
          </a:xfrm>
          <a:prstGeom prst="rect">
            <a:avLst/>
          </a:prstGeom>
          <a:noFill/>
        </p:spPr>
        <p:txBody>
          <a:bodyPr vert="horz" wrap="square" lIns="0" tIns="0" rIns="0" bIns="0" rtlCol="0" anchor="t">
            <a:spAutoFit/>
          </a:bodyPr>
          <a:lstStyle/>
          <a:p>
            <a:pPr marL="171450" indent="-171450">
              <a:spcAft>
                <a:spcPts val="600"/>
              </a:spcAft>
              <a:buSzPct val="100000"/>
              <a:buFont typeface="Arial" panose="020B0604020202020204" pitchFamily="34" charset="0"/>
              <a:buChar char="•"/>
            </a:pPr>
            <a:r>
              <a:rPr lang="en-US" sz="1000" dirty="0">
                <a:latin typeface="Open Sans"/>
                <a:ea typeface="Open Sans"/>
                <a:cs typeface="Open Sans"/>
              </a:rPr>
              <a:t>Synthesize workshop outcomes in cooperation with key client representatives</a:t>
            </a:r>
          </a:p>
          <a:p>
            <a:pPr marL="171450" indent="-171450">
              <a:spcAft>
                <a:spcPts val="600"/>
              </a:spcAft>
              <a:buSzPct val="100000"/>
              <a:buFont typeface="Arial" panose="020B0604020202020204" pitchFamily="34" charset="0"/>
              <a:buChar char="•"/>
            </a:pPr>
            <a:r>
              <a:rPr lang="en-US" sz="1000" dirty="0">
                <a:latin typeface="Open Sans"/>
                <a:ea typeface="Open Sans"/>
                <a:cs typeface="Open Sans"/>
              </a:rPr>
              <a:t>Move from the hypothetical future scenarios to an assessment and deeper understanding of the potential implications relevant to the organization</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600"/>
              </a:spcAft>
              <a:buSzPct val="100000"/>
              <a:buFont typeface="Arial" panose="020B0604020202020204" pitchFamily="34" charset="0"/>
              <a:buChar char="•"/>
            </a:pPr>
            <a:r>
              <a:rPr lang="en-US" sz="1000" dirty="0">
                <a:latin typeface="Open Sans"/>
                <a:ea typeface="Open Sans"/>
                <a:cs typeface="Open Sans"/>
              </a:rPr>
              <a:t>“Meeting in a Box” materials to allow the organization to facilitate continued discussion around implications</a:t>
            </a:r>
          </a:p>
        </p:txBody>
      </p:sp>
      <p:sp>
        <p:nvSpPr>
          <p:cNvPr id="68" name="TextBox 67">
            <a:extLst>
              <a:ext uri="{FF2B5EF4-FFF2-40B4-BE49-F238E27FC236}">
                <a16:creationId xmlns:a16="http://schemas.microsoft.com/office/drawing/2014/main" id="{E509F3E2-F3D7-0D1E-86D2-F79D29A75E9C}"/>
              </a:ext>
            </a:extLst>
          </p:cNvPr>
          <p:cNvSpPr txBox="1">
            <a:spLocks/>
          </p:cNvSpPr>
          <p:nvPr/>
        </p:nvSpPr>
        <p:spPr>
          <a:xfrm>
            <a:off x="6702614" y="5676974"/>
            <a:ext cx="2125346" cy="615553"/>
          </a:xfrm>
          <a:prstGeom prst="rect">
            <a:avLst/>
          </a:prstGeom>
          <a:noFill/>
        </p:spPr>
        <p:txBody>
          <a:bodyPr vert="horz" wrap="square" lIns="0" tIns="0" rIns="0" bIns="0" rtlCol="0" anchor="t">
            <a:spAutoFit/>
          </a:bodyPr>
          <a:lstStyle>
            <a:defPPr>
              <a:defRPr lang="en-US"/>
            </a:defPPr>
            <a:lvl1pPr marL="171450" indent="-171450">
              <a:lnSpc>
                <a:spcPct val="120000"/>
              </a:lnSpc>
              <a:buSzPct val="100000"/>
              <a:buFont typeface="Arial" panose="020B0604020202020204" pitchFamily="34" charset="0"/>
              <a:buChar char="•"/>
              <a:defRPr sz="1400">
                <a:solidFill>
                  <a:schemeClr val="tx1">
                    <a:lumMod val="65000"/>
                    <a:lumOff val="35000"/>
                  </a:schemeClr>
                </a:solidFill>
              </a:defRPr>
            </a:lvl1pPr>
          </a:lstStyle>
          <a:p>
            <a:pPr>
              <a:lnSpc>
                <a:spcPct val="100000"/>
              </a:lnSpc>
              <a:spcAft>
                <a:spcPts val="600"/>
              </a:spcAft>
              <a:buFont typeface="Wingdings" panose="020B0604020202020204" pitchFamily="34" charset="0"/>
              <a:buChar char="§"/>
            </a:pPr>
            <a:r>
              <a:rPr lang="en-US" sz="1000" dirty="0">
                <a:solidFill>
                  <a:schemeClr val="tx1"/>
                </a:solidFill>
                <a:latin typeface="Open Sans"/>
                <a:ea typeface="Open Sans"/>
                <a:cs typeface="Open Sans"/>
              </a:rPr>
              <a:t>Synthesis of Workshop Outputs</a:t>
            </a:r>
          </a:p>
          <a:p>
            <a:pPr>
              <a:lnSpc>
                <a:spcPct val="100000"/>
              </a:lnSpc>
              <a:spcAft>
                <a:spcPts val="600"/>
              </a:spcAft>
              <a:buFont typeface="Wingdings" panose="020B0604020202020204" pitchFamily="34" charset="0"/>
              <a:buChar char="§"/>
            </a:pPr>
            <a:r>
              <a:rPr lang="hu-HU" sz="1000" dirty="0">
                <a:solidFill>
                  <a:schemeClr val="tx1"/>
                </a:solidFill>
                <a:latin typeface="Open Sans"/>
                <a:ea typeface="Open Sans"/>
                <a:cs typeface="Open Sans"/>
              </a:rPr>
              <a:t>Definition of</a:t>
            </a:r>
            <a:r>
              <a:rPr lang="en-US" sz="1000" dirty="0">
                <a:solidFill>
                  <a:schemeClr val="tx1"/>
                </a:solidFill>
                <a:latin typeface="Open Sans"/>
                <a:ea typeface="Open Sans"/>
                <a:cs typeface="Open Sans"/>
              </a:rPr>
              <a:t> Scenarios</a:t>
            </a:r>
          </a:p>
          <a:p>
            <a:pPr>
              <a:lnSpc>
                <a:spcPct val="100000"/>
              </a:lnSpc>
              <a:spcAft>
                <a:spcPts val="600"/>
              </a:spcAft>
              <a:buFont typeface="Wingdings" panose="020B0604020202020204" pitchFamily="34" charset="0"/>
              <a:buChar char="§"/>
            </a:pPr>
            <a:r>
              <a:rPr lang="en-US" sz="1000" dirty="0">
                <a:solidFill>
                  <a:schemeClr val="tx1"/>
                </a:solidFill>
                <a:latin typeface="Open Sans"/>
                <a:ea typeface="Open Sans"/>
                <a:cs typeface="Open Sans"/>
              </a:rPr>
              <a:t>Materials for Global Socialization</a:t>
            </a:r>
          </a:p>
        </p:txBody>
      </p:sp>
      <p:sp>
        <p:nvSpPr>
          <p:cNvPr id="70" name="TextBox 69">
            <a:extLst>
              <a:ext uri="{FF2B5EF4-FFF2-40B4-BE49-F238E27FC236}">
                <a16:creationId xmlns:a16="http://schemas.microsoft.com/office/drawing/2014/main" id="{AFE8B472-808F-85F2-4B1C-1704D9B196F1}"/>
              </a:ext>
            </a:extLst>
          </p:cNvPr>
          <p:cNvSpPr txBox="1">
            <a:spLocks/>
          </p:cNvSpPr>
          <p:nvPr/>
        </p:nvSpPr>
        <p:spPr>
          <a:xfrm>
            <a:off x="9409719" y="5676974"/>
            <a:ext cx="2125519" cy="615553"/>
          </a:xfrm>
          <a:prstGeom prst="rect">
            <a:avLst/>
          </a:prstGeom>
          <a:noFill/>
        </p:spPr>
        <p:txBody>
          <a:bodyPr vert="horz" wrap="square" lIns="0" tIns="0" rIns="0" bIns="0" rtlCol="0" anchor="t">
            <a:spAutoFit/>
          </a:bodyPr>
          <a:lstStyle>
            <a:defPPr>
              <a:defRPr lang="en-US"/>
            </a:defPPr>
            <a:lvl1pPr marL="171450" indent="-171450">
              <a:lnSpc>
                <a:spcPct val="120000"/>
              </a:lnSpc>
              <a:buSzPct val="100000"/>
              <a:buFont typeface="Arial" panose="020B0604020202020204" pitchFamily="34" charset="0"/>
              <a:buChar char="•"/>
              <a:defRPr sz="1400">
                <a:solidFill>
                  <a:schemeClr val="tx1">
                    <a:lumMod val="65000"/>
                    <a:lumOff val="35000"/>
                  </a:schemeClr>
                </a:solidFill>
              </a:defRPr>
            </a:lvl1pPr>
          </a:lstStyle>
          <a:p>
            <a:pPr>
              <a:lnSpc>
                <a:spcPct val="100000"/>
              </a:lnSpc>
              <a:spcAft>
                <a:spcPts val="600"/>
              </a:spcAft>
            </a:pPr>
            <a:r>
              <a:rPr lang="en-US" sz="1000" dirty="0">
                <a:solidFill>
                  <a:schemeClr val="tx1"/>
                </a:solidFill>
                <a:latin typeface="Open Sans"/>
                <a:ea typeface="Open Sans"/>
                <a:cs typeface="Open Sans"/>
              </a:rPr>
              <a:t>Proposed Strategic Priorities</a:t>
            </a:r>
            <a:endParaRPr lang="en-US"/>
          </a:p>
          <a:p>
            <a:pPr>
              <a:lnSpc>
                <a:spcPct val="100000"/>
              </a:lnSpc>
              <a:spcAft>
                <a:spcPts val="600"/>
              </a:spcAft>
            </a:pPr>
            <a:r>
              <a:rPr lang="en-US" sz="1000" dirty="0">
                <a:solidFill>
                  <a:schemeClr val="tx1"/>
                </a:solidFill>
                <a:latin typeface="Open Sans"/>
                <a:ea typeface="Open Sans"/>
                <a:cs typeface="Open Sans"/>
              </a:rPr>
              <a:t>Train the Trainer Sessions</a:t>
            </a:r>
          </a:p>
          <a:p>
            <a:pPr>
              <a:lnSpc>
                <a:spcPct val="100000"/>
              </a:lnSpc>
              <a:spcAft>
                <a:spcPts val="600"/>
              </a:spcAft>
            </a:pPr>
            <a:r>
              <a:rPr lang="en-US" sz="1000">
                <a:solidFill>
                  <a:schemeClr val="tx1"/>
                </a:solidFill>
                <a:latin typeface="Open Sans"/>
                <a:ea typeface="Open Sans"/>
                <a:cs typeface="Open Sans"/>
              </a:rPr>
              <a:t>Final Summary Report</a:t>
            </a:r>
          </a:p>
        </p:txBody>
      </p:sp>
      <p:sp>
        <p:nvSpPr>
          <p:cNvPr id="72" name="TextBox 71">
            <a:extLst>
              <a:ext uri="{FF2B5EF4-FFF2-40B4-BE49-F238E27FC236}">
                <a16:creationId xmlns:a16="http://schemas.microsoft.com/office/drawing/2014/main" id="{C58DC54B-A208-40B3-1046-7168E14C5591}"/>
              </a:ext>
            </a:extLst>
          </p:cNvPr>
          <p:cNvSpPr txBox="1">
            <a:spLocks/>
          </p:cNvSpPr>
          <p:nvPr/>
        </p:nvSpPr>
        <p:spPr>
          <a:xfrm>
            <a:off x="9401673" y="3092042"/>
            <a:ext cx="1978526" cy="2077492"/>
          </a:xfrm>
          <a:prstGeom prst="rect">
            <a:avLst/>
          </a:prstGeom>
          <a:noFill/>
        </p:spPr>
        <p:txBody>
          <a:bodyPr vert="horz" wrap="square" lIns="0" tIns="0" rIns="0" bIns="0" rtlCol="0" anchor="t">
            <a:spAutoFit/>
          </a:bodyPr>
          <a:lstStyle/>
          <a:p>
            <a:pPr marL="171450" indent="-171450">
              <a:spcAft>
                <a:spcPts val="6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Conduct train-the-trainer sessions on activating “Meeting in a Box”</a:t>
            </a:r>
          </a:p>
          <a:p>
            <a:pPr marL="171450" indent="-171450">
              <a:spcAft>
                <a:spcPts val="6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Evaluate leading indicators and signposts to track progress</a:t>
            </a:r>
          </a:p>
          <a:p>
            <a:pPr marL="171450" indent="-171450">
              <a:spcAft>
                <a:spcPts val="600"/>
              </a:spcAft>
              <a:buSzPct val="100000"/>
              <a:buFont typeface="Arial" panose="020B0604020202020204" pitchFamily="34" charset="0"/>
              <a:buChar char="•"/>
            </a:pPr>
            <a:r>
              <a:rPr lang="en-US" sz="1000" dirty="0">
                <a:latin typeface="Open Sans"/>
                <a:ea typeface="Open Sans"/>
                <a:cs typeface="Open Sans"/>
              </a:rPr>
              <a:t>Prioritize risks and opportunities and the possible options available to the </a:t>
            </a:r>
            <a:r>
              <a:rPr lang="en-US" sz="1000">
                <a:latin typeface="Open Sans"/>
                <a:ea typeface="Open Sans"/>
                <a:cs typeface="Open Sans"/>
              </a:rPr>
              <a:t>organization</a:t>
            </a:r>
            <a:r>
              <a:rPr lang="en-US" sz="1000" dirty="0">
                <a:latin typeface="Open Sans"/>
                <a:ea typeface="Open Sans"/>
                <a:cs typeface="Open Sans"/>
              </a:rPr>
              <a:t> to either capitalize or mitigate</a:t>
            </a:r>
          </a:p>
          <a:p>
            <a:pPr marL="171450" indent="-171450">
              <a:spcAft>
                <a:spcPts val="6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Develop final summary report</a:t>
            </a:r>
          </a:p>
        </p:txBody>
      </p:sp>
      <p:cxnSp>
        <p:nvCxnSpPr>
          <p:cNvPr id="74" name="Straight Arrow Connector 73">
            <a:extLst>
              <a:ext uri="{FF2B5EF4-FFF2-40B4-BE49-F238E27FC236}">
                <a16:creationId xmlns:a16="http://schemas.microsoft.com/office/drawing/2014/main" id="{EAB194B1-42D5-0ACA-BF7E-AF432C44E1AB}"/>
              </a:ext>
            </a:extLst>
          </p:cNvPr>
          <p:cNvCxnSpPr>
            <a:cxnSpLocks/>
          </p:cNvCxnSpPr>
          <p:nvPr/>
        </p:nvCxnSpPr>
        <p:spPr>
          <a:xfrm flipH="1">
            <a:off x="3144252" y="2049377"/>
            <a:ext cx="8020" cy="4533900"/>
          </a:xfrm>
          <a:prstGeom prst="straightConnector1">
            <a:avLst/>
          </a:prstGeom>
          <a:ln>
            <a:prstDash val="dash"/>
          </a:ln>
        </p:spPr>
        <p:style>
          <a:lnRef idx="1">
            <a:schemeClr val="accent3"/>
          </a:lnRef>
          <a:fillRef idx="0">
            <a:schemeClr val="accent3"/>
          </a:fillRef>
          <a:effectRef idx="0">
            <a:schemeClr val="accent3"/>
          </a:effectRef>
          <a:fontRef idx="minor">
            <a:schemeClr val="tx1"/>
          </a:fontRef>
        </p:style>
      </p:cxnSp>
      <p:cxnSp>
        <p:nvCxnSpPr>
          <p:cNvPr id="75" name="Straight Arrow Connector 74">
            <a:extLst>
              <a:ext uri="{FF2B5EF4-FFF2-40B4-BE49-F238E27FC236}">
                <a16:creationId xmlns:a16="http://schemas.microsoft.com/office/drawing/2014/main" id="{BF1C2DE3-80F4-277F-0825-3CFC7A8197E8}"/>
              </a:ext>
            </a:extLst>
          </p:cNvPr>
          <p:cNvCxnSpPr>
            <a:cxnSpLocks/>
          </p:cNvCxnSpPr>
          <p:nvPr/>
        </p:nvCxnSpPr>
        <p:spPr>
          <a:xfrm flipH="1">
            <a:off x="6142120" y="2149640"/>
            <a:ext cx="8020" cy="4533900"/>
          </a:xfrm>
          <a:prstGeom prst="straightConnector1">
            <a:avLst/>
          </a:prstGeom>
          <a:ln>
            <a:prstDash val="dash"/>
          </a:ln>
        </p:spPr>
        <p:style>
          <a:lnRef idx="1">
            <a:schemeClr val="accent3"/>
          </a:lnRef>
          <a:fillRef idx="0">
            <a:schemeClr val="accent3"/>
          </a:fillRef>
          <a:effectRef idx="0">
            <a:schemeClr val="accent3"/>
          </a:effectRef>
          <a:fontRef idx="minor">
            <a:schemeClr val="tx1"/>
          </a:fontRef>
        </p:style>
      </p:cxnSp>
      <p:cxnSp>
        <p:nvCxnSpPr>
          <p:cNvPr id="76" name="Straight Arrow Connector 75">
            <a:extLst>
              <a:ext uri="{FF2B5EF4-FFF2-40B4-BE49-F238E27FC236}">
                <a16:creationId xmlns:a16="http://schemas.microsoft.com/office/drawing/2014/main" id="{99F8B8F4-0D36-CAFF-803D-F0D177748C19}"/>
              </a:ext>
            </a:extLst>
          </p:cNvPr>
          <p:cNvCxnSpPr>
            <a:cxnSpLocks/>
          </p:cNvCxnSpPr>
          <p:nvPr/>
        </p:nvCxnSpPr>
        <p:spPr>
          <a:xfrm flipH="1">
            <a:off x="9049751" y="2109534"/>
            <a:ext cx="8020" cy="4533900"/>
          </a:xfrm>
          <a:prstGeom prst="straightConnector1">
            <a:avLst/>
          </a:prstGeom>
          <a:ln>
            <a:prstDash val="dash"/>
          </a:ln>
        </p:spPr>
        <p:style>
          <a:lnRef idx="1">
            <a:schemeClr val="accent3"/>
          </a:lnRef>
          <a:fillRef idx="0">
            <a:schemeClr val="accent3"/>
          </a:fillRef>
          <a:effectRef idx="0">
            <a:schemeClr val="accent3"/>
          </a:effectRef>
          <a:fontRef idx="minor">
            <a:schemeClr val="tx1"/>
          </a:fontRef>
        </p:style>
      </p:cxnSp>
      <p:cxnSp>
        <p:nvCxnSpPr>
          <p:cNvPr id="8" name="Straight Connector 7">
            <a:extLst>
              <a:ext uri="{FF2B5EF4-FFF2-40B4-BE49-F238E27FC236}">
                <a16:creationId xmlns:a16="http://schemas.microsoft.com/office/drawing/2014/main" id="{18E5EA3D-ECB0-542D-7823-37FE1FCAAE36}"/>
              </a:ext>
            </a:extLst>
          </p:cNvPr>
          <p:cNvCxnSpPr/>
          <p:nvPr/>
        </p:nvCxnSpPr>
        <p:spPr>
          <a:xfrm>
            <a:off x="977774" y="5541366"/>
            <a:ext cx="10380173" cy="0"/>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B0BC0792-6C97-2ABC-32DF-FE5FA1FE6E18}"/>
              </a:ext>
            </a:extLst>
          </p:cNvPr>
          <p:cNvCxnSpPr/>
          <p:nvPr/>
        </p:nvCxnSpPr>
        <p:spPr>
          <a:xfrm>
            <a:off x="977774" y="2992324"/>
            <a:ext cx="10380173" cy="0"/>
          </a:xfrm>
          <a:prstGeom prst="line">
            <a:avLst/>
          </a:prstGeom>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31703036"/>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0" y="2997200"/>
            <a:ext cx="7477760" cy="863600"/>
            <a:chOff x="0" y="2997200"/>
            <a:chExt cx="7477760" cy="86360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0" y="2997200"/>
              <a:ext cx="6695440"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3 </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Product and service design</a:t>
              </a: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76048628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think-cell data - do not delete" hidden="1">
            <a:extLst>
              <a:ext uri="{FF2B5EF4-FFF2-40B4-BE49-F238E27FC236}">
                <a16:creationId xmlns:a16="http://schemas.microsoft.com/office/drawing/2014/main" id="{D9B56A33-CE1A-FAA4-2CC2-CBD4F22D62DC}"/>
              </a:ext>
            </a:extLst>
          </p:cNvPr>
          <p:cNvGraphicFramePr>
            <a:graphicFrameLocks noChangeAspect="1"/>
          </p:cNvGraphicFramePr>
          <p:nvPr>
            <p:custDataLst>
              <p:tags r:id="rId1"/>
            </p:custDataLst>
            <p:extLst>
              <p:ext uri="{D42A27DB-BD31-4B8C-83A1-F6EECF244321}">
                <p14:modId xmlns:p14="http://schemas.microsoft.com/office/powerpoint/2010/main" val="189089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62" imgH="262" progId="TCLayout.ActiveDocument.1">
                  <p:embed/>
                </p:oleObj>
              </mc:Choice>
              <mc:Fallback>
                <p:oleObj name="think-cell Slide" r:id="rId18" imgW="262" imgH="262" progId="TCLayout.ActiveDocument.1">
                  <p:embed/>
                  <p:pic>
                    <p:nvPicPr>
                      <p:cNvPr id="66" name="think-cell data - do not delete" hidden="1">
                        <a:extLst>
                          <a:ext uri="{FF2B5EF4-FFF2-40B4-BE49-F238E27FC236}">
                            <a16:creationId xmlns:a16="http://schemas.microsoft.com/office/drawing/2014/main" id="{D9B56A33-CE1A-FAA4-2CC2-CBD4F22D62DC}"/>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FD46E8A-828B-7E27-BEFC-3ADB448B0C2B}"/>
              </a:ext>
            </a:extLst>
          </p:cNvPr>
          <p:cNvSpPr>
            <a:spLocks noGrp="1"/>
          </p:cNvSpPr>
          <p:nvPr>
            <p:ph type="body" sz="quarter" idx="22"/>
          </p:nvPr>
        </p:nvSpPr>
        <p:spPr/>
        <p:txBody>
          <a:bodyPr/>
          <a:lstStyle/>
          <a:p>
            <a:r>
              <a:rPr lang="en-US" sz="1800" dirty="0">
                <a:solidFill>
                  <a:schemeClr val="tx2"/>
                </a:solidFill>
                <a:latin typeface="Open Sans" panose="020B0606030504020204" pitchFamily="34" charset="0"/>
                <a:ea typeface="Open Sans" panose="020B0606030504020204" pitchFamily="34" charset="0"/>
                <a:cs typeface="Open Sans" panose="020B0606030504020204" pitchFamily="34" charset="0"/>
              </a:rPr>
              <a:t>In this approach to product design, we are answering key questions related to demand on the market, product concept and business model, while delivering an operating model concept and an action plan for the implementation phase as well</a:t>
            </a:r>
            <a:endParaRPr lang="en-GB" dirty="0"/>
          </a:p>
        </p:txBody>
      </p:sp>
      <p:sp>
        <p:nvSpPr>
          <p:cNvPr id="3" name="Title 2">
            <a:extLst>
              <a:ext uri="{FF2B5EF4-FFF2-40B4-BE49-F238E27FC236}">
                <a16:creationId xmlns:a16="http://schemas.microsoft.com/office/drawing/2014/main" id="{3C0492C0-66D1-99A2-F257-AB9BF6976E7A}"/>
              </a:ext>
            </a:extLst>
          </p:cNvPr>
          <p:cNvSpPr>
            <a:spLocks noGrp="1"/>
          </p:cNvSpPr>
          <p:nvPr>
            <p:ph type="title"/>
          </p:nvPr>
        </p:nvSpPr>
        <p:spPr/>
        <p:txBody>
          <a:bodyPr vert="horz"/>
          <a:lstStyle/>
          <a:p>
            <a:r>
              <a:rPr lang="en-US" dirty="0"/>
              <a:t>Digital St</a:t>
            </a:r>
            <a:r>
              <a:rPr lang="hu-HU" dirty="0" err="1"/>
              <a:t>ra</a:t>
            </a:r>
            <a:r>
              <a:rPr lang="en-US" dirty="0" err="1"/>
              <a:t>tegyByDesign</a:t>
            </a:r>
            <a:br>
              <a:rPr lang="en-US" dirty="0"/>
            </a:br>
            <a:endParaRPr lang="en-GB" dirty="0"/>
          </a:p>
        </p:txBody>
      </p:sp>
      <p:sp>
        <p:nvSpPr>
          <p:cNvPr id="4" name="Rounded Rectangle 117">
            <a:extLst>
              <a:ext uri="{FF2B5EF4-FFF2-40B4-BE49-F238E27FC236}">
                <a16:creationId xmlns:a16="http://schemas.microsoft.com/office/drawing/2014/main" id="{CA17DEBF-7BB3-96F0-1658-4F9C82D5515A}"/>
              </a:ext>
            </a:extLst>
          </p:cNvPr>
          <p:cNvSpPr>
            <a:spLocks/>
          </p:cNvSpPr>
          <p:nvPr>
            <p:custDataLst>
              <p:tags r:id="rId2"/>
            </p:custDataLst>
          </p:nvPr>
        </p:nvSpPr>
        <p:spPr>
          <a:xfrm>
            <a:off x="7439143" y="4172123"/>
            <a:ext cx="4117095" cy="576000"/>
          </a:xfrm>
          <a:prstGeom prst="roundRect">
            <a:avLst>
              <a:gd name="adj" fmla="val 0"/>
            </a:avLst>
          </a:prstGeom>
          <a:solidFill>
            <a:schemeClr val="accent3">
              <a:lumMod val="20000"/>
              <a:lumOff val="80000"/>
            </a:schemeClr>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algn="ct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Go-to-market approach</a:t>
            </a:r>
          </a:p>
        </p:txBody>
      </p:sp>
      <p:sp>
        <p:nvSpPr>
          <p:cNvPr id="5" name="Rounded Rectangle 30">
            <a:extLst>
              <a:ext uri="{FF2B5EF4-FFF2-40B4-BE49-F238E27FC236}">
                <a16:creationId xmlns:a16="http://schemas.microsoft.com/office/drawing/2014/main" id="{C41BDF1C-058E-09E3-5087-52C4158B5DBF}"/>
              </a:ext>
            </a:extLst>
          </p:cNvPr>
          <p:cNvSpPr>
            <a:spLocks/>
          </p:cNvSpPr>
          <p:nvPr>
            <p:custDataLst>
              <p:tags r:id="rId3"/>
            </p:custDataLst>
          </p:nvPr>
        </p:nvSpPr>
        <p:spPr>
          <a:xfrm>
            <a:off x="9326221" y="4955114"/>
            <a:ext cx="2248251" cy="559742"/>
          </a:xfrm>
          <a:prstGeom prst="roundRect">
            <a:avLst>
              <a:gd name="adj" fmla="val 0"/>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algn="ct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Business Roadmap </a:t>
            </a:r>
          </a:p>
          <a:p>
            <a:pPr algn="ct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for Delivery phase</a:t>
            </a:r>
          </a:p>
        </p:txBody>
      </p:sp>
      <p:sp>
        <p:nvSpPr>
          <p:cNvPr id="6" name="Rounded Rectangle 8">
            <a:extLst>
              <a:ext uri="{FF2B5EF4-FFF2-40B4-BE49-F238E27FC236}">
                <a16:creationId xmlns:a16="http://schemas.microsoft.com/office/drawing/2014/main" id="{A8F4D323-7C61-3616-0796-367B86AC7054}"/>
              </a:ext>
            </a:extLst>
          </p:cNvPr>
          <p:cNvSpPr/>
          <p:nvPr/>
        </p:nvSpPr>
        <p:spPr bwMode="gray">
          <a:xfrm rot="5400000">
            <a:off x="637721" y="2755894"/>
            <a:ext cx="1015255" cy="92982"/>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54EE7A12-FD66-7DFC-3CDC-51A41015E855}"/>
              </a:ext>
            </a:extLst>
          </p:cNvPr>
          <p:cNvSpPr/>
          <p:nvPr/>
        </p:nvSpPr>
        <p:spPr>
          <a:xfrm>
            <a:off x="819937" y="1999034"/>
            <a:ext cx="238914" cy="13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1200" cap="none" spc="3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IABILITY</a:t>
            </a:r>
          </a:p>
        </p:txBody>
      </p:sp>
      <p:sp>
        <p:nvSpPr>
          <p:cNvPr id="8" name="Rounded Rectangle 10">
            <a:extLst>
              <a:ext uri="{FF2B5EF4-FFF2-40B4-BE49-F238E27FC236}">
                <a16:creationId xmlns:a16="http://schemas.microsoft.com/office/drawing/2014/main" id="{3962779E-C070-DC87-E524-437564A3AF26}"/>
              </a:ext>
            </a:extLst>
          </p:cNvPr>
          <p:cNvSpPr>
            <a:spLocks/>
          </p:cNvSpPr>
          <p:nvPr>
            <p:custDataLst>
              <p:tags r:id="rId4"/>
            </p:custDataLst>
          </p:nvPr>
        </p:nvSpPr>
        <p:spPr>
          <a:xfrm>
            <a:off x="1461995" y="2376394"/>
            <a:ext cx="2783793" cy="298351"/>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spcCol="0" rtlCol="0" anchor="ctr"/>
          <a:lstStyle/>
          <a:p>
            <a:pPr marL="0" marR="0" lvl="0" indent="0" algn="ctr" defTabSz="91440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oals &amp; aspirations </a:t>
            </a:r>
            <a:b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lief audits with</a:t>
            </a: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akeholders)</a:t>
            </a:r>
          </a:p>
        </p:txBody>
      </p:sp>
      <p:sp>
        <p:nvSpPr>
          <p:cNvPr id="9" name="Rounded Rectangle 11">
            <a:extLst>
              <a:ext uri="{FF2B5EF4-FFF2-40B4-BE49-F238E27FC236}">
                <a16:creationId xmlns:a16="http://schemas.microsoft.com/office/drawing/2014/main" id="{A89E26A9-EE0A-1F11-AE3D-BA05EBDC9E83}"/>
              </a:ext>
            </a:extLst>
          </p:cNvPr>
          <p:cNvSpPr>
            <a:spLocks/>
          </p:cNvSpPr>
          <p:nvPr>
            <p:custDataLst>
              <p:tags r:id="rId5"/>
            </p:custDataLst>
          </p:nvPr>
        </p:nvSpPr>
        <p:spPr>
          <a:xfrm>
            <a:off x="1461996" y="2913053"/>
            <a:ext cx="2783794" cy="320605"/>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53847" tIns="26924" rIns="53847" bIns="26924"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t>
            </a:r>
            <a:r>
              <a:rPr kumimoji="0" lang="en-US" sz="9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rket</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alysis &amp; Best-in</a:t>
            </a:r>
            <a:r>
              <a:rPr kumimoji="0" lang="en-US" sz="900" b="1" i="0" u="none" strike="noStrike" kern="1200" cap="none" spc="0" normalizeH="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lass functionalities</a:t>
            </a:r>
          </a:p>
        </p:txBody>
      </p:sp>
      <p:sp>
        <p:nvSpPr>
          <p:cNvPr id="10" name="Rounded Rectangle 13">
            <a:extLst>
              <a:ext uri="{FF2B5EF4-FFF2-40B4-BE49-F238E27FC236}">
                <a16:creationId xmlns:a16="http://schemas.microsoft.com/office/drawing/2014/main" id="{F27DB9F2-9087-7590-5B69-85D02237B8A1}"/>
              </a:ext>
            </a:extLst>
          </p:cNvPr>
          <p:cNvSpPr>
            <a:spLocks/>
          </p:cNvSpPr>
          <p:nvPr>
            <p:custDataLst>
              <p:tags r:id="rId6"/>
            </p:custDataLst>
          </p:nvPr>
        </p:nvSpPr>
        <p:spPr>
          <a:xfrm>
            <a:off x="1461996" y="4172123"/>
            <a:ext cx="2783793" cy="576000"/>
          </a:xfrm>
          <a:prstGeom prst="roundRect">
            <a:avLst>
              <a:gd name="adj" fmla="val 0"/>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algn="ctr"/>
            <a:r>
              <a:rPr lang="en-US"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roduct factories’ needs and barriers analysis </a:t>
            </a:r>
          </a:p>
          <a:p>
            <a:pPr algn="ctr"/>
            <a:r>
              <a:rPr lang="en-US" sz="900" b="1">
                <a:solidFill>
                  <a:schemeClr val="tx1"/>
                </a:solidFill>
                <a:latin typeface="Open Sans"/>
                <a:ea typeface="Open Sans"/>
                <a:cs typeface="Open Sans"/>
              </a:rPr>
              <a:t>(IDI</a:t>
            </a:r>
            <a:r>
              <a:rPr lang="en-US" sz="900" b="1" dirty="0">
                <a:solidFill>
                  <a:schemeClr val="tx1"/>
                </a:solidFill>
                <a:latin typeface="Open Sans"/>
                <a:ea typeface="Open Sans"/>
                <a:cs typeface="Open Sans"/>
              </a:rPr>
              <a:t>**</a:t>
            </a:r>
            <a:r>
              <a:rPr lang="en-US" sz="900" b="1">
                <a:solidFill>
                  <a:schemeClr val="tx1"/>
                </a:solidFill>
                <a:latin typeface="Open Sans"/>
                <a:ea typeface="Open Sans"/>
                <a:cs typeface="Open Sans"/>
              </a:rPr>
              <a:t>s / workshops) </a:t>
            </a:r>
            <a:endParaRPr lang="en-US" sz="9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113ACFD6-F9B8-55D8-D342-FC869DDB6233}"/>
              </a:ext>
            </a:extLst>
          </p:cNvPr>
          <p:cNvSpPr/>
          <p:nvPr/>
        </p:nvSpPr>
        <p:spPr>
          <a:xfrm>
            <a:off x="1376039" y="2853456"/>
            <a:ext cx="2951034" cy="452854"/>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36398F0E-EE58-3523-F4EC-20E122DF6D83}"/>
              </a:ext>
            </a:extLst>
          </p:cNvPr>
          <p:cNvSpPr/>
          <p:nvPr/>
        </p:nvSpPr>
        <p:spPr>
          <a:xfrm>
            <a:off x="1934977" y="2791865"/>
            <a:ext cx="1744925" cy="112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oice of Market</a:t>
            </a:r>
          </a:p>
        </p:txBody>
      </p:sp>
      <p:sp>
        <p:nvSpPr>
          <p:cNvPr id="13" name="Rectangle 12">
            <a:extLst>
              <a:ext uri="{FF2B5EF4-FFF2-40B4-BE49-F238E27FC236}">
                <a16:creationId xmlns:a16="http://schemas.microsoft.com/office/drawing/2014/main" id="{0DAB0154-7494-0747-B195-4801DB868133}"/>
              </a:ext>
            </a:extLst>
          </p:cNvPr>
          <p:cNvSpPr/>
          <p:nvPr/>
        </p:nvSpPr>
        <p:spPr>
          <a:xfrm>
            <a:off x="1376039" y="3404453"/>
            <a:ext cx="2951034" cy="140553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73B17EFC-1885-0393-AD27-DFAAA225D490}"/>
              </a:ext>
            </a:extLst>
          </p:cNvPr>
          <p:cNvSpPr/>
          <p:nvPr/>
        </p:nvSpPr>
        <p:spPr>
          <a:xfrm>
            <a:off x="1622774" y="3367034"/>
            <a:ext cx="2440995" cy="1545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oice of Customers &amp; Merchants</a:t>
            </a:r>
            <a:r>
              <a:rPr kumimoji="0" lang="en-US" sz="1000" b="1" i="0" u="none" strike="noStrike" kern="1200" cap="none" spc="0" normalizeH="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EDFE3222-6DF8-FB21-0884-FC352362A802}"/>
              </a:ext>
            </a:extLst>
          </p:cNvPr>
          <p:cNvSpPr/>
          <p:nvPr/>
        </p:nvSpPr>
        <p:spPr>
          <a:xfrm>
            <a:off x="1376039" y="2273851"/>
            <a:ext cx="2951034" cy="478133"/>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C01F800E-FD82-D4A3-8876-7C564DFF60BF}"/>
              </a:ext>
            </a:extLst>
          </p:cNvPr>
          <p:cNvSpPr/>
          <p:nvPr/>
        </p:nvSpPr>
        <p:spPr>
          <a:xfrm>
            <a:off x="2051215" y="2189207"/>
            <a:ext cx="1611808" cy="137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oice of the company</a:t>
            </a:r>
          </a:p>
        </p:txBody>
      </p:sp>
      <p:sp>
        <p:nvSpPr>
          <p:cNvPr id="17" name="Rectangle 16">
            <a:extLst>
              <a:ext uri="{FF2B5EF4-FFF2-40B4-BE49-F238E27FC236}">
                <a16:creationId xmlns:a16="http://schemas.microsoft.com/office/drawing/2014/main" id="{9BFFBAE9-BBCD-94C3-6421-4894F9EA83E4}"/>
              </a:ext>
            </a:extLst>
          </p:cNvPr>
          <p:cNvSpPr/>
          <p:nvPr/>
        </p:nvSpPr>
        <p:spPr>
          <a:xfrm>
            <a:off x="4551012" y="2273853"/>
            <a:ext cx="4381378" cy="1032457"/>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F924B476-6633-C0A3-5ECD-75A59E70A1C7}"/>
              </a:ext>
            </a:extLst>
          </p:cNvPr>
          <p:cNvSpPr/>
          <p:nvPr/>
        </p:nvSpPr>
        <p:spPr>
          <a:xfrm>
            <a:off x="1369696" y="4891546"/>
            <a:ext cx="7562694" cy="1319763"/>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Rounded Rectangle 22">
            <a:extLst>
              <a:ext uri="{FF2B5EF4-FFF2-40B4-BE49-F238E27FC236}">
                <a16:creationId xmlns:a16="http://schemas.microsoft.com/office/drawing/2014/main" id="{AE60A8CD-B58E-604C-D174-D7DF1348FEC5}"/>
              </a:ext>
            </a:extLst>
          </p:cNvPr>
          <p:cNvSpPr>
            <a:spLocks/>
          </p:cNvSpPr>
          <p:nvPr>
            <p:custDataLst>
              <p:tags r:id="rId7"/>
            </p:custDataLst>
          </p:nvPr>
        </p:nvSpPr>
        <p:spPr>
          <a:xfrm>
            <a:off x="4623536" y="2377319"/>
            <a:ext cx="4201486" cy="396334"/>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spcCol="0" rtlCol="0" anchor="ctr"/>
          <a:lstStyle/>
          <a:p>
            <a:pPr algn="ctr">
              <a:spcAft>
                <a:spcPts val="200"/>
              </a:spcAft>
              <a:defRPr/>
            </a:pPr>
            <a:r>
              <a:rPr lang="en-US" sz="900" b="1" dirty="0">
                <a:solidFill>
                  <a:srgbClr val="000000"/>
                </a:solidFill>
                <a:latin typeface="Open Sans"/>
                <a:ea typeface="Open Sans"/>
                <a:cs typeface="Open Sans"/>
              </a:rPr>
              <a:t>Synthesis of key insights from ***</a:t>
            </a:r>
            <a:r>
              <a:rPr lang="en-US" sz="900" b="1" dirty="0" err="1">
                <a:solidFill>
                  <a:srgbClr val="000000"/>
                </a:solidFill>
                <a:latin typeface="Open Sans"/>
                <a:ea typeface="Open Sans"/>
                <a:cs typeface="Open Sans"/>
              </a:rPr>
              <a:t>VoCA</a:t>
            </a:r>
            <a:r>
              <a:rPr lang="en-US" sz="900" b="1" dirty="0">
                <a:solidFill>
                  <a:srgbClr val="000000"/>
                </a:solidFill>
                <a:latin typeface="Open Sans"/>
                <a:ea typeface="Open Sans"/>
                <a:cs typeface="Open Sans"/>
              </a:rPr>
              <a:t>, </a:t>
            </a:r>
            <a:r>
              <a:rPr lang="en-US" sz="900" b="1" dirty="0" err="1">
                <a:solidFill>
                  <a:srgbClr val="000000"/>
                </a:solidFill>
                <a:latin typeface="Open Sans"/>
                <a:ea typeface="Open Sans"/>
                <a:cs typeface="Open Sans"/>
              </a:rPr>
              <a:t>VoM</a:t>
            </a:r>
            <a:r>
              <a:rPr lang="en-US" sz="900" b="1" dirty="0">
                <a:solidFill>
                  <a:srgbClr val="000000"/>
                </a:solidFill>
                <a:latin typeface="Open Sans"/>
                <a:ea typeface="Open Sans"/>
                <a:cs typeface="Open Sans"/>
              </a:rPr>
              <a:t> &amp; </a:t>
            </a:r>
            <a:r>
              <a:rPr lang="en-US" sz="900" b="1" dirty="0" err="1">
                <a:solidFill>
                  <a:srgbClr val="000000"/>
                </a:solidFill>
                <a:latin typeface="Open Sans"/>
                <a:ea typeface="Open Sans"/>
                <a:cs typeface="Open Sans"/>
              </a:rPr>
              <a:t>VoC</a:t>
            </a:r>
            <a:r>
              <a:rPr lang="en-US" sz="900" b="1" dirty="0">
                <a:solidFill>
                  <a:srgbClr val="000000"/>
                </a:solidFill>
                <a:latin typeface="Open Sans"/>
                <a:ea typeface="Open Sans"/>
                <a:cs typeface="Open Sans"/>
              </a:rPr>
              <a:t> </a:t>
            </a:r>
            <a:endPar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a:spcAft>
                <a:spcPts val="200"/>
              </a:spcAft>
              <a:defRPr/>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roduct</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Vision</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ounded Rectangle 22">
            <a:extLst>
              <a:ext uri="{FF2B5EF4-FFF2-40B4-BE49-F238E27FC236}">
                <a16:creationId xmlns:a16="http://schemas.microsoft.com/office/drawing/2014/main" id="{AD9C0D24-7C63-9090-3A77-02205693314F}"/>
              </a:ext>
            </a:extLst>
          </p:cNvPr>
          <p:cNvSpPr>
            <a:spLocks/>
          </p:cNvSpPr>
          <p:nvPr>
            <p:custDataLst>
              <p:tags r:id="rId8"/>
            </p:custDataLst>
          </p:nvPr>
        </p:nvSpPr>
        <p:spPr>
          <a:xfrm>
            <a:off x="4623537" y="2843779"/>
            <a:ext cx="4201486" cy="389880"/>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spcCol="0" rtlCol="0" anchor="ctr"/>
          <a:lstStyle/>
          <a:p>
            <a:pPr marL="0" marR="0" lvl="0" indent="0" algn="ctr" defTabSz="91440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Business model – Revenue side</a:t>
            </a:r>
            <a:endParaRPr kumimoji="0" lang="en-US" sz="900" b="0"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Rounded Rectangle 30">
            <a:extLst>
              <a:ext uri="{FF2B5EF4-FFF2-40B4-BE49-F238E27FC236}">
                <a16:creationId xmlns:a16="http://schemas.microsoft.com/office/drawing/2014/main" id="{A7BFD80D-18E4-F3E0-FEC0-5785BB5E0148}"/>
              </a:ext>
            </a:extLst>
          </p:cNvPr>
          <p:cNvSpPr>
            <a:spLocks/>
          </p:cNvSpPr>
          <p:nvPr>
            <p:custDataLst>
              <p:tags r:id="rId9"/>
            </p:custDataLst>
          </p:nvPr>
        </p:nvSpPr>
        <p:spPr>
          <a:xfrm>
            <a:off x="4660328" y="3500566"/>
            <a:ext cx="2510739" cy="1254572"/>
          </a:xfrm>
          <a:prstGeom prst="roundRect">
            <a:avLst>
              <a:gd name="adj" fmla="val 0"/>
            </a:avLst>
          </a:prstGeom>
          <a:gradFill flip="none" rotWithShape="1">
            <a:gsLst>
              <a:gs pos="100000">
                <a:srgbClr val="00ABAB"/>
              </a:gs>
              <a:gs pos="50000">
                <a:srgbClr val="BCEBFF"/>
              </a:gs>
              <a:gs pos="0">
                <a:srgbClr val="B2FCD8"/>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rvice blueprint &amp; red flags (tech, risk, legal,</a:t>
            </a:r>
            <a:r>
              <a:rPr kumimoji="0" lang="en-US" sz="900" b="1" i="0" u="none" strike="noStrike" kern="1200" cap="none" spc="0" normalizeH="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rocess)</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Rounded Rectangle 22">
            <a:extLst>
              <a:ext uri="{FF2B5EF4-FFF2-40B4-BE49-F238E27FC236}">
                <a16:creationId xmlns:a16="http://schemas.microsoft.com/office/drawing/2014/main" id="{33C4FE24-48EF-0532-B952-46A9BC47C449}"/>
              </a:ext>
            </a:extLst>
          </p:cNvPr>
          <p:cNvSpPr>
            <a:spLocks/>
          </p:cNvSpPr>
          <p:nvPr>
            <p:custDataLst>
              <p:tags r:id="rId10"/>
            </p:custDataLst>
          </p:nvPr>
        </p:nvSpPr>
        <p:spPr>
          <a:xfrm>
            <a:off x="9326221" y="2355127"/>
            <a:ext cx="2237366" cy="878531"/>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spcCol="0" rtlCol="0" anchor="ctr"/>
          <a:lstStyle/>
          <a:p>
            <a:pPr marL="0" marR="0" lvl="0" indent="0" algn="ctr" defTabSz="91440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Business case – Cost assumptions and profitability projections</a:t>
            </a:r>
            <a:endParaRPr kumimoji="0" lang="en-US" sz="900" b="0"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22">
            <a:extLst>
              <a:ext uri="{FF2B5EF4-FFF2-40B4-BE49-F238E27FC236}">
                <a16:creationId xmlns:a16="http://schemas.microsoft.com/office/drawing/2014/main" id="{A175B37E-A466-DC04-D12D-1277871408FE}"/>
              </a:ext>
            </a:extLst>
          </p:cNvPr>
          <p:cNvSpPr/>
          <p:nvPr/>
        </p:nvSpPr>
        <p:spPr>
          <a:xfrm>
            <a:off x="9232927" y="2273851"/>
            <a:ext cx="2420355" cy="1032459"/>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Rounded Rectangle 117">
            <a:extLst>
              <a:ext uri="{FF2B5EF4-FFF2-40B4-BE49-F238E27FC236}">
                <a16:creationId xmlns:a16="http://schemas.microsoft.com/office/drawing/2014/main" id="{B3B217A4-3E8A-F7A7-43E7-07369CD300F9}"/>
              </a:ext>
            </a:extLst>
          </p:cNvPr>
          <p:cNvSpPr>
            <a:spLocks/>
          </p:cNvSpPr>
          <p:nvPr>
            <p:custDataLst>
              <p:tags r:id="rId11"/>
            </p:custDataLst>
          </p:nvPr>
        </p:nvSpPr>
        <p:spPr>
          <a:xfrm>
            <a:off x="7439143" y="3500566"/>
            <a:ext cx="4135077" cy="576000"/>
          </a:xfrm>
          <a:prstGeom prst="roundRect">
            <a:avLst>
              <a:gd name="adj" fmla="val 0"/>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algn="ct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rototyping &amp; testing</a:t>
            </a:r>
          </a:p>
        </p:txBody>
      </p:sp>
      <p:sp>
        <p:nvSpPr>
          <p:cNvPr id="25" name="Rectangle 24">
            <a:extLst>
              <a:ext uri="{FF2B5EF4-FFF2-40B4-BE49-F238E27FC236}">
                <a16:creationId xmlns:a16="http://schemas.microsoft.com/office/drawing/2014/main" id="{A95923A0-F628-AF29-5F4A-A9FD2648B128}"/>
              </a:ext>
            </a:extLst>
          </p:cNvPr>
          <p:cNvSpPr/>
          <p:nvPr/>
        </p:nvSpPr>
        <p:spPr>
          <a:xfrm>
            <a:off x="9223306" y="4884308"/>
            <a:ext cx="2429976" cy="1327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Rounded Rectangle 16">
            <a:extLst>
              <a:ext uri="{FF2B5EF4-FFF2-40B4-BE49-F238E27FC236}">
                <a16:creationId xmlns:a16="http://schemas.microsoft.com/office/drawing/2014/main" id="{B83B7734-3228-1393-F498-18548D28E99D}"/>
              </a:ext>
            </a:extLst>
          </p:cNvPr>
          <p:cNvSpPr/>
          <p:nvPr/>
        </p:nvSpPr>
        <p:spPr bwMode="gray">
          <a:xfrm rot="5400000" flipV="1">
            <a:off x="398010" y="4084035"/>
            <a:ext cx="1485900" cy="92445"/>
          </a:xfrm>
          <a:prstGeom prst="roundRect">
            <a:avLst>
              <a:gd name="adj" fmla="val 50000"/>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59B5A66B-FB74-E83F-80F3-E38074ADB3E5}"/>
              </a:ext>
            </a:extLst>
          </p:cNvPr>
          <p:cNvSpPr/>
          <p:nvPr/>
        </p:nvSpPr>
        <p:spPr>
          <a:xfrm>
            <a:off x="819937" y="3422143"/>
            <a:ext cx="238914" cy="13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spc="300" dirty="0">
                <a:solidFill>
                  <a:srgbClr val="000000"/>
                </a:solidFill>
                <a:latin typeface="Open Sans" panose="020B0606030504020204" pitchFamily="34" charset="0"/>
                <a:ea typeface="Open Sans" panose="020B0606030504020204" pitchFamily="34" charset="0"/>
                <a:cs typeface="Open Sans" panose="020B0606030504020204" pitchFamily="34" charset="0"/>
              </a:rPr>
              <a:t>DESIRABILITY</a:t>
            </a:r>
            <a:endParaRPr kumimoji="0" lang="en-US" sz="1000" b="0" i="0" u="none" strike="noStrike" kern="1200" cap="none" spc="3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C61FA696-D33B-A0F7-2FD8-241682F8BE18}"/>
              </a:ext>
            </a:extLst>
          </p:cNvPr>
          <p:cNvSpPr/>
          <p:nvPr/>
        </p:nvSpPr>
        <p:spPr>
          <a:xfrm>
            <a:off x="830881" y="4970306"/>
            <a:ext cx="238914" cy="13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spc="300" dirty="0">
                <a:solidFill>
                  <a:srgbClr val="000000"/>
                </a:solidFill>
                <a:latin typeface="Open Sans" panose="020B0606030504020204" pitchFamily="34" charset="0"/>
                <a:ea typeface="Open Sans" panose="020B0606030504020204" pitchFamily="34" charset="0"/>
                <a:cs typeface="Open Sans" panose="020B0606030504020204" pitchFamily="34" charset="0"/>
              </a:rPr>
              <a:t>FEASIBILITY</a:t>
            </a:r>
            <a:endParaRPr kumimoji="0" lang="en-US" sz="1000" b="0" i="0" u="none" strike="noStrike" kern="1200" cap="none" spc="3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Rounded Rectangle 20">
            <a:extLst>
              <a:ext uri="{FF2B5EF4-FFF2-40B4-BE49-F238E27FC236}">
                <a16:creationId xmlns:a16="http://schemas.microsoft.com/office/drawing/2014/main" id="{DD308222-073B-2CAB-5AC3-B33E6752F0B9}"/>
              </a:ext>
            </a:extLst>
          </p:cNvPr>
          <p:cNvSpPr>
            <a:spLocks/>
          </p:cNvSpPr>
          <p:nvPr>
            <p:custDataLst>
              <p:tags r:id="rId12"/>
            </p:custDataLst>
          </p:nvPr>
        </p:nvSpPr>
        <p:spPr>
          <a:xfrm>
            <a:off x="1461996" y="3536400"/>
            <a:ext cx="2783792" cy="576000"/>
          </a:xfrm>
          <a:prstGeom prst="roundRect">
            <a:avLst>
              <a:gd name="adj" fmla="val 0"/>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Customer needs and barriers analysis</a:t>
            </a:r>
            <a:r>
              <a:rPr kumimoji="0" lang="en-US" sz="900" b="1" i="0" u="none" strike="noStrike" kern="1200" cap="none" spc="0" normalizeH="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algn="ctr">
              <a:defRPr/>
            </a:pPr>
            <a:r>
              <a:rPr kumimoji="0" lang="en-US" sz="900" b="1" i="0" u="none" strike="noStrike" kern="1200" cap="none" spc="0" normalizeH="0" baseline="0" noProof="0">
                <a:ln>
                  <a:noFill/>
                </a:ln>
                <a:solidFill>
                  <a:schemeClr val="tx1"/>
                </a:solidFill>
                <a:effectLst/>
                <a:uLnTx/>
                <a:uFillTx/>
                <a:latin typeface="Open Sans"/>
                <a:ea typeface="Open Sans"/>
                <a:cs typeface="Open Sans"/>
              </a:rPr>
              <a:t>(quantitative research – CAWI/CATI</a:t>
            </a:r>
            <a:r>
              <a:rPr lang="en-US" sz="900" b="1">
                <a:solidFill>
                  <a:schemeClr val="tx1"/>
                </a:solidFill>
                <a:latin typeface="Open Sans"/>
                <a:ea typeface="Open Sans"/>
                <a:cs typeface="Open Sans"/>
              </a:rPr>
              <a:t>*) </a:t>
            </a:r>
            <a:endParaRPr kumimoji="0" lang="en-US" sz="900" b="0"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Oval 29">
            <a:extLst>
              <a:ext uri="{FF2B5EF4-FFF2-40B4-BE49-F238E27FC236}">
                <a16:creationId xmlns:a16="http://schemas.microsoft.com/office/drawing/2014/main" id="{B9DC9A9C-B7B5-0D6D-FC44-0BA383B49AF1}"/>
              </a:ext>
            </a:extLst>
          </p:cNvPr>
          <p:cNvSpPr/>
          <p:nvPr/>
        </p:nvSpPr>
        <p:spPr>
          <a:xfrm>
            <a:off x="1242336" y="2229466"/>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1.1</a:t>
            </a:r>
          </a:p>
        </p:txBody>
      </p:sp>
      <p:sp>
        <p:nvSpPr>
          <p:cNvPr id="31" name="Oval 30">
            <a:extLst>
              <a:ext uri="{FF2B5EF4-FFF2-40B4-BE49-F238E27FC236}">
                <a16:creationId xmlns:a16="http://schemas.microsoft.com/office/drawing/2014/main" id="{36165341-790B-60EA-902E-E733ACACC74B}"/>
              </a:ext>
            </a:extLst>
          </p:cNvPr>
          <p:cNvSpPr/>
          <p:nvPr/>
        </p:nvSpPr>
        <p:spPr>
          <a:xfrm>
            <a:off x="1242336" y="2807596"/>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1.2</a:t>
            </a:r>
          </a:p>
        </p:txBody>
      </p:sp>
      <p:sp>
        <p:nvSpPr>
          <p:cNvPr id="32" name="Oval 31">
            <a:extLst>
              <a:ext uri="{FF2B5EF4-FFF2-40B4-BE49-F238E27FC236}">
                <a16:creationId xmlns:a16="http://schemas.microsoft.com/office/drawing/2014/main" id="{983D3C5F-28C5-1458-62EC-2719040B603A}"/>
              </a:ext>
            </a:extLst>
          </p:cNvPr>
          <p:cNvSpPr/>
          <p:nvPr/>
        </p:nvSpPr>
        <p:spPr>
          <a:xfrm>
            <a:off x="1242336" y="3340248"/>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1.3</a:t>
            </a:r>
          </a:p>
        </p:txBody>
      </p:sp>
      <p:sp>
        <p:nvSpPr>
          <p:cNvPr id="33" name="Oval 32">
            <a:extLst>
              <a:ext uri="{FF2B5EF4-FFF2-40B4-BE49-F238E27FC236}">
                <a16:creationId xmlns:a16="http://schemas.microsoft.com/office/drawing/2014/main" id="{FB1A00A0-CB6B-DECB-0DA0-7862511DCDA4}"/>
              </a:ext>
            </a:extLst>
          </p:cNvPr>
          <p:cNvSpPr/>
          <p:nvPr/>
        </p:nvSpPr>
        <p:spPr>
          <a:xfrm>
            <a:off x="1242336" y="4125542"/>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1.4</a:t>
            </a:r>
          </a:p>
        </p:txBody>
      </p:sp>
      <p:sp>
        <p:nvSpPr>
          <p:cNvPr id="34" name="Oval 33">
            <a:extLst>
              <a:ext uri="{FF2B5EF4-FFF2-40B4-BE49-F238E27FC236}">
                <a16:creationId xmlns:a16="http://schemas.microsoft.com/office/drawing/2014/main" id="{E11DA201-73CF-D02E-3696-F347B3C04965}"/>
              </a:ext>
            </a:extLst>
          </p:cNvPr>
          <p:cNvSpPr/>
          <p:nvPr/>
        </p:nvSpPr>
        <p:spPr>
          <a:xfrm>
            <a:off x="4422956" y="2251532"/>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2.1</a:t>
            </a:r>
          </a:p>
        </p:txBody>
      </p:sp>
      <p:sp>
        <p:nvSpPr>
          <p:cNvPr id="35" name="Oval 34">
            <a:extLst>
              <a:ext uri="{FF2B5EF4-FFF2-40B4-BE49-F238E27FC236}">
                <a16:creationId xmlns:a16="http://schemas.microsoft.com/office/drawing/2014/main" id="{B15A2DD8-CE35-27D9-2820-AA76BA257321}"/>
              </a:ext>
            </a:extLst>
          </p:cNvPr>
          <p:cNvSpPr/>
          <p:nvPr/>
        </p:nvSpPr>
        <p:spPr>
          <a:xfrm>
            <a:off x="4422956" y="2737752"/>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2.2</a:t>
            </a:r>
          </a:p>
        </p:txBody>
      </p:sp>
      <p:sp>
        <p:nvSpPr>
          <p:cNvPr id="36" name="Oval 35">
            <a:extLst>
              <a:ext uri="{FF2B5EF4-FFF2-40B4-BE49-F238E27FC236}">
                <a16:creationId xmlns:a16="http://schemas.microsoft.com/office/drawing/2014/main" id="{141FA726-0F07-000B-B4DF-C6DD71AB6D18}"/>
              </a:ext>
            </a:extLst>
          </p:cNvPr>
          <p:cNvSpPr/>
          <p:nvPr/>
        </p:nvSpPr>
        <p:spPr>
          <a:xfrm>
            <a:off x="9078412" y="2229466"/>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3.1</a:t>
            </a:r>
          </a:p>
        </p:txBody>
      </p:sp>
      <p:sp>
        <p:nvSpPr>
          <p:cNvPr id="37" name="Rectangle 36">
            <a:extLst>
              <a:ext uri="{FF2B5EF4-FFF2-40B4-BE49-F238E27FC236}">
                <a16:creationId xmlns:a16="http://schemas.microsoft.com/office/drawing/2014/main" id="{D8C54713-C157-0044-771C-3254CB5A9087}"/>
              </a:ext>
            </a:extLst>
          </p:cNvPr>
          <p:cNvSpPr/>
          <p:nvPr/>
        </p:nvSpPr>
        <p:spPr>
          <a:xfrm>
            <a:off x="1376039" y="1798208"/>
            <a:ext cx="2951034" cy="2688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defRPr/>
            </a:pPr>
            <a:r>
              <a:rPr lang="en-US" sz="1200" b="1" cap="all" dirty="0">
                <a:solidFill>
                  <a:srgbClr val="000000"/>
                </a:solidFill>
                <a:latin typeface="Open Sans" panose="020B0606030504020204" pitchFamily="34" charset="0"/>
                <a:ea typeface="Open Sans" panose="020B0606030504020204" pitchFamily="34" charset="0"/>
                <a:cs typeface="Open Sans" panose="020B0606030504020204" pitchFamily="34" charset="0"/>
              </a:rPr>
              <a:t>Flash analysis</a:t>
            </a:r>
          </a:p>
        </p:txBody>
      </p:sp>
      <p:sp>
        <p:nvSpPr>
          <p:cNvPr id="38" name="Rectangle 37">
            <a:extLst>
              <a:ext uri="{FF2B5EF4-FFF2-40B4-BE49-F238E27FC236}">
                <a16:creationId xmlns:a16="http://schemas.microsoft.com/office/drawing/2014/main" id="{1419F71E-1263-444B-F061-45A40F14CB4C}"/>
              </a:ext>
            </a:extLst>
          </p:cNvPr>
          <p:cNvSpPr/>
          <p:nvPr/>
        </p:nvSpPr>
        <p:spPr>
          <a:xfrm>
            <a:off x="4596786" y="1798208"/>
            <a:ext cx="4360674" cy="2688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defRPr/>
            </a:pP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VALUE PROPOSITION</a:t>
            </a:r>
          </a:p>
        </p:txBody>
      </p:sp>
      <p:sp>
        <p:nvSpPr>
          <p:cNvPr id="39" name="Rectangle 38">
            <a:extLst>
              <a:ext uri="{FF2B5EF4-FFF2-40B4-BE49-F238E27FC236}">
                <a16:creationId xmlns:a16="http://schemas.microsoft.com/office/drawing/2014/main" id="{3D87D820-F255-51AE-D016-FEA8241D26F2}"/>
              </a:ext>
            </a:extLst>
          </p:cNvPr>
          <p:cNvSpPr/>
          <p:nvPr/>
        </p:nvSpPr>
        <p:spPr>
          <a:xfrm>
            <a:off x="9227173" y="1798208"/>
            <a:ext cx="2420355" cy="2688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defRPr/>
            </a:pP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OPERATIONALISATION</a:t>
            </a:r>
          </a:p>
        </p:txBody>
      </p:sp>
      <p:sp>
        <p:nvSpPr>
          <p:cNvPr id="40" name="Rounded Rectangle 30">
            <a:extLst>
              <a:ext uri="{FF2B5EF4-FFF2-40B4-BE49-F238E27FC236}">
                <a16:creationId xmlns:a16="http://schemas.microsoft.com/office/drawing/2014/main" id="{EE612D06-F11D-2842-30F9-80C228C74477}"/>
              </a:ext>
            </a:extLst>
          </p:cNvPr>
          <p:cNvSpPr>
            <a:spLocks/>
          </p:cNvSpPr>
          <p:nvPr>
            <p:custDataLst>
              <p:tags r:id="rId13"/>
            </p:custDataLst>
          </p:nvPr>
        </p:nvSpPr>
        <p:spPr>
          <a:xfrm>
            <a:off x="9326221" y="5592322"/>
            <a:ext cx="2248251" cy="515561"/>
          </a:xfrm>
          <a:prstGeom prst="roundRect">
            <a:avLst>
              <a:gd name="adj" fmla="val 0"/>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overnance</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Rounded Rectangle 23">
            <a:extLst>
              <a:ext uri="{FF2B5EF4-FFF2-40B4-BE49-F238E27FC236}">
                <a16:creationId xmlns:a16="http://schemas.microsoft.com/office/drawing/2014/main" id="{E40DC83B-C4E9-8E1F-51FC-C51E93DBEA78}"/>
              </a:ext>
            </a:extLst>
          </p:cNvPr>
          <p:cNvSpPr>
            <a:spLocks/>
          </p:cNvSpPr>
          <p:nvPr>
            <p:custDataLst>
              <p:tags r:id="rId14"/>
            </p:custDataLst>
          </p:nvPr>
        </p:nvSpPr>
        <p:spPr>
          <a:xfrm>
            <a:off x="1482779" y="4955114"/>
            <a:ext cx="7346439" cy="316193"/>
          </a:xfrm>
          <a:prstGeom prst="roundRect">
            <a:avLst>
              <a:gd name="adj" fmla="val 0"/>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roduct c</a:t>
            </a:r>
            <a:r>
              <a:rPr kumimoji="0" lang="en-US" sz="9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cept</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mp; process blueprint</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Oval 41">
            <a:extLst>
              <a:ext uri="{FF2B5EF4-FFF2-40B4-BE49-F238E27FC236}">
                <a16:creationId xmlns:a16="http://schemas.microsoft.com/office/drawing/2014/main" id="{0F6F9E7C-7F15-BF5E-485E-7933CBF65B00}"/>
              </a:ext>
            </a:extLst>
          </p:cNvPr>
          <p:cNvSpPr/>
          <p:nvPr/>
        </p:nvSpPr>
        <p:spPr>
          <a:xfrm>
            <a:off x="1242336" y="4890914"/>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2.4</a:t>
            </a:r>
          </a:p>
        </p:txBody>
      </p:sp>
      <p:sp>
        <p:nvSpPr>
          <p:cNvPr id="43" name="Rounded Rectangle 16">
            <a:extLst>
              <a:ext uri="{FF2B5EF4-FFF2-40B4-BE49-F238E27FC236}">
                <a16:creationId xmlns:a16="http://schemas.microsoft.com/office/drawing/2014/main" id="{76C34346-C29F-7AF0-176E-9A31A077F35A}"/>
              </a:ext>
            </a:extLst>
          </p:cNvPr>
          <p:cNvSpPr/>
          <p:nvPr/>
        </p:nvSpPr>
        <p:spPr bwMode="gray">
          <a:xfrm rot="5400000">
            <a:off x="499155" y="5562764"/>
            <a:ext cx="1289958" cy="86632"/>
          </a:xfrm>
          <a:prstGeom prst="roundRect">
            <a:avLst>
              <a:gd name="adj" fmla="val 50000"/>
            </a:avLst>
          </a:prstGeom>
          <a:solidFill>
            <a:schemeClr val="accent4">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Rounded Rectangle 23">
            <a:extLst>
              <a:ext uri="{FF2B5EF4-FFF2-40B4-BE49-F238E27FC236}">
                <a16:creationId xmlns:a16="http://schemas.microsoft.com/office/drawing/2014/main" id="{87F2F2D2-BED1-939E-83F2-C0C71D2C7D5A}"/>
              </a:ext>
            </a:extLst>
          </p:cNvPr>
          <p:cNvSpPr>
            <a:spLocks/>
          </p:cNvSpPr>
          <p:nvPr>
            <p:custDataLst>
              <p:tags r:id="rId15"/>
            </p:custDataLst>
          </p:nvPr>
        </p:nvSpPr>
        <p:spPr>
          <a:xfrm>
            <a:off x="1482779" y="5368654"/>
            <a:ext cx="7348587" cy="316193"/>
          </a:xfrm>
          <a:prstGeom prst="roundRect">
            <a:avLst>
              <a:gd name="adj" fmla="val 0"/>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 Architecture </a:t>
            </a: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c</a:t>
            </a:r>
            <a:r>
              <a:rPr kumimoji="0" lang="en-US" sz="9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cept</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mp; Target </a:t>
            </a: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Application</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Landscape</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Rounded Rectangle 23">
            <a:extLst>
              <a:ext uri="{FF2B5EF4-FFF2-40B4-BE49-F238E27FC236}">
                <a16:creationId xmlns:a16="http://schemas.microsoft.com/office/drawing/2014/main" id="{9FF4B14F-0C1D-195B-790E-AFBDE1830F9F}"/>
              </a:ext>
            </a:extLst>
          </p:cNvPr>
          <p:cNvSpPr>
            <a:spLocks/>
          </p:cNvSpPr>
          <p:nvPr>
            <p:custDataLst>
              <p:tags r:id="rId16"/>
            </p:custDataLst>
          </p:nvPr>
        </p:nvSpPr>
        <p:spPr>
          <a:xfrm>
            <a:off x="1482779" y="5776471"/>
            <a:ext cx="7348589" cy="316193"/>
          </a:xfrm>
          <a:prstGeom prst="roundRect">
            <a:avLst>
              <a:gd name="adj" fmla="val 0"/>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53847" tIns="72000" rIns="53847" bIns="26924" spcCol="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Legal c</a:t>
            </a:r>
            <a:r>
              <a:rPr kumimoji="0" lang="en-US" sz="900" b="1"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cept</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mp; framework</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Oval 45">
            <a:extLst>
              <a:ext uri="{FF2B5EF4-FFF2-40B4-BE49-F238E27FC236}">
                <a16:creationId xmlns:a16="http://schemas.microsoft.com/office/drawing/2014/main" id="{B2FF79FC-827B-D680-DC5D-3A90B200898B}"/>
              </a:ext>
            </a:extLst>
          </p:cNvPr>
          <p:cNvSpPr/>
          <p:nvPr/>
        </p:nvSpPr>
        <p:spPr>
          <a:xfrm>
            <a:off x="1242336" y="5300117"/>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2.5</a:t>
            </a:r>
          </a:p>
        </p:txBody>
      </p:sp>
      <p:sp>
        <p:nvSpPr>
          <p:cNvPr id="47" name="Oval 46">
            <a:extLst>
              <a:ext uri="{FF2B5EF4-FFF2-40B4-BE49-F238E27FC236}">
                <a16:creationId xmlns:a16="http://schemas.microsoft.com/office/drawing/2014/main" id="{17BE925A-66A8-FA9C-CFAD-F428663672AB}"/>
              </a:ext>
            </a:extLst>
          </p:cNvPr>
          <p:cNvSpPr/>
          <p:nvPr/>
        </p:nvSpPr>
        <p:spPr>
          <a:xfrm>
            <a:off x="1242336" y="5714214"/>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2.6</a:t>
            </a:r>
          </a:p>
        </p:txBody>
      </p:sp>
      <p:sp>
        <p:nvSpPr>
          <p:cNvPr id="48" name="Oval 47">
            <a:extLst>
              <a:ext uri="{FF2B5EF4-FFF2-40B4-BE49-F238E27FC236}">
                <a16:creationId xmlns:a16="http://schemas.microsoft.com/office/drawing/2014/main" id="{D1431E10-6414-80AC-87FE-914394F5AE1F}"/>
              </a:ext>
            </a:extLst>
          </p:cNvPr>
          <p:cNvSpPr/>
          <p:nvPr/>
        </p:nvSpPr>
        <p:spPr>
          <a:xfrm>
            <a:off x="7231890" y="4125542"/>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3.3</a:t>
            </a:r>
          </a:p>
        </p:txBody>
      </p:sp>
      <p:sp>
        <p:nvSpPr>
          <p:cNvPr id="49" name="Oval 48">
            <a:extLst>
              <a:ext uri="{FF2B5EF4-FFF2-40B4-BE49-F238E27FC236}">
                <a16:creationId xmlns:a16="http://schemas.microsoft.com/office/drawing/2014/main" id="{1CB1B4C6-4118-86C5-2112-5EF28D901371}"/>
              </a:ext>
            </a:extLst>
          </p:cNvPr>
          <p:cNvSpPr/>
          <p:nvPr/>
        </p:nvSpPr>
        <p:spPr>
          <a:xfrm>
            <a:off x="9078412" y="4840418"/>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3.4</a:t>
            </a:r>
          </a:p>
        </p:txBody>
      </p:sp>
      <p:sp>
        <p:nvSpPr>
          <p:cNvPr id="50" name="Oval 49">
            <a:extLst>
              <a:ext uri="{FF2B5EF4-FFF2-40B4-BE49-F238E27FC236}">
                <a16:creationId xmlns:a16="http://schemas.microsoft.com/office/drawing/2014/main" id="{DBD94F51-2578-31E9-AED5-88712127FD4F}"/>
              </a:ext>
            </a:extLst>
          </p:cNvPr>
          <p:cNvSpPr/>
          <p:nvPr/>
        </p:nvSpPr>
        <p:spPr>
          <a:xfrm>
            <a:off x="9078412" y="5575406"/>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3.5</a:t>
            </a:r>
          </a:p>
        </p:txBody>
      </p:sp>
      <p:sp>
        <p:nvSpPr>
          <p:cNvPr id="51" name="Rectangle 50">
            <a:extLst>
              <a:ext uri="{FF2B5EF4-FFF2-40B4-BE49-F238E27FC236}">
                <a16:creationId xmlns:a16="http://schemas.microsoft.com/office/drawing/2014/main" id="{D8378EB2-8881-EB8B-2E96-AA5A34F1F01E}"/>
              </a:ext>
            </a:extLst>
          </p:cNvPr>
          <p:cNvSpPr/>
          <p:nvPr/>
        </p:nvSpPr>
        <p:spPr>
          <a:xfrm>
            <a:off x="4551012" y="3389895"/>
            <a:ext cx="7102270" cy="142593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Oval 51">
            <a:extLst>
              <a:ext uri="{FF2B5EF4-FFF2-40B4-BE49-F238E27FC236}">
                <a16:creationId xmlns:a16="http://schemas.microsoft.com/office/drawing/2014/main" id="{C5EBC4E8-F60C-16B8-9430-B657FFADB1BA}"/>
              </a:ext>
            </a:extLst>
          </p:cNvPr>
          <p:cNvSpPr/>
          <p:nvPr/>
        </p:nvSpPr>
        <p:spPr>
          <a:xfrm>
            <a:off x="4432854" y="3340248"/>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2.3</a:t>
            </a:r>
          </a:p>
        </p:txBody>
      </p:sp>
      <p:sp>
        <p:nvSpPr>
          <p:cNvPr id="53" name="Oval 52">
            <a:extLst>
              <a:ext uri="{FF2B5EF4-FFF2-40B4-BE49-F238E27FC236}">
                <a16:creationId xmlns:a16="http://schemas.microsoft.com/office/drawing/2014/main" id="{00632D46-516D-16C6-3EDA-FB7A1CCB385F}"/>
              </a:ext>
            </a:extLst>
          </p:cNvPr>
          <p:cNvSpPr/>
          <p:nvPr/>
        </p:nvSpPr>
        <p:spPr>
          <a:xfrm>
            <a:off x="7231890" y="3340248"/>
            <a:ext cx="297521" cy="297521"/>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3.2</a:t>
            </a:r>
          </a:p>
        </p:txBody>
      </p:sp>
      <p:sp>
        <p:nvSpPr>
          <p:cNvPr id="54" name="Diamond 53">
            <a:extLst>
              <a:ext uri="{FF2B5EF4-FFF2-40B4-BE49-F238E27FC236}">
                <a16:creationId xmlns:a16="http://schemas.microsoft.com/office/drawing/2014/main" id="{55A824CC-B656-9CD3-5450-39126C483FA0}"/>
              </a:ext>
            </a:extLst>
          </p:cNvPr>
          <p:cNvSpPr/>
          <p:nvPr/>
        </p:nvSpPr>
        <p:spPr>
          <a:xfrm>
            <a:off x="8847500" y="2455347"/>
            <a:ext cx="169780" cy="178791"/>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Chevron 104">
            <a:extLst>
              <a:ext uri="{FF2B5EF4-FFF2-40B4-BE49-F238E27FC236}">
                <a16:creationId xmlns:a16="http://schemas.microsoft.com/office/drawing/2014/main" id="{14D2717D-EC26-2D30-99C2-BEA7E9DC88C8}"/>
              </a:ext>
            </a:extLst>
          </p:cNvPr>
          <p:cNvSpPr/>
          <p:nvPr/>
        </p:nvSpPr>
        <p:spPr>
          <a:xfrm>
            <a:off x="4411270" y="2544138"/>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Chevron 106">
            <a:extLst>
              <a:ext uri="{FF2B5EF4-FFF2-40B4-BE49-F238E27FC236}">
                <a16:creationId xmlns:a16="http://schemas.microsoft.com/office/drawing/2014/main" id="{DEF66F9A-E420-ECD6-F786-480031D080DF}"/>
              </a:ext>
            </a:extLst>
          </p:cNvPr>
          <p:cNvSpPr/>
          <p:nvPr/>
        </p:nvSpPr>
        <p:spPr>
          <a:xfrm>
            <a:off x="4411270" y="2985771"/>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Chevron 126">
            <a:extLst>
              <a:ext uri="{FF2B5EF4-FFF2-40B4-BE49-F238E27FC236}">
                <a16:creationId xmlns:a16="http://schemas.microsoft.com/office/drawing/2014/main" id="{D4BD9441-A1FF-2625-4E73-D729FB8BA215}"/>
              </a:ext>
            </a:extLst>
          </p:cNvPr>
          <p:cNvSpPr/>
          <p:nvPr/>
        </p:nvSpPr>
        <p:spPr>
          <a:xfrm>
            <a:off x="4411270" y="3754921"/>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Chevron 128">
            <a:extLst>
              <a:ext uri="{FF2B5EF4-FFF2-40B4-BE49-F238E27FC236}">
                <a16:creationId xmlns:a16="http://schemas.microsoft.com/office/drawing/2014/main" id="{EC58B20C-59EB-775E-00A1-5B966A7FA0F1}"/>
              </a:ext>
            </a:extLst>
          </p:cNvPr>
          <p:cNvSpPr/>
          <p:nvPr/>
        </p:nvSpPr>
        <p:spPr>
          <a:xfrm>
            <a:off x="4411270" y="4392490"/>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Chevron 129">
            <a:extLst>
              <a:ext uri="{FF2B5EF4-FFF2-40B4-BE49-F238E27FC236}">
                <a16:creationId xmlns:a16="http://schemas.microsoft.com/office/drawing/2014/main" id="{42CF8909-C0A7-67EF-4C8B-E9520C193059}"/>
              </a:ext>
            </a:extLst>
          </p:cNvPr>
          <p:cNvSpPr/>
          <p:nvPr/>
        </p:nvSpPr>
        <p:spPr>
          <a:xfrm>
            <a:off x="7231890" y="3754921"/>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Chevron 130">
            <a:extLst>
              <a:ext uri="{FF2B5EF4-FFF2-40B4-BE49-F238E27FC236}">
                <a16:creationId xmlns:a16="http://schemas.microsoft.com/office/drawing/2014/main" id="{BB2C0A77-69A3-1208-9F44-3487D6AC9B9A}"/>
              </a:ext>
            </a:extLst>
          </p:cNvPr>
          <p:cNvSpPr/>
          <p:nvPr/>
        </p:nvSpPr>
        <p:spPr>
          <a:xfrm>
            <a:off x="7231890" y="4392490"/>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Chevron 133">
            <a:extLst>
              <a:ext uri="{FF2B5EF4-FFF2-40B4-BE49-F238E27FC236}">
                <a16:creationId xmlns:a16="http://schemas.microsoft.com/office/drawing/2014/main" id="{804B9DC1-B891-E5D4-9B7B-563788A7F548}"/>
              </a:ext>
            </a:extLst>
          </p:cNvPr>
          <p:cNvSpPr/>
          <p:nvPr/>
        </p:nvSpPr>
        <p:spPr>
          <a:xfrm>
            <a:off x="9048610" y="5350559"/>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Chevron 135">
            <a:extLst>
              <a:ext uri="{FF2B5EF4-FFF2-40B4-BE49-F238E27FC236}">
                <a16:creationId xmlns:a16="http://schemas.microsoft.com/office/drawing/2014/main" id="{A6631D46-7820-88E0-007A-0EC12FC620CA}"/>
              </a:ext>
            </a:extLst>
          </p:cNvPr>
          <p:cNvSpPr/>
          <p:nvPr/>
        </p:nvSpPr>
        <p:spPr>
          <a:xfrm>
            <a:off x="9048610" y="2739060"/>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Chevron 139">
            <a:extLst>
              <a:ext uri="{FF2B5EF4-FFF2-40B4-BE49-F238E27FC236}">
                <a16:creationId xmlns:a16="http://schemas.microsoft.com/office/drawing/2014/main" id="{3702693A-C005-C037-72C5-2D7E90385997}"/>
              </a:ext>
            </a:extLst>
          </p:cNvPr>
          <p:cNvSpPr/>
          <p:nvPr/>
        </p:nvSpPr>
        <p:spPr>
          <a:xfrm rot="16200000">
            <a:off x="5825207" y="4695596"/>
            <a:ext cx="72000" cy="180000"/>
          </a:xfrm>
          <a:prstGeom prst="chevron">
            <a:avLst>
              <a:gd name="adj" fmla="val 91887"/>
            </a:avLst>
          </a:prstGeom>
          <a:solidFill>
            <a:srgbClr val="3EFAC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5BB19AF3-0D12-1C42-958C-342BF434C9C5}"/>
              </a:ext>
            </a:extLst>
          </p:cNvPr>
          <p:cNvSpPr txBox="1"/>
          <p:nvPr/>
        </p:nvSpPr>
        <p:spPr>
          <a:xfrm>
            <a:off x="391886" y="6414247"/>
            <a:ext cx="10805671"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800" dirty="0">
                <a:solidFill>
                  <a:srgbClr val="313131"/>
                </a:solidFill>
                <a:latin typeface="Open Sans Regular"/>
                <a:ea typeface="Open Sans Regular"/>
                <a:cs typeface="Open Sans Regular"/>
              </a:rPr>
              <a:t>*CAWI: </a:t>
            </a:r>
            <a:r>
              <a:rPr lang="en-US" sz="800" dirty="0">
                <a:solidFill>
                  <a:srgbClr val="040C28"/>
                </a:solidFill>
                <a:latin typeface="Open Sans Regular"/>
                <a:ea typeface="Open Sans Regular"/>
                <a:cs typeface="Open Sans Regular"/>
              </a:rPr>
              <a:t>Computer Assisted Web Interviewing, </a:t>
            </a:r>
            <a:r>
              <a:rPr lang="en-US" sz="800">
                <a:solidFill>
                  <a:srgbClr val="040C28"/>
                </a:solidFill>
                <a:latin typeface="Open Sans Regular"/>
                <a:ea typeface="Open Sans Regular"/>
                <a:cs typeface="Open Sans Regular"/>
              </a:rPr>
              <a:t>CATI</a:t>
            </a:r>
            <a:r>
              <a:rPr lang="en-US" sz="800" dirty="0">
                <a:solidFill>
                  <a:srgbClr val="040C28"/>
                </a:solidFill>
                <a:latin typeface="Open Sans Regular"/>
                <a:ea typeface="Open Sans Regular"/>
                <a:cs typeface="Open Sans Regular"/>
              </a:rPr>
              <a:t>: Computer Assisted</a:t>
            </a:r>
            <a:r>
              <a:rPr lang="en-US" sz="800">
                <a:solidFill>
                  <a:srgbClr val="040C28"/>
                </a:solidFill>
                <a:latin typeface="Open Sans Regular"/>
                <a:ea typeface="Open Sans Regular"/>
                <a:cs typeface="Open Sans Regular"/>
              </a:rPr>
              <a:t> Telephone </a:t>
            </a:r>
            <a:r>
              <a:rPr lang="en-US" sz="800" dirty="0">
                <a:solidFill>
                  <a:srgbClr val="040C28"/>
                </a:solidFill>
                <a:latin typeface="Open Sans Regular"/>
                <a:ea typeface="Open Sans Regular"/>
                <a:cs typeface="Open Sans Regular"/>
              </a:rPr>
              <a:t>Interviewing, ** IDI: In-depth interview,</a:t>
            </a:r>
            <a:r>
              <a:rPr lang="en-US" sz="800">
                <a:solidFill>
                  <a:srgbClr val="040C28"/>
                </a:solidFill>
                <a:latin typeface="Open Sans Regular"/>
                <a:ea typeface="Open Sans Regular"/>
                <a:cs typeface="Open Sans Regular"/>
              </a:rPr>
              <a:t> *** </a:t>
            </a:r>
            <a:r>
              <a:rPr lang="en-US" sz="800" dirty="0" err="1">
                <a:solidFill>
                  <a:srgbClr val="040C28"/>
                </a:solidFill>
                <a:latin typeface="Open Sans Regular"/>
                <a:ea typeface="Open Sans Regular"/>
                <a:cs typeface="Open Sans Regular"/>
              </a:rPr>
              <a:t>VoCA</a:t>
            </a:r>
            <a:r>
              <a:rPr lang="en-US" sz="800">
                <a:solidFill>
                  <a:srgbClr val="040C28"/>
                </a:solidFill>
                <a:latin typeface="Open Sans Regular"/>
                <a:ea typeface="Open Sans Regular"/>
                <a:cs typeface="Open Sans Regular"/>
              </a:rPr>
              <a:t>: Voice </a:t>
            </a:r>
            <a:r>
              <a:rPr lang="en-US" sz="800" dirty="0">
                <a:solidFill>
                  <a:srgbClr val="040C28"/>
                </a:solidFill>
                <a:latin typeface="Open Sans Regular"/>
                <a:ea typeface="Open Sans Regular"/>
                <a:cs typeface="Open Sans Regular"/>
              </a:rPr>
              <a:t>of </a:t>
            </a:r>
            <a:r>
              <a:rPr lang="en-US" sz="800">
                <a:solidFill>
                  <a:srgbClr val="040C28"/>
                </a:solidFill>
                <a:latin typeface="Open Sans Regular"/>
                <a:ea typeface="Open Sans Regular"/>
                <a:cs typeface="Open Sans Regular"/>
              </a:rPr>
              <a:t>Customer </a:t>
            </a:r>
            <a:r>
              <a:rPr lang="en-US" sz="800" dirty="0">
                <a:solidFill>
                  <a:srgbClr val="040C28"/>
                </a:solidFill>
                <a:latin typeface="Open Sans Regular"/>
                <a:ea typeface="Open Sans Regular"/>
                <a:cs typeface="Open Sans Regular"/>
              </a:rPr>
              <a:t>Analysis</a:t>
            </a:r>
            <a:r>
              <a:rPr lang="en-US" sz="800">
                <a:solidFill>
                  <a:srgbClr val="040C28"/>
                </a:solidFill>
                <a:latin typeface="Open Sans Regular"/>
                <a:ea typeface="Open Sans Regular"/>
                <a:cs typeface="Open Sans Regular"/>
              </a:rPr>
              <a:t>, </a:t>
            </a:r>
            <a:r>
              <a:rPr lang="en-US" sz="800" dirty="0" err="1">
                <a:solidFill>
                  <a:srgbClr val="040C28"/>
                </a:solidFill>
                <a:latin typeface="Open Sans Regular"/>
                <a:ea typeface="Open Sans Regular"/>
                <a:cs typeface="Open Sans Regular"/>
              </a:rPr>
              <a:t>VoM</a:t>
            </a:r>
            <a:r>
              <a:rPr lang="en-US" sz="800">
                <a:solidFill>
                  <a:srgbClr val="040C28"/>
                </a:solidFill>
                <a:latin typeface="Open Sans Regular"/>
                <a:ea typeface="Open Sans Regular"/>
                <a:cs typeface="Open Sans Regular"/>
              </a:rPr>
              <a:t>: Voice of</a:t>
            </a:r>
            <a:r>
              <a:rPr lang="en-US" sz="800" dirty="0">
                <a:solidFill>
                  <a:srgbClr val="040C28"/>
                </a:solidFill>
                <a:latin typeface="Open Sans Regular"/>
                <a:ea typeface="Open Sans Regular"/>
                <a:cs typeface="Open Sans Regular"/>
              </a:rPr>
              <a:t> Market</a:t>
            </a:r>
            <a:r>
              <a:rPr lang="en-US" sz="800">
                <a:solidFill>
                  <a:srgbClr val="040C28"/>
                </a:solidFill>
                <a:latin typeface="Open Sans Regular"/>
                <a:ea typeface="Open Sans Regular"/>
                <a:cs typeface="Open Sans Regular"/>
              </a:rPr>
              <a:t>, </a:t>
            </a:r>
            <a:r>
              <a:rPr lang="en-US" sz="800" dirty="0" err="1">
                <a:solidFill>
                  <a:srgbClr val="040C28"/>
                </a:solidFill>
                <a:latin typeface="Open Sans Regular"/>
                <a:ea typeface="Open Sans Regular"/>
                <a:cs typeface="Open Sans Regular"/>
              </a:rPr>
              <a:t>VoC</a:t>
            </a:r>
            <a:r>
              <a:rPr lang="en-US" sz="800" dirty="0">
                <a:solidFill>
                  <a:srgbClr val="040C28"/>
                </a:solidFill>
                <a:latin typeface="Open Sans Regular"/>
                <a:ea typeface="Open Sans Regular"/>
                <a:cs typeface="Open Sans Regular"/>
              </a:rPr>
              <a:t>: Voice </a:t>
            </a:r>
            <a:r>
              <a:rPr lang="en-US" sz="800">
                <a:solidFill>
                  <a:srgbClr val="040C28"/>
                </a:solidFill>
                <a:latin typeface="Open Sans Regular"/>
                <a:ea typeface="Open Sans Regular"/>
                <a:cs typeface="Open Sans Regular"/>
              </a:rPr>
              <a:t>of</a:t>
            </a:r>
            <a:r>
              <a:rPr lang="en-US" sz="800" dirty="0">
                <a:solidFill>
                  <a:srgbClr val="040C28"/>
                </a:solidFill>
                <a:latin typeface="Open Sans Regular"/>
                <a:ea typeface="Open Sans Regular"/>
                <a:cs typeface="Open Sans Regular"/>
              </a:rPr>
              <a:t> Customer </a:t>
            </a:r>
            <a:endParaRPr lang="en-US" sz="800" dirty="0">
              <a:solidFill>
                <a:srgbClr val="313131"/>
              </a:solidFill>
              <a:latin typeface="Open Sans Regular"/>
              <a:ea typeface="Open Sans Regular"/>
              <a:cs typeface="Open Sans Regular"/>
            </a:endParaRPr>
          </a:p>
        </p:txBody>
      </p:sp>
    </p:spTree>
    <p:extLst>
      <p:ext uri="{BB962C8B-B14F-4D97-AF65-F5344CB8AC3E}">
        <p14:creationId xmlns:p14="http://schemas.microsoft.com/office/powerpoint/2010/main" val="3904452311"/>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think-cell data - do not delete" hidden="1">
            <a:extLst>
              <a:ext uri="{FF2B5EF4-FFF2-40B4-BE49-F238E27FC236}">
                <a16:creationId xmlns:a16="http://schemas.microsoft.com/office/drawing/2014/main" id="{C0E84A47-BCE6-F4FE-2323-FACBE1AAF667}"/>
              </a:ext>
            </a:extLst>
          </p:cNvPr>
          <p:cNvGraphicFramePr>
            <a:graphicFrameLocks noChangeAspect="1"/>
          </p:cNvGraphicFramePr>
          <p:nvPr>
            <p:custDataLst>
              <p:tags r:id="rId1"/>
            </p:custDataLst>
            <p:extLst>
              <p:ext uri="{D42A27DB-BD31-4B8C-83A1-F6EECF244321}">
                <p14:modId xmlns:p14="http://schemas.microsoft.com/office/powerpoint/2010/main" val="165471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118" name="think-cell data - do not delete" hidden="1">
                        <a:extLst>
                          <a:ext uri="{FF2B5EF4-FFF2-40B4-BE49-F238E27FC236}">
                            <a16:creationId xmlns:a16="http://schemas.microsoft.com/office/drawing/2014/main" id="{C0E84A47-BCE6-F4FE-2323-FACBE1AAF6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1C53119-71F8-1935-A30E-A5E2C557F9FC}"/>
              </a:ext>
            </a:extLst>
          </p:cNvPr>
          <p:cNvSpPr>
            <a:spLocks noGrp="1"/>
          </p:cNvSpPr>
          <p:nvPr>
            <p:ph type="body" sz="quarter" idx="22"/>
          </p:nvPr>
        </p:nvSpPr>
        <p:spPr/>
        <p:txBody>
          <a:bodyPr/>
          <a:lstStyle/>
          <a:p>
            <a:r>
              <a:rPr lang="en-US" sz="1800" dirty="0">
                <a:solidFill>
                  <a:schemeClr val="tx2"/>
                </a:solidFill>
                <a:latin typeface="Open Sans" panose="020B0606030504020204" pitchFamily="34" charset="0"/>
                <a:ea typeface="Open Sans" panose="020B0606030504020204" pitchFamily="34" charset="0"/>
                <a:cs typeface="Open Sans" panose="020B0606030504020204" pitchFamily="34" charset="0"/>
              </a:rPr>
              <a:t>This framework is a proven process to accelerate the launch of new propositions and products</a:t>
            </a:r>
            <a:endParaRPr lang="en-GB" dirty="0"/>
          </a:p>
        </p:txBody>
      </p:sp>
      <p:sp>
        <p:nvSpPr>
          <p:cNvPr id="3" name="Title 2">
            <a:extLst>
              <a:ext uri="{FF2B5EF4-FFF2-40B4-BE49-F238E27FC236}">
                <a16:creationId xmlns:a16="http://schemas.microsoft.com/office/drawing/2014/main" id="{BFE9CBD9-806D-A96F-64C1-AF4F009593B5}"/>
              </a:ext>
            </a:extLst>
          </p:cNvPr>
          <p:cNvSpPr>
            <a:spLocks noGrp="1"/>
          </p:cNvSpPr>
          <p:nvPr>
            <p:ph type="title"/>
          </p:nvPr>
        </p:nvSpPr>
        <p:spPr/>
        <p:txBody>
          <a:bodyPr vert="horz"/>
          <a:lstStyle/>
          <a:p>
            <a:r>
              <a:rPr lang="en-US" dirty="0"/>
              <a:t>The 5s’ and 3 lenses </a:t>
            </a:r>
            <a:br>
              <a:rPr lang="en-US" dirty="0"/>
            </a:br>
            <a:endParaRPr lang="en-GB" dirty="0"/>
          </a:p>
        </p:txBody>
      </p:sp>
      <p:sp>
        <p:nvSpPr>
          <p:cNvPr id="4" name="Rectangle 3">
            <a:extLst>
              <a:ext uri="{FF2B5EF4-FFF2-40B4-BE49-F238E27FC236}">
                <a16:creationId xmlns:a16="http://schemas.microsoft.com/office/drawing/2014/main" id="{4AD5030F-98C5-DB66-17EA-628C6A4E2E45}"/>
              </a:ext>
            </a:extLst>
          </p:cNvPr>
          <p:cNvSpPr>
            <a:spLocks/>
          </p:cNvSpPr>
          <p:nvPr/>
        </p:nvSpPr>
        <p:spPr bwMode="gray">
          <a:xfrm>
            <a:off x="1045624" y="1404866"/>
            <a:ext cx="10100753" cy="562365"/>
          </a:xfrm>
          <a:prstGeom prst="rect">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in </a:t>
            </a:r>
            <a:r>
              <a:rPr kumimoji="0" lang="en-US" sz="1400" i="1" u="none" strike="noStrike" kern="1200" cap="none" spc="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ur</a:t>
            </a:r>
            <a:r>
              <a:rPr kumimoji="0" lang="en-US" sz="140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novation Hub we use a proven process, the 5s’ – </a:t>
            </a:r>
            <a:r>
              <a:rPr lang="en-US" sz="1400" i="1" dirty="0">
                <a:solidFill>
                  <a:srgbClr val="00B0F2"/>
                </a:solidFill>
                <a:latin typeface="Open Sans" panose="020B0606030504020204" pitchFamily="34" charset="0"/>
                <a:ea typeface="Open Sans" panose="020B0606030504020204" pitchFamily="34" charset="0"/>
                <a:cs typeface="Open Sans" panose="020B0606030504020204" pitchFamily="34" charset="0"/>
              </a:rPr>
              <a:t>Select, Search, Solve, Ship </a:t>
            </a:r>
            <a:r>
              <a:rPr kumimoji="0" lang="en-US" sz="140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lang="en-US" sz="1400" i="1" dirty="0">
                <a:solidFill>
                  <a:srgbClr val="00B0F2"/>
                </a:solidFill>
                <a:latin typeface="Open Sans" panose="020B0606030504020204" pitchFamily="34" charset="0"/>
                <a:ea typeface="Open Sans" panose="020B0606030504020204" pitchFamily="34" charset="0"/>
                <a:cs typeface="Open Sans" panose="020B0606030504020204" pitchFamily="34" charset="0"/>
              </a:rPr>
              <a:t>Scale</a:t>
            </a:r>
            <a:r>
              <a:rPr kumimoji="0" lang="en-US" sz="140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o identify, conceive, design, build and scale key ‘Missions’. At all stages we will embed a customer centric philosophy with a </a:t>
            </a:r>
            <a:r>
              <a:rPr lang="en-US" sz="1400" i="1" dirty="0">
                <a:solidFill>
                  <a:srgbClr val="00B0F2"/>
                </a:solidFill>
                <a:latin typeface="Open Sans" panose="020B0606030504020204" pitchFamily="34" charset="0"/>
                <a:ea typeface="Open Sans" panose="020B0606030504020204" pitchFamily="34" charset="0"/>
                <a:cs typeface="Open Sans" panose="020B0606030504020204" pitchFamily="34" charset="0"/>
              </a:rPr>
              <a:t>desirability</a:t>
            </a:r>
            <a:r>
              <a:rPr kumimoji="0" lang="en-US" sz="140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lens, as well as testing the </a:t>
            </a:r>
            <a:r>
              <a:rPr lang="en-US" sz="1400" i="1" dirty="0">
                <a:solidFill>
                  <a:srgbClr val="00B0F2"/>
                </a:solidFill>
                <a:latin typeface="Open Sans" panose="020B0606030504020204" pitchFamily="34" charset="0"/>
                <a:ea typeface="Open Sans" panose="020B0606030504020204" pitchFamily="34" charset="0"/>
                <a:cs typeface="Open Sans" panose="020B0606030504020204" pitchFamily="34" charset="0"/>
              </a:rPr>
              <a:t>viability</a:t>
            </a:r>
            <a:r>
              <a:rPr kumimoji="0" lang="en-US" sz="140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nd </a:t>
            </a:r>
            <a:r>
              <a:rPr lang="en-US" sz="1400" i="1" dirty="0">
                <a:solidFill>
                  <a:srgbClr val="00B0F2"/>
                </a:solidFill>
                <a:latin typeface="Open Sans" panose="020B0606030504020204" pitchFamily="34" charset="0"/>
                <a:ea typeface="Open Sans" panose="020B0606030504020204" pitchFamily="34" charset="0"/>
                <a:cs typeface="Open Sans" panose="020B0606030504020204" pitchFamily="34" charset="0"/>
              </a:rPr>
              <a:t>feasibility</a:t>
            </a:r>
            <a:r>
              <a:rPr kumimoji="0" lang="en-US" sz="140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of the proposed propositions and products.</a:t>
            </a:r>
          </a:p>
        </p:txBody>
      </p:sp>
      <p:sp>
        <p:nvSpPr>
          <p:cNvPr id="5" name="object 9">
            <a:extLst>
              <a:ext uri="{FF2B5EF4-FFF2-40B4-BE49-F238E27FC236}">
                <a16:creationId xmlns:a16="http://schemas.microsoft.com/office/drawing/2014/main" id="{68170673-827C-A495-AD84-84EFD6877EE8}"/>
              </a:ext>
            </a:extLst>
          </p:cNvPr>
          <p:cNvSpPr/>
          <p:nvPr/>
        </p:nvSpPr>
        <p:spPr>
          <a:xfrm>
            <a:off x="9821478" y="3541015"/>
            <a:ext cx="1467283" cy="1470466"/>
          </a:xfrm>
          <a:custGeom>
            <a:avLst/>
            <a:gdLst/>
            <a:ahLst/>
            <a:cxnLst/>
            <a:rect l="l" t="t" r="r" b="b"/>
            <a:pathLst>
              <a:path w="1756409" h="1760220">
                <a:moveTo>
                  <a:pt x="877976" y="0"/>
                </a:moveTo>
                <a:lnTo>
                  <a:pt x="829804" y="1302"/>
                </a:lnTo>
                <a:lnTo>
                  <a:pt x="782312" y="5164"/>
                </a:lnTo>
                <a:lnTo>
                  <a:pt x="735565" y="11518"/>
                </a:lnTo>
                <a:lnTo>
                  <a:pt x="689631" y="20298"/>
                </a:lnTo>
                <a:lnTo>
                  <a:pt x="644577" y="31436"/>
                </a:lnTo>
                <a:lnTo>
                  <a:pt x="600470" y="44866"/>
                </a:lnTo>
                <a:lnTo>
                  <a:pt x="557377" y="60519"/>
                </a:lnTo>
                <a:lnTo>
                  <a:pt x="515364" y="78330"/>
                </a:lnTo>
                <a:lnTo>
                  <a:pt x="474498" y="98231"/>
                </a:lnTo>
                <a:lnTo>
                  <a:pt x="434847" y="120154"/>
                </a:lnTo>
                <a:lnTo>
                  <a:pt x="396478" y="144033"/>
                </a:lnTo>
                <a:lnTo>
                  <a:pt x="359457" y="169801"/>
                </a:lnTo>
                <a:lnTo>
                  <a:pt x="323852" y="197390"/>
                </a:lnTo>
                <a:lnTo>
                  <a:pt x="289729" y="226734"/>
                </a:lnTo>
                <a:lnTo>
                  <a:pt x="257155" y="257765"/>
                </a:lnTo>
                <a:lnTo>
                  <a:pt x="226198" y="290416"/>
                </a:lnTo>
                <a:lnTo>
                  <a:pt x="196924" y="324620"/>
                </a:lnTo>
                <a:lnTo>
                  <a:pt x="169400" y="360311"/>
                </a:lnTo>
                <a:lnTo>
                  <a:pt x="143693" y="397420"/>
                </a:lnTo>
                <a:lnTo>
                  <a:pt x="119871" y="435880"/>
                </a:lnTo>
                <a:lnTo>
                  <a:pt x="97999" y="475626"/>
                </a:lnTo>
                <a:lnTo>
                  <a:pt x="78145" y="516589"/>
                </a:lnTo>
                <a:lnTo>
                  <a:pt x="60377" y="558702"/>
                </a:lnTo>
                <a:lnTo>
                  <a:pt x="44760" y="601899"/>
                </a:lnTo>
                <a:lnTo>
                  <a:pt x="31362" y="646112"/>
                </a:lnTo>
                <a:lnTo>
                  <a:pt x="20250" y="691274"/>
                </a:lnTo>
                <a:lnTo>
                  <a:pt x="11491" y="737318"/>
                </a:lnTo>
                <a:lnTo>
                  <a:pt x="5151" y="784177"/>
                </a:lnTo>
                <a:lnTo>
                  <a:pt x="1299" y="831784"/>
                </a:lnTo>
                <a:lnTo>
                  <a:pt x="0" y="880071"/>
                </a:lnTo>
                <a:lnTo>
                  <a:pt x="1299" y="928358"/>
                </a:lnTo>
                <a:lnTo>
                  <a:pt x="5151" y="975963"/>
                </a:lnTo>
                <a:lnTo>
                  <a:pt x="11491" y="1022822"/>
                </a:lnTo>
                <a:lnTo>
                  <a:pt x="20250" y="1068865"/>
                </a:lnTo>
                <a:lnTo>
                  <a:pt x="31362" y="1114026"/>
                </a:lnTo>
                <a:lnTo>
                  <a:pt x="44760" y="1158239"/>
                </a:lnTo>
                <a:lnTo>
                  <a:pt x="60377" y="1201435"/>
                </a:lnTo>
                <a:lnTo>
                  <a:pt x="78145" y="1243548"/>
                </a:lnTo>
                <a:lnTo>
                  <a:pt x="97999" y="1284511"/>
                </a:lnTo>
                <a:lnTo>
                  <a:pt x="119871" y="1324257"/>
                </a:lnTo>
                <a:lnTo>
                  <a:pt x="143693" y="1362718"/>
                </a:lnTo>
                <a:lnTo>
                  <a:pt x="169400" y="1399827"/>
                </a:lnTo>
                <a:lnTo>
                  <a:pt x="196924" y="1435517"/>
                </a:lnTo>
                <a:lnTo>
                  <a:pt x="226198" y="1469722"/>
                </a:lnTo>
                <a:lnTo>
                  <a:pt x="257155" y="1502373"/>
                </a:lnTo>
                <a:lnTo>
                  <a:pt x="289729" y="1533404"/>
                </a:lnTo>
                <a:lnTo>
                  <a:pt x="323852" y="1562748"/>
                </a:lnTo>
                <a:lnTo>
                  <a:pt x="359457" y="1590338"/>
                </a:lnTo>
                <a:lnTo>
                  <a:pt x="396478" y="1616106"/>
                </a:lnTo>
                <a:lnTo>
                  <a:pt x="434847" y="1639986"/>
                </a:lnTo>
                <a:lnTo>
                  <a:pt x="474498" y="1661910"/>
                </a:lnTo>
                <a:lnTo>
                  <a:pt x="515364" y="1681811"/>
                </a:lnTo>
                <a:lnTo>
                  <a:pt x="557377" y="1699622"/>
                </a:lnTo>
                <a:lnTo>
                  <a:pt x="600470" y="1715276"/>
                </a:lnTo>
                <a:lnTo>
                  <a:pt x="644577" y="1728706"/>
                </a:lnTo>
                <a:lnTo>
                  <a:pt x="689631" y="1739844"/>
                </a:lnTo>
                <a:lnTo>
                  <a:pt x="735565" y="1748624"/>
                </a:lnTo>
                <a:lnTo>
                  <a:pt x="782312" y="1754979"/>
                </a:lnTo>
                <a:lnTo>
                  <a:pt x="829804" y="1758841"/>
                </a:lnTo>
                <a:lnTo>
                  <a:pt x="877976" y="1760143"/>
                </a:lnTo>
                <a:lnTo>
                  <a:pt x="926149" y="1758841"/>
                </a:lnTo>
                <a:lnTo>
                  <a:pt x="973642" y="1754979"/>
                </a:lnTo>
                <a:lnTo>
                  <a:pt x="1020390" y="1748624"/>
                </a:lnTo>
                <a:lnTo>
                  <a:pt x="1066325" y="1739844"/>
                </a:lnTo>
                <a:lnTo>
                  <a:pt x="1111380" y="1728706"/>
                </a:lnTo>
                <a:lnTo>
                  <a:pt x="1155488" y="1715276"/>
                </a:lnTo>
                <a:lnTo>
                  <a:pt x="1198582" y="1699622"/>
                </a:lnTo>
                <a:lnTo>
                  <a:pt x="1240596" y="1681811"/>
                </a:lnTo>
                <a:lnTo>
                  <a:pt x="1281462" y="1661910"/>
                </a:lnTo>
                <a:lnTo>
                  <a:pt x="1321113" y="1639986"/>
                </a:lnTo>
                <a:lnTo>
                  <a:pt x="1359483" y="1616106"/>
                </a:lnTo>
                <a:lnTo>
                  <a:pt x="1396504" y="1590338"/>
                </a:lnTo>
                <a:lnTo>
                  <a:pt x="1432110" y="1562748"/>
                </a:lnTo>
                <a:lnTo>
                  <a:pt x="1466233" y="1533404"/>
                </a:lnTo>
                <a:lnTo>
                  <a:pt x="1498807" y="1502373"/>
                </a:lnTo>
                <a:lnTo>
                  <a:pt x="1529765" y="1469722"/>
                </a:lnTo>
                <a:lnTo>
                  <a:pt x="1559040" y="1435517"/>
                </a:lnTo>
                <a:lnTo>
                  <a:pt x="1586564" y="1399827"/>
                </a:lnTo>
                <a:lnTo>
                  <a:pt x="1612271" y="1362718"/>
                </a:lnTo>
                <a:lnTo>
                  <a:pt x="1636093" y="1324257"/>
                </a:lnTo>
                <a:lnTo>
                  <a:pt x="1657965" y="1284511"/>
                </a:lnTo>
                <a:lnTo>
                  <a:pt x="1677819" y="1243548"/>
                </a:lnTo>
                <a:lnTo>
                  <a:pt x="1695588" y="1201435"/>
                </a:lnTo>
                <a:lnTo>
                  <a:pt x="1711204" y="1158239"/>
                </a:lnTo>
                <a:lnTo>
                  <a:pt x="1724602" y="1114026"/>
                </a:lnTo>
                <a:lnTo>
                  <a:pt x="1735714" y="1068865"/>
                </a:lnTo>
                <a:lnTo>
                  <a:pt x="1744474" y="1022822"/>
                </a:lnTo>
                <a:lnTo>
                  <a:pt x="1750813" y="975963"/>
                </a:lnTo>
                <a:lnTo>
                  <a:pt x="1754666" y="928358"/>
                </a:lnTo>
                <a:lnTo>
                  <a:pt x="1755965" y="880071"/>
                </a:lnTo>
                <a:lnTo>
                  <a:pt x="1754666" y="831784"/>
                </a:lnTo>
                <a:lnTo>
                  <a:pt x="1750813" y="784177"/>
                </a:lnTo>
                <a:lnTo>
                  <a:pt x="1744474" y="737318"/>
                </a:lnTo>
                <a:lnTo>
                  <a:pt x="1735714" y="691274"/>
                </a:lnTo>
                <a:lnTo>
                  <a:pt x="1724602" y="646112"/>
                </a:lnTo>
                <a:lnTo>
                  <a:pt x="1711204" y="601899"/>
                </a:lnTo>
                <a:lnTo>
                  <a:pt x="1695588" y="558702"/>
                </a:lnTo>
                <a:lnTo>
                  <a:pt x="1677819" y="516589"/>
                </a:lnTo>
                <a:lnTo>
                  <a:pt x="1657965" y="475626"/>
                </a:lnTo>
                <a:lnTo>
                  <a:pt x="1636093" y="435880"/>
                </a:lnTo>
                <a:lnTo>
                  <a:pt x="1612271" y="397420"/>
                </a:lnTo>
                <a:lnTo>
                  <a:pt x="1586564" y="360311"/>
                </a:lnTo>
                <a:lnTo>
                  <a:pt x="1559040" y="324620"/>
                </a:lnTo>
                <a:lnTo>
                  <a:pt x="1529765" y="290416"/>
                </a:lnTo>
                <a:lnTo>
                  <a:pt x="1498807" y="257765"/>
                </a:lnTo>
                <a:lnTo>
                  <a:pt x="1466233" y="226734"/>
                </a:lnTo>
                <a:lnTo>
                  <a:pt x="1432110" y="197390"/>
                </a:lnTo>
                <a:lnTo>
                  <a:pt x="1396504" y="169801"/>
                </a:lnTo>
                <a:lnTo>
                  <a:pt x="1359483" y="144033"/>
                </a:lnTo>
                <a:lnTo>
                  <a:pt x="1321113" y="120154"/>
                </a:lnTo>
                <a:lnTo>
                  <a:pt x="1281462" y="98231"/>
                </a:lnTo>
                <a:lnTo>
                  <a:pt x="1240596" y="78330"/>
                </a:lnTo>
                <a:lnTo>
                  <a:pt x="1198582" y="60519"/>
                </a:lnTo>
                <a:lnTo>
                  <a:pt x="1155488" y="44866"/>
                </a:lnTo>
                <a:lnTo>
                  <a:pt x="1111380" y="31436"/>
                </a:lnTo>
                <a:lnTo>
                  <a:pt x="1066325" y="20298"/>
                </a:lnTo>
                <a:lnTo>
                  <a:pt x="1020390" y="11518"/>
                </a:lnTo>
                <a:lnTo>
                  <a:pt x="973642" y="5164"/>
                </a:lnTo>
                <a:lnTo>
                  <a:pt x="926149" y="1302"/>
                </a:lnTo>
                <a:lnTo>
                  <a:pt x="877976" y="0"/>
                </a:lnTo>
                <a:close/>
              </a:path>
            </a:pathLst>
          </a:custGeom>
          <a:solidFill>
            <a:srgbClr val="7F7F7F">
              <a:alpha val="40779"/>
            </a:srgbClr>
          </a:solid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object 10">
            <a:extLst>
              <a:ext uri="{FF2B5EF4-FFF2-40B4-BE49-F238E27FC236}">
                <a16:creationId xmlns:a16="http://schemas.microsoft.com/office/drawing/2014/main" id="{BAF2B445-616D-B438-438F-8065AE1335F1}"/>
              </a:ext>
            </a:extLst>
          </p:cNvPr>
          <p:cNvSpPr/>
          <p:nvPr/>
        </p:nvSpPr>
        <p:spPr>
          <a:xfrm>
            <a:off x="10393897" y="4521705"/>
            <a:ext cx="1467283" cy="1470466"/>
          </a:xfrm>
          <a:custGeom>
            <a:avLst/>
            <a:gdLst/>
            <a:ahLst/>
            <a:cxnLst/>
            <a:rect l="l" t="t" r="r" b="b"/>
            <a:pathLst>
              <a:path w="1756409" h="1760220">
                <a:moveTo>
                  <a:pt x="877976" y="0"/>
                </a:moveTo>
                <a:lnTo>
                  <a:pt x="829804" y="1302"/>
                </a:lnTo>
                <a:lnTo>
                  <a:pt x="782312" y="5164"/>
                </a:lnTo>
                <a:lnTo>
                  <a:pt x="735565" y="11518"/>
                </a:lnTo>
                <a:lnTo>
                  <a:pt x="689631" y="20299"/>
                </a:lnTo>
                <a:lnTo>
                  <a:pt x="644577" y="31437"/>
                </a:lnTo>
                <a:lnTo>
                  <a:pt x="600470" y="44867"/>
                </a:lnTo>
                <a:lnTo>
                  <a:pt x="557377" y="60521"/>
                </a:lnTo>
                <a:lnTo>
                  <a:pt x="515364" y="78332"/>
                </a:lnTo>
                <a:lnTo>
                  <a:pt x="474498" y="98233"/>
                </a:lnTo>
                <a:lnTo>
                  <a:pt x="434847" y="120157"/>
                </a:lnTo>
                <a:lnTo>
                  <a:pt x="396478" y="144037"/>
                </a:lnTo>
                <a:lnTo>
                  <a:pt x="359457" y="169805"/>
                </a:lnTo>
                <a:lnTo>
                  <a:pt x="323852" y="197394"/>
                </a:lnTo>
                <a:lnTo>
                  <a:pt x="289729" y="226739"/>
                </a:lnTo>
                <a:lnTo>
                  <a:pt x="257155" y="257770"/>
                </a:lnTo>
                <a:lnTo>
                  <a:pt x="226198" y="290421"/>
                </a:lnTo>
                <a:lnTo>
                  <a:pt x="196924" y="324626"/>
                </a:lnTo>
                <a:lnTo>
                  <a:pt x="169400" y="360316"/>
                </a:lnTo>
                <a:lnTo>
                  <a:pt x="143693" y="397425"/>
                </a:lnTo>
                <a:lnTo>
                  <a:pt x="119871" y="435886"/>
                </a:lnTo>
                <a:lnTo>
                  <a:pt x="97999" y="475631"/>
                </a:lnTo>
                <a:lnTo>
                  <a:pt x="78145" y="516594"/>
                </a:lnTo>
                <a:lnTo>
                  <a:pt x="60377" y="558708"/>
                </a:lnTo>
                <a:lnTo>
                  <a:pt x="44760" y="601904"/>
                </a:lnTo>
                <a:lnTo>
                  <a:pt x="31362" y="646116"/>
                </a:lnTo>
                <a:lnTo>
                  <a:pt x="20250" y="691278"/>
                </a:lnTo>
                <a:lnTo>
                  <a:pt x="11491" y="737321"/>
                </a:lnTo>
                <a:lnTo>
                  <a:pt x="5151" y="784179"/>
                </a:lnTo>
                <a:lnTo>
                  <a:pt x="1299" y="831785"/>
                </a:lnTo>
                <a:lnTo>
                  <a:pt x="0" y="880071"/>
                </a:lnTo>
                <a:lnTo>
                  <a:pt x="1299" y="928359"/>
                </a:lnTo>
                <a:lnTo>
                  <a:pt x="5151" y="975966"/>
                </a:lnTo>
                <a:lnTo>
                  <a:pt x="11491" y="1022825"/>
                </a:lnTo>
                <a:lnTo>
                  <a:pt x="20250" y="1068869"/>
                </a:lnTo>
                <a:lnTo>
                  <a:pt x="31362" y="1114031"/>
                </a:lnTo>
                <a:lnTo>
                  <a:pt x="44760" y="1158244"/>
                </a:lnTo>
                <a:lnTo>
                  <a:pt x="60377" y="1201441"/>
                </a:lnTo>
                <a:lnTo>
                  <a:pt x="78145" y="1243554"/>
                </a:lnTo>
                <a:lnTo>
                  <a:pt x="97999" y="1284517"/>
                </a:lnTo>
                <a:lnTo>
                  <a:pt x="119871" y="1324262"/>
                </a:lnTo>
                <a:lnTo>
                  <a:pt x="143693" y="1362723"/>
                </a:lnTo>
                <a:lnTo>
                  <a:pt x="169400" y="1399832"/>
                </a:lnTo>
                <a:lnTo>
                  <a:pt x="196924" y="1435522"/>
                </a:lnTo>
                <a:lnTo>
                  <a:pt x="226198" y="1469727"/>
                </a:lnTo>
                <a:lnTo>
                  <a:pt x="257155" y="1502378"/>
                </a:lnTo>
                <a:lnTo>
                  <a:pt x="289729" y="1533409"/>
                </a:lnTo>
                <a:lnTo>
                  <a:pt x="323852" y="1562752"/>
                </a:lnTo>
                <a:lnTo>
                  <a:pt x="359457" y="1590342"/>
                </a:lnTo>
                <a:lnTo>
                  <a:pt x="396478" y="1616109"/>
                </a:lnTo>
                <a:lnTo>
                  <a:pt x="434847" y="1639989"/>
                </a:lnTo>
                <a:lnTo>
                  <a:pt x="474498" y="1661912"/>
                </a:lnTo>
                <a:lnTo>
                  <a:pt x="515364" y="1681813"/>
                </a:lnTo>
                <a:lnTo>
                  <a:pt x="557377" y="1699623"/>
                </a:lnTo>
                <a:lnTo>
                  <a:pt x="600470" y="1715277"/>
                </a:lnTo>
                <a:lnTo>
                  <a:pt x="644577" y="1728707"/>
                </a:lnTo>
                <a:lnTo>
                  <a:pt x="689631" y="1739845"/>
                </a:lnTo>
                <a:lnTo>
                  <a:pt x="735565" y="1748625"/>
                </a:lnTo>
                <a:lnTo>
                  <a:pt x="782312" y="1754979"/>
                </a:lnTo>
                <a:lnTo>
                  <a:pt x="829804" y="1758841"/>
                </a:lnTo>
                <a:lnTo>
                  <a:pt x="877976" y="1760143"/>
                </a:lnTo>
                <a:lnTo>
                  <a:pt x="926149" y="1758841"/>
                </a:lnTo>
                <a:lnTo>
                  <a:pt x="973642" y="1754979"/>
                </a:lnTo>
                <a:lnTo>
                  <a:pt x="1020390" y="1748625"/>
                </a:lnTo>
                <a:lnTo>
                  <a:pt x="1066325" y="1739845"/>
                </a:lnTo>
                <a:lnTo>
                  <a:pt x="1111380" y="1728707"/>
                </a:lnTo>
                <a:lnTo>
                  <a:pt x="1155488" y="1715277"/>
                </a:lnTo>
                <a:lnTo>
                  <a:pt x="1198582" y="1699623"/>
                </a:lnTo>
                <a:lnTo>
                  <a:pt x="1240596" y="1681813"/>
                </a:lnTo>
                <a:lnTo>
                  <a:pt x="1281462" y="1661912"/>
                </a:lnTo>
                <a:lnTo>
                  <a:pt x="1321113" y="1639989"/>
                </a:lnTo>
                <a:lnTo>
                  <a:pt x="1359483" y="1616109"/>
                </a:lnTo>
                <a:lnTo>
                  <a:pt x="1396504" y="1590342"/>
                </a:lnTo>
                <a:lnTo>
                  <a:pt x="1432110" y="1562752"/>
                </a:lnTo>
                <a:lnTo>
                  <a:pt x="1466233" y="1533409"/>
                </a:lnTo>
                <a:lnTo>
                  <a:pt x="1498807" y="1502378"/>
                </a:lnTo>
                <a:lnTo>
                  <a:pt x="1529765" y="1469727"/>
                </a:lnTo>
                <a:lnTo>
                  <a:pt x="1559040" y="1435522"/>
                </a:lnTo>
                <a:lnTo>
                  <a:pt x="1586564" y="1399832"/>
                </a:lnTo>
                <a:lnTo>
                  <a:pt x="1612271" y="1362723"/>
                </a:lnTo>
                <a:lnTo>
                  <a:pt x="1636093" y="1324262"/>
                </a:lnTo>
                <a:lnTo>
                  <a:pt x="1657965" y="1284517"/>
                </a:lnTo>
                <a:lnTo>
                  <a:pt x="1677819" y="1243554"/>
                </a:lnTo>
                <a:lnTo>
                  <a:pt x="1695588" y="1201441"/>
                </a:lnTo>
                <a:lnTo>
                  <a:pt x="1711204" y="1158244"/>
                </a:lnTo>
                <a:lnTo>
                  <a:pt x="1724602" y="1114031"/>
                </a:lnTo>
                <a:lnTo>
                  <a:pt x="1735714" y="1068869"/>
                </a:lnTo>
                <a:lnTo>
                  <a:pt x="1744474" y="1022825"/>
                </a:lnTo>
                <a:lnTo>
                  <a:pt x="1750813" y="975966"/>
                </a:lnTo>
                <a:lnTo>
                  <a:pt x="1754666" y="928359"/>
                </a:lnTo>
                <a:lnTo>
                  <a:pt x="1755965" y="880071"/>
                </a:lnTo>
                <a:lnTo>
                  <a:pt x="1754666" y="831785"/>
                </a:lnTo>
                <a:lnTo>
                  <a:pt x="1750813" y="784179"/>
                </a:lnTo>
                <a:lnTo>
                  <a:pt x="1744474" y="737321"/>
                </a:lnTo>
                <a:lnTo>
                  <a:pt x="1735714" y="691278"/>
                </a:lnTo>
                <a:lnTo>
                  <a:pt x="1724602" y="646116"/>
                </a:lnTo>
                <a:lnTo>
                  <a:pt x="1711204" y="601904"/>
                </a:lnTo>
                <a:lnTo>
                  <a:pt x="1695588" y="558708"/>
                </a:lnTo>
                <a:lnTo>
                  <a:pt x="1677819" y="516594"/>
                </a:lnTo>
                <a:lnTo>
                  <a:pt x="1657965" y="475631"/>
                </a:lnTo>
                <a:lnTo>
                  <a:pt x="1636093" y="435886"/>
                </a:lnTo>
                <a:lnTo>
                  <a:pt x="1612271" y="397425"/>
                </a:lnTo>
                <a:lnTo>
                  <a:pt x="1586564" y="360316"/>
                </a:lnTo>
                <a:lnTo>
                  <a:pt x="1559040" y="324626"/>
                </a:lnTo>
                <a:lnTo>
                  <a:pt x="1529765" y="290421"/>
                </a:lnTo>
                <a:lnTo>
                  <a:pt x="1498807" y="257770"/>
                </a:lnTo>
                <a:lnTo>
                  <a:pt x="1466233" y="226739"/>
                </a:lnTo>
                <a:lnTo>
                  <a:pt x="1432110" y="197394"/>
                </a:lnTo>
                <a:lnTo>
                  <a:pt x="1396504" y="169805"/>
                </a:lnTo>
                <a:lnTo>
                  <a:pt x="1359483" y="144037"/>
                </a:lnTo>
                <a:lnTo>
                  <a:pt x="1321113" y="120157"/>
                </a:lnTo>
                <a:lnTo>
                  <a:pt x="1281462" y="98233"/>
                </a:lnTo>
                <a:lnTo>
                  <a:pt x="1240596" y="78332"/>
                </a:lnTo>
                <a:lnTo>
                  <a:pt x="1198582" y="60521"/>
                </a:lnTo>
                <a:lnTo>
                  <a:pt x="1155488" y="44867"/>
                </a:lnTo>
                <a:lnTo>
                  <a:pt x="1111380" y="31437"/>
                </a:lnTo>
                <a:lnTo>
                  <a:pt x="1066325" y="20299"/>
                </a:lnTo>
                <a:lnTo>
                  <a:pt x="1020390" y="11518"/>
                </a:lnTo>
                <a:lnTo>
                  <a:pt x="973642" y="5164"/>
                </a:lnTo>
                <a:lnTo>
                  <a:pt x="926149" y="1302"/>
                </a:lnTo>
                <a:lnTo>
                  <a:pt x="877976" y="0"/>
                </a:lnTo>
                <a:close/>
              </a:path>
            </a:pathLst>
          </a:custGeom>
          <a:solidFill>
            <a:srgbClr val="7F7F7F">
              <a:alpha val="40779"/>
            </a:srgbClr>
          </a:solid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object 11">
            <a:extLst>
              <a:ext uri="{FF2B5EF4-FFF2-40B4-BE49-F238E27FC236}">
                <a16:creationId xmlns:a16="http://schemas.microsoft.com/office/drawing/2014/main" id="{B2648BE9-3C42-25AB-6E63-4C9ABE4BFBF4}"/>
              </a:ext>
            </a:extLst>
          </p:cNvPr>
          <p:cNvSpPr/>
          <p:nvPr/>
        </p:nvSpPr>
        <p:spPr>
          <a:xfrm>
            <a:off x="9205261" y="4484929"/>
            <a:ext cx="1467283" cy="1470466"/>
          </a:xfrm>
          <a:custGeom>
            <a:avLst/>
            <a:gdLst/>
            <a:ahLst/>
            <a:cxnLst/>
            <a:rect l="l" t="t" r="r" b="b"/>
            <a:pathLst>
              <a:path w="1756409" h="1760220">
                <a:moveTo>
                  <a:pt x="877976" y="0"/>
                </a:moveTo>
                <a:lnTo>
                  <a:pt x="829804" y="1302"/>
                </a:lnTo>
                <a:lnTo>
                  <a:pt x="782312" y="5164"/>
                </a:lnTo>
                <a:lnTo>
                  <a:pt x="735565" y="11518"/>
                </a:lnTo>
                <a:lnTo>
                  <a:pt x="689631" y="20298"/>
                </a:lnTo>
                <a:lnTo>
                  <a:pt x="644577" y="31436"/>
                </a:lnTo>
                <a:lnTo>
                  <a:pt x="600470" y="44866"/>
                </a:lnTo>
                <a:lnTo>
                  <a:pt x="557377" y="60519"/>
                </a:lnTo>
                <a:lnTo>
                  <a:pt x="515364" y="78330"/>
                </a:lnTo>
                <a:lnTo>
                  <a:pt x="474498" y="98231"/>
                </a:lnTo>
                <a:lnTo>
                  <a:pt x="434847" y="120154"/>
                </a:lnTo>
                <a:lnTo>
                  <a:pt x="396478" y="144033"/>
                </a:lnTo>
                <a:lnTo>
                  <a:pt x="359457" y="169801"/>
                </a:lnTo>
                <a:lnTo>
                  <a:pt x="323852" y="197390"/>
                </a:lnTo>
                <a:lnTo>
                  <a:pt x="289729" y="226734"/>
                </a:lnTo>
                <a:lnTo>
                  <a:pt x="257155" y="257765"/>
                </a:lnTo>
                <a:lnTo>
                  <a:pt x="226198" y="290416"/>
                </a:lnTo>
                <a:lnTo>
                  <a:pt x="196924" y="324620"/>
                </a:lnTo>
                <a:lnTo>
                  <a:pt x="169400" y="360311"/>
                </a:lnTo>
                <a:lnTo>
                  <a:pt x="143693" y="397420"/>
                </a:lnTo>
                <a:lnTo>
                  <a:pt x="119871" y="435880"/>
                </a:lnTo>
                <a:lnTo>
                  <a:pt x="97999" y="475626"/>
                </a:lnTo>
                <a:lnTo>
                  <a:pt x="78145" y="516589"/>
                </a:lnTo>
                <a:lnTo>
                  <a:pt x="60377" y="558702"/>
                </a:lnTo>
                <a:lnTo>
                  <a:pt x="44760" y="601899"/>
                </a:lnTo>
                <a:lnTo>
                  <a:pt x="31362" y="646112"/>
                </a:lnTo>
                <a:lnTo>
                  <a:pt x="20250" y="691274"/>
                </a:lnTo>
                <a:lnTo>
                  <a:pt x="11491" y="737318"/>
                </a:lnTo>
                <a:lnTo>
                  <a:pt x="5151" y="784177"/>
                </a:lnTo>
                <a:lnTo>
                  <a:pt x="1299" y="831784"/>
                </a:lnTo>
                <a:lnTo>
                  <a:pt x="0" y="880071"/>
                </a:lnTo>
                <a:lnTo>
                  <a:pt x="1299" y="928358"/>
                </a:lnTo>
                <a:lnTo>
                  <a:pt x="5151" y="975963"/>
                </a:lnTo>
                <a:lnTo>
                  <a:pt x="11491" y="1022822"/>
                </a:lnTo>
                <a:lnTo>
                  <a:pt x="20250" y="1068865"/>
                </a:lnTo>
                <a:lnTo>
                  <a:pt x="31362" y="1114026"/>
                </a:lnTo>
                <a:lnTo>
                  <a:pt x="44760" y="1158239"/>
                </a:lnTo>
                <a:lnTo>
                  <a:pt x="60377" y="1201435"/>
                </a:lnTo>
                <a:lnTo>
                  <a:pt x="78145" y="1243548"/>
                </a:lnTo>
                <a:lnTo>
                  <a:pt x="97999" y="1284511"/>
                </a:lnTo>
                <a:lnTo>
                  <a:pt x="119871" y="1324257"/>
                </a:lnTo>
                <a:lnTo>
                  <a:pt x="143693" y="1362718"/>
                </a:lnTo>
                <a:lnTo>
                  <a:pt x="169400" y="1399827"/>
                </a:lnTo>
                <a:lnTo>
                  <a:pt x="196924" y="1435517"/>
                </a:lnTo>
                <a:lnTo>
                  <a:pt x="226198" y="1469722"/>
                </a:lnTo>
                <a:lnTo>
                  <a:pt x="257155" y="1502373"/>
                </a:lnTo>
                <a:lnTo>
                  <a:pt x="289729" y="1533404"/>
                </a:lnTo>
                <a:lnTo>
                  <a:pt x="323852" y="1562748"/>
                </a:lnTo>
                <a:lnTo>
                  <a:pt x="359457" y="1590338"/>
                </a:lnTo>
                <a:lnTo>
                  <a:pt x="396478" y="1616106"/>
                </a:lnTo>
                <a:lnTo>
                  <a:pt x="434847" y="1639986"/>
                </a:lnTo>
                <a:lnTo>
                  <a:pt x="474498" y="1661910"/>
                </a:lnTo>
                <a:lnTo>
                  <a:pt x="515364" y="1681811"/>
                </a:lnTo>
                <a:lnTo>
                  <a:pt x="557377" y="1699622"/>
                </a:lnTo>
                <a:lnTo>
                  <a:pt x="600470" y="1715276"/>
                </a:lnTo>
                <a:lnTo>
                  <a:pt x="644577" y="1728706"/>
                </a:lnTo>
                <a:lnTo>
                  <a:pt x="689631" y="1739844"/>
                </a:lnTo>
                <a:lnTo>
                  <a:pt x="735565" y="1748624"/>
                </a:lnTo>
                <a:lnTo>
                  <a:pt x="782312" y="1754979"/>
                </a:lnTo>
                <a:lnTo>
                  <a:pt x="829804" y="1758841"/>
                </a:lnTo>
                <a:lnTo>
                  <a:pt x="877976" y="1760143"/>
                </a:lnTo>
                <a:lnTo>
                  <a:pt x="926149" y="1758841"/>
                </a:lnTo>
                <a:lnTo>
                  <a:pt x="973642" y="1754979"/>
                </a:lnTo>
                <a:lnTo>
                  <a:pt x="1020390" y="1748624"/>
                </a:lnTo>
                <a:lnTo>
                  <a:pt x="1066325" y="1739844"/>
                </a:lnTo>
                <a:lnTo>
                  <a:pt x="1111380" y="1728706"/>
                </a:lnTo>
                <a:lnTo>
                  <a:pt x="1155488" y="1715276"/>
                </a:lnTo>
                <a:lnTo>
                  <a:pt x="1198582" y="1699622"/>
                </a:lnTo>
                <a:lnTo>
                  <a:pt x="1240596" y="1681811"/>
                </a:lnTo>
                <a:lnTo>
                  <a:pt x="1281462" y="1661910"/>
                </a:lnTo>
                <a:lnTo>
                  <a:pt x="1321113" y="1639986"/>
                </a:lnTo>
                <a:lnTo>
                  <a:pt x="1359483" y="1616106"/>
                </a:lnTo>
                <a:lnTo>
                  <a:pt x="1396504" y="1590338"/>
                </a:lnTo>
                <a:lnTo>
                  <a:pt x="1432110" y="1562748"/>
                </a:lnTo>
                <a:lnTo>
                  <a:pt x="1466233" y="1533404"/>
                </a:lnTo>
                <a:lnTo>
                  <a:pt x="1498807" y="1502373"/>
                </a:lnTo>
                <a:lnTo>
                  <a:pt x="1529765" y="1469722"/>
                </a:lnTo>
                <a:lnTo>
                  <a:pt x="1559040" y="1435517"/>
                </a:lnTo>
                <a:lnTo>
                  <a:pt x="1586564" y="1399827"/>
                </a:lnTo>
                <a:lnTo>
                  <a:pt x="1612271" y="1362718"/>
                </a:lnTo>
                <a:lnTo>
                  <a:pt x="1636093" y="1324257"/>
                </a:lnTo>
                <a:lnTo>
                  <a:pt x="1657965" y="1284511"/>
                </a:lnTo>
                <a:lnTo>
                  <a:pt x="1677819" y="1243548"/>
                </a:lnTo>
                <a:lnTo>
                  <a:pt x="1695588" y="1201435"/>
                </a:lnTo>
                <a:lnTo>
                  <a:pt x="1711204" y="1158239"/>
                </a:lnTo>
                <a:lnTo>
                  <a:pt x="1724602" y="1114026"/>
                </a:lnTo>
                <a:lnTo>
                  <a:pt x="1735714" y="1068865"/>
                </a:lnTo>
                <a:lnTo>
                  <a:pt x="1744474" y="1022822"/>
                </a:lnTo>
                <a:lnTo>
                  <a:pt x="1750813" y="975963"/>
                </a:lnTo>
                <a:lnTo>
                  <a:pt x="1754666" y="928358"/>
                </a:lnTo>
                <a:lnTo>
                  <a:pt x="1755965" y="880071"/>
                </a:lnTo>
                <a:lnTo>
                  <a:pt x="1754666" y="831784"/>
                </a:lnTo>
                <a:lnTo>
                  <a:pt x="1750813" y="784177"/>
                </a:lnTo>
                <a:lnTo>
                  <a:pt x="1744474" y="737318"/>
                </a:lnTo>
                <a:lnTo>
                  <a:pt x="1735714" y="691274"/>
                </a:lnTo>
                <a:lnTo>
                  <a:pt x="1724602" y="646112"/>
                </a:lnTo>
                <a:lnTo>
                  <a:pt x="1711204" y="601899"/>
                </a:lnTo>
                <a:lnTo>
                  <a:pt x="1695588" y="558702"/>
                </a:lnTo>
                <a:lnTo>
                  <a:pt x="1677819" y="516589"/>
                </a:lnTo>
                <a:lnTo>
                  <a:pt x="1657965" y="475626"/>
                </a:lnTo>
                <a:lnTo>
                  <a:pt x="1636093" y="435880"/>
                </a:lnTo>
                <a:lnTo>
                  <a:pt x="1612271" y="397420"/>
                </a:lnTo>
                <a:lnTo>
                  <a:pt x="1586564" y="360311"/>
                </a:lnTo>
                <a:lnTo>
                  <a:pt x="1559040" y="324620"/>
                </a:lnTo>
                <a:lnTo>
                  <a:pt x="1529765" y="290416"/>
                </a:lnTo>
                <a:lnTo>
                  <a:pt x="1498807" y="257765"/>
                </a:lnTo>
                <a:lnTo>
                  <a:pt x="1466233" y="226734"/>
                </a:lnTo>
                <a:lnTo>
                  <a:pt x="1432110" y="197390"/>
                </a:lnTo>
                <a:lnTo>
                  <a:pt x="1396504" y="169801"/>
                </a:lnTo>
                <a:lnTo>
                  <a:pt x="1359483" y="144033"/>
                </a:lnTo>
                <a:lnTo>
                  <a:pt x="1321113" y="120154"/>
                </a:lnTo>
                <a:lnTo>
                  <a:pt x="1281462" y="98231"/>
                </a:lnTo>
                <a:lnTo>
                  <a:pt x="1240596" y="78330"/>
                </a:lnTo>
                <a:lnTo>
                  <a:pt x="1198582" y="60519"/>
                </a:lnTo>
                <a:lnTo>
                  <a:pt x="1155488" y="44866"/>
                </a:lnTo>
                <a:lnTo>
                  <a:pt x="1111380" y="31436"/>
                </a:lnTo>
                <a:lnTo>
                  <a:pt x="1066325" y="20298"/>
                </a:lnTo>
                <a:lnTo>
                  <a:pt x="1020390" y="11518"/>
                </a:lnTo>
                <a:lnTo>
                  <a:pt x="973642" y="5164"/>
                </a:lnTo>
                <a:lnTo>
                  <a:pt x="926149" y="1302"/>
                </a:lnTo>
                <a:lnTo>
                  <a:pt x="877976" y="0"/>
                </a:lnTo>
                <a:close/>
              </a:path>
            </a:pathLst>
          </a:custGeom>
          <a:solidFill>
            <a:srgbClr val="808080">
              <a:alpha val="40779"/>
            </a:srgbClr>
          </a:solid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C773719F-59E3-6B6D-40E6-1239614514A9}"/>
              </a:ext>
            </a:extLst>
          </p:cNvPr>
          <p:cNvSpPr txBox="1"/>
          <p:nvPr/>
        </p:nvSpPr>
        <p:spPr>
          <a:xfrm>
            <a:off x="886291" y="2092596"/>
            <a:ext cx="1769715" cy="276999"/>
          </a:xfrm>
          <a:prstGeom prst="rect">
            <a:avLst/>
          </a:prstGeom>
          <a:noFill/>
        </p:spPr>
        <p:txBody>
          <a:bodyPr wrap="none" lIns="0" tIns="0" rIns="0" bIns="0" rtlCol="0">
            <a:spAutoFit/>
          </a:bodyPr>
          <a:lstStyle/>
          <a:p>
            <a:pPr>
              <a:spcBef>
                <a:spcPts val="600"/>
              </a:spcBef>
              <a:buSzPct val="100000"/>
            </a:pPr>
            <a:r>
              <a:rPr lang="en-US" b="1" dirty="0">
                <a:solidFill>
                  <a:srgbClr val="313131"/>
                </a:solidFill>
                <a:latin typeface="Open Sans" panose="020B0606030504020204" pitchFamily="34" charset="0"/>
                <a:ea typeface="Open Sans" panose="020B0606030504020204" pitchFamily="34" charset="0"/>
                <a:cs typeface="Open Sans" panose="020B0606030504020204" pitchFamily="34" charset="0"/>
              </a:rPr>
              <a:t>5s’ and 3 lenses</a:t>
            </a:r>
          </a:p>
        </p:txBody>
      </p:sp>
      <p:sp>
        <p:nvSpPr>
          <p:cNvPr id="9" name="object 5">
            <a:extLst>
              <a:ext uri="{FF2B5EF4-FFF2-40B4-BE49-F238E27FC236}">
                <a16:creationId xmlns:a16="http://schemas.microsoft.com/office/drawing/2014/main" id="{5A8A8570-8128-24FE-7868-2E55B0B8CCD6}"/>
              </a:ext>
            </a:extLst>
          </p:cNvPr>
          <p:cNvSpPr txBox="1"/>
          <p:nvPr/>
        </p:nvSpPr>
        <p:spPr>
          <a:xfrm>
            <a:off x="9482800" y="5115429"/>
            <a:ext cx="805785" cy="333425"/>
          </a:xfrm>
          <a:prstGeom prst="rect">
            <a:avLst/>
          </a:prstGeom>
        </p:spPr>
        <p:txBody>
          <a:bodyPr vert="horz" wrap="square" lIns="0" tIns="12700" rIns="0" bIns="0" rtlCol="0">
            <a:spAutoFit/>
          </a:bodyPr>
          <a:lstStyle/>
          <a:p>
            <a:pPr marL="12700" lvl="0" algn="ctr">
              <a:spcBef>
                <a:spcPts val="100"/>
              </a:spcBef>
              <a:defRPr/>
            </a:pPr>
            <a:r>
              <a:rPr lang="en-US" sz="1000" b="1" dirty="0">
                <a:solidFill>
                  <a:srgbClr val="231F20"/>
                </a:solidFill>
                <a:latin typeface="Open Sans" panose="020B0606030504020204" pitchFamily="34" charset="0"/>
                <a:ea typeface="Open Sans" panose="020B0606030504020204" pitchFamily="34" charset="0"/>
                <a:cs typeface="Open Sans" panose="020B0606030504020204" pitchFamily="34" charset="0"/>
              </a:rPr>
              <a:t>Feasibility</a:t>
            </a:r>
            <a:endParaRPr kumimoji="0" lang="en-US" sz="1000" b="1" u="none" strike="noStrike" kern="1200" cap="none" normalizeH="0" baseline="0" noProof="0" dirty="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sz="1000" u="none" strike="noStrike" kern="1200" cap="none" normalizeH="0" baseline="0" noProof="0" dirty="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We can do it</a:t>
            </a:r>
            <a:endParaRPr kumimoji="0" lang="en-US" sz="1000" u="none" strike="noStrike" kern="1200" cap="none"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object 6">
            <a:extLst>
              <a:ext uri="{FF2B5EF4-FFF2-40B4-BE49-F238E27FC236}">
                <a16:creationId xmlns:a16="http://schemas.microsoft.com/office/drawing/2014/main" id="{F269DD94-73E0-7833-0E36-AE05650A3E00}"/>
              </a:ext>
            </a:extLst>
          </p:cNvPr>
          <p:cNvSpPr txBox="1"/>
          <p:nvPr/>
        </p:nvSpPr>
        <p:spPr>
          <a:xfrm>
            <a:off x="10774069" y="5113318"/>
            <a:ext cx="932238" cy="474489"/>
          </a:xfrm>
          <a:prstGeom prst="rect">
            <a:avLst/>
          </a:prstGeom>
        </p:spPr>
        <p:txBody>
          <a:bodyPr vert="horz" wrap="square" lIns="0" tIns="12700" rIns="0" bIns="0" rtlCol="0">
            <a:spAutoFit/>
          </a:bodyPr>
          <a:lstStyle/>
          <a:p>
            <a:pPr marL="12700" lvl="0" algn="ctr">
              <a:spcBef>
                <a:spcPts val="100"/>
              </a:spcBef>
              <a:defRPr/>
            </a:pPr>
            <a:r>
              <a:rPr lang="en-US" sz="1000" b="1" dirty="0">
                <a:solidFill>
                  <a:srgbClr val="231F20"/>
                </a:solidFill>
                <a:latin typeface="Open Sans" panose="020B0606030504020204" pitchFamily="34" charset="0"/>
                <a:ea typeface="Open Sans" panose="020B0606030504020204" pitchFamily="34" charset="0"/>
                <a:cs typeface="Open Sans" panose="020B0606030504020204" pitchFamily="34" charset="0"/>
              </a:rPr>
              <a:t>Viability</a:t>
            </a:r>
            <a:br>
              <a:rPr lang="en-US" sz="1000" b="1" dirty="0">
                <a:solidFill>
                  <a:srgbClr val="231F20"/>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231F20"/>
                </a:solidFill>
                <a:latin typeface="Open Sans" panose="020B0606030504020204" pitchFamily="34" charset="0"/>
                <a:ea typeface="Open Sans" panose="020B0606030504020204" pitchFamily="34" charset="0"/>
                <a:cs typeface="Open Sans" panose="020B0606030504020204" pitchFamily="34" charset="0"/>
              </a:rPr>
              <a:t>I</a:t>
            </a:r>
            <a:r>
              <a:rPr kumimoji="0" lang="en-US" sz="1000" u="none" strike="noStrike" kern="1200" cap="none" normalizeH="0" baseline="0" noProof="0" dirty="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t makes money</a:t>
            </a:r>
            <a:endParaRPr kumimoji="0" lang="en-US" sz="1000" u="none" strike="noStrike" kern="1200" cap="none"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object 7">
            <a:extLst>
              <a:ext uri="{FF2B5EF4-FFF2-40B4-BE49-F238E27FC236}">
                <a16:creationId xmlns:a16="http://schemas.microsoft.com/office/drawing/2014/main" id="{7136F411-5615-5C7E-6B6F-5AFFDAAEF7B4}"/>
              </a:ext>
            </a:extLst>
          </p:cNvPr>
          <p:cNvSpPr txBox="1"/>
          <p:nvPr/>
        </p:nvSpPr>
        <p:spPr>
          <a:xfrm>
            <a:off x="10104811" y="4028822"/>
            <a:ext cx="959607" cy="474489"/>
          </a:xfrm>
          <a:prstGeom prst="rect">
            <a:avLst/>
          </a:prstGeom>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sz="1000" b="1" u="none" strike="noStrike" kern="1200" cap="none" normalizeH="0" noProof="0" dirty="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Desirability</a:t>
            </a:r>
            <a:br>
              <a:rPr kumimoji="0" lang="en-US" sz="1000" b="1" u="none" strike="noStrike" kern="1200" cap="none" normalizeH="0" baseline="0" noProof="0" dirty="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00" u="none" strike="noStrike" kern="1200" cap="none" normalizeH="0" baseline="0" noProof="0" dirty="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Customers love it</a:t>
            </a:r>
            <a:endParaRPr kumimoji="0" lang="en-US" sz="1000" u="none" strike="noStrike" kern="1200" cap="none"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16">
            <a:extLst>
              <a:ext uri="{FF2B5EF4-FFF2-40B4-BE49-F238E27FC236}">
                <a16:creationId xmlns:a16="http://schemas.microsoft.com/office/drawing/2014/main" id="{FA0F344A-D30C-C7F9-BDF9-BEA86E24293E}"/>
              </a:ext>
            </a:extLst>
          </p:cNvPr>
          <p:cNvSpPr txBox="1"/>
          <p:nvPr/>
        </p:nvSpPr>
        <p:spPr>
          <a:xfrm>
            <a:off x="11301870" y="3466787"/>
            <a:ext cx="682385" cy="479427"/>
          </a:xfrm>
          <a:prstGeom prst="rect">
            <a:avLst/>
          </a:prstGeom>
        </p:spPr>
        <p:txBody>
          <a:bodyPr vert="horz" wrap="square" lIns="0" tIns="12700" rIns="0" bIns="0" rtlCol="0">
            <a:spAutoFit/>
          </a:bodyPr>
          <a:lstStyle/>
          <a:p>
            <a:pPr marL="12700" marR="0" lvl="0" indent="0" algn="ctr" defTabSz="914400" eaLnBrk="1" fontAlgn="auto" latinLnBrk="0" hangingPunct="1">
              <a:lnSpc>
                <a:spcPts val="1160"/>
              </a:lnSpc>
              <a:spcAft>
                <a:spcPts val="0"/>
              </a:spcAft>
              <a:buClrTx/>
              <a:buSzTx/>
              <a:buFontTx/>
              <a:buNone/>
              <a:tabLst/>
              <a:defRPr/>
            </a:pPr>
            <a:r>
              <a:rPr kumimoji="0" lang="en-US" sz="1300" b="1"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a:t>
            </a:r>
            <a:r>
              <a:rPr kumimoji="0" lang="en-US" sz="1300" b="1" u="none" strike="noStrike" kern="1200" cap="none" spc="-3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300" b="1"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weet</a:t>
            </a:r>
            <a:r>
              <a:rPr kumimoji="0" lang="en-US" sz="1300" b="1" u="none" strike="noStrike" kern="1200" cap="none" spc="-3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300" b="1"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pot</a:t>
            </a:r>
            <a:endParaRPr kumimoji="0" lang="en-US" sz="13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3" name="Group 12">
            <a:extLst>
              <a:ext uri="{FF2B5EF4-FFF2-40B4-BE49-F238E27FC236}">
                <a16:creationId xmlns:a16="http://schemas.microsoft.com/office/drawing/2014/main" id="{953829DB-33EF-9F6C-E18F-E14695CF935A}"/>
              </a:ext>
            </a:extLst>
          </p:cNvPr>
          <p:cNvGrpSpPr/>
          <p:nvPr/>
        </p:nvGrpSpPr>
        <p:grpSpPr>
          <a:xfrm>
            <a:off x="6100445" y="2510179"/>
            <a:ext cx="923734" cy="949091"/>
            <a:chOff x="5515305" y="2586845"/>
            <a:chExt cx="923734" cy="949091"/>
          </a:xfrm>
        </p:grpSpPr>
        <p:grpSp>
          <p:nvGrpSpPr>
            <p:cNvPr id="14" name="Group 13">
              <a:extLst>
                <a:ext uri="{FF2B5EF4-FFF2-40B4-BE49-F238E27FC236}">
                  <a16:creationId xmlns:a16="http://schemas.microsoft.com/office/drawing/2014/main" id="{CD9150E9-B348-A032-F88E-0CF78E749934}"/>
                </a:ext>
              </a:extLst>
            </p:cNvPr>
            <p:cNvGrpSpPr/>
            <p:nvPr/>
          </p:nvGrpSpPr>
          <p:grpSpPr>
            <a:xfrm>
              <a:off x="5515305" y="2586845"/>
              <a:ext cx="923734" cy="949091"/>
              <a:chOff x="6098963" y="3437245"/>
              <a:chExt cx="923734" cy="949091"/>
            </a:xfrm>
          </p:grpSpPr>
          <p:grpSp>
            <p:nvGrpSpPr>
              <p:cNvPr id="22" name="Group 21">
                <a:extLst>
                  <a:ext uri="{FF2B5EF4-FFF2-40B4-BE49-F238E27FC236}">
                    <a16:creationId xmlns:a16="http://schemas.microsoft.com/office/drawing/2014/main" id="{76B8B6A4-511A-3220-6C63-C5A0D5149A46}"/>
                  </a:ext>
                </a:extLst>
              </p:cNvPr>
              <p:cNvGrpSpPr/>
              <p:nvPr/>
            </p:nvGrpSpPr>
            <p:grpSpPr>
              <a:xfrm>
                <a:off x="6146025" y="3485375"/>
                <a:ext cx="831035" cy="852835"/>
                <a:chOff x="833915" y="2138304"/>
                <a:chExt cx="2168217" cy="2171399"/>
              </a:xfrm>
            </p:grpSpPr>
            <p:sp>
              <p:nvSpPr>
                <p:cNvPr id="32" name="Pie 32">
                  <a:extLst>
                    <a:ext uri="{FF2B5EF4-FFF2-40B4-BE49-F238E27FC236}">
                      <a16:creationId xmlns:a16="http://schemas.microsoft.com/office/drawing/2014/main" id="{E1DA662C-5360-B39F-5FC3-555E03139A02}"/>
                    </a:ext>
                  </a:extLst>
                </p:cNvPr>
                <p:cNvSpPr/>
                <p:nvPr/>
              </p:nvSpPr>
              <p:spPr>
                <a:xfrm>
                  <a:off x="833915" y="2138304"/>
                  <a:ext cx="2168217" cy="2171399"/>
                </a:xfrm>
                <a:prstGeom prst="pie">
                  <a:avLst>
                    <a:gd name="adj1" fmla="val 0"/>
                    <a:gd name="adj2" fmla="val 7333938"/>
                  </a:avLst>
                </a:prstGeom>
                <a:solidFill>
                  <a:schemeClr val="accent2"/>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Pie 33">
                  <a:extLst>
                    <a:ext uri="{FF2B5EF4-FFF2-40B4-BE49-F238E27FC236}">
                      <a16:creationId xmlns:a16="http://schemas.microsoft.com/office/drawing/2014/main" id="{B8EB9476-AAE0-F675-C341-E8D336CB4D31}"/>
                    </a:ext>
                  </a:extLst>
                </p:cNvPr>
                <p:cNvSpPr/>
                <p:nvPr/>
              </p:nvSpPr>
              <p:spPr>
                <a:xfrm>
                  <a:off x="833915" y="2138304"/>
                  <a:ext cx="2168217" cy="2171399"/>
                </a:xfrm>
                <a:prstGeom prst="pie">
                  <a:avLst>
                    <a:gd name="adj1" fmla="val 7341116"/>
                    <a:gd name="adj2" fmla="val 14326424"/>
                  </a:avLst>
                </a:prstGeom>
                <a:solidFill>
                  <a:schemeClr val="accent3"/>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Pie 34">
                  <a:extLst>
                    <a:ext uri="{FF2B5EF4-FFF2-40B4-BE49-F238E27FC236}">
                      <a16:creationId xmlns:a16="http://schemas.microsoft.com/office/drawing/2014/main" id="{B771D8AC-831E-EB93-D7ED-9E150A1B4829}"/>
                    </a:ext>
                  </a:extLst>
                </p:cNvPr>
                <p:cNvSpPr/>
                <p:nvPr/>
              </p:nvSpPr>
              <p:spPr>
                <a:xfrm>
                  <a:off x="833915" y="2138304"/>
                  <a:ext cx="2168217" cy="2171399"/>
                </a:xfrm>
                <a:prstGeom prst="pie">
                  <a:avLst>
                    <a:gd name="adj1" fmla="val 14298209"/>
                    <a:gd name="adj2" fmla="val 39400"/>
                  </a:avLst>
                </a:prstGeom>
                <a:solidFill>
                  <a:schemeClr val="accent1"/>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 name="Group 22">
                <a:extLst>
                  <a:ext uri="{FF2B5EF4-FFF2-40B4-BE49-F238E27FC236}">
                    <a16:creationId xmlns:a16="http://schemas.microsoft.com/office/drawing/2014/main" id="{DF627073-4ABA-DC3D-0E3A-609C2025727F}"/>
                  </a:ext>
                </a:extLst>
              </p:cNvPr>
              <p:cNvGrpSpPr>
                <a:grpSpLocks/>
              </p:cNvGrpSpPr>
              <p:nvPr/>
            </p:nvGrpSpPr>
            <p:grpSpPr>
              <a:xfrm>
                <a:off x="6217288" y="3558189"/>
                <a:ext cx="705066" cy="715634"/>
                <a:chOff x="956037" y="2323698"/>
                <a:chExt cx="1839561" cy="1822071"/>
              </a:xfrm>
            </p:grpSpPr>
            <p:sp>
              <p:nvSpPr>
                <p:cNvPr id="30" name="TextBox 29">
                  <a:extLst>
                    <a:ext uri="{FF2B5EF4-FFF2-40B4-BE49-F238E27FC236}">
                      <a16:creationId xmlns:a16="http://schemas.microsoft.com/office/drawing/2014/main" id="{85D49324-4585-D9E7-1D88-FC7C6ACAD0D7}"/>
                    </a:ext>
                  </a:extLst>
                </p:cNvPr>
                <p:cNvSpPr txBox="1"/>
                <p:nvPr/>
              </p:nvSpPr>
              <p:spPr>
                <a:xfrm rot="403719">
                  <a:off x="976419" y="2323698"/>
                  <a:ext cx="1790411" cy="1790413"/>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Feasibility</a:t>
                  </a:r>
                </a:p>
              </p:txBody>
            </p:sp>
            <p:sp>
              <p:nvSpPr>
                <p:cNvPr id="31" name="TextBox 30">
                  <a:extLst>
                    <a:ext uri="{FF2B5EF4-FFF2-40B4-BE49-F238E27FC236}">
                      <a16:creationId xmlns:a16="http://schemas.microsoft.com/office/drawing/2014/main" id="{0605B4EE-3B1C-94FC-0DEB-B8ADF6CC7B55}"/>
                    </a:ext>
                  </a:extLst>
                </p:cNvPr>
                <p:cNvSpPr txBox="1"/>
                <p:nvPr/>
              </p:nvSpPr>
              <p:spPr>
                <a:xfrm rot="7799817">
                  <a:off x="1004529" y="2354700"/>
                  <a:ext cx="1742577" cy="1839561"/>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ability</a:t>
                  </a:r>
                </a:p>
              </p:txBody>
            </p:sp>
          </p:grpSp>
          <p:sp>
            <p:nvSpPr>
              <p:cNvPr id="24" name="Oval 23">
                <a:extLst>
                  <a:ext uri="{FF2B5EF4-FFF2-40B4-BE49-F238E27FC236}">
                    <a16:creationId xmlns:a16="http://schemas.microsoft.com/office/drawing/2014/main" id="{27288C33-008B-171E-EE88-FA64A9B73384}"/>
                  </a:ext>
                </a:extLst>
              </p:cNvPr>
              <p:cNvSpPr/>
              <p:nvPr/>
            </p:nvSpPr>
            <p:spPr>
              <a:xfrm>
                <a:off x="6264884" y="3607796"/>
                <a:ext cx="593318" cy="607990"/>
              </a:xfrm>
              <a:prstGeom prst="ellipse">
                <a:avLst/>
              </a:prstGeom>
              <a:solidFill>
                <a:srgbClr val="FFFFFF"/>
              </a:solidFill>
              <a:ln w="57150" cap="flat" cmpd="dbl" algn="ctr">
                <a:noFill/>
                <a:prstDash val="solid"/>
              </a:ln>
              <a:effectLst/>
            </p:spPr>
            <p:txBody>
              <a:bodyPr wrap="none" lIns="0" tIns="36696" rIns="0" bIns="36696" rtlCol="0" anchor="ctr"/>
              <a:lstStyle/>
              <a:p>
                <a:pPr algn="ctr" defTabSz="733982">
                  <a:defRPr/>
                </a:pPr>
                <a:endParaRPr lang="en-US" sz="800" b="1" kern="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4">
                <a:extLst>
                  <a:ext uri="{FF2B5EF4-FFF2-40B4-BE49-F238E27FC236}">
                    <a16:creationId xmlns:a16="http://schemas.microsoft.com/office/drawing/2014/main" id="{39232FD4-44DC-218B-0D5B-7A5F49504AD9}"/>
                  </a:ext>
                </a:extLst>
              </p:cNvPr>
              <p:cNvGrpSpPr>
                <a:grpSpLocks/>
              </p:cNvGrpSpPr>
              <p:nvPr/>
            </p:nvGrpSpPr>
            <p:grpSpPr>
              <a:xfrm>
                <a:off x="6098963" y="3437245"/>
                <a:ext cx="923734" cy="949091"/>
                <a:chOff x="3400449" y="2471675"/>
                <a:chExt cx="1720673" cy="1720673"/>
              </a:xfrm>
            </p:grpSpPr>
            <p:sp>
              <p:nvSpPr>
                <p:cNvPr id="27" name="Oval 26">
                  <a:extLst>
                    <a:ext uri="{FF2B5EF4-FFF2-40B4-BE49-F238E27FC236}">
                      <a16:creationId xmlns:a16="http://schemas.microsoft.com/office/drawing/2014/main" id="{648AE0DE-128F-1566-75C3-77773EFC3984}"/>
                    </a:ext>
                  </a:extLst>
                </p:cNvPr>
                <p:cNvSpPr/>
                <p:nvPr/>
              </p:nvSpPr>
              <p:spPr>
                <a:xfrm>
                  <a:off x="3400449" y="2471675"/>
                  <a:ext cx="1720673" cy="1720673"/>
                </a:xfrm>
                <a:prstGeom prst="ellips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Isosceles Triangle 44">
                  <a:extLst>
                    <a:ext uri="{FF2B5EF4-FFF2-40B4-BE49-F238E27FC236}">
                      <a16:creationId xmlns:a16="http://schemas.microsoft.com/office/drawing/2014/main" id="{484DE5EA-2DE1-DDFD-0014-952DDBF5FF4F}"/>
                    </a:ext>
                  </a:extLst>
                </p:cNvPr>
                <p:cNvSpPr/>
                <p:nvPr/>
              </p:nvSpPr>
              <p:spPr>
                <a:xfrm rot="13510822">
                  <a:off x="4788169" y="3881861"/>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Isosceles Triangle 45">
                  <a:extLst>
                    <a:ext uri="{FF2B5EF4-FFF2-40B4-BE49-F238E27FC236}">
                      <a16:creationId xmlns:a16="http://schemas.microsoft.com/office/drawing/2014/main" id="{AA393EBE-9A47-E793-90F6-89E11ABCBB9A}"/>
                    </a:ext>
                  </a:extLst>
                </p:cNvPr>
                <p:cNvSpPr/>
                <p:nvPr/>
              </p:nvSpPr>
              <p:spPr>
                <a:xfrm rot="3171219">
                  <a:off x="3663901" y="2584312"/>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6" name="TextBox 25">
                <a:extLst>
                  <a:ext uri="{FF2B5EF4-FFF2-40B4-BE49-F238E27FC236}">
                    <a16:creationId xmlns:a16="http://schemas.microsoft.com/office/drawing/2014/main" id="{9D4110D5-57B9-4145-DBD0-4A9ACED245CF}"/>
                  </a:ext>
                </a:extLst>
              </p:cNvPr>
              <p:cNvSpPr txBox="1"/>
              <p:nvPr/>
            </p:nvSpPr>
            <p:spPr>
              <a:xfrm rot="15295618">
                <a:off x="6202336" y="3558919"/>
                <a:ext cx="703201" cy="686225"/>
              </a:xfrm>
              <a:prstGeom prst="rect">
                <a:avLst/>
              </a:prstGeom>
              <a:noFill/>
            </p:spPr>
            <p:txBody>
              <a:bodyPr spcFirstLastPara="1" wrap="square" lIns="0" tIns="0" rIns="0" bIns="0" numCol="1" rtlCol="0">
                <a:prstTxWarp prst="textArchUp">
                  <a:avLst>
                    <a:gd name="adj" fmla="val 7912934"/>
                  </a:avLst>
                </a:prstTxWarp>
                <a:spAutoFit/>
              </a:bodyPr>
              <a:lstStyle/>
              <a:p>
                <a:pPr defTabSz="733982">
                  <a:spcAft>
                    <a:spcPts val="241"/>
                  </a:spcAft>
                </a:pPr>
                <a:r>
                  <a:rPr lang="en-US" sz="7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Desirability</a:t>
                </a:r>
              </a:p>
            </p:txBody>
          </p:sp>
        </p:grpSp>
        <p:grpSp>
          <p:nvGrpSpPr>
            <p:cNvPr id="15" name="Group 14">
              <a:extLst>
                <a:ext uri="{FF2B5EF4-FFF2-40B4-BE49-F238E27FC236}">
                  <a16:creationId xmlns:a16="http://schemas.microsoft.com/office/drawing/2014/main" id="{3BB45E56-614D-C5CB-82A5-E85650E292AF}"/>
                </a:ext>
              </a:extLst>
            </p:cNvPr>
            <p:cNvGrpSpPr>
              <a:grpSpLocks noChangeAspect="1"/>
            </p:cNvGrpSpPr>
            <p:nvPr/>
          </p:nvGrpSpPr>
          <p:grpSpPr>
            <a:xfrm>
              <a:off x="5936224" y="2840814"/>
              <a:ext cx="135903" cy="138719"/>
              <a:chOff x="3330576" y="2638425"/>
              <a:chExt cx="242888" cy="241300"/>
            </a:xfrm>
          </p:grpSpPr>
          <p:sp>
            <p:nvSpPr>
              <p:cNvPr id="17" name="Freeform 238">
                <a:extLst>
                  <a:ext uri="{FF2B5EF4-FFF2-40B4-BE49-F238E27FC236}">
                    <a16:creationId xmlns:a16="http://schemas.microsoft.com/office/drawing/2014/main" id="{A5CEFF75-3BB8-B407-9B12-524A7792881F}"/>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239">
                <a:extLst>
                  <a:ext uri="{FF2B5EF4-FFF2-40B4-BE49-F238E27FC236}">
                    <a16:creationId xmlns:a16="http://schemas.microsoft.com/office/drawing/2014/main" id="{01C04504-AF59-0B0C-B1BF-667A1C152376}"/>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240">
                <a:extLst>
                  <a:ext uri="{FF2B5EF4-FFF2-40B4-BE49-F238E27FC236}">
                    <a16:creationId xmlns:a16="http://schemas.microsoft.com/office/drawing/2014/main" id="{4720B6F9-A73B-DCFE-B417-532A45F3EE2E}"/>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241">
                <a:extLst>
                  <a:ext uri="{FF2B5EF4-FFF2-40B4-BE49-F238E27FC236}">
                    <a16:creationId xmlns:a16="http://schemas.microsoft.com/office/drawing/2014/main" id="{C9B0794D-0C86-0599-7F06-01308CE09F3C}"/>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242">
                <a:extLst>
                  <a:ext uri="{FF2B5EF4-FFF2-40B4-BE49-F238E27FC236}">
                    <a16:creationId xmlns:a16="http://schemas.microsoft.com/office/drawing/2014/main" id="{8E2E5C52-E35E-8C96-17F1-199ED96C16CF}"/>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6" name="TextBox 15">
              <a:extLst>
                <a:ext uri="{FF2B5EF4-FFF2-40B4-BE49-F238E27FC236}">
                  <a16:creationId xmlns:a16="http://schemas.microsoft.com/office/drawing/2014/main" id="{6D3A685A-8311-F6AA-3412-591519F06C92}"/>
                </a:ext>
              </a:extLst>
            </p:cNvPr>
            <p:cNvSpPr txBox="1">
              <a:spLocks/>
            </p:cNvSpPr>
            <p:nvPr/>
          </p:nvSpPr>
          <p:spPr>
            <a:xfrm>
              <a:off x="5569400" y="2953183"/>
              <a:ext cx="828700" cy="276999"/>
            </a:xfrm>
            <a:prstGeom prst="rect">
              <a:avLst/>
            </a:prstGeom>
            <a:noFill/>
          </p:spPr>
          <p:txBody>
            <a:bodyPr wrap="square" rtlCol="0">
              <a:spAutoFit/>
            </a:bodyPr>
            <a:lstStyle/>
            <a:p>
              <a:pPr algn="ctr"/>
              <a:r>
                <a:rPr lang="en-US" sz="1200" b="1" dirty="0">
                  <a:latin typeface="Open Sans" panose="020B0606030504020204" pitchFamily="34" charset="0"/>
                  <a:ea typeface="Open Sans" panose="020B0606030504020204" pitchFamily="34" charset="0"/>
                  <a:cs typeface="Open Sans" panose="020B0606030504020204" pitchFamily="34" charset="0"/>
                </a:rPr>
                <a:t>Ship</a:t>
              </a:r>
            </a:p>
          </p:txBody>
        </p:sp>
      </p:grpSp>
      <p:grpSp>
        <p:nvGrpSpPr>
          <p:cNvPr id="35" name="Group 34">
            <a:extLst>
              <a:ext uri="{FF2B5EF4-FFF2-40B4-BE49-F238E27FC236}">
                <a16:creationId xmlns:a16="http://schemas.microsoft.com/office/drawing/2014/main" id="{F5A7387D-98D9-1870-4C78-4D0C8CE061E3}"/>
              </a:ext>
            </a:extLst>
          </p:cNvPr>
          <p:cNvGrpSpPr/>
          <p:nvPr/>
        </p:nvGrpSpPr>
        <p:grpSpPr>
          <a:xfrm>
            <a:off x="2645205" y="2519939"/>
            <a:ext cx="923734" cy="949091"/>
            <a:chOff x="2424148" y="2586845"/>
            <a:chExt cx="923734" cy="949091"/>
          </a:xfrm>
        </p:grpSpPr>
        <p:grpSp>
          <p:nvGrpSpPr>
            <p:cNvPr id="36" name="Group 35">
              <a:extLst>
                <a:ext uri="{FF2B5EF4-FFF2-40B4-BE49-F238E27FC236}">
                  <a16:creationId xmlns:a16="http://schemas.microsoft.com/office/drawing/2014/main" id="{FA5A014B-01AE-74D8-6001-C1382F33C6CA}"/>
                </a:ext>
              </a:extLst>
            </p:cNvPr>
            <p:cNvGrpSpPr/>
            <p:nvPr/>
          </p:nvGrpSpPr>
          <p:grpSpPr>
            <a:xfrm>
              <a:off x="2424148" y="2586845"/>
              <a:ext cx="923734" cy="949091"/>
              <a:chOff x="6098963" y="3437245"/>
              <a:chExt cx="923734" cy="949091"/>
            </a:xfrm>
          </p:grpSpPr>
          <p:grpSp>
            <p:nvGrpSpPr>
              <p:cNvPr id="39" name="Group 38">
                <a:extLst>
                  <a:ext uri="{FF2B5EF4-FFF2-40B4-BE49-F238E27FC236}">
                    <a16:creationId xmlns:a16="http://schemas.microsoft.com/office/drawing/2014/main" id="{BD8BBF78-9098-49A1-37FC-3B792AAEBF8F}"/>
                  </a:ext>
                </a:extLst>
              </p:cNvPr>
              <p:cNvGrpSpPr/>
              <p:nvPr/>
            </p:nvGrpSpPr>
            <p:grpSpPr>
              <a:xfrm>
                <a:off x="6146025" y="3485375"/>
                <a:ext cx="831035" cy="852835"/>
                <a:chOff x="833915" y="2138304"/>
                <a:chExt cx="2168217" cy="2171399"/>
              </a:xfrm>
            </p:grpSpPr>
            <p:sp>
              <p:nvSpPr>
                <p:cNvPr id="49" name="Pie 32">
                  <a:extLst>
                    <a:ext uri="{FF2B5EF4-FFF2-40B4-BE49-F238E27FC236}">
                      <a16:creationId xmlns:a16="http://schemas.microsoft.com/office/drawing/2014/main" id="{2577770B-5A00-9F53-9C6F-09819EC1A8A7}"/>
                    </a:ext>
                  </a:extLst>
                </p:cNvPr>
                <p:cNvSpPr/>
                <p:nvPr/>
              </p:nvSpPr>
              <p:spPr>
                <a:xfrm>
                  <a:off x="833915" y="2138304"/>
                  <a:ext cx="2168217" cy="2171399"/>
                </a:xfrm>
                <a:prstGeom prst="pie">
                  <a:avLst>
                    <a:gd name="adj1" fmla="val 0"/>
                    <a:gd name="adj2" fmla="val 7333938"/>
                  </a:avLst>
                </a:prstGeom>
                <a:solidFill>
                  <a:schemeClr val="accent2"/>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Pie 33">
                  <a:extLst>
                    <a:ext uri="{FF2B5EF4-FFF2-40B4-BE49-F238E27FC236}">
                      <a16:creationId xmlns:a16="http://schemas.microsoft.com/office/drawing/2014/main" id="{7089D2B3-AAED-3524-1A9B-75E2C7901447}"/>
                    </a:ext>
                  </a:extLst>
                </p:cNvPr>
                <p:cNvSpPr/>
                <p:nvPr/>
              </p:nvSpPr>
              <p:spPr>
                <a:xfrm>
                  <a:off x="833915" y="2138304"/>
                  <a:ext cx="2168217" cy="2171399"/>
                </a:xfrm>
                <a:prstGeom prst="pie">
                  <a:avLst>
                    <a:gd name="adj1" fmla="val 7341116"/>
                    <a:gd name="adj2" fmla="val 14326424"/>
                  </a:avLst>
                </a:prstGeom>
                <a:solidFill>
                  <a:schemeClr val="accent3"/>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Pie 34">
                  <a:extLst>
                    <a:ext uri="{FF2B5EF4-FFF2-40B4-BE49-F238E27FC236}">
                      <a16:creationId xmlns:a16="http://schemas.microsoft.com/office/drawing/2014/main" id="{B6CF69C3-4291-4459-B5EF-76180424D2BF}"/>
                    </a:ext>
                  </a:extLst>
                </p:cNvPr>
                <p:cNvSpPr/>
                <p:nvPr/>
              </p:nvSpPr>
              <p:spPr>
                <a:xfrm>
                  <a:off x="833915" y="2138304"/>
                  <a:ext cx="2168217" cy="2171399"/>
                </a:xfrm>
                <a:prstGeom prst="pie">
                  <a:avLst>
                    <a:gd name="adj1" fmla="val 14298209"/>
                    <a:gd name="adj2" fmla="val 39400"/>
                  </a:avLst>
                </a:prstGeom>
                <a:solidFill>
                  <a:schemeClr val="accent1"/>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39">
                <a:extLst>
                  <a:ext uri="{FF2B5EF4-FFF2-40B4-BE49-F238E27FC236}">
                    <a16:creationId xmlns:a16="http://schemas.microsoft.com/office/drawing/2014/main" id="{A124B037-F146-39E7-E438-BD916A8051F5}"/>
                  </a:ext>
                </a:extLst>
              </p:cNvPr>
              <p:cNvGrpSpPr>
                <a:grpSpLocks/>
              </p:cNvGrpSpPr>
              <p:nvPr/>
            </p:nvGrpSpPr>
            <p:grpSpPr>
              <a:xfrm>
                <a:off x="6217288" y="3558189"/>
                <a:ext cx="705066" cy="715634"/>
                <a:chOff x="956037" y="2323698"/>
                <a:chExt cx="1839561" cy="1822071"/>
              </a:xfrm>
            </p:grpSpPr>
            <p:sp>
              <p:nvSpPr>
                <p:cNvPr id="47" name="TextBox 46">
                  <a:extLst>
                    <a:ext uri="{FF2B5EF4-FFF2-40B4-BE49-F238E27FC236}">
                      <a16:creationId xmlns:a16="http://schemas.microsoft.com/office/drawing/2014/main" id="{AD70731A-699E-4D82-9345-82C5884F0100}"/>
                    </a:ext>
                  </a:extLst>
                </p:cNvPr>
                <p:cNvSpPr txBox="1"/>
                <p:nvPr/>
              </p:nvSpPr>
              <p:spPr>
                <a:xfrm rot="403719">
                  <a:off x="976419" y="2323698"/>
                  <a:ext cx="1790411" cy="1790413"/>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Feasibility</a:t>
                  </a:r>
                </a:p>
              </p:txBody>
            </p:sp>
            <p:sp>
              <p:nvSpPr>
                <p:cNvPr id="48" name="TextBox 47">
                  <a:extLst>
                    <a:ext uri="{FF2B5EF4-FFF2-40B4-BE49-F238E27FC236}">
                      <a16:creationId xmlns:a16="http://schemas.microsoft.com/office/drawing/2014/main" id="{9A28A146-1365-5479-33F9-669CAADE99AC}"/>
                    </a:ext>
                  </a:extLst>
                </p:cNvPr>
                <p:cNvSpPr txBox="1"/>
                <p:nvPr/>
              </p:nvSpPr>
              <p:spPr>
                <a:xfrm rot="7799817">
                  <a:off x="1004529" y="2354700"/>
                  <a:ext cx="1742577" cy="1839561"/>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ability</a:t>
                  </a:r>
                </a:p>
              </p:txBody>
            </p:sp>
          </p:grpSp>
          <p:sp>
            <p:nvSpPr>
              <p:cNvPr id="41" name="Oval 40">
                <a:extLst>
                  <a:ext uri="{FF2B5EF4-FFF2-40B4-BE49-F238E27FC236}">
                    <a16:creationId xmlns:a16="http://schemas.microsoft.com/office/drawing/2014/main" id="{717A9810-B054-B9B2-C1A8-43924D0DF7DD}"/>
                  </a:ext>
                </a:extLst>
              </p:cNvPr>
              <p:cNvSpPr/>
              <p:nvPr/>
            </p:nvSpPr>
            <p:spPr>
              <a:xfrm>
                <a:off x="6264884" y="3607796"/>
                <a:ext cx="593318" cy="607990"/>
              </a:xfrm>
              <a:prstGeom prst="ellipse">
                <a:avLst/>
              </a:prstGeom>
              <a:solidFill>
                <a:srgbClr val="FFFFFF"/>
              </a:solidFill>
              <a:ln w="57150" cap="flat" cmpd="dbl" algn="ctr">
                <a:noFill/>
                <a:prstDash val="solid"/>
              </a:ln>
              <a:effectLst/>
            </p:spPr>
            <p:txBody>
              <a:bodyPr wrap="none" lIns="0" tIns="36696" rIns="0" bIns="36696" rtlCol="0" anchor="ctr"/>
              <a:lstStyle/>
              <a:p>
                <a:pPr algn="ctr" defTabSz="733982">
                  <a:defRPr/>
                </a:pPr>
                <a:endParaRPr lang="en-US" sz="800" b="1" kern="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2" name="Group 41">
                <a:extLst>
                  <a:ext uri="{FF2B5EF4-FFF2-40B4-BE49-F238E27FC236}">
                    <a16:creationId xmlns:a16="http://schemas.microsoft.com/office/drawing/2014/main" id="{C4D5E35F-07DC-22C9-D94C-C28887A00B78}"/>
                  </a:ext>
                </a:extLst>
              </p:cNvPr>
              <p:cNvGrpSpPr>
                <a:grpSpLocks/>
              </p:cNvGrpSpPr>
              <p:nvPr/>
            </p:nvGrpSpPr>
            <p:grpSpPr>
              <a:xfrm>
                <a:off x="6098963" y="3437245"/>
                <a:ext cx="923734" cy="949091"/>
                <a:chOff x="3400449" y="2471675"/>
                <a:chExt cx="1720673" cy="1720673"/>
              </a:xfrm>
            </p:grpSpPr>
            <p:sp>
              <p:nvSpPr>
                <p:cNvPr id="44" name="Oval 43">
                  <a:extLst>
                    <a:ext uri="{FF2B5EF4-FFF2-40B4-BE49-F238E27FC236}">
                      <a16:creationId xmlns:a16="http://schemas.microsoft.com/office/drawing/2014/main" id="{BF4AFAE6-4B78-B8C8-42EB-622ACF9A5BB9}"/>
                    </a:ext>
                  </a:extLst>
                </p:cNvPr>
                <p:cNvSpPr/>
                <p:nvPr/>
              </p:nvSpPr>
              <p:spPr>
                <a:xfrm>
                  <a:off x="3400449" y="2471675"/>
                  <a:ext cx="1720673" cy="1720673"/>
                </a:xfrm>
                <a:prstGeom prst="ellips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Isosceles Triangle 44">
                  <a:extLst>
                    <a:ext uri="{FF2B5EF4-FFF2-40B4-BE49-F238E27FC236}">
                      <a16:creationId xmlns:a16="http://schemas.microsoft.com/office/drawing/2014/main" id="{11CDB422-2321-ED38-6EB4-B7AF36ADC93B}"/>
                    </a:ext>
                  </a:extLst>
                </p:cNvPr>
                <p:cNvSpPr/>
                <p:nvPr/>
              </p:nvSpPr>
              <p:spPr>
                <a:xfrm rot="13510822">
                  <a:off x="4788169" y="3881861"/>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Isosceles Triangle 45">
                  <a:extLst>
                    <a:ext uri="{FF2B5EF4-FFF2-40B4-BE49-F238E27FC236}">
                      <a16:creationId xmlns:a16="http://schemas.microsoft.com/office/drawing/2014/main" id="{AAEE4F82-1C7E-C03D-0482-05ECF4737FF6}"/>
                    </a:ext>
                  </a:extLst>
                </p:cNvPr>
                <p:cNvSpPr/>
                <p:nvPr/>
              </p:nvSpPr>
              <p:spPr>
                <a:xfrm rot="3171219">
                  <a:off x="3663901" y="2584312"/>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3" name="TextBox 42">
                <a:extLst>
                  <a:ext uri="{FF2B5EF4-FFF2-40B4-BE49-F238E27FC236}">
                    <a16:creationId xmlns:a16="http://schemas.microsoft.com/office/drawing/2014/main" id="{54ABEAFF-8E51-1990-6873-5E3497A27986}"/>
                  </a:ext>
                </a:extLst>
              </p:cNvPr>
              <p:cNvSpPr txBox="1"/>
              <p:nvPr/>
            </p:nvSpPr>
            <p:spPr>
              <a:xfrm rot="15295618">
                <a:off x="6202336" y="3558919"/>
                <a:ext cx="703201" cy="686225"/>
              </a:xfrm>
              <a:prstGeom prst="rect">
                <a:avLst/>
              </a:prstGeom>
              <a:noFill/>
            </p:spPr>
            <p:txBody>
              <a:bodyPr spcFirstLastPara="1" wrap="square" lIns="0" tIns="0" rIns="0" bIns="0" numCol="1" rtlCol="0">
                <a:prstTxWarp prst="textArchUp">
                  <a:avLst>
                    <a:gd name="adj" fmla="val 7912934"/>
                  </a:avLst>
                </a:prstTxWarp>
                <a:spAutoFit/>
              </a:bodyPr>
              <a:lstStyle/>
              <a:p>
                <a:pPr defTabSz="733982">
                  <a:spcAft>
                    <a:spcPts val="241"/>
                  </a:spcAft>
                </a:pPr>
                <a:r>
                  <a:rPr lang="en-US" sz="7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Desirability</a:t>
                </a:r>
              </a:p>
            </p:txBody>
          </p:sp>
        </p:grpSp>
        <p:sp>
          <p:nvSpPr>
            <p:cNvPr id="37" name="TextBox 36">
              <a:extLst>
                <a:ext uri="{FF2B5EF4-FFF2-40B4-BE49-F238E27FC236}">
                  <a16:creationId xmlns:a16="http://schemas.microsoft.com/office/drawing/2014/main" id="{F61D63B2-C444-C77F-0E01-FE3C48B76540}"/>
                </a:ext>
              </a:extLst>
            </p:cNvPr>
            <p:cNvSpPr txBox="1">
              <a:spLocks/>
            </p:cNvSpPr>
            <p:nvPr/>
          </p:nvSpPr>
          <p:spPr>
            <a:xfrm>
              <a:off x="2478243" y="2953183"/>
              <a:ext cx="828700" cy="276999"/>
            </a:xfrm>
            <a:prstGeom prst="rect">
              <a:avLst/>
            </a:prstGeom>
            <a:noFill/>
          </p:spPr>
          <p:txBody>
            <a:bodyPr wrap="square" rtlCol="0">
              <a:spAutoFit/>
            </a:bodyPr>
            <a:lstStyle/>
            <a:p>
              <a:pPr algn="ctr"/>
              <a:r>
                <a:rPr lang="en-US" sz="1200" b="1" dirty="0">
                  <a:latin typeface="Open Sans" panose="020B0606030504020204" pitchFamily="34" charset="0"/>
                  <a:ea typeface="Open Sans" panose="020B0606030504020204" pitchFamily="34" charset="0"/>
                  <a:cs typeface="Open Sans" panose="020B0606030504020204" pitchFamily="34" charset="0"/>
                </a:rPr>
                <a:t>Search</a:t>
              </a:r>
            </a:p>
          </p:txBody>
        </p:sp>
        <p:pic>
          <p:nvPicPr>
            <p:cNvPr id="38" name="Picture 37">
              <a:extLst>
                <a:ext uri="{FF2B5EF4-FFF2-40B4-BE49-F238E27FC236}">
                  <a16:creationId xmlns:a16="http://schemas.microsoft.com/office/drawing/2014/main" id="{90CCE3A4-ADFE-58AE-538E-D5073E1A21E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21169" y="2841027"/>
              <a:ext cx="154975" cy="154975"/>
            </a:xfrm>
            <a:prstGeom prst="rect">
              <a:avLst/>
            </a:prstGeom>
          </p:spPr>
        </p:pic>
      </p:grpSp>
      <p:grpSp>
        <p:nvGrpSpPr>
          <p:cNvPr id="52" name="Group 51">
            <a:extLst>
              <a:ext uri="{FF2B5EF4-FFF2-40B4-BE49-F238E27FC236}">
                <a16:creationId xmlns:a16="http://schemas.microsoft.com/office/drawing/2014/main" id="{69CEB32C-6454-37FD-15B6-717973E1D041}"/>
              </a:ext>
            </a:extLst>
          </p:cNvPr>
          <p:cNvGrpSpPr/>
          <p:nvPr/>
        </p:nvGrpSpPr>
        <p:grpSpPr>
          <a:xfrm>
            <a:off x="7828064" y="2519939"/>
            <a:ext cx="923734" cy="949091"/>
            <a:chOff x="6977119" y="2586845"/>
            <a:chExt cx="923734" cy="949091"/>
          </a:xfrm>
        </p:grpSpPr>
        <p:grpSp>
          <p:nvGrpSpPr>
            <p:cNvPr id="53" name="Group 52">
              <a:extLst>
                <a:ext uri="{FF2B5EF4-FFF2-40B4-BE49-F238E27FC236}">
                  <a16:creationId xmlns:a16="http://schemas.microsoft.com/office/drawing/2014/main" id="{962DCBA4-2C24-922A-EF51-9CE99FDFF99D}"/>
                </a:ext>
              </a:extLst>
            </p:cNvPr>
            <p:cNvGrpSpPr/>
            <p:nvPr/>
          </p:nvGrpSpPr>
          <p:grpSpPr>
            <a:xfrm>
              <a:off x="6977119" y="2586845"/>
              <a:ext cx="923734" cy="949091"/>
              <a:chOff x="6098963" y="3437245"/>
              <a:chExt cx="923734" cy="949091"/>
            </a:xfrm>
          </p:grpSpPr>
          <p:grpSp>
            <p:nvGrpSpPr>
              <p:cNvPr id="56" name="Group 55">
                <a:extLst>
                  <a:ext uri="{FF2B5EF4-FFF2-40B4-BE49-F238E27FC236}">
                    <a16:creationId xmlns:a16="http://schemas.microsoft.com/office/drawing/2014/main" id="{7C8D8DC4-842A-07D9-A2E8-370630F189C9}"/>
                  </a:ext>
                </a:extLst>
              </p:cNvPr>
              <p:cNvGrpSpPr/>
              <p:nvPr/>
            </p:nvGrpSpPr>
            <p:grpSpPr>
              <a:xfrm>
                <a:off x="6146025" y="3485375"/>
                <a:ext cx="831035" cy="852835"/>
                <a:chOff x="833915" y="2138304"/>
                <a:chExt cx="2168217" cy="2171399"/>
              </a:xfrm>
            </p:grpSpPr>
            <p:sp>
              <p:nvSpPr>
                <p:cNvPr id="66" name="Pie 32">
                  <a:extLst>
                    <a:ext uri="{FF2B5EF4-FFF2-40B4-BE49-F238E27FC236}">
                      <a16:creationId xmlns:a16="http://schemas.microsoft.com/office/drawing/2014/main" id="{DB123436-A612-39EE-0AC9-CF5933B3AD04}"/>
                    </a:ext>
                  </a:extLst>
                </p:cNvPr>
                <p:cNvSpPr/>
                <p:nvPr/>
              </p:nvSpPr>
              <p:spPr>
                <a:xfrm>
                  <a:off x="833915" y="2138304"/>
                  <a:ext cx="2168217" cy="2171399"/>
                </a:xfrm>
                <a:prstGeom prst="pie">
                  <a:avLst>
                    <a:gd name="adj1" fmla="val 0"/>
                    <a:gd name="adj2" fmla="val 7333938"/>
                  </a:avLst>
                </a:prstGeom>
                <a:solidFill>
                  <a:schemeClr val="accent2"/>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Pie 33">
                  <a:extLst>
                    <a:ext uri="{FF2B5EF4-FFF2-40B4-BE49-F238E27FC236}">
                      <a16:creationId xmlns:a16="http://schemas.microsoft.com/office/drawing/2014/main" id="{96014331-9250-4E18-D9EF-109C480C7875}"/>
                    </a:ext>
                  </a:extLst>
                </p:cNvPr>
                <p:cNvSpPr/>
                <p:nvPr/>
              </p:nvSpPr>
              <p:spPr>
                <a:xfrm>
                  <a:off x="833915" y="2138304"/>
                  <a:ext cx="2168217" cy="2171399"/>
                </a:xfrm>
                <a:prstGeom prst="pie">
                  <a:avLst>
                    <a:gd name="adj1" fmla="val 7341116"/>
                    <a:gd name="adj2" fmla="val 14326424"/>
                  </a:avLst>
                </a:prstGeom>
                <a:solidFill>
                  <a:schemeClr val="accent3"/>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Pie 34">
                  <a:extLst>
                    <a:ext uri="{FF2B5EF4-FFF2-40B4-BE49-F238E27FC236}">
                      <a16:creationId xmlns:a16="http://schemas.microsoft.com/office/drawing/2014/main" id="{72AA0A03-6E81-B291-89C2-916FD845489F}"/>
                    </a:ext>
                  </a:extLst>
                </p:cNvPr>
                <p:cNvSpPr/>
                <p:nvPr/>
              </p:nvSpPr>
              <p:spPr>
                <a:xfrm>
                  <a:off x="833915" y="2138304"/>
                  <a:ext cx="2168217" cy="2171399"/>
                </a:xfrm>
                <a:prstGeom prst="pie">
                  <a:avLst>
                    <a:gd name="adj1" fmla="val 14298209"/>
                    <a:gd name="adj2" fmla="val 39400"/>
                  </a:avLst>
                </a:prstGeom>
                <a:solidFill>
                  <a:schemeClr val="accent1"/>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7" name="Group 56">
                <a:extLst>
                  <a:ext uri="{FF2B5EF4-FFF2-40B4-BE49-F238E27FC236}">
                    <a16:creationId xmlns:a16="http://schemas.microsoft.com/office/drawing/2014/main" id="{B6DA4506-799F-249D-C76B-E24CE65A3F4F}"/>
                  </a:ext>
                </a:extLst>
              </p:cNvPr>
              <p:cNvGrpSpPr>
                <a:grpSpLocks/>
              </p:cNvGrpSpPr>
              <p:nvPr/>
            </p:nvGrpSpPr>
            <p:grpSpPr>
              <a:xfrm>
                <a:off x="6217288" y="3558189"/>
                <a:ext cx="705066" cy="715634"/>
                <a:chOff x="956037" y="2323698"/>
                <a:chExt cx="1839561" cy="1822071"/>
              </a:xfrm>
            </p:grpSpPr>
            <p:sp>
              <p:nvSpPr>
                <p:cNvPr id="64" name="TextBox 63">
                  <a:extLst>
                    <a:ext uri="{FF2B5EF4-FFF2-40B4-BE49-F238E27FC236}">
                      <a16:creationId xmlns:a16="http://schemas.microsoft.com/office/drawing/2014/main" id="{8EE6DE42-A798-E344-AE5B-AA7FEB3F95C9}"/>
                    </a:ext>
                  </a:extLst>
                </p:cNvPr>
                <p:cNvSpPr txBox="1"/>
                <p:nvPr/>
              </p:nvSpPr>
              <p:spPr>
                <a:xfrm rot="403719">
                  <a:off x="976419" y="2323698"/>
                  <a:ext cx="1790411" cy="1790413"/>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Feasibility</a:t>
                  </a:r>
                </a:p>
              </p:txBody>
            </p:sp>
            <p:sp>
              <p:nvSpPr>
                <p:cNvPr id="65" name="TextBox 64">
                  <a:extLst>
                    <a:ext uri="{FF2B5EF4-FFF2-40B4-BE49-F238E27FC236}">
                      <a16:creationId xmlns:a16="http://schemas.microsoft.com/office/drawing/2014/main" id="{AF58FBEE-5E64-D06F-B722-100CBF052E70}"/>
                    </a:ext>
                  </a:extLst>
                </p:cNvPr>
                <p:cNvSpPr txBox="1"/>
                <p:nvPr/>
              </p:nvSpPr>
              <p:spPr>
                <a:xfrm rot="7799817">
                  <a:off x="1004529" y="2354700"/>
                  <a:ext cx="1742577" cy="1839561"/>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ability</a:t>
                  </a:r>
                </a:p>
              </p:txBody>
            </p:sp>
          </p:grpSp>
          <p:sp>
            <p:nvSpPr>
              <p:cNvPr id="58" name="Oval 57">
                <a:extLst>
                  <a:ext uri="{FF2B5EF4-FFF2-40B4-BE49-F238E27FC236}">
                    <a16:creationId xmlns:a16="http://schemas.microsoft.com/office/drawing/2014/main" id="{041BACFE-6371-448A-8257-1C74C9BEBF41}"/>
                  </a:ext>
                </a:extLst>
              </p:cNvPr>
              <p:cNvSpPr/>
              <p:nvPr/>
            </p:nvSpPr>
            <p:spPr>
              <a:xfrm>
                <a:off x="6264884" y="3607796"/>
                <a:ext cx="593318" cy="607990"/>
              </a:xfrm>
              <a:prstGeom prst="ellipse">
                <a:avLst/>
              </a:prstGeom>
              <a:solidFill>
                <a:srgbClr val="FFFFFF"/>
              </a:solidFill>
              <a:ln w="57150" cap="flat" cmpd="dbl" algn="ctr">
                <a:noFill/>
                <a:prstDash val="solid"/>
              </a:ln>
              <a:effectLst/>
            </p:spPr>
            <p:txBody>
              <a:bodyPr wrap="none" lIns="0" tIns="36696" rIns="0" bIns="36696" rtlCol="0" anchor="ctr"/>
              <a:lstStyle/>
              <a:p>
                <a:pPr algn="ctr" defTabSz="733982">
                  <a:defRPr/>
                </a:pPr>
                <a:endParaRPr lang="en-US" sz="800" b="1" kern="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9" name="Group 58">
                <a:extLst>
                  <a:ext uri="{FF2B5EF4-FFF2-40B4-BE49-F238E27FC236}">
                    <a16:creationId xmlns:a16="http://schemas.microsoft.com/office/drawing/2014/main" id="{FEEBF3CD-85AE-8401-E7FD-16A96F738FC9}"/>
                  </a:ext>
                </a:extLst>
              </p:cNvPr>
              <p:cNvGrpSpPr>
                <a:grpSpLocks/>
              </p:cNvGrpSpPr>
              <p:nvPr/>
            </p:nvGrpSpPr>
            <p:grpSpPr>
              <a:xfrm>
                <a:off x="6098963" y="3437245"/>
                <a:ext cx="923734" cy="949091"/>
                <a:chOff x="3400449" y="2471675"/>
                <a:chExt cx="1720673" cy="1720673"/>
              </a:xfrm>
            </p:grpSpPr>
            <p:sp>
              <p:nvSpPr>
                <p:cNvPr id="61" name="Oval 60">
                  <a:extLst>
                    <a:ext uri="{FF2B5EF4-FFF2-40B4-BE49-F238E27FC236}">
                      <a16:creationId xmlns:a16="http://schemas.microsoft.com/office/drawing/2014/main" id="{47D81CB7-415E-2508-AFAF-5A7E990B41A3}"/>
                    </a:ext>
                  </a:extLst>
                </p:cNvPr>
                <p:cNvSpPr/>
                <p:nvPr/>
              </p:nvSpPr>
              <p:spPr>
                <a:xfrm>
                  <a:off x="3400449" y="2471675"/>
                  <a:ext cx="1720673" cy="1720673"/>
                </a:xfrm>
                <a:prstGeom prst="ellips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Isosceles Triangle 44">
                  <a:extLst>
                    <a:ext uri="{FF2B5EF4-FFF2-40B4-BE49-F238E27FC236}">
                      <a16:creationId xmlns:a16="http://schemas.microsoft.com/office/drawing/2014/main" id="{4E79C6D9-C9F1-8050-BB1C-EAE496B19114}"/>
                    </a:ext>
                  </a:extLst>
                </p:cNvPr>
                <p:cNvSpPr/>
                <p:nvPr/>
              </p:nvSpPr>
              <p:spPr>
                <a:xfrm rot="13510822">
                  <a:off x="4788169" y="3881861"/>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 name="Isosceles Triangle 45">
                  <a:extLst>
                    <a:ext uri="{FF2B5EF4-FFF2-40B4-BE49-F238E27FC236}">
                      <a16:creationId xmlns:a16="http://schemas.microsoft.com/office/drawing/2014/main" id="{BA22938B-36C1-CCA9-079A-2D0A34A5FAA6}"/>
                    </a:ext>
                  </a:extLst>
                </p:cNvPr>
                <p:cNvSpPr/>
                <p:nvPr/>
              </p:nvSpPr>
              <p:spPr>
                <a:xfrm rot="3171219">
                  <a:off x="3663901" y="2584312"/>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0" name="TextBox 59">
                <a:extLst>
                  <a:ext uri="{FF2B5EF4-FFF2-40B4-BE49-F238E27FC236}">
                    <a16:creationId xmlns:a16="http://schemas.microsoft.com/office/drawing/2014/main" id="{D17BCE18-0D20-C647-894A-00CBC417CC7A}"/>
                  </a:ext>
                </a:extLst>
              </p:cNvPr>
              <p:cNvSpPr txBox="1"/>
              <p:nvPr/>
            </p:nvSpPr>
            <p:spPr>
              <a:xfrm rot="15295618">
                <a:off x="6202336" y="3558919"/>
                <a:ext cx="703201" cy="686225"/>
              </a:xfrm>
              <a:prstGeom prst="rect">
                <a:avLst/>
              </a:prstGeom>
              <a:noFill/>
            </p:spPr>
            <p:txBody>
              <a:bodyPr spcFirstLastPara="1" wrap="square" lIns="0" tIns="0" rIns="0" bIns="0" numCol="1" rtlCol="0">
                <a:prstTxWarp prst="textArchUp">
                  <a:avLst>
                    <a:gd name="adj" fmla="val 7912934"/>
                  </a:avLst>
                </a:prstTxWarp>
                <a:spAutoFit/>
              </a:bodyPr>
              <a:lstStyle/>
              <a:p>
                <a:pPr defTabSz="733982">
                  <a:spcAft>
                    <a:spcPts val="241"/>
                  </a:spcAft>
                </a:pPr>
                <a:r>
                  <a:rPr lang="en-US" sz="7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Desirability</a:t>
                </a:r>
              </a:p>
            </p:txBody>
          </p:sp>
        </p:grpSp>
        <p:sp>
          <p:nvSpPr>
            <p:cNvPr id="54" name="TextBox 53">
              <a:extLst>
                <a:ext uri="{FF2B5EF4-FFF2-40B4-BE49-F238E27FC236}">
                  <a16:creationId xmlns:a16="http://schemas.microsoft.com/office/drawing/2014/main" id="{C2433A99-FEBA-68CB-D4A8-9EED0E92A7C8}"/>
                </a:ext>
              </a:extLst>
            </p:cNvPr>
            <p:cNvSpPr txBox="1">
              <a:spLocks/>
            </p:cNvSpPr>
            <p:nvPr/>
          </p:nvSpPr>
          <p:spPr>
            <a:xfrm>
              <a:off x="7031214" y="2953183"/>
              <a:ext cx="828700" cy="276999"/>
            </a:xfrm>
            <a:prstGeom prst="rect">
              <a:avLst/>
            </a:prstGeom>
            <a:noFill/>
          </p:spPr>
          <p:txBody>
            <a:bodyPr wrap="square" rtlCol="0">
              <a:spAutoFit/>
            </a:bodyPr>
            <a:lstStyle/>
            <a:p>
              <a:pPr algn="ctr"/>
              <a:r>
                <a:rPr lang="en-US" sz="1200" b="1" dirty="0">
                  <a:latin typeface="Open Sans" panose="020B0606030504020204" pitchFamily="34" charset="0"/>
                  <a:ea typeface="Open Sans" panose="020B0606030504020204" pitchFamily="34" charset="0"/>
                  <a:cs typeface="Open Sans" panose="020B0606030504020204" pitchFamily="34" charset="0"/>
                </a:rPr>
                <a:t>Scale</a:t>
              </a:r>
            </a:p>
          </p:txBody>
        </p:sp>
        <p:pic>
          <p:nvPicPr>
            <p:cNvPr id="55" name="Picture 54">
              <a:extLst>
                <a:ext uri="{FF2B5EF4-FFF2-40B4-BE49-F238E27FC236}">
                  <a16:creationId xmlns:a16="http://schemas.microsoft.com/office/drawing/2014/main" id="{C65B4E86-E849-19E5-8C51-EBA0BD1AB8D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81175" y="2868699"/>
              <a:ext cx="124964" cy="124964"/>
            </a:xfrm>
            <a:prstGeom prst="rect">
              <a:avLst/>
            </a:prstGeom>
          </p:spPr>
        </p:pic>
      </p:grpSp>
      <p:grpSp>
        <p:nvGrpSpPr>
          <p:cNvPr id="69" name="Group 68">
            <a:extLst>
              <a:ext uri="{FF2B5EF4-FFF2-40B4-BE49-F238E27FC236}">
                <a16:creationId xmlns:a16="http://schemas.microsoft.com/office/drawing/2014/main" id="{9823BB66-FCC1-C21B-0D3D-D10874A238FE}"/>
              </a:ext>
            </a:extLst>
          </p:cNvPr>
          <p:cNvGrpSpPr/>
          <p:nvPr/>
        </p:nvGrpSpPr>
        <p:grpSpPr>
          <a:xfrm>
            <a:off x="917585" y="2519939"/>
            <a:ext cx="923734" cy="949091"/>
            <a:chOff x="935474" y="2586845"/>
            <a:chExt cx="923734" cy="949091"/>
          </a:xfrm>
        </p:grpSpPr>
        <p:grpSp>
          <p:nvGrpSpPr>
            <p:cNvPr id="70" name="Group 69">
              <a:extLst>
                <a:ext uri="{FF2B5EF4-FFF2-40B4-BE49-F238E27FC236}">
                  <a16:creationId xmlns:a16="http://schemas.microsoft.com/office/drawing/2014/main" id="{84A4B1AB-1D68-F762-7746-70FE5DD68785}"/>
                </a:ext>
              </a:extLst>
            </p:cNvPr>
            <p:cNvGrpSpPr/>
            <p:nvPr/>
          </p:nvGrpSpPr>
          <p:grpSpPr>
            <a:xfrm>
              <a:off x="935474" y="2586845"/>
              <a:ext cx="923734" cy="949091"/>
              <a:chOff x="6098963" y="3437245"/>
              <a:chExt cx="923734" cy="949091"/>
            </a:xfrm>
          </p:grpSpPr>
          <p:grpSp>
            <p:nvGrpSpPr>
              <p:cNvPr id="73" name="Group 72">
                <a:extLst>
                  <a:ext uri="{FF2B5EF4-FFF2-40B4-BE49-F238E27FC236}">
                    <a16:creationId xmlns:a16="http://schemas.microsoft.com/office/drawing/2014/main" id="{851E3D7A-7566-8AB2-B0F2-9CE1DE065891}"/>
                  </a:ext>
                </a:extLst>
              </p:cNvPr>
              <p:cNvGrpSpPr/>
              <p:nvPr/>
            </p:nvGrpSpPr>
            <p:grpSpPr>
              <a:xfrm>
                <a:off x="6146025" y="3485375"/>
                <a:ext cx="831035" cy="852835"/>
                <a:chOff x="833915" y="2138304"/>
                <a:chExt cx="2168217" cy="2171399"/>
              </a:xfrm>
            </p:grpSpPr>
            <p:sp>
              <p:nvSpPr>
                <p:cNvPr id="83" name="Pie 32">
                  <a:extLst>
                    <a:ext uri="{FF2B5EF4-FFF2-40B4-BE49-F238E27FC236}">
                      <a16:creationId xmlns:a16="http://schemas.microsoft.com/office/drawing/2014/main" id="{59FC4CDA-DCBD-3E84-67AE-7FE29CBD07C7}"/>
                    </a:ext>
                  </a:extLst>
                </p:cNvPr>
                <p:cNvSpPr/>
                <p:nvPr/>
              </p:nvSpPr>
              <p:spPr>
                <a:xfrm>
                  <a:off x="833915" y="2138304"/>
                  <a:ext cx="2168217" cy="2171399"/>
                </a:xfrm>
                <a:prstGeom prst="pie">
                  <a:avLst>
                    <a:gd name="adj1" fmla="val 0"/>
                    <a:gd name="adj2" fmla="val 7333938"/>
                  </a:avLst>
                </a:prstGeom>
                <a:solidFill>
                  <a:schemeClr val="accent2"/>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Pie 33">
                  <a:extLst>
                    <a:ext uri="{FF2B5EF4-FFF2-40B4-BE49-F238E27FC236}">
                      <a16:creationId xmlns:a16="http://schemas.microsoft.com/office/drawing/2014/main" id="{4B4CB575-A190-288C-6A62-A64BA49936BE}"/>
                    </a:ext>
                  </a:extLst>
                </p:cNvPr>
                <p:cNvSpPr/>
                <p:nvPr/>
              </p:nvSpPr>
              <p:spPr>
                <a:xfrm>
                  <a:off x="833915" y="2138304"/>
                  <a:ext cx="2168217" cy="2171399"/>
                </a:xfrm>
                <a:prstGeom prst="pie">
                  <a:avLst>
                    <a:gd name="adj1" fmla="val 7341116"/>
                    <a:gd name="adj2" fmla="val 14326424"/>
                  </a:avLst>
                </a:prstGeom>
                <a:solidFill>
                  <a:schemeClr val="accent3"/>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Pie 34">
                  <a:extLst>
                    <a:ext uri="{FF2B5EF4-FFF2-40B4-BE49-F238E27FC236}">
                      <a16:creationId xmlns:a16="http://schemas.microsoft.com/office/drawing/2014/main" id="{AD35E2B9-7055-EB1D-85BC-75EC68573410}"/>
                    </a:ext>
                  </a:extLst>
                </p:cNvPr>
                <p:cNvSpPr/>
                <p:nvPr/>
              </p:nvSpPr>
              <p:spPr>
                <a:xfrm>
                  <a:off x="833915" y="2138304"/>
                  <a:ext cx="2168217" cy="2171399"/>
                </a:xfrm>
                <a:prstGeom prst="pie">
                  <a:avLst>
                    <a:gd name="adj1" fmla="val 14298209"/>
                    <a:gd name="adj2" fmla="val 39400"/>
                  </a:avLst>
                </a:prstGeom>
                <a:solidFill>
                  <a:schemeClr val="accent1"/>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4" name="Group 73">
                <a:extLst>
                  <a:ext uri="{FF2B5EF4-FFF2-40B4-BE49-F238E27FC236}">
                    <a16:creationId xmlns:a16="http://schemas.microsoft.com/office/drawing/2014/main" id="{222B02A9-4E12-EA65-C4CE-A7D0A17A5954}"/>
                  </a:ext>
                </a:extLst>
              </p:cNvPr>
              <p:cNvGrpSpPr>
                <a:grpSpLocks/>
              </p:cNvGrpSpPr>
              <p:nvPr/>
            </p:nvGrpSpPr>
            <p:grpSpPr>
              <a:xfrm>
                <a:off x="6217288" y="3558189"/>
                <a:ext cx="705066" cy="715634"/>
                <a:chOff x="956037" y="2323698"/>
                <a:chExt cx="1839561" cy="1822071"/>
              </a:xfrm>
            </p:grpSpPr>
            <p:sp>
              <p:nvSpPr>
                <p:cNvPr id="81" name="TextBox 80">
                  <a:extLst>
                    <a:ext uri="{FF2B5EF4-FFF2-40B4-BE49-F238E27FC236}">
                      <a16:creationId xmlns:a16="http://schemas.microsoft.com/office/drawing/2014/main" id="{A8ACEA79-CE8C-EE08-564F-FB23D78F98D3}"/>
                    </a:ext>
                  </a:extLst>
                </p:cNvPr>
                <p:cNvSpPr txBox="1"/>
                <p:nvPr/>
              </p:nvSpPr>
              <p:spPr>
                <a:xfrm rot="403719">
                  <a:off x="976419" y="2323698"/>
                  <a:ext cx="1790411" cy="1790413"/>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Feasibility</a:t>
                  </a:r>
                </a:p>
              </p:txBody>
            </p:sp>
            <p:sp>
              <p:nvSpPr>
                <p:cNvPr id="82" name="TextBox 81">
                  <a:extLst>
                    <a:ext uri="{FF2B5EF4-FFF2-40B4-BE49-F238E27FC236}">
                      <a16:creationId xmlns:a16="http://schemas.microsoft.com/office/drawing/2014/main" id="{AC4E6D68-FF82-97FD-C4E8-268FEF24959E}"/>
                    </a:ext>
                  </a:extLst>
                </p:cNvPr>
                <p:cNvSpPr txBox="1"/>
                <p:nvPr/>
              </p:nvSpPr>
              <p:spPr>
                <a:xfrm rot="7799817">
                  <a:off x="1004529" y="2354700"/>
                  <a:ext cx="1742577" cy="1839561"/>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ability</a:t>
                  </a:r>
                </a:p>
              </p:txBody>
            </p:sp>
          </p:grpSp>
          <p:sp>
            <p:nvSpPr>
              <p:cNvPr id="75" name="Oval 74">
                <a:extLst>
                  <a:ext uri="{FF2B5EF4-FFF2-40B4-BE49-F238E27FC236}">
                    <a16:creationId xmlns:a16="http://schemas.microsoft.com/office/drawing/2014/main" id="{807990EB-6FDB-B388-31E9-971DA955B894}"/>
                  </a:ext>
                </a:extLst>
              </p:cNvPr>
              <p:cNvSpPr/>
              <p:nvPr/>
            </p:nvSpPr>
            <p:spPr>
              <a:xfrm>
                <a:off x="6264884" y="3607796"/>
                <a:ext cx="593318" cy="607990"/>
              </a:xfrm>
              <a:prstGeom prst="ellipse">
                <a:avLst/>
              </a:prstGeom>
              <a:solidFill>
                <a:srgbClr val="FFFFFF"/>
              </a:solidFill>
              <a:ln w="57150" cap="flat" cmpd="dbl" algn="ctr">
                <a:noFill/>
                <a:prstDash val="solid"/>
              </a:ln>
              <a:effectLst/>
            </p:spPr>
            <p:txBody>
              <a:bodyPr wrap="none" lIns="0" tIns="36696" rIns="0" bIns="36696" rtlCol="0" anchor="ctr"/>
              <a:lstStyle/>
              <a:p>
                <a:pPr algn="ctr" defTabSz="733982">
                  <a:defRPr/>
                </a:pPr>
                <a:endParaRPr lang="en-US" sz="800" b="1" kern="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6" name="Group 75">
                <a:extLst>
                  <a:ext uri="{FF2B5EF4-FFF2-40B4-BE49-F238E27FC236}">
                    <a16:creationId xmlns:a16="http://schemas.microsoft.com/office/drawing/2014/main" id="{128D38E9-7BCE-910D-2744-564D8F6764B0}"/>
                  </a:ext>
                </a:extLst>
              </p:cNvPr>
              <p:cNvGrpSpPr>
                <a:grpSpLocks/>
              </p:cNvGrpSpPr>
              <p:nvPr/>
            </p:nvGrpSpPr>
            <p:grpSpPr>
              <a:xfrm>
                <a:off x="6098963" y="3437245"/>
                <a:ext cx="923734" cy="949091"/>
                <a:chOff x="3400449" y="2471675"/>
                <a:chExt cx="1720673" cy="1720673"/>
              </a:xfrm>
            </p:grpSpPr>
            <p:sp>
              <p:nvSpPr>
                <p:cNvPr id="78" name="Oval 77">
                  <a:extLst>
                    <a:ext uri="{FF2B5EF4-FFF2-40B4-BE49-F238E27FC236}">
                      <a16:creationId xmlns:a16="http://schemas.microsoft.com/office/drawing/2014/main" id="{B6642F84-9845-DABF-72B3-F7BCB2B372EF}"/>
                    </a:ext>
                  </a:extLst>
                </p:cNvPr>
                <p:cNvSpPr/>
                <p:nvPr/>
              </p:nvSpPr>
              <p:spPr>
                <a:xfrm>
                  <a:off x="3400449" y="2471675"/>
                  <a:ext cx="1720673" cy="1720673"/>
                </a:xfrm>
                <a:prstGeom prst="ellips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Isosceles Triangle 44">
                  <a:extLst>
                    <a:ext uri="{FF2B5EF4-FFF2-40B4-BE49-F238E27FC236}">
                      <a16:creationId xmlns:a16="http://schemas.microsoft.com/office/drawing/2014/main" id="{F23FC2E7-CB3C-3DF8-9509-9215309CFA13}"/>
                    </a:ext>
                  </a:extLst>
                </p:cNvPr>
                <p:cNvSpPr/>
                <p:nvPr/>
              </p:nvSpPr>
              <p:spPr>
                <a:xfrm rot="13510822">
                  <a:off x="4788169" y="3881861"/>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Isosceles Triangle 45">
                  <a:extLst>
                    <a:ext uri="{FF2B5EF4-FFF2-40B4-BE49-F238E27FC236}">
                      <a16:creationId xmlns:a16="http://schemas.microsoft.com/office/drawing/2014/main" id="{5AE6784B-4395-BCBA-66BD-92C71E76D43F}"/>
                    </a:ext>
                  </a:extLst>
                </p:cNvPr>
                <p:cNvSpPr/>
                <p:nvPr/>
              </p:nvSpPr>
              <p:spPr>
                <a:xfrm rot="3171219">
                  <a:off x="3663901" y="2584312"/>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77" name="TextBox 76">
                <a:extLst>
                  <a:ext uri="{FF2B5EF4-FFF2-40B4-BE49-F238E27FC236}">
                    <a16:creationId xmlns:a16="http://schemas.microsoft.com/office/drawing/2014/main" id="{A6850E19-B65A-BC85-7379-E2DFC43C134B}"/>
                  </a:ext>
                </a:extLst>
              </p:cNvPr>
              <p:cNvSpPr txBox="1"/>
              <p:nvPr/>
            </p:nvSpPr>
            <p:spPr>
              <a:xfrm rot="15295618">
                <a:off x="6202336" y="3558919"/>
                <a:ext cx="703201" cy="686225"/>
              </a:xfrm>
              <a:prstGeom prst="rect">
                <a:avLst/>
              </a:prstGeom>
              <a:noFill/>
            </p:spPr>
            <p:txBody>
              <a:bodyPr spcFirstLastPara="1" wrap="square" lIns="0" tIns="0" rIns="0" bIns="0" numCol="1" rtlCol="0">
                <a:prstTxWarp prst="textArchUp">
                  <a:avLst>
                    <a:gd name="adj" fmla="val 7912934"/>
                  </a:avLst>
                </a:prstTxWarp>
                <a:spAutoFit/>
              </a:bodyPr>
              <a:lstStyle/>
              <a:p>
                <a:pPr defTabSz="733982">
                  <a:spcAft>
                    <a:spcPts val="241"/>
                  </a:spcAft>
                </a:pPr>
                <a:r>
                  <a:rPr lang="en-US" sz="7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Desirability</a:t>
                </a:r>
              </a:p>
            </p:txBody>
          </p:sp>
        </p:grpSp>
        <p:sp>
          <p:nvSpPr>
            <p:cNvPr id="71" name="TextBox 70">
              <a:extLst>
                <a:ext uri="{FF2B5EF4-FFF2-40B4-BE49-F238E27FC236}">
                  <a16:creationId xmlns:a16="http://schemas.microsoft.com/office/drawing/2014/main" id="{E75DCF6D-AB71-D8C4-9380-ADDA612A9F6D}"/>
                </a:ext>
              </a:extLst>
            </p:cNvPr>
            <p:cNvSpPr txBox="1">
              <a:spLocks/>
            </p:cNvSpPr>
            <p:nvPr/>
          </p:nvSpPr>
          <p:spPr>
            <a:xfrm>
              <a:off x="989569" y="2953183"/>
              <a:ext cx="828700" cy="276999"/>
            </a:xfrm>
            <a:prstGeom prst="rect">
              <a:avLst/>
            </a:prstGeom>
            <a:noFill/>
          </p:spPr>
          <p:txBody>
            <a:bodyPr wrap="square" rtlCol="0">
              <a:spAutoFit/>
            </a:bodyPr>
            <a:lstStyle/>
            <a:p>
              <a:pPr algn="ctr"/>
              <a:r>
                <a:rPr lang="en-US" sz="1200" b="1" dirty="0">
                  <a:latin typeface="Open Sans" panose="020B0606030504020204" pitchFamily="34" charset="0"/>
                  <a:ea typeface="Open Sans" panose="020B0606030504020204" pitchFamily="34" charset="0"/>
                  <a:cs typeface="Open Sans" panose="020B0606030504020204" pitchFamily="34" charset="0"/>
                </a:rPr>
                <a:t>Select</a:t>
              </a:r>
            </a:p>
          </p:txBody>
        </p:sp>
        <p:pic>
          <p:nvPicPr>
            <p:cNvPr id="72" name="Picture 71">
              <a:extLst>
                <a:ext uri="{FF2B5EF4-FFF2-40B4-BE49-F238E27FC236}">
                  <a16:creationId xmlns:a16="http://schemas.microsoft.com/office/drawing/2014/main" id="{64E53A07-833C-0AD2-37CC-BFA332A926A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59945" y="2817979"/>
              <a:ext cx="103561" cy="175684"/>
            </a:xfrm>
            <a:prstGeom prst="rect">
              <a:avLst/>
            </a:prstGeom>
          </p:spPr>
        </p:pic>
      </p:grpSp>
      <p:grpSp>
        <p:nvGrpSpPr>
          <p:cNvPr id="86" name="Group 85">
            <a:extLst>
              <a:ext uri="{FF2B5EF4-FFF2-40B4-BE49-F238E27FC236}">
                <a16:creationId xmlns:a16="http://schemas.microsoft.com/office/drawing/2014/main" id="{37F900AB-780D-D772-816E-156739A77F31}"/>
              </a:ext>
            </a:extLst>
          </p:cNvPr>
          <p:cNvGrpSpPr/>
          <p:nvPr/>
        </p:nvGrpSpPr>
        <p:grpSpPr>
          <a:xfrm>
            <a:off x="4372825" y="2519939"/>
            <a:ext cx="923734" cy="949091"/>
            <a:chOff x="3957175" y="2586845"/>
            <a:chExt cx="923734" cy="949091"/>
          </a:xfrm>
        </p:grpSpPr>
        <p:grpSp>
          <p:nvGrpSpPr>
            <p:cNvPr id="87" name="Group 86">
              <a:extLst>
                <a:ext uri="{FF2B5EF4-FFF2-40B4-BE49-F238E27FC236}">
                  <a16:creationId xmlns:a16="http://schemas.microsoft.com/office/drawing/2014/main" id="{2A6F45B7-0BA5-8CAC-A97D-F34FE890E757}"/>
                </a:ext>
              </a:extLst>
            </p:cNvPr>
            <p:cNvGrpSpPr/>
            <p:nvPr/>
          </p:nvGrpSpPr>
          <p:grpSpPr>
            <a:xfrm>
              <a:off x="3957175" y="2586845"/>
              <a:ext cx="923734" cy="949091"/>
              <a:chOff x="6098963" y="3437245"/>
              <a:chExt cx="923734" cy="949091"/>
            </a:xfrm>
          </p:grpSpPr>
          <p:grpSp>
            <p:nvGrpSpPr>
              <p:cNvPr id="98" name="Group 97">
                <a:extLst>
                  <a:ext uri="{FF2B5EF4-FFF2-40B4-BE49-F238E27FC236}">
                    <a16:creationId xmlns:a16="http://schemas.microsoft.com/office/drawing/2014/main" id="{B57892B7-2BA0-E0EC-1122-E62350CBD9DC}"/>
                  </a:ext>
                </a:extLst>
              </p:cNvPr>
              <p:cNvGrpSpPr/>
              <p:nvPr/>
            </p:nvGrpSpPr>
            <p:grpSpPr>
              <a:xfrm>
                <a:off x="6146025" y="3485375"/>
                <a:ext cx="831035" cy="852835"/>
                <a:chOff x="833915" y="2138304"/>
                <a:chExt cx="2168217" cy="2171399"/>
              </a:xfrm>
            </p:grpSpPr>
            <p:sp>
              <p:nvSpPr>
                <p:cNvPr id="108" name="Pie 32">
                  <a:extLst>
                    <a:ext uri="{FF2B5EF4-FFF2-40B4-BE49-F238E27FC236}">
                      <a16:creationId xmlns:a16="http://schemas.microsoft.com/office/drawing/2014/main" id="{D234CD07-F7AC-E62F-A566-B8779B3C68D3}"/>
                    </a:ext>
                  </a:extLst>
                </p:cNvPr>
                <p:cNvSpPr/>
                <p:nvPr/>
              </p:nvSpPr>
              <p:spPr>
                <a:xfrm>
                  <a:off x="833915" y="2138304"/>
                  <a:ext cx="2168217" cy="2171399"/>
                </a:xfrm>
                <a:prstGeom prst="pie">
                  <a:avLst>
                    <a:gd name="adj1" fmla="val 0"/>
                    <a:gd name="adj2" fmla="val 7333938"/>
                  </a:avLst>
                </a:prstGeom>
                <a:solidFill>
                  <a:schemeClr val="accent2"/>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Pie 33">
                  <a:extLst>
                    <a:ext uri="{FF2B5EF4-FFF2-40B4-BE49-F238E27FC236}">
                      <a16:creationId xmlns:a16="http://schemas.microsoft.com/office/drawing/2014/main" id="{5F503E56-3FB0-F619-534F-09769FB87D68}"/>
                    </a:ext>
                  </a:extLst>
                </p:cNvPr>
                <p:cNvSpPr/>
                <p:nvPr/>
              </p:nvSpPr>
              <p:spPr>
                <a:xfrm>
                  <a:off x="833915" y="2138304"/>
                  <a:ext cx="2168217" cy="2171399"/>
                </a:xfrm>
                <a:prstGeom prst="pie">
                  <a:avLst>
                    <a:gd name="adj1" fmla="val 7341116"/>
                    <a:gd name="adj2" fmla="val 14326424"/>
                  </a:avLst>
                </a:prstGeom>
                <a:solidFill>
                  <a:schemeClr val="accent3"/>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Pie 34">
                  <a:extLst>
                    <a:ext uri="{FF2B5EF4-FFF2-40B4-BE49-F238E27FC236}">
                      <a16:creationId xmlns:a16="http://schemas.microsoft.com/office/drawing/2014/main" id="{C680C56A-4EF0-DF2C-F427-EFE8B1530360}"/>
                    </a:ext>
                  </a:extLst>
                </p:cNvPr>
                <p:cNvSpPr/>
                <p:nvPr/>
              </p:nvSpPr>
              <p:spPr>
                <a:xfrm>
                  <a:off x="833915" y="2138304"/>
                  <a:ext cx="2168217" cy="2171399"/>
                </a:xfrm>
                <a:prstGeom prst="pie">
                  <a:avLst>
                    <a:gd name="adj1" fmla="val 14298209"/>
                    <a:gd name="adj2" fmla="val 39400"/>
                  </a:avLst>
                </a:prstGeom>
                <a:solidFill>
                  <a:schemeClr val="accent1"/>
                </a:solidFill>
                <a:ln w="25400" cap="flat" cmpd="sng" algn="ctr">
                  <a:noFill/>
                  <a:prstDash val="solid"/>
                </a:ln>
                <a:effectLst/>
              </p:spPr>
              <p:txBody>
                <a:bodyPr rtlCol="0" anchor="ctr"/>
                <a:lstStyle/>
                <a:p>
                  <a:pPr algn="ctr" defTabSz="733982">
                    <a:defRPr/>
                  </a:pPr>
                  <a:endParaRPr lang="en-US" sz="11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9" name="Group 98">
                <a:extLst>
                  <a:ext uri="{FF2B5EF4-FFF2-40B4-BE49-F238E27FC236}">
                    <a16:creationId xmlns:a16="http://schemas.microsoft.com/office/drawing/2014/main" id="{BCC97D2F-4365-1C48-D91E-F2AB5D1F3099}"/>
                  </a:ext>
                </a:extLst>
              </p:cNvPr>
              <p:cNvGrpSpPr>
                <a:grpSpLocks/>
              </p:cNvGrpSpPr>
              <p:nvPr/>
            </p:nvGrpSpPr>
            <p:grpSpPr>
              <a:xfrm>
                <a:off x="6217288" y="3558189"/>
                <a:ext cx="705066" cy="715634"/>
                <a:chOff x="956037" y="2323698"/>
                <a:chExt cx="1839561" cy="1822071"/>
              </a:xfrm>
            </p:grpSpPr>
            <p:sp>
              <p:nvSpPr>
                <p:cNvPr id="106" name="TextBox 105">
                  <a:extLst>
                    <a:ext uri="{FF2B5EF4-FFF2-40B4-BE49-F238E27FC236}">
                      <a16:creationId xmlns:a16="http://schemas.microsoft.com/office/drawing/2014/main" id="{84A2C58D-BAB4-41BF-F92B-5A129CCE5F04}"/>
                    </a:ext>
                  </a:extLst>
                </p:cNvPr>
                <p:cNvSpPr txBox="1"/>
                <p:nvPr/>
              </p:nvSpPr>
              <p:spPr>
                <a:xfrm rot="403719">
                  <a:off x="976419" y="2323698"/>
                  <a:ext cx="1790411" cy="1790413"/>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Feasibility</a:t>
                  </a:r>
                </a:p>
              </p:txBody>
            </p:sp>
            <p:sp>
              <p:nvSpPr>
                <p:cNvPr id="107" name="TextBox 106">
                  <a:extLst>
                    <a:ext uri="{FF2B5EF4-FFF2-40B4-BE49-F238E27FC236}">
                      <a16:creationId xmlns:a16="http://schemas.microsoft.com/office/drawing/2014/main" id="{F67FFB91-057D-1731-780F-55CCB882B70A}"/>
                    </a:ext>
                  </a:extLst>
                </p:cNvPr>
                <p:cNvSpPr txBox="1"/>
                <p:nvPr/>
              </p:nvSpPr>
              <p:spPr>
                <a:xfrm rot="7799817">
                  <a:off x="1004529" y="2354700"/>
                  <a:ext cx="1742577" cy="1839561"/>
                </a:xfrm>
                <a:prstGeom prst="rect">
                  <a:avLst/>
                </a:prstGeom>
                <a:noFill/>
              </p:spPr>
              <p:txBody>
                <a:bodyPr spcFirstLastPara="1" wrap="square" lIns="0" tIns="0" rIns="0" bIns="0" numCol="1" rtlCol="0">
                  <a:prstTxWarp prst="textArchUp">
                    <a:avLst>
                      <a:gd name="adj" fmla="val 8491455"/>
                    </a:avLst>
                  </a:prstTxWarp>
                  <a:spAutoFit/>
                </a:bodyPr>
                <a:lstStyle/>
                <a:p>
                  <a:pPr defTabSz="733982">
                    <a:spcAft>
                      <a:spcPts val="241"/>
                    </a:spcAft>
                  </a:pPr>
                  <a:r>
                    <a:rPr lang="en-US" sz="700" b="1"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ability</a:t>
                  </a:r>
                </a:p>
              </p:txBody>
            </p:sp>
          </p:grpSp>
          <p:sp>
            <p:nvSpPr>
              <p:cNvPr id="100" name="Oval 99">
                <a:extLst>
                  <a:ext uri="{FF2B5EF4-FFF2-40B4-BE49-F238E27FC236}">
                    <a16:creationId xmlns:a16="http://schemas.microsoft.com/office/drawing/2014/main" id="{10D8FD8B-1E83-9418-69CF-892D864C6175}"/>
                  </a:ext>
                </a:extLst>
              </p:cNvPr>
              <p:cNvSpPr/>
              <p:nvPr/>
            </p:nvSpPr>
            <p:spPr>
              <a:xfrm>
                <a:off x="6264884" y="3607796"/>
                <a:ext cx="593318" cy="607990"/>
              </a:xfrm>
              <a:prstGeom prst="ellipse">
                <a:avLst/>
              </a:prstGeom>
              <a:solidFill>
                <a:srgbClr val="FFFFFF"/>
              </a:solidFill>
              <a:ln w="57150" cap="flat" cmpd="dbl" algn="ctr">
                <a:noFill/>
                <a:prstDash val="solid"/>
              </a:ln>
              <a:effectLst/>
            </p:spPr>
            <p:txBody>
              <a:bodyPr wrap="none" lIns="0" tIns="36696" rIns="0" bIns="36696" rtlCol="0" anchor="ctr"/>
              <a:lstStyle/>
              <a:p>
                <a:pPr algn="ctr" defTabSz="733982">
                  <a:defRPr/>
                </a:pPr>
                <a:endParaRPr lang="en-US" sz="800" b="1" kern="0"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1" name="Group 100">
                <a:extLst>
                  <a:ext uri="{FF2B5EF4-FFF2-40B4-BE49-F238E27FC236}">
                    <a16:creationId xmlns:a16="http://schemas.microsoft.com/office/drawing/2014/main" id="{925E439E-3592-4913-DF58-C889C7B9A5D4}"/>
                  </a:ext>
                </a:extLst>
              </p:cNvPr>
              <p:cNvGrpSpPr>
                <a:grpSpLocks/>
              </p:cNvGrpSpPr>
              <p:nvPr/>
            </p:nvGrpSpPr>
            <p:grpSpPr>
              <a:xfrm>
                <a:off x="6098963" y="3437245"/>
                <a:ext cx="923734" cy="949091"/>
                <a:chOff x="3400449" y="2471675"/>
                <a:chExt cx="1720673" cy="1720673"/>
              </a:xfrm>
            </p:grpSpPr>
            <p:sp>
              <p:nvSpPr>
                <p:cNvPr id="103" name="Oval 102">
                  <a:extLst>
                    <a:ext uri="{FF2B5EF4-FFF2-40B4-BE49-F238E27FC236}">
                      <a16:creationId xmlns:a16="http://schemas.microsoft.com/office/drawing/2014/main" id="{0D1BCE56-FDF9-8D8D-7BA6-F66E73E976E2}"/>
                    </a:ext>
                  </a:extLst>
                </p:cNvPr>
                <p:cNvSpPr/>
                <p:nvPr/>
              </p:nvSpPr>
              <p:spPr>
                <a:xfrm>
                  <a:off x="3400449" y="2471675"/>
                  <a:ext cx="1720673" cy="1720673"/>
                </a:xfrm>
                <a:prstGeom prst="ellips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 name="Isosceles Triangle 44">
                  <a:extLst>
                    <a:ext uri="{FF2B5EF4-FFF2-40B4-BE49-F238E27FC236}">
                      <a16:creationId xmlns:a16="http://schemas.microsoft.com/office/drawing/2014/main" id="{619878F1-31A4-3F9F-5956-A8A39BD5F166}"/>
                    </a:ext>
                  </a:extLst>
                </p:cNvPr>
                <p:cNvSpPr/>
                <p:nvPr/>
              </p:nvSpPr>
              <p:spPr>
                <a:xfrm rot="13510822">
                  <a:off x="4788169" y="3881861"/>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5" name="Isosceles Triangle 45">
                  <a:extLst>
                    <a:ext uri="{FF2B5EF4-FFF2-40B4-BE49-F238E27FC236}">
                      <a16:creationId xmlns:a16="http://schemas.microsoft.com/office/drawing/2014/main" id="{58214DAF-9CF8-A5C6-070C-B02009B6C89A}"/>
                    </a:ext>
                  </a:extLst>
                </p:cNvPr>
                <p:cNvSpPr/>
                <p:nvPr/>
              </p:nvSpPr>
              <p:spPr>
                <a:xfrm rot="3171219">
                  <a:off x="3663901" y="2584312"/>
                  <a:ext cx="148220" cy="1277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2" name="TextBox 101">
                <a:extLst>
                  <a:ext uri="{FF2B5EF4-FFF2-40B4-BE49-F238E27FC236}">
                    <a16:creationId xmlns:a16="http://schemas.microsoft.com/office/drawing/2014/main" id="{F2C15A7E-CD1C-0094-0EA2-942AEFCC9C07}"/>
                  </a:ext>
                </a:extLst>
              </p:cNvPr>
              <p:cNvSpPr txBox="1"/>
              <p:nvPr/>
            </p:nvSpPr>
            <p:spPr>
              <a:xfrm rot="15295618">
                <a:off x="6202336" y="3558919"/>
                <a:ext cx="703201" cy="686225"/>
              </a:xfrm>
              <a:prstGeom prst="rect">
                <a:avLst/>
              </a:prstGeom>
              <a:noFill/>
            </p:spPr>
            <p:txBody>
              <a:bodyPr spcFirstLastPara="1" wrap="square" lIns="0" tIns="0" rIns="0" bIns="0" numCol="1" rtlCol="0">
                <a:prstTxWarp prst="textArchUp">
                  <a:avLst>
                    <a:gd name="adj" fmla="val 7912934"/>
                  </a:avLst>
                </a:prstTxWarp>
                <a:spAutoFit/>
              </a:bodyPr>
              <a:lstStyle/>
              <a:p>
                <a:pPr defTabSz="733982">
                  <a:spcAft>
                    <a:spcPts val="241"/>
                  </a:spcAft>
                </a:pPr>
                <a:r>
                  <a:rPr lang="en-US" sz="700" b="1" dirty="0">
                    <a:solidFill>
                      <a:schemeClr val="accent2">
                        <a:lumMod val="50000"/>
                      </a:schemeClr>
                    </a:solidFill>
                    <a:latin typeface="Open Sans" panose="020B0606030504020204" pitchFamily="34" charset="0"/>
                    <a:ea typeface="Open Sans" panose="020B0606030504020204" pitchFamily="34" charset="0"/>
                    <a:cs typeface="Open Sans" panose="020B0606030504020204" pitchFamily="34" charset="0"/>
                  </a:rPr>
                  <a:t>Desirability</a:t>
                </a:r>
              </a:p>
            </p:txBody>
          </p:sp>
        </p:grpSp>
        <p:sp>
          <p:nvSpPr>
            <p:cNvPr id="88" name="TextBox 87">
              <a:extLst>
                <a:ext uri="{FF2B5EF4-FFF2-40B4-BE49-F238E27FC236}">
                  <a16:creationId xmlns:a16="http://schemas.microsoft.com/office/drawing/2014/main" id="{AA22CAD6-E309-1A13-BAB1-B0A3E7C188F6}"/>
                </a:ext>
              </a:extLst>
            </p:cNvPr>
            <p:cNvSpPr txBox="1">
              <a:spLocks/>
            </p:cNvSpPr>
            <p:nvPr/>
          </p:nvSpPr>
          <p:spPr>
            <a:xfrm>
              <a:off x="4011270" y="2953183"/>
              <a:ext cx="828700" cy="276999"/>
            </a:xfrm>
            <a:prstGeom prst="rect">
              <a:avLst/>
            </a:prstGeom>
            <a:noFill/>
          </p:spPr>
          <p:txBody>
            <a:bodyPr wrap="square" rtlCol="0">
              <a:spAutoFit/>
            </a:bodyPr>
            <a:lstStyle/>
            <a:p>
              <a:pPr algn="ctr"/>
              <a:r>
                <a:rPr lang="en-US" sz="1200" b="1" dirty="0">
                  <a:latin typeface="Open Sans" panose="020B0606030504020204" pitchFamily="34" charset="0"/>
                  <a:ea typeface="Open Sans" panose="020B0606030504020204" pitchFamily="34" charset="0"/>
                  <a:cs typeface="Open Sans" panose="020B0606030504020204" pitchFamily="34" charset="0"/>
                </a:rPr>
                <a:t>Solve</a:t>
              </a:r>
            </a:p>
          </p:txBody>
        </p:sp>
        <p:grpSp>
          <p:nvGrpSpPr>
            <p:cNvPr id="89" name="Group 88">
              <a:extLst>
                <a:ext uri="{FF2B5EF4-FFF2-40B4-BE49-F238E27FC236}">
                  <a16:creationId xmlns:a16="http://schemas.microsoft.com/office/drawing/2014/main" id="{DCCBD46D-F585-AF38-C0BE-D07F848B917D}"/>
                </a:ext>
              </a:extLst>
            </p:cNvPr>
            <p:cNvGrpSpPr>
              <a:grpSpLocks noChangeAspect="1"/>
            </p:cNvGrpSpPr>
            <p:nvPr/>
          </p:nvGrpSpPr>
          <p:grpSpPr>
            <a:xfrm>
              <a:off x="4349195" y="2809114"/>
              <a:ext cx="177572" cy="179858"/>
              <a:chOff x="2447926" y="4310063"/>
              <a:chExt cx="257175" cy="252413"/>
            </a:xfrm>
          </p:grpSpPr>
          <p:sp>
            <p:nvSpPr>
              <p:cNvPr id="90" name="Freeform 161">
                <a:extLst>
                  <a:ext uri="{FF2B5EF4-FFF2-40B4-BE49-F238E27FC236}">
                    <a16:creationId xmlns:a16="http://schemas.microsoft.com/office/drawing/2014/main" id="{54B63931-2645-A53E-0C1E-F114A6E5A001}"/>
                  </a:ext>
                </a:extLst>
              </p:cNvPr>
              <p:cNvSpPr>
                <a:spLocks/>
              </p:cNvSpPr>
              <p:nvPr/>
            </p:nvSpPr>
            <p:spPr bwMode="auto">
              <a:xfrm>
                <a:off x="2447926" y="4430713"/>
                <a:ext cx="33338" cy="14288"/>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162">
                <a:extLst>
                  <a:ext uri="{FF2B5EF4-FFF2-40B4-BE49-F238E27FC236}">
                    <a16:creationId xmlns:a16="http://schemas.microsoft.com/office/drawing/2014/main" id="{206032DE-8C15-0FC8-A76B-822A1FDD6D31}"/>
                  </a:ext>
                </a:extLst>
              </p:cNvPr>
              <p:cNvSpPr>
                <a:spLocks/>
              </p:cNvSpPr>
              <p:nvPr/>
            </p:nvSpPr>
            <p:spPr bwMode="auto">
              <a:xfrm>
                <a:off x="2484438" y="4344988"/>
                <a:ext cx="26988" cy="26988"/>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163">
                <a:extLst>
                  <a:ext uri="{FF2B5EF4-FFF2-40B4-BE49-F238E27FC236}">
                    <a16:creationId xmlns:a16="http://schemas.microsoft.com/office/drawing/2014/main" id="{E70B26D4-6266-5450-5B2D-6DCD1D1464D2}"/>
                  </a:ext>
                </a:extLst>
              </p:cNvPr>
              <p:cNvSpPr>
                <a:spLocks/>
              </p:cNvSpPr>
              <p:nvPr/>
            </p:nvSpPr>
            <p:spPr bwMode="auto">
              <a:xfrm>
                <a:off x="2568576" y="4310063"/>
                <a:ext cx="15875" cy="31750"/>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164">
                <a:extLst>
                  <a:ext uri="{FF2B5EF4-FFF2-40B4-BE49-F238E27FC236}">
                    <a16:creationId xmlns:a16="http://schemas.microsoft.com/office/drawing/2014/main" id="{DD430712-442F-5F2A-660A-218D73AD4EA8}"/>
                  </a:ext>
                </a:extLst>
              </p:cNvPr>
              <p:cNvSpPr>
                <a:spLocks/>
              </p:cNvSpPr>
              <p:nvPr/>
            </p:nvSpPr>
            <p:spPr bwMode="auto">
              <a:xfrm>
                <a:off x="2643188" y="4344988"/>
                <a:ext cx="25400" cy="26988"/>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165">
                <a:extLst>
                  <a:ext uri="{FF2B5EF4-FFF2-40B4-BE49-F238E27FC236}">
                    <a16:creationId xmlns:a16="http://schemas.microsoft.com/office/drawing/2014/main" id="{781FCB45-89F9-894D-3797-4A9A97693138}"/>
                  </a:ext>
                </a:extLst>
              </p:cNvPr>
              <p:cNvSpPr>
                <a:spLocks/>
              </p:cNvSpPr>
              <p:nvPr/>
            </p:nvSpPr>
            <p:spPr bwMode="auto">
              <a:xfrm>
                <a:off x="2671763" y="4430713"/>
                <a:ext cx="33338" cy="14288"/>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166">
                <a:extLst>
                  <a:ext uri="{FF2B5EF4-FFF2-40B4-BE49-F238E27FC236}">
                    <a16:creationId xmlns:a16="http://schemas.microsoft.com/office/drawing/2014/main" id="{E92DCDF8-71A2-4891-8270-77C818955418}"/>
                  </a:ext>
                </a:extLst>
              </p:cNvPr>
              <p:cNvSpPr>
                <a:spLocks/>
              </p:cNvSpPr>
              <p:nvPr/>
            </p:nvSpPr>
            <p:spPr bwMode="auto">
              <a:xfrm>
                <a:off x="2503488" y="4364038"/>
                <a:ext cx="146050" cy="153988"/>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167">
                <a:extLst>
                  <a:ext uri="{FF2B5EF4-FFF2-40B4-BE49-F238E27FC236}">
                    <a16:creationId xmlns:a16="http://schemas.microsoft.com/office/drawing/2014/main" id="{E3D5B479-D62F-A541-1068-953D557F5FA5}"/>
                  </a:ext>
                </a:extLst>
              </p:cNvPr>
              <p:cNvSpPr>
                <a:spLocks/>
              </p:cNvSpPr>
              <p:nvPr/>
            </p:nvSpPr>
            <p:spPr bwMode="auto">
              <a:xfrm>
                <a:off x="2546351" y="4533900"/>
                <a:ext cx="61913" cy="9525"/>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168">
                <a:extLst>
                  <a:ext uri="{FF2B5EF4-FFF2-40B4-BE49-F238E27FC236}">
                    <a16:creationId xmlns:a16="http://schemas.microsoft.com/office/drawing/2014/main" id="{7D63D43D-0531-FA7A-AAC0-360883A29336}"/>
                  </a:ext>
                </a:extLst>
              </p:cNvPr>
              <p:cNvSpPr>
                <a:spLocks/>
              </p:cNvSpPr>
              <p:nvPr/>
            </p:nvSpPr>
            <p:spPr bwMode="auto">
              <a:xfrm>
                <a:off x="2563813" y="4554538"/>
                <a:ext cx="25400" cy="7938"/>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11" name="TextBox 110">
            <a:extLst>
              <a:ext uri="{FF2B5EF4-FFF2-40B4-BE49-F238E27FC236}">
                <a16:creationId xmlns:a16="http://schemas.microsoft.com/office/drawing/2014/main" id="{2E669B6F-4D04-A01E-85A7-6B31FCADB412}"/>
              </a:ext>
            </a:extLst>
          </p:cNvPr>
          <p:cNvSpPr txBox="1">
            <a:spLocks/>
          </p:cNvSpPr>
          <p:nvPr/>
        </p:nvSpPr>
        <p:spPr>
          <a:xfrm>
            <a:off x="545742" y="3615529"/>
            <a:ext cx="1667421" cy="3144451"/>
          </a:xfrm>
          <a:prstGeom prst="rect">
            <a:avLst/>
          </a:prstGeom>
          <a:noFill/>
        </p:spPr>
        <p:txBody>
          <a:bodyPr wrap="square" rtlCol="0">
            <a:spAutoFit/>
          </a:bodyPr>
          <a:lstStyle/>
          <a:p>
            <a:pPr algn="ctr">
              <a:spcAft>
                <a:spcPts val="600"/>
              </a:spcAft>
            </a:pPr>
            <a:r>
              <a:rPr lang="en-US" sz="1000" b="1" dirty="0">
                <a:latin typeface="Open Sans" panose="020B0606030504020204" pitchFamily="34" charset="0"/>
                <a:ea typeface="Open Sans" panose="020B0606030504020204" pitchFamily="34" charset="0"/>
                <a:cs typeface="Open Sans" panose="020B0606030504020204" pitchFamily="34" charset="0"/>
              </a:rPr>
              <a:t>Exploring and agreeing the potential market opportunity</a:t>
            </a:r>
          </a:p>
          <a:p>
            <a:pPr marL="171450" indent="-171450" defTabSz="358772">
              <a:spcAft>
                <a:spcPts val="200"/>
              </a:spcAft>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Understanding the scale of ambition within the business</a:t>
            </a:r>
          </a:p>
          <a:p>
            <a:pPr marL="171450" indent="-171450" defTabSz="358772">
              <a:spcAft>
                <a:spcPts val="200"/>
              </a:spcAft>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Setting the innovation direction by determining where to focus in terms of customer segment, market opportunity, proposition etc.</a:t>
            </a:r>
          </a:p>
          <a:p>
            <a:pPr defTabSz="358772">
              <a:spcAft>
                <a:spcPts val="600"/>
              </a:spcAft>
            </a:pPr>
            <a:r>
              <a:rPr lang="en-US" sz="1000" b="1" dirty="0">
                <a:latin typeface="Open Sans" panose="020B0606030504020204" pitchFamily="34" charset="0"/>
                <a:ea typeface="Open Sans" panose="020B0606030504020204" pitchFamily="34" charset="0"/>
                <a:cs typeface="Open Sans" panose="020B0606030504020204" pitchFamily="34" charset="0"/>
              </a:rPr>
              <a:t>Outcome - A clearly defined opportunity space to go after</a:t>
            </a:r>
          </a:p>
          <a:p>
            <a:pPr defTabSz="358772">
              <a:spcAft>
                <a:spcPts val="600"/>
              </a:spcAft>
            </a:pPr>
            <a:endParaRPr lang="en-US" sz="1000" b="1" dirty="0">
              <a:latin typeface="Open Sans" panose="020B0606030504020204" pitchFamily="34" charset="0"/>
              <a:ea typeface="Open Sans" panose="020B0606030504020204" pitchFamily="34" charset="0"/>
              <a:cs typeface="Open Sans" panose="020B0606030504020204" pitchFamily="34" charset="0"/>
            </a:endParaRPr>
          </a:p>
          <a:p>
            <a:pPr>
              <a:spcAft>
                <a:spcPts val="600"/>
              </a:spcAft>
            </a:pP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2" name="TextBox 111">
            <a:extLst>
              <a:ext uri="{FF2B5EF4-FFF2-40B4-BE49-F238E27FC236}">
                <a16:creationId xmlns:a16="http://schemas.microsoft.com/office/drawing/2014/main" id="{CA633674-2076-A9ED-8FDF-82B7271B58F4}"/>
              </a:ext>
            </a:extLst>
          </p:cNvPr>
          <p:cNvSpPr txBox="1">
            <a:spLocks/>
          </p:cNvSpPr>
          <p:nvPr/>
        </p:nvSpPr>
        <p:spPr>
          <a:xfrm>
            <a:off x="2236636" y="3615529"/>
            <a:ext cx="1749579" cy="3400931"/>
          </a:xfrm>
          <a:prstGeom prst="rect">
            <a:avLst/>
          </a:prstGeom>
          <a:noFill/>
        </p:spPr>
        <p:txBody>
          <a:bodyPr wrap="square" rtlCol="0">
            <a:spAutoFit/>
          </a:bodyPr>
          <a:lstStyle/>
          <a:p>
            <a:pPr algn="ctr">
              <a:spcAft>
                <a:spcPts val="600"/>
              </a:spcAft>
            </a:pPr>
            <a:r>
              <a:rPr lang="en-US" sz="1000" b="1" dirty="0">
                <a:latin typeface="Open Sans" panose="020B0606030504020204" pitchFamily="34" charset="0"/>
                <a:ea typeface="Open Sans" panose="020B0606030504020204" pitchFamily="34" charset="0"/>
                <a:cs typeface="Open Sans" panose="020B0606030504020204" pitchFamily="34" charset="0"/>
              </a:rPr>
              <a:t>Understanding the market and business context, technical landscape and customer needs</a:t>
            </a:r>
          </a:p>
          <a:p>
            <a:pPr marL="171450" indent="-171450">
              <a:spcAft>
                <a:spcPts val="200"/>
              </a:spcAft>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Developing and testing possible propositions, rapidly iterating and refining the concepts to identify a winning proposition</a:t>
            </a:r>
          </a:p>
          <a:p>
            <a:pPr marL="171450" indent="-171450">
              <a:spcAft>
                <a:spcPts val="200"/>
              </a:spcAft>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Customer testing and market analysis alongside technical and business explorations</a:t>
            </a:r>
          </a:p>
          <a:p>
            <a:pPr>
              <a:spcAft>
                <a:spcPts val="200"/>
              </a:spcAft>
            </a:pPr>
            <a:r>
              <a:rPr lang="en-US" sz="1000" b="1" dirty="0">
                <a:latin typeface="Open Sans" panose="020B0606030504020204" pitchFamily="34" charset="0"/>
                <a:ea typeface="Open Sans" panose="020B0606030504020204" pitchFamily="34" charset="0"/>
                <a:cs typeface="Open Sans" panose="020B0606030504020204" pitchFamily="34" charset="0"/>
              </a:rPr>
              <a:t>Outcome - A validated,</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evidenced proposition concept</a:t>
            </a:r>
          </a:p>
          <a:p>
            <a:pPr>
              <a:spcAft>
                <a:spcPts val="600"/>
              </a:spcAft>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a:spcAft>
                <a:spcPts val="600"/>
              </a:spcAft>
            </a:pP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C5182734-0633-4C9F-19DA-FAE065619D0E}"/>
              </a:ext>
            </a:extLst>
          </p:cNvPr>
          <p:cNvSpPr txBox="1">
            <a:spLocks/>
          </p:cNvSpPr>
          <p:nvPr/>
        </p:nvSpPr>
        <p:spPr>
          <a:xfrm>
            <a:off x="4009688" y="3615529"/>
            <a:ext cx="1603412" cy="3529171"/>
          </a:xfrm>
          <a:prstGeom prst="rect">
            <a:avLst/>
          </a:prstGeom>
          <a:noFill/>
        </p:spPr>
        <p:txBody>
          <a:bodyPr wrap="square" rtlCol="0">
            <a:spAutoFit/>
          </a:bodyPr>
          <a:lstStyle/>
          <a:p>
            <a:pPr algn="ctr">
              <a:spcAft>
                <a:spcPts val="600"/>
              </a:spcAft>
            </a:pPr>
            <a:r>
              <a:rPr lang="en-US" sz="1000" b="1" dirty="0">
                <a:latin typeface="Open Sans" panose="020B0606030504020204" pitchFamily="34" charset="0"/>
                <a:ea typeface="Open Sans" panose="020B0606030504020204" pitchFamily="34" charset="0"/>
                <a:cs typeface="Open Sans" panose="020B0606030504020204" pitchFamily="34" charset="0"/>
              </a:rPr>
              <a:t>Refining the proposition and business model through prototypes and proof of concepts</a:t>
            </a:r>
          </a:p>
          <a:p>
            <a:pPr marL="171450" indent="-171450">
              <a:spcAft>
                <a:spcPts val="2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esigning the product &amp; customer experience, technical </a:t>
            </a:r>
            <a:r>
              <a:rPr lang="en-US" sz="1000" dirty="0">
                <a:latin typeface="Open Sans" panose="020B0606030504020204" pitchFamily="34" charset="0"/>
                <a:ea typeface="Open Sans" panose="020B0606030504020204" pitchFamily="34" charset="0"/>
                <a:cs typeface="Open Sans" panose="020B0606030504020204" pitchFamily="34" charset="0"/>
              </a:rPr>
              <a:t>architecture, delivery structures and business model</a:t>
            </a:r>
          </a:p>
          <a:p>
            <a:pPr marL="171450" indent="-171450">
              <a:spcAft>
                <a:spcPts val="2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Using prototypes to test and iterate with customers</a:t>
            </a:r>
          </a:p>
          <a:p>
            <a:pPr>
              <a:spcAft>
                <a:spcPts val="200"/>
              </a:spcAft>
            </a:pPr>
            <a:r>
              <a:rPr lang="en-US" sz="1000" b="1" dirty="0">
                <a:solidFill>
                  <a:srgbClr val="181C1E"/>
                </a:solidFill>
                <a:latin typeface="Open Sans" panose="020B0606030504020204" pitchFamily="34" charset="0"/>
                <a:ea typeface="Open Sans" panose="020B0606030504020204" pitchFamily="34" charset="0"/>
                <a:cs typeface="Open Sans" panose="020B0606030504020204" pitchFamily="34" charset="0"/>
                <a:sym typeface="Open Sans"/>
              </a:rPr>
              <a:t>Outcome - </a:t>
            </a:r>
            <a:r>
              <a:rPr lang="en-US" sz="1000" b="1" dirty="0">
                <a:latin typeface="Open Sans" panose="020B0606030504020204" pitchFamily="34" charset="0"/>
                <a:ea typeface="Open Sans" panose="020B0606030504020204" pitchFamily="34" charset="0"/>
                <a:cs typeface="Open Sans" panose="020B0606030504020204" pitchFamily="34" charset="0"/>
              </a:rPr>
              <a:t>A tangible prototype, delivery roadmap and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business plans</a:t>
            </a:r>
          </a:p>
          <a:p>
            <a:pPr>
              <a:spcAft>
                <a:spcPts val="200"/>
              </a:spcAft>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a:spcAft>
                <a:spcPts val="200"/>
              </a:spcAft>
            </a:pPr>
            <a:endParaRPr lang="en-US" sz="1000" b="1" dirty="0">
              <a:latin typeface="Open Sans" panose="020B0606030504020204" pitchFamily="34" charset="0"/>
              <a:ea typeface="Open Sans" panose="020B0606030504020204" pitchFamily="34" charset="0"/>
              <a:cs typeface="Open Sans" panose="020B0606030504020204" pitchFamily="34" charset="0"/>
            </a:endParaRPr>
          </a:p>
          <a:p>
            <a:pPr>
              <a:spcAft>
                <a:spcPts val="600"/>
              </a:spcAft>
            </a:pP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TextBox 113">
            <a:extLst>
              <a:ext uri="{FF2B5EF4-FFF2-40B4-BE49-F238E27FC236}">
                <a16:creationId xmlns:a16="http://schemas.microsoft.com/office/drawing/2014/main" id="{29C3240B-80FF-3466-1AD8-2A7815E8C900}"/>
              </a:ext>
            </a:extLst>
          </p:cNvPr>
          <p:cNvSpPr txBox="1">
            <a:spLocks/>
          </p:cNvSpPr>
          <p:nvPr/>
        </p:nvSpPr>
        <p:spPr>
          <a:xfrm>
            <a:off x="7324350" y="3615529"/>
            <a:ext cx="1931162" cy="2862322"/>
          </a:xfrm>
          <a:prstGeom prst="rect">
            <a:avLst/>
          </a:prstGeom>
          <a:noFill/>
        </p:spPr>
        <p:txBody>
          <a:bodyPr wrap="square" rtlCol="0">
            <a:spAutoFit/>
          </a:bodyPr>
          <a:lstStyle/>
          <a:p>
            <a:pPr algn="ctr">
              <a:spcAft>
                <a:spcPts val="600"/>
              </a:spcAft>
            </a:pPr>
            <a:r>
              <a:rPr lang="en-US" sz="1000" b="1" dirty="0">
                <a:latin typeface="Open Sans" panose="020B0606030504020204" pitchFamily="34" charset="0"/>
                <a:ea typeface="Open Sans" panose="020B0606030504020204" pitchFamily="34" charset="0"/>
                <a:cs typeface="Open Sans" panose="020B0606030504020204" pitchFamily="34" charset="0"/>
              </a:rPr>
              <a:t>Scale / integrate the new business and continuously improve performance</a:t>
            </a:r>
          </a:p>
          <a:p>
            <a:pPr marL="171450" indent="-171450">
              <a:spcAft>
                <a:spcPts val="600"/>
              </a:spcAft>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Learning from the MVP and deciding on our next step (launch to the full market/release the next stage of features and enhancements/bring the new proposition into the core business</a:t>
            </a:r>
          </a:p>
          <a:p>
            <a:pPr defTabSz="358772">
              <a:spcAft>
                <a:spcPts val="600"/>
              </a:spcAft>
            </a:pPr>
            <a:r>
              <a:rPr lang="en-US" sz="1000" b="1" dirty="0">
                <a:latin typeface="Open Sans" panose="020B0606030504020204" pitchFamily="34" charset="0"/>
                <a:ea typeface="Open Sans" panose="020B0606030504020204" pitchFamily="34" charset="0"/>
                <a:cs typeface="Open Sans" panose="020B0606030504020204" pitchFamily="34" charset="0"/>
              </a:rPr>
              <a:t>Outcome - Rapid global scaling and future roadmap</a:t>
            </a:r>
          </a:p>
          <a:p>
            <a:pPr>
              <a:spcAft>
                <a:spcPts val="600"/>
              </a:spcAft>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a:spcAft>
                <a:spcPts val="600"/>
              </a:spcAft>
            </a:pP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5" name="TextBox 114">
            <a:extLst>
              <a:ext uri="{FF2B5EF4-FFF2-40B4-BE49-F238E27FC236}">
                <a16:creationId xmlns:a16="http://schemas.microsoft.com/office/drawing/2014/main" id="{66667BDD-8DD4-A1F2-4C06-824AE7C04088}"/>
              </a:ext>
            </a:extLst>
          </p:cNvPr>
          <p:cNvSpPr txBox="1">
            <a:spLocks/>
          </p:cNvSpPr>
          <p:nvPr/>
        </p:nvSpPr>
        <p:spPr>
          <a:xfrm>
            <a:off x="5636573" y="3615529"/>
            <a:ext cx="1664304" cy="3247043"/>
          </a:xfrm>
          <a:prstGeom prst="rect">
            <a:avLst/>
          </a:prstGeom>
          <a:noFill/>
        </p:spPr>
        <p:txBody>
          <a:bodyPr wrap="square" rtlCol="0">
            <a:spAutoFit/>
          </a:bodyPr>
          <a:lstStyle/>
          <a:p>
            <a:pPr algn="ctr">
              <a:spcAft>
                <a:spcPts val="600"/>
              </a:spcAft>
            </a:pPr>
            <a:r>
              <a:rPr lang="en-US" sz="1000" b="1" dirty="0">
                <a:latin typeface="Open Sans" panose="020B0606030504020204" pitchFamily="34" charset="0"/>
                <a:ea typeface="Open Sans" panose="020B0606030504020204" pitchFamily="34" charset="0"/>
                <a:cs typeface="Open Sans" panose="020B0606030504020204" pitchFamily="34" charset="0"/>
              </a:rPr>
              <a:t>Developing a workable MVP with validated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demand &amp; business model</a:t>
            </a:r>
          </a:p>
          <a:p>
            <a:pPr marL="171450" indent="-171450">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Beginning the journey to launch the MVP through agile design and build sprints</a:t>
            </a:r>
          </a:p>
          <a:p>
            <a:pPr marL="171450" indent="-171450">
              <a:spcAft>
                <a:spcPts val="600"/>
              </a:spcAft>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Market and customer validation to prove market traction and increase confidence in the solution</a:t>
            </a:r>
          </a:p>
          <a:p>
            <a:pPr defTabSz="358772">
              <a:spcAft>
                <a:spcPts val="600"/>
              </a:spcAft>
            </a:pPr>
            <a:r>
              <a:rPr lang="en-US" sz="1000" b="1" dirty="0">
                <a:latin typeface="Open Sans" panose="020B0606030504020204" pitchFamily="34" charset="0"/>
                <a:ea typeface="Open Sans" panose="020B0606030504020204" pitchFamily="34" charset="0"/>
                <a:cs typeface="Open Sans" panose="020B0606030504020204" pitchFamily="34" charset="0"/>
              </a:rPr>
              <a:t>Outcome - A launchable product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and business model</a:t>
            </a:r>
          </a:p>
          <a:p>
            <a:pPr>
              <a:spcAft>
                <a:spcPts val="600"/>
              </a:spcAft>
            </a:pPr>
            <a:endPar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spcAft>
                <a:spcPts val="600"/>
              </a:spcAft>
            </a:pP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6" name="Arc 115">
            <a:extLst>
              <a:ext uri="{FF2B5EF4-FFF2-40B4-BE49-F238E27FC236}">
                <a16:creationId xmlns:a16="http://schemas.microsoft.com/office/drawing/2014/main" id="{F2CE376A-11B8-8762-D841-899D11EC7078}"/>
              </a:ext>
            </a:extLst>
          </p:cNvPr>
          <p:cNvSpPr/>
          <p:nvPr/>
        </p:nvSpPr>
        <p:spPr>
          <a:xfrm rot="5210484">
            <a:off x="9567756" y="2824134"/>
            <a:ext cx="1829891" cy="2366466"/>
          </a:xfrm>
          <a:prstGeom prst="arc">
            <a:avLst/>
          </a:prstGeom>
          <a:ln w="317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6009980"/>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73EA2107-514D-7974-CD61-51DEED4763B1}"/>
              </a:ext>
            </a:extLst>
          </p:cNvPr>
          <p:cNvGraphicFramePr>
            <a:graphicFrameLocks noChangeAspect="1"/>
          </p:cNvGraphicFramePr>
          <p:nvPr>
            <p:custDataLst>
              <p:tags r:id="rId1"/>
            </p:custDataLst>
            <p:extLst>
              <p:ext uri="{D42A27DB-BD31-4B8C-83A1-F6EECF244321}">
                <p14:modId xmlns:p14="http://schemas.microsoft.com/office/powerpoint/2010/main" val="18903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36" name="think-cell data - do not delete" hidden="1">
                        <a:extLst>
                          <a:ext uri="{FF2B5EF4-FFF2-40B4-BE49-F238E27FC236}">
                            <a16:creationId xmlns:a16="http://schemas.microsoft.com/office/drawing/2014/main" id="{73EA2107-514D-7974-CD61-51DEED4763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460766D-662F-5C99-54A5-F46FF99DB027}"/>
              </a:ext>
            </a:extLst>
          </p:cNvPr>
          <p:cNvSpPr>
            <a:spLocks noGrp="1"/>
          </p:cNvSpPr>
          <p:nvPr>
            <p:ph type="body" sz="quarter" idx="22"/>
          </p:nvPr>
        </p:nvSpPr>
        <p:spPr/>
        <p:txBody>
          <a:bodyPr/>
          <a:lstStyle/>
          <a:p>
            <a:r>
              <a:rPr lang="en-US" sz="1800" dirty="0">
                <a:solidFill>
                  <a:schemeClr val="tx2"/>
                </a:solidFill>
                <a:latin typeface="Open Sans" panose="020B0606030504020204" pitchFamily="34" charset="0"/>
                <a:ea typeface="Open Sans" panose="020B0606030504020204" pitchFamily="34" charset="0"/>
                <a:cs typeface="Open Sans" panose="020B0606030504020204" pitchFamily="34" charset="0"/>
              </a:rPr>
              <a:t>Success of new products relies on smart connections and intentional arrangement of services, spaces and objects — real or virtual</a:t>
            </a:r>
            <a:endParaRPr lang="en-GB" dirty="0"/>
          </a:p>
        </p:txBody>
      </p:sp>
      <p:sp>
        <p:nvSpPr>
          <p:cNvPr id="3" name="Title 2">
            <a:extLst>
              <a:ext uri="{FF2B5EF4-FFF2-40B4-BE49-F238E27FC236}">
                <a16:creationId xmlns:a16="http://schemas.microsoft.com/office/drawing/2014/main" id="{2179B358-2827-1B47-406A-FDF093F17021}"/>
              </a:ext>
            </a:extLst>
          </p:cNvPr>
          <p:cNvSpPr>
            <a:spLocks noGrp="1"/>
          </p:cNvSpPr>
          <p:nvPr>
            <p:ph type="title"/>
          </p:nvPr>
        </p:nvSpPr>
        <p:spPr/>
        <p:txBody>
          <a:bodyPr vert="horz"/>
          <a:lstStyle/>
          <a:p>
            <a:r>
              <a:rPr lang="en-US" dirty="0"/>
              <a:t>Connected Design for Products</a:t>
            </a:r>
            <a:br>
              <a:rPr lang="en-US" dirty="0"/>
            </a:br>
            <a:endParaRPr lang="en-GB" dirty="0"/>
          </a:p>
        </p:txBody>
      </p:sp>
      <p:sp>
        <p:nvSpPr>
          <p:cNvPr id="4" name="Rectangle 3">
            <a:extLst>
              <a:ext uri="{FF2B5EF4-FFF2-40B4-BE49-F238E27FC236}">
                <a16:creationId xmlns:a16="http://schemas.microsoft.com/office/drawing/2014/main" id="{D335BDC5-ED6D-9666-B136-54B79507500D}"/>
              </a:ext>
            </a:extLst>
          </p:cNvPr>
          <p:cNvSpPr/>
          <p:nvPr/>
        </p:nvSpPr>
        <p:spPr bwMode="gray">
          <a:xfrm>
            <a:off x="700630" y="1586147"/>
            <a:ext cx="2470202" cy="500514"/>
          </a:xfrm>
          <a:prstGeom prst="rect">
            <a:avLst/>
          </a:prstGeom>
          <a:solidFill>
            <a:schemeClr val="accent1"/>
          </a:solidFill>
          <a:ln w="19050" algn="ctr">
            <a:noFill/>
            <a:miter lim="800000"/>
            <a:headEnd/>
            <a:tailEnd/>
          </a:ln>
        </p:spPr>
        <p:txBody>
          <a:bodyPr wrap="square" lIns="0" tIns="0" rIns="0" bIns="0" rtlCol="0" anchor="ctr"/>
          <a:lstStyle/>
          <a:p>
            <a:pPr algn="ctr">
              <a:spcBef>
                <a:spcPts val="600"/>
              </a:spcBef>
              <a:buSzPct val="100000"/>
            </a:pPr>
            <a:r>
              <a:rPr lang="en-US" sz="1400" b="1" dirty="0">
                <a:latin typeface="Open Sans" panose="020B0606030504020204" pitchFamily="34" charset="0"/>
                <a:ea typeface="Open Sans" panose="020B0606030504020204" pitchFamily="34" charset="0"/>
                <a:cs typeface="Open Sans" panose="020B0606030504020204" pitchFamily="34" charset="0"/>
              </a:rPr>
              <a:t>UNDERSTAND THE USERVERSE</a:t>
            </a:r>
          </a:p>
        </p:txBody>
      </p:sp>
      <p:sp>
        <p:nvSpPr>
          <p:cNvPr id="5" name="Rectangle 4">
            <a:extLst>
              <a:ext uri="{FF2B5EF4-FFF2-40B4-BE49-F238E27FC236}">
                <a16:creationId xmlns:a16="http://schemas.microsoft.com/office/drawing/2014/main" id="{BBC53A00-4122-CC81-2581-A0369B59A3FD}"/>
              </a:ext>
            </a:extLst>
          </p:cNvPr>
          <p:cNvSpPr/>
          <p:nvPr/>
        </p:nvSpPr>
        <p:spPr bwMode="gray">
          <a:xfrm>
            <a:off x="691703" y="1586145"/>
            <a:ext cx="2470202" cy="3728032"/>
          </a:xfrm>
          <a:prstGeom prst="rect">
            <a:avLst/>
          </a:prstGeom>
          <a:no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1C3B63AE-23AC-47BD-89FE-8D0D5E9A1214}"/>
              </a:ext>
            </a:extLst>
          </p:cNvPr>
          <p:cNvSpPr/>
          <p:nvPr/>
        </p:nvSpPr>
        <p:spPr bwMode="gray">
          <a:xfrm>
            <a:off x="3473315" y="1586149"/>
            <a:ext cx="2471673" cy="500514"/>
          </a:xfrm>
          <a:prstGeom prst="rect">
            <a:avLst/>
          </a:prstGeom>
          <a:solidFill>
            <a:schemeClr val="accent4">
              <a:lumMod val="40000"/>
              <a:lumOff val="60000"/>
            </a:schemeClr>
          </a:solidFill>
          <a:ln w="19050" algn="ctr">
            <a:noFill/>
            <a:miter lim="800000"/>
            <a:headEnd/>
            <a:tailEnd/>
          </a:ln>
        </p:spPr>
        <p:txBody>
          <a:bodyPr wrap="square" lIns="0" tIns="0" rIns="0" bIns="0" rtlCol="0" anchor="ctr"/>
          <a:lstStyle/>
          <a:p>
            <a:pPr algn="ctr">
              <a:spcBef>
                <a:spcPts val="600"/>
              </a:spcBef>
              <a:buSzPct val="100000"/>
            </a:pPr>
            <a:r>
              <a:rPr lang="en-US" sz="1400" b="1" dirty="0">
                <a:latin typeface="Open Sans" panose="020B0606030504020204" pitchFamily="34" charset="0"/>
                <a:ea typeface="Open Sans" panose="020B0606030504020204" pitchFamily="34" charset="0"/>
                <a:cs typeface="Open Sans" panose="020B0606030504020204" pitchFamily="34" charset="0"/>
              </a:rPr>
              <a:t>CURATE AND CREATE</a:t>
            </a:r>
          </a:p>
        </p:txBody>
      </p:sp>
      <p:sp>
        <p:nvSpPr>
          <p:cNvPr id="7" name="Rectangle 6">
            <a:extLst>
              <a:ext uri="{FF2B5EF4-FFF2-40B4-BE49-F238E27FC236}">
                <a16:creationId xmlns:a16="http://schemas.microsoft.com/office/drawing/2014/main" id="{9B91B68B-F540-42B1-995F-E015F5C903CB}"/>
              </a:ext>
            </a:extLst>
          </p:cNvPr>
          <p:cNvSpPr/>
          <p:nvPr/>
        </p:nvSpPr>
        <p:spPr bwMode="gray">
          <a:xfrm>
            <a:off x="3468969" y="1586145"/>
            <a:ext cx="2470202" cy="3728032"/>
          </a:xfrm>
          <a:prstGeom prst="rect">
            <a:avLst/>
          </a:prstGeom>
          <a:no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DC399117-11D9-CE71-8A33-2FB64F2043C7}"/>
              </a:ext>
            </a:extLst>
          </p:cNvPr>
          <p:cNvSpPr/>
          <p:nvPr/>
        </p:nvSpPr>
        <p:spPr bwMode="gray">
          <a:xfrm>
            <a:off x="6243125" y="1586150"/>
            <a:ext cx="2471673" cy="500514"/>
          </a:xfrm>
          <a:prstGeom prst="rect">
            <a:avLst/>
          </a:prstGeom>
          <a:solidFill>
            <a:schemeClr val="accent3">
              <a:lumMod val="40000"/>
              <a:lumOff val="60000"/>
            </a:schemeClr>
          </a:solidFill>
          <a:ln w="19050" algn="ctr">
            <a:noFill/>
            <a:miter lim="800000"/>
            <a:headEnd/>
            <a:tailEnd/>
          </a:ln>
        </p:spPr>
        <p:txBody>
          <a:bodyPr wrap="square" lIns="0" tIns="0" rIns="0" bIns="0" rtlCol="0" anchor="ctr"/>
          <a:lstStyle/>
          <a:p>
            <a:pPr algn="ctr">
              <a:spcBef>
                <a:spcPts val="600"/>
              </a:spcBef>
              <a:buSzPct val="100000"/>
            </a:pPr>
            <a:r>
              <a:rPr lang="en-US" sz="1400" b="1" dirty="0">
                <a:latin typeface="Open Sans" panose="020B0606030504020204" pitchFamily="34" charset="0"/>
                <a:ea typeface="Open Sans" panose="020B0606030504020204" pitchFamily="34" charset="0"/>
                <a:cs typeface="Open Sans" panose="020B0606030504020204" pitchFamily="34" charset="0"/>
              </a:rPr>
              <a:t>CONNECT DIFFERENT ELEMENTS</a:t>
            </a:r>
          </a:p>
        </p:txBody>
      </p:sp>
      <p:sp>
        <p:nvSpPr>
          <p:cNvPr id="9" name="Rectangle 8">
            <a:extLst>
              <a:ext uri="{FF2B5EF4-FFF2-40B4-BE49-F238E27FC236}">
                <a16:creationId xmlns:a16="http://schemas.microsoft.com/office/drawing/2014/main" id="{F64A853F-5055-D802-336A-671BDF8F926A}"/>
              </a:ext>
            </a:extLst>
          </p:cNvPr>
          <p:cNvSpPr/>
          <p:nvPr/>
        </p:nvSpPr>
        <p:spPr bwMode="gray">
          <a:xfrm>
            <a:off x="6250788" y="1586145"/>
            <a:ext cx="2470202" cy="3728032"/>
          </a:xfrm>
          <a:prstGeom prst="rect">
            <a:avLst/>
          </a:prstGeom>
          <a:no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5395ECD7-A243-DDA0-E10A-D042BE0C56BF}"/>
              </a:ext>
            </a:extLst>
          </p:cNvPr>
          <p:cNvSpPr/>
          <p:nvPr/>
        </p:nvSpPr>
        <p:spPr bwMode="gray">
          <a:xfrm>
            <a:off x="9019127" y="1586153"/>
            <a:ext cx="2471673" cy="500514"/>
          </a:xfrm>
          <a:prstGeom prst="rect">
            <a:avLst/>
          </a:prstGeom>
          <a:solidFill>
            <a:schemeClr val="accent1">
              <a:lumMod val="60000"/>
              <a:lumOff val="40000"/>
            </a:schemeClr>
          </a:solidFill>
          <a:ln w="19050" algn="ctr">
            <a:noFill/>
            <a:miter lim="800000"/>
            <a:headEnd/>
            <a:tailEnd/>
          </a:ln>
        </p:spPr>
        <p:txBody>
          <a:bodyPr wrap="square" lIns="0" tIns="0" rIns="0" bIns="0" rtlCol="0" anchor="ctr"/>
          <a:lstStyle/>
          <a:p>
            <a:pPr algn="ctr">
              <a:spcBef>
                <a:spcPts val="600"/>
              </a:spcBef>
              <a:buSzPct val="100000"/>
            </a:pPr>
            <a:r>
              <a:rPr lang="en-US" sz="1400" b="1" dirty="0">
                <a:latin typeface="Open Sans" panose="020B0606030504020204" pitchFamily="34" charset="0"/>
                <a:ea typeface="Open Sans" panose="020B0606030504020204" pitchFamily="34" charset="0"/>
                <a:cs typeface="Open Sans" panose="020B0606030504020204" pitchFamily="34" charset="0"/>
              </a:rPr>
              <a:t>CONTINUE TO EVOLVE</a:t>
            </a:r>
          </a:p>
        </p:txBody>
      </p:sp>
      <p:sp>
        <p:nvSpPr>
          <p:cNvPr id="11" name="Rectangle 10">
            <a:extLst>
              <a:ext uri="{FF2B5EF4-FFF2-40B4-BE49-F238E27FC236}">
                <a16:creationId xmlns:a16="http://schemas.microsoft.com/office/drawing/2014/main" id="{549DEE55-EF6B-A9DE-2A2F-EA7F6FEE4001}"/>
              </a:ext>
            </a:extLst>
          </p:cNvPr>
          <p:cNvSpPr/>
          <p:nvPr/>
        </p:nvSpPr>
        <p:spPr bwMode="gray">
          <a:xfrm>
            <a:off x="9030095" y="1586145"/>
            <a:ext cx="2470202" cy="3728032"/>
          </a:xfrm>
          <a:prstGeom prst="rect">
            <a:avLst/>
          </a:prstGeom>
          <a:noFill/>
          <a:ln w="19050" algn="ctr">
            <a:no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11">
            <a:extLst>
              <a:ext uri="{FF2B5EF4-FFF2-40B4-BE49-F238E27FC236}">
                <a16:creationId xmlns:a16="http://schemas.microsoft.com/office/drawing/2014/main" id="{7465808B-874C-A34B-FFDD-BC7C7B7D0EC0}"/>
              </a:ext>
            </a:extLst>
          </p:cNvPr>
          <p:cNvGrpSpPr/>
          <p:nvPr/>
        </p:nvGrpSpPr>
        <p:grpSpPr>
          <a:xfrm>
            <a:off x="877006" y="3173481"/>
            <a:ext cx="2102712" cy="2917765"/>
            <a:chOff x="932648" y="4686823"/>
            <a:chExt cx="2102712" cy="2917765"/>
          </a:xfrm>
        </p:grpSpPr>
        <p:pic>
          <p:nvPicPr>
            <p:cNvPr id="13" name="Picture 12">
              <a:extLst>
                <a:ext uri="{FF2B5EF4-FFF2-40B4-BE49-F238E27FC236}">
                  <a16:creationId xmlns:a16="http://schemas.microsoft.com/office/drawing/2014/main" id="{F77750BD-E787-49A5-D0C7-903A525FDED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121" y="4917585"/>
              <a:ext cx="2029815" cy="1137251"/>
            </a:xfrm>
            <a:prstGeom prst="rect">
              <a:avLst/>
            </a:prstGeom>
            <a:ln>
              <a:noFill/>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C009B140-252B-442F-7E65-86E0989E36EA}"/>
                </a:ext>
              </a:extLst>
            </p:cNvPr>
            <p:cNvSpPr txBox="1"/>
            <p:nvPr/>
          </p:nvSpPr>
          <p:spPr>
            <a:xfrm>
              <a:off x="932648" y="4686823"/>
              <a:ext cx="2086070" cy="264356"/>
            </a:xfrm>
            <a:prstGeom prst="rect">
              <a:avLst/>
            </a:prstGeom>
            <a:noFill/>
            <a:ln>
              <a:noFill/>
            </a:ln>
          </p:spPr>
          <p:txBody>
            <a:bodyPr wrap="square" lIns="0" tIns="0" rIns="0" bIns="0" rtlCol="0" anchor="t">
              <a:noAutofit/>
            </a:bodyPr>
            <a:lstStyle/>
            <a:p>
              <a:pPr>
                <a:spcBef>
                  <a:spcPts val="600"/>
                </a:spcBef>
                <a:buSzPct val="100000"/>
              </a:pPr>
              <a:r>
                <a:rPr lang="en-US" sz="1100" b="1" dirty="0" err="1">
                  <a:latin typeface="Open Sans" panose="020B0606030504020204" pitchFamily="34" charset="0"/>
                  <a:ea typeface="Open Sans" panose="020B0606030504020204" pitchFamily="34" charset="0"/>
                  <a:cs typeface="Open Sans" panose="020B0606030504020204" pitchFamily="34" charset="0"/>
                </a:rPr>
                <a:t>Userverse</a:t>
              </a:r>
              <a:r>
                <a:rPr lang="en-US" sz="1100" b="1" dirty="0">
                  <a:latin typeface="Open Sans" panose="020B0606030504020204" pitchFamily="34" charset="0"/>
                  <a:ea typeface="Open Sans" panose="020B0606030504020204" pitchFamily="34" charset="0"/>
                  <a:cs typeface="Open Sans" panose="020B0606030504020204" pitchFamily="34" charset="0"/>
                </a:rPr>
                <a:t> data</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03950952-10E8-8AE9-0DB1-6B2D24E852F0}"/>
                </a:ext>
              </a:extLst>
            </p:cNvPr>
            <p:cNvSpPr txBox="1"/>
            <p:nvPr/>
          </p:nvSpPr>
          <p:spPr>
            <a:xfrm>
              <a:off x="949290" y="6230516"/>
              <a:ext cx="2086070" cy="264356"/>
            </a:xfrm>
            <a:prstGeom prst="rect">
              <a:avLst/>
            </a:prstGeom>
            <a:noFill/>
            <a:ln>
              <a:noFill/>
            </a:ln>
          </p:spPr>
          <p:txBody>
            <a:bodyPr wrap="square" lIns="0" tIns="0" rIns="0" bIns="0" rtlCol="0" anchor="t">
              <a:noAutofit/>
            </a:bodyPr>
            <a:lstStyle/>
            <a:p>
              <a:pPr>
                <a:spcBef>
                  <a:spcPts val="600"/>
                </a:spcBef>
                <a:buSzPct val="100000"/>
              </a:pPr>
              <a:r>
                <a:rPr lang="en-US" sz="1100" b="1" dirty="0" err="1">
                  <a:latin typeface="Open Sans" panose="020B0606030504020204" pitchFamily="34" charset="0"/>
                  <a:ea typeface="Open Sans" panose="020B0606030504020204" pitchFamily="34" charset="0"/>
                  <a:cs typeface="Open Sans" panose="020B0606030504020204" pitchFamily="34" charset="0"/>
                </a:rPr>
                <a:t>Userverse</a:t>
              </a:r>
              <a:r>
                <a:rPr lang="en-US" sz="1100" b="1" dirty="0">
                  <a:latin typeface="Open Sans" panose="020B0606030504020204" pitchFamily="34" charset="0"/>
                  <a:ea typeface="Open Sans" panose="020B0606030504020204" pitchFamily="34" charset="0"/>
                  <a:cs typeface="Open Sans" panose="020B0606030504020204" pitchFamily="34" charset="0"/>
                </a:rPr>
                <a:t> map</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a:extLst>
                <a:ext uri="{FF2B5EF4-FFF2-40B4-BE49-F238E27FC236}">
                  <a16:creationId xmlns:a16="http://schemas.microsoft.com/office/drawing/2014/main" id="{498A8E91-6095-6C6F-705D-55CDE3DE989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33955" y="6467338"/>
              <a:ext cx="2030145" cy="1137250"/>
            </a:xfrm>
            <a:prstGeom prst="rect">
              <a:avLst/>
            </a:prstGeom>
            <a:ln>
              <a:noFill/>
            </a:ln>
            <a:effectLst>
              <a:outerShdw blurRad="50800" dist="38100" dir="2700000" algn="tl" rotWithShape="0">
                <a:prstClr val="black">
                  <a:alpha val="40000"/>
                </a:prstClr>
              </a:outerShdw>
            </a:effectLst>
          </p:spPr>
        </p:pic>
      </p:grpSp>
      <p:grpSp>
        <p:nvGrpSpPr>
          <p:cNvPr id="17" name="Group 16">
            <a:extLst>
              <a:ext uri="{FF2B5EF4-FFF2-40B4-BE49-F238E27FC236}">
                <a16:creationId xmlns:a16="http://schemas.microsoft.com/office/drawing/2014/main" id="{A5C71C0A-8B73-7DAA-EB8F-25EE42A5D321}"/>
              </a:ext>
            </a:extLst>
          </p:cNvPr>
          <p:cNvGrpSpPr/>
          <p:nvPr/>
        </p:nvGrpSpPr>
        <p:grpSpPr>
          <a:xfrm>
            <a:off x="3595459" y="4007812"/>
            <a:ext cx="2072027" cy="1349609"/>
            <a:chOff x="3723541" y="4680893"/>
            <a:chExt cx="2072027" cy="1349609"/>
          </a:xfrm>
        </p:grpSpPr>
        <p:pic>
          <p:nvPicPr>
            <p:cNvPr id="18" name="Picture 17">
              <a:extLst>
                <a:ext uri="{FF2B5EF4-FFF2-40B4-BE49-F238E27FC236}">
                  <a16:creationId xmlns:a16="http://schemas.microsoft.com/office/drawing/2014/main" id="{8ED0560C-67AA-C9C0-4EE9-630C8F9F22A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23541" y="4897422"/>
              <a:ext cx="2014194" cy="1133080"/>
            </a:xfrm>
            <a:prstGeom prst="rect">
              <a:avLst/>
            </a:prstGeom>
            <a:ln>
              <a:no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E5D2323F-D01A-EB60-AE75-6314BA319EF4}"/>
                </a:ext>
              </a:extLst>
            </p:cNvPr>
            <p:cNvSpPr txBox="1"/>
            <p:nvPr/>
          </p:nvSpPr>
          <p:spPr>
            <a:xfrm>
              <a:off x="3725889" y="4680893"/>
              <a:ext cx="2069679" cy="246550"/>
            </a:xfrm>
            <a:prstGeom prst="rect">
              <a:avLst/>
            </a:prstGeom>
            <a:noFill/>
            <a:ln>
              <a:noFill/>
            </a:ln>
          </p:spPr>
          <p:txBody>
            <a:bodyPr wrap="square" lIns="0" tIns="0" rIns="0" bIns="0" rtlCol="0" anchor="t">
              <a:noAutofit/>
            </a:bodyPr>
            <a:lstStyle/>
            <a:p>
              <a:pPr>
                <a:spcBef>
                  <a:spcPts val="600"/>
                </a:spcBef>
                <a:buSzPct val="100000"/>
              </a:pPr>
              <a:r>
                <a:rPr lang="en-US" sz="1100" b="1" dirty="0">
                  <a:latin typeface="Open Sans" panose="020B0606030504020204" pitchFamily="34" charset="0"/>
                  <a:ea typeface="Open Sans" panose="020B0606030504020204" pitchFamily="34" charset="0"/>
                  <a:cs typeface="Open Sans" panose="020B0606030504020204" pitchFamily="34" charset="0"/>
                </a:rPr>
                <a:t>Experience plan</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E66808E6-0F76-2B0C-5E89-E6E5B1D71CFE}"/>
              </a:ext>
            </a:extLst>
          </p:cNvPr>
          <p:cNvGrpSpPr/>
          <p:nvPr/>
        </p:nvGrpSpPr>
        <p:grpSpPr>
          <a:xfrm>
            <a:off x="6400440" y="3786796"/>
            <a:ext cx="2069679" cy="1337747"/>
            <a:chOff x="6522467" y="4693850"/>
            <a:chExt cx="2069679" cy="1337747"/>
          </a:xfrm>
        </p:grpSpPr>
        <p:pic>
          <p:nvPicPr>
            <p:cNvPr id="21" name="Picture 20">
              <a:extLst>
                <a:ext uri="{FF2B5EF4-FFF2-40B4-BE49-F238E27FC236}">
                  <a16:creationId xmlns:a16="http://schemas.microsoft.com/office/drawing/2014/main" id="{A9E43C18-715C-7928-2182-471E6FEB3C9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523162" y="4898517"/>
              <a:ext cx="2018107" cy="1133080"/>
            </a:xfrm>
            <a:prstGeom prst="rect">
              <a:avLst/>
            </a:prstGeom>
            <a:ln>
              <a:noFill/>
            </a:ln>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6F7368A7-C714-7A4C-63B9-FF4DE7FEB164}"/>
                </a:ext>
              </a:extLst>
            </p:cNvPr>
            <p:cNvSpPr txBox="1"/>
            <p:nvPr/>
          </p:nvSpPr>
          <p:spPr>
            <a:xfrm>
              <a:off x="6522467" y="4693850"/>
              <a:ext cx="2069679" cy="246550"/>
            </a:xfrm>
            <a:prstGeom prst="rect">
              <a:avLst/>
            </a:prstGeom>
            <a:noFill/>
            <a:ln>
              <a:noFill/>
            </a:ln>
          </p:spPr>
          <p:txBody>
            <a:bodyPr wrap="square" lIns="0" tIns="0" rIns="0" bIns="0" rtlCol="0" anchor="t">
              <a:noAutofit/>
            </a:bodyPr>
            <a:lstStyle/>
            <a:p>
              <a:pPr>
                <a:spcBef>
                  <a:spcPts val="600"/>
                </a:spcBef>
                <a:buSzPct val="100000"/>
              </a:pPr>
              <a:r>
                <a:rPr lang="en-US" sz="1100" b="1" dirty="0">
                  <a:latin typeface="Open Sans" panose="020B0606030504020204" pitchFamily="34" charset="0"/>
                  <a:ea typeface="Open Sans" panose="020B0606030504020204" pitchFamily="34" charset="0"/>
                  <a:cs typeface="Open Sans" panose="020B0606030504020204" pitchFamily="34" charset="0"/>
                </a:rPr>
                <a:t>Product empathy map</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23" name="Picture 22">
            <a:extLst>
              <a:ext uri="{FF2B5EF4-FFF2-40B4-BE49-F238E27FC236}">
                <a16:creationId xmlns:a16="http://schemas.microsoft.com/office/drawing/2014/main" id="{52454BA0-300F-AF9C-4D55-89DBF63EB05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46190" y="4944531"/>
            <a:ext cx="2018105" cy="1133079"/>
          </a:xfrm>
          <a:prstGeom prst="rect">
            <a:avLst/>
          </a:prstGeom>
          <a:ln>
            <a:no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BBF0001B-6977-D11B-4E16-408CB2CB3B03}"/>
              </a:ext>
            </a:extLst>
          </p:cNvPr>
          <p:cNvSpPr txBox="1"/>
          <p:nvPr/>
        </p:nvSpPr>
        <p:spPr>
          <a:xfrm>
            <a:off x="4034030" y="6118407"/>
            <a:ext cx="2014194" cy="230761"/>
          </a:xfrm>
          <a:prstGeom prst="rect">
            <a:avLst/>
          </a:prstGeom>
          <a:noFill/>
          <a:ln>
            <a:noFill/>
          </a:ln>
        </p:spPr>
        <p:txBody>
          <a:bodyPr wrap="square" lIns="0" tIns="0" rIns="0" bIns="0" rtlCol="0" anchor="t">
            <a:noAutofit/>
          </a:bodyPr>
          <a:lstStyle/>
          <a:p>
            <a:pPr>
              <a:spcBef>
                <a:spcPts val="600"/>
              </a:spcBef>
              <a:buSzPct val="100000"/>
            </a:pPr>
            <a:r>
              <a:rPr lang="en-US" sz="1100" b="1" dirty="0">
                <a:latin typeface="Open Sans" panose="020B0606030504020204" pitchFamily="34" charset="0"/>
                <a:ea typeface="Open Sans" panose="020B0606030504020204" pitchFamily="34" charset="0"/>
                <a:cs typeface="Open Sans" panose="020B0606030504020204" pitchFamily="34" charset="0"/>
              </a:rPr>
              <a:t>Embedded product plan</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4">
            <a:extLst>
              <a:ext uri="{FF2B5EF4-FFF2-40B4-BE49-F238E27FC236}">
                <a16:creationId xmlns:a16="http://schemas.microsoft.com/office/drawing/2014/main" id="{33EC12B1-FDF8-D082-6E76-DDE832CBE69F}"/>
              </a:ext>
            </a:extLst>
          </p:cNvPr>
          <p:cNvGrpSpPr/>
          <p:nvPr/>
        </p:nvGrpSpPr>
        <p:grpSpPr>
          <a:xfrm>
            <a:off x="9256135" y="3786796"/>
            <a:ext cx="2003216" cy="1336652"/>
            <a:chOff x="9256135" y="4693850"/>
            <a:chExt cx="2003216" cy="1336652"/>
          </a:xfrm>
        </p:grpSpPr>
        <p:pic>
          <p:nvPicPr>
            <p:cNvPr id="26" name="Picture 25">
              <a:extLst>
                <a:ext uri="{FF2B5EF4-FFF2-40B4-BE49-F238E27FC236}">
                  <a16:creationId xmlns:a16="http://schemas.microsoft.com/office/drawing/2014/main" id="{A0A8199C-5DB7-DD4A-1BD1-2EB3AEA4C0A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275831" y="4914866"/>
              <a:ext cx="1983520" cy="1115636"/>
            </a:xfrm>
            <a:prstGeom prst="rect">
              <a:avLst/>
            </a:prstGeom>
            <a:ln>
              <a:noFill/>
            </a:ln>
            <a:effectLst>
              <a:outerShdw blurRad="50800" dist="38100" dir="2700000" algn="tl" rotWithShape="0">
                <a:prstClr val="black">
                  <a:alpha val="40000"/>
                </a:prstClr>
              </a:outerShdw>
            </a:effectLst>
          </p:spPr>
        </p:pic>
        <p:sp>
          <p:nvSpPr>
            <p:cNvPr id="27" name="TextBox 26">
              <a:extLst>
                <a:ext uri="{FF2B5EF4-FFF2-40B4-BE49-F238E27FC236}">
                  <a16:creationId xmlns:a16="http://schemas.microsoft.com/office/drawing/2014/main" id="{B28E557F-FDF3-CD9B-A483-D8326315A431}"/>
                </a:ext>
              </a:extLst>
            </p:cNvPr>
            <p:cNvSpPr txBox="1"/>
            <p:nvPr/>
          </p:nvSpPr>
          <p:spPr>
            <a:xfrm>
              <a:off x="9256135" y="4693850"/>
              <a:ext cx="1660860" cy="230761"/>
            </a:xfrm>
            <a:prstGeom prst="rect">
              <a:avLst/>
            </a:prstGeom>
            <a:noFill/>
            <a:ln>
              <a:noFill/>
            </a:ln>
          </p:spPr>
          <p:txBody>
            <a:bodyPr wrap="square" lIns="0" tIns="0" rIns="0" bIns="0" rtlCol="0" anchor="t">
              <a:noAutofit/>
            </a:bodyPr>
            <a:lstStyle/>
            <a:p>
              <a:pPr>
                <a:spcBef>
                  <a:spcPts val="600"/>
                </a:spcBef>
                <a:buSzPct val="100000"/>
              </a:pPr>
              <a:r>
                <a:rPr lang="en-US" sz="1100" b="1" dirty="0" err="1">
                  <a:latin typeface="Open Sans" panose="020B0606030504020204" pitchFamily="34" charset="0"/>
                  <a:ea typeface="Open Sans" panose="020B0606030504020204" pitchFamily="34" charset="0"/>
                  <a:cs typeface="Open Sans" panose="020B0606030504020204" pitchFamily="34" charset="0"/>
                </a:rPr>
                <a:t>Userverse</a:t>
              </a:r>
              <a:r>
                <a:rPr lang="en-US" sz="1100" b="1" dirty="0">
                  <a:latin typeface="Open Sans" panose="020B0606030504020204" pitchFamily="34" charset="0"/>
                  <a:ea typeface="Open Sans" panose="020B0606030504020204" pitchFamily="34" charset="0"/>
                  <a:cs typeface="Open Sans" panose="020B0606030504020204" pitchFamily="34" charset="0"/>
                </a:rPr>
                <a:t> monitoring</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8" name="TextBox 27">
            <a:extLst>
              <a:ext uri="{FF2B5EF4-FFF2-40B4-BE49-F238E27FC236}">
                <a16:creationId xmlns:a16="http://schemas.microsoft.com/office/drawing/2014/main" id="{2A3D234E-1A4E-AF4C-B9D4-719B2086250F}"/>
              </a:ext>
            </a:extLst>
          </p:cNvPr>
          <p:cNvSpPr txBox="1"/>
          <p:nvPr/>
        </p:nvSpPr>
        <p:spPr>
          <a:xfrm>
            <a:off x="664492" y="2150227"/>
            <a:ext cx="2570400" cy="935947"/>
          </a:xfrm>
          <a:prstGeom prst="rect">
            <a:avLst/>
          </a:prstGeom>
          <a:noFill/>
        </p:spPr>
        <p:txBody>
          <a:bodyPr wrap="square" lIns="72000" tIns="0" rIns="72000" bIns="0" rtlCol="0" anchor="t">
            <a:noAutofit/>
          </a:bodyPr>
          <a:lstStyle/>
          <a:p>
            <a:pPr algn="ctr">
              <a:spcBef>
                <a:spcPts val="600"/>
              </a:spcBef>
              <a:spcAft>
                <a:spcPts val="600"/>
              </a:spcAft>
              <a:buSzPct val="100000"/>
            </a:pPr>
            <a:r>
              <a:rPr lang="en-US" sz="11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Learn about the user’s context</a:t>
            </a:r>
          </a:p>
          <a:p>
            <a:pPr marL="171450" indent="-171450">
              <a:spcBef>
                <a:spcPts val="600"/>
              </a:spcBef>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Observe and map the ‘</a:t>
            </a:r>
            <a:r>
              <a:rPr lang="en-US" sz="1000" dirty="0" err="1">
                <a:latin typeface="Open Sans" panose="020B0606030504020204" pitchFamily="34" charset="0"/>
                <a:ea typeface="Open Sans" panose="020B0606030504020204" pitchFamily="34" charset="0"/>
                <a:cs typeface="Open Sans" panose="020B0606030504020204" pitchFamily="34" charset="0"/>
              </a:rPr>
              <a:t>userverse</a:t>
            </a:r>
            <a:r>
              <a:rPr lang="en-US" sz="1000" dirty="0">
                <a:latin typeface="Open Sans" panose="020B0606030504020204" pitchFamily="34" charset="0"/>
                <a:ea typeface="Open Sans" panose="020B0606030504020204" pitchFamily="34" charset="0"/>
                <a:cs typeface="Open Sans" panose="020B0606030504020204" pitchFamily="34" charset="0"/>
              </a:rPr>
              <a:t>’. See which spaces, products and services people interact with</a:t>
            </a:r>
          </a:p>
        </p:txBody>
      </p:sp>
      <p:sp>
        <p:nvSpPr>
          <p:cNvPr id="29" name="TextBox 28">
            <a:extLst>
              <a:ext uri="{FF2B5EF4-FFF2-40B4-BE49-F238E27FC236}">
                <a16:creationId xmlns:a16="http://schemas.microsoft.com/office/drawing/2014/main" id="{9ABE0E92-6669-31F4-47B7-4C2FA229FD2C}"/>
              </a:ext>
            </a:extLst>
          </p:cNvPr>
          <p:cNvSpPr txBox="1"/>
          <p:nvPr/>
        </p:nvSpPr>
        <p:spPr>
          <a:xfrm>
            <a:off x="3432965" y="2147765"/>
            <a:ext cx="2570400" cy="1869792"/>
          </a:xfrm>
          <a:prstGeom prst="rect">
            <a:avLst/>
          </a:prstGeom>
          <a:noFill/>
        </p:spPr>
        <p:txBody>
          <a:bodyPr wrap="square" lIns="72000" tIns="0" rIns="72000" bIns="0" rtlCol="0" anchor="t">
            <a:noAutofit/>
          </a:bodyPr>
          <a:lstStyle/>
          <a:p>
            <a:pPr algn="ctr">
              <a:spcBef>
                <a:spcPts val="600"/>
              </a:spcBef>
              <a:spcAft>
                <a:spcPts val="600"/>
              </a:spcAft>
              <a:buSzPct val="100000"/>
            </a:pPr>
            <a:r>
              <a:rPr lang="en-US" sz="1100" b="1" dirty="0">
                <a:solidFill>
                  <a:schemeClr val="accent4">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Plan the product network</a:t>
            </a:r>
          </a:p>
          <a:p>
            <a:pPr marL="171450" indent="-171450">
              <a:spcAft>
                <a:spcPts val="2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Map out all the different elements (products, services and spaces) that are needed to create the experience aim for users</a:t>
            </a:r>
          </a:p>
          <a:p>
            <a:pPr marL="171450" indent="-171450">
              <a:spcAft>
                <a:spcPts val="2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Think about the products and services that people already use and could be leveraged in the connected design </a:t>
            </a:r>
          </a:p>
          <a:p>
            <a:pPr marL="171450" indent="-171450">
              <a:spcAft>
                <a:spcPts val="2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Identify how users receive value from the product and how the business generates revenue </a:t>
            </a:r>
          </a:p>
        </p:txBody>
      </p:sp>
      <p:sp>
        <p:nvSpPr>
          <p:cNvPr id="30" name="TextBox 29">
            <a:extLst>
              <a:ext uri="{FF2B5EF4-FFF2-40B4-BE49-F238E27FC236}">
                <a16:creationId xmlns:a16="http://schemas.microsoft.com/office/drawing/2014/main" id="{6EAF12AA-7DB7-9315-549C-C20D6BBC9EC1}"/>
              </a:ext>
            </a:extLst>
          </p:cNvPr>
          <p:cNvSpPr txBox="1"/>
          <p:nvPr/>
        </p:nvSpPr>
        <p:spPr>
          <a:xfrm>
            <a:off x="6201438" y="2147766"/>
            <a:ext cx="2570400" cy="1412742"/>
          </a:xfrm>
          <a:prstGeom prst="rect">
            <a:avLst/>
          </a:prstGeom>
          <a:noFill/>
        </p:spPr>
        <p:txBody>
          <a:bodyPr wrap="square" lIns="72000" tIns="0" rIns="72000" bIns="0" rtlCol="0" anchor="t">
            <a:noAutofit/>
          </a:bodyPr>
          <a:lstStyle/>
          <a:p>
            <a:pPr algn="ctr">
              <a:spcBef>
                <a:spcPts val="600"/>
              </a:spcBef>
              <a:spcAft>
                <a:spcPts val="600"/>
              </a:spcAft>
              <a:buSzPct val="100000"/>
            </a:pPr>
            <a:r>
              <a:rPr lang="en-US" sz="1100" b="1" dirty="0">
                <a:solidFill>
                  <a:schemeClr val="accent3">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Connect different elements of the product</a:t>
            </a:r>
          </a:p>
          <a:p>
            <a:pPr marL="171450" indent="-171450">
              <a:spcAft>
                <a:spcPts val="2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Match the business with product and service provider partners </a:t>
            </a:r>
          </a:p>
          <a:p>
            <a:pPr marL="171450" indent="-171450">
              <a:spcAft>
                <a:spcPts val="2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Coordinate integration between the different elements of the product</a:t>
            </a:r>
          </a:p>
        </p:txBody>
      </p:sp>
      <p:sp>
        <p:nvSpPr>
          <p:cNvPr id="31" name="TextBox 30">
            <a:extLst>
              <a:ext uri="{FF2B5EF4-FFF2-40B4-BE49-F238E27FC236}">
                <a16:creationId xmlns:a16="http://schemas.microsoft.com/office/drawing/2014/main" id="{C5F495FF-F397-F876-30AE-72070DEA7678}"/>
              </a:ext>
            </a:extLst>
          </p:cNvPr>
          <p:cNvSpPr txBox="1"/>
          <p:nvPr/>
        </p:nvSpPr>
        <p:spPr>
          <a:xfrm>
            <a:off x="8969911" y="2185307"/>
            <a:ext cx="2570400" cy="3241819"/>
          </a:xfrm>
          <a:prstGeom prst="rect">
            <a:avLst/>
          </a:prstGeom>
          <a:noFill/>
        </p:spPr>
        <p:txBody>
          <a:bodyPr wrap="square" lIns="72000" tIns="0" rIns="72000" bIns="0" rtlCol="0" anchor="t">
            <a:noAutofit/>
          </a:bodyPr>
          <a:lstStyle/>
          <a:p>
            <a:pPr algn="ctr">
              <a:spcBef>
                <a:spcPts val="600"/>
              </a:spcBef>
              <a:spcAft>
                <a:spcPts val="600"/>
              </a:spcAft>
              <a:buSzPct val="100000"/>
            </a:pPr>
            <a:r>
              <a:rPr lang="en-US" sz="1100" b="1" dirty="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Adapt, measure and evolve the product </a:t>
            </a:r>
          </a:p>
          <a:p>
            <a:pPr marL="171450" indent="-171450">
              <a:spcAft>
                <a:spcPts val="2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Pilot the product in the </a:t>
            </a:r>
            <a:r>
              <a:rPr lang="en-US" sz="1000" dirty="0" err="1">
                <a:latin typeface="Open Sans" panose="020B0606030504020204" pitchFamily="34" charset="0"/>
                <a:ea typeface="Open Sans" panose="020B0606030504020204" pitchFamily="34" charset="0"/>
                <a:cs typeface="Open Sans" panose="020B0606030504020204" pitchFamily="34" charset="0"/>
              </a:rPr>
              <a:t>userverse</a:t>
            </a:r>
            <a:r>
              <a:rPr lang="en-US" sz="1000" dirty="0">
                <a:latin typeface="Open Sans" panose="020B0606030504020204" pitchFamily="34" charset="0"/>
                <a:ea typeface="Open Sans" panose="020B0606030504020204" pitchFamily="34" charset="0"/>
                <a:cs typeface="Open Sans" panose="020B0606030504020204" pitchFamily="34" charset="0"/>
              </a:rPr>
              <a:t> and see how people interact with it</a:t>
            </a:r>
          </a:p>
          <a:p>
            <a:pPr marL="171450" indent="-171450">
              <a:spcAft>
                <a:spcPts val="200"/>
              </a:spcAft>
              <a:buSzPct val="100000"/>
              <a:buFont typeface="Arial" panose="020B0604020202020204" pitchFamily="34" charset="0"/>
              <a:buChar char="•"/>
            </a:pPr>
            <a:r>
              <a:rPr lang="en-US" sz="1000" dirty="0">
                <a:latin typeface="Open Sans" panose="020B0606030504020204" pitchFamily="34" charset="0"/>
                <a:ea typeface="Open Sans" panose="020B0606030504020204" pitchFamily="34" charset="0"/>
                <a:cs typeface="Open Sans" panose="020B0606030504020204" pitchFamily="34" charset="0"/>
              </a:rPr>
              <a:t>After launch, continue to monitor the </a:t>
            </a:r>
            <a:r>
              <a:rPr lang="en-US" sz="1000" dirty="0" err="1">
                <a:latin typeface="Open Sans" panose="020B0606030504020204" pitchFamily="34" charset="0"/>
                <a:ea typeface="Open Sans" panose="020B0606030504020204" pitchFamily="34" charset="0"/>
                <a:cs typeface="Open Sans" panose="020B0606030504020204" pitchFamily="34" charset="0"/>
              </a:rPr>
              <a:t>userverse</a:t>
            </a:r>
            <a:r>
              <a:rPr lang="en-US" sz="1000" dirty="0">
                <a:latin typeface="Open Sans" panose="020B0606030504020204" pitchFamily="34" charset="0"/>
                <a:ea typeface="Open Sans" panose="020B0606030504020204" pitchFamily="34" charset="0"/>
                <a:cs typeface="Open Sans" panose="020B0606030504020204" pitchFamily="34" charset="0"/>
              </a:rPr>
              <a:t> for changes, updating the connected product to keep it relevant</a:t>
            </a:r>
          </a:p>
        </p:txBody>
      </p:sp>
      <p:cxnSp>
        <p:nvCxnSpPr>
          <p:cNvPr id="32" name="Straight Connector 31">
            <a:extLst>
              <a:ext uri="{FF2B5EF4-FFF2-40B4-BE49-F238E27FC236}">
                <a16:creationId xmlns:a16="http://schemas.microsoft.com/office/drawing/2014/main" id="{425B21BD-5E2F-E8A7-E9FB-DC97948838F2}"/>
              </a:ext>
            </a:extLst>
          </p:cNvPr>
          <p:cNvCxnSpPr>
            <a:cxnSpLocks/>
          </p:cNvCxnSpPr>
          <p:nvPr/>
        </p:nvCxnSpPr>
        <p:spPr>
          <a:xfrm>
            <a:off x="3322074" y="1509573"/>
            <a:ext cx="0" cy="4752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8B469E-4026-F353-C6F3-6CFCE89A7314}"/>
              </a:ext>
            </a:extLst>
          </p:cNvPr>
          <p:cNvCxnSpPr>
            <a:cxnSpLocks/>
          </p:cNvCxnSpPr>
          <p:nvPr/>
        </p:nvCxnSpPr>
        <p:spPr>
          <a:xfrm>
            <a:off x="6094519" y="1509573"/>
            <a:ext cx="0" cy="4752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6833485-5DFF-3303-9138-B0CF3AF27404}"/>
              </a:ext>
            </a:extLst>
          </p:cNvPr>
          <p:cNvCxnSpPr>
            <a:cxnSpLocks/>
          </p:cNvCxnSpPr>
          <p:nvPr/>
        </p:nvCxnSpPr>
        <p:spPr>
          <a:xfrm>
            <a:off x="8866963" y="1509573"/>
            <a:ext cx="0" cy="4752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41495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46452B-8F72-2518-1F70-036A79223DE8}"/>
              </a:ext>
            </a:extLst>
          </p:cNvPr>
          <p:cNvGraphicFramePr>
            <a:graphicFrameLocks noChangeAspect="1"/>
          </p:cNvGraphicFramePr>
          <p:nvPr>
            <p:custDataLst>
              <p:tags r:id="rId1"/>
            </p:custDataLst>
            <p:extLst>
              <p:ext uri="{D42A27DB-BD31-4B8C-83A1-F6EECF244321}">
                <p14:modId xmlns:p14="http://schemas.microsoft.com/office/powerpoint/2010/main" val="421165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think-cell data - do not delete" hidden="1">
                        <a:extLst>
                          <a:ext uri="{FF2B5EF4-FFF2-40B4-BE49-F238E27FC236}">
                            <a16:creationId xmlns:a16="http://schemas.microsoft.com/office/drawing/2014/main" id="{8346452B-8F72-2518-1F70-036A79223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6EDE0C7-A03A-37F2-0136-BF798BF80E43}"/>
              </a:ext>
            </a:extLst>
          </p:cNvPr>
          <p:cNvSpPr>
            <a:spLocks noGrp="1"/>
          </p:cNvSpPr>
          <p:nvPr>
            <p:ph type="body" sz="quarter" idx="22"/>
          </p:nvPr>
        </p:nvSpPr>
        <p:spPr/>
        <p:txBody>
          <a:bodyPr/>
          <a:lstStyle/>
          <a:p>
            <a:endParaRPr lang="en-US"/>
          </a:p>
        </p:txBody>
      </p:sp>
      <p:sp>
        <p:nvSpPr>
          <p:cNvPr id="3" name="Title 2"/>
          <p:cNvSpPr>
            <a:spLocks noGrp="1"/>
          </p:cNvSpPr>
          <p:nvPr>
            <p:ph type="title"/>
          </p:nvPr>
        </p:nvSpPr>
        <p:spPr/>
        <p:txBody>
          <a:bodyPr vert="horz"/>
          <a:lstStyle/>
          <a:p>
            <a:pPr algn="l"/>
            <a:r>
              <a:rPr lang="en-US" sz="3200" dirty="0">
                <a:solidFill>
                  <a:srgbClr val="00B0F2"/>
                </a:solidFill>
                <a:effectLst/>
                <a:latin typeface="Open Sans Light" panose="020B0306030504020204" pitchFamily="34" charset="0"/>
                <a:ea typeface="Open Sans Light" panose="020B0306030504020204" pitchFamily="34" charset="0"/>
                <a:cs typeface="Open Sans Light" panose="020B0306030504020204" pitchFamily="34" charset="0"/>
              </a:rPr>
              <a:t>We are delighted to share our proposal</a:t>
            </a:r>
          </a:p>
        </p:txBody>
      </p:sp>
      <p:graphicFrame>
        <p:nvGraphicFramePr>
          <p:cNvPr id="10" name="Table 10">
            <a:extLst>
              <a:ext uri="{FF2B5EF4-FFF2-40B4-BE49-F238E27FC236}">
                <a16:creationId xmlns:a16="http://schemas.microsoft.com/office/drawing/2014/main" id="{AD25873A-06EE-9DCF-63E3-337E922FEB6F}"/>
              </a:ext>
            </a:extLst>
          </p:cNvPr>
          <p:cNvGraphicFramePr>
            <a:graphicFrameLocks noGrp="1"/>
          </p:cNvGraphicFramePr>
          <p:nvPr>
            <p:extLst>
              <p:ext uri="{D42A27DB-BD31-4B8C-83A1-F6EECF244321}">
                <p14:modId xmlns:p14="http://schemas.microsoft.com/office/powerpoint/2010/main" val="2757034177"/>
              </p:ext>
            </p:extLst>
          </p:nvPr>
        </p:nvGraphicFramePr>
        <p:xfrm>
          <a:off x="457200" y="1400360"/>
          <a:ext cx="8125825" cy="4816528"/>
        </p:xfrm>
        <a:graphic>
          <a:graphicData uri="http://schemas.openxmlformats.org/drawingml/2006/table">
            <a:tbl>
              <a:tblPr bandRow="1">
                <a:tableStyleId>{C083E6E3-FA7D-4D7B-A595-EF9225AFEA82}</a:tableStyleId>
              </a:tblPr>
              <a:tblGrid>
                <a:gridCol w="301083">
                  <a:extLst>
                    <a:ext uri="{9D8B030D-6E8A-4147-A177-3AD203B41FA5}">
                      <a16:colId xmlns:a16="http://schemas.microsoft.com/office/drawing/2014/main" val="2423272641"/>
                    </a:ext>
                  </a:extLst>
                </a:gridCol>
                <a:gridCol w="3635297">
                  <a:extLst>
                    <a:ext uri="{9D8B030D-6E8A-4147-A177-3AD203B41FA5}">
                      <a16:colId xmlns:a16="http://schemas.microsoft.com/office/drawing/2014/main" val="1210967495"/>
                    </a:ext>
                  </a:extLst>
                </a:gridCol>
                <a:gridCol w="4189445">
                  <a:extLst>
                    <a:ext uri="{9D8B030D-6E8A-4147-A177-3AD203B41FA5}">
                      <a16:colId xmlns:a16="http://schemas.microsoft.com/office/drawing/2014/main" val="2197956976"/>
                    </a:ext>
                  </a:extLst>
                </a:gridCol>
              </a:tblGrid>
              <a:tr h="251138">
                <a:tc>
                  <a:txBody>
                    <a:bodyPr/>
                    <a:lstStyle/>
                    <a:p>
                      <a:pPr algn="ctr" rtl="0"/>
                      <a:r>
                        <a:rPr lang="en-US" sz="1000"/>
                        <a:t>1</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Full company name:</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Deloitte Advisory and Management Consulting Private Limited Company</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4228370325"/>
                  </a:ext>
                </a:extLst>
              </a:tr>
              <a:tr h="251138">
                <a:tc>
                  <a:txBody>
                    <a:bodyPr/>
                    <a:lstStyle/>
                    <a:p>
                      <a:pPr algn="ctr" rtl="0"/>
                      <a:r>
                        <a:rPr lang="en-US" sz="1000"/>
                        <a:t>2</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Address:</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chemeClr val="tx1"/>
                          </a:solidFill>
                          <a:effectLst/>
                        </a:rPr>
                        <a:t>1068 Budapest, Dózsa György út 84/C.</a:t>
                      </a:r>
                      <a:endParaRPr lang="en-US" sz="1100" b="0" i="0" u="none" strike="noStrike" dirty="0">
                        <a:solidFill>
                          <a:schemeClr val="tx1"/>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3052674603"/>
                  </a:ext>
                </a:extLst>
              </a:tr>
              <a:tr h="251138">
                <a:tc>
                  <a:txBody>
                    <a:bodyPr/>
                    <a:lstStyle/>
                    <a:p>
                      <a:pPr algn="ctr" rtl="0"/>
                      <a:r>
                        <a:rPr lang="en-US" sz="1000"/>
                        <a:t>3</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Country:</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Hungary</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3789163666"/>
                  </a:ext>
                </a:extLst>
              </a:tr>
              <a:tr h="251138">
                <a:tc>
                  <a:txBody>
                    <a:bodyPr/>
                    <a:lstStyle/>
                    <a:p>
                      <a:pPr algn="ctr" rtl="0"/>
                      <a:r>
                        <a:rPr lang="en-US" sz="1000"/>
                        <a:t>4</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RFP Contact Person and Title:</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Lukács Eszter, Director</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3169774558"/>
                  </a:ext>
                </a:extLst>
              </a:tr>
              <a:tr h="251138">
                <a:tc>
                  <a:txBody>
                    <a:bodyPr/>
                    <a:lstStyle/>
                    <a:p>
                      <a:pPr algn="ctr" rtl="0"/>
                      <a:r>
                        <a:rPr lang="en-US" sz="1000"/>
                        <a:t>5</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E-mail address:</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chemeClr val="tx1"/>
                          </a:solidFill>
                          <a:effectLst/>
                        </a:rPr>
                        <a:t>elukacs@deloitteCE.com</a:t>
                      </a:r>
                      <a:endParaRPr lang="en-US" sz="1100" b="0" i="0" u="none" strike="noStrike" dirty="0">
                        <a:solidFill>
                          <a:schemeClr val="tx1"/>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946235974"/>
                  </a:ext>
                </a:extLst>
              </a:tr>
              <a:tr h="251138">
                <a:tc>
                  <a:txBody>
                    <a:bodyPr/>
                    <a:lstStyle/>
                    <a:p>
                      <a:pPr algn="ctr" rtl="0"/>
                      <a:r>
                        <a:rPr lang="en-US" sz="1000"/>
                        <a:t>6</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Tel:</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36 20 264 7227</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1983087940"/>
                  </a:ext>
                </a:extLst>
              </a:tr>
              <a:tr h="251138">
                <a:tc>
                  <a:txBody>
                    <a:bodyPr/>
                    <a:lstStyle/>
                    <a:p>
                      <a:pPr algn="ctr" rtl="0"/>
                      <a:r>
                        <a:rPr lang="en-US" sz="1000"/>
                        <a:t>7</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Web Site:</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deloitte.hu</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132716422"/>
                  </a:ext>
                </a:extLst>
              </a:tr>
              <a:tr h="320996">
                <a:tc>
                  <a:txBody>
                    <a:bodyPr/>
                    <a:lstStyle/>
                    <a:p>
                      <a:pPr algn="ctr" rtl="0"/>
                      <a:r>
                        <a:rPr lang="en-US" sz="1000"/>
                        <a:t>8</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Legal Status:</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Private Limited Company</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3226684873"/>
                  </a:ext>
                </a:extLst>
              </a:tr>
              <a:tr h="251138">
                <a:tc>
                  <a:txBody>
                    <a:bodyPr/>
                    <a:lstStyle/>
                    <a:p>
                      <a:pPr algn="ctr" rtl="0"/>
                      <a:r>
                        <a:rPr lang="en-US" sz="1000"/>
                        <a:t>9</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Year Established</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1999</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1210628024"/>
                  </a:ext>
                </a:extLst>
              </a:tr>
              <a:tr h="251138">
                <a:tc>
                  <a:txBody>
                    <a:bodyPr/>
                    <a:lstStyle/>
                    <a:p>
                      <a:pPr algn="ctr" rtl="0"/>
                      <a:r>
                        <a:rPr lang="en-US" sz="1000"/>
                        <a:t>10</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Number of Employees</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584 (statistical headcount in 2022)</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1357431493"/>
                  </a:ext>
                </a:extLst>
              </a:tr>
              <a:tr h="251138">
                <a:tc>
                  <a:txBody>
                    <a:bodyPr/>
                    <a:lstStyle/>
                    <a:p>
                      <a:pPr algn="ctr" rtl="0"/>
                      <a:r>
                        <a:rPr lang="en-US" sz="1000"/>
                        <a:t>11</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ISO certifications / credentials</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Attached</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4265310183"/>
                  </a:ext>
                </a:extLst>
              </a:tr>
              <a:tr h="251138">
                <a:tc>
                  <a:txBody>
                    <a:bodyPr/>
                    <a:lstStyle/>
                    <a:p>
                      <a:pPr algn="ctr" rtl="0"/>
                      <a:r>
                        <a:rPr lang="en-US" sz="1000"/>
                        <a:t>12</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Annual turnover (in USD)</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In 2021: USD 57,097,937.43;</a:t>
                      </a:r>
                      <a:br>
                        <a:rPr lang="en-US" sz="1100" b="0" u="none" strike="noStrike">
                          <a:solidFill>
                            <a:srgbClr val="000000"/>
                          </a:solidFill>
                          <a:effectLst/>
                        </a:rPr>
                      </a:br>
                      <a:r>
                        <a:rPr lang="en-US" sz="1100" b="0" u="none" strike="noStrike">
                          <a:solidFill>
                            <a:srgbClr val="000000"/>
                          </a:solidFill>
                          <a:effectLst/>
                        </a:rPr>
                        <a:t>In 2022: USD 61,628,912.73</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1098544057"/>
                  </a:ext>
                </a:extLst>
              </a:tr>
              <a:tr h="251138">
                <a:tc>
                  <a:txBody>
                    <a:bodyPr/>
                    <a:lstStyle/>
                    <a:p>
                      <a:pPr algn="ctr" rtl="0"/>
                      <a:r>
                        <a:rPr lang="en-US" sz="1000"/>
                        <a:t>13</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Registration with UNGM? If so provide the registration number</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892100169"/>
                  </a:ext>
                </a:extLst>
              </a:tr>
              <a:tr h="320996">
                <a:tc>
                  <a:txBody>
                    <a:bodyPr/>
                    <a:lstStyle/>
                    <a:p>
                      <a:pPr algn="ctr" rtl="0"/>
                      <a:r>
                        <a:rPr lang="en-US" sz="1000"/>
                        <a:t>14</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Experience working with UN for the last 5 years. </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See next pages of proposal</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2980242389"/>
                  </a:ext>
                </a:extLst>
              </a:tr>
              <a:tr h="251138">
                <a:tc>
                  <a:txBody>
                    <a:bodyPr/>
                    <a:lstStyle/>
                    <a:p>
                      <a:pPr algn="ctr" rtl="0"/>
                      <a:r>
                        <a:rPr lang="en-US" sz="1000"/>
                        <a:t>15</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Summary of any changes in your company’s ownership during the last 5 years</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Attached</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1088657143"/>
                  </a:ext>
                </a:extLst>
              </a:tr>
              <a:tr h="251138">
                <a:tc>
                  <a:txBody>
                    <a:bodyPr/>
                    <a:lstStyle/>
                    <a:p>
                      <a:pPr algn="ctr" rtl="0"/>
                      <a:r>
                        <a:rPr lang="en-US" sz="1000"/>
                        <a:t>16</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Pending lawsuits, if any;</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None</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1317023638"/>
                  </a:ext>
                </a:extLst>
              </a:tr>
              <a:tr h="251138">
                <a:tc>
                  <a:txBody>
                    <a:bodyPr/>
                    <a:lstStyle/>
                    <a:p>
                      <a:pPr algn="ctr" rtl="0"/>
                      <a:r>
                        <a:rPr lang="en-US" sz="1000"/>
                        <a:t>17</a:t>
                      </a:r>
                      <a:endParaRPr lang="en-US" sz="1000" dirty="0">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tc>
                <a:tc>
                  <a:txBody>
                    <a:bodyPr/>
                    <a:lstStyle/>
                    <a:p>
                      <a:pPr algn="l" rtl="0" fontAlgn="b"/>
                      <a:r>
                        <a:rPr lang="en-US" sz="1000" b="0" u="none" strike="noStrike">
                          <a:solidFill>
                            <a:srgbClr val="000000"/>
                          </a:solidFill>
                          <a:effectLst/>
                        </a:rPr>
                        <a:t>The most recent and last 2 (two) years Audited Financial Statements.</a:t>
                      </a:r>
                      <a:endParaRPr lang="en-US" sz="10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108000" marT="36000" marB="36000" anchor="ctr"/>
                </a:tc>
                <a:tc>
                  <a:txBody>
                    <a:bodyPr/>
                    <a:lstStyle/>
                    <a:p>
                      <a:pPr algn="l" rtl="0" fontAlgn="b"/>
                      <a:r>
                        <a:rPr lang="en-US" sz="1100" b="0" u="none" strike="noStrike">
                          <a:solidFill>
                            <a:srgbClr val="000000"/>
                          </a:solidFill>
                          <a:effectLst/>
                        </a:rPr>
                        <a:t>Attached</a:t>
                      </a:r>
                      <a:endParaRPr lang="en-US" sz="1100" b="0" i="0" u="none" strike="noStrike" dirty="0">
                        <a:solidFill>
                          <a:srgbClr val="000000"/>
                        </a:solidFill>
                        <a:effectLst/>
                        <a:latin typeface="Calibri" panose="020F0502020204030204" pitchFamily="34" charset="0"/>
                      </a:endParaRPr>
                    </a:p>
                  </a:txBody>
                  <a:tcPr marL="0" marR="0" marT="36000" marB="36000" anchor="ctr"/>
                </a:tc>
                <a:extLst>
                  <a:ext uri="{0D108BD9-81ED-4DB2-BD59-A6C34878D82A}">
                    <a16:rowId xmlns:a16="http://schemas.microsoft.com/office/drawing/2014/main" val="206991561"/>
                  </a:ext>
                </a:extLst>
              </a:tr>
            </a:tbl>
          </a:graphicData>
        </a:graphic>
      </p:graphicFrame>
      <p:sp>
        <p:nvSpPr>
          <p:cNvPr id="11" name="Rectangle 10">
            <a:extLst>
              <a:ext uri="{FF2B5EF4-FFF2-40B4-BE49-F238E27FC236}">
                <a16:creationId xmlns:a16="http://schemas.microsoft.com/office/drawing/2014/main" id="{59EED19D-037B-1BC0-216D-F728A109D770}"/>
              </a:ext>
            </a:extLst>
          </p:cNvPr>
          <p:cNvSpPr/>
          <p:nvPr/>
        </p:nvSpPr>
        <p:spPr bwMode="gray">
          <a:xfrm>
            <a:off x="8777652" y="1376551"/>
            <a:ext cx="3157870" cy="4840337"/>
          </a:xfrm>
          <a:prstGeom prst="rect">
            <a:avLst/>
          </a:prstGeom>
          <a:solidFill>
            <a:srgbClr val="1CABE3"/>
          </a:solidFill>
          <a:ln w="19050" algn="ctr">
            <a:noFill/>
            <a:miter lim="800000"/>
            <a:headEnd/>
            <a:tailEnd/>
          </a:ln>
        </p:spPr>
        <p:txBody>
          <a:bodyPr wrap="square" lIns="216000" tIns="180000" rIns="216000" bIns="108000" rtlCol="0" anchor="t"/>
          <a:lstStyle/>
          <a:p>
            <a:pPr>
              <a:lnSpc>
                <a:spcPts val="1880"/>
              </a:lnSpc>
              <a:buFont typeface="Wingdings 2" pitchFamily="18" charset="2"/>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At Deloitte Consulting we help our clients identify and solve their most critical challenges: our network of </a:t>
            </a:r>
            <a:r>
              <a:rPr lang="hu-HU"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almost 6</a:t>
            </a: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00 practitioners in Budapest and 2000+ professionals across Central Europe create unmatched market offerings to solve our clients’</a:t>
            </a:r>
          </a:p>
          <a:p>
            <a:pPr>
              <a:lnSpc>
                <a:spcPts val="1880"/>
              </a:lnSpc>
              <a:buFont typeface="Wingdings 2" pitchFamily="18" charset="2"/>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technology and business problems, accompanying their transformation journey from strategy to implementation.</a:t>
            </a:r>
          </a:p>
        </p:txBody>
      </p:sp>
    </p:spTree>
    <p:extLst>
      <p:ext uri="{BB962C8B-B14F-4D97-AF65-F5344CB8AC3E}">
        <p14:creationId xmlns:p14="http://schemas.microsoft.com/office/powerpoint/2010/main" val="956195871"/>
      </p:ext>
    </p:extLst>
  </p:cSld>
  <p:clrMapOvr>
    <a:masterClrMapping/>
  </p:clrMapOvr>
  <p:transition>
    <p:fade/>
  </p:transition>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EFB960B-1647-4D1C-C881-4EB1DE0251DF}"/>
              </a:ext>
            </a:extLst>
          </p:cNvPr>
          <p:cNvGraphicFramePr>
            <a:graphicFrameLocks noChangeAspect="1"/>
          </p:cNvGraphicFramePr>
          <p:nvPr>
            <p:custDataLst>
              <p:tags r:id="rId1"/>
            </p:custDataLst>
            <p:extLst>
              <p:ext uri="{D42A27DB-BD31-4B8C-83A1-F6EECF244321}">
                <p14:modId xmlns:p14="http://schemas.microsoft.com/office/powerpoint/2010/main" val="297939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9" name="think-cell data - do not delete" hidden="1">
                        <a:extLst>
                          <a:ext uri="{FF2B5EF4-FFF2-40B4-BE49-F238E27FC236}">
                            <a16:creationId xmlns:a16="http://schemas.microsoft.com/office/drawing/2014/main" id="{3EFB960B-1647-4D1C-C881-4EB1DE0251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84B7F0-0E58-B1FF-2B84-E52DE1BBDB71}"/>
              </a:ext>
            </a:extLst>
          </p:cNvPr>
          <p:cNvSpPr>
            <a:spLocks noGrp="1"/>
          </p:cNvSpPr>
          <p:nvPr>
            <p:ph type="title"/>
          </p:nvPr>
        </p:nvSpPr>
        <p:spPr/>
        <p:txBody>
          <a:bodyPr vert="horz"/>
          <a:lstStyle/>
          <a:p>
            <a:r>
              <a:rPr lang="hu-HU" dirty="0"/>
              <a:t>Deloitte has a</a:t>
            </a:r>
            <a:r>
              <a:rPr lang="en-US" dirty="0"/>
              <a:t> wide range of experience with various UN agencies across Europe</a:t>
            </a:r>
          </a:p>
        </p:txBody>
      </p:sp>
      <p:grpSp>
        <p:nvGrpSpPr>
          <p:cNvPr id="198" name="Group 197">
            <a:extLst>
              <a:ext uri="{FF2B5EF4-FFF2-40B4-BE49-F238E27FC236}">
                <a16:creationId xmlns:a16="http://schemas.microsoft.com/office/drawing/2014/main" id="{2E524F3D-61EB-CCE5-EF5D-73C59D5D25A2}"/>
              </a:ext>
            </a:extLst>
          </p:cNvPr>
          <p:cNvGrpSpPr/>
          <p:nvPr/>
        </p:nvGrpSpPr>
        <p:grpSpPr>
          <a:xfrm>
            <a:off x="5300906" y="2891152"/>
            <a:ext cx="1590194" cy="1932739"/>
            <a:chOff x="769647" y="2089863"/>
            <a:chExt cx="3472169" cy="4220118"/>
          </a:xfrm>
          <a:solidFill>
            <a:schemeClr val="bg1">
              <a:lumMod val="85000"/>
            </a:schemeClr>
          </a:solidFill>
        </p:grpSpPr>
        <p:sp>
          <p:nvSpPr>
            <p:cNvPr id="44" name="Freeform 5">
              <a:extLst>
                <a:ext uri="{FF2B5EF4-FFF2-40B4-BE49-F238E27FC236}">
                  <a16:creationId xmlns:a16="http://schemas.microsoft.com/office/drawing/2014/main" id="{346E42A9-854C-763C-C9C5-9ABB45021167}"/>
                </a:ext>
              </a:extLst>
            </p:cNvPr>
            <p:cNvSpPr>
              <a:spLocks/>
            </p:cNvSpPr>
            <p:nvPr/>
          </p:nvSpPr>
          <p:spPr bwMode="auto">
            <a:xfrm>
              <a:off x="769647" y="5528099"/>
              <a:ext cx="317584" cy="654349"/>
            </a:xfrm>
            <a:custGeom>
              <a:avLst/>
              <a:gdLst>
                <a:gd name="T0" fmla="*/ 103 w 114"/>
                <a:gd name="T1" fmla="*/ 16 h 232"/>
                <a:gd name="T2" fmla="*/ 91 w 114"/>
                <a:gd name="T3" fmla="*/ 9 h 232"/>
                <a:gd name="T4" fmla="*/ 84 w 114"/>
                <a:gd name="T5" fmla="*/ 7 h 232"/>
                <a:gd name="T6" fmla="*/ 75 w 114"/>
                <a:gd name="T7" fmla="*/ 14 h 232"/>
                <a:gd name="T8" fmla="*/ 62 w 114"/>
                <a:gd name="T9" fmla="*/ 12 h 232"/>
                <a:gd name="T10" fmla="*/ 51 w 114"/>
                <a:gd name="T11" fmla="*/ 11 h 232"/>
                <a:gd name="T12" fmla="*/ 52 w 114"/>
                <a:gd name="T13" fmla="*/ 3 h 232"/>
                <a:gd name="T14" fmla="*/ 35 w 114"/>
                <a:gd name="T15" fmla="*/ 7 h 232"/>
                <a:gd name="T16" fmla="*/ 33 w 114"/>
                <a:gd name="T17" fmla="*/ 20 h 232"/>
                <a:gd name="T18" fmla="*/ 34 w 114"/>
                <a:gd name="T19" fmla="*/ 45 h 232"/>
                <a:gd name="T20" fmla="*/ 30 w 114"/>
                <a:gd name="T21" fmla="*/ 67 h 232"/>
                <a:gd name="T22" fmla="*/ 33 w 114"/>
                <a:gd name="T23" fmla="*/ 62 h 232"/>
                <a:gd name="T24" fmla="*/ 27 w 114"/>
                <a:gd name="T25" fmla="*/ 76 h 232"/>
                <a:gd name="T26" fmla="*/ 18 w 114"/>
                <a:gd name="T27" fmla="*/ 107 h 232"/>
                <a:gd name="T28" fmla="*/ 11 w 114"/>
                <a:gd name="T29" fmla="*/ 124 h 232"/>
                <a:gd name="T30" fmla="*/ 4 w 114"/>
                <a:gd name="T31" fmla="*/ 137 h 232"/>
                <a:gd name="T32" fmla="*/ 10 w 114"/>
                <a:gd name="T33" fmla="*/ 155 h 232"/>
                <a:gd name="T34" fmla="*/ 14 w 114"/>
                <a:gd name="T35" fmla="*/ 155 h 232"/>
                <a:gd name="T36" fmla="*/ 14 w 114"/>
                <a:gd name="T37" fmla="*/ 159 h 232"/>
                <a:gd name="T38" fmla="*/ 8 w 114"/>
                <a:gd name="T39" fmla="*/ 159 h 232"/>
                <a:gd name="T40" fmla="*/ 17 w 114"/>
                <a:gd name="T41" fmla="*/ 164 h 232"/>
                <a:gd name="T42" fmla="*/ 22 w 114"/>
                <a:gd name="T43" fmla="*/ 163 h 232"/>
                <a:gd name="T44" fmla="*/ 27 w 114"/>
                <a:gd name="T45" fmla="*/ 168 h 232"/>
                <a:gd name="T46" fmla="*/ 18 w 114"/>
                <a:gd name="T47" fmla="*/ 164 h 232"/>
                <a:gd name="T48" fmla="*/ 18 w 114"/>
                <a:gd name="T49" fmla="*/ 188 h 232"/>
                <a:gd name="T50" fmla="*/ 19 w 114"/>
                <a:gd name="T51" fmla="*/ 206 h 232"/>
                <a:gd name="T52" fmla="*/ 13 w 114"/>
                <a:gd name="T53" fmla="*/ 232 h 232"/>
                <a:gd name="T54" fmla="*/ 27 w 114"/>
                <a:gd name="T55" fmla="*/ 225 h 232"/>
                <a:gd name="T56" fmla="*/ 52 w 114"/>
                <a:gd name="T57" fmla="*/ 229 h 232"/>
                <a:gd name="T58" fmla="*/ 62 w 114"/>
                <a:gd name="T59" fmla="*/ 211 h 232"/>
                <a:gd name="T60" fmla="*/ 69 w 114"/>
                <a:gd name="T61" fmla="*/ 192 h 232"/>
                <a:gd name="T62" fmla="*/ 78 w 114"/>
                <a:gd name="T63" fmla="*/ 184 h 232"/>
                <a:gd name="T64" fmla="*/ 69 w 114"/>
                <a:gd name="T65" fmla="*/ 167 h 232"/>
                <a:gd name="T66" fmla="*/ 82 w 114"/>
                <a:gd name="T67" fmla="*/ 140 h 232"/>
                <a:gd name="T68" fmla="*/ 74 w 114"/>
                <a:gd name="T69" fmla="*/ 131 h 232"/>
                <a:gd name="T70" fmla="*/ 72 w 114"/>
                <a:gd name="T71" fmla="*/ 120 h 232"/>
                <a:gd name="T72" fmla="*/ 73 w 114"/>
                <a:gd name="T73" fmla="*/ 112 h 232"/>
                <a:gd name="T74" fmla="*/ 87 w 114"/>
                <a:gd name="T75" fmla="*/ 98 h 232"/>
                <a:gd name="T76" fmla="*/ 91 w 114"/>
                <a:gd name="T77" fmla="*/ 80 h 232"/>
                <a:gd name="T78" fmla="*/ 91 w 114"/>
                <a:gd name="T79" fmla="*/ 67 h 232"/>
                <a:gd name="T80" fmla="*/ 91 w 114"/>
                <a:gd name="T81" fmla="*/ 56 h 232"/>
                <a:gd name="T82" fmla="*/ 94 w 114"/>
                <a:gd name="T83" fmla="*/ 45 h 232"/>
                <a:gd name="T84" fmla="*/ 107 w 114"/>
                <a:gd name="T85" fmla="*/ 34 h 232"/>
                <a:gd name="T86" fmla="*/ 113 w 114"/>
                <a:gd name="T87" fmla="*/ 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4" h="232">
                  <a:moveTo>
                    <a:pt x="107" y="21"/>
                  </a:moveTo>
                  <a:cubicBezTo>
                    <a:pt x="106" y="21"/>
                    <a:pt x="104" y="23"/>
                    <a:pt x="103" y="21"/>
                  </a:cubicBezTo>
                  <a:cubicBezTo>
                    <a:pt x="102" y="19"/>
                    <a:pt x="102" y="17"/>
                    <a:pt x="103" y="16"/>
                  </a:cubicBezTo>
                  <a:cubicBezTo>
                    <a:pt x="104" y="14"/>
                    <a:pt x="104" y="8"/>
                    <a:pt x="101" y="9"/>
                  </a:cubicBezTo>
                  <a:cubicBezTo>
                    <a:pt x="99" y="10"/>
                    <a:pt x="97" y="10"/>
                    <a:pt x="96" y="8"/>
                  </a:cubicBezTo>
                  <a:cubicBezTo>
                    <a:pt x="96" y="7"/>
                    <a:pt x="93" y="9"/>
                    <a:pt x="91" y="9"/>
                  </a:cubicBezTo>
                  <a:cubicBezTo>
                    <a:pt x="91" y="9"/>
                    <a:pt x="91" y="7"/>
                    <a:pt x="89" y="8"/>
                  </a:cubicBezTo>
                  <a:cubicBezTo>
                    <a:pt x="89" y="9"/>
                    <a:pt x="88" y="9"/>
                    <a:pt x="87" y="9"/>
                  </a:cubicBezTo>
                  <a:cubicBezTo>
                    <a:pt x="86" y="8"/>
                    <a:pt x="85" y="6"/>
                    <a:pt x="84" y="7"/>
                  </a:cubicBezTo>
                  <a:cubicBezTo>
                    <a:pt x="83" y="8"/>
                    <a:pt x="83" y="9"/>
                    <a:pt x="83" y="10"/>
                  </a:cubicBezTo>
                  <a:cubicBezTo>
                    <a:pt x="83" y="12"/>
                    <a:pt x="82" y="12"/>
                    <a:pt x="80" y="13"/>
                  </a:cubicBezTo>
                  <a:cubicBezTo>
                    <a:pt x="79" y="13"/>
                    <a:pt x="77" y="14"/>
                    <a:pt x="75" y="14"/>
                  </a:cubicBezTo>
                  <a:cubicBezTo>
                    <a:pt x="74" y="15"/>
                    <a:pt x="74" y="12"/>
                    <a:pt x="73" y="13"/>
                  </a:cubicBezTo>
                  <a:cubicBezTo>
                    <a:pt x="72" y="13"/>
                    <a:pt x="70" y="14"/>
                    <a:pt x="69" y="14"/>
                  </a:cubicBezTo>
                  <a:cubicBezTo>
                    <a:pt x="72" y="9"/>
                    <a:pt x="63" y="12"/>
                    <a:pt x="62" y="12"/>
                  </a:cubicBezTo>
                  <a:cubicBezTo>
                    <a:pt x="61" y="13"/>
                    <a:pt x="60" y="10"/>
                    <a:pt x="61" y="10"/>
                  </a:cubicBezTo>
                  <a:cubicBezTo>
                    <a:pt x="57" y="11"/>
                    <a:pt x="56" y="16"/>
                    <a:pt x="52" y="15"/>
                  </a:cubicBezTo>
                  <a:cubicBezTo>
                    <a:pt x="52" y="13"/>
                    <a:pt x="51" y="13"/>
                    <a:pt x="51" y="11"/>
                  </a:cubicBezTo>
                  <a:cubicBezTo>
                    <a:pt x="50" y="9"/>
                    <a:pt x="52" y="8"/>
                    <a:pt x="53" y="7"/>
                  </a:cubicBezTo>
                  <a:cubicBezTo>
                    <a:pt x="54" y="6"/>
                    <a:pt x="56" y="5"/>
                    <a:pt x="54" y="4"/>
                  </a:cubicBezTo>
                  <a:cubicBezTo>
                    <a:pt x="54" y="4"/>
                    <a:pt x="52" y="3"/>
                    <a:pt x="52" y="3"/>
                  </a:cubicBezTo>
                  <a:cubicBezTo>
                    <a:pt x="51" y="2"/>
                    <a:pt x="52" y="1"/>
                    <a:pt x="52" y="0"/>
                  </a:cubicBezTo>
                  <a:cubicBezTo>
                    <a:pt x="49" y="1"/>
                    <a:pt x="47" y="3"/>
                    <a:pt x="45" y="3"/>
                  </a:cubicBezTo>
                  <a:cubicBezTo>
                    <a:pt x="41" y="3"/>
                    <a:pt x="38" y="4"/>
                    <a:pt x="35" y="7"/>
                  </a:cubicBezTo>
                  <a:cubicBezTo>
                    <a:pt x="33" y="9"/>
                    <a:pt x="30" y="12"/>
                    <a:pt x="29" y="15"/>
                  </a:cubicBezTo>
                  <a:cubicBezTo>
                    <a:pt x="29" y="17"/>
                    <a:pt x="28" y="19"/>
                    <a:pt x="30" y="20"/>
                  </a:cubicBezTo>
                  <a:cubicBezTo>
                    <a:pt x="30" y="21"/>
                    <a:pt x="32" y="20"/>
                    <a:pt x="33" y="20"/>
                  </a:cubicBezTo>
                  <a:cubicBezTo>
                    <a:pt x="31" y="21"/>
                    <a:pt x="30" y="20"/>
                    <a:pt x="30" y="23"/>
                  </a:cubicBezTo>
                  <a:cubicBezTo>
                    <a:pt x="30" y="26"/>
                    <a:pt x="31" y="28"/>
                    <a:pt x="31" y="31"/>
                  </a:cubicBezTo>
                  <a:cubicBezTo>
                    <a:pt x="31" y="33"/>
                    <a:pt x="31" y="45"/>
                    <a:pt x="34" y="45"/>
                  </a:cubicBezTo>
                  <a:cubicBezTo>
                    <a:pt x="33" y="46"/>
                    <a:pt x="33" y="48"/>
                    <a:pt x="34" y="49"/>
                  </a:cubicBezTo>
                  <a:cubicBezTo>
                    <a:pt x="34" y="52"/>
                    <a:pt x="34" y="54"/>
                    <a:pt x="33" y="56"/>
                  </a:cubicBezTo>
                  <a:cubicBezTo>
                    <a:pt x="32" y="59"/>
                    <a:pt x="30" y="63"/>
                    <a:pt x="30" y="67"/>
                  </a:cubicBezTo>
                  <a:cubicBezTo>
                    <a:pt x="32" y="65"/>
                    <a:pt x="33" y="60"/>
                    <a:pt x="33" y="58"/>
                  </a:cubicBezTo>
                  <a:cubicBezTo>
                    <a:pt x="33" y="58"/>
                    <a:pt x="33" y="59"/>
                    <a:pt x="33" y="60"/>
                  </a:cubicBezTo>
                  <a:cubicBezTo>
                    <a:pt x="34" y="58"/>
                    <a:pt x="33" y="61"/>
                    <a:pt x="33" y="62"/>
                  </a:cubicBezTo>
                  <a:cubicBezTo>
                    <a:pt x="32" y="63"/>
                    <a:pt x="33" y="64"/>
                    <a:pt x="34" y="63"/>
                  </a:cubicBezTo>
                  <a:cubicBezTo>
                    <a:pt x="33" y="65"/>
                    <a:pt x="31" y="65"/>
                    <a:pt x="31" y="67"/>
                  </a:cubicBezTo>
                  <a:cubicBezTo>
                    <a:pt x="29" y="65"/>
                    <a:pt x="27" y="74"/>
                    <a:pt x="27" y="76"/>
                  </a:cubicBezTo>
                  <a:cubicBezTo>
                    <a:pt x="26" y="79"/>
                    <a:pt x="22" y="87"/>
                    <a:pt x="24" y="90"/>
                  </a:cubicBezTo>
                  <a:cubicBezTo>
                    <a:pt x="25" y="91"/>
                    <a:pt x="21" y="98"/>
                    <a:pt x="21" y="100"/>
                  </a:cubicBezTo>
                  <a:cubicBezTo>
                    <a:pt x="19" y="104"/>
                    <a:pt x="19" y="104"/>
                    <a:pt x="18" y="107"/>
                  </a:cubicBezTo>
                  <a:cubicBezTo>
                    <a:pt x="17" y="111"/>
                    <a:pt x="15" y="116"/>
                    <a:pt x="13" y="118"/>
                  </a:cubicBezTo>
                  <a:cubicBezTo>
                    <a:pt x="12" y="119"/>
                    <a:pt x="11" y="120"/>
                    <a:pt x="11" y="121"/>
                  </a:cubicBezTo>
                  <a:cubicBezTo>
                    <a:pt x="11" y="122"/>
                    <a:pt x="12" y="123"/>
                    <a:pt x="11" y="124"/>
                  </a:cubicBezTo>
                  <a:cubicBezTo>
                    <a:pt x="12" y="123"/>
                    <a:pt x="10" y="122"/>
                    <a:pt x="9" y="123"/>
                  </a:cubicBezTo>
                  <a:cubicBezTo>
                    <a:pt x="8" y="124"/>
                    <a:pt x="6" y="124"/>
                    <a:pt x="5" y="125"/>
                  </a:cubicBezTo>
                  <a:cubicBezTo>
                    <a:pt x="9" y="127"/>
                    <a:pt x="5" y="134"/>
                    <a:pt x="4" y="137"/>
                  </a:cubicBezTo>
                  <a:cubicBezTo>
                    <a:pt x="3" y="140"/>
                    <a:pt x="3" y="143"/>
                    <a:pt x="2" y="145"/>
                  </a:cubicBezTo>
                  <a:cubicBezTo>
                    <a:pt x="2" y="148"/>
                    <a:pt x="0" y="150"/>
                    <a:pt x="0" y="153"/>
                  </a:cubicBezTo>
                  <a:cubicBezTo>
                    <a:pt x="0" y="157"/>
                    <a:pt x="8" y="156"/>
                    <a:pt x="10" y="155"/>
                  </a:cubicBezTo>
                  <a:cubicBezTo>
                    <a:pt x="14" y="154"/>
                    <a:pt x="13" y="147"/>
                    <a:pt x="17" y="144"/>
                  </a:cubicBezTo>
                  <a:cubicBezTo>
                    <a:pt x="16" y="147"/>
                    <a:pt x="17" y="148"/>
                    <a:pt x="18" y="150"/>
                  </a:cubicBezTo>
                  <a:cubicBezTo>
                    <a:pt x="19" y="153"/>
                    <a:pt x="13" y="153"/>
                    <a:pt x="14" y="155"/>
                  </a:cubicBezTo>
                  <a:cubicBezTo>
                    <a:pt x="15" y="156"/>
                    <a:pt x="16" y="154"/>
                    <a:pt x="16" y="156"/>
                  </a:cubicBezTo>
                  <a:cubicBezTo>
                    <a:pt x="16" y="156"/>
                    <a:pt x="13" y="156"/>
                    <a:pt x="13" y="157"/>
                  </a:cubicBezTo>
                  <a:cubicBezTo>
                    <a:pt x="13" y="157"/>
                    <a:pt x="14" y="158"/>
                    <a:pt x="14" y="159"/>
                  </a:cubicBezTo>
                  <a:cubicBezTo>
                    <a:pt x="13" y="158"/>
                    <a:pt x="12" y="158"/>
                    <a:pt x="11" y="157"/>
                  </a:cubicBezTo>
                  <a:cubicBezTo>
                    <a:pt x="12" y="157"/>
                    <a:pt x="12" y="157"/>
                    <a:pt x="12" y="157"/>
                  </a:cubicBezTo>
                  <a:cubicBezTo>
                    <a:pt x="10" y="155"/>
                    <a:pt x="6" y="155"/>
                    <a:pt x="8" y="159"/>
                  </a:cubicBezTo>
                  <a:cubicBezTo>
                    <a:pt x="9" y="160"/>
                    <a:pt x="9" y="162"/>
                    <a:pt x="9" y="164"/>
                  </a:cubicBezTo>
                  <a:cubicBezTo>
                    <a:pt x="9" y="164"/>
                    <a:pt x="8" y="167"/>
                    <a:pt x="8" y="168"/>
                  </a:cubicBezTo>
                  <a:cubicBezTo>
                    <a:pt x="9" y="169"/>
                    <a:pt x="16" y="165"/>
                    <a:pt x="17" y="164"/>
                  </a:cubicBezTo>
                  <a:cubicBezTo>
                    <a:pt x="18" y="163"/>
                    <a:pt x="19" y="163"/>
                    <a:pt x="20" y="164"/>
                  </a:cubicBezTo>
                  <a:cubicBezTo>
                    <a:pt x="21" y="165"/>
                    <a:pt x="23" y="166"/>
                    <a:pt x="23" y="164"/>
                  </a:cubicBezTo>
                  <a:cubicBezTo>
                    <a:pt x="23" y="164"/>
                    <a:pt x="22" y="163"/>
                    <a:pt x="22" y="163"/>
                  </a:cubicBezTo>
                  <a:cubicBezTo>
                    <a:pt x="23" y="163"/>
                    <a:pt x="23" y="162"/>
                    <a:pt x="24" y="161"/>
                  </a:cubicBezTo>
                  <a:cubicBezTo>
                    <a:pt x="24" y="162"/>
                    <a:pt x="23" y="163"/>
                    <a:pt x="24" y="163"/>
                  </a:cubicBezTo>
                  <a:cubicBezTo>
                    <a:pt x="22" y="165"/>
                    <a:pt x="24" y="168"/>
                    <a:pt x="27" y="168"/>
                  </a:cubicBezTo>
                  <a:cubicBezTo>
                    <a:pt x="25" y="168"/>
                    <a:pt x="23" y="168"/>
                    <a:pt x="21" y="167"/>
                  </a:cubicBezTo>
                  <a:cubicBezTo>
                    <a:pt x="21" y="167"/>
                    <a:pt x="21" y="168"/>
                    <a:pt x="21" y="169"/>
                  </a:cubicBezTo>
                  <a:cubicBezTo>
                    <a:pt x="21" y="167"/>
                    <a:pt x="20" y="165"/>
                    <a:pt x="18" y="164"/>
                  </a:cubicBezTo>
                  <a:cubicBezTo>
                    <a:pt x="20" y="169"/>
                    <a:pt x="22" y="172"/>
                    <a:pt x="21" y="177"/>
                  </a:cubicBezTo>
                  <a:cubicBezTo>
                    <a:pt x="21" y="179"/>
                    <a:pt x="20" y="181"/>
                    <a:pt x="20" y="184"/>
                  </a:cubicBezTo>
                  <a:cubicBezTo>
                    <a:pt x="19" y="185"/>
                    <a:pt x="18" y="187"/>
                    <a:pt x="18" y="188"/>
                  </a:cubicBezTo>
                  <a:cubicBezTo>
                    <a:pt x="17" y="189"/>
                    <a:pt x="20" y="190"/>
                    <a:pt x="20" y="193"/>
                  </a:cubicBezTo>
                  <a:cubicBezTo>
                    <a:pt x="20" y="194"/>
                    <a:pt x="18" y="199"/>
                    <a:pt x="20" y="199"/>
                  </a:cubicBezTo>
                  <a:cubicBezTo>
                    <a:pt x="18" y="200"/>
                    <a:pt x="19" y="204"/>
                    <a:pt x="19" y="206"/>
                  </a:cubicBezTo>
                  <a:cubicBezTo>
                    <a:pt x="19" y="210"/>
                    <a:pt x="18" y="213"/>
                    <a:pt x="17" y="216"/>
                  </a:cubicBezTo>
                  <a:cubicBezTo>
                    <a:pt x="16" y="218"/>
                    <a:pt x="15" y="221"/>
                    <a:pt x="14" y="224"/>
                  </a:cubicBezTo>
                  <a:cubicBezTo>
                    <a:pt x="13" y="227"/>
                    <a:pt x="11" y="228"/>
                    <a:pt x="13" y="232"/>
                  </a:cubicBezTo>
                  <a:cubicBezTo>
                    <a:pt x="16" y="229"/>
                    <a:pt x="19" y="230"/>
                    <a:pt x="22" y="228"/>
                  </a:cubicBezTo>
                  <a:cubicBezTo>
                    <a:pt x="23" y="227"/>
                    <a:pt x="23" y="226"/>
                    <a:pt x="24" y="226"/>
                  </a:cubicBezTo>
                  <a:cubicBezTo>
                    <a:pt x="25" y="226"/>
                    <a:pt x="26" y="227"/>
                    <a:pt x="27" y="225"/>
                  </a:cubicBezTo>
                  <a:cubicBezTo>
                    <a:pt x="25" y="228"/>
                    <a:pt x="39" y="228"/>
                    <a:pt x="41" y="229"/>
                  </a:cubicBezTo>
                  <a:cubicBezTo>
                    <a:pt x="44" y="231"/>
                    <a:pt x="47" y="231"/>
                    <a:pt x="50" y="230"/>
                  </a:cubicBezTo>
                  <a:cubicBezTo>
                    <a:pt x="49" y="232"/>
                    <a:pt x="52" y="230"/>
                    <a:pt x="52" y="229"/>
                  </a:cubicBezTo>
                  <a:cubicBezTo>
                    <a:pt x="53" y="229"/>
                    <a:pt x="55" y="227"/>
                    <a:pt x="56" y="226"/>
                  </a:cubicBezTo>
                  <a:cubicBezTo>
                    <a:pt x="58" y="225"/>
                    <a:pt x="60" y="223"/>
                    <a:pt x="63" y="224"/>
                  </a:cubicBezTo>
                  <a:cubicBezTo>
                    <a:pt x="61" y="220"/>
                    <a:pt x="62" y="215"/>
                    <a:pt x="62" y="211"/>
                  </a:cubicBezTo>
                  <a:cubicBezTo>
                    <a:pt x="62" y="210"/>
                    <a:pt x="61" y="208"/>
                    <a:pt x="60" y="207"/>
                  </a:cubicBezTo>
                  <a:cubicBezTo>
                    <a:pt x="60" y="205"/>
                    <a:pt x="62" y="203"/>
                    <a:pt x="62" y="202"/>
                  </a:cubicBezTo>
                  <a:cubicBezTo>
                    <a:pt x="64" y="198"/>
                    <a:pt x="67" y="196"/>
                    <a:pt x="69" y="192"/>
                  </a:cubicBezTo>
                  <a:cubicBezTo>
                    <a:pt x="70" y="190"/>
                    <a:pt x="69" y="186"/>
                    <a:pt x="72" y="187"/>
                  </a:cubicBezTo>
                  <a:cubicBezTo>
                    <a:pt x="74" y="187"/>
                    <a:pt x="74" y="184"/>
                    <a:pt x="76" y="185"/>
                  </a:cubicBezTo>
                  <a:cubicBezTo>
                    <a:pt x="77" y="185"/>
                    <a:pt x="78" y="186"/>
                    <a:pt x="78" y="184"/>
                  </a:cubicBezTo>
                  <a:cubicBezTo>
                    <a:pt x="79" y="182"/>
                    <a:pt x="80" y="180"/>
                    <a:pt x="80" y="178"/>
                  </a:cubicBezTo>
                  <a:cubicBezTo>
                    <a:pt x="81" y="176"/>
                    <a:pt x="76" y="179"/>
                    <a:pt x="75" y="177"/>
                  </a:cubicBezTo>
                  <a:cubicBezTo>
                    <a:pt x="73" y="174"/>
                    <a:pt x="72" y="170"/>
                    <a:pt x="69" y="167"/>
                  </a:cubicBezTo>
                  <a:cubicBezTo>
                    <a:pt x="68" y="165"/>
                    <a:pt x="71" y="161"/>
                    <a:pt x="71" y="158"/>
                  </a:cubicBezTo>
                  <a:cubicBezTo>
                    <a:pt x="72" y="154"/>
                    <a:pt x="73" y="153"/>
                    <a:pt x="76" y="150"/>
                  </a:cubicBezTo>
                  <a:cubicBezTo>
                    <a:pt x="78" y="148"/>
                    <a:pt x="81" y="144"/>
                    <a:pt x="82" y="140"/>
                  </a:cubicBezTo>
                  <a:cubicBezTo>
                    <a:pt x="83" y="136"/>
                    <a:pt x="80" y="137"/>
                    <a:pt x="77" y="136"/>
                  </a:cubicBezTo>
                  <a:cubicBezTo>
                    <a:pt x="75" y="136"/>
                    <a:pt x="77" y="135"/>
                    <a:pt x="76" y="134"/>
                  </a:cubicBezTo>
                  <a:cubicBezTo>
                    <a:pt x="75" y="133"/>
                    <a:pt x="74" y="133"/>
                    <a:pt x="74" y="131"/>
                  </a:cubicBezTo>
                  <a:cubicBezTo>
                    <a:pt x="73" y="130"/>
                    <a:pt x="74" y="129"/>
                    <a:pt x="73" y="128"/>
                  </a:cubicBezTo>
                  <a:cubicBezTo>
                    <a:pt x="73" y="127"/>
                    <a:pt x="72" y="126"/>
                    <a:pt x="72" y="125"/>
                  </a:cubicBezTo>
                  <a:cubicBezTo>
                    <a:pt x="71" y="124"/>
                    <a:pt x="73" y="121"/>
                    <a:pt x="72" y="120"/>
                  </a:cubicBezTo>
                  <a:cubicBezTo>
                    <a:pt x="71" y="120"/>
                    <a:pt x="70" y="119"/>
                    <a:pt x="70" y="118"/>
                  </a:cubicBezTo>
                  <a:cubicBezTo>
                    <a:pt x="69" y="115"/>
                    <a:pt x="66" y="115"/>
                    <a:pt x="65" y="111"/>
                  </a:cubicBezTo>
                  <a:cubicBezTo>
                    <a:pt x="69" y="112"/>
                    <a:pt x="69" y="112"/>
                    <a:pt x="73" y="112"/>
                  </a:cubicBezTo>
                  <a:cubicBezTo>
                    <a:pt x="74" y="112"/>
                    <a:pt x="80" y="112"/>
                    <a:pt x="81" y="111"/>
                  </a:cubicBezTo>
                  <a:cubicBezTo>
                    <a:pt x="83" y="110"/>
                    <a:pt x="83" y="107"/>
                    <a:pt x="84" y="105"/>
                  </a:cubicBezTo>
                  <a:cubicBezTo>
                    <a:pt x="85" y="102"/>
                    <a:pt x="86" y="101"/>
                    <a:pt x="87" y="98"/>
                  </a:cubicBezTo>
                  <a:cubicBezTo>
                    <a:pt x="87" y="95"/>
                    <a:pt x="87" y="92"/>
                    <a:pt x="85" y="91"/>
                  </a:cubicBezTo>
                  <a:cubicBezTo>
                    <a:pt x="83" y="90"/>
                    <a:pt x="82" y="88"/>
                    <a:pt x="84" y="86"/>
                  </a:cubicBezTo>
                  <a:cubicBezTo>
                    <a:pt x="86" y="85"/>
                    <a:pt x="91" y="84"/>
                    <a:pt x="91" y="80"/>
                  </a:cubicBezTo>
                  <a:cubicBezTo>
                    <a:pt x="91" y="78"/>
                    <a:pt x="89" y="78"/>
                    <a:pt x="90" y="75"/>
                  </a:cubicBezTo>
                  <a:cubicBezTo>
                    <a:pt x="91" y="72"/>
                    <a:pt x="90" y="72"/>
                    <a:pt x="90" y="70"/>
                  </a:cubicBezTo>
                  <a:cubicBezTo>
                    <a:pt x="91" y="69"/>
                    <a:pt x="91" y="68"/>
                    <a:pt x="91" y="67"/>
                  </a:cubicBezTo>
                  <a:cubicBezTo>
                    <a:pt x="92" y="65"/>
                    <a:pt x="91" y="64"/>
                    <a:pt x="91" y="62"/>
                  </a:cubicBezTo>
                  <a:cubicBezTo>
                    <a:pt x="91" y="61"/>
                    <a:pt x="91" y="59"/>
                    <a:pt x="92" y="58"/>
                  </a:cubicBezTo>
                  <a:cubicBezTo>
                    <a:pt x="93" y="57"/>
                    <a:pt x="91" y="57"/>
                    <a:pt x="91" y="56"/>
                  </a:cubicBezTo>
                  <a:cubicBezTo>
                    <a:pt x="91" y="56"/>
                    <a:pt x="88" y="51"/>
                    <a:pt x="89" y="50"/>
                  </a:cubicBezTo>
                  <a:cubicBezTo>
                    <a:pt x="90" y="49"/>
                    <a:pt x="92" y="50"/>
                    <a:pt x="93" y="49"/>
                  </a:cubicBezTo>
                  <a:cubicBezTo>
                    <a:pt x="94" y="48"/>
                    <a:pt x="93" y="46"/>
                    <a:pt x="94" y="45"/>
                  </a:cubicBezTo>
                  <a:cubicBezTo>
                    <a:pt x="95" y="44"/>
                    <a:pt x="96" y="43"/>
                    <a:pt x="97" y="42"/>
                  </a:cubicBezTo>
                  <a:cubicBezTo>
                    <a:pt x="98" y="41"/>
                    <a:pt x="99" y="41"/>
                    <a:pt x="101" y="40"/>
                  </a:cubicBezTo>
                  <a:cubicBezTo>
                    <a:pt x="103" y="40"/>
                    <a:pt x="106" y="37"/>
                    <a:pt x="107" y="34"/>
                  </a:cubicBezTo>
                  <a:cubicBezTo>
                    <a:pt x="107" y="34"/>
                    <a:pt x="108" y="34"/>
                    <a:pt x="109" y="34"/>
                  </a:cubicBezTo>
                  <a:cubicBezTo>
                    <a:pt x="109" y="33"/>
                    <a:pt x="110" y="32"/>
                    <a:pt x="110" y="31"/>
                  </a:cubicBezTo>
                  <a:cubicBezTo>
                    <a:pt x="111" y="30"/>
                    <a:pt x="114" y="27"/>
                    <a:pt x="113" y="25"/>
                  </a:cubicBezTo>
                  <a:cubicBezTo>
                    <a:pt x="113" y="23"/>
                    <a:pt x="109" y="21"/>
                    <a:pt x="107" y="21"/>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6">
              <a:extLst>
                <a:ext uri="{FF2B5EF4-FFF2-40B4-BE49-F238E27FC236}">
                  <a16:creationId xmlns:a16="http://schemas.microsoft.com/office/drawing/2014/main" id="{00DA5303-D599-8F22-503F-A592AE7FC722}"/>
                </a:ext>
              </a:extLst>
            </p:cNvPr>
            <p:cNvSpPr>
              <a:spLocks/>
            </p:cNvSpPr>
            <p:nvPr/>
          </p:nvSpPr>
          <p:spPr bwMode="auto">
            <a:xfrm>
              <a:off x="1727120" y="5897586"/>
              <a:ext cx="36599" cy="45292"/>
            </a:xfrm>
            <a:custGeom>
              <a:avLst/>
              <a:gdLst>
                <a:gd name="T0" fmla="*/ 3 w 13"/>
                <a:gd name="T1" fmla="*/ 10 h 16"/>
                <a:gd name="T2" fmla="*/ 1 w 13"/>
                <a:gd name="T3" fmla="*/ 11 h 16"/>
                <a:gd name="T4" fmla="*/ 1 w 13"/>
                <a:gd name="T5" fmla="*/ 14 h 16"/>
                <a:gd name="T6" fmla="*/ 5 w 13"/>
                <a:gd name="T7" fmla="*/ 16 h 16"/>
                <a:gd name="T8" fmla="*/ 7 w 13"/>
                <a:gd name="T9" fmla="*/ 13 h 16"/>
                <a:gd name="T10" fmla="*/ 10 w 13"/>
                <a:gd name="T11" fmla="*/ 11 h 16"/>
                <a:gd name="T12" fmla="*/ 13 w 13"/>
                <a:gd name="T13" fmla="*/ 6 h 16"/>
                <a:gd name="T14" fmla="*/ 3 w 13"/>
                <a:gd name="T15" fmla="*/ 1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3" y="10"/>
                  </a:moveTo>
                  <a:cubicBezTo>
                    <a:pt x="2" y="10"/>
                    <a:pt x="1" y="10"/>
                    <a:pt x="1" y="11"/>
                  </a:cubicBezTo>
                  <a:cubicBezTo>
                    <a:pt x="0" y="12"/>
                    <a:pt x="0" y="14"/>
                    <a:pt x="1" y="14"/>
                  </a:cubicBezTo>
                  <a:cubicBezTo>
                    <a:pt x="3" y="15"/>
                    <a:pt x="5" y="13"/>
                    <a:pt x="5" y="16"/>
                  </a:cubicBezTo>
                  <a:cubicBezTo>
                    <a:pt x="7" y="16"/>
                    <a:pt x="6" y="14"/>
                    <a:pt x="7" y="13"/>
                  </a:cubicBezTo>
                  <a:cubicBezTo>
                    <a:pt x="8" y="12"/>
                    <a:pt x="10" y="12"/>
                    <a:pt x="10" y="11"/>
                  </a:cubicBezTo>
                  <a:cubicBezTo>
                    <a:pt x="11" y="8"/>
                    <a:pt x="13" y="9"/>
                    <a:pt x="13" y="6"/>
                  </a:cubicBezTo>
                  <a:cubicBezTo>
                    <a:pt x="13" y="0"/>
                    <a:pt x="1" y="6"/>
                    <a:pt x="3" y="10"/>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7">
              <a:extLst>
                <a:ext uri="{FF2B5EF4-FFF2-40B4-BE49-F238E27FC236}">
                  <a16:creationId xmlns:a16="http://schemas.microsoft.com/office/drawing/2014/main" id="{662714C1-9F45-70D8-30F9-73DDA8B39562}"/>
                </a:ext>
              </a:extLst>
            </p:cNvPr>
            <p:cNvSpPr>
              <a:spLocks/>
            </p:cNvSpPr>
            <p:nvPr/>
          </p:nvSpPr>
          <p:spPr bwMode="auto">
            <a:xfrm>
              <a:off x="1962061" y="5790315"/>
              <a:ext cx="47224" cy="34565"/>
            </a:xfrm>
            <a:custGeom>
              <a:avLst/>
              <a:gdLst>
                <a:gd name="T0" fmla="*/ 17 w 17"/>
                <a:gd name="T1" fmla="*/ 9 h 12"/>
                <a:gd name="T2" fmla="*/ 16 w 17"/>
                <a:gd name="T3" fmla="*/ 6 h 12"/>
                <a:gd name="T4" fmla="*/ 15 w 17"/>
                <a:gd name="T5" fmla="*/ 4 h 12"/>
                <a:gd name="T6" fmla="*/ 13 w 17"/>
                <a:gd name="T7" fmla="*/ 3 h 12"/>
                <a:gd name="T8" fmla="*/ 11 w 17"/>
                <a:gd name="T9" fmla="*/ 2 h 12"/>
                <a:gd name="T10" fmla="*/ 11 w 17"/>
                <a:gd name="T11" fmla="*/ 1 h 12"/>
                <a:gd name="T12" fmla="*/ 10 w 17"/>
                <a:gd name="T13" fmla="*/ 0 h 12"/>
                <a:gd name="T14" fmla="*/ 7 w 17"/>
                <a:gd name="T15" fmla="*/ 1 h 12"/>
                <a:gd name="T16" fmla="*/ 3 w 17"/>
                <a:gd name="T17" fmla="*/ 1 h 12"/>
                <a:gd name="T18" fmla="*/ 0 w 17"/>
                <a:gd name="T19" fmla="*/ 3 h 12"/>
                <a:gd name="T20" fmla="*/ 1 w 17"/>
                <a:gd name="T21" fmla="*/ 4 h 12"/>
                <a:gd name="T22" fmla="*/ 5 w 17"/>
                <a:gd name="T23" fmla="*/ 7 h 12"/>
                <a:gd name="T24" fmla="*/ 15 w 17"/>
                <a:gd name="T25" fmla="*/ 12 h 12"/>
                <a:gd name="T26" fmla="*/ 16 w 17"/>
                <a:gd name="T27" fmla="*/ 8 h 12"/>
                <a:gd name="T28" fmla="*/ 17 w 17"/>
                <a:gd name="T2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2">
                  <a:moveTo>
                    <a:pt x="17" y="9"/>
                  </a:moveTo>
                  <a:cubicBezTo>
                    <a:pt x="16" y="8"/>
                    <a:pt x="16" y="7"/>
                    <a:pt x="16" y="6"/>
                  </a:cubicBezTo>
                  <a:cubicBezTo>
                    <a:pt x="16" y="6"/>
                    <a:pt x="15" y="3"/>
                    <a:pt x="15" y="4"/>
                  </a:cubicBezTo>
                  <a:cubicBezTo>
                    <a:pt x="14" y="3"/>
                    <a:pt x="14" y="4"/>
                    <a:pt x="13" y="3"/>
                  </a:cubicBezTo>
                  <a:cubicBezTo>
                    <a:pt x="13" y="2"/>
                    <a:pt x="12" y="0"/>
                    <a:pt x="11" y="2"/>
                  </a:cubicBezTo>
                  <a:cubicBezTo>
                    <a:pt x="11" y="2"/>
                    <a:pt x="11" y="1"/>
                    <a:pt x="11" y="1"/>
                  </a:cubicBezTo>
                  <a:cubicBezTo>
                    <a:pt x="10" y="2"/>
                    <a:pt x="11" y="0"/>
                    <a:pt x="10" y="0"/>
                  </a:cubicBezTo>
                  <a:cubicBezTo>
                    <a:pt x="10" y="0"/>
                    <a:pt x="8" y="1"/>
                    <a:pt x="7" y="1"/>
                  </a:cubicBezTo>
                  <a:cubicBezTo>
                    <a:pt x="6" y="1"/>
                    <a:pt x="5" y="1"/>
                    <a:pt x="3" y="1"/>
                  </a:cubicBezTo>
                  <a:cubicBezTo>
                    <a:pt x="2" y="1"/>
                    <a:pt x="0" y="1"/>
                    <a:pt x="0" y="3"/>
                  </a:cubicBezTo>
                  <a:cubicBezTo>
                    <a:pt x="0" y="4"/>
                    <a:pt x="1" y="3"/>
                    <a:pt x="1" y="4"/>
                  </a:cubicBezTo>
                  <a:cubicBezTo>
                    <a:pt x="2" y="7"/>
                    <a:pt x="1" y="7"/>
                    <a:pt x="5" y="7"/>
                  </a:cubicBezTo>
                  <a:cubicBezTo>
                    <a:pt x="8" y="7"/>
                    <a:pt x="12" y="10"/>
                    <a:pt x="15" y="12"/>
                  </a:cubicBezTo>
                  <a:cubicBezTo>
                    <a:pt x="17" y="12"/>
                    <a:pt x="17" y="9"/>
                    <a:pt x="16" y="8"/>
                  </a:cubicBezTo>
                  <a:cubicBezTo>
                    <a:pt x="16" y="9"/>
                    <a:pt x="17" y="9"/>
                    <a:pt x="17" y="9"/>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8">
              <a:extLst>
                <a:ext uri="{FF2B5EF4-FFF2-40B4-BE49-F238E27FC236}">
                  <a16:creationId xmlns:a16="http://schemas.microsoft.com/office/drawing/2014/main" id="{55906BE2-743B-7999-C0F6-FAE1E4F627EA}"/>
                </a:ext>
              </a:extLst>
            </p:cNvPr>
            <p:cNvSpPr>
              <a:spLocks/>
            </p:cNvSpPr>
            <p:nvPr/>
          </p:nvSpPr>
          <p:spPr bwMode="auto">
            <a:xfrm>
              <a:off x="1825111" y="5804618"/>
              <a:ext cx="120422" cy="88200"/>
            </a:xfrm>
            <a:custGeom>
              <a:avLst/>
              <a:gdLst>
                <a:gd name="T0" fmla="*/ 36 w 43"/>
                <a:gd name="T1" fmla="*/ 9 h 31"/>
                <a:gd name="T2" fmla="*/ 29 w 43"/>
                <a:gd name="T3" fmla="*/ 8 h 31"/>
                <a:gd name="T4" fmla="*/ 28 w 43"/>
                <a:gd name="T5" fmla="*/ 5 h 31"/>
                <a:gd name="T6" fmla="*/ 30 w 43"/>
                <a:gd name="T7" fmla="*/ 3 h 31"/>
                <a:gd name="T8" fmla="*/ 27 w 43"/>
                <a:gd name="T9" fmla="*/ 3 h 31"/>
                <a:gd name="T10" fmla="*/ 31 w 43"/>
                <a:gd name="T11" fmla="*/ 0 h 31"/>
                <a:gd name="T12" fmla="*/ 26 w 43"/>
                <a:gd name="T13" fmla="*/ 2 h 31"/>
                <a:gd name="T14" fmla="*/ 21 w 43"/>
                <a:gd name="T15" fmla="*/ 3 h 31"/>
                <a:gd name="T16" fmla="*/ 11 w 43"/>
                <a:gd name="T17" fmla="*/ 11 h 31"/>
                <a:gd name="T18" fmla="*/ 3 w 43"/>
                <a:gd name="T19" fmla="*/ 19 h 31"/>
                <a:gd name="T20" fmla="*/ 6 w 43"/>
                <a:gd name="T21" fmla="*/ 20 h 31"/>
                <a:gd name="T22" fmla="*/ 8 w 43"/>
                <a:gd name="T23" fmla="*/ 22 h 31"/>
                <a:gd name="T24" fmla="*/ 15 w 43"/>
                <a:gd name="T25" fmla="*/ 21 h 31"/>
                <a:gd name="T26" fmla="*/ 18 w 43"/>
                <a:gd name="T27" fmla="*/ 27 h 31"/>
                <a:gd name="T28" fmla="*/ 23 w 43"/>
                <a:gd name="T29" fmla="*/ 29 h 31"/>
                <a:gd name="T30" fmla="*/ 25 w 43"/>
                <a:gd name="T31" fmla="*/ 31 h 31"/>
                <a:gd name="T32" fmla="*/ 32 w 43"/>
                <a:gd name="T33" fmla="*/ 25 h 31"/>
                <a:gd name="T34" fmla="*/ 36 w 43"/>
                <a:gd name="T3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31">
                  <a:moveTo>
                    <a:pt x="36" y="9"/>
                  </a:moveTo>
                  <a:cubicBezTo>
                    <a:pt x="34" y="7"/>
                    <a:pt x="32" y="12"/>
                    <a:pt x="29" y="8"/>
                  </a:cubicBezTo>
                  <a:cubicBezTo>
                    <a:pt x="28" y="8"/>
                    <a:pt x="27" y="6"/>
                    <a:pt x="28" y="5"/>
                  </a:cubicBezTo>
                  <a:cubicBezTo>
                    <a:pt x="30" y="5"/>
                    <a:pt x="30" y="5"/>
                    <a:pt x="30" y="3"/>
                  </a:cubicBezTo>
                  <a:cubicBezTo>
                    <a:pt x="30" y="4"/>
                    <a:pt x="27" y="5"/>
                    <a:pt x="27" y="3"/>
                  </a:cubicBezTo>
                  <a:cubicBezTo>
                    <a:pt x="27" y="2"/>
                    <a:pt x="30" y="2"/>
                    <a:pt x="31" y="0"/>
                  </a:cubicBezTo>
                  <a:cubicBezTo>
                    <a:pt x="29" y="0"/>
                    <a:pt x="28" y="1"/>
                    <a:pt x="26" y="2"/>
                  </a:cubicBezTo>
                  <a:cubicBezTo>
                    <a:pt x="24" y="2"/>
                    <a:pt x="23" y="2"/>
                    <a:pt x="21" y="3"/>
                  </a:cubicBezTo>
                  <a:cubicBezTo>
                    <a:pt x="17" y="5"/>
                    <a:pt x="14" y="7"/>
                    <a:pt x="11" y="11"/>
                  </a:cubicBezTo>
                  <a:cubicBezTo>
                    <a:pt x="10" y="11"/>
                    <a:pt x="0" y="17"/>
                    <a:pt x="3" y="19"/>
                  </a:cubicBezTo>
                  <a:cubicBezTo>
                    <a:pt x="4" y="20"/>
                    <a:pt x="6" y="19"/>
                    <a:pt x="6" y="20"/>
                  </a:cubicBezTo>
                  <a:cubicBezTo>
                    <a:pt x="6" y="21"/>
                    <a:pt x="7" y="24"/>
                    <a:pt x="8" y="22"/>
                  </a:cubicBezTo>
                  <a:cubicBezTo>
                    <a:pt x="9" y="21"/>
                    <a:pt x="14" y="15"/>
                    <a:pt x="15" y="21"/>
                  </a:cubicBezTo>
                  <a:cubicBezTo>
                    <a:pt x="16" y="24"/>
                    <a:pt x="15" y="27"/>
                    <a:pt x="18" y="27"/>
                  </a:cubicBezTo>
                  <a:cubicBezTo>
                    <a:pt x="20" y="27"/>
                    <a:pt x="21" y="27"/>
                    <a:pt x="23" y="29"/>
                  </a:cubicBezTo>
                  <a:cubicBezTo>
                    <a:pt x="23" y="29"/>
                    <a:pt x="24" y="31"/>
                    <a:pt x="25" y="31"/>
                  </a:cubicBezTo>
                  <a:cubicBezTo>
                    <a:pt x="29" y="30"/>
                    <a:pt x="30" y="26"/>
                    <a:pt x="32" y="25"/>
                  </a:cubicBezTo>
                  <a:cubicBezTo>
                    <a:pt x="32" y="19"/>
                    <a:pt x="43" y="13"/>
                    <a:pt x="36" y="9"/>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9">
              <a:extLst>
                <a:ext uri="{FF2B5EF4-FFF2-40B4-BE49-F238E27FC236}">
                  <a16:creationId xmlns:a16="http://schemas.microsoft.com/office/drawing/2014/main" id="{F162C4DC-4754-A950-E00E-0D5ADCDE4526}"/>
                </a:ext>
              </a:extLst>
            </p:cNvPr>
            <p:cNvSpPr>
              <a:spLocks/>
            </p:cNvSpPr>
            <p:nvPr/>
          </p:nvSpPr>
          <p:spPr bwMode="auto">
            <a:xfrm>
              <a:off x="825136" y="5317134"/>
              <a:ext cx="1103869" cy="992847"/>
            </a:xfrm>
            <a:custGeom>
              <a:avLst/>
              <a:gdLst>
                <a:gd name="T0" fmla="*/ 375 w 395"/>
                <a:gd name="T1" fmla="*/ 66 h 352"/>
                <a:gd name="T2" fmla="*/ 350 w 395"/>
                <a:gd name="T3" fmla="*/ 61 h 352"/>
                <a:gd name="T4" fmla="*/ 326 w 395"/>
                <a:gd name="T5" fmla="*/ 48 h 352"/>
                <a:gd name="T6" fmla="*/ 299 w 395"/>
                <a:gd name="T7" fmla="*/ 50 h 352"/>
                <a:gd name="T8" fmla="*/ 271 w 395"/>
                <a:gd name="T9" fmla="*/ 43 h 352"/>
                <a:gd name="T10" fmla="*/ 252 w 395"/>
                <a:gd name="T11" fmla="*/ 32 h 352"/>
                <a:gd name="T12" fmla="*/ 234 w 395"/>
                <a:gd name="T13" fmla="*/ 21 h 352"/>
                <a:gd name="T14" fmla="*/ 198 w 395"/>
                <a:gd name="T15" fmla="*/ 19 h 352"/>
                <a:gd name="T16" fmla="*/ 185 w 395"/>
                <a:gd name="T17" fmla="*/ 17 h 352"/>
                <a:gd name="T18" fmla="*/ 168 w 395"/>
                <a:gd name="T19" fmla="*/ 17 h 352"/>
                <a:gd name="T20" fmla="*/ 129 w 395"/>
                <a:gd name="T21" fmla="*/ 15 h 352"/>
                <a:gd name="T22" fmla="*/ 106 w 395"/>
                <a:gd name="T23" fmla="*/ 11 h 352"/>
                <a:gd name="T24" fmla="*/ 71 w 395"/>
                <a:gd name="T25" fmla="*/ 12 h 352"/>
                <a:gd name="T26" fmla="*/ 46 w 395"/>
                <a:gd name="T27" fmla="*/ 7 h 352"/>
                <a:gd name="T28" fmla="*/ 32 w 395"/>
                <a:gd name="T29" fmla="*/ 16 h 352"/>
                <a:gd name="T30" fmla="*/ 32 w 395"/>
                <a:gd name="T31" fmla="*/ 19 h 352"/>
                <a:gd name="T32" fmla="*/ 15 w 395"/>
                <a:gd name="T33" fmla="*/ 22 h 352"/>
                <a:gd name="T34" fmla="*/ 5 w 395"/>
                <a:gd name="T35" fmla="*/ 31 h 352"/>
                <a:gd name="T36" fmla="*/ 5 w 395"/>
                <a:gd name="T37" fmla="*/ 42 h 352"/>
                <a:gd name="T38" fmla="*/ 11 w 395"/>
                <a:gd name="T39" fmla="*/ 47 h 352"/>
                <a:gd name="T40" fmla="*/ 10 w 395"/>
                <a:gd name="T41" fmla="*/ 54 h 352"/>
                <a:gd name="T42" fmla="*/ 12 w 395"/>
                <a:gd name="T43" fmla="*/ 61 h 352"/>
                <a:gd name="T44" fmla="*/ 12 w 395"/>
                <a:gd name="T45" fmla="*/ 69 h 352"/>
                <a:gd name="T46" fmla="*/ 20 w 395"/>
                <a:gd name="T47" fmla="*/ 66 h 352"/>
                <a:gd name="T48" fmla="*/ 10 w 395"/>
                <a:gd name="T49" fmla="*/ 81 h 352"/>
                <a:gd name="T50" fmla="*/ 32 w 395"/>
                <a:gd name="T51" fmla="*/ 75 h 352"/>
                <a:gd name="T52" fmla="*/ 38 w 395"/>
                <a:gd name="T53" fmla="*/ 87 h 352"/>
                <a:gd name="T54" fmla="*/ 54 w 395"/>
                <a:gd name="T55" fmla="*/ 88 h 352"/>
                <a:gd name="T56" fmla="*/ 69 w 395"/>
                <a:gd name="T57" fmla="*/ 83 h 352"/>
                <a:gd name="T58" fmla="*/ 83 w 395"/>
                <a:gd name="T59" fmla="*/ 91 h 352"/>
                <a:gd name="T60" fmla="*/ 85 w 395"/>
                <a:gd name="T61" fmla="*/ 113 h 352"/>
                <a:gd name="T62" fmla="*/ 71 w 395"/>
                <a:gd name="T63" fmla="*/ 137 h 352"/>
                <a:gd name="T64" fmla="*/ 65 w 395"/>
                <a:gd name="T65" fmla="*/ 166 h 352"/>
                <a:gd name="T66" fmla="*/ 45 w 395"/>
                <a:gd name="T67" fmla="*/ 186 h 352"/>
                <a:gd name="T68" fmla="*/ 57 w 395"/>
                <a:gd name="T69" fmla="*/ 211 h 352"/>
                <a:gd name="T70" fmla="*/ 50 w 395"/>
                <a:gd name="T71" fmla="*/ 238 h 352"/>
                <a:gd name="T72" fmla="*/ 58 w 395"/>
                <a:gd name="T73" fmla="*/ 259 h 352"/>
                <a:gd name="T74" fmla="*/ 42 w 395"/>
                <a:gd name="T75" fmla="*/ 278 h 352"/>
                <a:gd name="T76" fmla="*/ 51 w 395"/>
                <a:gd name="T77" fmla="*/ 296 h 352"/>
                <a:gd name="T78" fmla="*/ 62 w 395"/>
                <a:gd name="T79" fmla="*/ 301 h 352"/>
                <a:gd name="T80" fmla="*/ 74 w 395"/>
                <a:gd name="T81" fmla="*/ 323 h 352"/>
                <a:gd name="T82" fmla="*/ 80 w 395"/>
                <a:gd name="T83" fmla="*/ 335 h 352"/>
                <a:gd name="T84" fmla="*/ 97 w 395"/>
                <a:gd name="T85" fmla="*/ 350 h 352"/>
                <a:gd name="T86" fmla="*/ 130 w 395"/>
                <a:gd name="T87" fmla="*/ 329 h 352"/>
                <a:gd name="T88" fmla="*/ 153 w 395"/>
                <a:gd name="T89" fmla="*/ 319 h 352"/>
                <a:gd name="T90" fmla="*/ 189 w 395"/>
                <a:gd name="T91" fmla="*/ 320 h 352"/>
                <a:gd name="T92" fmla="*/ 206 w 395"/>
                <a:gd name="T93" fmla="*/ 314 h 352"/>
                <a:gd name="T94" fmla="*/ 223 w 395"/>
                <a:gd name="T95" fmla="*/ 295 h 352"/>
                <a:gd name="T96" fmla="*/ 247 w 395"/>
                <a:gd name="T97" fmla="*/ 282 h 352"/>
                <a:gd name="T98" fmla="*/ 259 w 395"/>
                <a:gd name="T99" fmla="*/ 272 h 352"/>
                <a:gd name="T100" fmla="*/ 263 w 395"/>
                <a:gd name="T101" fmla="*/ 256 h 352"/>
                <a:gd name="T102" fmla="*/ 283 w 395"/>
                <a:gd name="T103" fmla="*/ 234 h 352"/>
                <a:gd name="T104" fmla="*/ 279 w 395"/>
                <a:gd name="T105" fmla="*/ 186 h 352"/>
                <a:gd name="T106" fmla="*/ 311 w 395"/>
                <a:gd name="T107" fmla="*/ 143 h 352"/>
                <a:gd name="T108" fmla="*/ 312 w 395"/>
                <a:gd name="T109" fmla="*/ 137 h 352"/>
                <a:gd name="T110" fmla="*/ 347 w 395"/>
                <a:gd name="T111" fmla="*/ 116 h 352"/>
                <a:gd name="T112" fmla="*/ 384 w 395"/>
                <a:gd name="T113" fmla="*/ 91 h 352"/>
                <a:gd name="T114" fmla="*/ 395 w 395"/>
                <a:gd name="T115" fmla="*/ 6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5" h="352">
                  <a:moveTo>
                    <a:pt x="390" y="62"/>
                  </a:moveTo>
                  <a:cubicBezTo>
                    <a:pt x="389" y="62"/>
                    <a:pt x="388" y="62"/>
                    <a:pt x="386" y="61"/>
                  </a:cubicBezTo>
                  <a:cubicBezTo>
                    <a:pt x="384" y="60"/>
                    <a:pt x="383" y="60"/>
                    <a:pt x="381" y="61"/>
                  </a:cubicBezTo>
                  <a:cubicBezTo>
                    <a:pt x="379" y="62"/>
                    <a:pt x="378" y="62"/>
                    <a:pt x="376" y="63"/>
                  </a:cubicBezTo>
                  <a:cubicBezTo>
                    <a:pt x="375" y="63"/>
                    <a:pt x="373" y="64"/>
                    <a:pt x="375" y="66"/>
                  </a:cubicBezTo>
                  <a:cubicBezTo>
                    <a:pt x="374" y="66"/>
                    <a:pt x="370" y="67"/>
                    <a:pt x="369" y="66"/>
                  </a:cubicBezTo>
                  <a:cubicBezTo>
                    <a:pt x="367" y="65"/>
                    <a:pt x="366" y="64"/>
                    <a:pt x="363" y="63"/>
                  </a:cubicBezTo>
                  <a:cubicBezTo>
                    <a:pt x="361" y="62"/>
                    <a:pt x="358" y="62"/>
                    <a:pt x="357" y="64"/>
                  </a:cubicBezTo>
                  <a:cubicBezTo>
                    <a:pt x="356" y="65"/>
                    <a:pt x="355" y="67"/>
                    <a:pt x="353" y="65"/>
                  </a:cubicBezTo>
                  <a:cubicBezTo>
                    <a:pt x="352" y="64"/>
                    <a:pt x="352" y="62"/>
                    <a:pt x="350" y="61"/>
                  </a:cubicBezTo>
                  <a:cubicBezTo>
                    <a:pt x="349" y="61"/>
                    <a:pt x="347" y="60"/>
                    <a:pt x="345" y="59"/>
                  </a:cubicBezTo>
                  <a:cubicBezTo>
                    <a:pt x="343" y="58"/>
                    <a:pt x="338" y="65"/>
                    <a:pt x="336" y="61"/>
                  </a:cubicBezTo>
                  <a:cubicBezTo>
                    <a:pt x="335" y="60"/>
                    <a:pt x="336" y="59"/>
                    <a:pt x="336" y="57"/>
                  </a:cubicBezTo>
                  <a:cubicBezTo>
                    <a:pt x="335" y="56"/>
                    <a:pt x="336" y="54"/>
                    <a:pt x="335" y="52"/>
                  </a:cubicBezTo>
                  <a:cubicBezTo>
                    <a:pt x="333" y="47"/>
                    <a:pt x="328" y="52"/>
                    <a:pt x="326" y="48"/>
                  </a:cubicBezTo>
                  <a:cubicBezTo>
                    <a:pt x="325" y="46"/>
                    <a:pt x="323" y="47"/>
                    <a:pt x="322" y="46"/>
                  </a:cubicBezTo>
                  <a:cubicBezTo>
                    <a:pt x="320" y="46"/>
                    <a:pt x="318" y="44"/>
                    <a:pt x="316" y="44"/>
                  </a:cubicBezTo>
                  <a:cubicBezTo>
                    <a:pt x="310" y="42"/>
                    <a:pt x="313" y="47"/>
                    <a:pt x="312" y="51"/>
                  </a:cubicBezTo>
                  <a:cubicBezTo>
                    <a:pt x="309" y="50"/>
                    <a:pt x="306" y="51"/>
                    <a:pt x="303" y="50"/>
                  </a:cubicBezTo>
                  <a:cubicBezTo>
                    <a:pt x="301" y="49"/>
                    <a:pt x="301" y="53"/>
                    <a:pt x="299" y="50"/>
                  </a:cubicBezTo>
                  <a:cubicBezTo>
                    <a:pt x="296" y="47"/>
                    <a:pt x="294" y="51"/>
                    <a:pt x="291" y="51"/>
                  </a:cubicBezTo>
                  <a:cubicBezTo>
                    <a:pt x="289" y="51"/>
                    <a:pt x="286" y="48"/>
                    <a:pt x="286" y="46"/>
                  </a:cubicBezTo>
                  <a:cubicBezTo>
                    <a:pt x="284" y="48"/>
                    <a:pt x="282" y="43"/>
                    <a:pt x="281" y="45"/>
                  </a:cubicBezTo>
                  <a:cubicBezTo>
                    <a:pt x="279" y="46"/>
                    <a:pt x="275" y="45"/>
                    <a:pt x="275" y="46"/>
                  </a:cubicBezTo>
                  <a:cubicBezTo>
                    <a:pt x="274" y="48"/>
                    <a:pt x="272" y="44"/>
                    <a:pt x="271" y="43"/>
                  </a:cubicBezTo>
                  <a:cubicBezTo>
                    <a:pt x="271" y="43"/>
                    <a:pt x="270" y="43"/>
                    <a:pt x="269" y="42"/>
                  </a:cubicBezTo>
                  <a:cubicBezTo>
                    <a:pt x="269" y="41"/>
                    <a:pt x="269" y="40"/>
                    <a:pt x="268" y="39"/>
                  </a:cubicBezTo>
                  <a:cubicBezTo>
                    <a:pt x="267" y="38"/>
                    <a:pt x="264" y="39"/>
                    <a:pt x="262" y="39"/>
                  </a:cubicBezTo>
                  <a:cubicBezTo>
                    <a:pt x="261" y="38"/>
                    <a:pt x="259" y="37"/>
                    <a:pt x="257" y="36"/>
                  </a:cubicBezTo>
                  <a:cubicBezTo>
                    <a:pt x="256" y="36"/>
                    <a:pt x="249" y="33"/>
                    <a:pt x="252" y="32"/>
                  </a:cubicBezTo>
                  <a:cubicBezTo>
                    <a:pt x="249" y="31"/>
                    <a:pt x="250" y="35"/>
                    <a:pt x="248" y="35"/>
                  </a:cubicBezTo>
                  <a:cubicBezTo>
                    <a:pt x="244" y="36"/>
                    <a:pt x="247" y="31"/>
                    <a:pt x="248" y="29"/>
                  </a:cubicBezTo>
                  <a:cubicBezTo>
                    <a:pt x="250" y="26"/>
                    <a:pt x="246" y="23"/>
                    <a:pt x="243" y="24"/>
                  </a:cubicBezTo>
                  <a:cubicBezTo>
                    <a:pt x="241" y="26"/>
                    <a:pt x="241" y="22"/>
                    <a:pt x="238" y="23"/>
                  </a:cubicBezTo>
                  <a:cubicBezTo>
                    <a:pt x="238" y="20"/>
                    <a:pt x="236" y="19"/>
                    <a:pt x="234" y="21"/>
                  </a:cubicBezTo>
                  <a:cubicBezTo>
                    <a:pt x="231" y="23"/>
                    <a:pt x="228" y="23"/>
                    <a:pt x="225" y="24"/>
                  </a:cubicBezTo>
                  <a:cubicBezTo>
                    <a:pt x="221" y="24"/>
                    <a:pt x="218" y="23"/>
                    <a:pt x="215" y="21"/>
                  </a:cubicBezTo>
                  <a:cubicBezTo>
                    <a:pt x="213" y="21"/>
                    <a:pt x="209" y="17"/>
                    <a:pt x="208" y="20"/>
                  </a:cubicBezTo>
                  <a:cubicBezTo>
                    <a:pt x="208" y="16"/>
                    <a:pt x="204" y="17"/>
                    <a:pt x="202" y="17"/>
                  </a:cubicBezTo>
                  <a:cubicBezTo>
                    <a:pt x="200" y="18"/>
                    <a:pt x="199" y="18"/>
                    <a:pt x="198" y="19"/>
                  </a:cubicBezTo>
                  <a:cubicBezTo>
                    <a:pt x="198" y="19"/>
                    <a:pt x="197" y="22"/>
                    <a:pt x="198" y="22"/>
                  </a:cubicBezTo>
                  <a:cubicBezTo>
                    <a:pt x="196" y="23"/>
                    <a:pt x="192" y="20"/>
                    <a:pt x="191" y="19"/>
                  </a:cubicBezTo>
                  <a:cubicBezTo>
                    <a:pt x="189" y="18"/>
                    <a:pt x="185" y="19"/>
                    <a:pt x="184" y="18"/>
                  </a:cubicBezTo>
                  <a:cubicBezTo>
                    <a:pt x="184" y="18"/>
                    <a:pt x="184" y="19"/>
                    <a:pt x="184" y="19"/>
                  </a:cubicBezTo>
                  <a:cubicBezTo>
                    <a:pt x="183" y="15"/>
                    <a:pt x="185" y="19"/>
                    <a:pt x="185" y="17"/>
                  </a:cubicBezTo>
                  <a:cubicBezTo>
                    <a:pt x="185" y="16"/>
                    <a:pt x="181" y="14"/>
                    <a:pt x="181" y="14"/>
                  </a:cubicBezTo>
                  <a:cubicBezTo>
                    <a:pt x="180" y="14"/>
                    <a:pt x="179" y="15"/>
                    <a:pt x="177" y="15"/>
                  </a:cubicBezTo>
                  <a:cubicBezTo>
                    <a:pt x="176" y="16"/>
                    <a:pt x="174" y="19"/>
                    <a:pt x="173" y="19"/>
                  </a:cubicBezTo>
                  <a:cubicBezTo>
                    <a:pt x="173" y="17"/>
                    <a:pt x="173" y="16"/>
                    <a:pt x="174" y="16"/>
                  </a:cubicBezTo>
                  <a:cubicBezTo>
                    <a:pt x="173" y="13"/>
                    <a:pt x="169" y="17"/>
                    <a:pt x="168" y="17"/>
                  </a:cubicBezTo>
                  <a:cubicBezTo>
                    <a:pt x="167" y="17"/>
                    <a:pt x="166" y="17"/>
                    <a:pt x="166" y="19"/>
                  </a:cubicBezTo>
                  <a:cubicBezTo>
                    <a:pt x="166" y="16"/>
                    <a:pt x="155" y="20"/>
                    <a:pt x="155" y="20"/>
                  </a:cubicBezTo>
                  <a:cubicBezTo>
                    <a:pt x="154" y="18"/>
                    <a:pt x="150" y="19"/>
                    <a:pt x="148" y="19"/>
                  </a:cubicBezTo>
                  <a:cubicBezTo>
                    <a:pt x="145" y="19"/>
                    <a:pt x="142" y="17"/>
                    <a:pt x="138" y="16"/>
                  </a:cubicBezTo>
                  <a:cubicBezTo>
                    <a:pt x="135" y="16"/>
                    <a:pt x="131" y="16"/>
                    <a:pt x="129" y="15"/>
                  </a:cubicBezTo>
                  <a:cubicBezTo>
                    <a:pt x="127" y="14"/>
                    <a:pt x="127" y="13"/>
                    <a:pt x="125" y="13"/>
                  </a:cubicBezTo>
                  <a:cubicBezTo>
                    <a:pt x="124" y="13"/>
                    <a:pt x="124" y="14"/>
                    <a:pt x="123" y="15"/>
                  </a:cubicBezTo>
                  <a:cubicBezTo>
                    <a:pt x="126" y="12"/>
                    <a:pt x="118" y="12"/>
                    <a:pt x="117" y="12"/>
                  </a:cubicBezTo>
                  <a:cubicBezTo>
                    <a:pt x="115" y="12"/>
                    <a:pt x="114" y="11"/>
                    <a:pt x="112" y="9"/>
                  </a:cubicBezTo>
                  <a:cubicBezTo>
                    <a:pt x="110" y="7"/>
                    <a:pt x="108" y="10"/>
                    <a:pt x="106" y="11"/>
                  </a:cubicBezTo>
                  <a:cubicBezTo>
                    <a:pt x="104" y="11"/>
                    <a:pt x="103" y="12"/>
                    <a:pt x="101" y="12"/>
                  </a:cubicBezTo>
                  <a:cubicBezTo>
                    <a:pt x="100" y="11"/>
                    <a:pt x="98" y="11"/>
                    <a:pt x="97" y="11"/>
                  </a:cubicBezTo>
                  <a:cubicBezTo>
                    <a:pt x="94" y="11"/>
                    <a:pt x="91" y="12"/>
                    <a:pt x="87" y="12"/>
                  </a:cubicBezTo>
                  <a:cubicBezTo>
                    <a:pt x="83" y="12"/>
                    <a:pt x="74" y="9"/>
                    <a:pt x="72" y="15"/>
                  </a:cubicBezTo>
                  <a:cubicBezTo>
                    <a:pt x="72" y="14"/>
                    <a:pt x="73" y="12"/>
                    <a:pt x="71" y="12"/>
                  </a:cubicBezTo>
                  <a:cubicBezTo>
                    <a:pt x="70" y="12"/>
                    <a:pt x="67" y="11"/>
                    <a:pt x="65" y="12"/>
                  </a:cubicBezTo>
                  <a:cubicBezTo>
                    <a:pt x="67" y="9"/>
                    <a:pt x="56" y="0"/>
                    <a:pt x="56" y="7"/>
                  </a:cubicBezTo>
                  <a:cubicBezTo>
                    <a:pt x="55" y="5"/>
                    <a:pt x="55" y="3"/>
                    <a:pt x="53" y="4"/>
                  </a:cubicBezTo>
                  <a:cubicBezTo>
                    <a:pt x="53" y="3"/>
                    <a:pt x="54" y="2"/>
                    <a:pt x="53" y="2"/>
                  </a:cubicBezTo>
                  <a:cubicBezTo>
                    <a:pt x="52" y="3"/>
                    <a:pt x="47" y="7"/>
                    <a:pt x="46" y="7"/>
                  </a:cubicBezTo>
                  <a:cubicBezTo>
                    <a:pt x="47" y="6"/>
                    <a:pt x="48" y="4"/>
                    <a:pt x="47" y="2"/>
                  </a:cubicBezTo>
                  <a:cubicBezTo>
                    <a:pt x="45" y="3"/>
                    <a:pt x="40" y="6"/>
                    <a:pt x="41" y="8"/>
                  </a:cubicBezTo>
                  <a:cubicBezTo>
                    <a:pt x="40" y="6"/>
                    <a:pt x="38" y="9"/>
                    <a:pt x="36" y="10"/>
                  </a:cubicBezTo>
                  <a:cubicBezTo>
                    <a:pt x="35" y="11"/>
                    <a:pt x="33" y="11"/>
                    <a:pt x="33" y="12"/>
                  </a:cubicBezTo>
                  <a:cubicBezTo>
                    <a:pt x="32" y="12"/>
                    <a:pt x="32" y="16"/>
                    <a:pt x="32" y="16"/>
                  </a:cubicBezTo>
                  <a:cubicBezTo>
                    <a:pt x="33" y="16"/>
                    <a:pt x="36" y="15"/>
                    <a:pt x="37" y="14"/>
                  </a:cubicBezTo>
                  <a:cubicBezTo>
                    <a:pt x="37" y="17"/>
                    <a:pt x="34" y="16"/>
                    <a:pt x="32" y="17"/>
                  </a:cubicBezTo>
                  <a:cubicBezTo>
                    <a:pt x="34" y="18"/>
                    <a:pt x="36" y="19"/>
                    <a:pt x="38" y="18"/>
                  </a:cubicBezTo>
                  <a:cubicBezTo>
                    <a:pt x="36" y="19"/>
                    <a:pt x="35" y="19"/>
                    <a:pt x="35" y="22"/>
                  </a:cubicBezTo>
                  <a:cubicBezTo>
                    <a:pt x="34" y="21"/>
                    <a:pt x="33" y="19"/>
                    <a:pt x="32" y="19"/>
                  </a:cubicBezTo>
                  <a:cubicBezTo>
                    <a:pt x="30" y="19"/>
                    <a:pt x="32" y="21"/>
                    <a:pt x="30" y="21"/>
                  </a:cubicBezTo>
                  <a:cubicBezTo>
                    <a:pt x="29" y="21"/>
                    <a:pt x="30" y="20"/>
                    <a:pt x="29" y="20"/>
                  </a:cubicBezTo>
                  <a:cubicBezTo>
                    <a:pt x="27" y="20"/>
                    <a:pt x="26" y="23"/>
                    <a:pt x="24" y="23"/>
                  </a:cubicBezTo>
                  <a:cubicBezTo>
                    <a:pt x="22" y="23"/>
                    <a:pt x="21" y="24"/>
                    <a:pt x="19" y="24"/>
                  </a:cubicBezTo>
                  <a:cubicBezTo>
                    <a:pt x="18" y="24"/>
                    <a:pt x="17" y="21"/>
                    <a:pt x="15" y="22"/>
                  </a:cubicBezTo>
                  <a:cubicBezTo>
                    <a:pt x="14" y="22"/>
                    <a:pt x="13" y="24"/>
                    <a:pt x="12" y="24"/>
                  </a:cubicBezTo>
                  <a:cubicBezTo>
                    <a:pt x="11" y="24"/>
                    <a:pt x="12" y="26"/>
                    <a:pt x="13" y="26"/>
                  </a:cubicBezTo>
                  <a:cubicBezTo>
                    <a:pt x="12" y="27"/>
                    <a:pt x="11" y="27"/>
                    <a:pt x="10" y="27"/>
                  </a:cubicBezTo>
                  <a:cubicBezTo>
                    <a:pt x="9" y="28"/>
                    <a:pt x="8" y="28"/>
                    <a:pt x="7" y="28"/>
                  </a:cubicBezTo>
                  <a:cubicBezTo>
                    <a:pt x="5" y="28"/>
                    <a:pt x="3" y="32"/>
                    <a:pt x="5" y="31"/>
                  </a:cubicBezTo>
                  <a:cubicBezTo>
                    <a:pt x="5" y="33"/>
                    <a:pt x="1" y="33"/>
                    <a:pt x="0" y="35"/>
                  </a:cubicBezTo>
                  <a:cubicBezTo>
                    <a:pt x="0" y="36"/>
                    <a:pt x="2" y="37"/>
                    <a:pt x="1" y="39"/>
                  </a:cubicBezTo>
                  <a:cubicBezTo>
                    <a:pt x="0" y="40"/>
                    <a:pt x="0" y="41"/>
                    <a:pt x="0" y="42"/>
                  </a:cubicBezTo>
                  <a:cubicBezTo>
                    <a:pt x="1" y="41"/>
                    <a:pt x="3" y="40"/>
                    <a:pt x="3" y="39"/>
                  </a:cubicBezTo>
                  <a:cubicBezTo>
                    <a:pt x="4" y="40"/>
                    <a:pt x="4" y="41"/>
                    <a:pt x="5" y="42"/>
                  </a:cubicBezTo>
                  <a:cubicBezTo>
                    <a:pt x="5" y="43"/>
                    <a:pt x="5" y="44"/>
                    <a:pt x="6" y="45"/>
                  </a:cubicBezTo>
                  <a:cubicBezTo>
                    <a:pt x="6" y="46"/>
                    <a:pt x="3" y="47"/>
                    <a:pt x="6" y="48"/>
                  </a:cubicBezTo>
                  <a:cubicBezTo>
                    <a:pt x="7" y="48"/>
                    <a:pt x="7" y="46"/>
                    <a:pt x="8" y="46"/>
                  </a:cubicBezTo>
                  <a:cubicBezTo>
                    <a:pt x="10" y="47"/>
                    <a:pt x="11" y="45"/>
                    <a:pt x="13" y="45"/>
                  </a:cubicBezTo>
                  <a:cubicBezTo>
                    <a:pt x="12" y="45"/>
                    <a:pt x="12" y="46"/>
                    <a:pt x="11" y="47"/>
                  </a:cubicBezTo>
                  <a:cubicBezTo>
                    <a:pt x="11" y="47"/>
                    <a:pt x="10" y="48"/>
                    <a:pt x="9" y="48"/>
                  </a:cubicBezTo>
                  <a:cubicBezTo>
                    <a:pt x="8" y="50"/>
                    <a:pt x="7" y="51"/>
                    <a:pt x="6" y="54"/>
                  </a:cubicBezTo>
                  <a:cubicBezTo>
                    <a:pt x="5" y="57"/>
                    <a:pt x="6" y="54"/>
                    <a:pt x="7" y="56"/>
                  </a:cubicBezTo>
                  <a:cubicBezTo>
                    <a:pt x="7" y="56"/>
                    <a:pt x="6" y="58"/>
                    <a:pt x="7" y="58"/>
                  </a:cubicBezTo>
                  <a:cubicBezTo>
                    <a:pt x="7" y="59"/>
                    <a:pt x="10" y="55"/>
                    <a:pt x="10" y="54"/>
                  </a:cubicBezTo>
                  <a:cubicBezTo>
                    <a:pt x="11" y="52"/>
                    <a:pt x="12" y="55"/>
                    <a:pt x="12" y="54"/>
                  </a:cubicBezTo>
                  <a:cubicBezTo>
                    <a:pt x="13" y="54"/>
                    <a:pt x="13" y="52"/>
                    <a:pt x="13" y="51"/>
                  </a:cubicBezTo>
                  <a:cubicBezTo>
                    <a:pt x="15" y="54"/>
                    <a:pt x="16" y="52"/>
                    <a:pt x="17" y="50"/>
                  </a:cubicBezTo>
                  <a:cubicBezTo>
                    <a:pt x="17" y="52"/>
                    <a:pt x="11" y="58"/>
                    <a:pt x="14" y="59"/>
                  </a:cubicBezTo>
                  <a:cubicBezTo>
                    <a:pt x="13" y="60"/>
                    <a:pt x="13" y="61"/>
                    <a:pt x="12" y="61"/>
                  </a:cubicBezTo>
                  <a:cubicBezTo>
                    <a:pt x="13" y="58"/>
                    <a:pt x="9" y="59"/>
                    <a:pt x="9" y="61"/>
                  </a:cubicBezTo>
                  <a:cubicBezTo>
                    <a:pt x="9" y="60"/>
                    <a:pt x="13" y="64"/>
                    <a:pt x="12" y="64"/>
                  </a:cubicBezTo>
                  <a:cubicBezTo>
                    <a:pt x="14" y="64"/>
                    <a:pt x="17" y="61"/>
                    <a:pt x="18" y="63"/>
                  </a:cubicBezTo>
                  <a:cubicBezTo>
                    <a:pt x="17" y="64"/>
                    <a:pt x="15" y="67"/>
                    <a:pt x="14" y="66"/>
                  </a:cubicBezTo>
                  <a:cubicBezTo>
                    <a:pt x="12" y="66"/>
                    <a:pt x="13" y="67"/>
                    <a:pt x="12" y="69"/>
                  </a:cubicBezTo>
                  <a:cubicBezTo>
                    <a:pt x="12" y="69"/>
                    <a:pt x="12" y="68"/>
                    <a:pt x="12" y="68"/>
                  </a:cubicBezTo>
                  <a:cubicBezTo>
                    <a:pt x="11" y="69"/>
                    <a:pt x="11" y="69"/>
                    <a:pt x="11" y="70"/>
                  </a:cubicBezTo>
                  <a:cubicBezTo>
                    <a:pt x="12" y="70"/>
                    <a:pt x="13" y="71"/>
                    <a:pt x="14" y="70"/>
                  </a:cubicBezTo>
                  <a:cubicBezTo>
                    <a:pt x="15" y="70"/>
                    <a:pt x="16" y="69"/>
                    <a:pt x="17" y="69"/>
                  </a:cubicBezTo>
                  <a:cubicBezTo>
                    <a:pt x="18" y="68"/>
                    <a:pt x="19" y="65"/>
                    <a:pt x="20" y="66"/>
                  </a:cubicBezTo>
                  <a:cubicBezTo>
                    <a:pt x="19" y="66"/>
                    <a:pt x="19" y="68"/>
                    <a:pt x="18" y="69"/>
                  </a:cubicBezTo>
                  <a:cubicBezTo>
                    <a:pt x="18" y="69"/>
                    <a:pt x="17" y="70"/>
                    <a:pt x="16" y="71"/>
                  </a:cubicBezTo>
                  <a:cubicBezTo>
                    <a:pt x="15" y="72"/>
                    <a:pt x="13" y="74"/>
                    <a:pt x="11" y="75"/>
                  </a:cubicBezTo>
                  <a:cubicBezTo>
                    <a:pt x="13" y="76"/>
                    <a:pt x="11" y="76"/>
                    <a:pt x="10" y="76"/>
                  </a:cubicBezTo>
                  <a:cubicBezTo>
                    <a:pt x="9" y="77"/>
                    <a:pt x="10" y="80"/>
                    <a:pt x="10" y="81"/>
                  </a:cubicBezTo>
                  <a:cubicBezTo>
                    <a:pt x="10" y="82"/>
                    <a:pt x="8" y="86"/>
                    <a:pt x="10" y="87"/>
                  </a:cubicBezTo>
                  <a:cubicBezTo>
                    <a:pt x="10" y="87"/>
                    <a:pt x="13" y="85"/>
                    <a:pt x="13" y="84"/>
                  </a:cubicBezTo>
                  <a:cubicBezTo>
                    <a:pt x="16" y="81"/>
                    <a:pt x="18" y="79"/>
                    <a:pt x="22" y="78"/>
                  </a:cubicBezTo>
                  <a:cubicBezTo>
                    <a:pt x="24" y="78"/>
                    <a:pt x="26" y="79"/>
                    <a:pt x="27" y="78"/>
                  </a:cubicBezTo>
                  <a:cubicBezTo>
                    <a:pt x="29" y="77"/>
                    <a:pt x="30" y="76"/>
                    <a:pt x="32" y="75"/>
                  </a:cubicBezTo>
                  <a:cubicBezTo>
                    <a:pt x="32" y="76"/>
                    <a:pt x="31" y="78"/>
                    <a:pt x="33" y="78"/>
                  </a:cubicBezTo>
                  <a:cubicBezTo>
                    <a:pt x="35" y="77"/>
                    <a:pt x="35" y="80"/>
                    <a:pt x="34" y="81"/>
                  </a:cubicBezTo>
                  <a:cubicBezTo>
                    <a:pt x="33" y="82"/>
                    <a:pt x="30" y="85"/>
                    <a:pt x="31" y="87"/>
                  </a:cubicBezTo>
                  <a:cubicBezTo>
                    <a:pt x="31" y="88"/>
                    <a:pt x="32" y="88"/>
                    <a:pt x="32" y="90"/>
                  </a:cubicBezTo>
                  <a:cubicBezTo>
                    <a:pt x="34" y="90"/>
                    <a:pt x="36" y="89"/>
                    <a:pt x="38" y="87"/>
                  </a:cubicBezTo>
                  <a:cubicBezTo>
                    <a:pt x="39" y="87"/>
                    <a:pt x="40" y="85"/>
                    <a:pt x="41" y="85"/>
                  </a:cubicBezTo>
                  <a:cubicBezTo>
                    <a:pt x="41" y="85"/>
                    <a:pt x="41" y="87"/>
                    <a:pt x="41" y="88"/>
                  </a:cubicBezTo>
                  <a:cubicBezTo>
                    <a:pt x="41" y="88"/>
                    <a:pt x="43" y="86"/>
                    <a:pt x="44" y="86"/>
                  </a:cubicBezTo>
                  <a:cubicBezTo>
                    <a:pt x="45" y="86"/>
                    <a:pt x="51" y="86"/>
                    <a:pt x="49" y="89"/>
                  </a:cubicBezTo>
                  <a:cubicBezTo>
                    <a:pt x="51" y="89"/>
                    <a:pt x="53" y="87"/>
                    <a:pt x="54" y="88"/>
                  </a:cubicBezTo>
                  <a:cubicBezTo>
                    <a:pt x="55" y="90"/>
                    <a:pt x="55" y="89"/>
                    <a:pt x="57" y="89"/>
                  </a:cubicBezTo>
                  <a:cubicBezTo>
                    <a:pt x="59" y="88"/>
                    <a:pt x="61" y="88"/>
                    <a:pt x="63" y="86"/>
                  </a:cubicBezTo>
                  <a:cubicBezTo>
                    <a:pt x="64" y="85"/>
                    <a:pt x="63" y="81"/>
                    <a:pt x="65" y="82"/>
                  </a:cubicBezTo>
                  <a:cubicBezTo>
                    <a:pt x="66" y="82"/>
                    <a:pt x="66" y="84"/>
                    <a:pt x="67" y="84"/>
                  </a:cubicBezTo>
                  <a:cubicBezTo>
                    <a:pt x="68" y="84"/>
                    <a:pt x="69" y="83"/>
                    <a:pt x="69" y="83"/>
                  </a:cubicBezTo>
                  <a:cubicBezTo>
                    <a:pt x="71" y="83"/>
                    <a:pt x="73" y="85"/>
                    <a:pt x="75" y="83"/>
                  </a:cubicBezTo>
                  <a:cubicBezTo>
                    <a:pt x="76" y="81"/>
                    <a:pt x="77" y="84"/>
                    <a:pt x="79" y="84"/>
                  </a:cubicBezTo>
                  <a:cubicBezTo>
                    <a:pt x="80" y="85"/>
                    <a:pt x="81" y="84"/>
                    <a:pt x="82" y="84"/>
                  </a:cubicBezTo>
                  <a:cubicBezTo>
                    <a:pt x="84" y="83"/>
                    <a:pt x="82" y="85"/>
                    <a:pt x="83" y="86"/>
                  </a:cubicBezTo>
                  <a:cubicBezTo>
                    <a:pt x="84" y="88"/>
                    <a:pt x="83" y="90"/>
                    <a:pt x="83" y="91"/>
                  </a:cubicBezTo>
                  <a:cubicBezTo>
                    <a:pt x="80" y="98"/>
                    <a:pt x="86" y="95"/>
                    <a:pt x="89" y="97"/>
                  </a:cubicBezTo>
                  <a:cubicBezTo>
                    <a:pt x="92" y="97"/>
                    <a:pt x="94" y="100"/>
                    <a:pt x="92" y="102"/>
                  </a:cubicBezTo>
                  <a:cubicBezTo>
                    <a:pt x="91" y="104"/>
                    <a:pt x="90" y="108"/>
                    <a:pt x="88" y="109"/>
                  </a:cubicBezTo>
                  <a:cubicBezTo>
                    <a:pt x="87" y="110"/>
                    <a:pt x="87" y="108"/>
                    <a:pt x="87" y="110"/>
                  </a:cubicBezTo>
                  <a:cubicBezTo>
                    <a:pt x="87" y="111"/>
                    <a:pt x="85" y="112"/>
                    <a:pt x="85" y="113"/>
                  </a:cubicBezTo>
                  <a:cubicBezTo>
                    <a:pt x="83" y="115"/>
                    <a:pt x="82" y="115"/>
                    <a:pt x="79" y="115"/>
                  </a:cubicBezTo>
                  <a:cubicBezTo>
                    <a:pt x="75" y="116"/>
                    <a:pt x="75" y="123"/>
                    <a:pt x="71" y="125"/>
                  </a:cubicBezTo>
                  <a:cubicBezTo>
                    <a:pt x="71" y="125"/>
                    <a:pt x="68" y="125"/>
                    <a:pt x="68" y="126"/>
                  </a:cubicBezTo>
                  <a:cubicBezTo>
                    <a:pt x="69" y="127"/>
                    <a:pt x="71" y="129"/>
                    <a:pt x="71" y="131"/>
                  </a:cubicBezTo>
                  <a:cubicBezTo>
                    <a:pt x="72" y="133"/>
                    <a:pt x="71" y="135"/>
                    <a:pt x="71" y="137"/>
                  </a:cubicBezTo>
                  <a:cubicBezTo>
                    <a:pt x="71" y="140"/>
                    <a:pt x="72" y="142"/>
                    <a:pt x="70" y="144"/>
                  </a:cubicBezTo>
                  <a:cubicBezTo>
                    <a:pt x="69" y="147"/>
                    <a:pt x="72" y="148"/>
                    <a:pt x="70" y="150"/>
                  </a:cubicBezTo>
                  <a:cubicBezTo>
                    <a:pt x="69" y="152"/>
                    <a:pt x="70" y="153"/>
                    <a:pt x="71" y="155"/>
                  </a:cubicBezTo>
                  <a:cubicBezTo>
                    <a:pt x="72" y="158"/>
                    <a:pt x="65" y="160"/>
                    <a:pt x="64" y="162"/>
                  </a:cubicBezTo>
                  <a:cubicBezTo>
                    <a:pt x="62" y="164"/>
                    <a:pt x="64" y="165"/>
                    <a:pt x="65" y="166"/>
                  </a:cubicBezTo>
                  <a:cubicBezTo>
                    <a:pt x="67" y="168"/>
                    <a:pt x="67" y="170"/>
                    <a:pt x="67" y="172"/>
                  </a:cubicBezTo>
                  <a:cubicBezTo>
                    <a:pt x="67" y="175"/>
                    <a:pt x="65" y="178"/>
                    <a:pt x="64" y="179"/>
                  </a:cubicBezTo>
                  <a:cubicBezTo>
                    <a:pt x="62" y="181"/>
                    <a:pt x="63" y="185"/>
                    <a:pt x="62" y="186"/>
                  </a:cubicBezTo>
                  <a:cubicBezTo>
                    <a:pt x="60" y="187"/>
                    <a:pt x="56" y="186"/>
                    <a:pt x="53" y="187"/>
                  </a:cubicBezTo>
                  <a:cubicBezTo>
                    <a:pt x="51" y="187"/>
                    <a:pt x="48" y="187"/>
                    <a:pt x="45" y="186"/>
                  </a:cubicBezTo>
                  <a:cubicBezTo>
                    <a:pt x="46" y="190"/>
                    <a:pt x="49" y="194"/>
                    <a:pt x="52" y="195"/>
                  </a:cubicBezTo>
                  <a:cubicBezTo>
                    <a:pt x="53" y="195"/>
                    <a:pt x="51" y="198"/>
                    <a:pt x="52" y="200"/>
                  </a:cubicBezTo>
                  <a:cubicBezTo>
                    <a:pt x="52" y="201"/>
                    <a:pt x="53" y="202"/>
                    <a:pt x="53" y="204"/>
                  </a:cubicBezTo>
                  <a:cubicBezTo>
                    <a:pt x="54" y="206"/>
                    <a:pt x="53" y="207"/>
                    <a:pt x="55" y="208"/>
                  </a:cubicBezTo>
                  <a:cubicBezTo>
                    <a:pt x="56" y="209"/>
                    <a:pt x="57" y="209"/>
                    <a:pt x="57" y="211"/>
                  </a:cubicBezTo>
                  <a:cubicBezTo>
                    <a:pt x="57" y="212"/>
                    <a:pt x="61" y="211"/>
                    <a:pt x="62" y="214"/>
                  </a:cubicBezTo>
                  <a:cubicBezTo>
                    <a:pt x="62" y="216"/>
                    <a:pt x="61" y="218"/>
                    <a:pt x="60" y="219"/>
                  </a:cubicBezTo>
                  <a:cubicBezTo>
                    <a:pt x="59" y="220"/>
                    <a:pt x="59" y="222"/>
                    <a:pt x="58" y="223"/>
                  </a:cubicBezTo>
                  <a:cubicBezTo>
                    <a:pt x="56" y="226"/>
                    <a:pt x="52" y="227"/>
                    <a:pt x="51" y="231"/>
                  </a:cubicBezTo>
                  <a:cubicBezTo>
                    <a:pt x="51" y="234"/>
                    <a:pt x="51" y="236"/>
                    <a:pt x="50" y="238"/>
                  </a:cubicBezTo>
                  <a:cubicBezTo>
                    <a:pt x="49" y="239"/>
                    <a:pt x="49" y="241"/>
                    <a:pt x="50" y="242"/>
                  </a:cubicBezTo>
                  <a:cubicBezTo>
                    <a:pt x="51" y="244"/>
                    <a:pt x="52" y="246"/>
                    <a:pt x="53" y="248"/>
                  </a:cubicBezTo>
                  <a:cubicBezTo>
                    <a:pt x="54" y="249"/>
                    <a:pt x="54" y="252"/>
                    <a:pt x="55" y="253"/>
                  </a:cubicBezTo>
                  <a:cubicBezTo>
                    <a:pt x="56" y="254"/>
                    <a:pt x="61" y="251"/>
                    <a:pt x="61" y="253"/>
                  </a:cubicBezTo>
                  <a:cubicBezTo>
                    <a:pt x="60" y="255"/>
                    <a:pt x="59" y="257"/>
                    <a:pt x="58" y="259"/>
                  </a:cubicBezTo>
                  <a:cubicBezTo>
                    <a:pt x="57" y="261"/>
                    <a:pt x="56" y="260"/>
                    <a:pt x="55" y="260"/>
                  </a:cubicBezTo>
                  <a:cubicBezTo>
                    <a:pt x="54" y="259"/>
                    <a:pt x="54" y="262"/>
                    <a:pt x="53" y="262"/>
                  </a:cubicBezTo>
                  <a:cubicBezTo>
                    <a:pt x="52" y="262"/>
                    <a:pt x="50" y="261"/>
                    <a:pt x="50" y="263"/>
                  </a:cubicBezTo>
                  <a:cubicBezTo>
                    <a:pt x="50" y="267"/>
                    <a:pt x="47" y="270"/>
                    <a:pt x="45" y="272"/>
                  </a:cubicBezTo>
                  <a:cubicBezTo>
                    <a:pt x="43" y="274"/>
                    <a:pt x="44" y="276"/>
                    <a:pt x="42" y="278"/>
                  </a:cubicBezTo>
                  <a:cubicBezTo>
                    <a:pt x="41" y="279"/>
                    <a:pt x="40" y="281"/>
                    <a:pt x="40" y="282"/>
                  </a:cubicBezTo>
                  <a:cubicBezTo>
                    <a:pt x="41" y="284"/>
                    <a:pt x="42" y="285"/>
                    <a:pt x="42" y="288"/>
                  </a:cubicBezTo>
                  <a:cubicBezTo>
                    <a:pt x="42" y="289"/>
                    <a:pt x="42" y="291"/>
                    <a:pt x="42" y="293"/>
                  </a:cubicBezTo>
                  <a:cubicBezTo>
                    <a:pt x="42" y="294"/>
                    <a:pt x="43" y="301"/>
                    <a:pt x="45" y="298"/>
                  </a:cubicBezTo>
                  <a:cubicBezTo>
                    <a:pt x="46" y="296"/>
                    <a:pt x="51" y="298"/>
                    <a:pt x="51" y="296"/>
                  </a:cubicBezTo>
                  <a:cubicBezTo>
                    <a:pt x="52" y="297"/>
                    <a:pt x="55" y="298"/>
                    <a:pt x="57" y="298"/>
                  </a:cubicBezTo>
                  <a:cubicBezTo>
                    <a:pt x="57" y="297"/>
                    <a:pt x="57" y="295"/>
                    <a:pt x="57" y="294"/>
                  </a:cubicBezTo>
                  <a:cubicBezTo>
                    <a:pt x="58" y="297"/>
                    <a:pt x="58" y="297"/>
                    <a:pt x="60" y="294"/>
                  </a:cubicBezTo>
                  <a:cubicBezTo>
                    <a:pt x="60" y="296"/>
                    <a:pt x="57" y="297"/>
                    <a:pt x="59" y="299"/>
                  </a:cubicBezTo>
                  <a:cubicBezTo>
                    <a:pt x="59" y="300"/>
                    <a:pt x="61" y="300"/>
                    <a:pt x="62" y="301"/>
                  </a:cubicBezTo>
                  <a:cubicBezTo>
                    <a:pt x="65" y="303"/>
                    <a:pt x="70" y="305"/>
                    <a:pt x="72" y="309"/>
                  </a:cubicBezTo>
                  <a:cubicBezTo>
                    <a:pt x="72" y="309"/>
                    <a:pt x="75" y="317"/>
                    <a:pt x="76" y="315"/>
                  </a:cubicBezTo>
                  <a:cubicBezTo>
                    <a:pt x="76" y="314"/>
                    <a:pt x="77" y="308"/>
                    <a:pt x="80" y="311"/>
                  </a:cubicBezTo>
                  <a:cubicBezTo>
                    <a:pt x="76" y="309"/>
                    <a:pt x="77" y="315"/>
                    <a:pt x="75" y="316"/>
                  </a:cubicBezTo>
                  <a:cubicBezTo>
                    <a:pt x="74" y="319"/>
                    <a:pt x="72" y="319"/>
                    <a:pt x="74" y="323"/>
                  </a:cubicBezTo>
                  <a:cubicBezTo>
                    <a:pt x="75" y="324"/>
                    <a:pt x="79" y="324"/>
                    <a:pt x="79" y="327"/>
                  </a:cubicBezTo>
                  <a:cubicBezTo>
                    <a:pt x="79" y="329"/>
                    <a:pt x="79" y="328"/>
                    <a:pt x="81" y="328"/>
                  </a:cubicBezTo>
                  <a:cubicBezTo>
                    <a:pt x="81" y="328"/>
                    <a:pt x="80" y="331"/>
                    <a:pt x="78" y="330"/>
                  </a:cubicBezTo>
                  <a:cubicBezTo>
                    <a:pt x="78" y="330"/>
                    <a:pt x="78" y="327"/>
                    <a:pt x="77" y="328"/>
                  </a:cubicBezTo>
                  <a:cubicBezTo>
                    <a:pt x="79" y="330"/>
                    <a:pt x="79" y="333"/>
                    <a:pt x="80" y="335"/>
                  </a:cubicBezTo>
                  <a:cubicBezTo>
                    <a:pt x="81" y="336"/>
                    <a:pt x="81" y="337"/>
                    <a:pt x="81" y="338"/>
                  </a:cubicBezTo>
                  <a:cubicBezTo>
                    <a:pt x="82" y="339"/>
                    <a:pt x="83" y="340"/>
                    <a:pt x="83" y="341"/>
                  </a:cubicBezTo>
                  <a:cubicBezTo>
                    <a:pt x="84" y="343"/>
                    <a:pt x="85" y="343"/>
                    <a:pt x="88" y="344"/>
                  </a:cubicBezTo>
                  <a:cubicBezTo>
                    <a:pt x="90" y="344"/>
                    <a:pt x="90" y="345"/>
                    <a:pt x="91" y="347"/>
                  </a:cubicBezTo>
                  <a:cubicBezTo>
                    <a:pt x="93" y="349"/>
                    <a:pt x="96" y="349"/>
                    <a:pt x="97" y="350"/>
                  </a:cubicBezTo>
                  <a:cubicBezTo>
                    <a:pt x="98" y="351"/>
                    <a:pt x="98" y="352"/>
                    <a:pt x="99" y="352"/>
                  </a:cubicBezTo>
                  <a:cubicBezTo>
                    <a:pt x="100" y="351"/>
                    <a:pt x="101" y="350"/>
                    <a:pt x="102" y="350"/>
                  </a:cubicBezTo>
                  <a:cubicBezTo>
                    <a:pt x="105" y="348"/>
                    <a:pt x="104" y="342"/>
                    <a:pt x="107" y="345"/>
                  </a:cubicBezTo>
                  <a:cubicBezTo>
                    <a:pt x="109" y="336"/>
                    <a:pt x="116" y="330"/>
                    <a:pt x="123" y="329"/>
                  </a:cubicBezTo>
                  <a:cubicBezTo>
                    <a:pt x="125" y="329"/>
                    <a:pt x="128" y="330"/>
                    <a:pt x="130" y="329"/>
                  </a:cubicBezTo>
                  <a:cubicBezTo>
                    <a:pt x="131" y="329"/>
                    <a:pt x="131" y="327"/>
                    <a:pt x="133" y="326"/>
                  </a:cubicBezTo>
                  <a:cubicBezTo>
                    <a:pt x="134" y="325"/>
                    <a:pt x="135" y="325"/>
                    <a:pt x="136" y="323"/>
                  </a:cubicBezTo>
                  <a:cubicBezTo>
                    <a:pt x="137" y="322"/>
                    <a:pt x="137" y="321"/>
                    <a:pt x="138" y="320"/>
                  </a:cubicBezTo>
                  <a:cubicBezTo>
                    <a:pt x="140" y="318"/>
                    <a:pt x="146" y="319"/>
                    <a:pt x="149" y="319"/>
                  </a:cubicBezTo>
                  <a:cubicBezTo>
                    <a:pt x="150" y="318"/>
                    <a:pt x="152" y="319"/>
                    <a:pt x="153" y="319"/>
                  </a:cubicBezTo>
                  <a:cubicBezTo>
                    <a:pt x="155" y="318"/>
                    <a:pt x="157" y="317"/>
                    <a:pt x="158" y="318"/>
                  </a:cubicBezTo>
                  <a:cubicBezTo>
                    <a:pt x="161" y="319"/>
                    <a:pt x="163" y="317"/>
                    <a:pt x="166" y="319"/>
                  </a:cubicBezTo>
                  <a:cubicBezTo>
                    <a:pt x="170" y="321"/>
                    <a:pt x="171" y="319"/>
                    <a:pt x="175" y="318"/>
                  </a:cubicBezTo>
                  <a:cubicBezTo>
                    <a:pt x="179" y="318"/>
                    <a:pt x="184" y="317"/>
                    <a:pt x="188" y="319"/>
                  </a:cubicBezTo>
                  <a:cubicBezTo>
                    <a:pt x="188" y="319"/>
                    <a:pt x="188" y="320"/>
                    <a:pt x="189" y="320"/>
                  </a:cubicBezTo>
                  <a:cubicBezTo>
                    <a:pt x="189" y="320"/>
                    <a:pt x="190" y="320"/>
                    <a:pt x="190" y="320"/>
                  </a:cubicBezTo>
                  <a:cubicBezTo>
                    <a:pt x="192" y="321"/>
                    <a:pt x="193" y="321"/>
                    <a:pt x="194" y="321"/>
                  </a:cubicBezTo>
                  <a:cubicBezTo>
                    <a:pt x="196" y="320"/>
                    <a:pt x="197" y="317"/>
                    <a:pt x="198" y="316"/>
                  </a:cubicBezTo>
                  <a:cubicBezTo>
                    <a:pt x="199" y="315"/>
                    <a:pt x="200" y="314"/>
                    <a:pt x="202" y="315"/>
                  </a:cubicBezTo>
                  <a:cubicBezTo>
                    <a:pt x="203" y="315"/>
                    <a:pt x="205" y="313"/>
                    <a:pt x="206" y="314"/>
                  </a:cubicBezTo>
                  <a:cubicBezTo>
                    <a:pt x="209" y="315"/>
                    <a:pt x="209" y="321"/>
                    <a:pt x="213" y="318"/>
                  </a:cubicBezTo>
                  <a:cubicBezTo>
                    <a:pt x="215" y="317"/>
                    <a:pt x="216" y="314"/>
                    <a:pt x="217" y="312"/>
                  </a:cubicBezTo>
                  <a:cubicBezTo>
                    <a:pt x="218" y="310"/>
                    <a:pt x="220" y="310"/>
                    <a:pt x="221" y="308"/>
                  </a:cubicBezTo>
                  <a:cubicBezTo>
                    <a:pt x="221" y="306"/>
                    <a:pt x="222" y="304"/>
                    <a:pt x="222" y="303"/>
                  </a:cubicBezTo>
                  <a:cubicBezTo>
                    <a:pt x="223" y="302"/>
                    <a:pt x="226" y="295"/>
                    <a:pt x="223" y="295"/>
                  </a:cubicBezTo>
                  <a:cubicBezTo>
                    <a:pt x="226" y="296"/>
                    <a:pt x="228" y="292"/>
                    <a:pt x="229" y="290"/>
                  </a:cubicBezTo>
                  <a:cubicBezTo>
                    <a:pt x="231" y="289"/>
                    <a:pt x="234" y="289"/>
                    <a:pt x="235" y="287"/>
                  </a:cubicBezTo>
                  <a:cubicBezTo>
                    <a:pt x="236" y="284"/>
                    <a:pt x="238" y="282"/>
                    <a:pt x="241" y="281"/>
                  </a:cubicBezTo>
                  <a:cubicBezTo>
                    <a:pt x="242" y="281"/>
                    <a:pt x="244" y="280"/>
                    <a:pt x="245" y="281"/>
                  </a:cubicBezTo>
                  <a:cubicBezTo>
                    <a:pt x="245" y="282"/>
                    <a:pt x="246" y="283"/>
                    <a:pt x="247" y="282"/>
                  </a:cubicBezTo>
                  <a:cubicBezTo>
                    <a:pt x="246" y="280"/>
                    <a:pt x="250" y="280"/>
                    <a:pt x="250" y="280"/>
                  </a:cubicBezTo>
                  <a:cubicBezTo>
                    <a:pt x="251" y="280"/>
                    <a:pt x="252" y="282"/>
                    <a:pt x="253" y="282"/>
                  </a:cubicBezTo>
                  <a:cubicBezTo>
                    <a:pt x="254" y="282"/>
                    <a:pt x="254" y="281"/>
                    <a:pt x="255" y="280"/>
                  </a:cubicBezTo>
                  <a:cubicBezTo>
                    <a:pt x="257" y="280"/>
                    <a:pt x="260" y="281"/>
                    <a:pt x="260" y="278"/>
                  </a:cubicBezTo>
                  <a:cubicBezTo>
                    <a:pt x="260" y="278"/>
                    <a:pt x="259" y="272"/>
                    <a:pt x="259" y="272"/>
                  </a:cubicBezTo>
                  <a:cubicBezTo>
                    <a:pt x="259" y="274"/>
                    <a:pt x="260" y="280"/>
                    <a:pt x="257" y="277"/>
                  </a:cubicBezTo>
                  <a:cubicBezTo>
                    <a:pt x="254" y="274"/>
                    <a:pt x="258" y="269"/>
                    <a:pt x="259" y="271"/>
                  </a:cubicBezTo>
                  <a:cubicBezTo>
                    <a:pt x="259" y="269"/>
                    <a:pt x="259" y="266"/>
                    <a:pt x="260" y="264"/>
                  </a:cubicBezTo>
                  <a:cubicBezTo>
                    <a:pt x="261" y="263"/>
                    <a:pt x="262" y="262"/>
                    <a:pt x="262" y="261"/>
                  </a:cubicBezTo>
                  <a:cubicBezTo>
                    <a:pt x="263" y="259"/>
                    <a:pt x="262" y="257"/>
                    <a:pt x="263" y="256"/>
                  </a:cubicBezTo>
                  <a:cubicBezTo>
                    <a:pt x="263" y="253"/>
                    <a:pt x="265" y="254"/>
                    <a:pt x="266" y="253"/>
                  </a:cubicBezTo>
                  <a:cubicBezTo>
                    <a:pt x="269" y="251"/>
                    <a:pt x="265" y="247"/>
                    <a:pt x="270" y="246"/>
                  </a:cubicBezTo>
                  <a:cubicBezTo>
                    <a:pt x="271" y="246"/>
                    <a:pt x="270" y="244"/>
                    <a:pt x="271" y="243"/>
                  </a:cubicBezTo>
                  <a:cubicBezTo>
                    <a:pt x="272" y="242"/>
                    <a:pt x="273" y="241"/>
                    <a:pt x="274" y="240"/>
                  </a:cubicBezTo>
                  <a:cubicBezTo>
                    <a:pt x="278" y="238"/>
                    <a:pt x="280" y="237"/>
                    <a:pt x="283" y="234"/>
                  </a:cubicBezTo>
                  <a:cubicBezTo>
                    <a:pt x="285" y="233"/>
                    <a:pt x="288" y="232"/>
                    <a:pt x="290" y="230"/>
                  </a:cubicBezTo>
                  <a:cubicBezTo>
                    <a:pt x="295" y="224"/>
                    <a:pt x="285" y="223"/>
                    <a:pt x="282" y="220"/>
                  </a:cubicBezTo>
                  <a:cubicBezTo>
                    <a:pt x="279" y="217"/>
                    <a:pt x="278" y="213"/>
                    <a:pt x="277" y="208"/>
                  </a:cubicBezTo>
                  <a:cubicBezTo>
                    <a:pt x="277" y="204"/>
                    <a:pt x="274" y="200"/>
                    <a:pt x="275" y="196"/>
                  </a:cubicBezTo>
                  <a:cubicBezTo>
                    <a:pt x="275" y="192"/>
                    <a:pt x="278" y="190"/>
                    <a:pt x="279" y="186"/>
                  </a:cubicBezTo>
                  <a:cubicBezTo>
                    <a:pt x="281" y="182"/>
                    <a:pt x="283" y="179"/>
                    <a:pt x="286" y="176"/>
                  </a:cubicBezTo>
                  <a:cubicBezTo>
                    <a:pt x="286" y="174"/>
                    <a:pt x="287" y="172"/>
                    <a:pt x="288" y="171"/>
                  </a:cubicBezTo>
                  <a:cubicBezTo>
                    <a:pt x="289" y="169"/>
                    <a:pt x="290" y="169"/>
                    <a:pt x="291" y="167"/>
                  </a:cubicBezTo>
                  <a:cubicBezTo>
                    <a:pt x="293" y="164"/>
                    <a:pt x="294" y="162"/>
                    <a:pt x="297" y="158"/>
                  </a:cubicBezTo>
                  <a:cubicBezTo>
                    <a:pt x="300" y="153"/>
                    <a:pt x="304" y="142"/>
                    <a:pt x="311" y="143"/>
                  </a:cubicBezTo>
                  <a:cubicBezTo>
                    <a:pt x="310" y="143"/>
                    <a:pt x="304" y="147"/>
                    <a:pt x="308" y="146"/>
                  </a:cubicBezTo>
                  <a:cubicBezTo>
                    <a:pt x="310" y="146"/>
                    <a:pt x="311" y="144"/>
                    <a:pt x="312" y="142"/>
                  </a:cubicBezTo>
                  <a:cubicBezTo>
                    <a:pt x="313" y="141"/>
                    <a:pt x="316" y="140"/>
                    <a:pt x="316" y="139"/>
                  </a:cubicBezTo>
                  <a:cubicBezTo>
                    <a:pt x="316" y="139"/>
                    <a:pt x="313" y="137"/>
                    <a:pt x="312" y="136"/>
                  </a:cubicBezTo>
                  <a:cubicBezTo>
                    <a:pt x="312" y="136"/>
                    <a:pt x="312" y="136"/>
                    <a:pt x="312" y="137"/>
                  </a:cubicBezTo>
                  <a:cubicBezTo>
                    <a:pt x="311" y="138"/>
                    <a:pt x="309" y="136"/>
                    <a:pt x="311" y="134"/>
                  </a:cubicBezTo>
                  <a:cubicBezTo>
                    <a:pt x="313" y="131"/>
                    <a:pt x="315" y="129"/>
                    <a:pt x="317" y="127"/>
                  </a:cubicBezTo>
                  <a:cubicBezTo>
                    <a:pt x="319" y="124"/>
                    <a:pt x="321" y="123"/>
                    <a:pt x="324" y="124"/>
                  </a:cubicBezTo>
                  <a:cubicBezTo>
                    <a:pt x="325" y="124"/>
                    <a:pt x="329" y="121"/>
                    <a:pt x="330" y="121"/>
                  </a:cubicBezTo>
                  <a:cubicBezTo>
                    <a:pt x="336" y="119"/>
                    <a:pt x="341" y="117"/>
                    <a:pt x="347" y="116"/>
                  </a:cubicBezTo>
                  <a:cubicBezTo>
                    <a:pt x="350" y="115"/>
                    <a:pt x="354" y="115"/>
                    <a:pt x="356" y="112"/>
                  </a:cubicBezTo>
                  <a:cubicBezTo>
                    <a:pt x="358" y="110"/>
                    <a:pt x="359" y="108"/>
                    <a:pt x="361" y="106"/>
                  </a:cubicBezTo>
                  <a:cubicBezTo>
                    <a:pt x="366" y="101"/>
                    <a:pt x="373" y="101"/>
                    <a:pt x="378" y="96"/>
                  </a:cubicBezTo>
                  <a:cubicBezTo>
                    <a:pt x="379" y="95"/>
                    <a:pt x="380" y="95"/>
                    <a:pt x="382" y="94"/>
                  </a:cubicBezTo>
                  <a:cubicBezTo>
                    <a:pt x="383" y="94"/>
                    <a:pt x="383" y="92"/>
                    <a:pt x="384" y="91"/>
                  </a:cubicBezTo>
                  <a:cubicBezTo>
                    <a:pt x="386" y="90"/>
                    <a:pt x="389" y="88"/>
                    <a:pt x="390" y="86"/>
                  </a:cubicBezTo>
                  <a:cubicBezTo>
                    <a:pt x="391" y="84"/>
                    <a:pt x="391" y="79"/>
                    <a:pt x="391" y="78"/>
                  </a:cubicBezTo>
                  <a:cubicBezTo>
                    <a:pt x="390" y="77"/>
                    <a:pt x="388" y="76"/>
                    <a:pt x="388" y="74"/>
                  </a:cubicBezTo>
                  <a:cubicBezTo>
                    <a:pt x="387" y="72"/>
                    <a:pt x="389" y="70"/>
                    <a:pt x="391" y="71"/>
                  </a:cubicBezTo>
                  <a:cubicBezTo>
                    <a:pt x="393" y="72"/>
                    <a:pt x="393" y="68"/>
                    <a:pt x="395" y="67"/>
                  </a:cubicBezTo>
                  <a:cubicBezTo>
                    <a:pt x="393" y="65"/>
                    <a:pt x="388" y="67"/>
                    <a:pt x="390" y="62"/>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10">
              <a:extLst>
                <a:ext uri="{FF2B5EF4-FFF2-40B4-BE49-F238E27FC236}">
                  <a16:creationId xmlns:a16="http://schemas.microsoft.com/office/drawing/2014/main" id="{9140067C-589F-33E3-969E-6D7C6520CFB8}"/>
                </a:ext>
              </a:extLst>
            </p:cNvPr>
            <p:cNvSpPr>
              <a:spLocks/>
            </p:cNvSpPr>
            <p:nvPr/>
          </p:nvSpPr>
          <p:spPr bwMode="auto">
            <a:xfrm>
              <a:off x="1761358" y="5463737"/>
              <a:ext cx="33057" cy="27414"/>
            </a:xfrm>
            <a:custGeom>
              <a:avLst/>
              <a:gdLst>
                <a:gd name="T0" fmla="*/ 10 w 12"/>
                <a:gd name="T1" fmla="*/ 3 h 10"/>
                <a:gd name="T2" fmla="*/ 9 w 12"/>
                <a:gd name="T3" fmla="*/ 2 h 10"/>
                <a:gd name="T4" fmla="*/ 7 w 12"/>
                <a:gd name="T5" fmla="*/ 1 h 10"/>
                <a:gd name="T6" fmla="*/ 4 w 12"/>
                <a:gd name="T7" fmla="*/ 0 h 10"/>
                <a:gd name="T8" fmla="*/ 3 w 12"/>
                <a:gd name="T9" fmla="*/ 1 h 10"/>
                <a:gd name="T10" fmla="*/ 1 w 12"/>
                <a:gd name="T11" fmla="*/ 3 h 10"/>
                <a:gd name="T12" fmla="*/ 1 w 12"/>
                <a:gd name="T13" fmla="*/ 5 h 10"/>
                <a:gd name="T14" fmla="*/ 2 w 12"/>
                <a:gd name="T15" fmla="*/ 7 h 10"/>
                <a:gd name="T16" fmla="*/ 0 w 12"/>
                <a:gd name="T17" fmla="*/ 8 h 10"/>
                <a:gd name="T18" fmla="*/ 2 w 12"/>
                <a:gd name="T19" fmla="*/ 10 h 10"/>
                <a:gd name="T20" fmla="*/ 4 w 12"/>
                <a:gd name="T21" fmla="*/ 10 h 10"/>
                <a:gd name="T22" fmla="*/ 6 w 12"/>
                <a:gd name="T23" fmla="*/ 9 h 10"/>
                <a:gd name="T24" fmla="*/ 8 w 12"/>
                <a:gd name="T25" fmla="*/ 8 h 10"/>
                <a:gd name="T26" fmla="*/ 8 w 12"/>
                <a:gd name="T27" fmla="*/ 7 h 10"/>
                <a:gd name="T28" fmla="*/ 10 w 12"/>
                <a:gd name="T29" fmla="*/ 7 h 10"/>
                <a:gd name="T30" fmla="*/ 10 w 12"/>
                <a:gd name="T31" fmla="*/ 5 h 10"/>
                <a:gd name="T32" fmla="*/ 10 w 12"/>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0">
                  <a:moveTo>
                    <a:pt x="10" y="3"/>
                  </a:moveTo>
                  <a:cubicBezTo>
                    <a:pt x="10" y="3"/>
                    <a:pt x="11" y="2"/>
                    <a:pt x="9" y="2"/>
                  </a:cubicBezTo>
                  <a:cubicBezTo>
                    <a:pt x="9" y="2"/>
                    <a:pt x="8" y="1"/>
                    <a:pt x="7" y="1"/>
                  </a:cubicBezTo>
                  <a:cubicBezTo>
                    <a:pt x="6" y="1"/>
                    <a:pt x="5" y="0"/>
                    <a:pt x="4" y="0"/>
                  </a:cubicBezTo>
                  <a:cubicBezTo>
                    <a:pt x="3" y="0"/>
                    <a:pt x="3" y="1"/>
                    <a:pt x="3" y="1"/>
                  </a:cubicBezTo>
                  <a:cubicBezTo>
                    <a:pt x="2" y="2"/>
                    <a:pt x="2" y="2"/>
                    <a:pt x="1" y="3"/>
                  </a:cubicBezTo>
                  <a:cubicBezTo>
                    <a:pt x="1" y="3"/>
                    <a:pt x="1" y="5"/>
                    <a:pt x="1" y="5"/>
                  </a:cubicBezTo>
                  <a:cubicBezTo>
                    <a:pt x="1" y="5"/>
                    <a:pt x="2" y="6"/>
                    <a:pt x="2" y="7"/>
                  </a:cubicBezTo>
                  <a:cubicBezTo>
                    <a:pt x="2" y="7"/>
                    <a:pt x="0" y="7"/>
                    <a:pt x="0" y="8"/>
                  </a:cubicBezTo>
                  <a:cubicBezTo>
                    <a:pt x="1" y="9"/>
                    <a:pt x="1" y="9"/>
                    <a:pt x="2" y="10"/>
                  </a:cubicBezTo>
                  <a:cubicBezTo>
                    <a:pt x="2" y="10"/>
                    <a:pt x="3" y="10"/>
                    <a:pt x="4" y="10"/>
                  </a:cubicBezTo>
                  <a:cubicBezTo>
                    <a:pt x="5" y="9"/>
                    <a:pt x="5" y="9"/>
                    <a:pt x="6" y="9"/>
                  </a:cubicBezTo>
                  <a:cubicBezTo>
                    <a:pt x="6" y="9"/>
                    <a:pt x="7" y="9"/>
                    <a:pt x="8" y="8"/>
                  </a:cubicBezTo>
                  <a:cubicBezTo>
                    <a:pt x="8" y="8"/>
                    <a:pt x="8" y="7"/>
                    <a:pt x="8" y="7"/>
                  </a:cubicBezTo>
                  <a:cubicBezTo>
                    <a:pt x="8" y="7"/>
                    <a:pt x="9" y="8"/>
                    <a:pt x="10" y="7"/>
                  </a:cubicBezTo>
                  <a:cubicBezTo>
                    <a:pt x="10" y="7"/>
                    <a:pt x="10" y="5"/>
                    <a:pt x="10" y="5"/>
                  </a:cubicBezTo>
                  <a:cubicBezTo>
                    <a:pt x="11" y="3"/>
                    <a:pt x="12" y="4"/>
                    <a:pt x="10" y="3"/>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11">
              <a:extLst>
                <a:ext uri="{FF2B5EF4-FFF2-40B4-BE49-F238E27FC236}">
                  <a16:creationId xmlns:a16="http://schemas.microsoft.com/office/drawing/2014/main" id="{AD699412-BE75-D24E-D130-728A40CBED8F}"/>
                </a:ext>
              </a:extLst>
            </p:cNvPr>
            <p:cNvSpPr>
              <a:spLocks/>
            </p:cNvSpPr>
            <p:nvPr/>
          </p:nvSpPr>
          <p:spPr bwMode="auto">
            <a:xfrm>
              <a:off x="1459122" y="4913082"/>
              <a:ext cx="20071" cy="17879"/>
            </a:xfrm>
            <a:custGeom>
              <a:avLst/>
              <a:gdLst>
                <a:gd name="T0" fmla="*/ 3 w 7"/>
                <a:gd name="T1" fmla="*/ 0 h 6"/>
                <a:gd name="T2" fmla="*/ 6 w 7"/>
                <a:gd name="T3" fmla="*/ 6 h 6"/>
                <a:gd name="T4" fmla="*/ 3 w 7"/>
                <a:gd name="T5" fmla="*/ 0 h 6"/>
              </a:gdLst>
              <a:ahLst/>
              <a:cxnLst>
                <a:cxn ang="0">
                  <a:pos x="T0" y="T1"/>
                </a:cxn>
                <a:cxn ang="0">
                  <a:pos x="T2" y="T3"/>
                </a:cxn>
                <a:cxn ang="0">
                  <a:pos x="T4" y="T5"/>
                </a:cxn>
              </a:cxnLst>
              <a:rect l="0" t="0" r="r" b="b"/>
              <a:pathLst>
                <a:path w="7" h="6">
                  <a:moveTo>
                    <a:pt x="3" y="0"/>
                  </a:moveTo>
                  <a:cubicBezTo>
                    <a:pt x="0" y="1"/>
                    <a:pt x="6" y="6"/>
                    <a:pt x="6" y="6"/>
                  </a:cubicBezTo>
                  <a:cubicBezTo>
                    <a:pt x="7" y="5"/>
                    <a:pt x="4" y="0"/>
                    <a:pt x="3" y="0"/>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12">
              <a:extLst>
                <a:ext uri="{FF2B5EF4-FFF2-40B4-BE49-F238E27FC236}">
                  <a16:creationId xmlns:a16="http://schemas.microsoft.com/office/drawing/2014/main" id="{D524BF48-6A81-B7BE-3351-04377CF1C63D}"/>
                </a:ext>
              </a:extLst>
            </p:cNvPr>
            <p:cNvSpPr>
              <a:spLocks/>
            </p:cNvSpPr>
            <p:nvPr/>
          </p:nvSpPr>
          <p:spPr bwMode="auto">
            <a:xfrm>
              <a:off x="1444955" y="4947648"/>
              <a:ext cx="17709" cy="8344"/>
            </a:xfrm>
            <a:custGeom>
              <a:avLst/>
              <a:gdLst>
                <a:gd name="T0" fmla="*/ 6 w 6"/>
                <a:gd name="T1" fmla="*/ 3 h 3"/>
                <a:gd name="T2" fmla="*/ 6 w 6"/>
                <a:gd name="T3" fmla="*/ 3 h 3"/>
              </a:gdLst>
              <a:ahLst/>
              <a:cxnLst>
                <a:cxn ang="0">
                  <a:pos x="T0" y="T1"/>
                </a:cxn>
                <a:cxn ang="0">
                  <a:pos x="T2" y="T3"/>
                </a:cxn>
              </a:cxnLst>
              <a:rect l="0" t="0" r="r" b="b"/>
              <a:pathLst>
                <a:path w="6" h="3">
                  <a:moveTo>
                    <a:pt x="6" y="3"/>
                  </a:moveTo>
                  <a:cubicBezTo>
                    <a:pt x="6" y="0"/>
                    <a:pt x="0" y="3"/>
                    <a:pt x="6" y="3"/>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13">
              <a:extLst>
                <a:ext uri="{FF2B5EF4-FFF2-40B4-BE49-F238E27FC236}">
                  <a16:creationId xmlns:a16="http://schemas.microsoft.com/office/drawing/2014/main" id="{79BDD862-7C63-955F-3A88-9BE521392778}"/>
                </a:ext>
              </a:extLst>
            </p:cNvPr>
            <p:cNvSpPr>
              <a:spLocks noEditPoints="1"/>
            </p:cNvSpPr>
            <p:nvPr/>
          </p:nvSpPr>
          <p:spPr bwMode="auto">
            <a:xfrm>
              <a:off x="1260780" y="4411296"/>
              <a:ext cx="1103869" cy="1094157"/>
            </a:xfrm>
            <a:custGeom>
              <a:avLst/>
              <a:gdLst>
                <a:gd name="T0" fmla="*/ 352 w 395"/>
                <a:gd name="T1" fmla="*/ 85 h 388"/>
                <a:gd name="T2" fmla="*/ 320 w 395"/>
                <a:gd name="T3" fmla="*/ 67 h 388"/>
                <a:gd name="T4" fmla="*/ 294 w 395"/>
                <a:gd name="T5" fmla="*/ 50 h 388"/>
                <a:gd name="T6" fmla="*/ 275 w 395"/>
                <a:gd name="T7" fmla="*/ 45 h 388"/>
                <a:gd name="T8" fmla="*/ 261 w 395"/>
                <a:gd name="T9" fmla="*/ 33 h 388"/>
                <a:gd name="T10" fmla="*/ 239 w 395"/>
                <a:gd name="T11" fmla="*/ 15 h 388"/>
                <a:gd name="T12" fmla="*/ 204 w 395"/>
                <a:gd name="T13" fmla="*/ 6 h 388"/>
                <a:gd name="T14" fmla="*/ 196 w 395"/>
                <a:gd name="T15" fmla="*/ 39 h 388"/>
                <a:gd name="T16" fmla="*/ 150 w 395"/>
                <a:gd name="T17" fmla="*/ 75 h 388"/>
                <a:gd name="T18" fmla="*/ 102 w 395"/>
                <a:gd name="T19" fmla="*/ 62 h 388"/>
                <a:gd name="T20" fmla="*/ 100 w 395"/>
                <a:gd name="T21" fmla="*/ 82 h 388"/>
                <a:gd name="T22" fmla="*/ 93 w 395"/>
                <a:gd name="T23" fmla="*/ 109 h 388"/>
                <a:gd name="T24" fmla="*/ 81 w 395"/>
                <a:gd name="T25" fmla="*/ 109 h 388"/>
                <a:gd name="T26" fmla="*/ 64 w 395"/>
                <a:gd name="T27" fmla="*/ 113 h 388"/>
                <a:gd name="T28" fmla="*/ 49 w 395"/>
                <a:gd name="T29" fmla="*/ 101 h 388"/>
                <a:gd name="T30" fmla="*/ 30 w 395"/>
                <a:gd name="T31" fmla="*/ 104 h 388"/>
                <a:gd name="T32" fmla="*/ 19 w 395"/>
                <a:gd name="T33" fmla="*/ 107 h 388"/>
                <a:gd name="T34" fmla="*/ 1 w 395"/>
                <a:gd name="T35" fmla="*/ 119 h 388"/>
                <a:gd name="T36" fmla="*/ 16 w 395"/>
                <a:gd name="T37" fmla="*/ 123 h 388"/>
                <a:gd name="T38" fmla="*/ 14 w 395"/>
                <a:gd name="T39" fmla="*/ 131 h 388"/>
                <a:gd name="T40" fmla="*/ 19 w 395"/>
                <a:gd name="T41" fmla="*/ 142 h 388"/>
                <a:gd name="T42" fmla="*/ 44 w 395"/>
                <a:gd name="T43" fmla="*/ 145 h 388"/>
                <a:gd name="T44" fmla="*/ 47 w 395"/>
                <a:gd name="T45" fmla="*/ 152 h 388"/>
                <a:gd name="T46" fmla="*/ 57 w 395"/>
                <a:gd name="T47" fmla="*/ 153 h 388"/>
                <a:gd name="T48" fmla="*/ 65 w 395"/>
                <a:gd name="T49" fmla="*/ 156 h 388"/>
                <a:gd name="T50" fmla="*/ 69 w 395"/>
                <a:gd name="T51" fmla="*/ 166 h 388"/>
                <a:gd name="T52" fmla="*/ 86 w 395"/>
                <a:gd name="T53" fmla="*/ 169 h 388"/>
                <a:gd name="T54" fmla="*/ 86 w 395"/>
                <a:gd name="T55" fmla="*/ 198 h 388"/>
                <a:gd name="T56" fmla="*/ 106 w 395"/>
                <a:gd name="T57" fmla="*/ 210 h 388"/>
                <a:gd name="T58" fmla="*/ 109 w 395"/>
                <a:gd name="T59" fmla="*/ 236 h 388"/>
                <a:gd name="T60" fmla="*/ 124 w 395"/>
                <a:gd name="T61" fmla="*/ 269 h 388"/>
                <a:gd name="T62" fmla="*/ 107 w 395"/>
                <a:gd name="T63" fmla="*/ 244 h 388"/>
                <a:gd name="T64" fmla="*/ 94 w 395"/>
                <a:gd name="T65" fmla="*/ 317 h 388"/>
                <a:gd name="T66" fmla="*/ 92 w 395"/>
                <a:gd name="T67" fmla="*/ 349 h 388"/>
                <a:gd name="T68" fmla="*/ 120 w 395"/>
                <a:gd name="T69" fmla="*/ 367 h 388"/>
                <a:gd name="T70" fmla="*/ 157 w 395"/>
                <a:gd name="T71" fmla="*/ 365 h 388"/>
                <a:gd name="T72" fmla="*/ 191 w 395"/>
                <a:gd name="T73" fmla="*/ 377 h 388"/>
                <a:gd name="T74" fmla="*/ 219 w 395"/>
                <a:gd name="T75" fmla="*/ 387 h 388"/>
                <a:gd name="T76" fmla="*/ 229 w 395"/>
                <a:gd name="T77" fmla="*/ 361 h 388"/>
                <a:gd name="T78" fmla="*/ 241 w 395"/>
                <a:gd name="T79" fmla="*/ 346 h 388"/>
                <a:gd name="T80" fmla="*/ 275 w 395"/>
                <a:gd name="T81" fmla="*/ 337 h 388"/>
                <a:gd name="T82" fmla="*/ 293 w 395"/>
                <a:gd name="T83" fmla="*/ 339 h 388"/>
                <a:gd name="T84" fmla="*/ 299 w 395"/>
                <a:gd name="T85" fmla="*/ 343 h 388"/>
                <a:gd name="T86" fmla="*/ 320 w 395"/>
                <a:gd name="T87" fmla="*/ 353 h 388"/>
                <a:gd name="T88" fmla="*/ 341 w 395"/>
                <a:gd name="T89" fmla="*/ 349 h 388"/>
                <a:gd name="T90" fmla="*/ 367 w 395"/>
                <a:gd name="T91" fmla="*/ 326 h 388"/>
                <a:gd name="T92" fmla="*/ 357 w 395"/>
                <a:gd name="T93" fmla="*/ 302 h 388"/>
                <a:gd name="T94" fmla="*/ 353 w 395"/>
                <a:gd name="T95" fmla="*/ 275 h 388"/>
                <a:gd name="T96" fmla="*/ 361 w 395"/>
                <a:gd name="T97" fmla="*/ 253 h 388"/>
                <a:gd name="T98" fmla="*/ 353 w 395"/>
                <a:gd name="T99" fmla="*/ 222 h 388"/>
                <a:gd name="T100" fmla="*/ 333 w 395"/>
                <a:gd name="T101" fmla="*/ 210 h 388"/>
                <a:gd name="T102" fmla="*/ 331 w 395"/>
                <a:gd name="T103" fmla="*/ 200 h 388"/>
                <a:gd name="T104" fmla="*/ 356 w 395"/>
                <a:gd name="T105" fmla="*/ 168 h 388"/>
                <a:gd name="T106" fmla="*/ 367 w 395"/>
                <a:gd name="T107" fmla="*/ 161 h 388"/>
                <a:gd name="T108" fmla="*/ 377 w 395"/>
                <a:gd name="T109" fmla="*/ 127 h 388"/>
                <a:gd name="T110" fmla="*/ 385 w 395"/>
                <a:gd name="T111" fmla="*/ 89 h 388"/>
                <a:gd name="T112" fmla="*/ 283 w 395"/>
                <a:gd name="T113" fmla="*/ 33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5" h="388">
                  <a:moveTo>
                    <a:pt x="379" y="90"/>
                  </a:moveTo>
                  <a:cubicBezTo>
                    <a:pt x="378" y="90"/>
                    <a:pt x="377" y="89"/>
                    <a:pt x="376" y="88"/>
                  </a:cubicBezTo>
                  <a:cubicBezTo>
                    <a:pt x="374" y="87"/>
                    <a:pt x="372" y="81"/>
                    <a:pt x="369" y="85"/>
                  </a:cubicBezTo>
                  <a:cubicBezTo>
                    <a:pt x="367" y="88"/>
                    <a:pt x="363" y="85"/>
                    <a:pt x="361" y="85"/>
                  </a:cubicBezTo>
                  <a:cubicBezTo>
                    <a:pt x="361" y="88"/>
                    <a:pt x="359" y="86"/>
                    <a:pt x="359" y="84"/>
                  </a:cubicBezTo>
                  <a:cubicBezTo>
                    <a:pt x="359" y="83"/>
                    <a:pt x="356" y="82"/>
                    <a:pt x="355" y="82"/>
                  </a:cubicBezTo>
                  <a:cubicBezTo>
                    <a:pt x="353" y="82"/>
                    <a:pt x="355" y="85"/>
                    <a:pt x="352" y="85"/>
                  </a:cubicBezTo>
                  <a:cubicBezTo>
                    <a:pt x="351" y="85"/>
                    <a:pt x="350" y="85"/>
                    <a:pt x="350" y="83"/>
                  </a:cubicBezTo>
                  <a:cubicBezTo>
                    <a:pt x="350" y="82"/>
                    <a:pt x="348" y="80"/>
                    <a:pt x="347" y="79"/>
                  </a:cubicBezTo>
                  <a:cubicBezTo>
                    <a:pt x="346" y="77"/>
                    <a:pt x="346" y="77"/>
                    <a:pt x="346" y="75"/>
                  </a:cubicBezTo>
                  <a:cubicBezTo>
                    <a:pt x="345" y="71"/>
                    <a:pt x="341" y="72"/>
                    <a:pt x="339" y="71"/>
                  </a:cubicBezTo>
                  <a:cubicBezTo>
                    <a:pt x="336" y="70"/>
                    <a:pt x="335" y="69"/>
                    <a:pt x="332" y="70"/>
                  </a:cubicBezTo>
                  <a:cubicBezTo>
                    <a:pt x="332" y="71"/>
                    <a:pt x="329" y="73"/>
                    <a:pt x="328" y="72"/>
                  </a:cubicBezTo>
                  <a:cubicBezTo>
                    <a:pt x="327" y="70"/>
                    <a:pt x="322" y="67"/>
                    <a:pt x="320" y="67"/>
                  </a:cubicBezTo>
                  <a:cubicBezTo>
                    <a:pt x="318" y="67"/>
                    <a:pt x="315" y="71"/>
                    <a:pt x="313" y="69"/>
                  </a:cubicBezTo>
                  <a:cubicBezTo>
                    <a:pt x="312" y="68"/>
                    <a:pt x="313" y="65"/>
                    <a:pt x="310" y="65"/>
                  </a:cubicBezTo>
                  <a:cubicBezTo>
                    <a:pt x="310" y="64"/>
                    <a:pt x="307" y="65"/>
                    <a:pt x="308" y="63"/>
                  </a:cubicBezTo>
                  <a:cubicBezTo>
                    <a:pt x="310" y="62"/>
                    <a:pt x="304" y="61"/>
                    <a:pt x="304" y="61"/>
                  </a:cubicBezTo>
                  <a:cubicBezTo>
                    <a:pt x="302" y="61"/>
                    <a:pt x="302" y="58"/>
                    <a:pt x="300" y="57"/>
                  </a:cubicBezTo>
                  <a:cubicBezTo>
                    <a:pt x="299" y="57"/>
                    <a:pt x="294" y="57"/>
                    <a:pt x="295" y="56"/>
                  </a:cubicBezTo>
                  <a:cubicBezTo>
                    <a:pt x="295" y="55"/>
                    <a:pt x="295" y="52"/>
                    <a:pt x="294" y="50"/>
                  </a:cubicBezTo>
                  <a:cubicBezTo>
                    <a:pt x="294" y="50"/>
                    <a:pt x="293" y="50"/>
                    <a:pt x="293" y="49"/>
                  </a:cubicBezTo>
                  <a:cubicBezTo>
                    <a:pt x="293" y="49"/>
                    <a:pt x="294" y="47"/>
                    <a:pt x="294" y="47"/>
                  </a:cubicBezTo>
                  <a:cubicBezTo>
                    <a:pt x="294" y="45"/>
                    <a:pt x="295" y="44"/>
                    <a:pt x="295" y="42"/>
                  </a:cubicBezTo>
                  <a:cubicBezTo>
                    <a:pt x="295" y="38"/>
                    <a:pt x="290" y="44"/>
                    <a:pt x="290" y="46"/>
                  </a:cubicBezTo>
                  <a:cubicBezTo>
                    <a:pt x="289" y="50"/>
                    <a:pt x="283" y="51"/>
                    <a:pt x="281" y="50"/>
                  </a:cubicBezTo>
                  <a:cubicBezTo>
                    <a:pt x="278" y="49"/>
                    <a:pt x="276" y="50"/>
                    <a:pt x="274" y="49"/>
                  </a:cubicBezTo>
                  <a:cubicBezTo>
                    <a:pt x="272" y="48"/>
                    <a:pt x="274" y="47"/>
                    <a:pt x="275" y="45"/>
                  </a:cubicBezTo>
                  <a:cubicBezTo>
                    <a:pt x="275" y="45"/>
                    <a:pt x="276" y="45"/>
                    <a:pt x="275" y="44"/>
                  </a:cubicBezTo>
                  <a:cubicBezTo>
                    <a:pt x="275" y="44"/>
                    <a:pt x="275" y="41"/>
                    <a:pt x="274" y="42"/>
                  </a:cubicBezTo>
                  <a:cubicBezTo>
                    <a:pt x="273" y="42"/>
                    <a:pt x="273" y="41"/>
                    <a:pt x="274" y="40"/>
                  </a:cubicBezTo>
                  <a:cubicBezTo>
                    <a:pt x="274" y="39"/>
                    <a:pt x="276" y="37"/>
                    <a:pt x="275" y="36"/>
                  </a:cubicBezTo>
                  <a:cubicBezTo>
                    <a:pt x="275" y="35"/>
                    <a:pt x="274" y="37"/>
                    <a:pt x="274" y="36"/>
                  </a:cubicBezTo>
                  <a:cubicBezTo>
                    <a:pt x="273" y="36"/>
                    <a:pt x="271" y="32"/>
                    <a:pt x="270" y="32"/>
                  </a:cubicBezTo>
                  <a:cubicBezTo>
                    <a:pt x="268" y="33"/>
                    <a:pt x="262" y="31"/>
                    <a:pt x="261" y="33"/>
                  </a:cubicBezTo>
                  <a:cubicBezTo>
                    <a:pt x="260" y="37"/>
                    <a:pt x="260" y="30"/>
                    <a:pt x="259" y="29"/>
                  </a:cubicBezTo>
                  <a:cubicBezTo>
                    <a:pt x="259" y="26"/>
                    <a:pt x="257" y="27"/>
                    <a:pt x="255" y="26"/>
                  </a:cubicBezTo>
                  <a:cubicBezTo>
                    <a:pt x="255" y="26"/>
                    <a:pt x="255" y="25"/>
                    <a:pt x="255" y="25"/>
                  </a:cubicBezTo>
                  <a:cubicBezTo>
                    <a:pt x="253" y="25"/>
                    <a:pt x="250" y="27"/>
                    <a:pt x="249" y="25"/>
                  </a:cubicBezTo>
                  <a:cubicBezTo>
                    <a:pt x="248" y="23"/>
                    <a:pt x="248" y="20"/>
                    <a:pt x="247" y="18"/>
                  </a:cubicBezTo>
                  <a:cubicBezTo>
                    <a:pt x="247" y="17"/>
                    <a:pt x="246" y="14"/>
                    <a:pt x="244" y="13"/>
                  </a:cubicBezTo>
                  <a:cubicBezTo>
                    <a:pt x="243" y="13"/>
                    <a:pt x="240" y="14"/>
                    <a:pt x="239" y="15"/>
                  </a:cubicBezTo>
                  <a:cubicBezTo>
                    <a:pt x="237" y="18"/>
                    <a:pt x="236" y="17"/>
                    <a:pt x="234" y="15"/>
                  </a:cubicBezTo>
                  <a:cubicBezTo>
                    <a:pt x="233" y="14"/>
                    <a:pt x="232" y="14"/>
                    <a:pt x="232" y="13"/>
                  </a:cubicBezTo>
                  <a:cubicBezTo>
                    <a:pt x="231" y="12"/>
                    <a:pt x="230" y="13"/>
                    <a:pt x="229" y="12"/>
                  </a:cubicBezTo>
                  <a:cubicBezTo>
                    <a:pt x="228" y="11"/>
                    <a:pt x="229" y="8"/>
                    <a:pt x="229" y="7"/>
                  </a:cubicBezTo>
                  <a:cubicBezTo>
                    <a:pt x="229" y="4"/>
                    <a:pt x="228" y="2"/>
                    <a:pt x="227" y="0"/>
                  </a:cubicBezTo>
                  <a:cubicBezTo>
                    <a:pt x="222" y="2"/>
                    <a:pt x="217" y="3"/>
                    <a:pt x="211" y="4"/>
                  </a:cubicBezTo>
                  <a:cubicBezTo>
                    <a:pt x="209" y="4"/>
                    <a:pt x="206" y="5"/>
                    <a:pt x="204" y="6"/>
                  </a:cubicBezTo>
                  <a:cubicBezTo>
                    <a:pt x="202" y="7"/>
                    <a:pt x="201" y="8"/>
                    <a:pt x="199" y="9"/>
                  </a:cubicBezTo>
                  <a:cubicBezTo>
                    <a:pt x="197" y="10"/>
                    <a:pt x="198" y="11"/>
                    <a:pt x="198" y="13"/>
                  </a:cubicBezTo>
                  <a:cubicBezTo>
                    <a:pt x="198" y="15"/>
                    <a:pt x="198" y="16"/>
                    <a:pt x="197" y="18"/>
                  </a:cubicBezTo>
                  <a:cubicBezTo>
                    <a:pt x="197" y="20"/>
                    <a:pt x="198" y="23"/>
                    <a:pt x="197" y="25"/>
                  </a:cubicBezTo>
                  <a:cubicBezTo>
                    <a:pt x="197" y="27"/>
                    <a:pt x="196" y="30"/>
                    <a:pt x="198" y="32"/>
                  </a:cubicBezTo>
                  <a:cubicBezTo>
                    <a:pt x="192" y="31"/>
                    <a:pt x="198" y="40"/>
                    <a:pt x="199" y="39"/>
                  </a:cubicBezTo>
                  <a:cubicBezTo>
                    <a:pt x="199" y="40"/>
                    <a:pt x="196" y="39"/>
                    <a:pt x="196" y="39"/>
                  </a:cubicBezTo>
                  <a:cubicBezTo>
                    <a:pt x="195" y="38"/>
                    <a:pt x="194" y="40"/>
                    <a:pt x="193" y="41"/>
                  </a:cubicBezTo>
                  <a:cubicBezTo>
                    <a:pt x="192" y="44"/>
                    <a:pt x="190" y="45"/>
                    <a:pt x="187" y="47"/>
                  </a:cubicBezTo>
                  <a:cubicBezTo>
                    <a:pt x="181" y="52"/>
                    <a:pt x="173" y="52"/>
                    <a:pt x="166" y="55"/>
                  </a:cubicBezTo>
                  <a:cubicBezTo>
                    <a:pt x="162" y="56"/>
                    <a:pt x="159" y="58"/>
                    <a:pt x="155" y="60"/>
                  </a:cubicBezTo>
                  <a:cubicBezTo>
                    <a:pt x="153" y="61"/>
                    <a:pt x="152" y="64"/>
                    <a:pt x="151" y="67"/>
                  </a:cubicBezTo>
                  <a:cubicBezTo>
                    <a:pt x="148" y="73"/>
                    <a:pt x="160" y="71"/>
                    <a:pt x="163" y="70"/>
                  </a:cubicBezTo>
                  <a:cubicBezTo>
                    <a:pt x="160" y="74"/>
                    <a:pt x="154" y="72"/>
                    <a:pt x="150" y="75"/>
                  </a:cubicBezTo>
                  <a:cubicBezTo>
                    <a:pt x="147" y="78"/>
                    <a:pt x="142" y="80"/>
                    <a:pt x="138" y="78"/>
                  </a:cubicBezTo>
                  <a:cubicBezTo>
                    <a:pt x="133" y="76"/>
                    <a:pt x="127" y="76"/>
                    <a:pt x="121" y="75"/>
                  </a:cubicBezTo>
                  <a:cubicBezTo>
                    <a:pt x="119" y="74"/>
                    <a:pt x="117" y="74"/>
                    <a:pt x="114" y="75"/>
                  </a:cubicBezTo>
                  <a:cubicBezTo>
                    <a:pt x="113" y="76"/>
                    <a:pt x="113" y="76"/>
                    <a:pt x="112" y="76"/>
                  </a:cubicBezTo>
                  <a:cubicBezTo>
                    <a:pt x="113" y="72"/>
                    <a:pt x="108" y="70"/>
                    <a:pt x="109" y="67"/>
                  </a:cubicBezTo>
                  <a:cubicBezTo>
                    <a:pt x="109" y="65"/>
                    <a:pt x="113" y="63"/>
                    <a:pt x="110" y="61"/>
                  </a:cubicBezTo>
                  <a:cubicBezTo>
                    <a:pt x="107" y="60"/>
                    <a:pt x="105" y="62"/>
                    <a:pt x="102" y="62"/>
                  </a:cubicBezTo>
                  <a:cubicBezTo>
                    <a:pt x="100" y="63"/>
                    <a:pt x="95" y="63"/>
                    <a:pt x="93" y="61"/>
                  </a:cubicBezTo>
                  <a:cubicBezTo>
                    <a:pt x="91" y="59"/>
                    <a:pt x="89" y="62"/>
                    <a:pt x="90" y="62"/>
                  </a:cubicBezTo>
                  <a:cubicBezTo>
                    <a:pt x="93" y="63"/>
                    <a:pt x="92" y="65"/>
                    <a:pt x="92" y="68"/>
                  </a:cubicBezTo>
                  <a:cubicBezTo>
                    <a:pt x="91" y="69"/>
                    <a:pt x="93" y="74"/>
                    <a:pt x="93" y="75"/>
                  </a:cubicBezTo>
                  <a:cubicBezTo>
                    <a:pt x="93" y="75"/>
                    <a:pt x="96" y="77"/>
                    <a:pt x="96" y="76"/>
                  </a:cubicBezTo>
                  <a:cubicBezTo>
                    <a:pt x="97" y="78"/>
                    <a:pt x="97" y="80"/>
                    <a:pt x="98" y="82"/>
                  </a:cubicBezTo>
                  <a:cubicBezTo>
                    <a:pt x="99" y="81"/>
                    <a:pt x="100" y="81"/>
                    <a:pt x="100" y="82"/>
                  </a:cubicBezTo>
                  <a:cubicBezTo>
                    <a:pt x="98" y="81"/>
                    <a:pt x="99" y="84"/>
                    <a:pt x="99" y="85"/>
                  </a:cubicBezTo>
                  <a:cubicBezTo>
                    <a:pt x="100" y="87"/>
                    <a:pt x="98" y="89"/>
                    <a:pt x="99" y="91"/>
                  </a:cubicBezTo>
                  <a:cubicBezTo>
                    <a:pt x="99" y="90"/>
                    <a:pt x="100" y="90"/>
                    <a:pt x="101" y="91"/>
                  </a:cubicBezTo>
                  <a:cubicBezTo>
                    <a:pt x="100" y="90"/>
                    <a:pt x="99" y="98"/>
                    <a:pt x="98" y="99"/>
                  </a:cubicBezTo>
                  <a:cubicBezTo>
                    <a:pt x="99" y="99"/>
                    <a:pt x="99" y="103"/>
                    <a:pt x="100" y="104"/>
                  </a:cubicBezTo>
                  <a:cubicBezTo>
                    <a:pt x="101" y="106"/>
                    <a:pt x="104" y="106"/>
                    <a:pt x="105" y="107"/>
                  </a:cubicBezTo>
                  <a:cubicBezTo>
                    <a:pt x="101" y="106"/>
                    <a:pt x="97" y="108"/>
                    <a:pt x="93" y="109"/>
                  </a:cubicBezTo>
                  <a:cubicBezTo>
                    <a:pt x="92" y="109"/>
                    <a:pt x="91" y="109"/>
                    <a:pt x="90" y="108"/>
                  </a:cubicBezTo>
                  <a:cubicBezTo>
                    <a:pt x="90" y="107"/>
                    <a:pt x="90" y="105"/>
                    <a:pt x="90" y="105"/>
                  </a:cubicBezTo>
                  <a:cubicBezTo>
                    <a:pt x="89" y="104"/>
                    <a:pt x="87" y="105"/>
                    <a:pt x="86" y="106"/>
                  </a:cubicBezTo>
                  <a:cubicBezTo>
                    <a:pt x="84" y="107"/>
                    <a:pt x="86" y="109"/>
                    <a:pt x="87" y="110"/>
                  </a:cubicBezTo>
                  <a:cubicBezTo>
                    <a:pt x="84" y="110"/>
                    <a:pt x="88" y="112"/>
                    <a:pt x="86" y="113"/>
                  </a:cubicBezTo>
                  <a:cubicBezTo>
                    <a:pt x="86" y="111"/>
                    <a:pt x="85" y="107"/>
                    <a:pt x="82" y="107"/>
                  </a:cubicBezTo>
                  <a:cubicBezTo>
                    <a:pt x="82" y="107"/>
                    <a:pt x="81" y="108"/>
                    <a:pt x="81" y="109"/>
                  </a:cubicBezTo>
                  <a:cubicBezTo>
                    <a:pt x="81" y="109"/>
                    <a:pt x="81" y="109"/>
                    <a:pt x="80" y="109"/>
                  </a:cubicBezTo>
                  <a:cubicBezTo>
                    <a:pt x="79" y="111"/>
                    <a:pt x="80" y="107"/>
                    <a:pt x="79" y="110"/>
                  </a:cubicBezTo>
                  <a:cubicBezTo>
                    <a:pt x="79" y="110"/>
                    <a:pt x="78" y="107"/>
                    <a:pt x="77" y="108"/>
                  </a:cubicBezTo>
                  <a:cubicBezTo>
                    <a:pt x="77" y="108"/>
                    <a:pt x="76" y="109"/>
                    <a:pt x="76" y="108"/>
                  </a:cubicBezTo>
                  <a:cubicBezTo>
                    <a:pt x="75" y="107"/>
                    <a:pt x="78" y="107"/>
                    <a:pt x="76" y="105"/>
                  </a:cubicBezTo>
                  <a:cubicBezTo>
                    <a:pt x="75" y="108"/>
                    <a:pt x="73" y="106"/>
                    <a:pt x="71" y="107"/>
                  </a:cubicBezTo>
                  <a:cubicBezTo>
                    <a:pt x="72" y="108"/>
                    <a:pt x="65" y="112"/>
                    <a:pt x="64" y="113"/>
                  </a:cubicBezTo>
                  <a:cubicBezTo>
                    <a:pt x="62" y="112"/>
                    <a:pt x="61" y="107"/>
                    <a:pt x="59" y="105"/>
                  </a:cubicBezTo>
                  <a:cubicBezTo>
                    <a:pt x="58" y="104"/>
                    <a:pt x="57" y="102"/>
                    <a:pt x="57" y="102"/>
                  </a:cubicBezTo>
                  <a:cubicBezTo>
                    <a:pt x="56" y="102"/>
                    <a:pt x="55" y="101"/>
                    <a:pt x="54" y="101"/>
                  </a:cubicBezTo>
                  <a:cubicBezTo>
                    <a:pt x="56" y="100"/>
                    <a:pt x="55" y="99"/>
                    <a:pt x="54" y="99"/>
                  </a:cubicBezTo>
                  <a:cubicBezTo>
                    <a:pt x="53" y="100"/>
                    <a:pt x="53" y="102"/>
                    <a:pt x="52" y="102"/>
                  </a:cubicBezTo>
                  <a:cubicBezTo>
                    <a:pt x="53" y="101"/>
                    <a:pt x="53" y="99"/>
                    <a:pt x="53" y="97"/>
                  </a:cubicBezTo>
                  <a:cubicBezTo>
                    <a:pt x="51" y="98"/>
                    <a:pt x="50" y="99"/>
                    <a:pt x="49" y="101"/>
                  </a:cubicBezTo>
                  <a:cubicBezTo>
                    <a:pt x="49" y="100"/>
                    <a:pt x="50" y="98"/>
                    <a:pt x="49" y="98"/>
                  </a:cubicBezTo>
                  <a:cubicBezTo>
                    <a:pt x="49" y="97"/>
                    <a:pt x="43" y="101"/>
                    <a:pt x="43" y="100"/>
                  </a:cubicBezTo>
                  <a:cubicBezTo>
                    <a:pt x="42" y="99"/>
                    <a:pt x="42" y="99"/>
                    <a:pt x="40" y="99"/>
                  </a:cubicBezTo>
                  <a:cubicBezTo>
                    <a:pt x="39" y="99"/>
                    <a:pt x="38" y="101"/>
                    <a:pt x="39" y="102"/>
                  </a:cubicBezTo>
                  <a:cubicBezTo>
                    <a:pt x="39" y="103"/>
                    <a:pt x="38" y="104"/>
                    <a:pt x="38" y="105"/>
                  </a:cubicBezTo>
                  <a:cubicBezTo>
                    <a:pt x="36" y="106"/>
                    <a:pt x="35" y="105"/>
                    <a:pt x="33" y="104"/>
                  </a:cubicBezTo>
                  <a:cubicBezTo>
                    <a:pt x="32" y="104"/>
                    <a:pt x="31" y="104"/>
                    <a:pt x="30" y="104"/>
                  </a:cubicBezTo>
                  <a:cubicBezTo>
                    <a:pt x="29" y="105"/>
                    <a:pt x="30" y="107"/>
                    <a:pt x="29" y="106"/>
                  </a:cubicBezTo>
                  <a:cubicBezTo>
                    <a:pt x="29" y="106"/>
                    <a:pt x="30" y="107"/>
                    <a:pt x="29" y="108"/>
                  </a:cubicBezTo>
                  <a:cubicBezTo>
                    <a:pt x="29" y="108"/>
                    <a:pt x="28" y="107"/>
                    <a:pt x="28" y="106"/>
                  </a:cubicBezTo>
                  <a:cubicBezTo>
                    <a:pt x="28" y="106"/>
                    <a:pt x="27" y="106"/>
                    <a:pt x="26" y="107"/>
                  </a:cubicBezTo>
                  <a:cubicBezTo>
                    <a:pt x="26" y="106"/>
                    <a:pt x="26" y="105"/>
                    <a:pt x="26" y="103"/>
                  </a:cubicBezTo>
                  <a:cubicBezTo>
                    <a:pt x="24" y="104"/>
                    <a:pt x="23" y="105"/>
                    <a:pt x="22" y="105"/>
                  </a:cubicBezTo>
                  <a:cubicBezTo>
                    <a:pt x="21" y="105"/>
                    <a:pt x="18" y="106"/>
                    <a:pt x="19" y="107"/>
                  </a:cubicBezTo>
                  <a:cubicBezTo>
                    <a:pt x="18" y="107"/>
                    <a:pt x="17" y="107"/>
                    <a:pt x="16" y="108"/>
                  </a:cubicBezTo>
                  <a:cubicBezTo>
                    <a:pt x="17" y="105"/>
                    <a:pt x="12" y="106"/>
                    <a:pt x="13" y="107"/>
                  </a:cubicBezTo>
                  <a:cubicBezTo>
                    <a:pt x="12" y="108"/>
                    <a:pt x="7" y="108"/>
                    <a:pt x="8" y="109"/>
                  </a:cubicBezTo>
                  <a:cubicBezTo>
                    <a:pt x="8" y="109"/>
                    <a:pt x="6" y="109"/>
                    <a:pt x="7" y="111"/>
                  </a:cubicBezTo>
                  <a:cubicBezTo>
                    <a:pt x="5" y="109"/>
                    <a:pt x="1" y="111"/>
                    <a:pt x="1" y="114"/>
                  </a:cubicBezTo>
                  <a:cubicBezTo>
                    <a:pt x="2" y="115"/>
                    <a:pt x="1" y="115"/>
                    <a:pt x="1" y="117"/>
                  </a:cubicBezTo>
                  <a:cubicBezTo>
                    <a:pt x="0" y="118"/>
                    <a:pt x="1" y="118"/>
                    <a:pt x="1" y="119"/>
                  </a:cubicBezTo>
                  <a:cubicBezTo>
                    <a:pt x="0" y="123"/>
                    <a:pt x="14" y="118"/>
                    <a:pt x="15" y="117"/>
                  </a:cubicBezTo>
                  <a:cubicBezTo>
                    <a:pt x="14" y="119"/>
                    <a:pt x="11" y="118"/>
                    <a:pt x="10" y="121"/>
                  </a:cubicBezTo>
                  <a:cubicBezTo>
                    <a:pt x="12" y="120"/>
                    <a:pt x="14" y="120"/>
                    <a:pt x="16" y="120"/>
                  </a:cubicBezTo>
                  <a:cubicBezTo>
                    <a:pt x="15" y="120"/>
                    <a:pt x="15" y="121"/>
                    <a:pt x="14" y="121"/>
                  </a:cubicBezTo>
                  <a:cubicBezTo>
                    <a:pt x="16" y="121"/>
                    <a:pt x="17" y="122"/>
                    <a:pt x="18" y="122"/>
                  </a:cubicBezTo>
                  <a:cubicBezTo>
                    <a:pt x="17" y="123"/>
                    <a:pt x="16" y="123"/>
                    <a:pt x="15" y="123"/>
                  </a:cubicBezTo>
                  <a:cubicBezTo>
                    <a:pt x="16" y="123"/>
                    <a:pt x="16" y="123"/>
                    <a:pt x="16" y="123"/>
                  </a:cubicBezTo>
                  <a:cubicBezTo>
                    <a:pt x="15" y="122"/>
                    <a:pt x="6" y="124"/>
                    <a:pt x="8" y="121"/>
                  </a:cubicBezTo>
                  <a:cubicBezTo>
                    <a:pt x="7" y="121"/>
                    <a:pt x="5" y="124"/>
                    <a:pt x="5" y="124"/>
                  </a:cubicBezTo>
                  <a:cubicBezTo>
                    <a:pt x="5" y="125"/>
                    <a:pt x="7" y="124"/>
                    <a:pt x="7" y="125"/>
                  </a:cubicBezTo>
                  <a:cubicBezTo>
                    <a:pt x="7" y="126"/>
                    <a:pt x="7" y="127"/>
                    <a:pt x="7" y="128"/>
                  </a:cubicBezTo>
                  <a:cubicBezTo>
                    <a:pt x="8" y="128"/>
                    <a:pt x="8" y="125"/>
                    <a:pt x="10" y="125"/>
                  </a:cubicBezTo>
                  <a:cubicBezTo>
                    <a:pt x="11" y="125"/>
                    <a:pt x="12" y="126"/>
                    <a:pt x="13" y="126"/>
                  </a:cubicBezTo>
                  <a:cubicBezTo>
                    <a:pt x="14" y="127"/>
                    <a:pt x="17" y="130"/>
                    <a:pt x="14" y="131"/>
                  </a:cubicBezTo>
                  <a:cubicBezTo>
                    <a:pt x="12" y="132"/>
                    <a:pt x="2" y="130"/>
                    <a:pt x="1" y="134"/>
                  </a:cubicBezTo>
                  <a:cubicBezTo>
                    <a:pt x="4" y="135"/>
                    <a:pt x="8" y="134"/>
                    <a:pt x="10" y="137"/>
                  </a:cubicBezTo>
                  <a:cubicBezTo>
                    <a:pt x="11" y="139"/>
                    <a:pt x="12" y="141"/>
                    <a:pt x="12" y="142"/>
                  </a:cubicBezTo>
                  <a:cubicBezTo>
                    <a:pt x="12" y="143"/>
                    <a:pt x="11" y="143"/>
                    <a:pt x="11" y="144"/>
                  </a:cubicBezTo>
                  <a:cubicBezTo>
                    <a:pt x="12" y="145"/>
                    <a:pt x="16" y="145"/>
                    <a:pt x="17" y="144"/>
                  </a:cubicBezTo>
                  <a:cubicBezTo>
                    <a:pt x="19" y="143"/>
                    <a:pt x="16" y="142"/>
                    <a:pt x="17" y="141"/>
                  </a:cubicBezTo>
                  <a:cubicBezTo>
                    <a:pt x="17" y="141"/>
                    <a:pt x="18" y="142"/>
                    <a:pt x="19" y="142"/>
                  </a:cubicBezTo>
                  <a:cubicBezTo>
                    <a:pt x="20" y="141"/>
                    <a:pt x="18" y="140"/>
                    <a:pt x="19" y="139"/>
                  </a:cubicBezTo>
                  <a:cubicBezTo>
                    <a:pt x="19" y="141"/>
                    <a:pt x="22" y="142"/>
                    <a:pt x="22" y="142"/>
                  </a:cubicBezTo>
                  <a:cubicBezTo>
                    <a:pt x="24" y="142"/>
                    <a:pt x="23" y="138"/>
                    <a:pt x="25" y="142"/>
                  </a:cubicBezTo>
                  <a:cubicBezTo>
                    <a:pt x="27" y="145"/>
                    <a:pt x="28" y="144"/>
                    <a:pt x="31" y="144"/>
                  </a:cubicBezTo>
                  <a:cubicBezTo>
                    <a:pt x="32" y="144"/>
                    <a:pt x="37" y="145"/>
                    <a:pt x="38" y="147"/>
                  </a:cubicBezTo>
                  <a:cubicBezTo>
                    <a:pt x="38" y="149"/>
                    <a:pt x="42" y="149"/>
                    <a:pt x="41" y="147"/>
                  </a:cubicBezTo>
                  <a:cubicBezTo>
                    <a:pt x="42" y="147"/>
                    <a:pt x="43" y="146"/>
                    <a:pt x="44" y="145"/>
                  </a:cubicBezTo>
                  <a:cubicBezTo>
                    <a:pt x="44" y="147"/>
                    <a:pt x="43" y="147"/>
                    <a:pt x="42" y="148"/>
                  </a:cubicBezTo>
                  <a:cubicBezTo>
                    <a:pt x="43" y="148"/>
                    <a:pt x="43" y="149"/>
                    <a:pt x="44" y="149"/>
                  </a:cubicBezTo>
                  <a:cubicBezTo>
                    <a:pt x="43" y="149"/>
                    <a:pt x="43" y="149"/>
                    <a:pt x="42" y="149"/>
                  </a:cubicBezTo>
                  <a:cubicBezTo>
                    <a:pt x="43" y="149"/>
                    <a:pt x="46" y="151"/>
                    <a:pt x="46" y="150"/>
                  </a:cubicBezTo>
                  <a:cubicBezTo>
                    <a:pt x="46" y="150"/>
                    <a:pt x="49" y="149"/>
                    <a:pt x="47" y="147"/>
                  </a:cubicBezTo>
                  <a:cubicBezTo>
                    <a:pt x="48" y="146"/>
                    <a:pt x="50" y="148"/>
                    <a:pt x="49" y="149"/>
                  </a:cubicBezTo>
                  <a:cubicBezTo>
                    <a:pt x="48" y="150"/>
                    <a:pt x="46" y="150"/>
                    <a:pt x="47" y="152"/>
                  </a:cubicBezTo>
                  <a:cubicBezTo>
                    <a:pt x="48" y="154"/>
                    <a:pt x="48" y="154"/>
                    <a:pt x="48" y="156"/>
                  </a:cubicBezTo>
                  <a:cubicBezTo>
                    <a:pt x="48" y="157"/>
                    <a:pt x="48" y="159"/>
                    <a:pt x="49" y="158"/>
                  </a:cubicBezTo>
                  <a:cubicBezTo>
                    <a:pt x="49" y="158"/>
                    <a:pt x="48" y="153"/>
                    <a:pt x="49" y="154"/>
                  </a:cubicBezTo>
                  <a:cubicBezTo>
                    <a:pt x="50" y="154"/>
                    <a:pt x="52" y="155"/>
                    <a:pt x="52" y="153"/>
                  </a:cubicBezTo>
                  <a:cubicBezTo>
                    <a:pt x="52" y="154"/>
                    <a:pt x="54" y="155"/>
                    <a:pt x="54" y="155"/>
                  </a:cubicBezTo>
                  <a:cubicBezTo>
                    <a:pt x="54" y="155"/>
                    <a:pt x="54" y="151"/>
                    <a:pt x="53" y="151"/>
                  </a:cubicBezTo>
                  <a:cubicBezTo>
                    <a:pt x="55" y="152"/>
                    <a:pt x="55" y="154"/>
                    <a:pt x="57" y="153"/>
                  </a:cubicBezTo>
                  <a:cubicBezTo>
                    <a:pt x="58" y="153"/>
                    <a:pt x="59" y="152"/>
                    <a:pt x="59" y="152"/>
                  </a:cubicBezTo>
                  <a:cubicBezTo>
                    <a:pt x="60" y="152"/>
                    <a:pt x="62" y="152"/>
                    <a:pt x="60" y="152"/>
                  </a:cubicBezTo>
                  <a:cubicBezTo>
                    <a:pt x="60" y="153"/>
                    <a:pt x="62" y="154"/>
                    <a:pt x="62" y="152"/>
                  </a:cubicBezTo>
                  <a:cubicBezTo>
                    <a:pt x="64" y="153"/>
                    <a:pt x="60" y="156"/>
                    <a:pt x="58" y="155"/>
                  </a:cubicBezTo>
                  <a:cubicBezTo>
                    <a:pt x="58" y="156"/>
                    <a:pt x="54" y="154"/>
                    <a:pt x="56" y="156"/>
                  </a:cubicBezTo>
                  <a:cubicBezTo>
                    <a:pt x="57" y="158"/>
                    <a:pt x="60" y="158"/>
                    <a:pt x="62" y="157"/>
                  </a:cubicBezTo>
                  <a:cubicBezTo>
                    <a:pt x="64" y="156"/>
                    <a:pt x="63" y="156"/>
                    <a:pt x="65" y="156"/>
                  </a:cubicBezTo>
                  <a:cubicBezTo>
                    <a:pt x="65" y="156"/>
                    <a:pt x="64" y="157"/>
                    <a:pt x="64" y="157"/>
                  </a:cubicBezTo>
                  <a:cubicBezTo>
                    <a:pt x="66" y="156"/>
                    <a:pt x="69" y="157"/>
                    <a:pt x="72" y="158"/>
                  </a:cubicBezTo>
                  <a:cubicBezTo>
                    <a:pt x="71" y="158"/>
                    <a:pt x="68" y="157"/>
                    <a:pt x="68" y="159"/>
                  </a:cubicBezTo>
                  <a:cubicBezTo>
                    <a:pt x="68" y="160"/>
                    <a:pt x="70" y="161"/>
                    <a:pt x="70" y="161"/>
                  </a:cubicBezTo>
                  <a:cubicBezTo>
                    <a:pt x="70" y="162"/>
                    <a:pt x="67" y="163"/>
                    <a:pt x="66" y="163"/>
                  </a:cubicBezTo>
                  <a:cubicBezTo>
                    <a:pt x="67" y="163"/>
                    <a:pt x="67" y="164"/>
                    <a:pt x="67" y="166"/>
                  </a:cubicBezTo>
                  <a:cubicBezTo>
                    <a:pt x="68" y="164"/>
                    <a:pt x="69" y="166"/>
                    <a:pt x="69" y="166"/>
                  </a:cubicBezTo>
                  <a:cubicBezTo>
                    <a:pt x="69" y="167"/>
                    <a:pt x="66" y="167"/>
                    <a:pt x="66" y="166"/>
                  </a:cubicBezTo>
                  <a:cubicBezTo>
                    <a:pt x="67" y="167"/>
                    <a:pt x="68" y="168"/>
                    <a:pt x="69" y="168"/>
                  </a:cubicBezTo>
                  <a:cubicBezTo>
                    <a:pt x="70" y="168"/>
                    <a:pt x="70" y="167"/>
                    <a:pt x="71" y="168"/>
                  </a:cubicBezTo>
                  <a:cubicBezTo>
                    <a:pt x="74" y="169"/>
                    <a:pt x="75" y="169"/>
                    <a:pt x="77" y="167"/>
                  </a:cubicBezTo>
                  <a:cubicBezTo>
                    <a:pt x="79" y="165"/>
                    <a:pt x="82" y="165"/>
                    <a:pt x="84" y="166"/>
                  </a:cubicBezTo>
                  <a:cubicBezTo>
                    <a:pt x="86" y="167"/>
                    <a:pt x="88" y="170"/>
                    <a:pt x="90" y="171"/>
                  </a:cubicBezTo>
                  <a:cubicBezTo>
                    <a:pt x="89" y="171"/>
                    <a:pt x="87" y="170"/>
                    <a:pt x="86" y="169"/>
                  </a:cubicBezTo>
                  <a:cubicBezTo>
                    <a:pt x="84" y="168"/>
                    <a:pt x="84" y="167"/>
                    <a:pt x="81" y="167"/>
                  </a:cubicBezTo>
                  <a:cubicBezTo>
                    <a:pt x="80" y="167"/>
                    <a:pt x="77" y="167"/>
                    <a:pt x="77" y="169"/>
                  </a:cubicBezTo>
                  <a:cubicBezTo>
                    <a:pt x="78" y="172"/>
                    <a:pt x="76" y="172"/>
                    <a:pt x="75" y="174"/>
                  </a:cubicBezTo>
                  <a:cubicBezTo>
                    <a:pt x="76" y="174"/>
                    <a:pt x="85" y="176"/>
                    <a:pt x="81" y="179"/>
                  </a:cubicBezTo>
                  <a:cubicBezTo>
                    <a:pt x="80" y="180"/>
                    <a:pt x="77" y="184"/>
                    <a:pt x="77" y="187"/>
                  </a:cubicBezTo>
                  <a:cubicBezTo>
                    <a:pt x="78" y="189"/>
                    <a:pt x="81" y="191"/>
                    <a:pt x="83" y="193"/>
                  </a:cubicBezTo>
                  <a:cubicBezTo>
                    <a:pt x="84" y="194"/>
                    <a:pt x="85" y="196"/>
                    <a:pt x="86" y="198"/>
                  </a:cubicBezTo>
                  <a:cubicBezTo>
                    <a:pt x="86" y="199"/>
                    <a:pt x="86" y="202"/>
                    <a:pt x="87" y="202"/>
                  </a:cubicBezTo>
                  <a:cubicBezTo>
                    <a:pt x="87" y="202"/>
                    <a:pt x="87" y="201"/>
                    <a:pt x="87" y="201"/>
                  </a:cubicBezTo>
                  <a:cubicBezTo>
                    <a:pt x="88" y="203"/>
                    <a:pt x="92" y="205"/>
                    <a:pt x="93" y="205"/>
                  </a:cubicBezTo>
                  <a:cubicBezTo>
                    <a:pt x="96" y="205"/>
                    <a:pt x="96" y="208"/>
                    <a:pt x="99" y="209"/>
                  </a:cubicBezTo>
                  <a:cubicBezTo>
                    <a:pt x="100" y="209"/>
                    <a:pt x="100" y="209"/>
                    <a:pt x="101" y="210"/>
                  </a:cubicBezTo>
                  <a:cubicBezTo>
                    <a:pt x="102" y="210"/>
                    <a:pt x="103" y="212"/>
                    <a:pt x="104" y="212"/>
                  </a:cubicBezTo>
                  <a:cubicBezTo>
                    <a:pt x="105" y="211"/>
                    <a:pt x="105" y="209"/>
                    <a:pt x="106" y="210"/>
                  </a:cubicBezTo>
                  <a:cubicBezTo>
                    <a:pt x="107" y="210"/>
                    <a:pt x="108" y="212"/>
                    <a:pt x="107" y="213"/>
                  </a:cubicBezTo>
                  <a:cubicBezTo>
                    <a:pt x="106" y="214"/>
                    <a:pt x="105" y="214"/>
                    <a:pt x="104" y="216"/>
                  </a:cubicBezTo>
                  <a:cubicBezTo>
                    <a:pt x="104" y="217"/>
                    <a:pt x="105" y="217"/>
                    <a:pt x="106" y="218"/>
                  </a:cubicBezTo>
                  <a:cubicBezTo>
                    <a:pt x="107" y="219"/>
                    <a:pt x="110" y="223"/>
                    <a:pt x="107" y="224"/>
                  </a:cubicBezTo>
                  <a:cubicBezTo>
                    <a:pt x="106" y="224"/>
                    <a:pt x="109" y="228"/>
                    <a:pt x="107" y="228"/>
                  </a:cubicBezTo>
                  <a:cubicBezTo>
                    <a:pt x="106" y="228"/>
                    <a:pt x="106" y="231"/>
                    <a:pt x="106" y="232"/>
                  </a:cubicBezTo>
                  <a:cubicBezTo>
                    <a:pt x="107" y="234"/>
                    <a:pt x="108" y="235"/>
                    <a:pt x="109" y="236"/>
                  </a:cubicBezTo>
                  <a:cubicBezTo>
                    <a:pt x="107" y="236"/>
                    <a:pt x="103" y="229"/>
                    <a:pt x="102" y="236"/>
                  </a:cubicBezTo>
                  <a:cubicBezTo>
                    <a:pt x="102" y="238"/>
                    <a:pt x="104" y="238"/>
                    <a:pt x="105" y="238"/>
                  </a:cubicBezTo>
                  <a:cubicBezTo>
                    <a:pt x="107" y="240"/>
                    <a:pt x="109" y="242"/>
                    <a:pt x="111" y="244"/>
                  </a:cubicBezTo>
                  <a:cubicBezTo>
                    <a:pt x="113" y="246"/>
                    <a:pt x="115" y="247"/>
                    <a:pt x="117" y="250"/>
                  </a:cubicBezTo>
                  <a:cubicBezTo>
                    <a:pt x="118" y="252"/>
                    <a:pt x="118" y="256"/>
                    <a:pt x="118" y="259"/>
                  </a:cubicBezTo>
                  <a:cubicBezTo>
                    <a:pt x="118" y="261"/>
                    <a:pt x="118" y="265"/>
                    <a:pt x="120" y="266"/>
                  </a:cubicBezTo>
                  <a:cubicBezTo>
                    <a:pt x="121" y="267"/>
                    <a:pt x="123" y="267"/>
                    <a:pt x="124" y="269"/>
                  </a:cubicBezTo>
                  <a:cubicBezTo>
                    <a:pt x="123" y="268"/>
                    <a:pt x="122" y="267"/>
                    <a:pt x="121" y="268"/>
                  </a:cubicBezTo>
                  <a:cubicBezTo>
                    <a:pt x="123" y="269"/>
                    <a:pt x="122" y="271"/>
                    <a:pt x="122" y="273"/>
                  </a:cubicBezTo>
                  <a:cubicBezTo>
                    <a:pt x="121" y="272"/>
                    <a:pt x="122" y="269"/>
                    <a:pt x="121" y="268"/>
                  </a:cubicBezTo>
                  <a:cubicBezTo>
                    <a:pt x="120" y="267"/>
                    <a:pt x="119" y="266"/>
                    <a:pt x="118" y="265"/>
                  </a:cubicBezTo>
                  <a:cubicBezTo>
                    <a:pt x="116" y="262"/>
                    <a:pt x="117" y="258"/>
                    <a:pt x="116" y="255"/>
                  </a:cubicBezTo>
                  <a:cubicBezTo>
                    <a:pt x="115" y="252"/>
                    <a:pt x="113" y="250"/>
                    <a:pt x="110" y="248"/>
                  </a:cubicBezTo>
                  <a:cubicBezTo>
                    <a:pt x="109" y="247"/>
                    <a:pt x="108" y="244"/>
                    <a:pt x="107" y="244"/>
                  </a:cubicBezTo>
                  <a:cubicBezTo>
                    <a:pt x="105" y="243"/>
                    <a:pt x="99" y="280"/>
                    <a:pt x="100" y="284"/>
                  </a:cubicBezTo>
                  <a:cubicBezTo>
                    <a:pt x="100" y="282"/>
                    <a:pt x="102" y="277"/>
                    <a:pt x="104" y="280"/>
                  </a:cubicBezTo>
                  <a:cubicBezTo>
                    <a:pt x="106" y="283"/>
                    <a:pt x="106" y="284"/>
                    <a:pt x="103" y="284"/>
                  </a:cubicBezTo>
                  <a:cubicBezTo>
                    <a:pt x="101" y="284"/>
                    <a:pt x="99" y="288"/>
                    <a:pt x="99" y="289"/>
                  </a:cubicBezTo>
                  <a:cubicBezTo>
                    <a:pt x="99" y="291"/>
                    <a:pt x="99" y="293"/>
                    <a:pt x="99" y="294"/>
                  </a:cubicBezTo>
                  <a:cubicBezTo>
                    <a:pt x="98" y="297"/>
                    <a:pt x="98" y="300"/>
                    <a:pt x="97" y="302"/>
                  </a:cubicBezTo>
                  <a:cubicBezTo>
                    <a:pt x="96" y="308"/>
                    <a:pt x="95" y="311"/>
                    <a:pt x="94" y="317"/>
                  </a:cubicBezTo>
                  <a:cubicBezTo>
                    <a:pt x="93" y="321"/>
                    <a:pt x="93" y="328"/>
                    <a:pt x="91" y="331"/>
                  </a:cubicBezTo>
                  <a:cubicBezTo>
                    <a:pt x="89" y="334"/>
                    <a:pt x="87" y="339"/>
                    <a:pt x="84" y="340"/>
                  </a:cubicBezTo>
                  <a:cubicBezTo>
                    <a:pt x="83" y="341"/>
                    <a:pt x="81" y="340"/>
                    <a:pt x="81" y="342"/>
                  </a:cubicBezTo>
                  <a:cubicBezTo>
                    <a:pt x="80" y="343"/>
                    <a:pt x="82" y="343"/>
                    <a:pt x="82" y="344"/>
                  </a:cubicBezTo>
                  <a:cubicBezTo>
                    <a:pt x="83" y="344"/>
                    <a:pt x="85" y="343"/>
                    <a:pt x="85" y="345"/>
                  </a:cubicBezTo>
                  <a:cubicBezTo>
                    <a:pt x="85" y="346"/>
                    <a:pt x="86" y="346"/>
                    <a:pt x="87" y="346"/>
                  </a:cubicBezTo>
                  <a:cubicBezTo>
                    <a:pt x="89" y="343"/>
                    <a:pt x="93" y="346"/>
                    <a:pt x="92" y="349"/>
                  </a:cubicBezTo>
                  <a:cubicBezTo>
                    <a:pt x="92" y="351"/>
                    <a:pt x="87" y="358"/>
                    <a:pt x="93" y="356"/>
                  </a:cubicBezTo>
                  <a:cubicBezTo>
                    <a:pt x="94" y="356"/>
                    <a:pt x="93" y="352"/>
                    <a:pt x="96" y="353"/>
                  </a:cubicBezTo>
                  <a:cubicBezTo>
                    <a:pt x="93" y="354"/>
                    <a:pt x="101" y="357"/>
                    <a:pt x="102" y="358"/>
                  </a:cubicBezTo>
                  <a:cubicBezTo>
                    <a:pt x="104" y="358"/>
                    <a:pt x="106" y="360"/>
                    <a:pt x="108" y="360"/>
                  </a:cubicBezTo>
                  <a:cubicBezTo>
                    <a:pt x="110" y="360"/>
                    <a:pt x="112" y="358"/>
                    <a:pt x="113" y="361"/>
                  </a:cubicBezTo>
                  <a:cubicBezTo>
                    <a:pt x="113" y="363"/>
                    <a:pt x="115" y="364"/>
                    <a:pt x="116" y="365"/>
                  </a:cubicBezTo>
                  <a:cubicBezTo>
                    <a:pt x="117" y="367"/>
                    <a:pt x="118" y="367"/>
                    <a:pt x="120" y="367"/>
                  </a:cubicBezTo>
                  <a:cubicBezTo>
                    <a:pt x="122" y="367"/>
                    <a:pt x="124" y="367"/>
                    <a:pt x="125" y="365"/>
                  </a:cubicBezTo>
                  <a:cubicBezTo>
                    <a:pt x="126" y="366"/>
                    <a:pt x="129" y="368"/>
                    <a:pt x="130" y="367"/>
                  </a:cubicBezTo>
                  <a:cubicBezTo>
                    <a:pt x="130" y="369"/>
                    <a:pt x="133" y="372"/>
                    <a:pt x="135" y="372"/>
                  </a:cubicBezTo>
                  <a:cubicBezTo>
                    <a:pt x="138" y="372"/>
                    <a:pt x="140" y="368"/>
                    <a:pt x="143" y="371"/>
                  </a:cubicBezTo>
                  <a:cubicBezTo>
                    <a:pt x="145" y="373"/>
                    <a:pt x="145" y="371"/>
                    <a:pt x="147" y="371"/>
                  </a:cubicBezTo>
                  <a:cubicBezTo>
                    <a:pt x="150" y="372"/>
                    <a:pt x="153" y="371"/>
                    <a:pt x="156" y="372"/>
                  </a:cubicBezTo>
                  <a:cubicBezTo>
                    <a:pt x="156" y="370"/>
                    <a:pt x="155" y="365"/>
                    <a:pt x="157" y="365"/>
                  </a:cubicBezTo>
                  <a:cubicBezTo>
                    <a:pt x="159" y="364"/>
                    <a:pt x="163" y="366"/>
                    <a:pt x="165" y="367"/>
                  </a:cubicBezTo>
                  <a:cubicBezTo>
                    <a:pt x="166" y="367"/>
                    <a:pt x="169" y="367"/>
                    <a:pt x="170" y="368"/>
                  </a:cubicBezTo>
                  <a:cubicBezTo>
                    <a:pt x="171" y="369"/>
                    <a:pt x="170" y="370"/>
                    <a:pt x="172" y="370"/>
                  </a:cubicBezTo>
                  <a:cubicBezTo>
                    <a:pt x="174" y="371"/>
                    <a:pt x="176" y="370"/>
                    <a:pt x="178" y="371"/>
                  </a:cubicBezTo>
                  <a:cubicBezTo>
                    <a:pt x="179" y="372"/>
                    <a:pt x="179" y="375"/>
                    <a:pt x="181" y="376"/>
                  </a:cubicBezTo>
                  <a:cubicBezTo>
                    <a:pt x="181" y="376"/>
                    <a:pt x="182" y="374"/>
                    <a:pt x="183" y="374"/>
                  </a:cubicBezTo>
                  <a:cubicBezTo>
                    <a:pt x="184" y="373"/>
                    <a:pt x="191" y="375"/>
                    <a:pt x="191" y="377"/>
                  </a:cubicBezTo>
                  <a:cubicBezTo>
                    <a:pt x="191" y="377"/>
                    <a:pt x="189" y="378"/>
                    <a:pt x="189" y="380"/>
                  </a:cubicBezTo>
                  <a:cubicBezTo>
                    <a:pt x="189" y="381"/>
                    <a:pt x="190" y="381"/>
                    <a:pt x="191" y="381"/>
                  </a:cubicBezTo>
                  <a:cubicBezTo>
                    <a:pt x="193" y="381"/>
                    <a:pt x="195" y="382"/>
                    <a:pt x="196" y="384"/>
                  </a:cubicBezTo>
                  <a:cubicBezTo>
                    <a:pt x="197" y="385"/>
                    <a:pt x="196" y="386"/>
                    <a:pt x="198" y="387"/>
                  </a:cubicBezTo>
                  <a:cubicBezTo>
                    <a:pt x="200" y="387"/>
                    <a:pt x="201" y="384"/>
                    <a:pt x="203" y="384"/>
                  </a:cubicBezTo>
                  <a:cubicBezTo>
                    <a:pt x="204" y="383"/>
                    <a:pt x="206" y="383"/>
                    <a:pt x="207" y="383"/>
                  </a:cubicBezTo>
                  <a:cubicBezTo>
                    <a:pt x="212" y="385"/>
                    <a:pt x="214" y="388"/>
                    <a:pt x="219" y="387"/>
                  </a:cubicBezTo>
                  <a:cubicBezTo>
                    <a:pt x="217" y="384"/>
                    <a:pt x="225" y="382"/>
                    <a:pt x="226" y="382"/>
                  </a:cubicBezTo>
                  <a:cubicBezTo>
                    <a:pt x="230" y="381"/>
                    <a:pt x="231" y="384"/>
                    <a:pt x="234" y="383"/>
                  </a:cubicBezTo>
                  <a:cubicBezTo>
                    <a:pt x="234" y="382"/>
                    <a:pt x="233" y="379"/>
                    <a:pt x="232" y="379"/>
                  </a:cubicBezTo>
                  <a:cubicBezTo>
                    <a:pt x="230" y="378"/>
                    <a:pt x="230" y="376"/>
                    <a:pt x="230" y="375"/>
                  </a:cubicBezTo>
                  <a:cubicBezTo>
                    <a:pt x="230" y="371"/>
                    <a:pt x="231" y="367"/>
                    <a:pt x="231" y="363"/>
                  </a:cubicBezTo>
                  <a:cubicBezTo>
                    <a:pt x="230" y="364"/>
                    <a:pt x="230" y="368"/>
                    <a:pt x="228" y="366"/>
                  </a:cubicBezTo>
                  <a:cubicBezTo>
                    <a:pt x="227" y="365"/>
                    <a:pt x="229" y="363"/>
                    <a:pt x="229" y="361"/>
                  </a:cubicBezTo>
                  <a:cubicBezTo>
                    <a:pt x="230" y="362"/>
                    <a:pt x="230" y="363"/>
                    <a:pt x="231" y="363"/>
                  </a:cubicBezTo>
                  <a:cubicBezTo>
                    <a:pt x="232" y="361"/>
                    <a:pt x="229" y="361"/>
                    <a:pt x="229" y="360"/>
                  </a:cubicBezTo>
                  <a:cubicBezTo>
                    <a:pt x="229" y="359"/>
                    <a:pt x="231" y="360"/>
                    <a:pt x="230" y="360"/>
                  </a:cubicBezTo>
                  <a:cubicBezTo>
                    <a:pt x="231" y="360"/>
                    <a:pt x="232" y="357"/>
                    <a:pt x="232" y="356"/>
                  </a:cubicBezTo>
                  <a:cubicBezTo>
                    <a:pt x="232" y="354"/>
                    <a:pt x="230" y="355"/>
                    <a:pt x="231" y="353"/>
                  </a:cubicBezTo>
                  <a:cubicBezTo>
                    <a:pt x="231" y="357"/>
                    <a:pt x="235" y="352"/>
                    <a:pt x="235" y="351"/>
                  </a:cubicBezTo>
                  <a:cubicBezTo>
                    <a:pt x="237" y="349"/>
                    <a:pt x="239" y="347"/>
                    <a:pt x="241" y="346"/>
                  </a:cubicBezTo>
                  <a:cubicBezTo>
                    <a:pt x="243" y="345"/>
                    <a:pt x="245" y="346"/>
                    <a:pt x="246" y="345"/>
                  </a:cubicBezTo>
                  <a:cubicBezTo>
                    <a:pt x="248" y="343"/>
                    <a:pt x="252" y="340"/>
                    <a:pt x="254" y="339"/>
                  </a:cubicBezTo>
                  <a:cubicBezTo>
                    <a:pt x="257" y="336"/>
                    <a:pt x="259" y="333"/>
                    <a:pt x="262" y="333"/>
                  </a:cubicBezTo>
                  <a:cubicBezTo>
                    <a:pt x="265" y="332"/>
                    <a:pt x="265" y="333"/>
                    <a:pt x="266" y="335"/>
                  </a:cubicBezTo>
                  <a:cubicBezTo>
                    <a:pt x="266" y="338"/>
                    <a:pt x="269" y="337"/>
                    <a:pt x="270" y="337"/>
                  </a:cubicBezTo>
                  <a:cubicBezTo>
                    <a:pt x="267" y="336"/>
                    <a:pt x="271" y="334"/>
                    <a:pt x="271" y="336"/>
                  </a:cubicBezTo>
                  <a:cubicBezTo>
                    <a:pt x="271" y="338"/>
                    <a:pt x="274" y="338"/>
                    <a:pt x="275" y="337"/>
                  </a:cubicBezTo>
                  <a:cubicBezTo>
                    <a:pt x="276" y="337"/>
                    <a:pt x="279" y="337"/>
                    <a:pt x="280" y="339"/>
                  </a:cubicBezTo>
                  <a:cubicBezTo>
                    <a:pt x="280" y="339"/>
                    <a:pt x="278" y="340"/>
                    <a:pt x="279" y="341"/>
                  </a:cubicBezTo>
                  <a:cubicBezTo>
                    <a:pt x="281" y="342"/>
                    <a:pt x="286" y="343"/>
                    <a:pt x="287" y="341"/>
                  </a:cubicBezTo>
                  <a:cubicBezTo>
                    <a:pt x="287" y="341"/>
                    <a:pt x="287" y="341"/>
                    <a:pt x="287" y="341"/>
                  </a:cubicBezTo>
                  <a:cubicBezTo>
                    <a:pt x="287" y="341"/>
                    <a:pt x="287" y="341"/>
                    <a:pt x="288" y="341"/>
                  </a:cubicBezTo>
                  <a:cubicBezTo>
                    <a:pt x="289" y="341"/>
                    <a:pt x="288" y="338"/>
                    <a:pt x="290" y="338"/>
                  </a:cubicBezTo>
                  <a:cubicBezTo>
                    <a:pt x="291" y="338"/>
                    <a:pt x="292" y="339"/>
                    <a:pt x="293" y="339"/>
                  </a:cubicBezTo>
                  <a:cubicBezTo>
                    <a:pt x="296" y="339"/>
                    <a:pt x="291" y="334"/>
                    <a:pt x="294" y="333"/>
                  </a:cubicBezTo>
                  <a:cubicBezTo>
                    <a:pt x="296" y="333"/>
                    <a:pt x="296" y="334"/>
                    <a:pt x="297" y="336"/>
                  </a:cubicBezTo>
                  <a:cubicBezTo>
                    <a:pt x="298" y="337"/>
                    <a:pt x="298" y="336"/>
                    <a:pt x="299" y="336"/>
                  </a:cubicBezTo>
                  <a:cubicBezTo>
                    <a:pt x="300" y="336"/>
                    <a:pt x="299" y="338"/>
                    <a:pt x="298" y="339"/>
                  </a:cubicBezTo>
                  <a:cubicBezTo>
                    <a:pt x="297" y="339"/>
                    <a:pt x="296" y="339"/>
                    <a:pt x="295" y="339"/>
                  </a:cubicBezTo>
                  <a:cubicBezTo>
                    <a:pt x="293" y="340"/>
                    <a:pt x="292" y="341"/>
                    <a:pt x="294" y="342"/>
                  </a:cubicBezTo>
                  <a:cubicBezTo>
                    <a:pt x="296" y="343"/>
                    <a:pt x="298" y="343"/>
                    <a:pt x="299" y="343"/>
                  </a:cubicBezTo>
                  <a:cubicBezTo>
                    <a:pt x="302" y="342"/>
                    <a:pt x="304" y="342"/>
                    <a:pt x="304" y="346"/>
                  </a:cubicBezTo>
                  <a:cubicBezTo>
                    <a:pt x="304" y="349"/>
                    <a:pt x="307" y="348"/>
                    <a:pt x="308" y="348"/>
                  </a:cubicBezTo>
                  <a:cubicBezTo>
                    <a:pt x="310" y="348"/>
                    <a:pt x="311" y="350"/>
                    <a:pt x="313" y="350"/>
                  </a:cubicBezTo>
                  <a:cubicBezTo>
                    <a:pt x="315" y="350"/>
                    <a:pt x="316" y="352"/>
                    <a:pt x="318" y="352"/>
                  </a:cubicBezTo>
                  <a:cubicBezTo>
                    <a:pt x="316" y="353"/>
                    <a:pt x="317" y="355"/>
                    <a:pt x="318" y="355"/>
                  </a:cubicBezTo>
                  <a:cubicBezTo>
                    <a:pt x="319" y="355"/>
                    <a:pt x="320" y="354"/>
                    <a:pt x="321" y="354"/>
                  </a:cubicBezTo>
                  <a:cubicBezTo>
                    <a:pt x="321" y="353"/>
                    <a:pt x="320" y="353"/>
                    <a:pt x="320" y="353"/>
                  </a:cubicBezTo>
                  <a:cubicBezTo>
                    <a:pt x="321" y="351"/>
                    <a:pt x="324" y="353"/>
                    <a:pt x="326" y="353"/>
                  </a:cubicBezTo>
                  <a:cubicBezTo>
                    <a:pt x="327" y="353"/>
                    <a:pt x="328" y="355"/>
                    <a:pt x="326" y="355"/>
                  </a:cubicBezTo>
                  <a:cubicBezTo>
                    <a:pt x="330" y="357"/>
                    <a:pt x="327" y="353"/>
                    <a:pt x="330" y="352"/>
                  </a:cubicBezTo>
                  <a:cubicBezTo>
                    <a:pt x="331" y="352"/>
                    <a:pt x="332" y="352"/>
                    <a:pt x="333" y="352"/>
                  </a:cubicBezTo>
                  <a:cubicBezTo>
                    <a:pt x="333" y="353"/>
                    <a:pt x="334" y="353"/>
                    <a:pt x="334" y="354"/>
                  </a:cubicBezTo>
                  <a:cubicBezTo>
                    <a:pt x="336" y="353"/>
                    <a:pt x="334" y="352"/>
                    <a:pt x="335" y="352"/>
                  </a:cubicBezTo>
                  <a:cubicBezTo>
                    <a:pt x="336" y="350"/>
                    <a:pt x="339" y="350"/>
                    <a:pt x="341" y="349"/>
                  </a:cubicBezTo>
                  <a:cubicBezTo>
                    <a:pt x="342" y="348"/>
                    <a:pt x="343" y="351"/>
                    <a:pt x="344" y="349"/>
                  </a:cubicBezTo>
                  <a:cubicBezTo>
                    <a:pt x="347" y="345"/>
                    <a:pt x="344" y="345"/>
                    <a:pt x="342" y="345"/>
                  </a:cubicBezTo>
                  <a:cubicBezTo>
                    <a:pt x="344" y="343"/>
                    <a:pt x="346" y="343"/>
                    <a:pt x="347" y="340"/>
                  </a:cubicBezTo>
                  <a:cubicBezTo>
                    <a:pt x="347" y="338"/>
                    <a:pt x="349" y="339"/>
                    <a:pt x="350" y="339"/>
                  </a:cubicBezTo>
                  <a:cubicBezTo>
                    <a:pt x="353" y="338"/>
                    <a:pt x="355" y="329"/>
                    <a:pt x="359" y="333"/>
                  </a:cubicBezTo>
                  <a:cubicBezTo>
                    <a:pt x="360" y="330"/>
                    <a:pt x="360" y="328"/>
                    <a:pt x="362" y="327"/>
                  </a:cubicBezTo>
                  <a:cubicBezTo>
                    <a:pt x="364" y="326"/>
                    <a:pt x="365" y="327"/>
                    <a:pt x="367" y="326"/>
                  </a:cubicBezTo>
                  <a:cubicBezTo>
                    <a:pt x="367" y="325"/>
                    <a:pt x="368" y="323"/>
                    <a:pt x="369" y="324"/>
                  </a:cubicBezTo>
                  <a:cubicBezTo>
                    <a:pt x="370" y="325"/>
                    <a:pt x="370" y="322"/>
                    <a:pt x="372" y="323"/>
                  </a:cubicBezTo>
                  <a:cubicBezTo>
                    <a:pt x="370" y="318"/>
                    <a:pt x="372" y="316"/>
                    <a:pt x="375" y="313"/>
                  </a:cubicBezTo>
                  <a:cubicBezTo>
                    <a:pt x="378" y="310"/>
                    <a:pt x="377" y="308"/>
                    <a:pt x="376" y="305"/>
                  </a:cubicBezTo>
                  <a:cubicBezTo>
                    <a:pt x="376" y="304"/>
                    <a:pt x="371" y="306"/>
                    <a:pt x="371" y="307"/>
                  </a:cubicBezTo>
                  <a:cubicBezTo>
                    <a:pt x="368" y="307"/>
                    <a:pt x="366" y="307"/>
                    <a:pt x="363" y="306"/>
                  </a:cubicBezTo>
                  <a:cubicBezTo>
                    <a:pt x="361" y="305"/>
                    <a:pt x="359" y="303"/>
                    <a:pt x="357" y="302"/>
                  </a:cubicBezTo>
                  <a:cubicBezTo>
                    <a:pt x="355" y="301"/>
                    <a:pt x="353" y="298"/>
                    <a:pt x="352" y="297"/>
                  </a:cubicBezTo>
                  <a:cubicBezTo>
                    <a:pt x="351" y="294"/>
                    <a:pt x="354" y="294"/>
                    <a:pt x="353" y="293"/>
                  </a:cubicBezTo>
                  <a:cubicBezTo>
                    <a:pt x="350" y="290"/>
                    <a:pt x="352" y="289"/>
                    <a:pt x="353" y="288"/>
                  </a:cubicBezTo>
                  <a:cubicBezTo>
                    <a:pt x="355" y="285"/>
                    <a:pt x="354" y="283"/>
                    <a:pt x="356" y="282"/>
                  </a:cubicBezTo>
                  <a:cubicBezTo>
                    <a:pt x="358" y="282"/>
                    <a:pt x="358" y="281"/>
                    <a:pt x="357" y="279"/>
                  </a:cubicBezTo>
                  <a:cubicBezTo>
                    <a:pt x="356" y="278"/>
                    <a:pt x="357" y="276"/>
                    <a:pt x="356" y="275"/>
                  </a:cubicBezTo>
                  <a:cubicBezTo>
                    <a:pt x="355" y="275"/>
                    <a:pt x="354" y="275"/>
                    <a:pt x="353" y="275"/>
                  </a:cubicBezTo>
                  <a:cubicBezTo>
                    <a:pt x="351" y="275"/>
                    <a:pt x="348" y="273"/>
                    <a:pt x="348" y="271"/>
                  </a:cubicBezTo>
                  <a:cubicBezTo>
                    <a:pt x="348" y="267"/>
                    <a:pt x="345" y="266"/>
                    <a:pt x="344" y="264"/>
                  </a:cubicBezTo>
                  <a:cubicBezTo>
                    <a:pt x="344" y="263"/>
                    <a:pt x="345" y="263"/>
                    <a:pt x="348" y="262"/>
                  </a:cubicBezTo>
                  <a:cubicBezTo>
                    <a:pt x="349" y="261"/>
                    <a:pt x="350" y="263"/>
                    <a:pt x="352" y="262"/>
                  </a:cubicBezTo>
                  <a:cubicBezTo>
                    <a:pt x="353" y="262"/>
                    <a:pt x="354" y="261"/>
                    <a:pt x="354" y="260"/>
                  </a:cubicBezTo>
                  <a:cubicBezTo>
                    <a:pt x="356" y="258"/>
                    <a:pt x="358" y="259"/>
                    <a:pt x="360" y="258"/>
                  </a:cubicBezTo>
                  <a:cubicBezTo>
                    <a:pt x="361" y="257"/>
                    <a:pt x="360" y="254"/>
                    <a:pt x="361" y="253"/>
                  </a:cubicBezTo>
                  <a:cubicBezTo>
                    <a:pt x="362" y="251"/>
                    <a:pt x="361" y="250"/>
                    <a:pt x="360" y="249"/>
                  </a:cubicBezTo>
                  <a:cubicBezTo>
                    <a:pt x="358" y="247"/>
                    <a:pt x="355" y="246"/>
                    <a:pt x="355" y="242"/>
                  </a:cubicBezTo>
                  <a:cubicBezTo>
                    <a:pt x="355" y="239"/>
                    <a:pt x="355" y="240"/>
                    <a:pt x="353" y="238"/>
                  </a:cubicBezTo>
                  <a:cubicBezTo>
                    <a:pt x="351" y="237"/>
                    <a:pt x="350" y="236"/>
                    <a:pt x="350" y="233"/>
                  </a:cubicBezTo>
                  <a:cubicBezTo>
                    <a:pt x="351" y="231"/>
                    <a:pt x="352" y="231"/>
                    <a:pt x="354" y="231"/>
                  </a:cubicBezTo>
                  <a:cubicBezTo>
                    <a:pt x="355" y="230"/>
                    <a:pt x="358" y="229"/>
                    <a:pt x="357" y="226"/>
                  </a:cubicBezTo>
                  <a:cubicBezTo>
                    <a:pt x="357" y="224"/>
                    <a:pt x="355" y="221"/>
                    <a:pt x="353" y="222"/>
                  </a:cubicBezTo>
                  <a:cubicBezTo>
                    <a:pt x="352" y="222"/>
                    <a:pt x="353" y="219"/>
                    <a:pt x="352" y="218"/>
                  </a:cubicBezTo>
                  <a:cubicBezTo>
                    <a:pt x="350" y="218"/>
                    <a:pt x="350" y="216"/>
                    <a:pt x="351" y="214"/>
                  </a:cubicBezTo>
                  <a:cubicBezTo>
                    <a:pt x="351" y="213"/>
                    <a:pt x="352" y="212"/>
                    <a:pt x="351" y="211"/>
                  </a:cubicBezTo>
                  <a:cubicBezTo>
                    <a:pt x="351" y="210"/>
                    <a:pt x="350" y="210"/>
                    <a:pt x="350" y="208"/>
                  </a:cubicBezTo>
                  <a:cubicBezTo>
                    <a:pt x="350" y="207"/>
                    <a:pt x="352" y="205"/>
                    <a:pt x="350" y="204"/>
                  </a:cubicBezTo>
                  <a:cubicBezTo>
                    <a:pt x="345" y="203"/>
                    <a:pt x="342" y="205"/>
                    <a:pt x="338" y="206"/>
                  </a:cubicBezTo>
                  <a:cubicBezTo>
                    <a:pt x="336" y="207"/>
                    <a:pt x="333" y="207"/>
                    <a:pt x="333" y="210"/>
                  </a:cubicBezTo>
                  <a:cubicBezTo>
                    <a:pt x="333" y="211"/>
                    <a:pt x="336" y="213"/>
                    <a:pt x="335" y="214"/>
                  </a:cubicBezTo>
                  <a:cubicBezTo>
                    <a:pt x="334" y="215"/>
                    <a:pt x="332" y="216"/>
                    <a:pt x="331" y="217"/>
                  </a:cubicBezTo>
                  <a:cubicBezTo>
                    <a:pt x="329" y="218"/>
                    <a:pt x="327" y="217"/>
                    <a:pt x="325" y="218"/>
                  </a:cubicBezTo>
                  <a:cubicBezTo>
                    <a:pt x="326" y="217"/>
                    <a:pt x="325" y="215"/>
                    <a:pt x="326" y="214"/>
                  </a:cubicBezTo>
                  <a:cubicBezTo>
                    <a:pt x="327" y="213"/>
                    <a:pt x="329" y="213"/>
                    <a:pt x="329" y="212"/>
                  </a:cubicBezTo>
                  <a:cubicBezTo>
                    <a:pt x="331" y="210"/>
                    <a:pt x="331" y="207"/>
                    <a:pt x="328" y="205"/>
                  </a:cubicBezTo>
                  <a:cubicBezTo>
                    <a:pt x="329" y="204"/>
                    <a:pt x="330" y="201"/>
                    <a:pt x="331" y="200"/>
                  </a:cubicBezTo>
                  <a:cubicBezTo>
                    <a:pt x="331" y="198"/>
                    <a:pt x="330" y="197"/>
                    <a:pt x="332" y="196"/>
                  </a:cubicBezTo>
                  <a:cubicBezTo>
                    <a:pt x="334" y="194"/>
                    <a:pt x="338" y="193"/>
                    <a:pt x="340" y="190"/>
                  </a:cubicBezTo>
                  <a:cubicBezTo>
                    <a:pt x="341" y="188"/>
                    <a:pt x="339" y="183"/>
                    <a:pt x="341" y="181"/>
                  </a:cubicBezTo>
                  <a:cubicBezTo>
                    <a:pt x="343" y="180"/>
                    <a:pt x="345" y="180"/>
                    <a:pt x="346" y="179"/>
                  </a:cubicBezTo>
                  <a:cubicBezTo>
                    <a:pt x="348" y="178"/>
                    <a:pt x="348" y="177"/>
                    <a:pt x="349" y="176"/>
                  </a:cubicBezTo>
                  <a:cubicBezTo>
                    <a:pt x="350" y="174"/>
                    <a:pt x="352" y="173"/>
                    <a:pt x="353" y="171"/>
                  </a:cubicBezTo>
                  <a:cubicBezTo>
                    <a:pt x="354" y="170"/>
                    <a:pt x="356" y="170"/>
                    <a:pt x="356" y="168"/>
                  </a:cubicBezTo>
                  <a:cubicBezTo>
                    <a:pt x="355" y="168"/>
                    <a:pt x="356" y="167"/>
                    <a:pt x="356" y="167"/>
                  </a:cubicBezTo>
                  <a:cubicBezTo>
                    <a:pt x="357" y="167"/>
                    <a:pt x="359" y="165"/>
                    <a:pt x="359" y="164"/>
                  </a:cubicBezTo>
                  <a:cubicBezTo>
                    <a:pt x="359" y="163"/>
                    <a:pt x="356" y="164"/>
                    <a:pt x="355" y="164"/>
                  </a:cubicBezTo>
                  <a:cubicBezTo>
                    <a:pt x="352" y="164"/>
                    <a:pt x="357" y="161"/>
                    <a:pt x="357" y="160"/>
                  </a:cubicBezTo>
                  <a:cubicBezTo>
                    <a:pt x="358" y="158"/>
                    <a:pt x="358" y="158"/>
                    <a:pt x="359" y="158"/>
                  </a:cubicBezTo>
                  <a:cubicBezTo>
                    <a:pt x="360" y="158"/>
                    <a:pt x="363" y="158"/>
                    <a:pt x="363" y="158"/>
                  </a:cubicBezTo>
                  <a:cubicBezTo>
                    <a:pt x="362" y="161"/>
                    <a:pt x="365" y="161"/>
                    <a:pt x="367" y="161"/>
                  </a:cubicBezTo>
                  <a:cubicBezTo>
                    <a:pt x="368" y="160"/>
                    <a:pt x="369" y="160"/>
                    <a:pt x="370" y="160"/>
                  </a:cubicBezTo>
                  <a:cubicBezTo>
                    <a:pt x="372" y="159"/>
                    <a:pt x="370" y="158"/>
                    <a:pt x="371" y="158"/>
                  </a:cubicBezTo>
                  <a:cubicBezTo>
                    <a:pt x="371" y="158"/>
                    <a:pt x="374" y="157"/>
                    <a:pt x="373" y="156"/>
                  </a:cubicBezTo>
                  <a:cubicBezTo>
                    <a:pt x="375" y="154"/>
                    <a:pt x="376" y="154"/>
                    <a:pt x="374" y="151"/>
                  </a:cubicBezTo>
                  <a:cubicBezTo>
                    <a:pt x="373" y="150"/>
                    <a:pt x="374" y="145"/>
                    <a:pt x="374" y="143"/>
                  </a:cubicBezTo>
                  <a:cubicBezTo>
                    <a:pt x="374" y="142"/>
                    <a:pt x="377" y="137"/>
                    <a:pt x="376" y="136"/>
                  </a:cubicBezTo>
                  <a:cubicBezTo>
                    <a:pt x="374" y="133"/>
                    <a:pt x="376" y="129"/>
                    <a:pt x="377" y="127"/>
                  </a:cubicBezTo>
                  <a:cubicBezTo>
                    <a:pt x="378" y="125"/>
                    <a:pt x="378" y="123"/>
                    <a:pt x="379" y="122"/>
                  </a:cubicBezTo>
                  <a:cubicBezTo>
                    <a:pt x="381" y="121"/>
                    <a:pt x="381" y="120"/>
                    <a:pt x="381" y="118"/>
                  </a:cubicBezTo>
                  <a:cubicBezTo>
                    <a:pt x="381" y="115"/>
                    <a:pt x="382" y="109"/>
                    <a:pt x="384" y="107"/>
                  </a:cubicBezTo>
                  <a:cubicBezTo>
                    <a:pt x="386" y="105"/>
                    <a:pt x="387" y="104"/>
                    <a:pt x="388" y="102"/>
                  </a:cubicBezTo>
                  <a:cubicBezTo>
                    <a:pt x="389" y="101"/>
                    <a:pt x="391" y="101"/>
                    <a:pt x="391" y="100"/>
                  </a:cubicBezTo>
                  <a:cubicBezTo>
                    <a:pt x="393" y="97"/>
                    <a:pt x="393" y="94"/>
                    <a:pt x="395" y="93"/>
                  </a:cubicBezTo>
                  <a:cubicBezTo>
                    <a:pt x="392" y="92"/>
                    <a:pt x="388" y="90"/>
                    <a:pt x="385" y="89"/>
                  </a:cubicBezTo>
                  <a:cubicBezTo>
                    <a:pt x="383" y="89"/>
                    <a:pt x="381" y="89"/>
                    <a:pt x="379" y="90"/>
                  </a:cubicBezTo>
                  <a:close/>
                  <a:moveTo>
                    <a:pt x="197" y="383"/>
                  </a:moveTo>
                  <a:cubicBezTo>
                    <a:pt x="195" y="382"/>
                    <a:pt x="198" y="379"/>
                    <a:pt x="197" y="383"/>
                  </a:cubicBezTo>
                  <a:close/>
                  <a:moveTo>
                    <a:pt x="283" y="332"/>
                  </a:moveTo>
                  <a:cubicBezTo>
                    <a:pt x="285" y="333"/>
                    <a:pt x="284" y="338"/>
                    <a:pt x="285" y="340"/>
                  </a:cubicBezTo>
                  <a:cubicBezTo>
                    <a:pt x="285" y="339"/>
                    <a:pt x="284" y="339"/>
                    <a:pt x="284" y="339"/>
                  </a:cubicBezTo>
                  <a:cubicBezTo>
                    <a:pt x="283" y="337"/>
                    <a:pt x="284" y="334"/>
                    <a:pt x="283" y="332"/>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14">
              <a:extLst>
                <a:ext uri="{FF2B5EF4-FFF2-40B4-BE49-F238E27FC236}">
                  <a16:creationId xmlns:a16="http://schemas.microsoft.com/office/drawing/2014/main" id="{7AF8709E-C75E-8E1A-41ED-E3DB484E0AA8}"/>
                </a:ext>
              </a:extLst>
            </p:cNvPr>
            <p:cNvSpPr>
              <a:spLocks/>
            </p:cNvSpPr>
            <p:nvPr/>
          </p:nvSpPr>
          <p:spPr bwMode="auto">
            <a:xfrm>
              <a:off x="1232445" y="4733107"/>
              <a:ext cx="9445" cy="5960"/>
            </a:xfrm>
            <a:custGeom>
              <a:avLst/>
              <a:gdLst>
                <a:gd name="T0" fmla="*/ 0 w 3"/>
                <a:gd name="T1" fmla="*/ 1 h 2"/>
                <a:gd name="T2" fmla="*/ 1 w 3"/>
                <a:gd name="T3" fmla="*/ 2 h 2"/>
                <a:gd name="T4" fmla="*/ 1 w 3"/>
                <a:gd name="T5" fmla="*/ 2 h 2"/>
                <a:gd name="T6" fmla="*/ 3 w 3"/>
                <a:gd name="T7" fmla="*/ 1 h 2"/>
                <a:gd name="T8" fmla="*/ 0 w 3"/>
                <a:gd name="T9" fmla="*/ 1 h 2"/>
              </a:gdLst>
              <a:ahLst/>
              <a:cxnLst>
                <a:cxn ang="0">
                  <a:pos x="T0" y="T1"/>
                </a:cxn>
                <a:cxn ang="0">
                  <a:pos x="T2" y="T3"/>
                </a:cxn>
                <a:cxn ang="0">
                  <a:pos x="T4" y="T5"/>
                </a:cxn>
                <a:cxn ang="0">
                  <a:pos x="T6" y="T7"/>
                </a:cxn>
                <a:cxn ang="0">
                  <a:pos x="T8" y="T9"/>
                </a:cxn>
              </a:cxnLst>
              <a:rect l="0" t="0" r="r" b="b"/>
              <a:pathLst>
                <a:path w="3" h="2">
                  <a:moveTo>
                    <a:pt x="0" y="1"/>
                  </a:moveTo>
                  <a:cubicBezTo>
                    <a:pt x="0" y="1"/>
                    <a:pt x="1" y="2"/>
                    <a:pt x="1" y="2"/>
                  </a:cubicBezTo>
                  <a:cubicBezTo>
                    <a:pt x="1" y="2"/>
                    <a:pt x="1" y="2"/>
                    <a:pt x="1" y="2"/>
                  </a:cubicBezTo>
                  <a:cubicBezTo>
                    <a:pt x="2" y="2"/>
                    <a:pt x="2" y="2"/>
                    <a:pt x="3" y="1"/>
                  </a:cubicBezTo>
                  <a:cubicBezTo>
                    <a:pt x="2" y="0"/>
                    <a:pt x="1" y="1"/>
                    <a:pt x="0" y="1"/>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15">
              <a:extLst>
                <a:ext uri="{FF2B5EF4-FFF2-40B4-BE49-F238E27FC236}">
                  <a16:creationId xmlns:a16="http://schemas.microsoft.com/office/drawing/2014/main" id="{4281C648-039C-FDDC-D627-A164E0213685}"/>
                </a:ext>
              </a:extLst>
            </p:cNvPr>
            <p:cNvSpPr>
              <a:spLocks/>
            </p:cNvSpPr>
            <p:nvPr/>
          </p:nvSpPr>
          <p:spPr bwMode="auto">
            <a:xfrm>
              <a:off x="2383539" y="5418445"/>
              <a:ext cx="93268" cy="210965"/>
            </a:xfrm>
            <a:custGeom>
              <a:avLst/>
              <a:gdLst>
                <a:gd name="T0" fmla="*/ 33 w 33"/>
                <a:gd name="T1" fmla="*/ 30 h 75"/>
                <a:gd name="T2" fmla="*/ 30 w 33"/>
                <a:gd name="T3" fmla="*/ 17 h 75"/>
                <a:gd name="T4" fmla="*/ 31 w 33"/>
                <a:gd name="T5" fmla="*/ 20 h 75"/>
                <a:gd name="T6" fmla="*/ 31 w 33"/>
                <a:gd name="T7" fmla="*/ 8 h 75"/>
                <a:gd name="T8" fmla="*/ 26 w 33"/>
                <a:gd name="T9" fmla="*/ 1 h 75"/>
                <a:gd name="T10" fmla="*/ 25 w 33"/>
                <a:gd name="T11" fmla="*/ 7 h 75"/>
                <a:gd name="T12" fmla="*/ 26 w 33"/>
                <a:gd name="T13" fmla="*/ 11 h 75"/>
                <a:gd name="T14" fmla="*/ 21 w 33"/>
                <a:gd name="T15" fmla="*/ 13 h 75"/>
                <a:gd name="T16" fmla="*/ 15 w 33"/>
                <a:gd name="T17" fmla="*/ 17 h 75"/>
                <a:gd name="T18" fmla="*/ 6 w 33"/>
                <a:gd name="T19" fmla="*/ 20 h 75"/>
                <a:gd name="T20" fmla="*/ 5 w 33"/>
                <a:gd name="T21" fmla="*/ 24 h 75"/>
                <a:gd name="T22" fmla="*/ 1 w 33"/>
                <a:gd name="T23" fmla="*/ 29 h 75"/>
                <a:gd name="T24" fmla="*/ 1 w 33"/>
                <a:gd name="T25" fmla="*/ 31 h 75"/>
                <a:gd name="T26" fmla="*/ 4 w 33"/>
                <a:gd name="T27" fmla="*/ 31 h 75"/>
                <a:gd name="T28" fmla="*/ 5 w 33"/>
                <a:gd name="T29" fmla="*/ 33 h 75"/>
                <a:gd name="T30" fmla="*/ 1 w 33"/>
                <a:gd name="T31" fmla="*/ 35 h 75"/>
                <a:gd name="T32" fmla="*/ 2 w 33"/>
                <a:gd name="T33" fmla="*/ 38 h 75"/>
                <a:gd name="T34" fmla="*/ 2 w 33"/>
                <a:gd name="T35" fmla="*/ 38 h 75"/>
                <a:gd name="T36" fmla="*/ 6 w 33"/>
                <a:gd name="T37" fmla="*/ 44 h 75"/>
                <a:gd name="T38" fmla="*/ 3 w 33"/>
                <a:gd name="T39" fmla="*/ 47 h 75"/>
                <a:gd name="T40" fmla="*/ 3 w 33"/>
                <a:gd name="T41" fmla="*/ 50 h 75"/>
                <a:gd name="T42" fmla="*/ 8 w 33"/>
                <a:gd name="T43" fmla="*/ 49 h 75"/>
                <a:gd name="T44" fmla="*/ 7 w 33"/>
                <a:gd name="T45" fmla="*/ 53 h 75"/>
                <a:gd name="T46" fmla="*/ 6 w 33"/>
                <a:gd name="T47" fmla="*/ 54 h 75"/>
                <a:gd name="T48" fmla="*/ 5 w 33"/>
                <a:gd name="T49" fmla="*/ 57 h 75"/>
                <a:gd name="T50" fmla="*/ 8 w 33"/>
                <a:gd name="T51" fmla="*/ 57 h 75"/>
                <a:gd name="T52" fmla="*/ 9 w 33"/>
                <a:gd name="T53" fmla="*/ 59 h 75"/>
                <a:gd name="T54" fmla="*/ 10 w 33"/>
                <a:gd name="T55" fmla="*/ 59 h 75"/>
                <a:gd name="T56" fmla="*/ 12 w 33"/>
                <a:gd name="T57" fmla="*/ 60 h 75"/>
                <a:gd name="T58" fmla="*/ 8 w 33"/>
                <a:gd name="T59" fmla="*/ 64 h 75"/>
                <a:gd name="T60" fmla="*/ 18 w 33"/>
                <a:gd name="T61" fmla="*/ 69 h 75"/>
                <a:gd name="T62" fmla="*/ 19 w 33"/>
                <a:gd name="T63" fmla="*/ 71 h 75"/>
                <a:gd name="T64" fmla="*/ 19 w 33"/>
                <a:gd name="T65" fmla="*/ 73 h 75"/>
                <a:gd name="T66" fmla="*/ 23 w 33"/>
                <a:gd name="T67" fmla="*/ 71 h 75"/>
                <a:gd name="T68" fmla="*/ 22 w 33"/>
                <a:gd name="T69" fmla="*/ 72 h 75"/>
                <a:gd name="T70" fmla="*/ 25 w 33"/>
                <a:gd name="T71" fmla="*/ 66 h 75"/>
                <a:gd name="T72" fmla="*/ 24 w 33"/>
                <a:gd name="T73" fmla="*/ 64 h 75"/>
                <a:gd name="T74" fmla="*/ 27 w 33"/>
                <a:gd name="T75" fmla="*/ 62 h 75"/>
                <a:gd name="T76" fmla="*/ 28 w 33"/>
                <a:gd name="T77" fmla="*/ 56 h 75"/>
                <a:gd name="T78" fmla="*/ 30 w 33"/>
                <a:gd name="T79" fmla="*/ 45 h 75"/>
                <a:gd name="T80" fmla="*/ 33 w 33"/>
                <a:gd name="T81" fmla="*/ 3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75">
                  <a:moveTo>
                    <a:pt x="33" y="30"/>
                  </a:moveTo>
                  <a:cubicBezTo>
                    <a:pt x="32" y="26"/>
                    <a:pt x="33" y="21"/>
                    <a:pt x="30" y="17"/>
                  </a:cubicBezTo>
                  <a:cubicBezTo>
                    <a:pt x="30" y="17"/>
                    <a:pt x="31" y="20"/>
                    <a:pt x="31" y="20"/>
                  </a:cubicBezTo>
                  <a:cubicBezTo>
                    <a:pt x="28" y="21"/>
                    <a:pt x="31" y="9"/>
                    <a:pt x="31" y="8"/>
                  </a:cubicBezTo>
                  <a:cubicBezTo>
                    <a:pt x="31" y="5"/>
                    <a:pt x="30" y="0"/>
                    <a:pt x="26" y="1"/>
                  </a:cubicBezTo>
                  <a:cubicBezTo>
                    <a:pt x="26" y="3"/>
                    <a:pt x="26" y="5"/>
                    <a:pt x="25" y="7"/>
                  </a:cubicBezTo>
                  <a:cubicBezTo>
                    <a:pt x="25" y="9"/>
                    <a:pt x="26" y="10"/>
                    <a:pt x="26" y="11"/>
                  </a:cubicBezTo>
                  <a:cubicBezTo>
                    <a:pt x="26" y="17"/>
                    <a:pt x="24" y="13"/>
                    <a:pt x="21" y="13"/>
                  </a:cubicBezTo>
                  <a:cubicBezTo>
                    <a:pt x="18" y="13"/>
                    <a:pt x="17" y="16"/>
                    <a:pt x="15" y="17"/>
                  </a:cubicBezTo>
                  <a:cubicBezTo>
                    <a:pt x="13" y="17"/>
                    <a:pt x="8" y="21"/>
                    <a:pt x="6" y="20"/>
                  </a:cubicBezTo>
                  <a:cubicBezTo>
                    <a:pt x="7" y="21"/>
                    <a:pt x="4" y="24"/>
                    <a:pt x="5" y="24"/>
                  </a:cubicBezTo>
                  <a:cubicBezTo>
                    <a:pt x="6" y="25"/>
                    <a:pt x="3" y="29"/>
                    <a:pt x="1" y="29"/>
                  </a:cubicBezTo>
                  <a:cubicBezTo>
                    <a:pt x="1" y="29"/>
                    <a:pt x="1" y="30"/>
                    <a:pt x="1" y="31"/>
                  </a:cubicBezTo>
                  <a:cubicBezTo>
                    <a:pt x="2" y="30"/>
                    <a:pt x="3" y="30"/>
                    <a:pt x="4" y="31"/>
                  </a:cubicBezTo>
                  <a:cubicBezTo>
                    <a:pt x="3" y="30"/>
                    <a:pt x="5" y="33"/>
                    <a:pt x="5" y="33"/>
                  </a:cubicBezTo>
                  <a:cubicBezTo>
                    <a:pt x="5" y="35"/>
                    <a:pt x="2" y="35"/>
                    <a:pt x="1" y="35"/>
                  </a:cubicBezTo>
                  <a:cubicBezTo>
                    <a:pt x="2" y="36"/>
                    <a:pt x="2" y="37"/>
                    <a:pt x="2" y="38"/>
                  </a:cubicBezTo>
                  <a:cubicBezTo>
                    <a:pt x="2" y="38"/>
                    <a:pt x="2" y="38"/>
                    <a:pt x="2" y="38"/>
                  </a:cubicBezTo>
                  <a:cubicBezTo>
                    <a:pt x="0" y="40"/>
                    <a:pt x="9" y="40"/>
                    <a:pt x="6" y="44"/>
                  </a:cubicBezTo>
                  <a:cubicBezTo>
                    <a:pt x="6" y="45"/>
                    <a:pt x="4" y="47"/>
                    <a:pt x="3" y="47"/>
                  </a:cubicBezTo>
                  <a:cubicBezTo>
                    <a:pt x="3" y="48"/>
                    <a:pt x="3" y="49"/>
                    <a:pt x="3" y="50"/>
                  </a:cubicBezTo>
                  <a:cubicBezTo>
                    <a:pt x="4" y="49"/>
                    <a:pt x="7" y="48"/>
                    <a:pt x="8" y="49"/>
                  </a:cubicBezTo>
                  <a:cubicBezTo>
                    <a:pt x="9" y="49"/>
                    <a:pt x="9" y="52"/>
                    <a:pt x="7" y="53"/>
                  </a:cubicBezTo>
                  <a:cubicBezTo>
                    <a:pt x="10" y="53"/>
                    <a:pt x="7" y="54"/>
                    <a:pt x="6" y="54"/>
                  </a:cubicBezTo>
                  <a:cubicBezTo>
                    <a:pt x="7" y="56"/>
                    <a:pt x="6" y="57"/>
                    <a:pt x="5" y="57"/>
                  </a:cubicBezTo>
                  <a:cubicBezTo>
                    <a:pt x="6" y="59"/>
                    <a:pt x="7" y="57"/>
                    <a:pt x="8" y="57"/>
                  </a:cubicBezTo>
                  <a:cubicBezTo>
                    <a:pt x="9" y="57"/>
                    <a:pt x="8" y="59"/>
                    <a:pt x="9" y="59"/>
                  </a:cubicBezTo>
                  <a:cubicBezTo>
                    <a:pt x="9" y="59"/>
                    <a:pt x="10" y="59"/>
                    <a:pt x="10" y="59"/>
                  </a:cubicBezTo>
                  <a:cubicBezTo>
                    <a:pt x="11" y="59"/>
                    <a:pt x="13" y="60"/>
                    <a:pt x="12" y="60"/>
                  </a:cubicBezTo>
                  <a:cubicBezTo>
                    <a:pt x="11" y="61"/>
                    <a:pt x="8" y="61"/>
                    <a:pt x="8" y="64"/>
                  </a:cubicBezTo>
                  <a:cubicBezTo>
                    <a:pt x="9" y="67"/>
                    <a:pt x="15" y="71"/>
                    <a:pt x="18" y="69"/>
                  </a:cubicBezTo>
                  <a:cubicBezTo>
                    <a:pt x="17" y="71"/>
                    <a:pt x="18" y="70"/>
                    <a:pt x="19" y="71"/>
                  </a:cubicBezTo>
                  <a:cubicBezTo>
                    <a:pt x="19" y="72"/>
                    <a:pt x="18" y="72"/>
                    <a:pt x="19" y="73"/>
                  </a:cubicBezTo>
                  <a:cubicBezTo>
                    <a:pt x="20" y="75"/>
                    <a:pt x="23" y="74"/>
                    <a:pt x="23" y="71"/>
                  </a:cubicBezTo>
                  <a:cubicBezTo>
                    <a:pt x="23" y="72"/>
                    <a:pt x="22" y="72"/>
                    <a:pt x="22" y="72"/>
                  </a:cubicBezTo>
                  <a:cubicBezTo>
                    <a:pt x="22" y="70"/>
                    <a:pt x="24" y="67"/>
                    <a:pt x="25" y="66"/>
                  </a:cubicBezTo>
                  <a:cubicBezTo>
                    <a:pt x="28" y="64"/>
                    <a:pt x="25" y="64"/>
                    <a:pt x="24" y="64"/>
                  </a:cubicBezTo>
                  <a:cubicBezTo>
                    <a:pt x="23" y="63"/>
                    <a:pt x="27" y="62"/>
                    <a:pt x="27" y="62"/>
                  </a:cubicBezTo>
                  <a:cubicBezTo>
                    <a:pt x="28" y="61"/>
                    <a:pt x="28" y="58"/>
                    <a:pt x="28" y="56"/>
                  </a:cubicBezTo>
                  <a:cubicBezTo>
                    <a:pt x="28" y="52"/>
                    <a:pt x="27" y="48"/>
                    <a:pt x="30" y="45"/>
                  </a:cubicBezTo>
                  <a:cubicBezTo>
                    <a:pt x="33" y="40"/>
                    <a:pt x="33" y="36"/>
                    <a:pt x="33" y="3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16">
              <a:extLst>
                <a:ext uri="{FF2B5EF4-FFF2-40B4-BE49-F238E27FC236}">
                  <a16:creationId xmlns:a16="http://schemas.microsoft.com/office/drawing/2014/main" id="{877E98FF-F34B-F573-ACD6-A587C268A952}"/>
                </a:ext>
              </a:extLst>
            </p:cNvPr>
            <p:cNvSpPr>
              <a:spLocks/>
            </p:cNvSpPr>
            <p:nvPr/>
          </p:nvSpPr>
          <p:spPr bwMode="auto">
            <a:xfrm>
              <a:off x="1524056" y="5003666"/>
              <a:ext cx="24793" cy="20263"/>
            </a:xfrm>
            <a:custGeom>
              <a:avLst/>
              <a:gdLst>
                <a:gd name="T0" fmla="*/ 0 w 9"/>
                <a:gd name="T1" fmla="*/ 4 h 7"/>
                <a:gd name="T2" fmla="*/ 8 w 9"/>
                <a:gd name="T3" fmla="*/ 7 h 7"/>
                <a:gd name="T4" fmla="*/ 8 w 9"/>
                <a:gd name="T5" fmla="*/ 7 h 7"/>
                <a:gd name="T6" fmla="*/ 1 w 9"/>
                <a:gd name="T7" fmla="*/ 4 h 7"/>
                <a:gd name="T8" fmla="*/ 0 w 9"/>
                <a:gd name="T9" fmla="*/ 4 h 7"/>
              </a:gdLst>
              <a:ahLst/>
              <a:cxnLst>
                <a:cxn ang="0">
                  <a:pos x="T0" y="T1"/>
                </a:cxn>
                <a:cxn ang="0">
                  <a:pos x="T2" y="T3"/>
                </a:cxn>
                <a:cxn ang="0">
                  <a:pos x="T4" y="T5"/>
                </a:cxn>
                <a:cxn ang="0">
                  <a:pos x="T6" y="T7"/>
                </a:cxn>
                <a:cxn ang="0">
                  <a:pos x="T8" y="T9"/>
                </a:cxn>
              </a:cxnLst>
              <a:rect l="0" t="0" r="r" b="b"/>
              <a:pathLst>
                <a:path w="9" h="7">
                  <a:moveTo>
                    <a:pt x="0" y="4"/>
                  </a:moveTo>
                  <a:cubicBezTo>
                    <a:pt x="0" y="5"/>
                    <a:pt x="7" y="7"/>
                    <a:pt x="8" y="7"/>
                  </a:cubicBezTo>
                  <a:cubicBezTo>
                    <a:pt x="8" y="7"/>
                    <a:pt x="8" y="7"/>
                    <a:pt x="8" y="7"/>
                  </a:cubicBezTo>
                  <a:cubicBezTo>
                    <a:pt x="9" y="6"/>
                    <a:pt x="1" y="4"/>
                    <a:pt x="1" y="4"/>
                  </a:cubicBezTo>
                  <a:cubicBezTo>
                    <a:pt x="3" y="5"/>
                    <a:pt x="0" y="0"/>
                    <a:pt x="0" y="4"/>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17">
              <a:extLst>
                <a:ext uri="{FF2B5EF4-FFF2-40B4-BE49-F238E27FC236}">
                  <a16:creationId xmlns:a16="http://schemas.microsoft.com/office/drawing/2014/main" id="{B6B39E55-3CB5-1C45-96DB-21C3A515407B}"/>
                </a:ext>
              </a:extLst>
            </p:cNvPr>
            <p:cNvSpPr>
              <a:spLocks/>
            </p:cNvSpPr>
            <p:nvPr/>
          </p:nvSpPr>
          <p:spPr bwMode="auto">
            <a:xfrm>
              <a:off x="1381202" y="4871367"/>
              <a:ext cx="22432" cy="10727"/>
            </a:xfrm>
            <a:custGeom>
              <a:avLst/>
              <a:gdLst>
                <a:gd name="T0" fmla="*/ 2 w 8"/>
                <a:gd name="T1" fmla="*/ 3 h 4"/>
                <a:gd name="T2" fmla="*/ 6 w 8"/>
                <a:gd name="T3" fmla="*/ 4 h 4"/>
                <a:gd name="T4" fmla="*/ 2 w 8"/>
                <a:gd name="T5" fmla="*/ 0 h 4"/>
                <a:gd name="T6" fmla="*/ 2 w 8"/>
                <a:gd name="T7" fmla="*/ 3 h 4"/>
              </a:gdLst>
              <a:ahLst/>
              <a:cxnLst>
                <a:cxn ang="0">
                  <a:pos x="T0" y="T1"/>
                </a:cxn>
                <a:cxn ang="0">
                  <a:pos x="T2" y="T3"/>
                </a:cxn>
                <a:cxn ang="0">
                  <a:pos x="T4" y="T5"/>
                </a:cxn>
                <a:cxn ang="0">
                  <a:pos x="T6" y="T7"/>
                </a:cxn>
              </a:cxnLst>
              <a:rect l="0" t="0" r="r" b="b"/>
              <a:pathLst>
                <a:path w="8" h="4">
                  <a:moveTo>
                    <a:pt x="2" y="3"/>
                  </a:moveTo>
                  <a:cubicBezTo>
                    <a:pt x="3" y="4"/>
                    <a:pt x="5" y="4"/>
                    <a:pt x="6" y="4"/>
                  </a:cubicBezTo>
                  <a:cubicBezTo>
                    <a:pt x="8" y="3"/>
                    <a:pt x="3" y="0"/>
                    <a:pt x="2" y="0"/>
                  </a:cubicBezTo>
                  <a:cubicBezTo>
                    <a:pt x="0" y="0"/>
                    <a:pt x="2" y="2"/>
                    <a:pt x="2" y="3"/>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18">
              <a:extLst>
                <a:ext uri="{FF2B5EF4-FFF2-40B4-BE49-F238E27FC236}">
                  <a16:creationId xmlns:a16="http://schemas.microsoft.com/office/drawing/2014/main" id="{51D1DCD6-128B-AF6B-C66A-FC390EFBFE25}"/>
                </a:ext>
              </a:extLst>
            </p:cNvPr>
            <p:cNvSpPr>
              <a:spLocks/>
            </p:cNvSpPr>
            <p:nvPr/>
          </p:nvSpPr>
          <p:spPr bwMode="auto">
            <a:xfrm>
              <a:off x="1532320" y="5034655"/>
              <a:ext cx="24793" cy="33373"/>
            </a:xfrm>
            <a:custGeom>
              <a:avLst/>
              <a:gdLst>
                <a:gd name="T0" fmla="*/ 2 w 9"/>
                <a:gd name="T1" fmla="*/ 6 h 12"/>
                <a:gd name="T2" fmla="*/ 6 w 9"/>
                <a:gd name="T3" fmla="*/ 12 h 12"/>
                <a:gd name="T4" fmla="*/ 6 w 9"/>
                <a:gd name="T5" fmla="*/ 5 h 12"/>
                <a:gd name="T6" fmla="*/ 2 w 9"/>
                <a:gd name="T7" fmla="*/ 1 h 12"/>
                <a:gd name="T8" fmla="*/ 2 w 9"/>
                <a:gd name="T9" fmla="*/ 6 h 12"/>
              </a:gdLst>
              <a:ahLst/>
              <a:cxnLst>
                <a:cxn ang="0">
                  <a:pos x="T0" y="T1"/>
                </a:cxn>
                <a:cxn ang="0">
                  <a:pos x="T2" y="T3"/>
                </a:cxn>
                <a:cxn ang="0">
                  <a:pos x="T4" y="T5"/>
                </a:cxn>
                <a:cxn ang="0">
                  <a:pos x="T6" y="T7"/>
                </a:cxn>
                <a:cxn ang="0">
                  <a:pos x="T8" y="T9"/>
                </a:cxn>
              </a:cxnLst>
              <a:rect l="0" t="0" r="r" b="b"/>
              <a:pathLst>
                <a:path w="9" h="12">
                  <a:moveTo>
                    <a:pt x="2" y="6"/>
                  </a:moveTo>
                  <a:cubicBezTo>
                    <a:pt x="5" y="8"/>
                    <a:pt x="5" y="10"/>
                    <a:pt x="6" y="12"/>
                  </a:cubicBezTo>
                  <a:cubicBezTo>
                    <a:pt x="9" y="9"/>
                    <a:pt x="6" y="8"/>
                    <a:pt x="6" y="5"/>
                  </a:cubicBezTo>
                  <a:cubicBezTo>
                    <a:pt x="6" y="3"/>
                    <a:pt x="3" y="2"/>
                    <a:pt x="2" y="1"/>
                  </a:cubicBezTo>
                  <a:cubicBezTo>
                    <a:pt x="0" y="0"/>
                    <a:pt x="2" y="5"/>
                    <a:pt x="2" y="6"/>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19">
              <a:extLst>
                <a:ext uri="{FF2B5EF4-FFF2-40B4-BE49-F238E27FC236}">
                  <a16:creationId xmlns:a16="http://schemas.microsoft.com/office/drawing/2014/main" id="{F5846334-2C60-0F30-3E33-D2CF71215484}"/>
                </a:ext>
              </a:extLst>
            </p:cNvPr>
            <p:cNvSpPr>
              <a:spLocks/>
            </p:cNvSpPr>
            <p:nvPr/>
          </p:nvSpPr>
          <p:spPr bwMode="auto">
            <a:xfrm>
              <a:off x="825136" y="3889247"/>
              <a:ext cx="386059" cy="480333"/>
            </a:xfrm>
            <a:custGeom>
              <a:avLst/>
              <a:gdLst>
                <a:gd name="T0" fmla="*/ 129 w 138"/>
                <a:gd name="T1" fmla="*/ 60 h 170"/>
                <a:gd name="T2" fmla="*/ 126 w 138"/>
                <a:gd name="T3" fmla="*/ 56 h 170"/>
                <a:gd name="T4" fmla="*/ 115 w 138"/>
                <a:gd name="T5" fmla="*/ 44 h 170"/>
                <a:gd name="T6" fmla="*/ 102 w 138"/>
                <a:gd name="T7" fmla="*/ 54 h 170"/>
                <a:gd name="T8" fmla="*/ 92 w 138"/>
                <a:gd name="T9" fmla="*/ 51 h 170"/>
                <a:gd name="T10" fmla="*/ 86 w 138"/>
                <a:gd name="T11" fmla="*/ 36 h 170"/>
                <a:gd name="T12" fmla="*/ 98 w 138"/>
                <a:gd name="T13" fmla="*/ 25 h 170"/>
                <a:gd name="T14" fmla="*/ 104 w 138"/>
                <a:gd name="T15" fmla="*/ 0 h 170"/>
                <a:gd name="T16" fmla="*/ 101 w 138"/>
                <a:gd name="T17" fmla="*/ 12 h 170"/>
                <a:gd name="T18" fmla="*/ 96 w 138"/>
                <a:gd name="T19" fmla="*/ 5 h 170"/>
                <a:gd name="T20" fmla="*/ 92 w 138"/>
                <a:gd name="T21" fmla="*/ 6 h 170"/>
                <a:gd name="T22" fmla="*/ 87 w 138"/>
                <a:gd name="T23" fmla="*/ 8 h 170"/>
                <a:gd name="T24" fmla="*/ 72 w 138"/>
                <a:gd name="T25" fmla="*/ 20 h 170"/>
                <a:gd name="T26" fmla="*/ 72 w 138"/>
                <a:gd name="T27" fmla="*/ 27 h 170"/>
                <a:gd name="T28" fmla="*/ 67 w 138"/>
                <a:gd name="T29" fmla="*/ 33 h 170"/>
                <a:gd name="T30" fmla="*/ 75 w 138"/>
                <a:gd name="T31" fmla="*/ 33 h 170"/>
                <a:gd name="T32" fmla="*/ 66 w 138"/>
                <a:gd name="T33" fmla="*/ 42 h 170"/>
                <a:gd name="T34" fmla="*/ 63 w 138"/>
                <a:gd name="T35" fmla="*/ 48 h 170"/>
                <a:gd name="T36" fmla="*/ 41 w 138"/>
                <a:gd name="T37" fmla="*/ 46 h 170"/>
                <a:gd name="T38" fmla="*/ 27 w 138"/>
                <a:gd name="T39" fmla="*/ 49 h 170"/>
                <a:gd name="T40" fmla="*/ 20 w 138"/>
                <a:gd name="T41" fmla="*/ 55 h 170"/>
                <a:gd name="T42" fmla="*/ 25 w 138"/>
                <a:gd name="T43" fmla="*/ 53 h 170"/>
                <a:gd name="T44" fmla="*/ 25 w 138"/>
                <a:gd name="T45" fmla="*/ 65 h 170"/>
                <a:gd name="T46" fmla="*/ 25 w 138"/>
                <a:gd name="T47" fmla="*/ 70 h 170"/>
                <a:gd name="T48" fmla="*/ 17 w 138"/>
                <a:gd name="T49" fmla="*/ 81 h 170"/>
                <a:gd name="T50" fmla="*/ 20 w 138"/>
                <a:gd name="T51" fmla="*/ 86 h 170"/>
                <a:gd name="T52" fmla="*/ 28 w 138"/>
                <a:gd name="T53" fmla="*/ 88 h 170"/>
                <a:gd name="T54" fmla="*/ 32 w 138"/>
                <a:gd name="T55" fmla="*/ 90 h 170"/>
                <a:gd name="T56" fmla="*/ 47 w 138"/>
                <a:gd name="T57" fmla="*/ 93 h 170"/>
                <a:gd name="T58" fmla="*/ 44 w 138"/>
                <a:gd name="T59" fmla="*/ 96 h 170"/>
                <a:gd name="T60" fmla="*/ 36 w 138"/>
                <a:gd name="T61" fmla="*/ 107 h 170"/>
                <a:gd name="T62" fmla="*/ 18 w 138"/>
                <a:gd name="T63" fmla="*/ 121 h 170"/>
                <a:gd name="T64" fmla="*/ 36 w 138"/>
                <a:gd name="T65" fmla="*/ 120 h 170"/>
                <a:gd name="T66" fmla="*/ 46 w 138"/>
                <a:gd name="T67" fmla="*/ 118 h 170"/>
                <a:gd name="T68" fmla="*/ 17 w 138"/>
                <a:gd name="T69" fmla="*/ 128 h 170"/>
                <a:gd name="T70" fmla="*/ 20 w 138"/>
                <a:gd name="T71" fmla="*/ 135 h 170"/>
                <a:gd name="T72" fmla="*/ 10 w 138"/>
                <a:gd name="T73" fmla="*/ 133 h 170"/>
                <a:gd name="T74" fmla="*/ 3 w 138"/>
                <a:gd name="T75" fmla="*/ 141 h 170"/>
                <a:gd name="T76" fmla="*/ 16 w 138"/>
                <a:gd name="T77" fmla="*/ 140 h 170"/>
                <a:gd name="T78" fmla="*/ 10 w 138"/>
                <a:gd name="T79" fmla="*/ 145 h 170"/>
                <a:gd name="T80" fmla="*/ 6 w 138"/>
                <a:gd name="T81" fmla="*/ 152 h 170"/>
                <a:gd name="T82" fmla="*/ 20 w 138"/>
                <a:gd name="T83" fmla="*/ 153 h 170"/>
                <a:gd name="T84" fmla="*/ 7 w 138"/>
                <a:gd name="T85" fmla="*/ 164 h 170"/>
                <a:gd name="T86" fmla="*/ 25 w 138"/>
                <a:gd name="T87" fmla="*/ 162 h 170"/>
                <a:gd name="T88" fmla="*/ 29 w 138"/>
                <a:gd name="T89" fmla="*/ 167 h 170"/>
                <a:gd name="T90" fmla="*/ 43 w 138"/>
                <a:gd name="T91" fmla="*/ 165 h 170"/>
                <a:gd name="T92" fmla="*/ 57 w 138"/>
                <a:gd name="T93" fmla="*/ 159 h 170"/>
                <a:gd name="T94" fmla="*/ 60 w 138"/>
                <a:gd name="T95" fmla="*/ 151 h 170"/>
                <a:gd name="T96" fmla="*/ 73 w 138"/>
                <a:gd name="T97" fmla="*/ 151 h 170"/>
                <a:gd name="T98" fmla="*/ 93 w 138"/>
                <a:gd name="T99" fmla="*/ 140 h 170"/>
                <a:gd name="T100" fmla="*/ 103 w 138"/>
                <a:gd name="T101" fmla="*/ 134 h 170"/>
                <a:gd name="T102" fmla="*/ 109 w 138"/>
                <a:gd name="T103" fmla="*/ 136 h 170"/>
                <a:gd name="T104" fmla="*/ 120 w 138"/>
                <a:gd name="T105" fmla="*/ 129 h 170"/>
                <a:gd name="T106" fmla="*/ 135 w 138"/>
                <a:gd name="T107" fmla="*/ 104 h 170"/>
                <a:gd name="T108" fmla="*/ 132 w 138"/>
                <a:gd name="T109"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8" h="170">
                  <a:moveTo>
                    <a:pt x="135" y="81"/>
                  </a:moveTo>
                  <a:cubicBezTo>
                    <a:pt x="135" y="80"/>
                    <a:pt x="135" y="78"/>
                    <a:pt x="135" y="78"/>
                  </a:cubicBezTo>
                  <a:cubicBezTo>
                    <a:pt x="133" y="76"/>
                    <a:pt x="131" y="75"/>
                    <a:pt x="131" y="72"/>
                  </a:cubicBezTo>
                  <a:cubicBezTo>
                    <a:pt x="131" y="70"/>
                    <a:pt x="133" y="65"/>
                    <a:pt x="130" y="65"/>
                  </a:cubicBezTo>
                  <a:cubicBezTo>
                    <a:pt x="128" y="64"/>
                    <a:pt x="127" y="61"/>
                    <a:pt x="129" y="60"/>
                  </a:cubicBezTo>
                  <a:cubicBezTo>
                    <a:pt x="131" y="58"/>
                    <a:pt x="132" y="61"/>
                    <a:pt x="134" y="60"/>
                  </a:cubicBezTo>
                  <a:cubicBezTo>
                    <a:pt x="138" y="60"/>
                    <a:pt x="134" y="57"/>
                    <a:pt x="133" y="56"/>
                  </a:cubicBezTo>
                  <a:cubicBezTo>
                    <a:pt x="132" y="55"/>
                    <a:pt x="131" y="54"/>
                    <a:pt x="130" y="54"/>
                  </a:cubicBezTo>
                  <a:cubicBezTo>
                    <a:pt x="129" y="55"/>
                    <a:pt x="129" y="55"/>
                    <a:pt x="129" y="56"/>
                  </a:cubicBezTo>
                  <a:cubicBezTo>
                    <a:pt x="128" y="57"/>
                    <a:pt x="127" y="56"/>
                    <a:pt x="126" y="56"/>
                  </a:cubicBezTo>
                  <a:cubicBezTo>
                    <a:pt x="125" y="56"/>
                    <a:pt x="120" y="59"/>
                    <a:pt x="120" y="56"/>
                  </a:cubicBezTo>
                  <a:cubicBezTo>
                    <a:pt x="120" y="55"/>
                    <a:pt x="122" y="52"/>
                    <a:pt x="121" y="51"/>
                  </a:cubicBezTo>
                  <a:cubicBezTo>
                    <a:pt x="119" y="50"/>
                    <a:pt x="118" y="52"/>
                    <a:pt x="116" y="49"/>
                  </a:cubicBezTo>
                  <a:cubicBezTo>
                    <a:pt x="115" y="47"/>
                    <a:pt x="115" y="48"/>
                    <a:pt x="115" y="46"/>
                  </a:cubicBezTo>
                  <a:cubicBezTo>
                    <a:pt x="116" y="45"/>
                    <a:pt x="115" y="44"/>
                    <a:pt x="115" y="44"/>
                  </a:cubicBezTo>
                  <a:cubicBezTo>
                    <a:pt x="113" y="42"/>
                    <a:pt x="111" y="41"/>
                    <a:pt x="109" y="43"/>
                  </a:cubicBezTo>
                  <a:cubicBezTo>
                    <a:pt x="108" y="44"/>
                    <a:pt x="105" y="45"/>
                    <a:pt x="105" y="46"/>
                  </a:cubicBezTo>
                  <a:cubicBezTo>
                    <a:pt x="105" y="47"/>
                    <a:pt x="108" y="48"/>
                    <a:pt x="106" y="50"/>
                  </a:cubicBezTo>
                  <a:cubicBezTo>
                    <a:pt x="105" y="51"/>
                    <a:pt x="104" y="50"/>
                    <a:pt x="104" y="51"/>
                  </a:cubicBezTo>
                  <a:cubicBezTo>
                    <a:pt x="103" y="52"/>
                    <a:pt x="103" y="53"/>
                    <a:pt x="102" y="54"/>
                  </a:cubicBezTo>
                  <a:cubicBezTo>
                    <a:pt x="102" y="53"/>
                    <a:pt x="102" y="53"/>
                    <a:pt x="102" y="52"/>
                  </a:cubicBezTo>
                  <a:cubicBezTo>
                    <a:pt x="101" y="52"/>
                    <a:pt x="102" y="54"/>
                    <a:pt x="101" y="54"/>
                  </a:cubicBezTo>
                  <a:cubicBezTo>
                    <a:pt x="101" y="55"/>
                    <a:pt x="99" y="54"/>
                    <a:pt x="99" y="53"/>
                  </a:cubicBezTo>
                  <a:cubicBezTo>
                    <a:pt x="98" y="52"/>
                    <a:pt x="97" y="54"/>
                    <a:pt x="95" y="54"/>
                  </a:cubicBezTo>
                  <a:cubicBezTo>
                    <a:pt x="94" y="54"/>
                    <a:pt x="93" y="52"/>
                    <a:pt x="92" y="51"/>
                  </a:cubicBezTo>
                  <a:cubicBezTo>
                    <a:pt x="90" y="50"/>
                    <a:pt x="89" y="51"/>
                    <a:pt x="87" y="50"/>
                  </a:cubicBezTo>
                  <a:cubicBezTo>
                    <a:pt x="85" y="49"/>
                    <a:pt x="86" y="47"/>
                    <a:pt x="84" y="46"/>
                  </a:cubicBezTo>
                  <a:cubicBezTo>
                    <a:pt x="83" y="46"/>
                    <a:pt x="84" y="46"/>
                    <a:pt x="82" y="45"/>
                  </a:cubicBezTo>
                  <a:cubicBezTo>
                    <a:pt x="81" y="43"/>
                    <a:pt x="78" y="40"/>
                    <a:pt x="78" y="39"/>
                  </a:cubicBezTo>
                  <a:cubicBezTo>
                    <a:pt x="81" y="39"/>
                    <a:pt x="83" y="36"/>
                    <a:pt x="86" y="36"/>
                  </a:cubicBezTo>
                  <a:cubicBezTo>
                    <a:pt x="88" y="35"/>
                    <a:pt x="92" y="35"/>
                    <a:pt x="92" y="32"/>
                  </a:cubicBezTo>
                  <a:cubicBezTo>
                    <a:pt x="90" y="34"/>
                    <a:pt x="86" y="32"/>
                    <a:pt x="86" y="29"/>
                  </a:cubicBezTo>
                  <a:cubicBezTo>
                    <a:pt x="87" y="29"/>
                    <a:pt x="88" y="27"/>
                    <a:pt x="90" y="28"/>
                  </a:cubicBezTo>
                  <a:cubicBezTo>
                    <a:pt x="91" y="29"/>
                    <a:pt x="91" y="29"/>
                    <a:pt x="93" y="28"/>
                  </a:cubicBezTo>
                  <a:cubicBezTo>
                    <a:pt x="95" y="26"/>
                    <a:pt x="97" y="28"/>
                    <a:pt x="98" y="25"/>
                  </a:cubicBezTo>
                  <a:cubicBezTo>
                    <a:pt x="99" y="22"/>
                    <a:pt x="101" y="20"/>
                    <a:pt x="103" y="17"/>
                  </a:cubicBezTo>
                  <a:cubicBezTo>
                    <a:pt x="103" y="15"/>
                    <a:pt x="104" y="14"/>
                    <a:pt x="106" y="14"/>
                  </a:cubicBezTo>
                  <a:cubicBezTo>
                    <a:pt x="107" y="13"/>
                    <a:pt x="109" y="12"/>
                    <a:pt x="110" y="11"/>
                  </a:cubicBezTo>
                  <a:cubicBezTo>
                    <a:pt x="111" y="10"/>
                    <a:pt x="116" y="8"/>
                    <a:pt x="117" y="6"/>
                  </a:cubicBezTo>
                  <a:cubicBezTo>
                    <a:pt x="117" y="6"/>
                    <a:pt x="106" y="0"/>
                    <a:pt x="104" y="0"/>
                  </a:cubicBezTo>
                  <a:cubicBezTo>
                    <a:pt x="105" y="1"/>
                    <a:pt x="107" y="3"/>
                    <a:pt x="108" y="4"/>
                  </a:cubicBezTo>
                  <a:cubicBezTo>
                    <a:pt x="107" y="4"/>
                    <a:pt x="106" y="4"/>
                    <a:pt x="106" y="4"/>
                  </a:cubicBezTo>
                  <a:cubicBezTo>
                    <a:pt x="107" y="3"/>
                    <a:pt x="104" y="4"/>
                    <a:pt x="104" y="4"/>
                  </a:cubicBezTo>
                  <a:cubicBezTo>
                    <a:pt x="103" y="4"/>
                    <a:pt x="102" y="4"/>
                    <a:pt x="101" y="4"/>
                  </a:cubicBezTo>
                  <a:cubicBezTo>
                    <a:pt x="98" y="6"/>
                    <a:pt x="101" y="10"/>
                    <a:pt x="101" y="12"/>
                  </a:cubicBezTo>
                  <a:cubicBezTo>
                    <a:pt x="102" y="15"/>
                    <a:pt x="97" y="18"/>
                    <a:pt x="94" y="18"/>
                  </a:cubicBezTo>
                  <a:cubicBezTo>
                    <a:pt x="95" y="18"/>
                    <a:pt x="98" y="16"/>
                    <a:pt x="98" y="15"/>
                  </a:cubicBezTo>
                  <a:cubicBezTo>
                    <a:pt x="98" y="14"/>
                    <a:pt x="96" y="15"/>
                    <a:pt x="96" y="15"/>
                  </a:cubicBezTo>
                  <a:cubicBezTo>
                    <a:pt x="98" y="13"/>
                    <a:pt x="100" y="12"/>
                    <a:pt x="98" y="9"/>
                  </a:cubicBezTo>
                  <a:cubicBezTo>
                    <a:pt x="97" y="8"/>
                    <a:pt x="98" y="5"/>
                    <a:pt x="96" y="5"/>
                  </a:cubicBezTo>
                  <a:cubicBezTo>
                    <a:pt x="96" y="5"/>
                    <a:pt x="91" y="6"/>
                    <a:pt x="93" y="8"/>
                  </a:cubicBezTo>
                  <a:cubicBezTo>
                    <a:pt x="94" y="9"/>
                    <a:pt x="94" y="8"/>
                    <a:pt x="95" y="7"/>
                  </a:cubicBezTo>
                  <a:cubicBezTo>
                    <a:pt x="94" y="9"/>
                    <a:pt x="96" y="10"/>
                    <a:pt x="94" y="12"/>
                  </a:cubicBezTo>
                  <a:cubicBezTo>
                    <a:pt x="95" y="11"/>
                    <a:pt x="94" y="8"/>
                    <a:pt x="92" y="9"/>
                  </a:cubicBezTo>
                  <a:cubicBezTo>
                    <a:pt x="91" y="9"/>
                    <a:pt x="92" y="6"/>
                    <a:pt x="92" y="6"/>
                  </a:cubicBezTo>
                  <a:cubicBezTo>
                    <a:pt x="92" y="6"/>
                    <a:pt x="89" y="7"/>
                    <a:pt x="90" y="8"/>
                  </a:cubicBezTo>
                  <a:cubicBezTo>
                    <a:pt x="91" y="9"/>
                    <a:pt x="90" y="11"/>
                    <a:pt x="89" y="10"/>
                  </a:cubicBezTo>
                  <a:cubicBezTo>
                    <a:pt x="89" y="10"/>
                    <a:pt x="90" y="10"/>
                    <a:pt x="90" y="9"/>
                  </a:cubicBezTo>
                  <a:cubicBezTo>
                    <a:pt x="89" y="10"/>
                    <a:pt x="87" y="8"/>
                    <a:pt x="86" y="9"/>
                  </a:cubicBezTo>
                  <a:cubicBezTo>
                    <a:pt x="87" y="9"/>
                    <a:pt x="87" y="8"/>
                    <a:pt x="87" y="8"/>
                  </a:cubicBezTo>
                  <a:cubicBezTo>
                    <a:pt x="87" y="6"/>
                    <a:pt x="82" y="11"/>
                    <a:pt x="81" y="11"/>
                  </a:cubicBezTo>
                  <a:cubicBezTo>
                    <a:pt x="83" y="8"/>
                    <a:pt x="78" y="10"/>
                    <a:pt x="77" y="10"/>
                  </a:cubicBezTo>
                  <a:cubicBezTo>
                    <a:pt x="77" y="11"/>
                    <a:pt x="76" y="15"/>
                    <a:pt x="76" y="15"/>
                  </a:cubicBezTo>
                  <a:cubicBezTo>
                    <a:pt x="75" y="14"/>
                    <a:pt x="70" y="17"/>
                    <a:pt x="74" y="19"/>
                  </a:cubicBezTo>
                  <a:cubicBezTo>
                    <a:pt x="74" y="19"/>
                    <a:pt x="71" y="19"/>
                    <a:pt x="72" y="20"/>
                  </a:cubicBezTo>
                  <a:cubicBezTo>
                    <a:pt x="73" y="22"/>
                    <a:pt x="75" y="19"/>
                    <a:pt x="76" y="22"/>
                  </a:cubicBezTo>
                  <a:cubicBezTo>
                    <a:pt x="74" y="21"/>
                    <a:pt x="73" y="23"/>
                    <a:pt x="75" y="23"/>
                  </a:cubicBezTo>
                  <a:cubicBezTo>
                    <a:pt x="74" y="24"/>
                    <a:pt x="72" y="24"/>
                    <a:pt x="71" y="23"/>
                  </a:cubicBezTo>
                  <a:cubicBezTo>
                    <a:pt x="70" y="23"/>
                    <a:pt x="69" y="24"/>
                    <a:pt x="68" y="24"/>
                  </a:cubicBezTo>
                  <a:cubicBezTo>
                    <a:pt x="70" y="25"/>
                    <a:pt x="71" y="25"/>
                    <a:pt x="72" y="27"/>
                  </a:cubicBezTo>
                  <a:cubicBezTo>
                    <a:pt x="71" y="27"/>
                    <a:pt x="70" y="25"/>
                    <a:pt x="69" y="26"/>
                  </a:cubicBezTo>
                  <a:cubicBezTo>
                    <a:pt x="69" y="26"/>
                    <a:pt x="70" y="27"/>
                    <a:pt x="71" y="27"/>
                  </a:cubicBezTo>
                  <a:cubicBezTo>
                    <a:pt x="68" y="27"/>
                    <a:pt x="65" y="26"/>
                    <a:pt x="63" y="28"/>
                  </a:cubicBezTo>
                  <a:cubicBezTo>
                    <a:pt x="60" y="31"/>
                    <a:pt x="61" y="31"/>
                    <a:pt x="63" y="32"/>
                  </a:cubicBezTo>
                  <a:cubicBezTo>
                    <a:pt x="65" y="32"/>
                    <a:pt x="64" y="33"/>
                    <a:pt x="67" y="33"/>
                  </a:cubicBezTo>
                  <a:cubicBezTo>
                    <a:pt x="67" y="33"/>
                    <a:pt x="68" y="32"/>
                    <a:pt x="69" y="32"/>
                  </a:cubicBezTo>
                  <a:cubicBezTo>
                    <a:pt x="69" y="32"/>
                    <a:pt x="72" y="34"/>
                    <a:pt x="71" y="32"/>
                  </a:cubicBezTo>
                  <a:cubicBezTo>
                    <a:pt x="72" y="32"/>
                    <a:pt x="72" y="33"/>
                    <a:pt x="72" y="33"/>
                  </a:cubicBezTo>
                  <a:cubicBezTo>
                    <a:pt x="72" y="34"/>
                    <a:pt x="71" y="34"/>
                    <a:pt x="70" y="35"/>
                  </a:cubicBezTo>
                  <a:cubicBezTo>
                    <a:pt x="71" y="35"/>
                    <a:pt x="76" y="31"/>
                    <a:pt x="75" y="33"/>
                  </a:cubicBezTo>
                  <a:cubicBezTo>
                    <a:pt x="77" y="33"/>
                    <a:pt x="79" y="33"/>
                    <a:pt x="80" y="32"/>
                  </a:cubicBezTo>
                  <a:cubicBezTo>
                    <a:pt x="80" y="32"/>
                    <a:pt x="74" y="38"/>
                    <a:pt x="77" y="38"/>
                  </a:cubicBezTo>
                  <a:cubicBezTo>
                    <a:pt x="75" y="38"/>
                    <a:pt x="73" y="39"/>
                    <a:pt x="70" y="39"/>
                  </a:cubicBezTo>
                  <a:cubicBezTo>
                    <a:pt x="69" y="40"/>
                    <a:pt x="70" y="40"/>
                    <a:pt x="69" y="41"/>
                  </a:cubicBezTo>
                  <a:cubicBezTo>
                    <a:pt x="68" y="42"/>
                    <a:pt x="67" y="42"/>
                    <a:pt x="66" y="42"/>
                  </a:cubicBezTo>
                  <a:cubicBezTo>
                    <a:pt x="60" y="46"/>
                    <a:pt x="67" y="44"/>
                    <a:pt x="67" y="46"/>
                  </a:cubicBezTo>
                  <a:cubicBezTo>
                    <a:pt x="67" y="46"/>
                    <a:pt x="66" y="45"/>
                    <a:pt x="66" y="46"/>
                  </a:cubicBezTo>
                  <a:cubicBezTo>
                    <a:pt x="67" y="47"/>
                    <a:pt x="68" y="47"/>
                    <a:pt x="68" y="47"/>
                  </a:cubicBezTo>
                  <a:cubicBezTo>
                    <a:pt x="65" y="47"/>
                    <a:pt x="62" y="48"/>
                    <a:pt x="67" y="50"/>
                  </a:cubicBezTo>
                  <a:cubicBezTo>
                    <a:pt x="65" y="51"/>
                    <a:pt x="65" y="49"/>
                    <a:pt x="63" y="48"/>
                  </a:cubicBezTo>
                  <a:cubicBezTo>
                    <a:pt x="61" y="47"/>
                    <a:pt x="58" y="48"/>
                    <a:pt x="56" y="48"/>
                  </a:cubicBezTo>
                  <a:cubicBezTo>
                    <a:pt x="51" y="46"/>
                    <a:pt x="50" y="48"/>
                    <a:pt x="49" y="53"/>
                  </a:cubicBezTo>
                  <a:cubicBezTo>
                    <a:pt x="49" y="51"/>
                    <a:pt x="47" y="52"/>
                    <a:pt x="47" y="50"/>
                  </a:cubicBezTo>
                  <a:cubicBezTo>
                    <a:pt x="46" y="49"/>
                    <a:pt x="47" y="48"/>
                    <a:pt x="47" y="47"/>
                  </a:cubicBezTo>
                  <a:cubicBezTo>
                    <a:pt x="46" y="46"/>
                    <a:pt x="44" y="46"/>
                    <a:pt x="41" y="46"/>
                  </a:cubicBezTo>
                  <a:cubicBezTo>
                    <a:pt x="39" y="46"/>
                    <a:pt x="37" y="46"/>
                    <a:pt x="36" y="46"/>
                  </a:cubicBezTo>
                  <a:cubicBezTo>
                    <a:pt x="35" y="46"/>
                    <a:pt x="31" y="44"/>
                    <a:pt x="30" y="45"/>
                  </a:cubicBezTo>
                  <a:cubicBezTo>
                    <a:pt x="28" y="46"/>
                    <a:pt x="30" y="47"/>
                    <a:pt x="31" y="47"/>
                  </a:cubicBezTo>
                  <a:cubicBezTo>
                    <a:pt x="30" y="47"/>
                    <a:pt x="30" y="47"/>
                    <a:pt x="31" y="48"/>
                  </a:cubicBezTo>
                  <a:cubicBezTo>
                    <a:pt x="28" y="48"/>
                    <a:pt x="29" y="48"/>
                    <a:pt x="27" y="49"/>
                  </a:cubicBezTo>
                  <a:cubicBezTo>
                    <a:pt x="27" y="50"/>
                    <a:pt x="25" y="51"/>
                    <a:pt x="25" y="50"/>
                  </a:cubicBezTo>
                  <a:cubicBezTo>
                    <a:pt x="24" y="49"/>
                    <a:pt x="29" y="49"/>
                    <a:pt x="25" y="47"/>
                  </a:cubicBezTo>
                  <a:cubicBezTo>
                    <a:pt x="23" y="46"/>
                    <a:pt x="23" y="47"/>
                    <a:pt x="22" y="48"/>
                  </a:cubicBezTo>
                  <a:cubicBezTo>
                    <a:pt x="20" y="50"/>
                    <a:pt x="22" y="49"/>
                    <a:pt x="22" y="50"/>
                  </a:cubicBezTo>
                  <a:cubicBezTo>
                    <a:pt x="21" y="51"/>
                    <a:pt x="20" y="53"/>
                    <a:pt x="20" y="55"/>
                  </a:cubicBezTo>
                  <a:cubicBezTo>
                    <a:pt x="20" y="56"/>
                    <a:pt x="21" y="56"/>
                    <a:pt x="21" y="55"/>
                  </a:cubicBezTo>
                  <a:cubicBezTo>
                    <a:pt x="21" y="55"/>
                    <a:pt x="21" y="54"/>
                    <a:pt x="21" y="53"/>
                  </a:cubicBezTo>
                  <a:cubicBezTo>
                    <a:pt x="21" y="52"/>
                    <a:pt x="22" y="52"/>
                    <a:pt x="23" y="51"/>
                  </a:cubicBezTo>
                  <a:cubicBezTo>
                    <a:pt x="24" y="51"/>
                    <a:pt x="23" y="50"/>
                    <a:pt x="24" y="50"/>
                  </a:cubicBezTo>
                  <a:cubicBezTo>
                    <a:pt x="26" y="50"/>
                    <a:pt x="25" y="53"/>
                    <a:pt x="25" y="53"/>
                  </a:cubicBezTo>
                  <a:cubicBezTo>
                    <a:pt x="27" y="55"/>
                    <a:pt x="24" y="54"/>
                    <a:pt x="24" y="56"/>
                  </a:cubicBezTo>
                  <a:cubicBezTo>
                    <a:pt x="25" y="58"/>
                    <a:pt x="27" y="54"/>
                    <a:pt x="28" y="55"/>
                  </a:cubicBezTo>
                  <a:cubicBezTo>
                    <a:pt x="24" y="57"/>
                    <a:pt x="28" y="59"/>
                    <a:pt x="29" y="62"/>
                  </a:cubicBezTo>
                  <a:cubicBezTo>
                    <a:pt x="30" y="64"/>
                    <a:pt x="25" y="59"/>
                    <a:pt x="25" y="62"/>
                  </a:cubicBezTo>
                  <a:cubicBezTo>
                    <a:pt x="25" y="63"/>
                    <a:pt x="24" y="65"/>
                    <a:pt x="25" y="65"/>
                  </a:cubicBezTo>
                  <a:cubicBezTo>
                    <a:pt x="27" y="65"/>
                    <a:pt x="28" y="64"/>
                    <a:pt x="30" y="64"/>
                  </a:cubicBezTo>
                  <a:cubicBezTo>
                    <a:pt x="31" y="64"/>
                    <a:pt x="34" y="63"/>
                    <a:pt x="35" y="64"/>
                  </a:cubicBezTo>
                  <a:cubicBezTo>
                    <a:pt x="35" y="65"/>
                    <a:pt x="33" y="66"/>
                    <a:pt x="33" y="67"/>
                  </a:cubicBezTo>
                  <a:cubicBezTo>
                    <a:pt x="33" y="67"/>
                    <a:pt x="34" y="68"/>
                    <a:pt x="34" y="68"/>
                  </a:cubicBezTo>
                  <a:cubicBezTo>
                    <a:pt x="32" y="71"/>
                    <a:pt x="26" y="66"/>
                    <a:pt x="25" y="70"/>
                  </a:cubicBezTo>
                  <a:cubicBezTo>
                    <a:pt x="22" y="75"/>
                    <a:pt x="26" y="76"/>
                    <a:pt x="30" y="76"/>
                  </a:cubicBezTo>
                  <a:cubicBezTo>
                    <a:pt x="28" y="77"/>
                    <a:pt x="21" y="75"/>
                    <a:pt x="20" y="77"/>
                  </a:cubicBezTo>
                  <a:cubicBezTo>
                    <a:pt x="19" y="77"/>
                    <a:pt x="22" y="78"/>
                    <a:pt x="21" y="78"/>
                  </a:cubicBezTo>
                  <a:cubicBezTo>
                    <a:pt x="20" y="80"/>
                    <a:pt x="16" y="77"/>
                    <a:pt x="15" y="79"/>
                  </a:cubicBezTo>
                  <a:cubicBezTo>
                    <a:pt x="16" y="79"/>
                    <a:pt x="16" y="80"/>
                    <a:pt x="17" y="81"/>
                  </a:cubicBezTo>
                  <a:cubicBezTo>
                    <a:pt x="18" y="81"/>
                    <a:pt x="19" y="82"/>
                    <a:pt x="20" y="82"/>
                  </a:cubicBezTo>
                  <a:cubicBezTo>
                    <a:pt x="19" y="82"/>
                    <a:pt x="19" y="82"/>
                    <a:pt x="18" y="82"/>
                  </a:cubicBezTo>
                  <a:cubicBezTo>
                    <a:pt x="19" y="83"/>
                    <a:pt x="15" y="83"/>
                    <a:pt x="15" y="84"/>
                  </a:cubicBezTo>
                  <a:cubicBezTo>
                    <a:pt x="16" y="85"/>
                    <a:pt x="17" y="84"/>
                    <a:pt x="18" y="84"/>
                  </a:cubicBezTo>
                  <a:cubicBezTo>
                    <a:pt x="19" y="85"/>
                    <a:pt x="19" y="86"/>
                    <a:pt x="20" y="86"/>
                  </a:cubicBezTo>
                  <a:cubicBezTo>
                    <a:pt x="22" y="87"/>
                    <a:pt x="23" y="84"/>
                    <a:pt x="25" y="84"/>
                  </a:cubicBezTo>
                  <a:cubicBezTo>
                    <a:pt x="24" y="84"/>
                    <a:pt x="23" y="86"/>
                    <a:pt x="24" y="85"/>
                  </a:cubicBezTo>
                  <a:cubicBezTo>
                    <a:pt x="25" y="85"/>
                    <a:pt x="25" y="85"/>
                    <a:pt x="26" y="84"/>
                  </a:cubicBezTo>
                  <a:cubicBezTo>
                    <a:pt x="26" y="86"/>
                    <a:pt x="22" y="87"/>
                    <a:pt x="23" y="89"/>
                  </a:cubicBezTo>
                  <a:cubicBezTo>
                    <a:pt x="24" y="90"/>
                    <a:pt x="27" y="89"/>
                    <a:pt x="28" y="88"/>
                  </a:cubicBezTo>
                  <a:cubicBezTo>
                    <a:pt x="28" y="88"/>
                    <a:pt x="31" y="85"/>
                    <a:pt x="30" y="86"/>
                  </a:cubicBezTo>
                  <a:cubicBezTo>
                    <a:pt x="30" y="90"/>
                    <a:pt x="31" y="85"/>
                    <a:pt x="33" y="86"/>
                  </a:cubicBezTo>
                  <a:cubicBezTo>
                    <a:pt x="31" y="86"/>
                    <a:pt x="33" y="87"/>
                    <a:pt x="32" y="88"/>
                  </a:cubicBezTo>
                  <a:cubicBezTo>
                    <a:pt x="32" y="89"/>
                    <a:pt x="29" y="89"/>
                    <a:pt x="30" y="91"/>
                  </a:cubicBezTo>
                  <a:cubicBezTo>
                    <a:pt x="31" y="94"/>
                    <a:pt x="31" y="90"/>
                    <a:pt x="32" y="90"/>
                  </a:cubicBezTo>
                  <a:cubicBezTo>
                    <a:pt x="33" y="90"/>
                    <a:pt x="33" y="92"/>
                    <a:pt x="34" y="93"/>
                  </a:cubicBezTo>
                  <a:cubicBezTo>
                    <a:pt x="36" y="93"/>
                    <a:pt x="37" y="93"/>
                    <a:pt x="39" y="92"/>
                  </a:cubicBezTo>
                  <a:cubicBezTo>
                    <a:pt x="43" y="92"/>
                    <a:pt x="47" y="90"/>
                    <a:pt x="50" y="91"/>
                  </a:cubicBezTo>
                  <a:cubicBezTo>
                    <a:pt x="49" y="91"/>
                    <a:pt x="48" y="92"/>
                    <a:pt x="49" y="92"/>
                  </a:cubicBezTo>
                  <a:cubicBezTo>
                    <a:pt x="49" y="92"/>
                    <a:pt x="48" y="93"/>
                    <a:pt x="47" y="93"/>
                  </a:cubicBezTo>
                  <a:cubicBezTo>
                    <a:pt x="49" y="93"/>
                    <a:pt x="50" y="94"/>
                    <a:pt x="51" y="93"/>
                  </a:cubicBezTo>
                  <a:cubicBezTo>
                    <a:pt x="51" y="94"/>
                    <a:pt x="49" y="95"/>
                    <a:pt x="50" y="96"/>
                  </a:cubicBezTo>
                  <a:cubicBezTo>
                    <a:pt x="49" y="95"/>
                    <a:pt x="48" y="95"/>
                    <a:pt x="47" y="95"/>
                  </a:cubicBezTo>
                  <a:cubicBezTo>
                    <a:pt x="47" y="95"/>
                    <a:pt x="48" y="96"/>
                    <a:pt x="48" y="96"/>
                  </a:cubicBezTo>
                  <a:cubicBezTo>
                    <a:pt x="47" y="96"/>
                    <a:pt x="46" y="95"/>
                    <a:pt x="44" y="96"/>
                  </a:cubicBezTo>
                  <a:cubicBezTo>
                    <a:pt x="45" y="96"/>
                    <a:pt x="46" y="96"/>
                    <a:pt x="46" y="96"/>
                  </a:cubicBezTo>
                  <a:cubicBezTo>
                    <a:pt x="45" y="99"/>
                    <a:pt x="41" y="96"/>
                    <a:pt x="39" y="97"/>
                  </a:cubicBezTo>
                  <a:cubicBezTo>
                    <a:pt x="38" y="98"/>
                    <a:pt x="38" y="100"/>
                    <a:pt x="37" y="101"/>
                  </a:cubicBezTo>
                  <a:cubicBezTo>
                    <a:pt x="36" y="103"/>
                    <a:pt x="35" y="104"/>
                    <a:pt x="33" y="105"/>
                  </a:cubicBezTo>
                  <a:cubicBezTo>
                    <a:pt x="34" y="106"/>
                    <a:pt x="38" y="105"/>
                    <a:pt x="36" y="107"/>
                  </a:cubicBezTo>
                  <a:cubicBezTo>
                    <a:pt x="34" y="109"/>
                    <a:pt x="33" y="110"/>
                    <a:pt x="32" y="112"/>
                  </a:cubicBezTo>
                  <a:cubicBezTo>
                    <a:pt x="31" y="113"/>
                    <a:pt x="30" y="113"/>
                    <a:pt x="29" y="114"/>
                  </a:cubicBezTo>
                  <a:cubicBezTo>
                    <a:pt x="28" y="115"/>
                    <a:pt x="27" y="116"/>
                    <a:pt x="26" y="117"/>
                  </a:cubicBezTo>
                  <a:cubicBezTo>
                    <a:pt x="24" y="118"/>
                    <a:pt x="23" y="119"/>
                    <a:pt x="21" y="120"/>
                  </a:cubicBezTo>
                  <a:cubicBezTo>
                    <a:pt x="20" y="121"/>
                    <a:pt x="19" y="120"/>
                    <a:pt x="18" y="121"/>
                  </a:cubicBezTo>
                  <a:cubicBezTo>
                    <a:pt x="21" y="123"/>
                    <a:pt x="23" y="120"/>
                    <a:pt x="25" y="120"/>
                  </a:cubicBezTo>
                  <a:cubicBezTo>
                    <a:pt x="26" y="119"/>
                    <a:pt x="31" y="118"/>
                    <a:pt x="29" y="117"/>
                  </a:cubicBezTo>
                  <a:cubicBezTo>
                    <a:pt x="30" y="117"/>
                    <a:pt x="31" y="119"/>
                    <a:pt x="33" y="119"/>
                  </a:cubicBezTo>
                  <a:cubicBezTo>
                    <a:pt x="34" y="119"/>
                    <a:pt x="36" y="118"/>
                    <a:pt x="38" y="118"/>
                  </a:cubicBezTo>
                  <a:cubicBezTo>
                    <a:pt x="38" y="118"/>
                    <a:pt x="36" y="120"/>
                    <a:pt x="36" y="120"/>
                  </a:cubicBezTo>
                  <a:cubicBezTo>
                    <a:pt x="38" y="121"/>
                    <a:pt x="42" y="118"/>
                    <a:pt x="43" y="117"/>
                  </a:cubicBezTo>
                  <a:cubicBezTo>
                    <a:pt x="44" y="116"/>
                    <a:pt x="46" y="113"/>
                    <a:pt x="48" y="112"/>
                  </a:cubicBezTo>
                  <a:cubicBezTo>
                    <a:pt x="47" y="113"/>
                    <a:pt x="48" y="115"/>
                    <a:pt x="47" y="116"/>
                  </a:cubicBezTo>
                  <a:cubicBezTo>
                    <a:pt x="49" y="116"/>
                    <a:pt x="52" y="116"/>
                    <a:pt x="54" y="117"/>
                  </a:cubicBezTo>
                  <a:cubicBezTo>
                    <a:pt x="52" y="118"/>
                    <a:pt x="48" y="117"/>
                    <a:pt x="46" y="118"/>
                  </a:cubicBezTo>
                  <a:cubicBezTo>
                    <a:pt x="43" y="120"/>
                    <a:pt x="40" y="120"/>
                    <a:pt x="37" y="120"/>
                  </a:cubicBezTo>
                  <a:cubicBezTo>
                    <a:pt x="34" y="121"/>
                    <a:pt x="32" y="121"/>
                    <a:pt x="29" y="121"/>
                  </a:cubicBezTo>
                  <a:cubicBezTo>
                    <a:pt x="27" y="120"/>
                    <a:pt x="24" y="123"/>
                    <a:pt x="26" y="125"/>
                  </a:cubicBezTo>
                  <a:cubicBezTo>
                    <a:pt x="25" y="124"/>
                    <a:pt x="23" y="126"/>
                    <a:pt x="22" y="127"/>
                  </a:cubicBezTo>
                  <a:cubicBezTo>
                    <a:pt x="20" y="127"/>
                    <a:pt x="19" y="127"/>
                    <a:pt x="17" y="128"/>
                  </a:cubicBezTo>
                  <a:cubicBezTo>
                    <a:pt x="17" y="128"/>
                    <a:pt x="20" y="129"/>
                    <a:pt x="20" y="129"/>
                  </a:cubicBezTo>
                  <a:cubicBezTo>
                    <a:pt x="21" y="131"/>
                    <a:pt x="19" y="132"/>
                    <a:pt x="20" y="133"/>
                  </a:cubicBezTo>
                  <a:cubicBezTo>
                    <a:pt x="19" y="133"/>
                    <a:pt x="19" y="133"/>
                    <a:pt x="19" y="133"/>
                  </a:cubicBezTo>
                  <a:cubicBezTo>
                    <a:pt x="19" y="135"/>
                    <a:pt x="21" y="133"/>
                    <a:pt x="22" y="135"/>
                  </a:cubicBezTo>
                  <a:cubicBezTo>
                    <a:pt x="21" y="135"/>
                    <a:pt x="21" y="134"/>
                    <a:pt x="20" y="135"/>
                  </a:cubicBezTo>
                  <a:cubicBezTo>
                    <a:pt x="19" y="135"/>
                    <a:pt x="18" y="136"/>
                    <a:pt x="17" y="136"/>
                  </a:cubicBezTo>
                  <a:cubicBezTo>
                    <a:pt x="15" y="136"/>
                    <a:pt x="14" y="135"/>
                    <a:pt x="15" y="132"/>
                  </a:cubicBezTo>
                  <a:cubicBezTo>
                    <a:pt x="14" y="132"/>
                    <a:pt x="14" y="132"/>
                    <a:pt x="13" y="132"/>
                  </a:cubicBezTo>
                  <a:cubicBezTo>
                    <a:pt x="15" y="134"/>
                    <a:pt x="11" y="136"/>
                    <a:pt x="10" y="135"/>
                  </a:cubicBezTo>
                  <a:cubicBezTo>
                    <a:pt x="10" y="135"/>
                    <a:pt x="11" y="134"/>
                    <a:pt x="10" y="133"/>
                  </a:cubicBezTo>
                  <a:cubicBezTo>
                    <a:pt x="8" y="133"/>
                    <a:pt x="7" y="134"/>
                    <a:pt x="6" y="134"/>
                  </a:cubicBezTo>
                  <a:cubicBezTo>
                    <a:pt x="6" y="135"/>
                    <a:pt x="3" y="138"/>
                    <a:pt x="3" y="138"/>
                  </a:cubicBezTo>
                  <a:cubicBezTo>
                    <a:pt x="2" y="138"/>
                    <a:pt x="2" y="137"/>
                    <a:pt x="1" y="138"/>
                  </a:cubicBezTo>
                  <a:cubicBezTo>
                    <a:pt x="0" y="138"/>
                    <a:pt x="0" y="140"/>
                    <a:pt x="0" y="141"/>
                  </a:cubicBezTo>
                  <a:cubicBezTo>
                    <a:pt x="1" y="142"/>
                    <a:pt x="3" y="141"/>
                    <a:pt x="3" y="141"/>
                  </a:cubicBezTo>
                  <a:cubicBezTo>
                    <a:pt x="4" y="140"/>
                    <a:pt x="5" y="141"/>
                    <a:pt x="6" y="141"/>
                  </a:cubicBezTo>
                  <a:cubicBezTo>
                    <a:pt x="4" y="139"/>
                    <a:pt x="7" y="140"/>
                    <a:pt x="8" y="140"/>
                  </a:cubicBezTo>
                  <a:cubicBezTo>
                    <a:pt x="9" y="141"/>
                    <a:pt x="10" y="141"/>
                    <a:pt x="11" y="140"/>
                  </a:cubicBezTo>
                  <a:cubicBezTo>
                    <a:pt x="12" y="140"/>
                    <a:pt x="14" y="139"/>
                    <a:pt x="15" y="140"/>
                  </a:cubicBezTo>
                  <a:cubicBezTo>
                    <a:pt x="15" y="140"/>
                    <a:pt x="15" y="140"/>
                    <a:pt x="16" y="140"/>
                  </a:cubicBezTo>
                  <a:cubicBezTo>
                    <a:pt x="15" y="141"/>
                    <a:pt x="17" y="139"/>
                    <a:pt x="17" y="139"/>
                  </a:cubicBezTo>
                  <a:cubicBezTo>
                    <a:pt x="19" y="139"/>
                    <a:pt x="20" y="139"/>
                    <a:pt x="21" y="139"/>
                  </a:cubicBezTo>
                  <a:cubicBezTo>
                    <a:pt x="21" y="140"/>
                    <a:pt x="18" y="142"/>
                    <a:pt x="17" y="140"/>
                  </a:cubicBezTo>
                  <a:cubicBezTo>
                    <a:pt x="17" y="141"/>
                    <a:pt x="15" y="144"/>
                    <a:pt x="15" y="142"/>
                  </a:cubicBezTo>
                  <a:cubicBezTo>
                    <a:pt x="14" y="144"/>
                    <a:pt x="12" y="144"/>
                    <a:pt x="10" y="145"/>
                  </a:cubicBezTo>
                  <a:cubicBezTo>
                    <a:pt x="7" y="145"/>
                    <a:pt x="4" y="146"/>
                    <a:pt x="6" y="150"/>
                  </a:cubicBezTo>
                  <a:cubicBezTo>
                    <a:pt x="5" y="150"/>
                    <a:pt x="2" y="150"/>
                    <a:pt x="1" y="151"/>
                  </a:cubicBezTo>
                  <a:cubicBezTo>
                    <a:pt x="1" y="153"/>
                    <a:pt x="2" y="152"/>
                    <a:pt x="3" y="153"/>
                  </a:cubicBezTo>
                  <a:cubicBezTo>
                    <a:pt x="3" y="153"/>
                    <a:pt x="2" y="155"/>
                    <a:pt x="2" y="155"/>
                  </a:cubicBezTo>
                  <a:cubicBezTo>
                    <a:pt x="4" y="156"/>
                    <a:pt x="5" y="152"/>
                    <a:pt x="6" y="152"/>
                  </a:cubicBezTo>
                  <a:cubicBezTo>
                    <a:pt x="8" y="152"/>
                    <a:pt x="8" y="155"/>
                    <a:pt x="6" y="155"/>
                  </a:cubicBezTo>
                  <a:cubicBezTo>
                    <a:pt x="7" y="156"/>
                    <a:pt x="8" y="157"/>
                    <a:pt x="10" y="156"/>
                  </a:cubicBezTo>
                  <a:cubicBezTo>
                    <a:pt x="11" y="155"/>
                    <a:pt x="13" y="155"/>
                    <a:pt x="15" y="154"/>
                  </a:cubicBezTo>
                  <a:cubicBezTo>
                    <a:pt x="18" y="153"/>
                    <a:pt x="22" y="152"/>
                    <a:pt x="25" y="151"/>
                  </a:cubicBezTo>
                  <a:cubicBezTo>
                    <a:pt x="24" y="152"/>
                    <a:pt x="22" y="152"/>
                    <a:pt x="20" y="153"/>
                  </a:cubicBezTo>
                  <a:cubicBezTo>
                    <a:pt x="19" y="154"/>
                    <a:pt x="18" y="155"/>
                    <a:pt x="19" y="156"/>
                  </a:cubicBezTo>
                  <a:cubicBezTo>
                    <a:pt x="18" y="155"/>
                    <a:pt x="17" y="156"/>
                    <a:pt x="16" y="157"/>
                  </a:cubicBezTo>
                  <a:cubicBezTo>
                    <a:pt x="15" y="154"/>
                    <a:pt x="13" y="159"/>
                    <a:pt x="13" y="158"/>
                  </a:cubicBezTo>
                  <a:cubicBezTo>
                    <a:pt x="12" y="160"/>
                    <a:pt x="10" y="159"/>
                    <a:pt x="9" y="160"/>
                  </a:cubicBezTo>
                  <a:cubicBezTo>
                    <a:pt x="12" y="161"/>
                    <a:pt x="7" y="163"/>
                    <a:pt x="7" y="164"/>
                  </a:cubicBezTo>
                  <a:cubicBezTo>
                    <a:pt x="12" y="162"/>
                    <a:pt x="17" y="161"/>
                    <a:pt x="22" y="159"/>
                  </a:cubicBezTo>
                  <a:cubicBezTo>
                    <a:pt x="23" y="159"/>
                    <a:pt x="25" y="157"/>
                    <a:pt x="26" y="157"/>
                  </a:cubicBezTo>
                  <a:cubicBezTo>
                    <a:pt x="26" y="157"/>
                    <a:pt x="29" y="158"/>
                    <a:pt x="29" y="158"/>
                  </a:cubicBezTo>
                  <a:cubicBezTo>
                    <a:pt x="29" y="159"/>
                    <a:pt x="18" y="165"/>
                    <a:pt x="16" y="165"/>
                  </a:cubicBezTo>
                  <a:cubicBezTo>
                    <a:pt x="19" y="166"/>
                    <a:pt x="22" y="162"/>
                    <a:pt x="25" y="162"/>
                  </a:cubicBezTo>
                  <a:cubicBezTo>
                    <a:pt x="23" y="164"/>
                    <a:pt x="17" y="166"/>
                    <a:pt x="17" y="169"/>
                  </a:cubicBezTo>
                  <a:cubicBezTo>
                    <a:pt x="16" y="170"/>
                    <a:pt x="20" y="168"/>
                    <a:pt x="21" y="167"/>
                  </a:cubicBezTo>
                  <a:cubicBezTo>
                    <a:pt x="22" y="166"/>
                    <a:pt x="22" y="168"/>
                    <a:pt x="23" y="167"/>
                  </a:cubicBezTo>
                  <a:cubicBezTo>
                    <a:pt x="24" y="167"/>
                    <a:pt x="25" y="167"/>
                    <a:pt x="26" y="166"/>
                  </a:cubicBezTo>
                  <a:cubicBezTo>
                    <a:pt x="27" y="166"/>
                    <a:pt x="30" y="164"/>
                    <a:pt x="29" y="167"/>
                  </a:cubicBezTo>
                  <a:cubicBezTo>
                    <a:pt x="28" y="168"/>
                    <a:pt x="31" y="166"/>
                    <a:pt x="31" y="166"/>
                  </a:cubicBezTo>
                  <a:cubicBezTo>
                    <a:pt x="31" y="166"/>
                    <a:pt x="29" y="168"/>
                    <a:pt x="30" y="168"/>
                  </a:cubicBezTo>
                  <a:cubicBezTo>
                    <a:pt x="30" y="168"/>
                    <a:pt x="30" y="168"/>
                    <a:pt x="30" y="169"/>
                  </a:cubicBezTo>
                  <a:cubicBezTo>
                    <a:pt x="31" y="168"/>
                    <a:pt x="38" y="167"/>
                    <a:pt x="38" y="165"/>
                  </a:cubicBezTo>
                  <a:cubicBezTo>
                    <a:pt x="38" y="165"/>
                    <a:pt x="43" y="164"/>
                    <a:pt x="43" y="165"/>
                  </a:cubicBezTo>
                  <a:cubicBezTo>
                    <a:pt x="43" y="166"/>
                    <a:pt x="45" y="164"/>
                    <a:pt x="45" y="164"/>
                  </a:cubicBezTo>
                  <a:cubicBezTo>
                    <a:pt x="47" y="163"/>
                    <a:pt x="49" y="165"/>
                    <a:pt x="50" y="163"/>
                  </a:cubicBezTo>
                  <a:cubicBezTo>
                    <a:pt x="51" y="162"/>
                    <a:pt x="50" y="162"/>
                    <a:pt x="49" y="161"/>
                  </a:cubicBezTo>
                  <a:cubicBezTo>
                    <a:pt x="50" y="161"/>
                    <a:pt x="54" y="160"/>
                    <a:pt x="55" y="162"/>
                  </a:cubicBezTo>
                  <a:cubicBezTo>
                    <a:pt x="55" y="161"/>
                    <a:pt x="56" y="160"/>
                    <a:pt x="57" y="159"/>
                  </a:cubicBezTo>
                  <a:cubicBezTo>
                    <a:pt x="56" y="159"/>
                    <a:pt x="56" y="159"/>
                    <a:pt x="55" y="159"/>
                  </a:cubicBezTo>
                  <a:cubicBezTo>
                    <a:pt x="56" y="158"/>
                    <a:pt x="58" y="160"/>
                    <a:pt x="57" y="158"/>
                  </a:cubicBezTo>
                  <a:cubicBezTo>
                    <a:pt x="60" y="160"/>
                    <a:pt x="62" y="157"/>
                    <a:pt x="63" y="154"/>
                  </a:cubicBezTo>
                  <a:cubicBezTo>
                    <a:pt x="62" y="154"/>
                    <a:pt x="63" y="153"/>
                    <a:pt x="62" y="152"/>
                  </a:cubicBezTo>
                  <a:cubicBezTo>
                    <a:pt x="61" y="151"/>
                    <a:pt x="61" y="151"/>
                    <a:pt x="60" y="151"/>
                  </a:cubicBezTo>
                  <a:cubicBezTo>
                    <a:pt x="62" y="150"/>
                    <a:pt x="64" y="150"/>
                    <a:pt x="67" y="151"/>
                  </a:cubicBezTo>
                  <a:cubicBezTo>
                    <a:pt x="66" y="152"/>
                    <a:pt x="67" y="151"/>
                    <a:pt x="67" y="152"/>
                  </a:cubicBezTo>
                  <a:cubicBezTo>
                    <a:pt x="66" y="152"/>
                    <a:pt x="65" y="153"/>
                    <a:pt x="65" y="154"/>
                  </a:cubicBezTo>
                  <a:cubicBezTo>
                    <a:pt x="64" y="155"/>
                    <a:pt x="69" y="154"/>
                    <a:pt x="69" y="154"/>
                  </a:cubicBezTo>
                  <a:cubicBezTo>
                    <a:pt x="71" y="153"/>
                    <a:pt x="72" y="152"/>
                    <a:pt x="73" y="151"/>
                  </a:cubicBezTo>
                  <a:cubicBezTo>
                    <a:pt x="74" y="151"/>
                    <a:pt x="76" y="151"/>
                    <a:pt x="75" y="150"/>
                  </a:cubicBezTo>
                  <a:cubicBezTo>
                    <a:pt x="76" y="149"/>
                    <a:pt x="77" y="148"/>
                    <a:pt x="77" y="147"/>
                  </a:cubicBezTo>
                  <a:cubicBezTo>
                    <a:pt x="78" y="150"/>
                    <a:pt x="82" y="147"/>
                    <a:pt x="84" y="146"/>
                  </a:cubicBezTo>
                  <a:cubicBezTo>
                    <a:pt x="85" y="145"/>
                    <a:pt x="87" y="142"/>
                    <a:pt x="84" y="143"/>
                  </a:cubicBezTo>
                  <a:cubicBezTo>
                    <a:pt x="84" y="141"/>
                    <a:pt x="92" y="140"/>
                    <a:pt x="93" y="140"/>
                  </a:cubicBezTo>
                  <a:cubicBezTo>
                    <a:pt x="94" y="140"/>
                    <a:pt x="96" y="140"/>
                    <a:pt x="98" y="139"/>
                  </a:cubicBezTo>
                  <a:cubicBezTo>
                    <a:pt x="99" y="139"/>
                    <a:pt x="100" y="138"/>
                    <a:pt x="101" y="139"/>
                  </a:cubicBezTo>
                  <a:cubicBezTo>
                    <a:pt x="101" y="139"/>
                    <a:pt x="100" y="140"/>
                    <a:pt x="100" y="140"/>
                  </a:cubicBezTo>
                  <a:cubicBezTo>
                    <a:pt x="102" y="140"/>
                    <a:pt x="103" y="139"/>
                    <a:pt x="104" y="138"/>
                  </a:cubicBezTo>
                  <a:cubicBezTo>
                    <a:pt x="103" y="137"/>
                    <a:pt x="104" y="134"/>
                    <a:pt x="103" y="134"/>
                  </a:cubicBezTo>
                  <a:cubicBezTo>
                    <a:pt x="105" y="135"/>
                    <a:pt x="106" y="138"/>
                    <a:pt x="104" y="140"/>
                  </a:cubicBezTo>
                  <a:cubicBezTo>
                    <a:pt x="105" y="140"/>
                    <a:pt x="108" y="138"/>
                    <a:pt x="108" y="137"/>
                  </a:cubicBezTo>
                  <a:cubicBezTo>
                    <a:pt x="108" y="137"/>
                    <a:pt x="108" y="136"/>
                    <a:pt x="108" y="136"/>
                  </a:cubicBezTo>
                  <a:cubicBezTo>
                    <a:pt x="109" y="135"/>
                    <a:pt x="109" y="135"/>
                    <a:pt x="110" y="135"/>
                  </a:cubicBezTo>
                  <a:cubicBezTo>
                    <a:pt x="110" y="135"/>
                    <a:pt x="109" y="136"/>
                    <a:pt x="109" y="136"/>
                  </a:cubicBezTo>
                  <a:cubicBezTo>
                    <a:pt x="111" y="137"/>
                    <a:pt x="114" y="138"/>
                    <a:pt x="116" y="138"/>
                  </a:cubicBezTo>
                  <a:cubicBezTo>
                    <a:pt x="117" y="138"/>
                    <a:pt x="121" y="137"/>
                    <a:pt x="121" y="137"/>
                  </a:cubicBezTo>
                  <a:cubicBezTo>
                    <a:pt x="120" y="139"/>
                    <a:pt x="123" y="137"/>
                    <a:pt x="123" y="135"/>
                  </a:cubicBezTo>
                  <a:cubicBezTo>
                    <a:pt x="123" y="134"/>
                    <a:pt x="121" y="134"/>
                    <a:pt x="122" y="132"/>
                  </a:cubicBezTo>
                  <a:cubicBezTo>
                    <a:pt x="121" y="135"/>
                    <a:pt x="118" y="130"/>
                    <a:pt x="120" y="129"/>
                  </a:cubicBezTo>
                  <a:cubicBezTo>
                    <a:pt x="119" y="131"/>
                    <a:pt x="122" y="130"/>
                    <a:pt x="122" y="131"/>
                  </a:cubicBezTo>
                  <a:cubicBezTo>
                    <a:pt x="122" y="128"/>
                    <a:pt x="124" y="126"/>
                    <a:pt x="126" y="125"/>
                  </a:cubicBezTo>
                  <a:cubicBezTo>
                    <a:pt x="128" y="122"/>
                    <a:pt x="127" y="121"/>
                    <a:pt x="128" y="118"/>
                  </a:cubicBezTo>
                  <a:cubicBezTo>
                    <a:pt x="128" y="116"/>
                    <a:pt x="130" y="112"/>
                    <a:pt x="131" y="110"/>
                  </a:cubicBezTo>
                  <a:cubicBezTo>
                    <a:pt x="132" y="109"/>
                    <a:pt x="135" y="106"/>
                    <a:pt x="135" y="104"/>
                  </a:cubicBezTo>
                  <a:cubicBezTo>
                    <a:pt x="134" y="102"/>
                    <a:pt x="135" y="99"/>
                    <a:pt x="134" y="97"/>
                  </a:cubicBezTo>
                  <a:cubicBezTo>
                    <a:pt x="134" y="95"/>
                    <a:pt x="133" y="93"/>
                    <a:pt x="134" y="91"/>
                  </a:cubicBezTo>
                  <a:cubicBezTo>
                    <a:pt x="134" y="89"/>
                    <a:pt x="130" y="90"/>
                    <a:pt x="131" y="87"/>
                  </a:cubicBezTo>
                  <a:cubicBezTo>
                    <a:pt x="132" y="84"/>
                    <a:pt x="134" y="87"/>
                    <a:pt x="135" y="86"/>
                  </a:cubicBezTo>
                  <a:cubicBezTo>
                    <a:pt x="135" y="87"/>
                    <a:pt x="132" y="83"/>
                    <a:pt x="132" y="82"/>
                  </a:cubicBezTo>
                  <a:cubicBezTo>
                    <a:pt x="133" y="82"/>
                    <a:pt x="133" y="83"/>
                    <a:pt x="135" y="81"/>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20">
              <a:extLst>
                <a:ext uri="{FF2B5EF4-FFF2-40B4-BE49-F238E27FC236}">
                  <a16:creationId xmlns:a16="http://schemas.microsoft.com/office/drawing/2014/main" id="{9BEE0A03-36BE-372A-1BAE-4826AF84894C}"/>
                </a:ext>
              </a:extLst>
            </p:cNvPr>
            <p:cNvSpPr>
              <a:spLocks/>
            </p:cNvSpPr>
            <p:nvPr/>
          </p:nvSpPr>
          <p:spPr bwMode="auto">
            <a:xfrm>
              <a:off x="866457" y="4052536"/>
              <a:ext cx="30696" cy="17879"/>
            </a:xfrm>
            <a:custGeom>
              <a:avLst/>
              <a:gdLst>
                <a:gd name="T0" fmla="*/ 6 w 11"/>
                <a:gd name="T1" fmla="*/ 3 h 6"/>
                <a:gd name="T2" fmla="*/ 8 w 11"/>
                <a:gd name="T3" fmla="*/ 6 h 6"/>
                <a:gd name="T4" fmla="*/ 9 w 11"/>
                <a:gd name="T5" fmla="*/ 3 h 6"/>
                <a:gd name="T6" fmla="*/ 6 w 11"/>
                <a:gd name="T7" fmla="*/ 0 h 6"/>
                <a:gd name="T8" fmla="*/ 5 w 11"/>
                <a:gd name="T9" fmla="*/ 1 h 6"/>
                <a:gd name="T10" fmla="*/ 3 w 11"/>
                <a:gd name="T11" fmla="*/ 1 h 6"/>
                <a:gd name="T12" fmla="*/ 0 w 11"/>
                <a:gd name="T13" fmla="*/ 2 h 6"/>
                <a:gd name="T14" fmla="*/ 6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6" y="3"/>
                  </a:moveTo>
                  <a:cubicBezTo>
                    <a:pt x="6" y="6"/>
                    <a:pt x="7" y="5"/>
                    <a:pt x="8" y="6"/>
                  </a:cubicBezTo>
                  <a:cubicBezTo>
                    <a:pt x="9" y="6"/>
                    <a:pt x="11" y="3"/>
                    <a:pt x="9" y="3"/>
                  </a:cubicBezTo>
                  <a:cubicBezTo>
                    <a:pt x="9" y="1"/>
                    <a:pt x="9" y="0"/>
                    <a:pt x="6" y="0"/>
                  </a:cubicBezTo>
                  <a:cubicBezTo>
                    <a:pt x="6" y="1"/>
                    <a:pt x="5" y="1"/>
                    <a:pt x="5" y="1"/>
                  </a:cubicBezTo>
                  <a:cubicBezTo>
                    <a:pt x="4" y="1"/>
                    <a:pt x="4" y="1"/>
                    <a:pt x="3" y="1"/>
                  </a:cubicBezTo>
                  <a:cubicBezTo>
                    <a:pt x="2" y="1"/>
                    <a:pt x="1" y="2"/>
                    <a:pt x="0" y="2"/>
                  </a:cubicBezTo>
                  <a:cubicBezTo>
                    <a:pt x="1" y="3"/>
                    <a:pt x="5" y="2"/>
                    <a:pt x="6" y="3"/>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21">
              <a:extLst>
                <a:ext uri="{FF2B5EF4-FFF2-40B4-BE49-F238E27FC236}">
                  <a16:creationId xmlns:a16="http://schemas.microsoft.com/office/drawing/2014/main" id="{5B5B3EB9-6495-C29E-8569-4543C8D6810A}"/>
                </a:ext>
              </a:extLst>
            </p:cNvPr>
            <p:cNvSpPr>
              <a:spLocks/>
            </p:cNvSpPr>
            <p:nvPr/>
          </p:nvSpPr>
          <p:spPr bwMode="auto">
            <a:xfrm>
              <a:off x="1207653" y="3689009"/>
              <a:ext cx="22432" cy="14303"/>
            </a:xfrm>
            <a:custGeom>
              <a:avLst/>
              <a:gdLst>
                <a:gd name="T0" fmla="*/ 6 w 8"/>
                <a:gd name="T1" fmla="*/ 2 h 5"/>
                <a:gd name="T2" fmla="*/ 3 w 8"/>
                <a:gd name="T3" fmla="*/ 0 h 5"/>
                <a:gd name="T4" fmla="*/ 5 w 8"/>
                <a:gd name="T5" fmla="*/ 5 h 5"/>
                <a:gd name="T6" fmla="*/ 6 w 8"/>
                <a:gd name="T7" fmla="*/ 2 h 5"/>
              </a:gdLst>
              <a:ahLst/>
              <a:cxnLst>
                <a:cxn ang="0">
                  <a:pos x="T0" y="T1"/>
                </a:cxn>
                <a:cxn ang="0">
                  <a:pos x="T2" y="T3"/>
                </a:cxn>
                <a:cxn ang="0">
                  <a:pos x="T4" y="T5"/>
                </a:cxn>
                <a:cxn ang="0">
                  <a:pos x="T6" y="T7"/>
                </a:cxn>
              </a:cxnLst>
              <a:rect l="0" t="0" r="r" b="b"/>
              <a:pathLst>
                <a:path w="8" h="5">
                  <a:moveTo>
                    <a:pt x="6" y="2"/>
                  </a:moveTo>
                  <a:cubicBezTo>
                    <a:pt x="8" y="0"/>
                    <a:pt x="4" y="0"/>
                    <a:pt x="3" y="0"/>
                  </a:cubicBezTo>
                  <a:cubicBezTo>
                    <a:pt x="0" y="1"/>
                    <a:pt x="3" y="4"/>
                    <a:pt x="5" y="5"/>
                  </a:cubicBezTo>
                  <a:cubicBezTo>
                    <a:pt x="6" y="5"/>
                    <a:pt x="8" y="2"/>
                    <a:pt x="6" y="2"/>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22">
              <a:extLst>
                <a:ext uri="{FF2B5EF4-FFF2-40B4-BE49-F238E27FC236}">
                  <a16:creationId xmlns:a16="http://schemas.microsoft.com/office/drawing/2014/main" id="{96D64EC2-4103-CE3A-3AA7-FFD8BC909F8C}"/>
                </a:ext>
              </a:extLst>
            </p:cNvPr>
            <p:cNvSpPr>
              <a:spLocks/>
            </p:cNvSpPr>
            <p:nvPr/>
          </p:nvSpPr>
          <p:spPr bwMode="auto">
            <a:xfrm>
              <a:off x="1551210" y="4450628"/>
              <a:ext cx="44863" cy="22646"/>
            </a:xfrm>
            <a:custGeom>
              <a:avLst/>
              <a:gdLst>
                <a:gd name="T0" fmla="*/ 11 w 16"/>
                <a:gd name="T1" fmla="*/ 1 h 8"/>
                <a:gd name="T2" fmla="*/ 7 w 16"/>
                <a:gd name="T3" fmla="*/ 0 h 8"/>
                <a:gd name="T4" fmla="*/ 5 w 16"/>
                <a:gd name="T5" fmla="*/ 2 h 8"/>
                <a:gd name="T6" fmla="*/ 0 w 16"/>
                <a:gd name="T7" fmla="*/ 5 h 8"/>
                <a:gd name="T8" fmla="*/ 8 w 16"/>
                <a:gd name="T9" fmla="*/ 8 h 8"/>
                <a:gd name="T10" fmla="*/ 13 w 16"/>
                <a:gd name="T11" fmla="*/ 4 h 8"/>
                <a:gd name="T12" fmla="*/ 11 w 16"/>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11" y="1"/>
                  </a:moveTo>
                  <a:cubicBezTo>
                    <a:pt x="10" y="1"/>
                    <a:pt x="8" y="0"/>
                    <a:pt x="7" y="0"/>
                  </a:cubicBezTo>
                  <a:cubicBezTo>
                    <a:pt x="6" y="1"/>
                    <a:pt x="6" y="2"/>
                    <a:pt x="5" y="2"/>
                  </a:cubicBezTo>
                  <a:cubicBezTo>
                    <a:pt x="3" y="3"/>
                    <a:pt x="1" y="3"/>
                    <a:pt x="0" y="5"/>
                  </a:cubicBezTo>
                  <a:cubicBezTo>
                    <a:pt x="3" y="4"/>
                    <a:pt x="5" y="8"/>
                    <a:pt x="8" y="8"/>
                  </a:cubicBezTo>
                  <a:cubicBezTo>
                    <a:pt x="11" y="8"/>
                    <a:pt x="11" y="6"/>
                    <a:pt x="13" y="4"/>
                  </a:cubicBezTo>
                  <a:cubicBezTo>
                    <a:pt x="16" y="2"/>
                    <a:pt x="12" y="1"/>
                    <a:pt x="11"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23">
              <a:extLst>
                <a:ext uri="{FF2B5EF4-FFF2-40B4-BE49-F238E27FC236}">
                  <a16:creationId xmlns:a16="http://schemas.microsoft.com/office/drawing/2014/main" id="{65F45D8A-3DE5-819F-164E-4365BF76A428}"/>
                </a:ext>
              </a:extLst>
            </p:cNvPr>
            <p:cNvSpPr>
              <a:spLocks noEditPoints="1"/>
            </p:cNvSpPr>
            <p:nvPr/>
          </p:nvSpPr>
          <p:spPr bwMode="auto">
            <a:xfrm>
              <a:off x="1197027" y="3497114"/>
              <a:ext cx="642251" cy="1054825"/>
            </a:xfrm>
            <a:custGeom>
              <a:avLst/>
              <a:gdLst>
                <a:gd name="T0" fmla="*/ 195 w 230"/>
                <a:gd name="T1" fmla="*/ 243 h 374"/>
                <a:gd name="T2" fmla="*/ 164 w 230"/>
                <a:gd name="T3" fmla="*/ 212 h 374"/>
                <a:gd name="T4" fmla="*/ 175 w 230"/>
                <a:gd name="T5" fmla="*/ 198 h 374"/>
                <a:gd name="T6" fmla="*/ 148 w 230"/>
                <a:gd name="T7" fmla="*/ 172 h 374"/>
                <a:gd name="T8" fmla="*/ 130 w 230"/>
                <a:gd name="T9" fmla="*/ 126 h 374"/>
                <a:gd name="T10" fmla="*/ 79 w 230"/>
                <a:gd name="T11" fmla="*/ 110 h 374"/>
                <a:gd name="T12" fmla="*/ 105 w 230"/>
                <a:gd name="T13" fmla="*/ 93 h 374"/>
                <a:gd name="T14" fmla="*/ 120 w 230"/>
                <a:gd name="T15" fmla="*/ 80 h 374"/>
                <a:gd name="T16" fmla="*/ 121 w 230"/>
                <a:gd name="T17" fmla="*/ 42 h 374"/>
                <a:gd name="T18" fmla="*/ 83 w 230"/>
                <a:gd name="T19" fmla="*/ 44 h 374"/>
                <a:gd name="T20" fmla="*/ 70 w 230"/>
                <a:gd name="T21" fmla="*/ 43 h 374"/>
                <a:gd name="T22" fmla="*/ 75 w 230"/>
                <a:gd name="T23" fmla="*/ 34 h 374"/>
                <a:gd name="T24" fmla="*/ 108 w 230"/>
                <a:gd name="T25" fmla="*/ 2 h 374"/>
                <a:gd name="T26" fmla="*/ 69 w 230"/>
                <a:gd name="T27" fmla="*/ 7 h 374"/>
                <a:gd name="T28" fmla="*/ 49 w 230"/>
                <a:gd name="T29" fmla="*/ 7 h 374"/>
                <a:gd name="T30" fmla="*/ 49 w 230"/>
                <a:gd name="T31" fmla="*/ 17 h 374"/>
                <a:gd name="T32" fmla="*/ 47 w 230"/>
                <a:gd name="T33" fmla="*/ 35 h 374"/>
                <a:gd name="T34" fmla="*/ 27 w 230"/>
                <a:gd name="T35" fmla="*/ 34 h 374"/>
                <a:gd name="T36" fmla="*/ 25 w 230"/>
                <a:gd name="T37" fmla="*/ 52 h 374"/>
                <a:gd name="T38" fmla="*/ 35 w 230"/>
                <a:gd name="T39" fmla="*/ 57 h 374"/>
                <a:gd name="T40" fmla="*/ 27 w 230"/>
                <a:gd name="T41" fmla="*/ 70 h 374"/>
                <a:gd name="T42" fmla="*/ 22 w 230"/>
                <a:gd name="T43" fmla="*/ 79 h 374"/>
                <a:gd name="T44" fmla="*/ 21 w 230"/>
                <a:gd name="T45" fmla="*/ 86 h 374"/>
                <a:gd name="T46" fmla="*/ 36 w 230"/>
                <a:gd name="T47" fmla="*/ 85 h 374"/>
                <a:gd name="T48" fmla="*/ 43 w 230"/>
                <a:gd name="T49" fmla="*/ 89 h 374"/>
                <a:gd name="T50" fmla="*/ 28 w 230"/>
                <a:gd name="T51" fmla="*/ 105 h 374"/>
                <a:gd name="T52" fmla="*/ 22 w 230"/>
                <a:gd name="T53" fmla="*/ 128 h 374"/>
                <a:gd name="T54" fmla="*/ 30 w 230"/>
                <a:gd name="T55" fmla="*/ 112 h 374"/>
                <a:gd name="T56" fmla="*/ 35 w 230"/>
                <a:gd name="T57" fmla="*/ 120 h 374"/>
                <a:gd name="T58" fmla="*/ 50 w 230"/>
                <a:gd name="T59" fmla="*/ 104 h 374"/>
                <a:gd name="T60" fmla="*/ 45 w 230"/>
                <a:gd name="T61" fmla="*/ 127 h 374"/>
                <a:gd name="T62" fmla="*/ 41 w 230"/>
                <a:gd name="T63" fmla="*/ 171 h 374"/>
                <a:gd name="T64" fmla="*/ 64 w 230"/>
                <a:gd name="T65" fmla="*/ 165 h 374"/>
                <a:gd name="T66" fmla="*/ 80 w 230"/>
                <a:gd name="T67" fmla="*/ 157 h 374"/>
                <a:gd name="T68" fmla="*/ 83 w 230"/>
                <a:gd name="T69" fmla="*/ 166 h 374"/>
                <a:gd name="T70" fmla="*/ 96 w 230"/>
                <a:gd name="T71" fmla="*/ 191 h 374"/>
                <a:gd name="T72" fmla="*/ 96 w 230"/>
                <a:gd name="T73" fmla="*/ 210 h 374"/>
                <a:gd name="T74" fmla="*/ 78 w 230"/>
                <a:gd name="T75" fmla="*/ 227 h 374"/>
                <a:gd name="T76" fmla="*/ 44 w 230"/>
                <a:gd name="T77" fmla="*/ 244 h 374"/>
                <a:gd name="T78" fmla="*/ 56 w 230"/>
                <a:gd name="T79" fmla="*/ 259 h 374"/>
                <a:gd name="T80" fmla="*/ 30 w 230"/>
                <a:gd name="T81" fmla="*/ 284 h 374"/>
                <a:gd name="T82" fmla="*/ 24 w 230"/>
                <a:gd name="T83" fmla="*/ 297 h 374"/>
                <a:gd name="T84" fmla="*/ 37 w 230"/>
                <a:gd name="T85" fmla="*/ 298 h 374"/>
                <a:gd name="T86" fmla="*/ 61 w 230"/>
                <a:gd name="T87" fmla="*/ 302 h 374"/>
                <a:gd name="T88" fmla="*/ 105 w 230"/>
                <a:gd name="T89" fmla="*/ 295 h 374"/>
                <a:gd name="T90" fmla="*/ 60 w 230"/>
                <a:gd name="T91" fmla="*/ 318 h 374"/>
                <a:gd name="T92" fmla="*/ 26 w 230"/>
                <a:gd name="T93" fmla="*/ 346 h 374"/>
                <a:gd name="T94" fmla="*/ 0 w 230"/>
                <a:gd name="T95" fmla="*/ 369 h 374"/>
                <a:gd name="T96" fmla="*/ 26 w 230"/>
                <a:gd name="T97" fmla="*/ 362 h 374"/>
                <a:gd name="T98" fmla="*/ 45 w 230"/>
                <a:gd name="T99" fmla="*/ 355 h 374"/>
                <a:gd name="T100" fmla="*/ 67 w 230"/>
                <a:gd name="T101" fmla="*/ 353 h 374"/>
                <a:gd name="T102" fmla="*/ 99 w 230"/>
                <a:gd name="T103" fmla="*/ 349 h 374"/>
                <a:gd name="T104" fmla="*/ 134 w 230"/>
                <a:gd name="T105" fmla="*/ 337 h 374"/>
                <a:gd name="T106" fmla="*/ 146 w 230"/>
                <a:gd name="T107" fmla="*/ 338 h 374"/>
                <a:gd name="T108" fmla="*/ 197 w 230"/>
                <a:gd name="T109" fmla="*/ 331 h 374"/>
                <a:gd name="T110" fmla="*/ 196 w 230"/>
                <a:gd name="T111" fmla="*/ 310 h 374"/>
                <a:gd name="T112" fmla="*/ 202 w 230"/>
                <a:gd name="T113" fmla="*/ 297 h 374"/>
                <a:gd name="T114" fmla="*/ 208 w 230"/>
                <a:gd name="T115" fmla="*/ 287 h 374"/>
                <a:gd name="T116" fmla="*/ 229 w 230"/>
                <a:gd name="T117" fmla="*/ 25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 h="374">
                  <a:moveTo>
                    <a:pt x="229" y="258"/>
                  </a:moveTo>
                  <a:cubicBezTo>
                    <a:pt x="228" y="254"/>
                    <a:pt x="227" y="251"/>
                    <a:pt x="224" y="250"/>
                  </a:cubicBezTo>
                  <a:cubicBezTo>
                    <a:pt x="222" y="248"/>
                    <a:pt x="221" y="247"/>
                    <a:pt x="219" y="246"/>
                  </a:cubicBezTo>
                  <a:cubicBezTo>
                    <a:pt x="218" y="245"/>
                    <a:pt x="217" y="245"/>
                    <a:pt x="215" y="244"/>
                  </a:cubicBezTo>
                  <a:cubicBezTo>
                    <a:pt x="213" y="244"/>
                    <a:pt x="209" y="242"/>
                    <a:pt x="207" y="243"/>
                  </a:cubicBezTo>
                  <a:cubicBezTo>
                    <a:pt x="210" y="243"/>
                    <a:pt x="206" y="243"/>
                    <a:pt x="206" y="243"/>
                  </a:cubicBezTo>
                  <a:cubicBezTo>
                    <a:pt x="204" y="243"/>
                    <a:pt x="203" y="243"/>
                    <a:pt x="202" y="243"/>
                  </a:cubicBezTo>
                  <a:cubicBezTo>
                    <a:pt x="200" y="243"/>
                    <a:pt x="197" y="242"/>
                    <a:pt x="195" y="243"/>
                  </a:cubicBezTo>
                  <a:cubicBezTo>
                    <a:pt x="193" y="244"/>
                    <a:pt x="189" y="249"/>
                    <a:pt x="189" y="251"/>
                  </a:cubicBezTo>
                  <a:cubicBezTo>
                    <a:pt x="188" y="249"/>
                    <a:pt x="185" y="251"/>
                    <a:pt x="184" y="249"/>
                  </a:cubicBezTo>
                  <a:cubicBezTo>
                    <a:pt x="183" y="247"/>
                    <a:pt x="181" y="246"/>
                    <a:pt x="178" y="246"/>
                  </a:cubicBezTo>
                  <a:cubicBezTo>
                    <a:pt x="180" y="241"/>
                    <a:pt x="189" y="240"/>
                    <a:pt x="189" y="233"/>
                  </a:cubicBezTo>
                  <a:cubicBezTo>
                    <a:pt x="189" y="228"/>
                    <a:pt x="186" y="222"/>
                    <a:pt x="182" y="220"/>
                  </a:cubicBezTo>
                  <a:cubicBezTo>
                    <a:pt x="180" y="219"/>
                    <a:pt x="179" y="217"/>
                    <a:pt x="176" y="216"/>
                  </a:cubicBezTo>
                  <a:cubicBezTo>
                    <a:pt x="174" y="215"/>
                    <a:pt x="173" y="211"/>
                    <a:pt x="171" y="211"/>
                  </a:cubicBezTo>
                  <a:cubicBezTo>
                    <a:pt x="169" y="210"/>
                    <a:pt x="167" y="212"/>
                    <a:pt x="164" y="212"/>
                  </a:cubicBezTo>
                  <a:cubicBezTo>
                    <a:pt x="163" y="211"/>
                    <a:pt x="163" y="210"/>
                    <a:pt x="162" y="211"/>
                  </a:cubicBezTo>
                  <a:cubicBezTo>
                    <a:pt x="161" y="211"/>
                    <a:pt x="160" y="212"/>
                    <a:pt x="159" y="211"/>
                  </a:cubicBezTo>
                  <a:cubicBezTo>
                    <a:pt x="162" y="209"/>
                    <a:pt x="164" y="211"/>
                    <a:pt x="167" y="210"/>
                  </a:cubicBezTo>
                  <a:cubicBezTo>
                    <a:pt x="169" y="210"/>
                    <a:pt x="172" y="209"/>
                    <a:pt x="174" y="210"/>
                  </a:cubicBezTo>
                  <a:cubicBezTo>
                    <a:pt x="176" y="212"/>
                    <a:pt x="177" y="215"/>
                    <a:pt x="179" y="214"/>
                  </a:cubicBezTo>
                  <a:cubicBezTo>
                    <a:pt x="181" y="214"/>
                    <a:pt x="186" y="214"/>
                    <a:pt x="183" y="217"/>
                  </a:cubicBezTo>
                  <a:cubicBezTo>
                    <a:pt x="186" y="215"/>
                    <a:pt x="180" y="208"/>
                    <a:pt x="178" y="206"/>
                  </a:cubicBezTo>
                  <a:cubicBezTo>
                    <a:pt x="177" y="204"/>
                    <a:pt x="175" y="201"/>
                    <a:pt x="175" y="198"/>
                  </a:cubicBezTo>
                  <a:cubicBezTo>
                    <a:pt x="175" y="196"/>
                    <a:pt x="178" y="192"/>
                    <a:pt x="178" y="193"/>
                  </a:cubicBezTo>
                  <a:cubicBezTo>
                    <a:pt x="178" y="191"/>
                    <a:pt x="175" y="192"/>
                    <a:pt x="174" y="191"/>
                  </a:cubicBezTo>
                  <a:cubicBezTo>
                    <a:pt x="173" y="190"/>
                    <a:pt x="174" y="189"/>
                    <a:pt x="173" y="189"/>
                  </a:cubicBezTo>
                  <a:cubicBezTo>
                    <a:pt x="173" y="188"/>
                    <a:pt x="172" y="188"/>
                    <a:pt x="171" y="188"/>
                  </a:cubicBezTo>
                  <a:cubicBezTo>
                    <a:pt x="169" y="186"/>
                    <a:pt x="168" y="181"/>
                    <a:pt x="166" y="179"/>
                  </a:cubicBezTo>
                  <a:cubicBezTo>
                    <a:pt x="164" y="176"/>
                    <a:pt x="159" y="174"/>
                    <a:pt x="156" y="173"/>
                  </a:cubicBezTo>
                  <a:cubicBezTo>
                    <a:pt x="154" y="173"/>
                    <a:pt x="152" y="172"/>
                    <a:pt x="150" y="172"/>
                  </a:cubicBezTo>
                  <a:cubicBezTo>
                    <a:pt x="149" y="171"/>
                    <a:pt x="149" y="172"/>
                    <a:pt x="148" y="172"/>
                  </a:cubicBezTo>
                  <a:cubicBezTo>
                    <a:pt x="148" y="172"/>
                    <a:pt x="149" y="169"/>
                    <a:pt x="148" y="168"/>
                  </a:cubicBezTo>
                  <a:cubicBezTo>
                    <a:pt x="146" y="166"/>
                    <a:pt x="145" y="165"/>
                    <a:pt x="145" y="163"/>
                  </a:cubicBezTo>
                  <a:cubicBezTo>
                    <a:pt x="143" y="158"/>
                    <a:pt x="142" y="154"/>
                    <a:pt x="140" y="149"/>
                  </a:cubicBezTo>
                  <a:cubicBezTo>
                    <a:pt x="140" y="147"/>
                    <a:pt x="139" y="144"/>
                    <a:pt x="139" y="142"/>
                  </a:cubicBezTo>
                  <a:cubicBezTo>
                    <a:pt x="139" y="140"/>
                    <a:pt x="138" y="140"/>
                    <a:pt x="139" y="138"/>
                  </a:cubicBezTo>
                  <a:cubicBezTo>
                    <a:pt x="139" y="138"/>
                    <a:pt x="139" y="137"/>
                    <a:pt x="139" y="136"/>
                  </a:cubicBezTo>
                  <a:cubicBezTo>
                    <a:pt x="139" y="133"/>
                    <a:pt x="137" y="128"/>
                    <a:pt x="134" y="129"/>
                  </a:cubicBezTo>
                  <a:cubicBezTo>
                    <a:pt x="134" y="129"/>
                    <a:pt x="131" y="126"/>
                    <a:pt x="130" y="126"/>
                  </a:cubicBezTo>
                  <a:cubicBezTo>
                    <a:pt x="129" y="123"/>
                    <a:pt x="127" y="121"/>
                    <a:pt x="126" y="119"/>
                  </a:cubicBezTo>
                  <a:cubicBezTo>
                    <a:pt x="123" y="115"/>
                    <a:pt x="116" y="113"/>
                    <a:pt x="112" y="113"/>
                  </a:cubicBezTo>
                  <a:cubicBezTo>
                    <a:pt x="113" y="110"/>
                    <a:pt x="108" y="110"/>
                    <a:pt x="107" y="110"/>
                  </a:cubicBezTo>
                  <a:cubicBezTo>
                    <a:pt x="104" y="111"/>
                    <a:pt x="103" y="113"/>
                    <a:pt x="100" y="114"/>
                  </a:cubicBezTo>
                  <a:cubicBezTo>
                    <a:pt x="97" y="116"/>
                    <a:pt x="91" y="113"/>
                    <a:pt x="88" y="113"/>
                  </a:cubicBezTo>
                  <a:cubicBezTo>
                    <a:pt x="86" y="112"/>
                    <a:pt x="83" y="112"/>
                    <a:pt x="81" y="112"/>
                  </a:cubicBezTo>
                  <a:cubicBezTo>
                    <a:pt x="79" y="112"/>
                    <a:pt x="78" y="109"/>
                    <a:pt x="76" y="108"/>
                  </a:cubicBezTo>
                  <a:cubicBezTo>
                    <a:pt x="78" y="108"/>
                    <a:pt x="78" y="109"/>
                    <a:pt x="79" y="110"/>
                  </a:cubicBezTo>
                  <a:cubicBezTo>
                    <a:pt x="81" y="111"/>
                    <a:pt x="82" y="110"/>
                    <a:pt x="84" y="111"/>
                  </a:cubicBezTo>
                  <a:cubicBezTo>
                    <a:pt x="86" y="111"/>
                    <a:pt x="87" y="112"/>
                    <a:pt x="89" y="112"/>
                  </a:cubicBezTo>
                  <a:cubicBezTo>
                    <a:pt x="90" y="112"/>
                    <a:pt x="92" y="111"/>
                    <a:pt x="94" y="110"/>
                  </a:cubicBezTo>
                  <a:cubicBezTo>
                    <a:pt x="97" y="110"/>
                    <a:pt x="98" y="106"/>
                    <a:pt x="101" y="104"/>
                  </a:cubicBezTo>
                  <a:cubicBezTo>
                    <a:pt x="104" y="103"/>
                    <a:pt x="106" y="105"/>
                    <a:pt x="109" y="104"/>
                  </a:cubicBezTo>
                  <a:cubicBezTo>
                    <a:pt x="113" y="102"/>
                    <a:pt x="113" y="99"/>
                    <a:pt x="109" y="99"/>
                  </a:cubicBezTo>
                  <a:cubicBezTo>
                    <a:pt x="107" y="98"/>
                    <a:pt x="106" y="98"/>
                    <a:pt x="106" y="96"/>
                  </a:cubicBezTo>
                  <a:cubicBezTo>
                    <a:pt x="107" y="95"/>
                    <a:pt x="106" y="94"/>
                    <a:pt x="105" y="93"/>
                  </a:cubicBezTo>
                  <a:cubicBezTo>
                    <a:pt x="103" y="93"/>
                    <a:pt x="100" y="96"/>
                    <a:pt x="98" y="97"/>
                  </a:cubicBezTo>
                  <a:cubicBezTo>
                    <a:pt x="96" y="98"/>
                    <a:pt x="93" y="99"/>
                    <a:pt x="92" y="97"/>
                  </a:cubicBezTo>
                  <a:cubicBezTo>
                    <a:pt x="95" y="98"/>
                    <a:pt x="97" y="94"/>
                    <a:pt x="100" y="94"/>
                  </a:cubicBezTo>
                  <a:cubicBezTo>
                    <a:pt x="102" y="93"/>
                    <a:pt x="106" y="92"/>
                    <a:pt x="108" y="93"/>
                  </a:cubicBezTo>
                  <a:cubicBezTo>
                    <a:pt x="109" y="93"/>
                    <a:pt x="114" y="89"/>
                    <a:pt x="115" y="88"/>
                  </a:cubicBezTo>
                  <a:cubicBezTo>
                    <a:pt x="116" y="87"/>
                    <a:pt x="119" y="83"/>
                    <a:pt x="116" y="83"/>
                  </a:cubicBezTo>
                  <a:cubicBezTo>
                    <a:pt x="116" y="83"/>
                    <a:pt x="118" y="83"/>
                    <a:pt x="117" y="83"/>
                  </a:cubicBezTo>
                  <a:cubicBezTo>
                    <a:pt x="118" y="82"/>
                    <a:pt x="119" y="81"/>
                    <a:pt x="120" y="80"/>
                  </a:cubicBezTo>
                  <a:cubicBezTo>
                    <a:pt x="121" y="79"/>
                    <a:pt x="122" y="78"/>
                    <a:pt x="123" y="77"/>
                  </a:cubicBezTo>
                  <a:cubicBezTo>
                    <a:pt x="125" y="75"/>
                    <a:pt x="125" y="74"/>
                    <a:pt x="126" y="71"/>
                  </a:cubicBezTo>
                  <a:cubicBezTo>
                    <a:pt x="127" y="69"/>
                    <a:pt x="129" y="68"/>
                    <a:pt x="130" y="66"/>
                  </a:cubicBezTo>
                  <a:cubicBezTo>
                    <a:pt x="131" y="64"/>
                    <a:pt x="130" y="62"/>
                    <a:pt x="131" y="59"/>
                  </a:cubicBezTo>
                  <a:cubicBezTo>
                    <a:pt x="133" y="57"/>
                    <a:pt x="140" y="52"/>
                    <a:pt x="139" y="48"/>
                  </a:cubicBezTo>
                  <a:cubicBezTo>
                    <a:pt x="137" y="45"/>
                    <a:pt x="137" y="42"/>
                    <a:pt x="133" y="41"/>
                  </a:cubicBezTo>
                  <a:cubicBezTo>
                    <a:pt x="131" y="41"/>
                    <a:pt x="129" y="43"/>
                    <a:pt x="127" y="42"/>
                  </a:cubicBezTo>
                  <a:cubicBezTo>
                    <a:pt x="125" y="41"/>
                    <a:pt x="123" y="42"/>
                    <a:pt x="121" y="42"/>
                  </a:cubicBezTo>
                  <a:cubicBezTo>
                    <a:pt x="118" y="42"/>
                    <a:pt x="115" y="41"/>
                    <a:pt x="112" y="41"/>
                  </a:cubicBezTo>
                  <a:cubicBezTo>
                    <a:pt x="111" y="41"/>
                    <a:pt x="109" y="41"/>
                    <a:pt x="107" y="41"/>
                  </a:cubicBezTo>
                  <a:cubicBezTo>
                    <a:pt x="105" y="42"/>
                    <a:pt x="103" y="42"/>
                    <a:pt x="101" y="41"/>
                  </a:cubicBezTo>
                  <a:cubicBezTo>
                    <a:pt x="99" y="41"/>
                    <a:pt x="98" y="40"/>
                    <a:pt x="96" y="40"/>
                  </a:cubicBezTo>
                  <a:cubicBezTo>
                    <a:pt x="94" y="40"/>
                    <a:pt x="92" y="40"/>
                    <a:pt x="91" y="41"/>
                  </a:cubicBezTo>
                  <a:cubicBezTo>
                    <a:pt x="90" y="42"/>
                    <a:pt x="88" y="42"/>
                    <a:pt x="88" y="43"/>
                  </a:cubicBezTo>
                  <a:cubicBezTo>
                    <a:pt x="85" y="44"/>
                    <a:pt x="90" y="42"/>
                    <a:pt x="86" y="43"/>
                  </a:cubicBezTo>
                  <a:cubicBezTo>
                    <a:pt x="85" y="43"/>
                    <a:pt x="84" y="44"/>
                    <a:pt x="83" y="44"/>
                  </a:cubicBezTo>
                  <a:cubicBezTo>
                    <a:pt x="80" y="46"/>
                    <a:pt x="77" y="45"/>
                    <a:pt x="74" y="46"/>
                  </a:cubicBezTo>
                  <a:cubicBezTo>
                    <a:pt x="77" y="46"/>
                    <a:pt x="73" y="48"/>
                    <a:pt x="72" y="49"/>
                  </a:cubicBezTo>
                  <a:cubicBezTo>
                    <a:pt x="69" y="51"/>
                    <a:pt x="71" y="48"/>
                    <a:pt x="69" y="47"/>
                  </a:cubicBezTo>
                  <a:cubicBezTo>
                    <a:pt x="71" y="47"/>
                    <a:pt x="72" y="46"/>
                    <a:pt x="73" y="46"/>
                  </a:cubicBezTo>
                  <a:cubicBezTo>
                    <a:pt x="74" y="46"/>
                    <a:pt x="73" y="46"/>
                    <a:pt x="74" y="45"/>
                  </a:cubicBezTo>
                  <a:cubicBezTo>
                    <a:pt x="74" y="45"/>
                    <a:pt x="77" y="42"/>
                    <a:pt x="77" y="42"/>
                  </a:cubicBezTo>
                  <a:cubicBezTo>
                    <a:pt x="76" y="41"/>
                    <a:pt x="74" y="42"/>
                    <a:pt x="74" y="42"/>
                  </a:cubicBezTo>
                  <a:cubicBezTo>
                    <a:pt x="72" y="42"/>
                    <a:pt x="71" y="42"/>
                    <a:pt x="70" y="43"/>
                  </a:cubicBezTo>
                  <a:cubicBezTo>
                    <a:pt x="68" y="44"/>
                    <a:pt x="67" y="45"/>
                    <a:pt x="65" y="46"/>
                  </a:cubicBezTo>
                  <a:cubicBezTo>
                    <a:pt x="63" y="43"/>
                    <a:pt x="77" y="39"/>
                    <a:pt x="77" y="40"/>
                  </a:cubicBezTo>
                  <a:cubicBezTo>
                    <a:pt x="77" y="43"/>
                    <a:pt x="84" y="36"/>
                    <a:pt x="84" y="34"/>
                  </a:cubicBezTo>
                  <a:cubicBezTo>
                    <a:pt x="84" y="33"/>
                    <a:pt x="81" y="36"/>
                    <a:pt x="81" y="36"/>
                  </a:cubicBezTo>
                  <a:cubicBezTo>
                    <a:pt x="79" y="36"/>
                    <a:pt x="79" y="35"/>
                    <a:pt x="77" y="35"/>
                  </a:cubicBezTo>
                  <a:cubicBezTo>
                    <a:pt x="75" y="36"/>
                    <a:pt x="68" y="34"/>
                    <a:pt x="67" y="32"/>
                  </a:cubicBezTo>
                  <a:cubicBezTo>
                    <a:pt x="69" y="33"/>
                    <a:pt x="68" y="34"/>
                    <a:pt x="70" y="34"/>
                  </a:cubicBezTo>
                  <a:cubicBezTo>
                    <a:pt x="72" y="33"/>
                    <a:pt x="73" y="34"/>
                    <a:pt x="75" y="34"/>
                  </a:cubicBezTo>
                  <a:cubicBezTo>
                    <a:pt x="76" y="34"/>
                    <a:pt x="78" y="34"/>
                    <a:pt x="78" y="32"/>
                  </a:cubicBezTo>
                  <a:cubicBezTo>
                    <a:pt x="78" y="31"/>
                    <a:pt x="76" y="31"/>
                    <a:pt x="76" y="31"/>
                  </a:cubicBezTo>
                  <a:cubicBezTo>
                    <a:pt x="76" y="31"/>
                    <a:pt x="79" y="30"/>
                    <a:pt x="80" y="29"/>
                  </a:cubicBezTo>
                  <a:cubicBezTo>
                    <a:pt x="83" y="28"/>
                    <a:pt x="86" y="26"/>
                    <a:pt x="88" y="24"/>
                  </a:cubicBezTo>
                  <a:cubicBezTo>
                    <a:pt x="91" y="22"/>
                    <a:pt x="93" y="20"/>
                    <a:pt x="96" y="18"/>
                  </a:cubicBezTo>
                  <a:cubicBezTo>
                    <a:pt x="98" y="16"/>
                    <a:pt x="101" y="15"/>
                    <a:pt x="103" y="13"/>
                  </a:cubicBezTo>
                  <a:cubicBezTo>
                    <a:pt x="105" y="12"/>
                    <a:pt x="107" y="9"/>
                    <a:pt x="105" y="8"/>
                  </a:cubicBezTo>
                  <a:cubicBezTo>
                    <a:pt x="103" y="7"/>
                    <a:pt x="107" y="3"/>
                    <a:pt x="108" y="2"/>
                  </a:cubicBezTo>
                  <a:cubicBezTo>
                    <a:pt x="108" y="0"/>
                    <a:pt x="102" y="1"/>
                    <a:pt x="101" y="1"/>
                  </a:cubicBezTo>
                  <a:cubicBezTo>
                    <a:pt x="101" y="1"/>
                    <a:pt x="97" y="0"/>
                    <a:pt x="97" y="1"/>
                  </a:cubicBezTo>
                  <a:cubicBezTo>
                    <a:pt x="97" y="1"/>
                    <a:pt x="99" y="2"/>
                    <a:pt x="98" y="3"/>
                  </a:cubicBezTo>
                  <a:cubicBezTo>
                    <a:pt x="98" y="4"/>
                    <a:pt x="95" y="3"/>
                    <a:pt x="94" y="3"/>
                  </a:cubicBezTo>
                  <a:cubicBezTo>
                    <a:pt x="92" y="2"/>
                    <a:pt x="90" y="2"/>
                    <a:pt x="88" y="3"/>
                  </a:cubicBezTo>
                  <a:cubicBezTo>
                    <a:pt x="87" y="4"/>
                    <a:pt x="80" y="6"/>
                    <a:pt x="80" y="3"/>
                  </a:cubicBezTo>
                  <a:cubicBezTo>
                    <a:pt x="78" y="5"/>
                    <a:pt x="75" y="6"/>
                    <a:pt x="72" y="6"/>
                  </a:cubicBezTo>
                  <a:cubicBezTo>
                    <a:pt x="71" y="6"/>
                    <a:pt x="70" y="6"/>
                    <a:pt x="69" y="7"/>
                  </a:cubicBezTo>
                  <a:cubicBezTo>
                    <a:pt x="68" y="8"/>
                    <a:pt x="67" y="9"/>
                    <a:pt x="66" y="9"/>
                  </a:cubicBezTo>
                  <a:cubicBezTo>
                    <a:pt x="67" y="7"/>
                    <a:pt x="69" y="4"/>
                    <a:pt x="65" y="4"/>
                  </a:cubicBezTo>
                  <a:cubicBezTo>
                    <a:pt x="63" y="4"/>
                    <a:pt x="61" y="8"/>
                    <a:pt x="58" y="9"/>
                  </a:cubicBezTo>
                  <a:cubicBezTo>
                    <a:pt x="59" y="8"/>
                    <a:pt x="60" y="7"/>
                    <a:pt x="61" y="6"/>
                  </a:cubicBezTo>
                  <a:cubicBezTo>
                    <a:pt x="62" y="5"/>
                    <a:pt x="59" y="4"/>
                    <a:pt x="59" y="3"/>
                  </a:cubicBezTo>
                  <a:cubicBezTo>
                    <a:pt x="58" y="4"/>
                    <a:pt x="58" y="6"/>
                    <a:pt x="57" y="6"/>
                  </a:cubicBezTo>
                  <a:cubicBezTo>
                    <a:pt x="59" y="3"/>
                    <a:pt x="54" y="1"/>
                    <a:pt x="52" y="3"/>
                  </a:cubicBezTo>
                  <a:cubicBezTo>
                    <a:pt x="51" y="4"/>
                    <a:pt x="51" y="5"/>
                    <a:pt x="49" y="7"/>
                  </a:cubicBezTo>
                  <a:cubicBezTo>
                    <a:pt x="48" y="8"/>
                    <a:pt x="51" y="9"/>
                    <a:pt x="52" y="10"/>
                  </a:cubicBezTo>
                  <a:cubicBezTo>
                    <a:pt x="51" y="9"/>
                    <a:pt x="49" y="9"/>
                    <a:pt x="49" y="10"/>
                  </a:cubicBezTo>
                  <a:cubicBezTo>
                    <a:pt x="49" y="11"/>
                    <a:pt x="51" y="12"/>
                    <a:pt x="51" y="12"/>
                  </a:cubicBezTo>
                  <a:cubicBezTo>
                    <a:pt x="49" y="12"/>
                    <a:pt x="46" y="10"/>
                    <a:pt x="47" y="14"/>
                  </a:cubicBezTo>
                  <a:cubicBezTo>
                    <a:pt x="48" y="18"/>
                    <a:pt x="51" y="17"/>
                    <a:pt x="53" y="17"/>
                  </a:cubicBezTo>
                  <a:cubicBezTo>
                    <a:pt x="52" y="17"/>
                    <a:pt x="52" y="18"/>
                    <a:pt x="52" y="18"/>
                  </a:cubicBezTo>
                  <a:cubicBezTo>
                    <a:pt x="52" y="18"/>
                    <a:pt x="52" y="18"/>
                    <a:pt x="53" y="19"/>
                  </a:cubicBezTo>
                  <a:cubicBezTo>
                    <a:pt x="51" y="18"/>
                    <a:pt x="50" y="18"/>
                    <a:pt x="49" y="17"/>
                  </a:cubicBezTo>
                  <a:cubicBezTo>
                    <a:pt x="47" y="16"/>
                    <a:pt x="45" y="18"/>
                    <a:pt x="43" y="18"/>
                  </a:cubicBezTo>
                  <a:cubicBezTo>
                    <a:pt x="42" y="18"/>
                    <a:pt x="40" y="16"/>
                    <a:pt x="41" y="19"/>
                  </a:cubicBezTo>
                  <a:cubicBezTo>
                    <a:pt x="41" y="20"/>
                    <a:pt x="42" y="22"/>
                    <a:pt x="44" y="22"/>
                  </a:cubicBezTo>
                  <a:cubicBezTo>
                    <a:pt x="42" y="23"/>
                    <a:pt x="43" y="26"/>
                    <a:pt x="41" y="25"/>
                  </a:cubicBezTo>
                  <a:cubicBezTo>
                    <a:pt x="40" y="25"/>
                    <a:pt x="40" y="25"/>
                    <a:pt x="39" y="24"/>
                  </a:cubicBezTo>
                  <a:cubicBezTo>
                    <a:pt x="38" y="24"/>
                    <a:pt x="37" y="25"/>
                    <a:pt x="38" y="25"/>
                  </a:cubicBezTo>
                  <a:cubicBezTo>
                    <a:pt x="38" y="27"/>
                    <a:pt x="46" y="30"/>
                    <a:pt x="44" y="31"/>
                  </a:cubicBezTo>
                  <a:cubicBezTo>
                    <a:pt x="45" y="33"/>
                    <a:pt x="47" y="33"/>
                    <a:pt x="47" y="35"/>
                  </a:cubicBezTo>
                  <a:cubicBezTo>
                    <a:pt x="45" y="33"/>
                    <a:pt x="42" y="32"/>
                    <a:pt x="39" y="31"/>
                  </a:cubicBezTo>
                  <a:cubicBezTo>
                    <a:pt x="37" y="30"/>
                    <a:pt x="40" y="32"/>
                    <a:pt x="40" y="32"/>
                  </a:cubicBezTo>
                  <a:cubicBezTo>
                    <a:pt x="41" y="33"/>
                    <a:pt x="43" y="33"/>
                    <a:pt x="43" y="35"/>
                  </a:cubicBezTo>
                  <a:cubicBezTo>
                    <a:pt x="42" y="34"/>
                    <a:pt x="39" y="31"/>
                    <a:pt x="37" y="33"/>
                  </a:cubicBezTo>
                  <a:cubicBezTo>
                    <a:pt x="36" y="34"/>
                    <a:pt x="35" y="35"/>
                    <a:pt x="34" y="32"/>
                  </a:cubicBezTo>
                  <a:cubicBezTo>
                    <a:pt x="32" y="30"/>
                    <a:pt x="30" y="33"/>
                    <a:pt x="32" y="35"/>
                  </a:cubicBezTo>
                  <a:cubicBezTo>
                    <a:pt x="34" y="36"/>
                    <a:pt x="32" y="37"/>
                    <a:pt x="32" y="38"/>
                  </a:cubicBezTo>
                  <a:cubicBezTo>
                    <a:pt x="30" y="38"/>
                    <a:pt x="30" y="31"/>
                    <a:pt x="27" y="34"/>
                  </a:cubicBezTo>
                  <a:cubicBezTo>
                    <a:pt x="24" y="38"/>
                    <a:pt x="30" y="40"/>
                    <a:pt x="30" y="41"/>
                  </a:cubicBezTo>
                  <a:cubicBezTo>
                    <a:pt x="29" y="42"/>
                    <a:pt x="27" y="40"/>
                    <a:pt x="26" y="42"/>
                  </a:cubicBezTo>
                  <a:cubicBezTo>
                    <a:pt x="26" y="43"/>
                    <a:pt x="27" y="44"/>
                    <a:pt x="27" y="45"/>
                  </a:cubicBezTo>
                  <a:cubicBezTo>
                    <a:pt x="28" y="45"/>
                    <a:pt x="29" y="47"/>
                    <a:pt x="30" y="47"/>
                  </a:cubicBezTo>
                  <a:cubicBezTo>
                    <a:pt x="31" y="47"/>
                    <a:pt x="33" y="46"/>
                    <a:pt x="34" y="47"/>
                  </a:cubicBezTo>
                  <a:cubicBezTo>
                    <a:pt x="34" y="48"/>
                    <a:pt x="31" y="48"/>
                    <a:pt x="31" y="48"/>
                  </a:cubicBezTo>
                  <a:cubicBezTo>
                    <a:pt x="29" y="48"/>
                    <a:pt x="28" y="47"/>
                    <a:pt x="27" y="47"/>
                  </a:cubicBezTo>
                  <a:cubicBezTo>
                    <a:pt x="24" y="45"/>
                    <a:pt x="23" y="51"/>
                    <a:pt x="25" y="52"/>
                  </a:cubicBezTo>
                  <a:cubicBezTo>
                    <a:pt x="24" y="54"/>
                    <a:pt x="25" y="56"/>
                    <a:pt x="27" y="55"/>
                  </a:cubicBezTo>
                  <a:cubicBezTo>
                    <a:pt x="27" y="55"/>
                    <a:pt x="31" y="53"/>
                    <a:pt x="30" y="54"/>
                  </a:cubicBezTo>
                  <a:cubicBezTo>
                    <a:pt x="29" y="54"/>
                    <a:pt x="30" y="55"/>
                    <a:pt x="31" y="55"/>
                  </a:cubicBezTo>
                  <a:cubicBezTo>
                    <a:pt x="32" y="55"/>
                    <a:pt x="32" y="55"/>
                    <a:pt x="33" y="54"/>
                  </a:cubicBezTo>
                  <a:cubicBezTo>
                    <a:pt x="33" y="54"/>
                    <a:pt x="34" y="52"/>
                    <a:pt x="35" y="53"/>
                  </a:cubicBezTo>
                  <a:cubicBezTo>
                    <a:pt x="36" y="53"/>
                    <a:pt x="32" y="55"/>
                    <a:pt x="32" y="55"/>
                  </a:cubicBezTo>
                  <a:cubicBezTo>
                    <a:pt x="31" y="56"/>
                    <a:pt x="29" y="55"/>
                    <a:pt x="28" y="56"/>
                  </a:cubicBezTo>
                  <a:cubicBezTo>
                    <a:pt x="24" y="59"/>
                    <a:pt x="35" y="57"/>
                    <a:pt x="35" y="57"/>
                  </a:cubicBezTo>
                  <a:cubicBezTo>
                    <a:pt x="32" y="58"/>
                    <a:pt x="33" y="60"/>
                    <a:pt x="36" y="60"/>
                  </a:cubicBezTo>
                  <a:cubicBezTo>
                    <a:pt x="34" y="62"/>
                    <a:pt x="33" y="58"/>
                    <a:pt x="31" y="59"/>
                  </a:cubicBezTo>
                  <a:cubicBezTo>
                    <a:pt x="29" y="59"/>
                    <a:pt x="30" y="62"/>
                    <a:pt x="28" y="63"/>
                  </a:cubicBezTo>
                  <a:cubicBezTo>
                    <a:pt x="25" y="65"/>
                    <a:pt x="35" y="65"/>
                    <a:pt x="35" y="66"/>
                  </a:cubicBezTo>
                  <a:cubicBezTo>
                    <a:pt x="33" y="66"/>
                    <a:pt x="31" y="66"/>
                    <a:pt x="29" y="65"/>
                  </a:cubicBezTo>
                  <a:cubicBezTo>
                    <a:pt x="28" y="65"/>
                    <a:pt x="23" y="66"/>
                    <a:pt x="24" y="68"/>
                  </a:cubicBezTo>
                  <a:cubicBezTo>
                    <a:pt x="25" y="70"/>
                    <a:pt x="26" y="68"/>
                    <a:pt x="27" y="69"/>
                  </a:cubicBezTo>
                  <a:cubicBezTo>
                    <a:pt x="27" y="69"/>
                    <a:pt x="27" y="69"/>
                    <a:pt x="27" y="70"/>
                  </a:cubicBezTo>
                  <a:cubicBezTo>
                    <a:pt x="28" y="71"/>
                    <a:pt x="30" y="71"/>
                    <a:pt x="31" y="70"/>
                  </a:cubicBezTo>
                  <a:cubicBezTo>
                    <a:pt x="28" y="73"/>
                    <a:pt x="26" y="68"/>
                    <a:pt x="23" y="70"/>
                  </a:cubicBezTo>
                  <a:cubicBezTo>
                    <a:pt x="22" y="71"/>
                    <a:pt x="22" y="75"/>
                    <a:pt x="20" y="75"/>
                  </a:cubicBezTo>
                  <a:cubicBezTo>
                    <a:pt x="21" y="76"/>
                    <a:pt x="23" y="75"/>
                    <a:pt x="25" y="75"/>
                  </a:cubicBezTo>
                  <a:cubicBezTo>
                    <a:pt x="24" y="75"/>
                    <a:pt x="24" y="76"/>
                    <a:pt x="24" y="76"/>
                  </a:cubicBezTo>
                  <a:cubicBezTo>
                    <a:pt x="25" y="77"/>
                    <a:pt x="26" y="75"/>
                    <a:pt x="27" y="76"/>
                  </a:cubicBezTo>
                  <a:cubicBezTo>
                    <a:pt x="25" y="77"/>
                    <a:pt x="24" y="76"/>
                    <a:pt x="22" y="77"/>
                  </a:cubicBezTo>
                  <a:cubicBezTo>
                    <a:pt x="20" y="79"/>
                    <a:pt x="23" y="78"/>
                    <a:pt x="22" y="79"/>
                  </a:cubicBezTo>
                  <a:cubicBezTo>
                    <a:pt x="22" y="80"/>
                    <a:pt x="21" y="80"/>
                    <a:pt x="20" y="80"/>
                  </a:cubicBezTo>
                  <a:cubicBezTo>
                    <a:pt x="21" y="80"/>
                    <a:pt x="21" y="80"/>
                    <a:pt x="21" y="81"/>
                  </a:cubicBezTo>
                  <a:cubicBezTo>
                    <a:pt x="20" y="81"/>
                    <a:pt x="19" y="80"/>
                    <a:pt x="18" y="80"/>
                  </a:cubicBezTo>
                  <a:cubicBezTo>
                    <a:pt x="17" y="80"/>
                    <a:pt x="15" y="80"/>
                    <a:pt x="14" y="81"/>
                  </a:cubicBezTo>
                  <a:cubicBezTo>
                    <a:pt x="14" y="81"/>
                    <a:pt x="8" y="83"/>
                    <a:pt x="11" y="84"/>
                  </a:cubicBezTo>
                  <a:cubicBezTo>
                    <a:pt x="14" y="84"/>
                    <a:pt x="18" y="84"/>
                    <a:pt x="20" y="84"/>
                  </a:cubicBezTo>
                  <a:cubicBezTo>
                    <a:pt x="21" y="84"/>
                    <a:pt x="21" y="84"/>
                    <a:pt x="22" y="84"/>
                  </a:cubicBezTo>
                  <a:cubicBezTo>
                    <a:pt x="21" y="84"/>
                    <a:pt x="20" y="85"/>
                    <a:pt x="21" y="86"/>
                  </a:cubicBezTo>
                  <a:cubicBezTo>
                    <a:pt x="12" y="83"/>
                    <a:pt x="20" y="93"/>
                    <a:pt x="23" y="89"/>
                  </a:cubicBezTo>
                  <a:cubicBezTo>
                    <a:pt x="22" y="91"/>
                    <a:pt x="25" y="91"/>
                    <a:pt x="26" y="91"/>
                  </a:cubicBezTo>
                  <a:cubicBezTo>
                    <a:pt x="28" y="90"/>
                    <a:pt x="30" y="88"/>
                    <a:pt x="32" y="87"/>
                  </a:cubicBezTo>
                  <a:cubicBezTo>
                    <a:pt x="33" y="85"/>
                    <a:pt x="35" y="84"/>
                    <a:pt x="37" y="83"/>
                  </a:cubicBezTo>
                  <a:cubicBezTo>
                    <a:pt x="39" y="81"/>
                    <a:pt x="40" y="79"/>
                    <a:pt x="42" y="78"/>
                  </a:cubicBezTo>
                  <a:cubicBezTo>
                    <a:pt x="42" y="79"/>
                    <a:pt x="38" y="81"/>
                    <a:pt x="39" y="83"/>
                  </a:cubicBezTo>
                  <a:cubicBezTo>
                    <a:pt x="39" y="83"/>
                    <a:pt x="40" y="83"/>
                    <a:pt x="41" y="83"/>
                  </a:cubicBezTo>
                  <a:cubicBezTo>
                    <a:pt x="38" y="84"/>
                    <a:pt x="36" y="85"/>
                    <a:pt x="36" y="85"/>
                  </a:cubicBezTo>
                  <a:cubicBezTo>
                    <a:pt x="36" y="86"/>
                    <a:pt x="32" y="88"/>
                    <a:pt x="33" y="89"/>
                  </a:cubicBezTo>
                  <a:cubicBezTo>
                    <a:pt x="33" y="91"/>
                    <a:pt x="37" y="89"/>
                    <a:pt x="37" y="89"/>
                  </a:cubicBezTo>
                  <a:cubicBezTo>
                    <a:pt x="36" y="90"/>
                    <a:pt x="35" y="91"/>
                    <a:pt x="34" y="91"/>
                  </a:cubicBezTo>
                  <a:cubicBezTo>
                    <a:pt x="32" y="90"/>
                    <a:pt x="31" y="93"/>
                    <a:pt x="31" y="93"/>
                  </a:cubicBezTo>
                  <a:cubicBezTo>
                    <a:pt x="32" y="93"/>
                    <a:pt x="32" y="92"/>
                    <a:pt x="32" y="92"/>
                  </a:cubicBezTo>
                  <a:cubicBezTo>
                    <a:pt x="33" y="92"/>
                    <a:pt x="33" y="93"/>
                    <a:pt x="34" y="93"/>
                  </a:cubicBezTo>
                  <a:cubicBezTo>
                    <a:pt x="35" y="93"/>
                    <a:pt x="36" y="93"/>
                    <a:pt x="37" y="93"/>
                  </a:cubicBezTo>
                  <a:cubicBezTo>
                    <a:pt x="40" y="93"/>
                    <a:pt x="40" y="90"/>
                    <a:pt x="43" y="89"/>
                  </a:cubicBezTo>
                  <a:cubicBezTo>
                    <a:pt x="40" y="93"/>
                    <a:pt x="39" y="94"/>
                    <a:pt x="35" y="94"/>
                  </a:cubicBezTo>
                  <a:cubicBezTo>
                    <a:pt x="34" y="94"/>
                    <a:pt x="28" y="96"/>
                    <a:pt x="29" y="97"/>
                  </a:cubicBezTo>
                  <a:cubicBezTo>
                    <a:pt x="29" y="98"/>
                    <a:pt x="31" y="97"/>
                    <a:pt x="31" y="97"/>
                  </a:cubicBezTo>
                  <a:cubicBezTo>
                    <a:pt x="29" y="99"/>
                    <a:pt x="27" y="98"/>
                    <a:pt x="27" y="101"/>
                  </a:cubicBezTo>
                  <a:cubicBezTo>
                    <a:pt x="27" y="103"/>
                    <a:pt x="28" y="101"/>
                    <a:pt x="29" y="101"/>
                  </a:cubicBezTo>
                  <a:cubicBezTo>
                    <a:pt x="30" y="101"/>
                    <a:pt x="28" y="103"/>
                    <a:pt x="28" y="103"/>
                  </a:cubicBezTo>
                  <a:cubicBezTo>
                    <a:pt x="27" y="104"/>
                    <a:pt x="26" y="106"/>
                    <a:pt x="26" y="107"/>
                  </a:cubicBezTo>
                  <a:cubicBezTo>
                    <a:pt x="26" y="107"/>
                    <a:pt x="28" y="104"/>
                    <a:pt x="28" y="105"/>
                  </a:cubicBezTo>
                  <a:cubicBezTo>
                    <a:pt x="28" y="104"/>
                    <a:pt x="27" y="110"/>
                    <a:pt x="28" y="109"/>
                  </a:cubicBezTo>
                  <a:cubicBezTo>
                    <a:pt x="28" y="108"/>
                    <a:pt x="20" y="114"/>
                    <a:pt x="22" y="115"/>
                  </a:cubicBezTo>
                  <a:cubicBezTo>
                    <a:pt x="23" y="115"/>
                    <a:pt x="25" y="111"/>
                    <a:pt x="26" y="111"/>
                  </a:cubicBezTo>
                  <a:cubicBezTo>
                    <a:pt x="25" y="113"/>
                    <a:pt x="23" y="114"/>
                    <a:pt x="22" y="117"/>
                  </a:cubicBezTo>
                  <a:cubicBezTo>
                    <a:pt x="22" y="118"/>
                    <a:pt x="25" y="116"/>
                    <a:pt x="26" y="116"/>
                  </a:cubicBezTo>
                  <a:cubicBezTo>
                    <a:pt x="25" y="117"/>
                    <a:pt x="22" y="119"/>
                    <a:pt x="23" y="121"/>
                  </a:cubicBezTo>
                  <a:cubicBezTo>
                    <a:pt x="25" y="124"/>
                    <a:pt x="27" y="120"/>
                    <a:pt x="29" y="120"/>
                  </a:cubicBezTo>
                  <a:cubicBezTo>
                    <a:pt x="27" y="123"/>
                    <a:pt x="23" y="124"/>
                    <a:pt x="22" y="128"/>
                  </a:cubicBezTo>
                  <a:cubicBezTo>
                    <a:pt x="20" y="132"/>
                    <a:pt x="19" y="135"/>
                    <a:pt x="18" y="139"/>
                  </a:cubicBezTo>
                  <a:cubicBezTo>
                    <a:pt x="15" y="143"/>
                    <a:pt x="20" y="142"/>
                    <a:pt x="22" y="142"/>
                  </a:cubicBezTo>
                  <a:cubicBezTo>
                    <a:pt x="24" y="142"/>
                    <a:pt x="27" y="138"/>
                    <a:pt x="24" y="137"/>
                  </a:cubicBezTo>
                  <a:cubicBezTo>
                    <a:pt x="25" y="137"/>
                    <a:pt x="27" y="133"/>
                    <a:pt x="27" y="131"/>
                  </a:cubicBezTo>
                  <a:cubicBezTo>
                    <a:pt x="28" y="129"/>
                    <a:pt x="27" y="128"/>
                    <a:pt x="28" y="126"/>
                  </a:cubicBezTo>
                  <a:cubicBezTo>
                    <a:pt x="29" y="125"/>
                    <a:pt x="32" y="124"/>
                    <a:pt x="32" y="122"/>
                  </a:cubicBezTo>
                  <a:cubicBezTo>
                    <a:pt x="33" y="120"/>
                    <a:pt x="30" y="118"/>
                    <a:pt x="30" y="116"/>
                  </a:cubicBezTo>
                  <a:cubicBezTo>
                    <a:pt x="30" y="115"/>
                    <a:pt x="30" y="111"/>
                    <a:pt x="30" y="112"/>
                  </a:cubicBezTo>
                  <a:cubicBezTo>
                    <a:pt x="31" y="114"/>
                    <a:pt x="34" y="110"/>
                    <a:pt x="34" y="109"/>
                  </a:cubicBezTo>
                  <a:cubicBezTo>
                    <a:pt x="36" y="107"/>
                    <a:pt x="39" y="107"/>
                    <a:pt x="41" y="105"/>
                  </a:cubicBezTo>
                  <a:cubicBezTo>
                    <a:pt x="42" y="102"/>
                    <a:pt x="44" y="102"/>
                    <a:pt x="46" y="101"/>
                  </a:cubicBezTo>
                  <a:cubicBezTo>
                    <a:pt x="45" y="102"/>
                    <a:pt x="44" y="103"/>
                    <a:pt x="43" y="103"/>
                  </a:cubicBezTo>
                  <a:cubicBezTo>
                    <a:pt x="42" y="104"/>
                    <a:pt x="41" y="105"/>
                    <a:pt x="40" y="106"/>
                  </a:cubicBezTo>
                  <a:cubicBezTo>
                    <a:pt x="39" y="108"/>
                    <a:pt x="37" y="108"/>
                    <a:pt x="35" y="110"/>
                  </a:cubicBezTo>
                  <a:cubicBezTo>
                    <a:pt x="34" y="112"/>
                    <a:pt x="32" y="114"/>
                    <a:pt x="33" y="116"/>
                  </a:cubicBezTo>
                  <a:cubicBezTo>
                    <a:pt x="33" y="117"/>
                    <a:pt x="34" y="121"/>
                    <a:pt x="35" y="120"/>
                  </a:cubicBezTo>
                  <a:cubicBezTo>
                    <a:pt x="35" y="120"/>
                    <a:pt x="37" y="114"/>
                    <a:pt x="37" y="114"/>
                  </a:cubicBezTo>
                  <a:cubicBezTo>
                    <a:pt x="37" y="115"/>
                    <a:pt x="40" y="118"/>
                    <a:pt x="40" y="116"/>
                  </a:cubicBezTo>
                  <a:cubicBezTo>
                    <a:pt x="40" y="116"/>
                    <a:pt x="39" y="113"/>
                    <a:pt x="39" y="113"/>
                  </a:cubicBezTo>
                  <a:cubicBezTo>
                    <a:pt x="40" y="113"/>
                    <a:pt x="40" y="117"/>
                    <a:pt x="42" y="118"/>
                  </a:cubicBezTo>
                  <a:cubicBezTo>
                    <a:pt x="43" y="119"/>
                    <a:pt x="46" y="114"/>
                    <a:pt x="44" y="113"/>
                  </a:cubicBezTo>
                  <a:cubicBezTo>
                    <a:pt x="47" y="115"/>
                    <a:pt x="45" y="106"/>
                    <a:pt x="46" y="105"/>
                  </a:cubicBezTo>
                  <a:cubicBezTo>
                    <a:pt x="46" y="105"/>
                    <a:pt x="47" y="108"/>
                    <a:pt x="47" y="108"/>
                  </a:cubicBezTo>
                  <a:cubicBezTo>
                    <a:pt x="48" y="107"/>
                    <a:pt x="49" y="105"/>
                    <a:pt x="50" y="104"/>
                  </a:cubicBezTo>
                  <a:cubicBezTo>
                    <a:pt x="49" y="107"/>
                    <a:pt x="45" y="109"/>
                    <a:pt x="47" y="113"/>
                  </a:cubicBezTo>
                  <a:cubicBezTo>
                    <a:pt x="48" y="115"/>
                    <a:pt x="50" y="114"/>
                    <a:pt x="48" y="112"/>
                  </a:cubicBezTo>
                  <a:cubicBezTo>
                    <a:pt x="48" y="112"/>
                    <a:pt x="47" y="109"/>
                    <a:pt x="48" y="109"/>
                  </a:cubicBezTo>
                  <a:cubicBezTo>
                    <a:pt x="47" y="109"/>
                    <a:pt x="50" y="113"/>
                    <a:pt x="50" y="113"/>
                  </a:cubicBezTo>
                  <a:cubicBezTo>
                    <a:pt x="52" y="115"/>
                    <a:pt x="55" y="115"/>
                    <a:pt x="57" y="116"/>
                  </a:cubicBezTo>
                  <a:cubicBezTo>
                    <a:pt x="54" y="117"/>
                    <a:pt x="46" y="112"/>
                    <a:pt x="45" y="118"/>
                  </a:cubicBezTo>
                  <a:cubicBezTo>
                    <a:pt x="45" y="120"/>
                    <a:pt x="46" y="122"/>
                    <a:pt x="45" y="124"/>
                  </a:cubicBezTo>
                  <a:cubicBezTo>
                    <a:pt x="44" y="125"/>
                    <a:pt x="44" y="126"/>
                    <a:pt x="45" y="127"/>
                  </a:cubicBezTo>
                  <a:cubicBezTo>
                    <a:pt x="46" y="127"/>
                    <a:pt x="52" y="130"/>
                    <a:pt x="50" y="132"/>
                  </a:cubicBezTo>
                  <a:cubicBezTo>
                    <a:pt x="55" y="134"/>
                    <a:pt x="48" y="138"/>
                    <a:pt x="47" y="139"/>
                  </a:cubicBezTo>
                  <a:cubicBezTo>
                    <a:pt x="45" y="142"/>
                    <a:pt x="44" y="146"/>
                    <a:pt x="41" y="148"/>
                  </a:cubicBezTo>
                  <a:cubicBezTo>
                    <a:pt x="39" y="150"/>
                    <a:pt x="38" y="151"/>
                    <a:pt x="38" y="154"/>
                  </a:cubicBezTo>
                  <a:cubicBezTo>
                    <a:pt x="38" y="154"/>
                    <a:pt x="39" y="162"/>
                    <a:pt x="37" y="158"/>
                  </a:cubicBezTo>
                  <a:cubicBezTo>
                    <a:pt x="36" y="157"/>
                    <a:pt x="37" y="152"/>
                    <a:pt x="34" y="155"/>
                  </a:cubicBezTo>
                  <a:cubicBezTo>
                    <a:pt x="31" y="159"/>
                    <a:pt x="36" y="163"/>
                    <a:pt x="38" y="166"/>
                  </a:cubicBezTo>
                  <a:cubicBezTo>
                    <a:pt x="38" y="166"/>
                    <a:pt x="40" y="174"/>
                    <a:pt x="41" y="171"/>
                  </a:cubicBezTo>
                  <a:cubicBezTo>
                    <a:pt x="42" y="168"/>
                    <a:pt x="39" y="166"/>
                    <a:pt x="39" y="164"/>
                  </a:cubicBezTo>
                  <a:cubicBezTo>
                    <a:pt x="40" y="159"/>
                    <a:pt x="46" y="163"/>
                    <a:pt x="49" y="164"/>
                  </a:cubicBezTo>
                  <a:cubicBezTo>
                    <a:pt x="51" y="165"/>
                    <a:pt x="52" y="169"/>
                    <a:pt x="55" y="169"/>
                  </a:cubicBezTo>
                  <a:cubicBezTo>
                    <a:pt x="57" y="169"/>
                    <a:pt x="58" y="165"/>
                    <a:pt x="57" y="163"/>
                  </a:cubicBezTo>
                  <a:cubicBezTo>
                    <a:pt x="56" y="163"/>
                    <a:pt x="55" y="163"/>
                    <a:pt x="55" y="161"/>
                  </a:cubicBezTo>
                  <a:cubicBezTo>
                    <a:pt x="55" y="161"/>
                    <a:pt x="55" y="159"/>
                    <a:pt x="56" y="160"/>
                  </a:cubicBezTo>
                  <a:cubicBezTo>
                    <a:pt x="58" y="162"/>
                    <a:pt x="59" y="163"/>
                    <a:pt x="61" y="161"/>
                  </a:cubicBezTo>
                  <a:cubicBezTo>
                    <a:pt x="60" y="163"/>
                    <a:pt x="62" y="165"/>
                    <a:pt x="64" y="165"/>
                  </a:cubicBezTo>
                  <a:cubicBezTo>
                    <a:pt x="64" y="165"/>
                    <a:pt x="65" y="163"/>
                    <a:pt x="65" y="163"/>
                  </a:cubicBezTo>
                  <a:cubicBezTo>
                    <a:pt x="66" y="164"/>
                    <a:pt x="65" y="165"/>
                    <a:pt x="66" y="165"/>
                  </a:cubicBezTo>
                  <a:cubicBezTo>
                    <a:pt x="67" y="165"/>
                    <a:pt x="68" y="165"/>
                    <a:pt x="69" y="165"/>
                  </a:cubicBezTo>
                  <a:cubicBezTo>
                    <a:pt x="70" y="164"/>
                    <a:pt x="71" y="163"/>
                    <a:pt x="72" y="163"/>
                  </a:cubicBezTo>
                  <a:cubicBezTo>
                    <a:pt x="72" y="162"/>
                    <a:pt x="71" y="161"/>
                    <a:pt x="73" y="161"/>
                  </a:cubicBezTo>
                  <a:cubicBezTo>
                    <a:pt x="72" y="162"/>
                    <a:pt x="76" y="161"/>
                    <a:pt x="77" y="161"/>
                  </a:cubicBezTo>
                  <a:cubicBezTo>
                    <a:pt x="78" y="160"/>
                    <a:pt x="79" y="161"/>
                    <a:pt x="80" y="160"/>
                  </a:cubicBezTo>
                  <a:cubicBezTo>
                    <a:pt x="80" y="159"/>
                    <a:pt x="80" y="158"/>
                    <a:pt x="80" y="157"/>
                  </a:cubicBezTo>
                  <a:cubicBezTo>
                    <a:pt x="81" y="155"/>
                    <a:pt x="86" y="156"/>
                    <a:pt x="88" y="156"/>
                  </a:cubicBezTo>
                  <a:cubicBezTo>
                    <a:pt x="90" y="157"/>
                    <a:pt x="94" y="155"/>
                    <a:pt x="96" y="157"/>
                  </a:cubicBezTo>
                  <a:cubicBezTo>
                    <a:pt x="95" y="157"/>
                    <a:pt x="95" y="157"/>
                    <a:pt x="94" y="157"/>
                  </a:cubicBezTo>
                  <a:cubicBezTo>
                    <a:pt x="94" y="157"/>
                    <a:pt x="95" y="157"/>
                    <a:pt x="96" y="157"/>
                  </a:cubicBezTo>
                  <a:cubicBezTo>
                    <a:pt x="94" y="158"/>
                    <a:pt x="89" y="157"/>
                    <a:pt x="88" y="158"/>
                  </a:cubicBezTo>
                  <a:cubicBezTo>
                    <a:pt x="88" y="159"/>
                    <a:pt x="89" y="162"/>
                    <a:pt x="87" y="160"/>
                  </a:cubicBezTo>
                  <a:cubicBezTo>
                    <a:pt x="85" y="159"/>
                    <a:pt x="85" y="162"/>
                    <a:pt x="84" y="163"/>
                  </a:cubicBezTo>
                  <a:cubicBezTo>
                    <a:pt x="83" y="164"/>
                    <a:pt x="83" y="165"/>
                    <a:pt x="83" y="166"/>
                  </a:cubicBezTo>
                  <a:cubicBezTo>
                    <a:pt x="82" y="167"/>
                    <a:pt x="81" y="168"/>
                    <a:pt x="80" y="169"/>
                  </a:cubicBezTo>
                  <a:cubicBezTo>
                    <a:pt x="79" y="171"/>
                    <a:pt x="77" y="174"/>
                    <a:pt x="77" y="176"/>
                  </a:cubicBezTo>
                  <a:cubicBezTo>
                    <a:pt x="77" y="178"/>
                    <a:pt x="80" y="181"/>
                    <a:pt x="81" y="182"/>
                  </a:cubicBezTo>
                  <a:cubicBezTo>
                    <a:pt x="83" y="184"/>
                    <a:pt x="82" y="187"/>
                    <a:pt x="84" y="189"/>
                  </a:cubicBezTo>
                  <a:cubicBezTo>
                    <a:pt x="86" y="192"/>
                    <a:pt x="87" y="188"/>
                    <a:pt x="88" y="187"/>
                  </a:cubicBezTo>
                  <a:cubicBezTo>
                    <a:pt x="89" y="189"/>
                    <a:pt x="85" y="194"/>
                    <a:pt x="88" y="195"/>
                  </a:cubicBezTo>
                  <a:cubicBezTo>
                    <a:pt x="91" y="195"/>
                    <a:pt x="92" y="191"/>
                    <a:pt x="93" y="189"/>
                  </a:cubicBezTo>
                  <a:cubicBezTo>
                    <a:pt x="92" y="190"/>
                    <a:pt x="95" y="192"/>
                    <a:pt x="96" y="191"/>
                  </a:cubicBezTo>
                  <a:cubicBezTo>
                    <a:pt x="97" y="191"/>
                    <a:pt x="99" y="189"/>
                    <a:pt x="100" y="188"/>
                  </a:cubicBezTo>
                  <a:cubicBezTo>
                    <a:pt x="101" y="189"/>
                    <a:pt x="98" y="189"/>
                    <a:pt x="99" y="190"/>
                  </a:cubicBezTo>
                  <a:cubicBezTo>
                    <a:pt x="99" y="191"/>
                    <a:pt x="99" y="192"/>
                    <a:pt x="99" y="193"/>
                  </a:cubicBezTo>
                  <a:cubicBezTo>
                    <a:pt x="99" y="194"/>
                    <a:pt x="97" y="195"/>
                    <a:pt x="97" y="196"/>
                  </a:cubicBezTo>
                  <a:cubicBezTo>
                    <a:pt x="95" y="198"/>
                    <a:pt x="97" y="199"/>
                    <a:pt x="98" y="198"/>
                  </a:cubicBezTo>
                  <a:cubicBezTo>
                    <a:pt x="97" y="201"/>
                    <a:pt x="92" y="200"/>
                    <a:pt x="91" y="203"/>
                  </a:cubicBezTo>
                  <a:cubicBezTo>
                    <a:pt x="91" y="205"/>
                    <a:pt x="91" y="207"/>
                    <a:pt x="91" y="208"/>
                  </a:cubicBezTo>
                  <a:cubicBezTo>
                    <a:pt x="92" y="210"/>
                    <a:pt x="94" y="209"/>
                    <a:pt x="96" y="210"/>
                  </a:cubicBezTo>
                  <a:cubicBezTo>
                    <a:pt x="94" y="212"/>
                    <a:pt x="91" y="213"/>
                    <a:pt x="90" y="216"/>
                  </a:cubicBezTo>
                  <a:cubicBezTo>
                    <a:pt x="89" y="218"/>
                    <a:pt x="90" y="220"/>
                    <a:pt x="91" y="222"/>
                  </a:cubicBezTo>
                  <a:cubicBezTo>
                    <a:pt x="92" y="225"/>
                    <a:pt x="93" y="226"/>
                    <a:pt x="95" y="227"/>
                  </a:cubicBezTo>
                  <a:cubicBezTo>
                    <a:pt x="97" y="228"/>
                    <a:pt x="98" y="226"/>
                    <a:pt x="100" y="226"/>
                  </a:cubicBezTo>
                  <a:cubicBezTo>
                    <a:pt x="98" y="227"/>
                    <a:pt x="97" y="230"/>
                    <a:pt x="94" y="229"/>
                  </a:cubicBezTo>
                  <a:cubicBezTo>
                    <a:pt x="92" y="228"/>
                    <a:pt x="93" y="224"/>
                    <a:pt x="90" y="223"/>
                  </a:cubicBezTo>
                  <a:cubicBezTo>
                    <a:pt x="83" y="221"/>
                    <a:pt x="89" y="228"/>
                    <a:pt x="89" y="231"/>
                  </a:cubicBezTo>
                  <a:cubicBezTo>
                    <a:pt x="86" y="228"/>
                    <a:pt x="82" y="226"/>
                    <a:pt x="78" y="227"/>
                  </a:cubicBezTo>
                  <a:cubicBezTo>
                    <a:pt x="76" y="228"/>
                    <a:pt x="74" y="229"/>
                    <a:pt x="72" y="229"/>
                  </a:cubicBezTo>
                  <a:cubicBezTo>
                    <a:pt x="70" y="229"/>
                    <a:pt x="68" y="227"/>
                    <a:pt x="66" y="227"/>
                  </a:cubicBezTo>
                  <a:cubicBezTo>
                    <a:pt x="66" y="228"/>
                    <a:pt x="67" y="228"/>
                    <a:pt x="66" y="229"/>
                  </a:cubicBezTo>
                  <a:cubicBezTo>
                    <a:pt x="65" y="229"/>
                    <a:pt x="64" y="230"/>
                    <a:pt x="63" y="230"/>
                  </a:cubicBezTo>
                  <a:cubicBezTo>
                    <a:pt x="62" y="231"/>
                    <a:pt x="60" y="231"/>
                    <a:pt x="59" y="232"/>
                  </a:cubicBezTo>
                  <a:cubicBezTo>
                    <a:pt x="57" y="232"/>
                    <a:pt x="56" y="232"/>
                    <a:pt x="55" y="234"/>
                  </a:cubicBezTo>
                  <a:cubicBezTo>
                    <a:pt x="53" y="236"/>
                    <a:pt x="51" y="236"/>
                    <a:pt x="51" y="239"/>
                  </a:cubicBezTo>
                  <a:cubicBezTo>
                    <a:pt x="50" y="242"/>
                    <a:pt x="46" y="243"/>
                    <a:pt x="44" y="244"/>
                  </a:cubicBezTo>
                  <a:cubicBezTo>
                    <a:pt x="42" y="245"/>
                    <a:pt x="39" y="247"/>
                    <a:pt x="39" y="249"/>
                  </a:cubicBezTo>
                  <a:cubicBezTo>
                    <a:pt x="38" y="251"/>
                    <a:pt x="44" y="249"/>
                    <a:pt x="45" y="250"/>
                  </a:cubicBezTo>
                  <a:cubicBezTo>
                    <a:pt x="46" y="251"/>
                    <a:pt x="47" y="247"/>
                    <a:pt x="49" y="246"/>
                  </a:cubicBezTo>
                  <a:cubicBezTo>
                    <a:pt x="52" y="246"/>
                    <a:pt x="55" y="245"/>
                    <a:pt x="59" y="245"/>
                  </a:cubicBezTo>
                  <a:cubicBezTo>
                    <a:pt x="58" y="246"/>
                    <a:pt x="57" y="246"/>
                    <a:pt x="57" y="248"/>
                  </a:cubicBezTo>
                  <a:cubicBezTo>
                    <a:pt x="57" y="249"/>
                    <a:pt x="57" y="249"/>
                    <a:pt x="57" y="250"/>
                  </a:cubicBezTo>
                  <a:cubicBezTo>
                    <a:pt x="56" y="252"/>
                    <a:pt x="59" y="254"/>
                    <a:pt x="60" y="253"/>
                  </a:cubicBezTo>
                  <a:cubicBezTo>
                    <a:pt x="59" y="255"/>
                    <a:pt x="56" y="255"/>
                    <a:pt x="56" y="259"/>
                  </a:cubicBezTo>
                  <a:cubicBezTo>
                    <a:pt x="57" y="261"/>
                    <a:pt x="60" y="261"/>
                    <a:pt x="61" y="261"/>
                  </a:cubicBezTo>
                  <a:cubicBezTo>
                    <a:pt x="60" y="262"/>
                    <a:pt x="59" y="262"/>
                    <a:pt x="58" y="263"/>
                  </a:cubicBezTo>
                  <a:cubicBezTo>
                    <a:pt x="57" y="264"/>
                    <a:pt x="57" y="265"/>
                    <a:pt x="57" y="267"/>
                  </a:cubicBezTo>
                  <a:cubicBezTo>
                    <a:pt x="55" y="270"/>
                    <a:pt x="53" y="273"/>
                    <a:pt x="50" y="275"/>
                  </a:cubicBezTo>
                  <a:cubicBezTo>
                    <a:pt x="48" y="276"/>
                    <a:pt x="46" y="277"/>
                    <a:pt x="43" y="278"/>
                  </a:cubicBezTo>
                  <a:cubicBezTo>
                    <a:pt x="42" y="279"/>
                    <a:pt x="38" y="278"/>
                    <a:pt x="38" y="281"/>
                  </a:cubicBezTo>
                  <a:cubicBezTo>
                    <a:pt x="37" y="278"/>
                    <a:pt x="34" y="283"/>
                    <a:pt x="33" y="283"/>
                  </a:cubicBezTo>
                  <a:cubicBezTo>
                    <a:pt x="32" y="284"/>
                    <a:pt x="31" y="284"/>
                    <a:pt x="30" y="284"/>
                  </a:cubicBezTo>
                  <a:cubicBezTo>
                    <a:pt x="29" y="285"/>
                    <a:pt x="29" y="284"/>
                    <a:pt x="28" y="283"/>
                  </a:cubicBezTo>
                  <a:cubicBezTo>
                    <a:pt x="26" y="283"/>
                    <a:pt x="27" y="285"/>
                    <a:pt x="26" y="286"/>
                  </a:cubicBezTo>
                  <a:cubicBezTo>
                    <a:pt x="25" y="287"/>
                    <a:pt x="24" y="287"/>
                    <a:pt x="23" y="287"/>
                  </a:cubicBezTo>
                  <a:cubicBezTo>
                    <a:pt x="21" y="288"/>
                    <a:pt x="19" y="288"/>
                    <a:pt x="19" y="291"/>
                  </a:cubicBezTo>
                  <a:cubicBezTo>
                    <a:pt x="20" y="290"/>
                    <a:pt x="24" y="290"/>
                    <a:pt x="24" y="292"/>
                  </a:cubicBezTo>
                  <a:cubicBezTo>
                    <a:pt x="25" y="294"/>
                    <a:pt x="22" y="296"/>
                    <a:pt x="20" y="296"/>
                  </a:cubicBezTo>
                  <a:cubicBezTo>
                    <a:pt x="21" y="297"/>
                    <a:pt x="22" y="298"/>
                    <a:pt x="23" y="298"/>
                  </a:cubicBezTo>
                  <a:cubicBezTo>
                    <a:pt x="22" y="298"/>
                    <a:pt x="24" y="297"/>
                    <a:pt x="24" y="297"/>
                  </a:cubicBezTo>
                  <a:cubicBezTo>
                    <a:pt x="25" y="297"/>
                    <a:pt x="26" y="297"/>
                    <a:pt x="28" y="297"/>
                  </a:cubicBezTo>
                  <a:cubicBezTo>
                    <a:pt x="29" y="297"/>
                    <a:pt x="32" y="296"/>
                    <a:pt x="30" y="294"/>
                  </a:cubicBezTo>
                  <a:cubicBezTo>
                    <a:pt x="31" y="294"/>
                    <a:pt x="32" y="294"/>
                    <a:pt x="33" y="294"/>
                  </a:cubicBezTo>
                  <a:cubicBezTo>
                    <a:pt x="31" y="294"/>
                    <a:pt x="30" y="296"/>
                    <a:pt x="32" y="297"/>
                  </a:cubicBezTo>
                  <a:cubicBezTo>
                    <a:pt x="31" y="297"/>
                    <a:pt x="25" y="298"/>
                    <a:pt x="24" y="298"/>
                  </a:cubicBezTo>
                  <a:cubicBezTo>
                    <a:pt x="24" y="299"/>
                    <a:pt x="27" y="302"/>
                    <a:pt x="29" y="302"/>
                  </a:cubicBezTo>
                  <a:cubicBezTo>
                    <a:pt x="31" y="301"/>
                    <a:pt x="31" y="300"/>
                    <a:pt x="33" y="300"/>
                  </a:cubicBezTo>
                  <a:cubicBezTo>
                    <a:pt x="34" y="300"/>
                    <a:pt x="36" y="300"/>
                    <a:pt x="37" y="298"/>
                  </a:cubicBezTo>
                  <a:cubicBezTo>
                    <a:pt x="38" y="295"/>
                    <a:pt x="41" y="297"/>
                    <a:pt x="43" y="296"/>
                  </a:cubicBezTo>
                  <a:cubicBezTo>
                    <a:pt x="44" y="296"/>
                    <a:pt x="45" y="293"/>
                    <a:pt x="47" y="294"/>
                  </a:cubicBezTo>
                  <a:cubicBezTo>
                    <a:pt x="47" y="295"/>
                    <a:pt x="46" y="296"/>
                    <a:pt x="47" y="297"/>
                  </a:cubicBezTo>
                  <a:cubicBezTo>
                    <a:pt x="47" y="296"/>
                    <a:pt x="46" y="296"/>
                    <a:pt x="46" y="297"/>
                  </a:cubicBezTo>
                  <a:cubicBezTo>
                    <a:pt x="45" y="299"/>
                    <a:pt x="54" y="300"/>
                    <a:pt x="55" y="299"/>
                  </a:cubicBezTo>
                  <a:cubicBezTo>
                    <a:pt x="55" y="302"/>
                    <a:pt x="49" y="299"/>
                    <a:pt x="48" y="303"/>
                  </a:cubicBezTo>
                  <a:cubicBezTo>
                    <a:pt x="48" y="306"/>
                    <a:pt x="55" y="304"/>
                    <a:pt x="57" y="303"/>
                  </a:cubicBezTo>
                  <a:cubicBezTo>
                    <a:pt x="55" y="302"/>
                    <a:pt x="60" y="301"/>
                    <a:pt x="61" y="302"/>
                  </a:cubicBezTo>
                  <a:cubicBezTo>
                    <a:pt x="64" y="302"/>
                    <a:pt x="63" y="307"/>
                    <a:pt x="65" y="307"/>
                  </a:cubicBezTo>
                  <a:cubicBezTo>
                    <a:pt x="67" y="308"/>
                    <a:pt x="69" y="310"/>
                    <a:pt x="71" y="311"/>
                  </a:cubicBezTo>
                  <a:cubicBezTo>
                    <a:pt x="73" y="312"/>
                    <a:pt x="77" y="312"/>
                    <a:pt x="79" y="311"/>
                  </a:cubicBezTo>
                  <a:cubicBezTo>
                    <a:pt x="81" y="311"/>
                    <a:pt x="81" y="309"/>
                    <a:pt x="82" y="308"/>
                  </a:cubicBezTo>
                  <a:cubicBezTo>
                    <a:pt x="82" y="307"/>
                    <a:pt x="84" y="306"/>
                    <a:pt x="85" y="305"/>
                  </a:cubicBezTo>
                  <a:cubicBezTo>
                    <a:pt x="87" y="304"/>
                    <a:pt x="89" y="305"/>
                    <a:pt x="91" y="304"/>
                  </a:cubicBezTo>
                  <a:cubicBezTo>
                    <a:pt x="96" y="303"/>
                    <a:pt x="100" y="295"/>
                    <a:pt x="105" y="295"/>
                  </a:cubicBezTo>
                  <a:cubicBezTo>
                    <a:pt x="105" y="295"/>
                    <a:pt x="105" y="295"/>
                    <a:pt x="105" y="295"/>
                  </a:cubicBezTo>
                  <a:cubicBezTo>
                    <a:pt x="105" y="294"/>
                    <a:pt x="99" y="301"/>
                    <a:pt x="99" y="301"/>
                  </a:cubicBezTo>
                  <a:cubicBezTo>
                    <a:pt x="97" y="304"/>
                    <a:pt x="95" y="306"/>
                    <a:pt x="92" y="307"/>
                  </a:cubicBezTo>
                  <a:cubicBezTo>
                    <a:pt x="90" y="309"/>
                    <a:pt x="88" y="311"/>
                    <a:pt x="86" y="314"/>
                  </a:cubicBezTo>
                  <a:cubicBezTo>
                    <a:pt x="85" y="315"/>
                    <a:pt x="85" y="315"/>
                    <a:pt x="85" y="317"/>
                  </a:cubicBezTo>
                  <a:cubicBezTo>
                    <a:pt x="85" y="318"/>
                    <a:pt x="85" y="319"/>
                    <a:pt x="84" y="320"/>
                  </a:cubicBezTo>
                  <a:cubicBezTo>
                    <a:pt x="84" y="319"/>
                    <a:pt x="84" y="319"/>
                    <a:pt x="84" y="319"/>
                  </a:cubicBezTo>
                  <a:cubicBezTo>
                    <a:pt x="82" y="320"/>
                    <a:pt x="75" y="321"/>
                    <a:pt x="72" y="320"/>
                  </a:cubicBezTo>
                  <a:cubicBezTo>
                    <a:pt x="69" y="318"/>
                    <a:pt x="64" y="317"/>
                    <a:pt x="60" y="318"/>
                  </a:cubicBezTo>
                  <a:cubicBezTo>
                    <a:pt x="59" y="318"/>
                    <a:pt x="49" y="319"/>
                    <a:pt x="49" y="320"/>
                  </a:cubicBezTo>
                  <a:cubicBezTo>
                    <a:pt x="49" y="321"/>
                    <a:pt x="49" y="321"/>
                    <a:pt x="48" y="322"/>
                  </a:cubicBezTo>
                  <a:cubicBezTo>
                    <a:pt x="47" y="322"/>
                    <a:pt x="49" y="324"/>
                    <a:pt x="49" y="324"/>
                  </a:cubicBezTo>
                  <a:cubicBezTo>
                    <a:pt x="49" y="326"/>
                    <a:pt x="46" y="328"/>
                    <a:pt x="45" y="328"/>
                  </a:cubicBezTo>
                  <a:cubicBezTo>
                    <a:pt x="43" y="329"/>
                    <a:pt x="42" y="328"/>
                    <a:pt x="41" y="327"/>
                  </a:cubicBezTo>
                  <a:cubicBezTo>
                    <a:pt x="38" y="327"/>
                    <a:pt x="38" y="333"/>
                    <a:pt x="38" y="335"/>
                  </a:cubicBezTo>
                  <a:cubicBezTo>
                    <a:pt x="38" y="340"/>
                    <a:pt x="34" y="340"/>
                    <a:pt x="32" y="343"/>
                  </a:cubicBezTo>
                  <a:cubicBezTo>
                    <a:pt x="30" y="345"/>
                    <a:pt x="29" y="348"/>
                    <a:pt x="26" y="346"/>
                  </a:cubicBezTo>
                  <a:cubicBezTo>
                    <a:pt x="25" y="348"/>
                    <a:pt x="27" y="348"/>
                    <a:pt x="28" y="349"/>
                  </a:cubicBezTo>
                  <a:cubicBezTo>
                    <a:pt x="25" y="349"/>
                    <a:pt x="24" y="346"/>
                    <a:pt x="22" y="351"/>
                  </a:cubicBezTo>
                  <a:cubicBezTo>
                    <a:pt x="22" y="353"/>
                    <a:pt x="19" y="353"/>
                    <a:pt x="19" y="354"/>
                  </a:cubicBezTo>
                  <a:cubicBezTo>
                    <a:pt x="18" y="356"/>
                    <a:pt x="18" y="357"/>
                    <a:pt x="17" y="358"/>
                  </a:cubicBezTo>
                  <a:cubicBezTo>
                    <a:pt x="14" y="359"/>
                    <a:pt x="12" y="362"/>
                    <a:pt x="10" y="363"/>
                  </a:cubicBezTo>
                  <a:cubicBezTo>
                    <a:pt x="8" y="364"/>
                    <a:pt x="9" y="362"/>
                    <a:pt x="7" y="362"/>
                  </a:cubicBezTo>
                  <a:cubicBezTo>
                    <a:pt x="6" y="363"/>
                    <a:pt x="6" y="363"/>
                    <a:pt x="5" y="364"/>
                  </a:cubicBezTo>
                  <a:cubicBezTo>
                    <a:pt x="3" y="364"/>
                    <a:pt x="0" y="366"/>
                    <a:pt x="0" y="369"/>
                  </a:cubicBezTo>
                  <a:cubicBezTo>
                    <a:pt x="2" y="372"/>
                    <a:pt x="5" y="369"/>
                    <a:pt x="6" y="367"/>
                  </a:cubicBezTo>
                  <a:cubicBezTo>
                    <a:pt x="7" y="365"/>
                    <a:pt x="13" y="368"/>
                    <a:pt x="14" y="370"/>
                  </a:cubicBezTo>
                  <a:cubicBezTo>
                    <a:pt x="14" y="371"/>
                    <a:pt x="14" y="373"/>
                    <a:pt x="15" y="373"/>
                  </a:cubicBezTo>
                  <a:cubicBezTo>
                    <a:pt x="17" y="374"/>
                    <a:pt x="16" y="372"/>
                    <a:pt x="17" y="372"/>
                  </a:cubicBezTo>
                  <a:cubicBezTo>
                    <a:pt x="19" y="371"/>
                    <a:pt x="22" y="368"/>
                    <a:pt x="19" y="368"/>
                  </a:cubicBezTo>
                  <a:cubicBezTo>
                    <a:pt x="19" y="367"/>
                    <a:pt x="21" y="363"/>
                    <a:pt x="22" y="364"/>
                  </a:cubicBezTo>
                  <a:cubicBezTo>
                    <a:pt x="22" y="365"/>
                    <a:pt x="22" y="366"/>
                    <a:pt x="23" y="365"/>
                  </a:cubicBezTo>
                  <a:cubicBezTo>
                    <a:pt x="24" y="364"/>
                    <a:pt x="25" y="363"/>
                    <a:pt x="26" y="362"/>
                  </a:cubicBezTo>
                  <a:cubicBezTo>
                    <a:pt x="27" y="362"/>
                    <a:pt x="28" y="362"/>
                    <a:pt x="29" y="361"/>
                  </a:cubicBezTo>
                  <a:cubicBezTo>
                    <a:pt x="30" y="360"/>
                    <a:pt x="30" y="358"/>
                    <a:pt x="31" y="357"/>
                  </a:cubicBezTo>
                  <a:cubicBezTo>
                    <a:pt x="32" y="357"/>
                    <a:pt x="35" y="358"/>
                    <a:pt x="36" y="358"/>
                  </a:cubicBezTo>
                  <a:cubicBezTo>
                    <a:pt x="39" y="357"/>
                    <a:pt x="41" y="355"/>
                    <a:pt x="43" y="356"/>
                  </a:cubicBezTo>
                  <a:cubicBezTo>
                    <a:pt x="44" y="356"/>
                    <a:pt x="46" y="357"/>
                    <a:pt x="47" y="358"/>
                  </a:cubicBezTo>
                  <a:cubicBezTo>
                    <a:pt x="47" y="358"/>
                    <a:pt x="48" y="357"/>
                    <a:pt x="47" y="356"/>
                  </a:cubicBezTo>
                  <a:cubicBezTo>
                    <a:pt x="46" y="356"/>
                    <a:pt x="46" y="356"/>
                    <a:pt x="47" y="355"/>
                  </a:cubicBezTo>
                  <a:cubicBezTo>
                    <a:pt x="46" y="356"/>
                    <a:pt x="45" y="354"/>
                    <a:pt x="45" y="355"/>
                  </a:cubicBezTo>
                  <a:cubicBezTo>
                    <a:pt x="45" y="354"/>
                    <a:pt x="46" y="355"/>
                    <a:pt x="46" y="354"/>
                  </a:cubicBezTo>
                  <a:cubicBezTo>
                    <a:pt x="46" y="352"/>
                    <a:pt x="47" y="352"/>
                    <a:pt x="48" y="352"/>
                  </a:cubicBezTo>
                  <a:cubicBezTo>
                    <a:pt x="48" y="354"/>
                    <a:pt x="47" y="356"/>
                    <a:pt x="50" y="356"/>
                  </a:cubicBezTo>
                  <a:cubicBezTo>
                    <a:pt x="48" y="358"/>
                    <a:pt x="53" y="359"/>
                    <a:pt x="54" y="359"/>
                  </a:cubicBezTo>
                  <a:cubicBezTo>
                    <a:pt x="56" y="358"/>
                    <a:pt x="57" y="362"/>
                    <a:pt x="59" y="362"/>
                  </a:cubicBezTo>
                  <a:cubicBezTo>
                    <a:pt x="62" y="363"/>
                    <a:pt x="62" y="361"/>
                    <a:pt x="64" y="358"/>
                  </a:cubicBezTo>
                  <a:cubicBezTo>
                    <a:pt x="65" y="357"/>
                    <a:pt x="68" y="356"/>
                    <a:pt x="68" y="354"/>
                  </a:cubicBezTo>
                  <a:cubicBezTo>
                    <a:pt x="68" y="354"/>
                    <a:pt x="65" y="354"/>
                    <a:pt x="67" y="353"/>
                  </a:cubicBezTo>
                  <a:cubicBezTo>
                    <a:pt x="67" y="352"/>
                    <a:pt x="68" y="352"/>
                    <a:pt x="68" y="351"/>
                  </a:cubicBezTo>
                  <a:cubicBezTo>
                    <a:pt x="69" y="350"/>
                    <a:pt x="68" y="350"/>
                    <a:pt x="68" y="348"/>
                  </a:cubicBezTo>
                  <a:cubicBezTo>
                    <a:pt x="69" y="346"/>
                    <a:pt x="70" y="345"/>
                    <a:pt x="70" y="342"/>
                  </a:cubicBezTo>
                  <a:cubicBezTo>
                    <a:pt x="71" y="344"/>
                    <a:pt x="72" y="346"/>
                    <a:pt x="74" y="344"/>
                  </a:cubicBezTo>
                  <a:cubicBezTo>
                    <a:pt x="75" y="343"/>
                    <a:pt x="76" y="343"/>
                    <a:pt x="78" y="342"/>
                  </a:cubicBezTo>
                  <a:cubicBezTo>
                    <a:pt x="81" y="341"/>
                    <a:pt x="86" y="339"/>
                    <a:pt x="89" y="340"/>
                  </a:cubicBezTo>
                  <a:cubicBezTo>
                    <a:pt x="90" y="341"/>
                    <a:pt x="93" y="342"/>
                    <a:pt x="96" y="343"/>
                  </a:cubicBezTo>
                  <a:cubicBezTo>
                    <a:pt x="98" y="345"/>
                    <a:pt x="100" y="346"/>
                    <a:pt x="99" y="349"/>
                  </a:cubicBezTo>
                  <a:cubicBezTo>
                    <a:pt x="102" y="348"/>
                    <a:pt x="98" y="345"/>
                    <a:pt x="100" y="344"/>
                  </a:cubicBezTo>
                  <a:cubicBezTo>
                    <a:pt x="102" y="343"/>
                    <a:pt x="107" y="344"/>
                    <a:pt x="109" y="345"/>
                  </a:cubicBezTo>
                  <a:cubicBezTo>
                    <a:pt x="111" y="345"/>
                    <a:pt x="114" y="347"/>
                    <a:pt x="115" y="345"/>
                  </a:cubicBezTo>
                  <a:cubicBezTo>
                    <a:pt x="116" y="343"/>
                    <a:pt x="113" y="340"/>
                    <a:pt x="111" y="341"/>
                  </a:cubicBezTo>
                  <a:cubicBezTo>
                    <a:pt x="112" y="340"/>
                    <a:pt x="114" y="340"/>
                    <a:pt x="115" y="341"/>
                  </a:cubicBezTo>
                  <a:cubicBezTo>
                    <a:pt x="116" y="342"/>
                    <a:pt x="117" y="340"/>
                    <a:pt x="118" y="340"/>
                  </a:cubicBezTo>
                  <a:cubicBezTo>
                    <a:pt x="120" y="340"/>
                    <a:pt x="127" y="341"/>
                    <a:pt x="128" y="339"/>
                  </a:cubicBezTo>
                  <a:cubicBezTo>
                    <a:pt x="129" y="338"/>
                    <a:pt x="132" y="338"/>
                    <a:pt x="134" y="337"/>
                  </a:cubicBezTo>
                  <a:cubicBezTo>
                    <a:pt x="135" y="336"/>
                    <a:pt x="131" y="332"/>
                    <a:pt x="130" y="332"/>
                  </a:cubicBezTo>
                  <a:cubicBezTo>
                    <a:pt x="133" y="332"/>
                    <a:pt x="135" y="335"/>
                    <a:pt x="137" y="337"/>
                  </a:cubicBezTo>
                  <a:cubicBezTo>
                    <a:pt x="139" y="338"/>
                    <a:pt x="141" y="336"/>
                    <a:pt x="139" y="335"/>
                  </a:cubicBezTo>
                  <a:cubicBezTo>
                    <a:pt x="140" y="335"/>
                    <a:pt x="141" y="335"/>
                    <a:pt x="142" y="336"/>
                  </a:cubicBezTo>
                  <a:cubicBezTo>
                    <a:pt x="141" y="336"/>
                    <a:pt x="140" y="337"/>
                    <a:pt x="141" y="337"/>
                  </a:cubicBezTo>
                  <a:cubicBezTo>
                    <a:pt x="141" y="337"/>
                    <a:pt x="147" y="333"/>
                    <a:pt x="146" y="336"/>
                  </a:cubicBezTo>
                  <a:cubicBezTo>
                    <a:pt x="146" y="335"/>
                    <a:pt x="148" y="336"/>
                    <a:pt x="147" y="337"/>
                  </a:cubicBezTo>
                  <a:cubicBezTo>
                    <a:pt x="147" y="337"/>
                    <a:pt x="147" y="337"/>
                    <a:pt x="146" y="338"/>
                  </a:cubicBezTo>
                  <a:cubicBezTo>
                    <a:pt x="146" y="339"/>
                    <a:pt x="149" y="340"/>
                    <a:pt x="150" y="340"/>
                  </a:cubicBezTo>
                  <a:cubicBezTo>
                    <a:pt x="151" y="340"/>
                    <a:pt x="150" y="338"/>
                    <a:pt x="151" y="338"/>
                  </a:cubicBezTo>
                  <a:cubicBezTo>
                    <a:pt x="152" y="338"/>
                    <a:pt x="153" y="338"/>
                    <a:pt x="154" y="338"/>
                  </a:cubicBezTo>
                  <a:cubicBezTo>
                    <a:pt x="157" y="337"/>
                    <a:pt x="160" y="337"/>
                    <a:pt x="163" y="336"/>
                  </a:cubicBezTo>
                  <a:cubicBezTo>
                    <a:pt x="167" y="336"/>
                    <a:pt x="170" y="336"/>
                    <a:pt x="174" y="337"/>
                  </a:cubicBezTo>
                  <a:cubicBezTo>
                    <a:pt x="176" y="338"/>
                    <a:pt x="179" y="340"/>
                    <a:pt x="181" y="339"/>
                  </a:cubicBezTo>
                  <a:cubicBezTo>
                    <a:pt x="184" y="337"/>
                    <a:pt x="187" y="336"/>
                    <a:pt x="190" y="335"/>
                  </a:cubicBezTo>
                  <a:cubicBezTo>
                    <a:pt x="193" y="334"/>
                    <a:pt x="195" y="331"/>
                    <a:pt x="197" y="331"/>
                  </a:cubicBezTo>
                  <a:cubicBezTo>
                    <a:pt x="199" y="331"/>
                    <a:pt x="203" y="334"/>
                    <a:pt x="203" y="330"/>
                  </a:cubicBezTo>
                  <a:cubicBezTo>
                    <a:pt x="203" y="326"/>
                    <a:pt x="207" y="325"/>
                    <a:pt x="209" y="324"/>
                  </a:cubicBezTo>
                  <a:cubicBezTo>
                    <a:pt x="211" y="324"/>
                    <a:pt x="214" y="324"/>
                    <a:pt x="216" y="321"/>
                  </a:cubicBezTo>
                  <a:cubicBezTo>
                    <a:pt x="217" y="319"/>
                    <a:pt x="215" y="316"/>
                    <a:pt x="216" y="314"/>
                  </a:cubicBezTo>
                  <a:cubicBezTo>
                    <a:pt x="217" y="313"/>
                    <a:pt x="220" y="311"/>
                    <a:pt x="216" y="311"/>
                  </a:cubicBezTo>
                  <a:cubicBezTo>
                    <a:pt x="214" y="311"/>
                    <a:pt x="212" y="312"/>
                    <a:pt x="210" y="312"/>
                  </a:cubicBezTo>
                  <a:cubicBezTo>
                    <a:pt x="207" y="312"/>
                    <a:pt x="204" y="314"/>
                    <a:pt x="200" y="313"/>
                  </a:cubicBezTo>
                  <a:cubicBezTo>
                    <a:pt x="200" y="313"/>
                    <a:pt x="196" y="311"/>
                    <a:pt x="196" y="310"/>
                  </a:cubicBezTo>
                  <a:cubicBezTo>
                    <a:pt x="196" y="312"/>
                    <a:pt x="195" y="312"/>
                    <a:pt x="193" y="311"/>
                  </a:cubicBezTo>
                  <a:cubicBezTo>
                    <a:pt x="193" y="311"/>
                    <a:pt x="191" y="311"/>
                    <a:pt x="192" y="310"/>
                  </a:cubicBezTo>
                  <a:cubicBezTo>
                    <a:pt x="192" y="310"/>
                    <a:pt x="201" y="307"/>
                    <a:pt x="194" y="307"/>
                  </a:cubicBezTo>
                  <a:cubicBezTo>
                    <a:pt x="192" y="307"/>
                    <a:pt x="188" y="309"/>
                    <a:pt x="187" y="308"/>
                  </a:cubicBezTo>
                  <a:cubicBezTo>
                    <a:pt x="188" y="308"/>
                    <a:pt x="190" y="306"/>
                    <a:pt x="192" y="306"/>
                  </a:cubicBezTo>
                  <a:cubicBezTo>
                    <a:pt x="194" y="305"/>
                    <a:pt x="196" y="305"/>
                    <a:pt x="198" y="305"/>
                  </a:cubicBezTo>
                  <a:cubicBezTo>
                    <a:pt x="199" y="305"/>
                    <a:pt x="204" y="301"/>
                    <a:pt x="203" y="301"/>
                  </a:cubicBezTo>
                  <a:cubicBezTo>
                    <a:pt x="204" y="299"/>
                    <a:pt x="204" y="296"/>
                    <a:pt x="202" y="297"/>
                  </a:cubicBezTo>
                  <a:cubicBezTo>
                    <a:pt x="200" y="297"/>
                    <a:pt x="199" y="298"/>
                    <a:pt x="196" y="297"/>
                  </a:cubicBezTo>
                  <a:cubicBezTo>
                    <a:pt x="198" y="296"/>
                    <a:pt x="201" y="297"/>
                    <a:pt x="202" y="295"/>
                  </a:cubicBezTo>
                  <a:cubicBezTo>
                    <a:pt x="203" y="294"/>
                    <a:pt x="205" y="293"/>
                    <a:pt x="205" y="292"/>
                  </a:cubicBezTo>
                  <a:cubicBezTo>
                    <a:pt x="206" y="294"/>
                    <a:pt x="208" y="295"/>
                    <a:pt x="210" y="294"/>
                  </a:cubicBezTo>
                  <a:cubicBezTo>
                    <a:pt x="210" y="294"/>
                    <a:pt x="215" y="291"/>
                    <a:pt x="214" y="290"/>
                  </a:cubicBezTo>
                  <a:cubicBezTo>
                    <a:pt x="213" y="290"/>
                    <a:pt x="212" y="292"/>
                    <a:pt x="212" y="290"/>
                  </a:cubicBezTo>
                  <a:cubicBezTo>
                    <a:pt x="212" y="289"/>
                    <a:pt x="214" y="288"/>
                    <a:pt x="214" y="287"/>
                  </a:cubicBezTo>
                  <a:cubicBezTo>
                    <a:pt x="212" y="287"/>
                    <a:pt x="210" y="288"/>
                    <a:pt x="208" y="287"/>
                  </a:cubicBezTo>
                  <a:cubicBezTo>
                    <a:pt x="209" y="287"/>
                    <a:pt x="212" y="288"/>
                    <a:pt x="213" y="287"/>
                  </a:cubicBezTo>
                  <a:cubicBezTo>
                    <a:pt x="214" y="286"/>
                    <a:pt x="211" y="284"/>
                    <a:pt x="211" y="284"/>
                  </a:cubicBezTo>
                  <a:cubicBezTo>
                    <a:pt x="212" y="284"/>
                    <a:pt x="213" y="284"/>
                    <a:pt x="214" y="285"/>
                  </a:cubicBezTo>
                  <a:cubicBezTo>
                    <a:pt x="214" y="286"/>
                    <a:pt x="215" y="288"/>
                    <a:pt x="216" y="287"/>
                  </a:cubicBezTo>
                  <a:cubicBezTo>
                    <a:pt x="217" y="287"/>
                    <a:pt x="219" y="285"/>
                    <a:pt x="220" y="283"/>
                  </a:cubicBezTo>
                  <a:cubicBezTo>
                    <a:pt x="222" y="281"/>
                    <a:pt x="223" y="280"/>
                    <a:pt x="224" y="278"/>
                  </a:cubicBezTo>
                  <a:cubicBezTo>
                    <a:pt x="225" y="274"/>
                    <a:pt x="226" y="272"/>
                    <a:pt x="227" y="269"/>
                  </a:cubicBezTo>
                  <a:cubicBezTo>
                    <a:pt x="229" y="266"/>
                    <a:pt x="230" y="261"/>
                    <a:pt x="229" y="258"/>
                  </a:cubicBezTo>
                  <a:close/>
                  <a:moveTo>
                    <a:pt x="23" y="83"/>
                  </a:moveTo>
                  <a:cubicBezTo>
                    <a:pt x="25" y="83"/>
                    <a:pt x="27" y="82"/>
                    <a:pt x="29" y="83"/>
                  </a:cubicBezTo>
                  <a:cubicBezTo>
                    <a:pt x="27" y="84"/>
                    <a:pt x="25" y="83"/>
                    <a:pt x="23" y="83"/>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24">
              <a:extLst>
                <a:ext uri="{FF2B5EF4-FFF2-40B4-BE49-F238E27FC236}">
                  <a16:creationId xmlns:a16="http://schemas.microsoft.com/office/drawing/2014/main" id="{FCA7534C-2AE1-21AF-15B9-0A721F7FD62B}"/>
                </a:ext>
              </a:extLst>
            </p:cNvPr>
            <p:cNvSpPr>
              <a:spLocks/>
            </p:cNvSpPr>
            <p:nvPr/>
          </p:nvSpPr>
          <p:spPr bwMode="auto">
            <a:xfrm>
              <a:off x="1146261" y="4560282"/>
              <a:ext cx="0" cy="357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1"/>
                    <a:pt x="0" y="1"/>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25">
              <a:extLst>
                <a:ext uri="{FF2B5EF4-FFF2-40B4-BE49-F238E27FC236}">
                  <a16:creationId xmlns:a16="http://schemas.microsoft.com/office/drawing/2014/main" id="{31EF06DC-74C4-BD7A-36FC-49678DDD3CF0}"/>
                </a:ext>
              </a:extLst>
            </p:cNvPr>
            <p:cNvSpPr>
              <a:spLocks/>
            </p:cNvSpPr>
            <p:nvPr/>
          </p:nvSpPr>
          <p:spPr bwMode="auto">
            <a:xfrm>
              <a:off x="1043548" y="3901166"/>
              <a:ext cx="219593" cy="154946"/>
            </a:xfrm>
            <a:custGeom>
              <a:avLst/>
              <a:gdLst>
                <a:gd name="T0" fmla="*/ 58 w 79"/>
                <a:gd name="T1" fmla="*/ 53 h 55"/>
                <a:gd name="T2" fmla="*/ 65 w 79"/>
                <a:gd name="T3" fmla="*/ 50 h 55"/>
                <a:gd name="T4" fmla="*/ 70 w 79"/>
                <a:gd name="T5" fmla="*/ 45 h 55"/>
                <a:gd name="T6" fmla="*/ 76 w 79"/>
                <a:gd name="T7" fmla="*/ 41 h 55"/>
                <a:gd name="T8" fmla="*/ 71 w 79"/>
                <a:gd name="T9" fmla="*/ 40 h 55"/>
                <a:gd name="T10" fmla="*/ 73 w 79"/>
                <a:gd name="T11" fmla="*/ 34 h 55"/>
                <a:gd name="T12" fmla="*/ 74 w 79"/>
                <a:gd name="T13" fmla="*/ 33 h 55"/>
                <a:gd name="T14" fmla="*/ 72 w 79"/>
                <a:gd name="T15" fmla="*/ 31 h 55"/>
                <a:gd name="T16" fmla="*/ 76 w 79"/>
                <a:gd name="T17" fmla="*/ 35 h 55"/>
                <a:gd name="T18" fmla="*/ 77 w 79"/>
                <a:gd name="T19" fmla="*/ 41 h 55"/>
                <a:gd name="T20" fmla="*/ 79 w 79"/>
                <a:gd name="T21" fmla="*/ 34 h 55"/>
                <a:gd name="T22" fmla="*/ 75 w 79"/>
                <a:gd name="T23" fmla="*/ 26 h 55"/>
                <a:gd name="T24" fmla="*/ 67 w 79"/>
                <a:gd name="T25" fmla="*/ 29 h 55"/>
                <a:gd name="T26" fmla="*/ 66 w 79"/>
                <a:gd name="T27" fmla="*/ 28 h 55"/>
                <a:gd name="T28" fmla="*/ 69 w 79"/>
                <a:gd name="T29" fmla="*/ 25 h 55"/>
                <a:gd name="T30" fmla="*/ 73 w 79"/>
                <a:gd name="T31" fmla="*/ 19 h 55"/>
                <a:gd name="T32" fmla="*/ 71 w 79"/>
                <a:gd name="T33" fmla="*/ 19 h 55"/>
                <a:gd name="T34" fmla="*/ 72 w 79"/>
                <a:gd name="T35" fmla="*/ 21 h 55"/>
                <a:gd name="T36" fmla="*/ 70 w 79"/>
                <a:gd name="T37" fmla="*/ 20 h 55"/>
                <a:gd name="T38" fmla="*/ 70 w 79"/>
                <a:gd name="T39" fmla="*/ 18 h 55"/>
                <a:gd name="T40" fmla="*/ 66 w 79"/>
                <a:gd name="T41" fmla="*/ 14 h 55"/>
                <a:gd name="T42" fmla="*/ 66 w 79"/>
                <a:gd name="T43" fmla="*/ 11 h 55"/>
                <a:gd name="T44" fmla="*/ 64 w 79"/>
                <a:gd name="T45" fmla="*/ 10 h 55"/>
                <a:gd name="T46" fmla="*/ 64 w 79"/>
                <a:gd name="T47" fmla="*/ 4 h 55"/>
                <a:gd name="T48" fmla="*/ 59 w 79"/>
                <a:gd name="T49" fmla="*/ 3 h 55"/>
                <a:gd name="T50" fmla="*/ 50 w 79"/>
                <a:gd name="T51" fmla="*/ 3 h 55"/>
                <a:gd name="T52" fmla="*/ 39 w 79"/>
                <a:gd name="T53" fmla="*/ 5 h 55"/>
                <a:gd name="T54" fmla="*/ 36 w 79"/>
                <a:gd name="T55" fmla="*/ 9 h 55"/>
                <a:gd name="T56" fmla="*/ 29 w 79"/>
                <a:gd name="T57" fmla="*/ 10 h 55"/>
                <a:gd name="T58" fmla="*/ 24 w 79"/>
                <a:gd name="T59" fmla="*/ 14 h 55"/>
                <a:gd name="T60" fmla="*/ 22 w 79"/>
                <a:gd name="T61" fmla="*/ 19 h 55"/>
                <a:gd name="T62" fmla="*/ 19 w 79"/>
                <a:gd name="T63" fmla="*/ 22 h 55"/>
                <a:gd name="T64" fmla="*/ 14 w 79"/>
                <a:gd name="T65" fmla="*/ 25 h 55"/>
                <a:gd name="T66" fmla="*/ 8 w 79"/>
                <a:gd name="T67" fmla="*/ 26 h 55"/>
                <a:gd name="T68" fmla="*/ 14 w 79"/>
                <a:gd name="T69" fmla="*/ 28 h 55"/>
                <a:gd name="T70" fmla="*/ 8 w 79"/>
                <a:gd name="T71" fmla="*/ 32 h 55"/>
                <a:gd name="T72" fmla="*/ 5 w 79"/>
                <a:gd name="T73" fmla="*/ 33 h 55"/>
                <a:gd name="T74" fmla="*/ 0 w 79"/>
                <a:gd name="T75" fmla="*/ 35 h 55"/>
                <a:gd name="T76" fmla="*/ 7 w 79"/>
                <a:gd name="T77" fmla="*/ 43 h 55"/>
                <a:gd name="T78" fmla="*/ 8 w 79"/>
                <a:gd name="T79" fmla="*/ 46 h 55"/>
                <a:gd name="T80" fmla="*/ 12 w 79"/>
                <a:gd name="T81" fmla="*/ 47 h 55"/>
                <a:gd name="T82" fmla="*/ 17 w 79"/>
                <a:gd name="T83" fmla="*/ 50 h 55"/>
                <a:gd name="T84" fmla="*/ 21 w 79"/>
                <a:gd name="T85" fmla="*/ 49 h 55"/>
                <a:gd name="T86" fmla="*/ 23 w 79"/>
                <a:gd name="T87" fmla="*/ 50 h 55"/>
                <a:gd name="T88" fmla="*/ 24 w 79"/>
                <a:gd name="T89" fmla="*/ 48 h 55"/>
                <a:gd name="T90" fmla="*/ 24 w 79"/>
                <a:gd name="T91" fmla="*/ 50 h 55"/>
                <a:gd name="T92" fmla="*/ 26 w 79"/>
                <a:gd name="T93" fmla="*/ 47 h 55"/>
                <a:gd name="T94" fmla="*/ 29 w 79"/>
                <a:gd name="T95" fmla="*/ 44 h 55"/>
                <a:gd name="T96" fmla="*/ 30 w 79"/>
                <a:gd name="T97" fmla="*/ 40 h 55"/>
                <a:gd name="T98" fmla="*/ 36 w 79"/>
                <a:gd name="T99" fmla="*/ 39 h 55"/>
                <a:gd name="T100" fmla="*/ 37 w 79"/>
                <a:gd name="T101" fmla="*/ 42 h 55"/>
                <a:gd name="T102" fmla="*/ 39 w 79"/>
                <a:gd name="T103" fmla="*/ 46 h 55"/>
                <a:gd name="T104" fmla="*/ 43 w 79"/>
                <a:gd name="T105" fmla="*/ 50 h 55"/>
                <a:gd name="T106" fmla="*/ 47 w 79"/>
                <a:gd name="T107" fmla="*/ 53 h 55"/>
                <a:gd name="T108" fmla="*/ 51 w 79"/>
                <a:gd name="T109" fmla="*/ 52 h 55"/>
                <a:gd name="T110" fmla="*/ 52 w 79"/>
                <a:gd name="T111" fmla="*/ 50 h 55"/>
                <a:gd name="T112" fmla="*/ 59 w 79"/>
                <a:gd name="T113" fmla="*/ 53 h 55"/>
                <a:gd name="T114" fmla="*/ 58 w 79"/>
                <a:gd name="T115"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 h="55">
                  <a:moveTo>
                    <a:pt x="58" y="53"/>
                  </a:moveTo>
                  <a:cubicBezTo>
                    <a:pt x="61" y="55"/>
                    <a:pt x="63" y="52"/>
                    <a:pt x="65" y="50"/>
                  </a:cubicBezTo>
                  <a:cubicBezTo>
                    <a:pt x="66" y="47"/>
                    <a:pt x="67" y="44"/>
                    <a:pt x="70" y="45"/>
                  </a:cubicBezTo>
                  <a:cubicBezTo>
                    <a:pt x="72" y="45"/>
                    <a:pt x="75" y="45"/>
                    <a:pt x="76" y="41"/>
                  </a:cubicBezTo>
                  <a:cubicBezTo>
                    <a:pt x="76" y="38"/>
                    <a:pt x="72" y="40"/>
                    <a:pt x="71" y="40"/>
                  </a:cubicBezTo>
                  <a:cubicBezTo>
                    <a:pt x="72" y="39"/>
                    <a:pt x="76" y="35"/>
                    <a:pt x="73" y="34"/>
                  </a:cubicBezTo>
                  <a:cubicBezTo>
                    <a:pt x="73" y="33"/>
                    <a:pt x="73" y="33"/>
                    <a:pt x="74" y="33"/>
                  </a:cubicBezTo>
                  <a:cubicBezTo>
                    <a:pt x="73" y="33"/>
                    <a:pt x="72" y="32"/>
                    <a:pt x="72" y="31"/>
                  </a:cubicBezTo>
                  <a:cubicBezTo>
                    <a:pt x="73" y="29"/>
                    <a:pt x="76" y="34"/>
                    <a:pt x="76" y="35"/>
                  </a:cubicBezTo>
                  <a:cubicBezTo>
                    <a:pt x="76" y="37"/>
                    <a:pt x="75" y="41"/>
                    <a:pt x="77" y="41"/>
                  </a:cubicBezTo>
                  <a:cubicBezTo>
                    <a:pt x="78" y="41"/>
                    <a:pt x="79" y="35"/>
                    <a:pt x="79" y="34"/>
                  </a:cubicBezTo>
                  <a:cubicBezTo>
                    <a:pt x="77" y="32"/>
                    <a:pt x="79" y="27"/>
                    <a:pt x="75" y="26"/>
                  </a:cubicBezTo>
                  <a:cubicBezTo>
                    <a:pt x="73" y="25"/>
                    <a:pt x="69" y="27"/>
                    <a:pt x="67" y="29"/>
                  </a:cubicBezTo>
                  <a:cubicBezTo>
                    <a:pt x="66" y="30"/>
                    <a:pt x="66" y="29"/>
                    <a:pt x="66" y="28"/>
                  </a:cubicBezTo>
                  <a:cubicBezTo>
                    <a:pt x="67" y="26"/>
                    <a:pt x="68" y="26"/>
                    <a:pt x="69" y="25"/>
                  </a:cubicBezTo>
                  <a:cubicBezTo>
                    <a:pt x="71" y="24"/>
                    <a:pt x="74" y="22"/>
                    <a:pt x="73" y="19"/>
                  </a:cubicBezTo>
                  <a:cubicBezTo>
                    <a:pt x="72" y="19"/>
                    <a:pt x="70" y="18"/>
                    <a:pt x="71" y="19"/>
                  </a:cubicBezTo>
                  <a:cubicBezTo>
                    <a:pt x="71" y="20"/>
                    <a:pt x="72" y="20"/>
                    <a:pt x="72" y="21"/>
                  </a:cubicBezTo>
                  <a:cubicBezTo>
                    <a:pt x="72" y="21"/>
                    <a:pt x="70" y="21"/>
                    <a:pt x="70" y="20"/>
                  </a:cubicBezTo>
                  <a:cubicBezTo>
                    <a:pt x="70" y="19"/>
                    <a:pt x="70" y="19"/>
                    <a:pt x="70" y="18"/>
                  </a:cubicBezTo>
                  <a:cubicBezTo>
                    <a:pt x="69" y="16"/>
                    <a:pt x="67" y="15"/>
                    <a:pt x="66" y="14"/>
                  </a:cubicBezTo>
                  <a:cubicBezTo>
                    <a:pt x="66" y="12"/>
                    <a:pt x="66" y="13"/>
                    <a:pt x="66" y="11"/>
                  </a:cubicBezTo>
                  <a:cubicBezTo>
                    <a:pt x="67" y="9"/>
                    <a:pt x="64" y="10"/>
                    <a:pt x="64" y="10"/>
                  </a:cubicBezTo>
                  <a:cubicBezTo>
                    <a:pt x="63" y="8"/>
                    <a:pt x="65" y="6"/>
                    <a:pt x="64" y="4"/>
                  </a:cubicBezTo>
                  <a:cubicBezTo>
                    <a:pt x="63" y="2"/>
                    <a:pt x="61" y="4"/>
                    <a:pt x="59" y="3"/>
                  </a:cubicBezTo>
                  <a:cubicBezTo>
                    <a:pt x="56" y="3"/>
                    <a:pt x="52" y="0"/>
                    <a:pt x="50" y="3"/>
                  </a:cubicBezTo>
                  <a:cubicBezTo>
                    <a:pt x="47" y="4"/>
                    <a:pt x="43" y="6"/>
                    <a:pt x="39" y="5"/>
                  </a:cubicBezTo>
                  <a:cubicBezTo>
                    <a:pt x="37" y="4"/>
                    <a:pt x="37" y="8"/>
                    <a:pt x="36" y="9"/>
                  </a:cubicBezTo>
                  <a:cubicBezTo>
                    <a:pt x="35" y="11"/>
                    <a:pt x="31" y="11"/>
                    <a:pt x="29" y="10"/>
                  </a:cubicBezTo>
                  <a:cubicBezTo>
                    <a:pt x="28" y="8"/>
                    <a:pt x="25" y="12"/>
                    <a:pt x="24" y="14"/>
                  </a:cubicBezTo>
                  <a:cubicBezTo>
                    <a:pt x="23" y="16"/>
                    <a:pt x="23" y="18"/>
                    <a:pt x="22" y="19"/>
                  </a:cubicBezTo>
                  <a:cubicBezTo>
                    <a:pt x="21" y="20"/>
                    <a:pt x="19" y="21"/>
                    <a:pt x="19" y="22"/>
                  </a:cubicBezTo>
                  <a:cubicBezTo>
                    <a:pt x="19" y="24"/>
                    <a:pt x="15" y="24"/>
                    <a:pt x="14" y="25"/>
                  </a:cubicBezTo>
                  <a:cubicBezTo>
                    <a:pt x="13" y="25"/>
                    <a:pt x="7" y="23"/>
                    <a:pt x="8" y="26"/>
                  </a:cubicBezTo>
                  <a:cubicBezTo>
                    <a:pt x="9" y="28"/>
                    <a:pt x="12" y="30"/>
                    <a:pt x="14" y="28"/>
                  </a:cubicBezTo>
                  <a:cubicBezTo>
                    <a:pt x="14" y="31"/>
                    <a:pt x="10" y="31"/>
                    <a:pt x="8" y="32"/>
                  </a:cubicBezTo>
                  <a:cubicBezTo>
                    <a:pt x="7" y="32"/>
                    <a:pt x="6" y="33"/>
                    <a:pt x="5" y="33"/>
                  </a:cubicBezTo>
                  <a:cubicBezTo>
                    <a:pt x="3" y="34"/>
                    <a:pt x="2" y="35"/>
                    <a:pt x="0" y="35"/>
                  </a:cubicBezTo>
                  <a:cubicBezTo>
                    <a:pt x="1" y="38"/>
                    <a:pt x="5" y="42"/>
                    <a:pt x="7" y="43"/>
                  </a:cubicBezTo>
                  <a:cubicBezTo>
                    <a:pt x="8" y="43"/>
                    <a:pt x="8" y="45"/>
                    <a:pt x="8" y="46"/>
                  </a:cubicBezTo>
                  <a:cubicBezTo>
                    <a:pt x="9" y="47"/>
                    <a:pt x="11" y="47"/>
                    <a:pt x="12" y="47"/>
                  </a:cubicBezTo>
                  <a:cubicBezTo>
                    <a:pt x="14" y="47"/>
                    <a:pt x="15" y="49"/>
                    <a:pt x="17" y="50"/>
                  </a:cubicBezTo>
                  <a:cubicBezTo>
                    <a:pt x="18" y="50"/>
                    <a:pt x="20" y="49"/>
                    <a:pt x="21" y="49"/>
                  </a:cubicBezTo>
                  <a:cubicBezTo>
                    <a:pt x="21" y="49"/>
                    <a:pt x="23" y="51"/>
                    <a:pt x="23" y="50"/>
                  </a:cubicBezTo>
                  <a:cubicBezTo>
                    <a:pt x="23" y="50"/>
                    <a:pt x="23" y="48"/>
                    <a:pt x="24" y="48"/>
                  </a:cubicBezTo>
                  <a:cubicBezTo>
                    <a:pt x="24" y="49"/>
                    <a:pt x="24" y="49"/>
                    <a:pt x="24" y="50"/>
                  </a:cubicBezTo>
                  <a:cubicBezTo>
                    <a:pt x="25" y="49"/>
                    <a:pt x="25" y="47"/>
                    <a:pt x="26" y="47"/>
                  </a:cubicBezTo>
                  <a:cubicBezTo>
                    <a:pt x="27" y="46"/>
                    <a:pt x="30" y="46"/>
                    <a:pt x="29" y="44"/>
                  </a:cubicBezTo>
                  <a:cubicBezTo>
                    <a:pt x="27" y="41"/>
                    <a:pt x="28" y="42"/>
                    <a:pt x="30" y="40"/>
                  </a:cubicBezTo>
                  <a:cubicBezTo>
                    <a:pt x="32" y="39"/>
                    <a:pt x="33" y="36"/>
                    <a:pt x="36" y="39"/>
                  </a:cubicBezTo>
                  <a:cubicBezTo>
                    <a:pt x="37" y="40"/>
                    <a:pt x="38" y="41"/>
                    <a:pt x="37" y="42"/>
                  </a:cubicBezTo>
                  <a:cubicBezTo>
                    <a:pt x="37" y="44"/>
                    <a:pt x="38" y="45"/>
                    <a:pt x="39" y="46"/>
                  </a:cubicBezTo>
                  <a:cubicBezTo>
                    <a:pt x="40" y="48"/>
                    <a:pt x="45" y="46"/>
                    <a:pt x="43" y="50"/>
                  </a:cubicBezTo>
                  <a:cubicBezTo>
                    <a:pt x="40" y="54"/>
                    <a:pt x="45" y="53"/>
                    <a:pt x="47" y="53"/>
                  </a:cubicBezTo>
                  <a:cubicBezTo>
                    <a:pt x="48" y="52"/>
                    <a:pt x="50" y="53"/>
                    <a:pt x="51" y="52"/>
                  </a:cubicBezTo>
                  <a:cubicBezTo>
                    <a:pt x="51" y="52"/>
                    <a:pt x="51" y="50"/>
                    <a:pt x="52" y="50"/>
                  </a:cubicBezTo>
                  <a:cubicBezTo>
                    <a:pt x="54" y="51"/>
                    <a:pt x="57" y="51"/>
                    <a:pt x="59" y="53"/>
                  </a:cubicBezTo>
                  <a:cubicBezTo>
                    <a:pt x="58" y="53"/>
                    <a:pt x="58" y="53"/>
                    <a:pt x="58" y="53"/>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26">
              <a:extLst>
                <a:ext uri="{FF2B5EF4-FFF2-40B4-BE49-F238E27FC236}">
                  <a16:creationId xmlns:a16="http://schemas.microsoft.com/office/drawing/2014/main" id="{CEBD199E-A322-C446-0A64-E7B072542E19}"/>
                </a:ext>
              </a:extLst>
            </p:cNvPr>
            <p:cNvSpPr>
              <a:spLocks/>
            </p:cNvSpPr>
            <p:nvPr/>
          </p:nvSpPr>
          <p:spPr bwMode="auto">
            <a:xfrm>
              <a:off x="1277308" y="3847531"/>
              <a:ext cx="25973" cy="35757"/>
            </a:xfrm>
            <a:custGeom>
              <a:avLst/>
              <a:gdLst>
                <a:gd name="T0" fmla="*/ 9 w 9"/>
                <a:gd name="T1" fmla="*/ 8 h 13"/>
                <a:gd name="T2" fmla="*/ 9 w 9"/>
                <a:gd name="T3" fmla="*/ 7 h 13"/>
                <a:gd name="T4" fmla="*/ 8 w 9"/>
                <a:gd name="T5" fmla="*/ 5 h 13"/>
                <a:gd name="T6" fmla="*/ 4 w 9"/>
                <a:gd name="T7" fmla="*/ 1 h 13"/>
                <a:gd name="T8" fmla="*/ 2 w 9"/>
                <a:gd name="T9" fmla="*/ 8 h 13"/>
                <a:gd name="T10" fmla="*/ 3 w 9"/>
                <a:gd name="T11" fmla="*/ 12 h 13"/>
                <a:gd name="T12" fmla="*/ 7 w 9"/>
                <a:gd name="T13" fmla="*/ 13 h 13"/>
                <a:gd name="T14" fmla="*/ 9 w 9"/>
                <a:gd name="T15" fmla="*/ 11 h 13"/>
                <a:gd name="T16" fmla="*/ 9 w 9"/>
                <a:gd name="T17" fmla="*/ 9 h 13"/>
                <a:gd name="T18" fmla="*/ 9 w 9"/>
                <a:gd name="T19"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9" y="8"/>
                  </a:moveTo>
                  <a:cubicBezTo>
                    <a:pt x="9" y="8"/>
                    <a:pt x="9" y="7"/>
                    <a:pt x="9" y="7"/>
                  </a:cubicBezTo>
                  <a:cubicBezTo>
                    <a:pt x="8" y="6"/>
                    <a:pt x="9" y="6"/>
                    <a:pt x="8" y="5"/>
                  </a:cubicBezTo>
                  <a:cubicBezTo>
                    <a:pt x="8" y="2"/>
                    <a:pt x="7" y="0"/>
                    <a:pt x="4" y="1"/>
                  </a:cubicBezTo>
                  <a:cubicBezTo>
                    <a:pt x="0" y="2"/>
                    <a:pt x="1" y="5"/>
                    <a:pt x="2" y="8"/>
                  </a:cubicBezTo>
                  <a:cubicBezTo>
                    <a:pt x="2" y="10"/>
                    <a:pt x="1" y="11"/>
                    <a:pt x="3" y="12"/>
                  </a:cubicBezTo>
                  <a:cubicBezTo>
                    <a:pt x="4" y="13"/>
                    <a:pt x="5" y="13"/>
                    <a:pt x="7" y="13"/>
                  </a:cubicBezTo>
                  <a:cubicBezTo>
                    <a:pt x="8" y="13"/>
                    <a:pt x="9" y="12"/>
                    <a:pt x="9" y="11"/>
                  </a:cubicBezTo>
                  <a:cubicBezTo>
                    <a:pt x="9" y="9"/>
                    <a:pt x="9" y="10"/>
                    <a:pt x="9" y="9"/>
                  </a:cubicBezTo>
                  <a:cubicBezTo>
                    <a:pt x="9" y="9"/>
                    <a:pt x="9" y="7"/>
                    <a:pt x="9" y="8"/>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27">
              <a:extLst>
                <a:ext uri="{FF2B5EF4-FFF2-40B4-BE49-F238E27FC236}">
                  <a16:creationId xmlns:a16="http://schemas.microsoft.com/office/drawing/2014/main" id="{A93CDBE8-3A40-D5AF-60A5-D11C8614D322}"/>
                </a:ext>
              </a:extLst>
            </p:cNvPr>
            <p:cNvSpPr>
              <a:spLocks/>
            </p:cNvSpPr>
            <p:nvPr/>
          </p:nvSpPr>
          <p:spPr bwMode="auto">
            <a:xfrm>
              <a:off x="1211194" y="3736685"/>
              <a:ext cx="61392" cy="48868"/>
            </a:xfrm>
            <a:custGeom>
              <a:avLst/>
              <a:gdLst>
                <a:gd name="T0" fmla="*/ 16 w 22"/>
                <a:gd name="T1" fmla="*/ 6 h 17"/>
                <a:gd name="T2" fmla="*/ 12 w 22"/>
                <a:gd name="T3" fmla="*/ 4 h 17"/>
                <a:gd name="T4" fmla="*/ 7 w 22"/>
                <a:gd name="T5" fmla="*/ 0 h 17"/>
                <a:gd name="T6" fmla="*/ 2 w 22"/>
                <a:gd name="T7" fmla="*/ 2 h 17"/>
                <a:gd name="T8" fmla="*/ 3 w 22"/>
                <a:gd name="T9" fmla="*/ 3 h 17"/>
                <a:gd name="T10" fmla="*/ 4 w 22"/>
                <a:gd name="T11" fmla="*/ 5 h 17"/>
                <a:gd name="T12" fmla="*/ 7 w 22"/>
                <a:gd name="T13" fmla="*/ 7 h 17"/>
                <a:gd name="T14" fmla="*/ 10 w 22"/>
                <a:gd name="T15" fmla="*/ 8 h 17"/>
                <a:gd name="T16" fmla="*/ 5 w 22"/>
                <a:gd name="T17" fmla="*/ 11 h 17"/>
                <a:gd name="T18" fmla="*/ 10 w 22"/>
                <a:gd name="T19" fmla="*/ 12 h 17"/>
                <a:gd name="T20" fmla="*/ 5 w 22"/>
                <a:gd name="T21" fmla="*/ 13 h 17"/>
                <a:gd name="T22" fmla="*/ 3 w 22"/>
                <a:gd name="T23" fmla="*/ 14 h 17"/>
                <a:gd name="T24" fmla="*/ 0 w 22"/>
                <a:gd name="T25" fmla="*/ 14 h 17"/>
                <a:gd name="T26" fmla="*/ 2 w 22"/>
                <a:gd name="T27" fmla="*/ 17 h 17"/>
                <a:gd name="T28" fmla="*/ 8 w 22"/>
                <a:gd name="T29" fmla="*/ 15 h 17"/>
                <a:gd name="T30" fmla="*/ 14 w 22"/>
                <a:gd name="T31" fmla="*/ 13 h 17"/>
                <a:gd name="T32" fmla="*/ 14 w 22"/>
                <a:gd name="T33" fmla="*/ 14 h 17"/>
                <a:gd name="T34" fmla="*/ 17 w 22"/>
                <a:gd name="T35" fmla="*/ 12 h 17"/>
                <a:gd name="T36" fmla="*/ 20 w 22"/>
                <a:gd name="T37" fmla="*/ 9 h 17"/>
                <a:gd name="T38" fmla="*/ 16 w 22"/>
                <a:gd name="T3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7">
                  <a:moveTo>
                    <a:pt x="16" y="6"/>
                  </a:moveTo>
                  <a:cubicBezTo>
                    <a:pt x="14" y="5"/>
                    <a:pt x="13" y="6"/>
                    <a:pt x="12" y="4"/>
                  </a:cubicBezTo>
                  <a:cubicBezTo>
                    <a:pt x="11" y="2"/>
                    <a:pt x="9" y="0"/>
                    <a:pt x="7" y="0"/>
                  </a:cubicBezTo>
                  <a:cubicBezTo>
                    <a:pt x="6" y="0"/>
                    <a:pt x="3" y="1"/>
                    <a:pt x="2" y="2"/>
                  </a:cubicBezTo>
                  <a:cubicBezTo>
                    <a:pt x="2" y="3"/>
                    <a:pt x="3" y="3"/>
                    <a:pt x="3" y="3"/>
                  </a:cubicBezTo>
                  <a:cubicBezTo>
                    <a:pt x="2" y="5"/>
                    <a:pt x="2" y="5"/>
                    <a:pt x="4" y="5"/>
                  </a:cubicBezTo>
                  <a:cubicBezTo>
                    <a:pt x="5" y="6"/>
                    <a:pt x="6" y="7"/>
                    <a:pt x="7" y="7"/>
                  </a:cubicBezTo>
                  <a:cubicBezTo>
                    <a:pt x="8" y="7"/>
                    <a:pt x="13" y="6"/>
                    <a:pt x="10" y="8"/>
                  </a:cubicBezTo>
                  <a:cubicBezTo>
                    <a:pt x="8" y="9"/>
                    <a:pt x="7" y="9"/>
                    <a:pt x="5" y="11"/>
                  </a:cubicBezTo>
                  <a:cubicBezTo>
                    <a:pt x="3" y="13"/>
                    <a:pt x="10" y="12"/>
                    <a:pt x="10" y="12"/>
                  </a:cubicBezTo>
                  <a:cubicBezTo>
                    <a:pt x="9" y="13"/>
                    <a:pt x="6" y="13"/>
                    <a:pt x="5" y="13"/>
                  </a:cubicBezTo>
                  <a:cubicBezTo>
                    <a:pt x="4" y="13"/>
                    <a:pt x="3" y="14"/>
                    <a:pt x="3" y="14"/>
                  </a:cubicBezTo>
                  <a:cubicBezTo>
                    <a:pt x="2" y="14"/>
                    <a:pt x="0" y="11"/>
                    <a:pt x="0" y="14"/>
                  </a:cubicBezTo>
                  <a:cubicBezTo>
                    <a:pt x="0" y="16"/>
                    <a:pt x="1" y="17"/>
                    <a:pt x="2" y="17"/>
                  </a:cubicBezTo>
                  <a:cubicBezTo>
                    <a:pt x="4" y="15"/>
                    <a:pt x="6" y="16"/>
                    <a:pt x="8" y="15"/>
                  </a:cubicBezTo>
                  <a:cubicBezTo>
                    <a:pt x="9" y="15"/>
                    <a:pt x="14" y="13"/>
                    <a:pt x="14" y="13"/>
                  </a:cubicBezTo>
                  <a:cubicBezTo>
                    <a:pt x="14" y="14"/>
                    <a:pt x="14" y="14"/>
                    <a:pt x="14" y="14"/>
                  </a:cubicBezTo>
                  <a:cubicBezTo>
                    <a:pt x="16" y="15"/>
                    <a:pt x="21" y="11"/>
                    <a:pt x="17" y="12"/>
                  </a:cubicBezTo>
                  <a:cubicBezTo>
                    <a:pt x="18" y="11"/>
                    <a:pt x="21" y="11"/>
                    <a:pt x="20" y="9"/>
                  </a:cubicBezTo>
                  <a:cubicBezTo>
                    <a:pt x="22" y="9"/>
                    <a:pt x="17" y="6"/>
                    <a:pt x="16" y="6"/>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28">
              <a:extLst>
                <a:ext uri="{FF2B5EF4-FFF2-40B4-BE49-F238E27FC236}">
                  <a16:creationId xmlns:a16="http://schemas.microsoft.com/office/drawing/2014/main" id="{6680367E-A177-C1AC-0606-A83CBD6D8588}"/>
                </a:ext>
              </a:extLst>
            </p:cNvPr>
            <p:cNvSpPr>
              <a:spLocks/>
            </p:cNvSpPr>
            <p:nvPr/>
          </p:nvSpPr>
          <p:spPr bwMode="auto">
            <a:xfrm>
              <a:off x="1224181" y="3798663"/>
              <a:ext cx="42502" cy="42908"/>
            </a:xfrm>
            <a:custGeom>
              <a:avLst/>
              <a:gdLst>
                <a:gd name="T0" fmla="*/ 10 w 15"/>
                <a:gd name="T1" fmla="*/ 6 h 15"/>
                <a:gd name="T2" fmla="*/ 13 w 15"/>
                <a:gd name="T3" fmla="*/ 0 h 15"/>
                <a:gd name="T4" fmla="*/ 7 w 15"/>
                <a:gd name="T5" fmla="*/ 3 h 15"/>
                <a:gd name="T6" fmla="*/ 7 w 15"/>
                <a:gd name="T7" fmla="*/ 7 h 15"/>
                <a:gd name="T8" fmla="*/ 1 w 15"/>
                <a:gd name="T9" fmla="*/ 10 h 15"/>
                <a:gd name="T10" fmla="*/ 4 w 15"/>
                <a:gd name="T11" fmla="*/ 15 h 15"/>
                <a:gd name="T12" fmla="*/ 10 w 15"/>
                <a:gd name="T13" fmla="*/ 6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10" y="6"/>
                  </a:moveTo>
                  <a:cubicBezTo>
                    <a:pt x="10" y="5"/>
                    <a:pt x="15" y="0"/>
                    <a:pt x="13" y="0"/>
                  </a:cubicBezTo>
                  <a:cubicBezTo>
                    <a:pt x="11" y="0"/>
                    <a:pt x="9" y="2"/>
                    <a:pt x="7" y="3"/>
                  </a:cubicBezTo>
                  <a:cubicBezTo>
                    <a:pt x="5" y="5"/>
                    <a:pt x="3" y="7"/>
                    <a:pt x="7" y="7"/>
                  </a:cubicBezTo>
                  <a:cubicBezTo>
                    <a:pt x="5" y="9"/>
                    <a:pt x="2" y="7"/>
                    <a:pt x="1" y="10"/>
                  </a:cubicBezTo>
                  <a:cubicBezTo>
                    <a:pt x="0" y="13"/>
                    <a:pt x="2" y="15"/>
                    <a:pt x="4" y="15"/>
                  </a:cubicBezTo>
                  <a:cubicBezTo>
                    <a:pt x="6" y="12"/>
                    <a:pt x="8" y="8"/>
                    <a:pt x="10" y="6"/>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29">
              <a:extLst>
                <a:ext uri="{FF2B5EF4-FFF2-40B4-BE49-F238E27FC236}">
                  <a16:creationId xmlns:a16="http://schemas.microsoft.com/office/drawing/2014/main" id="{1D1EA2E3-9CBB-2A62-CAA2-894871CB6979}"/>
                </a:ext>
              </a:extLst>
            </p:cNvPr>
            <p:cNvSpPr>
              <a:spLocks/>
            </p:cNvSpPr>
            <p:nvPr/>
          </p:nvSpPr>
          <p:spPr bwMode="auto">
            <a:xfrm>
              <a:off x="1316269" y="4126434"/>
              <a:ext cx="50767" cy="36949"/>
            </a:xfrm>
            <a:custGeom>
              <a:avLst/>
              <a:gdLst>
                <a:gd name="T0" fmla="*/ 8 w 18"/>
                <a:gd name="T1" fmla="*/ 13 h 13"/>
                <a:gd name="T2" fmla="*/ 13 w 18"/>
                <a:gd name="T3" fmla="*/ 9 h 13"/>
                <a:gd name="T4" fmla="*/ 16 w 18"/>
                <a:gd name="T5" fmla="*/ 8 h 13"/>
                <a:gd name="T6" fmla="*/ 18 w 18"/>
                <a:gd name="T7" fmla="*/ 5 h 13"/>
                <a:gd name="T8" fmla="*/ 12 w 18"/>
                <a:gd name="T9" fmla="*/ 3 h 13"/>
                <a:gd name="T10" fmla="*/ 6 w 18"/>
                <a:gd name="T11" fmla="*/ 0 h 13"/>
                <a:gd name="T12" fmla="*/ 7 w 18"/>
                <a:gd name="T13" fmla="*/ 11 h 13"/>
                <a:gd name="T14" fmla="*/ 8 w 18"/>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8" y="13"/>
                  </a:moveTo>
                  <a:cubicBezTo>
                    <a:pt x="9" y="12"/>
                    <a:pt x="12" y="10"/>
                    <a:pt x="13" y="9"/>
                  </a:cubicBezTo>
                  <a:cubicBezTo>
                    <a:pt x="14" y="8"/>
                    <a:pt x="15" y="8"/>
                    <a:pt x="16" y="8"/>
                  </a:cubicBezTo>
                  <a:cubicBezTo>
                    <a:pt x="17" y="7"/>
                    <a:pt x="17" y="6"/>
                    <a:pt x="18" y="5"/>
                  </a:cubicBezTo>
                  <a:cubicBezTo>
                    <a:pt x="14" y="4"/>
                    <a:pt x="14" y="7"/>
                    <a:pt x="12" y="3"/>
                  </a:cubicBezTo>
                  <a:cubicBezTo>
                    <a:pt x="10" y="0"/>
                    <a:pt x="9" y="0"/>
                    <a:pt x="6" y="0"/>
                  </a:cubicBezTo>
                  <a:cubicBezTo>
                    <a:pt x="0" y="2"/>
                    <a:pt x="3" y="13"/>
                    <a:pt x="7" y="11"/>
                  </a:cubicBezTo>
                  <a:cubicBezTo>
                    <a:pt x="6" y="12"/>
                    <a:pt x="7" y="13"/>
                    <a:pt x="8" y="13"/>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30">
              <a:extLst>
                <a:ext uri="{FF2B5EF4-FFF2-40B4-BE49-F238E27FC236}">
                  <a16:creationId xmlns:a16="http://schemas.microsoft.com/office/drawing/2014/main" id="{FF574521-F2BE-048D-6076-418940C18732}"/>
                </a:ext>
              </a:extLst>
            </p:cNvPr>
            <p:cNvSpPr>
              <a:spLocks/>
            </p:cNvSpPr>
            <p:nvPr/>
          </p:nvSpPr>
          <p:spPr bwMode="auto">
            <a:xfrm>
              <a:off x="1191124" y="3821309"/>
              <a:ext cx="41322" cy="45292"/>
            </a:xfrm>
            <a:custGeom>
              <a:avLst/>
              <a:gdLst>
                <a:gd name="T0" fmla="*/ 6 w 15"/>
                <a:gd name="T1" fmla="*/ 16 h 16"/>
                <a:gd name="T2" fmla="*/ 10 w 15"/>
                <a:gd name="T3" fmla="*/ 13 h 16"/>
                <a:gd name="T4" fmla="*/ 14 w 15"/>
                <a:gd name="T5" fmla="*/ 11 h 16"/>
                <a:gd name="T6" fmla="*/ 12 w 15"/>
                <a:gd name="T7" fmla="*/ 5 h 16"/>
                <a:gd name="T8" fmla="*/ 10 w 15"/>
                <a:gd name="T9" fmla="*/ 1 h 16"/>
                <a:gd name="T10" fmla="*/ 6 w 15"/>
                <a:gd name="T11" fmla="*/ 5 h 16"/>
                <a:gd name="T12" fmla="*/ 6 w 15"/>
                <a:gd name="T13" fmla="*/ 3 h 16"/>
                <a:gd name="T14" fmla="*/ 2 w 15"/>
                <a:gd name="T15" fmla="*/ 6 h 16"/>
                <a:gd name="T16" fmla="*/ 0 w 15"/>
                <a:gd name="T17" fmla="*/ 11 h 16"/>
                <a:gd name="T18" fmla="*/ 4 w 15"/>
                <a:gd name="T19" fmla="*/ 10 h 16"/>
                <a:gd name="T20" fmla="*/ 8 w 15"/>
                <a:gd name="T21" fmla="*/ 7 h 16"/>
                <a:gd name="T22" fmla="*/ 6 w 15"/>
                <a:gd name="T23" fmla="*/ 9 h 16"/>
                <a:gd name="T24" fmla="*/ 7 w 15"/>
                <a:gd name="T25" fmla="*/ 12 h 16"/>
                <a:gd name="T26" fmla="*/ 6 w 15"/>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6">
                  <a:moveTo>
                    <a:pt x="6" y="16"/>
                  </a:moveTo>
                  <a:cubicBezTo>
                    <a:pt x="8" y="15"/>
                    <a:pt x="8" y="14"/>
                    <a:pt x="10" y="13"/>
                  </a:cubicBezTo>
                  <a:cubicBezTo>
                    <a:pt x="11" y="13"/>
                    <a:pt x="13" y="13"/>
                    <a:pt x="14" y="11"/>
                  </a:cubicBezTo>
                  <a:cubicBezTo>
                    <a:pt x="15" y="10"/>
                    <a:pt x="13" y="7"/>
                    <a:pt x="12" y="5"/>
                  </a:cubicBezTo>
                  <a:cubicBezTo>
                    <a:pt x="12" y="3"/>
                    <a:pt x="13" y="0"/>
                    <a:pt x="10" y="1"/>
                  </a:cubicBezTo>
                  <a:cubicBezTo>
                    <a:pt x="9" y="2"/>
                    <a:pt x="6" y="3"/>
                    <a:pt x="6" y="5"/>
                  </a:cubicBezTo>
                  <a:cubicBezTo>
                    <a:pt x="6" y="4"/>
                    <a:pt x="6" y="3"/>
                    <a:pt x="6" y="3"/>
                  </a:cubicBezTo>
                  <a:cubicBezTo>
                    <a:pt x="4" y="3"/>
                    <a:pt x="2" y="4"/>
                    <a:pt x="2" y="6"/>
                  </a:cubicBezTo>
                  <a:cubicBezTo>
                    <a:pt x="2" y="8"/>
                    <a:pt x="1" y="9"/>
                    <a:pt x="0" y="11"/>
                  </a:cubicBezTo>
                  <a:cubicBezTo>
                    <a:pt x="0" y="13"/>
                    <a:pt x="3" y="10"/>
                    <a:pt x="4" y="10"/>
                  </a:cubicBezTo>
                  <a:cubicBezTo>
                    <a:pt x="4" y="10"/>
                    <a:pt x="8" y="5"/>
                    <a:pt x="8" y="7"/>
                  </a:cubicBezTo>
                  <a:cubicBezTo>
                    <a:pt x="8" y="8"/>
                    <a:pt x="6" y="8"/>
                    <a:pt x="6" y="9"/>
                  </a:cubicBezTo>
                  <a:cubicBezTo>
                    <a:pt x="5" y="10"/>
                    <a:pt x="7" y="10"/>
                    <a:pt x="7" y="12"/>
                  </a:cubicBezTo>
                  <a:cubicBezTo>
                    <a:pt x="7" y="13"/>
                    <a:pt x="3" y="15"/>
                    <a:pt x="6" y="16"/>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31">
              <a:extLst>
                <a:ext uri="{FF2B5EF4-FFF2-40B4-BE49-F238E27FC236}">
                  <a16:creationId xmlns:a16="http://schemas.microsoft.com/office/drawing/2014/main" id="{A0F02CBB-4F25-E5B4-6309-CD4DE7694339}"/>
                </a:ext>
              </a:extLst>
            </p:cNvPr>
            <p:cNvSpPr>
              <a:spLocks/>
            </p:cNvSpPr>
            <p:nvPr/>
          </p:nvSpPr>
          <p:spPr bwMode="auto">
            <a:xfrm>
              <a:off x="1738927" y="4363620"/>
              <a:ext cx="30696" cy="14303"/>
            </a:xfrm>
            <a:custGeom>
              <a:avLst/>
              <a:gdLst>
                <a:gd name="T0" fmla="*/ 3 w 11"/>
                <a:gd name="T1" fmla="*/ 2 h 5"/>
                <a:gd name="T2" fmla="*/ 7 w 11"/>
                <a:gd name="T3" fmla="*/ 5 h 5"/>
                <a:gd name="T4" fmla="*/ 3 w 11"/>
                <a:gd name="T5" fmla="*/ 2 h 5"/>
              </a:gdLst>
              <a:ahLst/>
              <a:cxnLst>
                <a:cxn ang="0">
                  <a:pos x="T0" y="T1"/>
                </a:cxn>
                <a:cxn ang="0">
                  <a:pos x="T2" y="T3"/>
                </a:cxn>
                <a:cxn ang="0">
                  <a:pos x="T4" y="T5"/>
                </a:cxn>
              </a:cxnLst>
              <a:rect l="0" t="0" r="r" b="b"/>
              <a:pathLst>
                <a:path w="11" h="5">
                  <a:moveTo>
                    <a:pt x="3" y="2"/>
                  </a:moveTo>
                  <a:cubicBezTo>
                    <a:pt x="0" y="4"/>
                    <a:pt x="6" y="5"/>
                    <a:pt x="7" y="5"/>
                  </a:cubicBezTo>
                  <a:cubicBezTo>
                    <a:pt x="11" y="5"/>
                    <a:pt x="5" y="0"/>
                    <a:pt x="3" y="2"/>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32">
              <a:extLst>
                <a:ext uri="{FF2B5EF4-FFF2-40B4-BE49-F238E27FC236}">
                  <a16:creationId xmlns:a16="http://schemas.microsoft.com/office/drawing/2014/main" id="{689E846F-C110-D6F0-C9E3-E03F937FB986}"/>
                </a:ext>
              </a:extLst>
            </p:cNvPr>
            <p:cNvSpPr>
              <a:spLocks/>
            </p:cNvSpPr>
            <p:nvPr/>
          </p:nvSpPr>
          <p:spPr bwMode="auto">
            <a:xfrm>
              <a:off x="1182860" y="3731918"/>
              <a:ext cx="22432" cy="16686"/>
            </a:xfrm>
            <a:custGeom>
              <a:avLst/>
              <a:gdLst>
                <a:gd name="T0" fmla="*/ 8 w 8"/>
                <a:gd name="T1" fmla="*/ 1 h 6"/>
                <a:gd name="T2" fmla="*/ 2 w 8"/>
                <a:gd name="T3" fmla="*/ 6 h 6"/>
                <a:gd name="T4" fmla="*/ 8 w 8"/>
                <a:gd name="T5" fmla="*/ 1 h 6"/>
              </a:gdLst>
              <a:ahLst/>
              <a:cxnLst>
                <a:cxn ang="0">
                  <a:pos x="T0" y="T1"/>
                </a:cxn>
                <a:cxn ang="0">
                  <a:pos x="T2" y="T3"/>
                </a:cxn>
                <a:cxn ang="0">
                  <a:pos x="T4" y="T5"/>
                </a:cxn>
              </a:cxnLst>
              <a:rect l="0" t="0" r="r" b="b"/>
              <a:pathLst>
                <a:path w="8" h="6">
                  <a:moveTo>
                    <a:pt x="8" y="1"/>
                  </a:moveTo>
                  <a:cubicBezTo>
                    <a:pt x="8" y="0"/>
                    <a:pt x="0" y="4"/>
                    <a:pt x="2" y="6"/>
                  </a:cubicBezTo>
                  <a:cubicBezTo>
                    <a:pt x="3" y="4"/>
                    <a:pt x="8" y="5"/>
                    <a:pt x="8" y="1"/>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Line 33">
              <a:extLst>
                <a:ext uri="{FF2B5EF4-FFF2-40B4-BE49-F238E27FC236}">
                  <a16:creationId xmlns:a16="http://schemas.microsoft.com/office/drawing/2014/main" id="{66E0F43C-42C5-78CD-E6B9-ACEA1AF06553}"/>
                </a:ext>
              </a:extLst>
            </p:cNvPr>
            <p:cNvSpPr>
              <a:spLocks noChangeShapeType="1"/>
            </p:cNvSpPr>
            <p:nvPr/>
          </p:nvSpPr>
          <p:spPr bwMode="auto">
            <a:xfrm>
              <a:off x="1467387" y="347208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Line 34">
              <a:extLst>
                <a:ext uri="{FF2B5EF4-FFF2-40B4-BE49-F238E27FC236}">
                  <a16:creationId xmlns:a16="http://schemas.microsoft.com/office/drawing/2014/main" id="{83B99305-9217-9A81-2843-C196BD583D69}"/>
                </a:ext>
              </a:extLst>
            </p:cNvPr>
            <p:cNvSpPr>
              <a:spLocks noChangeShapeType="1"/>
            </p:cNvSpPr>
            <p:nvPr/>
          </p:nvSpPr>
          <p:spPr bwMode="auto">
            <a:xfrm>
              <a:off x="1467387" y="3472085"/>
              <a:ext cx="0" cy="0"/>
            </a:xfrm>
            <a:prstGeom prst="line">
              <a:avLst/>
            </a:pr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35">
              <a:extLst>
                <a:ext uri="{FF2B5EF4-FFF2-40B4-BE49-F238E27FC236}">
                  <a16:creationId xmlns:a16="http://schemas.microsoft.com/office/drawing/2014/main" id="{0E6B12EF-94DB-8AF6-F63C-626CD6208743}"/>
                </a:ext>
              </a:extLst>
            </p:cNvPr>
            <p:cNvSpPr>
              <a:spLocks/>
            </p:cNvSpPr>
            <p:nvPr/>
          </p:nvSpPr>
          <p:spPr bwMode="auto">
            <a:xfrm>
              <a:off x="1215917" y="3802239"/>
              <a:ext cx="11806" cy="10727"/>
            </a:xfrm>
            <a:custGeom>
              <a:avLst/>
              <a:gdLst>
                <a:gd name="T0" fmla="*/ 4 w 4"/>
                <a:gd name="T1" fmla="*/ 0 h 4"/>
                <a:gd name="T2" fmla="*/ 0 w 4"/>
                <a:gd name="T3" fmla="*/ 3 h 4"/>
                <a:gd name="T4" fmla="*/ 1 w 4"/>
                <a:gd name="T5" fmla="*/ 3 h 4"/>
                <a:gd name="T6" fmla="*/ 4 w 4"/>
                <a:gd name="T7" fmla="*/ 0 h 4"/>
              </a:gdLst>
              <a:ahLst/>
              <a:cxnLst>
                <a:cxn ang="0">
                  <a:pos x="T0" y="T1"/>
                </a:cxn>
                <a:cxn ang="0">
                  <a:pos x="T2" y="T3"/>
                </a:cxn>
                <a:cxn ang="0">
                  <a:pos x="T4" y="T5"/>
                </a:cxn>
                <a:cxn ang="0">
                  <a:pos x="T6" y="T7"/>
                </a:cxn>
              </a:cxnLst>
              <a:rect l="0" t="0" r="r" b="b"/>
              <a:pathLst>
                <a:path w="4" h="4">
                  <a:moveTo>
                    <a:pt x="4" y="0"/>
                  </a:moveTo>
                  <a:cubicBezTo>
                    <a:pt x="2" y="0"/>
                    <a:pt x="1" y="2"/>
                    <a:pt x="0" y="3"/>
                  </a:cubicBezTo>
                  <a:cubicBezTo>
                    <a:pt x="0" y="3"/>
                    <a:pt x="1" y="4"/>
                    <a:pt x="1" y="3"/>
                  </a:cubicBezTo>
                  <a:cubicBezTo>
                    <a:pt x="2" y="3"/>
                    <a:pt x="3" y="1"/>
                    <a:pt x="4" y="0"/>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36">
              <a:extLst>
                <a:ext uri="{FF2B5EF4-FFF2-40B4-BE49-F238E27FC236}">
                  <a16:creationId xmlns:a16="http://schemas.microsoft.com/office/drawing/2014/main" id="{A8F5A55B-AEA1-0FB9-C788-11D5C8EB745A}"/>
                </a:ext>
              </a:extLst>
            </p:cNvPr>
            <p:cNvSpPr>
              <a:spLocks/>
            </p:cNvSpPr>
            <p:nvPr/>
          </p:nvSpPr>
          <p:spPr bwMode="auto">
            <a:xfrm>
              <a:off x="1160429" y="3748604"/>
              <a:ext cx="24793" cy="14303"/>
            </a:xfrm>
            <a:custGeom>
              <a:avLst/>
              <a:gdLst>
                <a:gd name="T0" fmla="*/ 2 w 9"/>
                <a:gd name="T1" fmla="*/ 2 h 5"/>
                <a:gd name="T2" fmla="*/ 3 w 9"/>
                <a:gd name="T3" fmla="*/ 5 h 5"/>
                <a:gd name="T4" fmla="*/ 7 w 9"/>
                <a:gd name="T5" fmla="*/ 2 h 5"/>
                <a:gd name="T6" fmla="*/ 7 w 9"/>
                <a:gd name="T7" fmla="*/ 1 h 5"/>
                <a:gd name="T8" fmla="*/ 2 w 9"/>
                <a:gd name="T9" fmla="*/ 2 h 5"/>
              </a:gdLst>
              <a:ahLst/>
              <a:cxnLst>
                <a:cxn ang="0">
                  <a:pos x="T0" y="T1"/>
                </a:cxn>
                <a:cxn ang="0">
                  <a:pos x="T2" y="T3"/>
                </a:cxn>
                <a:cxn ang="0">
                  <a:pos x="T4" y="T5"/>
                </a:cxn>
                <a:cxn ang="0">
                  <a:pos x="T6" y="T7"/>
                </a:cxn>
                <a:cxn ang="0">
                  <a:pos x="T8" y="T9"/>
                </a:cxn>
              </a:cxnLst>
              <a:rect l="0" t="0" r="r" b="b"/>
              <a:pathLst>
                <a:path w="9" h="5">
                  <a:moveTo>
                    <a:pt x="2" y="2"/>
                  </a:moveTo>
                  <a:cubicBezTo>
                    <a:pt x="0" y="3"/>
                    <a:pt x="2" y="5"/>
                    <a:pt x="3" y="5"/>
                  </a:cubicBezTo>
                  <a:cubicBezTo>
                    <a:pt x="4" y="3"/>
                    <a:pt x="5" y="2"/>
                    <a:pt x="7" y="2"/>
                  </a:cubicBezTo>
                  <a:cubicBezTo>
                    <a:pt x="9" y="2"/>
                    <a:pt x="8" y="0"/>
                    <a:pt x="7" y="1"/>
                  </a:cubicBezTo>
                  <a:cubicBezTo>
                    <a:pt x="5" y="2"/>
                    <a:pt x="3" y="1"/>
                    <a:pt x="2" y="2"/>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37">
              <a:extLst>
                <a:ext uri="{FF2B5EF4-FFF2-40B4-BE49-F238E27FC236}">
                  <a16:creationId xmlns:a16="http://schemas.microsoft.com/office/drawing/2014/main" id="{B3FBBC63-3CC3-D702-9B69-D5C19CE313B0}"/>
                </a:ext>
              </a:extLst>
            </p:cNvPr>
            <p:cNvSpPr>
              <a:spLocks/>
            </p:cNvSpPr>
            <p:nvPr/>
          </p:nvSpPr>
          <p:spPr bwMode="auto">
            <a:xfrm>
              <a:off x="1481554" y="4636563"/>
              <a:ext cx="24793" cy="11919"/>
            </a:xfrm>
            <a:custGeom>
              <a:avLst/>
              <a:gdLst>
                <a:gd name="T0" fmla="*/ 5 w 9"/>
                <a:gd name="T1" fmla="*/ 0 h 4"/>
                <a:gd name="T2" fmla="*/ 1 w 9"/>
                <a:gd name="T3" fmla="*/ 0 h 4"/>
                <a:gd name="T4" fmla="*/ 1 w 9"/>
                <a:gd name="T5" fmla="*/ 3 h 4"/>
                <a:gd name="T6" fmla="*/ 6 w 9"/>
                <a:gd name="T7" fmla="*/ 4 h 4"/>
                <a:gd name="T8" fmla="*/ 5 w 9"/>
                <a:gd name="T9" fmla="*/ 0 h 4"/>
              </a:gdLst>
              <a:ahLst/>
              <a:cxnLst>
                <a:cxn ang="0">
                  <a:pos x="T0" y="T1"/>
                </a:cxn>
                <a:cxn ang="0">
                  <a:pos x="T2" y="T3"/>
                </a:cxn>
                <a:cxn ang="0">
                  <a:pos x="T4" y="T5"/>
                </a:cxn>
                <a:cxn ang="0">
                  <a:pos x="T6" y="T7"/>
                </a:cxn>
                <a:cxn ang="0">
                  <a:pos x="T8" y="T9"/>
                </a:cxn>
              </a:cxnLst>
              <a:rect l="0" t="0" r="r" b="b"/>
              <a:pathLst>
                <a:path w="9" h="4">
                  <a:moveTo>
                    <a:pt x="5" y="0"/>
                  </a:moveTo>
                  <a:cubicBezTo>
                    <a:pt x="4" y="1"/>
                    <a:pt x="3" y="0"/>
                    <a:pt x="1" y="0"/>
                  </a:cubicBezTo>
                  <a:cubicBezTo>
                    <a:pt x="0" y="0"/>
                    <a:pt x="2" y="3"/>
                    <a:pt x="1" y="3"/>
                  </a:cubicBezTo>
                  <a:cubicBezTo>
                    <a:pt x="3" y="2"/>
                    <a:pt x="4" y="4"/>
                    <a:pt x="6" y="4"/>
                  </a:cubicBezTo>
                  <a:cubicBezTo>
                    <a:pt x="9" y="4"/>
                    <a:pt x="7" y="1"/>
                    <a:pt x="5" y="0"/>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38">
              <a:extLst>
                <a:ext uri="{FF2B5EF4-FFF2-40B4-BE49-F238E27FC236}">
                  <a16:creationId xmlns:a16="http://schemas.microsoft.com/office/drawing/2014/main" id="{277F6330-8210-0D26-6F7E-23A993375324}"/>
                </a:ext>
              </a:extLst>
            </p:cNvPr>
            <p:cNvSpPr>
              <a:spLocks/>
            </p:cNvSpPr>
            <p:nvPr/>
          </p:nvSpPr>
          <p:spPr bwMode="auto">
            <a:xfrm>
              <a:off x="1313908" y="4004860"/>
              <a:ext cx="42502" cy="45292"/>
            </a:xfrm>
            <a:custGeom>
              <a:avLst/>
              <a:gdLst>
                <a:gd name="T0" fmla="*/ 9 w 15"/>
                <a:gd name="T1" fmla="*/ 2 h 16"/>
                <a:gd name="T2" fmla="*/ 6 w 15"/>
                <a:gd name="T3" fmla="*/ 7 h 16"/>
                <a:gd name="T4" fmla="*/ 2 w 15"/>
                <a:gd name="T5" fmla="*/ 10 h 16"/>
                <a:gd name="T6" fmla="*/ 0 w 15"/>
                <a:gd name="T7" fmla="*/ 16 h 16"/>
                <a:gd name="T8" fmla="*/ 6 w 15"/>
                <a:gd name="T9" fmla="*/ 14 h 16"/>
                <a:gd name="T10" fmla="*/ 13 w 15"/>
                <a:gd name="T11" fmla="*/ 7 h 16"/>
                <a:gd name="T12" fmla="*/ 13 w 15"/>
                <a:gd name="T13" fmla="*/ 1 h 16"/>
                <a:gd name="T14" fmla="*/ 9 w 15"/>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9" y="2"/>
                  </a:moveTo>
                  <a:cubicBezTo>
                    <a:pt x="8" y="3"/>
                    <a:pt x="7" y="5"/>
                    <a:pt x="6" y="7"/>
                  </a:cubicBezTo>
                  <a:cubicBezTo>
                    <a:pt x="5" y="8"/>
                    <a:pt x="3" y="9"/>
                    <a:pt x="2" y="10"/>
                  </a:cubicBezTo>
                  <a:cubicBezTo>
                    <a:pt x="2" y="11"/>
                    <a:pt x="0" y="15"/>
                    <a:pt x="0" y="16"/>
                  </a:cubicBezTo>
                  <a:cubicBezTo>
                    <a:pt x="1" y="16"/>
                    <a:pt x="5" y="15"/>
                    <a:pt x="6" y="14"/>
                  </a:cubicBezTo>
                  <a:cubicBezTo>
                    <a:pt x="9" y="13"/>
                    <a:pt x="11" y="10"/>
                    <a:pt x="13" y="7"/>
                  </a:cubicBezTo>
                  <a:cubicBezTo>
                    <a:pt x="15" y="6"/>
                    <a:pt x="13" y="3"/>
                    <a:pt x="13" y="1"/>
                  </a:cubicBezTo>
                  <a:cubicBezTo>
                    <a:pt x="14" y="0"/>
                    <a:pt x="10" y="2"/>
                    <a:pt x="9" y="2"/>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39">
              <a:extLst>
                <a:ext uri="{FF2B5EF4-FFF2-40B4-BE49-F238E27FC236}">
                  <a16:creationId xmlns:a16="http://schemas.microsoft.com/office/drawing/2014/main" id="{84BCF275-840B-7811-5F43-0B6C65FF9721}"/>
                </a:ext>
              </a:extLst>
            </p:cNvPr>
            <p:cNvSpPr>
              <a:spLocks/>
            </p:cNvSpPr>
            <p:nvPr/>
          </p:nvSpPr>
          <p:spPr bwMode="auto">
            <a:xfrm>
              <a:off x="1448497" y="4605574"/>
              <a:ext cx="16529" cy="11919"/>
            </a:xfrm>
            <a:custGeom>
              <a:avLst/>
              <a:gdLst>
                <a:gd name="T0" fmla="*/ 0 w 6"/>
                <a:gd name="T1" fmla="*/ 4 h 4"/>
                <a:gd name="T2" fmla="*/ 3 w 6"/>
                <a:gd name="T3" fmla="*/ 4 h 4"/>
                <a:gd name="T4" fmla="*/ 5 w 6"/>
                <a:gd name="T5" fmla="*/ 0 h 4"/>
                <a:gd name="T6" fmla="*/ 0 w 6"/>
                <a:gd name="T7" fmla="*/ 4 h 4"/>
              </a:gdLst>
              <a:ahLst/>
              <a:cxnLst>
                <a:cxn ang="0">
                  <a:pos x="T0" y="T1"/>
                </a:cxn>
                <a:cxn ang="0">
                  <a:pos x="T2" y="T3"/>
                </a:cxn>
                <a:cxn ang="0">
                  <a:pos x="T4" y="T5"/>
                </a:cxn>
                <a:cxn ang="0">
                  <a:pos x="T6" y="T7"/>
                </a:cxn>
              </a:cxnLst>
              <a:rect l="0" t="0" r="r" b="b"/>
              <a:pathLst>
                <a:path w="6" h="4">
                  <a:moveTo>
                    <a:pt x="0" y="4"/>
                  </a:moveTo>
                  <a:cubicBezTo>
                    <a:pt x="1" y="4"/>
                    <a:pt x="2" y="4"/>
                    <a:pt x="3" y="4"/>
                  </a:cubicBezTo>
                  <a:cubicBezTo>
                    <a:pt x="4" y="4"/>
                    <a:pt x="6" y="0"/>
                    <a:pt x="5" y="0"/>
                  </a:cubicBezTo>
                  <a:cubicBezTo>
                    <a:pt x="4" y="0"/>
                    <a:pt x="1" y="2"/>
                    <a:pt x="0" y="4"/>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40">
              <a:extLst>
                <a:ext uri="{FF2B5EF4-FFF2-40B4-BE49-F238E27FC236}">
                  <a16:creationId xmlns:a16="http://schemas.microsoft.com/office/drawing/2014/main" id="{A778CB09-8E8B-41F3-C60B-9F77081D93C6}"/>
                </a:ext>
              </a:extLst>
            </p:cNvPr>
            <p:cNvSpPr>
              <a:spLocks/>
            </p:cNvSpPr>
            <p:nvPr/>
          </p:nvSpPr>
          <p:spPr bwMode="auto">
            <a:xfrm>
              <a:off x="1892406" y="4360044"/>
              <a:ext cx="323487" cy="245530"/>
            </a:xfrm>
            <a:custGeom>
              <a:avLst/>
              <a:gdLst>
                <a:gd name="T0" fmla="*/ 112 w 116"/>
                <a:gd name="T1" fmla="*/ 44 h 87"/>
                <a:gd name="T2" fmla="*/ 111 w 116"/>
                <a:gd name="T3" fmla="*/ 39 h 87"/>
                <a:gd name="T4" fmla="*/ 105 w 116"/>
                <a:gd name="T5" fmla="*/ 35 h 87"/>
                <a:gd name="T6" fmla="*/ 94 w 116"/>
                <a:gd name="T7" fmla="*/ 33 h 87"/>
                <a:gd name="T8" fmla="*/ 96 w 116"/>
                <a:gd name="T9" fmla="*/ 24 h 87"/>
                <a:gd name="T10" fmla="*/ 99 w 116"/>
                <a:gd name="T11" fmla="*/ 18 h 87"/>
                <a:gd name="T12" fmla="*/ 91 w 116"/>
                <a:gd name="T13" fmla="*/ 11 h 87"/>
                <a:gd name="T14" fmla="*/ 82 w 116"/>
                <a:gd name="T15" fmla="*/ 11 h 87"/>
                <a:gd name="T16" fmla="*/ 79 w 116"/>
                <a:gd name="T17" fmla="*/ 8 h 87"/>
                <a:gd name="T18" fmla="*/ 76 w 116"/>
                <a:gd name="T19" fmla="*/ 2 h 87"/>
                <a:gd name="T20" fmla="*/ 69 w 116"/>
                <a:gd name="T21" fmla="*/ 4 h 87"/>
                <a:gd name="T22" fmla="*/ 68 w 116"/>
                <a:gd name="T23" fmla="*/ 0 h 87"/>
                <a:gd name="T24" fmla="*/ 61 w 116"/>
                <a:gd name="T25" fmla="*/ 1 h 87"/>
                <a:gd name="T26" fmla="*/ 57 w 116"/>
                <a:gd name="T27" fmla="*/ 6 h 87"/>
                <a:gd name="T28" fmla="*/ 53 w 116"/>
                <a:gd name="T29" fmla="*/ 11 h 87"/>
                <a:gd name="T30" fmla="*/ 47 w 116"/>
                <a:gd name="T31" fmla="*/ 11 h 87"/>
                <a:gd name="T32" fmla="*/ 38 w 116"/>
                <a:gd name="T33" fmla="*/ 11 h 87"/>
                <a:gd name="T34" fmla="*/ 30 w 116"/>
                <a:gd name="T35" fmla="*/ 10 h 87"/>
                <a:gd name="T36" fmla="*/ 26 w 116"/>
                <a:gd name="T37" fmla="*/ 6 h 87"/>
                <a:gd name="T38" fmla="*/ 7 w 116"/>
                <a:gd name="T39" fmla="*/ 15 h 87"/>
                <a:gd name="T40" fmla="*/ 3 w 116"/>
                <a:gd name="T41" fmla="*/ 25 h 87"/>
                <a:gd name="T42" fmla="*/ 6 w 116"/>
                <a:gd name="T43" fmla="*/ 31 h 87"/>
                <a:gd name="T44" fmla="*/ 14 w 116"/>
                <a:gd name="T45" fmla="*/ 33 h 87"/>
                <a:gd name="T46" fmla="*/ 20 w 116"/>
                <a:gd name="T47" fmla="*/ 34 h 87"/>
                <a:gd name="T48" fmla="*/ 23 w 116"/>
                <a:gd name="T49" fmla="*/ 43 h 87"/>
                <a:gd name="T50" fmla="*/ 29 w 116"/>
                <a:gd name="T51" fmla="*/ 44 h 87"/>
                <a:gd name="T52" fmla="*/ 33 w 116"/>
                <a:gd name="T53" fmla="*/ 51 h 87"/>
                <a:gd name="T54" fmla="*/ 44 w 116"/>
                <a:gd name="T55" fmla="*/ 51 h 87"/>
                <a:gd name="T56" fmla="*/ 48 w 116"/>
                <a:gd name="T57" fmla="*/ 54 h 87"/>
                <a:gd name="T58" fmla="*/ 49 w 116"/>
                <a:gd name="T59" fmla="*/ 60 h 87"/>
                <a:gd name="T60" fmla="*/ 47 w 116"/>
                <a:gd name="T61" fmla="*/ 66 h 87"/>
                <a:gd name="T62" fmla="*/ 62 w 116"/>
                <a:gd name="T63" fmla="*/ 67 h 87"/>
                <a:gd name="T64" fmla="*/ 67 w 116"/>
                <a:gd name="T65" fmla="*/ 60 h 87"/>
                <a:gd name="T66" fmla="*/ 68 w 116"/>
                <a:gd name="T67" fmla="*/ 68 h 87"/>
                <a:gd name="T68" fmla="*/ 73 w 116"/>
                <a:gd name="T69" fmla="*/ 75 h 87"/>
                <a:gd name="T70" fmla="*/ 82 w 116"/>
                <a:gd name="T71" fmla="*/ 82 h 87"/>
                <a:gd name="T72" fmla="*/ 87 w 116"/>
                <a:gd name="T73" fmla="*/ 86 h 87"/>
                <a:gd name="T74" fmla="*/ 95 w 116"/>
                <a:gd name="T75" fmla="*/ 85 h 87"/>
                <a:gd name="T76" fmla="*/ 99 w 116"/>
                <a:gd name="T77" fmla="*/ 82 h 87"/>
                <a:gd name="T78" fmla="*/ 99 w 116"/>
                <a:gd name="T79" fmla="*/ 78 h 87"/>
                <a:gd name="T80" fmla="*/ 96 w 116"/>
                <a:gd name="T81" fmla="*/ 71 h 87"/>
                <a:gd name="T82" fmla="*/ 98 w 116"/>
                <a:gd name="T83" fmla="*/ 65 h 87"/>
                <a:gd name="T84" fmla="*/ 104 w 116"/>
                <a:gd name="T85" fmla="*/ 58 h 87"/>
                <a:gd name="T86" fmla="*/ 111 w 116"/>
                <a:gd name="T87" fmla="*/ 55 h 87"/>
                <a:gd name="T88" fmla="*/ 115 w 116"/>
                <a:gd name="T89" fmla="*/ 5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87">
                  <a:moveTo>
                    <a:pt x="115" y="51"/>
                  </a:moveTo>
                  <a:cubicBezTo>
                    <a:pt x="113" y="48"/>
                    <a:pt x="116" y="45"/>
                    <a:pt x="112" y="44"/>
                  </a:cubicBezTo>
                  <a:cubicBezTo>
                    <a:pt x="111" y="44"/>
                    <a:pt x="109" y="44"/>
                    <a:pt x="109" y="42"/>
                  </a:cubicBezTo>
                  <a:cubicBezTo>
                    <a:pt x="109" y="41"/>
                    <a:pt x="112" y="40"/>
                    <a:pt x="111" y="39"/>
                  </a:cubicBezTo>
                  <a:cubicBezTo>
                    <a:pt x="111" y="38"/>
                    <a:pt x="109" y="38"/>
                    <a:pt x="108" y="37"/>
                  </a:cubicBezTo>
                  <a:cubicBezTo>
                    <a:pt x="107" y="35"/>
                    <a:pt x="106" y="33"/>
                    <a:pt x="105" y="35"/>
                  </a:cubicBezTo>
                  <a:cubicBezTo>
                    <a:pt x="104" y="32"/>
                    <a:pt x="101" y="32"/>
                    <a:pt x="98" y="32"/>
                  </a:cubicBezTo>
                  <a:cubicBezTo>
                    <a:pt x="97" y="32"/>
                    <a:pt x="95" y="33"/>
                    <a:pt x="94" y="33"/>
                  </a:cubicBezTo>
                  <a:cubicBezTo>
                    <a:pt x="95" y="30"/>
                    <a:pt x="93" y="30"/>
                    <a:pt x="93" y="28"/>
                  </a:cubicBezTo>
                  <a:cubicBezTo>
                    <a:pt x="93" y="27"/>
                    <a:pt x="97" y="24"/>
                    <a:pt x="96" y="24"/>
                  </a:cubicBezTo>
                  <a:cubicBezTo>
                    <a:pt x="96" y="24"/>
                    <a:pt x="96" y="24"/>
                    <a:pt x="96" y="24"/>
                  </a:cubicBezTo>
                  <a:cubicBezTo>
                    <a:pt x="96" y="24"/>
                    <a:pt x="98" y="18"/>
                    <a:pt x="99" y="18"/>
                  </a:cubicBezTo>
                  <a:cubicBezTo>
                    <a:pt x="97" y="16"/>
                    <a:pt x="100" y="15"/>
                    <a:pt x="97" y="14"/>
                  </a:cubicBezTo>
                  <a:cubicBezTo>
                    <a:pt x="96" y="14"/>
                    <a:pt x="91" y="13"/>
                    <a:pt x="91" y="11"/>
                  </a:cubicBezTo>
                  <a:cubicBezTo>
                    <a:pt x="91" y="8"/>
                    <a:pt x="86" y="10"/>
                    <a:pt x="85" y="10"/>
                  </a:cubicBezTo>
                  <a:cubicBezTo>
                    <a:pt x="84" y="11"/>
                    <a:pt x="83" y="11"/>
                    <a:pt x="82" y="11"/>
                  </a:cubicBezTo>
                  <a:cubicBezTo>
                    <a:pt x="81" y="11"/>
                    <a:pt x="82" y="10"/>
                    <a:pt x="81" y="10"/>
                  </a:cubicBezTo>
                  <a:cubicBezTo>
                    <a:pt x="80" y="9"/>
                    <a:pt x="81" y="9"/>
                    <a:pt x="79" y="8"/>
                  </a:cubicBezTo>
                  <a:cubicBezTo>
                    <a:pt x="78" y="8"/>
                    <a:pt x="78" y="7"/>
                    <a:pt x="78" y="7"/>
                  </a:cubicBezTo>
                  <a:cubicBezTo>
                    <a:pt x="77" y="5"/>
                    <a:pt x="78" y="3"/>
                    <a:pt x="76" y="2"/>
                  </a:cubicBezTo>
                  <a:cubicBezTo>
                    <a:pt x="76" y="1"/>
                    <a:pt x="74" y="4"/>
                    <a:pt x="73" y="4"/>
                  </a:cubicBezTo>
                  <a:cubicBezTo>
                    <a:pt x="72" y="5"/>
                    <a:pt x="70" y="4"/>
                    <a:pt x="69" y="4"/>
                  </a:cubicBezTo>
                  <a:cubicBezTo>
                    <a:pt x="69" y="4"/>
                    <a:pt x="69" y="4"/>
                    <a:pt x="69" y="4"/>
                  </a:cubicBezTo>
                  <a:cubicBezTo>
                    <a:pt x="69" y="2"/>
                    <a:pt x="70" y="0"/>
                    <a:pt x="68" y="0"/>
                  </a:cubicBezTo>
                  <a:cubicBezTo>
                    <a:pt x="66" y="2"/>
                    <a:pt x="65" y="4"/>
                    <a:pt x="63" y="4"/>
                  </a:cubicBezTo>
                  <a:cubicBezTo>
                    <a:pt x="60" y="4"/>
                    <a:pt x="62" y="2"/>
                    <a:pt x="61" y="1"/>
                  </a:cubicBezTo>
                  <a:cubicBezTo>
                    <a:pt x="60" y="0"/>
                    <a:pt x="58" y="2"/>
                    <a:pt x="57" y="2"/>
                  </a:cubicBezTo>
                  <a:cubicBezTo>
                    <a:pt x="57" y="3"/>
                    <a:pt x="58" y="5"/>
                    <a:pt x="57" y="6"/>
                  </a:cubicBezTo>
                  <a:cubicBezTo>
                    <a:pt x="57" y="8"/>
                    <a:pt x="53" y="6"/>
                    <a:pt x="52" y="6"/>
                  </a:cubicBezTo>
                  <a:cubicBezTo>
                    <a:pt x="53" y="7"/>
                    <a:pt x="55" y="9"/>
                    <a:pt x="53" y="11"/>
                  </a:cubicBezTo>
                  <a:cubicBezTo>
                    <a:pt x="54" y="9"/>
                    <a:pt x="52" y="8"/>
                    <a:pt x="52" y="7"/>
                  </a:cubicBezTo>
                  <a:cubicBezTo>
                    <a:pt x="50" y="8"/>
                    <a:pt x="48" y="10"/>
                    <a:pt x="47" y="11"/>
                  </a:cubicBezTo>
                  <a:cubicBezTo>
                    <a:pt x="45" y="12"/>
                    <a:pt x="43" y="13"/>
                    <a:pt x="42" y="13"/>
                  </a:cubicBezTo>
                  <a:cubicBezTo>
                    <a:pt x="41" y="13"/>
                    <a:pt x="38" y="13"/>
                    <a:pt x="38" y="11"/>
                  </a:cubicBezTo>
                  <a:cubicBezTo>
                    <a:pt x="38" y="10"/>
                    <a:pt x="35" y="10"/>
                    <a:pt x="35" y="9"/>
                  </a:cubicBezTo>
                  <a:cubicBezTo>
                    <a:pt x="34" y="9"/>
                    <a:pt x="31" y="8"/>
                    <a:pt x="30" y="10"/>
                  </a:cubicBezTo>
                  <a:cubicBezTo>
                    <a:pt x="30" y="11"/>
                    <a:pt x="29" y="12"/>
                    <a:pt x="28" y="12"/>
                  </a:cubicBezTo>
                  <a:cubicBezTo>
                    <a:pt x="26" y="11"/>
                    <a:pt x="26" y="8"/>
                    <a:pt x="26" y="6"/>
                  </a:cubicBezTo>
                  <a:cubicBezTo>
                    <a:pt x="23" y="7"/>
                    <a:pt x="19" y="8"/>
                    <a:pt x="16" y="10"/>
                  </a:cubicBezTo>
                  <a:cubicBezTo>
                    <a:pt x="13" y="11"/>
                    <a:pt x="10" y="13"/>
                    <a:pt x="7" y="15"/>
                  </a:cubicBezTo>
                  <a:cubicBezTo>
                    <a:pt x="6" y="15"/>
                    <a:pt x="0" y="17"/>
                    <a:pt x="1" y="19"/>
                  </a:cubicBezTo>
                  <a:cubicBezTo>
                    <a:pt x="2" y="20"/>
                    <a:pt x="4" y="24"/>
                    <a:pt x="3" y="25"/>
                  </a:cubicBezTo>
                  <a:cubicBezTo>
                    <a:pt x="2" y="28"/>
                    <a:pt x="3" y="30"/>
                    <a:pt x="4" y="30"/>
                  </a:cubicBezTo>
                  <a:cubicBezTo>
                    <a:pt x="5" y="30"/>
                    <a:pt x="6" y="31"/>
                    <a:pt x="6" y="31"/>
                  </a:cubicBezTo>
                  <a:cubicBezTo>
                    <a:pt x="8" y="32"/>
                    <a:pt x="9" y="35"/>
                    <a:pt x="10" y="35"/>
                  </a:cubicBezTo>
                  <a:cubicBezTo>
                    <a:pt x="11" y="35"/>
                    <a:pt x="12" y="33"/>
                    <a:pt x="14" y="33"/>
                  </a:cubicBezTo>
                  <a:cubicBezTo>
                    <a:pt x="15" y="32"/>
                    <a:pt x="17" y="31"/>
                    <a:pt x="19" y="31"/>
                  </a:cubicBezTo>
                  <a:cubicBezTo>
                    <a:pt x="19" y="32"/>
                    <a:pt x="20" y="34"/>
                    <a:pt x="20" y="34"/>
                  </a:cubicBezTo>
                  <a:cubicBezTo>
                    <a:pt x="22" y="35"/>
                    <a:pt x="21" y="37"/>
                    <a:pt x="22" y="39"/>
                  </a:cubicBezTo>
                  <a:cubicBezTo>
                    <a:pt x="22" y="40"/>
                    <a:pt x="22" y="42"/>
                    <a:pt x="23" y="43"/>
                  </a:cubicBezTo>
                  <a:cubicBezTo>
                    <a:pt x="23" y="44"/>
                    <a:pt x="24" y="45"/>
                    <a:pt x="28" y="43"/>
                  </a:cubicBezTo>
                  <a:cubicBezTo>
                    <a:pt x="28" y="43"/>
                    <a:pt x="29" y="44"/>
                    <a:pt x="29" y="44"/>
                  </a:cubicBezTo>
                  <a:cubicBezTo>
                    <a:pt x="30" y="44"/>
                    <a:pt x="30" y="44"/>
                    <a:pt x="31" y="44"/>
                  </a:cubicBezTo>
                  <a:cubicBezTo>
                    <a:pt x="34" y="45"/>
                    <a:pt x="33" y="48"/>
                    <a:pt x="33" y="51"/>
                  </a:cubicBezTo>
                  <a:cubicBezTo>
                    <a:pt x="34" y="54"/>
                    <a:pt x="36" y="50"/>
                    <a:pt x="38" y="50"/>
                  </a:cubicBezTo>
                  <a:cubicBezTo>
                    <a:pt x="40" y="50"/>
                    <a:pt x="40" y="52"/>
                    <a:pt x="44" y="51"/>
                  </a:cubicBezTo>
                  <a:cubicBezTo>
                    <a:pt x="46" y="51"/>
                    <a:pt x="47" y="54"/>
                    <a:pt x="48" y="54"/>
                  </a:cubicBezTo>
                  <a:cubicBezTo>
                    <a:pt x="48" y="55"/>
                    <a:pt x="48" y="54"/>
                    <a:pt x="48" y="54"/>
                  </a:cubicBezTo>
                  <a:cubicBezTo>
                    <a:pt x="50" y="55"/>
                    <a:pt x="48" y="57"/>
                    <a:pt x="47" y="59"/>
                  </a:cubicBezTo>
                  <a:cubicBezTo>
                    <a:pt x="47" y="60"/>
                    <a:pt x="48" y="60"/>
                    <a:pt x="49" y="60"/>
                  </a:cubicBezTo>
                  <a:cubicBezTo>
                    <a:pt x="49" y="60"/>
                    <a:pt x="49" y="62"/>
                    <a:pt x="49" y="62"/>
                  </a:cubicBezTo>
                  <a:cubicBezTo>
                    <a:pt x="50" y="63"/>
                    <a:pt x="47" y="64"/>
                    <a:pt x="47" y="66"/>
                  </a:cubicBezTo>
                  <a:cubicBezTo>
                    <a:pt x="47" y="68"/>
                    <a:pt x="50" y="67"/>
                    <a:pt x="52" y="68"/>
                  </a:cubicBezTo>
                  <a:cubicBezTo>
                    <a:pt x="55" y="69"/>
                    <a:pt x="58" y="69"/>
                    <a:pt x="62" y="67"/>
                  </a:cubicBezTo>
                  <a:cubicBezTo>
                    <a:pt x="64" y="66"/>
                    <a:pt x="63" y="65"/>
                    <a:pt x="64" y="63"/>
                  </a:cubicBezTo>
                  <a:cubicBezTo>
                    <a:pt x="65" y="62"/>
                    <a:pt x="66" y="60"/>
                    <a:pt x="67" y="60"/>
                  </a:cubicBezTo>
                  <a:cubicBezTo>
                    <a:pt x="69" y="58"/>
                    <a:pt x="70" y="60"/>
                    <a:pt x="69" y="62"/>
                  </a:cubicBezTo>
                  <a:cubicBezTo>
                    <a:pt x="68" y="63"/>
                    <a:pt x="66" y="68"/>
                    <a:pt x="68" y="68"/>
                  </a:cubicBezTo>
                  <a:cubicBezTo>
                    <a:pt x="70" y="69"/>
                    <a:pt x="67" y="73"/>
                    <a:pt x="68" y="75"/>
                  </a:cubicBezTo>
                  <a:cubicBezTo>
                    <a:pt x="69" y="75"/>
                    <a:pt x="72" y="75"/>
                    <a:pt x="73" y="75"/>
                  </a:cubicBezTo>
                  <a:cubicBezTo>
                    <a:pt x="74" y="75"/>
                    <a:pt x="76" y="76"/>
                    <a:pt x="76" y="77"/>
                  </a:cubicBezTo>
                  <a:cubicBezTo>
                    <a:pt x="77" y="80"/>
                    <a:pt x="83" y="78"/>
                    <a:pt x="82" y="82"/>
                  </a:cubicBezTo>
                  <a:cubicBezTo>
                    <a:pt x="81" y="83"/>
                    <a:pt x="84" y="83"/>
                    <a:pt x="84" y="83"/>
                  </a:cubicBezTo>
                  <a:cubicBezTo>
                    <a:pt x="86" y="83"/>
                    <a:pt x="86" y="85"/>
                    <a:pt x="87" y="86"/>
                  </a:cubicBezTo>
                  <a:cubicBezTo>
                    <a:pt x="87" y="87"/>
                    <a:pt x="90" y="87"/>
                    <a:pt x="91" y="87"/>
                  </a:cubicBezTo>
                  <a:cubicBezTo>
                    <a:pt x="92" y="86"/>
                    <a:pt x="93" y="85"/>
                    <a:pt x="95" y="85"/>
                  </a:cubicBezTo>
                  <a:cubicBezTo>
                    <a:pt x="95" y="85"/>
                    <a:pt x="97" y="86"/>
                    <a:pt x="97" y="85"/>
                  </a:cubicBezTo>
                  <a:cubicBezTo>
                    <a:pt x="98" y="84"/>
                    <a:pt x="99" y="83"/>
                    <a:pt x="99" y="82"/>
                  </a:cubicBezTo>
                  <a:cubicBezTo>
                    <a:pt x="100" y="80"/>
                    <a:pt x="99" y="81"/>
                    <a:pt x="98" y="80"/>
                  </a:cubicBezTo>
                  <a:cubicBezTo>
                    <a:pt x="98" y="79"/>
                    <a:pt x="99" y="79"/>
                    <a:pt x="99" y="78"/>
                  </a:cubicBezTo>
                  <a:cubicBezTo>
                    <a:pt x="98" y="78"/>
                    <a:pt x="97" y="78"/>
                    <a:pt x="97" y="78"/>
                  </a:cubicBezTo>
                  <a:cubicBezTo>
                    <a:pt x="96" y="76"/>
                    <a:pt x="94" y="72"/>
                    <a:pt x="96" y="71"/>
                  </a:cubicBezTo>
                  <a:cubicBezTo>
                    <a:pt x="93" y="70"/>
                    <a:pt x="97" y="67"/>
                    <a:pt x="98" y="67"/>
                  </a:cubicBezTo>
                  <a:cubicBezTo>
                    <a:pt x="98" y="67"/>
                    <a:pt x="98" y="65"/>
                    <a:pt x="98" y="65"/>
                  </a:cubicBezTo>
                  <a:cubicBezTo>
                    <a:pt x="98" y="63"/>
                    <a:pt x="99" y="62"/>
                    <a:pt x="100" y="61"/>
                  </a:cubicBezTo>
                  <a:cubicBezTo>
                    <a:pt x="100" y="60"/>
                    <a:pt x="102" y="58"/>
                    <a:pt x="104" y="58"/>
                  </a:cubicBezTo>
                  <a:cubicBezTo>
                    <a:pt x="104" y="60"/>
                    <a:pt x="106" y="58"/>
                    <a:pt x="107" y="60"/>
                  </a:cubicBezTo>
                  <a:cubicBezTo>
                    <a:pt x="108" y="58"/>
                    <a:pt x="109" y="54"/>
                    <a:pt x="111" y="55"/>
                  </a:cubicBezTo>
                  <a:cubicBezTo>
                    <a:pt x="112" y="54"/>
                    <a:pt x="112" y="53"/>
                    <a:pt x="113" y="52"/>
                  </a:cubicBezTo>
                  <a:cubicBezTo>
                    <a:pt x="114" y="52"/>
                    <a:pt x="116" y="52"/>
                    <a:pt x="115" y="5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41">
              <a:extLst>
                <a:ext uri="{FF2B5EF4-FFF2-40B4-BE49-F238E27FC236}">
                  <a16:creationId xmlns:a16="http://schemas.microsoft.com/office/drawing/2014/main" id="{865A6406-7391-20A8-C52C-BFFDDD57B69D}"/>
                </a:ext>
              </a:extLst>
            </p:cNvPr>
            <p:cNvSpPr>
              <a:spLocks/>
            </p:cNvSpPr>
            <p:nvPr/>
          </p:nvSpPr>
          <p:spPr bwMode="auto">
            <a:xfrm>
              <a:off x="2197002" y="4115707"/>
              <a:ext cx="18890" cy="8344"/>
            </a:xfrm>
            <a:custGeom>
              <a:avLst/>
              <a:gdLst>
                <a:gd name="T0" fmla="*/ 4 w 7"/>
                <a:gd name="T1" fmla="*/ 2 h 3"/>
                <a:gd name="T2" fmla="*/ 7 w 7"/>
                <a:gd name="T3" fmla="*/ 1 h 3"/>
                <a:gd name="T4" fmla="*/ 3 w 7"/>
                <a:gd name="T5" fmla="*/ 0 h 3"/>
                <a:gd name="T6" fmla="*/ 1 w 7"/>
                <a:gd name="T7" fmla="*/ 2 h 3"/>
                <a:gd name="T8" fmla="*/ 4 w 7"/>
                <a:gd name="T9" fmla="*/ 2 h 3"/>
              </a:gdLst>
              <a:ahLst/>
              <a:cxnLst>
                <a:cxn ang="0">
                  <a:pos x="T0" y="T1"/>
                </a:cxn>
                <a:cxn ang="0">
                  <a:pos x="T2" y="T3"/>
                </a:cxn>
                <a:cxn ang="0">
                  <a:pos x="T4" y="T5"/>
                </a:cxn>
                <a:cxn ang="0">
                  <a:pos x="T6" y="T7"/>
                </a:cxn>
                <a:cxn ang="0">
                  <a:pos x="T8" y="T9"/>
                </a:cxn>
              </a:cxnLst>
              <a:rect l="0" t="0" r="r" b="b"/>
              <a:pathLst>
                <a:path w="7" h="3">
                  <a:moveTo>
                    <a:pt x="4" y="2"/>
                  </a:moveTo>
                  <a:cubicBezTo>
                    <a:pt x="5" y="1"/>
                    <a:pt x="6" y="1"/>
                    <a:pt x="7" y="1"/>
                  </a:cubicBezTo>
                  <a:cubicBezTo>
                    <a:pt x="6" y="0"/>
                    <a:pt x="4" y="0"/>
                    <a:pt x="3" y="0"/>
                  </a:cubicBezTo>
                  <a:cubicBezTo>
                    <a:pt x="2" y="1"/>
                    <a:pt x="0" y="2"/>
                    <a:pt x="1" y="2"/>
                  </a:cubicBezTo>
                  <a:cubicBezTo>
                    <a:pt x="1" y="3"/>
                    <a:pt x="3" y="2"/>
                    <a:pt x="4" y="2"/>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42">
              <a:extLst>
                <a:ext uri="{FF2B5EF4-FFF2-40B4-BE49-F238E27FC236}">
                  <a16:creationId xmlns:a16="http://schemas.microsoft.com/office/drawing/2014/main" id="{1996C97B-DA4C-B135-FE1D-25970B196C5A}"/>
                </a:ext>
              </a:extLst>
            </p:cNvPr>
            <p:cNvSpPr>
              <a:spLocks/>
            </p:cNvSpPr>
            <p:nvPr/>
          </p:nvSpPr>
          <p:spPr bwMode="auto">
            <a:xfrm>
              <a:off x="2004563" y="4315945"/>
              <a:ext cx="47224" cy="27414"/>
            </a:xfrm>
            <a:custGeom>
              <a:avLst/>
              <a:gdLst>
                <a:gd name="T0" fmla="*/ 10 w 17"/>
                <a:gd name="T1" fmla="*/ 8 h 10"/>
                <a:gd name="T2" fmla="*/ 15 w 17"/>
                <a:gd name="T3" fmla="*/ 9 h 10"/>
                <a:gd name="T4" fmla="*/ 11 w 17"/>
                <a:gd name="T5" fmla="*/ 5 h 10"/>
                <a:gd name="T6" fmla="*/ 2 w 17"/>
                <a:gd name="T7" fmla="*/ 2 h 10"/>
                <a:gd name="T8" fmla="*/ 6 w 17"/>
                <a:gd name="T9" fmla="*/ 4 h 10"/>
                <a:gd name="T10" fmla="*/ 10 w 17"/>
                <a:gd name="T11" fmla="*/ 8 h 10"/>
              </a:gdLst>
              <a:ahLst/>
              <a:cxnLst>
                <a:cxn ang="0">
                  <a:pos x="T0" y="T1"/>
                </a:cxn>
                <a:cxn ang="0">
                  <a:pos x="T2" y="T3"/>
                </a:cxn>
                <a:cxn ang="0">
                  <a:pos x="T4" y="T5"/>
                </a:cxn>
                <a:cxn ang="0">
                  <a:pos x="T6" y="T7"/>
                </a:cxn>
                <a:cxn ang="0">
                  <a:pos x="T8" y="T9"/>
                </a:cxn>
                <a:cxn ang="0">
                  <a:pos x="T10" y="T11"/>
                </a:cxn>
              </a:cxnLst>
              <a:rect l="0" t="0" r="r" b="b"/>
              <a:pathLst>
                <a:path w="17" h="10">
                  <a:moveTo>
                    <a:pt x="10" y="8"/>
                  </a:moveTo>
                  <a:cubicBezTo>
                    <a:pt x="11" y="9"/>
                    <a:pt x="13" y="10"/>
                    <a:pt x="15" y="9"/>
                  </a:cubicBezTo>
                  <a:cubicBezTo>
                    <a:pt x="17" y="8"/>
                    <a:pt x="11" y="5"/>
                    <a:pt x="11" y="5"/>
                  </a:cubicBezTo>
                  <a:cubicBezTo>
                    <a:pt x="8" y="3"/>
                    <a:pt x="5" y="0"/>
                    <a:pt x="2" y="2"/>
                  </a:cubicBezTo>
                  <a:cubicBezTo>
                    <a:pt x="0" y="4"/>
                    <a:pt x="6" y="3"/>
                    <a:pt x="6" y="4"/>
                  </a:cubicBezTo>
                  <a:cubicBezTo>
                    <a:pt x="8" y="6"/>
                    <a:pt x="7" y="7"/>
                    <a:pt x="10" y="8"/>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43">
              <a:extLst>
                <a:ext uri="{FF2B5EF4-FFF2-40B4-BE49-F238E27FC236}">
                  <a16:creationId xmlns:a16="http://schemas.microsoft.com/office/drawing/2014/main" id="{D5D31222-A425-508D-BCAC-A6004796A8F3}"/>
                </a:ext>
              </a:extLst>
            </p:cNvPr>
            <p:cNvSpPr>
              <a:spLocks noEditPoints="1"/>
            </p:cNvSpPr>
            <p:nvPr/>
          </p:nvSpPr>
          <p:spPr bwMode="auto">
            <a:xfrm>
              <a:off x="1967965" y="4115707"/>
              <a:ext cx="321125" cy="338497"/>
            </a:xfrm>
            <a:custGeom>
              <a:avLst/>
              <a:gdLst>
                <a:gd name="T0" fmla="*/ 111 w 115"/>
                <a:gd name="T1" fmla="*/ 9 h 120"/>
                <a:gd name="T2" fmla="*/ 95 w 115"/>
                <a:gd name="T3" fmla="*/ 3 h 120"/>
                <a:gd name="T4" fmla="*/ 79 w 115"/>
                <a:gd name="T5" fmla="*/ 5 h 120"/>
                <a:gd name="T6" fmla="*/ 62 w 115"/>
                <a:gd name="T7" fmla="*/ 14 h 120"/>
                <a:gd name="T8" fmla="*/ 52 w 115"/>
                <a:gd name="T9" fmla="*/ 24 h 120"/>
                <a:gd name="T10" fmla="*/ 44 w 115"/>
                <a:gd name="T11" fmla="*/ 24 h 120"/>
                <a:gd name="T12" fmla="*/ 37 w 115"/>
                <a:gd name="T13" fmla="*/ 44 h 120"/>
                <a:gd name="T14" fmla="*/ 26 w 115"/>
                <a:gd name="T15" fmla="*/ 62 h 120"/>
                <a:gd name="T16" fmla="*/ 19 w 115"/>
                <a:gd name="T17" fmla="*/ 66 h 120"/>
                <a:gd name="T18" fmla="*/ 32 w 115"/>
                <a:gd name="T19" fmla="*/ 78 h 120"/>
                <a:gd name="T20" fmla="*/ 40 w 115"/>
                <a:gd name="T21" fmla="*/ 77 h 120"/>
                <a:gd name="T22" fmla="*/ 43 w 115"/>
                <a:gd name="T23" fmla="*/ 78 h 120"/>
                <a:gd name="T24" fmla="*/ 27 w 115"/>
                <a:gd name="T25" fmla="*/ 81 h 120"/>
                <a:gd name="T26" fmla="*/ 24 w 115"/>
                <a:gd name="T27" fmla="*/ 83 h 120"/>
                <a:gd name="T28" fmla="*/ 25 w 115"/>
                <a:gd name="T29" fmla="*/ 87 h 120"/>
                <a:gd name="T30" fmla="*/ 19 w 115"/>
                <a:gd name="T31" fmla="*/ 87 h 120"/>
                <a:gd name="T32" fmla="*/ 8 w 115"/>
                <a:gd name="T33" fmla="*/ 83 h 120"/>
                <a:gd name="T34" fmla="*/ 6 w 115"/>
                <a:gd name="T35" fmla="*/ 89 h 120"/>
                <a:gd name="T36" fmla="*/ 19 w 115"/>
                <a:gd name="T37" fmla="*/ 91 h 120"/>
                <a:gd name="T38" fmla="*/ 26 w 115"/>
                <a:gd name="T39" fmla="*/ 92 h 120"/>
                <a:gd name="T40" fmla="*/ 30 w 115"/>
                <a:gd name="T41" fmla="*/ 89 h 120"/>
                <a:gd name="T42" fmla="*/ 35 w 115"/>
                <a:gd name="T43" fmla="*/ 90 h 120"/>
                <a:gd name="T44" fmla="*/ 43 w 115"/>
                <a:gd name="T45" fmla="*/ 89 h 120"/>
                <a:gd name="T46" fmla="*/ 47 w 115"/>
                <a:gd name="T47" fmla="*/ 90 h 120"/>
                <a:gd name="T48" fmla="*/ 51 w 115"/>
                <a:gd name="T49" fmla="*/ 94 h 120"/>
                <a:gd name="T50" fmla="*/ 57 w 115"/>
                <a:gd name="T51" fmla="*/ 98 h 120"/>
                <a:gd name="T52" fmla="*/ 66 w 115"/>
                <a:gd name="T53" fmla="*/ 100 h 120"/>
                <a:gd name="T54" fmla="*/ 72 w 115"/>
                <a:gd name="T55" fmla="*/ 105 h 120"/>
                <a:gd name="T56" fmla="*/ 68 w 115"/>
                <a:gd name="T57" fmla="*/ 111 h 120"/>
                <a:gd name="T58" fmla="*/ 66 w 115"/>
                <a:gd name="T59" fmla="*/ 116 h 120"/>
                <a:gd name="T60" fmla="*/ 71 w 115"/>
                <a:gd name="T61" fmla="*/ 119 h 120"/>
                <a:gd name="T62" fmla="*/ 76 w 115"/>
                <a:gd name="T63" fmla="*/ 118 h 120"/>
                <a:gd name="T64" fmla="*/ 77 w 115"/>
                <a:gd name="T65" fmla="*/ 110 h 120"/>
                <a:gd name="T66" fmla="*/ 73 w 115"/>
                <a:gd name="T67" fmla="*/ 107 h 120"/>
                <a:gd name="T68" fmla="*/ 82 w 115"/>
                <a:gd name="T69" fmla="*/ 102 h 120"/>
                <a:gd name="T70" fmla="*/ 79 w 115"/>
                <a:gd name="T71" fmla="*/ 101 h 120"/>
                <a:gd name="T72" fmla="*/ 84 w 115"/>
                <a:gd name="T73" fmla="*/ 89 h 120"/>
                <a:gd name="T74" fmla="*/ 78 w 115"/>
                <a:gd name="T75" fmla="*/ 79 h 120"/>
                <a:gd name="T76" fmla="*/ 76 w 115"/>
                <a:gd name="T77" fmla="*/ 73 h 120"/>
                <a:gd name="T78" fmla="*/ 81 w 115"/>
                <a:gd name="T79" fmla="*/ 70 h 120"/>
                <a:gd name="T80" fmla="*/ 89 w 115"/>
                <a:gd name="T81" fmla="*/ 72 h 120"/>
                <a:gd name="T82" fmla="*/ 98 w 115"/>
                <a:gd name="T83" fmla="*/ 69 h 120"/>
                <a:gd name="T84" fmla="*/ 98 w 115"/>
                <a:gd name="T85" fmla="*/ 64 h 120"/>
                <a:gd name="T86" fmla="*/ 103 w 115"/>
                <a:gd name="T87" fmla="*/ 60 h 120"/>
                <a:gd name="T88" fmla="*/ 109 w 115"/>
                <a:gd name="T89" fmla="*/ 55 h 120"/>
                <a:gd name="T90" fmla="*/ 107 w 115"/>
                <a:gd name="T91" fmla="*/ 46 h 120"/>
                <a:gd name="T92" fmla="*/ 101 w 115"/>
                <a:gd name="T93" fmla="*/ 46 h 120"/>
                <a:gd name="T94" fmla="*/ 100 w 115"/>
                <a:gd name="T95" fmla="*/ 38 h 120"/>
                <a:gd name="T96" fmla="*/ 110 w 115"/>
                <a:gd name="T97" fmla="*/ 29 h 120"/>
                <a:gd name="T98" fmla="*/ 113 w 115"/>
                <a:gd name="T99" fmla="*/ 16 h 120"/>
                <a:gd name="T100" fmla="*/ 74 w 115"/>
                <a:gd name="T101" fmla="*/ 44 h 120"/>
                <a:gd name="T102" fmla="*/ 62 w 115"/>
                <a:gd name="T103" fmla="*/ 43 h 120"/>
                <a:gd name="T104" fmla="*/ 53 w 115"/>
                <a:gd name="T105" fmla="*/ 51 h 120"/>
                <a:gd name="T106" fmla="*/ 65 w 115"/>
                <a:gd name="T107" fmla="*/ 50 h 120"/>
                <a:gd name="T108" fmla="*/ 72 w 115"/>
                <a:gd name="T109" fmla="*/ 46 h 120"/>
                <a:gd name="T110" fmla="*/ 57 w 115"/>
                <a:gd name="T111" fmla="*/ 53 h 120"/>
                <a:gd name="T112" fmla="*/ 51 w 115"/>
                <a:gd name="T113" fmla="*/ 47 h 120"/>
                <a:gd name="T114" fmla="*/ 51 w 115"/>
                <a:gd name="T115" fmla="*/ 38 h 120"/>
                <a:gd name="T116" fmla="*/ 54 w 115"/>
                <a:gd name="T117" fmla="*/ 33 h 120"/>
                <a:gd name="T118" fmla="*/ 61 w 115"/>
                <a:gd name="T119" fmla="*/ 22 h 120"/>
                <a:gd name="T120" fmla="*/ 66 w 115"/>
                <a:gd name="T121" fmla="*/ 29 h 120"/>
                <a:gd name="T122" fmla="*/ 68 w 115"/>
                <a:gd name="T123" fmla="*/ 38 h 120"/>
                <a:gd name="T124" fmla="*/ 73 w 115"/>
                <a:gd name="T125"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 h="120">
                  <a:moveTo>
                    <a:pt x="113" y="12"/>
                  </a:moveTo>
                  <a:cubicBezTo>
                    <a:pt x="112" y="12"/>
                    <a:pt x="109" y="11"/>
                    <a:pt x="111" y="9"/>
                  </a:cubicBezTo>
                  <a:cubicBezTo>
                    <a:pt x="107" y="10"/>
                    <a:pt x="106" y="7"/>
                    <a:pt x="104" y="4"/>
                  </a:cubicBezTo>
                  <a:cubicBezTo>
                    <a:pt x="102" y="0"/>
                    <a:pt x="98" y="3"/>
                    <a:pt x="95" y="3"/>
                  </a:cubicBezTo>
                  <a:cubicBezTo>
                    <a:pt x="92" y="4"/>
                    <a:pt x="90" y="5"/>
                    <a:pt x="88" y="5"/>
                  </a:cubicBezTo>
                  <a:cubicBezTo>
                    <a:pt x="85" y="5"/>
                    <a:pt x="82" y="5"/>
                    <a:pt x="79" y="5"/>
                  </a:cubicBezTo>
                  <a:cubicBezTo>
                    <a:pt x="76" y="5"/>
                    <a:pt x="73" y="6"/>
                    <a:pt x="69" y="8"/>
                  </a:cubicBezTo>
                  <a:cubicBezTo>
                    <a:pt x="66" y="9"/>
                    <a:pt x="63" y="11"/>
                    <a:pt x="62" y="14"/>
                  </a:cubicBezTo>
                  <a:cubicBezTo>
                    <a:pt x="61" y="16"/>
                    <a:pt x="61" y="18"/>
                    <a:pt x="59" y="19"/>
                  </a:cubicBezTo>
                  <a:cubicBezTo>
                    <a:pt x="56" y="20"/>
                    <a:pt x="54" y="22"/>
                    <a:pt x="52" y="24"/>
                  </a:cubicBezTo>
                  <a:cubicBezTo>
                    <a:pt x="51" y="25"/>
                    <a:pt x="49" y="26"/>
                    <a:pt x="47" y="26"/>
                  </a:cubicBezTo>
                  <a:cubicBezTo>
                    <a:pt x="45" y="27"/>
                    <a:pt x="42" y="26"/>
                    <a:pt x="44" y="24"/>
                  </a:cubicBezTo>
                  <a:cubicBezTo>
                    <a:pt x="41" y="23"/>
                    <a:pt x="40" y="30"/>
                    <a:pt x="39" y="33"/>
                  </a:cubicBezTo>
                  <a:cubicBezTo>
                    <a:pt x="38" y="36"/>
                    <a:pt x="37" y="40"/>
                    <a:pt x="37" y="44"/>
                  </a:cubicBezTo>
                  <a:cubicBezTo>
                    <a:pt x="36" y="48"/>
                    <a:pt x="34" y="51"/>
                    <a:pt x="31" y="55"/>
                  </a:cubicBezTo>
                  <a:cubicBezTo>
                    <a:pt x="29" y="58"/>
                    <a:pt x="27" y="60"/>
                    <a:pt x="26" y="62"/>
                  </a:cubicBezTo>
                  <a:cubicBezTo>
                    <a:pt x="24" y="64"/>
                    <a:pt x="23" y="66"/>
                    <a:pt x="21" y="66"/>
                  </a:cubicBezTo>
                  <a:cubicBezTo>
                    <a:pt x="21" y="66"/>
                    <a:pt x="19" y="66"/>
                    <a:pt x="19" y="66"/>
                  </a:cubicBezTo>
                  <a:cubicBezTo>
                    <a:pt x="19" y="69"/>
                    <a:pt x="19" y="72"/>
                    <a:pt x="22" y="73"/>
                  </a:cubicBezTo>
                  <a:cubicBezTo>
                    <a:pt x="25" y="75"/>
                    <a:pt x="28" y="78"/>
                    <a:pt x="32" y="78"/>
                  </a:cubicBezTo>
                  <a:cubicBezTo>
                    <a:pt x="37" y="78"/>
                    <a:pt x="38" y="76"/>
                    <a:pt x="41" y="74"/>
                  </a:cubicBezTo>
                  <a:cubicBezTo>
                    <a:pt x="41" y="75"/>
                    <a:pt x="40" y="76"/>
                    <a:pt x="40" y="77"/>
                  </a:cubicBezTo>
                  <a:cubicBezTo>
                    <a:pt x="40" y="76"/>
                    <a:pt x="41" y="76"/>
                    <a:pt x="42" y="76"/>
                  </a:cubicBezTo>
                  <a:cubicBezTo>
                    <a:pt x="40" y="77"/>
                    <a:pt x="42" y="78"/>
                    <a:pt x="43" y="78"/>
                  </a:cubicBezTo>
                  <a:cubicBezTo>
                    <a:pt x="39" y="77"/>
                    <a:pt x="36" y="80"/>
                    <a:pt x="33" y="79"/>
                  </a:cubicBezTo>
                  <a:cubicBezTo>
                    <a:pt x="30" y="79"/>
                    <a:pt x="29" y="80"/>
                    <a:pt x="27" y="81"/>
                  </a:cubicBezTo>
                  <a:cubicBezTo>
                    <a:pt x="25" y="82"/>
                    <a:pt x="22" y="79"/>
                    <a:pt x="21" y="81"/>
                  </a:cubicBezTo>
                  <a:cubicBezTo>
                    <a:pt x="21" y="82"/>
                    <a:pt x="24" y="83"/>
                    <a:pt x="24" y="83"/>
                  </a:cubicBezTo>
                  <a:cubicBezTo>
                    <a:pt x="23" y="82"/>
                    <a:pt x="17" y="82"/>
                    <a:pt x="18" y="84"/>
                  </a:cubicBezTo>
                  <a:cubicBezTo>
                    <a:pt x="20" y="86"/>
                    <a:pt x="23" y="86"/>
                    <a:pt x="25" y="87"/>
                  </a:cubicBezTo>
                  <a:cubicBezTo>
                    <a:pt x="29" y="88"/>
                    <a:pt x="24" y="91"/>
                    <a:pt x="22" y="90"/>
                  </a:cubicBezTo>
                  <a:cubicBezTo>
                    <a:pt x="20" y="90"/>
                    <a:pt x="20" y="87"/>
                    <a:pt x="19" y="87"/>
                  </a:cubicBezTo>
                  <a:cubicBezTo>
                    <a:pt x="17" y="86"/>
                    <a:pt x="16" y="85"/>
                    <a:pt x="14" y="85"/>
                  </a:cubicBezTo>
                  <a:cubicBezTo>
                    <a:pt x="17" y="83"/>
                    <a:pt x="9" y="83"/>
                    <a:pt x="8" y="83"/>
                  </a:cubicBezTo>
                  <a:cubicBezTo>
                    <a:pt x="6" y="83"/>
                    <a:pt x="0" y="83"/>
                    <a:pt x="2" y="87"/>
                  </a:cubicBezTo>
                  <a:cubicBezTo>
                    <a:pt x="3" y="89"/>
                    <a:pt x="4" y="90"/>
                    <a:pt x="6" y="89"/>
                  </a:cubicBezTo>
                  <a:cubicBezTo>
                    <a:pt x="9" y="89"/>
                    <a:pt x="9" y="90"/>
                    <a:pt x="11" y="91"/>
                  </a:cubicBezTo>
                  <a:cubicBezTo>
                    <a:pt x="14" y="93"/>
                    <a:pt x="15" y="88"/>
                    <a:pt x="19" y="91"/>
                  </a:cubicBezTo>
                  <a:cubicBezTo>
                    <a:pt x="20" y="91"/>
                    <a:pt x="22" y="92"/>
                    <a:pt x="23" y="91"/>
                  </a:cubicBezTo>
                  <a:cubicBezTo>
                    <a:pt x="26" y="91"/>
                    <a:pt x="24" y="91"/>
                    <a:pt x="26" y="92"/>
                  </a:cubicBezTo>
                  <a:cubicBezTo>
                    <a:pt x="27" y="93"/>
                    <a:pt x="29" y="94"/>
                    <a:pt x="30" y="93"/>
                  </a:cubicBezTo>
                  <a:cubicBezTo>
                    <a:pt x="31" y="92"/>
                    <a:pt x="28" y="90"/>
                    <a:pt x="30" y="89"/>
                  </a:cubicBezTo>
                  <a:cubicBezTo>
                    <a:pt x="31" y="89"/>
                    <a:pt x="33" y="87"/>
                    <a:pt x="34" y="88"/>
                  </a:cubicBezTo>
                  <a:cubicBezTo>
                    <a:pt x="35" y="89"/>
                    <a:pt x="33" y="90"/>
                    <a:pt x="35" y="90"/>
                  </a:cubicBezTo>
                  <a:cubicBezTo>
                    <a:pt x="37" y="91"/>
                    <a:pt x="38" y="90"/>
                    <a:pt x="39" y="88"/>
                  </a:cubicBezTo>
                  <a:cubicBezTo>
                    <a:pt x="40" y="88"/>
                    <a:pt x="43" y="86"/>
                    <a:pt x="43" y="89"/>
                  </a:cubicBezTo>
                  <a:cubicBezTo>
                    <a:pt x="42" y="92"/>
                    <a:pt x="42" y="89"/>
                    <a:pt x="41" y="91"/>
                  </a:cubicBezTo>
                  <a:cubicBezTo>
                    <a:pt x="42" y="90"/>
                    <a:pt x="45" y="92"/>
                    <a:pt x="47" y="90"/>
                  </a:cubicBezTo>
                  <a:cubicBezTo>
                    <a:pt x="49" y="88"/>
                    <a:pt x="49" y="88"/>
                    <a:pt x="50" y="91"/>
                  </a:cubicBezTo>
                  <a:cubicBezTo>
                    <a:pt x="50" y="92"/>
                    <a:pt x="51" y="93"/>
                    <a:pt x="51" y="94"/>
                  </a:cubicBezTo>
                  <a:cubicBezTo>
                    <a:pt x="51" y="96"/>
                    <a:pt x="53" y="95"/>
                    <a:pt x="53" y="95"/>
                  </a:cubicBezTo>
                  <a:cubicBezTo>
                    <a:pt x="55" y="97"/>
                    <a:pt x="54" y="98"/>
                    <a:pt x="57" y="98"/>
                  </a:cubicBezTo>
                  <a:cubicBezTo>
                    <a:pt x="59" y="97"/>
                    <a:pt x="61" y="96"/>
                    <a:pt x="63" y="96"/>
                  </a:cubicBezTo>
                  <a:cubicBezTo>
                    <a:pt x="64" y="97"/>
                    <a:pt x="64" y="100"/>
                    <a:pt x="66" y="100"/>
                  </a:cubicBezTo>
                  <a:cubicBezTo>
                    <a:pt x="68" y="101"/>
                    <a:pt x="69" y="101"/>
                    <a:pt x="71" y="102"/>
                  </a:cubicBezTo>
                  <a:cubicBezTo>
                    <a:pt x="73" y="103"/>
                    <a:pt x="71" y="104"/>
                    <a:pt x="72" y="105"/>
                  </a:cubicBezTo>
                  <a:cubicBezTo>
                    <a:pt x="71" y="105"/>
                    <a:pt x="70" y="106"/>
                    <a:pt x="70" y="108"/>
                  </a:cubicBezTo>
                  <a:cubicBezTo>
                    <a:pt x="70" y="109"/>
                    <a:pt x="69" y="110"/>
                    <a:pt x="68" y="111"/>
                  </a:cubicBezTo>
                  <a:cubicBezTo>
                    <a:pt x="69" y="111"/>
                    <a:pt x="69" y="111"/>
                    <a:pt x="69" y="111"/>
                  </a:cubicBezTo>
                  <a:cubicBezTo>
                    <a:pt x="69" y="111"/>
                    <a:pt x="66" y="115"/>
                    <a:pt x="66" y="116"/>
                  </a:cubicBezTo>
                  <a:cubicBezTo>
                    <a:pt x="66" y="117"/>
                    <a:pt x="68" y="118"/>
                    <a:pt x="67" y="120"/>
                  </a:cubicBezTo>
                  <a:cubicBezTo>
                    <a:pt x="69" y="120"/>
                    <a:pt x="70" y="119"/>
                    <a:pt x="71" y="119"/>
                  </a:cubicBezTo>
                  <a:cubicBezTo>
                    <a:pt x="72" y="119"/>
                    <a:pt x="73" y="120"/>
                    <a:pt x="74" y="120"/>
                  </a:cubicBezTo>
                  <a:cubicBezTo>
                    <a:pt x="76" y="120"/>
                    <a:pt x="78" y="120"/>
                    <a:pt x="76" y="118"/>
                  </a:cubicBezTo>
                  <a:cubicBezTo>
                    <a:pt x="76" y="118"/>
                    <a:pt x="79" y="115"/>
                    <a:pt x="79" y="114"/>
                  </a:cubicBezTo>
                  <a:cubicBezTo>
                    <a:pt x="79" y="112"/>
                    <a:pt x="76" y="112"/>
                    <a:pt x="77" y="110"/>
                  </a:cubicBezTo>
                  <a:cubicBezTo>
                    <a:pt x="76" y="110"/>
                    <a:pt x="75" y="110"/>
                    <a:pt x="73" y="110"/>
                  </a:cubicBezTo>
                  <a:cubicBezTo>
                    <a:pt x="74" y="109"/>
                    <a:pt x="72" y="108"/>
                    <a:pt x="73" y="107"/>
                  </a:cubicBezTo>
                  <a:cubicBezTo>
                    <a:pt x="74" y="106"/>
                    <a:pt x="74" y="107"/>
                    <a:pt x="74" y="107"/>
                  </a:cubicBezTo>
                  <a:cubicBezTo>
                    <a:pt x="77" y="106"/>
                    <a:pt x="79" y="104"/>
                    <a:pt x="82" y="102"/>
                  </a:cubicBezTo>
                  <a:cubicBezTo>
                    <a:pt x="81" y="101"/>
                    <a:pt x="81" y="101"/>
                    <a:pt x="82" y="101"/>
                  </a:cubicBezTo>
                  <a:cubicBezTo>
                    <a:pt x="81" y="101"/>
                    <a:pt x="80" y="103"/>
                    <a:pt x="79" y="101"/>
                  </a:cubicBezTo>
                  <a:cubicBezTo>
                    <a:pt x="78" y="100"/>
                    <a:pt x="80" y="98"/>
                    <a:pt x="80" y="97"/>
                  </a:cubicBezTo>
                  <a:cubicBezTo>
                    <a:pt x="82" y="94"/>
                    <a:pt x="84" y="93"/>
                    <a:pt x="84" y="89"/>
                  </a:cubicBezTo>
                  <a:cubicBezTo>
                    <a:pt x="83" y="86"/>
                    <a:pt x="81" y="85"/>
                    <a:pt x="81" y="81"/>
                  </a:cubicBezTo>
                  <a:cubicBezTo>
                    <a:pt x="80" y="80"/>
                    <a:pt x="78" y="80"/>
                    <a:pt x="78" y="79"/>
                  </a:cubicBezTo>
                  <a:cubicBezTo>
                    <a:pt x="78" y="78"/>
                    <a:pt x="77" y="77"/>
                    <a:pt x="76" y="77"/>
                  </a:cubicBezTo>
                  <a:cubicBezTo>
                    <a:pt x="78" y="76"/>
                    <a:pt x="76" y="74"/>
                    <a:pt x="76" y="73"/>
                  </a:cubicBezTo>
                  <a:cubicBezTo>
                    <a:pt x="76" y="72"/>
                    <a:pt x="81" y="72"/>
                    <a:pt x="82" y="72"/>
                  </a:cubicBezTo>
                  <a:cubicBezTo>
                    <a:pt x="84" y="73"/>
                    <a:pt x="81" y="70"/>
                    <a:pt x="81" y="70"/>
                  </a:cubicBezTo>
                  <a:cubicBezTo>
                    <a:pt x="81" y="70"/>
                    <a:pt x="86" y="71"/>
                    <a:pt x="86" y="72"/>
                  </a:cubicBezTo>
                  <a:cubicBezTo>
                    <a:pt x="87" y="72"/>
                    <a:pt x="90" y="74"/>
                    <a:pt x="89" y="72"/>
                  </a:cubicBezTo>
                  <a:cubicBezTo>
                    <a:pt x="91" y="72"/>
                    <a:pt x="92" y="71"/>
                    <a:pt x="94" y="70"/>
                  </a:cubicBezTo>
                  <a:cubicBezTo>
                    <a:pt x="96" y="70"/>
                    <a:pt x="97" y="69"/>
                    <a:pt x="98" y="69"/>
                  </a:cubicBezTo>
                  <a:cubicBezTo>
                    <a:pt x="100" y="70"/>
                    <a:pt x="103" y="67"/>
                    <a:pt x="101" y="65"/>
                  </a:cubicBezTo>
                  <a:cubicBezTo>
                    <a:pt x="100" y="64"/>
                    <a:pt x="99" y="65"/>
                    <a:pt x="98" y="64"/>
                  </a:cubicBezTo>
                  <a:cubicBezTo>
                    <a:pt x="97" y="62"/>
                    <a:pt x="100" y="62"/>
                    <a:pt x="100" y="61"/>
                  </a:cubicBezTo>
                  <a:cubicBezTo>
                    <a:pt x="100" y="60"/>
                    <a:pt x="102" y="61"/>
                    <a:pt x="103" y="60"/>
                  </a:cubicBezTo>
                  <a:cubicBezTo>
                    <a:pt x="105" y="59"/>
                    <a:pt x="105" y="58"/>
                    <a:pt x="106" y="57"/>
                  </a:cubicBezTo>
                  <a:cubicBezTo>
                    <a:pt x="107" y="56"/>
                    <a:pt x="108" y="55"/>
                    <a:pt x="109" y="55"/>
                  </a:cubicBezTo>
                  <a:cubicBezTo>
                    <a:pt x="109" y="55"/>
                    <a:pt x="108" y="53"/>
                    <a:pt x="109" y="52"/>
                  </a:cubicBezTo>
                  <a:cubicBezTo>
                    <a:pt x="109" y="50"/>
                    <a:pt x="109" y="47"/>
                    <a:pt x="107" y="46"/>
                  </a:cubicBezTo>
                  <a:cubicBezTo>
                    <a:pt x="107" y="46"/>
                    <a:pt x="106" y="47"/>
                    <a:pt x="105" y="47"/>
                  </a:cubicBezTo>
                  <a:cubicBezTo>
                    <a:pt x="103" y="46"/>
                    <a:pt x="102" y="46"/>
                    <a:pt x="101" y="46"/>
                  </a:cubicBezTo>
                  <a:cubicBezTo>
                    <a:pt x="99" y="45"/>
                    <a:pt x="97" y="42"/>
                    <a:pt x="100" y="41"/>
                  </a:cubicBezTo>
                  <a:cubicBezTo>
                    <a:pt x="99" y="41"/>
                    <a:pt x="99" y="39"/>
                    <a:pt x="100" y="38"/>
                  </a:cubicBezTo>
                  <a:cubicBezTo>
                    <a:pt x="101" y="36"/>
                    <a:pt x="104" y="38"/>
                    <a:pt x="106" y="38"/>
                  </a:cubicBezTo>
                  <a:cubicBezTo>
                    <a:pt x="111" y="39"/>
                    <a:pt x="109" y="32"/>
                    <a:pt x="110" y="29"/>
                  </a:cubicBezTo>
                  <a:cubicBezTo>
                    <a:pt x="111" y="27"/>
                    <a:pt x="113" y="26"/>
                    <a:pt x="114" y="23"/>
                  </a:cubicBezTo>
                  <a:cubicBezTo>
                    <a:pt x="115" y="21"/>
                    <a:pt x="113" y="19"/>
                    <a:pt x="113" y="16"/>
                  </a:cubicBezTo>
                  <a:cubicBezTo>
                    <a:pt x="114" y="15"/>
                    <a:pt x="115" y="12"/>
                    <a:pt x="113" y="12"/>
                  </a:cubicBezTo>
                  <a:close/>
                  <a:moveTo>
                    <a:pt x="74" y="44"/>
                  </a:moveTo>
                  <a:cubicBezTo>
                    <a:pt x="75" y="40"/>
                    <a:pt x="68" y="39"/>
                    <a:pt x="66" y="40"/>
                  </a:cubicBezTo>
                  <a:cubicBezTo>
                    <a:pt x="65" y="41"/>
                    <a:pt x="63" y="42"/>
                    <a:pt x="62" y="43"/>
                  </a:cubicBezTo>
                  <a:cubicBezTo>
                    <a:pt x="61" y="44"/>
                    <a:pt x="59" y="45"/>
                    <a:pt x="58" y="46"/>
                  </a:cubicBezTo>
                  <a:cubicBezTo>
                    <a:pt x="57" y="46"/>
                    <a:pt x="50" y="50"/>
                    <a:pt x="53" y="51"/>
                  </a:cubicBezTo>
                  <a:cubicBezTo>
                    <a:pt x="56" y="52"/>
                    <a:pt x="62" y="56"/>
                    <a:pt x="64" y="53"/>
                  </a:cubicBezTo>
                  <a:cubicBezTo>
                    <a:pt x="65" y="51"/>
                    <a:pt x="64" y="50"/>
                    <a:pt x="65" y="50"/>
                  </a:cubicBezTo>
                  <a:cubicBezTo>
                    <a:pt x="66" y="49"/>
                    <a:pt x="67" y="49"/>
                    <a:pt x="68" y="49"/>
                  </a:cubicBezTo>
                  <a:cubicBezTo>
                    <a:pt x="69" y="48"/>
                    <a:pt x="71" y="48"/>
                    <a:pt x="72" y="46"/>
                  </a:cubicBezTo>
                  <a:cubicBezTo>
                    <a:pt x="70" y="49"/>
                    <a:pt x="66" y="51"/>
                    <a:pt x="66" y="52"/>
                  </a:cubicBezTo>
                  <a:cubicBezTo>
                    <a:pt x="62" y="56"/>
                    <a:pt x="60" y="54"/>
                    <a:pt x="57" y="53"/>
                  </a:cubicBezTo>
                  <a:cubicBezTo>
                    <a:pt x="54" y="51"/>
                    <a:pt x="51" y="52"/>
                    <a:pt x="48" y="50"/>
                  </a:cubicBezTo>
                  <a:cubicBezTo>
                    <a:pt x="48" y="49"/>
                    <a:pt x="52" y="48"/>
                    <a:pt x="51" y="47"/>
                  </a:cubicBezTo>
                  <a:cubicBezTo>
                    <a:pt x="49" y="45"/>
                    <a:pt x="52" y="45"/>
                    <a:pt x="51" y="43"/>
                  </a:cubicBezTo>
                  <a:cubicBezTo>
                    <a:pt x="51" y="42"/>
                    <a:pt x="48" y="37"/>
                    <a:pt x="51" y="38"/>
                  </a:cubicBezTo>
                  <a:cubicBezTo>
                    <a:pt x="52" y="38"/>
                    <a:pt x="53" y="39"/>
                    <a:pt x="54" y="38"/>
                  </a:cubicBezTo>
                  <a:cubicBezTo>
                    <a:pt x="57" y="37"/>
                    <a:pt x="59" y="32"/>
                    <a:pt x="54" y="33"/>
                  </a:cubicBezTo>
                  <a:cubicBezTo>
                    <a:pt x="51" y="33"/>
                    <a:pt x="53" y="27"/>
                    <a:pt x="50" y="25"/>
                  </a:cubicBezTo>
                  <a:cubicBezTo>
                    <a:pt x="52" y="24"/>
                    <a:pt x="60" y="16"/>
                    <a:pt x="61" y="22"/>
                  </a:cubicBezTo>
                  <a:cubicBezTo>
                    <a:pt x="61" y="24"/>
                    <a:pt x="59" y="28"/>
                    <a:pt x="62" y="29"/>
                  </a:cubicBezTo>
                  <a:cubicBezTo>
                    <a:pt x="63" y="29"/>
                    <a:pt x="65" y="30"/>
                    <a:pt x="66" y="29"/>
                  </a:cubicBezTo>
                  <a:cubicBezTo>
                    <a:pt x="68" y="28"/>
                    <a:pt x="69" y="29"/>
                    <a:pt x="70" y="29"/>
                  </a:cubicBezTo>
                  <a:cubicBezTo>
                    <a:pt x="67" y="30"/>
                    <a:pt x="65" y="36"/>
                    <a:pt x="68" y="38"/>
                  </a:cubicBezTo>
                  <a:cubicBezTo>
                    <a:pt x="69" y="39"/>
                    <a:pt x="74" y="38"/>
                    <a:pt x="74" y="40"/>
                  </a:cubicBezTo>
                  <a:cubicBezTo>
                    <a:pt x="74" y="40"/>
                    <a:pt x="73" y="40"/>
                    <a:pt x="73" y="40"/>
                  </a:cubicBezTo>
                  <a:cubicBezTo>
                    <a:pt x="75" y="42"/>
                    <a:pt x="74" y="45"/>
                    <a:pt x="74" y="44"/>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44">
              <a:extLst>
                <a:ext uri="{FF2B5EF4-FFF2-40B4-BE49-F238E27FC236}">
                  <a16:creationId xmlns:a16="http://schemas.microsoft.com/office/drawing/2014/main" id="{0B8CBF37-D2DD-6ED8-94AF-C6397825C4C7}"/>
                </a:ext>
              </a:extLst>
            </p:cNvPr>
            <p:cNvSpPr>
              <a:spLocks/>
            </p:cNvSpPr>
            <p:nvPr/>
          </p:nvSpPr>
          <p:spPr bwMode="auto">
            <a:xfrm>
              <a:off x="2115540" y="4120474"/>
              <a:ext cx="38960" cy="14303"/>
            </a:xfrm>
            <a:custGeom>
              <a:avLst/>
              <a:gdLst>
                <a:gd name="T0" fmla="*/ 14 w 14"/>
                <a:gd name="T1" fmla="*/ 1 h 5"/>
                <a:gd name="T2" fmla="*/ 6 w 14"/>
                <a:gd name="T3" fmla="*/ 3 h 5"/>
                <a:gd name="T4" fmla="*/ 2 w 14"/>
                <a:gd name="T5" fmla="*/ 5 h 5"/>
                <a:gd name="T6" fmla="*/ 14 w 14"/>
                <a:gd name="T7" fmla="*/ 1 h 5"/>
              </a:gdLst>
              <a:ahLst/>
              <a:cxnLst>
                <a:cxn ang="0">
                  <a:pos x="T0" y="T1"/>
                </a:cxn>
                <a:cxn ang="0">
                  <a:pos x="T2" y="T3"/>
                </a:cxn>
                <a:cxn ang="0">
                  <a:pos x="T4" y="T5"/>
                </a:cxn>
                <a:cxn ang="0">
                  <a:pos x="T6" y="T7"/>
                </a:cxn>
              </a:cxnLst>
              <a:rect l="0" t="0" r="r" b="b"/>
              <a:pathLst>
                <a:path w="14" h="5">
                  <a:moveTo>
                    <a:pt x="14" y="1"/>
                  </a:moveTo>
                  <a:cubicBezTo>
                    <a:pt x="14" y="0"/>
                    <a:pt x="7" y="3"/>
                    <a:pt x="6" y="3"/>
                  </a:cubicBezTo>
                  <a:cubicBezTo>
                    <a:pt x="6" y="3"/>
                    <a:pt x="0" y="4"/>
                    <a:pt x="2" y="5"/>
                  </a:cubicBezTo>
                  <a:cubicBezTo>
                    <a:pt x="3" y="5"/>
                    <a:pt x="13" y="2"/>
                    <a:pt x="14"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5">
              <a:extLst>
                <a:ext uri="{FF2B5EF4-FFF2-40B4-BE49-F238E27FC236}">
                  <a16:creationId xmlns:a16="http://schemas.microsoft.com/office/drawing/2014/main" id="{0BCF25F2-AD18-BCF6-AAF6-AD0505C604E6}"/>
                </a:ext>
              </a:extLst>
            </p:cNvPr>
            <p:cNvSpPr>
              <a:spLocks/>
            </p:cNvSpPr>
            <p:nvPr/>
          </p:nvSpPr>
          <p:spPr bwMode="auto">
            <a:xfrm>
              <a:off x="1964422" y="4369580"/>
              <a:ext cx="73198" cy="27414"/>
            </a:xfrm>
            <a:custGeom>
              <a:avLst/>
              <a:gdLst>
                <a:gd name="T0" fmla="*/ 18 w 26"/>
                <a:gd name="T1" fmla="*/ 2 h 10"/>
                <a:gd name="T2" fmla="*/ 16 w 26"/>
                <a:gd name="T3" fmla="*/ 3 h 10"/>
                <a:gd name="T4" fmla="*/ 7 w 26"/>
                <a:gd name="T5" fmla="*/ 2 h 10"/>
                <a:gd name="T6" fmla="*/ 0 w 26"/>
                <a:gd name="T7" fmla="*/ 3 h 10"/>
                <a:gd name="T8" fmla="*/ 3 w 26"/>
                <a:gd name="T9" fmla="*/ 9 h 10"/>
                <a:gd name="T10" fmla="*/ 5 w 26"/>
                <a:gd name="T11" fmla="*/ 7 h 10"/>
                <a:gd name="T12" fmla="*/ 10 w 26"/>
                <a:gd name="T13" fmla="*/ 7 h 10"/>
                <a:gd name="T14" fmla="*/ 12 w 26"/>
                <a:gd name="T15" fmla="*/ 8 h 10"/>
                <a:gd name="T16" fmla="*/ 16 w 26"/>
                <a:gd name="T17" fmla="*/ 10 h 10"/>
                <a:gd name="T18" fmla="*/ 26 w 26"/>
                <a:gd name="T19" fmla="*/ 4 h 10"/>
                <a:gd name="T20" fmla="*/ 20 w 26"/>
                <a:gd name="T21" fmla="*/ 3 h 10"/>
                <a:gd name="T22" fmla="*/ 18 w 26"/>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0">
                  <a:moveTo>
                    <a:pt x="18" y="2"/>
                  </a:moveTo>
                  <a:cubicBezTo>
                    <a:pt x="17" y="3"/>
                    <a:pt x="17" y="3"/>
                    <a:pt x="16" y="3"/>
                  </a:cubicBezTo>
                  <a:cubicBezTo>
                    <a:pt x="12" y="5"/>
                    <a:pt x="10" y="3"/>
                    <a:pt x="7" y="2"/>
                  </a:cubicBezTo>
                  <a:cubicBezTo>
                    <a:pt x="4" y="1"/>
                    <a:pt x="2" y="2"/>
                    <a:pt x="0" y="3"/>
                  </a:cubicBezTo>
                  <a:cubicBezTo>
                    <a:pt x="0" y="5"/>
                    <a:pt x="0" y="9"/>
                    <a:pt x="3" y="9"/>
                  </a:cubicBezTo>
                  <a:cubicBezTo>
                    <a:pt x="4" y="8"/>
                    <a:pt x="4" y="7"/>
                    <a:pt x="5" y="7"/>
                  </a:cubicBezTo>
                  <a:cubicBezTo>
                    <a:pt x="6" y="5"/>
                    <a:pt x="8" y="6"/>
                    <a:pt x="10" y="7"/>
                  </a:cubicBezTo>
                  <a:cubicBezTo>
                    <a:pt x="10" y="7"/>
                    <a:pt x="12" y="7"/>
                    <a:pt x="12" y="8"/>
                  </a:cubicBezTo>
                  <a:cubicBezTo>
                    <a:pt x="12" y="10"/>
                    <a:pt x="15" y="10"/>
                    <a:pt x="16" y="10"/>
                  </a:cubicBezTo>
                  <a:cubicBezTo>
                    <a:pt x="20" y="9"/>
                    <a:pt x="23" y="6"/>
                    <a:pt x="26" y="4"/>
                  </a:cubicBezTo>
                  <a:cubicBezTo>
                    <a:pt x="25" y="3"/>
                    <a:pt x="22" y="3"/>
                    <a:pt x="20" y="3"/>
                  </a:cubicBezTo>
                  <a:cubicBezTo>
                    <a:pt x="20" y="2"/>
                    <a:pt x="18" y="0"/>
                    <a:pt x="18" y="2"/>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6">
              <a:extLst>
                <a:ext uri="{FF2B5EF4-FFF2-40B4-BE49-F238E27FC236}">
                  <a16:creationId xmlns:a16="http://schemas.microsoft.com/office/drawing/2014/main" id="{1BF01DEB-ACB6-9BA8-E9E8-A6ECB9DA5344}"/>
                </a:ext>
              </a:extLst>
            </p:cNvPr>
            <p:cNvSpPr>
              <a:spLocks/>
            </p:cNvSpPr>
            <p:nvPr/>
          </p:nvSpPr>
          <p:spPr bwMode="auto">
            <a:xfrm>
              <a:off x="2074219" y="4155039"/>
              <a:ext cx="30696" cy="25030"/>
            </a:xfrm>
            <a:custGeom>
              <a:avLst/>
              <a:gdLst>
                <a:gd name="T0" fmla="*/ 4 w 11"/>
                <a:gd name="T1" fmla="*/ 9 h 9"/>
                <a:gd name="T2" fmla="*/ 8 w 11"/>
                <a:gd name="T3" fmla="*/ 0 h 9"/>
                <a:gd name="T4" fmla="*/ 4 w 11"/>
                <a:gd name="T5" fmla="*/ 9 h 9"/>
              </a:gdLst>
              <a:ahLst/>
              <a:cxnLst>
                <a:cxn ang="0">
                  <a:pos x="T0" y="T1"/>
                </a:cxn>
                <a:cxn ang="0">
                  <a:pos x="T2" y="T3"/>
                </a:cxn>
                <a:cxn ang="0">
                  <a:pos x="T4" y="T5"/>
                </a:cxn>
              </a:cxnLst>
              <a:rect l="0" t="0" r="r" b="b"/>
              <a:pathLst>
                <a:path w="11" h="9">
                  <a:moveTo>
                    <a:pt x="4" y="9"/>
                  </a:moveTo>
                  <a:cubicBezTo>
                    <a:pt x="5" y="8"/>
                    <a:pt x="11" y="2"/>
                    <a:pt x="8" y="0"/>
                  </a:cubicBezTo>
                  <a:cubicBezTo>
                    <a:pt x="7" y="0"/>
                    <a:pt x="0" y="8"/>
                    <a:pt x="4" y="9"/>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47">
              <a:extLst>
                <a:ext uri="{FF2B5EF4-FFF2-40B4-BE49-F238E27FC236}">
                  <a16:creationId xmlns:a16="http://schemas.microsoft.com/office/drawing/2014/main" id="{8AF61E4C-D5C6-77EF-A808-23F07F0EAC71}"/>
                </a:ext>
              </a:extLst>
            </p:cNvPr>
            <p:cNvSpPr>
              <a:spLocks/>
            </p:cNvSpPr>
            <p:nvPr/>
          </p:nvSpPr>
          <p:spPr bwMode="auto">
            <a:xfrm>
              <a:off x="2154501" y="4118091"/>
              <a:ext cx="30696" cy="8344"/>
            </a:xfrm>
            <a:custGeom>
              <a:avLst/>
              <a:gdLst>
                <a:gd name="T0" fmla="*/ 5 w 11"/>
                <a:gd name="T1" fmla="*/ 2 h 3"/>
                <a:gd name="T2" fmla="*/ 11 w 11"/>
                <a:gd name="T3" fmla="*/ 1 h 3"/>
                <a:gd name="T4" fmla="*/ 2 w 11"/>
                <a:gd name="T5" fmla="*/ 1 h 3"/>
                <a:gd name="T6" fmla="*/ 2 w 11"/>
                <a:gd name="T7" fmla="*/ 3 h 3"/>
                <a:gd name="T8" fmla="*/ 5 w 11"/>
                <a:gd name="T9" fmla="*/ 2 h 3"/>
              </a:gdLst>
              <a:ahLst/>
              <a:cxnLst>
                <a:cxn ang="0">
                  <a:pos x="T0" y="T1"/>
                </a:cxn>
                <a:cxn ang="0">
                  <a:pos x="T2" y="T3"/>
                </a:cxn>
                <a:cxn ang="0">
                  <a:pos x="T4" y="T5"/>
                </a:cxn>
                <a:cxn ang="0">
                  <a:pos x="T6" y="T7"/>
                </a:cxn>
                <a:cxn ang="0">
                  <a:pos x="T8" y="T9"/>
                </a:cxn>
              </a:cxnLst>
              <a:rect l="0" t="0" r="r" b="b"/>
              <a:pathLst>
                <a:path w="11" h="3">
                  <a:moveTo>
                    <a:pt x="5" y="2"/>
                  </a:moveTo>
                  <a:cubicBezTo>
                    <a:pt x="7" y="2"/>
                    <a:pt x="9" y="2"/>
                    <a:pt x="11" y="1"/>
                  </a:cubicBezTo>
                  <a:cubicBezTo>
                    <a:pt x="8" y="0"/>
                    <a:pt x="5" y="1"/>
                    <a:pt x="2" y="1"/>
                  </a:cubicBezTo>
                  <a:cubicBezTo>
                    <a:pt x="1" y="1"/>
                    <a:pt x="0" y="2"/>
                    <a:pt x="2" y="3"/>
                  </a:cubicBezTo>
                  <a:cubicBezTo>
                    <a:pt x="3" y="3"/>
                    <a:pt x="4" y="2"/>
                    <a:pt x="5" y="2"/>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48">
              <a:extLst>
                <a:ext uri="{FF2B5EF4-FFF2-40B4-BE49-F238E27FC236}">
                  <a16:creationId xmlns:a16="http://schemas.microsoft.com/office/drawing/2014/main" id="{DF741987-6404-DB13-09DF-CDEAE1696367}"/>
                </a:ext>
              </a:extLst>
            </p:cNvPr>
            <p:cNvSpPr>
              <a:spLocks/>
            </p:cNvSpPr>
            <p:nvPr/>
          </p:nvSpPr>
          <p:spPr bwMode="auto">
            <a:xfrm>
              <a:off x="1984493" y="4329055"/>
              <a:ext cx="44863" cy="22646"/>
            </a:xfrm>
            <a:custGeom>
              <a:avLst/>
              <a:gdLst>
                <a:gd name="T0" fmla="*/ 7 w 16"/>
                <a:gd name="T1" fmla="*/ 3 h 8"/>
                <a:gd name="T2" fmla="*/ 15 w 16"/>
                <a:gd name="T3" fmla="*/ 5 h 8"/>
                <a:gd name="T4" fmla="*/ 10 w 16"/>
                <a:gd name="T5" fmla="*/ 1 h 8"/>
                <a:gd name="T6" fmla="*/ 3 w 16"/>
                <a:gd name="T7" fmla="*/ 1 h 8"/>
                <a:gd name="T8" fmla="*/ 7 w 16"/>
                <a:gd name="T9" fmla="*/ 3 h 8"/>
              </a:gdLst>
              <a:ahLst/>
              <a:cxnLst>
                <a:cxn ang="0">
                  <a:pos x="T0" y="T1"/>
                </a:cxn>
                <a:cxn ang="0">
                  <a:pos x="T2" y="T3"/>
                </a:cxn>
                <a:cxn ang="0">
                  <a:pos x="T4" y="T5"/>
                </a:cxn>
                <a:cxn ang="0">
                  <a:pos x="T6" y="T7"/>
                </a:cxn>
                <a:cxn ang="0">
                  <a:pos x="T8" y="T9"/>
                </a:cxn>
              </a:cxnLst>
              <a:rect l="0" t="0" r="r" b="b"/>
              <a:pathLst>
                <a:path w="16" h="8">
                  <a:moveTo>
                    <a:pt x="7" y="3"/>
                  </a:moveTo>
                  <a:cubicBezTo>
                    <a:pt x="9" y="5"/>
                    <a:pt x="12" y="8"/>
                    <a:pt x="15" y="5"/>
                  </a:cubicBezTo>
                  <a:cubicBezTo>
                    <a:pt x="16" y="4"/>
                    <a:pt x="10" y="1"/>
                    <a:pt x="10" y="1"/>
                  </a:cubicBezTo>
                  <a:cubicBezTo>
                    <a:pt x="8" y="1"/>
                    <a:pt x="5" y="0"/>
                    <a:pt x="3" y="1"/>
                  </a:cubicBezTo>
                  <a:cubicBezTo>
                    <a:pt x="0" y="4"/>
                    <a:pt x="7" y="3"/>
                    <a:pt x="7" y="3"/>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49">
              <a:extLst>
                <a:ext uri="{FF2B5EF4-FFF2-40B4-BE49-F238E27FC236}">
                  <a16:creationId xmlns:a16="http://schemas.microsoft.com/office/drawing/2014/main" id="{F75E5A24-E48F-E251-0C28-C883E190A626}"/>
                </a:ext>
              </a:extLst>
            </p:cNvPr>
            <p:cNvSpPr>
              <a:spLocks/>
            </p:cNvSpPr>
            <p:nvPr/>
          </p:nvSpPr>
          <p:spPr bwMode="auto">
            <a:xfrm>
              <a:off x="2241866" y="4101404"/>
              <a:ext cx="10626" cy="8344"/>
            </a:xfrm>
            <a:custGeom>
              <a:avLst/>
              <a:gdLst>
                <a:gd name="T0" fmla="*/ 4 w 4"/>
                <a:gd name="T1" fmla="*/ 1 h 3"/>
                <a:gd name="T2" fmla="*/ 0 w 4"/>
                <a:gd name="T3" fmla="*/ 2 h 3"/>
                <a:gd name="T4" fmla="*/ 3 w 4"/>
                <a:gd name="T5" fmla="*/ 3 h 3"/>
                <a:gd name="T6" fmla="*/ 4 w 4"/>
                <a:gd name="T7" fmla="*/ 1 h 3"/>
              </a:gdLst>
              <a:ahLst/>
              <a:cxnLst>
                <a:cxn ang="0">
                  <a:pos x="T0" y="T1"/>
                </a:cxn>
                <a:cxn ang="0">
                  <a:pos x="T2" y="T3"/>
                </a:cxn>
                <a:cxn ang="0">
                  <a:pos x="T4" y="T5"/>
                </a:cxn>
                <a:cxn ang="0">
                  <a:pos x="T6" y="T7"/>
                </a:cxn>
              </a:cxnLst>
              <a:rect l="0" t="0" r="r" b="b"/>
              <a:pathLst>
                <a:path w="4" h="3">
                  <a:moveTo>
                    <a:pt x="4" y="1"/>
                  </a:moveTo>
                  <a:cubicBezTo>
                    <a:pt x="3" y="0"/>
                    <a:pt x="0" y="2"/>
                    <a:pt x="0" y="2"/>
                  </a:cubicBezTo>
                  <a:cubicBezTo>
                    <a:pt x="1" y="3"/>
                    <a:pt x="2" y="3"/>
                    <a:pt x="3" y="3"/>
                  </a:cubicBezTo>
                  <a:cubicBezTo>
                    <a:pt x="2" y="2"/>
                    <a:pt x="4" y="1"/>
                    <a:pt x="4"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50">
              <a:extLst>
                <a:ext uri="{FF2B5EF4-FFF2-40B4-BE49-F238E27FC236}">
                  <a16:creationId xmlns:a16="http://schemas.microsoft.com/office/drawing/2014/main" id="{640F8473-37C2-A9E8-1A4C-5D00D7077B33}"/>
                </a:ext>
              </a:extLst>
            </p:cNvPr>
            <p:cNvSpPr>
              <a:spLocks/>
            </p:cNvSpPr>
            <p:nvPr/>
          </p:nvSpPr>
          <p:spPr bwMode="auto">
            <a:xfrm>
              <a:off x="2154501" y="4524526"/>
              <a:ext cx="70836" cy="89392"/>
            </a:xfrm>
            <a:custGeom>
              <a:avLst/>
              <a:gdLst>
                <a:gd name="T0" fmla="*/ 24 w 25"/>
                <a:gd name="T1" fmla="*/ 17 h 32"/>
                <a:gd name="T2" fmla="*/ 23 w 25"/>
                <a:gd name="T3" fmla="*/ 16 h 32"/>
                <a:gd name="T4" fmla="*/ 21 w 25"/>
                <a:gd name="T5" fmla="*/ 16 h 32"/>
                <a:gd name="T6" fmla="*/ 18 w 25"/>
                <a:gd name="T7" fmla="*/ 13 h 32"/>
                <a:gd name="T8" fmla="*/ 14 w 25"/>
                <a:gd name="T9" fmla="*/ 9 h 32"/>
                <a:gd name="T10" fmla="*/ 14 w 25"/>
                <a:gd name="T11" fmla="*/ 10 h 32"/>
                <a:gd name="T12" fmla="*/ 12 w 25"/>
                <a:gd name="T13" fmla="*/ 4 h 32"/>
                <a:gd name="T14" fmla="*/ 12 w 25"/>
                <a:gd name="T15" fmla="*/ 0 h 32"/>
                <a:gd name="T16" fmla="*/ 10 w 25"/>
                <a:gd name="T17" fmla="*/ 0 h 32"/>
                <a:gd name="T18" fmla="*/ 8 w 25"/>
                <a:gd name="T19" fmla="*/ 1 h 32"/>
                <a:gd name="T20" fmla="*/ 6 w 25"/>
                <a:gd name="T21" fmla="*/ 3 h 32"/>
                <a:gd name="T22" fmla="*/ 4 w 25"/>
                <a:gd name="T23" fmla="*/ 7 h 32"/>
                <a:gd name="T24" fmla="*/ 4 w 25"/>
                <a:gd name="T25" fmla="*/ 9 h 32"/>
                <a:gd name="T26" fmla="*/ 2 w 25"/>
                <a:gd name="T27" fmla="*/ 10 h 32"/>
                <a:gd name="T28" fmla="*/ 2 w 25"/>
                <a:gd name="T29" fmla="*/ 13 h 32"/>
                <a:gd name="T30" fmla="*/ 1 w 25"/>
                <a:gd name="T31" fmla="*/ 15 h 32"/>
                <a:gd name="T32" fmla="*/ 2 w 25"/>
                <a:gd name="T33" fmla="*/ 17 h 32"/>
                <a:gd name="T34" fmla="*/ 3 w 25"/>
                <a:gd name="T35" fmla="*/ 20 h 32"/>
                <a:gd name="T36" fmla="*/ 5 w 25"/>
                <a:gd name="T37" fmla="*/ 20 h 32"/>
                <a:gd name="T38" fmla="*/ 5 w 25"/>
                <a:gd name="T39" fmla="*/ 22 h 32"/>
                <a:gd name="T40" fmla="*/ 5 w 25"/>
                <a:gd name="T41" fmla="*/ 24 h 32"/>
                <a:gd name="T42" fmla="*/ 4 w 25"/>
                <a:gd name="T43" fmla="*/ 26 h 32"/>
                <a:gd name="T44" fmla="*/ 3 w 25"/>
                <a:gd name="T45" fmla="*/ 28 h 32"/>
                <a:gd name="T46" fmla="*/ 6 w 25"/>
                <a:gd name="T47" fmla="*/ 30 h 32"/>
                <a:gd name="T48" fmla="*/ 9 w 25"/>
                <a:gd name="T49" fmla="*/ 32 h 32"/>
                <a:gd name="T50" fmla="*/ 12 w 25"/>
                <a:gd name="T51" fmla="*/ 31 h 32"/>
                <a:gd name="T52" fmla="*/ 14 w 25"/>
                <a:gd name="T53" fmla="*/ 30 h 32"/>
                <a:gd name="T54" fmla="*/ 19 w 25"/>
                <a:gd name="T55" fmla="*/ 31 h 32"/>
                <a:gd name="T56" fmla="*/ 20 w 25"/>
                <a:gd name="T57" fmla="*/ 26 h 32"/>
                <a:gd name="T58" fmla="*/ 22 w 25"/>
                <a:gd name="T59" fmla="*/ 23 h 32"/>
                <a:gd name="T60" fmla="*/ 21 w 25"/>
                <a:gd name="T61" fmla="*/ 22 h 32"/>
                <a:gd name="T62" fmla="*/ 24 w 25"/>
                <a:gd name="T63" fmla="*/ 20 h 32"/>
                <a:gd name="T64" fmla="*/ 24 w 25"/>
                <a:gd name="T65"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32">
                  <a:moveTo>
                    <a:pt x="24" y="17"/>
                  </a:moveTo>
                  <a:cubicBezTo>
                    <a:pt x="24" y="16"/>
                    <a:pt x="25" y="17"/>
                    <a:pt x="23" y="16"/>
                  </a:cubicBezTo>
                  <a:cubicBezTo>
                    <a:pt x="23" y="16"/>
                    <a:pt x="22" y="16"/>
                    <a:pt x="21" y="16"/>
                  </a:cubicBezTo>
                  <a:cubicBezTo>
                    <a:pt x="20" y="15"/>
                    <a:pt x="19" y="14"/>
                    <a:pt x="18" y="13"/>
                  </a:cubicBezTo>
                  <a:cubicBezTo>
                    <a:pt x="16" y="12"/>
                    <a:pt x="16" y="11"/>
                    <a:pt x="14" y="9"/>
                  </a:cubicBezTo>
                  <a:cubicBezTo>
                    <a:pt x="14" y="9"/>
                    <a:pt x="14" y="10"/>
                    <a:pt x="14" y="10"/>
                  </a:cubicBezTo>
                  <a:cubicBezTo>
                    <a:pt x="13" y="8"/>
                    <a:pt x="13" y="5"/>
                    <a:pt x="12" y="4"/>
                  </a:cubicBezTo>
                  <a:cubicBezTo>
                    <a:pt x="12" y="3"/>
                    <a:pt x="13" y="0"/>
                    <a:pt x="12" y="0"/>
                  </a:cubicBezTo>
                  <a:cubicBezTo>
                    <a:pt x="11" y="1"/>
                    <a:pt x="10" y="2"/>
                    <a:pt x="10" y="0"/>
                  </a:cubicBezTo>
                  <a:cubicBezTo>
                    <a:pt x="9" y="0"/>
                    <a:pt x="8" y="0"/>
                    <a:pt x="8" y="1"/>
                  </a:cubicBezTo>
                  <a:cubicBezTo>
                    <a:pt x="7" y="2"/>
                    <a:pt x="6" y="3"/>
                    <a:pt x="6" y="3"/>
                  </a:cubicBezTo>
                  <a:cubicBezTo>
                    <a:pt x="5" y="4"/>
                    <a:pt x="4" y="6"/>
                    <a:pt x="4" y="7"/>
                  </a:cubicBezTo>
                  <a:cubicBezTo>
                    <a:pt x="3" y="8"/>
                    <a:pt x="4" y="8"/>
                    <a:pt x="4" y="9"/>
                  </a:cubicBezTo>
                  <a:cubicBezTo>
                    <a:pt x="3" y="10"/>
                    <a:pt x="2" y="9"/>
                    <a:pt x="2" y="10"/>
                  </a:cubicBezTo>
                  <a:cubicBezTo>
                    <a:pt x="1" y="11"/>
                    <a:pt x="0" y="13"/>
                    <a:pt x="2" y="13"/>
                  </a:cubicBezTo>
                  <a:cubicBezTo>
                    <a:pt x="1" y="14"/>
                    <a:pt x="1" y="14"/>
                    <a:pt x="1" y="15"/>
                  </a:cubicBezTo>
                  <a:cubicBezTo>
                    <a:pt x="1" y="17"/>
                    <a:pt x="2" y="16"/>
                    <a:pt x="2" y="17"/>
                  </a:cubicBezTo>
                  <a:cubicBezTo>
                    <a:pt x="2" y="18"/>
                    <a:pt x="3" y="19"/>
                    <a:pt x="3" y="20"/>
                  </a:cubicBezTo>
                  <a:cubicBezTo>
                    <a:pt x="4" y="20"/>
                    <a:pt x="4" y="20"/>
                    <a:pt x="5" y="20"/>
                  </a:cubicBezTo>
                  <a:cubicBezTo>
                    <a:pt x="5" y="21"/>
                    <a:pt x="5" y="23"/>
                    <a:pt x="5" y="22"/>
                  </a:cubicBezTo>
                  <a:cubicBezTo>
                    <a:pt x="5" y="23"/>
                    <a:pt x="5" y="24"/>
                    <a:pt x="5" y="24"/>
                  </a:cubicBezTo>
                  <a:cubicBezTo>
                    <a:pt x="5" y="25"/>
                    <a:pt x="5" y="25"/>
                    <a:pt x="4" y="26"/>
                  </a:cubicBezTo>
                  <a:cubicBezTo>
                    <a:pt x="4" y="27"/>
                    <a:pt x="3" y="28"/>
                    <a:pt x="3" y="28"/>
                  </a:cubicBezTo>
                  <a:cubicBezTo>
                    <a:pt x="4" y="29"/>
                    <a:pt x="4" y="30"/>
                    <a:pt x="6" y="30"/>
                  </a:cubicBezTo>
                  <a:cubicBezTo>
                    <a:pt x="8" y="30"/>
                    <a:pt x="7" y="32"/>
                    <a:pt x="9" y="32"/>
                  </a:cubicBezTo>
                  <a:cubicBezTo>
                    <a:pt x="10" y="32"/>
                    <a:pt x="11" y="31"/>
                    <a:pt x="12" y="31"/>
                  </a:cubicBezTo>
                  <a:cubicBezTo>
                    <a:pt x="13" y="30"/>
                    <a:pt x="13" y="30"/>
                    <a:pt x="14" y="30"/>
                  </a:cubicBezTo>
                  <a:cubicBezTo>
                    <a:pt x="16" y="29"/>
                    <a:pt x="17" y="31"/>
                    <a:pt x="19" y="31"/>
                  </a:cubicBezTo>
                  <a:cubicBezTo>
                    <a:pt x="19" y="29"/>
                    <a:pt x="20" y="28"/>
                    <a:pt x="20" y="26"/>
                  </a:cubicBezTo>
                  <a:cubicBezTo>
                    <a:pt x="20" y="26"/>
                    <a:pt x="21" y="25"/>
                    <a:pt x="22" y="23"/>
                  </a:cubicBezTo>
                  <a:cubicBezTo>
                    <a:pt x="22" y="23"/>
                    <a:pt x="21" y="22"/>
                    <a:pt x="21" y="22"/>
                  </a:cubicBezTo>
                  <a:cubicBezTo>
                    <a:pt x="22" y="21"/>
                    <a:pt x="24" y="20"/>
                    <a:pt x="24" y="20"/>
                  </a:cubicBezTo>
                  <a:cubicBezTo>
                    <a:pt x="23" y="19"/>
                    <a:pt x="24" y="18"/>
                    <a:pt x="24" y="17"/>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51">
              <a:extLst>
                <a:ext uri="{FF2B5EF4-FFF2-40B4-BE49-F238E27FC236}">
                  <a16:creationId xmlns:a16="http://schemas.microsoft.com/office/drawing/2014/main" id="{C3678A6A-EB7C-5A82-6B23-98E185C66BE5}"/>
                </a:ext>
              </a:extLst>
            </p:cNvPr>
            <p:cNvSpPr>
              <a:spLocks/>
            </p:cNvSpPr>
            <p:nvPr/>
          </p:nvSpPr>
          <p:spPr bwMode="auto">
            <a:xfrm>
              <a:off x="2168668" y="4814156"/>
              <a:ext cx="391962" cy="253873"/>
            </a:xfrm>
            <a:custGeom>
              <a:avLst/>
              <a:gdLst>
                <a:gd name="T0" fmla="*/ 137 w 140"/>
                <a:gd name="T1" fmla="*/ 48 h 90"/>
                <a:gd name="T2" fmla="*/ 138 w 140"/>
                <a:gd name="T3" fmla="*/ 44 h 90"/>
                <a:gd name="T4" fmla="*/ 133 w 140"/>
                <a:gd name="T5" fmla="*/ 40 h 90"/>
                <a:gd name="T6" fmla="*/ 130 w 140"/>
                <a:gd name="T7" fmla="*/ 43 h 90"/>
                <a:gd name="T8" fmla="*/ 122 w 140"/>
                <a:gd name="T9" fmla="*/ 41 h 90"/>
                <a:gd name="T10" fmla="*/ 120 w 140"/>
                <a:gd name="T11" fmla="*/ 36 h 90"/>
                <a:gd name="T12" fmla="*/ 108 w 140"/>
                <a:gd name="T13" fmla="*/ 34 h 90"/>
                <a:gd name="T14" fmla="*/ 108 w 140"/>
                <a:gd name="T15" fmla="*/ 27 h 90"/>
                <a:gd name="T16" fmla="*/ 113 w 140"/>
                <a:gd name="T17" fmla="*/ 17 h 90"/>
                <a:gd name="T18" fmla="*/ 110 w 140"/>
                <a:gd name="T19" fmla="*/ 13 h 90"/>
                <a:gd name="T20" fmla="*/ 92 w 140"/>
                <a:gd name="T21" fmla="*/ 8 h 90"/>
                <a:gd name="T22" fmla="*/ 87 w 140"/>
                <a:gd name="T23" fmla="*/ 7 h 90"/>
                <a:gd name="T24" fmla="*/ 84 w 140"/>
                <a:gd name="T25" fmla="*/ 3 h 90"/>
                <a:gd name="T26" fmla="*/ 80 w 140"/>
                <a:gd name="T27" fmla="*/ 2 h 90"/>
                <a:gd name="T28" fmla="*/ 78 w 140"/>
                <a:gd name="T29" fmla="*/ 8 h 90"/>
                <a:gd name="T30" fmla="*/ 80 w 140"/>
                <a:gd name="T31" fmla="*/ 11 h 90"/>
                <a:gd name="T32" fmla="*/ 70 w 140"/>
                <a:gd name="T33" fmla="*/ 10 h 90"/>
                <a:gd name="T34" fmla="*/ 57 w 140"/>
                <a:gd name="T35" fmla="*/ 11 h 90"/>
                <a:gd name="T36" fmla="*/ 53 w 140"/>
                <a:gd name="T37" fmla="*/ 10 h 90"/>
                <a:gd name="T38" fmla="*/ 46 w 140"/>
                <a:gd name="T39" fmla="*/ 15 h 90"/>
                <a:gd name="T40" fmla="*/ 39 w 140"/>
                <a:gd name="T41" fmla="*/ 18 h 90"/>
                <a:gd name="T42" fmla="*/ 32 w 140"/>
                <a:gd name="T43" fmla="*/ 15 h 90"/>
                <a:gd name="T44" fmla="*/ 29 w 140"/>
                <a:gd name="T45" fmla="*/ 21 h 90"/>
                <a:gd name="T46" fmla="*/ 31 w 140"/>
                <a:gd name="T47" fmla="*/ 25 h 90"/>
                <a:gd name="T48" fmla="*/ 23 w 140"/>
                <a:gd name="T49" fmla="*/ 34 h 90"/>
                <a:gd name="T50" fmla="*/ 15 w 140"/>
                <a:gd name="T51" fmla="*/ 44 h 90"/>
                <a:gd name="T52" fmla="*/ 10 w 140"/>
                <a:gd name="T53" fmla="*/ 50 h 90"/>
                <a:gd name="T54" fmla="*/ 5 w 140"/>
                <a:gd name="T55" fmla="*/ 57 h 90"/>
                <a:gd name="T56" fmla="*/ 5 w 140"/>
                <a:gd name="T57" fmla="*/ 66 h 90"/>
                <a:gd name="T58" fmla="*/ 1 w 140"/>
                <a:gd name="T59" fmla="*/ 71 h 90"/>
                <a:gd name="T60" fmla="*/ 4 w 140"/>
                <a:gd name="T61" fmla="*/ 74 h 90"/>
                <a:gd name="T62" fmla="*/ 10 w 140"/>
                <a:gd name="T63" fmla="*/ 70 h 90"/>
                <a:gd name="T64" fmla="*/ 24 w 140"/>
                <a:gd name="T65" fmla="*/ 61 h 90"/>
                <a:gd name="T66" fmla="*/ 26 w 140"/>
                <a:gd name="T67" fmla="*/ 68 h 90"/>
                <a:gd name="T68" fmla="*/ 27 w 140"/>
                <a:gd name="T69" fmla="*/ 76 h 90"/>
                <a:gd name="T70" fmla="*/ 29 w 140"/>
                <a:gd name="T71" fmla="*/ 78 h 90"/>
                <a:gd name="T72" fmla="*/ 38 w 140"/>
                <a:gd name="T73" fmla="*/ 86 h 90"/>
                <a:gd name="T74" fmla="*/ 49 w 140"/>
                <a:gd name="T75" fmla="*/ 82 h 90"/>
                <a:gd name="T76" fmla="*/ 54 w 140"/>
                <a:gd name="T77" fmla="*/ 84 h 90"/>
                <a:gd name="T78" fmla="*/ 61 w 140"/>
                <a:gd name="T79" fmla="*/ 81 h 90"/>
                <a:gd name="T80" fmla="*/ 67 w 140"/>
                <a:gd name="T81" fmla="*/ 72 h 90"/>
                <a:gd name="T82" fmla="*/ 71 w 140"/>
                <a:gd name="T83" fmla="*/ 65 h 90"/>
                <a:gd name="T84" fmla="*/ 77 w 140"/>
                <a:gd name="T85" fmla="*/ 64 h 90"/>
                <a:gd name="T86" fmla="*/ 80 w 140"/>
                <a:gd name="T87" fmla="*/ 73 h 90"/>
                <a:gd name="T88" fmla="*/ 88 w 140"/>
                <a:gd name="T89" fmla="*/ 82 h 90"/>
                <a:gd name="T90" fmla="*/ 95 w 140"/>
                <a:gd name="T91" fmla="*/ 87 h 90"/>
                <a:gd name="T92" fmla="*/ 98 w 140"/>
                <a:gd name="T93" fmla="*/ 73 h 90"/>
                <a:gd name="T94" fmla="*/ 101 w 140"/>
                <a:gd name="T95" fmla="*/ 60 h 90"/>
                <a:gd name="T96" fmla="*/ 107 w 140"/>
                <a:gd name="T97" fmla="*/ 59 h 90"/>
                <a:gd name="T98" fmla="*/ 109 w 140"/>
                <a:gd name="T99" fmla="*/ 67 h 90"/>
                <a:gd name="T100" fmla="*/ 122 w 140"/>
                <a:gd name="T101" fmla="*/ 65 h 90"/>
                <a:gd name="T102" fmla="*/ 126 w 140"/>
                <a:gd name="T103" fmla="*/ 71 h 90"/>
                <a:gd name="T104" fmla="*/ 127 w 140"/>
                <a:gd name="T105" fmla="*/ 66 h 90"/>
                <a:gd name="T106" fmla="*/ 126 w 140"/>
                <a:gd name="T107" fmla="*/ 62 h 90"/>
                <a:gd name="T108" fmla="*/ 133 w 140"/>
                <a:gd name="T109"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 h="90">
                  <a:moveTo>
                    <a:pt x="139" y="54"/>
                  </a:moveTo>
                  <a:cubicBezTo>
                    <a:pt x="137" y="51"/>
                    <a:pt x="135" y="52"/>
                    <a:pt x="137" y="48"/>
                  </a:cubicBezTo>
                  <a:cubicBezTo>
                    <a:pt x="137" y="48"/>
                    <a:pt x="137" y="47"/>
                    <a:pt x="137" y="46"/>
                  </a:cubicBezTo>
                  <a:cubicBezTo>
                    <a:pt x="137" y="45"/>
                    <a:pt x="138" y="45"/>
                    <a:pt x="138" y="44"/>
                  </a:cubicBezTo>
                  <a:cubicBezTo>
                    <a:pt x="138" y="43"/>
                    <a:pt x="139" y="40"/>
                    <a:pt x="138" y="39"/>
                  </a:cubicBezTo>
                  <a:cubicBezTo>
                    <a:pt x="136" y="36"/>
                    <a:pt x="135" y="36"/>
                    <a:pt x="133" y="40"/>
                  </a:cubicBezTo>
                  <a:cubicBezTo>
                    <a:pt x="133" y="40"/>
                    <a:pt x="131" y="39"/>
                    <a:pt x="131" y="41"/>
                  </a:cubicBezTo>
                  <a:cubicBezTo>
                    <a:pt x="131" y="42"/>
                    <a:pt x="131" y="42"/>
                    <a:pt x="130" y="43"/>
                  </a:cubicBezTo>
                  <a:cubicBezTo>
                    <a:pt x="129" y="43"/>
                    <a:pt x="128" y="43"/>
                    <a:pt x="126" y="43"/>
                  </a:cubicBezTo>
                  <a:cubicBezTo>
                    <a:pt x="125" y="42"/>
                    <a:pt x="124" y="41"/>
                    <a:pt x="122" y="41"/>
                  </a:cubicBezTo>
                  <a:cubicBezTo>
                    <a:pt x="122" y="40"/>
                    <a:pt x="121" y="40"/>
                    <a:pt x="120" y="40"/>
                  </a:cubicBezTo>
                  <a:cubicBezTo>
                    <a:pt x="119" y="39"/>
                    <a:pt x="121" y="37"/>
                    <a:pt x="120" y="36"/>
                  </a:cubicBezTo>
                  <a:cubicBezTo>
                    <a:pt x="119" y="35"/>
                    <a:pt x="117" y="35"/>
                    <a:pt x="116" y="35"/>
                  </a:cubicBezTo>
                  <a:cubicBezTo>
                    <a:pt x="114" y="34"/>
                    <a:pt x="110" y="33"/>
                    <a:pt x="108" y="34"/>
                  </a:cubicBezTo>
                  <a:cubicBezTo>
                    <a:pt x="108" y="33"/>
                    <a:pt x="109" y="33"/>
                    <a:pt x="109" y="31"/>
                  </a:cubicBezTo>
                  <a:cubicBezTo>
                    <a:pt x="108" y="29"/>
                    <a:pt x="108" y="28"/>
                    <a:pt x="108" y="27"/>
                  </a:cubicBezTo>
                  <a:cubicBezTo>
                    <a:pt x="109" y="25"/>
                    <a:pt x="111" y="23"/>
                    <a:pt x="112" y="21"/>
                  </a:cubicBezTo>
                  <a:cubicBezTo>
                    <a:pt x="113" y="21"/>
                    <a:pt x="114" y="18"/>
                    <a:pt x="113" y="17"/>
                  </a:cubicBezTo>
                  <a:cubicBezTo>
                    <a:pt x="113" y="16"/>
                    <a:pt x="111" y="16"/>
                    <a:pt x="111" y="15"/>
                  </a:cubicBezTo>
                  <a:cubicBezTo>
                    <a:pt x="110" y="14"/>
                    <a:pt x="111" y="14"/>
                    <a:pt x="110" y="13"/>
                  </a:cubicBezTo>
                  <a:cubicBezTo>
                    <a:pt x="107" y="9"/>
                    <a:pt x="102" y="8"/>
                    <a:pt x="98" y="7"/>
                  </a:cubicBezTo>
                  <a:cubicBezTo>
                    <a:pt x="96" y="7"/>
                    <a:pt x="94" y="7"/>
                    <a:pt x="92" y="8"/>
                  </a:cubicBezTo>
                  <a:cubicBezTo>
                    <a:pt x="91" y="8"/>
                    <a:pt x="88" y="6"/>
                    <a:pt x="89" y="6"/>
                  </a:cubicBezTo>
                  <a:cubicBezTo>
                    <a:pt x="88" y="5"/>
                    <a:pt x="86" y="4"/>
                    <a:pt x="87" y="7"/>
                  </a:cubicBezTo>
                  <a:cubicBezTo>
                    <a:pt x="86" y="6"/>
                    <a:pt x="86" y="6"/>
                    <a:pt x="85" y="6"/>
                  </a:cubicBezTo>
                  <a:cubicBezTo>
                    <a:pt x="85" y="4"/>
                    <a:pt x="86" y="4"/>
                    <a:pt x="84" y="3"/>
                  </a:cubicBezTo>
                  <a:cubicBezTo>
                    <a:pt x="84" y="2"/>
                    <a:pt x="83" y="1"/>
                    <a:pt x="82" y="3"/>
                  </a:cubicBezTo>
                  <a:cubicBezTo>
                    <a:pt x="82" y="2"/>
                    <a:pt x="80" y="0"/>
                    <a:pt x="80" y="2"/>
                  </a:cubicBezTo>
                  <a:cubicBezTo>
                    <a:pt x="78" y="3"/>
                    <a:pt x="77" y="3"/>
                    <a:pt x="76" y="5"/>
                  </a:cubicBezTo>
                  <a:cubicBezTo>
                    <a:pt x="76" y="7"/>
                    <a:pt x="75" y="8"/>
                    <a:pt x="78" y="8"/>
                  </a:cubicBezTo>
                  <a:cubicBezTo>
                    <a:pt x="79" y="8"/>
                    <a:pt x="81" y="6"/>
                    <a:pt x="82" y="8"/>
                  </a:cubicBezTo>
                  <a:cubicBezTo>
                    <a:pt x="82" y="8"/>
                    <a:pt x="81" y="10"/>
                    <a:pt x="80" y="11"/>
                  </a:cubicBezTo>
                  <a:cubicBezTo>
                    <a:pt x="80" y="7"/>
                    <a:pt x="77" y="10"/>
                    <a:pt x="78" y="11"/>
                  </a:cubicBezTo>
                  <a:cubicBezTo>
                    <a:pt x="75" y="12"/>
                    <a:pt x="73" y="10"/>
                    <a:pt x="70" y="10"/>
                  </a:cubicBezTo>
                  <a:cubicBezTo>
                    <a:pt x="68" y="9"/>
                    <a:pt x="66" y="12"/>
                    <a:pt x="63" y="12"/>
                  </a:cubicBezTo>
                  <a:cubicBezTo>
                    <a:pt x="61" y="12"/>
                    <a:pt x="59" y="10"/>
                    <a:pt x="57" y="11"/>
                  </a:cubicBezTo>
                  <a:cubicBezTo>
                    <a:pt x="55" y="12"/>
                    <a:pt x="54" y="14"/>
                    <a:pt x="51" y="12"/>
                  </a:cubicBezTo>
                  <a:cubicBezTo>
                    <a:pt x="52" y="12"/>
                    <a:pt x="53" y="11"/>
                    <a:pt x="53" y="10"/>
                  </a:cubicBezTo>
                  <a:cubicBezTo>
                    <a:pt x="52" y="10"/>
                    <a:pt x="48" y="12"/>
                    <a:pt x="48" y="13"/>
                  </a:cubicBezTo>
                  <a:cubicBezTo>
                    <a:pt x="48" y="16"/>
                    <a:pt x="46" y="14"/>
                    <a:pt x="46" y="15"/>
                  </a:cubicBezTo>
                  <a:cubicBezTo>
                    <a:pt x="45" y="15"/>
                    <a:pt x="46" y="16"/>
                    <a:pt x="46" y="16"/>
                  </a:cubicBezTo>
                  <a:cubicBezTo>
                    <a:pt x="44" y="17"/>
                    <a:pt x="41" y="18"/>
                    <a:pt x="39" y="18"/>
                  </a:cubicBezTo>
                  <a:cubicBezTo>
                    <a:pt x="37" y="18"/>
                    <a:pt x="40" y="14"/>
                    <a:pt x="36" y="15"/>
                  </a:cubicBezTo>
                  <a:cubicBezTo>
                    <a:pt x="35" y="15"/>
                    <a:pt x="33" y="14"/>
                    <a:pt x="32" y="15"/>
                  </a:cubicBezTo>
                  <a:cubicBezTo>
                    <a:pt x="31" y="15"/>
                    <a:pt x="33" y="16"/>
                    <a:pt x="32" y="17"/>
                  </a:cubicBezTo>
                  <a:cubicBezTo>
                    <a:pt x="32" y="17"/>
                    <a:pt x="28" y="21"/>
                    <a:pt x="29" y="21"/>
                  </a:cubicBezTo>
                  <a:cubicBezTo>
                    <a:pt x="30" y="21"/>
                    <a:pt x="34" y="20"/>
                    <a:pt x="34" y="22"/>
                  </a:cubicBezTo>
                  <a:cubicBezTo>
                    <a:pt x="34" y="24"/>
                    <a:pt x="30" y="23"/>
                    <a:pt x="31" y="25"/>
                  </a:cubicBezTo>
                  <a:cubicBezTo>
                    <a:pt x="31" y="26"/>
                    <a:pt x="29" y="28"/>
                    <a:pt x="28" y="30"/>
                  </a:cubicBezTo>
                  <a:cubicBezTo>
                    <a:pt x="26" y="31"/>
                    <a:pt x="24" y="33"/>
                    <a:pt x="23" y="34"/>
                  </a:cubicBezTo>
                  <a:cubicBezTo>
                    <a:pt x="21" y="38"/>
                    <a:pt x="19" y="36"/>
                    <a:pt x="16" y="39"/>
                  </a:cubicBezTo>
                  <a:cubicBezTo>
                    <a:pt x="14" y="40"/>
                    <a:pt x="17" y="42"/>
                    <a:pt x="15" y="44"/>
                  </a:cubicBezTo>
                  <a:cubicBezTo>
                    <a:pt x="14" y="45"/>
                    <a:pt x="16" y="46"/>
                    <a:pt x="15" y="47"/>
                  </a:cubicBezTo>
                  <a:cubicBezTo>
                    <a:pt x="14" y="49"/>
                    <a:pt x="12" y="49"/>
                    <a:pt x="10" y="50"/>
                  </a:cubicBezTo>
                  <a:cubicBezTo>
                    <a:pt x="9" y="51"/>
                    <a:pt x="7" y="53"/>
                    <a:pt x="6" y="54"/>
                  </a:cubicBezTo>
                  <a:cubicBezTo>
                    <a:pt x="5" y="55"/>
                    <a:pt x="6" y="56"/>
                    <a:pt x="5" y="57"/>
                  </a:cubicBezTo>
                  <a:cubicBezTo>
                    <a:pt x="5" y="59"/>
                    <a:pt x="4" y="59"/>
                    <a:pt x="4" y="61"/>
                  </a:cubicBezTo>
                  <a:cubicBezTo>
                    <a:pt x="3" y="63"/>
                    <a:pt x="6" y="63"/>
                    <a:pt x="5" y="66"/>
                  </a:cubicBezTo>
                  <a:cubicBezTo>
                    <a:pt x="5" y="67"/>
                    <a:pt x="5" y="68"/>
                    <a:pt x="4" y="69"/>
                  </a:cubicBezTo>
                  <a:cubicBezTo>
                    <a:pt x="4" y="70"/>
                    <a:pt x="1" y="70"/>
                    <a:pt x="1" y="71"/>
                  </a:cubicBezTo>
                  <a:cubicBezTo>
                    <a:pt x="0" y="72"/>
                    <a:pt x="1" y="74"/>
                    <a:pt x="0" y="75"/>
                  </a:cubicBezTo>
                  <a:cubicBezTo>
                    <a:pt x="1" y="74"/>
                    <a:pt x="2" y="74"/>
                    <a:pt x="4" y="74"/>
                  </a:cubicBezTo>
                  <a:cubicBezTo>
                    <a:pt x="5" y="74"/>
                    <a:pt x="6" y="74"/>
                    <a:pt x="7" y="73"/>
                  </a:cubicBezTo>
                  <a:cubicBezTo>
                    <a:pt x="7" y="73"/>
                    <a:pt x="10" y="70"/>
                    <a:pt x="10" y="70"/>
                  </a:cubicBezTo>
                  <a:cubicBezTo>
                    <a:pt x="6" y="67"/>
                    <a:pt x="9" y="64"/>
                    <a:pt x="12" y="63"/>
                  </a:cubicBezTo>
                  <a:cubicBezTo>
                    <a:pt x="16" y="61"/>
                    <a:pt x="20" y="60"/>
                    <a:pt x="24" y="61"/>
                  </a:cubicBezTo>
                  <a:cubicBezTo>
                    <a:pt x="25" y="62"/>
                    <a:pt x="26" y="63"/>
                    <a:pt x="25" y="64"/>
                  </a:cubicBezTo>
                  <a:cubicBezTo>
                    <a:pt x="25" y="66"/>
                    <a:pt x="25" y="66"/>
                    <a:pt x="26" y="68"/>
                  </a:cubicBezTo>
                  <a:cubicBezTo>
                    <a:pt x="27" y="70"/>
                    <a:pt x="25" y="71"/>
                    <a:pt x="25" y="73"/>
                  </a:cubicBezTo>
                  <a:cubicBezTo>
                    <a:pt x="25" y="75"/>
                    <a:pt x="26" y="75"/>
                    <a:pt x="27" y="76"/>
                  </a:cubicBezTo>
                  <a:cubicBezTo>
                    <a:pt x="28" y="76"/>
                    <a:pt x="28" y="78"/>
                    <a:pt x="28" y="78"/>
                  </a:cubicBezTo>
                  <a:cubicBezTo>
                    <a:pt x="27" y="80"/>
                    <a:pt x="29" y="78"/>
                    <a:pt x="29" y="78"/>
                  </a:cubicBezTo>
                  <a:cubicBezTo>
                    <a:pt x="31" y="79"/>
                    <a:pt x="31" y="81"/>
                    <a:pt x="32" y="83"/>
                  </a:cubicBezTo>
                  <a:cubicBezTo>
                    <a:pt x="33" y="86"/>
                    <a:pt x="36" y="87"/>
                    <a:pt x="38" y="86"/>
                  </a:cubicBezTo>
                  <a:cubicBezTo>
                    <a:pt x="40" y="85"/>
                    <a:pt x="43" y="85"/>
                    <a:pt x="45" y="84"/>
                  </a:cubicBezTo>
                  <a:cubicBezTo>
                    <a:pt x="46" y="84"/>
                    <a:pt x="48" y="81"/>
                    <a:pt x="49" y="82"/>
                  </a:cubicBezTo>
                  <a:cubicBezTo>
                    <a:pt x="51" y="83"/>
                    <a:pt x="52" y="82"/>
                    <a:pt x="53" y="84"/>
                  </a:cubicBezTo>
                  <a:cubicBezTo>
                    <a:pt x="54" y="84"/>
                    <a:pt x="54" y="84"/>
                    <a:pt x="54" y="84"/>
                  </a:cubicBezTo>
                  <a:cubicBezTo>
                    <a:pt x="55" y="84"/>
                    <a:pt x="58" y="85"/>
                    <a:pt x="58" y="84"/>
                  </a:cubicBezTo>
                  <a:cubicBezTo>
                    <a:pt x="59" y="82"/>
                    <a:pt x="59" y="82"/>
                    <a:pt x="61" y="81"/>
                  </a:cubicBezTo>
                  <a:cubicBezTo>
                    <a:pt x="64" y="81"/>
                    <a:pt x="62" y="78"/>
                    <a:pt x="64" y="77"/>
                  </a:cubicBezTo>
                  <a:cubicBezTo>
                    <a:pt x="65" y="76"/>
                    <a:pt x="67" y="75"/>
                    <a:pt x="67" y="72"/>
                  </a:cubicBezTo>
                  <a:cubicBezTo>
                    <a:pt x="67" y="71"/>
                    <a:pt x="64" y="69"/>
                    <a:pt x="66" y="68"/>
                  </a:cubicBezTo>
                  <a:cubicBezTo>
                    <a:pt x="68" y="67"/>
                    <a:pt x="69" y="67"/>
                    <a:pt x="71" y="65"/>
                  </a:cubicBezTo>
                  <a:cubicBezTo>
                    <a:pt x="72" y="63"/>
                    <a:pt x="72" y="61"/>
                    <a:pt x="74" y="61"/>
                  </a:cubicBezTo>
                  <a:cubicBezTo>
                    <a:pt x="76" y="60"/>
                    <a:pt x="77" y="62"/>
                    <a:pt x="77" y="64"/>
                  </a:cubicBezTo>
                  <a:cubicBezTo>
                    <a:pt x="77" y="65"/>
                    <a:pt x="76" y="68"/>
                    <a:pt x="76" y="70"/>
                  </a:cubicBezTo>
                  <a:cubicBezTo>
                    <a:pt x="76" y="71"/>
                    <a:pt x="79" y="72"/>
                    <a:pt x="80" y="73"/>
                  </a:cubicBezTo>
                  <a:cubicBezTo>
                    <a:pt x="82" y="77"/>
                    <a:pt x="84" y="76"/>
                    <a:pt x="86" y="77"/>
                  </a:cubicBezTo>
                  <a:cubicBezTo>
                    <a:pt x="90" y="78"/>
                    <a:pt x="85" y="80"/>
                    <a:pt x="88" y="82"/>
                  </a:cubicBezTo>
                  <a:cubicBezTo>
                    <a:pt x="90" y="84"/>
                    <a:pt x="92" y="86"/>
                    <a:pt x="90" y="89"/>
                  </a:cubicBezTo>
                  <a:cubicBezTo>
                    <a:pt x="92" y="87"/>
                    <a:pt x="94" y="90"/>
                    <a:pt x="95" y="87"/>
                  </a:cubicBezTo>
                  <a:cubicBezTo>
                    <a:pt x="96" y="84"/>
                    <a:pt x="93" y="84"/>
                    <a:pt x="93" y="82"/>
                  </a:cubicBezTo>
                  <a:cubicBezTo>
                    <a:pt x="93" y="79"/>
                    <a:pt x="96" y="75"/>
                    <a:pt x="98" y="73"/>
                  </a:cubicBezTo>
                  <a:cubicBezTo>
                    <a:pt x="100" y="71"/>
                    <a:pt x="102" y="69"/>
                    <a:pt x="102" y="66"/>
                  </a:cubicBezTo>
                  <a:cubicBezTo>
                    <a:pt x="102" y="64"/>
                    <a:pt x="101" y="62"/>
                    <a:pt x="101" y="60"/>
                  </a:cubicBezTo>
                  <a:cubicBezTo>
                    <a:pt x="102" y="57"/>
                    <a:pt x="105" y="60"/>
                    <a:pt x="105" y="60"/>
                  </a:cubicBezTo>
                  <a:cubicBezTo>
                    <a:pt x="106" y="60"/>
                    <a:pt x="107" y="59"/>
                    <a:pt x="107" y="59"/>
                  </a:cubicBezTo>
                  <a:cubicBezTo>
                    <a:pt x="108" y="61"/>
                    <a:pt x="107" y="62"/>
                    <a:pt x="107" y="64"/>
                  </a:cubicBezTo>
                  <a:cubicBezTo>
                    <a:pt x="108" y="65"/>
                    <a:pt x="108" y="66"/>
                    <a:pt x="109" y="67"/>
                  </a:cubicBezTo>
                  <a:cubicBezTo>
                    <a:pt x="111" y="69"/>
                    <a:pt x="114" y="68"/>
                    <a:pt x="116" y="66"/>
                  </a:cubicBezTo>
                  <a:cubicBezTo>
                    <a:pt x="116" y="65"/>
                    <a:pt x="121" y="64"/>
                    <a:pt x="122" y="65"/>
                  </a:cubicBezTo>
                  <a:cubicBezTo>
                    <a:pt x="124" y="65"/>
                    <a:pt x="123" y="67"/>
                    <a:pt x="124" y="68"/>
                  </a:cubicBezTo>
                  <a:cubicBezTo>
                    <a:pt x="124" y="69"/>
                    <a:pt x="125" y="70"/>
                    <a:pt x="126" y="71"/>
                  </a:cubicBezTo>
                  <a:cubicBezTo>
                    <a:pt x="127" y="72"/>
                    <a:pt x="129" y="71"/>
                    <a:pt x="129" y="69"/>
                  </a:cubicBezTo>
                  <a:cubicBezTo>
                    <a:pt x="129" y="68"/>
                    <a:pt x="127" y="68"/>
                    <a:pt x="127" y="66"/>
                  </a:cubicBezTo>
                  <a:cubicBezTo>
                    <a:pt x="127" y="65"/>
                    <a:pt x="128" y="64"/>
                    <a:pt x="129" y="63"/>
                  </a:cubicBezTo>
                  <a:cubicBezTo>
                    <a:pt x="129" y="62"/>
                    <a:pt x="127" y="62"/>
                    <a:pt x="126" y="62"/>
                  </a:cubicBezTo>
                  <a:cubicBezTo>
                    <a:pt x="123" y="61"/>
                    <a:pt x="127" y="55"/>
                    <a:pt x="128" y="54"/>
                  </a:cubicBezTo>
                  <a:cubicBezTo>
                    <a:pt x="131" y="51"/>
                    <a:pt x="131" y="54"/>
                    <a:pt x="133" y="56"/>
                  </a:cubicBezTo>
                  <a:cubicBezTo>
                    <a:pt x="135" y="58"/>
                    <a:pt x="140" y="57"/>
                    <a:pt x="139" y="54"/>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52">
              <a:extLst>
                <a:ext uri="{FF2B5EF4-FFF2-40B4-BE49-F238E27FC236}">
                  <a16:creationId xmlns:a16="http://schemas.microsoft.com/office/drawing/2014/main" id="{230552EE-3C52-1055-00EF-F0F0BC22DFCF}"/>
                </a:ext>
              </a:extLst>
            </p:cNvPr>
            <p:cNvSpPr>
              <a:spLocks noEditPoints="1"/>
            </p:cNvSpPr>
            <p:nvPr/>
          </p:nvSpPr>
          <p:spPr bwMode="auto">
            <a:xfrm>
              <a:off x="2221795" y="4904740"/>
              <a:ext cx="1050741" cy="1162095"/>
            </a:xfrm>
            <a:custGeom>
              <a:avLst/>
              <a:gdLst>
                <a:gd name="T0" fmla="*/ 330 w 376"/>
                <a:gd name="T1" fmla="*/ 270 h 412"/>
                <a:gd name="T2" fmla="*/ 300 w 376"/>
                <a:gd name="T3" fmla="*/ 238 h 412"/>
                <a:gd name="T4" fmla="*/ 248 w 376"/>
                <a:gd name="T5" fmla="*/ 217 h 412"/>
                <a:gd name="T6" fmla="*/ 219 w 376"/>
                <a:gd name="T7" fmla="*/ 161 h 412"/>
                <a:gd name="T8" fmla="*/ 181 w 376"/>
                <a:gd name="T9" fmla="*/ 131 h 412"/>
                <a:gd name="T10" fmla="*/ 181 w 376"/>
                <a:gd name="T11" fmla="*/ 102 h 412"/>
                <a:gd name="T12" fmla="*/ 176 w 376"/>
                <a:gd name="T13" fmla="*/ 90 h 412"/>
                <a:gd name="T14" fmla="*/ 174 w 376"/>
                <a:gd name="T15" fmla="*/ 79 h 412"/>
                <a:gd name="T16" fmla="*/ 184 w 376"/>
                <a:gd name="T17" fmla="*/ 69 h 412"/>
                <a:gd name="T18" fmla="*/ 204 w 376"/>
                <a:gd name="T19" fmla="*/ 60 h 412"/>
                <a:gd name="T20" fmla="*/ 220 w 376"/>
                <a:gd name="T21" fmla="*/ 67 h 412"/>
                <a:gd name="T22" fmla="*/ 213 w 376"/>
                <a:gd name="T23" fmla="*/ 50 h 412"/>
                <a:gd name="T24" fmla="*/ 210 w 376"/>
                <a:gd name="T25" fmla="*/ 35 h 412"/>
                <a:gd name="T26" fmla="*/ 200 w 376"/>
                <a:gd name="T27" fmla="*/ 22 h 412"/>
                <a:gd name="T28" fmla="*/ 172 w 376"/>
                <a:gd name="T29" fmla="*/ 9 h 412"/>
                <a:gd name="T30" fmla="*/ 148 w 376"/>
                <a:gd name="T31" fmla="*/ 6 h 412"/>
                <a:gd name="T32" fmla="*/ 128 w 376"/>
                <a:gd name="T33" fmla="*/ 12 h 412"/>
                <a:gd name="T34" fmla="*/ 118 w 376"/>
                <a:gd name="T35" fmla="*/ 25 h 412"/>
                <a:gd name="T36" fmla="*/ 110 w 376"/>
                <a:gd name="T37" fmla="*/ 32 h 412"/>
                <a:gd name="T38" fmla="*/ 96 w 376"/>
                <a:gd name="T39" fmla="*/ 35 h 412"/>
                <a:gd name="T40" fmla="*/ 83 w 376"/>
                <a:gd name="T41" fmla="*/ 33 h 412"/>
                <a:gd name="T42" fmla="*/ 71 w 376"/>
                <a:gd name="T43" fmla="*/ 57 h 412"/>
                <a:gd name="T44" fmla="*/ 58 w 376"/>
                <a:gd name="T45" fmla="*/ 33 h 412"/>
                <a:gd name="T46" fmla="*/ 44 w 376"/>
                <a:gd name="T47" fmla="*/ 47 h 412"/>
                <a:gd name="T48" fmla="*/ 18 w 376"/>
                <a:gd name="T49" fmla="*/ 54 h 412"/>
                <a:gd name="T50" fmla="*/ 12 w 376"/>
                <a:gd name="T51" fmla="*/ 68 h 412"/>
                <a:gd name="T52" fmla="*/ 4 w 376"/>
                <a:gd name="T53" fmla="*/ 87 h 412"/>
                <a:gd name="T54" fmla="*/ 10 w 376"/>
                <a:gd name="T55" fmla="*/ 111 h 412"/>
                <a:gd name="T56" fmla="*/ 31 w 376"/>
                <a:gd name="T57" fmla="*/ 130 h 412"/>
                <a:gd name="T58" fmla="*/ 42 w 376"/>
                <a:gd name="T59" fmla="*/ 145 h 412"/>
                <a:gd name="T60" fmla="*/ 59 w 376"/>
                <a:gd name="T61" fmla="*/ 123 h 412"/>
                <a:gd name="T62" fmla="*/ 100 w 376"/>
                <a:gd name="T63" fmla="*/ 136 h 412"/>
                <a:gd name="T64" fmla="*/ 116 w 376"/>
                <a:gd name="T65" fmla="*/ 162 h 412"/>
                <a:gd name="T66" fmla="*/ 128 w 376"/>
                <a:gd name="T67" fmla="*/ 191 h 412"/>
                <a:gd name="T68" fmla="*/ 139 w 376"/>
                <a:gd name="T69" fmla="*/ 209 h 412"/>
                <a:gd name="T70" fmla="*/ 167 w 376"/>
                <a:gd name="T71" fmla="*/ 227 h 412"/>
                <a:gd name="T72" fmla="*/ 199 w 376"/>
                <a:gd name="T73" fmla="*/ 258 h 412"/>
                <a:gd name="T74" fmla="*/ 227 w 376"/>
                <a:gd name="T75" fmla="*/ 266 h 412"/>
                <a:gd name="T76" fmla="*/ 246 w 376"/>
                <a:gd name="T77" fmla="*/ 287 h 412"/>
                <a:gd name="T78" fmla="*/ 255 w 376"/>
                <a:gd name="T79" fmla="*/ 287 h 412"/>
                <a:gd name="T80" fmla="*/ 273 w 376"/>
                <a:gd name="T81" fmla="*/ 316 h 412"/>
                <a:gd name="T82" fmla="*/ 291 w 376"/>
                <a:gd name="T83" fmla="*/ 332 h 412"/>
                <a:gd name="T84" fmla="*/ 301 w 376"/>
                <a:gd name="T85" fmla="*/ 375 h 412"/>
                <a:gd name="T86" fmla="*/ 286 w 376"/>
                <a:gd name="T87" fmla="*/ 399 h 412"/>
                <a:gd name="T88" fmla="*/ 302 w 376"/>
                <a:gd name="T89" fmla="*/ 404 h 412"/>
                <a:gd name="T90" fmla="*/ 329 w 376"/>
                <a:gd name="T91" fmla="*/ 366 h 412"/>
                <a:gd name="T92" fmla="*/ 333 w 376"/>
                <a:gd name="T93" fmla="*/ 345 h 412"/>
                <a:gd name="T94" fmla="*/ 315 w 376"/>
                <a:gd name="T95" fmla="*/ 321 h 412"/>
                <a:gd name="T96" fmla="*/ 334 w 376"/>
                <a:gd name="T97" fmla="*/ 296 h 412"/>
                <a:gd name="T98" fmla="*/ 342 w 376"/>
                <a:gd name="T99" fmla="*/ 303 h 412"/>
                <a:gd name="T100" fmla="*/ 373 w 376"/>
                <a:gd name="T101" fmla="*/ 318 h 412"/>
                <a:gd name="T102" fmla="*/ 183 w 376"/>
                <a:gd name="T103" fmla="*/ 14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6" h="412">
                  <a:moveTo>
                    <a:pt x="372" y="303"/>
                  </a:moveTo>
                  <a:cubicBezTo>
                    <a:pt x="370" y="301"/>
                    <a:pt x="368" y="298"/>
                    <a:pt x="365" y="296"/>
                  </a:cubicBezTo>
                  <a:cubicBezTo>
                    <a:pt x="363" y="295"/>
                    <a:pt x="361" y="294"/>
                    <a:pt x="360" y="291"/>
                  </a:cubicBezTo>
                  <a:cubicBezTo>
                    <a:pt x="359" y="286"/>
                    <a:pt x="351" y="284"/>
                    <a:pt x="347" y="282"/>
                  </a:cubicBezTo>
                  <a:cubicBezTo>
                    <a:pt x="340" y="280"/>
                    <a:pt x="337" y="273"/>
                    <a:pt x="330" y="270"/>
                  </a:cubicBezTo>
                  <a:cubicBezTo>
                    <a:pt x="326" y="268"/>
                    <a:pt x="321" y="266"/>
                    <a:pt x="317" y="264"/>
                  </a:cubicBezTo>
                  <a:cubicBezTo>
                    <a:pt x="314" y="263"/>
                    <a:pt x="312" y="262"/>
                    <a:pt x="309" y="260"/>
                  </a:cubicBezTo>
                  <a:cubicBezTo>
                    <a:pt x="305" y="258"/>
                    <a:pt x="300" y="256"/>
                    <a:pt x="296" y="254"/>
                  </a:cubicBezTo>
                  <a:cubicBezTo>
                    <a:pt x="294" y="252"/>
                    <a:pt x="289" y="249"/>
                    <a:pt x="291" y="245"/>
                  </a:cubicBezTo>
                  <a:cubicBezTo>
                    <a:pt x="293" y="242"/>
                    <a:pt x="298" y="241"/>
                    <a:pt x="300" y="238"/>
                  </a:cubicBezTo>
                  <a:cubicBezTo>
                    <a:pt x="304" y="227"/>
                    <a:pt x="285" y="231"/>
                    <a:pt x="282" y="231"/>
                  </a:cubicBezTo>
                  <a:cubicBezTo>
                    <a:pt x="279" y="231"/>
                    <a:pt x="275" y="232"/>
                    <a:pt x="271" y="232"/>
                  </a:cubicBezTo>
                  <a:cubicBezTo>
                    <a:pt x="269" y="231"/>
                    <a:pt x="266" y="231"/>
                    <a:pt x="264" y="229"/>
                  </a:cubicBezTo>
                  <a:cubicBezTo>
                    <a:pt x="260" y="226"/>
                    <a:pt x="255" y="226"/>
                    <a:pt x="253" y="221"/>
                  </a:cubicBezTo>
                  <a:cubicBezTo>
                    <a:pt x="253" y="219"/>
                    <a:pt x="250" y="218"/>
                    <a:pt x="248" y="217"/>
                  </a:cubicBezTo>
                  <a:cubicBezTo>
                    <a:pt x="246" y="215"/>
                    <a:pt x="245" y="212"/>
                    <a:pt x="243" y="211"/>
                  </a:cubicBezTo>
                  <a:cubicBezTo>
                    <a:pt x="239" y="208"/>
                    <a:pt x="235" y="204"/>
                    <a:pt x="232" y="199"/>
                  </a:cubicBezTo>
                  <a:cubicBezTo>
                    <a:pt x="229" y="194"/>
                    <a:pt x="227" y="188"/>
                    <a:pt x="226" y="182"/>
                  </a:cubicBezTo>
                  <a:cubicBezTo>
                    <a:pt x="225" y="178"/>
                    <a:pt x="224" y="174"/>
                    <a:pt x="223" y="171"/>
                  </a:cubicBezTo>
                  <a:cubicBezTo>
                    <a:pt x="221" y="168"/>
                    <a:pt x="219" y="164"/>
                    <a:pt x="219" y="161"/>
                  </a:cubicBezTo>
                  <a:cubicBezTo>
                    <a:pt x="217" y="154"/>
                    <a:pt x="212" y="156"/>
                    <a:pt x="208" y="153"/>
                  </a:cubicBezTo>
                  <a:cubicBezTo>
                    <a:pt x="205" y="150"/>
                    <a:pt x="202" y="147"/>
                    <a:pt x="199" y="145"/>
                  </a:cubicBezTo>
                  <a:cubicBezTo>
                    <a:pt x="198" y="143"/>
                    <a:pt x="196" y="142"/>
                    <a:pt x="194" y="141"/>
                  </a:cubicBezTo>
                  <a:cubicBezTo>
                    <a:pt x="191" y="140"/>
                    <a:pt x="189" y="139"/>
                    <a:pt x="187" y="137"/>
                  </a:cubicBezTo>
                  <a:cubicBezTo>
                    <a:pt x="185" y="135"/>
                    <a:pt x="183" y="133"/>
                    <a:pt x="181" y="131"/>
                  </a:cubicBezTo>
                  <a:cubicBezTo>
                    <a:pt x="178" y="126"/>
                    <a:pt x="176" y="120"/>
                    <a:pt x="176" y="114"/>
                  </a:cubicBezTo>
                  <a:cubicBezTo>
                    <a:pt x="176" y="113"/>
                    <a:pt x="174" y="99"/>
                    <a:pt x="177" y="102"/>
                  </a:cubicBezTo>
                  <a:cubicBezTo>
                    <a:pt x="178" y="102"/>
                    <a:pt x="179" y="104"/>
                    <a:pt x="180" y="103"/>
                  </a:cubicBezTo>
                  <a:cubicBezTo>
                    <a:pt x="180" y="101"/>
                    <a:pt x="178" y="99"/>
                    <a:pt x="180" y="98"/>
                  </a:cubicBezTo>
                  <a:cubicBezTo>
                    <a:pt x="180" y="98"/>
                    <a:pt x="180" y="101"/>
                    <a:pt x="181" y="102"/>
                  </a:cubicBezTo>
                  <a:cubicBezTo>
                    <a:pt x="182" y="100"/>
                    <a:pt x="182" y="98"/>
                    <a:pt x="183" y="96"/>
                  </a:cubicBezTo>
                  <a:cubicBezTo>
                    <a:pt x="184" y="95"/>
                    <a:pt x="183" y="94"/>
                    <a:pt x="182" y="95"/>
                  </a:cubicBezTo>
                  <a:cubicBezTo>
                    <a:pt x="182" y="95"/>
                    <a:pt x="178" y="91"/>
                    <a:pt x="178" y="91"/>
                  </a:cubicBezTo>
                  <a:cubicBezTo>
                    <a:pt x="178" y="91"/>
                    <a:pt x="179" y="93"/>
                    <a:pt x="179" y="93"/>
                  </a:cubicBezTo>
                  <a:cubicBezTo>
                    <a:pt x="179" y="93"/>
                    <a:pt x="176" y="89"/>
                    <a:pt x="176" y="90"/>
                  </a:cubicBezTo>
                  <a:cubicBezTo>
                    <a:pt x="176" y="89"/>
                    <a:pt x="177" y="88"/>
                    <a:pt x="177" y="87"/>
                  </a:cubicBezTo>
                  <a:cubicBezTo>
                    <a:pt x="176" y="86"/>
                    <a:pt x="176" y="85"/>
                    <a:pt x="176" y="83"/>
                  </a:cubicBezTo>
                  <a:cubicBezTo>
                    <a:pt x="173" y="87"/>
                    <a:pt x="175" y="82"/>
                    <a:pt x="173" y="81"/>
                  </a:cubicBezTo>
                  <a:cubicBezTo>
                    <a:pt x="173" y="84"/>
                    <a:pt x="171" y="80"/>
                    <a:pt x="172" y="80"/>
                  </a:cubicBezTo>
                  <a:cubicBezTo>
                    <a:pt x="172" y="79"/>
                    <a:pt x="173" y="81"/>
                    <a:pt x="174" y="79"/>
                  </a:cubicBezTo>
                  <a:cubicBezTo>
                    <a:pt x="174" y="78"/>
                    <a:pt x="174" y="76"/>
                    <a:pt x="175" y="75"/>
                  </a:cubicBezTo>
                  <a:cubicBezTo>
                    <a:pt x="175" y="71"/>
                    <a:pt x="178" y="73"/>
                    <a:pt x="180" y="71"/>
                  </a:cubicBezTo>
                  <a:cubicBezTo>
                    <a:pt x="179" y="71"/>
                    <a:pt x="178" y="71"/>
                    <a:pt x="179" y="70"/>
                  </a:cubicBezTo>
                  <a:cubicBezTo>
                    <a:pt x="180" y="72"/>
                    <a:pt x="180" y="70"/>
                    <a:pt x="181" y="69"/>
                  </a:cubicBezTo>
                  <a:cubicBezTo>
                    <a:pt x="183" y="68"/>
                    <a:pt x="183" y="70"/>
                    <a:pt x="184" y="69"/>
                  </a:cubicBezTo>
                  <a:cubicBezTo>
                    <a:pt x="183" y="72"/>
                    <a:pt x="180" y="71"/>
                    <a:pt x="179" y="74"/>
                  </a:cubicBezTo>
                  <a:cubicBezTo>
                    <a:pt x="184" y="73"/>
                    <a:pt x="188" y="70"/>
                    <a:pt x="192" y="68"/>
                  </a:cubicBezTo>
                  <a:cubicBezTo>
                    <a:pt x="196" y="66"/>
                    <a:pt x="199" y="66"/>
                    <a:pt x="202" y="63"/>
                  </a:cubicBezTo>
                  <a:cubicBezTo>
                    <a:pt x="199" y="64"/>
                    <a:pt x="200" y="62"/>
                    <a:pt x="201" y="60"/>
                  </a:cubicBezTo>
                  <a:cubicBezTo>
                    <a:pt x="201" y="60"/>
                    <a:pt x="203" y="60"/>
                    <a:pt x="204" y="60"/>
                  </a:cubicBezTo>
                  <a:cubicBezTo>
                    <a:pt x="205" y="60"/>
                    <a:pt x="213" y="63"/>
                    <a:pt x="209" y="63"/>
                  </a:cubicBezTo>
                  <a:cubicBezTo>
                    <a:pt x="211" y="64"/>
                    <a:pt x="213" y="62"/>
                    <a:pt x="214" y="61"/>
                  </a:cubicBezTo>
                  <a:cubicBezTo>
                    <a:pt x="212" y="60"/>
                    <a:pt x="216" y="58"/>
                    <a:pt x="218" y="61"/>
                  </a:cubicBezTo>
                  <a:cubicBezTo>
                    <a:pt x="219" y="62"/>
                    <a:pt x="221" y="65"/>
                    <a:pt x="222" y="66"/>
                  </a:cubicBezTo>
                  <a:cubicBezTo>
                    <a:pt x="221" y="67"/>
                    <a:pt x="220" y="66"/>
                    <a:pt x="220" y="67"/>
                  </a:cubicBezTo>
                  <a:cubicBezTo>
                    <a:pt x="221" y="67"/>
                    <a:pt x="224" y="69"/>
                    <a:pt x="225" y="66"/>
                  </a:cubicBezTo>
                  <a:cubicBezTo>
                    <a:pt x="226" y="65"/>
                    <a:pt x="223" y="62"/>
                    <a:pt x="222" y="61"/>
                  </a:cubicBezTo>
                  <a:cubicBezTo>
                    <a:pt x="221" y="59"/>
                    <a:pt x="214" y="58"/>
                    <a:pt x="215" y="55"/>
                  </a:cubicBezTo>
                  <a:cubicBezTo>
                    <a:pt x="216" y="54"/>
                    <a:pt x="218" y="50"/>
                    <a:pt x="216" y="50"/>
                  </a:cubicBezTo>
                  <a:cubicBezTo>
                    <a:pt x="215" y="50"/>
                    <a:pt x="214" y="51"/>
                    <a:pt x="213" y="50"/>
                  </a:cubicBezTo>
                  <a:cubicBezTo>
                    <a:pt x="210" y="48"/>
                    <a:pt x="217" y="43"/>
                    <a:pt x="218" y="41"/>
                  </a:cubicBezTo>
                  <a:cubicBezTo>
                    <a:pt x="217" y="41"/>
                    <a:pt x="215" y="40"/>
                    <a:pt x="214" y="40"/>
                  </a:cubicBezTo>
                  <a:cubicBezTo>
                    <a:pt x="213" y="39"/>
                    <a:pt x="213" y="39"/>
                    <a:pt x="212" y="39"/>
                  </a:cubicBezTo>
                  <a:cubicBezTo>
                    <a:pt x="211" y="38"/>
                    <a:pt x="210" y="39"/>
                    <a:pt x="211" y="40"/>
                  </a:cubicBezTo>
                  <a:cubicBezTo>
                    <a:pt x="210" y="41"/>
                    <a:pt x="209" y="36"/>
                    <a:pt x="210" y="35"/>
                  </a:cubicBezTo>
                  <a:cubicBezTo>
                    <a:pt x="210" y="33"/>
                    <a:pt x="212" y="33"/>
                    <a:pt x="213" y="32"/>
                  </a:cubicBezTo>
                  <a:cubicBezTo>
                    <a:pt x="216" y="30"/>
                    <a:pt x="218" y="30"/>
                    <a:pt x="219" y="26"/>
                  </a:cubicBezTo>
                  <a:cubicBezTo>
                    <a:pt x="217" y="26"/>
                    <a:pt x="216" y="25"/>
                    <a:pt x="214" y="24"/>
                  </a:cubicBezTo>
                  <a:cubicBezTo>
                    <a:pt x="213" y="24"/>
                    <a:pt x="212" y="24"/>
                    <a:pt x="210" y="24"/>
                  </a:cubicBezTo>
                  <a:cubicBezTo>
                    <a:pt x="206" y="24"/>
                    <a:pt x="203" y="23"/>
                    <a:pt x="200" y="22"/>
                  </a:cubicBezTo>
                  <a:cubicBezTo>
                    <a:pt x="193" y="22"/>
                    <a:pt x="188" y="21"/>
                    <a:pt x="181" y="19"/>
                  </a:cubicBezTo>
                  <a:cubicBezTo>
                    <a:pt x="180" y="18"/>
                    <a:pt x="178" y="18"/>
                    <a:pt x="177" y="17"/>
                  </a:cubicBezTo>
                  <a:cubicBezTo>
                    <a:pt x="177" y="15"/>
                    <a:pt x="177" y="15"/>
                    <a:pt x="175" y="14"/>
                  </a:cubicBezTo>
                  <a:cubicBezTo>
                    <a:pt x="174" y="13"/>
                    <a:pt x="176" y="11"/>
                    <a:pt x="175" y="10"/>
                  </a:cubicBezTo>
                  <a:cubicBezTo>
                    <a:pt x="174" y="10"/>
                    <a:pt x="173" y="10"/>
                    <a:pt x="172" y="9"/>
                  </a:cubicBezTo>
                  <a:cubicBezTo>
                    <a:pt x="170" y="8"/>
                    <a:pt x="169" y="4"/>
                    <a:pt x="172" y="3"/>
                  </a:cubicBezTo>
                  <a:cubicBezTo>
                    <a:pt x="175" y="2"/>
                    <a:pt x="172" y="0"/>
                    <a:pt x="170" y="1"/>
                  </a:cubicBezTo>
                  <a:cubicBezTo>
                    <a:pt x="166" y="2"/>
                    <a:pt x="161" y="7"/>
                    <a:pt x="156" y="5"/>
                  </a:cubicBezTo>
                  <a:cubicBezTo>
                    <a:pt x="155" y="4"/>
                    <a:pt x="152" y="5"/>
                    <a:pt x="151" y="5"/>
                  </a:cubicBezTo>
                  <a:cubicBezTo>
                    <a:pt x="149" y="5"/>
                    <a:pt x="149" y="6"/>
                    <a:pt x="148" y="6"/>
                  </a:cubicBezTo>
                  <a:cubicBezTo>
                    <a:pt x="147" y="6"/>
                    <a:pt x="146" y="5"/>
                    <a:pt x="145" y="5"/>
                  </a:cubicBezTo>
                  <a:cubicBezTo>
                    <a:pt x="143" y="5"/>
                    <a:pt x="140" y="6"/>
                    <a:pt x="139" y="8"/>
                  </a:cubicBezTo>
                  <a:cubicBezTo>
                    <a:pt x="138" y="10"/>
                    <a:pt x="138" y="12"/>
                    <a:pt x="137" y="14"/>
                  </a:cubicBezTo>
                  <a:cubicBezTo>
                    <a:pt x="136" y="16"/>
                    <a:pt x="129" y="15"/>
                    <a:pt x="128" y="14"/>
                  </a:cubicBezTo>
                  <a:cubicBezTo>
                    <a:pt x="127" y="13"/>
                    <a:pt x="129" y="13"/>
                    <a:pt x="128" y="12"/>
                  </a:cubicBezTo>
                  <a:cubicBezTo>
                    <a:pt x="127" y="11"/>
                    <a:pt x="127" y="11"/>
                    <a:pt x="125" y="11"/>
                  </a:cubicBezTo>
                  <a:cubicBezTo>
                    <a:pt x="123" y="11"/>
                    <a:pt x="121" y="13"/>
                    <a:pt x="119" y="11"/>
                  </a:cubicBezTo>
                  <a:cubicBezTo>
                    <a:pt x="119" y="13"/>
                    <a:pt x="116" y="17"/>
                    <a:pt x="117" y="19"/>
                  </a:cubicBezTo>
                  <a:cubicBezTo>
                    <a:pt x="117" y="21"/>
                    <a:pt x="119" y="20"/>
                    <a:pt x="120" y="22"/>
                  </a:cubicBezTo>
                  <a:cubicBezTo>
                    <a:pt x="120" y="23"/>
                    <a:pt x="119" y="25"/>
                    <a:pt x="118" y="25"/>
                  </a:cubicBezTo>
                  <a:cubicBezTo>
                    <a:pt x="116" y="25"/>
                    <a:pt x="115" y="25"/>
                    <a:pt x="114" y="23"/>
                  </a:cubicBezTo>
                  <a:cubicBezTo>
                    <a:pt x="113" y="23"/>
                    <a:pt x="112" y="21"/>
                    <a:pt x="112" y="21"/>
                  </a:cubicBezTo>
                  <a:cubicBezTo>
                    <a:pt x="110" y="22"/>
                    <a:pt x="108" y="21"/>
                    <a:pt x="108" y="23"/>
                  </a:cubicBezTo>
                  <a:cubicBezTo>
                    <a:pt x="107" y="25"/>
                    <a:pt x="106" y="26"/>
                    <a:pt x="106" y="27"/>
                  </a:cubicBezTo>
                  <a:cubicBezTo>
                    <a:pt x="106" y="30"/>
                    <a:pt x="110" y="29"/>
                    <a:pt x="110" y="32"/>
                  </a:cubicBezTo>
                  <a:cubicBezTo>
                    <a:pt x="110" y="33"/>
                    <a:pt x="108" y="33"/>
                    <a:pt x="108" y="34"/>
                  </a:cubicBezTo>
                  <a:cubicBezTo>
                    <a:pt x="108" y="36"/>
                    <a:pt x="110" y="36"/>
                    <a:pt x="110" y="37"/>
                  </a:cubicBezTo>
                  <a:cubicBezTo>
                    <a:pt x="111" y="41"/>
                    <a:pt x="106" y="38"/>
                    <a:pt x="105" y="36"/>
                  </a:cubicBezTo>
                  <a:cubicBezTo>
                    <a:pt x="104" y="32"/>
                    <a:pt x="103" y="31"/>
                    <a:pt x="100" y="33"/>
                  </a:cubicBezTo>
                  <a:cubicBezTo>
                    <a:pt x="98" y="34"/>
                    <a:pt x="96" y="33"/>
                    <a:pt x="96" y="35"/>
                  </a:cubicBezTo>
                  <a:cubicBezTo>
                    <a:pt x="96" y="36"/>
                    <a:pt x="95" y="36"/>
                    <a:pt x="94" y="36"/>
                  </a:cubicBezTo>
                  <a:cubicBezTo>
                    <a:pt x="91" y="36"/>
                    <a:pt x="88" y="33"/>
                    <a:pt x="88" y="30"/>
                  </a:cubicBezTo>
                  <a:cubicBezTo>
                    <a:pt x="88" y="28"/>
                    <a:pt x="89" y="26"/>
                    <a:pt x="87" y="28"/>
                  </a:cubicBezTo>
                  <a:cubicBezTo>
                    <a:pt x="86" y="29"/>
                    <a:pt x="86" y="27"/>
                    <a:pt x="85" y="27"/>
                  </a:cubicBezTo>
                  <a:cubicBezTo>
                    <a:pt x="81" y="27"/>
                    <a:pt x="83" y="31"/>
                    <a:pt x="83" y="33"/>
                  </a:cubicBezTo>
                  <a:cubicBezTo>
                    <a:pt x="83" y="37"/>
                    <a:pt x="80" y="40"/>
                    <a:pt x="78" y="43"/>
                  </a:cubicBezTo>
                  <a:cubicBezTo>
                    <a:pt x="77" y="44"/>
                    <a:pt x="77" y="45"/>
                    <a:pt x="76" y="46"/>
                  </a:cubicBezTo>
                  <a:cubicBezTo>
                    <a:pt x="75" y="47"/>
                    <a:pt x="75" y="47"/>
                    <a:pt x="75" y="48"/>
                  </a:cubicBezTo>
                  <a:cubicBezTo>
                    <a:pt x="74" y="51"/>
                    <a:pt x="75" y="51"/>
                    <a:pt x="76" y="53"/>
                  </a:cubicBezTo>
                  <a:cubicBezTo>
                    <a:pt x="78" y="57"/>
                    <a:pt x="73" y="56"/>
                    <a:pt x="71" y="57"/>
                  </a:cubicBezTo>
                  <a:cubicBezTo>
                    <a:pt x="73" y="53"/>
                    <a:pt x="70" y="51"/>
                    <a:pt x="68" y="50"/>
                  </a:cubicBezTo>
                  <a:cubicBezTo>
                    <a:pt x="66" y="48"/>
                    <a:pt x="71" y="47"/>
                    <a:pt x="69" y="45"/>
                  </a:cubicBezTo>
                  <a:cubicBezTo>
                    <a:pt x="67" y="44"/>
                    <a:pt x="65" y="46"/>
                    <a:pt x="63" y="44"/>
                  </a:cubicBezTo>
                  <a:cubicBezTo>
                    <a:pt x="61" y="42"/>
                    <a:pt x="60" y="41"/>
                    <a:pt x="58" y="39"/>
                  </a:cubicBezTo>
                  <a:cubicBezTo>
                    <a:pt x="56" y="37"/>
                    <a:pt x="57" y="35"/>
                    <a:pt x="58" y="33"/>
                  </a:cubicBezTo>
                  <a:cubicBezTo>
                    <a:pt x="58" y="31"/>
                    <a:pt x="58" y="28"/>
                    <a:pt x="56" y="29"/>
                  </a:cubicBezTo>
                  <a:cubicBezTo>
                    <a:pt x="53" y="30"/>
                    <a:pt x="52" y="36"/>
                    <a:pt x="48" y="36"/>
                  </a:cubicBezTo>
                  <a:cubicBezTo>
                    <a:pt x="45" y="36"/>
                    <a:pt x="47" y="38"/>
                    <a:pt x="48" y="40"/>
                  </a:cubicBezTo>
                  <a:cubicBezTo>
                    <a:pt x="49" y="42"/>
                    <a:pt x="48" y="43"/>
                    <a:pt x="46" y="44"/>
                  </a:cubicBezTo>
                  <a:cubicBezTo>
                    <a:pt x="45" y="45"/>
                    <a:pt x="44" y="46"/>
                    <a:pt x="44" y="47"/>
                  </a:cubicBezTo>
                  <a:cubicBezTo>
                    <a:pt x="44" y="48"/>
                    <a:pt x="44" y="49"/>
                    <a:pt x="43" y="49"/>
                  </a:cubicBezTo>
                  <a:cubicBezTo>
                    <a:pt x="40" y="50"/>
                    <a:pt x="40" y="51"/>
                    <a:pt x="39" y="52"/>
                  </a:cubicBezTo>
                  <a:cubicBezTo>
                    <a:pt x="36" y="55"/>
                    <a:pt x="34" y="50"/>
                    <a:pt x="31" y="50"/>
                  </a:cubicBezTo>
                  <a:cubicBezTo>
                    <a:pt x="29" y="50"/>
                    <a:pt x="28" y="51"/>
                    <a:pt x="26" y="52"/>
                  </a:cubicBezTo>
                  <a:cubicBezTo>
                    <a:pt x="24" y="53"/>
                    <a:pt x="20" y="54"/>
                    <a:pt x="18" y="54"/>
                  </a:cubicBezTo>
                  <a:cubicBezTo>
                    <a:pt x="17" y="54"/>
                    <a:pt x="16" y="54"/>
                    <a:pt x="15" y="53"/>
                  </a:cubicBezTo>
                  <a:cubicBezTo>
                    <a:pt x="13" y="52"/>
                    <a:pt x="13" y="52"/>
                    <a:pt x="12" y="54"/>
                  </a:cubicBezTo>
                  <a:cubicBezTo>
                    <a:pt x="10" y="56"/>
                    <a:pt x="7" y="55"/>
                    <a:pt x="6" y="58"/>
                  </a:cubicBezTo>
                  <a:cubicBezTo>
                    <a:pt x="5" y="61"/>
                    <a:pt x="8" y="62"/>
                    <a:pt x="9" y="64"/>
                  </a:cubicBezTo>
                  <a:cubicBezTo>
                    <a:pt x="12" y="65"/>
                    <a:pt x="11" y="66"/>
                    <a:pt x="12" y="68"/>
                  </a:cubicBezTo>
                  <a:cubicBezTo>
                    <a:pt x="12" y="71"/>
                    <a:pt x="14" y="72"/>
                    <a:pt x="16" y="73"/>
                  </a:cubicBezTo>
                  <a:cubicBezTo>
                    <a:pt x="17" y="75"/>
                    <a:pt x="18" y="75"/>
                    <a:pt x="17" y="78"/>
                  </a:cubicBezTo>
                  <a:cubicBezTo>
                    <a:pt x="16" y="79"/>
                    <a:pt x="16" y="82"/>
                    <a:pt x="16" y="82"/>
                  </a:cubicBezTo>
                  <a:cubicBezTo>
                    <a:pt x="14" y="84"/>
                    <a:pt x="11" y="85"/>
                    <a:pt x="9" y="86"/>
                  </a:cubicBezTo>
                  <a:cubicBezTo>
                    <a:pt x="8" y="88"/>
                    <a:pt x="5" y="86"/>
                    <a:pt x="4" y="87"/>
                  </a:cubicBezTo>
                  <a:cubicBezTo>
                    <a:pt x="0" y="88"/>
                    <a:pt x="0" y="90"/>
                    <a:pt x="3" y="92"/>
                  </a:cubicBezTo>
                  <a:cubicBezTo>
                    <a:pt x="4" y="94"/>
                    <a:pt x="4" y="94"/>
                    <a:pt x="4" y="97"/>
                  </a:cubicBezTo>
                  <a:cubicBezTo>
                    <a:pt x="7" y="102"/>
                    <a:pt x="11" y="98"/>
                    <a:pt x="12" y="102"/>
                  </a:cubicBezTo>
                  <a:cubicBezTo>
                    <a:pt x="12" y="103"/>
                    <a:pt x="15" y="108"/>
                    <a:pt x="13" y="107"/>
                  </a:cubicBezTo>
                  <a:cubicBezTo>
                    <a:pt x="10" y="107"/>
                    <a:pt x="11" y="109"/>
                    <a:pt x="10" y="111"/>
                  </a:cubicBezTo>
                  <a:cubicBezTo>
                    <a:pt x="9" y="112"/>
                    <a:pt x="6" y="114"/>
                    <a:pt x="8" y="116"/>
                  </a:cubicBezTo>
                  <a:cubicBezTo>
                    <a:pt x="10" y="119"/>
                    <a:pt x="8" y="119"/>
                    <a:pt x="8" y="120"/>
                  </a:cubicBezTo>
                  <a:cubicBezTo>
                    <a:pt x="9" y="125"/>
                    <a:pt x="13" y="127"/>
                    <a:pt x="17" y="129"/>
                  </a:cubicBezTo>
                  <a:cubicBezTo>
                    <a:pt x="20" y="130"/>
                    <a:pt x="22" y="132"/>
                    <a:pt x="24" y="132"/>
                  </a:cubicBezTo>
                  <a:cubicBezTo>
                    <a:pt x="27" y="132"/>
                    <a:pt x="29" y="130"/>
                    <a:pt x="31" y="130"/>
                  </a:cubicBezTo>
                  <a:cubicBezTo>
                    <a:pt x="32" y="130"/>
                    <a:pt x="34" y="134"/>
                    <a:pt x="33" y="135"/>
                  </a:cubicBezTo>
                  <a:cubicBezTo>
                    <a:pt x="32" y="137"/>
                    <a:pt x="31" y="139"/>
                    <a:pt x="29" y="141"/>
                  </a:cubicBezTo>
                  <a:cubicBezTo>
                    <a:pt x="28" y="142"/>
                    <a:pt x="26" y="144"/>
                    <a:pt x="27" y="146"/>
                  </a:cubicBezTo>
                  <a:cubicBezTo>
                    <a:pt x="27" y="148"/>
                    <a:pt x="30" y="148"/>
                    <a:pt x="32" y="147"/>
                  </a:cubicBezTo>
                  <a:cubicBezTo>
                    <a:pt x="35" y="147"/>
                    <a:pt x="39" y="146"/>
                    <a:pt x="42" y="145"/>
                  </a:cubicBezTo>
                  <a:cubicBezTo>
                    <a:pt x="43" y="144"/>
                    <a:pt x="47" y="142"/>
                    <a:pt x="47" y="140"/>
                  </a:cubicBezTo>
                  <a:cubicBezTo>
                    <a:pt x="48" y="140"/>
                    <a:pt x="47" y="139"/>
                    <a:pt x="47" y="139"/>
                  </a:cubicBezTo>
                  <a:cubicBezTo>
                    <a:pt x="48" y="138"/>
                    <a:pt x="49" y="137"/>
                    <a:pt x="50" y="136"/>
                  </a:cubicBezTo>
                  <a:cubicBezTo>
                    <a:pt x="51" y="133"/>
                    <a:pt x="51" y="132"/>
                    <a:pt x="53" y="131"/>
                  </a:cubicBezTo>
                  <a:cubicBezTo>
                    <a:pt x="56" y="129"/>
                    <a:pt x="56" y="125"/>
                    <a:pt x="59" y="123"/>
                  </a:cubicBezTo>
                  <a:cubicBezTo>
                    <a:pt x="61" y="122"/>
                    <a:pt x="64" y="120"/>
                    <a:pt x="66" y="120"/>
                  </a:cubicBezTo>
                  <a:cubicBezTo>
                    <a:pt x="69" y="119"/>
                    <a:pt x="72" y="120"/>
                    <a:pt x="74" y="121"/>
                  </a:cubicBezTo>
                  <a:cubicBezTo>
                    <a:pt x="77" y="122"/>
                    <a:pt x="78" y="124"/>
                    <a:pt x="80" y="125"/>
                  </a:cubicBezTo>
                  <a:cubicBezTo>
                    <a:pt x="79" y="120"/>
                    <a:pt x="86" y="126"/>
                    <a:pt x="87" y="127"/>
                  </a:cubicBezTo>
                  <a:cubicBezTo>
                    <a:pt x="91" y="130"/>
                    <a:pt x="95" y="134"/>
                    <a:pt x="100" y="136"/>
                  </a:cubicBezTo>
                  <a:cubicBezTo>
                    <a:pt x="100" y="136"/>
                    <a:pt x="99" y="134"/>
                    <a:pt x="99" y="134"/>
                  </a:cubicBezTo>
                  <a:cubicBezTo>
                    <a:pt x="100" y="133"/>
                    <a:pt x="102" y="135"/>
                    <a:pt x="103" y="135"/>
                  </a:cubicBezTo>
                  <a:cubicBezTo>
                    <a:pt x="106" y="137"/>
                    <a:pt x="108" y="138"/>
                    <a:pt x="111" y="141"/>
                  </a:cubicBezTo>
                  <a:cubicBezTo>
                    <a:pt x="113" y="144"/>
                    <a:pt x="113" y="148"/>
                    <a:pt x="113" y="152"/>
                  </a:cubicBezTo>
                  <a:cubicBezTo>
                    <a:pt x="114" y="155"/>
                    <a:pt x="114" y="160"/>
                    <a:pt x="116" y="162"/>
                  </a:cubicBezTo>
                  <a:cubicBezTo>
                    <a:pt x="118" y="164"/>
                    <a:pt x="120" y="169"/>
                    <a:pt x="121" y="173"/>
                  </a:cubicBezTo>
                  <a:cubicBezTo>
                    <a:pt x="122" y="175"/>
                    <a:pt x="122" y="177"/>
                    <a:pt x="122" y="179"/>
                  </a:cubicBezTo>
                  <a:cubicBezTo>
                    <a:pt x="121" y="181"/>
                    <a:pt x="120" y="182"/>
                    <a:pt x="120" y="184"/>
                  </a:cubicBezTo>
                  <a:cubicBezTo>
                    <a:pt x="119" y="187"/>
                    <a:pt x="125" y="185"/>
                    <a:pt x="127" y="186"/>
                  </a:cubicBezTo>
                  <a:cubicBezTo>
                    <a:pt x="129" y="186"/>
                    <a:pt x="131" y="190"/>
                    <a:pt x="128" y="191"/>
                  </a:cubicBezTo>
                  <a:cubicBezTo>
                    <a:pt x="130" y="194"/>
                    <a:pt x="134" y="193"/>
                    <a:pt x="136" y="196"/>
                  </a:cubicBezTo>
                  <a:cubicBezTo>
                    <a:pt x="137" y="197"/>
                    <a:pt x="138" y="198"/>
                    <a:pt x="139" y="200"/>
                  </a:cubicBezTo>
                  <a:cubicBezTo>
                    <a:pt x="139" y="201"/>
                    <a:pt x="140" y="202"/>
                    <a:pt x="141" y="203"/>
                  </a:cubicBezTo>
                  <a:cubicBezTo>
                    <a:pt x="142" y="204"/>
                    <a:pt x="143" y="205"/>
                    <a:pt x="142" y="207"/>
                  </a:cubicBezTo>
                  <a:cubicBezTo>
                    <a:pt x="141" y="208"/>
                    <a:pt x="139" y="207"/>
                    <a:pt x="139" y="209"/>
                  </a:cubicBezTo>
                  <a:cubicBezTo>
                    <a:pt x="139" y="210"/>
                    <a:pt x="141" y="211"/>
                    <a:pt x="142" y="211"/>
                  </a:cubicBezTo>
                  <a:cubicBezTo>
                    <a:pt x="142" y="211"/>
                    <a:pt x="142" y="210"/>
                    <a:pt x="143" y="209"/>
                  </a:cubicBezTo>
                  <a:cubicBezTo>
                    <a:pt x="145" y="206"/>
                    <a:pt x="155" y="213"/>
                    <a:pt x="157" y="215"/>
                  </a:cubicBezTo>
                  <a:cubicBezTo>
                    <a:pt x="159" y="218"/>
                    <a:pt x="159" y="221"/>
                    <a:pt x="161" y="224"/>
                  </a:cubicBezTo>
                  <a:cubicBezTo>
                    <a:pt x="163" y="226"/>
                    <a:pt x="165" y="226"/>
                    <a:pt x="167" y="227"/>
                  </a:cubicBezTo>
                  <a:cubicBezTo>
                    <a:pt x="170" y="229"/>
                    <a:pt x="172" y="231"/>
                    <a:pt x="174" y="235"/>
                  </a:cubicBezTo>
                  <a:cubicBezTo>
                    <a:pt x="175" y="239"/>
                    <a:pt x="176" y="240"/>
                    <a:pt x="179" y="241"/>
                  </a:cubicBezTo>
                  <a:cubicBezTo>
                    <a:pt x="181" y="243"/>
                    <a:pt x="184" y="246"/>
                    <a:pt x="185" y="248"/>
                  </a:cubicBezTo>
                  <a:cubicBezTo>
                    <a:pt x="187" y="252"/>
                    <a:pt x="189" y="251"/>
                    <a:pt x="191" y="253"/>
                  </a:cubicBezTo>
                  <a:cubicBezTo>
                    <a:pt x="194" y="256"/>
                    <a:pt x="197" y="254"/>
                    <a:pt x="199" y="258"/>
                  </a:cubicBezTo>
                  <a:cubicBezTo>
                    <a:pt x="200" y="261"/>
                    <a:pt x="201" y="263"/>
                    <a:pt x="204" y="261"/>
                  </a:cubicBezTo>
                  <a:cubicBezTo>
                    <a:pt x="207" y="260"/>
                    <a:pt x="208" y="259"/>
                    <a:pt x="211" y="260"/>
                  </a:cubicBezTo>
                  <a:cubicBezTo>
                    <a:pt x="213" y="261"/>
                    <a:pt x="216" y="264"/>
                    <a:pt x="218" y="263"/>
                  </a:cubicBezTo>
                  <a:cubicBezTo>
                    <a:pt x="216" y="261"/>
                    <a:pt x="220" y="261"/>
                    <a:pt x="221" y="261"/>
                  </a:cubicBezTo>
                  <a:cubicBezTo>
                    <a:pt x="224" y="261"/>
                    <a:pt x="226" y="264"/>
                    <a:pt x="227" y="266"/>
                  </a:cubicBezTo>
                  <a:cubicBezTo>
                    <a:pt x="228" y="269"/>
                    <a:pt x="230" y="272"/>
                    <a:pt x="231" y="275"/>
                  </a:cubicBezTo>
                  <a:cubicBezTo>
                    <a:pt x="232" y="275"/>
                    <a:pt x="234" y="282"/>
                    <a:pt x="234" y="282"/>
                  </a:cubicBezTo>
                  <a:cubicBezTo>
                    <a:pt x="235" y="280"/>
                    <a:pt x="235" y="280"/>
                    <a:pt x="237" y="281"/>
                  </a:cubicBezTo>
                  <a:cubicBezTo>
                    <a:pt x="239" y="282"/>
                    <a:pt x="238" y="281"/>
                    <a:pt x="239" y="280"/>
                  </a:cubicBezTo>
                  <a:cubicBezTo>
                    <a:pt x="241" y="280"/>
                    <a:pt x="249" y="284"/>
                    <a:pt x="246" y="287"/>
                  </a:cubicBezTo>
                  <a:cubicBezTo>
                    <a:pt x="245" y="287"/>
                    <a:pt x="242" y="290"/>
                    <a:pt x="242" y="291"/>
                  </a:cubicBezTo>
                  <a:cubicBezTo>
                    <a:pt x="243" y="292"/>
                    <a:pt x="245" y="290"/>
                    <a:pt x="246" y="290"/>
                  </a:cubicBezTo>
                  <a:cubicBezTo>
                    <a:pt x="248" y="289"/>
                    <a:pt x="249" y="290"/>
                    <a:pt x="251" y="289"/>
                  </a:cubicBezTo>
                  <a:cubicBezTo>
                    <a:pt x="252" y="288"/>
                    <a:pt x="252" y="289"/>
                    <a:pt x="254" y="289"/>
                  </a:cubicBezTo>
                  <a:cubicBezTo>
                    <a:pt x="254" y="288"/>
                    <a:pt x="254" y="288"/>
                    <a:pt x="255" y="287"/>
                  </a:cubicBezTo>
                  <a:cubicBezTo>
                    <a:pt x="259" y="286"/>
                    <a:pt x="261" y="294"/>
                    <a:pt x="263" y="297"/>
                  </a:cubicBezTo>
                  <a:cubicBezTo>
                    <a:pt x="264" y="301"/>
                    <a:pt x="262" y="301"/>
                    <a:pt x="262" y="305"/>
                  </a:cubicBezTo>
                  <a:cubicBezTo>
                    <a:pt x="262" y="307"/>
                    <a:pt x="260" y="306"/>
                    <a:pt x="262" y="307"/>
                  </a:cubicBezTo>
                  <a:cubicBezTo>
                    <a:pt x="263" y="308"/>
                    <a:pt x="265" y="309"/>
                    <a:pt x="266" y="310"/>
                  </a:cubicBezTo>
                  <a:cubicBezTo>
                    <a:pt x="267" y="310"/>
                    <a:pt x="275" y="314"/>
                    <a:pt x="273" y="316"/>
                  </a:cubicBezTo>
                  <a:cubicBezTo>
                    <a:pt x="274" y="316"/>
                    <a:pt x="276" y="319"/>
                    <a:pt x="278" y="317"/>
                  </a:cubicBezTo>
                  <a:cubicBezTo>
                    <a:pt x="279" y="316"/>
                    <a:pt x="280" y="314"/>
                    <a:pt x="283" y="314"/>
                  </a:cubicBezTo>
                  <a:cubicBezTo>
                    <a:pt x="284" y="315"/>
                    <a:pt x="286" y="316"/>
                    <a:pt x="287" y="318"/>
                  </a:cubicBezTo>
                  <a:cubicBezTo>
                    <a:pt x="289" y="320"/>
                    <a:pt x="289" y="322"/>
                    <a:pt x="289" y="324"/>
                  </a:cubicBezTo>
                  <a:cubicBezTo>
                    <a:pt x="289" y="327"/>
                    <a:pt x="290" y="330"/>
                    <a:pt x="291" y="332"/>
                  </a:cubicBezTo>
                  <a:cubicBezTo>
                    <a:pt x="291" y="334"/>
                    <a:pt x="291" y="337"/>
                    <a:pt x="292" y="338"/>
                  </a:cubicBezTo>
                  <a:cubicBezTo>
                    <a:pt x="294" y="340"/>
                    <a:pt x="296" y="341"/>
                    <a:pt x="297" y="344"/>
                  </a:cubicBezTo>
                  <a:cubicBezTo>
                    <a:pt x="297" y="347"/>
                    <a:pt x="298" y="349"/>
                    <a:pt x="298" y="352"/>
                  </a:cubicBezTo>
                  <a:cubicBezTo>
                    <a:pt x="299" y="356"/>
                    <a:pt x="299" y="362"/>
                    <a:pt x="303" y="366"/>
                  </a:cubicBezTo>
                  <a:cubicBezTo>
                    <a:pt x="306" y="368"/>
                    <a:pt x="304" y="375"/>
                    <a:pt x="301" y="375"/>
                  </a:cubicBezTo>
                  <a:cubicBezTo>
                    <a:pt x="299" y="375"/>
                    <a:pt x="291" y="375"/>
                    <a:pt x="292" y="380"/>
                  </a:cubicBezTo>
                  <a:cubicBezTo>
                    <a:pt x="293" y="382"/>
                    <a:pt x="295" y="382"/>
                    <a:pt x="295" y="385"/>
                  </a:cubicBezTo>
                  <a:cubicBezTo>
                    <a:pt x="294" y="387"/>
                    <a:pt x="293" y="390"/>
                    <a:pt x="292" y="392"/>
                  </a:cubicBezTo>
                  <a:cubicBezTo>
                    <a:pt x="291" y="394"/>
                    <a:pt x="290" y="396"/>
                    <a:pt x="287" y="396"/>
                  </a:cubicBezTo>
                  <a:cubicBezTo>
                    <a:pt x="286" y="397"/>
                    <a:pt x="286" y="397"/>
                    <a:pt x="286" y="399"/>
                  </a:cubicBezTo>
                  <a:cubicBezTo>
                    <a:pt x="286" y="400"/>
                    <a:pt x="286" y="401"/>
                    <a:pt x="286" y="402"/>
                  </a:cubicBezTo>
                  <a:cubicBezTo>
                    <a:pt x="286" y="404"/>
                    <a:pt x="286" y="404"/>
                    <a:pt x="287" y="405"/>
                  </a:cubicBezTo>
                  <a:cubicBezTo>
                    <a:pt x="287" y="407"/>
                    <a:pt x="286" y="409"/>
                    <a:pt x="288" y="410"/>
                  </a:cubicBezTo>
                  <a:cubicBezTo>
                    <a:pt x="291" y="412"/>
                    <a:pt x="298" y="412"/>
                    <a:pt x="300" y="410"/>
                  </a:cubicBezTo>
                  <a:cubicBezTo>
                    <a:pt x="302" y="409"/>
                    <a:pt x="302" y="406"/>
                    <a:pt x="302" y="404"/>
                  </a:cubicBezTo>
                  <a:cubicBezTo>
                    <a:pt x="303" y="401"/>
                    <a:pt x="305" y="399"/>
                    <a:pt x="306" y="397"/>
                  </a:cubicBezTo>
                  <a:cubicBezTo>
                    <a:pt x="308" y="394"/>
                    <a:pt x="312" y="393"/>
                    <a:pt x="314" y="390"/>
                  </a:cubicBezTo>
                  <a:cubicBezTo>
                    <a:pt x="317" y="387"/>
                    <a:pt x="316" y="381"/>
                    <a:pt x="315" y="378"/>
                  </a:cubicBezTo>
                  <a:cubicBezTo>
                    <a:pt x="313" y="372"/>
                    <a:pt x="318" y="369"/>
                    <a:pt x="322" y="367"/>
                  </a:cubicBezTo>
                  <a:cubicBezTo>
                    <a:pt x="324" y="366"/>
                    <a:pt x="327" y="364"/>
                    <a:pt x="329" y="366"/>
                  </a:cubicBezTo>
                  <a:cubicBezTo>
                    <a:pt x="330" y="367"/>
                    <a:pt x="332" y="365"/>
                    <a:pt x="332" y="367"/>
                  </a:cubicBezTo>
                  <a:cubicBezTo>
                    <a:pt x="333" y="366"/>
                    <a:pt x="334" y="365"/>
                    <a:pt x="335" y="364"/>
                  </a:cubicBezTo>
                  <a:cubicBezTo>
                    <a:pt x="335" y="363"/>
                    <a:pt x="334" y="362"/>
                    <a:pt x="335" y="361"/>
                  </a:cubicBezTo>
                  <a:cubicBezTo>
                    <a:pt x="331" y="361"/>
                    <a:pt x="333" y="354"/>
                    <a:pt x="333" y="351"/>
                  </a:cubicBezTo>
                  <a:cubicBezTo>
                    <a:pt x="332" y="349"/>
                    <a:pt x="333" y="348"/>
                    <a:pt x="333" y="345"/>
                  </a:cubicBezTo>
                  <a:cubicBezTo>
                    <a:pt x="333" y="344"/>
                    <a:pt x="331" y="342"/>
                    <a:pt x="330" y="342"/>
                  </a:cubicBezTo>
                  <a:cubicBezTo>
                    <a:pt x="328" y="340"/>
                    <a:pt x="326" y="340"/>
                    <a:pt x="324" y="338"/>
                  </a:cubicBezTo>
                  <a:cubicBezTo>
                    <a:pt x="322" y="336"/>
                    <a:pt x="321" y="334"/>
                    <a:pt x="319" y="334"/>
                  </a:cubicBezTo>
                  <a:cubicBezTo>
                    <a:pt x="315" y="335"/>
                    <a:pt x="313" y="333"/>
                    <a:pt x="312" y="329"/>
                  </a:cubicBezTo>
                  <a:cubicBezTo>
                    <a:pt x="311" y="326"/>
                    <a:pt x="313" y="323"/>
                    <a:pt x="315" y="321"/>
                  </a:cubicBezTo>
                  <a:cubicBezTo>
                    <a:pt x="316" y="319"/>
                    <a:pt x="315" y="318"/>
                    <a:pt x="315" y="316"/>
                  </a:cubicBezTo>
                  <a:cubicBezTo>
                    <a:pt x="315" y="314"/>
                    <a:pt x="316" y="312"/>
                    <a:pt x="318" y="310"/>
                  </a:cubicBezTo>
                  <a:cubicBezTo>
                    <a:pt x="319" y="309"/>
                    <a:pt x="320" y="306"/>
                    <a:pt x="321" y="304"/>
                  </a:cubicBezTo>
                  <a:cubicBezTo>
                    <a:pt x="322" y="301"/>
                    <a:pt x="326" y="293"/>
                    <a:pt x="331" y="294"/>
                  </a:cubicBezTo>
                  <a:cubicBezTo>
                    <a:pt x="332" y="294"/>
                    <a:pt x="333" y="296"/>
                    <a:pt x="334" y="296"/>
                  </a:cubicBezTo>
                  <a:cubicBezTo>
                    <a:pt x="334" y="296"/>
                    <a:pt x="334" y="295"/>
                    <a:pt x="335" y="295"/>
                  </a:cubicBezTo>
                  <a:cubicBezTo>
                    <a:pt x="335" y="295"/>
                    <a:pt x="338" y="295"/>
                    <a:pt x="337" y="296"/>
                  </a:cubicBezTo>
                  <a:cubicBezTo>
                    <a:pt x="337" y="297"/>
                    <a:pt x="335" y="296"/>
                    <a:pt x="335" y="296"/>
                  </a:cubicBezTo>
                  <a:cubicBezTo>
                    <a:pt x="335" y="297"/>
                    <a:pt x="334" y="299"/>
                    <a:pt x="334" y="299"/>
                  </a:cubicBezTo>
                  <a:cubicBezTo>
                    <a:pt x="334" y="300"/>
                    <a:pt x="340" y="302"/>
                    <a:pt x="342" y="303"/>
                  </a:cubicBezTo>
                  <a:cubicBezTo>
                    <a:pt x="345" y="305"/>
                    <a:pt x="349" y="303"/>
                    <a:pt x="353" y="304"/>
                  </a:cubicBezTo>
                  <a:cubicBezTo>
                    <a:pt x="355" y="305"/>
                    <a:pt x="362" y="313"/>
                    <a:pt x="359" y="315"/>
                  </a:cubicBezTo>
                  <a:cubicBezTo>
                    <a:pt x="360" y="315"/>
                    <a:pt x="360" y="318"/>
                    <a:pt x="361" y="320"/>
                  </a:cubicBezTo>
                  <a:cubicBezTo>
                    <a:pt x="363" y="323"/>
                    <a:pt x="366" y="324"/>
                    <a:pt x="369" y="325"/>
                  </a:cubicBezTo>
                  <a:cubicBezTo>
                    <a:pt x="374" y="328"/>
                    <a:pt x="372" y="322"/>
                    <a:pt x="373" y="318"/>
                  </a:cubicBezTo>
                  <a:cubicBezTo>
                    <a:pt x="374" y="316"/>
                    <a:pt x="376" y="314"/>
                    <a:pt x="376" y="311"/>
                  </a:cubicBezTo>
                  <a:cubicBezTo>
                    <a:pt x="375" y="308"/>
                    <a:pt x="373" y="305"/>
                    <a:pt x="372" y="303"/>
                  </a:cubicBezTo>
                  <a:close/>
                  <a:moveTo>
                    <a:pt x="183" y="142"/>
                  </a:moveTo>
                  <a:cubicBezTo>
                    <a:pt x="182" y="143"/>
                    <a:pt x="180" y="143"/>
                    <a:pt x="180" y="141"/>
                  </a:cubicBezTo>
                  <a:cubicBezTo>
                    <a:pt x="180" y="138"/>
                    <a:pt x="184" y="138"/>
                    <a:pt x="183" y="142"/>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53">
              <a:extLst>
                <a:ext uri="{FF2B5EF4-FFF2-40B4-BE49-F238E27FC236}">
                  <a16:creationId xmlns:a16="http://schemas.microsoft.com/office/drawing/2014/main" id="{6BE534B9-6DD3-3EAC-1833-C1338B715475}"/>
                </a:ext>
              </a:extLst>
            </p:cNvPr>
            <p:cNvSpPr>
              <a:spLocks/>
            </p:cNvSpPr>
            <p:nvPr/>
          </p:nvSpPr>
          <p:spPr bwMode="auto">
            <a:xfrm>
              <a:off x="2730637" y="6013199"/>
              <a:ext cx="290430" cy="214541"/>
            </a:xfrm>
            <a:custGeom>
              <a:avLst/>
              <a:gdLst>
                <a:gd name="T0" fmla="*/ 100 w 104"/>
                <a:gd name="T1" fmla="*/ 1 h 76"/>
                <a:gd name="T2" fmla="*/ 96 w 104"/>
                <a:gd name="T3" fmla="*/ 4 h 76"/>
                <a:gd name="T4" fmla="*/ 91 w 104"/>
                <a:gd name="T5" fmla="*/ 5 h 76"/>
                <a:gd name="T6" fmla="*/ 91 w 104"/>
                <a:gd name="T7" fmla="*/ 3 h 76"/>
                <a:gd name="T8" fmla="*/ 86 w 104"/>
                <a:gd name="T9" fmla="*/ 8 h 76"/>
                <a:gd name="T10" fmla="*/ 76 w 104"/>
                <a:gd name="T11" fmla="*/ 7 h 76"/>
                <a:gd name="T12" fmla="*/ 69 w 104"/>
                <a:gd name="T13" fmla="*/ 12 h 76"/>
                <a:gd name="T14" fmla="*/ 57 w 104"/>
                <a:gd name="T15" fmla="*/ 14 h 76"/>
                <a:gd name="T16" fmla="*/ 50 w 104"/>
                <a:gd name="T17" fmla="*/ 13 h 76"/>
                <a:gd name="T18" fmla="*/ 44 w 104"/>
                <a:gd name="T19" fmla="*/ 16 h 76"/>
                <a:gd name="T20" fmla="*/ 38 w 104"/>
                <a:gd name="T21" fmla="*/ 13 h 76"/>
                <a:gd name="T22" fmla="*/ 35 w 104"/>
                <a:gd name="T23" fmla="*/ 10 h 76"/>
                <a:gd name="T24" fmla="*/ 27 w 104"/>
                <a:gd name="T25" fmla="*/ 6 h 76"/>
                <a:gd name="T26" fmla="*/ 22 w 104"/>
                <a:gd name="T27" fmla="*/ 6 h 76"/>
                <a:gd name="T28" fmla="*/ 20 w 104"/>
                <a:gd name="T29" fmla="*/ 12 h 76"/>
                <a:gd name="T30" fmla="*/ 14 w 104"/>
                <a:gd name="T31" fmla="*/ 11 h 76"/>
                <a:gd name="T32" fmla="*/ 11 w 104"/>
                <a:gd name="T33" fmla="*/ 6 h 76"/>
                <a:gd name="T34" fmla="*/ 9 w 104"/>
                <a:gd name="T35" fmla="*/ 10 h 76"/>
                <a:gd name="T36" fmla="*/ 7 w 104"/>
                <a:gd name="T37" fmla="*/ 12 h 76"/>
                <a:gd name="T38" fmla="*/ 4 w 104"/>
                <a:gd name="T39" fmla="*/ 13 h 76"/>
                <a:gd name="T40" fmla="*/ 2 w 104"/>
                <a:gd name="T41" fmla="*/ 20 h 76"/>
                <a:gd name="T42" fmla="*/ 1 w 104"/>
                <a:gd name="T43" fmla="*/ 23 h 76"/>
                <a:gd name="T44" fmla="*/ 1 w 104"/>
                <a:gd name="T45" fmla="*/ 25 h 76"/>
                <a:gd name="T46" fmla="*/ 4 w 104"/>
                <a:gd name="T47" fmla="*/ 30 h 76"/>
                <a:gd name="T48" fmla="*/ 9 w 104"/>
                <a:gd name="T49" fmla="*/ 34 h 76"/>
                <a:gd name="T50" fmla="*/ 16 w 104"/>
                <a:gd name="T51" fmla="*/ 34 h 76"/>
                <a:gd name="T52" fmla="*/ 20 w 104"/>
                <a:gd name="T53" fmla="*/ 37 h 76"/>
                <a:gd name="T54" fmla="*/ 26 w 104"/>
                <a:gd name="T55" fmla="*/ 39 h 76"/>
                <a:gd name="T56" fmla="*/ 32 w 104"/>
                <a:gd name="T57" fmla="*/ 44 h 76"/>
                <a:gd name="T58" fmla="*/ 38 w 104"/>
                <a:gd name="T59" fmla="*/ 47 h 76"/>
                <a:gd name="T60" fmla="*/ 43 w 104"/>
                <a:gd name="T61" fmla="*/ 52 h 76"/>
                <a:gd name="T62" fmla="*/ 49 w 104"/>
                <a:gd name="T63" fmla="*/ 55 h 76"/>
                <a:gd name="T64" fmla="*/ 57 w 104"/>
                <a:gd name="T65" fmla="*/ 55 h 76"/>
                <a:gd name="T66" fmla="*/ 64 w 104"/>
                <a:gd name="T67" fmla="*/ 61 h 76"/>
                <a:gd name="T68" fmla="*/ 68 w 104"/>
                <a:gd name="T69" fmla="*/ 69 h 76"/>
                <a:gd name="T70" fmla="*/ 73 w 104"/>
                <a:gd name="T71" fmla="*/ 71 h 76"/>
                <a:gd name="T72" fmla="*/ 80 w 104"/>
                <a:gd name="T73" fmla="*/ 72 h 76"/>
                <a:gd name="T74" fmla="*/ 86 w 104"/>
                <a:gd name="T75" fmla="*/ 74 h 76"/>
                <a:gd name="T76" fmla="*/ 89 w 104"/>
                <a:gd name="T77" fmla="*/ 75 h 76"/>
                <a:gd name="T78" fmla="*/ 88 w 104"/>
                <a:gd name="T79" fmla="*/ 70 h 76"/>
                <a:gd name="T80" fmla="*/ 91 w 104"/>
                <a:gd name="T81" fmla="*/ 62 h 76"/>
                <a:gd name="T82" fmla="*/ 95 w 104"/>
                <a:gd name="T83" fmla="*/ 59 h 76"/>
                <a:gd name="T84" fmla="*/ 94 w 104"/>
                <a:gd name="T85" fmla="*/ 57 h 76"/>
                <a:gd name="T86" fmla="*/ 94 w 104"/>
                <a:gd name="T87" fmla="*/ 55 h 76"/>
                <a:gd name="T88" fmla="*/ 92 w 104"/>
                <a:gd name="T89" fmla="*/ 53 h 76"/>
                <a:gd name="T90" fmla="*/ 92 w 104"/>
                <a:gd name="T91" fmla="*/ 50 h 76"/>
                <a:gd name="T92" fmla="*/ 90 w 104"/>
                <a:gd name="T93" fmla="*/ 47 h 76"/>
                <a:gd name="T94" fmla="*/ 87 w 104"/>
                <a:gd name="T95" fmla="*/ 42 h 76"/>
                <a:gd name="T96" fmla="*/ 89 w 104"/>
                <a:gd name="T97" fmla="*/ 35 h 76"/>
                <a:gd name="T98" fmla="*/ 90 w 104"/>
                <a:gd name="T99" fmla="*/ 27 h 76"/>
                <a:gd name="T100" fmla="*/ 94 w 104"/>
                <a:gd name="T101" fmla="*/ 19 h 76"/>
                <a:gd name="T102" fmla="*/ 98 w 104"/>
                <a:gd name="T103" fmla="*/ 13 h 76"/>
                <a:gd name="T104" fmla="*/ 104 w 104"/>
                <a:gd name="T105" fmla="*/ 2 h 76"/>
                <a:gd name="T106" fmla="*/ 100 w 104"/>
                <a:gd name="T107"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76">
                  <a:moveTo>
                    <a:pt x="100" y="1"/>
                  </a:moveTo>
                  <a:cubicBezTo>
                    <a:pt x="98" y="2"/>
                    <a:pt x="98" y="3"/>
                    <a:pt x="96" y="4"/>
                  </a:cubicBezTo>
                  <a:cubicBezTo>
                    <a:pt x="95" y="4"/>
                    <a:pt x="92" y="6"/>
                    <a:pt x="91" y="5"/>
                  </a:cubicBezTo>
                  <a:cubicBezTo>
                    <a:pt x="91" y="4"/>
                    <a:pt x="92" y="3"/>
                    <a:pt x="91" y="3"/>
                  </a:cubicBezTo>
                  <a:cubicBezTo>
                    <a:pt x="92" y="5"/>
                    <a:pt x="88" y="9"/>
                    <a:pt x="86" y="8"/>
                  </a:cubicBezTo>
                  <a:cubicBezTo>
                    <a:pt x="82" y="7"/>
                    <a:pt x="80" y="6"/>
                    <a:pt x="76" y="7"/>
                  </a:cubicBezTo>
                  <a:cubicBezTo>
                    <a:pt x="73" y="8"/>
                    <a:pt x="72" y="11"/>
                    <a:pt x="69" y="12"/>
                  </a:cubicBezTo>
                  <a:cubicBezTo>
                    <a:pt x="65" y="14"/>
                    <a:pt x="61" y="14"/>
                    <a:pt x="57" y="14"/>
                  </a:cubicBezTo>
                  <a:cubicBezTo>
                    <a:pt x="56" y="13"/>
                    <a:pt x="52" y="12"/>
                    <a:pt x="50" y="13"/>
                  </a:cubicBezTo>
                  <a:cubicBezTo>
                    <a:pt x="48" y="14"/>
                    <a:pt x="46" y="16"/>
                    <a:pt x="44" y="16"/>
                  </a:cubicBezTo>
                  <a:cubicBezTo>
                    <a:pt x="42" y="16"/>
                    <a:pt x="39" y="14"/>
                    <a:pt x="38" y="13"/>
                  </a:cubicBezTo>
                  <a:cubicBezTo>
                    <a:pt x="36" y="12"/>
                    <a:pt x="37" y="9"/>
                    <a:pt x="35" y="10"/>
                  </a:cubicBezTo>
                  <a:cubicBezTo>
                    <a:pt x="30" y="12"/>
                    <a:pt x="32" y="2"/>
                    <a:pt x="27" y="6"/>
                  </a:cubicBezTo>
                  <a:cubicBezTo>
                    <a:pt x="25" y="7"/>
                    <a:pt x="24" y="6"/>
                    <a:pt x="22" y="6"/>
                  </a:cubicBezTo>
                  <a:cubicBezTo>
                    <a:pt x="20" y="7"/>
                    <a:pt x="22" y="10"/>
                    <a:pt x="20" y="12"/>
                  </a:cubicBezTo>
                  <a:cubicBezTo>
                    <a:pt x="18" y="13"/>
                    <a:pt x="16" y="14"/>
                    <a:pt x="14" y="11"/>
                  </a:cubicBezTo>
                  <a:cubicBezTo>
                    <a:pt x="13" y="10"/>
                    <a:pt x="12" y="7"/>
                    <a:pt x="11" y="6"/>
                  </a:cubicBezTo>
                  <a:cubicBezTo>
                    <a:pt x="10" y="6"/>
                    <a:pt x="10" y="9"/>
                    <a:pt x="9" y="10"/>
                  </a:cubicBezTo>
                  <a:cubicBezTo>
                    <a:pt x="8" y="10"/>
                    <a:pt x="7" y="11"/>
                    <a:pt x="7" y="12"/>
                  </a:cubicBezTo>
                  <a:cubicBezTo>
                    <a:pt x="6" y="12"/>
                    <a:pt x="5" y="12"/>
                    <a:pt x="4" y="13"/>
                  </a:cubicBezTo>
                  <a:cubicBezTo>
                    <a:pt x="2" y="14"/>
                    <a:pt x="3" y="18"/>
                    <a:pt x="2" y="20"/>
                  </a:cubicBezTo>
                  <a:cubicBezTo>
                    <a:pt x="2" y="21"/>
                    <a:pt x="3" y="23"/>
                    <a:pt x="1" y="23"/>
                  </a:cubicBezTo>
                  <a:cubicBezTo>
                    <a:pt x="0" y="24"/>
                    <a:pt x="1" y="24"/>
                    <a:pt x="1" y="25"/>
                  </a:cubicBezTo>
                  <a:cubicBezTo>
                    <a:pt x="2" y="27"/>
                    <a:pt x="2" y="29"/>
                    <a:pt x="4" y="30"/>
                  </a:cubicBezTo>
                  <a:cubicBezTo>
                    <a:pt x="7" y="31"/>
                    <a:pt x="7" y="33"/>
                    <a:pt x="9" y="34"/>
                  </a:cubicBezTo>
                  <a:cubicBezTo>
                    <a:pt x="11" y="35"/>
                    <a:pt x="13" y="34"/>
                    <a:pt x="16" y="34"/>
                  </a:cubicBezTo>
                  <a:cubicBezTo>
                    <a:pt x="19" y="34"/>
                    <a:pt x="18" y="36"/>
                    <a:pt x="20" y="37"/>
                  </a:cubicBezTo>
                  <a:cubicBezTo>
                    <a:pt x="22" y="38"/>
                    <a:pt x="24" y="37"/>
                    <a:pt x="26" y="39"/>
                  </a:cubicBezTo>
                  <a:cubicBezTo>
                    <a:pt x="28" y="40"/>
                    <a:pt x="30" y="43"/>
                    <a:pt x="32" y="44"/>
                  </a:cubicBezTo>
                  <a:cubicBezTo>
                    <a:pt x="34" y="46"/>
                    <a:pt x="36" y="46"/>
                    <a:pt x="38" y="47"/>
                  </a:cubicBezTo>
                  <a:cubicBezTo>
                    <a:pt x="40" y="49"/>
                    <a:pt x="41" y="51"/>
                    <a:pt x="43" y="52"/>
                  </a:cubicBezTo>
                  <a:cubicBezTo>
                    <a:pt x="45" y="53"/>
                    <a:pt x="47" y="55"/>
                    <a:pt x="49" y="55"/>
                  </a:cubicBezTo>
                  <a:cubicBezTo>
                    <a:pt x="52" y="55"/>
                    <a:pt x="54" y="54"/>
                    <a:pt x="57" y="55"/>
                  </a:cubicBezTo>
                  <a:cubicBezTo>
                    <a:pt x="60" y="56"/>
                    <a:pt x="62" y="58"/>
                    <a:pt x="64" y="61"/>
                  </a:cubicBezTo>
                  <a:cubicBezTo>
                    <a:pt x="66" y="63"/>
                    <a:pt x="66" y="67"/>
                    <a:pt x="68" y="69"/>
                  </a:cubicBezTo>
                  <a:cubicBezTo>
                    <a:pt x="69" y="70"/>
                    <a:pt x="72" y="70"/>
                    <a:pt x="73" y="71"/>
                  </a:cubicBezTo>
                  <a:cubicBezTo>
                    <a:pt x="76" y="73"/>
                    <a:pt x="77" y="72"/>
                    <a:pt x="80" y="72"/>
                  </a:cubicBezTo>
                  <a:cubicBezTo>
                    <a:pt x="81" y="73"/>
                    <a:pt x="86" y="74"/>
                    <a:pt x="86" y="74"/>
                  </a:cubicBezTo>
                  <a:cubicBezTo>
                    <a:pt x="87" y="76"/>
                    <a:pt x="88" y="75"/>
                    <a:pt x="89" y="75"/>
                  </a:cubicBezTo>
                  <a:cubicBezTo>
                    <a:pt x="89" y="73"/>
                    <a:pt x="88" y="72"/>
                    <a:pt x="88" y="70"/>
                  </a:cubicBezTo>
                  <a:cubicBezTo>
                    <a:pt x="88" y="67"/>
                    <a:pt x="88" y="64"/>
                    <a:pt x="91" y="62"/>
                  </a:cubicBezTo>
                  <a:cubicBezTo>
                    <a:pt x="92" y="61"/>
                    <a:pt x="94" y="59"/>
                    <a:pt x="95" y="59"/>
                  </a:cubicBezTo>
                  <a:cubicBezTo>
                    <a:pt x="95" y="59"/>
                    <a:pt x="93" y="57"/>
                    <a:pt x="94" y="57"/>
                  </a:cubicBezTo>
                  <a:cubicBezTo>
                    <a:pt x="94" y="56"/>
                    <a:pt x="95" y="56"/>
                    <a:pt x="94" y="55"/>
                  </a:cubicBezTo>
                  <a:cubicBezTo>
                    <a:pt x="93" y="55"/>
                    <a:pt x="91" y="54"/>
                    <a:pt x="92" y="53"/>
                  </a:cubicBezTo>
                  <a:cubicBezTo>
                    <a:pt x="89" y="53"/>
                    <a:pt x="91" y="48"/>
                    <a:pt x="92" y="50"/>
                  </a:cubicBezTo>
                  <a:cubicBezTo>
                    <a:pt x="92" y="48"/>
                    <a:pt x="93" y="47"/>
                    <a:pt x="90" y="47"/>
                  </a:cubicBezTo>
                  <a:cubicBezTo>
                    <a:pt x="88" y="46"/>
                    <a:pt x="87" y="44"/>
                    <a:pt x="87" y="42"/>
                  </a:cubicBezTo>
                  <a:cubicBezTo>
                    <a:pt x="87" y="39"/>
                    <a:pt x="87" y="37"/>
                    <a:pt x="89" y="35"/>
                  </a:cubicBezTo>
                  <a:cubicBezTo>
                    <a:pt x="90" y="33"/>
                    <a:pt x="90" y="30"/>
                    <a:pt x="90" y="27"/>
                  </a:cubicBezTo>
                  <a:cubicBezTo>
                    <a:pt x="91" y="24"/>
                    <a:pt x="92" y="22"/>
                    <a:pt x="94" y="19"/>
                  </a:cubicBezTo>
                  <a:cubicBezTo>
                    <a:pt x="96" y="17"/>
                    <a:pt x="97" y="15"/>
                    <a:pt x="98" y="13"/>
                  </a:cubicBezTo>
                  <a:cubicBezTo>
                    <a:pt x="101" y="9"/>
                    <a:pt x="101" y="4"/>
                    <a:pt x="104" y="2"/>
                  </a:cubicBezTo>
                  <a:cubicBezTo>
                    <a:pt x="103" y="2"/>
                    <a:pt x="101" y="0"/>
                    <a:pt x="100" y="1"/>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54">
              <a:extLst>
                <a:ext uri="{FF2B5EF4-FFF2-40B4-BE49-F238E27FC236}">
                  <a16:creationId xmlns:a16="http://schemas.microsoft.com/office/drawing/2014/main" id="{1955FD34-20C7-724B-D03A-0126FA82D3B2}"/>
                </a:ext>
              </a:extLst>
            </p:cNvPr>
            <p:cNvSpPr>
              <a:spLocks/>
            </p:cNvSpPr>
            <p:nvPr/>
          </p:nvSpPr>
          <p:spPr bwMode="auto">
            <a:xfrm>
              <a:off x="2348120" y="5641329"/>
              <a:ext cx="149938" cy="301549"/>
            </a:xfrm>
            <a:custGeom>
              <a:avLst/>
              <a:gdLst>
                <a:gd name="T0" fmla="*/ 49 w 54"/>
                <a:gd name="T1" fmla="*/ 17 h 107"/>
                <a:gd name="T2" fmla="*/ 47 w 54"/>
                <a:gd name="T3" fmla="*/ 16 h 107"/>
                <a:gd name="T4" fmla="*/ 46 w 54"/>
                <a:gd name="T5" fmla="*/ 14 h 107"/>
                <a:gd name="T6" fmla="*/ 49 w 54"/>
                <a:gd name="T7" fmla="*/ 12 h 107"/>
                <a:gd name="T8" fmla="*/ 44 w 54"/>
                <a:gd name="T9" fmla="*/ 11 h 107"/>
                <a:gd name="T10" fmla="*/ 42 w 54"/>
                <a:gd name="T11" fmla="*/ 7 h 107"/>
                <a:gd name="T12" fmla="*/ 37 w 54"/>
                <a:gd name="T13" fmla="*/ 2 h 107"/>
                <a:gd name="T14" fmla="*/ 35 w 54"/>
                <a:gd name="T15" fmla="*/ 0 h 107"/>
                <a:gd name="T16" fmla="*/ 33 w 54"/>
                <a:gd name="T17" fmla="*/ 5 h 107"/>
                <a:gd name="T18" fmla="*/ 22 w 54"/>
                <a:gd name="T19" fmla="*/ 14 h 107"/>
                <a:gd name="T20" fmla="*/ 15 w 54"/>
                <a:gd name="T21" fmla="*/ 18 h 107"/>
                <a:gd name="T22" fmla="*/ 4 w 54"/>
                <a:gd name="T23" fmla="*/ 16 h 107"/>
                <a:gd name="T24" fmla="*/ 3 w 54"/>
                <a:gd name="T25" fmla="*/ 17 h 107"/>
                <a:gd name="T26" fmla="*/ 2 w 54"/>
                <a:gd name="T27" fmla="*/ 25 h 107"/>
                <a:gd name="T28" fmla="*/ 3 w 54"/>
                <a:gd name="T29" fmla="*/ 29 h 107"/>
                <a:gd name="T30" fmla="*/ 6 w 54"/>
                <a:gd name="T31" fmla="*/ 32 h 107"/>
                <a:gd name="T32" fmla="*/ 11 w 54"/>
                <a:gd name="T33" fmla="*/ 44 h 107"/>
                <a:gd name="T34" fmla="*/ 8 w 54"/>
                <a:gd name="T35" fmla="*/ 55 h 107"/>
                <a:gd name="T36" fmla="*/ 9 w 54"/>
                <a:gd name="T37" fmla="*/ 61 h 107"/>
                <a:gd name="T38" fmla="*/ 10 w 54"/>
                <a:gd name="T39" fmla="*/ 61 h 107"/>
                <a:gd name="T40" fmla="*/ 13 w 54"/>
                <a:gd name="T41" fmla="*/ 68 h 107"/>
                <a:gd name="T42" fmla="*/ 10 w 54"/>
                <a:gd name="T43" fmla="*/ 69 h 107"/>
                <a:gd name="T44" fmla="*/ 9 w 54"/>
                <a:gd name="T45" fmla="*/ 82 h 107"/>
                <a:gd name="T46" fmla="*/ 9 w 54"/>
                <a:gd name="T47" fmla="*/ 86 h 107"/>
                <a:gd name="T48" fmla="*/ 11 w 54"/>
                <a:gd name="T49" fmla="*/ 97 h 107"/>
                <a:gd name="T50" fmla="*/ 10 w 54"/>
                <a:gd name="T51" fmla="*/ 102 h 107"/>
                <a:gd name="T52" fmla="*/ 14 w 54"/>
                <a:gd name="T53" fmla="*/ 100 h 107"/>
                <a:gd name="T54" fmla="*/ 17 w 54"/>
                <a:gd name="T55" fmla="*/ 107 h 107"/>
                <a:gd name="T56" fmla="*/ 25 w 54"/>
                <a:gd name="T57" fmla="*/ 105 h 107"/>
                <a:gd name="T58" fmla="*/ 28 w 54"/>
                <a:gd name="T59" fmla="*/ 96 h 107"/>
                <a:gd name="T60" fmla="*/ 28 w 54"/>
                <a:gd name="T61" fmla="*/ 90 h 107"/>
                <a:gd name="T62" fmla="*/ 35 w 54"/>
                <a:gd name="T63" fmla="*/ 92 h 107"/>
                <a:gd name="T64" fmla="*/ 43 w 54"/>
                <a:gd name="T65" fmla="*/ 95 h 107"/>
                <a:gd name="T66" fmla="*/ 47 w 54"/>
                <a:gd name="T67" fmla="*/ 90 h 107"/>
                <a:gd name="T68" fmla="*/ 48 w 54"/>
                <a:gd name="T69" fmla="*/ 81 h 107"/>
                <a:gd name="T70" fmla="*/ 50 w 54"/>
                <a:gd name="T71" fmla="*/ 58 h 107"/>
                <a:gd name="T72" fmla="*/ 49 w 54"/>
                <a:gd name="T73" fmla="*/ 51 h 107"/>
                <a:gd name="T74" fmla="*/ 54 w 54"/>
                <a:gd name="T75" fmla="*/ 32 h 107"/>
                <a:gd name="T76" fmla="*/ 51 w 54"/>
                <a:gd name="T77" fmla="*/ 1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107">
                  <a:moveTo>
                    <a:pt x="51" y="19"/>
                  </a:moveTo>
                  <a:cubicBezTo>
                    <a:pt x="50" y="18"/>
                    <a:pt x="49" y="18"/>
                    <a:pt x="49" y="17"/>
                  </a:cubicBezTo>
                  <a:cubicBezTo>
                    <a:pt x="49" y="17"/>
                    <a:pt x="48" y="15"/>
                    <a:pt x="48" y="15"/>
                  </a:cubicBezTo>
                  <a:cubicBezTo>
                    <a:pt x="47" y="15"/>
                    <a:pt x="48" y="16"/>
                    <a:pt x="47" y="16"/>
                  </a:cubicBezTo>
                  <a:cubicBezTo>
                    <a:pt x="46" y="16"/>
                    <a:pt x="45" y="15"/>
                    <a:pt x="44" y="15"/>
                  </a:cubicBezTo>
                  <a:cubicBezTo>
                    <a:pt x="45" y="14"/>
                    <a:pt x="46" y="14"/>
                    <a:pt x="46" y="14"/>
                  </a:cubicBezTo>
                  <a:cubicBezTo>
                    <a:pt x="47" y="13"/>
                    <a:pt x="47" y="12"/>
                    <a:pt x="47" y="12"/>
                  </a:cubicBezTo>
                  <a:cubicBezTo>
                    <a:pt x="48" y="11"/>
                    <a:pt x="49" y="12"/>
                    <a:pt x="49" y="12"/>
                  </a:cubicBezTo>
                  <a:cubicBezTo>
                    <a:pt x="49" y="11"/>
                    <a:pt x="46" y="11"/>
                    <a:pt x="46" y="10"/>
                  </a:cubicBezTo>
                  <a:cubicBezTo>
                    <a:pt x="45" y="10"/>
                    <a:pt x="45" y="11"/>
                    <a:pt x="44" y="11"/>
                  </a:cubicBezTo>
                  <a:cubicBezTo>
                    <a:pt x="45" y="10"/>
                    <a:pt x="46" y="7"/>
                    <a:pt x="45" y="6"/>
                  </a:cubicBezTo>
                  <a:cubicBezTo>
                    <a:pt x="44" y="4"/>
                    <a:pt x="43" y="5"/>
                    <a:pt x="42" y="7"/>
                  </a:cubicBezTo>
                  <a:cubicBezTo>
                    <a:pt x="42" y="6"/>
                    <a:pt x="41" y="2"/>
                    <a:pt x="39" y="2"/>
                  </a:cubicBezTo>
                  <a:cubicBezTo>
                    <a:pt x="39" y="2"/>
                    <a:pt x="38" y="4"/>
                    <a:pt x="37" y="2"/>
                  </a:cubicBezTo>
                  <a:cubicBezTo>
                    <a:pt x="37" y="1"/>
                    <a:pt x="37" y="1"/>
                    <a:pt x="37" y="3"/>
                  </a:cubicBezTo>
                  <a:cubicBezTo>
                    <a:pt x="37" y="2"/>
                    <a:pt x="37" y="0"/>
                    <a:pt x="35" y="0"/>
                  </a:cubicBezTo>
                  <a:cubicBezTo>
                    <a:pt x="34" y="0"/>
                    <a:pt x="33" y="1"/>
                    <a:pt x="33" y="1"/>
                  </a:cubicBezTo>
                  <a:cubicBezTo>
                    <a:pt x="34" y="1"/>
                    <a:pt x="33" y="4"/>
                    <a:pt x="33" y="5"/>
                  </a:cubicBezTo>
                  <a:cubicBezTo>
                    <a:pt x="32" y="6"/>
                    <a:pt x="30" y="6"/>
                    <a:pt x="29" y="6"/>
                  </a:cubicBezTo>
                  <a:cubicBezTo>
                    <a:pt x="26" y="8"/>
                    <a:pt x="25" y="11"/>
                    <a:pt x="22" y="14"/>
                  </a:cubicBezTo>
                  <a:cubicBezTo>
                    <a:pt x="21" y="15"/>
                    <a:pt x="20" y="15"/>
                    <a:pt x="19" y="15"/>
                  </a:cubicBezTo>
                  <a:cubicBezTo>
                    <a:pt x="17" y="16"/>
                    <a:pt x="16" y="17"/>
                    <a:pt x="15" y="18"/>
                  </a:cubicBezTo>
                  <a:cubicBezTo>
                    <a:pt x="13" y="20"/>
                    <a:pt x="10" y="20"/>
                    <a:pt x="8" y="19"/>
                  </a:cubicBezTo>
                  <a:cubicBezTo>
                    <a:pt x="7" y="18"/>
                    <a:pt x="5" y="18"/>
                    <a:pt x="4" y="16"/>
                  </a:cubicBezTo>
                  <a:cubicBezTo>
                    <a:pt x="4" y="16"/>
                    <a:pt x="3" y="12"/>
                    <a:pt x="3" y="13"/>
                  </a:cubicBezTo>
                  <a:cubicBezTo>
                    <a:pt x="2" y="15"/>
                    <a:pt x="3" y="16"/>
                    <a:pt x="3" y="17"/>
                  </a:cubicBezTo>
                  <a:cubicBezTo>
                    <a:pt x="3" y="18"/>
                    <a:pt x="3" y="19"/>
                    <a:pt x="2" y="19"/>
                  </a:cubicBezTo>
                  <a:cubicBezTo>
                    <a:pt x="1" y="21"/>
                    <a:pt x="0" y="23"/>
                    <a:pt x="2" y="25"/>
                  </a:cubicBezTo>
                  <a:cubicBezTo>
                    <a:pt x="4" y="27"/>
                    <a:pt x="0" y="29"/>
                    <a:pt x="1" y="31"/>
                  </a:cubicBezTo>
                  <a:cubicBezTo>
                    <a:pt x="1" y="30"/>
                    <a:pt x="2" y="29"/>
                    <a:pt x="3" y="29"/>
                  </a:cubicBezTo>
                  <a:cubicBezTo>
                    <a:pt x="3" y="29"/>
                    <a:pt x="2" y="31"/>
                    <a:pt x="5" y="30"/>
                  </a:cubicBezTo>
                  <a:cubicBezTo>
                    <a:pt x="6" y="29"/>
                    <a:pt x="6" y="31"/>
                    <a:pt x="6" y="32"/>
                  </a:cubicBezTo>
                  <a:cubicBezTo>
                    <a:pt x="8" y="35"/>
                    <a:pt x="8" y="37"/>
                    <a:pt x="8" y="41"/>
                  </a:cubicBezTo>
                  <a:cubicBezTo>
                    <a:pt x="8" y="42"/>
                    <a:pt x="11" y="42"/>
                    <a:pt x="11" y="44"/>
                  </a:cubicBezTo>
                  <a:cubicBezTo>
                    <a:pt x="12" y="46"/>
                    <a:pt x="10" y="48"/>
                    <a:pt x="11" y="50"/>
                  </a:cubicBezTo>
                  <a:cubicBezTo>
                    <a:pt x="12" y="53"/>
                    <a:pt x="10" y="55"/>
                    <a:pt x="8" y="55"/>
                  </a:cubicBezTo>
                  <a:cubicBezTo>
                    <a:pt x="9" y="55"/>
                    <a:pt x="9" y="58"/>
                    <a:pt x="9" y="58"/>
                  </a:cubicBezTo>
                  <a:cubicBezTo>
                    <a:pt x="9" y="59"/>
                    <a:pt x="9" y="60"/>
                    <a:pt x="9" y="61"/>
                  </a:cubicBezTo>
                  <a:cubicBezTo>
                    <a:pt x="9" y="62"/>
                    <a:pt x="10" y="61"/>
                    <a:pt x="10" y="63"/>
                  </a:cubicBezTo>
                  <a:cubicBezTo>
                    <a:pt x="10" y="62"/>
                    <a:pt x="11" y="61"/>
                    <a:pt x="10" y="61"/>
                  </a:cubicBezTo>
                  <a:cubicBezTo>
                    <a:pt x="11" y="58"/>
                    <a:pt x="15" y="64"/>
                    <a:pt x="13" y="67"/>
                  </a:cubicBezTo>
                  <a:cubicBezTo>
                    <a:pt x="14" y="66"/>
                    <a:pt x="12" y="67"/>
                    <a:pt x="13" y="68"/>
                  </a:cubicBezTo>
                  <a:cubicBezTo>
                    <a:pt x="13" y="69"/>
                    <a:pt x="13" y="70"/>
                    <a:pt x="14" y="70"/>
                  </a:cubicBezTo>
                  <a:cubicBezTo>
                    <a:pt x="12" y="71"/>
                    <a:pt x="10" y="66"/>
                    <a:pt x="10" y="69"/>
                  </a:cubicBezTo>
                  <a:cubicBezTo>
                    <a:pt x="10" y="72"/>
                    <a:pt x="11" y="75"/>
                    <a:pt x="10" y="77"/>
                  </a:cubicBezTo>
                  <a:cubicBezTo>
                    <a:pt x="9" y="80"/>
                    <a:pt x="8" y="80"/>
                    <a:pt x="9" y="82"/>
                  </a:cubicBezTo>
                  <a:cubicBezTo>
                    <a:pt x="9" y="83"/>
                    <a:pt x="8" y="83"/>
                    <a:pt x="8" y="84"/>
                  </a:cubicBezTo>
                  <a:cubicBezTo>
                    <a:pt x="8" y="85"/>
                    <a:pt x="9" y="85"/>
                    <a:pt x="9" y="86"/>
                  </a:cubicBezTo>
                  <a:cubicBezTo>
                    <a:pt x="10" y="89"/>
                    <a:pt x="9" y="89"/>
                    <a:pt x="8" y="90"/>
                  </a:cubicBezTo>
                  <a:cubicBezTo>
                    <a:pt x="7" y="93"/>
                    <a:pt x="11" y="95"/>
                    <a:pt x="11" y="97"/>
                  </a:cubicBezTo>
                  <a:cubicBezTo>
                    <a:pt x="11" y="99"/>
                    <a:pt x="8" y="96"/>
                    <a:pt x="8" y="97"/>
                  </a:cubicBezTo>
                  <a:cubicBezTo>
                    <a:pt x="6" y="98"/>
                    <a:pt x="9" y="105"/>
                    <a:pt x="10" y="102"/>
                  </a:cubicBezTo>
                  <a:cubicBezTo>
                    <a:pt x="10" y="102"/>
                    <a:pt x="12" y="97"/>
                    <a:pt x="12" y="98"/>
                  </a:cubicBezTo>
                  <a:cubicBezTo>
                    <a:pt x="12" y="99"/>
                    <a:pt x="13" y="99"/>
                    <a:pt x="14" y="100"/>
                  </a:cubicBezTo>
                  <a:cubicBezTo>
                    <a:pt x="14" y="102"/>
                    <a:pt x="16" y="103"/>
                    <a:pt x="15" y="105"/>
                  </a:cubicBezTo>
                  <a:cubicBezTo>
                    <a:pt x="15" y="106"/>
                    <a:pt x="16" y="107"/>
                    <a:pt x="17" y="107"/>
                  </a:cubicBezTo>
                  <a:cubicBezTo>
                    <a:pt x="16" y="104"/>
                    <a:pt x="20" y="105"/>
                    <a:pt x="21" y="106"/>
                  </a:cubicBezTo>
                  <a:cubicBezTo>
                    <a:pt x="22" y="106"/>
                    <a:pt x="24" y="106"/>
                    <a:pt x="25" y="105"/>
                  </a:cubicBezTo>
                  <a:cubicBezTo>
                    <a:pt x="26" y="104"/>
                    <a:pt x="28" y="103"/>
                    <a:pt x="29" y="101"/>
                  </a:cubicBezTo>
                  <a:cubicBezTo>
                    <a:pt x="29" y="99"/>
                    <a:pt x="28" y="98"/>
                    <a:pt x="28" y="96"/>
                  </a:cubicBezTo>
                  <a:cubicBezTo>
                    <a:pt x="28" y="94"/>
                    <a:pt x="30" y="93"/>
                    <a:pt x="30" y="92"/>
                  </a:cubicBezTo>
                  <a:cubicBezTo>
                    <a:pt x="30" y="92"/>
                    <a:pt x="27" y="90"/>
                    <a:pt x="28" y="90"/>
                  </a:cubicBezTo>
                  <a:cubicBezTo>
                    <a:pt x="29" y="90"/>
                    <a:pt x="31" y="92"/>
                    <a:pt x="31" y="92"/>
                  </a:cubicBezTo>
                  <a:cubicBezTo>
                    <a:pt x="33" y="93"/>
                    <a:pt x="33" y="92"/>
                    <a:pt x="35" y="92"/>
                  </a:cubicBezTo>
                  <a:cubicBezTo>
                    <a:pt x="37" y="91"/>
                    <a:pt x="39" y="93"/>
                    <a:pt x="41" y="95"/>
                  </a:cubicBezTo>
                  <a:cubicBezTo>
                    <a:pt x="42" y="96"/>
                    <a:pt x="42" y="95"/>
                    <a:pt x="43" y="95"/>
                  </a:cubicBezTo>
                  <a:cubicBezTo>
                    <a:pt x="44" y="96"/>
                    <a:pt x="44" y="97"/>
                    <a:pt x="44" y="97"/>
                  </a:cubicBezTo>
                  <a:cubicBezTo>
                    <a:pt x="46" y="96"/>
                    <a:pt x="46" y="91"/>
                    <a:pt x="47" y="90"/>
                  </a:cubicBezTo>
                  <a:cubicBezTo>
                    <a:pt x="48" y="88"/>
                    <a:pt x="48" y="88"/>
                    <a:pt x="47" y="86"/>
                  </a:cubicBezTo>
                  <a:cubicBezTo>
                    <a:pt x="47" y="85"/>
                    <a:pt x="48" y="83"/>
                    <a:pt x="48" y="81"/>
                  </a:cubicBezTo>
                  <a:cubicBezTo>
                    <a:pt x="49" y="74"/>
                    <a:pt x="51" y="66"/>
                    <a:pt x="51" y="59"/>
                  </a:cubicBezTo>
                  <a:cubicBezTo>
                    <a:pt x="51" y="59"/>
                    <a:pt x="50" y="59"/>
                    <a:pt x="50" y="58"/>
                  </a:cubicBezTo>
                  <a:cubicBezTo>
                    <a:pt x="50" y="57"/>
                    <a:pt x="50" y="56"/>
                    <a:pt x="51" y="55"/>
                  </a:cubicBezTo>
                  <a:cubicBezTo>
                    <a:pt x="51" y="53"/>
                    <a:pt x="51" y="52"/>
                    <a:pt x="49" y="51"/>
                  </a:cubicBezTo>
                  <a:cubicBezTo>
                    <a:pt x="46" y="47"/>
                    <a:pt x="48" y="43"/>
                    <a:pt x="51" y="40"/>
                  </a:cubicBezTo>
                  <a:cubicBezTo>
                    <a:pt x="53" y="38"/>
                    <a:pt x="54" y="35"/>
                    <a:pt x="54" y="32"/>
                  </a:cubicBezTo>
                  <a:cubicBezTo>
                    <a:pt x="53" y="29"/>
                    <a:pt x="51" y="24"/>
                    <a:pt x="49" y="21"/>
                  </a:cubicBezTo>
                  <a:cubicBezTo>
                    <a:pt x="49" y="21"/>
                    <a:pt x="50" y="19"/>
                    <a:pt x="51" y="19"/>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55">
              <a:extLst>
                <a:ext uri="{FF2B5EF4-FFF2-40B4-BE49-F238E27FC236}">
                  <a16:creationId xmlns:a16="http://schemas.microsoft.com/office/drawing/2014/main" id="{37B11669-9028-2A93-972D-BCBA248AF370}"/>
                </a:ext>
              </a:extLst>
            </p:cNvPr>
            <p:cNvSpPr>
              <a:spLocks/>
            </p:cNvSpPr>
            <p:nvPr/>
          </p:nvSpPr>
          <p:spPr bwMode="auto">
            <a:xfrm>
              <a:off x="2518128" y="5435131"/>
              <a:ext cx="36599" cy="22646"/>
            </a:xfrm>
            <a:custGeom>
              <a:avLst/>
              <a:gdLst>
                <a:gd name="T0" fmla="*/ 12 w 13"/>
                <a:gd name="T1" fmla="*/ 1 h 8"/>
                <a:gd name="T2" fmla="*/ 10 w 13"/>
                <a:gd name="T3" fmla="*/ 3 h 8"/>
                <a:gd name="T4" fmla="*/ 7 w 13"/>
                <a:gd name="T5" fmla="*/ 3 h 8"/>
                <a:gd name="T6" fmla="*/ 2 w 13"/>
                <a:gd name="T7" fmla="*/ 4 h 8"/>
                <a:gd name="T8" fmla="*/ 7 w 13"/>
                <a:gd name="T9" fmla="*/ 6 h 8"/>
                <a:gd name="T10" fmla="*/ 9 w 13"/>
                <a:gd name="T11" fmla="*/ 6 h 8"/>
                <a:gd name="T12" fmla="*/ 12 w 13"/>
                <a:gd name="T13" fmla="*/ 8 h 8"/>
                <a:gd name="T14" fmla="*/ 11 w 13"/>
                <a:gd name="T15" fmla="*/ 5 h 8"/>
                <a:gd name="T16" fmla="*/ 12 w 13"/>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8">
                  <a:moveTo>
                    <a:pt x="12" y="1"/>
                  </a:moveTo>
                  <a:cubicBezTo>
                    <a:pt x="12" y="0"/>
                    <a:pt x="10" y="3"/>
                    <a:pt x="10" y="3"/>
                  </a:cubicBezTo>
                  <a:cubicBezTo>
                    <a:pt x="9" y="4"/>
                    <a:pt x="8" y="2"/>
                    <a:pt x="7" y="3"/>
                  </a:cubicBezTo>
                  <a:cubicBezTo>
                    <a:pt x="6" y="5"/>
                    <a:pt x="4" y="2"/>
                    <a:pt x="2" y="4"/>
                  </a:cubicBezTo>
                  <a:cubicBezTo>
                    <a:pt x="0" y="7"/>
                    <a:pt x="5" y="7"/>
                    <a:pt x="7" y="6"/>
                  </a:cubicBezTo>
                  <a:cubicBezTo>
                    <a:pt x="8" y="6"/>
                    <a:pt x="8" y="6"/>
                    <a:pt x="9" y="6"/>
                  </a:cubicBezTo>
                  <a:cubicBezTo>
                    <a:pt x="10" y="5"/>
                    <a:pt x="11" y="8"/>
                    <a:pt x="12" y="8"/>
                  </a:cubicBezTo>
                  <a:cubicBezTo>
                    <a:pt x="13" y="7"/>
                    <a:pt x="12" y="6"/>
                    <a:pt x="11" y="5"/>
                  </a:cubicBezTo>
                  <a:cubicBezTo>
                    <a:pt x="12" y="5"/>
                    <a:pt x="13" y="2"/>
                    <a:pt x="12"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56">
              <a:extLst>
                <a:ext uri="{FF2B5EF4-FFF2-40B4-BE49-F238E27FC236}">
                  <a16:creationId xmlns:a16="http://schemas.microsoft.com/office/drawing/2014/main" id="{49D64271-EB9E-7783-4976-4C8F67F40E81}"/>
                </a:ext>
              </a:extLst>
            </p:cNvPr>
            <p:cNvSpPr>
              <a:spLocks/>
            </p:cNvSpPr>
            <p:nvPr/>
          </p:nvSpPr>
          <p:spPr bwMode="auto">
            <a:xfrm>
              <a:off x="2470904" y="4885669"/>
              <a:ext cx="14167" cy="27414"/>
            </a:xfrm>
            <a:custGeom>
              <a:avLst/>
              <a:gdLst>
                <a:gd name="T0" fmla="*/ 4 w 5"/>
                <a:gd name="T1" fmla="*/ 5 h 10"/>
                <a:gd name="T2" fmla="*/ 2 w 5"/>
                <a:gd name="T3" fmla="*/ 2 h 10"/>
                <a:gd name="T4" fmla="*/ 2 w 5"/>
                <a:gd name="T5" fmla="*/ 0 h 10"/>
                <a:gd name="T6" fmla="*/ 0 w 5"/>
                <a:gd name="T7" fmla="*/ 4 h 10"/>
                <a:gd name="T8" fmla="*/ 1 w 5"/>
                <a:gd name="T9" fmla="*/ 6 h 10"/>
                <a:gd name="T10" fmla="*/ 0 w 5"/>
                <a:gd name="T11" fmla="*/ 9 h 10"/>
                <a:gd name="T12" fmla="*/ 4 w 5"/>
                <a:gd name="T13" fmla="*/ 8 h 10"/>
                <a:gd name="T14" fmla="*/ 4 w 5"/>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4" y="5"/>
                  </a:moveTo>
                  <a:cubicBezTo>
                    <a:pt x="3" y="4"/>
                    <a:pt x="3" y="3"/>
                    <a:pt x="2" y="2"/>
                  </a:cubicBezTo>
                  <a:cubicBezTo>
                    <a:pt x="2" y="0"/>
                    <a:pt x="2" y="0"/>
                    <a:pt x="2" y="0"/>
                  </a:cubicBezTo>
                  <a:cubicBezTo>
                    <a:pt x="1" y="1"/>
                    <a:pt x="0" y="2"/>
                    <a:pt x="0" y="4"/>
                  </a:cubicBezTo>
                  <a:cubicBezTo>
                    <a:pt x="0" y="4"/>
                    <a:pt x="1" y="5"/>
                    <a:pt x="1" y="6"/>
                  </a:cubicBezTo>
                  <a:cubicBezTo>
                    <a:pt x="1" y="8"/>
                    <a:pt x="0" y="8"/>
                    <a:pt x="0" y="9"/>
                  </a:cubicBezTo>
                  <a:cubicBezTo>
                    <a:pt x="2" y="8"/>
                    <a:pt x="3" y="10"/>
                    <a:pt x="4" y="8"/>
                  </a:cubicBezTo>
                  <a:cubicBezTo>
                    <a:pt x="5" y="7"/>
                    <a:pt x="5" y="5"/>
                    <a:pt x="4" y="5"/>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57">
              <a:extLst>
                <a:ext uri="{FF2B5EF4-FFF2-40B4-BE49-F238E27FC236}">
                  <a16:creationId xmlns:a16="http://schemas.microsoft.com/office/drawing/2014/main" id="{F6835426-00E8-B602-464E-BF232C383099}"/>
                </a:ext>
              </a:extLst>
            </p:cNvPr>
            <p:cNvSpPr>
              <a:spLocks/>
            </p:cNvSpPr>
            <p:nvPr/>
          </p:nvSpPr>
          <p:spPr bwMode="auto">
            <a:xfrm>
              <a:off x="2309160" y="4084718"/>
              <a:ext cx="12987" cy="4768"/>
            </a:xfrm>
            <a:custGeom>
              <a:avLst/>
              <a:gdLst>
                <a:gd name="T0" fmla="*/ 1 w 5"/>
                <a:gd name="T1" fmla="*/ 1 h 2"/>
                <a:gd name="T2" fmla="*/ 0 w 5"/>
                <a:gd name="T3" fmla="*/ 2 h 2"/>
                <a:gd name="T4" fmla="*/ 5 w 5"/>
                <a:gd name="T5" fmla="*/ 1 h 2"/>
                <a:gd name="T6" fmla="*/ 1 w 5"/>
                <a:gd name="T7" fmla="*/ 1 h 2"/>
              </a:gdLst>
              <a:ahLst/>
              <a:cxnLst>
                <a:cxn ang="0">
                  <a:pos x="T0" y="T1"/>
                </a:cxn>
                <a:cxn ang="0">
                  <a:pos x="T2" y="T3"/>
                </a:cxn>
                <a:cxn ang="0">
                  <a:pos x="T4" y="T5"/>
                </a:cxn>
                <a:cxn ang="0">
                  <a:pos x="T6" y="T7"/>
                </a:cxn>
              </a:cxnLst>
              <a:rect l="0" t="0" r="r" b="b"/>
              <a:pathLst>
                <a:path w="5" h="2">
                  <a:moveTo>
                    <a:pt x="1" y="1"/>
                  </a:moveTo>
                  <a:cubicBezTo>
                    <a:pt x="1" y="1"/>
                    <a:pt x="0" y="1"/>
                    <a:pt x="0" y="2"/>
                  </a:cubicBezTo>
                  <a:cubicBezTo>
                    <a:pt x="0" y="2"/>
                    <a:pt x="4" y="1"/>
                    <a:pt x="5" y="1"/>
                  </a:cubicBezTo>
                  <a:cubicBezTo>
                    <a:pt x="4" y="0"/>
                    <a:pt x="2" y="1"/>
                    <a:pt x="1"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61">
              <a:extLst>
                <a:ext uri="{FF2B5EF4-FFF2-40B4-BE49-F238E27FC236}">
                  <a16:creationId xmlns:a16="http://schemas.microsoft.com/office/drawing/2014/main" id="{44F0EC5D-962C-0BC6-4CE7-9116DEA7C4A5}"/>
                </a:ext>
              </a:extLst>
            </p:cNvPr>
            <p:cNvSpPr>
              <a:spLocks noEditPoints="1"/>
            </p:cNvSpPr>
            <p:nvPr/>
          </p:nvSpPr>
          <p:spPr bwMode="auto">
            <a:xfrm>
              <a:off x="2172209" y="3923812"/>
              <a:ext cx="762673" cy="961857"/>
            </a:xfrm>
            <a:custGeom>
              <a:avLst/>
              <a:gdLst>
                <a:gd name="T0" fmla="*/ 263 w 273"/>
                <a:gd name="T1" fmla="*/ 133 h 341"/>
                <a:gd name="T2" fmla="*/ 253 w 273"/>
                <a:gd name="T3" fmla="*/ 104 h 341"/>
                <a:gd name="T4" fmla="*/ 252 w 273"/>
                <a:gd name="T5" fmla="*/ 80 h 341"/>
                <a:gd name="T6" fmla="*/ 234 w 273"/>
                <a:gd name="T7" fmla="*/ 53 h 341"/>
                <a:gd name="T8" fmla="*/ 235 w 273"/>
                <a:gd name="T9" fmla="*/ 47 h 341"/>
                <a:gd name="T10" fmla="*/ 239 w 273"/>
                <a:gd name="T11" fmla="*/ 53 h 341"/>
                <a:gd name="T12" fmla="*/ 233 w 273"/>
                <a:gd name="T13" fmla="*/ 43 h 341"/>
                <a:gd name="T14" fmla="*/ 213 w 273"/>
                <a:gd name="T15" fmla="*/ 34 h 341"/>
                <a:gd name="T16" fmla="*/ 197 w 273"/>
                <a:gd name="T17" fmla="*/ 31 h 341"/>
                <a:gd name="T18" fmla="*/ 191 w 273"/>
                <a:gd name="T19" fmla="*/ 34 h 341"/>
                <a:gd name="T20" fmla="*/ 167 w 273"/>
                <a:gd name="T21" fmla="*/ 45 h 341"/>
                <a:gd name="T22" fmla="*/ 154 w 273"/>
                <a:gd name="T23" fmla="*/ 47 h 341"/>
                <a:gd name="T24" fmla="*/ 153 w 273"/>
                <a:gd name="T25" fmla="*/ 31 h 341"/>
                <a:gd name="T26" fmla="*/ 128 w 273"/>
                <a:gd name="T27" fmla="*/ 31 h 341"/>
                <a:gd name="T28" fmla="*/ 121 w 273"/>
                <a:gd name="T29" fmla="*/ 18 h 341"/>
                <a:gd name="T30" fmla="*/ 107 w 273"/>
                <a:gd name="T31" fmla="*/ 13 h 341"/>
                <a:gd name="T32" fmla="*/ 77 w 273"/>
                <a:gd name="T33" fmla="*/ 2 h 341"/>
                <a:gd name="T34" fmla="*/ 89 w 273"/>
                <a:gd name="T35" fmla="*/ 21 h 341"/>
                <a:gd name="T36" fmla="*/ 85 w 273"/>
                <a:gd name="T37" fmla="*/ 35 h 341"/>
                <a:gd name="T38" fmla="*/ 93 w 273"/>
                <a:gd name="T39" fmla="*/ 46 h 341"/>
                <a:gd name="T40" fmla="*/ 113 w 273"/>
                <a:gd name="T41" fmla="*/ 65 h 341"/>
                <a:gd name="T42" fmla="*/ 91 w 273"/>
                <a:gd name="T43" fmla="*/ 54 h 341"/>
                <a:gd name="T44" fmla="*/ 79 w 273"/>
                <a:gd name="T45" fmla="*/ 71 h 341"/>
                <a:gd name="T46" fmla="*/ 66 w 273"/>
                <a:gd name="T47" fmla="*/ 70 h 341"/>
                <a:gd name="T48" fmla="*/ 49 w 273"/>
                <a:gd name="T49" fmla="*/ 61 h 341"/>
                <a:gd name="T50" fmla="*/ 41 w 273"/>
                <a:gd name="T51" fmla="*/ 85 h 341"/>
                <a:gd name="T52" fmla="*/ 27 w 273"/>
                <a:gd name="T53" fmla="*/ 113 h 341"/>
                <a:gd name="T54" fmla="*/ 30 w 273"/>
                <a:gd name="T55" fmla="*/ 128 h 341"/>
                <a:gd name="T56" fmla="*/ 14 w 273"/>
                <a:gd name="T57" fmla="*/ 140 h 341"/>
                <a:gd name="T58" fmla="*/ 7 w 273"/>
                <a:gd name="T59" fmla="*/ 149 h 341"/>
                <a:gd name="T60" fmla="*/ 9 w 273"/>
                <a:gd name="T61" fmla="*/ 170 h 341"/>
                <a:gd name="T62" fmla="*/ 3 w 273"/>
                <a:gd name="T63" fmla="*/ 186 h 341"/>
                <a:gd name="T64" fmla="*/ 14 w 273"/>
                <a:gd name="T65" fmla="*/ 201 h 341"/>
                <a:gd name="T66" fmla="*/ 7 w 273"/>
                <a:gd name="T67" fmla="*/ 221 h 341"/>
                <a:gd name="T68" fmla="*/ 13 w 273"/>
                <a:gd name="T69" fmla="*/ 244 h 341"/>
                <a:gd name="T70" fmla="*/ 31 w 273"/>
                <a:gd name="T71" fmla="*/ 255 h 341"/>
                <a:gd name="T72" fmla="*/ 69 w 273"/>
                <a:gd name="T73" fmla="*/ 266 h 341"/>
                <a:gd name="T74" fmla="*/ 54 w 273"/>
                <a:gd name="T75" fmla="*/ 294 h 341"/>
                <a:gd name="T76" fmla="*/ 52 w 273"/>
                <a:gd name="T77" fmla="*/ 326 h 341"/>
                <a:gd name="T78" fmla="*/ 77 w 273"/>
                <a:gd name="T79" fmla="*/ 327 h 341"/>
                <a:gd name="T80" fmla="*/ 84 w 273"/>
                <a:gd name="T81" fmla="*/ 322 h 341"/>
                <a:gd name="T82" fmla="*/ 116 w 273"/>
                <a:gd name="T83" fmla="*/ 327 h 341"/>
                <a:gd name="T84" fmla="*/ 137 w 273"/>
                <a:gd name="T85" fmla="*/ 334 h 341"/>
                <a:gd name="T86" fmla="*/ 149 w 273"/>
                <a:gd name="T87" fmla="*/ 331 h 341"/>
                <a:gd name="T88" fmla="*/ 172 w 273"/>
                <a:gd name="T89" fmla="*/ 328 h 341"/>
                <a:gd name="T90" fmla="*/ 194 w 273"/>
                <a:gd name="T91" fmla="*/ 322 h 341"/>
                <a:gd name="T92" fmla="*/ 212 w 273"/>
                <a:gd name="T93" fmla="*/ 320 h 341"/>
                <a:gd name="T94" fmla="*/ 235 w 273"/>
                <a:gd name="T95" fmla="*/ 285 h 341"/>
                <a:gd name="T96" fmla="*/ 230 w 273"/>
                <a:gd name="T97" fmla="*/ 266 h 341"/>
                <a:gd name="T98" fmla="*/ 199 w 273"/>
                <a:gd name="T99" fmla="*/ 237 h 341"/>
                <a:gd name="T100" fmla="*/ 190 w 273"/>
                <a:gd name="T101" fmla="*/ 217 h 341"/>
                <a:gd name="T102" fmla="*/ 195 w 273"/>
                <a:gd name="T103" fmla="*/ 206 h 341"/>
                <a:gd name="T104" fmla="*/ 216 w 273"/>
                <a:gd name="T105" fmla="*/ 199 h 341"/>
                <a:gd name="T106" fmla="*/ 239 w 273"/>
                <a:gd name="T107" fmla="*/ 188 h 341"/>
                <a:gd name="T108" fmla="*/ 257 w 273"/>
                <a:gd name="T109" fmla="*/ 175 h 341"/>
                <a:gd name="T110" fmla="*/ 268 w 273"/>
                <a:gd name="T111" fmla="*/ 18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341">
                  <a:moveTo>
                    <a:pt x="270" y="161"/>
                  </a:moveTo>
                  <a:cubicBezTo>
                    <a:pt x="270" y="159"/>
                    <a:pt x="271" y="157"/>
                    <a:pt x="269" y="156"/>
                  </a:cubicBezTo>
                  <a:cubicBezTo>
                    <a:pt x="267" y="155"/>
                    <a:pt x="262" y="155"/>
                    <a:pt x="263" y="151"/>
                  </a:cubicBezTo>
                  <a:cubicBezTo>
                    <a:pt x="265" y="148"/>
                    <a:pt x="261" y="145"/>
                    <a:pt x="260" y="142"/>
                  </a:cubicBezTo>
                  <a:cubicBezTo>
                    <a:pt x="259" y="140"/>
                    <a:pt x="260" y="139"/>
                    <a:pt x="261" y="138"/>
                  </a:cubicBezTo>
                  <a:cubicBezTo>
                    <a:pt x="263" y="136"/>
                    <a:pt x="262" y="135"/>
                    <a:pt x="263" y="133"/>
                  </a:cubicBezTo>
                  <a:cubicBezTo>
                    <a:pt x="264" y="131"/>
                    <a:pt x="263" y="131"/>
                    <a:pt x="262" y="129"/>
                  </a:cubicBezTo>
                  <a:cubicBezTo>
                    <a:pt x="261" y="128"/>
                    <a:pt x="262" y="126"/>
                    <a:pt x="262" y="125"/>
                  </a:cubicBezTo>
                  <a:cubicBezTo>
                    <a:pt x="262" y="122"/>
                    <a:pt x="259" y="122"/>
                    <a:pt x="257" y="120"/>
                  </a:cubicBezTo>
                  <a:cubicBezTo>
                    <a:pt x="255" y="115"/>
                    <a:pt x="259" y="114"/>
                    <a:pt x="259" y="111"/>
                  </a:cubicBezTo>
                  <a:cubicBezTo>
                    <a:pt x="259" y="109"/>
                    <a:pt x="260" y="109"/>
                    <a:pt x="258" y="108"/>
                  </a:cubicBezTo>
                  <a:cubicBezTo>
                    <a:pt x="257" y="106"/>
                    <a:pt x="255" y="105"/>
                    <a:pt x="253" y="104"/>
                  </a:cubicBezTo>
                  <a:cubicBezTo>
                    <a:pt x="250" y="101"/>
                    <a:pt x="247" y="100"/>
                    <a:pt x="244" y="97"/>
                  </a:cubicBezTo>
                  <a:cubicBezTo>
                    <a:pt x="244" y="97"/>
                    <a:pt x="245" y="95"/>
                    <a:pt x="245" y="94"/>
                  </a:cubicBezTo>
                  <a:cubicBezTo>
                    <a:pt x="244" y="92"/>
                    <a:pt x="245" y="91"/>
                    <a:pt x="247" y="90"/>
                  </a:cubicBezTo>
                  <a:cubicBezTo>
                    <a:pt x="249" y="89"/>
                    <a:pt x="251" y="88"/>
                    <a:pt x="251" y="86"/>
                  </a:cubicBezTo>
                  <a:cubicBezTo>
                    <a:pt x="252" y="84"/>
                    <a:pt x="251" y="83"/>
                    <a:pt x="251" y="82"/>
                  </a:cubicBezTo>
                  <a:cubicBezTo>
                    <a:pt x="252" y="81"/>
                    <a:pt x="252" y="81"/>
                    <a:pt x="252" y="80"/>
                  </a:cubicBezTo>
                  <a:cubicBezTo>
                    <a:pt x="253" y="79"/>
                    <a:pt x="253" y="76"/>
                    <a:pt x="252" y="73"/>
                  </a:cubicBezTo>
                  <a:cubicBezTo>
                    <a:pt x="251" y="72"/>
                    <a:pt x="250" y="70"/>
                    <a:pt x="250" y="69"/>
                  </a:cubicBezTo>
                  <a:cubicBezTo>
                    <a:pt x="248" y="66"/>
                    <a:pt x="250" y="61"/>
                    <a:pt x="246" y="60"/>
                  </a:cubicBezTo>
                  <a:cubicBezTo>
                    <a:pt x="248" y="59"/>
                    <a:pt x="247" y="57"/>
                    <a:pt x="246" y="58"/>
                  </a:cubicBezTo>
                  <a:cubicBezTo>
                    <a:pt x="245" y="59"/>
                    <a:pt x="243" y="58"/>
                    <a:pt x="242" y="58"/>
                  </a:cubicBezTo>
                  <a:cubicBezTo>
                    <a:pt x="241" y="58"/>
                    <a:pt x="233" y="55"/>
                    <a:pt x="234" y="53"/>
                  </a:cubicBezTo>
                  <a:cubicBezTo>
                    <a:pt x="234" y="52"/>
                    <a:pt x="238" y="51"/>
                    <a:pt x="236" y="50"/>
                  </a:cubicBezTo>
                  <a:cubicBezTo>
                    <a:pt x="235" y="49"/>
                    <a:pt x="233" y="47"/>
                    <a:pt x="232" y="46"/>
                  </a:cubicBezTo>
                  <a:cubicBezTo>
                    <a:pt x="232" y="46"/>
                    <a:pt x="233" y="45"/>
                    <a:pt x="233" y="45"/>
                  </a:cubicBezTo>
                  <a:cubicBezTo>
                    <a:pt x="233" y="46"/>
                    <a:pt x="233" y="46"/>
                    <a:pt x="233" y="46"/>
                  </a:cubicBezTo>
                  <a:cubicBezTo>
                    <a:pt x="233" y="46"/>
                    <a:pt x="235" y="45"/>
                    <a:pt x="235" y="46"/>
                  </a:cubicBezTo>
                  <a:cubicBezTo>
                    <a:pt x="236" y="46"/>
                    <a:pt x="235" y="47"/>
                    <a:pt x="235" y="47"/>
                  </a:cubicBezTo>
                  <a:cubicBezTo>
                    <a:pt x="238" y="48"/>
                    <a:pt x="236" y="42"/>
                    <a:pt x="240" y="46"/>
                  </a:cubicBezTo>
                  <a:cubicBezTo>
                    <a:pt x="240" y="47"/>
                    <a:pt x="241" y="48"/>
                    <a:pt x="241" y="49"/>
                  </a:cubicBezTo>
                  <a:cubicBezTo>
                    <a:pt x="240" y="50"/>
                    <a:pt x="239" y="48"/>
                    <a:pt x="238" y="50"/>
                  </a:cubicBezTo>
                  <a:cubicBezTo>
                    <a:pt x="239" y="46"/>
                    <a:pt x="236" y="48"/>
                    <a:pt x="237" y="49"/>
                  </a:cubicBezTo>
                  <a:cubicBezTo>
                    <a:pt x="238" y="50"/>
                    <a:pt x="237" y="52"/>
                    <a:pt x="235" y="53"/>
                  </a:cubicBezTo>
                  <a:cubicBezTo>
                    <a:pt x="233" y="54"/>
                    <a:pt x="238" y="54"/>
                    <a:pt x="239" y="53"/>
                  </a:cubicBezTo>
                  <a:cubicBezTo>
                    <a:pt x="241" y="53"/>
                    <a:pt x="244" y="52"/>
                    <a:pt x="246" y="53"/>
                  </a:cubicBezTo>
                  <a:cubicBezTo>
                    <a:pt x="245" y="52"/>
                    <a:pt x="245" y="51"/>
                    <a:pt x="246" y="50"/>
                  </a:cubicBezTo>
                  <a:cubicBezTo>
                    <a:pt x="243" y="49"/>
                    <a:pt x="242" y="46"/>
                    <a:pt x="239" y="45"/>
                  </a:cubicBezTo>
                  <a:cubicBezTo>
                    <a:pt x="238" y="44"/>
                    <a:pt x="235" y="43"/>
                    <a:pt x="234" y="41"/>
                  </a:cubicBezTo>
                  <a:cubicBezTo>
                    <a:pt x="233" y="39"/>
                    <a:pt x="231" y="41"/>
                    <a:pt x="233" y="42"/>
                  </a:cubicBezTo>
                  <a:cubicBezTo>
                    <a:pt x="234" y="42"/>
                    <a:pt x="234" y="43"/>
                    <a:pt x="233" y="43"/>
                  </a:cubicBezTo>
                  <a:cubicBezTo>
                    <a:pt x="233" y="42"/>
                    <a:pt x="230" y="41"/>
                    <a:pt x="231" y="40"/>
                  </a:cubicBezTo>
                  <a:cubicBezTo>
                    <a:pt x="229" y="40"/>
                    <a:pt x="226" y="41"/>
                    <a:pt x="224" y="42"/>
                  </a:cubicBezTo>
                  <a:cubicBezTo>
                    <a:pt x="223" y="44"/>
                    <a:pt x="223" y="41"/>
                    <a:pt x="221" y="41"/>
                  </a:cubicBezTo>
                  <a:cubicBezTo>
                    <a:pt x="222" y="39"/>
                    <a:pt x="220" y="40"/>
                    <a:pt x="220" y="40"/>
                  </a:cubicBezTo>
                  <a:cubicBezTo>
                    <a:pt x="220" y="38"/>
                    <a:pt x="216" y="35"/>
                    <a:pt x="214" y="36"/>
                  </a:cubicBezTo>
                  <a:cubicBezTo>
                    <a:pt x="215" y="35"/>
                    <a:pt x="213" y="36"/>
                    <a:pt x="213" y="34"/>
                  </a:cubicBezTo>
                  <a:cubicBezTo>
                    <a:pt x="213" y="34"/>
                    <a:pt x="213" y="33"/>
                    <a:pt x="213" y="32"/>
                  </a:cubicBezTo>
                  <a:cubicBezTo>
                    <a:pt x="212" y="31"/>
                    <a:pt x="211" y="29"/>
                    <a:pt x="210" y="28"/>
                  </a:cubicBezTo>
                  <a:cubicBezTo>
                    <a:pt x="208" y="28"/>
                    <a:pt x="207" y="32"/>
                    <a:pt x="205" y="32"/>
                  </a:cubicBezTo>
                  <a:cubicBezTo>
                    <a:pt x="204" y="31"/>
                    <a:pt x="202" y="30"/>
                    <a:pt x="201" y="31"/>
                  </a:cubicBezTo>
                  <a:cubicBezTo>
                    <a:pt x="203" y="28"/>
                    <a:pt x="200" y="31"/>
                    <a:pt x="199" y="31"/>
                  </a:cubicBezTo>
                  <a:cubicBezTo>
                    <a:pt x="198" y="31"/>
                    <a:pt x="198" y="31"/>
                    <a:pt x="197" y="31"/>
                  </a:cubicBezTo>
                  <a:cubicBezTo>
                    <a:pt x="197" y="32"/>
                    <a:pt x="191" y="35"/>
                    <a:pt x="194" y="36"/>
                  </a:cubicBezTo>
                  <a:cubicBezTo>
                    <a:pt x="191" y="37"/>
                    <a:pt x="192" y="34"/>
                    <a:pt x="193" y="32"/>
                  </a:cubicBezTo>
                  <a:cubicBezTo>
                    <a:pt x="194" y="31"/>
                    <a:pt x="196" y="30"/>
                    <a:pt x="198" y="31"/>
                  </a:cubicBezTo>
                  <a:cubicBezTo>
                    <a:pt x="197" y="28"/>
                    <a:pt x="207" y="30"/>
                    <a:pt x="207" y="29"/>
                  </a:cubicBezTo>
                  <a:cubicBezTo>
                    <a:pt x="207" y="29"/>
                    <a:pt x="197" y="27"/>
                    <a:pt x="196" y="27"/>
                  </a:cubicBezTo>
                  <a:cubicBezTo>
                    <a:pt x="194" y="27"/>
                    <a:pt x="192" y="32"/>
                    <a:pt x="191" y="34"/>
                  </a:cubicBezTo>
                  <a:cubicBezTo>
                    <a:pt x="190" y="35"/>
                    <a:pt x="188" y="36"/>
                    <a:pt x="187" y="37"/>
                  </a:cubicBezTo>
                  <a:cubicBezTo>
                    <a:pt x="186" y="37"/>
                    <a:pt x="185" y="39"/>
                    <a:pt x="184" y="40"/>
                  </a:cubicBezTo>
                  <a:cubicBezTo>
                    <a:pt x="185" y="39"/>
                    <a:pt x="184" y="42"/>
                    <a:pt x="184" y="43"/>
                  </a:cubicBezTo>
                  <a:cubicBezTo>
                    <a:pt x="182" y="42"/>
                    <a:pt x="185" y="39"/>
                    <a:pt x="182" y="39"/>
                  </a:cubicBezTo>
                  <a:cubicBezTo>
                    <a:pt x="180" y="39"/>
                    <a:pt x="179" y="40"/>
                    <a:pt x="177" y="41"/>
                  </a:cubicBezTo>
                  <a:cubicBezTo>
                    <a:pt x="174" y="42"/>
                    <a:pt x="168" y="40"/>
                    <a:pt x="167" y="45"/>
                  </a:cubicBezTo>
                  <a:cubicBezTo>
                    <a:pt x="167" y="45"/>
                    <a:pt x="170" y="42"/>
                    <a:pt x="170" y="43"/>
                  </a:cubicBezTo>
                  <a:cubicBezTo>
                    <a:pt x="170" y="45"/>
                    <a:pt x="168" y="46"/>
                    <a:pt x="168" y="46"/>
                  </a:cubicBezTo>
                  <a:cubicBezTo>
                    <a:pt x="166" y="46"/>
                    <a:pt x="166" y="48"/>
                    <a:pt x="166" y="49"/>
                  </a:cubicBezTo>
                  <a:cubicBezTo>
                    <a:pt x="165" y="51"/>
                    <a:pt x="166" y="51"/>
                    <a:pt x="164" y="51"/>
                  </a:cubicBezTo>
                  <a:cubicBezTo>
                    <a:pt x="163" y="50"/>
                    <a:pt x="162" y="50"/>
                    <a:pt x="160" y="50"/>
                  </a:cubicBezTo>
                  <a:cubicBezTo>
                    <a:pt x="158" y="49"/>
                    <a:pt x="158" y="46"/>
                    <a:pt x="154" y="47"/>
                  </a:cubicBezTo>
                  <a:cubicBezTo>
                    <a:pt x="153" y="47"/>
                    <a:pt x="151" y="48"/>
                    <a:pt x="149" y="49"/>
                  </a:cubicBezTo>
                  <a:cubicBezTo>
                    <a:pt x="148" y="49"/>
                    <a:pt x="149" y="47"/>
                    <a:pt x="147" y="47"/>
                  </a:cubicBezTo>
                  <a:cubicBezTo>
                    <a:pt x="145" y="48"/>
                    <a:pt x="144" y="45"/>
                    <a:pt x="146" y="43"/>
                  </a:cubicBezTo>
                  <a:cubicBezTo>
                    <a:pt x="152" y="41"/>
                    <a:pt x="156" y="40"/>
                    <a:pt x="154" y="32"/>
                  </a:cubicBezTo>
                  <a:cubicBezTo>
                    <a:pt x="154" y="32"/>
                    <a:pt x="156" y="31"/>
                    <a:pt x="155" y="30"/>
                  </a:cubicBezTo>
                  <a:cubicBezTo>
                    <a:pt x="155" y="30"/>
                    <a:pt x="153" y="31"/>
                    <a:pt x="153" y="31"/>
                  </a:cubicBezTo>
                  <a:cubicBezTo>
                    <a:pt x="153" y="31"/>
                    <a:pt x="152" y="31"/>
                    <a:pt x="152" y="31"/>
                  </a:cubicBezTo>
                  <a:cubicBezTo>
                    <a:pt x="150" y="31"/>
                    <a:pt x="148" y="32"/>
                    <a:pt x="146" y="33"/>
                  </a:cubicBezTo>
                  <a:cubicBezTo>
                    <a:pt x="143" y="34"/>
                    <a:pt x="142" y="32"/>
                    <a:pt x="139" y="31"/>
                  </a:cubicBezTo>
                  <a:cubicBezTo>
                    <a:pt x="137" y="30"/>
                    <a:pt x="134" y="28"/>
                    <a:pt x="131" y="29"/>
                  </a:cubicBezTo>
                  <a:cubicBezTo>
                    <a:pt x="129" y="29"/>
                    <a:pt x="129" y="32"/>
                    <a:pt x="127" y="33"/>
                  </a:cubicBezTo>
                  <a:cubicBezTo>
                    <a:pt x="127" y="32"/>
                    <a:pt x="127" y="32"/>
                    <a:pt x="128" y="31"/>
                  </a:cubicBezTo>
                  <a:cubicBezTo>
                    <a:pt x="129" y="30"/>
                    <a:pt x="128" y="29"/>
                    <a:pt x="129" y="28"/>
                  </a:cubicBezTo>
                  <a:cubicBezTo>
                    <a:pt x="126" y="26"/>
                    <a:pt x="124" y="27"/>
                    <a:pt x="121" y="27"/>
                  </a:cubicBezTo>
                  <a:cubicBezTo>
                    <a:pt x="121" y="27"/>
                    <a:pt x="118" y="28"/>
                    <a:pt x="118" y="27"/>
                  </a:cubicBezTo>
                  <a:cubicBezTo>
                    <a:pt x="119" y="26"/>
                    <a:pt x="120" y="26"/>
                    <a:pt x="121" y="26"/>
                  </a:cubicBezTo>
                  <a:cubicBezTo>
                    <a:pt x="122" y="25"/>
                    <a:pt x="123" y="24"/>
                    <a:pt x="124" y="23"/>
                  </a:cubicBezTo>
                  <a:cubicBezTo>
                    <a:pt x="124" y="20"/>
                    <a:pt x="124" y="17"/>
                    <a:pt x="121" y="18"/>
                  </a:cubicBezTo>
                  <a:cubicBezTo>
                    <a:pt x="121" y="18"/>
                    <a:pt x="123" y="18"/>
                    <a:pt x="123" y="17"/>
                  </a:cubicBezTo>
                  <a:cubicBezTo>
                    <a:pt x="123" y="17"/>
                    <a:pt x="122" y="14"/>
                    <a:pt x="121" y="14"/>
                  </a:cubicBezTo>
                  <a:cubicBezTo>
                    <a:pt x="120" y="12"/>
                    <a:pt x="120" y="15"/>
                    <a:pt x="118" y="15"/>
                  </a:cubicBezTo>
                  <a:cubicBezTo>
                    <a:pt x="116" y="14"/>
                    <a:pt x="115" y="12"/>
                    <a:pt x="114" y="12"/>
                  </a:cubicBezTo>
                  <a:cubicBezTo>
                    <a:pt x="112" y="12"/>
                    <a:pt x="110" y="12"/>
                    <a:pt x="111" y="10"/>
                  </a:cubicBezTo>
                  <a:cubicBezTo>
                    <a:pt x="109" y="11"/>
                    <a:pt x="108" y="12"/>
                    <a:pt x="107" y="13"/>
                  </a:cubicBezTo>
                  <a:cubicBezTo>
                    <a:pt x="107" y="10"/>
                    <a:pt x="103" y="12"/>
                    <a:pt x="102" y="12"/>
                  </a:cubicBezTo>
                  <a:cubicBezTo>
                    <a:pt x="101" y="12"/>
                    <a:pt x="100" y="10"/>
                    <a:pt x="98" y="10"/>
                  </a:cubicBezTo>
                  <a:cubicBezTo>
                    <a:pt x="95" y="10"/>
                    <a:pt x="93" y="8"/>
                    <a:pt x="90" y="8"/>
                  </a:cubicBezTo>
                  <a:cubicBezTo>
                    <a:pt x="88" y="8"/>
                    <a:pt x="86" y="9"/>
                    <a:pt x="84" y="8"/>
                  </a:cubicBezTo>
                  <a:cubicBezTo>
                    <a:pt x="84" y="10"/>
                    <a:pt x="78" y="10"/>
                    <a:pt x="77" y="9"/>
                  </a:cubicBezTo>
                  <a:cubicBezTo>
                    <a:pt x="72" y="8"/>
                    <a:pt x="79" y="3"/>
                    <a:pt x="77" y="2"/>
                  </a:cubicBezTo>
                  <a:cubicBezTo>
                    <a:pt x="77" y="2"/>
                    <a:pt x="78" y="2"/>
                    <a:pt x="78" y="2"/>
                  </a:cubicBezTo>
                  <a:cubicBezTo>
                    <a:pt x="75" y="0"/>
                    <a:pt x="71" y="13"/>
                    <a:pt x="73" y="15"/>
                  </a:cubicBezTo>
                  <a:cubicBezTo>
                    <a:pt x="74" y="13"/>
                    <a:pt x="73" y="9"/>
                    <a:pt x="76" y="10"/>
                  </a:cubicBezTo>
                  <a:cubicBezTo>
                    <a:pt x="78" y="11"/>
                    <a:pt x="81" y="9"/>
                    <a:pt x="84" y="9"/>
                  </a:cubicBezTo>
                  <a:cubicBezTo>
                    <a:pt x="84" y="9"/>
                    <a:pt x="85" y="15"/>
                    <a:pt x="85" y="16"/>
                  </a:cubicBezTo>
                  <a:cubicBezTo>
                    <a:pt x="86" y="16"/>
                    <a:pt x="92" y="20"/>
                    <a:pt x="89" y="21"/>
                  </a:cubicBezTo>
                  <a:cubicBezTo>
                    <a:pt x="91" y="21"/>
                    <a:pt x="93" y="23"/>
                    <a:pt x="94" y="25"/>
                  </a:cubicBezTo>
                  <a:cubicBezTo>
                    <a:pt x="95" y="27"/>
                    <a:pt x="93" y="27"/>
                    <a:pt x="92" y="28"/>
                  </a:cubicBezTo>
                  <a:cubicBezTo>
                    <a:pt x="90" y="30"/>
                    <a:pt x="84" y="28"/>
                    <a:pt x="83" y="31"/>
                  </a:cubicBezTo>
                  <a:cubicBezTo>
                    <a:pt x="84" y="31"/>
                    <a:pt x="84" y="31"/>
                    <a:pt x="85" y="32"/>
                  </a:cubicBezTo>
                  <a:cubicBezTo>
                    <a:pt x="84" y="32"/>
                    <a:pt x="82" y="32"/>
                    <a:pt x="82" y="33"/>
                  </a:cubicBezTo>
                  <a:cubicBezTo>
                    <a:pt x="82" y="35"/>
                    <a:pt x="84" y="36"/>
                    <a:pt x="85" y="35"/>
                  </a:cubicBezTo>
                  <a:cubicBezTo>
                    <a:pt x="87" y="34"/>
                    <a:pt x="90" y="35"/>
                    <a:pt x="93" y="34"/>
                  </a:cubicBezTo>
                  <a:cubicBezTo>
                    <a:pt x="93" y="34"/>
                    <a:pt x="93" y="34"/>
                    <a:pt x="92" y="34"/>
                  </a:cubicBezTo>
                  <a:cubicBezTo>
                    <a:pt x="92" y="35"/>
                    <a:pt x="90" y="35"/>
                    <a:pt x="89" y="36"/>
                  </a:cubicBezTo>
                  <a:cubicBezTo>
                    <a:pt x="89" y="36"/>
                    <a:pt x="89" y="39"/>
                    <a:pt x="89" y="38"/>
                  </a:cubicBezTo>
                  <a:cubicBezTo>
                    <a:pt x="88" y="41"/>
                    <a:pt x="90" y="42"/>
                    <a:pt x="92" y="41"/>
                  </a:cubicBezTo>
                  <a:cubicBezTo>
                    <a:pt x="94" y="41"/>
                    <a:pt x="95" y="47"/>
                    <a:pt x="93" y="46"/>
                  </a:cubicBezTo>
                  <a:cubicBezTo>
                    <a:pt x="92" y="46"/>
                    <a:pt x="89" y="44"/>
                    <a:pt x="89" y="47"/>
                  </a:cubicBezTo>
                  <a:cubicBezTo>
                    <a:pt x="91" y="54"/>
                    <a:pt x="97" y="51"/>
                    <a:pt x="101" y="52"/>
                  </a:cubicBezTo>
                  <a:cubicBezTo>
                    <a:pt x="104" y="53"/>
                    <a:pt x="105" y="56"/>
                    <a:pt x="106" y="58"/>
                  </a:cubicBezTo>
                  <a:cubicBezTo>
                    <a:pt x="108" y="60"/>
                    <a:pt x="109" y="60"/>
                    <a:pt x="110" y="63"/>
                  </a:cubicBezTo>
                  <a:cubicBezTo>
                    <a:pt x="108" y="60"/>
                    <a:pt x="110" y="63"/>
                    <a:pt x="110" y="64"/>
                  </a:cubicBezTo>
                  <a:cubicBezTo>
                    <a:pt x="111" y="64"/>
                    <a:pt x="112" y="65"/>
                    <a:pt x="113" y="65"/>
                  </a:cubicBezTo>
                  <a:cubicBezTo>
                    <a:pt x="114" y="66"/>
                    <a:pt x="117" y="66"/>
                    <a:pt x="118" y="67"/>
                  </a:cubicBezTo>
                  <a:cubicBezTo>
                    <a:pt x="118" y="67"/>
                    <a:pt x="115" y="67"/>
                    <a:pt x="115" y="67"/>
                  </a:cubicBezTo>
                  <a:cubicBezTo>
                    <a:pt x="114" y="66"/>
                    <a:pt x="112" y="66"/>
                    <a:pt x="111" y="65"/>
                  </a:cubicBezTo>
                  <a:cubicBezTo>
                    <a:pt x="109" y="63"/>
                    <a:pt x="107" y="60"/>
                    <a:pt x="105" y="58"/>
                  </a:cubicBezTo>
                  <a:cubicBezTo>
                    <a:pt x="104" y="55"/>
                    <a:pt x="102" y="53"/>
                    <a:pt x="99" y="53"/>
                  </a:cubicBezTo>
                  <a:cubicBezTo>
                    <a:pt x="96" y="53"/>
                    <a:pt x="94" y="54"/>
                    <a:pt x="91" y="54"/>
                  </a:cubicBezTo>
                  <a:cubicBezTo>
                    <a:pt x="89" y="55"/>
                    <a:pt x="87" y="54"/>
                    <a:pt x="86" y="53"/>
                  </a:cubicBezTo>
                  <a:cubicBezTo>
                    <a:pt x="85" y="53"/>
                    <a:pt x="84" y="52"/>
                    <a:pt x="83" y="52"/>
                  </a:cubicBezTo>
                  <a:cubicBezTo>
                    <a:pt x="82" y="52"/>
                    <a:pt x="81" y="54"/>
                    <a:pt x="80" y="56"/>
                  </a:cubicBezTo>
                  <a:cubicBezTo>
                    <a:pt x="80" y="57"/>
                    <a:pt x="79" y="59"/>
                    <a:pt x="79" y="60"/>
                  </a:cubicBezTo>
                  <a:cubicBezTo>
                    <a:pt x="79" y="62"/>
                    <a:pt x="81" y="64"/>
                    <a:pt x="81" y="67"/>
                  </a:cubicBezTo>
                  <a:cubicBezTo>
                    <a:pt x="81" y="68"/>
                    <a:pt x="79" y="69"/>
                    <a:pt x="79" y="71"/>
                  </a:cubicBezTo>
                  <a:cubicBezTo>
                    <a:pt x="79" y="69"/>
                    <a:pt x="80" y="67"/>
                    <a:pt x="80" y="67"/>
                  </a:cubicBezTo>
                  <a:cubicBezTo>
                    <a:pt x="78" y="66"/>
                    <a:pt x="76" y="65"/>
                    <a:pt x="74" y="64"/>
                  </a:cubicBezTo>
                  <a:cubicBezTo>
                    <a:pt x="72" y="63"/>
                    <a:pt x="70" y="67"/>
                    <a:pt x="72" y="68"/>
                  </a:cubicBezTo>
                  <a:cubicBezTo>
                    <a:pt x="74" y="68"/>
                    <a:pt x="74" y="70"/>
                    <a:pt x="73" y="72"/>
                  </a:cubicBezTo>
                  <a:cubicBezTo>
                    <a:pt x="71" y="74"/>
                    <a:pt x="70" y="71"/>
                    <a:pt x="68" y="71"/>
                  </a:cubicBezTo>
                  <a:cubicBezTo>
                    <a:pt x="67" y="70"/>
                    <a:pt x="67" y="72"/>
                    <a:pt x="66" y="70"/>
                  </a:cubicBezTo>
                  <a:cubicBezTo>
                    <a:pt x="66" y="69"/>
                    <a:pt x="66" y="69"/>
                    <a:pt x="67" y="68"/>
                  </a:cubicBezTo>
                  <a:cubicBezTo>
                    <a:pt x="68" y="68"/>
                    <a:pt x="69" y="68"/>
                    <a:pt x="69" y="67"/>
                  </a:cubicBezTo>
                  <a:cubicBezTo>
                    <a:pt x="69" y="66"/>
                    <a:pt x="69" y="66"/>
                    <a:pt x="68" y="66"/>
                  </a:cubicBezTo>
                  <a:cubicBezTo>
                    <a:pt x="68" y="66"/>
                    <a:pt x="66" y="62"/>
                    <a:pt x="65" y="62"/>
                  </a:cubicBezTo>
                  <a:cubicBezTo>
                    <a:pt x="64" y="59"/>
                    <a:pt x="61" y="59"/>
                    <a:pt x="58" y="59"/>
                  </a:cubicBezTo>
                  <a:cubicBezTo>
                    <a:pt x="55" y="60"/>
                    <a:pt x="51" y="61"/>
                    <a:pt x="49" y="61"/>
                  </a:cubicBezTo>
                  <a:cubicBezTo>
                    <a:pt x="46" y="61"/>
                    <a:pt x="44" y="61"/>
                    <a:pt x="41" y="63"/>
                  </a:cubicBezTo>
                  <a:cubicBezTo>
                    <a:pt x="40" y="64"/>
                    <a:pt x="37" y="65"/>
                    <a:pt x="39" y="67"/>
                  </a:cubicBezTo>
                  <a:cubicBezTo>
                    <a:pt x="40" y="68"/>
                    <a:pt x="37" y="68"/>
                    <a:pt x="36" y="69"/>
                  </a:cubicBezTo>
                  <a:cubicBezTo>
                    <a:pt x="36" y="71"/>
                    <a:pt x="35" y="74"/>
                    <a:pt x="37" y="75"/>
                  </a:cubicBezTo>
                  <a:cubicBezTo>
                    <a:pt x="39" y="77"/>
                    <a:pt x="44" y="74"/>
                    <a:pt x="46" y="77"/>
                  </a:cubicBezTo>
                  <a:cubicBezTo>
                    <a:pt x="41" y="73"/>
                    <a:pt x="41" y="82"/>
                    <a:pt x="41" y="85"/>
                  </a:cubicBezTo>
                  <a:cubicBezTo>
                    <a:pt x="41" y="90"/>
                    <a:pt x="40" y="92"/>
                    <a:pt x="38" y="96"/>
                  </a:cubicBezTo>
                  <a:cubicBezTo>
                    <a:pt x="36" y="98"/>
                    <a:pt x="37" y="101"/>
                    <a:pt x="37" y="103"/>
                  </a:cubicBezTo>
                  <a:cubicBezTo>
                    <a:pt x="36" y="106"/>
                    <a:pt x="36" y="106"/>
                    <a:pt x="35" y="106"/>
                  </a:cubicBezTo>
                  <a:cubicBezTo>
                    <a:pt x="32" y="106"/>
                    <a:pt x="31" y="105"/>
                    <a:pt x="28" y="105"/>
                  </a:cubicBezTo>
                  <a:cubicBezTo>
                    <a:pt x="27" y="105"/>
                    <a:pt x="25" y="108"/>
                    <a:pt x="27" y="109"/>
                  </a:cubicBezTo>
                  <a:cubicBezTo>
                    <a:pt x="25" y="109"/>
                    <a:pt x="25" y="112"/>
                    <a:pt x="27" y="113"/>
                  </a:cubicBezTo>
                  <a:cubicBezTo>
                    <a:pt x="29" y="114"/>
                    <a:pt x="32" y="115"/>
                    <a:pt x="34" y="114"/>
                  </a:cubicBezTo>
                  <a:cubicBezTo>
                    <a:pt x="35" y="113"/>
                    <a:pt x="36" y="117"/>
                    <a:pt x="36" y="118"/>
                  </a:cubicBezTo>
                  <a:cubicBezTo>
                    <a:pt x="36" y="119"/>
                    <a:pt x="36" y="121"/>
                    <a:pt x="35" y="122"/>
                  </a:cubicBezTo>
                  <a:cubicBezTo>
                    <a:pt x="35" y="123"/>
                    <a:pt x="36" y="123"/>
                    <a:pt x="36" y="123"/>
                  </a:cubicBezTo>
                  <a:cubicBezTo>
                    <a:pt x="36" y="123"/>
                    <a:pt x="33" y="125"/>
                    <a:pt x="33" y="126"/>
                  </a:cubicBezTo>
                  <a:cubicBezTo>
                    <a:pt x="32" y="127"/>
                    <a:pt x="31" y="128"/>
                    <a:pt x="30" y="128"/>
                  </a:cubicBezTo>
                  <a:cubicBezTo>
                    <a:pt x="28" y="129"/>
                    <a:pt x="28" y="128"/>
                    <a:pt x="26" y="130"/>
                  </a:cubicBezTo>
                  <a:cubicBezTo>
                    <a:pt x="26" y="130"/>
                    <a:pt x="24" y="131"/>
                    <a:pt x="26" y="132"/>
                  </a:cubicBezTo>
                  <a:cubicBezTo>
                    <a:pt x="28" y="133"/>
                    <a:pt x="31" y="137"/>
                    <a:pt x="26" y="138"/>
                  </a:cubicBezTo>
                  <a:cubicBezTo>
                    <a:pt x="25" y="138"/>
                    <a:pt x="23" y="139"/>
                    <a:pt x="21" y="139"/>
                  </a:cubicBezTo>
                  <a:cubicBezTo>
                    <a:pt x="20" y="140"/>
                    <a:pt x="18" y="140"/>
                    <a:pt x="16" y="140"/>
                  </a:cubicBezTo>
                  <a:cubicBezTo>
                    <a:pt x="17" y="142"/>
                    <a:pt x="14" y="140"/>
                    <a:pt x="14" y="140"/>
                  </a:cubicBezTo>
                  <a:cubicBezTo>
                    <a:pt x="13" y="139"/>
                    <a:pt x="10" y="138"/>
                    <a:pt x="9" y="138"/>
                  </a:cubicBezTo>
                  <a:cubicBezTo>
                    <a:pt x="7" y="137"/>
                    <a:pt x="12" y="142"/>
                    <a:pt x="8" y="140"/>
                  </a:cubicBezTo>
                  <a:cubicBezTo>
                    <a:pt x="7" y="140"/>
                    <a:pt x="3" y="140"/>
                    <a:pt x="3" y="141"/>
                  </a:cubicBezTo>
                  <a:cubicBezTo>
                    <a:pt x="3" y="142"/>
                    <a:pt x="5" y="144"/>
                    <a:pt x="3" y="145"/>
                  </a:cubicBezTo>
                  <a:cubicBezTo>
                    <a:pt x="4" y="146"/>
                    <a:pt x="6" y="145"/>
                    <a:pt x="5" y="147"/>
                  </a:cubicBezTo>
                  <a:cubicBezTo>
                    <a:pt x="5" y="148"/>
                    <a:pt x="7" y="148"/>
                    <a:pt x="7" y="149"/>
                  </a:cubicBezTo>
                  <a:cubicBezTo>
                    <a:pt x="8" y="150"/>
                    <a:pt x="7" y="151"/>
                    <a:pt x="8" y="152"/>
                  </a:cubicBezTo>
                  <a:cubicBezTo>
                    <a:pt x="9" y="153"/>
                    <a:pt x="10" y="154"/>
                    <a:pt x="10" y="156"/>
                  </a:cubicBezTo>
                  <a:cubicBezTo>
                    <a:pt x="12" y="160"/>
                    <a:pt x="9" y="163"/>
                    <a:pt x="7" y="166"/>
                  </a:cubicBezTo>
                  <a:cubicBezTo>
                    <a:pt x="6" y="167"/>
                    <a:pt x="6" y="168"/>
                    <a:pt x="6" y="169"/>
                  </a:cubicBezTo>
                  <a:cubicBezTo>
                    <a:pt x="7" y="170"/>
                    <a:pt x="8" y="169"/>
                    <a:pt x="9" y="169"/>
                  </a:cubicBezTo>
                  <a:cubicBezTo>
                    <a:pt x="8" y="169"/>
                    <a:pt x="8" y="169"/>
                    <a:pt x="9" y="170"/>
                  </a:cubicBezTo>
                  <a:cubicBezTo>
                    <a:pt x="6" y="172"/>
                    <a:pt x="4" y="174"/>
                    <a:pt x="1" y="175"/>
                  </a:cubicBezTo>
                  <a:cubicBezTo>
                    <a:pt x="1" y="175"/>
                    <a:pt x="0" y="174"/>
                    <a:pt x="0" y="175"/>
                  </a:cubicBezTo>
                  <a:cubicBezTo>
                    <a:pt x="0" y="177"/>
                    <a:pt x="1" y="177"/>
                    <a:pt x="0" y="178"/>
                  </a:cubicBezTo>
                  <a:cubicBezTo>
                    <a:pt x="2" y="178"/>
                    <a:pt x="3" y="178"/>
                    <a:pt x="4" y="178"/>
                  </a:cubicBezTo>
                  <a:cubicBezTo>
                    <a:pt x="3" y="180"/>
                    <a:pt x="6" y="181"/>
                    <a:pt x="6" y="182"/>
                  </a:cubicBezTo>
                  <a:cubicBezTo>
                    <a:pt x="6" y="183"/>
                    <a:pt x="3" y="186"/>
                    <a:pt x="3" y="186"/>
                  </a:cubicBezTo>
                  <a:cubicBezTo>
                    <a:pt x="4" y="187"/>
                    <a:pt x="4" y="189"/>
                    <a:pt x="6" y="189"/>
                  </a:cubicBezTo>
                  <a:cubicBezTo>
                    <a:pt x="7" y="189"/>
                    <a:pt x="7" y="190"/>
                    <a:pt x="8" y="191"/>
                  </a:cubicBezTo>
                  <a:cubicBezTo>
                    <a:pt x="8" y="192"/>
                    <a:pt x="11" y="194"/>
                    <a:pt x="11" y="194"/>
                  </a:cubicBezTo>
                  <a:cubicBezTo>
                    <a:pt x="12" y="195"/>
                    <a:pt x="7" y="197"/>
                    <a:pt x="9" y="198"/>
                  </a:cubicBezTo>
                  <a:cubicBezTo>
                    <a:pt x="10" y="199"/>
                    <a:pt x="12" y="199"/>
                    <a:pt x="13" y="199"/>
                  </a:cubicBezTo>
                  <a:cubicBezTo>
                    <a:pt x="14" y="200"/>
                    <a:pt x="13" y="200"/>
                    <a:pt x="14" y="201"/>
                  </a:cubicBezTo>
                  <a:cubicBezTo>
                    <a:pt x="14" y="202"/>
                    <a:pt x="15" y="207"/>
                    <a:pt x="15" y="207"/>
                  </a:cubicBezTo>
                  <a:cubicBezTo>
                    <a:pt x="14" y="207"/>
                    <a:pt x="13" y="208"/>
                    <a:pt x="12" y="208"/>
                  </a:cubicBezTo>
                  <a:cubicBezTo>
                    <a:pt x="11" y="210"/>
                    <a:pt x="10" y="209"/>
                    <a:pt x="9" y="210"/>
                  </a:cubicBezTo>
                  <a:cubicBezTo>
                    <a:pt x="6" y="212"/>
                    <a:pt x="9" y="211"/>
                    <a:pt x="8" y="213"/>
                  </a:cubicBezTo>
                  <a:cubicBezTo>
                    <a:pt x="8" y="213"/>
                    <a:pt x="7" y="213"/>
                    <a:pt x="7" y="214"/>
                  </a:cubicBezTo>
                  <a:cubicBezTo>
                    <a:pt x="8" y="216"/>
                    <a:pt x="6" y="219"/>
                    <a:pt x="7" y="221"/>
                  </a:cubicBezTo>
                  <a:cubicBezTo>
                    <a:pt x="8" y="223"/>
                    <a:pt x="11" y="226"/>
                    <a:pt x="13" y="227"/>
                  </a:cubicBezTo>
                  <a:cubicBezTo>
                    <a:pt x="15" y="229"/>
                    <a:pt x="17" y="228"/>
                    <a:pt x="18" y="230"/>
                  </a:cubicBezTo>
                  <a:cubicBezTo>
                    <a:pt x="18" y="229"/>
                    <a:pt x="18" y="232"/>
                    <a:pt x="18" y="232"/>
                  </a:cubicBezTo>
                  <a:cubicBezTo>
                    <a:pt x="18" y="234"/>
                    <a:pt x="17" y="234"/>
                    <a:pt x="15" y="235"/>
                  </a:cubicBezTo>
                  <a:cubicBezTo>
                    <a:pt x="15" y="236"/>
                    <a:pt x="15" y="237"/>
                    <a:pt x="14" y="238"/>
                  </a:cubicBezTo>
                  <a:cubicBezTo>
                    <a:pt x="13" y="240"/>
                    <a:pt x="13" y="242"/>
                    <a:pt x="13" y="244"/>
                  </a:cubicBezTo>
                  <a:cubicBezTo>
                    <a:pt x="15" y="243"/>
                    <a:pt x="17" y="245"/>
                    <a:pt x="19" y="247"/>
                  </a:cubicBezTo>
                  <a:cubicBezTo>
                    <a:pt x="20" y="248"/>
                    <a:pt x="20" y="250"/>
                    <a:pt x="20" y="251"/>
                  </a:cubicBezTo>
                  <a:cubicBezTo>
                    <a:pt x="21" y="252"/>
                    <a:pt x="23" y="254"/>
                    <a:pt x="24" y="255"/>
                  </a:cubicBezTo>
                  <a:cubicBezTo>
                    <a:pt x="25" y="256"/>
                    <a:pt x="23" y="257"/>
                    <a:pt x="25" y="257"/>
                  </a:cubicBezTo>
                  <a:cubicBezTo>
                    <a:pt x="25" y="258"/>
                    <a:pt x="28" y="258"/>
                    <a:pt x="28" y="257"/>
                  </a:cubicBezTo>
                  <a:cubicBezTo>
                    <a:pt x="28" y="254"/>
                    <a:pt x="29" y="255"/>
                    <a:pt x="31" y="255"/>
                  </a:cubicBezTo>
                  <a:cubicBezTo>
                    <a:pt x="32" y="256"/>
                    <a:pt x="33" y="257"/>
                    <a:pt x="33" y="258"/>
                  </a:cubicBezTo>
                  <a:cubicBezTo>
                    <a:pt x="34" y="260"/>
                    <a:pt x="35" y="260"/>
                    <a:pt x="35" y="258"/>
                  </a:cubicBezTo>
                  <a:cubicBezTo>
                    <a:pt x="38" y="258"/>
                    <a:pt x="40" y="262"/>
                    <a:pt x="43" y="258"/>
                  </a:cubicBezTo>
                  <a:cubicBezTo>
                    <a:pt x="46" y="255"/>
                    <a:pt x="47" y="259"/>
                    <a:pt x="49" y="261"/>
                  </a:cubicBezTo>
                  <a:cubicBezTo>
                    <a:pt x="51" y="263"/>
                    <a:pt x="55" y="263"/>
                    <a:pt x="58" y="263"/>
                  </a:cubicBezTo>
                  <a:cubicBezTo>
                    <a:pt x="62" y="263"/>
                    <a:pt x="65" y="265"/>
                    <a:pt x="69" y="266"/>
                  </a:cubicBezTo>
                  <a:cubicBezTo>
                    <a:pt x="67" y="267"/>
                    <a:pt x="66" y="271"/>
                    <a:pt x="65" y="273"/>
                  </a:cubicBezTo>
                  <a:cubicBezTo>
                    <a:pt x="64" y="274"/>
                    <a:pt x="62" y="275"/>
                    <a:pt x="62" y="275"/>
                  </a:cubicBezTo>
                  <a:cubicBezTo>
                    <a:pt x="61" y="276"/>
                    <a:pt x="61" y="277"/>
                    <a:pt x="60" y="278"/>
                  </a:cubicBezTo>
                  <a:cubicBezTo>
                    <a:pt x="57" y="281"/>
                    <a:pt x="57" y="282"/>
                    <a:pt x="56" y="285"/>
                  </a:cubicBezTo>
                  <a:cubicBezTo>
                    <a:pt x="56" y="287"/>
                    <a:pt x="55" y="289"/>
                    <a:pt x="55" y="291"/>
                  </a:cubicBezTo>
                  <a:cubicBezTo>
                    <a:pt x="55" y="292"/>
                    <a:pt x="55" y="293"/>
                    <a:pt x="54" y="294"/>
                  </a:cubicBezTo>
                  <a:cubicBezTo>
                    <a:pt x="53" y="295"/>
                    <a:pt x="52" y="297"/>
                    <a:pt x="51" y="299"/>
                  </a:cubicBezTo>
                  <a:cubicBezTo>
                    <a:pt x="50" y="301"/>
                    <a:pt x="50" y="303"/>
                    <a:pt x="50" y="304"/>
                  </a:cubicBezTo>
                  <a:cubicBezTo>
                    <a:pt x="49" y="307"/>
                    <a:pt x="51" y="309"/>
                    <a:pt x="49" y="312"/>
                  </a:cubicBezTo>
                  <a:cubicBezTo>
                    <a:pt x="48" y="315"/>
                    <a:pt x="49" y="318"/>
                    <a:pt x="47" y="321"/>
                  </a:cubicBezTo>
                  <a:cubicBezTo>
                    <a:pt x="46" y="323"/>
                    <a:pt x="49" y="325"/>
                    <a:pt x="49" y="327"/>
                  </a:cubicBezTo>
                  <a:cubicBezTo>
                    <a:pt x="50" y="327"/>
                    <a:pt x="51" y="326"/>
                    <a:pt x="52" y="326"/>
                  </a:cubicBezTo>
                  <a:cubicBezTo>
                    <a:pt x="52" y="327"/>
                    <a:pt x="51" y="328"/>
                    <a:pt x="50" y="328"/>
                  </a:cubicBezTo>
                  <a:cubicBezTo>
                    <a:pt x="53" y="330"/>
                    <a:pt x="54" y="327"/>
                    <a:pt x="57" y="327"/>
                  </a:cubicBezTo>
                  <a:cubicBezTo>
                    <a:pt x="58" y="327"/>
                    <a:pt x="58" y="328"/>
                    <a:pt x="59" y="328"/>
                  </a:cubicBezTo>
                  <a:cubicBezTo>
                    <a:pt x="60" y="329"/>
                    <a:pt x="62" y="328"/>
                    <a:pt x="63" y="328"/>
                  </a:cubicBezTo>
                  <a:cubicBezTo>
                    <a:pt x="65" y="328"/>
                    <a:pt x="67" y="325"/>
                    <a:pt x="69" y="326"/>
                  </a:cubicBezTo>
                  <a:cubicBezTo>
                    <a:pt x="72" y="326"/>
                    <a:pt x="74" y="328"/>
                    <a:pt x="77" y="327"/>
                  </a:cubicBezTo>
                  <a:cubicBezTo>
                    <a:pt x="76" y="326"/>
                    <a:pt x="79" y="323"/>
                    <a:pt x="79" y="327"/>
                  </a:cubicBezTo>
                  <a:cubicBezTo>
                    <a:pt x="81" y="325"/>
                    <a:pt x="81" y="322"/>
                    <a:pt x="78" y="324"/>
                  </a:cubicBezTo>
                  <a:cubicBezTo>
                    <a:pt x="78" y="324"/>
                    <a:pt x="73" y="324"/>
                    <a:pt x="75" y="322"/>
                  </a:cubicBezTo>
                  <a:cubicBezTo>
                    <a:pt x="76" y="320"/>
                    <a:pt x="81" y="315"/>
                    <a:pt x="81" y="319"/>
                  </a:cubicBezTo>
                  <a:cubicBezTo>
                    <a:pt x="82" y="317"/>
                    <a:pt x="83" y="318"/>
                    <a:pt x="84" y="319"/>
                  </a:cubicBezTo>
                  <a:cubicBezTo>
                    <a:pt x="85" y="320"/>
                    <a:pt x="84" y="321"/>
                    <a:pt x="84" y="322"/>
                  </a:cubicBezTo>
                  <a:cubicBezTo>
                    <a:pt x="85" y="322"/>
                    <a:pt x="85" y="322"/>
                    <a:pt x="86" y="323"/>
                  </a:cubicBezTo>
                  <a:cubicBezTo>
                    <a:pt x="85" y="320"/>
                    <a:pt x="87" y="321"/>
                    <a:pt x="88" y="322"/>
                  </a:cubicBezTo>
                  <a:cubicBezTo>
                    <a:pt x="87" y="322"/>
                    <a:pt x="90" y="324"/>
                    <a:pt x="92" y="324"/>
                  </a:cubicBezTo>
                  <a:cubicBezTo>
                    <a:pt x="95" y="322"/>
                    <a:pt x="98" y="323"/>
                    <a:pt x="101" y="324"/>
                  </a:cubicBezTo>
                  <a:cubicBezTo>
                    <a:pt x="104" y="326"/>
                    <a:pt x="107" y="328"/>
                    <a:pt x="110" y="329"/>
                  </a:cubicBezTo>
                  <a:cubicBezTo>
                    <a:pt x="113" y="330"/>
                    <a:pt x="114" y="329"/>
                    <a:pt x="116" y="327"/>
                  </a:cubicBezTo>
                  <a:cubicBezTo>
                    <a:pt x="117" y="326"/>
                    <a:pt x="117" y="328"/>
                    <a:pt x="118" y="329"/>
                  </a:cubicBezTo>
                  <a:cubicBezTo>
                    <a:pt x="119" y="329"/>
                    <a:pt x="120" y="329"/>
                    <a:pt x="121" y="329"/>
                  </a:cubicBezTo>
                  <a:cubicBezTo>
                    <a:pt x="123" y="330"/>
                    <a:pt x="126" y="333"/>
                    <a:pt x="126" y="335"/>
                  </a:cubicBezTo>
                  <a:cubicBezTo>
                    <a:pt x="126" y="338"/>
                    <a:pt x="128" y="336"/>
                    <a:pt x="129" y="336"/>
                  </a:cubicBezTo>
                  <a:cubicBezTo>
                    <a:pt x="131" y="336"/>
                    <a:pt x="128" y="340"/>
                    <a:pt x="128" y="341"/>
                  </a:cubicBezTo>
                  <a:cubicBezTo>
                    <a:pt x="131" y="341"/>
                    <a:pt x="136" y="337"/>
                    <a:pt x="137" y="334"/>
                  </a:cubicBezTo>
                  <a:cubicBezTo>
                    <a:pt x="137" y="333"/>
                    <a:pt x="135" y="325"/>
                    <a:pt x="137" y="327"/>
                  </a:cubicBezTo>
                  <a:cubicBezTo>
                    <a:pt x="138" y="327"/>
                    <a:pt x="136" y="329"/>
                    <a:pt x="139" y="329"/>
                  </a:cubicBezTo>
                  <a:cubicBezTo>
                    <a:pt x="140" y="329"/>
                    <a:pt x="140" y="328"/>
                    <a:pt x="142" y="328"/>
                  </a:cubicBezTo>
                  <a:cubicBezTo>
                    <a:pt x="144" y="328"/>
                    <a:pt x="145" y="329"/>
                    <a:pt x="147" y="329"/>
                  </a:cubicBezTo>
                  <a:cubicBezTo>
                    <a:pt x="148" y="329"/>
                    <a:pt x="150" y="329"/>
                    <a:pt x="150" y="330"/>
                  </a:cubicBezTo>
                  <a:cubicBezTo>
                    <a:pt x="150" y="330"/>
                    <a:pt x="149" y="331"/>
                    <a:pt x="149" y="331"/>
                  </a:cubicBezTo>
                  <a:cubicBezTo>
                    <a:pt x="151" y="332"/>
                    <a:pt x="152" y="332"/>
                    <a:pt x="152" y="334"/>
                  </a:cubicBezTo>
                  <a:cubicBezTo>
                    <a:pt x="153" y="336"/>
                    <a:pt x="157" y="335"/>
                    <a:pt x="158" y="334"/>
                  </a:cubicBezTo>
                  <a:cubicBezTo>
                    <a:pt x="161" y="333"/>
                    <a:pt x="160" y="335"/>
                    <a:pt x="162" y="335"/>
                  </a:cubicBezTo>
                  <a:cubicBezTo>
                    <a:pt x="163" y="335"/>
                    <a:pt x="164" y="332"/>
                    <a:pt x="166" y="333"/>
                  </a:cubicBezTo>
                  <a:cubicBezTo>
                    <a:pt x="164" y="330"/>
                    <a:pt x="169" y="330"/>
                    <a:pt x="170" y="330"/>
                  </a:cubicBezTo>
                  <a:cubicBezTo>
                    <a:pt x="171" y="330"/>
                    <a:pt x="171" y="329"/>
                    <a:pt x="172" y="328"/>
                  </a:cubicBezTo>
                  <a:cubicBezTo>
                    <a:pt x="173" y="326"/>
                    <a:pt x="175" y="327"/>
                    <a:pt x="177" y="327"/>
                  </a:cubicBezTo>
                  <a:cubicBezTo>
                    <a:pt x="179" y="327"/>
                    <a:pt x="181" y="326"/>
                    <a:pt x="183" y="326"/>
                  </a:cubicBezTo>
                  <a:cubicBezTo>
                    <a:pt x="185" y="325"/>
                    <a:pt x="187" y="326"/>
                    <a:pt x="189" y="326"/>
                  </a:cubicBezTo>
                  <a:cubicBezTo>
                    <a:pt x="190" y="326"/>
                    <a:pt x="191" y="324"/>
                    <a:pt x="190" y="323"/>
                  </a:cubicBezTo>
                  <a:cubicBezTo>
                    <a:pt x="189" y="321"/>
                    <a:pt x="191" y="321"/>
                    <a:pt x="192" y="320"/>
                  </a:cubicBezTo>
                  <a:cubicBezTo>
                    <a:pt x="190" y="323"/>
                    <a:pt x="193" y="322"/>
                    <a:pt x="194" y="322"/>
                  </a:cubicBezTo>
                  <a:cubicBezTo>
                    <a:pt x="197" y="322"/>
                    <a:pt x="196" y="322"/>
                    <a:pt x="198" y="324"/>
                  </a:cubicBezTo>
                  <a:cubicBezTo>
                    <a:pt x="200" y="326"/>
                    <a:pt x="202" y="323"/>
                    <a:pt x="204" y="323"/>
                  </a:cubicBezTo>
                  <a:cubicBezTo>
                    <a:pt x="206" y="322"/>
                    <a:pt x="208" y="324"/>
                    <a:pt x="209" y="326"/>
                  </a:cubicBezTo>
                  <a:cubicBezTo>
                    <a:pt x="206" y="326"/>
                    <a:pt x="212" y="332"/>
                    <a:pt x="214" y="332"/>
                  </a:cubicBezTo>
                  <a:cubicBezTo>
                    <a:pt x="217" y="332"/>
                    <a:pt x="218" y="322"/>
                    <a:pt x="215" y="321"/>
                  </a:cubicBezTo>
                  <a:cubicBezTo>
                    <a:pt x="215" y="321"/>
                    <a:pt x="211" y="322"/>
                    <a:pt x="212" y="320"/>
                  </a:cubicBezTo>
                  <a:cubicBezTo>
                    <a:pt x="212" y="319"/>
                    <a:pt x="214" y="316"/>
                    <a:pt x="214" y="315"/>
                  </a:cubicBezTo>
                  <a:cubicBezTo>
                    <a:pt x="213" y="312"/>
                    <a:pt x="210" y="308"/>
                    <a:pt x="208" y="306"/>
                  </a:cubicBezTo>
                  <a:cubicBezTo>
                    <a:pt x="204" y="302"/>
                    <a:pt x="216" y="297"/>
                    <a:pt x="219" y="296"/>
                  </a:cubicBezTo>
                  <a:cubicBezTo>
                    <a:pt x="221" y="295"/>
                    <a:pt x="224" y="295"/>
                    <a:pt x="226" y="292"/>
                  </a:cubicBezTo>
                  <a:cubicBezTo>
                    <a:pt x="227" y="290"/>
                    <a:pt x="227" y="288"/>
                    <a:pt x="227" y="285"/>
                  </a:cubicBezTo>
                  <a:cubicBezTo>
                    <a:pt x="228" y="282"/>
                    <a:pt x="233" y="284"/>
                    <a:pt x="235" y="285"/>
                  </a:cubicBezTo>
                  <a:cubicBezTo>
                    <a:pt x="235" y="285"/>
                    <a:pt x="236" y="286"/>
                    <a:pt x="236" y="285"/>
                  </a:cubicBezTo>
                  <a:cubicBezTo>
                    <a:pt x="237" y="284"/>
                    <a:pt x="238" y="283"/>
                    <a:pt x="239" y="281"/>
                  </a:cubicBezTo>
                  <a:cubicBezTo>
                    <a:pt x="239" y="277"/>
                    <a:pt x="238" y="278"/>
                    <a:pt x="238" y="277"/>
                  </a:cubicBezTo>
                  <a:cubicBezTo>
                    <a:pt x="238" y="275"/>
                    <a:pt x="239" y="275"/>
                    <a:pt x="238" y="273"/>
                  </a:cubicBezTo>
                  <a:cubicBezTo>
                    <a:pt x="237" y="272"/>
                    <a:pt x="236" y="271"/>
                    <a:pt x="235" y="270"/>
                  </a:cubicBezTo>
                  <a:cubicBezTo>
                    <a:pt x="234" y="269"/>
                    <a:pt x="232" y="266"/>
                    <a:pt x="230" y="266"/>
                  </a:cubicBezTo>
                  <a:cubicBezTo>
                    <a:pt x="228" y="266"/>
                    <a:pt x="227" y="267"/>
                    <a:pt x="226" y="265"/>
                  </a:cubicBezTo>
                  <a:cubicBezTo>
                    <a:pt x="224" y="263"/>
                    <a:pt x="224" y="261"/>
                    <a:pt x="222" y="260"/>
                  </a:cubicBezTo>
                  <a:cubicBezTo>
                    <a:pt x="217" y="259"/>
                    <a:pt x="216" y="252"/>
                    <a:pt x="212" y="250"/>
                  </a:cubicBezTo>
                  <a:cubicBezTo>
                    <a:pt x="210" y="249"/>
                    <a:pt x="209" y="250"/>
                    <a:pt x="207" y="249"/>
                  </a:cubicBezTo>
                  <a:cubicBezTo>
                    <a:pt x="205" y="248"/>
                    <a:pt x="203" y="246"/>
                    <a:pt x="203" y="243"/>
                  </a:cubicBezTo>
                  <a:cubicBezTo>
                    <a:pt x="203" y="241"/>
                    <a:pt x="200" y="239"/>
                    <a:pt x="199" y="237"/>
                  </a:cubicBezTo>
                  <a:cubicBezTo>
                    <a:pt x="198" y="236"/>
                    <a:pt x="199" y="235"/>
                    <a:pt x="198" y="235"/>
                  </a:cubicBezTo>
                  <a:cubicBezTo>
                    <a:pt x="197" y="234"/>
                    <a:pt x="196" y="233"/>
                    <a:pt x="196" y="233"/>
                  </a:cubicBezTo>
                  <a:cubicBezTo>
                    <a:pt x="194" y="231"/>
                    <a:pt x="200" y="227"/>
                    <a:pt x="199" y="224"/>
                  </a:cubicBezTo>
                  <a:cubicBezTo>
                    <a:pt x="198" y="223"/>
                    <a:pt x="197" y="224"/>
                    <a:pt x="197" y="223"/>
                  </a:cubicBezTo>
                  <a:cubicBezTo>
                    <a:pt x="197" y="222"/>
                    <a:pt x="197" y="222"/>
                    <a:pt x="196" y="221"/>
                  </a:cubicBezTo>
                  <a:cubicBezTo>
                    <a:pt x="194" y="220"/>
                    <a:pt x="192" y="219"/>
                    <a:pt x="190" y="217"/>
                  </a:cubicBezTo>
                  <a:cubicBezTo>
                    <a:pt x="188" y="215"/>
                    <a:pt x="189" y="213"/>
                    <a:pt x="187" y="211"/>
                  </a:cubicBezTo>
                  <a:cubicBezTo>
                    <a:pt x="184" y="209"/>
                    <a:pt x="188" y="208"/>
                    <a:pt x="186" y="207"/>
                  </a:cubicBezTo>
                  <a:cubicBezTo>
                    <a:pt x="186" y="207"/>
                    <a:pt x="189" y="207"/>
                    <a:pt x="189" y="208"/>
                  </a:cubicBezTo>
                  <a:cubicBezTo>
                    <a:pt x="188" y="209"/>
                    <a:pt x="190" y="209"/>
                    <a:pt x="190" y="210"/>
                  </a:cubicBezTo>
                  <a:cubicBezTo>
                    <a:pt x="190" y="210"/>
                    <a:pt x="193" y="215"/>
                    <a:pt x="193" y="213"/>
                  </a:cubicBezTo>
                  <a:cubicBezTo>
                    <a:pt x="192" y="210"/>
                    <a:pt x="194" y="208"/>
                    <a:pt x="195" y="206"/>
                  </a:cubicBezTo>
                  <a:cubicBezTo>
                    <a:pt x="197" y="205"/>
                    <a:pt x="198" y="203"/>
                    <a:pt x="200" y="203"/>
                  </a:cubicBezTo>
                  <a:cubicBezTo>
                    <a:pt x="201" y="203"/>
                    <a:pt x="203" y="204"/>
                    <a:pt x="204" y="203"/>
                  </a:cubicBezTo>
                  <a:cubicBezTo>
                    <a:pt x="205" y="203"/>
                    <a:pt x="205" y="202"/>
                    <a:pt x="206" y="201"/>
                  </a:cubicBezTo>
                  <a:cubicBezTo>
                    <a:pt x="208" y="201"/>
                    <a:pt x="210" y="203"/>
                    <a:pt x="211" y="203"/>
                  </a:cubicBezTo>
                  <a:cubicBezTo>
                    <a:pt x="213" y="202"/>
                    <a:pt x="212" y="201"/>
                    <a:pt x="213" y="199"/>
                  </a:cubicBezTo>
                  <a:cubicBezTo>
                    <a:pt x="214" y="198"/>
                    <a:pt x="215" y="199"/>
                    <a:pt x="216" y="199"/>
                  </a:cubicBezTo>
                  <a:cubicBezTo>
                    <a:pt x="219" y="199"/>
                    <a:pt x="218" y="195"/>
                    <a:pt x="220" y="195"/>
                  </a:cubicBezTo>
                  <a:cubicBezTo>
                    <a:pt x="222" y="195"/>
                    <a:pt x="222" y="195"/>
                    <a:pt x="223" y="194"/>
                  </a:cubicBezTo>
                  <a:cubicBezTo>
                    <a:pt x="223" y="193"/>
                    <a:pt x="224" y="193"/>
                    <a:pt x="224" y="193"/>
                  </a:cubicBezTo>
                  <a:cubicBezTo>
                    <a:pt x="225" y="195"/>
                    <a:pt x="228" y="194"/>
                    <a:pt x="228" y="192"/>
                  </a:cubicBezTo>
                  <a:cubicBezTo>
                    <a:pt x="229" y="189"/>
                    <a:pt x="231" y="189"/>
                    <a:pt x="233" y="189"/>
                  </a:cubicBezTo>
                  <a:cubicBezTo>
                    <a:pt x="236" y="190"/>
                    <a:pt x="238" y="190"/>
                    <a:pt x="239" y="188"/>
                  </a:cubicBezTo>
                  <a:cubicBezTo>
                    <a:pt x="241" y="185"/>
                    <a:pt x="244" y="186"/>
                    <a:pt x="246" y="184"/>
                  </a:cubicBezTo>
                  <a:cubicBezTo>
                    <a:pt x="247" y="184"/>
                    <a:pt x="248" y="183"/>
                    <a:pt x="249" y="182"/>
                  </a:cubicBezTo>
                  <a:cubicBezTo>
                    <a:pt x="250" y="182"/>
                    <a:pt x="252" y="182"/>
                    <a:pt x="253" y="182"/>
                  </a:cubicBezTo>
                  <a:cubicBezTo>
                    <a:pt x="256" y="180"/>
                    <a:pt x="250" y="180"/>
                    <a:pt x="252" y="178"/>
                  </a:cubicBezTo>
                  <a:cubicBezTo>
                    <a:pt x="252" y="178"/>
                    <a:pt x="248" y="176"/>
                    <a:pt x="251" y="175"/>
                  </a:cubicBezTo>
                  <a:cubicBezTo>
                    <a:pt x="253" y="174"/>
                    <a:pt x="255" y="177"/>
                    <a:pt x="257" y="175"/>
                  </a:cubicBezTo>
                  <a:cubicBezTo>
                    <a:pt x="257" y="177"/>
                    <a:pt x="259" y="177"/>
                    <a:pt x="259" y="178"/>
                  </a:cubicBezTo>
                  <a:cubicBezTo>
                    <a:pt x="260" y="179"/>
                    <a:pt x="259" y="180"/>
                    <a:pt x="259" y="180"/>
                  </a:cubicBezTo>
                  <a:cubicBezTo>
                    <a:pt x="259" y="181"/>
                    <a:pt x="261" y="180"/>
                    <a:pt x="261" y="180"/>
                  </a:cubicBezTo>
                  <a:cubicBezTo>
                    <a:pt x="262" y="181"/>
                    <a:pt x="261" y="182"/>
                    <a:pt x="261" y="183"/>
                  </a:cubicBezTo>
                  <a:cubicBezTo>
                    <a:pt x="261" y="184"/>
                    <a:pt x="264" y="185"/>
                    <a:pt x="265" y="185"/>
                  </a:cubicBezTo>
                  <a:cubicBezTo>
                    <a:pt x="267" y="185"/>
                    <a:pt x="267" y="182"/>
                    <a:pt x="268" y="180"/>
                  </a:cubicBezTo>
                  <a:cubicBezTo>
                    <a:pt x="271" y="177"/>
                    <a:pt x="272" y="171"/>
                    <a:pt x="273" y="166"/>
                  </a:cubicBezTo>
                  <a:cubicBezTo>
                    <a:pt x="273" y="164"/>
                    <a:pt x="271" y="163"/>
                    <a:pt x="270" y="161"/>
                  </a:cubicBezTo>
                  <a:close/>
                  <a:moveTo>
                    <a:pt x="79" y="72"/>
                  </a:moveTo>
                  <a:cubicBezTo>
                    <a:pt x="79" y="73"/>
                    <a:pt x="79" y="74"/>
                    <a:pt x="79" y="75"/>
                  </a:cubicBezTo>
                  <a:cubicBezTo>
                    <a:pt x="79" y="75"/>
                    <a:pt x="79" y="73"/>
                    <a:pt x="79" y="72"/>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62">
              <a:extLst>
                <a:ext uri="{FF2B5EF4-FFF2-40B4-BE49-F238E27FC236}">
                  <a16:creationId xmlns:a16="http://schemas.microsoft.com/office/drawing/2014/main" id="{2E743ABA-131D-C114-0C71-5D3406E9548C}"/>
                </a:ext>
              </a:extLst>
            </p:cNvPr>
            <p:cNvSpPr>
              <a:spLocks/>
            </p:cNvSpPr>
            <p:nvPr/>
          </p:nvSpPr>
          <p:spPr bwMode="auto">
            <a:xfrm>
              <a:off x="2280825" y="4087101"/>
              <a:ext cx="16529" cy="5960"/>
            </a:xfrm>
            <a:custGeom>
              <a:avLst/>
              <a:gdLst>
                <a:gd name="T0" fmla="*/ 6 w 6"/>
                <a:gd name="T1" fmla="*/ 1 h 2"/>
                <a:gd name="T2" fmla="*/ 0 w 6"/>
                <a:gd name="T3" fmla="*/ 2 h 2"/>
                <a:gd name="T4" fmla="*/ 1 w 6"/>
                <a:gd name="T5" fmla="*/ 2 h 2"/>
                <a:gd name="T6" fmla="*/ 6 w 6"/>
                <a:gd name="T7" fmla="*/ 1 h 2"/>
              </a:gdLst>
              <a:ahLst/>
              <a:cxnLst>
                <a:cxn ang="0">
                  <a:pos x="T0" y="T1"/>
                </a:cxn>
                <a:cxn ang="0">
                  <a:pos x="T2" y="T3"/>
                </a:cxn>
                <a:cxn ang="0">
                  <a:pos x="T4" y="T5"/>
                </a:cxn>
                <a:cxn ang="0">
                  <a:pos x="T6" y="T7"/>
                </a:cxn>
              </a:cxnLst>
              <a:rect l="0" t="0" r="r" b="b"/>
              <a:pathLst>
                <a:path w="6" h="2">
                  <a:moveTo>
                    <a:pt x="6" y="1"/>
                  </a:moveTo>
                  <a:cubicBezTo>
                    <a:pt x="5" y="0"/>
                    <a:pt x="2" y="1"/>
                    <a:pt x="0" y="2"/>
                  </a:cubicBezTo>
                  <a:cubicBezTo>
                    <a:pt x="1" y="2"/>
                    <a:pt x="1" y="2"/>
                    <a:pt x="1" y="2"/>
                  </a:cubicBezTo>
                  <a:cubicBezTo>
                    <a:pt x="3" y="2"/>
                    <a:pt x="5" y="2"/>
                    <a:pt x="6"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93">
              <a:extLst>
                <a:ext uri="{FF2B5EF4-FFF2-40B4-BE49-F238E27FC236}">
                  <a16:creationId xmlns:a16="http://schemas.microsoft.com/office/drawing/2014/main" id="{1B6081A9-67A3-B47A-CD55-188448DBFF8C}"/>
                </a:ext>
              </a:extLst>
            </p:cNvPr>
            <p:cNvSpPr>
              <a:spLocks/>
            </p:cNvSpPr>
            <p:nvPr/>
          </p:nvSpPr>
          <p:spPr bwMode="auto">
            <a:xfrm>
              <a:off x="2283186" y="5321902"/>
              <a:ext cx="5903" cy="9535"/>
            </a:xfrm>
            <a:custGeom>
              <a:avLst/>
              <a:gdLst>
                <a:gd name="T0" fmla="*/ 1 w 2"/>
                <a:gd name="T1" fmla="*/ 2 h 3"/>
                <a:gd name="T2" fmla="*/ 1 w 2"/>
                <a:gd name="T3" fmla="*/ 2 h 3"/>
                <a:gd name="T4" fmla="*/ 2 w 2"/>
                <a:gd name="T5" fmla="*/ 0 h 3"/>
                <a:gd name="T6" fmla="*/ 1 w 2"/>
                <a:gd name="T7" fmla="*/ 2 h 3"/>
              </a:gdLst>
              <a:ahLst/>
              <a:cxnLst>
                <a:cxn ang="0">
                  <a:pos x="T0" y="T1"/>
                </a:cxn>
                <a:cxn ang="0">
                  <a:pos x="T2" y="T3"/>
                </a:cxn>
                <a:cxn ang="0">
                  <a:pos x="T4" y="T5"/>
                </a:cxn>
                <a:cxn ang="0">
                  <a:pos x="T6" y="T7"/>
                </a:cxn>
              </a:cxnLst>
              <a:rect l="0" t="0" r="r" b="b"/>
              <a:pathLst>
                <a:path w="2" h="3">
                  <a:moveTo>
                    <a:pt x="1" y="2"/>
                  </a:moveTo>
                  <a:cubicBezTo>
                    <a:pt x="1" y="2"/>
                    <a:pt x="1" y="3"/>
                    <a:pt x="1" y="2"/>
                  </a:cubicBezTo>
                  <a:cubicBezTo>
                    <a:pt x="1" y="1"/>
                    <a:pt x="2" y="0"/>
                    <a:pt x="2" y="0"/>
                  </a:cubicBezTo>
                  <a:cubicBezTo>
                    <a:pt x="2" y="0"/>
                    <a:pt x="0" y="2"/>
                    <a:pt x="1" y="2"/>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206">
              <a:extLst>
                <a:ext uri="{FF2B5EF4-FFF2-40B4-BE49-F238E27FC236}">
                  <a16:creationId xmlns:a16="http://schemas.microsoft.com/office/drawing/2014/main" id="{FD971845-FA80-64A7-44F2-70C64C488591}"/>
                </a:ext>
              </a:extLst>
            </p:cNvPr>
            <p:cNvSpPr>
              <a:spLocks/>
            </p:cNvSpPr>
            <p:nvPr/>
          </p:nvSpPr>
          <p:spPr bwMode="auto">
            <a:xfrm>
              <a:off x="984518" y="5940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207">
              <a:extLst>
                <a:ext uri="{FF2B5EF4-FFF2-40B4-BE49-F238E27FC236}">
                  <a16:creationId xmlns:a16="http://schemas.microsoft.com/office/drawing/2014/main" id="{3E4C93FA-30D1-6CD3-345F-9BF81A531620}"/>
                </a:ext>
              </a:extLst>
            </p:cNvPr>
            <p:cNvSpPr>
              <a:spLocks/>
            </p:cNvSpPr>
            <p:nvPr/>
          </p:nvSpPr>
          <p:spPr bwMode="auto">
            <a:xfrm>
              <a:off x="2718830" y="5290913"/>
              <a:ext cx="20071" cy="22646"/>
            </a:xfrm>
            <a:custGeom>
              <a:avLst/>
              <a:gdLst>
                <a:gd name="T0" fmla="*/ 1 w 7"/>
                <a:gd name="T1" fmla="*/ 1 h 8"/>
                <a:gd name="T2" fmla="*/ 1 w 7"/>
                <a:gd name="T3" fmla="*/ 1 h 8"/>
                <a:gd name="T4" fmla="*/ 1 w 7"/>
                <a:gd name="T5" fmla="*/ 2 h 8"/>
                <a:gd name="T6" fmla="*/ 1 w 7"/>
                <a:gd name="T7" fmla="*/ 2 h 8"/>
                <a:gd name="T8" fmla="*/ 1 w 7"/>
                <a:gd name="T9" fmla="*/ 2 h 8"/>
                <a:gd name="T10" fmla="*/ 1 w 7"/>
                <a:gd name="T11" fmla="*/ 2 h 8"/>
                <a:gd name="T12" fmla="*/ 1 w 7"/>
                <a:gd name="T13" fmla="*/ 2 h 8"/>
                <a:gd name="T14" fmla="*/ 0 w 7"/>
                <a:gd name="T15" fmla="*/ 4 h 8"/>
                <a:gd name="T16" fmla="*/ 3 w 7"/>
                <a:gd name="T17" fmla="*/ 8 h 8"/>
                <a:gd name="T18" fmla="*/ 4 w 7"/>
                <a:gd name="T19" fmla="*/ 8 h 8"/>
                <a:gd name="T20" fmla="*/ 6 w 7"/>
                <a:gd name="T21" fmla="*/ 6 h 8"/>
                <a:gd name="T22" fmla="*/ 6 w 7"/>
                <a:gd name="T23" fmla="*/ 6 h 8"/>
                <a:gd name="T24" fmla="*/ 7 w 7"/>
                <a:gd name="T25" fmla="*/ 3 h 8"/>
                <a:gd name="T26" fmla="*/ 6 w 7"/>
                <a:gd name="T27" fmla="*/ 1 h 8"/>
                <a:gd name="T28" fmla="*/ 4 w 7"/>
                <a:gd name="T29" fmla="*/ 0 h 8"/>
                <a:gd name="T30" fmla="*/ 1 w 7"/>
                <a:gd name="T3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8">
                  <a:moveTo>
                    <a:pt x="1" y="1"/>
                  </a:moveTo>
                  <a:cubicBezTo>
                    <a:pt x="1" y="1"/>
                    <a:pt x="1" y="1"/>
                    <a:pt x="1" y="1"/>
                  </a:cubicBezTo>
                  <a:cubicBezTo>
                    <a:pt x="1" y="1"/>
                    <a:pt x="1" y="1"/>
                    <a:pt x="1" y="2"/>
                  </a:cubicBezTo>
                  <a:cubicBezTo>
                    <a:pt x="1" y="2"/>
                    <a:pt x="1" y="2"/>
                    <a:pt x="1" y="2"/>
                  </a:cubicBezTo>
                  <a:cubicBezTo>
                    <a:pt x="1" y="2"/>
                    <a:pt x="1" y="2"/>
                    <a:pt x="1" y="2"/>
                  </a:cubicBezTo>
                  <a:cubicBezTo>
                    <a:pt x="1" y="2"/>
                    <a:pt x="1" y="2"/>
                    <a:pt x="1" y="2"/>
                  </a:cubicBezTo>
                  <a:cubicBezTo>
                    <a:pt x="1" y="2"/>
                    <a:pt x="1" y="2"/>
                    <a:pt x="1" y="2"/>
                  </a:cubicBezTo>
                  <a:cubicBezTo>
                    <a:pt x="0" y="3"/>
                    <a:pt x="0" y="3"/>
                    <a:pt x="0" y="4"/>
                  </a:cubicBezTo>
                  <a:cubicBezTo>
                    <a:pt x="0" y="7"/>
                    <a:pt x="2" y="8"/>
                    <a:pt x="3" y="8"/>
                  </a:cubicBezTo>
                  <a:cubicBezTo>
                    <a:pt x="3" y="8"/>
                    <a:pt x="3" y="8"/>
                    <a:pt x="4" y="8"/>
                  </a:cubicBezTo>
                  <a:cubicBezTo>
                    <a:pt x="4" y="8"/>
                    <a:pt x="6" y="7"/>
                    <a:pt x="6" y="6"/>
                  </a:cubicBezTo>
                  <a:cubicBezTo>
                    <a:pt x="6" y="6"/>
                    <a:pt x="6" y="6"/>
                    <a:pt x="6" y="6"/>
                  </a:cubicBezTo>
                  <a:cubicBezTo>
                    <a:pt x="7" y="5"/>
                    <a:pt x="7" y="4"/>
                    <a:pt x="7" y="3"/>
                  </a:cubicBezTo>
                  <a:cubicBezTo>
                    <a:pt x="7" y="2"/>
                    <a:pt x="7" y="1"/>
                    <a:pt x="6" y="1"/>
                  </a:cubicBezTo>
                  <a:cubicBezTo>
                    <a:pt x="5" y="0"/>
                    <a:pt x="5" y="0"/>
                    <a:pt x="4" y="0"/>
                  </a:cubicBezTo>
                  <a:cubicBezTo>
                    <a:pt x="3" y="0"/>
                    <a:pt x="2" y="1"/>
                    <a:pt x="1"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209">
              <a:extLst>
                <a:ext uri="{FF2B5EF4-FFF2-40B4-BE49-F238E27FC236}">
                  <a16:creationId xmlns:a16="http://schemas.microsoft.com/office/drawing/2014/main" id="{72422C54-9EC2-BFCC-843A-6B5C800F2C2C}"/>
                </a:ext>
              </a:extLst>
            </p:cNvPr>
            <p:cNvSpPr>
              <a:spLocks/>
            </p:cNvSpPr>
            <p:nvPr/>
          </p:nvSpPr>
          <p:spPr bwMode="auto">
            <a:xfrm>
              <a:off x="1074244" y="3973871"/>
              <a:ext cx="2361"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0" y="0"/>
                    <a:pt x="0" y="0"/>
                    <a:pt x="0" y="0"/>
                  </a:cubicBezTo>
                  <a:cubicBezTo>
                    <a:pt x="0" y="0"/>
                    <a:pt x="0" y="0"/>
                    <a:pt x="0" y="0"/>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210">
              <a:extLst>
                <a:ext uri="{FF2B5EF4-FFF2-40B4-BE49-F238E27FC236}">
                  <a16:creationId xmlns:a16="http://schemas.microsoft.com/office/drawing/2014/main" id="{3314529A-3790-A2EE-01D6-A2912B55F3F6}"/>
                </a:ext>
              </a:extLst>
            </p:cNvPr>
            <p:cNvSpPr>
              <a:spLocks noEditPoints="1"/>
            </p:cNvSpPr>
            <p:nvPr/>
          </p:nvSpPr>
          <p:spPr bwMode="auto">
            <a:xfrm>
              <a:off x="1518152" y="5410102"/>
              <a:ext cx="267998" cy="76281"/>
            </a:xfrm>
            <a:custGeom>
              <a:avLst/>
              <a:gdLst>
                <a:gd name="T0" fmla="*/ 91 w 96"/>
                <a:gd name="T1" fmla="*/ 22 h 27"/>
                <a:gd name="T2" fmla="*/ 92 w 96"/>
                <a:gd name="T3" fmla="*/ 22 h 27"/>
                <a:gd name="T4" fmla="*/ 96 w 96"/>
                <a:gd name="T5" fmla="*/ 23 h 27"/>
                <a:gd name="T6" fmla="*/ 95 w 96"/>
                <a:gd name="T7" fmla="*/ 24 h 27"/>
                <a:gd name="T8" fmla="*/ 90 w 96"/>
                <a:gd name="T9" fmla="*/ 27 h 27"/>
                <a:gd name="T10" fmla="*/ 90 w 96"/>
                <a:gd name="T11" fmla="*/ 27 h 27"/>
                <a:gd name="T12" fmla="*/ 90 w 96"/>
                <a:gd name="T13" fmla="*/ 25 h 27"/>
                <a:gd name="T14" fmla="*/ 90 w 96"/>
                <a:gd name="T15" fmla="*/ 24 h 27"/>
                <a:gd name="T16" fmla="*/ 89 w 96"/>
                <a:gd name="T17" fmla="*/ 23 h 27"/>
                <a:gd name="T18" fmla="*/ 90 w 96"/>
                <a:gd name="T19" fmla="*/ 23 h 27"/>
                <a:gd name="T20" fmla="*/ 91 w 96"/>
                <a:gd name="T21" fmla="*/ 22 h 27"/>
                <a:gd name="T22" fmla="*/ 91 w 96"/>
                <a:gd name="T23" fmla="*/ 22 h 27"/>
                <a:gd name="T24" fmla="*/ 0 w 96"/>
                <a:gd name="T25" fmla="*/ 0 h 27"/>
                <a:gd name="T26" fmla="*/ 0 w 96"/>
                <a:gd name="T27" fmla="*/ 0 h 27"/>
                <a:gd name="T28" fmla="*/ 0 w 96"/>
                <a:gd name="T29" fmla="*/ 0 h 27"/>
                <a:gd name="T30" fmla="*/ 0 w 96"/>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7">
                  <a:moveTo>
                    <a:pt x="91" y="22"/>
                  </a:moveTo>
                  <a:cubicBezTo>
                    <a:pt x="91" y="22"/>
                    <a:pt x="91" y="22"/>
                    <a:pt x="92" y="22"/>
                  </a:cubicBezTo>
                  <a:cubicBezTo>
                    <a:pt x="93" y="23"/>
                    <a:pt x="95" y="23"/>
                    <a:pt x="96" y="23"/>
                  </a:cubicBezTo>
                  <a:cubicBezTo>
                    <a:pt x="95" y="24"/>
                    <a:pt x="95" y="24"/>
                    <a:pt x="95" y="24"/>
                  </a:cubicBezTo>
                  <a:cubicBezTo>
                    <a:pt x="93" y="26"/>
                    <a:pt x="91" y="27"/>
                    <a:pt x="90" y="27"/>
                  </a:cubicBezTo>
                  <a:cubicBezTo>
                    <a:pt x="90" y="27"/>
                    <a:pt x="90" y="27"/>
                    <a:pt x="90" y="27"/>
                  </a:cubicBezTo>
                  <a:cubicBezTo>
                    <a:pt x="90" y="27"/>
                    <a:pt x="90" y="26"/>
                    <a:pt x="90" y="25"/>
                  </a:cubicBezTo>
                  <a:cubicBezTo>
                    <a:pt x="90" y="24"/>
                    <a:pt x="90" y="24"/>
                    <a:pt x="90" y="24"/>
                  </a:cubicBezTo>
                  <a:cubicBezTo>
                    <a:pt x="90" y="24"/>
                    <a:pt x="90" y="23"/>
                    <a:pt x="89" y="23"/>
                  </a:cubicBezTo>
                  <a:cubicBezTo>
                    <a:pt x="89" y="23"/>
                    <a:pt x="90" y="23"/>
                    <a:pt x="90" y="23"/>
                  </a:cubicBezTo>
                  <a:cubicBezTo>
                    <a:pt x="90" y="23"/>
                    <a:pt x="91" y="22"/>
                    <a:pt x="91" y="22"/>
                  </a:cubicBezTo>
                  <a:cubicBezTo>
                    <a:pt x="91" y="22"/>
                    <a:pt x="91" y="22"/>
                    <a:pt x="91" y="22"/>
                  </a:cubicBezTo>
                  <a:close/>
                  <a:moveTo>
                    <a:pt x="0" y="0"/>
                  </a:moveTo>
                  <a:cubicBezTo>
                    <a:pt x="0" y="0"/>
                    <a:pt x="0" y="0"/>
                    <a:pt x="0" y="0"/>
                  </a:cubicBezTo>
                  <a:cubicBezTo>
                    <a:pt x="0" y="0"/>
                    <a:pt x="0" y="0"/>
                    <a:pt x="0" y="0"/>
                  </a:cubicBezTo>
                  <a:cubicBezTo>
                    <a:pt x="0" y="0"/>
                    <a:pt x="0" y="0"/>
                    <a:pt x="0" y="0"/>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211">
              <a:extLst>
                <a:ext uri="{FF2B5EF4-FFF2-40B4-BE49-F238E27FC236}">
                  <a16:creationId xmlns:a16="http://schemas.microsoft.com/office/drawing/2014/main" id="{A1D10114-4850-3C59-3333-69FA5EC5BDC6}"/>
                </a:ext>
              </a:extLst>
            </p:cNvPr>
            <p:cNvSpPr>
              <a:spLocks/>
            </p:cNvSpPr>
            <p:nvPr/>
          </p:nvSpPr>
          <p:spPr bwMode="auto">
            <a:xfrm>
              <a:off x="2241865" y="43016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212">
              <a:extLst>
                <a:ext uri="{FF2B5EF4-FFF2-40B4-BE49-F238E27FC236}">
                  <a16:creationId xmlns:a16="http://schemas.microsoft.com/office/drawing/2014/main" id="{18A1E660-2647-3F2E-F4E6-2ADFD300EC7B}"/>
                </a:ext>
              </a:extLst>
            </p:cNvPr>
            <p:cNvSpPr>
              <a:spLocks/>
            </p:cNvSpPr>
            <p:nvPr/>
          </p:nvSpPr>
          <p:spPr bwMode="auto">
            <a:xfrm>
              <a:off x="2078941" y="4374347"/>
              <a:ext cx="0" cy="3576"/>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0"/>
                    <a:pt x="0" y="0"/>
                  </a:cubicBezTo>
                  <a:cubicBezTo>
                    <a:pt x="0" y="0"/>
                    <a:pt x="0" y="0"/>
                    <a:pt x="0"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213">
              <a:extLst>
                <a:ext uri="{FF2B5EF4-FFF2-40B4-BE49-F238E27FC236}">
                  <a16:creationId xmlns:a16="http://schemas.microsoft.com/office/drawing/2014/main" id="{FD15871A-6B1F-DFD9-B3C4-8448D879C749}"/>
                </a:ext>
              </a:extLst>
            </p:cNvPr>
            <p:cNvSpPr>
              <a:spLocks/>
            </p:cNvSpPr>
            <p:nvPr/>
          </p:nvSpPr>
          <p:spPr bwMode="auto">
            <a:xfrm>
              <a:off x="2280825" y="5317134"/>
              <a:ext cx="14167" cy="16686"/>
            </a:xfrm>
            <a:custGeom>
              <a:avLst/>
              <a:gdLst>
                <a:gd name="T0" fmla="*/ 0 w 5"/>
                <a:gd name="T1" fmla="*/ 4 h 6"/>
                <a:gd name="T2" fmla="*/ 2 w 5"/>
                <a:gd name="T3" fmla="*/ 6 h 6"/>
                <a:gd name="T4" fmla="*/ 2 w 5"/>
                <a:gd name="T5" fmla="*/ 6 h 6"/>
                <a:gd name="T6" fmla="*/ 4 w 5"/>
                <a:gd name="T7" fmla="*/ 4 h 6"/>
                <a:gd name="T8" fmla="*/ 5 w 5"/>
                <a:gd name="T9" fmla="*/ 4 h 6"/>
                <a:gd name="T10" fmla="*/ 5 w 5"/>
                <a:gd name="T11" fmla="*/ 1 h 6"/>
                <a:gd name="T12" fmla="*/ 3 w 5"/>
                <a:gd name="T13" fmla="*/ 0 h 6"/>
                <a:gd name="T14" fmla="*/ 0 w 5"/>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4"/>
                  </a:moveTo>
                  <a:cubicBezTo>
                    <a:pt x="0" y="5"/>
                    <a:pt x="1" y="6"/>
                    <a:pt x="2" y="6"/>
                  </a:cubicBezTo>
                  <a:cubicBezTo>
                    <a:pt x="2" y="6"/>
                    <a:pt x="2" y="6"/>
                    <a:pt x="2" y="6"/>
                  </a:cubicBezTo>
                  <a:cubicBezTo>
                    <a:pt x="3" y="6"/>
                    <a:pt x="4" y="5"/>
                    <a:pt x="4" y="4"/>
                  </a:cubicBezTo>
                  <a:cubicBezTo>
                    <a:pt x="4" y="4"/>
                    <a:pt x="4" y="4"/>
                    <a:pt x="5" y="4"/>
                  </a:cubicBezTo>
                  <a:cubicBezTo>
                    <a:pt x="5" y="3"/>
                    <a:pt x="5" y="2"/>
                    <a:pt x="5" y="1"/>
                  </a:cubicBezTo>
                  <a:cubicBezTo>
                    <a:pt x="4" y="1"/>
                    <a:pt x="4" y="0"/>
                    <a:pt x="3" y="0"/>
                  </a:cubicBezTo>
                  <a:cubicBezTo>
                    <a:pt x="1" y="1"/>
                    <a:pt x="0" y="1"/>
                    <a:pt x="0" y="4"/>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120">
              <a:extLst>
                <a:ext uri="{FF2B5EF4-FFF2-40B4-BE49-F238E27FC236}">
                  <a16:creationId xmlns:a16="http://schemas.microsoft.com/office/drawing/2014/main" id="{9CDB5ECD-94C3-021C-D0D5-94FD36F1C14A}"/>
                </a:ext>
              </a:extLst>
            </p:cNvPr>
            <p:cNvSpPr>
              <a:spLocks/>
            </p:cNvSpPr>
            <p:nvPr/>
          </p:nvSpPr>
          <p:spPr bwMode="auto">
            <a:xfrm>
              <a:off x="2853420" y="3951225"/>
              <a:ext cx="848858" cy="716328"/>
            </a:xfrm>
            <a:custGeom>
              <a:avLst/>
              <a:gdLst>
                <a:gd name="T0" fmla="*/ 294 w 304"/>
                <a:gd name="T1" fmla="*/ 167 h 254"/>
                <a:gd name="T2" fmla="*/ 284 w 304"/>
                <a:gd name="T3" fmla="*/ 154 h 254"/>
                <a:gd name="T4" fmla="*/ 282 w 304"/>
                <a:gd name="T5" fmla="*/ 133 h 254"/>
                <a:gd name="T6" fmla="*/ 272 w 304"/>
                <a:gd name="T7" fmla="*/ 115 h 254"/>
                <a:gd name="T8" fmla="*/ 276 w 304"/>
                <a:gd name="T9" fmla="*/ 100 h 254"/>
                <a:gd name="T10" fmla="*/ 286 w 304"/>
                <a:gd name="T11" fmla="*/ 74 h 254"/>
                <a:gd name="T12" fmla="*/ 271 w 304"/>
                <a:gd name="T13" fmla="*/ 37 h 254"/>
                <a:gd name="T14" fmla="*/ 257 w 304"/>
                <a:gd name="T15" fmla="*/ 21 h 254"/>
                <a:gd name="T16" fmla="*/ 181 w 304"/>
                <a:gd name="T17" fmla="*/ 21 h 254"/>
                <a:gd name="T18" fmla="*/ 151 w 304"/>
                <a:gd name="T19" fmla="*/ 27 h 254"/>
                <a:gd name="T20" fmla="*/ 159 w 304"/>
                <a:gd name="T21" fmla="*/ 18 h 254"/>
                <a:gd name="T22" fmla="*/ 123 w 304"/>
                <a:gd name="T23" fmla="*/ 6 h 254"/>
                <a:gd name="T24" fmla="*/ 121 w 304"/>
                <a:gd name="T25" fmla="*/ 2 h 254"/>
                <a:gd name="T26" fmla="*/ 66 w 304"/>
                <a:gd name="T27" fmla="*/ 16 h 254"/>
                <a:gd name="T28" fmla="*/ 61 w 304"/>
                <a:gd name="T29" fmla="*/ 22 h 254"/>
                <a:gd name="T30" fmla="*/ 57 w 304"/>
                <a:gd name="T31" fmla="*/ 25 h 254"/>
                <a:gd name="T32" fmla="*/ 6 w 304"/>
                <a:gd name="T33" fmla="*/ 41 h 254"/>
                <a:gd name="T34" fmla="*/ 6 w 304"/>
                <a:gd name="T35" fmla="*/ 42 h 254"/>
                <a:gd name="T36" fmla="*/ 14 w 304"/>
                <a:gd name="T37" fmla="*/ 44 h 254"/>
                <a:gd name="T38" fmla="*/ 4 w 304"/>
                <a:gd name="T39" fmla="*/ 48 h 254"/>
                <a:gd name="T40" fmla="*/ 5 w 304"/>
                <a:gd name="T41" fmla="*/ 56 h 254"/>
                <a:gd name="T42" fmla="*/ 1 w 304"/>
                <a:gd name="T43" fmla="*/ 82 h 254"/>
                <a:gd name="T44" fmla="*/ 13 w 304"/>
                <a:gd name="T45" fmla="*/ 97 h 254"/>
                <a:gd name="T46" fmla="*/ 17 w 304"/>
                <a:gd name="T47" fmla="*/ 118 h 254"/>
                <a:gd name="T48" fmla="*/ 15 w 304"/>
                <a:gd name="T49" fmla="*/ 131 h 254"/>
                <a:gd name="T50" fmla="*/ 27 w 304"/>
                <a:gd name="T51" fmla="*/ 151 h 254"/>
                <a:gd name="T52" fmla="*/ 23 w 304"/>
                <a:gd name="T53" fmla="*/ 173 h 254"/>
                <a:gd name="T54" fmla="*/ 32 w 304"/>
                <a:gd name="T55" fmla="*/ 167 h 254"/>
                <a:gd name="T56" fmla="*/ 36 w 304"/>
                <a:gd name="T57" fmla="*/ 172 h 254"/>
                <a:gd name="T58" fmla="*/ 53 w 304"/>
                <a:gd name="T59" fmla="*/ 179 h 254"/>
                <a:gd name="T60" fmla="*/ 65 w 304"/>
                <a:gd name="T61" fmla="*/ 183 h 254"/>
                <a:gd name="T62" fmla="*/ 67 w 304"/>
                <a:gd name="T63" fmla="*/ 194 h 254"/>
                <a:gd name="T64" fmla="*/ 81 w 304"/>
                <a:gd name="T65" fmla="*/ 205 h 254"/>
                <a:gd name="T66" fmla="*/ 88 w 304"/>
                <a:gd name="T67" fmla="*/ 192 h 254"/>
                <a:gd name="T68" fmla="*/ 102 w 304"/>
                <a:gd name="T69" fmla="*/ 200 h 254"/>
                <a:gd name="T70" fmla="*/ 107 w 304"/>
                <a:gd name="T71" fmla="*/ 204 h 254"/>
                <a:gd name="T72" fmla="*/ 119 w 304"/>
                <a:gd name="T73" fmla="*/ 209 h 254"/>
                <a:gd name="T74" fmla="*/ 130 w 304"/>
                <a:gd name="T75" fmla="*/ 214 h 254"/>
                <a:gd name="T76" fmla="*/ 138 w 304"/>
                <a:gd name="T77" fmla="*/ 222 h 254"/>
                <a:gd name="T78" fmla="*/ 152 w 304"/>
                <a:gd name="T79" fmla="*/ 237 h 254"/>
                <a:gd name="T80" fmla="*/ 169 w 304"/>
                <a:gd name="T81" fmla="*/ 235 h 254"/>
                <a:gd name="T82" fmla="*/ 183 w 304"/>
                <a:gd name="T83" fmla="*/ 246 h 254"/>
                <a:gd name="T84" fmla="*/ 197 w 304"/>
                <a:gd name="T85" fmla="*/ 238 h 254"/>
                <a:gd name="T86" fmla="*/ 213 w 304"/>
                <a:gd name="T87" fmla="*/ 239 h 254"/>
                <a:gd name="T88" fmla="*/ 232 w 304"/>
                <a:gd name="T89" fmla="*/ 237 h 254"/>
                <a:gd name="T90" fmla="*/ 244 w 304"/>
                <a:gd name="T91" fmla="*/ 246 h 254"/>
                <a:gd name="T92" fmla="*/ 265 w 304"/>
                <a:gd name="T93" fmla="*/ 249 h 254"/>
                <a:gd name="T94" fmla="*/ 260 w 304"/>
                <a:gd name="T95" fmla="*/ 229 h 254"/>
                <a:gd name="T96" fmla="*/ 287 w 304"/>
                <a:gd name="T97" fmla="*/ 197 h 254"/>
                <a:gd name="T98" fmla="*/ 301 w 304"/>
                <a:gd name="T99" fmla="*/ 18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4" h="254">
                  <a:moveTo>
                    <a:pt x="299" y="180"/>
                  </a:moveTo>
                  <a:cubicBezTo>
                    <a:pt x="298" y="179"/>
                    <a:pt x="295" y="177"/>
                    <a:pt x="295" y="176"/>
                  </a:cubicBezTo>
                  <a:cubicBezTo>
                    <a:pt x="295" y="173"/>
                    <a:pt x="304" y="175"/>
                    <a:pt x="298" y="172"/>
                  </a:cubicBezTo>
                  <a:cubicBezTo>
                    <a:pt x="296" y="171"/>
                    <a:pt x="295" y="169"/>
                    <a:pt x="294" y="167"/>
                  </a:cubicBezTo>
                  <a:cubicBezTo>
                    <a:pt x="293" y="166"/>
                    <a:pt x="293" y="164"/>
                    <a:pt x="292" y="163"/>
                  </a:cubicBezTo>
                  <a:cubicBezTo>
                    <a:pt x="292" y="162"/>
                    <a:pt x="291" y="161"/>
                    <a:pt x="290" y="160"/>
                  </a:cubicBezTo>
                  <a:cubicBezTo>
                    <a:pt x="289" y="159"/>
                    <a:pt x="288" y="158"/>
                    <a:pt x="287" y="157"/>
                  </a:cubicBezTo>
                  <a:cubicBezTo>
                    <a:pt x="286" y="156"/>
                    <a:pt x="285" y="155"/>
                    <a:pt x="284" y="154"/>
                  </a:cubicBezTo>
                  <a:cubicBezTo>
                    <a:pt x="283" y="152"/>
                    <a:pt x="285" y="151"/>
                    <a:pt x="285" y="150"/>
                  </a:cubicBezTo>
                  <a:cubicBezTo>
                    <a:pt x="285" y="148"/>
                    <a:pt x="282" y="145"/>
                    <a:pt x="281" y="144"/>
                  </a:cubicBezTo>
                  <a:cubicBezTo>
                    <a:pt x="280" y="142"/>
                    <a:pt x="280" y="137"/>
                    <a:pt x="280" y="135"/>
                  </a:cubicBezTo>
                  <a:cubicBezTo>
                    <a:pt x="281" y="134"/>
                    <a:pt x="281" y="133"/>
                    <a:pt x="282" y="133"/>
                  </a:cubicBezTo>
                  <a:cubicBezTo>
                    <a:pt x="282" y="131"/>
                    <a:pt x="282" y="130"/>
                    <a:pt x="282" y="129"/>
                  </a:cubicBezTo>
                  <a:cubicBezTo>
                    <a:pt x="282" y="126"/>
                    <a:pt x="285" y="125"/>
                    <a:pt x="282" y="120"/>
                  </a:cubicBezTo>
                  <a:cubicBezTo>
                    <a:pt x="280" y="119"/>
                    <a:pt x="278" y="119"/>
                    <a:pt x="277" y="117"/>
                  </a:cubicBezTo>
                  <a:cubicBezTo>
                    <a:pt x="277" y="116"/>
                    <a:pt x="273" y="115"/>
                    <a:pt x="272" y="115"/>
                  </a:cubicBezTo>
                  <a:cubicBezTo>
                    <a:pt x="271" y="114"/>
                    <a:pt x="269" y="114"/>
                    <a:pt x="268" y="113"/>
                  </a:cubicBezTo>
                  <a:cubicBezTo>
                    <a:pt x="267" y="111"/>
                    <a:pt x="267" y="112"/>
                    <a:pt x="268" y="110"/>
                  </a:cubicBezTo>
                  <a:cubicBezTo>
                    <a:pt x="269" y="109"/>
                    <a:pt x="269" y="107"/>
                    <a:pt x="270" y="106"/>
                  </a:cubicBezTo>
                  <a:cubicBezTo>
                    <a:pt x="272" y="104"/>
                    <a:pt x="273" y="101"/>
                    <a:pt x="276" y="100"/>
                  </a:cubicBezTo>
                  <a:cubicBezTo>
                    <a:pt x="277" y="98"/>
                    <a:pt x="280" y="98"/>
                    <a:pt x="283" y="97"/>
                  </a:cubicBezTo>
                  <a:cubicBezTo>
                    <a:pt x="286" y="96"/>
                    <a:pt x="288" y="94"/>
                    <a:pt x="288" y="91"/>
                  </a:cubicBezTo>
                  <a:cubicBezTo>
                    <a:pt x="289" y="87"/>
                    <a:pt x="288" y="81"/>
                    <a:pt x="286" y="78"/>
                  </a:cubicBezTo>
                  <a:cubicBezTo>
                    <a:pt x="286" y="77"/>
                    <a:pt x="286" y="75"/>
                    <a:pt x="286" y="74"/>
                  </a:cubicBezTo>
                  <a:cubicBezTo>
                    <a:pt x="286" y="73"/>
                    <a:pt x="285" y="71"/>
                    <a:pt x="284" y="71"/>
                  </a:cubicBezTo>
                  <a:cubicBezTo>
                    <a:pt x="283" y="68"/>
                    <a:pt x="281" y="65"/>
                    <a:pt x="280" y="62"/>
                  </a:cubicBezTo>
                  <a:cubicBezTo>
                    <a:pt x="278" y="54"/>
                    <a:pt x="275" y="49"/>
                    <a:pt x="273" y="42"/>
                  </a:cubicBezTo>
                  <a:cubicBezTo>
                    <a:pt x="272" y="41"/>
                    <a:pt x="271" y="38"/>
                    <a:pt x="271" y="37"/>
                  </a:cubicBezTo>
                  <a:cubicBezTo>
                    <a:pt x="271" y="36"/>
                    <a:pt x="272" y="35"/>
                    <a:pt x="272" y="34"/>
                  </a:cubicBezTo>
                  <a:cubicBezTo>
                    <a:pt x="271" y="31"/>
                    <a:pt x="269" y="29"/>
                    <a:pt x="268" y="28"/>
                  </a:cubicBezTo>
                  <a:cubicBezTo>
                    <a:pt x="265" y="26"/>
                    <a:pt x="262" y="25"/>
                    <a:pt x="260" y="24"/>
                  </a:cubicBezTo>
                  <a:cubicBezTo>
                    <a:pt x="257" y="24"/>
                    <a:pt x="258" y="23"/>
                    <a:pt x="257" y="21"/>
                  </a:cubicBezTo>
                  <a:cubicBezTo>
                    <a:pt x="252" y="18"/>
                    <a:pt x="249" y="22"/>
                    <a:pt x="245" y="22"/>
                  </a:cubicBezTo>
                  <a:cubicBezTo>
                    <a:pt x="238" y="23"/>
                    <a:pt x="231" y="23"/>
                    <a:pt x="225" y="23"/>
                  </a:cubicBezTo>
                  <a:cubicBezTo>
                    <a:pt x="216" y="23"/>
                    <a:pt x="208" y="23"/>
                    <a:pt x="200" y="22"/>
                  </a:cubicBezTo>
                  <a:cubicBezTo>
                    <a:pt x="194" y="22"/>
                    <a:pt x="187" y="21"/>
                    <a:pt x="181" y="21"/>
                  </a:cubicBezTo>
                  <a:cubicBezTo>
                    <a:pt x="177" y="20"/>
                    <a:pt x="173" y="19"/>
                    <a:pt x="169" y="19"/>
                  </a:cubicBezTo>
                  <a:cubicBezTo>
                    <a:pt x="167" y="19"/>
                    <a:pt x="163" y="17"/>
                    <a:pt x="162" y="19"/>
                  </a:cubicBezTo>
                  <a:cubicBezTo>
                    <a:pt x="160" y="21"/>
                    <a:pt x="158" y="22"/>
                    <a:pt x="156" y="23"/>
                  </a:cubicBezTo>
                  <a:cubicBezTo>
                    <a:pt x="155" y="23"/>
                    <a:pt x="152" y="27"/>
                    <a:pt x="151" y="27"/>
                  </a:cubicBezTo>
                  <a:cubicBezTo>
                    <a:pt x="151" y="26"/>
                    <a:pt x="151" y="26"/>
                    <a:pt x="151" y="25"/>
                  </a:cubicBezTo>
                  <a:cubicBezTo>
                    <a:pt x="148" y="26"/>
                    <a:pt x="148" y="24"/>
                    <a:pt x="147" y="23"/>
                  </a:cubicBezTo>
                  <a:cubicBezTo>
                    <a:pt x="149" y="22"/>
                    <a:pt x="151" y="22"/>
                    <a:pt x="153" y="21"/>
                  </a:cubicBezTo>
                  <a:cubicBezTo>
                    <a:pt x="155" y="20"/>
                    <a:pt x="157" y="19"/>
                    <a:pt x="159" y="18"/>
                  </a:cubicBezTo>
                  <a:cubicBezTo>
                    <a:pt x="157" y="17"/>
                    <a:pt x="153" y="20"/>
                    <a:pt x="152" y="21"/>
                  </a:cubicBezTo>
                  <a:cubicBezTo>
                    <a:pt x="149" y="22"/>
                    <a:pt x="144" y="22"/>
                    <a:pt x="140" y="22"/>
                  </a:cubicBezTo>
                  <a:cubicBezTo>
                    <a:pt x="133" y="22"/>
                    <a:pt x="126" y="19"/>
                    <a:pt x="125" y="10"/>
                  </a:cubicBezTo>
                  <a:cubicBezTo>
                    <a:pt x="124" y="11"/>
                    <a:pt x="124" y="7"/>
                    <a:pt x="123" y="6"/>
                  </a:cubicBezTo>
                  <a:cubicBezTo>
                    <a:pt x="121" y="4"/>
                    <a:pt x="124" y="4"/>
                    <a:pt x="125" y="4"/>
                  </a:cubicBezTo>
                  <a:cubicBezTo>
                    <a:pt x="127" y="5"/>
                    <a:pt x="129" y="7"/>
                    <a:pt x="131" y="8"/>
                  </a:cubicBezTo>
                  <a:cubicBezTo>
                    <a:pt x="132" y="9"/>
                    <a:pt x="134" y="12"/>
                    <a:pt x="135" y="11"/>
                  </a:cubicBezTo>
                  <a:cubicBezTo>
                    <a:pt x="136" y="8"/>
                    <a:pt x="122" y="3"/>
                    <a:pt x="121" y="2"/>
                  </a:cubicBezTo>
                  <a:cubicBezTo>
                    <a:pt x="115" y="0"/>
                    <a:pt x="107" y="2"/>
                    <a:pt x="101" y="3"/>
                  </a:cubicBezTo>
                  <a:cubicBezTo>
                    <a:pt x="97" y="4"/>
                    <a:pt x="93" y="5"/>
                    <a:pt x="89" y="6"/>
                  </a:cubicBezTo>
                  <a:cubicBezTo>
                    <a:pt x="86" y="7"/>
                    <a:pt x="84" y="9"/>
                    <a:pt x="80" y="11"/>
                  </a:cubicBezTo>
                  <a:cubicBezTo>
                    <a:pt x="76" y="13"/>
                    <a:pt x="69" y="11"/>
                    <a:pt x="66" y="16"/>
                  </a:cubicBezTo>
                  <a:cubicBezTo>
                    <a:pt x="67" y="16"/>
                    <a:pt x="66" y="17"/>
                    <a:pt x="65" y="17"/>
                  </a:cubicBezTo>
                  <a:cubicBezTo>
                    <a:pt x="64" y="18"/>
                    <a:pt x="62" y="20"/>
                    <a:pt x="61" y="22"/>
                  </a:cubicBezTo>
                  <a:cubicBezTo>
                    <a:pt x="62" y="21"/>
                    <a:pt x="63" y="22"/>
                    <a:pt x="62" y="23"/>
                  </a:cubicBezTo>
                  <a:cubicBezTo>
                    <a:pt x="61" y="23"/>
                    <a:pt x="58" y="24"/>
                    <a:pt x="61" y="22"/>
                  </a:cubicBezTo>
                  <a:cubicBezTo>
                    <a:pt x="60" y="23"/>
                    <a:pt x="59" y="24"/>
                    <a:pt x="57" y="25"/>
                  </a:cubicBezTo>
                  <a:cubicBezTo>
                    <a:pt x="58" y="25"/>
                    <a:pt x="59" y="24"/>
                    <a:pt x="59" y="25"/>
                  </a:cubicBezTo>
                  <a:cubicBezTo>
                    <a:pt x="60" y="26"/>
                    <a:pt x="56" y="26"/>
                    <a:pt x="55" y="26"/>
                  </a:cubicBezTo>
                  <a:cubicBezTo>
                    <a:pt x="56" y="26"/>
                    <a:pt x="56" y="26"/>
                    <a:pt x="57" y="25"/>
                  </a:cubicBezTo>
                  <a:cubicBezTo>
                    <a:pt x="52" y="27"/>
                    <a:pt x="47" y="28"/>
                    <a:pt x="42" y="29"/>
                  </a:cubicBezTo>
                  <a:cubicBezTo>
                    <a:pt x="37" y="30"/>
                    <a:pt x="32" y="31"/>
                    <a:pt x="27" y="33"/>
                  </a:cubicBezTo>
                  <a:cubicBezTo>
                    <a:pt x="22" y="34"/>
                    <a:pt x="17" y="35"/>
                    <a:pt x="13" y="38"/>
                  </a:cubicBezTo>
                  <a:cubicBezTo>
                    <a:pt x="11" y="39"/>
                    <a:pt x="8" y="41"/>
                    <a:pt x="6" y="41"/>
                  </a:cubicBezTo>
                  <a:cubicBezTo>
                    <a:pt x="4" y="40"/>
                    <a:pt x="2" y="40"/>
                    <a:pt x="1" y="41"/>
                  </a:cubicBezTo>
                  <a:cubicBezTo>
                    <a:pt x="2" y="43"/>
                    <a:pt x="3" y="45"/>
                    <a:pt x="5" y="45"/>
                  </a:cubicBezTo>
                  <a:cubicBezTo>
                    <a:pt x="4" y="44"/>
                    <a:pt x="7" y="45"/>
                    <a:pt x="7" y="43"/>
                  </a:cubicBezTo>
                  <a:cubicBezTo>
                    <a:pt x="7" y="42"/>
                    <a:pt x="7" y="42"/>
                    <a:pt x="6" y="42"/>
                  </a:cubicBezTo>
                  <a:cubicBezTo>
                    <a:pt x="7" y="42"/>
                    <a:pt x="7" y="42"/>
                    <a:pt x="8" y="42"/>
                  </a:cubicBezTo>
                  <a:cubicBezTo>
                    <a:pt x="7" y="44"/>
                    <a:pt x="10" y="43"/>
                    <a:pt x="11" y="43"/>
                  </a:cubicBezTo>
                  <a:cubicBezTo>
                    <a:pt x="13" y="44"/>
                    <a:pt x="12" y="44"/>
                    <a:pt x="13" y="46"/>
                  </a:cubicBezTo>
                  <a:cubicBezTo>
                    <a:pt x="13" y="45"/>
                    <a:pt x="13" y="44"/>
                    <a:pt x="14" y="44"/>
                  </a:cubicBezTo>
                  <a:cubicBezTo>
                    <a:pt x="13" y="45"/>
                    <a:pt x="14" y="47"/>
                    <a:pt x="13" y="48"/>
                  </a:cubicBezTo>
                  <a:cubicBezTo>
                    <a:pt x="12" y="48"/>
                    <a:pt x="11" y="49"/>
                    <a:pt x="12" y="51"/>
                  </a:cubicBezTo>
                  <a:cubicBezTo>
                    <a:pt x="13" y="53"/>
                    <a:pt x="13" y="52"/>
                    <a:pt x="13" y="55"/>
                  </a:cubicBezTo>
                  <a:cubicBezTo>
                    <a:pt x="11" y="53"/>
                    <a:pt x="7" y="48"/>
                    <a:pt x="4" y="48"/>
                  </a:cubicBezTo>
                  <a:cubicBezTo>
                    <a:pt x="4" y="48"/>
                    <a:pt x="4" y="50"/>
                    <a:pt x="4" y="50"/>
                  </a:cubicBezTo>
                  <a:cubicBezTo>
                    <a:pt x="3" y="50"/>
                    <a:pt x="3" y="50"/>
                    <a:pt x="4" y="52"/>
                  </a:cubicBezTo>
                  <a:cubicBezTo>
                    <a:pt x="4" y="52"/>
                    <a:pt x="4" y="53"/>
                    <a:pt x="5" y="53"/>
                  </a:cubicBezTo>
                  <a:cubicBezTo>
                    <a:pt x="5" y="54"/>
                    <a:pt x="5" y="55"/>
                    <a:pt x="5" y="56"/>
                  </a:cubicBezTo>
                  <a:cubicBezTo>
                    <a:pt x="5" y="58"/>
                    <a:pt x="6" y="60"/>
                    <a:pt x="7" y="62"/>
                  </a:cubicBezTo>
                  <a:cubicBezTo>
                    <a:pt x="7" y="64"/>
                    <a:pt x="10" y="69"/>
                    <a:pt x="8" y="70"/>
                  </a:cubicBezTo>
                  <a:cubicBezTo>
                    <a:pt x="6" y="73"/>
                    <a:pt x="8" y="78"/>
                    <a:pt x="5" y="79"/>
                  </a:cubicBezTo>
                  <a:cubicBezTo>
                    <a:pt x="3" y="80"/>
                    <a:pt x="2" y="80"/>
                    <a:pt x="1" y="82"/>
                  </a:cubicBezTo>
                  <a:cubicBezTo>
                    <a:pt x="0" y="83"/>
                    <a:pt x="1" y="84"/>
                    <a:pt x="1" y="85"/>
                  </a:cubicBezTo>
                  <a:cubicBezTo>
                    <a:pt x="0" y="88"/>
                    <a:pt x="2" y="88"/>
                    <a:pt x="4" y="90"/>
                  </a:cubicBezTo>
                  <a:cubicBezTo>
                    <a:pt x="6" y="91"/>
                    <a:pt x="7" y="92"/>
                    <a:pt x="8" y="93"/>
                  </a:cubicBezTo>
                  <a:cubicBezTo>
                    <a:pt x="10" y="94"/>
                    <a:pt x="11" y="95"/>
                    <a:pt x="13" y="97"/>
                  </a:cubicBezTo>
                  <a:cubicBezTo>
                    <a:pt x="16" y="98"/>
                    <a:pt x="16" y="103"/>
                    <a:pt x="13" y="104"/>
                  </a:cubicBezTo>
                  <a:cubicBezTo>
                    <a:pt x="12" y="106"/>
                    <a:pt x="13" y="111"/>
                    <a:pt x="15" y="112"/>
                  </a:cubicBezTo>
                  <a:cubicBezTo>
                    <a:pt x="15" y="112"/>
                    <a:pt x="17" y="112"/>
                    <a:pt x="18" y="113"/>
                  </a:cubicBezTo>
                  <a:cubicBezTo>
                    <a:pt x="18" y="115"/>
                    <a:pt x="17" y="116"/>
                    <a:pt x="17" y="118"/>
                  </a:cubicBezTo>
                  <a:cubicBezTo>
                    <a:pt x="18" y="119"/>
                    <a:pt x="19" y="119"/>
                    <a:pt x="19" y="120"/>
                  </a:cubicBezTo>
                  <a:cubicBezTo>
                    <a:pt x="20" y="121"/>
                    <a:pt x="19" y="123"/>
                    <a:pt x="19" y="124"/>
                  </a:cubicBezTo>
                  <a:cubicBezTo>
                    <a:pt x="18" y="125"/>
                    <a:pt x="18" y="127"/>
                    <a:pt x="17" y="128"/>
                  </a:cubicBezTo>
                  <a:cubicBezTo>
                    <a:pt x="17" y="129"/>
                    <a:pt x="15" y="130"/>
                    <a:pt x="15" y="131"/>
                  </a:cubicBezTo>
                  <a:cubicBezTo>
                    <a:pt x="16" y="134"/>
                    <a:pt x="19" y="136"/>
                    <a:pt x="20" y="139"/>
                  </a:cubicBezTo>
                  <a:cubicBezTo>
                    <a:pt x="21" y="142"/>
                    <a:pt x="18" y="143"/>
                    <a:pt x="21" y="145"/>
                  </a:cubicBezTo>
                  <a:cubicBezTo>
                    <a:pt x="23" y="145"/>
                    <a:pt x="25" y="146"/>
                    <a:pt x="26" y="147"/>
                  </a:cubicBezTo>
                  <a:cubicBezTo>
                    <a:pt x="27" y="148"/>
                    <a:pt x="26" y="150"/>
                    <a:pt x="27" y="151"/>
                  </a:cubicBezTo>
                  <a:cubicBezTo>
                    <a:pt x="27" y="153"/>
                    <a:pt x="28" y="154"/>
                    <a:pt x="28" y="156"/>
                  </a:cubicBezTo>
                  <a:cubicBezTo>
                    <a:pt x="28" y="158"/>
                    <a:pt x="28" y="160"/>
                    <a:pt x="28" y="161"/>
                  </a:cubicBezTo>
                  <a:cubicBezTo>
                    <a:pt x="27" y="164"/>
                    <a:pt x="26" y="166"/>
                    <a:pt x="25" y="168"/>
                  </a:cubicBezTo>
                  <a:cubicBezTo>
                    <a:pt x="25" y="170"/>
                    <a:pt x="23" y="171"/>
                    <a:pt x="23" y="173"/>
                  </a:cubicBezTo>
                  <a:cubicBezTo>
                    <a:pt x="24" y="173"/>
                    <a:pt x="28" y="174"/>
                    <a:pt x="28" y="172"/>
                  </a:cubicBezTo>
                  <a:cubicBezTo>
                    <a:pt x="28" y="171"/>
                    <a:pt x="29" y="170"/>
                    <a:pt x="28" y="169"/>
                  </a:cubicBezTo>
                  <a:cubicBezTo>
                    <a:pt x="28" y="169"/>
                    <a:pt x="27" y="167"/>
                    <a:pt x="27" y="168"/>
                  </a:cubicBezTo>
                  <a:cubicBezTo>
                    <a:pt x="27" y="165"/>
                    <a:pt x="31" y="167"/>
                    <a:pt x="32" y="167"/>
                  </a:cubicBezTo>
                  <a:cubicBezTo>
                    <a:pt x="32" y="167"/>
                    <a:pt x="32" y="167"/>
                    <a:pt x="33" y="167"/>
                  </a:cubicBezTo>
                  <a:cubicBezTo>
                    <a:pt x="33" y="167"/>
                    <a:pt x="33" y="168"/>
                    <a:pt x="33" y="168"/>
                  </a:cubicBezTo>
                  <a:cubicBezTo>
                    <a:pt x="34" y="168"/>
                    <a:pt x="35" y="167"/>
                    <a:pt x="36" y="168"/>
                  </a:cubicBezTo>
                  <a:cubicBezTo>
                    <a:pt x="37" y="170"/>
                    <a:pt x="35" y="170"/>
                    <a:pt x="36" y="172"/>
                  </a:cubicBezTo>
                  <a:cubicBezTo>
                    <a:pt x="37" y="172"/>
                    <a:pt x="39" y="176"/>
                    <a:pt x="40" y="176"/>
                  </a:cubicBezTo>
                  <a:cubicBezTo>
                    <a:pt x="41" y="177"/>
                    <a:pt x="41" y="175"/>
                    <a:pt x="42" y="176"/>
                  </a:cubicBezTo>
                  <a:cubicBezTo>
                    <a:pt x="43" y="176"/>
                    <a:pt x="45" y="177"/>
                    <a:pt x="46" y="177"/>
                  </a:cubicBezTo>
                  <a:cubicBezTo>
                    <a:pt x="48" y="178"/>
                    <a:pt x="51" y="178"/>
                    <a:pt x="53" y="179"/>
                  </a:cubicBezTo>
                  <a:cubicBezTo>
                    <a:pt x="54" y="181"/>
                    <a:pt x="58" y="180"/>
                    <a:pt x="58" y="182"/>
                  </a:cubicBezTo>
                  <a:cubicBezTo>
                    <a:pt x="58" y="183"/>
                    <a:pt x="58" y="184"/>
                    <a:pt x="59" y="184"/>
                  </a:cubicBezTo>
                  <a:cubicBezTo>
                    <a:pt x="60" y="184"/>
                    <a:pt x="61" y="183"/>
                    <a:pt x="61" y="182"/>
                  </a:cubicBezTo>
                  <a:cubicBezTo>
                    <a:pt x="63" y="182"/>
                    <a:pt x="64" y="183"/>
                    <a:pt x="65" y="183"/>
                  </a:cubicBezTo>
                  <a:cubicBezTo>
                    <a:pt x="66" y="182"/>
                    <a:pt x="65" y="182"/>
                    <a:pt x="67" y="182"/>
                  </a:cubicBezTo>
                  <a:cubicBezTo>
                    <a:pt x="69" y="182"/>
                    <a:pt x="71" y="183"/>
                    <a:pt x="71" y="186"/>
                  </a:cubicBezTo>
                  <a:cubicBezTo>
                    <a:pt x="71" y="188"/>
                    <a:pt x="66" y="190"/>
                    <a:pt x="64" y="191"/>
                  </a:cubicBezTo>
                  <a:cubicBezTo>
                    <a:pt x="64" y="192"/>
                    <a:pt x="67" y="194"/>
                    <a:pt x="67" y="194"/>
                  </a:cubicBezTo>
                  <a:cubicBezTo>
                    <a:pt x="68" y="195"/>
                    <a:pt x="69" y="194"/>
                    <a:pt x="70" y="195"/>
                  </a:cubicBezTo>
                  <a:cubicBezTo>
                    <a:pt x="70" y="196"/>
                    <a:pt x="71" y="197"/>
                    <a:pt x="71" y="197"/>
                  </a:cubicBezTo>
                  <a:cubicBezTo>
                    <a:pt x="74" y="199"/>
                    <a:pt x="74" y="201"/>
                    <a:pt x="76" y="204"/>
                  </a:cubicBezTo>
                  <a:cubicBezTo>
                    <a:pt x="77" y="206"/>
                    <a:pt x="79" y="207"/>
                    <a:pt x="81" y="205"/>
                  </a:cubicBezTo>
                  <a:cubicBezTo>
                    <a:pt x="82" y="204"/>
                    <a:pt x="83" y="202"/>
                    <a:pt x="84" y="202"/>
                  </a:cubicBezTo>
                  <a:cubicBezTo>
                    <a:pt x="85" y="202"/>
                    <a:pt x="85" y="202"/>
                    <a:pt x="86" y="202"/>
                  </a:cubicBezTo>
                  <a:cubicBezTo>
                    <a:pt x="86" y="201"/>
                    <a:pt x="89" y="199"/>
                    <a:pt x="89" y="201"/>
                  </a:cubicBezTo>
                  <a:cubicBezTo>
                    <a:pt x="89" y="198"/>
                    <a:pt x="81" y="190"/>
                    <a:pt x="88" y="192"/>
                  </a:cubicBezTo>
                  <a:cubicBezTo>
                    <a:pt x="90" y="193"/>
                    <a:pt x="92" y="194"/>
                    <a:pt x="93" y="194"/>
                  </a:cubicBezTo>
                  <a:cubicBezTo>
                    <a:pt x="95" y="194"/>
                    <a:pt x="94" y="195"/>
                    <a:pt x="95" y="195"/>
                  </a:cubicBezTo>
                  <a:cubicBezTo>
                    <a:pt x="96" y="196"/>
                    <a:pt x="101" y="197"/>
                    <a:pt x="99" y="199"/>
                  </a:cubicBezTo>
                  <a:cubicBezTo>
                    <a:pt x="100" y="198"/>
                    <a:pt x="102" y="200"/>
                    <a:pt x="102" y="200"/>
                  </a:cubicBezTo>
                  <a:cubicBezTo>
                    <a:pt x="103" y="200"/>
                    <a:pt x="104" y="199"/>
                    <a:pt x="105" y="199"/>
                  </a:cubicBezTo>
                  <a:cubicBezTo>
                    <a:pt x="106" y="199"/>
                    <a:pt x="108" y="200"/>
                    <a:pt x="109" y="198"/>
                  </a:cubicBezTo>
                  <a:cubicBezTo>
                    <a:pt x="111" y="194"/>
                    <a:pt x="110" y="200"/>
                    <a:pt x="111" y="201"/>
                  </a:cubicBezTo>
                  <a:cubicBezTo>
                    <a:pt x="112" y="203"/>
                    <a:pt x="107" y="202"/>
                    <a:pt x="107" y="204"/>
                  </a:cubicBezTo>
                  <a:cubicBezTo>
                    <a:pt x="107" y="205"/>
                    <a:pt x="110" y="206"/>
                    <a:pt x="111" y="206"/>
                  </a:cubicBezTo>
                  <a:cubicBezTo>
                    <a:pt x="111" y="207"/>
                    <a:pt x="112" y="209"/>
                    <a:pt x="113" y="210"/>
                  </a:cubicBezTo>
                  <a:cubicBezTo>
                    <a:pt x="114" y="212"/>
                    <a:pt x="119" y="212"/>
                    <a:pt x="120" y="210"/>
                  </a:cubicBezTo>
                  <a:cubicBezTo>
                    <a:pt x="120" y="209"/>
                    <a:pt x="120" y="209"/>
                    <a:pt x="119" y="209"/>
                  </a:cubicBezTo>
                  <a:cubicBezTo>
                    <a:pt x="119" y="209"/>
                    <a:pt x="120" y="208"/>
                    <a:pt x="121" y="208"/>
                  </a:cubicBezTo>
                  <a:cubicBezTo>
                    <a:pt x="121" y="209"/>
                    <a:pt x="121" y="209"/>
                    <a:pt x="122" y="210"/>
                  </a:cubicBezTo>
                  <a:cubicBezTo>
                    <a:pt x="123" y="212"/>
                    <a:pt x="125" y="211"/>
                    <a:pt x="126" y="212"/>
                  </a:cubicBezTo>
                  <a:cubicBezTo>
                    <a:pt x="128" y="213"/>
                    <a:pt x="128" y="214"/>
                    <a:pt x="130" y="214"/>
                  </a:cubicBezTo>
                  <a:cubicBezTo>
                    <a:pt x="132" y="213"/>
                    <a:pt x="133" y="215"/>
                    <a:pt x="135" y="215"/>
                  </a:cubicBezTo>
                  <a:cubicBezTo>
                    <a:pt x="136" y="215"/>
                    <a:pt x="135" y="214"/>
                    <a:pt x="136" y="215"/>
                  </a:cubicBezTo>
                  <a:cubicBezTo>
                    <a:pt x="137" y="215"/>
                    <a:pt x="137" y="216"/>
                    <a:pt x="137" y="216"/>
                  </a:cubicBezTo>
                  <a:cubicBezTo>
                    <a:pt x="137" y="218"/>
                    <a:pt x="137" y="219"/>
                    <a:pt x="138" y="222"/>
                  </a:cubicBezTo>
                  <a:cubicBezTo>
                    <a:pt x="140" y="225"/>
                    <a:pt x="144" y="224"/>
                    <a:pt x="145" y="229"/>
                  </a:cubicBezTo>
                  <a:cubicBezTo>
                    <a:pt x="146" y="231"/>
                    <a:pt x="145" y="232"/>
                    <a:pt x="147" y="232"/>
                  </a:cubicBezTo>
                  <a:cubicBezTo>
                    <a:pt x="149" y="232"/>
                    <a:pt x="149" y="234"/>
                    <a:pt x="149" y="236"/>
                  </a:cubicBezTo>
                  <a:cubicBezTo>
                    <a:pt x="149" y="238"/>
                    <a:pt x="151" y="237"/>
                    <a:pt x="152" y="237"/>
                  </a:cubicBezTo>
                  <a:cubicBezTo>
                    <a:pt x="154" y="237"/>
                    <a:pt x="155" y="238"/>
                    <a:pt x="156" y="235"/>
                  </a:cubicBezTo>
                  <a:cubicBezTo>
                    <a:pt x="157" y="233"/>
                    <a:pt x="157" y="232"/>
                    <a:pt x="159" y="231"/>
                  </a:cubicBezTo>
                  <a:cubicBezTo>
                    <a:pt x="161" y="231"/>
                    <a:pt x="162" y="228"/>
                    <a:pt x="164" y="228"/>
                  </a:cubicBezTo>
                  <a:cubicBezTo>
                    <a:pt x="167" y="228"/>
                    <a:pt x="165" y="236"/>
                    <a:pt x="169" y="235"/>
                  </a:cubicBezTo>
                  <a:cubicBezTo>
                    <a:pt x="168" y="239"/>
                    <a:pt x="173" y="236"/>
                    <a:pt x="174" y="238"/>
                  </a:cubicBezTo>
                  <a:cubicBezTo>
                    <a:pt x="175" y="240"/>
                    <a:pt x="173" y="246"/>
                    <a:pt x="174" y="246"/>
                  </a:cubicBezTo>
                  <a:cubicBezTo>
                    <a:pt x="176" y="246"/>
                    <a:pt x="178" y="244"/>
                    <a:pt x="180" y="245"/>
                  </a:cubicBezTo>
                  <a:cubicBezTo>
                    <a:pt x="181" y="245"/>
                    <a:pt x="183" y="248"/>
                    <a:pt x="183" y="246"/>
                  </a:cubicBezTo>
                  <a:cubicBezTo>
                    <a:pt x="184" y="245"/>
                    <a:pt x="184" y="243"/>
                    <a:pt x="184" y="242"/>
                  </a:cubicBezTo>
                  <a:cubicBezTo>
                    <a:pt x="186" y="240"/>
                    <a:pt x="188" y="241"/>
                    <a:pt x="189" y="239"/>
                  </a:cubicBezTo>
                  <a:cubicBezTo>
                    <a:pt x="190" y="239"/>
                    <a:pt x="190" y="238"/>
                    <a:pt x="190" y="238"/>
                  </a:cubicBezTo>
                  <a:cubicBezTo>
                    <a:pt x="192" y="236"/>
                    <a:pt x="196" y="238"/>
                    <a:pt x="197" y="238"/>
                  </a:cubicBezTo>
                  <a:cubicBezTo>
                    <a:pt x="199" y="237"/>
                    <a:pt x="200" y="235"/>
                    <a:pt x="202" y="237"/>
                  </a:cubicBezTo>
                  <a:cubicBezTo>
                    <a:pt x="203" y="238"/>
                    <a:pt x="204" y="239"/>
                    <a:pt x="205" y="240"/>
                  </a:cubicBezTo>
                  <a:cubicBezTo>
                    <a:pt x="208" y="240"/>
                    <a:pt x="208" y="242"/>
                    <a:pt x="211" y="240"/>
                  </a:cubicBezTo>
                  <a:cubicBezTo>
                    <a:pt x="211" y="240"/>
                    <a:pt x="213" y="239"/>
                    <a:pt x="213" y="239"/>
                  </a:cubicBezTo>
                  <a:cubicBezTo>
                    <a:pt x="213" y="237"/>
                    <a:pt x="211" y="237"/>
                    <a:pt x="213" y="236"/>
                  </a:cubicBezTo>
                  <a:cubicBezTo>
                    <a:pt x="214" y="235"/>
                    <a:pt x="216" y="237"/>
                    <a:pt x="218" y="236"/>
                  </a:cubicBezTo>
                  <a:cubicBezTo>
                    <a:pt x="219" y="235"/>
                    <a:pt x="219" y="235"/>
                    <a:pt x="221" y="236"/>
                  </a:cubicBezTo>
                  <a:cubicBezTo>
                    <a:pt x="225" y="237"/>
                    <a:pt x="228" y="235"/>
                    <a:pt x="232" y="237"/>
                  </a:cubicBezTo>
                  <a:cubicBezTo>
                    <a:pt x="233" y="238"/>
                    <a:pt x="233" y="239"/>
                    <a:pt x="234" y="238"/>
                  </a:cubicBezTo>
                  <a:cubicBezTo>
                    <a:pt x="236" y="237"/>
                    <a:pt x="238" y="238"/>
                    <a:pt x="238" y="239"/>
                  </a:cubicBezTo>
                  <a:cubicBezTo>
                    <a:pt x="239" y="240"/>
                    <a:pt x="240" y="241"/>
                    <a:pt x="241" y="242"/>
                  </a:cubicBezTo>
                  <a:cubicBezTo>
                    <a:pt x="242" y="244"/>
                    <a:pt x="242" y="246"/>
                    <a:pt x="244" y="246"/>
                  </a:cubicBezTo>
                  <a:cubicBezTo>
                    <a:pt x="246" y="247"/>
                    <a:pt x="247" y="247"/>
                    <a:pt x="248" y="248"/>
                  </a:cubicBezTo>
                  <a:cubicBezTo>
                    <a:pt x="250" y="249"/>
                    <a:pt x="252" y="248"/>
                    <a:pt x="253" y="250"/>
                  </a:cubicBezTo>
                  <a:cubicBezTo>
                    <a:pt x="254" y="250"/>
                    <a:pt x="268" y="254"/>
                    <a:pt x="268" y="254"/>
                  </a:cubicBezTo>
                  <a:cubicBezTo>
                    <a:pt x="268" y="253"/>
                    <a:pt x="266" y="250"/>
                    <a:pt x="265" y="249"/>
                  </a:cubicBezTo>
                  <a:cubicBezTo>
                    <a:pt x="265" y="249"/>
                    <a:pt x="262" y="247"/>
                    <a:pt x="262" y="247"/>
                  </a:cubicBezTo>
                  <a:cubicBezTo>
                    <a:pt x="262" y="246"/>
                    <a:pt x="263" y="245"/>
                    <a:pt x="263" y="244"/>
                  </a:cubicBezTo>
                  <a:cubicBezTo>
                    <a:pt x="263" y="242"/>
                    <a:pt x="263" y="240"/>
                    <a:pt x="262" y="238"/>
                  </a:cubicBezTo>
                  <a:cubicBezTo>
                    <a:pt x="261" y="235"/>
                    <a:pt x="259" y="232"/>
                    <a:pt x="260" y="229"/>
                  </a:cubicBezTo>
                  <a:cubicBezTo>
                    <a:pt x="262" y="226"/>
                    <a:pt x="265" y="224"/>
                    <a:pt x="266" y="221"/>
                  </a:cubicBezTo>
                  <a:cubicBezTo>
                    <a:pt x="269" y="218"/>
                    <a:pt x="271" y="214"/>
                    <a:pt x="273" y="211"/>
                  </a:cubicBezTo>
                  <a:cubicBezTo>
                    <a:pt x="276" y="208"/>
                    <a:pt x="279" y="205"/>
                    <a:pt x="282" y="202"/>
                  </a:cubicBezTo>
                  <a:cubicBezTo>
                    <a:pt x="284" y="200"/>
                    <a:pt x="286" y="199"/>
                    <a:pt x="287" y="197"/>
                  </a:cubicBezTo>
                  <a:cubicBezTo>
                    <a:pt x="288" y="196"/>
                    <a:pt x="289" y="195"/>
                    <a:pt x="290" y="194"/>
                  </a:cubicBezTo>
                  <a:cubicBezTo>
                    <a:pt x="292" y="192"/>
                    <a:pt x="295" y="194"/>
                    <a:pt x="297" y="193"/>
                  </a:cubicBezTo>
                  <a:cubicBezTo>
                    <a:pt x="299" y="192"/>
                    <a:pt x="297" y="190"/>
                    <a:pt x="298" y="189"/>
                  </a:cubicBezTo>
                  <a:cubicBezTo>
                    <a:pt x="299" y="188"/>
                    <a:pt x="300" y="188"/>
                    <a:pt x="301" y="187"/>
                  </a:cubicBezTo>
                  <a:cubicBezTo>
                    <a:pt x="302" y="186"/>
                    <a:pt x="299" y="180"/>
                    <a:pt x="299" y="180"/>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123">
              <a:extLst>
                <a:ext uri="{FF2B5EF4-FFF2-40B4-BE49-F238E27FC236}">
                  <a16:creationId xmlns:a16="http://schemas.microsoft.com/office/drawing/2014/main" id="{F5401266-69D3-E906-B9DE-8F56B0DB29A5}"/>
                </a:ext>
              </a:extLst>
            </p:cNvPr>
            <p:cNvSpPr>
              <a:spLocks/>
            </p:cNvSpPr>
            <p:nvPr/>
          </p:nvSpPr>
          <p:spPr bwMode="auto">
            <a:xfrm>
              <a:off x="2806196" y="4933345"/>
              <a:ext cx="276262" cy="185935"/>
            </a:xfrm>
            <a:custGeom>
              <a:avLst/>
              <a:gdLst>
                <a:gd name="T0" fmla="*/ 95 w 99"/>
                <a:gd name="T1" fmla="*/ 14 h 66"/>
                <a:gd name="T2" fmla="*/ 92 w 99"/>
                <a:gd name="T3" fmla="*/ 9 h 66"/>
                <a:gd name="T4" fmla="*/ 89 w 99"/>
                <a:gd name="T5" fmla="*/ 1 h 66"/>
                <a:gd name="T6" fmla="*/ 79 w 99"/>
                <a:gd name="T7" fmla="*/ 3 h 66"/>
                <a:gd name="T8" fmla="*/ 76 w 99"/>
                <a:gd name="T9" fmla="*/ 8 h 66"/>
                <a:gd name="T10" fmla="*/ 66 w 99"/>
                <a:gd name="T11" fmla="*/ 11 h 66"/>
                <a:gd name="T12" fmla="*/ 58 w 99"/>
                <a:gd name="T13" fmla="*/ 10 h 66"/>
                <a:gd name="T14" fmla="*/ 43 w 99"/>
                <a:gd name="T15" fmla="*/ 16 h 66"/>
                <a:gd name="T16" fmla="*/ 29 w 99"/>
                <a:gd name="T17" fmla="*/ 20 h 66"/>
                <a:gd name="T18" fmla="*/ 17 w 99"/>
                <a:gd name="T19" fmla="*/ 16 h 66"/>
                <a:gd name="T20" fmla="*/ 4 w 99"/>
                <a:gd name="T21" fmla="*/ 21 h 66"/>
                <a:gd name="T22" fmla="*/ 2 w 99"/>
                <a:gd name="T23" fmla="*/ 30 h 66"/>
                <a:gd name="T24" fmla="*/ 5 w 99"/>
                <a:gd name="T25" fmla="*/ 30 h 66"/>
                <a:gd name="T26" fmla="*/ 3 w 99"/>
                <a:gd name="T27" fmla="*/ 37 h 66"/>
                <a:gd name="T28" fmla="*/ 7 w 99"/>
                <a:gd name="T29" fmla="*/ 47 h 66"/>
                <a:gd name="T30" fmla="*/ 14 w 99"/>
                <a:gd name="T31" fmla="*/ 52 h 66"/>
                <a:gd name="T32" fmla="*/ 10 w 99"/>
                <a:gd name="T33" fmla="*/ 57 h 66"/>
                <a:gd name="T34" fmla="*/ 9 w 99"/>
                <a:gd name="T35" fmla="*/ 63 h 66"/>
                <a:gd name="T36" fmla="*/ 19 w 99"/>
                <a:gd name="T37" fmla="*/ 63 h 66"/>
                <a:gd name="T38" fmla="*/ 24 w 99"/>
                <a:gd name="T39" fmla="*/ 62 h 66"/>
                <a:gd name="T40" fmla="*/ 36 w 99"/>
                <a:gd name="T41" fmla="*/ 56 h 66"/>
                <a:gd name="T42" fmla="*/ 41 w 99"/>
                <a:gd name="T43" fmla="*/ 60 h 66"/>
                <a:gd name="T44" fmla="*/ 53 w 99"/>
                <a:gd name="T45" fmla="*/ 63 h 66"/>
                <a:gd name="T46" fmla="*/ 62 w 99"/>
                <a:gd name="T47" fmla="*/ 62 h 66"/>
                <a:gd name="T48" fmla="*/ 62 w 99"/>
                <a:gd name="T49" fmla="*/ 55 h 66"/>
                <a:gd name="T50" fmla="*/ 58 w 99"/>
                <a:gd name="T51" fmla="*/ 52 h 66"/>
                <a:gd name="T52" fmla="*/ 68 w 99"/>
                <a:gd name="T53" fmla="*/ 47 h 66"/>
                <a:gd name="T54" fmla="*/ 72 w 99"/>
                <a:gd name="T55" fmla="*/ 37 h 66"/>
                <a:gd name="T56" fmla="*/ 73 w 99"/>
                <a:gd name="T57" fmla="*/ 30 h 66"/>
                <a:gd name="T58" fmla="*/ 78 w 99"/>
                <a:gd name="T59" fmla="*/ 27 h 66"/>
                <a:gd name="T60" fmla="*/ 85 w 99"/>
                <a:gd name="T61" fmla="*/ 21 h 66"/>
                <a:gd name="T62" fmla="*/ 88 w 99"/>
                <a:gd name="T63" fmla="*/ 1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66">
                  <a:moveTo>
                    <a:pt x="99" y="18"/>
                  </a:moveTo>
                  <a:cubicBezTo>
                    <a:pt x="97" y="17"/>
                    <a:pt x="96" y="15"/>
                    <a:pt x="95" y="14"/>
                  </a:cubicBezTo>
                  <a:cubicBezTo>
                    <a:pt x="94" y="13"/>
                    <a:pt x="93" y="12"/>
                    <a:pt x="92" y="11"/>
                  </a:cubicBezTo>
                  <a:cubicBezTo>
                    <a:pt x="91" y="9"/>
                    <a:pt x="92" y="10"/>
                    <a:pt x="92" y="9"/>
                  </a:cubicBezTo>
                  <a:cubicBezTo>
                    <a:pt x="93" y="8"/>
                    <a:pt x="91" y="7"/>
                    <a:pt x="91" y="7"/>
                  </a:cubicBezTo>
                  <a:cubicBezTo>
                    <a:pt x="88" y="5"/>
                    <a:pt x="91" y="2"/>
                    <a:pt x="89" y="1"/>
                  </a:cubicBezTo>
                  <a:cubicBezTo>
                    <a:pt x="88" y="0"/>
                    <a:pt x="86" y="0"/>
                    <a:pt x="85" y="1"/>
                  </a:cubicBezTo>
                  <a:cubicBezTo>
                    <a:pt x="83" y="0"/>
                    <a:pt x="80" y="1"/>
                    <a:pt x="79" y="3"/>
                  </a:cubicBezTo>
                  <a:cubicBezTo>
                    <a:pt x="79" y="6"/>
                    <a:pt x="81" y="7"/>
                    <a:pt x="81" y="10"/>
                  </a:cubicBezTo>
                  <a:cubicBezTo>
                    <a:pt x="79" y="8"/>
                    <a:pt x="78" y="8"/>
                    <a:pt x="76" y="8"/>
                  </a:cubicBezTo>
                  <a:cubicBezTo>
                    <a:pt x="75" y="7"/>
                    <a:pt x="73" y="8"/>
                    <a:pt x="72" y="8"/>
                  </a:cubicBezTo>
                  <a:cubicBezTo>
                    <a:pt x="70" y="8"/>
                    <a:pt x="66" y="8"/>
                    <a:pt x="66" y="11"/>
                  </a:cubicBezTo>
                  <a:cubicBezTo>
                    <a:pt x="65" y="12"/>
                    <a:pt x="64" y="12"/>
                    <a:pt x="63" y="11"/>
                  </a:cubicBezTo>
                  <a:cubicBezTo>
                    <a:pt x="61" y="10"/>
                    <a:pt x="60" y="10"/>
                    <a:pt x="58" y="10"/>
                  </a:cubicBezTo>
                  <a:cubicBezTo>
                    <a:pt x="56" y="10"/>
                    <a:pt x="50" y="9"/>
                    <a:pt x="49" y="12"/>
                  </a:cubicBezTo>
                  <a:cubicBezTo>
                    <a:pt x="47" y="8"/>
                    <a:pt x="44" y="16"/>
                    <a:pt x="43" y="16"/>
                  </a:cubicBezTo>
                  <a:cubicBezTo>
                    <a:pt x="41" y="18"/>
                    <a:pt x="37" y="19"/>
                    <a:pt x="36" y="22"/>
                  </a:cubicBezTo>
                  <a:cubicBezTo>
                    <a:pt x="34" y="20"/>
                    <a:pt x="32" y="20"/>
                    <a:pt x="29" y="20"/>
                  </a:cubicBezTo>
                  <a:cubicBezTo>
                    <a:pt x="27" y="20"/>
                    <a:pt x="25" y="20"/>
                    <a:pt x="23" y="19"/>
                  </a:cubicBezTo>
                  <a:cubicBezTo>
                    <a:pt x="21" y="18"/>
                    <a:pt x="19" y="17"/>
                    <a:pt x="17" y="16"/>
                  </a:cubicBezTo>
                  <a:cubicBezTo>
                    <a:pt x="15" y="16"/>
                    <a:pt x="12" y="17"/>
                    <a:pt x="10" y="16"/>
                  </a:cubicBezTo>
                  <a:cubicBezTo>
                    <a:pt x="9" y="20"/>
                    <a:pt x="7" y="20"/>
                    <a:pt x="4" y="21"/>
                  </a:cubicBezTo>
                  <a:cubicBezTo>
                    <a:pt x="2" y="22"/>
                    <a:pt x="1" y="23"/>
                    <a:pt x="0" y="25"/>
                  </a:cubicBezTo>
                  <a:cubicBezTo>
                    <a:pt x="0" y="26"/>
                    <a:pt x="1" y="31"/>
                    <a:pt x="2" y="30"/>
                  </a:cubicBezTo>
                  <a:cubicBezTo>
                    <a:pt x="1" y="29"/>
                    <a:pt x="2" y="28"/>
                    <a:pt x="3" y="29"/>
                  </a:cubicBezTo>
                  <a:cubicBezTo>
                    <a:pt x="4" y="29"/>
                    <a:pt x="4" y="29"/>
                    <a:pt x="5" y="30"/>
                  </a:cubicBezTo>
                  <a:cubicBezTo>
                    <a:pt x="6" y="30"/>
                    <a:pt x="8" y="31"/>
                    <a:pt x="9" y="31"/>
                  </a:cubicBezTo>
                  <a:cubicBezTo>
                    <a:pt x="8" y="34"/>
                    <a:pt x="6" y="36"/>
                    <a:pt x="3" y="37"/>
                  </a:cubicBezTo>
                  <a:cubicBezTo>
                    <a:pt x="4" y="38"/>
                    <a:pt x="3" y="41"/>
                    <a:pt x="5" y="40"/>
                  </a:cubicBezTo>
                  <a:cubicBezTo>
                    <a:pt x="11" y="39"/>
                    <a:pt x="5" y="45"/>
                    <a:pt x="7" y="47"/>
                  </a:cubicBezTo>
                  <a:cubicBezTo>
                    <a:pt x="7" y="49"/>
                    <a:pt x="9" y="49"/>
                    <a:pt x="10" y="49"/>
                  </a:cubicBezTo>
                  <a:cubicBezTo>
                    <a:pt x="12" y="50"/>
                    <a:pt x="13" y="50"/>
                    <a:pt x="14" y="52"/>
                  </a:cubicBezTo>
                  <a:cubicBezTo>
                    <a:pt x="15" y="53"/>
                    <a:pt x="17" y="55"/>
                    <a:pt x="16" y="56"/>
                  </a:cubicBezTo>
                  <a:cubicBezTo>
                    <a:pt x="15" y="59"/>
                    <a:pt x="12" y="57"/>
                    <a:pt x="10" y="57"/>
                  </a:cubicBezTo>
                  <a:cubicBezTo>
                    <a:pt x="14" y="59"/>
                    <a:pt x="7" y="60"/>
                    <a:pt x="6" y="60"/>
                  </a:cubicBezTo>
                  <a:cubicBezTo>
                    <a:pt x="7" y="61"/>
                    <a:pt x="7" y="63"/>
                    <a:pt x="9" y="63"/>
                  </a:cubicBezTo>
                  <a:cubicBezTo>
                    <a:pt x="10" y="63"/>
                    <a:pt x="13" y="62"/>
                    <a:pt x="14" y="64"/>
                  </a:cubicBezTo>
                  <a:cubicBezTo>
                    <a:pt x="16" y="66"/>
                    <a:pt x="17" y="63"/>
                    <a:pt x="19" y="63"/>
                  </a:cubicBezTo>
                  <a:cubicBezTo>
                    <a:pt x="20" y="63"/>
                    <a:pt x="18" y="61"/>
                    <a:pt x="19" y="61"/>
                  </a:cubicBezTo>
                  <a:cubicBezTo>
                    <a:pt x="21" y="60"/>
                    <a:pt x="22" y="63"/>
                    <a:pt x="24" y="62"/>
                  </a:cubicBezTo>
                  <a:cubicBezTo>
                    <a:pt x="26" y="61"/>
                    <a:pt x="27" y="61"/>
                    <a:pt x="30" y="61"/>
                  </a:cubicBezTo>
                  <a:cubicBezTo>
                    <a:pt x="33" y="62"/>
                    <a:pt x="35" y="59"/>
                    <a:pt x="36" y="56"/>
                  </a:cubicBezTo>
                  <a:cubicBezTo>
                    <a:pt x="37" y="53"/>
                    <a:pt x="37" y="54"/>
                    <a:pt x="38" y="56"/>
                  </a:cubicBezTo>
                  <a:cubicBezTo>
                    <a:pt x="41" y="58"/>
                    <a:pt x="41" y="59"/>
                    <a:pt x="41" y="60"/>
                  </a:cubicBezTo>
                  <a:cubicBezTo>
                    <a:pt x="43" y="61"/>
                    <a:pt x="45" y="64"/>
                    <a:pt x="47" y="61"/>
                  </a:cubicBezTo>
                  <a:cubicBezTo>
                    <a:pt x="48" y="59"/>
                    <a:pt x="52" y="62"/>
                    <a:pt x="53" y="63"/>
                  </a:cubicBezTo>
                  <a:cubicBezTo>
                    <a:pt x="55" y="64"/>
                    <a:pt x="56" y="65"/>
                    <a:pt x="58" y="63"/>
                  </a:cubicBezTo>
                  <a:cubicBezTo>
                    <a:pt x="59" y="63"/>
                    <a:pt x="61" y="64"/>
                    <a:pt x="62" y="62"/>
                  </a:cubicBezTo>
                  <a:cubicBezTo>
                    <a:pt x="61" y="61"/>
                    <a:pt x="59" y="59"/>
                    <a:pt x="59" y="57"/>
                  </a:cubicBezTo>
                  <a:cubicBezTo>
                    <a:pt x="59" y="55"/>
                    <a:pt x="61" y="54"/>
                    <a:pt x="62" y="55"/>
                  </a:cubicBezTo>
                  <a:cubicBezTo>
                    <a:pt x="62" y="55"/>
                    <a:pt x="62" y="54"/>
                    <a:pt x="61" y="53"/>
                  </a:cubicBezTo>
                  <a:cubicBezTo>
                    <a:pt x="59" y="53"/>
                    <a:pt x="58" y="52"/>
                    <a:pt x="58" y="52"/>
                  </a:cubicBezTo>
                  <a:cubicBezTo>
                    <a:pt x="60" y="50"/>
                    <a:pt x="62" y="49"/>
                    <a:pt x="63" y="48"/>
                  </a:cubicBezTo>
                  <a:cubicBezTo>
                    <a:pt x="64" y="47"/>
                    <a:pt x="66" y="47"/>
                    <a:pt x="68" y="47"/>
                  </a:cubicBezTo>
                  <a:cubicBezTo>
                    <a:pt x="73" y="47"/>
                    <a:pt x="71" y="45"/>
                    <a:pt x="71" y="42"/>
                  </a:cubicBezTo>
                  <a:cubicBezTo>
                    <a:pt x="71" y="41"/>
                    <a:pt x="72" y="38"/>
                    <a:pt x="72" y="37"/>
                  </a:cubicBezTo>
                  <a:cubicBezTo>
                    <a:pt x="71" y="36"/>
                    <a:pt x="70" y="36"/>
                    <a:pt x="69" y="35"/>
                  </a:cubicBezTo>
                  <a:cubicBezTo>
                    <a:pt x="66" y="32"/>
                    <a:pt x="70" y="29"/>
                    <a:pt x="73" y="30"/>
                  </a:cubicBezTo>
                  <a:cubicBezTo>
                    <a:pt x="74" y="30"/>
                    <a:pt x="74" y="29"/>
                    <a:pt x="75" y="28"/>
                  </a:cubicBezTo>
                  <a:cubicBezTo>
                    <a:pt x="76" y="27"/>
                    <a:pt x="77" y="27"/>
                    <a:pt x="78" y="27"/>
                  </a:cubicBezTo>
                  <a:cubicBezTo>
                    <a:pt x="80" y="27"/>
                    <a:pt x="83" y="25"/>
                    <a:pt x="82" y="22"/>
                  </a:cubicBezTo>
                  <a:cubicBezTo>
                    <a:pt x="84" y="23"/>
                    <a:pt x="84" y="21"/>
                    <a:pt x="85" y="21"/>
                  </a:cubicBezTo>
                  <a:cubicBezTo>
                    <a:pt x="86" y="22"/>
                    <a:pt x="87" y="22"/>
                    <a:pt x="87" y="23"/>
                  </a:cubicBezTo>
                  <a:cubicBezTo>
                    <a:pt x="90" y="24"/>
                    <a:pt x="88" y="21"/>
                    <a:pt x="88" y="19"/>
                  </a:cubicBezTo>
                  <a:cubicBezTo>
                    <a:pt x="86" y="11"/>
                    <a:pt x="97" y="19"/>
                    <a:pt x="99" y="18"/>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124">
              <a:extLst>
                <a:ext uri="{FF2B5EF4-FFF2-40B4-BE49-F238E27FC236}">
                  <a16:creationId xmlns:a16="http://schemas.microsoft.com/office/drawing/2014/main" id="{D0EB29A0-48C7-A21A-506B-996B1F64B45D}"/>
                </a:ext>
              </a:extLst>
            </p:cNvPr>
            <p:cNvSpPr>
              <a:spLocks/>
            </p:cNvSpPr>
            <p:nvPr/>
          </p:nvSpPr>
          <p:spPr bwMode="auto">
            <a:xfrm>
              <a:off x="2884116" y="5144309"/>
              <a:ext cx="24793" cy="73897"/>
            </a:xfrm>
            <a:custGeom>
              <a:avLst/>
              <a:gdLst>
                <a:gd name="T0" fmla="*/ 6 w 9"/>
                <a:gd name="T1" fmla="*/ 15 h 26"/>
                <a:gd name="T2" fmla="*/ 5 w 9"/>
                <a:gd name="T3" fmla="*/ 9 h 26"/>
                <a:gd name="T4" fmla="*/ 3 w 9"/>
                <a:gd name="T5" fmla="*/ 3 h 26"/>
                <a:gd name="T6" fmla="*/ 0 w 9"/>
                <a:gd name="T7" fmla="*/ 3 h 26"/>
                <a:gd name="T8" fmla="*/ 3 w 9"/>
                <a:gd name="T9" fmla="*/ 8 h 26"/>
                <a:gd name="T10" fmla="*/ 4 w 9"/>
                <a:gd name="T11" fmla="*/ 13 h 26"/>
                <a:gd name="T12" fmla="*/ 1 w 9"/>
                <a:gd name="T13" fmla="*/ 11 h 26"/>
                <a:gd name="T14" fmla="*/ 7 w 9"/>
                <a:gd name="T15" fmla="*/ 26 h 26"/>
                <a:gd name="T16" fmla="*/ 7 w 9"/>
                <a:gd name="T17" fmla="*/ 23 h 26"/>
                <a:gd name="T18" fmla="*/ 6 w 9"/>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6">
                  <a:moveTo>
                    <a:pt x="6" y="15"/>
                  </a:moveTo>
                  <a:cubicBezTo>
                    <a:pt x="6" y="12"/>
                    <a:pt x="7" y="11"/>
                    <a:pt x="5" y="9"/>
                  </a:cubicBezTo>
                  <a:cubicBezTo>
                    <a:pt x="3" y="7"/>
                    <a:pt x="3" y="5"/>
                    <a:pt x="3" y="3"/>
                  </a:cubicBezTo>
                  <a:cubicBezTo>
                    <a:pt x="3" y="1"/>
                    <a:pt x="1" y="0"/>
                    <a:pt x="0" y="3"/>
                  </a:cubicBezTo>
                  <a:cubicBezTo>
                    <a:pt x="0" y="5"/>
                    <a:pt x="2" y="6"/>
                    <a:pt x="3" y="8"/>
                  </a:cubicBezTo>
                  <a:cubicBezTo>
                    <a:pt x="3" y="9"/>
                    <a:pt x="5" y="12"/>
                    <a:pt x="4" y="13"/>
                  </a:cubicBezTo>
                  <a:cubicBezTo>
                    <a:pt x="3" y="13"/>
                    <a:pt x="2" y="11"/>
                    <a:pt x="1" y="11"/>
                  </a:cubicBezTo>
                  <a:cubicBezTo>
                    <a:pt x="0" y="12"/>
                    <a:pt x="6" y="25"/>
                    <a:pt x="7" y="26"/>
                  </a:cubicBezTo>
                  <a:cubicBezTo>
                    <a:pt x="9" y="25"/>
                    <a:pt x="8" y="24"/>
                    <a:pt x="7" y="23"/>
                  </a:cubicBezTo>
                  <a:cubicBezTo>
                    <a:pt x="6" y="21"/>
                    <a:pt x="6" y="18"/>
                    <a:pt x="6" y="15"/>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125">
              <a:extLst>
                <a:ext uri="{FF2B5EF4-FFF2-40B4-BE49-F238E27FC236}">
                  <a16:creationId xmlns:a16="http://schemas.microsoft.com/office/drawing/2014/main" id="{6CDF0577-5303-2158-A101-CB09F9C30963}"/>
                </a:ext>
              </a:extLst>
            </p:cNvPr>
            <p:cNvSpPr>
              <a:spLocks/>
            </p:cNvSpPr>
            <p:nvPr/>
          </p:nvSpPr>
          <p:spPr bwMode="auto">
            <a:xfrm>
              <a:off x="2926618" y="5206288"/>
              <a:ext cx="43683" cy="51252"/>
            </a:xfrm>
            <a:custGeom>
              <a:avLst/>
              <a:gdLst>
                <a:gd name="T0" fmla="*/ 7 w 16"/>
                <a:gd name="T1" fmla="*/ 11 h 18"/>
                <a:gd name="T2" fmla="*/ 9 w 16"/>
                <a:gd name="T3" fmla="*/ 13 h 18"/>
                <a:gd name="T4" fmla="*/ 12 w 16"/>
                <a:gd name="T5" fmla="*/ 14 h 18"/>
                <a:gd name="T6" fmla="*/ 14 w 16"/>
                <a:gd name="T7" fmla="*/ 18 h 18"/>
                <a:gd name="T8" fmla="*/ 13 w 16"/>
                <a:gd name="T9" fmla="*/ 17 h 18"/>
                <a:gd name="T10" fmla="*/ 15 w 16"/>
                <a:gd name="T11" fmla="*/ 17 h 18"/>
                <a:gd name="T12" fmla="*/ 15 w 16"/>
                <a:gd name="T13" fmla="*/ 17 h 18"/>
                <a:gd name="T14" fmla="*/ 16 w 16"/>
                <a:gd name="T15" fmla="*/ 17 h 18"/>
                <a:gd name="T16" fmla="*/ 14 w 16"/>
                <a:gd name="T17" fmla="*/ 15 h 18"/>
                <a:gd name="T18" fmla="*/ 16 w 16"/>
                <a:gd name="T19" fmla="*/ 16 h 18"/>
                <a:gd name="T20" fmla="*/ 13 w 16"/>
                <a:gd name="T21" fmla="*/ 12 h 18"/>
                <a:gd name="T22" fmla="*/ 10 w 16"/>
                <a:gd name="T23" fmla="*/ 10 h 18"/>
                <a:gd name="T24" fmla="*/ 10 w 16"/>
                <a:gd name="T25" fmla="*/ 11 h 18"/>
                <a:gd name="T26" fmla="*/ 6 w 16"/>
                <a:gd name="T27" fmla="*/ 7 h 18"/>
                <a:gd name="T28" fmla="*/ 11 w 16"/>
                <a:gd name="T29" fmla="*/ 9 h 18"/>
                <a:gd name="T30" fmla="*/ 7 w 16"/>
                <a:gd name="T31" fmla="*/ 6 h 18"/>
                <a:gd name="T32" fmla="*/ 5 w 16"/>
                <a:gd name="T33" fmla="*/ 6 h 18"/>
                <a:gd name="T34" fmla="*/ 0 w 16"/>
                <a:gd name="T35" fmla="*/ 0 h 18"/>
                <a:gd name="T36" fmla="*/ 4 w 16"/>
                <a:gd name="T37" fmla="*/ 6 h 18"/>
                <a:gd name="T38" fmla="*/ 7 w 1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18">
                  <a:moveTo>
                    <a:pt x="7" y="11"/>
                  </a:moveTo>
                  <a:cubicBezTo>
                    <a:pt x="8" y="11"/>
                    <a:pt x="8" y="13"/>
                    <a:pt x="9" y="13"/>
                  </a:cubicBezTo>
                  <a:cubicBezTo>
                    <a:pt x="10" y="14"/>
                    <a:pt x="11" y="13"/>
                    <a:pt x="12" y="14"/>
                  </a:cubicBezTo>
                  <a:cubicBezTo>
                    <a:pt x="12" y="16"/>
                    <a:pt x="12" y="17"/>
                    <a:pt x="14" y="18"/>
                  </a:cubicBezTo>
                  <a:cubicBezTo>
                    <a:pt x="13" y="18"/>
                    <a:pt x="13" y="17"/>
                    <a:pt x="13" y="17"/>
                  </a:cubicBezTo>
                  <a:cubicBezTo>
                    <a:pt x="14" y="17"/>
                    <a:pt x="14" y="17"/>
                    <a:pt x="15" y="17"/>
                  </a:cubicBezTo>
                  <a:cubicBezTo>
                    <a:pt x="15" y="17"/>
                    <a:pt x="15" y="17"/>
                    <a:pt x="15" y="17"/>
                  </a:cubicBezTo>
                  <a:cubicBezTo>
                    <a:pt x="15" y="17"/>
                    <a:pt x="15" y="17"/>
                    <a:pt x="16" y="17"/>
                  </a:cubicBezTo>
                  <a:cubicBezTo>
                    <a:pt x="15" y="16"/>
                    <a:pt x="14" y="15"/>
                    <a:pt x="14" y="15"/>
                  </a:cubicBezTo>
                  <a:cubicBezTo>
                    <a:pt x="14" y="15"/>
                    <a:pt x="16" y="17"/>
                    <a:pt x="16" y="16"/>
                  </a:cubicBezTo>
                  <a:cubicBezTo>
                    <a:pt x="16" y="16"/>
                    <a:pt x="13" y="13"/>
                    <a:pt x="13" y="12"/>
                  </a:cubicBezTo>
                  <a:cubicBezTo>
                    <a:pt x="12" y="12"/>
                    <a:pt x="11" y="11"/>
                    <a:pt x="10" y="10"/>
                  </a:cubicBezTo>
                  <a:cubicBezTo>
                    <a:pt x="10" y="10"/>
                    <a:pt x="9" y="11"/>
                    <a:pt x="10" y="11"/>
                  </a:cubicBezTo>
                  <a:cubicBezTo>
                    <a:pt x="9" y="11"/>
                    <a:pt x="6" y="7"/>
                    <a:pt x="6" y="7"/>
                  </a:cubicBezTo>
                  <a:cubicBezTo>
                    <a:pt x="6" y="7"/>
                    <a:pt x="11" y="9"/>
                    <a:pt x="11" y="9"/>
                  </a:cubicBezTo>
                  <a:cubicBezTo>
                    <a:pt x="10" y="8"/>
                    <a:pt x="8" y="7"/>
                    <a:pt x="7" y="6"/>
                  </a:cubicBezTo>
                  <a:cubicBezTo>
                    <a:pt x="6" y="5"/>
                    <a:pt x="3" y="3"/>
                    <a:pt x="5" y="6"/>
                  </a:cubicBezTo>
                  <a:cubicBezTo>
                    <a:pt x="3" y="5"/>
                    <a:pt x="2" y="2"/>
                    <a:pt x="0" y="0"/>
                  </a:cubicBezTo>
                  <a:cubicBezTo>
                    <a:pt x="0" y="3"/>
                    <a:pt x="2" y="4"/>
                    <a:pt x="4" y="6"/>
                  </a:cubicBezTo>
                  <a:cubicBezTo>
                    <a:pt x="5" y="8"/>
                    <a:pt x="6" y="9"/>
                    <a:pt x="7" y="11"/>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126">
              <a:extLst>
                <a:ext uri="{FF2B5EF4-FFF2-40B4-BE49-F238E27FC236}">
                  <a16:creationId xmlns:a16="http://schemas.microsoft.com/office/drawing/2014/main" id="{1E115848-F22D-E014-C0DB-AFEFF04CC428}"/>
                </a:ext>
              </a:extLst>
            </p:cNvPr>
            <p:cNvSpPr>
              <a:spLocks/>
            </p:cNvSpPr>
            <p:nvPr/>
          </p:nvSpPr>
          <p:spPr bwMode="auto">
            <a:xfrm>
              <a:off x="3088361" y="5420828"/>
              <a:ext cx="55489" cy="11919"/>
            </a:xfrm>
            <a:custGeom>
              <a:avLst/>
              <a:gdLst>
                <a:gd name="T0" fmla="*/ 3 w 20"/>
                <a:gd name="T1" fmla="*/ 1 h 4"/>
                <a:gd name="T2" fmla="*/ 5 w 20"/>
                <a:gd name="T3" fmla="*/ 2 h 4"/>
                <a:gd name="T4" fmla="*/ 10 w 20"/>
                <a:gd name="T5" fmla="*/ 4 h 4"/>
                <a:gd name="T6" fmla="*/ 15 w 20"/>
                <a:gd name="T7" fmla="*/ 3 h 4"/>
                <a:gd name="T8" fmla="*/ 20 w 20"/>
                <a:gd name="T9" fmla="*/ 4 h 4"/>
                <a:gd name="T10" fmla="*/ 12 w 20"/>
                <a:gd name="T11" fmla="*/ 1 h 4"/>
                <a:gd name="T12" fmla="*/ 3 w 20"/>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3" y="1"/>
                  </a:moveTo>
                  <a:cubicBezTo>
                    <a:pt x="4" y="1"/>
                    <a:pt x="4" y="1"/>
                    <a:pt x="5" y="2"/>
                  </a:cubicBezTo>
                  <a:cubicBezTo>
                    <a:pt x="0" y="4"/>
                    <a:pt x="9" y="4"/>
                    <a:pt x="10" y="4"/>
                  </a:cubicBezTo>
                  <a:cubicBezTo>
                    <a:pt x="12" y="4"/>
                    <a:pt x="13" y="3"/>
                    <a:pt x="15" y="3"/>
                  </a:cubicBezTo>
                  <a:cubicBezTo>
                    <a:pt x="17" y="3"/>
                    <a:pt x="19" y="4"/>
                    <a:pt x="20" y="4"/>
                  </a:cubicBezTo>
                  <a:cubicBezTo>
                    <a:pt x="17" y="2"/>
                    <a:pt x="16" y="0"/>
                    <a:pt x="12" y="1"/>
                  </a:cubicBezTo>
                  <a:cubicBezTo>
                    <a:pt x="9" y="2"/>
                    <a:pt x="6" y="0"/>
                    <a:pt x="3" y="1"/>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127">
              <a:extLst>
                <a:ext uri="{FF2B5EF4-FFF2-40B4-BE49-F238E27FC236}">
                  <a16:creationId xmlns:a16="http://schemas.microsoft.com/office/drawing/2014/main" id="{F1B34AAE-34E3-46CF-1D97-C8991E415C90}"/>
                </a:ext>
              </a:extLst>
            </p:cNvPr>
            <p:cNvSpPr>
              <a:spLocks/>
            </p:cNvSpPr>
            <p:nvPr/>
          </p:nvSpPr>
          <p:spPr bwMode="auto">
            <a:xfrm>
              <a:off x="3110793" y="5447050"/>
              <a:ext cx="16529" cy="8344"/>
            </a:xfrm>
            <a:custGeom>
              <a:avLst/>
              <a:gdLst>
                <a:gd name="T0" fmla="*/ 0 w 6"/>
                <a:gd name="T1" fmla="*/ 1 h 3"/>
                <a:gd name="T2" fmla="*/ 3 w 6"/>
                <a:gd name="T3" fmla="*/ 3 h 3"/>
                <a:gd name="T4" fmla="*/ 0 w 6"/>
                <a:gd name="T5" fmla="*/ 1 h 3"/>
              </a:gdLst>
              <a:ahLst/>
              <a:cxnLst>
                <a:cxn ang="0">
                  <a:pos x="T0" y="T1"/>
                </a:cxn>
                <a:cxn ang="0">
                  <a:pos x="T2" y="T3"/>
                </a:cxn>
                <a:cxn ang="0">
                  <a:pos x="T4" y="T5"/>
                </a:cxn>
              </a:cxnLst>
              <a:rect l="0" t="0" r="r" b="b"/>
              <a:pathLst>
                <a:path w="6" h="3">
                  <a:moveTo>
                    <a:pt x="0" y="1"/>
                  </a:moveTo>
                  <a:cubicBezTo>
                    <a:pt x="1" y="3"/>
                    <a:pt x="2" y="3"/>
                    <a:pt x="3" y="3"/>
                  </a:cubicBezTo>
                  <a:cubicBezTo>
                    <a:pt x="6" y="2"/>
                    <a:pt x="2" y="0"/>
                    <a:pt x="0" y="1"/>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128">
              <a:extLst>
                <a:ext uri="{FF2B5EF4-FFF2-40B4-BE49-F238E27FC236}">
                  <a16:creationId xmlns:a16="http://schemas.microsoft.com/office/drawing/2014/main" id="{890EEE41-A1C1-7007-6AD0-849F0C4ED233}"/>
                </a:ext>
              </a:extLst>
            </p:cNvPr>
            <p:cNvSpPr>
              <a:spLocks/>
            </p:cNvSpPr>
            <p:nvPr/>
          </p:nvSpPr>
          <p:spPr bwMode="auto">
            <a:xfrm>
              <a:off x="2810918" y="4975061"/>
              <a:ext cx="523010" cy="451728"/>
            </a:xfrm>
            <a:custGeom>
              <a:avLst/>
              <a:gdLst>
                <a:gd name="T0" fmla="*/ 173 w 187"/>
                <a:gd name="T1" fmla="*/ 53 h 160"/>
                <a:gd name="T2" fmla="*/ 172 w 187"/>
                <a:gd name="T3" fmla="*/ 44 h 160"/>
                <a:gd name="T4" fmla="*/ 169 w 187"/>
                <a:gd name="T5" fmla="*/ 37 h 160"/>
                <a:gd name="T6" fmla="*/ 168 w 187"/>
                <a:gd name="T7" fmla="*/ 31 h 160"/>
                <a:gd name="T8" fmla="*/ 156 w 187"/>
                <a:gd name="T9" fmla="*/ 33 h 160"/>
                <a:gd name="T10" fmla="*/ 145 w 187"/>
                <a:gd name="T11" fmla="*/ 34 h 160"/>
                <a:gd name="T12" fmla="*/ 133 w 187"/>
                <a:gd name="T13" fmla="*/ 32 h 160"/>
                <a:gd name="T14" fmla="*/ 119 w 187"/>
                <a:gd name="T15" fmla="*/ 25 h 160"/>
                <a:gd name="T16" fmla="*/ 116 w 187"/>
                <a:gd name="T17" fmla="*/ 20 h 160"/>
                <a:gd name="T18" fmla="*/ 99 w 187"/>
                <a:gd name="T19" fmla="*/ 4 h 160"/>
                <a:gd name="T20" fmla="*/ 87 w 187"/>
                <a:gd name="T21" fmla="*/ 7 h 160"/>
                <a:gd name="T22" fmla="*/ 72 w 187"/>
                <a:gd name="T23" fmla="*/ 14 h 160"/>
                <a:gd name="T24" fmla="*/ 69 w 187"/>
                <a:gd name="T25" fmla="*/ 27 h 160"/>
                <a:gd name="T26" fmla="*/ 60 w 187"/>
                <a:gd name="T27" fmla="*/ 34 h 160"/>
                <a:gd name="T28" fmla="*/ 57 w 187"/>
                <a:gd name="T29" fmla="*/ 42 h 160"/>
                <a:gd name="T30" fmla="*/ 49 w 187"/>
                <a:gd name="T31" fmla="*/ 46 h 160"/>
                <a:gd name="T32" fmla="*/ 39 w 187"/>
                <a:gd name="T33" fmla="*/ 45 h 160"/>
                <a:gd name="T34" fmla="*/ 36 w 187"/>
                <a:gd name="T35" fmla="*/ 39 h 160"/>
                <a:gd name="T36" fmla="*/ 20 w 187"/>
                <a:gd name="T37" fmla="*/ 47 h 160"/>
                <a:gd name="T38" fmla="*/ 12 w 187"/>
                <a:gd name="T39" fmla="*/ 49 h 160"/>
                <a:gd name="T40" fmla="*/ 5 w 187"/>
                <a:gd name="T41" fmla="*/ 54 h 160"/>
                <a:gd name="T42" fmla="*/ 6 w 187"/>
                <a:gd name="T43" fmla="*/ 64 h 160"/>
                <a:gd name="T44" fmla="*/ 11 w 187"/>
                <a:gd name="T45" fmla="*/ 74 h 160"/>
                <a:gd name="T46" fmla="*/ 18 w 187"/>
                <a:gd name="T47" fmla="*/ 77 h 160"/>
                <a:gd name="T48" fmla="*/ 19 w 187"/>
                <a:gd name="T49" fmla="*/ 67 h 160"/>
                <a:gd name="T50" fmla="*/ 23 w 187"/>
                <a:gd name="T51" fmla="*/ 63 h 160"/>
                <a:gd name="T52" fmla="*/ 34 w 187"/>
                <a:gd name="T53" fmla="*/ 55 h 160"/>
                <a:gd name="T54" fmla="*/ 45 w 187"/>
                <a:gd name="T55" fmla="*/ 67 h 160"/>
                <a:gd name="T56" fmla="*/ 58 w 187"/>
                <a:gd name="T57" fmla="*/ 96 h 160"/>
                <a:gd name="T58" fmla="*/ 69 w 187"/>
                <a:gd name="T59" fmla="*/ 103 h 160"/>
                <a:gd name="T60" fmla="*/ 65 w 187"/>
                <a:gd name="T61" fmla="*/ 103 h 160"/>
                <a:gd name="T62" fmla="*/ 58 w 187"/>
                <a:gd name="T63" fmla="*/ 101 h 160"/>
                <a:gd name="T64" fmla="*/ 53 w 187"/>
                <a:gd name="T65" fmla="*/ 101 h 160"/>
                <a:gd name="T66" fmla="*/ 65 w 187"/>
                <a:gd name="T67" fmla="*/ 117 h 160"/>
                <a:gd name="T68" fmla="*/ 79 w 187"/>
                <a:gd name="T69" fmla="*/ 127 h 160"/>
                <a:gd name="T70" fmla="*/ 81 w 187"/>
                <a:gd name="T71" fmla="*/ 134 h 160"/>
                <a:gd name="T72" fmla="*/ 94 w 187"/>
                <a:gd name="T73" fmla="*/ 135 h 160"/>
                <a:gd name="T74" fmla="*/ 115 w 187"/>
                <a:gd name="T75" fmla="*/ 146 h 160"/>
                <a:gd name="T76" fmla="*/ 129 w 187"/>
                <a:gd name="T77" fmla="*/ 157 h 160"/>
                <a:gd name="T78" fmla="*/ 123 w 187"/>
                <a:gd name="T79" fmla="*/ 145 h 160"/>
                <a:gd name="T80" fmla="*/ 106 w 187"/>
                <a:gd name="T81" fmla="*/ 125 h 160"/>
                <a:gd name="T82" fmla="*/ 92 w 187"/>
                <a:gd name="T83" fmla="*/ 110 h 160"/>
                <a:gd name="T84" fmla="*/ 85 w 187"/>
                <a:gd name="T85" fmla="*/ 96 h 160"/>
                <a:gd name="T86" fmla="*/ 82 w 187"/>
                <a:gd name="T87" fmla="*/ 86 h 160"/>
                <a:gd name="T88" fmla="*/ 74 w 187"/>
                <a:gd name="T89" fmla="*/ 81 h 160"/>
                <a:gd name="T90" fmla="*/ 72 w 187"/>
                <a:gd name="T91" fmla="*/ 70 h 160"/>
                <a:gd name="T92" fmla="*/ 85 w 187"/>
                <a:gd name="T93" fmla="*/ 65 h 160"/>
                <a:gd name="T94" fmla="*/ 94 w 187"/>
                <a:gd name="T95" fmla="*/ 61 h 160"/>
                <a:gd name="T96" fmla="*/ 112 w 187"/>
                <a:gd name="T97" fmla="*/ 60 h 160"/>
                <a:gd name="T98" fmla="*/ 125 w 187"/>
                <a:gd name="T99" fmla="*/ 62 h 160"/>
                <a:gd name="T100" fmla="*/ 138 w 187"/>
                <a:gd name="T101" fmla="*/ 66 h 160"/>
                <a:gd name="T102" fmla="*/ 149 w 187"/>
                <a:gd name="T103" fmla="*/ 62 h 160"/>
                <a:gd name="T104" fmla="*/ 158 w 187"/>
                <a:gd name="T105" fmla="*/ 65 h 160"/>
                <a:gd name="T106" fmla="*/ 165 w 187"/>
                <a:gd name="T107" fmla="*/ 69 h 160"/>
                <a:gd name="T108" fmla="*/ 177 w 187"/>
                <a:gd name="T109" fmla="*/ 70 h 160"/>
                <a:gd name="T110" fmla="*/ 175 w 187"/>
                <a:gd name="T111" fmla="*/ 62 h 160"/>
                <a:gd name="T112" fmla="*/ 181 w 187"/>
                <a:gd name="T113"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160">
                  <a:moveTo>
                    <a:pt x="185" y="58"/>
                  </a:moveTo>
                  <a:cubicBezTo>
                    <a:pt x="184" y="58"/>
                    <a:pt x="182" y="58"/>
                    <a:pt x="181" y="58"/>
                  </a:cubicBezTo>
                  <a:cubicBezTo>
                    <a:pt x="178" y="57"/>
                    <a:pt x="176" y="55"/>
                    <a:pt x="173" y="53"/>
                  </a:cubicBezTo>
                  <a:cubicBezTo>
                    <a:pt x="170" y="51"/>
                    <a:pt x="173" y="51"/>
                    <a:pt x="172" y="49"/>
                  </a:cubicBezTo>
                  <a:cubicBezTo>
                    <a:pt x="171" y="46"/>
                    <a:pt x="176" y="47"/>
                    <a:pt x="174" y="45"/>
                  </a:cubicBezTo>
                  <a:cubicBezTo>
                    <a:pt x="174" y="45"/>
                    <a:pt x="172" y="44"/>
                    <a:pt x="172" y="44"/>
                  </a:cubicBezTo>
                  <a:cubicBezTo>
                    <a:pt x="171" y="44"/>
                    <a:pt x="170" y="46"/>
                    <a:pt x="169" y="44"/>
                  </a:cubicBezTo>
                  <a:cubicBezTo>
                    <a:pt x="168" y="42"/>
                    <a:pt x="170" y="41"/>
                    <a:pt x="170" y="39"/>
                  </a:cubicBezTo>
                  <a:cubicBezTo>
                    <a:pt x="171" y="37"/>
                    <a:pt x="169" y="38"/>
                    <a:pt x="169" y="37"/>
                  </a:cubicBezTo>
                  <a:cubicBezTo>
                    <a:pt x="169" y="35"/>
                    <a:pt x="171" y="36"/>
                    <a:pt x="170" y="34"/>
                  </a:cubicBezTo>
                  <a:cubicBezTo>
                    <a:pt x="169" y="33"/>
                    <a:pt x="167" y="31"/>
                    <a:pt x="167" y="31"/>
                  </a:cubicBezTo>
                  <a:cubicBezTo>
                    <a:pt x="167" y="30"/>
                    <a:pt x="167" y="31"/>
                    <a:pt x="168" y="31"/>
                  </a:cubicBezTo>
                  <a:cubicBezTo>
                    <a:pt x="167" y="31"/>
                    <a:pt x="168" y="27"/>
                    <a:pt x="168" y="27"/>
                  </a:cubicBezTo>
                  <a:cubicBezTo>
                    <a:pt x="165" y="29"/>
                    <a:pt x="164" y="27"/>
                    <a:pt x="161" y="28"/>
                  </a:cubicBezTo>
                  <a:cubicBezTo>
                    <a:pt x="159" y="29"/>
                    <a:pt x="159" y="32"/>
                    <a:pt x="156" y="33"/>
                  </a:cubicBezTo>
                  <a:cubicBezTo>
                    <a:pt x="155" y="34"/>
                    <a:pt x="154" y="35"/>
                    <a:pt x="153" y="35"/>
                  </a:cubicBezTo>
                  <a:cubicBezTo>
                    <a:pt x="153" y="35"/>
                    <a:pt x="152" y="35"/>
                    <a:pt x="152" y="35"/>
                  </a:cubicBezTo>
                  <a:cubicBezTo>
                    <a:pt x="150" y="34"/>
                    <a:pt x="147" y="34"/>
                    <a:pt x="145" y="34"/>
                  </a:cubicBezTo>
                  <a:cubicBezTo>
                    <a:pt x="143" y="35"/>
                    <a:pt x="142" y="34"/>
                    <a:pt x="141" y="34"/>
                  </a:cubicBezTo>
                  <a:cubicBezTo>
                    <a:pt x="139" y="33"/>
                    <a:pt x="138" y="34"/>
                    <a:pt x="137" y="34"/>
                  </a:cubicBezTo>
                  <a:cubicBezTo>
                    <a:pt x="136" y="34"/>
                    <a:pt x="135" y="33"/>
                    <a:pt x="133" y="32"/>
                  </a:cubicBezTo>
                  <a:cubicBezTo>
                    <a:pt x="130" y="31"/>
                    <a:pt x="126" y="23"/>
                    <a:pt x="122" y="27"/>
                  </a:cubicBezTo>
                  <a:cubicBezTo>
                    <a:pt x="122" y="27"/>
                    <a:pt x="121" y="26"/>
                    <a:pt x="120" y="26"/>
                  </a:cubicBezTo>
                  <a:cubicBezTo>
                    <a:pt x="122" y="26"/>
                    <a:pt x="121" y="24"/>
                    <a:pt x="119" y="25"/>
                  </a:cubicBezTo>
                  <a:cubicBezTo>
                    <a:pt x="119" y="24"/>
                    <a:pt x="116" y="23"/>
                    <a:pt x="118" y="23"/>
                  </a:cubicBezTo>
                  <a:cubicBezTo>
                    <a:pt x="117" y="23"/>
                    <a:pt x="118" y="20"/>
                    <a:pt x="115" y="20"/>
                  </a:cubicBezTo>
                  <a:cubicBezTo>
                    <a:pt x="116" y="20"/>
                    <a:pt x="116" y="20"/>
                    <a:pt x="116" y="20"/>
                  </a:cubicBezTo>
                  <a:cubicBezTo>
                    <a:pt x="114" y="16"/>
                    <a:pt x="108" y="15"/>
                    <a:pt x="106" y="10"/>
                  </a:cubicBezTo>
                  <a:cubicBezTo>
                    <a:pt x="105" y="9"/>
                    <a:pt x="104" y="7"/>
                    <a:pt x="102" y="7"/>
                  </a:cubicBezTo>
                  <a:cubicBezTo>
                    <a:pt x="100" y="7"/>
                    <a:pt x="100" y="5"/>
                    <a:pt x="99" y="4"/>
                  </a:cubicBezTo>
                  <a:cubicBezTo>
                    <a:pt x="97" y="3"/>
                    <a:pt x="95" y="3"/>
                    <a:pt x="94" y="2"/>
                  </a:cubicBezTo>
                  <a:cubicBezTo>
                    <a:pt x="92" y="1"/>
                    <a:pt x="90" y="0"/>
                    <a:pt x="89" y="0"/>
                  </a:cubicBezTo>
                  <a:cubicBezTo>
                    <a:pt x="85" y="0"/>
                    <a:pt x="87" y="4"/>
                    <a:pt x="87" y="7"/>
                  </a:cubicBezTo>
                  <a:cubicBezTo>
                    <a:pt x="87" y="7"/>
                    <a:pt x="81" y="7"/>
                    <a:pt x="80" y="7"/>
                  </a:cubicBezTo>
                  <a:cubicBezTo>
                    <a:pt x="82" y="11"/>
                    <a:pt x="77" y="12"/>
                    <a:pt x="75" y="12"/>
                  </a:cubicBezTo>
                  <a:cubicBezTo>
                    <a:pt x="73" y="13"/>
                    <a:pt x="73" y="13"/>
                    <a:pt x="72" y="14"/>
                  </a:cubicBezTo>
                  <a:cubicBezTo>
                    <a:pt x="71" y="15"/>
                    <a:pt x="69" y="14"/>
                    <a:pt x="68" y="15"/>
                  </a:cubicBezTo>
                  <a:cubicBezTo>
                    <a:pt x="65" y="16"/>
                    <a:pt x="66" y="19"/>
                    <a:pt x="68" y="21"/>
                  </a:cubicBezTo>
                  <a:cubicBezTo>
                    <a:pt x="70" y="22"/>
                    <a:pt x="69" y="25"/>
                    <a:pt x="69" y="27"/>
                  </a:cubicBezTo>
                  <a:cubicBezTo>
                    <a:pt x="69" y="30"/>
                    <a:pt x="70" y="32"/>
                    <a:pt x="67" y="32"/>
                  </a:cubicBezTo>
                  <a:cubicBezTo>
                    <a:pt x="66" y="32"/>
                    <a:pt x="62" y="32"/>
                    <a:pt x="62" y="33"/>
                  </a:cubicBezTo>
                  <a:cubicBezTo>
                    <a:pt x="62" y="34"/>
                    <a:pt x="61" y="34"/>
                    <a:pt x="60" y="34"/>
                  </a:cubicBezTo>
                  <a:cubicBezTo>
                    <a:pt x="59" y="35"/>
                    <a:pt x="55" y="36"/>
                    <a:pt x="57" y="37"/>
                  </a:cubicBezTo>
                  <a:cubicBezTo>
                    <a:pt x="58" y="38"/>
                    <a:pt x="59" y="38"/>
                    <a:pt x="60" y="40"/>
                  </a:cubicBezTo>
                  <a:cubicBezTo>
                    <a:pt x="59" y="39"/>
                    <a:pt x="57" y="41"/>
                    <a:pt x="57" y="42"/>
                  </a:cubicBezTo>
                  <a:cubicBezTo>
                    <a:pt x="57" y="45"/>
                    <a:pt x="58" y="46"/>
                    <a:pt x="60" y="47"/>
                  </a:cubicBezTo>
                  <a:cubicBezTo>
                    <a:pt x="59" y="49"/>
                    <a:pt x="54" y="50"/>
                    <a:pt x="52" y="49"/>
                  </a:cubicBezTo>
                  <a:cubicBezTo>
                    <a:pt x="51" y="48"/>
                    <a:pt x="50" y="47"/>
                    <a:pt x="49" y="46"/>
                  </a:cubicBezTo>
                  <a:cubicBezTo>
                    <a:pt x="48" y="46"/>
                    <a:pt x="46" y="45"/>
                    <a:pt x="46" y="45"/>
                  </a:cubicBezTo>
                  <a:cubicBezTo>
                    <a:pt x="45" y="46"/>
                    <a:pt x="45" y="48"/>
                    <a:pt x="44" y="48"/>
                  </a:cubicBezTo>
                  <a:cubicBezTo>
                    <a:pt x="42" y="48"/>
                    <a:pt x="40" y="45"/>
                    <a:pt x="39" y="45"/>
                  </a:cubicBezTo>
                  <a:cubicBezTo>
                    <a:pt x="38" y="44"/>
                    <a:pt x="39" y="43"/>
                    <a:pt x="38" y="43"/>
                  </a:cubicBezTo>
                  <a:cubicBezTo>
                    <a:pt x="38" y="42"/>
                    <a:pt x="37" y="42"/>
                    <a:pt x="36" y="41"/>
                  </a:cubicBezTo>
                  <a:cubicBezTo>
                    <a:pt x="36" y="41"/>
                    <a:pt x="36" y="40"/>
                    <a:pt x="36" y="39"/>
                  </a:cubicBezTo>
                  <a:cubicBezTo>
                    <a:pt x="35" y="39"/>
                    <a:pt x="32" y="45"/>
                    <a:pt x="32" y="45"/>
                  </a:cubicBezTo>
                  <a:cubicBezTo>
                    <a:pt x="29" y="48"/>
                    <a:pt x="27" y="45"/>
                    <a:pt x="24" y="47"/>
                  </a:cubicBezTo>
                  <a:cubicBezTo>
                    <a:pt x="23" y="47"/>
                    <a:pt x="21" y="48"/>
                    <a:pt x="20" y="47"/>
                  </a:cubicBezTo>
                  <a:cubicBezTo>
                    <a:pt x="19" y="46"/>
                    <a:pt x="18" y="45"/>
                    <a:pt x="18" y="46"/>
                  </a:cubicBezTo>
                  <a:cubicBezTo>
                    <a:pt x="16" y="46"/>
                    <a:pt x="18" y="48"/>
                    <a:pt x="16" y="48"/>
                  </a:cubicBezTo>
                  <a:cubicBezTo>
                    <a:pt x="15" y="48"/>
                    <a:pt x="14" y="50"/>
                    <a:pt x="12" y="49"/>
                  </a:cubicBezTo>
                  <a:cubicBezTo>
                    <a:pt x="11" y="49"/>
                    <a:pt x="10" y="48"/>
                    <a:pt x="9" y="48"/>
                  </a:cubicBezTo>
                  <a:cubicBezTo>
                    <a:pt x="7" y="48"/>
                    <a:pt x="6" y="47"/>
                    <a:pt x="4" y="47"/>
                  </a:cubicBezTo>
                  <a:cubicBezTo>
                    <a:pt x="0" y="46"/>
                    <a:pt x="3" y="55"/>
                    <a:pt x="5" y="54"/>
                  </a:cubicBezTo>
                  <a:cubicBezTo>
                    <a:pt x="4" y="56"/>
                    <a:pt x="5" y="60"/>
                    <a:pt x="5" y="62"/>
                  </a:cubicBezTo>
                  <a:cubicBezTo>
                    <a:pt x="6" y="63"/>
                    <a:pt x="8" y="63"/>
                    <a:pt x="9" y="63"/>
                  </a:cubicBezTo>
                  <a:cubicBezTo>
                    <a:pt x="8" y="63"/>
                    <a:pt x="6" y="63"/>
                    <a:pt x="6" y="64"/>
                  </a:cubicBezTo>
                  <a:cubicBezTo>
                    <a:pt x="6" y="65"/>
                    <a:pt x="7" y="67"/>
                    <a:pt x="8" y="67"/>
                  </a:cubicBezTo>
                  <a:cubicBezTo>
                    <a:pt x="9" y="69"/>
                    <a:pt x="11" y="74"/>
                    <a:pt x="13" y="74"/>
                  </a:cubicBezTo>
                  <a:cubicBezTo>
                    <a:pt x="12" y="74"/>
                    <a:pt x="12" y="75"/>
                    <a:pt x="11" y="74"/>
                  </a:cubicBezTo>
                  <a:cubicBezTo>
                    <a:pt x="13" y="76"/>
                    <a:pt x="15" y="77"/>
                    <a:pt x="15" y="79"/>
                  </a:cubicBezTo>
                  <a:cubicBezTo>
                    <a:pt x="15" y="78"/>
                    <a:pt x="15" y="77"/>
                    <a:pt x="14" y="76"/>
                  </a:cubicBezTo>
                  <a:cubicBezTo>
                    <a:pt x="15" y="76"/>
                    <a:pt x="17" y="78"/>
                    <a:pt x="18" y="77"/>
                  </a:cubicBezTo>
                  <a:cubicBezTo>
                    <a:pt x="18" y="77"/>
                    <a:pt x="17" y="75"/>
                    <a:pt x="17" y="74"/>
                  </a:cubicBezTo>
                  <a:cubicBezTo>
                    <a:pt x="17" y="73"/>
                    <a:pt x="18" y="73"/>
                    <a:pt x="19" y="72"/>
                  </a:cubicBezTo>
                  <a:cubicBezTo>
                    <a:pt x="21" y="70"/>
                    <a:pt x="18" y="69"/>
                    <a:pt x="19" y="67"/>
                  </a:cubicBezTo>
                  <a:cubicBezTo>
                    <a:pt x="20" y="68"/>
                    <a:pt x="21" y="69"/>
                    <a:pt x="20" y="71"/>
                  </a:cubicBezTo>
                  <a:cubicBezTo>
                    <a:pt x="21" y="70"/>
                    <a:pt x="24" y="71"/>
                    <a:pt x="23" y="68"/>
                  </a:cubicBezTo>
                  <a:cubicBezTo>
                    <a:pt x="22" y="66"/>
                    <a:pt x="24" y="64"/>
                    <a:pt x="23" y="63"/>
                  </a:cubicBezTo>
                  <a:cubicBezTo>
                    <a:pt x="25" y="64"/>
                    <a:pt x="26" y="56"/>
                    <a:pt x="26" y="55"/>
                  </a:cubicBezTo>
                  <a:cubicBezTo>
                    <a:pt x="28" y="52"/>
                    <a:pt x="30" y="54"/>
                    <a:pt x="32" y="55"/>
                  </a:cubicBezTo>
                  <a:cubicBezTo>
                    <a:pt x="32" y="55"/>
                    <a:pt x="35" y="57"/>
                    <a:pt x="34" y="55"/>
                  </a:cubicBezTo>
                  <a:cubicBezTo>
                    <a:pt x="35" y="55"/>
                    <a:pt x="36" y="57"/>
                    <a:pt x="36" y="58"/>
                  </a:cubicBezTo>
                  <a:cubicBezTo>
                    <a:pt x="37" y="59"/>
                    <a:pt x="38" y="60"/>
                    <a:pt x="40" y="61"/>
                  </a:cubicBezTo>
                  <a:cubicBezTo>
                    <a:pt x="42" y="63"/>
                    <a:pt x="44" y="63"/>
                    <a:pt x="45" y="67"/>
                  </a:cubicBezTo>
                  <a:cubicBezTo>
                    <a:pt x="47" y="71"/>
                    <a:pt x="44" y="77"/>
                    <a:pt x="46" y="82"/>
                  </a:cubicBezTo>
                  <a:cubicBezTo>
                    <a:pt x="47" y="85"/>
                    <a:pt x="50" y="88"/>
                    <a:pt x="53" y="91"/>
                  </a:cubicBezTo>
                  <a:cubicBezTo>
                    <a:pt x="54" y="93"/>
                    <a:pt x="56" y="95"/>
                    <a:pt x="58" y="96"/>
                  </a:cubicBezTo>
                  <a:cubicBezTo>
                    <a:pt x="59" y="97"/>
                    <a:pt x="63" y="101"/>
                    <a:pt x="65" y="101"/>
                  </a:cubicBezTo>
                  <a:cubicBezTo>
                    <a:pt x="66" y="101"/>
                    <a:pt x="66" y="102"/>
                    <a:pt x="66" y="103"/>
                  </a:cubicBezTo>
                  <a:cubicBezTo>
                    <a:pt x="66" y="104"/>
                    <a:pt x="68" y="103"/>
                    <a:pt x="69" y="103"/>
                  </a:cubicBezTo>
                  <a:cubicBezTo>
                    <a:pt x="68" y="103"/>
                    <a:pt x="68" y="106"/>
                    <a:pt x="69" y="107"/>
                  </a:cubicBezTo>
                  <a:cubicBezTo>
                    <a:pt x="68" y="106"/>
                    <a:pt x="67" y="105"/>
                    <a:pt x="66" y="105"/>
                  </a:cubicBezTo>
                  <a:cubicBezTo>
                    <a:pt x="63" y="106"/>
                    <a:pt x="65" y="103"/>
                    <a:pt x="65" y="103"/>
                  </a:cubicBezTo>
                  <a:cubicBezTo>
                    <a:pt x="65" y="101"/>
                    <a:pt x="62" y="101"/>
                    <a:pt x="61" y="101"/>
                  </a:cubicBezTo>
                  <a:cubicBezTo>
                    <a:pt x="61" y="101"/>
                    <a:pt x="58" y="98"/>
                    <a:pt x="58" y="99"/>
                  </a:cubicBezTo>
                  <a:cubicBezTo>
                    <a:pt x="58" y="99"/>
                    <a:pt x="60" y="102"/>
                    <a:pt x="58" y="101"/>
                  </a:cubicBezTo>
                  <a:cubicBezTo>
                    <a:pt x="58" y="101"/>
                    <a:pt x="55" y="100"/>
                    <a:pt x="55" y="100"/>
                  </a:cubicBezTo>
                  <a:cubicBezTo>
                    <a:pt x="55" y="101"/>
                    <a:pt x="55" y="102"/>
                    <a:pt x="56" y="102"/>
                  </a:cubicBezTo>
                  <a:cubicBezTo>
                    <a:pt x="55" y="102"/>
                    <a:pt x="54" y="100"/>
                    <a:pt x="53" y="101"/>
                  </a:cubicBezTo>
                  <a:cubicBezTo>
                    <a:pt x="53" y="101"/>
                    <a:pt x="54" y="105"/>
                    <a:pt x="55" y="105"/>
                  </a:cubicBezTo>
                  <a:cubicBezTo>
                    <a:pt x="56" y="108"/>
                    <a:pt x="58" y="109"/>
                    <a:pt x="60" y="111"/>
                  </a:cubicBezTo>
                  <a:cubicBezTo>
                    <a:pt x="61" y="113"/>
                    <a:pt x="63" y="116"/>
                    <a:pt x="65" y="117"/>
                  </a:cubicBezTo>
                  <a:cubicBezTo>
                    <a:pt x="67" y="119"/>
                    <a:pt x="70" y="120"/>
                    <a:pt x="71" y="122"/>
                  </a:cubicBezTo>
                  <a:cubicBezTo>
                    <a:pt x="70" y="122"/>
                    <a:pt x="70" y="121"/>
                    <a:pt x="69" y="121"/>
                  </a:cubicBezTo>
                  <a:cubicBezTo>
                    <a:pt x="70" y="122"/>
                    <a:pt x="79" y="128"/>
                    <a:pt x="79" y="127"/>
                  </a:cubicBezTo>
                  <a:cubicBezTo>
                    <a:pt x="79" y="128"/>
                    <a:pt x="80" y="129"/>
                    <a:pt x="78" y="129"/>
                  </a:cubicBezTo>
                  <a:cubicBezTo>
                    <a:pt x="79" y="129"/>
                    <a:pt x="80" y="129"/>
                    <a:pt x="80" y="130"/>
                  </a:cubicBezTo>
                  <a:cubicBezTo>
                    <a:pt x="78" y="129"/>
                    <a:pt x="79" y="134"/>
                    <a:pt x="81" y="134"/>
                  </a:cubicBezTo>
                  <a:cubicBezTo>
                    <a:pt x="79" y="138"/>
                    <a:pt x="89" y="136"/>
                    <a:pt x="85" y="134"/>
                  </a:cubicBezTo>
                  <a:cubicBezTo>
                    <a:pt x="89" y="135"/>
                    <a:pt x="93" y="131"/>
                    <a:pt x="96" y="134"/>
                  </a:cubicBezTo>
                  <a:cubicBezTo>
                    <a:pt x="95" y="134"/>
                    <a:pt x="94" y="135"/>
                    <a:pt x="94" y="135"/>
                  </a:cubicBezTo>
                  <a:cubicBezTo>
                    <a:pt x="96" y="136"/>
                    <a:pt x="97" y="135"/>
                    <a:pt x="99" y="137"/>
                  </a:cubicBezTo>
                  <a:cubicBezTo>
                    <a:pt x="101" y="138"/>
                    <a:pt x="103" y="138"/>
                    <a:pt x="104" y="139"/>
                  </a:cubicBezTo>
                  <a:cubicBezTo>
                    <a:pt x="109" y="140"/>
                    <a:pt x="111" y="142"/>
                    <a:pt x="115" y="146"/>
                  </a:cubicBezTo>
                  <a:cubicBezTo>
                    <a:pt x="117" y="149"/>
                    <a:pt x="121" y="150"/>
                    <a:pt x="124" y="154"/>
                  </a:cubicBezTo>
                  <a:cubicBezTo>
                    <a:pt x="125" y="155"/>
                    <a:pt x="128" y="156"/>
                    <a:pt x="127" y="157"/>
                  </a:cubicBezTo>
                  <a:cubicBezTo>
                    <a:pt x="128" y="157"/>
                    <a:pt x="128" y="157"/>
                    <a:pt x="129" y="157"/>
                  </a:cubicBezTo>
                  <a:cubicBezTo>
                    <a:pt x="126" y="158"/>
                    <a:pt x="132" y="160"/>
                    <a:pt x="133" y="160"/>
                  </a:cubicBezTo>
                  <a:cubicBezTo>
                    <a:pt x="137" y="160"/>
                    <a:pt x="133" y="154"/>
                    <a:pt x="131" y="153"/>
                  </a:cubicBezTo>
                  <a:cubicBezTo>
                    <a:pt x="128" y="151"/>
                    <a:pt x="125" y="148"/>
                    <a:pt x="123" y="145"/>
                  </a:cubicBezTo>
                  <a:cubicBezTo>
                    <a:pt x="121" y="142"/>
                    <a:pt x="122" y="141"/>
                    <a:pt x="122" y="138"/>
                  </a:cubicBezTo>
                  <a:cubicBezTo>
                    <a:pt x="122" y="136"/>
                    <a:pt x="119" y="136"/>
                    <a:pt x="117" y="135"/>
                  </a:cubicBezTo>
                  <a:cubicBezTo>
                    <a:pt x="113" y="133"/>
                    <a:pt x="110" y="128"/>
                    <a:pt x="106" y="125"/>
                  </a:cubicBezTo>
                  <a:cubicBezTo>
                    <a:pt x="104" y="123"/>
                    <a:pt x="102" y="121"/>
                    <a:pt x="101" y="118"/>
                  </a:cubicBezTo>
                  <a:cubicBezTo>
                    <a:pt x="99" y="117"/>
                    <a:pt x="98" y="114"/>
                    <a:pt x="96" y="113"/>
                  </a:cubicBezTo>
                  <a:cubicBezTo>
                    <a:pt x="95" y="112"/>
                    <a:pt x="93" y="111"/>
                    <a:pt x="92" y="110"/>
                  </a:cubicBezTo>
                  <a:cubicBezTo>
                    <a:pt x="91" y="108"/>
                    <a:pt x="90" y="106"/>
                    <a:pt x="89" y="105"/>
                  </a:cubicBezTo>
                  <a:cubicBezTo>
                    <a:pt x="88" y="103"/>
                    <a:pt x="87" y="101"/>
                    <a:pt x="87" y="99"/>
                  </a:cubicBezTo>
                  <a:cubicBezTo>
                    <a:pt x="87" y="97"/>
                    <a:pt x="87" y="96"/>
                    <a:pt x="85" y="96"/>
                  </a:cubicBezTo>
                  <a:cubicBezTo>
                    <a:pt x="87" y="94"/>
                    <a:pt x="85" y="90"/>
                    <a:pt x="84" y="89"/>
                  </a:cubicBezTo>
                  <a:cubicBezTo>
                    <a:pt x="83" y="89"/>
                    <a:pt x="82" y="91"/>
                    <a:pt x="81" y="89"/>
                  </a:cubicBezTo>
                  <a:cubicBezTo>
                    <a:pt x="81" y="88"/>
                    <a:pt x="82" y="87"/>
                    <a:pt x="82" y="86"/>
                  </a:cubicBezTo>
                  <a:cubicBezTo>
                    <a:pt x="81" y="84"/>
                    <a:pt x="80" y="85"/>
                    <a:pt x="79" y="83"/>
                  </a:cubicBezTo>
                  <a:cubicBezTo>
                    <a:pt x="79" y="82"/>
                    <a:pt x="78" y="81"/>
                    <a:pt x="76" y="81"/>
                  </a:cubicBezTo>
                  <a:cubicBezTo>
                    <a:pt x="75" y="81"/>
                    <a:pt x="75" y="83"/>
                    <a:pt x="74" y="81"/>
                  </a:cubicBezTo>
                  <a:cubicBezTo>
                    <a:pt x="73" y="80"/>
                    <a:pt x="72" y="79"/>
                    <a:pt x="72" y="78"/>
                  </a:cubicBezTo>
                  <a:cubicBezTo>
                    <a:pt x="71" y="76"/>
                    <a:pt x="73" y="77"/>
                    <a:pt x="73" y="75"/>
                  </a:cubicBezTo>
                  <a:cubicBezTo>
                    <a:pt x="73" y="73"/>
                    <a:pt x="72" y="72"/>
                    <a:pt x="72" y="70"/>
                  </a:cubicBezTo>
                  <a:cubicBezTo>
                    <a:pt x="73" y="67"/>
                    <a:pt x="73" y="64"/>
                    <a:pt x="73" y="61"/>
                  </a:cubicBezTo>
                  <a:cubicBezTo>
                    <a:pt x="73" y="57"/>
                    <a:pt x="80" y="59"/>
                    <a:pt x="82" y="60"/>
                  </a:cubicBezTo>
                  <a:cubicBezTo>
                    <a:pt x="83" y="62"/>
                    <a:pt x="84" y="64"/>
                    <a:pt x="85" y="65"/>
                  </a:cubicBezTo>
                  <a:cubicBezTo>
                    <a:pt x="86" y="67"/>
                    <a:pt x="87" y="68"/>
                    <a:pt x="89" y="68"/>
                  </a:cubicBezTo>
                  <a:cubicBezTo>
                    <a:pt x="91" y="68"/>
                    <a:pt x="91" y="66"/>
                    <a:pt x="92" y="65"/>
                  </a:cubicBezTo>
                  <a:cubicBezTo>
                    <a:pt x="92" y="63"/>
                    <a:pt x="93" y="62"/>
                    <a:pt x="94" y="61"/>
                  </a:cubicBezTo>
                  <a:cubicBezTo>
                    <a:pt x="96" y="58"/>
                    <a:pt x="99" y="59"/>
                    <a:pt x="104" y="60"/>
                  </a:cubicBezTo>
                  <a:cubicBezTo>
                    <a:pt x="106" y="61"/>
                    <a:pt x="106" y="57"/>
                    <a:pt x="108" y="57"/>
                  </a:cubicBezTo>
                  <a:cubicBezTo>
                    <a:pt x="108" y="58"/>
                    <a:pt x="112" y="58"/>
                    <a:pt x="112" y="60"/>
                  </a:cubicBezTo>
                  <a:cubicBezTo>
                    <a:pt x="114" y="61"/>
                    <a:pt x="116" y="63"/>
                    <a:pt x="118" y="62"/>
                  </a:cubicBezTo>
                  <a:cubicBezTo>
                    <a:pt x="119" y="62"/>
                    <a:pt x="119" y="60"/>
                    <a:pt x="121" y="61"/>
                  </a:cubicBezTo>
                  <a:cubicBezTo>
                    <a:pt x="121" y="62"/>
                    <a:pt x="125" y="62"/>
                    <a:pt x="125" y="62"/>
                  </a:cubicBezTo>
                  <a:cubicBezTo>
                    <a:pt x="125" y="63"/>
                    <a:pt x="126" y="63"/>
                    <a:pt x="126" y="63"/>
                  </a:cubicBezTo>
                  <a:cubicBezTo>
                    <a:pt x="128" y="65"/>
                    <a:pt x="131" y="63"/>
                    <a:pt x="134" y="64"/>
                  </a:cubicBezTo>
                  <a:cubicBezTo>
                    <a:pt x="135" y="65"/>
                    <a:pt x="137" y="67"/>
                    <a:pt x="138" y="66"/>
                  </a:cubicBezTo>
                  <a:cubicBezTo>
                    <a:pt x="139" y="65"/>
                    <a:pt x="140" y="64"/>
                    <a:pt x="141" y="63"/>
                  </a:cubicBezTo>
                  <a:cubicBezTo>
                    <a:pt x="143" y="61"/>
                    <a:pt x="144" y="65"/>
                    <a:pt x="146" y="65"/>
                  </a:cubicBezTo>
                  <a:cubicBezTo>
                    <a:pt x="149" y="65"/>
                    <a:pt x="148" y="63"/>
                    <a:pt x="149" y="62"/>
                  </a:cubicBezTo>
                  <a:cubicBezTo>
                    <a:pt x="150" y="62"/>
                    <a:pt x="151" y="63"/>
                    <a:pt x="152" y="64"/>
                  </a:cubicBezTo>
                  <a:cubicBezTo>
                    <a:pt x="152" y="64"/>
                    <a:pt x="158" y="66"/>
                    <a:pt x="158" y="66"/>
                  </a:cubicBezTo>
                  <a:cubicBezTo>
                    <a:pt x="158" y="65"/>
                    <a:pt x="158" y="65"/>
                    <a:pt x="158" y="65"/>
                  </a:cubicBezTo>
                  <a:cubicBezTo>
                    <a:pt x="160" y="66"/>
                    <a:pt x="160" y="64"/>
                    <a:pt x="161" y="65"/>
                  </a:cubicBezTo>
                  <a:cubicBezTo>
                    <a:pt x="160" y="67"/>
                    <a:pt x="162" y="65"/>
                    <a:pt x="163" y="65"/>
                  </a:cubicBezTo>
                  <a:cubicBezTo>
                    <a:pt x="162" y="66"/>
                    <a:pt x="164" y="69"/>
                    <a:pt x="165" y="69"/>
                  </a:cubicBezTo>
                  <a:cubicBezTo>
                    <a:pt x="166" y="69"/>
                    <a:pt x="167" y="72"/>
                    <a:pt x="165" y="71"/>
                  </a:cubicBezTo>
                  <a:cubicBezTo>
                    <a:pt x="167" y="76"/>
                    <a:pt x="171" y="75"/>
                    <a:pt x="174" y="75"/>
                  </a:cubicBezTo>
                  <a:cubicBezTo>
                    <a:pt x="171" y="71"/>
                    <a:pt x="177" y="73"/>
                    <a:pt x="177" y="70"/>
                  </a:cubicBezTo>
                  <a:cubicBezTo>
                    <a:pt x="177" y="69"/>
                    <a:pt x="176" y="70"/>
                    <a:pt x="176" y="69"/>
                  </a:cubicBezTo>
                  <a:cubicBezTo>
                    <a:pt x="176" y="68"/>
                    <a:pt x="176" y="67"/>
                    <a:pt x="176" y="67"/>
                  </a:cubicBezTo>
                  <a:cubicBezTo>
                    <a:pt x="176" y="66"/>
                    <a:pt x="175" y="63"/>
                    <a:pt x="175" y="62"/>
                  </a:cubicBezTo>
                  <a:cubicBezTo>
                    <a:pt x="175" y="62"/>
                    <a:pt x="177" y="62"/>
                    <a:pt x="177" y="62"/>
                  </a:cubicBezTo>
                  <a:cubicBezTo>
                    <a:pt x="177" y="61"/>
                    <a:pt x="177" y="60"/>
                    <a:pt x="177" y="60"/>
                  </a:cubicBezTo>
                  <a:cubicBezTo>
                    <a:pt x="178" y="59"/>
                    <a:pt x="180" y="61"/>
                    <a:pt x="181" y="61"/>
                  </a:cubicBezTo>
                  <a:cubicBezTo>
                    <a:pt x="182" y="61"/>
                    <a:pt x="183" y="61"/>
                    <a:pt x="184" y="61"/>
                  </a:cubicBezTo>
                  <a:cubicBezTo>
                    <a:pt x="185" y="61"/>
                    <a:pt x="187" y="59"/>
                    <a:pt x="185" y="58"/>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129">
              <a:extLst>
                <a:ext uri="{FF2B5EF4-FFF2-40B4-BE49-F238E27FC236}">
                  <a16:creationId xmlns:a16="http://schemas.microsoft.com/office/drawing/2014/main" id="{91461A95-92F4-88C0-19AD-7EA1EFAD564A}"/>
                </a:ext>
              </a:extLst>
            </p:cNvPr>
            <p:cNvSpPr>
              <a:spLocks/>
            </p:cNvSpPr>
            <p:nvPr/>
          </p:nvSpPr>
          <p:spPr bwMode="auto">
            <a:xfrm>
              <a:off x="3124960" y="5416061"/>
              <a:ext cx="139312" cy="81049"/>
            </a:xfrm>
            <a:custGeom>
              <a:avLst/>
              <a:gdLst>
                <a:gd name="T0" fmla="*/ 44 w 50"/>
                <a:gd name="T1" fmla="*/ 20 h 29"/>
                <a:gd name="T2" fmla="*/ 39 w 50"/>
                <a:gd name="T3" fmla="*/ 18 h 29"/>
                <a:gd name="T4" fmla="*/ 35 w 50"/>
                <a:gd name="T5" fmla="*/ 15 h 29"/>
                <a:gd name="T6" fmla="*/ 28 w 50"/>
                <a:gd name="T7" fmla="*/ 7 h 29"/>
                <a:gd name="T8" fmla="*/ 22 w 50"/>
                <a:gd name="T9" fmla="*/ 7 h 29"/>
                <a:gd name="T10" fmla="*/ 24 w 50"/>
                <a:gd name="T11" fmla="*/ 9 h 29"/>
                <a:gd name="T12" fmla="*/ 19 w 50"/>
                <a:gd name="T13" fmla="*/ 6 h 29"/>
                <a:gd name="T14" fmla="*/ 16 w 50"/>
                <a:gd name="T15" fmla="*/ 5 h 29"/>
                <a:gd name="T16" fmla="*/ 14 w 50"/>
                <a:gd name="T17" fmla="*/ 4 h 29"/>
                <a:gd name="T18" fmla="*/ 1 w 50"/>
                <a:gd name="T19" fmla="*/ 0 h 29"/>
                <a:gd name="T20" fmla="*/ 3 w 50"/>
                <a:gd name="T21" fmla="*/ 2 h 29"/>
                <a:gd name="T22" fmla="*/ 8 w 50"/>
                <a:gd name="T23" fmla="*/ 3 h 29"/>
                <a:gd name="T24" fmla="*/ 14 w 50"/>
                <a:gd name="T25" fmla="*/ 6 h 29"/>
                <a:gd name="T26" fmla="*/ 20 w 50"/>
                <a:gd name="T27" fmla="*/ 9 h 29"/>
                <a:gd name="T28" fmla="*/ 25 w 50"/>
                <a:gd name="T29" fmla="*/ 12 h 29"/>
                <a:gd name="T30" fmla="*/ 24 w 50"/>
                <a:gd name="T31" fmla="*/ 10 h 29"/>
                <a:gd name="T32" fmla="*/ 28 w 50"/>
                <a:gd name="T33" fmla="*/ 11 h 29"/>
                <a:gd name="T34" fmla="*/ 30 w 50"/>
                <a:gd name="T35" fmla="*/ 13 h 29"/>
                <a:gd name="T36" fmla="*/ 35 w 50"/>
                <a:gd name="T37" fmla="*/ 17 h 29"/>
                <a:gd name="T38" fmla="*/ 39 w 50"/>
                <a:gd name="T39" fmla="*/ 19 h 29"/>
                <a:gd name="T40" fmla="*/ 40 w 50"/>
                <a:gd name="T41" fmla="*/ 21 h 29"/>
                <a:gd name="T42" fmla="*/ 50 w 50"/>
                <a:gd name="T43" fmla="*/ 29 h 29"/>
                <a:gd name="T44" fmla="*/ 49 w 50"/>
                <a:gd name="T45" fmla="*/ 26 h 29"/>
                <a:gd name="T46" fmla="*/ 44 w 50"/>
                <a:gd name="T47"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29">
                  <a:moveTo>
                    <a:pt x="44" y="20"/>
                  </a:moveTo>
                  <a:cubicBezTo>
                    <a:pt x="42" y="19"/>
                    <a:pt x="41" y="20"/>
                    <a:pt x="39" y="18"/>
                  </a:cubicBezTo>
                  <a:cubicBezTo>
                    <a:pt x="38" y="17"/>
                    <a:pt x="37" y="16"/>
                    <a:pt x="35" y="15"/>
                  </a:cubicBezTo>
                  <a:cubicBezTo>
                    <a:pt x="32" y="12"/>
                    <a:pt x="29" y="11"/>
                    <a:pt x="28" y="7"/>
                  </a:cubicBezTo>
                  <a:cubicBezTo>
                    <a:pt x="27" y="4"/>
                    <a:pt x="23" y="5"/>
                    <a:pt x="22" y="7"/>
                  </a:cubicBezTo>
                  <a:cubicBezTo>
                    <a:pt x="23" y="7"/>
                    <a:pt x="24" y="7"/>
                    <a:pt x="24" y="9"/>
                  </a:cubicBezTo>
                  <a:cubicBezTo>
                    <a:pt x="23" y="8"/>
                    <a:pt x="21" y="7"/>
                    <a:pt x="19" y="6"/>
                  </a:cubicBezTo>
                  <a:cubicBezTo>
                    <a:pt x="18" y="6"/>
                    <a:pt x="16" y="6"/>
                    <a:pt x="16" y="5"/>
                  </a:cubicBezTo>
                  <a:cubicBezTo>
                    <a:pt x="15" y="5"/>
                    <a:pt x="15" y="4"/>
                    <a:pt x="14" y="4"/>
                  </a:cubicBezTo>
                  <a:cubicBezTo>
                    <a:pt x="10" y="1"/>
                    <a:pt x="6" y="0"/>
                    <a:pt x="1" y="0"/>
                  </a:cubicBezTo>
                  <a:cubicBezTo>
                    <a:pt x="3" y="1"/>
                    <a:pt x="0" y="1"/>
                    <a:pt x="3" y="2"/>
                  </a:cubicBezTo>
                  <a:cubicBezTo>
                    <a:pt x="5" y="2"/>
                    <a:pt x="6" y="2"/>
                    <a:pt x="8" y="3"/>
                  </a:cubicBezTo>
                  <a:cubicBezTo>
                    <a:pt x="10" y="3"/>
                    <a:pt x="12" y="4"/>
                    <a:pt x="14" y="6"/>
                  </a:cubicBezTo>
                  <a:cubicBezTo>
                    <a:pt x="16" y="7"/>
                    <a:pt x="17" y="8"/>
                    <a:pt x="20" y="9"/>
                  </a:cubicBezTo>
                  <a:cubicBezTo>
                    <a:pt x="21" y="10"/>
                    <a:pt x="25" y="10"/>
                    <a:pt x="25" y="12"/>
                  </a:cubicBezTo>
                  <a:cubicBezTo>
                    <a:pt x="25" y="11"/>
                    <a:pt x="25" y="11"/>
                    <a:pt x="24" y="10"/>
                  </a:cubicBezTo>
                  <a:cubicBezTo>
                    <a:pt x="25" y="11"/>
                    <a:pt x="27" y="11"/>
                    <a:pt x="28" y="11"/>
                  </a:cubicBezTo>
                  <a:cubicBezTo>
                    <a:pt x="30" y="11"/>
                    <a:pt x="29" y="11"/>
                    <a:pt x="30" y="13"/>
                  </a:cubicBezTo>
                  <a:cubicBezTo>
                    <a:pt x="31" y="15"/>
                    <a:pt x="34" y="15"/>
                    <a:pt x="35" y="17"/>
                  </a:cubicBezTo>
                  <a:cubicBezTo>
                    <a:pt x="36" y="18"/>
                    <a:pt x="38" y="18"/>
                    <a:pt x="39" y="19"/>
                  </a:cubicBezTo>
                  <a:cubicBezTo>
                    <a:pt x="41" y="19"/>
                    <a:pt x="39" y="20"/>
                    <a:pt x="40" y="21"/>
                  </a:cubicBezTo>
                  <a:cubicBezTo>
                    <a:pt x="43" y="24"/>
                    <a:pt x="47" y="26"/>
                    <a:pt x="50" y="29"/>
                  </a:cubicBezTo>
                  <a:cubicBezTo>
                    <a:pt x="50" y="28"/>
                    <a:pt x="50" y="27"/>
                    <a:pt x="49" y="26"/>
                  </a:cubicBezTo>
                  <a:cubicBezTo>
                    <a:pt x="47" y="25"/>
                    <a:pt x="48" y="20"/>
                    <a:pt x="44" y="20"/>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130">
              <a:extLst>
                <a:ext uri="{FF2B5EF4-FFF2-40B4-BE49-F238E27FC236}">
                  <a16:creationId xmlns:a16="http://schemas.microsoft.com/office/drawing/2014/main" id="{D9D71DE9-FA7F-FDCD-0A27-59C54B5ABE63}"/>
                </a:ext>
              </a:extLst>
            </p:cNvPr>
            <p:cNvSpPr>
              <a:spLocks/>
            </p:cNvSpPr>
            <p:nvPr/>
          </p:nvSpPr>
          <p:spPr bwMode="auto">
            <a:xfrm>
              <a:off x="3074194" y="5370769"/>
              <a:ext cx="44863" cy="19070"/>
            </a:xfrm>
            <a:custGeom>
              <a:avLst/>
              <a:gdLst>
                <a:gd name="T0" fmla="*/ 9 w 16"/>
                <a:gd name="T1" fmla="*/ 6 h 7"/>
                <a:gd name="T2" fmla="*/ 15 w 16"/>
                <a:gd name="T3" fmla="*/ 5 h 7"/>
                <a:gd name="T4" fmla="*/ 13 w 16"/>
                <a:gd name="T5" fmla="*/ 3 h 7"/>
                <a:gd name="T6" fmla="*/ 5 w 16"/>
                <a:gd name="T7" fmla="*/ 1 h 7"/>
                <a:gd name="T8" fmla="*/ 1 w 16"/>
                <a:gd name="T9" fmla="*/ 1 h 7"/>
                <a:gd name="T10" fmla="*/ 0 w 16"/>
                <a:gd name="T11" fmla="*/ 3 h 7"/>
                <a:gd name="T12" fmla="*/ 9 w 16"/>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16" h="7">
                  <a:moveTo>
                    <a:pt x="9" y="6"/>
                  </a:moveTo>
                  <a:cubicBezTo>
                    <a:pt x="11" y="6"/>
                    <a:pt x="13" y="7"/>
                    <a:pt x="15" y="5"/>
                  </a:cubicBezTo>
                  <a:cubicBezTo>
                    <a:pt x="16" y="4"/>
                    <a:pt x="14" y="3"/>
                    <a:pt x="13" y="3"/>
                  </a:cubicBezTo>
                  <a:cubicBezTo>
                    <a:pt x="13" y="2"/>
                    <a:pt x="6" y="1"/>
                    <a:pt x="5" y="1"/>
                  </a:cubicBezTo>
                  <a:cubicBezTo>
                    <a:pt x="4" y="1"/>
                    <a:pt x="1" y="0"/>
                    <a:pt x="1" y="1"/>
                  </a:cubicBezTo>
                  <a:cubicBezTo>
                    <a:pt x="1" y="2"/>
                    <a:pt x="2" y="3"/>
                    <a:pt x="0" y="3"/>
                  </a:cubicBezTo>
                  <a:cubicBezTo>
                    <a:pt x="2" y="6"/>
                    <a:pt x="6" y="6"/>
                    <a:pt x="9" y="6"/>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131">
              <a:extLst>
                <a:ext uri="{FF2B5EF4-FFF2-40B4-BE49-F238E27FC236}">
                  <a16:creationId xmlns:a16="http://schemas.microsoft.com/office/drawing/2014/main" id="{1C0CD8D1-F788-56EA-031B-6581F832971D}"/>
                </a:ext>
              </a:extLst>
            </p:cNvPr>
            <p:cNvSpPr>
              <a:spLocks/>
            </p:cNvSpPr>
            <p:nvPr/>
          </p:nvSpPr>
          <p:spPr bwMode="auto">
            <a:xfrm>
              <a:off x="3155656" y="5447050"/>
              <a:ext cx="38960" cy="10727"/>
            </a:xfrm>
            <a:custGeom>
              <a:avLst/>
              <a:gdLst>
                <a:gd name="T0" fmla="*/ 9 w 14"/>
                <a:gd name="T1" fmla="*/ 2 h 4"/>
                <a:gd name="T2" fmla="*/ 2 w 14"/>
                <a:gd name="T3" fmla="*/ 0 h 4"/>
                <a:gd name="T4" fmla="*/ 2 w 14"/>
                <a:gd name="T5" fmla="*/ 0 h 4"/>
                <a:gd name="T6" fmla="*/ 2 w 14"/>
                <a:gd name="T7" fmla="*/ 2 h 4"/>
                <a:gd name="T8" fmla="*/ 3 w 14"/>
                <a:gd name="T9" fmla="*/ 2 h 4"/>
                <a:gd name="T10" fmla="*/ 6 w 14"/>
                <a:gd name="T11" fmla="*/ 3 h 4"/>
                <a:gd name="T12" fmla="*/ 14 w 14"/>
                <a:gd name="T13" fmla="*/ 4 h 4"/>
                <a:gd name="T14" fmla="*/ 9 w 1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
                  <a:moveTo>
                    <a:pt x="9" y="2"/>
                  </a:moveTo>
                  <a:cubicBezTo>
                    <a:pt x="10" y="2"/>
                    <a:pt x="4" y="1"/>
                    <a:pt x="2" y="0"/>
                  </a:cubicBezTo>
                  <a:cubicBezTo>
                    <a:pt x="3" y="0"/>
                    <a:pt x="2" y="0"/>
                    <a:pt x="2" y="0"/>
                  </a:cubicBezTo>
                  <a:cubicBezTo>
                    <a:pt x="0" y="0"/>
                    <a:pt x="1" y="1"/>
                    <a:pt x="2" y="2"/>
                  </a:cubicBezTo>
                  <a:cubicBezTo>
                    <a:pt x="1" y="0"/>
                    <a:pt x="3" y="1"/>
                    <a:pt x="3" y="2"/>
                  </a:cubicBezTo>
                  <a:cubicBezTo>
                    <a:pt x="4" y="2"/>
                    <a:pt x="5" y="2"/>
                    <a:pt x="6" y="3"/>
                  </a:cubicBezTo>
                  <a:cubicBezTo>
                    <a:pt x="9" y="3"/>
                    <a:pt x="12" y="3"/>
                    <a:pt x="14" y="4"/>
                  </a:cubicBezTo>
                  <a:cubicBezTo>
                    <a:pt x="13" y="2"/>
                    <a:pt x="11" y="3"/>
                    <a:pt x="9" y="2"/>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132">
              <a:extLst>
                <a:ext uri="{FF2B5EF4-FFF2-40B4-BE49-F238E27FC236}">
                  <a16:creationId xmlns:a16="http://schemas.microsoft.com/office/drawing/2014/main" id="{700708BB-F028-4B56-ABC1-924CC0DDABB8}"/>
                </a:ext>
              </a:extLst>
            </p:cNvPr>
            <p:cNvSpPr>
              <a:spLocks/>
            </p:cNvSpPr>
            <p:nvPr/>
          </p:nvSpPr>
          <p:spPr bwMode="auto">
            <a:xfrm>
              <a:off x="3045859" y="5410102"/>
              <a:ext cx="16529" cy="8344"/>
            </a:xfrm>
            <a:custGeom>
              <a:avLst/>
              <a:gdLst>
                <a:gd name="T0" fmla="*/ 4 w 6"/>
                <a:gd name="T1" fmla="*/ 1 h 3"/>
                <a:gd name="T2" fmla="*/ 3 w 6"/>
                <a:gd name="T3" fmla="*/ 0 h 3"/>
                <a:gd name="T4" fmla="*/ 1 w 6"/>
                <a:gd name="T5" fmla="*/ 1 h 3"/>
                <a:gd name="T6" fmla="*/ 0 w 6"/>
                <a:gd name="T7" fmla="*/ 2 h 3"/>
                <a:gd name="T8" fmla="*/ 1 w 6"/>
                <a:gd name="T9" fmla="*/ 3 h 3"/>
                <a:gd name="T10" fmla="*/ 5 w 6"/>
                <a:gd name="T11" fmla="*/ 3 h 3"/>
                <a:gd name="T12" fmla="*/ 4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4" y="1"/>
                  </a:moveTo>
                  <a:cubicBezTo>
                    <a:pt x="4" y="1"/>
                    <a:pt x="3" y="0"/>
                    <a:pt x="3" y="0"/>
                  </a:cubicBezTo>
                  <a:cubicBezTo>
                    <a:pt x="2" y="0"/>
                    <a:pt x="2" y="0"/>
                    <a:pt x="1" y="1"/>
                  </a:cubicBezTo>
                  <a:cubicBezTo>
                    <a:pt x="0" y="1"/>
                    <a:pt x="0" y="1"/>
                    <a:pt x="0" y="2"/>
                  </a:cubicBezTo>
                  <a:cubicBezTo>
                    <a:pt x="0" y="1"/>
                    <a:pt x="1" y="3"/>
                    <a:pt x="1" y="3"/>
                  </a:cubicBezTo>
                  <a:cubicBezTo>
                    <a:pt x="2" y="3"/>
                    <a:pt x="4" y="3"/>
                    <a:pt x="5" y="3"/>
                  </a:cubicBezTo>
                  <a:cubicBezTo>
                    <a:pt x="6" y="1"/>
                    <a:pt x="5" y="0"/>
                    <a:pt x="4" y="1"/>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133">
              <a:extLst>
                <a:ext uri="{FF2B5EF4-FFF2-40B4-BE49-F238E27FC236}">
                  <a16:creationId xmlns:a16="http://schemas.microsoft.com/office/drawing/2014/main" id="{76886977-64BC-633C-B8DA-BB660CFE3F98}"/>
                </a:ext>
              </a:extLst>
            </p:cNvPr>
            <p:cNvSpPr>
              <a:spLocks/>
            </p:cNvSpPr>
            <p:nvPr/>
          </p:nvSpPr>
          <p:spPr bwMode="auto">
            <a:xfrm>
              <a:off x="2934882" y="5274226"/>
              <a:ext cx="33057" cy="36949"/>
            </a:xfrm>
            <a:custGeom>
              <a:avLst/>
              <a:gdLst>
                <a:gd name="T0" fmla="*/ 7 w 12"/>
                <a:gd name="T1" fmla="*/ 6 h 13"/>
                <a:gd name="T2" fmla="*/ 1 w 12"/>
                <a:gd name="T3" fmla="*/ 0 h 13"/>
                <a:gd name="T4" fmla="*/ 2 w 12"/>
                <a:gd name="T5" fmla="*/ 1 h 13"/>
                <a:gd name="T6" fmla="*/ 0 w 12"/>
                <a:gd name="T7" fmla="*/ 0 h 13"/>
                <a:gd name="T8" fmla="*/ 5 w 12"/>
                <a:gd name="T9" fmla="*/ 5 h 13"/>
                <a:gd name="T10" fmla="*/ 12 w 12"/>
                <a:gd name="T11" fmla="*/ 13 h 13"/>
                <a:gd name="T12" fmla="*/ 10 w 12"/>
                <a:gd name="T13" fmla="*/ 10 h 13"/>
                <a:gd name="T14" fmla="*/ 12 w 12"/>
                <a:gd name="T15" fmla="*/ 11 h 13"/>
                <a:gd name="T16" fmla="*/ 7 w 12"/>
                <a:gd name="T1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7" y="6"/>
                  </a:moveTo>
                  <a:cubicBezTo>
                    <a:pt x="6" y="5"/>
                    <a:pt x="3" y="0"/>
                    <a:pt x="1" y="0"/>
                  </a:cubicBezTo>
                  <a:cubicBezTo>
                    <a:pt x="1" y="0"/>
                    <a:pt x="1" y="0"/>
                    <a:pt x="2" y="1"/>
                  </a:cubicBezTo>
                  <a:cubicBezTo>
                    <a:pt x="1" y="1"/>
                    <a:pt x="0" y="0"/>
                    <a:pt x="0" y="0"/>
                  </a:cubicBezTo>
                  <a:cubicBezTo>
                    <a:pt x="0" y="1"/>
                    <a:pt x="4" y="4"/>
                    <a:pt x="5" y="5"/>
                  </a:cubicBezTo>
                  <a:cubicBezTo>
                    <a:pt x="7" y="8"/>
                    <a:pt x="9" y="11"/>
                    <a:pt x="12" y="13"/>
                  </a:cubicBezTo>
                  <a:cubicBezTo>
                    <a:pt x="12" y="12"/>
                    <a:pt x="10" y="11"/>
                    <a:pt x="10" y="10"/>
                  </a:cubicBezTo>
                  <a:cubicBezTo>
                    <a:pt x="10" y="11"/>
                    <a:pt x="11" y="12"/>
                    <a:pt x="12" y="11"/>
                  </a:cubicBezTo>
                  <a:cubicBezTo>
                    <a:pt x="12" y="11"/>
                    <a:pt x="8" y="7"/>
                    <a:pt x="7" y="6"/>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134">
              <a:extLst>
                <a:ext uri="{FF2B5EF4-FFF2-40B4-BE49-F238E27FC236}">
                  <a16:creationId xmlns:a16="http://schemas.microsoft.com/office/drawing/2014/main" id="{1903C75F-F70C-4543-CE17-D15926CDB100}"/>
                </a:ext>
              </a:extLst>
            </p:cNvPr>
            <p:cNvSpPr>
              <a:spLocks/>
            </p:cNvSpPr>
            <p:nvPr/>
          </p:nvSpPr>
          <p:spPr bwMode="auto">
            <a:xfrm>
              <a:off x="2894741" y="5133583"/>
              <a:ext cx="36599" cy="41717"/>
            </a:xfrm>
            <a:custGeom>
              <a:avLst/>
              <a:gdLst>
                <a:gd name="T0" fmla="*/ 12 w 13"/>
                <a:gd name="T1" fmla="*/ 14 h 15"/>
                <a:gd name="T2" fmla="*/ 13 w 13"/>
                <a:gd name="T3" fmla="*/ 14 h 15"/>
                <a:gd name="T4" fmla="*/ 9 w 13"/>
                <a:gd name="T5" fmla="*/ 9 h 15"/>
                <a:gd name="T6" fmla="*/ 8 w 13"/>
                <a:gd name="T7" fmla="*/ 6 h 15"/>
                <a:gd name="T8" fmla="*/ 6 w 13"/>
                <a:gd name="T9" fmla="*/ 6 h 15"/>
                <a:gd name="T10" fmla="*/ 6 w 13"/>
                <a:gd name="T11" fmla="*/ 2 h 15"/>
                <a:gd name="T12" fmla="*/ 4 w 13"/>
                <a:gd name="T13" fmla="*/ 3 h 15"/>
                <a:gd name="T14" fmla="*/ 3 w 13"/>
                <a:gd name="T15" fmla="*/ 7 h 15"/>
                <a:gd name="T16" fmla="*/ 2 w 13"/>
                <a:gd name="T17" fmla="*/ 8 h 15"/>
                <a:gd name="T18" fmla="*/ 7 w 13"/>
                <a:gd name="T19" fmla="*/ 11 h 15"/>
                <a:gd name="T20" fmla="*/ 11 w 13"/>
                <a:gd name="T21" fmla="*/ 15 h 15"/>
                <a:gd name="T22" fmla="*/ 12 w 13"/>
                <a:gd name="T2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5">
                  <a:moveTo>
                    <a:pt x="12" y="14"/>
                  </a:moveTo>
                  <a:cubicBezTo>
                    <a:pt x="12" y="14"/>
                    <a:pt x="13" y="14"/>
                    <a:pt x="13" y="14"/>
                  </a:cubicBezTo>
                  <a:cubicBezTo>
                    <a:pt x="13" y="11"/>
                    <a:pt x="11" y="10"/>
                    <a:pt x="9" y="9"/>
                  </a:cubicBezTo>
                  <a:cubicBezTo>
                    <a:pt x="7" y="9"/>
                    <a:pt x="9" y="7"/>
                    <a:pt x="8" y="6"/>
                  </a:cubicBezTo>
                  <a:cubicBezTo>
                    <a:pt x="8" y="5"/>
                    <a:pt x="7" y="7"/>
                    <a:pt x="6" y="6"/>
                  </a:cubicBezTo>
                  <a:cubicBezTo>
                    <a:pt x="6" y="6"/>
                    <a:pt x="7" y="3"/>
                    <a:pt x="6" y="2"/>
                  </a:cubicBezTo>
                  <a:cubicBezTo>
                    <a:pt x="4" y="0"/>
                    <a:pt x="5" y="5"/>
                    <a:pt x="4" y="3"/>
                  </a:cubicBezTo>
                  <a:cubicBezTo>
                    <a:pt x="4" y="3"/>
                    <a:pt x="5" y="7"/>
                    <a:pt x="3" y="7"/>
                  </a:cubicBezTo>
                  <a:cubicBezTo>
                    <a:pt x="2" y="7"/>
                    <a:pt x="2" y="7"/>
                    <a:pt x="2" y="8"/>
                  </a:cubicBezTo>
                  <a:cubicBezTo>
                    <a:pt x="0" y="11"/>
                    <a:pt x="5" y="12"/>
                    <a:pt x="7" y="11"/>
                  </a:cubicBezTo>
                  <a:cubicBezTo>
                    <a:pt x="5" y="12"/>
                    <a:pt x="10" y="15"/>
                    <a:pt x="11" y="15"/>
                  </a:cubicBezTo>
                  <a:cubicBezTo>
                    <a:pt x="11" y="15"/>
                    <a:pt x="11" y="13"/>
                    <a:pt x="12" y="14"/>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135">
              <a:extLst>
                <a:ext uri="{FF2B5EF4-FFF2-40B4-BE49-F238E27FC236}">
                  <a16:creationId xmlns:a16="http://schemas.microsoft.com/office/drawing/2014/main" id="{ED1D29B8-0D8D-6CD1-80DB-C9E3A1A19336}"/>
                </a:ext>
              </a:extLst>
            </p:cNvPr>
            <p:cNvSpPr>
              <a:spLocks/>
            </p:cNvSpPr>
            <p:nvPr/>
          </p:nvSpPr>
          <p:spPr bwMode="auto">
            <a:xfrm>
              <a:off x="3074194" y="5389839"/>
              <a:ext cx="69656" cy="16686"/>
            </a:xfrm>
            <a:custGeom>
              <a:avLst/>
              <a:gdLst>
                <a:gd name="T0" fmla="*/ 10 w 25"/>
                <a:gd name="T1" fmla="*/ 5 h 6"/>
                <a:gd name="T2" fmla="*/ 21 w 25"/>
                <a:gd name="T3" fmla="*/ 6 h 6"/>
                <a:gd name="T4" fmla="*/ 25 w 25"/>
                <a:gd name="T5" fmla="*/ 5 h 6"/>
                <a:gd name="T6" fmla="*/ 19 w 25"/>
                <a:gd name="T7" fmla="*/ 4 h 6"/>
                <a:gd name="T8" fmla="*/ 13 w 25"/>
                <a:gd name="T9" fmla="*/ 4 h 6"/>
                <a:gd name="T10" fmla="*/ 8 w 25"/>
                <a:gd name="T11" fmla="*/ 2 h 6"/>
                <a:gd name="T12" fmla="*/ 4 w 25"/>
                <a:gd name="T13" fmla="*/ 1 h 6"/>
                <a:gd name="T14" fmla="*/ 6 w 25"/>
                <a:gd name="T15" fmla="*/ 3 h 6"/>
                <a:gd name="T16" fmla="*/ 2 w 25"/>
                <a:gd name="T17" fmla="*/ 1 h 6"/>
                <a:gd name="T18" fmla="*/ 0 w 25"/>
                <a:gd name="T19" fmla="*/ 2 h 6"/>
                <a:gd name="T20" fmla="*/ 10 w 25"/>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6">
                  <a:moveTo>
                    <a:pt x="10" y="5"/>
                  </a:moveTo>
                  <a:cubicBezTo>
                    <a:pt x="14" y="6"/>
                    <a:pt x="18" y="6"/>
                    <a:pt x="21" y="6"/>
                  </a:cubicBezTo>
                  <a:cubicBezTo>
                    <a:pt x="22" y="6"/>
                    <a:pt x="24" y="6"/>
                    <a:pt x="25" y="5"/>
                  </a:cubicBezTo>
                  <a:cubicBezTo>
                    <a:pt x="24" y="4"/>
                    <a:pt x="21" y="4"/>
                    <a:pt x="19" y="4"/>
                  </a:cubicBezTo>
                  <a:cubicBezTo>
                    <a:pt x="17" y="4"/>
                    <a:pt x="15" y="4"/>
                    <a:pt x="13" y="4"/>
                  </a:cubicBezTo>
                  <a:cubicBezTo>
                    <a:pt x="11" y="3"/>
                    <a:pt x="11" y="3"/>
                    <a:pt x="8" y="2"/>
                  </a:cubicBezTo>
                  <a:cubicBezTo>
                    <a:pt x="7" y="1"/>
                    <a:pt x="5" y="0"/>
                    <a:pt x="4" y="1"/>
                  </a:cubicBezTo>
                  <a:cubicBezTo>
                    <a:pt x="5" y="1"/>
                    <a:pt x="5" y="2"/>
                    <a:pt x="6" y="3"/>
                  </a:cubicBezTo>
                  <a:cubicBezTo>
                    <a:pt x="5" y="3"/>
                    <a:pt x="4" y="1"/>
                    <a:pt x="2" y="1"/>
                  </a:cubicBezTo>
                  <a:cubicBezTo>
                    <a:pt x="1" y="1"/>
                    <a:pt x="1" y="2"/>
                    <a:pt x="0" y="2"/>
                  </a:cubicBezTo>
                  <a:cubicBezTo>
                    <a:pt x="3" y="4"/>
                    <a:pt x="7" y="5"/>
                    <a:pt x="10" y="5"/>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136">
              <a:extLst>
                <a:ext uri="{FF2B5EF4-FFF2-40B4-BE49-F238E27FC236}">
                  <a16:creationId xmlns:a16="http://schemas.microsoft.com/office/drawing/2014/main" id="{CE410D70-4034-4A99-2A93-1A9021A9DC35}"/>
                </a:ext>
              </a:extLst>
            </p:cNvPr>
            <p:cNvSpPr>
              <a:spLocks/>
            </p:cNvSpPr>
            <p:nvPr/>
          </p:nvSpPr>
          <p:spPr bwMode="auto">
            <a:xfrm>
              <a:off x="3010441" y="5133583"/>
              <a:ext cx="345919" cy="340881"/>
            </a:xfrm>
            <a:custGeom>
              <a:avLst/>
              <a:gdLst>
                <a:gd name="T0" fmla="*/ 117 w 124"/>
                <a:gd name="T1" fmla="*/ 50 h 121"/>
                <a:gd name="T2" fmla="*/ 110 w 124"/>
                <a:gd name="T3" fmla="*/ 45 h 121"/>
                <a:gd name="T4" fmla="*/ 107 w 124"/>
                <a:gd name="T5" fmla="*/ 43 h 121"/>
                <a:gd name="T6" fmla="*/ 106 w 124"/>
                <a:gd name="T7" fmla="*/ 34 h 121"/>
                <a:gd name="T8" fmla="*/ 109 w 124"/>
                <a:gd name="T9" fmla="*/ 31 h 121"/>
                <a:gd name="T10" fmla="*/ 112 w 124"/>
                <a:gd name="T11" fmla="*/ 17 h 121"/>
                <a:gd name="T12" fmla="*/ 94 w 124"/>
                <a:gd name="T13" fmla="*/ 15 h 121"/>
                <a:gd name="T14" fmla="*/ 93 w 124"/>
                <a:gd name="T15" fmla="*/ 13 h 121"/>
                <a:gd name="T16" fmla="*/ 90 w 124"/>
                <a:gd name="T17" fmla="*/ 9 h 121"/>
                <a:gd name="T18" fmla="*/ 87 w 124"/>
                <a:gd name="T19" fmla="*/ 10 h 121"/>
                <a:gd name="T20" fmla="*/ 77 w 124"/>
                <a:gd name="T21" fmla="*/ 8 h 121"/>
                <a:gd name="T22" fmla="*/ 70 w 124"/>
                <a:gd name="T23" fmla="*/ 7 h 121"/>
                <a:gd name="T24" fmla="*/ 62 w 124"/>
                <a:gd name="T25" fmla="*/ 8 h 121"/>
                <a:gd name="T26" fmla="*/ 50 w 124"/>
                <a:gd name="T27" fmla="*/ 6 h 121"/>
                <a:gd name="T28" fmla="*/ 38 w 124"/>
                <a:gd name="T29" fmla="*/ 2 h 121"/>
                <a:gd name="T30" fmla="*/ 27 w 124"/>
                <a:gd name="T31" fmla="*/ 3 h 121"/>
                <a:gd name="T32" fmla="*/ 19 w 124"/>
                <a:gd name="T33" fmla="*/ 12 h 121"/>
                <a:gd name="T34" fmla="*/ 10 w 124"/>
                <a:gd name="T35" fmla="*/ 4 h 121"/>
                <a:gd name="T36" fmla="*/ 2 w 124"/>
                <a:gd name="T37" fmla="*/ 14 h 121"/>
                <a:gd name="T38" fmla="*/ 1 w 124"/>
                <a:gd name="T39" fmla="*/ 21 h 121"/>
                <a:gd name="T40" fmla="*/ 5 w 124"/>
                <a:gd name="T41" fmla="*/ 26 h 121"/>
                <a:gd name="T42" fmla="*/ 8 w 124"/>
                <a:gd name="T43" fmla="*/ 28 h 121"/>
                <a:gd name="T44" fmla="*/ 10 w 124"/>
                <a:gd name="T45" fmla="*/ 32 h 121"/>
                <a:gd name="T46" fmla="*/ 14 w 124"/>
                <a:gd name="T47" fmla="*/ 40 h 121"/>
                <a:gd name="T48" fmla="*/ 22 w 124"/>
                <a:gd name="T49" fmla="*/ 54 h 121"/>
                <a:gd name="T50" fmla="*/ 33 w 124"/>
                <a:gd name="T51" fmla="*/ 67 h 121"/>
                <a:gd name="T52" fmla="*/ 48 w 124"/>
                <a:gd name="T53" fmla="*/ 80 h 121"/>
                <a:gd name="T54" fmla="*/ 51 w 124"/>
                <a:gd name="T55" fmla="*/ 87 h 121"/>
                <a:gd name="T56" fmla="*/ 58 w 124"/>
                <a:gd name="T57" fmla="*/ 96 h 121"/>
                <a:gd name="T58" fmla="*/ 60 w 124"/>
                <a:gd name="T59" fmla="*/ 104 h 121"/>
                <a:gd name="T60" fmla="*/ 60 w 124"/>
                <a:gd name="T61" fmla="*/ 105 h 121"/>
                <a:gd name="T62" fmla="*/ 67 w 124"/>
                <a:gd name="T63" fmla="*/ 106 h 121"/>
                <a:gd name="T64" fmla="*/ 71 w 124"/>
                <a:gd name="T65" fmla="*/ 111 h 121"/>
                <a:gd name="T66" fmla="*/ 85 w 124"/>
                <a:gd name="T67" fmla="*/ 119 h 121"/>
                <a:gd name="T68" fmla="*/ 91 w 124"/>
                <a:gd name="T69" fmla="*/ 114 h 121"/>
                <a:gd name="T70" fmla="*/ 89 w 124"/>
                <a:gd name="T71" fmla="*/ 107 h 121"/>
                <a:gd name="T72" fmla="*/ 94 w 124"/>
                <a:gd name="T73" fmla="*/ 96 h 121"/>
                <a:gd name="T74" fmla="*/ 103 w 124"/>
                <a:gd name="T75" fmla="*/ 87 h 121"/>
                <a:gd name="T76" fmla="*/ 107 w 124"/>
                <a:gd name="T77" fmla="*/ 87 h 121"/>
                <a:gd name="T78" fmla="*/ 103 w 124"/>
                <a:gd name="T79" fmla="*/ 82 h 121"/>
                <a:gd name="T80" fmla="*/ 104 w 124"/>
                <a:gd name="T81" fmla="*/ 77 h 121"/>
                <a:gd name="T82" fmla="*/ 109 w 124"/>
                <a:gd name="T83" fmla="*/ 78 h 121"/>
                <a:gd name="T84" fmla="*/ 116 w 124"/>
                <a:gd name="T85" fmla="*/ 75 h 121"/>
                <a:gd name="T86" fmla="*/ 120 w 124"/>
                <a:gd name="T87" fmla="*/ 76 h 121"/>
                <a:gd name="T88" fmla="*/ 119 w 124"/>
                <a:gd name="T89" fmla="*/ 68 h 121"/>
                <a:gd name="T90" fmla="*/ 111 w 124"/>
                <a:gd name="T91" fmla="*/ 59 h 121"/>
                <a:gd name="T92" fmla="*/ 122 w 124"/>
                <a:gd name="T93" fmla="*/ 5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121">
                  <a:moveTo>
                    <a:pt x="122" y="54"/>
                  </a:moveTo>
                  <a:cubicBezTo>
                    <a:pt x="121" y="56"/>
                    <a:pt x="118" y="50"/>
                    <a:pt x="117" y="50"/>
                  </a:cubicBezTo>
                  <a:cubicBezTo>
                    <a:pt x="114" y="50"/>
                    <a:pt x="114" y="46"/>
                    <a:pt x="112" y="45"/>
                  </a:cubicBezTo>
                  <a:cubicBezTo>
                    <a:pt x="111" y="45"/>
                    <a:pt x="110" y="46"/>
                    <a:pt x="110" y="45"/>
                  </a:cubicBezTo>
                  <a:cubicBezTo>
                    <a:pt x="109" y="44"/>
                    <a:pt x="109" y="44"/>
                    <a:pt x="108" y="44"/>
                  </a:cubicBezTo>
                  <a:cubicBezTo>
                    <a:pt x="108" y="44"/>
                    <a:pt x="107" y="43"/>
                    <a:pt x="107" y="43"/>
                  </a:cubicBezTo>
                  <a:cubicBezTo>
                    <a:pt x="106" y="41"/>
                    <a:pt x="106" y="40"/>
                    <a:pt x="107" y="38"/>
                  </a:cubicBezTo>
                  <a:cubicBezTo>
                    <a:pt x="108" y="37"/>
                    <a:pt x="106" y="36"/>
                    <a:pt x="106" y="34"/>
                  </a:cubicBezTo>
                  <a:cubicBezTo>
                    <a:pt x="107" y="33"/>
                    <a:pt x="107" y="34"/>
                    <a:pt x="108" y="34"/>
                  </a:cubicBezTo>
                  <a:cubicBezTo>
                    <a:pt x="108" y="33"/>
                    <a:pt x="109" y="32"/>
                    <a:pt x="109" y="31"/>
                  </a:cubicBezTo>
                  <a:cubicBezTo>
                    <a:pt x="110" y="29"/>
                    <a:pt x="111" y="27"/>
                    <a:pt x="112" y="25"/>
                  </a:cubicBezTo>
                  <a:cubicBezTo>
                    <a:pt x="113" y="22"/>
                    <a:pt x="115" y="18"/>
                    <a:pt x="112" y="17"/>
                  </a:cubicBezTo>
                  <a:cubicBezTo>
                    <a:pt x="109" y="16"/>
                    <a:pt x="106" y="18"/>
                    <a:pt x="103" y="19"/>
                  </a:cubicBezTo>
                  <a:cubicBezTo>
                    <a:pt x="99" y="20"/>
                    <a:pt x="96" y="20"/>
                    <a:pt x="94" y="15"/>
                  </a:cubicBezTo>
                  <a:cubicBezTo>
                    <a:pt x="96" y="15"/>
                    <a:pt x="95" y="14"/>
                    <a:pt x="95" y="13"/>
                  </a:cubicBezTo>
                  <a:cubicBezTo>
                    <a:pt x="95" y="12"/>
                    <a:pt x="94" y="13"/>
                    <a:pt x="93" y="13"/>
                  </a:cubicBezTo>
                  <a:cubicBezTo>
                    <a:pt x="93" y="12"/>
                    <a:pt x="91" y="10"/>
                    <a:pt x="92" y="9"/>
                  </a:cubicBezTo>
                  <a:cubicBezTo>
                    <a:pt x="91" y="9"/>
                    <a:pt x="89" y="11"/>
                    <a:pt x="90" y="9"/>
                  </a:cubicBezTo>
                  <a:cubicBezTo>
                    <a:pt x="89" y="8"/>
                    <a:pt x="89" y="10"/>
                    <a:pt x="87" y="9"/>
                  </a:cubicBezTo>
                  <a:cubicBezTo>
                    <a:pt x="87" y="9"/>
                    <a:pt x="87" y="9"/>
                    <a:pt x="87" y="10"/>
                  </a:cubicBezTo>
                  <a:cubicBezTo>
                    <a:pt x="87" y="10"/>
                    <a:pt x="81" y="8"/>
                    <a:pt x="80" y="8"/>
                  </a:cubicBezTo>
                  <a:cubicBezTo>
                    <a:pt x="79" y="7"/>
                    <a:pt x="78" y="5"/>
                    <a:pt x="77" y="8"/>
                  </a:cubicBezTo>
                  <a:cubicBezTo>
                    <a:pt x="77" y="9"/>
                    <a:pt x="75" y="9"/>
                    <a:pt x="74" y="9"/>
                  </a:cubicBezTo>
                  <a:cubicBezTo>
                    <a:pt x="73" y="8"/>
                    <a:pt x="72" y="5"/>
                    <a:pt x="70" y="7"/>
                  </a:cubicBezTo>
                  <a:cubicBezTo>
                    <a:pt x="68" y="8"/>
                    <a:pt x="68" y="10"/>
                    <a:pt x="66" y="10"/>
                  </a:cubicBezTo>
                  <a:cubicBezTo>
                    <a:pt x="65" y="10"/>
                    <a:pt x="63" y="9"/>
                    <a:pt x="62" y="8"/>
                  </a:cubicBezTo>
                  <a:cubicBezTo>
                    <a:pt x="61" y="7"/>
                    <a:pt x="56" y="8"/>
                    <a:pt x="55" y="7"/>
                  </a:cubicBezTo>
                  <a:cubicBezTo>
                    <a:pt x="54" y="5"/>
                    <a:pt x="52" y="7"/>
                    <a:pt x="50" y="6"/>
                  </a:cubicBezTo>
                  <a:cubicBezTo>
                    <a:pt x="47" y="4"/>
                    <a:pt x="46" y="7"/>
                    <a:pt x="42" y="4"/>
                  </a:cubicBezTo>
                  <a:cubicBezTo>
                    <a:pt x="41" y="3"/>
                    <a:pt x="40" y="2"/>
                    <a:pt x="38" y="2"/>
                  </a:cubicBezTo>
                  <a:cubicBezTo>
                    <a:pt x="37" y="2"/>
                    <a:pt x="38" y="1"/>
                    <a:pt x="37" y="0"/>
                  </a:cubicBezTo>
                  <a:cubicBezTo>
                    <a:pt x="34" y="6"/>
                    <a:pt x="31" y="3"/>
                    <a:pt x="27" y="3"/>
                  </a:cubicBezTo>
                  <a:cubicBezTo>
                    <a:pt x="24" y="2"/>
                    <a:pt x="22" y="6"/>
                    <a:pt x="21" y="8"/>
                  </a:cubicBezTo>
                  <a:cubicBezTo>
                    <a:pt x="20" y="9"/>
                    <a:pt x="20" y="11"/>
                    <a:pt x="19" y="12"/>
                  </a:cubicBezTo>
                  <a:cubicBezTo>
                    <a:pt x="18" y="13"/>
                    <a:pt x="16" y="11"/>
                    <a:pt x="14" y="9"/>
                  </a:cubicBezTo>
                  <a:cubicBezTo>
                    <a:pt x="12" y="7"/>
                    <a:pt x="11" y="5"/>
                    <a:pt x="10" y="4"/>
                  </a:cubicBezTo>
                  <a:cubicBezTo>
                    <a:pt x="7" y="1"/>
                    <a:pt x="2" y="3"/>
                    <a:pt x="2" y="8"/>
                  </a:cubicBezTo>
                  <a:cubicBezTo>
                    <a:pt x="2" y="9"/>
                    <a:pt x="2" y="13"/>
                    <a:pt x="2" y="14"/>
                  </a:cubicBezTo>
                  <a:cubicBezTo>
                    <a:pt x="0" y="16"/>
                    <a:pt x="3" y="18"/>
                    <a:pt x="2" y="20"/>
                  </a:cubicBezTo>
                  <a:cubicBezTo>
                    <a:pt x="2" y="21"/>
                    <a:pt x="1" y="20"/>
                    <a:pt x="1" y="21"/>
                  </a:cubicBezTo>
                  <a:cubicBezTo>
                    <a:pt x="1" y="22"/>
                    <a:pt x="1" y="23"/>
                    <a:pt x="2" y="24"/>
                  </a:cubicBezTo>
                  <a:cubicBezTo>
                    <a:pt x="3" y="25"/>
                    <a:pt x="4" y="25"/>
                    <a:pt x="5" y="26"/>
                  </a:cubicBezTo>
                  <a:cubicBezTo>
                    <a:pt x="5" y="26"/>
                    <a:pt x="5" y="25"/>
                    <a:pt x="6" y="25"/>
                  </a:cubicBezTo>
                  <a:cubicBezTo>
                    <a:pt x="7" y="25"/>
                    <a:pt x="8" y="27"/>
                    <a:pt x="8" y="28"/>
                  </a:cubicBezTo>
                  <a:cubicBezTo>
                    <a:pt x="9" y="29"/>
                    <a:pt x="10" y="28"/>
                    <a:pt x="11" y="30"/>
                  </a:cubicBezTo>
                  <a:cubicBezTo>
                    <a:pt x="11" y="31"/>
                    <a:pt x="10" y="31"/>
                    <a:pt x="10" y="32"/>
                  </a:cubicBezTo>
                  <a:cubicBezTo>
                    <a:pt x="10" y="34"/>
                    <a:pt x="12" y="33"/>
                    <a:pt x="13" y="33"/>
                  </a:cubicBezTo>
                  <a:cubicBezTo>
                    <a:pt x="14" y="35"/>
                    <a:pt x="16" y="38"/>
                    <a:pt x="14" y="40"/>
                  </a:cubicBezTo>
                  <a:cubicBezTo>
                    <a:pt x="17" y="40"/>
                    <a:pt x="15" y="47"/>
                    <a:pt x="18" y="49"/>
                  </a:cubicBezTo>
                  <a:cubicBezTo>
                    <a:pt x="20" y="51"/>
                    <a:pt x="20" y="53"/>
                    <a:pt x="22" y="54"/>
                  </a:cubicBezTo>
                  <a:cubicBezTo>
                    <a:pt x="24" y="55"/>
                    <a:pt x="24" y="56"/>
                    <a:pt x="25" y="57"/>
                  </a:cubicBezTo>
                  <a:cubicBezTo>
                    <a:pt x="29" y="60"/>
                    <a:pt x="30" y="64"/>
                    <a:pt x="33" y="67"/>
                  </a:cubicBezTo>
                  <a:cubicBezTo>
                    <a:pt x="36" y="70"/>
                    <a:pt x="39" y="73"/>
                    <a:pt x="42" y="76"/>
                  </a:cubicBezTo>
                  <a:cubicBezTo>
                    <a:pt x="44" y="78"/>
                    <a:pt x="46" y="79"/>
                    <a:pt x="48" y="80"/>
                  </a:cubicBezTo>
                  <a:cubicBezTo>
                    <a:pt x="49" y="80"/>
                    <a:pt x="51" y="80"/>
                    <a:pt x="51" y="82"/>
                  </a:cubicBezTo>
                  <a:cubicBezTo>
                    <a:pt x="51" y="84"/>
                    <a:pt x="51" y="86"/>
                    <a:pt x="51" y="87"/>
                  </a:cubicBezTo>
                  <a:cubicBezTo>
                    <a:pt x="52" y="89"/>
                    <a:pt x="53" y="90"/>
                    <a:pt x="54" y="92"/>
                  </a:cubicBezTo>
                  <a:cubicBezTo>
                    <a:pt x="56" y="93"/>
                    <a:pt x="56" y="95"/>
                    <a:pt x="58" y="96"/>
                  </a:cubicBezTo>
                  <a:cubicBezTo>
                    <a:pt x="60" y="97"/>
                    <a:pt x="62" y="98"/>
                    <a:pt x="63" y="99"/>
                  </a:cubicBezTo>
                  <a:cubicBezTo>
                    <a:pt x="65" y="103"/>
                    <a:pt x="63" y="103"/>
                    <a:pt x="60" y="104"/>
                  </a:cubicBezTo>
                  <a:cubicBezTo>
                    <a:pt x="61" y="105"/>
                    <a:pt x="61" y="105"/>
                    <a:pt x="61" y="106"/>
                  </a:cubicBezTo>
                  <a:cubicBezTo>
                    <a:pt x="61" y="105"/>
                    <a:pt x="60" y="105"/>
                    <a:pt x="60" y="105"/>
                  </a:cubicBezTo>
                  <a:cubicBezTo>
                    <a:pt x="61" y="105"/>
                    <a:pt x="63" y="108"/>
                    <a:pt x="64" y="106"/>
                  </a:cubicBezTo>
                  <a:cubicBezTo>
                    <a:pt x="64" y="105"/>
                    <a:pt x="66" y="106"/>
                    <a:pt x="67" y="106"/>
                  </a:cubicBezTo>
                  <a:cubicBezTo>
                    <a:pt x="68" y="107"/>
                    <a:pt x="68" y="105"/>
                    <a:pt x="69" y="107"/>
                  </a:cubicBezTo>
                  <a:cubicBezTo>
                    <a:pt x="70" y="108"/>
                    <a:pt x="70" y="109"/>
                    <a:pt x="71" y="111"/>
                  </a:cubicBezTo>
                  <a:cubicBezTo>
                    <a:pt x="74" y="113"/>
                    <a:pt x="77" y="116"/>
                    <a:pt x="81" y="118"/>
                  </a:cubicBezTo>
                  <a:cubicBezTo>
                    <a:pt x="83" y="120"/>
                    <a:pt x="83" y="119"/>
                    <a:pt x="85" y="119"/>
                  </a:cubicBezTo>
                  <a:cubicBezTo>
                    <a:pt x="86" y="120"/>
                    <a:pt x="87" y="121"/>
                    <a:pt x="89" y="121"/>
                  </a:cubicBezTo>
                  <a:cubicBezTo>
                    <a:pt x="91" y="121"/>
                    <a:pt x="93" y="117"/>
                    <a:pt x="91" y="114"/>
                  </a:cubicBezTo>
                  <a:cubicBezTo>
                    <a:pt x="90" y="113"/>
                    <a:pt x="89" y="112"/>
                    <a:pt x="88" y="111"/>
                  </a:cubicBezTo>
                  <a:cubicBezTo>
                    <a:pt x="88" y="109"/>
                    <a:pt x="89" y="109"/>
                    <a:pt x="89" y="107"/>
                  </a:cubicBezTo>
                  <a:cubicBezTo>
                    <a:pt x="89" y="105"/>
                    <a:pt x="87" y="101"/>
                    <a:pt x="90" y="101"/>
                  </a:cubicBezTo>
                  <a:cubicBezTo>
                    <a:pt x="95" y="101"/>
                    <a:pt x="93" y="101"/>
                    <a:pt x="94" y="96"/>
                  </a:cubicBezTo>
                  <a:cubicBezTo>
                    <a:pt x="94" y="93"/>
                    <a:pt x="95" y="91"/>
                    <a:pt x="97" y="89"/>
                  </a:cubicBezTo>
                  <a:cubicBezTo>
                    <a:pt x="99" y="88"/>
                    <a:pt x="100" y="84"/>
                    <a:pt x="103" y="87"/>
                  </a:cubicBezTo>
                  <a:cubicBezTo>
                    <a:pt x="104" y="89"/>
                    <a:pt x="104" y="92"/>
                    <a:pt x="106" y="88"/>
                  </a:cubicBezTo>
                  <a:cubicBezTo>
                    <a:pt x="106" y="88"/>
                    <a:pt x="108" y="88"/>
                    <a:pt x="107" y="87"/>
                  </a:cubicBezTo>
                  <a:cubicBezTo>
                    <a:pt x="106" y="86"/>
                    <a:pt x="106" y="84"/>
                    <a:pt x="105" y="83"/>
                  </a:cubicBezTo>
                  <a:cubicBezTo>
                    <a:pt x="105" y="82"/>
                    <a:pt x="104" y="83"/>
                    <a:pt x="103" y="82"/>
                  </a:cubicBezTo>
                  <a:cubicBezTo>
                    <a:pt x="103" y="81"/>
                    <a:pt x="103" y="80"/>
                    <a:pt x="102" y="79"/>
                  </a:cubicBezTo>
                  <a:cubicBezTo>
                    <a:pt x="101" y="79"/>
                    <a:pt x="103" y="78"/>
                    <a:pt x="104" y="77"/>
                  </a:cubicBezTo>
                  <a:cubicBezTo>
                    <a:pt x="105" y="76"/>
                    <a:pt x="105" y="78"/>
                    <a:pt x="106" y="79"/>
                  </a:cubicBezTo>
                  <a:cubicBezTo>
                    <a:pt x="107" y="79"/>
                    <a:pt x="108" y="78"/>
                    <a:pt x="109" y="78"/>
                  </a:cubicBezTo>
                  <a:cubicBezTo>
                    <a:pt x="111" y="78"/>
                    <a:pt x="111" y="77"/>
                    <a:pt x="112" y="76"/>
                  </a:cubicBezTo>
                  <a:cubicBezTo>
                    <a:pt x="113" y="75"/>
                    <a:pt x="115" y="74"/>
                    <a:pt x="116" y="75"/>
                  </a:cubicBezTo>
                  <a:cubicBezTo>
                    <a:pt x="116" y="75"/>
                    <a:pt x="117" y="77"/>
                    <a:pt x="117" y="77"/>
                  </a:cubicBezTo>
                  <a:cubicBezTo>
                    <a:pt x="117" y="77"/>
                    <a:pt x="120" y="76"/>
                    <a:pt x="120" y="76"/>
                  </a:cubicBezTo>
                  <a:cubicBezTo>
                    <a:pt x="120" y="76"/>
                    <a:pt x="119" y="74"/>
                    <a:pt x="120" y="73"/>
                  </a:cubicBezTo>
                  <a:cubicBezTo>
                    <a:pt x="120" y="71"/>
                    <a:pt x="120" y="69"/>
                    <a:pt x="119" y="68"/>
                  </a:cubicBezTo>
                  <a:cubicBezTo>
                    <a:pt x="118" y="66"/>
                    <a:pt x="116" y="65"/>
                    <a:pt x="114" y="63"/>
                  </a:cubicBezTo>
                  <a:cubicBezTo>
                    <a:pt x="113" y="62"/>
                    <a:pt x="112" y="60"/>
                    <a:pt x="111" y="59"/>
                  </a:cubicBezTo>
                  <a:cubicBezTo>
                    <a:pt x="109" y="55"/>
                    <a:pt x="116" y="60"/>
                    <a:pt x="118" y="60"/>
                  </a:cubicBezTo>
                  <a:cubicBezTo>
                    <a:pt x="119" y="60"/>
                    <a:pt x="124" y="56"/>
                    <a:pt x="122" y="54"/>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137">
              <a:extLst>
                <a:ext uri="{FF2B5EF4-FFF2-40B4-BE49-F238E27FC236}">
                  <a16:creationId xmlns:a16="http://schemas.microsoft.com/office/drawing/2014/main" id="{93712E1D-59E3-E884-C668-3442F30D4243}"/>
                </a:ext>
              </a:extLst>
            </p:cNvPr>
            <p:cNvSpPr>
              <a:spLocks/>
            </p:cNvSpPr>
            <p:nvPr/>
          </p:nvSpPr>
          <p:spPr bwMode="auto">
            <a:xfrm>
              <a:off x="3252466" y="5350507"/>
              <a:ext cx="179453" cy="214541"/>
            </a:xfrm>
            <a:custGeom>
              <a:avLst/>
              <a:gdLst>
                <a:gd name="T0" fmla="*/ 58 w 64"/>
                <a:gd name="T1" fmla="*/ 27 h 76"/>
                <a:gd name="T2" fmla="*/ 50 w 64"/>
                <a:gd name="T3" fmla="*/ 22 h 76"/>
                <a:gd name="T4" fmla="*/ 44 w 64"/>
                <a:gd name="T5" fmla="*/ 21 h 76"/>
                <a:gd name="T6" fmla="*/ 40 w 64"/>
                <a:gd name="T7" fmla="*/ 18 h 76"/>
                <a:gd name="T8" fmla="*/ 37 w 64"/>
                <a:gd name="T9" fmla="*/ 17 h 76"/>
                <a:gd name="T10" fmla="*/ 30 w 64"/>
                <a:gd name="T11" fmla="*/ 8 h 76"/>
                <a:gd name="T12" fmla="*/ 25 w 64"/>
                <a:gd name="T13" fmla="*/ 5 h 76"/>
                <a:gd name="T14" fmla="*/ 24 w 64"/>
                <a:gd name="T15" fmla="*/ 1 h 76"/>
                <a:gd name="T16" fmla="*/ 19 w 64"/>
                <a:gd name="T17" fmla="*/ 1 h 76"/>
                <a:gd name="T18" fmla="*/ 15 w 64"/>
                <a:gd name="T19" fmla="*/ 2 h 76"/>
                <a:gd name="T20" fmla="*/ 18 w 64"/>
                <a:gd name="T21" fmla="*/ 7 h 76"/>
                <a:gd name="T22" fmla="*/ 18 w 64"/>
                <a:gd name="T23" fmla="*/ 13 h 76"/>
                <a:gd name="T24" fmla="*/ 13 w 64"/>
                <a:gd name="T25" fmla="*/ 9 h 76"/>
                <a:gd name="T26" fmla="*/ 9 w 64"/>
                <a:gd name="T27" fmla="*/ 12 h 76"/>
                <a:gd name="T28" fmla="*/ 7 w 64"/>
                <a:gd name="T29" fmla="*/ 19 h 76"/>
                <a:gd name="T30" fmla="*/ 6 w 64"/>
                <a:gd name="T31" fmla="*/ 24 h 76"/>
                <a:gd name="T32" fmla="*/ 2 w 64"/>
                <a:gd name="T33" fmla="*/ 25 h 76"/>
                <a:gd name="T34" fmla="*/ 2 w 64"/>
                <a:gd name="T35" fmla="*/ 30 h 76"/>
                <a:gd name="T36" fmla="*/ 3 w 64"/>
                <a:gd name="T37" fmla="*/ 36 h 76"/>
                <a:gd name="T38" fmla="*/ 5 w 64"/>
                <a:gd name="T39" fmla="*/ 40 h 76"/>
                <a:gd name="T40" fmla="*/ 2 w 64"/>
                <a:gd name="T41" fmla="*/ 44 h 76"/>
                <a:gd name="T42" fmla="*/ 2 w 64"/>
                <a:gd name="T43" fmla="*/ 48 h 76"/>
                <a:gd name="T44" fmla="*/ 6 w 64"/>
                <a:gd name="T45" fmla="*/ 50 h 76"/>
                <a:gd name="T46" fmla="*/ 9 w 64"/>
                <a:gd name="T47" fmla="*/ 48 h 76"/>
                <a:gd name="T48" fmla="*/ 9 w 64"/>
                <a:gd name="T49" fmla="*/ 47 h 76"/>
                <a:gd name="T50" fmla="*/ 12 w 64"/>
                <a:gd name="T51" fmla="*/ 50 h 76"/>
                <a:gd name="T52" fmla="*/ 9 w 64"/>
                <a:gd name="T53" fmla="*/ 49 h 76"/>
                <a:gd name="T54" fmla="*/ 7 w 64"/>
                <a:gd name="T55" fmla="*/ 51 h 76"/>
                <a:gd name="T56" fmla="*/ 6 w 64"/>
                <a:gd name="T57" fmla="*/ 53 h 76"/>
                <a:gd name="T58" fmla="*/ 9 w 64"/>
                <a:gd name="T59" fmla="*/ 52 h 76"/>
                <a:gd name="T60" fmla="*/ 10 w 64"/>
                <a:gd name="T61" fmla="*/ 54 h 76"/>
                <a:gd name="T62" fmla="*/ 15 w 64"/>
                <a:gd name="T63" fmla="*/ 57 h 76"/>
                <a:gd name="T64" fmla="*/ 20 w 64"/>
                <a:gd name="T65" fmla="*/ 63 h 76"/>
                <a:gd name="T66" fmla="*/ 24 w 64"/>
                <a:gd name="T67" fmla="*/ 71 h 76"/>
                <a:gd name="T68" fmla="*/ 31 w 64"/>
                <a:gd name="T69" fmla="*/ 76 h 76"/>
                <a:gd name="T70" fmla="*/ 31 w 64"/>
                <a:gd name="T71" fmla="*/ 71 h 76"/>
                <a:gd name="T72" fmla="*/ 31 w 64"/>
                <a:gd name="T73" fmla="*/ 67 h 76"/>
                <a:gd name="T74" fmla="*/ 30 w 64"/>
                <a:gd name="T75" fmla="*/ 63 h 76"/>
                <a:gd name="T76" fmla="*/ 29 w 64"/>
                <a:gd name="T77" fmla="*/ 61 h 76"/>
                <a:gd name="T78" fmla="*/ 32 w 64"/>
                <a:gd name="T79" fmla="*/ 55 h 76"/>
                <a:gd name="T80" fmla="*/ 35 w 64"/>
                <a:gd name="T81" fmla="*/ 49 h 76"/>
                <a:gd name="T82" fmla="*/ 42 w 64"/>
                <a:gd name="T83" fmla="*/ 41 h 76"/>
                <a:gd name="T84" fmla="*/ 44 w 64"/>
                <a:gd name="T85" fmla="*/ 48 h 76"/>
                <a:gd name="T86" fmla="*/ 51 w 64"/>
                <a:gd name="T87" fmla="*/ 45 h 76"/>
                <a:gd name="T88" fmla="*/ 53 w 64"/>
                <a:gd name="T89" fmla="*/ 45 h 76"/>
                <a:gd name="T90" fmla="*/ 54 w 64"/>
                <a:gd name="T91" fmla="*/ 41 h 76"/>
                <a:gd name="T92" fmla="*/ 52 w 64"/>
                <a:gd name="T93" fmla="*/ 36 h 76"/>
                <a:gd name="T94" fmla="*/ 57 w 64"/>
                <a:gd name="T95" fmla="*/ 35 h 76"/>
                <a:gd name="T96" fmla="*/ 61 w 64"/>
                <a:gd name="T97" fmla="*/ 32 h 76"/>
                <a:gd name="T98" fmla="*/ 58 w 64"/>
                <a:gd name="T99" fmla="*/ 2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76">
                  <a:moveTo>
                    <a:pt x="58" y="27"/>
                  </a:moveTo>
                  <a:cubicBezTo>
                    <a:pt x="54" y="26"/>
                    <a:pt x="52" y="24"/>
                    <a:pt x="50" y="22"/>
                  </a:cubicBezTo>
                  <a:cubicBezTo>
                    <a:pt x="48" y="18"/>
                    <a:pt x="47" y="21"/>
                    <a:pt x="44" y="21"/>
                  </a:cubicBezTo>
                  <a:cubicBezTo>
                    <a:pt x="42" y="21"/>
                    <a:pt x="41" y="19"/>
                    <a:pt x="40" y="18"/>
                  </a:cubicBezTo>
                  <a:cubicBezTo>
                    <a:pt x="39" y="17"/>
                    <a:pt x="38" y="18"/>
                    <a:pt x="37" y="17"/>
                  </a:cubicBezTo>
                  <a:cubicBezTo>
                    <a:pt x="34" y="15"/>
                    <a:pt x="32" y="11"/>
                    <a:pt x="30" y="8"/>
                  </a:cubicBezTo>
                  <a:cubicBezTo>
                    <a:pt x="29" y="8"/>
                    <a:pt x="27" y="6"/>
                    <a:pt x="25" y="5"/>
                  </a:cubicBezTo>
                  <a:cubicBezTo>
                    <a:pt x="23" y="4"/>
                    <a:pt x="22" y="2"/>
                    <a:pt x="24" y="1"/>
                  </a:cubicBezTo>
                  <a:cubicBezTo>
                    <a:pt x="22" y="0"/>
                    <a:pt x="20" y="3"/>
                    <a:pt x="19" y="1"/>
                  </a:cubicBezTo>
                  <a:cubicBezTo>
                    <a:pt x="18" y="0"/>
                    <a:pt x="16" y="0"/>
                    <a:pt x="15" y="2"/>
                  </a:cubicBezTo>
                  <a:cubicBezTo>
                    <a:pt x="15" y="4"/>
                    <a:pt x="18" y="5"/>
                    <a:pt x="18" y="7"/>
                  </a:cubicBezTo>
                  <a:cubicBezTo>
                    <a:pt x="20" y="10"/>
                    <a:pt x="20" y="11"/>
                    <a:pt x="18" y="13"/>
                  </a:cubicBezTo>
                  <a:cubicBezTo>
                    <a:pt x="16" y="14"/>
                    <a:pt x="16" y="8"/>
                    <a:pt x="13" y="9"/>
                  </a:cubicBezTo>
                  <a:cubicBezTo>
                    <a:pt x="12" y="9"/>
                    <a:pt x="11" y="11"/>
                    <a:pt x="9" y="12"/>
                  </a:cubicBezTo>
                  <a:cubicBezTo>
                    <a:pt x="8" y="14"/>
                    <a:pt x="7" y="17"/>
                    <a:pt x="7" y="19"/>
                  </a:cubicBezTo>
                  <a:cubicBezTo>
                    <a:pt x="6" y="22"/>
                    <a:pt x="8" y="23"/>
                    <a:pt x="6" y="24"/>
                  </a:cubicBezTo>
                  <a:cubicBezTo>
                    <a:pt x="4" y="24"/>
                    <a:pt x="3" y="23"/>
                    <a:pt x="2" y="25"/>
                  </a:cubicBezTo>
                  <a:cubicBezTo>
                    <a:pt x="0" y="27"/>
                    <a:pt x="2" y="28"/>
                    <a:pt x="2" y="30"/>
                  </a:cubicBezTo>
                  <a:cubicBezTo>
                    <a:pt x="2" y="32"/>
                    <a:pt x="1" y="33"/>
                    <a:pt x="3" y="36"/>
                  </a:cubicBezTo>
                  <a:cubicBezTo>
                    <a:pt x="3" y="37"/>
                    <a:pt x="5" y="38"/>
                    <a:pt x="5" y="40"/>
                  </a:cubicBezTo>
                  <a:cubicBezTo>
                    <a:pt x="5" y="42"/>
                    <a:pt x="3" y="44"/>
                    <a:pt x="2" y="44"/>
                  </a:cubicBezTo>
                  <a:cubicBezTo>
                    <a:pt x="2" y="46"/>
                    <a:pt x="2" y="47"/>
                    <a:pt x="2" y="48"/>
                  </a:cubicBezTo>
                  <a:cubicBezTo>
                    <a:pt x="3" y="49"/>
                    <a:pt x="4" y="49"/>
                    <a:pt x="6" y="50"/>
                  </a:cubicBezTo>
                  <a:cubicBezTo>
                    <a:pt x="6" y="50"/>
                    <a:pt x="9" y="50"/>
                    <a:pt x="9" y="48"/>
                  </a:cubicBezTo>
                  <a:cubicBezTo>
                    <a:pt x="9" y="48"/>
                    <a:pt x="8" y="46"/>
                    <a:pt x="9" y="47"/>
                  </a:cubicBezTo>
                  <a:cubicBezTo>
                    <a:pt x="11" y="48"/>
                    <a:pt x="11" y="48"/>
                    <a:pt x="12" y="50"/>
                  </a:cubicBezTo>
                  <a:cubicBezTo>
                    <a:pt x="11" y="49"/>
                    <a:pt x="8" y="47"/>
                    <a:pt x="9" y="49"/>
                  </a:cubicBezTo>
                  <a:cubicBezTo>
                    <a:pt x="10" y="52"/>
                    <a:pt x="10" y="52"/>
                    <a:pt x="7" y="51"/>
                  </a:cubicBezTo>
                  <a:cubicBezTo>
                    <a:pt x="5" y="50"/>
                    <a:pt x="4" y="51"/>
                    <a:pt x="6" y="53"/>
                  </a:cubicBezTo>
                  <a:cubicBezTo>
                    <a:pt x="8" y="53"/>
                    <a:pt x="8" y="52"/>
                    <a:pt x="9" y="52"/>
                  </a:cubicBezTo>
                  <a:cubicBezTo>
                    <a:pt x="9" y="53"/>
                    <a:pt x="9" y="54"/>
                    <a:pt x="10" y="54"/>
                  </a:cubicBezTo>
                  <a:cubicBezTo>
                    <a:pt x="11" y="57"/>
                    <a:pt x="13" y="56"/>
                    <a:pt x="15" y="57"/>
                  </a:cubicBezTo>
                  <a:cubicBezTo>
                    <a:pt x="17" y="59"/>
                    <a:pt x="19" y="62"/>
                    <a:pt x="20" y="63"/>
                  </a:cubicBezTo>
                  <a:cubicBezTo>
                    <a:pt x="23" y="66"/>
                    <a:pt x="23" y="68"/>
                    <a:pt x="24" y="71"/>
                  </a:cubicBezTo>
                  <a:cubicBezTo>
                    <a:pt x="25" y="73"/>
                    <a:pt x="30" y="76"/>
                    <a:pt x="31" y="76"/>
                  </a:cubicBezTo>
                  <a:cubicBezTo>
                    <a:pt x="32" y="75"/>
                    <a:pt x="30" y="72"/>
                    <a:pt x="31" y="71"/>
                  </a:cubicBezTo>
                  <a:cubicBezTo>
                    <a:pt x="32" y="71"/>
                    <a:pt x="31" y="68"/>
                    <a:pt x="31" y="67"/>
                  </a:cubicBezTo>
                  <a:cubicBezTo>
                    <a:pt x="32" y="65"/>
                    <a:pt x="32" y="64"/>
                    <a:pt x="30" y="63"/>
                  </a:cubicBezTo>
                  <a:cubicBezTo>
                    <a:pt x="30" y="63"/>
                    <a:pt x="28" y="62"/>
                    <a:pt x="29" y="61"/>
                  </a:cubicBezTo>
                  <a:cubicBezTo>
                    <a:pt x="30" y="58"/>
                    <a:pt x="31" y="57"/>
                    <a:pt x="32" y="55"/>
                  </a:cubicBezTo>
                  <a:cubicBezTo>
                    <a:pt x="32" y="53"/>
                    <a:pt x="33" y="51"/>
                    <a:pt x="35" y="49"/>
                  </a:cubicBezTo>
                  <a:cubicBezTo>
                    <a:pt x="38" y="46"/>
                    <a:pt x="38" y="39"/>
                    <a:pt x="42" y="41"/>
                  </a:cubicBezTo>
                  <a:cubicBezTo>
                    <a:pt x="44" y="42"/>
                    <a:pt x="41" y="46"/>
                    <a:pt x="44" y="48"/>
                  </a:cubicBezTo>
                  <a:cubicBezTo>
                    <a:pt x="44" y="49"/>
                    <a:pt x="50" y="46"/>
                    <a:pt x="51" y="45"/>
                  </a:cubicBezTo>
                  <a:cubicBezTo>
                    <a:pt x="52" y="45"/>
                    <a:pt x="53" y="45"/>
                    <a:pt x="53" y="45"/>
                  </a:cubicBezTo>
                  <a:cubicBezTo>
                    <a:pt x="54" y="44"/>
                    <a:pt x="53" y="43"/>
                    <a:pt x="54" y="41"/>
                  </a:cubicBezTo>
                  <a:cubicBezTo>
                    <a:pt x="54" y="38"/>
                    <a:pt x="51" y="38"/>
                    <a:pt x="52" y="36"/>
                  </a:cubicBezTo>
                  <a:cubicBezTo>
                    <a:pt x="52" y="33"/>
                    <a:pt x="57" y="39"/>
                    <a:pt x="57" y="35"/>
                  </a:cubicBezTo>
                  <a:cubicBezTo>
                    <a:pt x="57" y="33"/>
                    <a:pt x="60" y="33"/>
                    <a:pt x="61" y="32"/>
                  </a:cubicBezTo>
                  <a:cubicBezTo>
                    <a:pt x="64" y="31"/>
                    <a:pt x="59" y="27"/>
                    <a:pt x="58" y="27"/>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138">
              <a:extLst>
                <a:ext uri="{FF2B5EF4-FFF2-40B4-BE49-F238E27FC236}">
                  <a16:creationId xmlns:a16="http://schemas.microsoft.com/office/drawing/2014/main" id="{F7D599C5-EE8C-17D3-7D6A-D6B0775CC4A0}"/>
                </a:ext>
              </a:extLst>
            </p:cNvPr>
            <p:cNvSpPr>
              <a:spLocks/>
            </p:cNvSpPr>
            <p:nvPr/>
          </p:nvSpPr>
          <p:spPr bwMode="auto">
            <a:xfrm>
              <a:off x="3333928" y="5463737"/>
              <a:ext cx="161744" cy="383789"/>
            </a:xfrm>
            <a:custGeom>
              <a:avLst/>
              <a:gdLst>
                <a:gd name="T0" fmla="*/ 55 w 58"/>
                <a:gd name="T1" fmla="*/ 82 h 136"/>
                <a:gd name="T2" fmla="*/ 46 w 58"/>
                <a:gd name="T3" fmla="*/ 76 h 136"/>
                <a:gd name="T4" fmla="*/ 41 w 58"/>
                <a:gd name="T5" fmla="*/ 66 h 136"/>
                <a:gd name="T6" fmla="*/ 40 w 58"/>
                <a:gd name="T7" fmla="*/ 55 h 136"/>
                <a:gd name="T8" fmla="*/ 40 w 58"/>
                <a:gd name="T9" fmla="*/ 46 h 136"/>
                <a:gd name="T10" fmla="*/ 40 w 58"/>
                <a:gd name="T11" fmla="*/ 35 h 136"/>
                <a:gd name="T12" fmla="*/ 38 w 58"/>
                <a:gd name="T13" fmla="*/ 20 h 136"/>
                <a:gd name="T14" fmla="*/ 28 w 58"/>
                <a:gd name="T15" fmla="*/ 13 h 136"/>
                <a:gd name="T16" fmla="*/ 14 w 58"/>
                <a:gd name="T17" fmla="*/ 6 h 136"/>
                <a:gd name="T18" fmla="*/ 8 w 58"/>
                <a:gd name="T19" fmla="*/ 5 h 136"/>
                <a:gd name="T20" fmla="*/ 3 w 58"/>
                <a:gd name="T21" fmla="*/ 15 h 136"/>
                <a:gd name="T22" fmla="*/ 3 w 58"/>
                <a:gd name="T23" fmla="*/ 26 h 136"/>
                <a:gd name="T24" fmla="*/ 2 w 58"/>
                <a:gd name="T25" fmla="*/ 36 h 136"/>
                <a:gd name="T26" fmla="*/ 9 w 58"/>
                <a:gd name="T27" fmla="*/ 43 h 136"/>
                <a:gd name="T28" fmla="*/ 8 w 58"/>
                <a:gd name="T29" fmla="*/ 48 h 136"/>
                <a:gd name="T30" fmla="*/ 7 w 58"/>
                <a:gd name="T31" fmla="*/ 53 h 136"/>
                <a:gd name="T32" fmla="*/ 5 w 58"/>
                <a:gd name="T33" fmla="*/ 60 h 136"/>
                <a:gd name="T34" fmla="*/ 6 w 58"/>
                <a:gd name="T35" fmla="*/ 67 h 136"/>
                <a:gd name="T36" fmla="*/ 8 w 58"/>
                <a:gd name="T37" fmla="*/ 74 h 136"/>
                <a:gd name="T38" fmla="*/ 6 w 58"/>
                <a:gd name="T39" fmla="*/ 77 h 136"/>
                <a:gd name="T40" fmla="*/ 4 w 58"/>
                <a:gd name="T41" fmla="*/ 86 h 136"/>
                <a:gd name="T42" fmla="*/ 7 w 58"/>
                <a:gd name="T43" fmla="*/ 95 h 136"/>
                <a:gd name="T44" fmla="*/ 8 w 58"/>
                <a:gd name="T45" fmla="*/ 101 h 136"/>
                <a:gd name="T46" fmla="*/ 3 w 58"/>
                <a:gd name="T47" fmla="*/ 100 h 136"/>
                <a:gd name="T48" fmla="*/ 8 w 58"/>
                <a:gd name="T49" fmla="*/ 109 h 136"/>
                <a:gd name="T50" fmla="*/ 20 w 58"/>
                <a:gd name="T51" fmla="*/ 118 h 136"/>
                <a:gd name="T52" fmla="*/ 26 w 58"/>
                <a:gd name="T53" fmla="*/ 128 h 136"/>
                <a:gd name="T54" fmla="*/ 30 w 58"/>
                <a:gd name="T55" fmla="*/ 135 h 136"/>
                <a:gd name="T56" fmla="*/ 35 w 58"/>
                <a:gd name="T57" fmla="*/ 130 h 136"/>
                <a:gd name="T58" fmla="*/ 36 w 58"/>
                <a:gd name="T59" fmla="*/ 120 h 136"/>
                <a:gd name="T60" fmla="*/ 39 w 58"/>
                <a:gd name="T61" fmla="*/ 117 h 136"/>
                <a:gd name="T62" fmla="*/ 47 w 58"/>
                <a:gd name="T63" fmla="*/ 112 h 136"/>
                <a:gd name="T64" fmla="*/ 48 w 58"/>
                <a:gd name="T65" fmla="*/ 106 h 136"/>
                <a:gd name="T66" fmla="*/ 54 w 58"/>
                <a:gd name="T67"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 h="136">
                  <a:moveTo>
                    <a:pt x="57" y="88"/>
                  </a:moveTo>
                  <a:cubicBezTo>
                    <a:pt x="56" y="86"/>
                    <a:pt x="54" y="87"/>
                    <a:pt x="55" y="82"/>
                  </a:cubicBezTo>
                  <a:cubicBezTo>
                    <a:pt x="55" y="80"/>
                    <a:pt x="55" y="79"/>
                    <a:pt x="53" y="78"/>
                  </a:cubicBezTo>
                  <a:cubicBezTo>
                    <a:pt x="50" y="76"/>
                    <a:pt x="48" y="82"/>
                    <a:pt x="46" y="76"/>
                  </a:cubicBezTo>
                  <a:cubicBezTo>
                    <a:pt x="46" y="73"/>
                    <a:pt x="46" y="71"/>
                    <a:pt x="43" y="70"/>
                  </a:cubicBezTo>
                  <a:cubicBezTo>
                    <a:pt x="42" y="69"/>
                    <a:pt x="42" y="67"/>
                    <a:pt x="41" y="66"/>
                  </a:cubicBezTo>
                  <a:cubicBezTo>
                    <a:pt x="40" y="64"/>
                    <a:pt x="39" y="60"/>
                    <a:pt x="40" y="58"/>
                  </a:cubicBezTo>
                  <a:cubicBezTo>
                    <a:pt x="41" y="57"/>
                    <a:pt x="41" y="56"/>
                    <a:pt x="40" y="55"/>
                  </a:cubicBezTo>
                  <a:cubicBezTo>
                    <a:pt x="39" y="54"/>
                    <a:pt x="36" y="51"/>
                    <a:pt x="38" y="50"/>
                  </a:cubicBezTo>
                  <a:cubicBezTo>
                    <a:pt x="39" y="49"/>
                    <a:pt x="41" y="49"/>
                    <a:pt x="40" y="46"/>
                  </a:cubicBezTo>
                  <a:cubicBezTo>
                    <a:pt x="39" y="45"/>
                    <a:pt x="38" y="41"/>
                    <a:pt x="39" y="39"/>
                  </a:cubicBezTo>
                  <a:cubicBezTo>
                    <a:pt x="41" y="38"/>
                    <a:pt x="40" y="37"/>
                    <a:pt x="40" y="35"/>
                  </a:cubicBezTo>
                  <a:cubicBezTo>
                    <a:pt x="42" y="32"/>
                    <a:pt x="42" y="30"/>
                    <a:pt x="40" y="27"/>
                  </a:cubicBezTo>
                  <a:cubicBezTo>
                    <a:pt x="39" y="25"/>
                    <a:pt x="39" y="22"/>
                    <a:pt x="38" y="20"/>
                  </a:cubicBezTo>
                  <a:cubicBezTo>
                    <a:pt x="37" y="17"/>
                    <a:pt x="34" y="16"/>
                    <a:pt x="32" y="15"/>
                  </a:cubicBezTo>
                  <a:cubicBezTo>
                    <a:pt x="30" y="15"/>
                    <a:pt x="29" y="14"/>
                    <a:pt x="28" y="13"/>
                  </a:cubicBezTo>
                  <a:cubicBezTo>
                    <a:pt x="27" y="10"/>
                    <a:pt x="26" y="3"/>
                    <a:pt x="22" y="5"/>
                  </a:cubicBezTo>
                  <a:cubicBezTo>
                    <a:pt x="19" y="6"/>
                    <a:pt x="15" y="10"/>
                    <a:pt x="14" y="6"/>
                  </a:cubicBezTo>
                  <a:cubicBezTo>
                    <a:pt x="13" y="5"/>
                    <a:pt x="15" y="1"/>
                    <a:pt x="12" y="0"/>
                  </a:cubicBezTo>
                  <a:cubicBezTo>
                    <a:pt x="10" y="0"/>
                    <a:pt x="9" y="4"/>
                    <a:pt x="8" y="5"/>
                  </a:cubicBezTo>
                  <a:cubicBezTo>
                    <a:pt x="8" y="6"/>
                    <a:pt x="7" y="8"/>
                    <a:pt x="6" y="9"/>
                  </a:cubicBezTo>
                  <a:cubicBezTo>
                    <a:pt x="4" y="11"/>
                    <a:pt x="3" y="13"/>
                    <a:pt x="3" y="15"/>
                  </a:cubicBezTo>
                  <a:cubicBezTo>
                    <a:pt x="2" y="16"/>
                    <a:pt x="0" y="19"/>
                    <a:pt x="0" y="21"/>
                  </a:cubicBezTo>
                  <a:cubicBezTo>
                    <a:pt x="0" y="24"/>
                    <a:pt x="3" y="23"/>
                    <a:pt x="3" y="26"/>
                  </a:cubicBezTo>
                  <a:cubicBezTo>
                    <a:pt x="3" y="28"/>
                    <a:pt x="3" y="30"/>
                    <a:pt x="2" y="31"/>
                  </a:cubicBezTo>
                  <a:cubicBezTo>
                    <a:pt x="1" y="33"/>
                    <a:pt x="3" y="35"/>
                    <a:pt x="2" y="36"/>
                  </a:cubicBezTo>
                  <a:cubicBezTo>
                    <a:pt x="4" y="35"/>
                    <a:pt x="8" y="36"/>
                    <a:pt x="9" y="38"/>
                  </a:cubicBezTo>
                  <a:cubicBezTo>
                    <a:pt x="10" y="39"/>
                    <a:pt x="9" y="42"/>
                    <a:pt x="9" y="43"/>
                  </a:cubicBezTo>
                  <a:cubicBezTo>
                    <a:pt x="9" y="45"/>
                    <a:pt x="10" y="46"/>
                    <a:pt x="10" y="47"/>
                  </a:cubicBezTo>
                  <a:cubicBezTo>
                    <a:pt x="10" y="47"/>
                    <a:pt x="9" y="48"/>
                    <a:pt x="8" y="48"/>
                  </a:cubicBezTo>
                  <a:cubicBezTo>
                    <a:pt x="7" y="49"/>
                    <a:pt x="6" y="49"/>
                    <a:pt x="5" y="48"/>
                  </a:cubicBezTo>
                  <a:cubicBezTo>
                    <a:pt x="5" y="51"/>
                    <a:pt x="8" y="50"/>
                    <a:pt x="7" y="53"/>
                  </a:cubicBezTo>
                  <a:cubicBezTo>
                    <a:pt x="7" y="54"/>
                    <a:pt x="5" y="57"/>
                    <a:pt x="4" y="56"/>
                  </a:cubicBezTo>
                  <a:cubicBezTo>
                    <a:pt x="4" y="57"/>
                    <a:pt x="4" y="59"/>
                    <a:pt x="5" y="60"/>
                  </a:cubicBezTo>
                  <a:cubicBezTo>
                    <a:pt x="5" y="61"/>
                    <a:pt x="6" y="60"/>
                    <a:pt x="6" y="61"/>
                  </a:cubicBezTo>
                  <a:cubicBezTo>
                    <a:pt x="8" y="62"/>
                    <a:pt x="7" y="65"/>
                    <a:pt x="6" y="67"/>
                  </a:cubicBezTo>
                  <a:cubicBezTo>
                    <a:pt x="5" y="71"/>
                    <a:pt x="7" y="74"/>
                    <a:pt x="7" y="78"/>
                  </a:cubicBezTo>
                  <a:cubicBezTo>
                    <a:pt x="7" y="77"/>
                    <a:pt x="8" y="76"/>
                    <a:pt x="8" y="74"/>
                  </a:cubicBezTo>
                  <a:cubicBezTo>
                    <a:pt x="8" y="76"/>
                    <a:pt x="10" y="80"/>
                    <a:pt x="7" y="80"/>
                  </a:cubicBezTo>
                  <a:cubicBezTo>
                    <a:pt x="6" y="80"/>
                    <a:pt x="5" y="78"/>
                    <a:pt x="6" y="77"/>
                  </a:cubicBezTo>
                  <a:cubicBezTo>
                    <a:pt x="4" y="78"/>
                    <a:pt x="5" y="79"/>
                    <a:pt x="5" y="81"/>
                  </a:cubicBezTo>
                  <a:cubicBezTo>
                    <a:pt x="5" y="83"/>
                    <a:pt x="4" y="85"/>
                    <a:pt x="4" y="86"/>
                  </a:cubicBezTo>
                  <a:cubicBezTo>
                    <a:pt x="4" y="90"/>
                    <a:pt x="1" y="91"/>
                    <a:pt x="5" y="95"/>
                  </a:cubicBezTo>
                  <a:cubicBezTo>
                    <a:pt x="5" y="92"/>
                    <a:pt x="7" y="94"/>
                    <a:pt x="7" y="95"/>
                  </a:cubicBezTo>
                  <a:cubicBezTo>
                    <a:pt x="8" y="98"/>
                    <a:pt x="6" y="97"/>
                    <a:pt x="5" y="95"/>
                  </a:cubicBezTo>
                  <a:cubicBezTo>
                    <a:pt x="5" y="98"/>
                    <a:pt x="8" y="98"/>
                    <a:pt x="8" y="101"/>
                  </a:cubicBezTo>
                  <a:cubicBezTo>
                    <a:pt x="8" y="103"/>
                    <a:pt x="8" y="106"/>
                    <a:pt x="6" y="104"/>
                  </a:cubicBezTo>
                  <a:cubicBezTo>
                    <a:pt x="6" y="103"/>
                    <a:pt x="4" y="99"/>
                    <a:pt x="3" y="100"/>
                  </a:cubicBezTo>
                  <a:cubicBezTo>
                    <a:pt x="2" y="100"/>
                    <a:pt x="3" y="103"/>
                    <a:pt x="4" y="103"/>
                  </a:cubicBezTo>
                  <a:cubicBezTo>
                    <a:pt x="5" y="106"/>
                    <a:pt x="7" y="108"/>
                    <a:pt x="8" y="109"/>
                  </a:cubicBezTo>
                  <a:cubicBezTo>
                    <a:pt x="10" y="111"/>
                    <a:pt x="12" y="112"/>
                    <a:pt x="14" y="113"/>
                  </a:cubicBezTo>
                  <a:cubicBezTo>
                    <a:pt x="15" y="114"/>
                    <a:pt x="18" y="116"/>
                    <a:pt x="20" y="118"/>
                  </a:cubicBezTo>
                  <a:cubicBezTo>
                    <a:pt x="23" y="120"/>
                    <a:pt x="24" y="122"/>
                    <a:pt x="23" y="124"/>
                  </a:cubicBezTo>
                  <a:cubicBezTo>
                    <a:pt x="25" y="124"/>
                    <a:pt x="26" y="125"/>
                    <a:pt x="26" y="128"/>
                  </a:cubicBezTo>
                  <a:cubicBezTo>
                    <a:pt x="26" y="129"/>
                    <a:pt x="25" y="133"/>
                    <a:pt x="25" y="133"/>
                  </a:cubicBezTo>
                  <a:cubicBezTo>
                    <a:pt x="26" y="133"/>
                    <a:pt x="30" y="134"/>
                    <a:pt x="30" y="135"/>
                  </a:cubicBezTo>
                  <a:cubicBezTo>
                    <a:pt x="32" y="136"/>
                    <a:pt x="33" y="135"/>
                    <a:pt x="34" y="133"/>
                  </a:cubicBezTo>
                  <a:cubicBezTo>
                    <a:pt x="36" y="131"/>
                    <a:pt x="36" y="132"/>
                    <a:pt x="35" y="130"/>
                  </a:cubicBezTo>
                  <a:cubicBezTo>
                    <a:pt x="35" y="128"/>
                    <a:pt x="36" y="128"/>
                    <a:pt x="37" y="129"/>
                  </a:cubicBezTo>
                  <a:cubicBezTo>
                    <a:pt x="41" y="130"/>
                    <a:pt x="35" y="120"/>
                    <a:pt x="36" y="120"/>
                  </a:cubicBezTo>
                  <a:cubicBezTo>
                    <a:pt x="36" y="119"/>
                    <a:pt x="37" y="120"/>
                    <a:pt x="37" y="120"/>
                  </a:cubicBezTo>
                  <a:cubicBezTo>
                    <a:pt x="38" y="119"/>
                    <a:pt x="38" y="118"/>
                    <a:pt x="39" y="117"/>
                  </a:cubicBezTo>
                  <a:cubicBezTo>
                    <a:pt x="40" y="115"/>
                    <a:pt x="42" y="117"/>
                    <a:pt x="44" y="116"/>
                  </a:cubicBezTo>
                  <a:cubicBezTo>
                    <a:pt x="46" y="116"/>
                    <a:pt x="47" y="113"/>
                    <a:pt x="47" y="112"/>
                  </a:cubicBezTo>
                  <a:cubicBezTo>
                    <a:pt x="47" y="111"/>
                    <a:pt x="48" y="110"/>
                    <a:pt x="48" y="108"/>
                  </a:cubicBezTo>
                  <a:cubicBezTo>
                    <a:pt x="48" y="108"/>
                    <a:pt x="48" y="107"/>
                    <a:pt x="48" y="106"/>
                  </a:cubicBezTo>
                  <a:cubicBezTo>
                    <a:pt x="49" y="105"/>
                    <a:pt x="50" y="103"/>
                    <a:pt x="50" y="101"/>
                  </a:cubicBezTo>
                  <a:cubicBezTo>
                    <a:pt x="51" y="99"/>
                    <a:pt x="50" y="98"/>
                    <a:pt x="54" y="98"/>
                  </a:cubicBezTo>
                  <a:cubicBezTo>
                    <a:pt x="57" y="99"/>
                    <a:pt x="58" y="91"/>
                    <a:pt x="57" y="88"/>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39">
              <a:extLst>
                <a:ext uri="{FF2B5EF4-FFF2-40B4-BE49-F238E27FC236}">
                  <a16:creationId xmlns:a16="http://schemas.microsoft.com/office/drawing/2014/main" id="{B92C15E1-361E-D556-0B50-2282BCA5BD68}"/>
                </a:ext>
              </a:extLst>
            </p:cNvPr>
            <p:cNvSpPr>
              <a:spLocks/>
            </p:cNvSpPr>
            <p:nvPr/>
          </p:nvSpPr>
          <p:spPr bwMode="auto">
            <a:xfrm>
              <a:off x="3437821" y="5500686"/>
              <a:ext cx="229038" cy="194279"/>
            </a:xfrm>
            <a:custGeom>
              <a:avLst/>
              <a:gdLst>
                <a:gd name="T0" fmla="*/ 80 w 82"/>
                <a:gd name="T1" fmla="*/ 27 h 69"/>
                <a:gd name="T2" fmla="*/ 77 w 82"/>
                <a:gd name="T3" fmla="*/ 21 h 69"/>
                <a:gd name="T4" fmla="*/ 73 w 82"/>
                <a:gd name="T5" fmla="*/ 14 h 69"/>
                <a:gd name="T6" fmla="*/ 67 w 82"/>
                <a:gd name="T7" fmla="*/ 11 h 69"/>
                <a:gd name="T8" fmla="*/ 59 w 82"/>
                <a:gd name="T9" fmla="*/ 3 h 69"/>
                <a:gd name="T10" fmla="*/ 56 w 82"/>
                <a:gd name="T11" fmla="*/ 0 h 69"/>
                <a:gd name="T12" fmla="*/ 51 w 82"/>
                <a:gd name="T13" fmla="*/ 2 h 69"/>
                <a:gd name="T14" fmla="*/ 50 w 82"/>
                <a:gd name="T15" fmla="*/ 2 h 69"/>
                <a:gd name="T16" fmla="*/ 46 w 82"/>
                <a:gd name="T17" fmla="*/ 1 h 69"/>
                <a:gd name="T18" fmla="*/ 41 w 82"/>
                <a:gd name="T19" fmla="*/ 4 h 69"/>
                <a:gd name="T20" fmla="*/ 38 w 82"/>
                <a:gd name="T21" fmla="*/ 5 h 69"/>
                <a:gd name="T22" fmla="*/ 33 w 82"/>
                <a:gd name="T23" fmla="*/ 5 h 69"/>
                <a:gd name="T24" fmla="*/ 30 w 82"/>
                <a:gd name="T25" fmla="*/ 6 h 69"/>
                <a:gd name="T26" fmla="*/ 26 w 82"/>
                <a:gd name="T27" fmla="*/ 12 h 69"/>
                <a:gd name="T28" fmla="*/ 22 w 82"/>
                <a:gd name="T29" fmla="*/ 9 h 69"/>
                <a:gd name="T30" fmla="*/ 17 w 82"/>
                <a:gd name="T31" fmla="*/ 9 h 69"/>
                <a:gd name="T32" fmla="*/ 9 w 82"/>
                <a:gd name="T33" fmla="*/ 16 h 69"/>
                <a:gd name="T34" fmla="*/ 9 w 82"/>
                <a:gd name="T35" fmla="*/ 21 h 69"/>
                <a:gd name="T36" fmla="*/ 6 w 82"/>
                <a:gd name="T37" fmla="*/ 23 h 69"/>
                <a:gd name="T38" fmla="*/ 3 w 82"/>
                <a:gd name="T39" fmla="*/ 23 h 69"/>
                <a:gd name="T40" fmla="*/ 3 w 82"/>
                <a:gd name="T41" fmla="*/ 26 h 69"/>
                <a:gd name="T42" fmla="*/ 2 w 82"/>
                <a:gd name="T43" fmla="*/ 27 h 69"/>
                <a:gd name="T44" fmla="*/ 3 w 82"/>
                <a:gd name="T45" fmla="*/ 34 h 69"/>
                <a:gd name="T46" fmla="*/ 0 w 82"/>
                <a:gd name="T47" fmla="*/ 37 h 69"/>
                <a:gd name="T48" fmla="*/ 4 w 82"/>
                <a:gd name="T49" fmla="*/ 44 h 69"/>
                <a:gd name="T50" fmla="*/ 3 w 82"/>
                <a:gd name="T51" fmla="*/ 50 h 69"/>
                <a:gd name="T52" fmla="*/ 5 w 82"/>
                <a:gd name="T53" fmla="*/ 57 h 69"/>
                <a:gd name="T54" fmla="*/ 8 w 82"/>
                <a:gd name="T55" fmla="*/ 59 h 69"/>
                <a:gd name="T56" fmla="*/ 11 w 82"/>
                <a:gd name="T57" fmla="*/ 66 h 69"/>
                <a:gd name="T58" fmla="*/ 15 w 82"/>
                <a:gd name="T59" fmla="*/ 65 h 69"/>
                <a:gd name="T60" fmla="*/ 18 w 82"/>
                <a:gd name="T61" fmla="*/ 67 h 69"/>
                <a:gd name="T62" fmla="*/ 24 w 82"/>
                <a:gd name="T63" fmla="*/ 68 h 69"/>
                <a:gd name="T64" fmla="*/ 28 w 82"/>
                <a:gd name="T65" fmla="*/ 68 h 69"/>
                <a:gd name="T66" fmla="*/ 31 w 82"/>
                <a:gd name="T67" fmla="*/ 66 h 69"/>
                <a:gd name="T68" fmla="*/ 37 w 82"/>
                <a:gd name="T69" fmla="*/ 67 h 69"/>
                <a:gd name="T70" fmla="*/ 42 w 82"/>
                <a:gd name="T71" fmla="*/ 65 h 69"/>
                <a:gd name="T72" fmla="*/ 45 w 82"/>
                <a:gd name="T73" fmla="*/ 62 h 69"/>
                <a:gd name="T74" fmla="*/ 51 w 82"/>
                <a:gd name="T75" fmla="*/ 55 h 69"/>
                <a:gd name="T76" fmla="*/ 52 w 82"/>
                <a:gd name="T77" fmla="*/ 55 h 69"/>
                <a:gd name="T78" fmla="*/ 55 w 82"/>
                <a:gd name="T79" fmla="*/ 55 h 69"/>
                <a:gd name="T80" fmla="*/ 61 w 82"/>
                <a:gd name="T81" fmla="*/ 55 h 69"/>
                <a:gd name="T82" fmla="*/ 66 w 82"/>
                <a:gd name="T83" fmla="*/ 56 h 69"/>
                <a:gd name="T84" fmla="*/ 69 w 82"/>
                <a:gd name="T85" fmla="*/ 55 h 69"/>
                <a:gd name="T86" fmla="*/ 70 w 82"/>
                <a:gd name="T87" fmla="*/ 53 h 69"/>
                <a:gd name="T88" fmla="*/ 73 w 82"/>
                <a:gd name="T89" fmla="*/ 54 h 69"/>
                <a:gd name="T90" fmla="*/ 74 w 82"/>
                <a:gd name="T91" fmla="*/ 49 h 69"/>
                <a:gd name="T92" fmla="*/ 77 w 82"/>
                <a:gd name="T93" fmla="*/ 46 h 69"/>
                <a:gd name="T94" fmla="*/ 79 w 82"/>
                <a:gd name="T95" fmla="*/ 46 h 69"/>
                <a:gd name="T96" fmla="*/ 79 w 82"/>
                <a:gd name="T97" fmla="*/ 34 h 69"/>
                <a:gd name="T98" fmla="*/ 80 w 82"/>
                <a:gd name="T99"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69">
                  <a:moveTo>
                    <a:pt x="80" y="27"/>
                  </a:moveTo>
                  <a:cubicBezTo>
                    <a:pt x="79" y="25"/>
                    <a:pt x="78" y="24"/>
                    <a:pt x="77" y="21"/>
                  </a:cubicBezTo>
                  <a:cubicBezTo>
                    <a:pt x="76" y="18"/>
                    <a:pt x="76" y="15"/>
                    <a:pt x="73" y="14"/>
                  </a:cubicBezTo>
                  <a:cubicBezTo>
                    <a:pt x="70" y="14"/>
                    <a:pt x="69" y="13"/>
                    <a:pt x="67" y="11"/>
                  </a:cubicBezTo>
                  <a:cubicBezTo>
                    <a:pt x="65" y="10"/>
                    <a:pt x="63" y="6"/>
                    <a:pt x="59" y="3"/>
                  </a:cubicBezTo>
                  <a:cubicBezTo>
                    <a:pt x="58" y="2"/>
                    <a:pt x="56" y="2"/>
                    <a:pt x="56" y="0"/>
                  </a:cubicBezTo>
                  <a:cubicBezTo>
                    <a:pt x="55" y="1"/>
                    <a:pt x="53" y="2"/>
                    <a:pt x="51" y="2"/>
                  </a:cubicBezTo>
                  <a:cubicBezTo>
                    <a:pt x="50" y="2"/>
                    <a:pt x="50" y="2"/>
                    <a:pt x="50" y="2"/>
                  </a:cubicBezTo>
                  <a:cubicBezTo>
                    <a:pt x="49" y="3"/>
                    <a:pt x="47" y="2"/>
                    <a:pt x="46" y="1"/>
                  </a:cubicBezTo>
                  <a:cubicBezTo>
                    <a:pt x="45" y="1"/>
                    <a:pt x="42" y="3"/>
                    <a:pt x="41" y="4"/>
                  </a:cubicBezTo>
                  <a:cubicBezTo>
                    <a:pt x="40" y="4"/>
                    <a:pt x="39" y="5"/>
                    <a:pt x="38" y="5"/>
                  </a:cubicBezTo>
                  <a:cubicBezTo>
                    <a:pt x="36" y="6"/>
                    <a:pt x="35" y="5"/>
                    <a:pt x="33" y="5"/>
                  </a:cubicBezTo>
                  <a:cubicBezTo>
                    <a:pt x="32" y="5"/>
                    <a:pt x="29" y="5"/>
                    <a:pt x="30" y="6"/>
                  </a:cubicBezTo>
                  <a:cubicBezTo>
                    <a:pt x="25" y="6"/>
                    <a:pt x="28" y="12"/>
                    <a:pt x="26" y="12"/>
                  </a:cubicBezTo>
                  <a:cubicBezTo>
                    <a:pt x="24" y="14"/>
                    <a:pt x="23" y="9"/>
                    <a:pt x="22" y="9"/>
                  </a:cubicBezTo>
                  <a:cubicBezTo>
                    <a:pt x="20" y="7"/>
                    <a:pt x="19" y="8"/>
                    <a:pt x="17" y="9"/>
                  </a:cubicBezTo>
                  <a:cubicBezTo>
                    <a:pt x="14" y="12"/>
                    <a:pt x="10" y="11"/>
                    <a:pt x="9" y="16"/>
                  </a:cubicBezTo>
                  <a:cubicBezTo>
                    <a:pt x="9" y="18"/>
                    <a:pt x="10" y="19"/>
                    <a:pt x="9" y="21"/>
                  </a:cubicBezTo>
                  <a:cubicBezTo>
                    <a:pt x="8" y="24"/>
                    <a:pt x="7" y="22"/>
                    <a:pt x="6" y="23"/>
                  </a:cubicBezTo>
                  <a:cubicBezTo>
                    <a:pt x="5" y="23"/>
                    <a:pt x="4" y="22"/>
                    <a:pt x="3" y="23"/>
                  </a:cubicBezTo>
                  <a:cubicBezTo>
                    <a:pt x="2" y="23"/>
                    <a:pt x="3" y="25"/>
                    <a:pt x="3" y="26"/>
                  </a:cubicBezTo>
                  <a:cubicBezTo>
                    <a:pt x="3" y="26"/>
                    <a:pt x="2" y="26"/>
                    <a:pt x="2" y="27"/>
                  </a:cubicBezTo>
                  <a:cubicBezTo>
                    <a:pt x="2" y="29"/>
                    <a:pt x="2" y="31"/>
                    <a:pt x="3" y="34"/>
                  </a:cubicBezTo>
                  <a:cubicBezTo>
                    <a:pt x="4" y="37"/>
                    <a:pt x="1" y="35"/>
                    <a:pt x="0" y="37"/>
                  </a:cubicBezTo>
                  <a:cubicBezTo>
                    <a:pt x="0" y="40"/>
                    <a:pt x="4" y="41"/>
                    <a:pt x="4" y="44"/>
                  </a:cubicBezTo>
                  <a:cubicBezTo>
                    <a:pt x="3" y="47"/>
                    <a:pt x="2" y="47"/>
                    <a:pt x="3" y="50"/>
                  </a:cubicBezTo>
                  <a:cubicBezTo>
                    <a:pt x="3" y="52"/>
                    <a:pt x="5" y="54"/>
                    <a:pt x="5" y="57"/>
                  </a:cubicBezTo>
                  <a:cubicBezTo>
                    <a:pt x="6" y="58"/>
                    <a:pt x="8" y="57"/>
                    <a:pt x="8" y="59"/>
                  </a:cubicBezTo>
                  <a:cubicBezTo>
                    <a:pt x="9" y="61"/>
                    <a:pt x="9" y="65"/>
                    <a:pt x="11" y="66"/>
                  </a:cubicBezTo>
                  <a:cubicBezTo>
                    <a:pt x="13" y="66"/>
                    <a:pt x="13" y="64"/>
                    <a:pt x="15" y="65"/>
                  </a:cubicBezTo>
                  <a:cubicBezTo>
                    <a:pt x="16" y="65"/>
                    <a:pt x="19" y="66"/>
                    <a:pt x="18" y="67"/>
                  </a:cubicBezTo>
                  <a:cubicBezTo>
                    <a:pt x="18" y="69"/>
                    <a:pt x="23" y="68"/>
                    <a:pt x="24" y="68"/>
                  </a:cubicBezTo>
                  <a:cubicBezTo>
                    <a:pt x="25" y="67"/>
                    <a:pt x="26" y="67"/>
                    <a:pt x="28" y="68"/>
                  </a:cubicBezTo>
                  <a:cubicBezTo>
                    <a:pt x="29" y="68"/>
                    <a:pt x="30" y="67"/>
                    <a:pt x="31" y="66"/>
                  </a:cubicBezTo>
                  <a:cubicBezTo>
                    <a:pt x="33" y="64"/>
                    <a:pt x="35" y="66"/>
                    <a:pt x="37" y="67"/>
                  </a:cubicBezTo>
                  <a:cubicBezTo>
                    <a:pt x="39" y="68"/>
                    <a:pt x="40" y="65"/>
                    <a:pt x="42" y="65"/>
                  </a:cubicBezTo>
                  <a:cubicBezTo>
                    <a:pt x="45" y="65"/>
                    <a:pt x="43" y="62"/>
                    <a:pt x="45" y="62"/>
                  </a:cubicBezTo>
                  <a:cubicBezTo>
                    <a:pt x="47" y="60"/>
                    <a:pt x="48" y="55"/>
                    <a:pt x="51" y="55"/>
                  </a:cubicBezTo>
                  <a:cubicBezTo>
                    <a:pt x="51" y="55"/>
                    <a:pt x="52" y="55"/>
                    <a:pt x="52" y="55"/>
                  </a:cubicBezTo>
                  <a:cubicBezTo>
                    <a:pt x="53" y="55"/>
                    <a:pt x="54" y="55"/>
                    <a:pt x="55" y="55"/>
                  </a:cubicBezTo>
                  <a:cubicBezTo>
                    <a:pt x="57" y="54"/>
                    <a:pt x="58" y="54"/>
                    <a:pt x="61" y="55"/>
                  </a:cubicBezTo>
                  <a:cubicBezTo>
                    <a:pt x="62" y="55"/>
                    <a:pt x="65" y="56"/>
                    <a:pt x="66" y="56"/>
                  </a:cubicBezTo>
                  <a:cubicBezTo>
                    <a:pt x="67" y="56"/>
                    <a:pt x="69" y="56"/>
                    <a:pt x="69" y="55"/>
                  </a:cubicBezTo>
                  <a:cubicBezTo>
                    <a:pt x="70" y="55"/>
                    <a:pt x="70" y="53"/>
                    <a:pt x="70" y="53"/>
                  </a:cubicBezTo>
                  <a:cubicBezTo>
                    <a:pt x="72" y="53"/>
                    <a:pt x="72" y="56"/>
                    <a:pt x="73" y="54"/>
                  </a:cubicBezTo>
                  <a:cubicBezTo>
                    <a:pt x="75" y="53"/>
                    <a:pt x="74" y="51"/>
                    <a:pt x="74" y="49"/>
                  </a:cubicBezTo>
                  <a:cubicBezTo>
                    <a:pt x="73" y="47"/>
                    <a:pt x="74" y="46"/>
                    <a:pt x="77" y="46"/>
                  </a:cubicBezTo>
                  <a:cubicBezTo>
                    <a:pt x="79" y="46"/>
                    <a:pt x="79" y="46"/>
                    <a:pt x="79" y="46"/>
                  </a:cubicBezTo>
                  <a:cubicBezTo>
                    <a:pt x="81" y="41"/>
                    <a:pt x="80" y="37"/>
                    <a:pt x="79" y="34"/>
                  </a:cubicBezTo>
                  <a:cubicBezTo>
                    <a:pt x="79" y="32"/>
                    <a:pt x="82" y="31"/>
                    <a:pt x="80" y="27"/>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140">
              <a:extLst>
                <a:ext uri="{FF2B5EF4-FFF2-40B4-BE49-F238E27FC236}">
                  <a16:creationId xmlns:a16="http://schemas.microsoft.com/office/drawing/2014/main" id="{A2E96A6F-C399-C272-228C-773FF84324F2}"/>
                </a:ext>
              </a:extLst>
            </p:cNvPr>
            <p:cNvSpPr>
              <a:spLocks/>
            </p:cNvSpPr>
            <p:nvPr/>
          </p:nvSpPr>
          <p:spPr bwMode="auto">
            <a:xfrm>
              <a:off x="3278439" y="5017969"/>
              <a:ext cx="376615" cy="549463"/>
            </a:xfrm>
            <a:custGeom>
              <a:avLst/>
              <a:gdLst>
                <a:gd name="T0" fmla="*/ 129 w 135"/>
                <a:gd name="T1" fmla="*/ 130 h 195"/>
                <a:gd name="T2" fmla="*/ 118 w 135"/>
                <a:gd name="T3" fmla="*/ 118 h 195"/>
                <a:gd name="T4" fmla="*/ 113 w 135"/>
                <a:gd name="T5" fmla="*/ 104 h 195"/>
                <a:gd name="T6" fmla="*/ 120 w 135"/>
                <a:gd name="T7" fmla="*/ 95 h 195"/>
                <a:gd name="T8" fmla="*/ 119 w 135"/>
                <a:gd name="T9" fmla="*/ 85 h 195"/>
                <a:gd name="T10" fmla="*/ 114 w 135"/>
                <a:gd name="T11" fmla="*/ 77 h 195"/>
                <a:gd name="T12" fmla="*/ 120 w 135"/>
                <a:gd name="T13" fmla="*/ 74 h 195"/>
                <a:gd name="T14" fmla="*/ 118 w 135"/>
                <a:gd name="T15" fmla="*/ 70 h 195"/>
                <a:gd name="T16" fmla="*/ 108 w 135"/>
                <a:gd name="T17" fmla="*/ 70 h 195"/>
                <a:gd name="T18" fmla="*/ 89 w 135"/>
                <a:gd name="T19" fmla="*/ 68 h 195"/>
                <a:gd name="T20" fmla="*/ 80 w 135"/>
                <a:gd name="T21" fmla="*/ 63 h 195"/>
                <a:gd name="T22" fmla="*/ 79 w 135"/>
                <a:gd name="T23" fmla="*/ 53 h 195"/>
                <a:gd name="T24" fmla="*/ 82 w 135"/>
                <a:gd name="T25" fmla="*/ 50 h 195"/>
                <a:gd name="T26" fmla="*/ 73 w 135"/>
                <a:gd name="T27" fmla="*/ 41 h 195"/>
                <a:gd name="T28" fmla="*/ 66 w 135"/>
                <a:gd name="T29" fmla="*/ 37 h 195"/>
                <a:gd name="T30" fmla="*/ 60 w 135"/>
                <a:gd name="T31" fmla="*/ 27 h 195"/>
                <a:gd name="T32" fmla="*/ 59 w 135"/>
                <a:gd name="T33" fmla="*/ 20 h 195"/>
                <a:gd name="T34" fmla="*/ 47 w 135"/>
                <a:gd name="T35" fmla="*/ 10 h 195"/>
                <a:gd name="T36" fmla="*/ 34 w 135"/>
                <a:gd name="T37" fmla="*/ 2 h 195"/>
                <a:gd name="T38" fmla="*/ 19 w 135"/>
                <a:gd name="T39" fmla="*/ 4 h 195"/>
                <a:gd name="T40" fmla="*/ 13 w 135"/>
                <a:gd name="T41" fmla="*/ 9 h 195"/>
                <a:gd name="T42" fmla="*/ 7 w 135"/>
                <a:gd name="T43" fmla="*/ 8 h 195"/>
                <a:gd name="T44" fmla="*/ 4 w 135"/>
                <a:gd name="T45" fmla="*/ 12 h 195"/>
                <a:gd name="T46" fmla="*/ 0 w 135"/>
                <a:gd name="T47" fmla="*/ 16 h 195"/>
                <a:gd name="T48" fmla="*/ 3 w 135"/>
                <a:gd name="T49" fmla="*/ 25 h 195"/>
                <a:gd name="T50" fmla="*/ 8 w 135"/>
                <a:gd name="T51" fmla="*/ 31 h 195"/>
                <a:gd name="T52" fmla="*/ 5 w 135"/>
                <a:gd name="T53" fmla="*/ 35 h 195"/>
                <a:gd name="T54" fmla="*/ 8 w 135"/>
                <a:gd name="T55" fmla="*/ 39 h 195"/>
                <a:gd name="T56" fmla="*/ 18 w 135"/>
                <a:gd name="T57" fmla="*/ 45 h 195"/>
                <a:gd name="T58" fmla="*/ 10 w 135"/>
                <a:gd name="T59" fmla="*/ 45 h 195"/>
                <a:gd name="T60" fmla="*/ 8 w 135"/>
                <a:gd name="T61" fmla="*/ 47 h 195"/>
                <a:gd name="T62" fmla="*/ 10 w 135"/>
                <a:gd name="T63" fmla="*/ 56 h 195"/>
                <a:gd name="T64" fmla="*/ 8 w 135"/>
                <a:gd name="T65" fmla="*/ 60 h 195"/>
                <a:gd name="T66" fmla="*/ 17 w 135"/>
                <a:gd name="T67" fmla="*/ 63 h 195"/>
                <a:gd name="T68" fmla="*/ 14 w 135"/>
                <a:gd name="T69" fmla="*/ 70 h 195"/>
                <a:gd name="T70" fmla="*/ 10 w 135"/>
                <a:gd name="T71" fmla="*/ 80 h 195"/>
                <a:gd name="T72" fmla="*/ 18 w 135"/>
                <a:gd name="T73" fmla="*/ 88 h 195"/>
                <a:gd name="T74" fmla="*/ 26 w 135"/>
                <a:gd name="T75" fmla="*/ 95 h 195"/>
                <a:gd name="T76" fmla="*/ 19 w 135"/>
                <a:gd name="T77" fmla="*/ 99 h 195"/>
                <a:gd name="T78" fmla="*/ 24 w 135"/>
                <a:gd name="T79" fmla="*/ 112 h 195"/>
                <a:gd name="T80" fmla="*/ 18 w 135"/>
                <a:gd name="T81" fmla="*/ 116 h 195"/>
                <a:gd name="T82" fmla="*/ 21 w 135"/>
                <a:gd name="T83" fmla="*/ 127 h 195"/>
                <a:gd name="T84" fmla="*/ 34 w 135"/>
                <a:gd name="T85" fmla="*/ 138 h 195"/>
                <a:gd name="T86" fmla="*/ 39 w 135"/>
                <a:gd name="T87" fmla="*/ 138 h 195"/>
                <a:gd name="T88" fmla="*/ 47 w 135"/>
                <a:gd name="T89" fmla="*/ 144 h 195"/>
                <a:gd name="T90" fmla="*/ 48 w 135"/>
                <a:gd name="T91" fmla="*/ 153 h 195"/>
                <a:gd name="T92" fmla="*/ 44 w 135"/>
                <a:gd name="T93" fmla="*/ 158 h 195"/>
                <a:gd name="T94" fmla="*/ 48 w 135"/>
                <a:gd name="T95" fmla="*/ 168 h 195"/>
                <a:gd name="T96" fmla="*/ 55 w 135"/>
                <a:gd name="T97" fmla="*/ 175 h 195"/>
                <a:gd name="T98" fmla="*/ 61 w 135"/>
                <a:gd name="T99" fmla="*/ 186 h 195"/>
                <a:gd name="T100" fmla="*/ 66 w 135"/>
                <a:gd name="T101" fmla="*/ 189 h 195"/>
                <a:gd name="T102" fmla="*/ 78 w 135"/>
                <a:gd name="T103" fmla="*/ 179 h 195"/>
                <a:gd name="T104" fmla="*/ 87 w 135"/>
                <a:gd name="T105" fmla="*/ 178 h 195"/>
                <a:gd name="T106" fmla="*/ 100 w 135"/>
                <a:gd name="T107" fmla="*/ 174 h 195"/>
                <a:gd name="T108" fmla="*/ 113 w 135"/>
                <a:gd name="T109" fmla="*/ 171 h 195"/>
                <a:gd name="T110" fmla="*/ 120 w 135"/>
                <a:gd name="T111" fmla="*/ 169 h 195"/>
                <a:gd name="T112" fmla="*/ 119 w 135"/>
                <a:gd name="T113" fmla="*/ 155 h 195"/>
                <a:gd name="T114" fmla="*/ 128 w 135"/>
                <a:gd name="T115" fmla="*/ 145 h 195"/>
                <a:gd name="T116" fmla="*/ 134 w 135"/>
                <a:gd name="T117" fmla="*/ 13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195">
                  <a:moveTo>
                    <a:pt x="134" y="134"/>
                  </a:moveTo>
                  <a:cubicBezTo>
                    <a:pt x="132" y="133"/>
                    <a:pt x="131" y="132"/>
                    <a:pt x="129" y="130"/>
                  </a:cubicBezTo>
                  <a:cubicBezTo>
                    <a:pt x="128" y="128"/>
                    <a:pt x="126" y="126"/>
                    <a:pt x="124" y="125"/>
                  </a:cubicBezTo>
                  <a:cubicBezTo>
                    <a:pt x="121" y="123"/>
                    <a:pt x="119" y="122"/>
                    <a:pt x="118" y="118"/>
                  </a:cubicBezTo>
                  <a:cubicBezTo>
                    <a:pt x="117" y="116"/>
                    <a:pt x="117" y="114"/>
                    <a:pt x="115" y="112"/>
                  </a:cubicBezTo>
                  <a:cubicBezTo>
                    <a:pt x="113" y="110"/>
                    <a:pt x="113" y="107"/>
                    <a:pt x="113" y="104"/>
                  </a:cubicBezTo>
                  <a:cubicBezTo>
                    <a:pt x="113" y="103"/>
                    <a:pt x="113" y="99"/>
                    <a:pt x="114" y="98"/>
                  </a:cubicBezTo>
                  <a:cubicBezTo>
                    <a:pt x="116" y="97"/>
                    <a:pt x="118" y="96"/>
                    <a:pt x="120" y="95"/>
                  </a:cubicBezTo>
                  <a:cubicBezTo>
                    <a:pt x="120" y="94"/>
                    <a:pt x="120" y="91"/>
                    <a:pt x="121" y="89"/>
                  </a:cubicBezTo>
                  <a:cubicBezTo>
                    <a:pt x="122" y="87"/>
                    <a:pt x="122" y="86"/>
                    <a:pt x="119" y="85"/>
                  </a:cubicBezTo>
                  <a:cubicBezTo>
                    <a:pt x="117" y="84"/>
                    <a:pt x="117" y="82"/>
                    <a:pt x="115" y="80"/>
                  </a:cubicBezTo>
                  <a:cubicBezTo>
                    <a:pt x="115" y="79"/>
                    <a:pt x="113" y="77"/>
                    <a:pt x="114" y="77"/>
                  </a:cubicBezTo>
                  <a:cubicBezTo>
                    <a:pt x="115" y="76"/>
                    <a:pt x="116" y="77"/>
                    <a:pt x="117" y="76"/>
                  </a:cubicBezTo>
                  <a:cubicBezTo>
                    <a:pt x="118" y="75"/>
                    <a:pt x="117" y="72"/>
                    <a:pt x="120" y="74"/>
                  </a:cubicBezTo>
                  <a:cubicBezTo>
                    <a:pt x="121" y="75"/>
                    <a:pt x="124" y="75"/>
                    <a:pt x="123" y="73"/>
                  </a:cubicBezTo>
                  <a:cubicBezTo>
                    <a:pt x="122" y="71"/>
                    <a:pt x="120" y="71"/>
                    <a:pt x="118" y="70"/>
                  </a:cubicBezTo>
                  <a:cubicBezTo>
                    <a:pt x="116" y="69"/>
                    <a:pt x="115" y="66"/>
                    <a:pt x="113" y="66"/>
                  </a:cubicBezTo>
                  <a:cubicBezTo>
                    <a:pt x="112" y="67"/>
                    <a:pt x="109" y="68"/>
                    <a:pt x="108" y="70"/>
                  </a:cubicBezTo>
                  <a:cubicBezTo>
                    <a:pt x="106" y="74"/>
                    <a:pt x="105" y="80"/>
                    <a:pt x="101" y="73"/>
                  </a:cubicBezTo>
                  <a:cubicBezTo>
                    <a:pt x="100" y="68"/>
                    <a:pt x="94" y="69"/>
                    <a:pt x="89" y="68"/>
                  </a:cubicBezTo>
                  <a:cubicBezTo>
                    <a:pt x="87" y="68"/>
                    <a:pt x="87" y="66"/>
                    <a:pt x="87" y="65"/>
                  </a:cubicBezTo>
                  <a:cubicBezTo>
                    <a:pt x="85" y="62"/>
                    <a:pt x="82" y="64"/>
                    <a:pt x="80" y="63"/>
                  </a:cubicBezTo>
                  <a:cubicBezTo>
                    <a:pt x="75" y="58"/>
                    <a:pt x="87" y="59"/>
                    <a:pt x="85" y="57"/>
                  </a:cubicBezTo>
                  <a:cubicBezTo>
                    <a:pt x="84" y="56"/>
                    <a:pt x="79" y="55"/>
                    <a:pt x="79" y="53"/>
                  </a:cubicBezTo>
                  <a:cubicBezTo>
                    <a:pt x="79" y="53"/>
                    <a:pt x="80" y="52"/>
                    <a:pt x="81" y="52"/>
                  </a:cubicBezTo>
                  <a:cubicBezTo>
                    <a:pt x="82" y="52"/>
                    <a:pt x="81" y="51"/>
                    <a:pt x="82" y="50"/>
                  </a:cubicBezTo>
                  <a:cubicBezTo>
                    <a:pt x="82" y="48"/>
                    <a:pt x="84" y="46"/>
                    <a:pt x="81" y="44"/>
                  </a:cubicBezTo>
                  <a:cubicBezTo>
                    <a:pt x="78" y="43"/>
                    <a:pt x="74" y="44"/>
                    <a:pt x="73" y="41"/>
                  </a:cubicBezTo>
                  <a:cubicBezTo>
                    <a:pt x="72" y="39"/>
                    <a:pt x="70" y="40"/>
                    <a:pt x="69" y="40"/>
                  </a:cubicBezTo>
                  <a:cubicBezTo>
                    <a:pt x="68" y="39"/>
                    <a:pt x="67" y="38"/>
                    <a:pt x="66" y="37"/>
                  </a:cubicBezTo>
                  <a:cubicBezTo>
                    <a:pt x="65" y="36"/>
                    <a:pt x="59" y="32"/>
                    <a:pt x="61" y="31"/>
                  </a:cubicBezTo>
                  <a:cubicBezTo>
                    <a:pt x="62" y="29"/>
                    <a:pt x="60" y="28"/>
                    <a:pt x="60" y="27"/>
                  </a:cubicBezTo>
                  <a:cubicBezTo>
                    <a:pt x="59" y="26"/>
                    <a:pt x="60" y="25"/>
                    <a:pt x="60" y="24"/>
                  </a:cubicBezTo>
                  <a:cubicBezTo>
                    <a:pt x="60" y="22"/>
                    <a:pt x="60" y="18"/>
                    <a:pt x="59" y="20"/>
                  </a:cubicBezTo>
                  <a:cubicBezTo>
                    <a:pt x="57" y="22"/>
                    <a:pt x="55" y="16"/>
                    <a:pt x="54" y="16"/>
                  </a:cubicBezTo>
                  <a:cubicBezTo>
                    <a:pt x="53" y="13"/>
                    <a:pt x="49" y="12"/>
                    <a:pt x="47" y="10"/>
                  </a:cubicBezTo>
                  <a:cubicBezTo>
                    <a:pt x="44" y="8"/>
                    <a:pt x="43" y="4"/>
                    <a:pt x="40" y="2"/>
                  </a:cubicBezTo>
                  <a:cubicBezTo>
                    <a:pt x="38" y="1"/>
                    <a:pt x="36" y="3"/>
                    <a:pt x="34" y="2"/>
                  </a:cubicBezTo>
                  <a:cubicBezTo>
                    <a:pt x="32" y="1"/>
                    <a:pt x="29" y="4"/>
                    <a:pt x="27" y="2"/>
                  </a:cubicBezTo>
                  <a:cubicBezTo>
                    <a:pt x="24" y="0"/>
                    <a:pt x="20" y="1"/>
                    <a:pt x="19" y="4"/>
                  </a:cubicBezTo>
                  <a:cubicBezTo>
                    <a:pt x="18" y="6"/>
                    <a:pt x="17" y="7"/>
                    <a:pt x="15" y="7"/>
                  </a:cubicBezTo>
                  <a:cubicBezTo>
                    <a:pt x="13" y="8"/>
                    <a:pt x="14" y="9"/>
                    <a:pt x="13" y="9"/>
                  </a:cubicBezTo>
                  <a:cubicBezTo>
                    <a:pt x="12" y="10"/>
                    <a:pt x="10" y="10"/>
                    <a:pt x="9" y="10"/>
                  </a:cubicBezTo>
                  <a:cubicBezTo>
                    <a:pt x="8" y="9"/>
                    <a:pt x="8" y="7"/>
                    <a:pt x="7" y="8"/>
                  </a:cubicBezTo>
                  <a:cubicBezTo>
                    <a:pt x="6" y="9"/>
                    <a:pt x="6" y="11"/>
                    <a:pt x="5" y="11"/>
                  </a:cubicBezTo>
                  <a:cubicBezTo>
                    <a:pt x="4" y="11"/>
                    <a:pt x="4" y="11"/>
                    <a:pt x="4" y="12"/>
                  </a:cubicBezTo>
                  <a:cubicBezTo>
                    <a:pt x="3" y="12"/>
                    <a:pt x="2" y="12"/>
                    <a:pt x="1" y="12"/>
                  </a:cubicBezTo>
                  <a:cubicBezTo>
                    <a:pt x="1" y="13"/>
                    <a:pt x="1" y="15"/>
                    <a:pt x="0" y="16"/>
                  </a:cubicBezTo>
                  <a:cubicBezTo>
                    <a:pt x="0" y="16"/>
                    <a:pt x="4" y="20"/>
                    <a:pt x="3" y="21"/>
                  </a:cubicBezTo>
                  <a:cubicBezTo>
                    <a:pt x="1" y="23"/>
                    <a:pt x="5" y="23"/>
                    <a:pt x="3" y="25"/>
                  </a:cubicBezTo>
                  <a:cubicBezTo>
                    <a:pt x="2" y="27"/>
                    <a:pt x="2" y="31"/>
                    <a:pt x="4" y="30"/>
                  </a:cubicBezTo>
                  <a:cubicBezTo>
                    <a:pt x="5" y="29"/>
                    <a:pt x="8" y="29"/>
                    <a:pt x="8" y="31"/>
                  </a:cubicBezTo>
                  <a:cubicBezTo>
                    <a:pt x="8" y="33"/>
                    <a:pt x="5" y="32"/>
                    <a:pt x="5" y="32"/>
                  </a:cubicBezTo>
                  <a:cubicBezTo>
                    <a:pt x="4" y="33"/>
                    <a:pt x="6" y="35"/>
                    <a:pt x="5" y="35"/>
                  </a:cubicBezTo>
                  <a:cubicBezTo>
                    <a:pt x="4" y="36"/>
                    <a:pt x="4" y="37"/>
                    <a:pt x="5" y="37"/>
                  </a:cubicBezTo>
                  <a:cubicBezTo>
                    <a:pt x="6" y="39"/>
                    <a:pt x="7" y="37"/>
                    <a:pt x="8" y="39"/>
                  </a:cubicBezTo>
                  <a:cubicBezTo>
                    <a:pt x="8" y="40"/>
                    <a:pt x="9" y="41"/>
                    <a:pt x="10" y="41"/>
                  </a:cubicBezTo>
                  <a:cubicBezTo>
                    <a:pt x="11" y="42"/>
                    <a:pt x="19" y="43"/>
                    <a:pt x="18" y="45"/>
                  </a:cubicBezTo>
                  <a:cubicBezTo>
                    <a:pt x="17" y="47"/>
                    <a:pt x="15" y="45"/>
                    <a:pt x="14" y="46"/>
                  </a:cubicBezTo>
                  <a:cubicBezTo>
                    <a:pt x="12" y="46"/>
                    <a:pt x="10" y="44"/>
                    <a:pt x="10" y="45"/>
                  </a:cubicBezTo>
                  <a:cubicBezTo>
                    <a:pt x="9" y="45"/>
                    <a:pt x="11" y="47"/>
                    <a:pt x="10" y="47"/>
                  </a:cubicBezTo>
                  <a:cubicBezTo>
                    <a:pt x="9" y="47"/>
                    <a:pt x="8" y="46"/>
                    <a:pt x="8" y="47"/>
                  </a:cubicBezTo>
                  <a:cubicBezTo>
                    <a:pt x="7" y="47"/>
                    <a:pt x="9" y="52"/>
                    <a:pt x="9" y="53"/>
                  </a:cubicBezTo>
                  <a:cubicBezTo>
                    <a:pt x="9" y="55"/>
                    <a:pt x="11" y="54"/>
                    <a:pt x="10" y="56"/>
                  </a:cubicBezTo>
                  <a:cubicBezTo>
                    <a:pt x="10" y="57"/>
                    <a:pt x="8" y="57"/>
                    <a:pt x="7" y="57"/>
                  </a:cubicBezTo>
                  <a:cubicBezTo>
                    <a:pt x="6" y="58"/>
                    <a:pt x="7" y="60"/>
                    <a:pt x="8" y="60"/>
                  </a:cubicBezTo>
                  <a:cubicBezTo>
                    <a:pt x="9" y="59"/>
                    <a:pt x="11" y="58"/>
                    <a:pt x="12" y="58"/>
                  </a:cubicBezTo>
                  <a:cubicBezTo>
                    <a:pt x="17" y="57"/>
                    <a:pt x="18" y="59"/>
                    <a:pt x="17" y="63"/>
                  </a:cubicBezTo>
                  <a:cubicBezTo>
                    <a:pt x="17" y="65"/>
                    <a:pt x="16" y="66"/>
                    <a:pt x="16" y="67"/>
                  </a:cubicBezTo>
                  <a:cubicBezTo>
                    <a:pt x="15" y="68"/>
                    <a:pt x="15" y="69"/>
                    <a:pt x="14" y="70"/>
                  </a:cubicBezTo>
                  <a:cubicBezTo>
                    <a:pt x="13" y="71"/>
                    <a:pt x="12" y="74"/>
                    <a:pt x="11" y="74"/>
                  </a:cubicBezTo>
                  <a:cubicBezTo>
                    <a:pt x="9" y="76"/>
                    <a:pt x="12" y="78"/>
                    <a:pt x="10" y="80"/>
                  </a:cubicBezTo>
                  <a:cubicBezTo>
                    <a:pt x="9" y="81"/>
                    <a:pt x="11" y="85"/>
                    <a:pt x="12" y="85"/>
                  </a:cubicBezTo>
                  <a:cubicBezTo>
                    <a:pt x="14" y="86"/>
                    <a:pt x="17" y="85"/>
                    <a:pt x="18" y="88"/>
                  </a:cubicBezTo>
                  <a:cubicBezTo>
                    <a:pt x="18" y="89"/>
                    <a:pt x="19" y="91"/>
                    <a:pt x="21" y="91"/>
                  </a:cubicBezTo>
                  <a:cubicBezTo>
                    <a:pt x="22" y="91"/>
                    <a:pt x="25" y="97"/>
                    <a:pt x="26" y="95"/>
                  </a:cubicBezTo>
                  <a:cubicBezTo>
                    <a:pt x="28" y="96"/>
                    <a:pt x="25" y="99"/>
                    <a:pt x="24" y="99"/>
                  </a:cubicBezTo>
                  <a:cubicBezTo>
                    <a:pt x="22" y="100"/>
                    <a:pt x="20" y="100"/>
                    <a:pt x="19" y="99"/>
                  </a:cubicBezTo>
                  <a:cubicBezTo>
                    <a:pt x="16" y="98"/>
                    <a:pt x="14" y="97"/>
                    <a:pt x="17" y="101"/>
                  </a:cubicBezTo>
                  <a:cubicBezTo>
                    <a:pt x="19" y="105"/>
                    <a:pt x="23" y="108"/>
                    <a:pt x="24" y="112"/>
                  </a:cubicBezTo>
                  <a:cubicBezTo>
                    <a:pt x="24" y="116"/>
                    <a:pt x="24" y="117"/>
                    <a:pt x="22" y="118"/>
                  </a:cubicBezTo>
                  <a:cubicBezTo>
                    <a:pt x="21" y="118"/>
                    <a:pt x="19" y="115"/>
                    <a:pt x="18" y="116"/>
                  </a:cubicBezTo>
                  <a:cubicBezTo>
                    <a:pt x="17" y="116"/>
                    <a:pt x="15" y="118"/>
                    <a:pt x="14" y="120"/>
                  </a:cubicBezTo>
                  <a:cubicBezTo>
                    <a:pt x="13" y="123"/>
                    <a:pt x="20" y="125"/>
                    <a:pt x="21" y="127"/>
                  </a:cubicBezTo>
                  <a:cubicBezTo>
                    <a:pt x="24" y="130"/>
                    <a:pt x="26" y="135"/>
                    <a:pt x="30" y="135"/>
                  </a:cubicBezTo>
                  <a:cubicBezTo>
                    <a:pt x="32" y="135"/>
                    <a:pt x="32" y="138"/>
                    <a:pt x="34" y="138"/>
                  </a:cubicBezTo>
                  <a:cubicBezTo>
                    <a:pt x="35" y="139"/>
                    <a:pt x="36" y="139"/>
                    <a:pt x="37" y="139"/>
                  </a:cubicBezTo>
                  <a:cubicBezTo>
                    <a:pt x="37" y="138"/>
                    <a:pt x="38" y="138"/>
                    <a:pt x="39" y="138"/>
                  </a:cubicBezTo>
                  <a:cubicBezTo>
                    <a:pt x="40" y="138"/>
                    <a:pt x="41" y="140"/>
                    <a:pt x="42" y="141"/>
                  </a:cubicBezTo>
                  <a:cubicBezTo>
                    <a:pt x="43" y="143"/>
                    <a:pt x="45" y="144"/>
                    <a:pt x="47" y="144"/>
                  </a:cubicBezTo>
                  <a:cubicBezTo>
                    <a:pt x="48" y="145"/>
                    <a:pt x="56" y="149"/>
                    <a:pt x="51" y="150"/>
                  </a:cubicBezTo>
                  <a:cubicBezTo>
                    <a:pt x="50" y="151"/>
                    <a:pt x="48" y="151"/>
                    <a:pt x="48" y="153"/>
                  </a:cubicBezTo>
                  <a:cubicBezTo>
                    <a:pt x="48" y="155"/>
                    <a:pt x="46" y="154"/>
                    <a:pt x="45" y="153"/>
                  </a:cubicBezTo>
                  <a:cubicBezTo>
                    <a:pt x="40" y="150"/>
                    <a:pt x="44" y="158"/>
                    <a:pt x="44" y="158"/>
                  </a:cubicBezTo>
                  <a:cubicBezTo>
                    <a:pt x="44" y="159"/>
                    <a:pt x="44" y="162"/>
                    <a:pt x="44" y="163"/>
                  </a:cubicBezTo>
                  <a:cubicBezTo>
                    <a:pt x="45" y="165"/>
                    <a:pt x="47" y="166"/>
                    <a:pt x="48" y="168"/>
                  </a:cubicBezTo>
                  <a:cubicBezTo>
                    <a:pt x="48" y="169"/>
                    <a:pt x="49" y="172"/>
                    <a:pt x="50" y="173"/>
                  </a:cubicBezTo>
                  <a:cubicBezTo>
                    <a:pt x="51" y="174"/>
                    <a:pt x="53" y="174"/>
                    <a:pt x="55" y="175"/>
                  </a:cubicBezTo>
                  <a:cubicBezTo>
                    <a:pt x="57" y="177"/>
                    <a:pt x="58" y="179"/>
                    <a:pt x="59" y="181"/>
                  </a:cubicBezTo>
                  <a:cubicBezTo>
                    <a:pt x="59" y="182"/>
                    <a:pt x="60" y="184"/>
                    <a:pt x="61" y="186"/>
                  </a:cubicBezTo>
                  <a:cubicBezTo>
                    <a:pt x="62" y="189"/>
                    <a:pt x="59" y="193"/>
                    <a:pt x="62" y="194"/>
                  </a:cubicBezTo>
                  <a:cubicBezTo>
                    <a:pt x="65" y="195"/>
                    <a:pt x="67" y="193"/>
                    <a:pt x="66" y="189"/>
                  </a:cubicBezTo>
                  <a:cubicBezTo>
                    <a:pt x="66" y="184"/>
                    <a:pt x="68" y="183"/>
                    <a:pt x="72" y="182"/>
                  </a:cubicBezTo>
                  <a:cubicBezTo>
                    <a:pt x="74" y="181"/>
                    <a:pt x="76" y="178"/>
                    <a:pt x="78" y="179"/>
                  </a:cubicBezTo>
                  <a:cubicBezTo>
                    <a:pt x="80" y="180"/>
                    <a:pt x="81" y="183"/>
                    <a:pt x="82" y="184"/>
                  </a:cubicBezTo>
                  <a:cubicBezTo>
                    <a:pt x="84" y="184"/>
                    <a:pt x="83" y="174"/>
                    <a:pt x="87" y="178"/>
                  </a:cubicBezTo>
                  <a:cubicBezTo>
                    <a:pt x="86" y="176"/>
                    <a:pt x="91" y="176"/>
                    <a:pt x="92" y="176"/>
                  </a:cubicBezTo>
                  <a:cubicBezTo>
                    <a:pt x="95" y="177"/>
                    <a:pt x="97" y="176"/>
                    <a:pt x="100" y="174"/>
                  </a:cubicBezTo>
                  <a:cubicBezTo>
                    <a:pt x="101" y="173"/>
                    <a:pt x="102" y="172"/>
                    <a:pt x="104" y="173"/>
                  </a:cubicBezTo>
                  <a:cubicBezTo>
                    <a:pt x="108" y="174"/>
                    <a:pt x="111" y="173"/>
                    <a:pt x="113" y="171"/>
                  </a:cubicBezTo>
                  <a:cubicBezTo>
                    <a:pt x="113" y="174"/>
                    <a:pt x="116" y="174"/>
                    <a:pt x="118" y="173"/>
                  </a:cubicBezTo>
                  <a:cubicBezTo>
                    <a:pt x="119" y="172"/>
                    <a:pt x="120" y="170"/>
                    <a:pt x="120" y="169"/>
                  </a:cubicBezTo>
                  <a:cubicBezTo>
                    <a:pt x="124" y="165"/>
                    <a:pt x="119" y="164"/>
                    <a:pt x="118" y="161"/>
                  </a:cubicBezTo>
                  <a:cubicBezTo>
                    <a:pt x="117" y="159"/>
                    <a:pt x="119" y="157"/>
                    <a:pt x="119" y="155"/>
                  </a:cubicBezTo>
                  <a:cubicBezTo>
                    <a:pt x="119" y="153"/>
                    <a:pt x="117" y="152"/>
                    <a:pt x="118" y="150"/>
                  </a:cubicBezTo>
                  <a:cubicBezTo>
                    <a:pt x="121" y="146"/>
                    <a:pt x="126" y="150"/>
                    <a:pt x="128" y="145"/>
                  </a:cubicBezTo>
                  <a:cubicBezTo>
                    <a:pt x="128" y="144"/>
                    <a:pt x="130" y="142"/>
                    <a:pt x="132" y="140"/>
                  </a:cubicBezTo>
                  <a:cubicBezTo>
                    <a:pt x="134" y="138"/>
                    <a:pt x="135" y="136"/>
                    <a:pt x="134" y="134"/>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141">
              <a:extLst>
                <a:ext uri="{FF2B5EF4-FFF2-40B4-BE49-F238E27FC236}">
                  <a16:creationId xmlns:a16="http://schemas.microsoft.com/office/drawing/2014/main" id="{929D75F3-C376-3A9D-02B6-1E7243662B94}"/>
                </a:ext>
              </a:extLst>
            </p:cNvPr>
            <p:cNvSpPr>
              <a:spLocks/>
            </p:cNvSpPr>
            <p:nvPr/>
          </p:nvSpPr>
          <p:spPr bwMode="auto">
            <a:xfrm>
              <a:off x="3591300" y="5265882"/>
              <a:ext cx="550164" cy="375447"/>
            </a:xfrm>
            <a:custGeom>
              <a:avLst/>
              <a:gdLst>
                <a:gd name="T0" fmla="*/ 182 w 197"/>
                <a:gd name="T1" fmla="*/ 20 h 133"/>
                <a:gd name="T2" fmla="*/ 174 w 197"/>
                <a:gd name="T3" fmla="*/ 11 h 133"/>
                <a:gd name="T4" fmla="*/ 165 w 197"/>
                <a:gd name="T5" fmla="*/ 8 h 133"/>
                <a:gd name="T6" fmla="*/ 155 w 197"/>
                <a:gd name="T7" fmla="*/ 8 h 133"/>
                <a:gd name="T8" fmla="*/ 144 w 197"/>
                <a:gd name="T9" fmla="*/ 4 h 133"/>
                <a:gd name="T10" fmla="*/ 126 w 197"/>
                <a:gd name="T11" fmla="*/ 8 h 133"/>
                <a:gd name="T12" fmla="*/ 113 w 197"/>
                <a:gd name="T13" fmla="*/ 16 h 133"/>
                <a:gd name="T14" fmla="*/ 102 w 197"/>
                <a:gd name="T15" fmla="*/ 25 h 133"/>
                <a:gd name="T16" fmla="*/ 85 w 197"/>
                <a:gd name="T17" fmla="*/ 24 h 133"/>
                <a:gd name="T18" fmla="*/ 73 w 197"/>
                <a:gd name="T19" fmla="*/ 23 h 133"/>
                <a:gd name="T20" fmla="*/ 62 w 197"/>
                <a:gd name="T21" fmla="*/ 24 h 133"/>
                <a:gd name="T22" fmla="*/ 45 w 197"/>
                <a:gd name="T23" fmla="*/ 19 h 133"/>
                <a:gd name="T24" fmla="*/ 32 w 197"/>
                <a:gd name="T25" fmla="*/ 17 h 133"/>
                <a:gd name="T26" fmla="*/ 16 w 197"/>
                <a:gd name="T27" fmla="*/ 12 h 133"/>
                <a:gd name="T28" fmla="*/ 18 w 197"/>
                <a:gd name="T29" fmla="*/ 6 h 133"/>
                <a:gd name="T30" fmla="*/ 10 w 197"/>
                <a:gd name="T31" fmla="*/ 0 h 133"/>
                <a:gd name="T32" fmla="*/ 4 w 197"/>
                <a:gd name="T33" fmla="*/ 9 h 133"/>
                <a:gd name="T34" fmla="*/ 5 w 197"/>
                <a:gd name="T35" fmla="*/ 29 h 133"/>
                <a:gd name="T36" fmla="*/ 14 w 197"/>
                <a:gd name="T37" fmla="*/ 38 h 133"/>
                <a:gd name="T38" fmla="*/ 21 w 197"/>
                <a:gd name="T39" fmla="*/ 49 h 133"/>
                <a:gd name="T40" fmla="*/ 13 w 197"/>
                <a:gd name="T41" fmla="*/ 60 h 133"/>
                <a:gd name="T42" fmla="*/ 7 w 197"/>
                <a:gd name="T43" fmla="*/ 67 h 133"/>
                <a:gd name="T44" fmla="*/ 9 w 197"/>
                <a:gd name="T45" fmla="*/ 81 h 133"/>
                <a:gd name="T46" fmla="*/ 9 w 197"/>
                <a:gd name="T47" fmla="*/ 90 h 133"/>
                <a:gd name="T48" fmla="*/ 20 w 197"/>
                <a:gd name="T49" fmla="*/ 99 h 133"/>
                <a:gd name="T50" fmla="*/ 26 w 197"/>
                <a:gd name="T51" fmla="*/ 112 h 133"/>
                <a:gd name="T52" fmla="*/ 24 w 197"/>
                <a:gd name="T53" fmla="*/ 129 h 133"/>
                <a:gd name="T54" fmla="*/ 36 w 197"/>
                <a:gd name="T55" fmla="*/ 127 h 133"/>
                <a:gd name="T56" fmla="*/ 47 w 197"/>
                <a:gd name="T57" fmla="*/ 126 h 133"/>
                <a:gd name="T58" fmla="*/ 52 w 197"/>
                <a:gd name="T59" fmla="*/ 125 h 133"/>
                <a:gd name="T60" fmla="*/ 58 w 197"/>
                <a:gd name="T61" fmla="*/ 124 h 133"/>
                <a:gd name="T62" fmla="*/ 63 w 197"/>
                <a:gd name="T63" fmla="*/ 121 h 133"/>
                <a:gd name="T64" fmla="*/ 72 w 197"/>
                <a:gd name="T65" fmla="*/ 120 h 133"/>
                <a:gd name="T66" fmla="*/ 79 w 197"/>
                <a:gd name="T67" fmla="*/ 125 h 133"/>
                <a:gd name="T68" fmla="*/ 86 w 197"/>
                <a:gd name="T69" fmla="*/ 126 h 133"/>
                <a:gd name="T70" fmla="*/ 96 w 197"/>
                <a:gd name="T71" fmla="*/ 131 h 133"/>
                <a:gd name="T72" fmla="*/ 104 w 197"/>
                <a:gd name="T73" fmla="*/ 132 h 133"/>
                <a:gd name="T74" fmla="*/ 112 w 197"/>
                <a:gd name="T75" fmla="*/ 131 h 133"/>
                <a:gd name="T76" fmla="*/ 117 w 197"/>
                <a:gd name="T77" fmla="*/ 130 h 133"/>
                <a:gd name="T78" fmla="*/ 126 w 197"/>
                <a:gd name="T79" fmla="*/ 124 h 133"/>
                <a:gd name="T80" fmla="*/ 124 w 197"/>
                <a:gd name="T81" fmla="*/ 116 h 133"/>
                <a:gd name="T82" fmla="*/ 131 w 197"/>
                <a:gd name="T83" fmla="*/ 113 h 133"/>
                <a:gd name="T84" fmla="*/ 137 w 197"/>
                <a:gd name="T85" fmla="*/ 106 h 133"/>
                <a:gd name="T86" fmla="*/ 149 w 197"/>
                <a:gd name="T87" fmla="*/ 99 h 133"/>
                <a:gd name="T88" fmla="*/ 156 w 197"/>
                <a:gd name="T89" fmla="*/ 96 h 133"/>
                <a:gd name="T90" fmla="*/ 164 w 197"/>
                <a:gd name="T91" fmla="*/ 100 h 133"/>
                <a:gd name="T92" fmla="*/ 170 w 197"/>
                <a:gd name="T93" fmla="*/ 102 h 133"/>
                <a:gd name="T94" fmla="*/ 177 w 197"/>
                <a:gd name="T95" fmla="*/ 102 h 133"/>
                <a:gd name="T96" fmla="*/ 182 w 197"/>
                <a:gd name="T97" fmla="*/ 100 h 133"/>
                <a:gd name="T98" fmla="*/ 174 w 197"/>
                <a:gd name="T99" fmla="*/ 85 h 133"/>
                <a:gd name="T100" fmla="*/ 172 w 197"/>
                <a:gd name="T101" fmla="*/ 81 h 133"/>
                <a:gd name="T102" fmla="*/ 169 w 197"/>
                <a:gd name="T103" fmla="*/ 79 h 133"/>
                <a:gd name="T104" fmla="*/ 164 w 197"/>
                <a:gd name="T105" fmla="*/ 80 h 133"/>
                <a:gd name="T106" fmla="*/ 172 w 197"/>
                <a:gd name="T107" fmla="*/ 70 h 133"/>
                <a:gd name="T108" fmla="*/ 176 w 197"/>
                <a:gd name="T109" fmla="*/ 63 h 133"/>
                <a:gd name="T110" fmla="*/ 176 w 197"/>
                <a:gd name="T111" fmla="*/ 50 h 133"/>
                <a:gd name="T112" fmla="*/ 178 w 197"/>
                <a:gd name="T113" fmla="*/ 45 h 133"/>
                <a:gd name="T114" fmla="*/ 186 w 197"/>
                <a:gd name="T115" fmla="*/ 36 h 133"/>
                <a:gd name="T116" fmla="*/ 196 w 197"/>
                <a:gd name="T11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7" h="133">
                  <a:moveTo>
                    <a:pt x="195" y="21"/>
                  </a:moveTo>
                  <a:cubicBezTo>
                    <a:pt x="191" y="22"/>
                    <a:pt x="186" y="21"/>
                    <a:pt x="182" y="20"/>
                  </a:cubicBezTo>
                  <a:cubicBezTo>
                    <a:pt x="180" y="19"/>
                    <a:pt x="178" y="18"/>
                    <a:pt x="177" y="17"/>
                  </a:cubicBezTo>
                  <a:cubicBezTo>
                    <a:pt x="175" y="15"/>
                    <a:pt x="175" y="13"/>
                    <a:pt x="174" y="11"/>
                  </a:cubicBezTo>
                  <a:cubicBezTo>
                    <a:pt x="173" y="10"/>
                    <a:pt x="171" y="12"/>
                    <a:pt x="169" y="12"/>
                  </a:cubicBezTo>
                  <a:cubicBezTo>
                    <a:pt x="166" y="13"/>
                    <a:pt x="167" y="9"/>
                    <a:pt x="165" y="8"/>
                  </a:cubicBezTo>
                  <a:cubicBezTo>
                    <a:pt x="164" y="8"/>
                    <a:pt x="161" y="9"/>
                    <a:pt x="160" y="9"/>
                  </a:cubicBezTo>
                  <a:cubicBezTo>
                    <a:pt x="158" y="10"/>
                    <a:pt x="157" y="9"/>
                    <a:pt x="155" y="8"/>
                  </a:cubicBezTo>
                  <a:cubicBezTo>
                    <a:pt x="154" y="7"/>
                    <a:pt x="153" y="5"/>
                    <a:pt x="152" y="5"/>
                  </a:cubicBezTo>
                  <a:cubicBezTo>
                    <a:pt x="149" y="5"/>
                    <a:pt x="147" y="4"/>
                    <a:pt x="144" y="4"/>
                  </a:cubicBezTo>
                  <a:cubicBezTo>
                    <a:pt x="141" y="4"/>
                    <a:pt x="138" y="6"/>
                    <a:pt x="135" y="7"/>
                  </a:cubicBezTo>
                  <a:cubicBezTo>
                    <a:pt x="132" y="8"/>
                    <a:pt x="129" y="8"/>
                    <a:pt x="126" y="8"/>
                  </a:cubicBezTo>
                  <a:cubicBezTo>
                    <a:pt x="124" y="9"/>
                    <a:pt x="122" y="9"/>
                    <a:pt x="120" y="10"/>
                  </a:cubicBezTo>
                  <a:cubicBezTo>
                    <a:pt x="117" y="11"/>
                    <a:pt x="115" y="14"/>
                    <a:pt x="113" y="16"/>
                  </a:cubicBezTo>
                  <a:cubicBezTo>
                    <a:pt x="111" y="18"/>
                    <a:pt x="109" y="20"/>
                    <a:pt x="108" y="23"/>
                  </a:cubicBezTo>
                  <a:cubicBezTo>
                    <a:pt x="107" y="24"/>
                    <a:pt x="104" y="24"/>
                    <a:pt x="102" y="25"/>
                  </a:cubicBezTo>
                  <a:cubicBezTo>
                    <a:pt x="99" y="26"/>
                    <a:pt x="96" y="27"/>
                    <a:pt x="93" y="26"/>
                  </a:cubicBezTo>
                  <a:cubicBezTo>
                    <a:pt x="91" y="24"/>
                    <a:pt x="88" y="25"/>
                    <a:pt x="85" y="24"/>
                  </a:cubicBezTo>
                  <a:cubicBezTo>
                    <a:pt x="82" y="22"/>
                    <a:pt x="80" y="23"/>
                    <a:pt x="77" y="23"/>
                  </a:cubicBezTo>
                  <a:cubicBezTo>
                    <a:pt x="76" y="23"/>
                    <a:pt x="75" y="23"/>
                    <a:pt x="73" y="23"/>
                  </a:cubicBezTo>
                  <a:cubicBezTo>
                    <a:pt x="72" y="22"/>
                    <a:pt x="71" y="21"/>
                    <a:pt x="69" y="21"/>
                  </a:cubicBezTo>
                  <a:cubicBezTo>
                    <a:pt x="67" y="20"/>
                    <a:pt x="64" y="23"/>
                    <a:pt x="62" y="24"/>
                  </a:cubicBezTo>
                  <a:cubicBezTo>
                    <a:pt x="59" y="24"/>
                    <a:pt x="56" y="24"/>
                    <a:pt x="53" y="22"/>
                  </a:cubicBezTo>
                  <a:cubicBezTo>
                    <a:pt x="50" y="21"/>
                    <a:pt x="48" y="20"/>
                    <a:pt x="45" y="19"/>
                  </a:cubicBezTo>
                  <a:cubicBezTo>
                    <a:pt x="43" y="19"/>
                    <a:pt x="41" y="19"/>
                    <a:pt x="39" y="19"/>
                  </a:cubicBezTo>
                  <a:cubicBezTo>
                    <a:pt x="36" y="18"/>
                    <a:pt x="35" y="16"/>
                    <a:pt x="32" y="17"/>
                  </a:cubicBezTo>
                  <a:cubicBezTo>
                    <a:pt x="29" y="17"/>
                    <a:pt x="27" y="19"/>
                    <a:pt x="24" y="19"/>
                  </a:cubicBezTo>
                  <a:cubicBezTo>
                    <a:pt x="20" y="19"/>
                    <a:pt x="13" y="18"/>
                    <a:pt x="16" y="12"/>
                  </a:cubicBezTo>
                  <a:cubicBezTo>
                    <a:pt x="17" y="10"/>
                    <a:pt x="22" y="8"/>
                    <a:pt x="21" y="7"/>
                  </a:cubicBezTo>
                  <a:cubicBezTo>
                    <a:pt x="20" y="6"/>
                    <a:pt x="19" y="6"/>
                    <a:pt x="18" y="6"/>
                  </a:cubicBezTo>
                  <a:cubicBezTo>
                    <a:pt x="17" y="5"/>
                    <a:pt x="16" y="4"/>
                    <a:pt x="15" y="4"/>
                  </a:cubicBezTo>
                  <a:cubicBezTo>
                    <a:pt x="13" y="3"/>
                    <a:pt x="11" y="2"/>
                    <a:pt x="10" y="0"/>
                  </a:cubicBezTo>
                  <a:cubicBezTo>
                    <a:pt x="7" y="1"/>
                    <a:pt x="9" y="5"/>
                    <a:pt x="8" y="7"/>
                  </a:cubicBezTo>
                  <a:cubicBezTo>
                    <a:pt x="7" y="7"/>
                    <a:pt x="4" y="9"/>
                    <a:pt x="4" y="9"/>
                  </a:cubicBezTo>
                  <a:cubicBezTo>
                    <a:pt x="0" y="9"/>
                    <a:pt x="1" y="19"/>
                    <a:pt x="2" y="21"/>
                  </a:cubicBezTo>
                  <a:cubicBezTo>
                    <a:pt x="3" y="24"/>
                    <a:pt x="5" y="26"/>
                    <a:pt x="5" y="29"/>
                  </a:cubicBezTo>
                  <a:cubicBezTo>
                    <a:pt x="6" y="32"/>
                    <a:pt x="7" y="34"/>
                    <a:pt x="9" y="35"/>
                  </a:cubicBezTo>
                  <a:cubicBezTo>
                    <a:pt x="11" y="36"/>
                    <a:pt x="13" y="37"/>
                    <a:pt x="14" y="38"/>
                  </a:cubicBezTo>
                  <a:cubicBezTo>
                    <a:pt x="16" y="40"/>
                    <a:pt x="17" y="44"/>
                    <a:pt x="19" y="45"/>
                  </a:cubicBezTo>
                  <a:cubicBezTo>
                    <a:pt x="21" y="46"/>
                    <a:pt x="23" y="46"/>
                    <a:pt x="21" y="49"/>
                  </a:cubicBezTo>
                  <a:cubicBezTo>
                    <a:pt x="20" y="51"/>
                    <a:pt x="19" y="53"/>
                    <a:pt x="17" y="54"/>
                  </a:cubicBezTo>
                  <a:cubicBezTo>
                    <a:pt x="15" y="56"/>
                    <a:pt x="16" y="59"/>
                    <a:pt x="13" y="60"/>
                  </a:cubicBezTo>
                  <a:cubicBezTo>
                    <a:pt x="11" y="61"/>
                    <a:pt x="9" y="59"/>
                    <a:pt x="7" y="61"/>
                  </a:cubicBezTo>
                  <a:cubicBezTo>
                    <a:pt x="5" y="63"/>
                    <a:pt x="7" y="64"/>
                    <a:pt x="7" y="67"/>
                  </a:cubicBezTo>
                  <a:cubicBezTo>
                    <a:pt x="7" y="69"/>
                    <a:pt x="5" y="72"/>
                    <a:pt x="7" y="74"/>
                  </a:cubicBezTo>
                  <a:cubicBezTo>
                    <a:pt x="8" y="77"/>
                    <a:pt x="11" y="77"/>
                    <a:pt x="9" y="81"/>
                  </a:cubicBezTo>
                  <a:cubicBezTo>
                    <a:pt x="7" y="83"/>
                    <a:pt x="6" y="85"/>
                    <a:pt x="4" y="85"/>
                  </a:cubicBezTo>
                  <a:cubicBezTo>
                    <a:pt x="6" y="87"/>
                    <a:pt x="7" y="89"/>
                    <a:pt x="9" y="90"/>
                  </a:cubicBezTo>
                  <a:cubicBezTo>
                    <a:pt x="10" y="93"/>
                    <a:pt x="12" y="95"/>
                    <a:pt x="15" y="96"/>
                  </a:cubicBezTo>
                  <a:cubicBezTo>
                    <a:pt x="17" y="97"/>
                    <a:pt x="19" y="97"/>
                    <a:pt x="20" y="99"/>
                  </a:cubicBezTo>
                  <a:cubicBezTo>
                    <a:pt x="21" y="101"/>
                    <a:pt x="21" y="104"/>
                    <a:pt x="22" y="106"/>
                  </a:cubicBezTo>
                  <a:cubicBezTo>
                    <a:pt x="23" y="108"/>
                    <a:pt x="26" y="110"/>
                    <a:pt x="26" y="112"/>
                  </a:cubicBezTo>
                  <a:cubicBezTo>
                    <a:pt x="26" y="114"/>
                    <a:pt x="24" y="115"/>
                    <a:pt x="24" y="117"/>
                  </a:cubicBezTo>
                  <a:cubicBezTo>
                    <a:pt x="25" y="120"/>
                    <a:pt x="26" y="127"/>
                    <a:pt x="24" y="129"/>
                  </a:cubicBezTo>
                  <a:cubicBezTo>
                    <a:pt x="26" y="129"/>
                    <a:pt x="30" y="131"/>
                    <a:pt x="32" y="130"/>
                  </a:cubicBezTo>
                  <a:cubicBezTo>
                    <a:pt x="33" y="129"/>
                    <a:pt x="34" y="126"/>
                    <a:pt x="36" y="127"/>
                  </a:cubicBezTo>
                  <a:cubicBezTo>
                    <a:pt x="37" y="127"/>
                    <a:pt x="37" y="128"/>
                    <a:pt x="39" y="127"/>
                  </a:cubicBezTo>
                  <a:cubicBezTo>
                    <a:pt x="42" y="126"/>
                    <a:pt x="44" y="128"/>
                    <a:pt x="47" y="126"/>
                  </a:cubicBezTo>
                  <a:cubicBezTo>
                    <a:pt x="48" y="126"/>
                    <a:pt x="50" y="127"/>
                    <a:pt x="50" y="126"/>
                  </a:cubicBezTo>
                  <a:cubicBezTo>
                    <a:pt x="51" y="125"/>
                    <a:pt x="51" y="125"/>
                    <a:pt x="52" y="125"/>
                  </a:cubicBezTo>
                  <a:cubicBezTo>
                    <a:pt x="52" y="124"/>
                    <a:pt x="55" y="123"/>
                    <a:pt x="55" y="123"/>
                  </a:cubicBezTo>
                  <a:cubicBezTo>
                    <a:pt x="56" y="123"/>
                    <a:pt x="56" y="124"/>
                    <a:pt x="58" y="124"/>
                  </a:cubicBezTo>
                  <a:cubicBezTo>
                    <a:pt x="60" y="123"/>
                    <a:pt x="59" y="122"/>
                    <a:pt x="60" y="121"/>
                  </a:cubicBezTo>
                  <a:cubicBezTo>
                    <a:pt x="61" y="119"/>
                    <a:pt x="62" y="121"/>
                    <a:pt x="63" y="121"/>
                  </a:cubicBezTo>
                  <a:cubicBezTo>
                    <a:pt x="65" y="121"/>
                    <a:pt x="66" y="117"/>
                    <a:pt x="67" y="120"/>
                  </a:cubicBezTo>
                  <a:cubicBezTo>
                    <a:pt x="67" y="122"/>
                    <a:pt x="71" y="120"/>
                    <a:pt x="72" y="120"/>
                  </a:cubicBezTo>
                  <a:cubicBezTo>
                    <a:pt x="74" y="119"/>
                    <a:pt x="75" y="120"/>
                    <a:pt x="75" y="122"/>
                  </a:cubicBezTo>
                  <a:cubicBezTo>
                    <a:pt x="76" y="124"/>
                    <a:pt x="76" y="125"/>
                    <a:pt x="79" y="125"/>
                  </a:cubicBezTo>
                  <a:cubicBezTo>
                    <a:pt x="79" y="126"/>
                    <a:pt x="83" y="129"/>
                    <a:pt x="83" y="128"/>
                  </a:cubicBezTo>
                  <a:cubicBezTo>
                    <a:pt x="84" y="128"/>
                    <a:pt x="83" y="126"/>
                    <a:pt x="86" y="126"/>
                  </a:cubicBezTo>
                  <a:cubicBezTo>
                    <a:pt x="88" y="126"/>
                    <a:pt x="90" y="127"/>
                    <a:pt x="91" y="129"/>
                  </a:cubicBezTo>
                  <a:cubicBezTo>
                    <a:pt x="93" y="129"/>
                    <a:pt x="95" y="130"/>
                    <a:pt x="96" y="131"/>
                  </a:cubicBezTo>
                  <a:cubicBezTo>
                    <a:pt x="97" y="132"/>
                    <a:pt x="98" y="133"/>
                    <a:pt x="99" y="133"/>
                  </a:cubicBezTo>
                  <a:cubicBezTo>
                    <a:pt x="101" y="133"/>
                    <a:pt x="102" y="133"/>
                    <a:pt x="104" y="132"/>
                  </a:cubicBezTo>
                  <a:cubicBezTo>
                    <a:pt x="106" y="131"/>
                    <a:pt x="108" y="130"/>
                    <a:pt x="110" y="130"/>
                  </a:cubicBezTo>
                  <a:cubicBezTo>
                    <a:pt x="110" y="130"/>
                    <a:pt x="111" y="131"/>
                    <a:pt x="112" y="131"/>
                  </a:cubicBezTo>
                  <a:cubicBezTo>
                    <a:pt x="112" y="131"/>
                    <a:pt x="112" y="130"/>
                    <a:pt x="112" y="130"/>
                  </a:cubicBezTo>
                  <a:cubicBezTo>
                    <a:pt x="114" y="130"/>
                    <a:pt x="115" y="129"/>
                    <a:pt x="117" y="130"/>
                  </a:cubicBezTo>
                  <a:cubicBezTo>
                    <a:pt x="119" y="130"/>
                    <a:pt x="125" y="130"/>
                    <a:pt x="126" y="127"/>
                  </a:cubicBezTo>
                  <a:cubicBezTo>
                    <a:pt x="126" y="126"/>
                    <a:pt x="127" y="125"/>
                    <a:pt x="126" y="124"/>
                  </a:cubicBezTo>
                  <a:cubicBezTo>
                    <a:pt x="125" y="123"/>
                    <a:pt x="127" y="121"/>
                    <a:pt x="126" y="120"/>
                  </a:cubicBezTo>
                  <a:cubicBezTo>
                    <a:pt x="125" y="119"/>
                    <a:pt x="125" y="117"/>
                    <a:pt x="124" y="116"/>
                  </a:cubicBezTo>
                  <a:cubicBezTo>
                    <a:pt x="123" y="115"/>
                    <a:pt x="121" y="115"/>
                    <a:pt x="123" y="113"/>
                  </a:cubicBezTo>
                  <a:cubicBezTo>
                    <a:pt x="126" y="110"/>
                    <a:pt x="128" y="113"/>
                    <a:pt x="131" y="113"/>
                  </a:cubicBezTo>
                  <a:cubicBezTo>
                    <a:pt x="128" y="110"/>
                    <a:pt x="132" y="108"/>
                    <a:pt x="134" y="108"/>
                  </a:cubicBezTo>
                  <a:cubicBezTo>
                    <a:pt x="136" y="108"/>
                    <a:pt x="137" y="107"/>
                    <a:pt x="137" y="106"/>
                  </a:cubicBezTo>
                  <a:cubicBezTo>
                    <a:pt x="138" y="105"/>
                    <a:pt x="137" y="104"/>
                    <a:pt x="137" y="103"/>
                  </a:cubicBezTo>
                  <a:cubicBezTo>
                    <a:pt x="138" y="99"/>
                    <a:pt x="145" y="103"/>
                    <a:pt x="149" y="99"/>
                  </a:cubicBezTo>
                  <a:cubicBezTo>
                    <a:pt x="151" y="98"/>
                    <a:pt x="151" y="96"/>
                    <a:pt x="153" y="96"/>
                  </a:cubicBezTo>
                  <a:cubicBezTo>
                    <a:pt x="154" y="96"/>
                    <a:pt x="155" y="97"/>
                    <a:pt x="156" y="96"/>
                  </a:cubicBezTo>
                  <a:cubicBezTo>
                    <a:pt x="157" y="96"/>
                    <a:pt x="157" y="95"/>
                    <a:pt x="158" y="95"/>
                  </a:cubicBezTo>
                  <a:cubicBezTo>
                    <a:pt x="161" y="94"/>
                    <a:pt x="162" y="98"/>
                    <a:pt x="164" y="100"/>
                  </a:cubicBezTo>
                  <a:cubicBezTo>
                    <a:pt x="165" y="100"/>
                    <a:pt x="168" y="104"/>
                    <a:pt x="169" y="103"/>
                  </a:cubicBezTo>
                  <a:cubicBezTo>
                    <a:pt x="168" y="104"/>
                    <a:pt x="171" y="101"/>
                    <a:pt x="170" y="102"/>
                  </a:cubicBezTo>
                  <a:cubicBezTo>
                    <a:pt x="171" y="101"/>
                    <a:pt x="172" y="101"/>
                    <a:pt x="173" y="101"/>
                  </a:cubicBezTo>
                  <a:cubicBezTo>
                    <a:pt x="174" y="101"/>
                    <a:pt x="176" y="102"/>
                    <a:pt x="177" y="102"/>
                  </a:cubicBezTo>
                  <a:cubicBezTo>
                    <a:pt x="177" y="101"/>
                    <a:pt x="176" y="100"/>
                    <a:pt x="177" y="100"/>
                  </a:cubicBezTo>
                  <a:cubicBezTo>
                    <a:pt x="178" y="99"/>
                    <a:pt x="181" y="101"/>
                    <a:pt x="182" y="100"/>
                  </a:cubicBezTo>
                  <a:cubicBezTo>
                    <a:pt x="185" y="99"/>
                    <a:pt x="175" y="90"/>
                    <a:pt x="174" y="89"/>
                  </a:cubicBezTo>
                  <a:cubicBezTo>
                    <a:pt x="173" y="88"/>
                    <a:pt x="175" y="86"/>
                    <a:pt x="174" y="85"/>
                  </a:cubicBezTo>
                  <a:cubicBezTo>
                    <a:pt x="173" y="84"/>
                    <a:pt x="173" y="85"/>
                    <a:pt x="172" y="84"/>
                  </a:cubicBezTo>
                  <a:cubicBezTo>
                    <a:pt x="172" y="83"/>
                    <a:pt x="172" y="82"/>
                    <a:pt x="172" y="81"/>
                  </a:cubicBezTo>
                  <a:cubicBezTo>
                    <a:pt x="171" y="80"/>
                    <a:pt x="170" y="82"/>
                    <a:pt x="170" y="81"/>
                  </a:cubicBezTo>
                  <a:cubicBezTo>
                    <a:pt x="170" y="80"/>
                    <a:pt x="170" y="80"/>
                    <a:pt x="169" y="79"/>
                  </a:cubicBezTo>
                  <a:cubicBezTo>
                    <a:pt x="168" y="79"/>
                    <a:pt x="167" y="80"/>
                    <a:pt x="166" y="80"/>
                  </a:cubicBezTo>
                  <a:cubicBezTo>
                    <a:pt x="165" y="80"/>
                    <a:pt x="164" y="78"/>
                    <a:pt x="164" y="80"/>
                  </a:cubicBezTo>
                  <a:cubicBezTo>
                    <a:pt x="162" y="77"/>
                    <a:pt x="167" y="74"/>
                    <a:pt x="169" y="75"/>
                  </a:cubicBezTo>
                  <a:cubicBezTo>
                    <a:pt x="168" y="72"/>
                    <a:pt x="170" y="71"/>
                    <a:pt x="172" y="70"/>
                  </a:cubicBezTo>
                  <a:cubicBezTo>
                    <a:pt x="169" y="68"/>
                    <a:pt x="173" y="68"/>
                    <a:pt x="174" y="68"/>
                  </a:cubicBezTo>
                  <a:cubicBezTo>
                    <a:pt x="177" y="68"/>
                    <a:pt x="177" y="67"/>
                    <a:pt x="176" y="63"/>
                  </a:cubicBezTo>
                  <a:cubicBezTo>
                    <a:pt x="176" y="61"/>
                    <a:pt x="176" y="59"/>
                    <a:pt x="176" y="57"/>
                  </a:cubicBezTo>
                  <a:cubicBezTo>
                    <a:pt x="176" y="55"/>
                    <a:pt x="176" y="52"/>
                    <a:pt x="176" y="50"/>
                  </a:cubicBezTo>
                  <a:cubicBezTo>
                    <a:pt x="177" y="48"/>
                    <a:pt x="177" y="48"/>
                    <a:pt x="176" y="47"/>
                  </a:cubicBezTo>
                  <a:cubicBezTo>
                    <a:pt x="174" y="46"/>
                    <a:pt x="178" y="45"/>
                    <a:pt x="178" y="45"/>
                  </a:cubicBezTo>
                  <a:cubicBezTo>
                    <a:pt x="180" y="45"/>
                    <a:pt x="180" y="40"/>
                    <a:pt x="181" y="38"/>
                  </a:cubicBezTo>
                  <a:cubicBezTo>
                    <a:pt x="182" y="36"/>
                    <a:pt x="184" y="36"/>
                    <a:pt x="186" y="36"/>
                  </a:cubicBezTo>
                  <a:cubicBezTo>
                    <a:pt x="188" y="36"/>
                    <a:pt x="189" y="36"/>
                    <a:pt x="191" y="37"/>
                  </a:cubicBezTo>
                  <a:cubicBezTo>
                    <a:pt x="193" y="38"/>
                    <a:pt x="195" y="36"/>
                    <a:pt x="196" y="33"/>
                  </a:cubicBezTo>
                  <a:cubicBezTo>
                    <a:pt x="197" y="30"/>
                    <a:pt x="194" y="25"/>
                    <a:pt x="195" y="21"/>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171">
              <a:extLst>
                <a:ext uri="{FF2B5EF4-FFF2-40B4-BE49-F238E27FC236}">
                  <a16:creationId xmlns:a16="http://schemas.microsoft.com/office/drawing/2014/main" id="{03009CCB-3180-B315-237A-DF8FBB21B382}"/>
                </a:ext>
              </a:extLst>
            </p:cNvPr>
            <p:cNvSpPr>
              <a:spLocks/>
            </p:cNvSpPr>
            <p:nvPr/>
          </p:nvSpPr>
          <p:spPr bwMode="auto">
            <a:xfrm>
              <a:off x="3554702" y="3379117"/>
              <a:ext cx="376615" cy="256257"/>
            </a:xfrm>
            <a:custGeom>
              <a:avLst/>
              <a:gdLst>
                <a:gd name="T0" fmla="*/ 128 w 135"/>
                <a:gd name="T1" fmla="*/ 9 h 91"/>
                <a:gd name="T2" fmla="*/ 110 w 135"/>
                <a:gd name="T3" fmla="*/ 10 h 91"/>
                <a:gd name="T4" fmla="*/ 90 w 135"/>
                <a:gd name="T5" fmla="*/ 5 h 91"/>
                <a:gd name="T6" fmla="*/ 76 w 135"/>
                <a:gd name="T7" fmla="*/ 3 h 91"/>
                <a:gd name="T8" fmla="*/ 68 w 135"/>
                <a:gd name="T9" fmla="*/ 2 h 91"/>
                <a:gd name="T10" fmla="*/ 63 w 135"/>
                <a:gd name="T11" fmla="*/ 1 h 91"/>
                <a:gd name="T12" fmla="*/ 58 w 135"/>
                <a:gd name="T13" fmla="*/ 1 h 91"/>
                <a:gd name="T14" fmla="*/ 56 w 135"/>
                <a:gd name="T15" fmla="*/ 6 h 91"/>
                <a:gd name="T16" fmla="*/ 49 w 135"/>
                <a:gd name="T17" fmla="*/ 7 h 91"/>
                <a:gd name="T18" fmla="*/ 38 w 135"/>
                <a:gd name="T19" fmla="*/ 6 h 91"/>
                <a:gd name="T20" fmla="*/ 36 w 135"/>
                <a:gd name="T21" fmla="*/ 9 h 91"/>
                <a:gd name="T22" fmla="*/ 26 w 135"/>
                <a:gd name="T23" fmla="*/ 9 h 91"/>
                <a:gd name="T24" fmla="*/ 21 w 135"/>
                <a:gd name="T25" fmla="*/ 11 h 91"/>
                <a:gd name="T26" fmla="*/ 19 w 135"/>
                <a:gd name="T27" fmla="*/ 15 h 91"/>
                <a:gd name="T28" fmla="*/ 10 w 135"/>
                <a:gd name="T29" fmla="*/ 18 h 91"/>
                <a:gd name="T30" fmla="*/ 2 w 135"/>
                <a:gd name="T31" fmla="*/ 21 h 91"/>
                <a:gd name="T32" fmla="*/ 4 w 135"/>
                <a:gd name="T33" fmla="*/ 29 h 91"/>
                <a:gd name="T34" fmla="*/ 6 w 135"/>
                <a:gd name="T35" fmla="*/ 26 h 91"/>
                <a:gd name="T36" fmla="*/ 2 w 135"/>
                <a:gd name="T37" fmla="*/ 31 h 91"/>
                <a:gd name="T38" fmla="*/ 3 w 135"/>
                <a:gd name="T39" fmla="*/ 38 h 91"/>
                <a:gd name="T40" fmla="*/ 13 w 135"/>
                <a:gd name="T41" fmla="*/ 39 h 91"/>
                <a:gd name="T42" fmla="*/ 6 w 135"/>
                <a:gd name="T43" fmla="*/ 47 h 91"/>
                <a:gd name="T44" fmla="*/ 15 w 135"/>
                <a:gd name="T45" fmla="*/ 56 h 91"/>
                <a:gd name="T46" fmla="*/ 29 w 135"/>
                <a:gd name="T47" fmla="*/ 55 h 91"/>
                <a:gd name="T48" fmla="*/ 34 w 135"/>
                <a:gd name="T49" fmla="*/ 61 h 91"/>
                <a:gd name="T50" fmla="*/ 31 w 135"/>
                <a:gd name="T51" fmla="*/ 76 h 91"/>
                <a:gd name="T52" fmla="*/ 43 w 135"/>
                <a:gd name="T53" fmla="*/ 70 h 91"/>
                <a:gd name="T54" fmla="*/ 55 w 135"/>
                <a:gd name="T55" fmla="*/ 68 h 91"/>
                <a:gd name="T56" fmla="*/ 59 w 135"/>
                <a:gd name="T57" fmla="*/ 68 h 91"/>
                <a:gd name="T58" fmla="*/ 65 w 135"/>
                <a:gd name="T59" fmla="*/ 71 h 91"/>
                <a:gd name="T60" fmla="*/ 74 w 135"/>
                <a:gd name="T61" fmla="*/ 76 h 91"/>
                <a:gd name="T62" fmla="*/ 80 w 135"/>
                <a:gd name="T63" fmla="*/ 79 h 91"/>
                <a:gd name="T64" fmla="*/ 87 w 135"/>
                <a:gd name="T65" fmla="*/ 86 h 91"/>
                <a:gd name="T66" fmla="*/ 98 w 135"/>
                <a:gd name="T67" fmla="*/ 89 h 91"/>
                <a:gd name="T68" fmla="*/ 104 w 135"/>
                <a:gd name="T69" fmla="*/ 86 h 91"/>
                <a:gd name="T70" fmla="*/ 110 w 135"/>
                <a:gd name="T71" fmla="*/ 88 h 91"/>
                <a:gd name="T72" fmla="*/ 118 w 135"/>
                <a:gd name="T73" fmla="*/ 88 h 91"/>
                <a:gd name="T74" fmla="*/ 120 w 135"/>
                <a:gd name="T75" fmla="*/ 83 h 91"/>
                <a:gd name="T76" fmla="*/ 122 w 135"/>
                <a:gd name="T77" fmla="*/ 78 h 91"/>
                <a:gd name="T78" fmla="*/ 126 w 135"/>
                <a:gd name="T79" fmla="*/ 74 h 91"/>
                <a:gd name="T80" fmla="*/ 124 w 135"/>
                <a:gd name="T81" fmla="*/ 68 h 91"/>
                <a:gd name="T82" fmla="*/ 119 w 135"/>
                <a:gd name="T83" fmla="*/ 56 h 91"/>
                <a:gd name="T84" fmla="*/ 116 w 135"/>
                <a:gd name="T85" fmla="*/ 43 h 91"/>
                <a:gd name="T86" fmla="*/ 124 w 135"/>
                <a:gd name="T87" fmla="*/ 21 h 91"/>
                <a:gd name="T88" fmla="*/ 128 w 135"/>
                <a:gd name="T89" fmla="*/ 1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 h="91">
                  <a:moveTo>
                    <a:pt x="132" y="11"/>
                  </a:moveTo>
                  <a:cubicBezTo>
                    <a:pt x="131" y="10"/>
                    <a:pt x="129" y="9"/>
                    <a:pt x="128" y="9"/>
                  </a:cubicBezTo>
                  <a:cubicBezTo>
                    <a:pt x="127" y="9"/>
                    <a:pt x="126" y="10"/>
                    <a:pt x="125" y="11"/>
                  </a:cubicBezTo>
                  <a:cubicBezTo>
                    <a:pt x="121" y="13"/>
                    <a:pt x="115" y="10"/>
                    <a:pt x="110" y="10"/>
                  </a:cubicBezTo>
                  <a:cubicBezTo>
                    <a:pt x="106" y="10"/>
                    <a:pt x="100" y="10"/>
                    <a:pt x="96" y="9"/>
                  </a:cubicBezTo>
                  <a:cubicBezTo>
                    <a:pt x="94" y="8"/>
                    <a:pt x="92" y="6"/>
                    <a:pt x="90" y="5"/>
                  </a:cubicBezTo>
                  <a:cubicBezTo>
                    <a:pt x="88" y="5"/>
                    <a:pt x="86" y="6"/>
                    <a:pt x="84" y="5"/>
                  </a:cubicBezTo>
                  <a:cubicBezTo>
                    <a:pt x="83" y="5"/>
                    <a:pt x="79" y="4"/>
                    <a:pt x="76" y="3"/>
                  </a:cubicBezTo>
                  <a:cubicBezTo>
                    <a:pt x="74" y="2"/>
                    <a:pt x="71" y="2"/>
                    <a:pt x="71" y="3"/>
                  </a:cubicBezTo>
                  <a:cubicBezTo>
                    <a:pt x="70" y="4"/>
                    <a:pt x="70" y="2"/>
                    <a:pt x="68" y="2"/>
                  </a:cubicBezTo>
                  <a:cubicBezTo>
                    <a:pt x="67" y="3"/>
                    <a:pt x="68" y="5"/>
                    <a:pt x="66" y="4"/>
                  </a:cubicBezTo>
                  <a:cubicBezTo>
                    <a:pt x="64" y="3"/>
                    <a:pt x="65" y="0"/>
                    <a:pt x="63" y="1"/>
                  </a:cubicBezTo>
                  <a:cubicBezTo>
                    <a:pt x="62" y="1"/>
                    <a:pt x="63" y="4"/>
                    <a:pt x="63" y="4"/>
                  </a:cubicBezTo>
                  <a:cubicBezTo>
                    <a:pt x="62" y="7"/>
                    <a:pt x="59" y="2"/>
                    <a:pt x="58" y="1"/>
                  </a:cubicBezTo>
                  <a:cubicBezTo>
                    <a:pt x="56" y="0"/>
                    <a:pt x="57" y="5"/>
                    <a:pt x="59" y="6"/>
                  </a:cubicBezTo>
                  <a:cubicBezTo>
                    <a:pt x="58" y="6"/>
                    <a:pt x="57" y="6"/>
                    <a:pt x="56" y="6"/>
                  </a:cubicBezTo>
                  <a:cubicBezTo>
                    <a:pt x="55" y="7"/>
                    <a:pt x="55" y="7"/>
                    <a:pt x="55" y="8"/>
                  </a:cubicBezTo>
                  <a:cubicBezTo>
                    <a:pt x="53" y="8"/>
                    <a:pt x="51" y="7"/>
                    <a:pt x="49" y="7"/>
                  </a:cubicBezTo>
                  <a:cubicBezTo>
                    <a:pt x="47" y="6"/>
                    <a:pt x="44" y="8"/>
                    <a:pt x="41" y="6"/>
                  </a:cubicBezTo>
                  <a:cubicBezTo>
                    <a:pt x="41" y="6"/>
                    <a:pt x="38" y="4"/>
                    <a:pt x="38" y="6"/>
                  </a:cubicBezTo>
                  <a:cubicBezTo>
                    <a:pt x="38" y="7"/>
                    <a:pt x="39" y="8"/>
                    <a:pt x="39" y="9"/>
                  </a:cubicBezTo>
                  <a:cubicBezTo>
                    <a:pt x="38" y="10"/>
                    <a:pt x="36" y="9"/>
                    <a:pt x="36" y="9"/>
                  </a:cubicBezTo>
                  <a:cubicBezTo>
                    <a:pt x="35" y="8"/>
                    <a:pt x="33" y="9"/>
                    <a:pt x="35" y="10"/>
                  </a:cubicBezTo>
                  <a:cubicBezTo>
                    <a:pt x="32" y="11"/>
                    <a:pt x="29" y="7"/>
                    <a:pt x="26" y="9"/>
                  </a:cubicBezTo>
                  <a:cubicBezTo>
                    <a:pt x="25" y="9"/>
                    <a:pt x="25" y="11"/>
                    <a:pt x="24" y="11"/>
                  </a:cubicBezTo>
                  <a:cubicBezTo>
                    <a:pt x="23" y="12"/>
                    <a:pt x="22" y="11"/>
                    <a:pt x="21" y="11"/>
                  </a:cubicBezTo>
                  <a:cubicBezTo>
                    <a:pt x="22" y="12"/>
                    <a:pt x="23" y="13"/>
                    <a:pt x="23" y="13"/>
                  </a:cubicBezTo>
                  <a:cubicBezTo>
                    <a:pt x="23" y="14"/>
                    <a:pt x="14" y="9"/>
                    <a:pt x="19" y="15"/>
                  </a:cubicBezTo>
                  <a:cubicBezTo>
                    <a:pt x="21" y="18"/>
                    <a:pt x="12" y="16"/>
                    <a:pt x="11" y="17"/>
                  </a:cubicBezTo>
                  <a:cubicBezTo>
                    <a:pt x="9" y="18"/>
                    <a:pt x="10" y="17"/>
                    <a:pt x="10" y="18"/>
                  </a:cubicBezTo>
                  <a:cubicBezTo>
                    <a:pt x="10" y="18"/>
                    <a:pt x="6" y="18"/>
                    <a:pt x="6" y="18"/>
                  </a:cubicBezTo>
                  <a:cubicBezTo>
                    <a:pt x="5" y="18"/>
                    <a:pt x="2" y="19"/>
                    <a:pt x="2" y="21"/>
                  </a:cubicBezTo>
                  <a:cubicBezTo>
                    <a:pt x="3" y="22"/>
                    <a:pt x="5" y="23"/>
                    <a:pt x="4" y="25"/>
                  </a:cubicBezTo>
                  <a:cubicBezTo>
                    <a:pt x="3" y="24"/>
                    <a:pt x="0" y="29"/>
                    <a:pt x="4" y="29"/>
                  </a:cubicBezTo>
                  <a:cubicBezTo>
                    <a:pt x="5" y="29"/>
                    <a:pt x="5" y="29"/>
                    <a:pt x="6" y="29"/>
                  </a:cubicBezTo>
                  <a:cubicBezTo>
                    <a:pt x="7" y="28"/>
                    <a:pt x="7" y="27"/>
                    <a:pt x="6" y="26"/>
                  </a:cubicBezTo>
                  <a:cubicBezTo>
                    <a:pt x="7" y="27"/>
                    <a:pt x="8" y="29"/>
                    <a:pt x="7" y="30"/>
                  </a:cubicBezTo>
                  <a:cubicBezTo>
                    <a:pt x="6" y="31"/>
                    <a:pt x="3" y="30"/>
                    <a:pt x="2" y="31"/>
                  </a:cubicBezTo>
                  <a:cubicBezTo>
                    <a:pt x="1" y="32"/>
                    <a:pt x="5" y="35"/>
                    <a:pt x="5" y="36"/>
                  </a:cubicBezTo>
                  <a:cubicBezTo>
                    <a:pt x="4" y="36"/>
                    <a:pt x="3" y="37"/>
                    <a:pt x="3" y="38"/>
                  </a:cubicBezTo>
                  <a:cubicBezTo>
                    <a:pt x="7" y="39"/>
                    <a:pt x="11" y="36"/>
                    <a:pt x="15" y="38"/>
                  </a:cubicBezTo>
                  <a:cubicBezTo>
                    <a:pt x="12" y="37"/>
                    <a:pt x="14" y="38"/>
                    <a:pt x="13" y="39"/>
                  </a:cubicBezTo>
                  <a:cubicBezTo>
                    <a:pt x="13" y="39"/>
                    <a:pt x="4" y="37"/>
                    <a:pt x="6" y="41"/>
                  </a:cubicBezTo>
                  <a:cubicBezTo>
                    <a:pt x="4" y="40"/>
                    <a:pt x="6" y="47"/>
                    <a:pt x="6" y="47"/>
                  </a:cubicBezTo>
                  <a:cubicBezTo>
                    <a:pt x="7" y="46"/>
                    <a:pt x="10" y="47"/>
                    <a:pt x="11" y="49"/>
                  </a:cubicBezTo>
                  <a:cubicBezTo>
                    <a:pt x="12" y="52"/>
                    <a:pt x="11" y="56"/>
                    <a:pt x="15" y="56"/>
                  </a:cubicBezTo>
                  <a:cubicBezTo>
                    <a:pt x="18" y="55"/>
                    <a:pt x="20" y="58"/>
                    <a:pt x="23" y="59"/>
                  </a:cubicBezTo>
                  <a:cubicBezTo>
                    <a:pt x="25" y="61"/>
                    <a:pt x="28" y="57"/>
                    <a:pt x="29" y="55"/>
                  </a:cubicBezTo>
                  <a:cubicBezTo>
                    <a:pt x="30" y="53"/>
                    <a:pt x="36" y="55"/>
                    <a:pt x="36" y="57"/>
                  </a:cubicBezTo>
                  <a:cubicBezTo>
                    <a:pt x="36" y="58"/>
                    <a:pt x="34" y="59"/>
                    <a:pt x="34" y="61"/>
                  </a:cubicBezTo>
                  <a:cubicBezTo>
                    <a:pt x="33" y="62"/>
                    <a:pt x="34" y="64"/>
                    <a:pt x="34" y="66"/>
                  </a:cubicBezTo>
                  <a:cubicBezTo>
                    <a:pt x="34" y="69"/>
                    <a:pt x="32" y="73"/>
                    <a:pt x="31" y="76"/>
                  </a:cubicBezTo>
                  <a:cubicBezTo>
                    <a:pt x="34" y="76"/>
                    <a:pt x="36" y="72"/>
                    <a:pt x="39" y="72"/>
                  </a:cubicBezTo>
                  <a:cubicBezTo>
                    <a:pt x="42" y="72"/>
                    <a:pt x="41" y="71"/>
                    <a:pt x="43" y="70"/>
                  </a:cubicBezTo>
                  <a:cubicBezTo>
                    <a:pt x="44" y="70"/>
                    <a:pt x="45" y="71"/>
                    <a:pt x="46" y="70"/>
                  </a:cubicBezTo>
                  <a:cubicBezTo>
                    <a:pt x="48" y="69"/>
                    <a:pt x="54" y="65"/>
                    <a:pt x="55" y="68"/>
                  </a:cubicBezTo>
                  <a:cubicBezTo>
                    <a:pt x="56" y="71"/>
                    <a:pt x="59" y="70"/>
                    <a:pt x="57" y="67"/>
                  </a:cubicBezTo>
                  <a:cubicBezTo>
                    <a:pt x="57" y="66"/>
                    <a:pt x="58" y="67"/>
                    <a:pt x="59" y="68"/>
                  </a:cubicBezTo>
                  <a:cubicBezTo>
                    <a:pt x="59" y="69"/>
                    <a:pt x="61" y="68"/>
                    <a:pt x="62" y="69"/>
                  </a:cubicBezTo>
                  <a:cubicBezTo>
                    <a:pt x="63" y="71"/>
                    <a:pt x="64" y="71"/>
                    <a:pt x="65" y="71"/>
                  </a:cubicBezTo>
                  <a:cubicBezTo>
                    <a:pt x="67" y="72"/>
                    <a:pt x="67" y="74"/>
                    <a:pt x="68" y="74"/>
                  </a:cubicBezTo>
                  <a:cubicBezTo>
                    <a:pt x="72" y="73"/>
                    <a:pt x="71" y="75"/>
                    <a:pt x="74" y="76"/>
                  </a:cubicBezTo>
                  <a:cubicBezTo>
                    <a:pt x="75" y="76"/>
                    <a:pt x="77" y="76"/>
                    <a:pt x="78" y="76"/>
                  </a:cubicBezTo>
                  <a:cubicBezTo>
                    <a:pt x="80" y="76"/>
                    <a:pt x="79" y="78"/>
                    <a:pt x="80" y="79"/>
                  </a:cubicBezTo>
                  <a:cubicBezTo>
                    <a:pt x="81" y="80"/>
                    <a:pt x="82" y="81"/>
                    <a:pt x="83" y="82"/>
                  </a:cubicBezTo>
                  <a:cubicBezTo>
                    <a:pt x="84" y="83"/>
                    <a:pt x="86" y="85"/>
                    <a:pt x="87" y="86"/>
                  </a:cubicBezTo>
                  <a:cubicBezTo>
                    <a:pt x="89" y="88"/>
                    <a:pt x="93" y="89"/>
                    <a:pt x="95" y="90"/>
                  </a:cubicBezTo>
                  <a:cubicBezTo>
                    <a:pt x="96" y="90"/>
                    <a:pt x="97" y="89"/>
                    <a:pt x="98" y="89"/>
                  </a:cubicBezTo>
                  <a:cubicBezTo>
                    <a:pt x="99" y="88"/>
                    <a:pt x="100" y="88"/>
                    <a:pt x="102" y="88"/>
                  </a:cubicBezTo>
                  <a:cubicBezTo>
                    <a:pt x="103" y="88"/>
                    <a:pt x="103" y="86"/>
                    <a:pt x="104" y="86"/>
                  </a:cubicBezTo>
                  <a:cubicBezTo>
                    <a:pt x="104" y="85"/>
                    <a:pt x="107" y="86"/>
                    <a:pt x="107" y="86"/>
                  </a:cubicBezTo>
                  <a:cubicBezTo>
                    <a:pt x="109" y="87"/>
                    <a:pt x="109" y="88"/>
                    <a:pt x="110" y="88"/>
                  </a:cubicBezTo>
                  <a:cubicBezTo>
                    <a:pt x="112" y="89"/>
                    <a:pt x="114" y="89"/>
                    <a:pt x="115" y="89"/>
                  </a:cubicBezTo>
                  <a:cubicBezTo>
                    <a:pt x="118" y="90"/>
                    <a:pt x="118" y="91"/>
                    <a:pt x="118" y="88"/>
                  </a:cubicBezTo>
                  <a:cubicBezTo>
                    <a:pt x="118" y="87"/>
                    <a:pt x="119" y="86"/>
                    <a:pt x="119" y="85"/>
                  </a:cubicBezTo>
                  <a:cubicBezTo>
                    <a:pt x="119" y="84"/>
                    <a:pt x="118" y="84"/>
                    <a:pt x="120" y="83"/>
                  </a:cubicBezTo>
                  <a:cubicBezTo>
                    <a:pt x="121" y="82"/>
                    <a:pt x="121" y="83"/>
                    <a:pt x="122" y="81"/>
                  </a:cubicBezTo>
                  <a:cubicBezTo>
                    <a:pt x="122" y="80"/>
                    <a:pt x="123" y="78"/>
                    <a:pt x="122" y="78"/>
                  </a:cubicBezTo>
                  <a:cubicBezTo>
                    <a:pt x="123" y="78"/>
                    <a:pt x="131" y="76"/>
                    <a:pt x="129" y="75"/>
                  </a:cubicBezTo>
                  <a:cubicBezTo>
                    <a:pt x="128" y="74"/>
                    <a:pt x="127" y="74"/>
                    <a:pt x="126" y="74"/>
                  </a:cubicBezTo>
                  <a:cubicBezTo>
                    <a:pt x="125" y="73"/>
                    <a:pt x="126" y="72"/>
                    <a:pt x="126" y="71"/>
                  </a:cubicBezTo>
                  <a:cubicBezTo>
                    <a:pt x="125" y="69"/>
                    <a:pt x="123" y="70"/>
                    <a:pt x="124" y="68"/>
                  </a:cubicBezTo>
                  <a:cubicBezTo>
                    <a:pt x="125" y="66"/>
                    <a:pt x="123" y="66"/>
                    <a:pt x="122" y="65"/>
                  </a:cubicBezTo>
                  <a:cubicBezTo>
                    <a:pt x="118" y="62"/>
                    <a:pt x="117" y="60"/>
                    <a:pt x="119" y="56"/>
                  </a:cubicBezTo>
                  <a:cubicBezTo>
                    <a:pt x="120" y="54"/>
                    <a:pt x="119" y="51"/>
                    <a:pt x="118" y="49"/>
                  </a:cubicBezTo>
                  <a:cubicBezTo>
                    <a:pt x="117" y="46"/>
                    <a:pt x="116" y="44"/>
                    <a:pt x="116" y="43"/>
                  </a:cubicBezTo>
                  <a:cubicBezTo>
                    <a:pt x="114" y="38"/>
                    <a:pt x="114" y="35"/>
                    <a:pt x="118" y="31"/>
                  </a:cubicBezTo>
                  <a:cubicBezTo>
                    <a:pt x="122" y="29"/>
                    <a:pt x="124" y="26"/>
                    <a:pt x="124" y="21"/>
                  </a:cubicBezTo>
                  <a:cubicBezTo>
                    <a:pt x="125" y="15"/>
                    <a:pt x="127" y="16"/>
                    <a:pt x="131" y="15"/>
                  </a:cubicBezTo>
                  <a:cubicBezTo>
                    <a:pt x="130" y="15"/>
                    <a:pt x="129" y="15"/>
                    <a:pt x="128" y="14"/>
                  </a:cubicBezTo>
                  <a:cubicBezTo>
                    <a:pt x="129" y="14"/>
                    <a:pt x="135" y="14"/>
                    <a:pt x="132" y="11"/>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173">
              <a:extLst>
                <a:ext uri="{FF2B5EF4-FFF2-40B4-BE49-F238E27FC236}">
                  <a16:creationId xmlns:a16="http://schemas.microsoft.com/office/drawing/2014/main" id="{0E6C934A-92A9-0401-582D-C56146403F10}"/>
                </a:ext>
              </a:extLst>
            </p:cNvPr>
            <p:cNvSpPr>
              <a:spLocks/>
            </p:cNvSpPr>
            <p:nvPr/>
          </p:nvSpPr>
          <p:spPr bwMode="auto">
            <a:xfrm>
              <a:off x="3389417" y="3565052"/>
              <a:ext cx="578498" cy="290822"/>
            </a:xfrm>
            <a:custGeom>
              <a:avLst/>
              <a:gdLst>
                <a:gd name="T0" fmla="*/ 203 w 207"/>
                <a:gd name="T1" fmla="*/ 65 h 103"/>
                <a:gd name="T2" fmla="*/ 196 w 207"/>
                <a:gd name="T3" fmla="*/ 57 h 103"/>
                <a:gd name="T4" fmla="*/ 189 w 207"/>
                <a:gd name="T5" fmla="*/ 53 h 103"/>
                <a:gd name="T6" fmla="*/ 191 w 207"/>
                <a:gd name="T7" fmla="*/ 44 h 103"/>
                <a:gd name="T8" fmla="*/ 192 w 207"/>
                <a:gd name="T9" fmla="*/ 35 h 103"/>
                <a:gd name="T10" fmla="*/ 183 w 207"/>
                <a:gd name="T11" fmla="*/ 28 h 103"/>
                <a:gd name="T12" fmla="*/ 177 w 207"/>
                <a:gd name="T13" fmla="*/ 24 h 103"/>
                <a:gd name="T14" fmla="*/ 162 w 207"/>
                <a:gd name="T15" fmla="*/ 21 h 103"/>
                <a:gd name="T16" fmla="*/ 149 w 207"/>
                <a:gd name="T17" fmla="*/ 22 h 103"/>
                <a:gd name="T18" fmla="*/ 138 w 207"/>
                <a:gd name="T19" fmla="*/ 12 h 103"/>
                <a:gd name="T20" fmla="*/ 129 w 207"/>
                <a:gd name="T21" fmla="*/ 7 h 103"/>
                <a:gd name="T22" fmla="*/ 122 w 207"/>
                <a:gd name="T23" fmla="*/ 5 h 103"/>
                <a:gd name="T24" fmla="*/ 116 w 207"/>
                <a:gd name="T25" fmla="*/ 1 h 103"/>
                <a:gd name="T26" fmla="*/ 112 w 207"/>
                <a:gd name="T27" fmla="*/ 1 h 103"/>
                <a:gd name="T28" fmla="*/ 104 w 207"/>
                <a:gd name="T29" fmla="*/ 5 h 103"/>
                <a:gd name="T30" fmla="*/ 95 w 207"/>
                <a:gd name="T31" fmla="*/ 7 h 103"/>
                <a:gd name="T32" fmla="*/ 90 w 207"/>
                <a:gd name="T33" fmla="*/ 10 h 103"/>
                <a:gd name="T34" fmla="*/ 92 w 207"/>
                <a:gd name="T35" fmla="*/ 22 h 103"/>
                <a:gd name="T36" fmla="*/ 90 w 207"/>
                <a:gd name="T37" fmla="*/ 41 h 103"/>
                <a:gd name="T38" fmla="*/ 77 w 207"/>
                <a:gd name="T39" fmla="*/ 48 h 103"/>
                <a:gd name="T40" fmla="*/ 63 w 207"/>
                <a:gd name="T41" fmla="*/ 42 h 103"/>
                <a:gd name="T42" fmla="*/ 49 w 207"/>
                <a:gd name="T43" fmla="*/ 25 h 103"/>
                <a:gd name="T44" fmla="*/ 42 w 207"/>
                <a:gd name="T45" fmla="*/ 15 h 103"/>
                <a:gd name="T46" fmla="*/ 28 w 207"/>
                <a:gd name="T47" fmla="*/ 20 h 103"/>
                <a:gd name="T48" fmla="*/ 11 w 207"/>
                <a:gd name="T49" fmla="*/ 33 h 103"/>
                <a:gd name="T50" fmla="*/ 1 w 207"/>
                <a:gd name="T51" fmla="*/ 56 h 103"/>
                <a:gd name="T52" fmla="*/ 2 w 207"/>
                <a:gd name="T53" fmla="*/ 69 h 103"/>
                <a:gd name="T54" fmla="*/ 1 w 207"/>
                <a:gd name="T55" fmla="*/ 67 h 103"/>
                <a:gd name="T56" fmla="*/ 0 w 207"/>
                <a:gd name="T57" fmla="*/ 79 h 103"/>
                <a:gd name="T58" fmla="*/ 7 w 207"/>
                <a:gd name="T59" fmla="*/ 85 h 103"/>
                <a:gd name="T60" fmla="*/ 15 w 207"/>
                <a:gd name="T61" fmla="*/ 77 h 103"/>
                <a:gd name="T62" fmla="*/ 30 w 207"/>
                <a:gd name="T63" fmla="*/ 72 h 103"/>
                <a:gd name="T64" fmla="*/ 47 w 207"/>
                <a:gd name="T65" fmla="*/ 72 h 103"/>
                <a:gd name="T66" fmla="*/ 63 w 207"/>
                <a:gd name="T67" fmla="*/ 74 h 103"/>
                <a:gd name="T68" fmla="*/ 77 w 207"/>
                <a:gd name="T69" fmla="*/ 73 h 103"/>
                <a:gd name="T70" fmla="*/ 91 w 207"/>
                <a:gd name="T71" fmla="*/ 78 h 103"/>
                <a:gd name="T72" fmla="*/ 103 w 207"/>
                <a:gd name="T73" fmla="*/ 75 h 103"/>
                <a:gd name="T74" fmla="*/ 113 w 207"/>
                <a:gd name="T75" fmla="*/ 71 h 103"/>
                <a:gd name="T76" fmla="*/ 135 w 207"/>
                <a:gd name="T77" fmla="*/ 84 h 103"/>
                <a:gd name="T78" fmla="*/ 150 w 207"/>
                <a:gd name="T79" fmla="*/ 93 h 103"/>
                <a:gd name="T80" fmla="*/ 161 w 207"/>
                <a:gd name="T81" fmla="*/ 102 h 103"/>
                <a:gd name="T82" fmla="*/ 172 w 207"/>
                <a:gd name="T83" fmla="*/ 97 h 103"/>
                <a:gd name="T84" fmla="*/ 182 w 207"/>
                <a:gd name="T85" fmla="*/ 97 h 103"/>
                <a:gd name="T86" fmla="*/ 191 w 207"/>
                <a:gd name="T87" fmla="*/ 97 h 103"/>
                <a:gd name="T88" fmla="*/ 196 w 207"/>
                <a:gd name="T89" fmla="*/ 89 h 103"/>
                <a:gd name="T90" fmla="*/ 207 w 207"/>
                <a:gd name="T91"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103">
                  <a:moveTo>
                    <a:pt x="204" y="69"/>
                  </a:moveTo>
                  <a:cubicBezTo>
                    <a:pt x="203" y="68"/>
                    <a:pt x="204" y="66"/>
                    <a:pt x="203" y="65"/>
                  </a:cubicBezTo>
                  <a:cubicBezTo>
                    <a:pt x="201" y="64"/>
                    <a:pt x="200" y="63"/>
                    <a:pt x="200" y="61"/>
                  </a:cubicBezTo>
                  <a:cubicBezTo>
                    <a:pt x="199" y="59"/>
                    <a:pt x="197" y="59"/>
                    <a:pt x="196" y="57"/>
                  </a:cubicBezTo>
                  <a:cubicBezTo>
                    <a:pt x="195" y="56"/>
                    <a:pt x="197" y="55"/>
                    <a:pt x="196" y="54"/>
                  </a:cubicBezTo>
                  <a:cubicBezTo>
                    <a:pt x="194" y="51"/>
                    <a:pt x="191" y="52"/>
                    <a:pt x="189" y="53"/>
                  </a:cubicBezTo>
                  <a:cubicBezTo>
                    <a:pt x="187" y="53"/>
                    <a:pt x="189" y="49"/>
                    <a:pt x="190" y="49"/>
                  </a:cubicBezTo>
                  <a:cubicBezTo>
                    <a:pt x="190" y="48"/>
                    <a:pt x="191" y="46"/>
                    <a:pt x="191" y="44"/>
                  </a:cubicBezTo>
                  <a:cubicBezTo>
                    <a:pt x="191" y="43"/>
                    <a:pt x="187" y="41"/>
                    <a:pt x="190" y="41"/>
                  </a:cubicBezTo>
                  <a:cubicBezTo>
                    <a:pt x="192" y="40"/>
                    <a:pt x="193" y="37"/>
                    <a:pt x="192" y="35"/>
                  </a:cubicBezTo>
                  <a:cubicBezTo>
                    <a:pt x="192" y="33"/>
                    <a:pt x="189" y="32"/>
                    <a:pt x="188" y="31"/>
                  </a:cubicBezTo>
                  <a:cubicBezTo>
                    <a:pt x="186" y="30"/>
                    <a:pt x="184" y="29"/>
                    <a:pt x="183" y="28"/>
                  </a:cubicBezTo>
                  <a:cubicBezTo>
                    <a:pt x="181" y="27"/>
                    <a:pt x="184" y="24"/>
                    <a:pt x="181" y="24"/>
                  </a:cubicBezTo>
                  <a:cubicBezTo>
                    <a:pt x="179" y="24"/>
                    <a:pt x="178" y="24"/>
                    <a:pt x="177" y="24"/>
                  </a:cubicBezTo>
                  <a:cubicBezTo>
                    <a:pt x="173" y="23"/>
                    <a:pt x="170" y="23"/>
                    <a:pt x="167" y="21"/>
                  </a:cubicBezTo>
                  <a:cubicBezTo>
                    <a:pt x="164" y="19"/>
                    <a:pt x="163" y="19"/>
                    <a:pt x="162" y="21"/>
                  </a:cubicBezTo>
                  <a:cubicBezTo>
                    <a:pt x="161" y="23"/>
                    <a:pt x="158" y="22"/>
                    <a:pt x="156" y="23"/>
                  </a:cubicBezTo>
                  <a:cubicBezTo>
                    <a:pt x="154" y="25"/>
                    <a:pt x="151" y="23"/>
                    <a:pt x="149" y="22"/>
                  </a:cubicBezTo>
                  <a:cubicBezTo>
                    <a:pt x="146" y="21"/>
                    <a:pt x="145" y="18"/>
                    <a:pt x="143" y="16"/>
                  </a:cubicBezTo>
                  <a:cubicBezTo>
                    <a:pt x="142" y="15"/>
                    <a:pt x="139" y="14"/>
                    <a:pt x="138" y="12"/>
                  </a:cubicBezTo>
                  <a:cubicBezTo>
                    <a:pt x="138" y="10"/>
                    <a:pt x="137" y="10"/>
                    <a:pt x="135" y="10"/>
                  </a:cubicBezTo>
                  <a:cubicBezTo>
                    <a:pt x="132" y="10"/>
                    <a:pt x="131" y="7"/>
                    <a:pt x="129" y="7"/>
                  </a:cubicBezTo>
                  <a:cubicBezTo>
                    <a:pt x="128" y="7"/>
                    <a:pt x="126" y="8"/>
                    <a:pt x="125" y="6"/>
                  </a:cubicBezTo>
                  <a:cubicBezTo>
                    <a:pt x="125" y="5"/>
                    <a:pt x="123" y="5"/>
                    <a:pt x="122" y="5"/>
                  </a:cubicBezTo>
                  <a:cubicBezTo>
                    <a:pt x="121" y="4"/>
                    <a:pt x="121" y="3"/>
                    <a:pt x="120" y="3"/>
                  </a:cubicBezTo>
                  <a:cubicBezTo>
                    <a:pt x="119" y="2"/>
                    <a:pt x="117" y="1"/>
                    <a:pt x="116" y="1"/>
                  </a:cubicBezTo>
                  <a:cubicBezTo>
                    <a:pt x="116" y="1"/>
                    <a:pt x="117" y="4"/>
                    <a:pt x="117" y="4"/>
                  </a:cubicBezTo>
                  <a:cubicBezTo>
                    <a:pt x="115" y="6"/>
                    <a:pt x="114" y="2"/>
                    <a:pt x="112" y="1"/>
                  </a:cubicBezTo>
                  <a:cubicBezTo>
                    <a:pt x="110" y="0"/>
                    <a:pt x="109" y="3"/>
                    <a:pt x="107" y="4"/>
                  </a:cubicBezTo>
                  <a:cubicBezTo>
                    <a:pt x="106" y="4"/>
                    <a:pt x="105" y="5"/>
                    <a:pt x="104" y="5"/>
                  </a:cubicBezTo>
                  <a:cubicBezTo>
                    <a:pt x="103" y="5"/>
                    <a:pt x="102" y="3"/>
                    <a:pt x="101" y="5"/>
                  </a:cubicBezTo>
                  <a:cubicBezTo>
                    <a:pt x="100" y="7"/>
                    <a:pt x="96" y="6"/>
                    <a:pt x="95" y="7"/>
                  </a:cubicBezTo>
                  <a:cubicBezTo>
                    <a:pt x="94" y="8"/>
                    <a:pt x="93" y="9"/>
                    <a:pt x="92" y="10"/>
                  </a:cubicBezTo>
                  <a:cubicBezTo>
                    <a:pt x="91" y="10"/>
                    <a:pt x="90" y="9"/>
                    <a:pt x="90" y="10"/>
                  </a:cubicBezTo>
                  <a:cubicBezTo>
                    <a:pt x="88" y="11"/>
                    <a:pt x="90" y="14"/>
                    <a:pt x="90" y="16"/>
                  </a:cubicBezTo>
                  <a:cubicBezTo>
                    <a:pt x="92" y="18"/>
                    <a:pt x="92" y="20"/>
                    <a:pt x="92" y="22"/>
                  </a:cubicBezTo>
                  <a:cubicBezTo>
                    <a:pt x="93" y="25"/>
                    <a:pt x="93" y="27"/>
                    <a:pt x="94" y="29"/>
                  </a:cubicBezTo>
                  <a:cubicBezTo>
                    <a:pt x="96" y="35"/>
                    <a:pt x="94" y="37"/>
                    <a:pt x="90" y="41"/>
                  </a:cubicBezTo>
                  <a:cubicBezTo>
                    <a:pt x="88" y="42"/>
                    <a:pt x="86" y="43"/>
                    <a:pt x="84" y="45"/>
                  </a:cubicBezTo>
                  <a:cubicBezTo>
                    <a:pt x="83" y="47"/>
                    <a:pt x="79" y="47"/>
                    <a:pt x="77" y="48"/>
                  </a:cubicBezTo>
                  <a:cubicBezTo>
                    <a:pt x="74" y="48"/>
                    <a:pt x="72" y="46"/>
                    <a:pt x="69" y="45"/>
                  </a:cubicBezTo>
                  <a:cubicBezTo>
                    <a:pt x="67" y="45"/>
                    <a:pt x="64" y="44"/>
                    <a:pt x="63" y="42"/>
                  </a:cubicBezTo>
                  <a:cubicBezTo>
                    <a:pt x="60" y="38"/>
                    <a:pt x="61" y="32"/>
                    <a:pt x="56" y="30"/>
                  </a:cubicBezTo>
                  <a:cubicBezTo>
                    <a:pt x="53" y="29"/>
                    <a:pt x="52" y="27"/>
                    <a:pt x="49" y="25"/>
                  </a:cubicBezTo>
                  <a:cubicBezTo>
                    <a:pt x="47" y="23"/>
                    <a:pt x="44" y="23"/>
                    <a:pt x="43" y="20"/>
                  </a:cubicBezTo>
                  <a:cubicBezTo>
                    <a:pt x="42" y="18"/>
                    <a:pt x="42" y="16"/>
                    <a:pt x="42" y="15"/>
                  </a:cubicBezTo>
                  <a:cubicBezTo>
                    <a:pt x="41" y="14"/>
                    <a:pt x="37" y="16"/>
                    <a:pt x="37" y="16"/>
                  </a:cubicBezTo>
                  <a:cubicBezTo>
                    <a:pt x="34" y="17"/>
                    <a:pt x="31" y="19"/>
                    <a:pt x="28" y="20"/>
                  </a:cubicBezTo>
                  <a:cubicBezTo>
                    <a:pt x="25" y="21"/>
                    <a:pt x="23" y="21"/>
                    <a:pt x="20" y="22"/>
                  </a:cubicBezTo>
                  <a:cubicBezTo>
                    <a:pt x="16" y="23"/>
                    <a:pt x="13" y="29"/>
                    <a:pt x="11" y="33"/>
                  </a:cubicBezTo>
                  <a:cubicBezTo>
                    <a:pt x="8" y="38"/>
                    <a:pt x="12" y="44"/>
                    <a:pt x="8" y="48"/>
                  </a:cubicBezTo>
                  <a:cubicBezTo>
                    <a:pt x="5" y="51"/>
                    <a:pt x="1" y="51"/>
                    <a:pt x="1" y="56"/>
                  </a:cubicBezTo>
                  <a:cubicBezTo>
                    <a:pt x="2" y="59"/>
                    <a:pt x="0" y="62"/>
                    <a:pt x="0" y="65"/>
                  </a:cubicBezTo>
                  <a:cubicBezTo>
                    <a:pt x="0" y="67"/>
                    <a:pt x="2" y="68"/>
                    <a:pt x="2" y="69"/>
                  </a:cubicBezTo>
                  <a:cubicBezTo>
                    <a:pt x="3" y="71"/>
                    <a:pt x="2" y="74"/>
                    <a:pt x="2" y="71"/>
                  </a:cubicBezTo>
                  <a:cubicBezTo>
                    <a:pt x="1" y="70"/>
                    <a:pt x="2" y="67"/>
                    <a:pt x="1" y="67"/>
                  </a:cubicBezTo>
                  <a:cubicBezTo>
                    <a:pt x="0" y="67"/>
                    <a:pt x="1" y="70"/>
                    <a:pt x="1" y="70"/>
                  </a:cubicBezTo>
                  <a:cubicBezTo>
                    <a:pt x="0" y="73"/>
                    <a:pt x="0" y="76"/>
                    <a:pt x="0" y="79"/>
                  </a:cubicBezTo>
                  <a:cubicBezTo>
                    <a:pt x="1" y="81"/>
                    <a:pt x="2" y="83"/>
                    <a:pt x="3" y="84"/>
                  </a:cubicBezTo>
                  <a:cubicBezTo>
                    <a:pt x="3" y="86"/>
                    <a:pt x="6" y="85"/>
                    <a:pt x="7" y="85"/>
                  </a:cubicBezTo>
                  <a:cubicBezTo>
                    <a:pt x="8" y="85"/>
                    <a:pt x="8" y="82"/>
                    <a:pt x="9" y="80"/>
                  </a:cubicBezTo>
                  <a:cubicBezTo>
                    <a:pt x="11" y="79"/>
                    <a:pt x="13" y="77"/>
                    <a:pt x="15" y="77"/>
                  </a:cubicBezTo>
                  <a:cubicBezTo>
                    <a:pt x="18" y="76"/>
                    <a:pt x="20" y="75"/>
                    <a:pt x="22" y="75"/>
                  </a:cubicBezTo>
                  <a:cubicBezTo>
                    <a:pt x="25" y="74"/>
                    <a:pt x="27" y="73"/>
                    <a:pt x="30" y="72"/>
                  </a:cubicBezTo>
                  <a:cubicBezTo>
                    <a:pt x="32" y="70"/>
                    <a:pt x="34" y="72"/>
                    <a:pt x="37" y="72"/>
                  </a:cubicBezTo>
                  <a:cubicBezTo>
                    <a:pt x="41" y="72"/>
                    <a:pt x="44" y="71"/>
                    <a:pt x="47" y="72"/>
                  </a:cubicBezTo>
                  <a:cubicBezTo>
                    <a:pt x="49" y="73"/>
                    <a:pt x="51" y="74"/>
                    <a:pt x="53" y="72"/>
                  </a:cubicBezTo>
                  <a:cubicBezTo>
                    <a:pt x="58" y="68"/>
                    <a:pt x="57" y="79"/>
                    <a:pt x="63" y="74"/>
                  </a:cubicBezTo>
                  <a:cubicBezTo>
                    <a:pt x="66" y="72"/>
                    <a:pt x="67" y="73"/>
                    <a:pt x="70" y="74"/>
                  </a:cubicBezTo>
                  <a:cubicBezTo>
                    <a:pt x="75" y="76"/>
                    <a:pt x="74" y="73"/>
                    <a:pt x="77" y="73"/>
                  </a:cubicBezTo>
                  <a:cubicBezTo>
                    <a:pt x="80" y="75"/>
                    <a:pt x="81" y="74"/>
                    <a:pt x="83" y="74"/>
                  </a:cubicBezTo>
                  <a:cubicBezTo>
                    <a:pt x="86" y="75"/>
                    <a:pt x="88" y="77"/>
                    <a:pt x="91" y="78"/>
                  </a:cubicBezTo>
                  <a:cubicBezTo>
                    <a:pt x="94" y="78"/>
                    <a:pt x="95" y="75"/>
                    <a:pt x="98" y="77"/>
                  </a:cubicBezTo>
                  <a:cubicBezTo>
                    <a:pt x="100" y="78"/>
                    <a:pt x="102" y="77"/>
                    <a:pt x="103" y="75"/>
                  </a:cubicBezTo>
                  <a:cubicBezTo>
                    <a:pt x="104" y="74"/>
                    <a:pt x="107" y="72"/>
                    <a:pt x="109" y="71"/>
                  </a:cubicBezTo>
                  <a:cubicBezTo>
                    <a:pt x="112" y="69"/>
                    <a:pt x="112" y="70"/>
                    <a:pt x="113" y="71"/>
                  </a:cubicBezTo>
                  <a:cubicBezTo>
                    <a:pt x="115" y="76"/>
                    <a:pt x="116" y="81"/>
                    <a:pt x="122" y="81"/>
                  </a:cubicBezTo>
                  <a:cubicBezTo>
                    <a:pt x="125" y="82"/>
                    <a:pt x="135" y="81"/>
                    <a:pt x="135" y="84"/>
                  </a:cubicBezTo>
                  <a:cubicBezTo>
                    <a:pt x="137" y="86"/>
                    <a:pt x="141" y="88"/>
                    <a:pt x="143" y="89"/>
                  </a:cubicBezTo>
                  <a:cubicBezTo>
                    <a:pt x="145" y="90"/>
                    <a:pt x="147" y="92"/>
                    <a:pt x="150" y="93"/>
                  </a:cubicBezTo>
                  <a:cubicBezTo>
                    <a:pt x="152" y="95"/>
                    <a:pt x="153" y="98"/>
                    <a:pt x="154" y="99"/>
                  </a:cubicBezTo>
                  <a:cubicBezTo>
                    <a:pt x="156" y="101"/>
                    <a:pt x="159" y="102"/>
                    <a:pt x="161" y="102"/>
                  </a:cubicBezTo>
                  <a:cubicBezTo>
                    <a:pt x="164" y="103"/>
                    <a:pt x="165" y="101"/>
                    <a:pt x="168" y="102"/>
                  </a:cubicBezTo>
                  <a:cubicBezTo>
                    <a:pt x="170" y="102"/>
                    <a:pt x="171" y="99"/>
                    <a:pt x="172" y="97"/>
                  </a:cubicBezTo>
                  <a:cubicBezTo>
                    <a:pt x="174" y="95"/>
                    <a:pt x="175" y="95"/>
                    <a:pt x="177" y="95"/>
                  </a:cubicBezTo>
                  <a:cubicBezTo>
                    <a:pt x="179" y="95"/>
                    <a:pt x="180" y="97"/>
                    <a:pt x="182" y="97"/>
                  </a:cubicBezTo>
                  <a:cubicBezTo>
                    <a:pt x="184" y="98"/>
                    <a:pt x="185" y="96"/>
                    <a:pt x="187" y="97"/>
                  </a:cubicBezTo>
                  <a:cubicBezTo>
                    <a:pt x="188" y="97"/>
                    <a:pt x="190" y="98"/>
                    <a:pt x="191" y="97"/>
                  </a:cubicBezTo>
                  <a:cubicBezTo>
                    <a:pt x="193" y="96"/>
                    <a:pt x="192" y="94"/>
                    <a:pt x="192" y="92"/>
                  </a:cubicBezTo>
                  <a:cubicBezTo>
                    <a:pt x="193" y="91"/>
                    <a:pt x="196" y="90"/>
                    <a:pt x="196" y="89"/>
                  </a:cubicBezTo>
                  <a:cubicBezTo>
                    <a:pt x="196" y="86"/>
                    <a:pt x="204" y="81"/>
                    <a:pt x="206" y="82"/>
                  </a:cubicBezTo>
                  <a:cubicBezTo>
                    <a:pt x="207" y="83"/>
                    <a:pt x="207" y="78"/>
                    <a:pt x="207" y="77"/>
                  </a:cubicBezTo>
                  <a:cubicBezTo>
                    <a:pt x="207" y="74"/>
                    <a:pt x="206" y="71"/>
                    <a:pt x="204" y="69"/>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174">
              <a:extLst>
                <a:ext uri="{FF2B5EF4-FFF2-40B4-BE49-F238E27FC236}">
                  <a16:creationId xmlns:a16="http://schemas.microsoft.com/office/drawing/2014/main" id="{FC73738B-8C8E-48FB-5D3D-2A1C6CE91B41}"/>
                </a:ext>
              </a:extLst>
            </p:cNvPr>
            <p:cNvSpPr>
              <a:spLocks/>
            </p:cNvSpPr>
            <p:nvPr/>
          </p:nvSpPr>
          <p:spPr bwMode="auto">
            <a:xfrm>
              <a:off x="3397681" y="3762906"/>
              <a:ext cx="472243" cy="309892"/>
            </a:xfrm>
            <a:custGeom>
              <a:avLst/>
              <a:gdLst>
                <a:gd name="T0" fmla="*/ 160 w 169"/>
                <a:gd name="T1" fmla="*/ 48 h 110"/>
                <a:gd name="T2" fmla="*/ 158 w 169"/>
                <a:gd name="T3" fmla="*/ 32 h 110"/>
                <a:gd name="T4" fmla="*/ 147 w 169"/>
                <a:gd name="T5" fmla="*/ 24 h 110"/>
                <a:gd name="T6" fmla="*/ 134 w 169"/>
                <a:gd name="T7" fmla="*/ 15 h 110"/>
                <a:gd name="T8" fmla="*/ 125 w 169"/>
                <a:gd name="T9" fmla="*/ 12 h 110"/>
                <a:gd name="T10" fmla="*/ 108 w 169"/>
                <a:gd name="T11" fmla="*/ 0 h 110"/>
                <a:gd name="T12" fmla="*/ 98 w 169"/>
                <a:gd name="T13" fmla="*/ 7 h 110"/>
                <a:gd name="T14" fmla="*/ 84 w 169"/>
                <a:gd name="T15" fmla="*/ 6 h 110"/>
                <a:gd name="T16" fmla="*/ 73 w 169"/>
                <a:gd name="T17" fmla="*/ 3 h 110"/>
                <a:gd name="T18" fmla="*/ 63 w 169"/>
                <a:gd name="T19" fmla="*/ 3 h 110"/>
                <a:gd name="T20" fmla="*/ 52 w 169"/>
                <a:gd name="T21" fmla="*/ 1 h 110"/>
                <a:gd name="T22" fmla="*/ 39 w 169"/>
                <a:gd name="T23" fmla="*/ 1 h 110"/>
                <a:gd name="T24" fmla="*/ 19 w 169"/>
                <a:gd name="T25" fmla="*/ 4 h 110"/>
                <a:gd name="T26" fmla="*/ 5 w 169"/>
                <a:gd name="T27" fmla="*/ 12 h 110"/>
                <a:gd name="T28" fmla="*/ 1 w 169"/>
                <a:gd name="T29" fmla="*/ 26 h 110"/>
                <a:gd name="T30" fmla="*/ 7 w 169"/>
                <a:gd name="T31" fmla="*/ 43 h 110"/>
                <a:gd name="T32" fmla="*/ 8 w 169"/>
                <a:gd name="T33" fmla="*/ 51 h 110"/>
                <a:gd name="T34" fmla="*/ 22 w 169"/>
                <a:gd name="T35" fmla="*/ 55 h 110"/>
                <a:gd name="T36" fmla="*/ 31 w 169"/>
                <a:gd name="T37" fmla="*/ 59 h 110"/>
                <a:gd name="T38" fmla="*/ 38 w 169"/>
                <a:gd name="T39" fmla="*/ 59 h 110"/>
                <a:gd name="T40" fmla="*/ 49 w 169"/>
                <a:gd name="T41" fmla="*/ 62 h 110"/>
                <a:gd name="T42" fmla="*/ 55 w 169"/>
                <a:gd name="T43" fmla="*/ 70 h 110"/>
                <a:gd name="T44" fmla="*/ 55 w 169"/>
                <a:gd name="T45" fmla="*/ 89 h 110"/>
                <a:gd name="T46" fmla="*/ 64 w 169"/>
                <a:gd name="T47" fmla="*/ 91 h 110"/>
                <a:gd name="T48" fmla="*/ 77 w 169"/>
                <a:gd name="T49" fmla="*/ 101 h 110"/>
                <a:gd name="T50" fmla="*/ 86 w 169"/>
                <a:gd name="T51" fmla="*/ 107 h 110"/>
                <a:gd name="T52" fmla="*/ 100 w 169"/>
                <a:gd name="T53" fmla="*/ 108 h 110"/>
                <a:gd name="T54" fmla="*/ 115 w 169"/>
                <a:gd name="T55" fmla="*/ 105 h 110"/>
                <a:gd name="T56" fmla="*/ 125 w 169"/>
                <a:gd name="T57" fmla="*/ 97 h 110"/>
                <a:gd name="T58" fmla="*/ 134 w 169"/>
                <a:gd name="T59" fmla="*/ 91 h 110"/>
                <a:gd name="T60" fmla="*/ 135 w 169"/>
                <a:gd name="T61" fmla="*/ 94 h 110"/>
                <a:gd name="T62" fmla="*/ 134 w 169"/>
                <a:gd name="T63" fmla="*/ 96 h 110"/>
                <a:gd name="T64" fmla="*/ 138 w 169"/>
                <a:gd name="T65" fmla="*/ 90 h 110"/>
                <a:gd name="T66" fmla="*/ 137 w 169"/>
                <a:gd name="T67" fmla="*/ 85 h 110"/>
                <a:gd name="T68" fmla="*/ 139 w 169"/>
                <a:gd name="T69" fmla="*/ 73 h 110"/>
                <a:gd name="T70" fmla="*/ 140 w 169"/>
                <a:gd name="T71" fmla="*/ 67 h 110"/>
                <a:gd name="T72" fmla="*/ 151 w 169"/>
                <a:gd name="T73" fmla="*/ 61 h 110"/>
                <a:gd name="T74" fmla="*/ 159 w 169"/>
                <a:gd name="T75" fmla="*/ 55 h 110"/>
                <a:gd name="T76" fmla="*/ 165 w 169"/>
                <a:gd name="T77" fmla="*/ 5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9" h="110">
                  <a:moveTo>
                    <a:pt x="166" y="48"/>
                  </a:moveTo>
                  <a:cubicBezTo>
                    <a:pt x="164" y="47"/>
                    <a:pt x="162" y="48"/>
                    <a:pt x="160" y="48"/>
                  </a:cubicBezTo>
                  <a:cubicBezTo>
                    <a:pt x="156" y="47"/>
                    <a:pt x="160" y="42"/>
                    <a:pt x="160" y="40"/>
                  </a:cubicBezTo>
                  <a:cubicBezTo>
                    <a:pt x="159" y="36"/>
                    <a:pt x="164" y="33"/>
                    <a:pt x="158" y="32"/>
                  </a:cubicBezTo>
                  <a:cubicBezTo>
                    <a:pt x="156" y="32"/>
                    <a:pt x="153" y="31"/>
                    <a:pt x="151" y="29"/>
                  </a:cubicBezTo>
                  <a:cubicBezTo>
                    <a:pt x="150" y="27"/>
                    <a:pt x="149" y="25"/>
                    <a:pt x="147" y="24"/>
                  </a:cubicBezTo>
                  <a:cubicBezTo>
                    <a:pt x="145" y="22"/>
                    <a:pt x="143" y="21"/>
                    <a:pt x="141" y="19"/>
                  </a:cubicBezTo>
                  <a:cubicBezTo>
                    <a:pt x="139" y="18"/>
                    <a:pt x="136" y="17"/>
                    <a:pt x="134" y="15"/>
                  </a:cubicBezTo>
                  <a:cubicBezTo>
                    <a:pt x="133" y="15"/>
                    <a:pt x="133" y="13"/>
                    <a:pt x="131" y="13"/>
                  </a:cubicBezTo>
                  <a:cubicBezTo>
                    <a:pt x="129" y="12"/>
                    <a:pt x="127" y="12"/>
                    <a:pt x="125" y="12"/>
                  </a:cubicBezTo>
                  <a:cubicBezTo>
                    <a:pt x="122" y="11"/>
                    <a:pt x="116" y="12"/>
                    <a:pt x="114" y="8"/>
                  </a:cubicBezTo>
                  <a:cubicBezTo>
                    <a:pt x="112" y="6"/>
                    <a:pt x="111" y="0"/>
                    <a:pt x="108" y="0"/>
                  </a:cubicBezTo>
                  <a:cubicBezTo>
                    <a:pt x="107" y="2"/>
                    <a:pt x="104" y="2"/>
                    <a:pt x="102" y="3"/>
                  </a:cubicBezTo>
                  <a:cubicBezTo>
                    <a:pt x="101" y="4"/>
                    <a:pt x="100" y="7"/>
                    <a:pt x="98" y="7"/>
                  </a:cubicBezTo>
                  <a:cubicBezTo>
                    <a:pt x="95" y="8"/>
                    <a:pt x="93" y="5"/>
                    <a:pt x="91" y="6"/>
                  </a:cubicBezTo>
                  <a:cubicBezTo>
                    <a:pt x="88" y="8"/>
                    <a:pt x="86" y="7"/>
                    <a:pt x="84" y="6"/>
                  </a:cubicBezTo>
                  <a:cubicBezTo>
                    <a:pt x="81" y="4"/>
                    <a:pt x="79" y="5"/>
                    <a:pt x="76" y="4"/>
                  </a:cubicBezTo>
                  <a:cubicBezTo>
                    <a:pt x="75" y="4"/>
                    <a:pt x="74" y="3"/>
                    <a:pt x="73" y="3"/>
                  </a:cubicBezTo>
                  <a:cubicBezTo>
                    <a:pt x="72" y="3"/>
                    <a:pt x="71" y="5"/>
                    <a:pt x="70" y="4"/>
                  </a:cubicBezTo>
                  <a:cubicBezTo>
                    <a:pt x="68" y="4"/>
                    <a:pt x="65" y="3"/>
                    <a:pt x="63" y="3"/>
                  </a:cubicBezTo>
                  <a:cubicBezTo>
                    <a:pt x="60" y="3"/>
                    <a:pt x="60" y="5"/>
                    <a:pt x="58" y="5"/>
                  </a:cubicBezTo>
                  <a:cubicBezTo>
                    <a:pt x="55" y="5"/>
                    <a:pt x="55" y="1"/>
                    <a:pt x="52" y="1"/>
                  </a:cubicBezTo>
                  <a:cubicBezTo>
                    <a:pt x="50" y="1"/>
                    <a:pt x="49" y="4"/>
                    <a:pt x="46" y="3"/>
                  </a:cubicBezTo>
                  <a:cubicBezTo>
                    <a:pt x="44" y="3"/>
                    <a:pt x="41" y="2"/>
                    <a:pt x="39" y="1"/>
                  </a:cubicBezTo>
                  <a:cubicBezTo>
                    <a:pt x="35" y="1"/>
                    <a:pt x="32" y="0"/>
                    <a:pt x="29" y="1"/>
                  </a:cubicBezTo>
                  <a:cubicBezTo>
                    <a:pt x="25" y="2"/>
                    <a:pt x="22" y="3"/>
                    <a:pt x="19" y="4"/>
                  </a:cubicBezTo>
                  <a:cubicBezTo>
                    <a:pt x="16" y="5"/>
                    <a:pt x="14" y="6"/>
                    <a:pt x="11" y="7"/>
                  </a:cubicBezTo>
                  <a:cubicBezTo>
                    <a:pt x="9" y="8"/>
                    <a:pt x="6" y="9"/>
                    <a:pt x="5" y="12"/>
                  </a:cubicBezTo>
                  <a:cubicBezTo>
                    <a:pt x="5" y="16"/>
                    <a:pt x="2" y="15"/>
                    <a:pt x="0" y="15"/>
                  </a:cubicBezTo>
                  <a:cubicBezTo>
                    <a:pt x="1" y="19"/>
                    <a:pt x="0" y="23"/>
                    <a:pt x="1" y="26"/>
                  </a:cubicBezTo>
                  <a:cubicBezTo>
                    <a:pt x="2" y="29"/>
                    <a:pt x="3" y="32"/>
                    <a:pt x="4" y="35"/>
                  </a:cubicBezTo>
                  <a:cubicBezTo>
                    <a:pt x="5" y="37"/>
                    <a:pt x="8" y="41"/>
                    <a:pt x="7" y="43"/>
                  </a:cubicBezTo>
                  <a:cubicBezTo>
                    <a:pt x="7" y="43"/>
                    <a:pt x="6" y="47"/>
                    <a:pt x="6" y="47"/>
                  </a:cubicBezTo>
                  <a:cubicBezTo>
                    <a:pt x="9" y="45"/>
                    <a:pt x="9" y="48"/>
                    <a:pt x="8" y="51"/>
                  </a:cubicBezTo>
                  <a:cubicBezTo>
                    <a:pt x="13" y="48"/>
                    <a:pt x="12" y="52"/>
                    <a:pt x="16" y="53"/>
                  </a:cubicBezTo>
                  <a:cubicBezTo>
                    <a:pt x="18" y="54"/>
                    <a:pt x="20" y="54"/>
                    <a:pt x="22" y="55"/>
                  </a:cubicBezTo>
                  <a:cubicBezTo>
                    <a:pt x="24" y="56"/>
                    <a:pt x="25" y="57"/>
                    <a:pt x="27" y="58"/>
                  </a:cubicBezTo>
                  <a:cubicBezTo>
                    <a:pt x="28" y="58"/>
                    <a:pt x="30" y="57"/>
                    <a:pt x="31" y="59"/>
                  </a:cubicBezTo>
                  <a:cubicBezTo>
                    <a:pt x="31" y="61"/>
                    <a:pt x="33" y="60"/>
                    <a:pt x="34" y="60"/>
                  </a:cubicBezTo>
                  <a:cubicBezTo>
                    <a:pt x="36" y="59"/>
                    <a:pt x="37" y="59"/>
                    <a:pt x="38" y="59"/>
                  </a:cubicBezTo>
                  <a:cubicBezTo>
                    <a:pt x="41" y="58"/>
                    <a:pt x="44" y="59"/>
                    <a:pt x="46" y="58"/>
                  </a:cubicBezTo>
                  <a:cubicBezTo>
                    <a:pt x="47" y="58"/>
                    <a:pt x="48" y="61"/>
                    <a:pt x="49" y="62"/>
                  </a:cubicBezTo>
                  <a:cubicBezTo>
                    <a:pt x="49" y="63"/>
                    <a:pt x="51" y="62"/>
                    <a:pt x="52" y="63"/>
                  </a:cubicBezTo>
                  <a:cubicBezTo>
                    <a:pt x="53" y="65"/>
                    <a:pt x="58" y="67"/>
                    <a:pt x="55" y="70"/>
                  </a:cubicBezTo>
                  <a:cubicBezTo>
                    <a:pt x="53" y="74"/>
                    <a:pt x="52" y="75"/>
                    <a:pt x="52" y="79"/>
                  </a:cubicBezTo>
                  <a:cubicBezTo>
                    <a:pt x="52" y="83"/>
                    <a:pt x="53" y="86"/>
                    <a:pt x="55" y="89"/>
                  </a:cubicBezTo>
                  <a:cubicBezTo>
                    <a:pt x="56" y="86"/>
                    <a:pt x="59" y="87"/>
                    <a:pt x="60" y="88"/>
                  </a:cubicBezTo>
                  <a:cubicBezTo>
                    <a:pt x="62" y="89"/>
                    <a:pt x="62" y="90"/>
                    <a:pt x="64" y="91"/>
                  </a:cubicBezTo>
                  <a:cubicBezTo>
                    <a:pt x="66" y="92"/>
                    <a:pt x="69" y="93"/>
                    <a:pt x="72" y="94"/>
                  </a:cubicBezTo>
                  <a:cubicBezTo>
                    <a:pt x="74" y="96"/>
                    <a:pt x="76" y="98"/>
                    <a:pt x="77" y="101"/>
                  </a:cubicBezTo>
                  <a:cubicBezTo>
                    <a:pt x="77" y="104"/>
                    <a:pt x="75" y="105"/>
                    <a:pt x="78" y="107"/>
                  </a:cubicBezTo>
                  <a:cubicBezTo>
                    <a:pt x="82" y="109"/>
                    <a:pt x="84" y="108"/>
                    <a:pt x="86" y="107"/>
                  </a:cubicBezTo>
                  <a:cubicBezTo>
                    <a:pt x="89" y="106"/>
                    <a:pt x="93" y="108"/>
                    <a:pt x="95" y="106"/>
                  </a:cubicBezTo>
                  <a:cubicBezTo>
                    <a:pt x="98" y="105"/>
                    <a:pt x="98" y="107"/>
                    <a:pt x="100" y="108"/>
                  </a:cubicBezTo>
                  <a:cubicBezTo>
                    <a:pt x="102" y="110"/>
                    <a:pt x="106" y="107"/>
                    <a:pt x="109" y="105"/>
                  </a:cubicBezTo>
                  <a:cubicBezTo>
                    <a:pt x="111" y="103"/>
                    <a:pt x="113" y="106"/>
                    <a:pt x="115" y="105"/>
                  </a:cubicBezTo>
                  <a:cubicBezTo>
                    <a:pt x="118" y="103"/>
                    <a:pt x="111" y="99"/>
                    <a:pt x="118" y="98"/>
                  </a:cubicBezTo>
                  <a:cubicBezTo>
                    <a:pt x="121" y="98"/>
                    <a:pt x="121" y="100"/>
                    <a:pt x="125" y="97"/>
                  </a:cubicBezTo>
                  <a:cubicBezTo>
                    <a:pt x="126" y="95"/>
                    <a:pt x="125" y="93"/>
                    <a:pt x="128" y="93"/>
                  </a:cubicBezTo>
                  <a:cubicBezTo>
                    <a:pt x="132" y="94"/>
                    <a:pt x="132" y="91"/>
                    <a:pt x="134" y="91"/>
                  </a:cubicBezTo>
                  <a:cubicBezTo>
                    <a:pt x="134" y="92"/>
                    <a:pt x="136" y="94"/>
                    <a:pt x="136" y="94"/>
                  </a:cubicBezTo>
                  <a:cubicBezTo>
                    <a:pt x="136" y="94"/>
                    <a:pt x="135" y="94"/>
                    <a:pt x="135" y="94"/>
                  </a:cubicBezTo>
                  <a:cubicBezTo>
                    <a:pt x="135" y="95"/>
                    <a:pt x="135" y="95"/>
                    <a:pt x="135" y="95"/>
                  </a:cubicBezTo>
                  <a:cubicBezTo>
                    <a:pt x="135" y="95"/>
                    <a:pt x="135" y="97"/>
                    <a:pt x="134" y="96"/>
                  </a:cubicBezTo>
                  <a:cubicBezTo>
                    <a:pt x="135" y="100"/>
                    <a:pt x="142" y="98"/>
                    <a:pt x="143" y="97"/>
                  </a:cubicBezTo>
                  <a:cubicBezTo>
                    <a:pt x="143" y="94"/>
                    <a:pt x="141" y="90"/>
                    <a:pt x="138" y="90"/>
                  </a:cubicBezTo>
                  <a:cubicBezTo>
                    <a:pt x="137" y="91"/>
                    <a:pt x="134" y="91"/>
                    <a:pt x="135" y="89"/>
                  </a:cubicBezTo>
                  <a:cubicBezTo>
                    <a:pt x="136" y="87"/>
                    <a:pt x="138" y="87"/>
                    <a:pt x="137" y="85"/>
                  </a:cubicBezTo>
                  <a:cubicBezTo>
                    <a:pt x="137" y="80"/>
                    <a:pt x="140" y="82"/>
                    <a:pt x="140" y="79"/>
                  </a:cubicBezTo>
                  <a:cubicBezTo>
                    <a:pt x="140" y="77"/>
                    <a:pt x="139" y="75"/>
                    <a:pt x="139" y="73"/>
                  </a:cubicBezTo>
                  <a:cubicBezTo>
                    <a:pt x="139" y="71"/>
                    <a:pt x="140" y="71"/>
                    <a:pt x="140" y="69"/>
                  </a:cubicBezTo>
                  <a:cubicBezTo>
                    <a:pt x="141" y="69"/>
                    <a:pt x="140" y="68"/>
                    <a:pt x="140" y="67"/>
                  </a:cubicBezTo>
                  <a:cubicBezTo>
                    <a:pt x="140" y="66"/>
                    <a:pt x="142" y="66"/>
                    <a:pt x="142" y="64"/>
                  </a:cubicBezTo>
                  <a:cubicBezTo>
                    <a:pt x="144" y="61"/>
                    <a:pt x="148" y="66"/>
                    <a:pt x="151" y="61"/>
                  </a:cubicBezTo>
                  <a:cubicBezTo>
                    <a:pt x="152" y="59"/>
                    <a:pt x="153" y="55"/>
                    <a:pt x="154" y="55"/>
                  </a:cubicBezTo>
                  <a:cubicBezTo>
                    <a:pt x="156" y="55"/>
                    <a:pt x="157" y="56"/>
                    <a:pt x="159" y="55"/>
                  </a:cubicBezTo>
                  <a:cubicBezTo>
                    <a:pt x="161" y="55"/>
                    <a:pt x="163" y="57"/>
                    <a:pt x="163" y="56"/>
                  </a:cubicBezTo>
                  <a:cubicBezTo>
                    <a:pt x="164" y="54"/>
                    <a:pt x="164" y="51"/>
                    <a:pt x="165" y="51"/>
                  </a:cubicBezTo>
                  <a:cubicBezTo>
                    <a:pt x="168" y="50"/>
                    <a:pt x="169" y="49"/>
                    <a:pt x="166" y="48"/>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8" name="Freeform 177">
              <a:extLst>
                <a:ext uri="{FF2B5EF4-FFF2-40B4-BE49-F238E27FC236}">
                  <a16:creationId xmlns:a16="http://schemas.microsoft.com/office/drawing/2014/main" id="{F374F814-50AD-6843-A896-A2E04A6EFAEE}"/>
                </a:ext>
              </a:extLst>
            </p:cNvPr>
            <p:cNvSpPr>
              <a:spLocks/>
            </p:cNvSpPr>
            <p:nvPr/>
          </p:nvSpPr>
          <p:spPr bwMode="auto">
            <a:xfrm>
              <a:off x="3392958" y="4761712"/>
              <a:ext cx="824065" cy="580452"/>
            </a:xfrm>
            <a:custGeom>
              <a:avLst/>
              <a:gdLst>
                <a:gd name="T0" fmla="*/ 285 w 295"/>
                <a:gd name="T1" fmla="*/ 126 h 206"/>
                <a:gd name="T2" fmla="*/ 267 w 295"/>
                <a:gd name="T3" fmla="*/ 131 h 206"/>
                <a:gd name="T4" fmla="*/ 262 w 295"/>
                <a:gd name="T5" fmla="*/ 134 h 206"/>
                <a:gd name="T6" fmla="*/ 248 w 295"/>
                <a:gd name="T7" fmla="*/ 124 h 206"/>
                <a:gd name="T8" fmla="*/ 244 w 295"/>
                <a:gd name="T9" fmla="*/ 108 h 206"/>
                <a:gd name="T10" fmla="*/ 243 w 295"/>
                <a:gd name="T11" fmla="*/ 91 h 206"/>
                <a:gd name="T12" fmla="*/ 245 w 295"/>
                <a:gd name="T13" fmla="*/ 77 h 206"/>
                <a:gd name="T14" fmla="*/ 236 w 295"/>
                <a:gd name="T15" fmla="*/ 54 h 206"/>
                <a:gd name="T16" fmla="*/ 219 w 295"/>
                <a:gd name="T17" fmla="*/ 34 h 206"/>
                <a:gd name="T18" fmla="*/ 212 w 295"/>
                <a:gd name="T19" fmla="*/ 22 h 206"/>
                <a:gd name="T20" fmla="*/ 208 w 295"/>
                <a:gd name="T21" fmla="*/ 13 h 206"/>
                <a:gd name="T22" fmla="*/ 201 w 295"/>
                <a:gd name="T23" fmla="*/ 5 h 206"/>
                <a:gd name="T24" fmla="*/ 182 w 295"/>
                <a:gd name="T25" fmla="*/ 4 h 206"/>
                <a:gd name="T26" fmla="*/ 156 w 295"/>
                <a:gd name="T27" fmla="*/ 15 h 206"/>
                <a:gd name="T28" fmla="*/ 136 w 295"/>
                <a:gd name="T29" fmla="*/ 20 h 206"/>
                <a:gd name="T30" fmla="*/ 115 w 295"/>
                <a:gd name="T31" fmla="*/ 15 h 206"/>
                <a:gd name="T32" fmla="*/ 104 w 295"/>
                <a:gd name="T33" fmla="*/ 13 h 206"/>
                <a:gd name="T34" fmla="*/ 82 w 295"/>
                <a:gd name="T35" fmla="*/ 12 h 206"/>
                <a:gd name="T36" fmla="*/ 75 w 295"/>
                <a:gd name="T37" fmla="*/ 18 h 206"/>
                <a:gd name="T38" fmla="*/ 65 w 295"/>
                <a:gd name="T39" fmla="*/ 21 h 206"/>
                <a:gd name="T40" fmla="*/ 57 w 295"/>
                <a:gd name="T41" fmla="*/ 29 h 206"/>
                <a:gd name="T42" fmla="*/ 50 w 295"/>
                <a:gd name="T43" fmla="*/ 40 h 206"/>
                <a:gd name="T44" fmla="*/ 43 w 295"/>
                <a:gd name="T45" fmla="*/ 55 h 206"/>
                <a:gd name="T46" fmla="*/ 41 w 295"/>
                <a:gd name="T47" fmla="*/ 60 h 206"/>
                <a:gd name="T48" fmla="*/ 37 w 295"/>
                <a:gd name="T49" fmla="*/ 70 h 206"/>
                <a:gd name="T50" fmla="*/ 30 w 295"/>
                <a:gd name="T51" fmla="*/ 83 h 206"/>
                <a:gd name="T52" fmla="*/ 16 w 295"/>
                <a:gd name="T53" fmla="*/ 90 h 206"/>
                <a:gd name="T54" fmla="*/ 2 w 295"/>
                <a:gd name="T55" fmla="*/ 94 h 206"/>
                <a:gd name="T56" fmla="*/ 19 w 295"/>
                <a:gd name="T57" fmla="*/ 111 h 206"/>
                <a:gd name="T58" fmla="*/ 23 w 295"/>
                <a:gd name="T59" fmla="*/ 126 h 206"/>
                <a:gd name="T60" fmla="*/ 35 w 295"/>
                <a:gd name="T61" fmla="*/ 134 h 206"/>
                <a:gd name="T62" fmla="*/ 38 w 295"/>
                <a:gd name="T63" fmla="*/ 144 h 206"/>
                <a:gd name="T64" fmla="*/ 43 w 295"/>
                <a:gd name="T65" fmla="*/ 154 h 206"/>
                <a:gd name="T66" fmla="*/ 57 w 295"/>
                <a:gd name="T67" fmla="*/ 161 h 206"/>
                <a:gd name="T68" fmla="*/ 73 w 295"/>
                <a:gd name="T69" fmla="*/ 158 h 206"/>
                <a:gd name="T70" fmla="*/ 77 w 295"/>
                <a:gd name="T71" fmla="*/ 166 h 206"/>
                <a:gd name="T72" fmla="*/ 80 w 295"/>
                <a:gd name="T73" fmla="*/ 177 h 206"/>
                <a:gd name="T74" fmla="*/ 89 w 295"/>
                <a:gd name="T75" fmla="*/ 185 h 206"/>
                <a:gd name="T76" fmla="*/ 88 w 295"/>
                <a:gd name="T77" fmla="*/ 196 h 206"/>
                <a:gd name="T78" fmla="*/ 116 w 295"/>
                <a:gd name="T79" fmla="*/ 198 h 206"/>
                <a:gd name="T80" fmla="*/ 148 w 295"/>
                <a:gd name="T81" fmla="*/ 202 h 206"/>
                <a:gd name="T82" fmla="*/ 172 w 295"/>
                <a:gd name="T83" fmla="*/ 205 h 206"/>
                <a:gd name="T84" fmla="*/ 203 w 295"/>
                <a:gd name="T85" fmla="*/ 186 h 206"/>
                <a:gd name="T86" fmla="*/ 224 w 295"/>
                <a:gd name="T87" fmla="*/ 184 h 206"/>
                <a:gd name="T88" fmla="*/ 239 w 295"/>
                <a:gd name="T89" fmla="*/ 191 h 206"/>
                <a:gd name="T90" fmla="*/ 252 w 295"/>
                <a:gd name="T91" fmla="*/ 199 h 206"/>
                <a:gd name="T92" fmla="*/ 267 w 295"/>
                <a:gd name="T93" fmla="*/ 182 h 206"/>
                <a:gd name="T94" fmla="*/ 273 w 295"/>
                <a:gd name="T95" fmla="*/ 163 h 206"/>
                <a:gd name="T96" fmla="*/ 269 w 295"/>
                <a:gd name="T97" fmla="*/ 163 h 206"/>
                <a:gd name="T98" fmla="*/ 274 w 295"/>
                <a:gd name="T99" fmla="*/ 159 h 206"/>
                <a:gd name="T100" fmla="*/ 270 w 295"/>
                <a:gd name="T101" fmla="*/ 158 h 206"/>
                <a:gd name="T102" fmla="*/ 272 w 295"/>
                <a:gd name="T103" fmla="*/ 145 h 206"/>
                <a:gd name="T104" fmla="*/ 278 w 295"/>
                <a:gd name="T105" fmla="*/ 151 h 206"/>
                <a:gd name="T106" fmla="*/ 282 w 295"/>
                <a:gd name="T107" fmla="*/ 15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06">
                  <a:moveTo>
                    <a:pt x="295" y="138"/>
                  </a:moveTo>
                  <a:cubicBezTo>
                    <a:pt x="292" y="138"/>
                    <a:pt x="295" y="132"/>
                    <a:pt x="293" y="130"/>
                  </a:cubicBezTo>
                  <a:cubicBezTo>
                    <a:pt x="292" y="127"/>
                    <a:pt x="288" y="126"/>
                    <a:pt x="285" y="126"/>
                  </a:cubicBezTo>
                  <a:cubicBezTo>
                    <a:pt x="280" y="125"/>
                    <a:pt x="277" y="128"/>
                    <a:pt x="273" y="130"/>
                  </a:cubicBezTo>
                  <a:cubicBezTo>
                    <a:pt x="272" y="131"/>
                    <a:pt x="272" y="133"/>
                    <a:pt x="271" y="132"/>
                  </a:cubicBezTo>
                  <a:cubicBezTo>
                    <a:pt x="269" y="132"/>
                    <a:pt x="268" y="130"/>
                    <a:pt x="267" y="131"/>
                  </a:cubicBezTo>
                  <a:cubicBezTo>
                    <a:pt x="266" y="131"/>
                    <a:pt x="266" y="133"/>
                    <a:pt x="267" y="134"/>
                  </a:cubicBezTo>
                  <a:cubicBezTo>
                    <a:pt x="268" y="134"/>
                    <a:pt x="264" y="135"/>
                    <a:pt x="264" y="135"/>
                  </a:cubicBezTo>
                  <a:cubicBezTo>
                    <a:pt x="264" y="134"/>
                    <a:pt x="263" y="134"/>
                    <a:pt x="262" y="134"/>
                  </a:cubicBezTo>
                  <a:cubicBezTo>
                    <a:pt x="259" y="133"/>
                    <a:pt x="257" y="133"/>
                    <a:pt x="255" y="132"/>
                  </a:cubicBezTo>
                  <a:cubicBezTo>
                    <a:pt x="253" y="131"/>
                    <a:pt x="251" y="129"/>
                    <a:pt x="251" y="127"/>
                  </a:cubicBezTo>
                  <a:cubicBezTo>
                    <a:pt x="251" y="125"/>
                    <a:pt x="249" y="124"/>
                    <a:pt x="248" y="124"/>
                  </a:cubicBezTo>
                  <a:cubicBezTo>
                    <a:pt x="247" y="122"/>
                    <a:pt x="246" y="120"/>
                    <a:pt x="245" y="119"/>
                  </a:cubicBezTo>
                  <a:cubicBezTo>
                    <a:pt x="244" y="118"/>
                    <a:pt x="243" y="117"/>
                    <a:pt x="245" y="117"/>
                  </a:cubicBezTo>
                  <a:cubicBezTo>
                    <a:pt x="248" y="116"/>
                    <a:pt x="245" y="110"/>
                    <a:pt x="244" y="108"/>
                  </a:cubicBezTo>
                  <a:cubicBezTo>
                    <a:pt x="244" y="107"/>
                    <a:pt x="244" y="106"/>
                    <a:pt x="244" y="104"/>
                  </a:cubicBezTo>
                  <a:cubicBezTo>
                    <a:pt x="243" y="102"/>
                    <a:pt x="242" y="100"/>
                    <a:pt x="243" y="97"/>
                  </a:cubicBezTo>
                  <a:cubicBezTo>
                    <a:pt x="243" y="95"/>
                    <a:pt x="244" y="93"/>
                    <a:pt x="243" y="91"/>
                  </a:cubicBezTo>
                  <a:cubicBezTo>
                    <a:pt x="243" y="89"/>
                    <a:pt x="244" y="88"/>
                    <a:pt x="244" y="87"/>
                  </a:cubicBezTo>
                  <a:cubicBezTo>
                    <a:pt x="245" y="85"/>
                    <a:pt x="245" y="84"/>
                    <a:pt x="246" y="82"/>
                  </a:cubicBezTo>
                  <a:cubicBezTo>
                    <a:pt x="247" y="80"/>
                    <a:pt x="245" y="79"/>
                    <a:pt x="245" y="77"/>
                  </a:cubicBezTo>
                  <a:cubicBezTo>
                    <a:pt x="245" y="75"/>
                    <a:pt x="246" y="73"/>
                    <a:pt x="245" y="71"/>
                  </a:cubicBezTo>
                  <a:cubicBezTo>
                    <a:pt x="244" y="69"/>
                    <a:pt x="243" y="67"/>
                    <a:pt x="242" y="65"/>
                  </a:cubicBezTo>
                  <a:cubicBezTo>
                    <a:pt x="240" y="61"/>
                    <a:pt x="242" y="56"/>
                    <a:pt x="236" y="54"/>
                  </a:cubicBezTo>
                  <a:cubicBezTo>
                    <a:pt x="232" y="52"/>
                    <a:pt x="231" y="49"/>
                    <a:pt x="228" y="45"/>
                  </a:cubicBezTo>
                  <a:cubicBezTo>
                    <a:pt x="227" y="42"/>
                    <a:pt x="221" y="41"/>
                    <a:pt x="222" y="37"/>
                  </a:cubicBezTo>
                  <a:cubicBezTo>
                    <a:pt x="222" y="35"/>
                    <a:pt x="220" y="35"/>
                    <a:pt x="219" y="34"/>
                  </a:cubicBezTo>
                  <a:cubicBezTo>
                    <a:pt x="218" y="33"/>
                    <a:pt x="218" y="31"/>
                    <a:pt x="217" y="31"/>
                  </a:cubicBezTo>
                  <a:cubicBezTo>
                    <a:pt x="215" y="29"/>
                    <a:pt x="214" y="28"/>
                    <a:pt x="212" y="26"/>
                  </a:cubicBezTo>
                  <a:cubicBezTo>
                    <a:pt x="212" y="24"/>
                    <a:pt x="213" y="24"/>
                    <a:pt x="212" y="22"/>
                  </a:cubicBezTo>
                  <a:cubicBezTo>
                    <a:pt x="210" y="20"/>
                    <a:pt x="210" y="19"/>
                    <a:pt x="209" y="16"/>
                  </a:cubicBezTo>
                  <a:cubicBezTo>
                    <a:pt x="209" y="15"/>
                    <a:pt x="209" y="16"/>
                    <a:pt x="208" y="16"/>
                  </a:cubicBezTo>
                  <a:cubicBezTo>
                    <a:pt x="208" y="15"/>
                    <a:pt x="208" y="14"/>
                    <a:pt x="208" y="13"/>
                  </a:cubicBezTo>
                  <a:cubicBezTo>
                    <a:pt x="207" y="12"/>
                    <a:pt x="206" y="12"/>
                    <a:pt x="206" y="10"/>
                  </a:cubicBezTo>
                  <a:cubicBezTo>
                    <a:pt x="205" y="9"/>
                    <a:pt x="204" y="9"/>
                    <a:pt x="204" y="7"/>
                  </a:cubicBezTo>
                  <a:cubicBezTo>
                    <a:pt x="204" y="6"/>
                    <a:pt x="202" y="6"/>
                    <a:pt x="201" y="5"/>
                  </a:cubicBezTo>
                  <a:cubicBezTo>
                    <a:pt x="203" y="5"/>
                    <a:pt x="199" y="3"/>
                    <a:pt x="198" y="2"/>
                  </a:cubicBezTo>
                  <a:cubicBezTo>
                    <a:pt x="196" y="0"/>
                    <a:pt x="193" y="2"/>
                    <a:pt x="191" y="0"/>
                  </a:cubicBezTo>
                  <a:cubicBezTo>
                    <a:pt x="188" y="3"/>
                    <a:pt x="184" y="1"/>
                    <a:pt x="182" y="4"/>
                  </a:cubicBezTo>
                  <a:cubicBezTo>
                    <a:pt x="180" y="5"/>
                    <a:pt x="180" y="9"/>
                    <a:pt x="178" y="11"/>
                  </a:cubicBezTo>
                  <a:cubicBezTo>
                    <a:pt x="176" y="14"/>
                    <a:pt x="170" y="13"/>
                    <a:pt x="167" y="13"/>
                  </a:cubicBezTo>
                  <a:cubicBezTo>
                    <a:pt x="164" y="15"/>
                    <a:pt x="160" y="14"/>
                    <a:pt x="156" y="15"/>
                  </a:cubicBezTo>
                  <a:cubicBezTo>
                    <a:pt x="152" y="15"/>
                    <a:pt x="150" y="16"/>
                    <a:pt x="148" y="20"/>
                  </a:cubicBezTo>
                  <a:cubicBezTo>
                    <a:pt x="146" y="23"/>
                    <a:pt x="142" y="25"/>
                    <a:pt x="140" y="24"/>
                  </a:cubicBezTo>
                  <a:cubicBezTo>
                    <a:pt x="138" y="23"/>
                    <a:pt x="137" y="20"/>
                    <a:pt x="136" y="20"/>
                  </a:cubicBezTo>
                  <a:cubicBezTo>
                    <a:pt x="134" y="18"/>
                    <a:pt x="134" y="18"/>
                    <a:pt x="132" y="16"/>
                  </a:cubicBezTo>
                  <a:cubicBezTo>
                    <a:pt x="129" y="13"/>
                    <a:pt x="126" y="13"/>
                    <a:pt x="122" y="14"/>
                  </a:cubicBezTo>
                  <a:cubicBezTo>
                    <a:pt x="120" y="15"/>
                    <a:pt x="117" y="16"/>
                    <a:pt x="115" y="15"/>
                  </a:cubicBezTo>
                  <a:cubicBezTo>
                    <a:pt x="113" y="14"/>
                    <a:pt x="112" y="13"/>
                    <a:pt x="110" y="14"/>
                  </a:cubicBezTo>
                  <a:cubicBezTo>
                    <a:pt x="109" y="14"/>
                    <a:pt x="108" y="15"/>
                    <a:pt x="107" y="14"/>
                  </a:cubicBezTo>
                  <a:cubicBezTo>
                    <a:pt x="106" y="13"/>
                    <a:pt x="105" y="13"/>
                    <a:pt x="104" y="13"/>
                  </a:cubicBezTo>
                  <a:cubicBezTo>
                    <a:pt x="100" y="12"/>
                    <a:pt x="95" y="13"/>
                    <a:pt x="92" y="11"/>
                  </a:cubicBezTo>
                  <a:cubicBezTo>
                    <a:pt x="90" y="10"/>
                    <a:pt x="86" y="4"/>
                    <a:pt x="84" y="8"/>
                  </a:cubicBezTo>
                  <a:cubicBezTo>
                    <a:pt x="84" y="10"/>
                    <a:pt x="84" y="12"/>
                    <a:pt x="82" y="12"/>
                  </a:cubicBezTo>
                  <a:cubicBezTo>
                    <a:pt x="81" y="12"/>
                    <a:pt x="79" y="10"/>
                    <a:pt x="79" y="11"/>
                  </a:cubicBezTo>
                  <a:cubicBezTo>
                    <a:pt x="79" y="13"/>
                    <a:pt x="77" y="16"/>
                    <a:pt x="76" y="16"/>
                  </a:cubicBezTo>
                  <a:cubicBezTo>
                    <a:pt x="75" y="17"/>
                    <a:pt x="74" y="17"/>
                    <a:pt x="75" y="18"/>
                  </a:cubicBezTo>
                  <a:cubicBezTo>
                    <a:pt x="75" y="19"/>
                    <a:pt x="73" y="20"/>
                    <a:pt x="73" y="20"/>
                  </a:cubicBezTo>
                  <a:cubicBezTo>
                    <a:pt x="72" y="21"/>
                    <a:pt x="70" y="22"/>
                    <a:pt x="69" y="22"/>
                  </a:cubicBezTo>
                  <a:cubicBezTo>
                    <a:pt x="68" y="22"/>
                    <a:pt x="66" y="20"/>
                    <a:pt x="65" y="21"/>
                  </a:cubicBezTo>
                  <a:cubicBezTo>
                    <a:pt x="64" y="21"/>
                    <a:pt x="65" y="23"/>
                    <a:pt x="64" y="23"/>
                  </a:cubicBezTo>
                  <a:cubicBezTo>
                    <a:pt x="63" y="23"/>
                    <a:pt x="62" y="23"/>
                    <a:pt x="61" y="23"/>
                  </a:cubicBezTo>
                  <a:cubicBezTo>
                    <a:pt x="59" y="23"/>
                    <a:pt x="58" y="27"/>
                    <a:pt x="57" y="29"/>
                  </a:cubicBezTo>
                  <a:cubicBezTo>
                    <a:pt x="56" y="30"/>
                    <a:pt x="54" y="31"/>
                    <a:pt x="53" y="32"/>
                  </a:cubicBezTo>
                  <a:cubicBezTo>
                    <a:pt x="51" y="34"/>
                    <a:pt x="53" y="36"/>
                    <a:pt x="52" y="39"/>
                  </a:cubicBezTo>
                  <a:cubicBezTo>
                    <a:pt x="52" y="40"/>
                    <a:pt x="51" y="39"/>
                    <a:pt x="50" y="40"/>
                  </a:cubicBezTo>
                  <a:cubicBezTo>
                    <a:pt x="49" y="41"/>
                    <a:pt x="49" y="42"/>
                    <a:pt x="48" y="43"/>
                  </a:cubicBezTo>
                  <a:cubicBezTo>
                    <a:pt x="48" y="46"/>
                    <a:pt x="48" y="48"/>
                    <a:pt x="46" y="50"/>
                  </a:cubicBezTo>
                  <a:cubicBezTo>
                    <a:pt x="46" y="51"/>
                    <a:pt x="41" y="53"/>
                    <a:pt x="43" y="55"/>
                  </a:cubicBezTo>
                  <a:cubicBezTo>
                    <a:pt x="44" y="56"/>
                    <a:pt x="43" y="57"/>
                    <a:pt x="42" y="59"/>
                  </a:cubicBezTo>
                  <a:cubicBezTo>
                    <a:pt x="42" y="59"/>
                    <a:pt x="41" y="59"/>
                    <a:pt x="41" y="59"/>
                  </a:cubicBezTo>
                  <a:cubicBezTo>
                    <a:pt x="41" y="60"/>
                    <a:pt x="41" y="60"/>
                    <a:pt x="41" y="60"/>
                  </a:cubicBezTo>
                  <a:cubicBezTo>
                    <a:pt x="41" y="62"/>
                    <a:pt x="41" y="63"/>
                    <a:pt x="40" y="63"/>
                  </a:cubicBezTo>
                  <a:cubicBezTo>
                    <a:pt x="38" y="64"/>
                    <a:pt x="38" y="67"/>
                    <a:pt x="39" y="68"/>
                  </a:cubicBezTo>
                  <a:cubicBezTo>
                    <a:pt x="40" y="70"/>
                    <a:pt x="37" y="69"/>
                    <a:pt x="37" y="70"/>
                  </a:cubicBezTo>
                  <a:cubicBezTo>
                    <a:pt x="36" y="73"/>
                    <a:pt x="33" y="71"/>
                    <a:pt x="33" y="74"/>
                  </a:cubicBezTo>
                  <a:cubicBezTo>
                    <a:pt x="33" y="76"/>
                    <a:pt x="31" y="77"/>
                    <a:pt x="32" y="80"/>
                  </a:cubicBezTo>
                  <a:cubicBezTo>
                    <a:pt x="34" y="82"/>
                    <a:pt x="30" y="81"/>
                    <a:pt x="30" y="83"/>
                  </a:cubicBezTo>
                  <a:cubicBezTo>
                    <a:pt x="29" y="86"/>
                    <a:pt x="29" y="86"/>
                    <a:pt x="28" y="87"/>
                  </a:cubicBezTo>
                  <a:cubicBezTo>
                    <a:pt x="26" y="90"/>
                    <a:pt x="26" y="89"/>
                    <a:pt x="23" y="88"/>
                  </a:cubicBezTo>
                  <a:cubicBezTo>
                    <a:pt x="21" y="88"/>
                    <a:pt x="17" y="87"/>
                    <a:pt x="16" y="90"/>
                  </a:cubicBezTo>
                  <a:cubicBezTo>
                    <a:pt x="16" y="93"/>
                    <a:pt x="14" y="95"/>
                    <a:pt x="12" y="93"/>
                  </a:cubicBezTo>
                  <a:cubicBezTo>
                    <a:pt x="10" y="92"/>
                    <a:pt x="9" y="92"/>
                    <a:pt x="8" y="93"/>
                  </a:cubicBezTo>
                  <a:cubicBezTo>
                    <a:pt x="6" y="94"/>
                    <a:pt x="4" y="92"/>
                    <a:pt x="2" y="94"/>
                  </a:cubicBezTo>
                  <a:cubicBezTo>
                    <a:pt x="0" y="97"/>
                    <a:pt x="10" y="104"/>
                    <a:pt x="11" y="105"/>
                  </a:cubicBezTo>
                  <a:cubicBezTo>
                    <a:pt x="14" y="106"/>
                    <a:pt x="14" y="108"/>
                    <a:pt x="15" y="111"/>
                  </a:cubicBezTo>
                  <a:cubicBezTo>
                    <a:pt x="17" y="112"/>
                    <a:pt x="18" y="109"/>
                    <a:pt x="19" y="111"/>
                  </a:cubicBezTo>
                  <a:cubicBezTo>
                    <a:pt x="20" y="113"/>
                    <a:pt x="18" y="116"/>
                    <a:pt x="18" y="118"/>
                  </a:cubicBezTo>
                  <a:cubicBezTo>
                    <a:pt x="19" y="120"/>
                    <a:pt x="21" y="121"/>
                    <a:pt x="19" y="122"/>
                  </a:cubicBezTo>
                  <a:cubicBezTo>
                    <a:pt x="18" y="122"/>
                    <a:pt x="22" y="126"/>
                    <a:pt x="23" y="126"/>
                  </a:cubicBezTo>
                  <a:cubicBezTo>
                    <a:pt x="25" y="128"/>
                    <a:pt x="26" y="130"/>
                    <a:pt x="28" y="131"/>
                  </a:cubicBezTo>
                  <a:cubicBezTo>
                    <a:pt x="30" y="131"/>
                    <a:pt x="31" y="130"/>
                    <a:pt x="32" y="132"/>
                  </a:cubicBezTo>
                  <a:cubicBezTo>
                    <a:pt x="32" y="133"/>
                    <a:pt x="34" y="134"/>
                    <a:pt x="35" y="134"/>
                  </a:cubicBezTo>
                  <a:cubicBezTo>
                    <a:pt x="37" y="135"/>
                    <a:pt x="40" y="135"/>
                    <a:pt x="42" y="137"/>
                  </a:cubicBezTo>
                  <a:cubicBezTo>
                    <a:pt x="42" y="138"/>
                    <a:pt x="41" y="139"/>
                    <a:pt x="41" y="141"/>
                  </a:cubicBezTo>
                  <a:cubicBezTo>
                    <a:pt x="40" y="144"/>
                    <a:pt x="39" y="142"/>
                    <a:pt x="38" y="144"/>
                  </a:cubicBezTo>
                  <a:cubicBezTo>
                    <a:pt x="37" y="146"/>
                    <a:pt x="48" y="148"/>
                    <a:pt x="42" y="150"/>
                  </a:cubicBezTo>
                  <a:cubicBezTo>
                    <a:pt x="41" y="150"/>
                    <a:pt x="39" y="150"/>
                    <a:pt x="38" y="151"/>
                  </a:cubicBezTo>
                  <a:cubicBezTo>
                    <a:pt x="38" y="154"/>
                    <a:pt x="41" y="154"/>
                    <a:pt x="43" y="154"/>
                  </a:cubicBezTo>
                  <a:cubicBezTo>
                    <a:pt x="46" y="155"/>
                    <a:pt x="46" y="156"/>
                    <a:pt x="47" y="159"/>
                  </a:cubicBezTo>
                  <a:cubicBezTo>
                    <a:pt x="47" y="160"/>
                    <a:pt x="51" y="159"/>
                    <a:pt x="52" y="159"/>
                  </a:cubicBezTo>
                  <a:cubicBezTo>
                    <a:pt x="54" y="160"/>
                    <a:pt x="56" y="160"/>
                    <a:pt x="57" y="161"/>
                  </a:cubicBezTo>
                  <a:cubicBezTo>
                    <a:pt x="58" y="162"/>
                    <a:pt x="59" y="163"/>
                    <a:pt x="61" y="165"/>
                  </a:cubicBezTo>
                  <a:cubicBezTo>
                    <a:pt x="64" y="172"/>
                    <a:pt x="66" y="164"/>
                    <a:pt x="68" y="161"/>
                  </a:cubicBezTo>
                  <a:cubicBezTo>
                    <a:pt x="68" y="160"/>
                    <a:pt x="72" y="156"/>
                    <a:pt x="73" y="158"/>
                  </a:cubicBezTo>
                  <a:cubicBezTo>
                    <a:pt x="75" y="159"/>
                    <a:pt x="76" y="161"/>
                    <a:pt x="78" y="162"/>
                  </a:cubicBezTo>
                  <a:cubicBezTo>
                    <a:pt x="80" y="162"/>
                    <a:pt x="84" y="166"/>
                    <a:pt x="81" y="166"/>
                  </a:cubicBezTo>
                  <a:cubicBezTo>
                    <a:pt x="80" y="166"/>
                    <a:pt x="77" y="163"/>
                    <a:pt x="77" y="166"/>
                  </a:cubicBezTo>
                  <a:cubicBezTo>
                    <a:pt x="76" y="167"/>
                    <a:pt x="73" y="167"/>
                    <a:pt x="73" y="168"/>
                  </a:cubicBezTo>
                  <a:cubicBezTo>
                    <a:pt x="73" y="169"/>
                    <a:pt x="74" y="172"/>
                    <a:pt x="75" y="173"/>
                  </a:cubicBezTo>
                  <a:cubicBezTo>
                    <a:pt x="76" y="176"/>
                    <a:pt x="78" y="175"/>
                    <a:pt x="80" y="177"/>
                  </a:cubicBezTo>
                  <a:cubicBezTo>
                    <a:pt x="81" y="177"/>
                    <a:pt x="80" y="178"/>
                    <a:pt x="81" y="179"/>
                  </a:cubicBezTo>
                  <a:cubicBezTo>
                    <a:pt x="81" y="180"/>
                    <a:pt x="82" y="180"/>
                    <a:pt x="83" y="180"/>
                  </a:cubicBezTo>
                  <a:cubicBezTo>
                    <a:pt x="85" y="182"/>
                    <a:pt x="87" y="184"/>
                    <a:pt x="89" y="185"/>
                  </a:cubicBezTo>
                  <a:cubicBezTo>
                    <a:pt x="90" y="185"/>
                    <a:pt x="93" y="185"/>
                    <a:pt x="92" y="187"/>
                  </a:cubicBezTo>
                  <a:cubicBezTo>
                    <a:pt x="91" y="190"/>
                    <a:pt x="88" y="189"/>
                    <a:pt x="87" y="191"/>
                  </a:cubicBezTo>
                  <a:cubicBezTo>
                    <a:pt x="86" y="193"/>
                    <a:pt x="86" y="195"/>
                    <a:pt x="88" y="196"/>
                  </a:cubicBezTo>
                  <a:cubicBezTo>
                    <a:pt x="91" y="199"/>
                    <a:pt x="96" y="198"/>
                    <a:pt x="99" y="196"/>
                  </a:cubicBezTo>
                  <a:cubicBezTo>
                    <a:pt x="103" y="195"/>
                    <a:pt x="105" y="196"/>
                    <a:pt x="109" y="197"/>
                  </a:cubicBezTo>
                  <a:cubicBezTo>
                    <a:pt x="111" y="199"/>
                    <a:pt x="113" y="197"/>
                    <a:pt x="116" y="198"/>
                  </a:cubicBezTo>
                  <a:cubicBezTo>
                    <a:pt x="121" y="200"/>
                    <a:pt x="127" y="204"/>
                    <a:pt x="133" y="203"/>
                  </a:cubicBezTo>
                  <a:cubicBezTo>
                    <a:pt x="136" y="202"/>
                    <a:pt x="138" y="199"/>
                    <a:pt x="141" y="200"/>
                  </a:cubicBezTo>
                  <a:cubicBezTo>
                    <a:pt x="144" y="201"/>
                    <a:pt x="146" y="202"/>
                    <a:pt x="148" y="202"/>
                  </a:cubicBezTo>
                  <a:cubicBezTo>
                    <a:pt x="151" y="202"/>
                    <a:pt x="153" y="202"/>
                    <a:pt x="156" y="203"/>
                  </a:cubicBezTo>
                  <a:cubicBezTo>
                    <a:pt x="159" y="203"/>
                    <a:pt x="162" y="203"/>
                    <a:pt x="164" y="205"/>
                  </a:cubicBezTo>
                  <a:cubicBezTo>
                    <a:pt x="166" y="206"/>
                    <a:pt x="169" y="206"/>
                    <a:pt x="172" y="205"/>
                  </a:cubicBezTo>
                  <a:cubicBezTo>
                    <a:pt x="174" y="205"/>
                    <a:pt x="177" y="203"/>
                    <a:pt x="179" y="202"/>
                  </a:cubicBezTo>
                  <a:cubicBezTo>
                    <a:pt x="183" y="198"/>
                    <a:pt x="185" y="192"/>
                    <a:pt x="190" y="189"/>
                  </a:cubicBezTo>
                  <a:cubicBezTo>
                    <a:pt x="194" y="187"/>
                    <a:pt x="198" y="187"/>
                    <a:pt x="203" y="186"/>
                  </a:cubicBezTo>
                  <a:cubicBezTo>
                    <a:pt x="205" y="186"/>
                    <a:pt x="207" y="185"/>
                    <a:pt x="209" y="185"/>
                  </a:cubicBezTo>
                  <a:cubicBezTo>
                    <a:pt x="211" y="183"/>
                    <a:pt x="214" y="183"/>
                    <a:pt x="217" y="183"/>
                  </a:cubicBezTo>
                  <a:cubicBezTo>
                    <a:pt x="218" y="183"/>
                    <a:pt x="222" y="183"/>
                    <a:pt x="224" y="184"/>
                  </a:cubicBezTo>
                  <a:cubicBezTo>
                    <a:pt x="225" y="185"/>
                    <a:pt x="226" y="187"/>
                    <a:pt x="228" y="188"/>
                  </a:cubicBezTo>
                  <a:cubicBezTo>
                    <a:pt x="230" y="189"/>
                    <a:pt x="233" y="189"/>
                    <a:pt x="235" y="188"/>
                  </a:cubicBezTo>
                  <a:cubicBezTo>
                    <a:pt x="237" y="187"/>
                    <a:pt x="237" y="190"/>
                    <a:pt x="239" y="191"/>
                  </a:cubicBezTo>
                  <a:cubicBezTo>
                    <a:pt x="241" y="192"/>
                    <a:pt x="243" y="189"/>
                    <a:pt x="245" y="189"/>
                  </a:cubicBezTo>
                  <a:cubicBezTo>
                    <a:pt x="246" y="190"/>
                    <a:pt x="246" y="193"/>
                    <a:pt x="247" y="195"/>
                  </a:cubicBezTo>
                  <a:cubicBezTo>
                    <a:pt x="248" y="197"/>
                    <a:pt x="250" y="198"/>
                    <a:pt x="252" y="199"/>
                  </a:cubicBezTo>
                  <a:cubicBezTo>
                    <a:pt x="256" y="201"/>
                    <a:pt x="261" y="201"/>
                    <a:pt x="266" y="200"/>
                  </a:cubicBezTo>
                  <a:cubicBezTo>
                    <a:pt x="265" y="196"/>
                    <a:pt x="268" y="192"/>
                    <a:pt x="267" y="188"/>
                  </a:cubicBezTo>
                  <a:cubicBezTo>
                    <a:pt x="267" y="187"/>
                    <a:pt x="265" y="182"/>
                    <a:pt x="267" y="182"/>
                  </a:cubicBezTo>
                  <a:cubicBezTo>
                    <a:pt x="267" y="180"/>
                    <a:pt x="266" y="179"/>
                    <a:pt x="265" y="177"/>
                  </a:cubicBezTo>
                  <a:cubicBezTo>
                    <a:pt x="265" y="175"/>
                    <a:pt x="266" y="174"/>
                    <a:pt x="267" y="173"/>
                  </a:cubicBezTo>
                  <a:cubicBezTo>
                    <a:pt x="269" y="170"/>
                    <a:pt x="272" y="166"/>
                    <a:pt x="273" y="163"/>
                  </a:cubicBezTo>
                  <a:cubicBezTo>
                    <a:pt x="271" y="164"/>
                    <a:pt x="269" y="166"/>
                    <a:pt x="269" y="169"/>
                  </a:cubicBezTo>
                  <a:cubicBezTo>
                    <a:pt x="269" y="169"/>
                    <a:pt x="268" y="163"/>
                    <a:pt x="268" y="164"/>
                  </a:cubicBezTo>
                  <a:cubicBezTo>
                    <a:pt x="268" y="164"/>
                    <a:pt x="268" y="163"/>
                    <a:pt x="269" y="163"/>
                  </a:cubicBezTo>
                  <a:cubicBezTo>
                    <a:pt x="268" y="163"/>
                    <a:pt x="268" y="161"/>
                    <a:pt x="269" y="161"/>
                  </a:cubicBezTo>
                  <a:cubicBezTo>
                    <a:pt x="269" y="162"/>
                    <a:pt x="269" y="162"/>
                    <a:pt x="269" y="162"/>
                  </a:cubicBezTo>
                  <a:cubicBezTo>
                    <a:pt x="271" y="162"/>
                    <a:pt x="273" y="160"/>
                    <a:pt x="274" y="159"/>
                  </a:cubicBezTo>
                  <a:cubicBezTo>
                    <a:pt x="275" y="159"/>
                    <a:pt x="275" y="161"/>
                    <a:pt x="275" y="161"/>
                  </a:cubicBezTo>
                  <a:cubicBezTo>
                    <a:pt x="277" y="159"/>
                    <a:pt x="273" y="158"/>
                    <a:pt x="272" y="158"/>
                  </a:cubicBezTo>
                  <a:cubicBezTo>
                    <a:pt x="273" y="162"/>
                    <a:pt x="267" y="160"/>
                    <a:pt x="270" y="158"/>
                  </a:cubicBezTo>
                  <a:cubicBezTo>
                    <a:pt x="267" y="158"/>
                    <a:pt x="273" y="155"/>
                    <a:pt x="273" y="155"/>
                  </a:cubicBezTo>
                  <a:cubicBezTo>
                    <a:pt x="274" y="154"/>
                    <a:pt x="273" y="152"/>
                    <a:pt x="273" y="152"/>
                  </a:cubicBezTo>
                  <a:cubicBezTo>
                    <a:pt x="271" y="150"/>
                    <a:pt x="270" y="147"/>
                    <a:pt x="272" y="145"/>
                  </a:cubicBezTo>
                  <a:cubicBezTo>
                    <a:pt x="273" y="145"/>
                    <a:pt x="279" y="144"/>
                    <a:pt x="278" y="146"/>
                  </a:cubicBezTo>
                  <a:cubicBezTo>
                    <a:pt x="277" y="148"/>
                    <a:pt x="276" y="148"/>
                    <a:pt x="276" y="150"/>
                  </a:cubicBezTo>
                  <a:cubicBezTo>
                    <a:pt x="276" y="152"/>
                    <a:pt x="279" y="153"/>
                    <a:pt x="278" y="151"/>
                  </a:cubicBezTo>
                  <a:cubicBezTo>
                    <a:pt x="282" y="154"/>
                    <a:pt x="277" y="154"/>
                    <a:pt x="275" y="156"/>
                  </a:cubicBezTo>
                  <a:cubicBezTo>
                    <a:pt x="274" y="157"/>
                    <a:pt x="275" y="158"/>
                    <a:pt x="276" y="157"/>
                  </a:cubicBezTo>
                  <a:cubicBezTo>
                    <a:pt x="278" y="156"/>
                    <a:pt x="280" y="154"/>
                    <a:pt x="282" y="154"/>
                  </a:cubicBezTo>
                  <a:cubicBezTo>
                    <a:pt x="286" y="153"/>
                    <a:pt x="293" y="155"/>
                    <a:pt x="294" y="149"/>
                  </a:cubicBezTo>
                  <a:cubicBezTo>
                    <a:pt x="295" y="146"/>
                    <a:pt x="293" y="141"/>
                    <a:pt x="295" y="138"/>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178">
              <a:extLst>
                <a:ext uri="{FF2B5EF4-FFF2-40B4-BE49-F238E27FC236}">
                  <a16:creationId xmlns:a16="http://schemas.microsoft.com/office/drawing/2014/main" id="{14FA5009-B830-8DD2-B558-8699065D4D73}"/>
                </a:ext>
              </a:extLst>
            </p:cNvPr>
            <p:cNvSpPr>
              <a:spLocks/>
            </p:cNvSpPr>
            <p:nvPr/>
          </p:nvSpPr>
          <p:spPr bwMode="auto">
            <a:xfrm>
              <a:off x="3926593" y="4729531"/>
              <a:ext cx="315223" cy="383789"/>
            </a:xfrm>
            <a:custGeom>
              <a:avLst/>
              <a:gdLst>
                <a:gd name="T0" fmla="*/ 106 w 113"/>
                <a:gd name="T1" fmla="*/ 87 h 136"/>
                <a:gd name="T2" fmla="*/ 107 w 113"/>
                <a:gd name="T3" fmla="*/ 77 h 136"/>
                <a:gd name="T4" fmla="*/ 97 w 113"/>
                <a:gd name="T5" fmla="*/ 70 h 136"/>
                <a:gd name="T6" fmla="*/ 95 w 113"/>
                <a:gd name="T7" fmla="*/ 64 h 136"/>
                <a:gd name="T8" fmla="*/ 92 w 113"/>
                <a:gd name="T9" fmla="*/ 61 h 136"/>
                <a:gd name="T10" fmla="*/ 91 w 113"/>
                <a:gd name="T11" fmla="*/ 52 h 136"/>
                <a:gd name="T12" fmla="*/ 85 w 113"/>
                <a:gd name="T13" fmla="*/ 50 h 136"/>
                <a:gd name="T14" fmla="*/ 80 w 113"/>
                <a:gd name="T15" fmla="*/ 46 h 136"/>
                <a:gd name="T16" fmla="*/ 81 w 113"/>
                <a:gd name="T17" fmla="*/ 36 h 136"/>
                <a:gd name="T18" fmla="*/ 79 w 113"/>
                <a:gd name="T19" fmla="*/ 31 h 136"/>
                <a:gd name="T20" fmla="*/ 78 w 113"/>
                <a:gd name="T21" fmla="*/ 26 h 136"/>
                <a:gd name="T22" fmla="*/ 73 w 113"/>
                <a:gd name="T23" fmla="*/ 26 h 136"/>
                <a:gd name="T24" fmla="*/ 62 w 113"/>
                <a:gd name="T25" fmla="*/ 16 h 136"/>
                <a:gd name="T26" fmla="*/ 54 w 113"/>
                <a:gd name="T27" fmla="*/ 15 h 136"/>
                <a:gd name="T28" fmla="*/ 53 w 113"/>
                <a:gd name="T29" fmla="*/ 13 h 136"/>
                <a:gd name="T30" fmla="*/ 46 w 113"/>
                <a:gd name="T31" fmla="*/ 12 h 136"/>
                <a:gd name="T32" fmla="*/ 44 w 113"/>
                <a:gd name="T33" fmla="*/ 10 h 136"/>
                <a:gd name="T34" fmla="*/ 36 w 113"/>
                <a:gd name="T35" fmla="*/ 5 h 136"/>
                <a:gd name="T36" fmla="*/ 26 w 113"/>
                <a:gd name="T37" fmla="*/ 2 h 136"/>
                <a:gd name="T38" fmla="*/ 19 w 113"/>
                <a:gd name="T39" fmla="*/ 5 h 136"/>
                <a:gd name="T40" fmla="*/ 12 w 113"/>
                <a:gd name="T41" fmla="*/ 6 h 136"/>
                <a:gd name="T42" fmla="*/ 4 w 113"/>
                <a:gd name="T43" fmla="*/ 6 h 136"/>
                <a:gd name="T44" fmla="*/ 1 w 113"/>
                <a:gd name="T45" fmla="*/ 9 h 136"/>
                <a:gd name="T46" fmla="*/ 7 w 113"/>
                <a:gd name="T47" fmla="*/ 13 h 136"/>
                <a:gd name="T48" fmla="*/ 13 w 113"/>
                <a:gd name="T49" fmla="*/ 18 h 136"/>
                <a:gd name="T50" fmla="*/ 17 w 113"/>
                <a:gd name="T51" fmla="*/ 27 h 136"/>
                <a:gd name="T52" fmla="*/ 21 w 113"/>
                <a:gd name="T53" fmla="*/ 35 h 136"/>
                <a:gd name="T54" fmla="*/ 28 w 113"/>
                <a:gd name="T55" fmla="*/ 44 h 136"/>
                <a:gd name="T56" fmla="*/ 31 w 113"/>
                <a:gd name="T57" fmla="*/ 50 h 136"/>
                <a:gd name="T58" fmla="*/ 41 w 113"/>
                <a:gd name="T59" fmla="*/ 62 h 136"/>
                <a:gd name="T60" fmla="*/ 50 w 113"/>
                <a:gd name="T61" fmla="*/ 72 h 136"/>
                <a:gd name="T62" fmla="*/ 54 w 113"/>
                <a:gd name="T63" fmla="*/ 83 h 136"/>
                <a:gd name="T64" fmla="*/ 54 w 113"/>
                <a:gd name="T65" fmla="*/ 98 h 136"/>
                <a:gd name="T66" fmla="*/ 52 w 113"/>
                <a:gd name="T67" fmla="*/ 105 h 136"/>
                <a:gd name="T68" fmla="*/ 53 w 113"/>
                <a:gd name="T69" fmla="*/ 116 h 136"/>
                <a:gd name="T70" fmla="*/ 54 w 113"/>
                <a:gd name="T71" fmla="*/ 128 h 136"/>
                <a:gd name="T72" fmla="*/ 58 w 113"/>
                <a:gd name="T73" fmla="*/ 136 h 136"/>
                <a:gd name="T74" fmla="*/ 66 w 113"/>
                <a:gd name="T75" fmla="*/ 127 h 136"/>
                <a:gd name="T76" fmla="*/ 68 w 113"/>
                <a:gd name="T77" fmla="*/ 122 h 136"/>
                <a:gd name="T78" fmla="*/ 73 w 113"/>
                <a:gd name="T79" fmla="*/ 117 h 136"/>
                <a:gd name="T80" fmla="*/ 78 w 113"/>
                <a:gd name="T81" fmla="*/ 111 h 136"/>
                <a:gd name="T82" fmla="*/ 79 w 113"/>
                <a:gd name="T83" fmla="*/ 102 h 136"/>
                <a:gd name="T84" fmla="*/ 78 w 113"/>
                <a:gd name="T85" fmla="*/ 90 h 136"/>
                <a:gd name="T86" fmla="*/ 85 w 113"/>
                <a:gd name="T87" fmla="*/ 90 h 136"/>
                <a:gd name="T88" fmla="*/ 88 w 113"/>
                <a:gd name="T89" fmla="*/ 92 h 136"/>
                <a:gd name="T90" fmla="*/ 93 w 113"/>
                <a:gd name="T91" fmla="*/ 90 h 136"/>
                <a:gd name="T92" fmla="*/ 98 w 113"/>
                <a:gd name="T93" fmla="*/ 95 h 136"/>
                <a:gd name="T94" fmla="*/ 101 w 113"/>
                <a:gd name="T95" fmla="*/ 90 h 136"/>
                <a:gd name="T96" fmla="*/ 106 w 113"/>
                <a:gd name="T97" fmla="*/ 95 h 136"/>
                <a:gd name="T98" fmla="*/ 113 w 113"/>
                <a:gd name="T99" fmla="*/ 9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136">
                  <a:moveTo>
                    <a:pt x="108" y="89"/>
                  </a:moveTo>
                  <a:cubicBezTo>
                    <a:pt x="107" y="89"/>
                    <a:pt x="106" y="88"/>
                    <a:pt x="106" y="87"/>
                  </a:cubicBezTo>
                  <a:cubicBezTo>
                    <a:pt x="106" y="86"/>
                    <a:pt x="107" y="87"/>
                    <a:pt x="107" y="86"/>
                  </a:cubicBezTo>
                  <a:cubicBezTo>
                    <a:pt x="107" y="83"/>
                    <a:pt x="107" y="80"/>
                    <a:pt x="107" y="77"/>
                  </a:cubicBezTo>
                  <a:cubicBezTo>
                    <a:pt x="106" y="74"/>
                    <a:pt x="103" y="73"/>
                    <a:pt x="101" y="73"/>
                  </a:cubicBezTo>
                  <a:cubicBezTo>
                    <a:pt x="99" y="72"/>
                    <a:pt x="99" y="70"/>
                    <a:pt x="97" y="70"/>
                  </a:cubicBezTo>
                  <a:cubicBezTo>
                    <a:pt x="95" y="70"/>
                    <a:pt x="94" y="69"/>
                    <a:pt x="94" y="68"/>
                  </a:cubicBezTo>
                  <a:cubicBezTo>
                    <a:pt x="94" y="66"/>
                    <a:pt x="96" y="65"/>
                    <a:pt x="95" y="64"/>
                  </a:cubicBezTo>
                  <a:cubicBezTo>
                    <a:pt x="94" y="63"/>
                    <a:pt x="93" y="62"/>
                    <a:pt x="93" y="64"/>
                  </a:cubicBezTo>
                  <a:cubicBezTo>
                    <a:pt x="90" y="62"/>
                    <a:pt x="92" y="63"/>
                    <a:pt x="92" y="61"/>
                  </a:cubicBezTo>
                  <a:cubicBezTo>
                    <a:pt x="93" y="60"/>
                    <a:pt x="93" y="58"/>
                    <a:pt x="93" y="56"/>
                  </a:cubicBezTo>
                  <a:cubicBezTo>
                    <a:pt x="93" y="54"/>
                    <a:pt x="93" y="51"/>
                    <a:pt x="91" y="52"/>
                  </a:cubicBezTo>
                  <a:cubicBezTo>
                    <a:pt x="90" y="52"/>
                    <a:pt x="89" y="55"/>
                    <a:pt x="87" y="53"/>
                  </a:cubicBezTo>
                  <a:cubicBezTo>
                    <a:pt x="87" y="52"/>
                    <a:pt x="86" y="50"/>
                    <a:pt x="85" y="50"/>
                  </a:cubicBezTo>
                  <a:cubicBezTo>
                    <a:pt x="84" y="50"/>
                    <a:pt x="84" y="48"/>
                    <a:pt x="83" y="48"/>
                  </a:cubicBezTo>
                  <a:cubicBezTo>
                    <a:pt x="81" y="46"/>
                    <a:pt x="81" y="48"/>
                    <a:pt x="80" y="46"/>
                  </a:cubicBezTo>
                  <a:cubicBezTo>
                    <a:pt x="78" y="43"/>
                    <a:pt x="79" y="43"/>
                    <a:pt x="80" y="40"/>
                  </a:cubicBezTo>
                  <a:cubicBezTo>
                    <a:pt x="81" y="38"/>
                    <a:pt x="80" y="38"/>
                    <a:pt x="81" y="36"/>
                  </a:cubicBezTo>
                  <a:cubicBezTo>
                    <a:pt x="81" y="35"/>
                    <a:pt x="81" y="34"/>
                    <a:pt x="81" y="33"/>
                  </a:cubicBezTo>
                  <a:cubicBezTo>
                    <a:pt x="80" y="32"/>
                    <a:pt x="79" y="32"/>
                    <a:pt x="79" y="31"/>
                  </a:cubicBezTo>
                  <a:cubicBezTo>
                    <a:pt x="79" y="30"/>
                    <a:pt x="80" y="29"/>
                    <a:pt x="80" y="28"/>
                  </a:cubicBezTo>
                  <a:cubicBezTo>
                    <a:pt x="80" y="27"/>
                    <a:pt x="79" y="28"/>
                    <a:pt x="78" y="26"/>
                  </a:cubicBezTo>
                  <a:cubicBezTo>
                    <a:pt x="78" y="26"/>
                    <a:pt x="78" y="24"/>
                    <a:pt x="77" y="24"/>
                  </a:cubicBezTo>
                  <a:cubicBezTo>
                    <a:pt x="75" y="21"/>
                    <a:pt x="75" y="26"/>
                    <a:pt x="73" y="26"/>
                  </a:cubicBezTo>
                  <a:cubicBezTo>
                    <a:pt x="71" y="26"/>
                    <a:pt x="69" y="23"/>
                    <a:pt x="68" y="21"/>
                  </a:cubicBezTo>
                  <a:cubicBezTo>
                    <a:pt x="67" y="19"/>
                    <a:pt x="66" y="17"/>
                    <a:pt x="62" y="16"/>
                  </a:cubicBezTo>
                  <a:cubicBezTo>
                    <a:pt x="60" y="15"/>
                    <a:pt x="57" y="16"/>
                    <a:pt x="56" y="18"/>
                  </a:cubicBezTo>
                  <a:cubicBezTo>
                    <a:pt x="56" y="22"/>
                    <a:pt x="55" y="16"/>
                    <a:pt x="54" y="15"/>
                  </a:cubicBezTo>
                  <a:cubicBezTo>
                    <a:pt x="54" y="15"/>
                    <a:pt x="52" y="19"/>
                    <a:pt x="51" y="17"/>
                  </a:cubicBezTo>
                  <a:cubicBezTo>
                    <a:pt x="51" y="16"/>
                    <a:pt x="53" y="15"/>
                    <a:pt x="53" y="13"/>
                  </a:cubicBezTo>
                  <a:cubicBezTo>
                    <a:pt x="52" y="11"/>
                    <a:pt x="50" y="13"/>
                    <a:pt x="50" y="13"/>
                  </a:cubicBezTo>
                  <a:cubicBezTo>
                    <a:pt x="48" y="14"/>
                    <a:pt x="47" y="14"/>
                    <a:pt x="46" y="12"/>
                  </a:cubicBezTo>
                  <a:cubicBezTo>
                    <a:pt x="46" y="11"/>
                    <a:pt x="45" y="13"/>
                    <a:pt x="45" y="13"/>
                  </a:cubicBezTo>
                  <a:cubicBezTo>
                    <a:pt x="43" y="12"/>
                    <a:pt x="44" y="11"/>
                    <a:pt x="44" y="10"/>
                  </a:cubicBezTo>
                  <a:cubicBezTo>
                    <a:pt x="43" y="9"/>
                    <a:pt x="42" y="9"/>
                    <a:pt x="42" y="9"/>
                  </a:cubicBezTo>
                  <a:cubicBezTo>
                    <a:pt x="39" y="8"/>
                    <a:pt x="38" y="7"/>
                    <a:pt x="36" y="5"/>
                  </a:cubicBezTo>
                  <a:cubicBezTo>
                    <a:pt x="34" y="3"/>
                    <a:pt x="32" y="4"/>
                    <a:pt x="30" y="3"/>
                  </a:cubicBezTo>
                  <a:cubicBezTo>
                    <a:pt x="27" y="0"/>
                    <a:pt x="27" y="2"/>
                    <a:pt x="26" y="2"/>
                  </a:cubicBezTo>
                  <a:cubicBezTo>
                    <a:pt x="24" y="3"/>
                    <a:pt x="24" y="3"/>
                    <a:pt x="22" y="3"/>
                  </a:cubicBezTo>
                  <a:cubicBezTo>
                    <a:pt x="21" y="3"/>
                    <a:pt x="20" y="4"/>
                    <a:pt x="19" y="5"/>
                  </a:cubicBezTo>
                  <a:cubicBezTo>
                    <a:pt x="17" y="8"/>
                    <a:pt x="15" y="6"/>
                    <a:pt x="13" y="5"/>
                  </a:cubicBezTo>
                  <a:cubicBezTo>
                    <a:pt x="11" y="4"/>
                    <a:pt x="12" y="6"/>
                    <a:pt x="12" y="6"/>
                  </a:cubicBezTo>
                  <a:cubicBezTo>
                    <a:pt x="11" y="7"/>
                    <a:pt x="10" y="7"/>
                    <a:pt x="9" y="7"/>
                  </a:cubicBezTo>
                  <a:cubicBezTo>
                    <a:pt x="8" y="6"/>
                    <a:pt x="5" y="4"/>
                    <a:pt x="4" y="6"/>
                  </a:cubicBezTo>
                  <a:cubicBezTo>
                    <a:pt x="3" y="9"/>
                    <a:pt x="7" y="10"/>
                    <a:pt x="2" y="9"/>
                  </a:cubicBezTo>
                  <a:cubicBezTo>
                    <a:pt x="2" y="8"/>
                    <a:pt x="2" y="7"/>
                    <a:pt x="1" y="9"/>
                  </a:cubicBezTo>
                  <a:cubicBezTo>
                    <a:pt x="1" y="10"/>
                    <a:pt x="0" y="10"/>
                    <a:pt x="0" y="11"/>
                  </a:cubicBezTo>
                  <a:cubicBezTo>
                    <a:pt x="2" y="13"/>
                    <a:pt x="5" y="11"/>
                    <a:pt x="7" y="13"/>
                  </a:cubicBezTo>
                  <a:cubicBezTo>
                    <a:pt x="7" y="14"/>
                    <a:pt x="13" y="16"/>
                    <a:pt x="10" y="16"/>
                  </a:cubicBezTo>
                  <a:cubicBezTo>
                    <a:pt x="11" y="17"/>
                    <a:pt x="13" y="17"/>
                    <a:pt x="13" y="18"/>
                  </a:cubicBezTo>
                  <a:cubicBezTo>
                    <a:pt x="13" y="19"/>
                    <a:pt x="13" y="19"/>
                    <a:pt x="14" y="21"/>
                  </a:cubicBezTo>
                  <a:cubicBezTo>
                    <a:pt x="16" y="23"/>
                    <a:pt x="16" y="24"/>
                    <a:pt x="17" y="27"/>
                  </a:cubicBezTo>
                  <a:cubicBezTo>
                    <a:pt x="19" y="29"/>
                    <a:pt x="19" y="32"/>
                    <a:pt x="21" y="34"/>
                  </a:cubicBezTo>
                  <a:cubicBezTo>
                    <a:pt x="22" y="36"/>
                    <a:pt x="21" y="35"/>
                    <a:pt x="21" y="35"/>
                  </a:cubicBezTo>
                  <a:cubicBezTo>
                    <a:pt x="21" y="37"/>
                    <a:pt x="23" y="39"/>
                    <a:pt x="24" y="40"/>
                  </a:cubicBezTo>
                  <a:cubicBezTo>
                    <a:pt x="26" y="41"/>
                    <a:pt x="26" y="43"/>
                    <a:pt x="28" y="44"/>
                  </a:cubicBezTo>
                  <a:cubicBezTo>
                    <a:pt x="29" y="45"/>
                    <a:pt x="30" y="45"/>
                    <a:pt x="31" y="47"/>
                  </a:cubicBezTo>
                  <a:cubicBezTo>
                    <a:pt x="31" y="48"/>
                    <a:pt x="31" y="49"/>
                    <a:pt x="31" y="50"/>
                  </a:cubicBezTo>
                  <a:cubicBezTo>
                    <a:pt x="32" y="52"/>
                    <a:pt x="33" y="53"/>
                    <a:pt x="35" y="54"/>
                  </a:cubicBezTo>
                  <a:cubicBezTo>
                    <a:pt x="38" y="56"/>
                    <a:pt x="38" y="59"/>
                    <a:pt x="41" y="62"/>
                  </a:cubicBezTo>
                  <a:cubicBezTo>
                    <a:pt x="43" y="64"/>
                    <a:pt x="46" y="65"/>
                    <a:pt x="48" y="67"/>
                  </a:cubicBezTo>
                  <a:cubicBezTo>
                    <a:pt x="49" y="69"/>
                    <a:pt x="49" y="70"/>
                    <a:pt x="50" y="72"/>
                  </a:cubicBezTo>
                  <a:cubicBezTo>
                    <a:pt x="51" y="74"/>
                    <a:pt x="51" y="76"/>
                    <a:pt x="52" y="78"/>
                  </a:cubicBezTo>
                  <a:cubicBezTo>
                    <a:pt x="53" y="79"/>
                    <a:pt x="54" y="81"/>
                    <a:pt x="54" y="83"/>
                  </a:cubicBezTo>
                  <a:cubicBezTo>
                    <a:pt x="55" y="85"/>
                    <a:pt x="53" y="87"/>
                    <a:pt x="54" y="89"/>
                  </a:cubicBezTo>
                  <a:cubicBezTo>
                    <a:pt x="56" y="93"/>
                    <a:pt x="54" y="94"/>
                    <a:pt x="54" y="98"/>
                  </a:cubicBezTo>
                  <a:cubicBezTo>
                    <a:pt x="54" y="99"/>
                    <a:pt x="52" y="100"/>
                    <a:pt x="52" y="101"/>
                  </a:cubicBezTo>
                  <a:cubicBezTo>
                    <a:pt x="52" y="102"/>
                    <a:pt x="52" y="104"/>
                    <a:pt x="52" y="105"/>
                  </a:cubicBezTo>
                  <a:cubicBezTo>
                    <a:pt x="52" y="107"/>
                    <a:pt x="51" y="109"/>
                    <a:pt x="52" y="111"/>
                  </a:cubicBezTo>
                  <a:cubicBezTo>
                    <a:pt x="52" y="113"/>
                    <a:pt x="53" y="114"/>
                    <a:pt x="53" y="116"/>
                  </a:cubicBezTo>
                  <a:cubicBezTo>
                    <a:pt x="53" y="120"/>
                    <a:pt x="55" y="122"/>
                    <a:pt x="55" y="126"/>
                  </a:cubicBezTo>
                  <a:cubicBezTo>
                    <a:pt x="55" y="127"/>
                    <a:pt x="55" y="128"/>
                    <a:pt x="54" y="128"/>
                  </a:cubicBezTo>
                  <a:cubicBezTo>
                    <a:pt x="53" y="128"/>
                    <a:pt x="52" y="129"/>
                    <a:pt x="53" y="130"/>
                  </a:cubicBezTo>
                  <a:cubicBezTo>
                    <a:pt x="56" y="131"/>
                    <a:pt x="55" y="134"/>
                    <a:pt x="58" y="136"/>
                  </a:cubicBezTo>
                  <a:cubicBezTo>
                    <a:pt x="57" y="130"/>
                    <a:pt x="63" y="133"/>
                    <a:pt x="66" y="133"/>
                  </a:cubicBezTo>
                  <a:cubicBezTo>
                    <a:pt x="68" y="133"/>
                    <a:pt x="67" y="127"/>
                    <a:pt x="66" y="127"/>
                  </a:cubicBezTo>
                  <a:cubicBezTo>
                    <a:pt x="64" y="125"/>
                    <a:pt x="67" y="125"/>
                    <a:pt x="67" y="124"/>
                  </a:cubicBezTo>
                  <a:cubicBezTo>
                    <a:pt x="68" y="123"/>
                    <a:pt x="68" y="122"/>
                    <a:pt x="68" y="122"/>
                  </a:cubicBezTo>
                  <a:cubicBezTo>
                    <a:pt x="69" y="121"/>
                    <a:pt x="70" y="122"/>
                    <a:pt x="71" y="120"/>
                  </a:cubicBezTo>
                  <a:cubicBezTo>
                    <a:pt x="71" y="119"/>
                    <a:pt x="73" y="119"/>
                    <a:pt x="73" y="117"/>
                  </a:cubicBezTo>
                  <a:cubicBezTo>
                    <a:pt x="73" y="116"/>
                    <a:pt x="72" y="114"/>
                    <a:pt x="73" y="113"/>
                  </a:cubicBezTo>
                  <a:cubicBezTo>
                    <a:pt x="74" y="112"/>
                    <a:pt x="77" y="112"/>
                    <a:pt x="78" y="111"/>
                  </a:cubicBezTo>
                  <a:cubicBezTo>
                    <a:pt x="80" y="110"/>
                    <a:pt x="78" y="108"/>
                    <a:pt x="79" y="106"/>
                  </a:cubicBezTo>
                  <a:cubicBezTo>
                    <a:pt x="79" y="105"/>
                    <a:pt x="81" y="103"/>
                    <a:pt x="79" y="102"/>
                  </a:cubicBezTo>
                  <a:cubicBezTo>
                    <a:pt x="78" y="101"/>
                    <a:pt x="77" y="99"/>
                    <a:pt x="77" y="97"/>
                  </a:cubicBezTo>
                  <a:cubicBezTo>
                    <a:pt x="77" y="94"/>
                    <a:pt x="75" y="92"/>
                    <a:pt x="78" y="90"/>
                  </a:cubicBezTo>
                  <a:cubicBezTo>
                    <a:pt x="79" y="89"/>
                    <a:pt x="81" y="88"/>
                    <a:pt x="82" y="88"/>
                  </a:cubicBezTo>
                  <a:cubicBezTo>
                    <a:pt x="84" y="87"/>
                    <a:pt x="85" y="88"/>
                    <a:pt x="85" y="90"/>
                  </a:cubicBezTo>
                  <a:cubicBezTo>
                    <a:pt x="85" y="91"/>
                    <a:pt x="86" y="94"/>
                    <a:pt x="85" y="94"/>
                  </a:cubicBezTo>
                  <a:cubicBezTo>
                    <a:pt x="86" y="94"/>
                    <a:pt x="88" y="94"/>
                    <a:pt x="88" y="92"/>
                  </a:cubicBezTo>
                  <a:cubicBezTo>
                    <a:pt x="88" y="91"/>
                    <a:pt x="88" y="89"/>
                    <a:pt x="89" y="91"/>
                  </a:cubicBezTo>
                  <a:cubicBezTo>
                    <a:pt x="91" y="95"/>
                    <a:pt x="91" y="89"/>
                    <a:pt x="93" y="90"/>
                  </a:cubicBezTo>
                  <a:cubicBezTo>
                    <a:pt x="94" y="90"/>
                    <a:pt x="92" y="93"/>
                    <a:pt x="95" y="92"/>
                  </a:cubicBezTo>
                  <a:cubicBezTo>
                    <a:pt x="96" y="93"/>
                    <a:pt x="97" y="95"/>
                    <a:pt x="98" y="95"/>
                  </a:cubicBezTo>
                  <a:cubicBezTo>
                    <a:pt x="99" y="94"/>
                    <a:pt x="99" y="93"/>
                    <a:pt x="99" y="92"/>
                  </a:cubicBezTo>
                  <a:cubicBezTo>
                    <a:pt x="100" y="91"/>
                    <a:pt x="101" y="92"/>
                    <a:pt x="101" y="90"/>
                  </a:cubicBezTo>
                  <a:cubicBezTo>
                    <a:pt x="102" y="92"/>
                    <a:pt x="103" y="92"/>
                    <a:pt x="104" y="95"/>
                  </a:cubicBezTo>
                  <a:cubicBezTo>
                    <a:pt x="104" y="96"/>
                    <a:pt x="105" y="96"/>
                    <a:pt x="106" y="95"/>
                  </a:cubicBezTo>
                  <a:cubicBezTo>
                    <a:pt x="107" y="94"/>
                    <a:pt x="108" y="94"/>
                    <a:pt x="110" y="94"/>
                  </a:cubicBezTo>
                  <a:cubicBezTo>
                    <a:pt x="111" y="95"/>
                    <a:pt x="113" y="95"/>
                    <a:pt x="113" y="93"/>
                  </a:cubicBezTo>
                  <a:cubicBezTo>
                    <a:pt x="113" y="93"/>
                    <a:pt x="108" y="89"/>
                    <a:pt x="108" y="89"/>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215">
              <a:extLst>
                <a:ext uri="{FF2B5EF4-FFF2-40B4-BE49-F238E27FC236}">
                  <a16:creationId xmlns:a16="http://schemas.microsoft.com/office/drawing/2014/main" id="{88B1EAE9-013F-15CA-C9BF-135440D58A41}"/>
                </a:ext>
              </a:extLst>
            </p:cNvPr>
            <p:cNvSpPr>
              <a:spLocks/>
            </p:cNvSpPr>
            <p:nvPr/>
          </p:nvSpPr>
          <p:spPr bwMode="auto">
            <a:xfrm>
              <a:off x="3168642" y="506564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Rectangle 216">
              <a:extLst>
                <a:ext uri="{FF2B5EF4-FFF2-40B4-BE49-F238E27FC236}">
                  <a16:creationId xmlns:a16="http://schemas.microsoft.com/office/drawing/2014/main" id="{29C05CE5-DB0A-8921-5442-A7DBFD7C7DC9}"/>
                </a:ext>
              </a:extLst>
            </p:cNvPr>
            <p:cNvSpPr>
              <a:spLocks noChangeArrowheads="1"/>
            </p:cNvSpPr>
            <p:nvPr/>
          </p:nvSpPr>
          <p:spPr bwMode="auto">
            <a:xfrm>
              <a:off x="3043498" y="4708077"/>
              <a:ext cx="1181" cy="1192"/>
            </a:xfrm>
            <a:prstGeom prst="rect">
              <a:avLst/>
            </a:pr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222">
              <a:extLst>
                <a:ext uri="{FF2B5EF4-FFF2-40B4-BE49-F238E27FC236}">
                  <a16:creationId xmlns:a16="http://schemas.microsoft.com/office/drawing/2014/main" id="{0D6BCA6B-1E3F-6142-BD4E-9D3F4E99BB9A}"/>
                </a:ext>
              </a:extLst>
            </p:cNvPr>
            <p:cNvSpPr>
              <a:spLocks/>
            </p:cNvSpPr>
            <p:nvPr/>
          </p:nvSpPr>
          <p:spPr bwMode="auto">
            <a:xfrm>
              <a:off x="3397681" y="5387455"/>
              <a:ext cx="165285" cy="177592"/>
            </a:xfrm>
            <a:custGeom>
              <a:avLst/>
              <a:gdLst>
                <a:gd name="T0" fmla="*/ 126 w 140"/>
                <a:gd name="T1" fmla="*/ 61 h 149"/>
                <a:gd name="T2" fmla="*/ 107 w 140"/>
                <a:gd name="T3" fmla="*/ 57 h 149"/>
                <a:gd name="T4" fmla="*/ 105 w 140"/>
                <a:gd name="T5" fmla="*/ 43 h 149"/>
                <a:gd name="T6" fmla="*/ 90 w 140"/>
                <a:gd name="T7" fmla="*/ 38 h 149"/>
                <a:gd name="T8" fmla="*/ 86 w 140"/>
                <a:gd name="T9" fmla="*/ 33 h 149"/>
                <a:gd name="T10" fmla="*/ 86 w 140"/>
                <a:gd name="T11" fmla="*/ 28 h 149"/>
                <a:gd name="T12" fmla="*/ 81 w 140"/>
                <a:gd name="T13" fmla="*/ 28 h 149"/>
                <a:gd name="T14" fmla="*/ 76 w 140"/>
                <a:gd name="T15" fmla="*/ 26 h 149"/>
                <a:gd name="T16" fmla="*/ 79 w 140"/>
                <a:gd name="T17" fmla="*/ 21 h 149"/>
                <a:gd name="T18" fmla="*/ 76 w 140"/>
                <a:gd name="T19" fmla="*/ 19 h 149"/>
                <a:gd name="T20" fmla="*/ 67 w 140"/>
                <a:gd name="T21" fmla="*/ 16 h 149"/>
                <a:gd name="T22" fmla="*/ 60 w 140"/>
                <a:gd name="T23" fmla="*/ 12 h 149"/>
                <a:gd name="T24" fmla="*/ 60 w 140"/>
                <a:gd name="T25" fmla="*/ 5 h 149"/>
                <a:gd name="T26" fmla="*/ 57 w 140"/>
                <a:gd name="T27" fmla="*/ 5 h 149"/>
                <a:gd name="T28" fmla="*/ 57 w 140"/>
                <a:gd name="T29" fmla="*/ 2 h 149"/>
                <a:gd name="T30" fmla="*/ 45 w 140"/>
                <a:gd name="T31" fmla="*/ 0 h 149"/>
                <a:gd name="T32" fmla="*/ 41 w 140"/>
                <a:gd name="T33" fmla="*/ 5 h 149"/>
                <a:gd name="T34" fmla="*/ 36 w 140"/>
                <a:gd name="T35" fmla="*/ 12 h 149"/>
                <a:gd name="T36" fmla="*/ 38 w 140"/>
                <a:gd name="T37" fmla="*/ 19 h 149"/>
                <a:gd name="T38" fmla="*/ 41 w 140"/>
                <a:gd name="T39" fmla="*/ 21 h 149"/>
                <a:gd name="T40" fmla="*/ 45 w 140"/>
                <a:gd name="T41" fmla="*/ 24 h 149"/>
                <a:gd name="T42" fmla="*/ 45 w 140"/>
                <a:gd name="T43" fmla="*/ 26 h 149"/>
                <a:gd name="T44" fmla="*/ 38 w 140"/>
                <a:gd name="T45" fmla="*/ 33 h 149"/>
                <a:gd name="T46" fmla="*/ 31 w 140"/>
                <a:gd name="T47" fmla="*/ 38 h 149"/>
                <a:gd name="T48" fmla="*/ 22 w 140"/>
                <a:gd name="T49" fmla="*/ 43 h 149"/>
                <a:gd name="T50" fmla="*/ 19 w 140"/>
                <a:gd name="T51" fmla="*/ 47 h 149"/>
                <a:gd name="T52" fmla="*/ 15 w 140"/>
                <a:gd name="T53" fmla="*/ 47 h 149"/>
                <a:gd name="T54" fmla="*/ 10 w 140"/>
                <a:gd name="T55" fmla="*/ 50 h 149"/>
                <a:gd name="T56" fmla="*/ 5 w 140"/>
                <a:gd name="T57" fmla="*/ 52 h 149"/>
                <a:gd name="T58" fmla="*/ 0 w 140"/>
                <a:gd name="T59" fmla="*/ 52 h 149"/>
                <a:gd name="T60" fmla="*/ 0 w 140"/>
                <a:gd name="T61" fmla="*/ 54 h 149"/>
                <a:gd name="T62" fmla="*/ 5 w 140"/>
                <a:gd name="T63" fmla="*/ 59 h 149"/>
                <a:gd name="T64" fmla="*/ 5 w 140"/>
                <a:gd name="T65" fmla="*/ 69 h 149"/>
                <a:gd name="T66" fmla="*/ 8 w 140"/>
                <a:gd name="T67" fmla="*/ 76 h 149"/>
                <a:gd name="T68" fmla="*/ 8 w 140"/>
                <a:gd name="T69" fmla="*/ 80 h 149"/>
                <a:gd name="T70" fmla="*/ 10 w 140"/>
                <a:gd name="T71" fmla="*/ 95 h 149"/>
                <a:gd name="T72" fmla="*/ 22 w 140"/>
                <a:gd name="T73" fmla="*/ 104 h 149"/>
                <a:gd name="T74" fmla="*/ 29 w 140"/>
                <a:gd name="T75" fmla="*/ 111 h 149"/>
                <a:gd name="T76" fmla="*/ 36 w 140"/>
                <a:gd name="T77" fmla="*/ 128 h 149"/>
                <a:gd name="T78" fmla="*/ 41 w 140"/>
                <a:gd name="T79" fmla="*/ 149 h 149"/>
                <a:gd name="T80" fmla="*/ 53 w 140"/>
                <a:gd name="T81" fmla="*/ 149 h 149"/>
                <a:gd name="T82" fmla="*/ 55 w 140"/>
                <a:gd name="T83" fmla="*/ 137 h 149"/>
                <a:gd name="T84" fmla="*/ 55 w 140"/>
                <a:gd name="T85" fmla="*/ 132 h 149"/>
                <a:gd name="T86" fmla="*/ 74 w 140"/>
                <a:gd name="T87" fmla="*/ 116 h 149"/>
                <a:gd name="T88" fmla="*/ 76 w 140"/>
                <a:gd name="T89" fmla="*/ 118 h 149"/>
                <a:gd name="T90" fmla="*/ 76 w 140"/>
                <a:gd name="T91" fmla="*/ 116 h 149"/>
                <a:gd name="T92" fmla="*/ 83 w 140"/>
                <a:gd name="T93" fmla="*/ 114 h 149"/>
                <a:gd name="T94" fmla="*/ 100 w 140"/>
                <a:gd name="T95" fmla="*/ 111 h 149"/>
                <a:gd name="T96" fmla="*/ 109 w 140"/>
                <a:gd name="T97" fmla="*/ 106 h 149"/>
                <a:gd name="T98" fmla="*/ 112 w 140"/>
                <a:gd name="T99" fmla="*/ 106 h 149"/>
                <a:gd name="T100" fmla="*/ 116 w 140"/>
                <a:gd name="T101" fmla="*/ 104 h 149"/>
                <a:gd name="T102" fmla="*/ 119 w 140"/>
                <a:gd name="T103" fmla="*/ 106 h 149"/>
                <a:gd name="T104" fmla="*/ 123 w 140"/>
                <a:gd name="T105" fmla="*/ 106 h 149"/>
                <a:gd name="T106" fmla="*/ 135 w 140"/>
                <a:gd name="T107" fmla="*/ 106 h 149"/>
                <a:gd name="T108" fmla="*/ 140 w 140"/>
                <a:gd name="T109" fmla="*/ 97 h 149"/>
                <a:gd name="T110" fmla="*/ 138 w 140"/>
                <a:gd name="T111" fmla="*/ 87 h 149"/>
                <a:gd name="T112" fmla="*/ 135 w 140"/>
                <a:gd name="T113" fmla="*/ 83 h 149"/>
                <a:gd name="T114" fmla="*/ 133 w 140"/>
                <a:gd name="T115" fmla="*/ 76 h 149"/>
                <a:gd name="T116" fmla="*/ 135 w 140"/>
                <a:gd name="T117" fmla="*/ 71 h 149"/>
                <a:gd name="T118" fmla="*/ 135 w 140"/>
                <a:gd name="T119" fmla="*/ 7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0" h="149">
                  <a:moveTo>
                    <a:pt x="135" y="71"/>
                  </a:moveTo>
                  <a:lnTo>
                    <a:pt x="126" y="61"/>
                  </a:lnTo>
                  <a:lnTo>
                    <a:pt x="119" y="59"/>
                  </a:lnTo>
                  <a:lnTo>
                    <a:pt x="107" y="57"/>
                  </a:lnTo>
                  <a:lnTo>
                    <a:pt x="97" y="52"/>
                  </a:lnTo>
                  <a:lnTo>
                    <a:pt x="105" y="43"/>
                  </a:lnTo>
                  <a:lnTo>
                    <a:pt x="90" y="38"/>
                  </a:lnTo>
                  <a:lnTo>
                    <a:pt x="90" y="38"/>
                  </a:lnTo>
                  <a:lnTo>
                    <a:pt x="88" y="38"/>
                  </a:lnTo>
                  <a:lnTo>
                    <a:pt x="86" y="33"/>
                  </a:lnTo>
                  <a:lnTo>
                    <a:pt x="86" y="33"/>
                  </a:lnTo>
                  <a:lnTo>
                    <a:pt x="86" y="28"/>
                  </a:lnTo>
                  <a:lnTo>
                    <a:pt x="86" y="28"/>
                  </a:lnTo>
                  <a:lnTo>
                    <a:pt x="81" y="28"/>
                  </a:lnTo>
                  <a:lnTo>
                    <a:pt x="79" y="28"/>
                  </a:lnTo>
                  <a:lnTo>
                    <a:pt x="76" y="26"/>
                  </a:lnTo>
                  <a:lnTo>
                    <a:pt x="76" y="26"/>
                  </a:lnTo>
                  <a:lnTo>
                    <a:pt x="79" y="21"/>
                  </a:lnTo>
                  <a:lnTo>
                    <a:pt x="76" y="19"/>
                  </a:lnTo>
                  <a:lnTo>
                    <a:pt x="76" y="19"/>
                  </a:lnTo>
                  <a:lnTo>
                    <a:pt x="74" y="16"/>
                  </a:lnTo>
                  <a:lnTo>
                    <a:pt x="67" y="16"/>
                  </a:lnTo>
                  <a:lnTo>
                    <a:pt x="67" y="16"/>
                  </a:lnTo>
                  <a:lnTo>
                    <a:pt x="60" y="12"/>
                  </a:lnTo>
                  <a:lnTo>
                    <a:pt x="57" y="12"/>
                  </a:lnTo>
                  <a:lnTo>
                    <a:pt x="60" y="5"/>
                  </a:lnTo>
                  <a:lnTo>
                    <a:pt x="60" y="5"/>
                  </a:lnTo>
                  <a:lnTo>
                    <a:pt x="57" y="5"/>
                  </a:lnTo>
                  <a:lnTo>
                    <a:pt x="57" y="2"/>
                  </a:lnTo>
                  <a:lnTo>
                    <a:pt x="57" y="2"/>
                  </a:lnTo>
                  <a:lnTo>
                    <a:pt x="45" y="0"/>
                  </a:lnTo>
                  <a:lnTo>
                    <a:pt x="45" y="0"/>
                  </a:lnTo>
                  <a:lnTo>
                    <a:pt x="41" y="5"/>
                  </a:lnTo>
                  <a:lnTo>
                    <a:pt x="41" y="5"/>
                  </a:lnTo>
                  <a:lnTo>
                    <a:pt x="38" y="9"/>
                  </a:lnTo>
                  <a:lnTo>
                    <a:pt x="36" y="12"/>
                  </a:lnTo>
                  <a:lnTo>
                    <a:pt x="36" y="12"/>
                  </a:lnTo>
                  <a:lnTo>
                    <a:pt x="38" y="19"/>
                  </a:lnTo>
                  <a:lnTo>
                    <a:pt x="38" y="19"/>
                  </a:lnTo>
                  <a:lnTo>
                    <a:pt x="41" y="21"/>
                  </a:lnTo>
                  <a:lnTo>
                    <a:pt x="43" y="21"/>
                  </a:lnTo>
                  <a:lnTo>
                    <a:pt x="45" y="24"/>
                  </a:lnTo>
                  <a:lnTo>
                    <a:pt x="45" y="26"/>
                  </a:lnTo>
                  <a:lnTo>
                    <a:pt x="45" y="26"/>
                  </a:lnTo>
                  <a:lnTo>
                    <a:pt x="43" y="28"/>
                  </a:lnTo>
                  <a:lnTo>
                    <a:pt x="38" y="33"/>
                  </a:lnTo>
                  <a:lnTo>
                    <a:pt x="38" y="33"/>
                  </a:lnTo>
                  <a:lnTo>
                    <a:pt x="31" y="38"/>
                  </a:lnTo>
                  <a:lnTo>
                    <a:pt x="22" y="43"/>
                  </a:lnTo>
                  <a:lnTo>
                    <a:pt x="22" y="43"/>
                  </a:lnTo>
                  <a:lnTo>
                    <a:pt x="22" y="45"/>
                  </a:lnTo>
                  <a:lnTo>
                    <a:pt x="19" y="47"/>
                  </a:lnTo>
                  <a:lnTo>
                    <a:pt x="19" y="47"/>
                  </a:lnTo>
                  <a:lnTo>
                    <a:pt x="15" y="47"/>
                  </a:lnTo>
                  <a:lnTo>
                    <a:pt x="10" y="50"/>
                  </a:lnTo>
                  <a:lnTo>
                    <a:pt x="10" y="50"/>
                  </a:lnTo>
                  <a:lnTo>
                    <a:pt x="8" y="52"/>
                  </a:lnTo>
                  <a:lnTo>
                    <a:pt x="5" y="52"/>
                  </a:lnTo>
                  <a:lnTo>
                    <a:pt x="5" y="52"/>
                  </a:lnTo>
                  <a:lnTo>
                    <a:pt x="0" y="52"/>
                  </a:lnTo>
                  <a:lnTo>
                    <a:pt x="0" y="52"/>
                  </a:lnTo>
                  <a:lnTo>
                    <a:pt x="0" y="54"/>
                  </a:lnTo>
                  <a:lnTo>
                    <a:pt x="3" y="59"/>
                  </a:lnTo>
                  <a:lnTo>
                    <a:pt x="5" y="59"/>
                  </a:lnTo>
                  <a:lnTo>
                    <a:pt x="5" y="66"/>
                  </a:lnTo>
                  <a:lnTo>
                    <a:pt x="5" y="69"/>
                  </a:lnTo>
                  <a:lnTo>
                    <a:pt x="5" y="71"/>
                  </a:lnTo>
                  <a:lnTo>
                    <a:pt x="8" y="76"/>
                  </a:lnTo>
                  <a:lnTo>
                    <a:pt x="8" y="76"/>
                  </a:lnTo>
                  <a:lnTo>
                    <a:pt x="8" y="80"/>
                  </a:lnTo>
                  <a:lnTo>
                    <a:pt x="10" y="85"/>
                  </a:lnTo>
                  <a:lnTo>
                    <a:pt x="10" y="95"/>
                  </a:lnTo>
                  <a:lnTo>
                    <a:pt x="12" y="102"/>
                  </a:lnTo>
                  <a:lnTo>
                    <a:pt x="22" y="104"/>
                  </a:lnTo>
                  <a:lnTo>
                    <a:pt x="26" y="106"/>
                  </a:lnTo>
                  <a:lnTo>
                    <a:pt x="29" y="111"/>
                  </a:lnTo>
                  <a:lnTo>
                    <a:pt x="34" y="123"/>
                  </a:lnTo>
                  <a:lnTo>
                    <a:pt x="36" y="128"/>
                  </a:lnTo>
                  <a:lnTo>
                    <a:pt x="38" y="130"/>
                  </a:lnTo>
                  <a:lnTo>
                    <a:pt x="41" y="149"/>
                  </a:lnTo>
                  <a:lnTo>
                    <a:pt x="45" y="149"/>
                  </a:lnTo>
                  <a:lnTo>
                    <a:pt x="53" y="149"/>
                  </a:lnTo>
                  <a:lnTo>
                    <a:pt x="55" y="140"/>
                  </a:lnTo>
                  <a:lnTo>
                    <a:pt x="55" y="137"/>
                  </a:lnTo>
                  <a:lnTo>
                    <a:pt x="55" y="135"/>
                  </a:lnTo>
                  <a:lnTo>
                    <a:pt x="55" y="132"/>
                  </a:lnTo>
                  <a:lnTo>
                    <a:pt x="62" y="123"/>
                  </a:lnTo>
                  <a:lnTo>
                    <a:pt x="74" y="116"/>
                  </a:lnTo>
                  <a:lnTo>
                    <a:pt x="74" y="116"/>
                  </a:lnTo>
                  <a:lnTo>
                    <a:pt x="76" y="118"/>
                  </a:lnTo>
                  <a:lnTo>
                    <a:pt x="76" y="116"/>
                  </a:lnTo>
                  <a:lnTo>
                    <a:pt x="76" y="116"/>
                  </a:lnTo>
                  <a:lnTo>
                    <a:pt x="76" y="116"/>
                  </a:lnTo>
                  <a:lnTo>
                    <a:pt x="83" y="114"/>
                  </a:lnTo>
                  <a:lnTo>
                    <a:pt x="93" y="125"/>
                  </a:lnTo>
                  <a:lnTo>
                    <a:pt x="100" y="111"/>
                  </a:lnTo>
                  <a:lnTo>
                    <a:pt x="109" y="106"/>
                  </a:lnTo>
                  <a:lnTo>
                    <a:pt x="109" y="106"/>
                  </a:lnTo>
                  <a:lnTo>
                    <a:pt x="112" y="106"/>
                  </a:lnTo>
                  <a:lnTo>
                    <a:pt x="112" y="106"/>
                  </a:lnTo>
                  <a:lnTo>
                    <a:pt x="114" y="104"/>
                  </a:lnTo>
                  <a:lnTo>
                    <a:pt x="116" y="104"/>
                  </a:lnTo>
                  <a:lnTo>
                    <a:pt x="119" y="106"/>
                  </a:lnTo>
                  <a:lnTo>
                    <a:pt x="119" y="106"/>
                  </a:lnTo>
                  <a:lnTo>
                    <a:pt x="123" y="106"/>
                  </a:lnTo>
                  <a:lnTo>
                    <a:pt x="123" y="106"/>
                  </a:lnTo>
                  <a:lnTo>
                    <a:pt x="128" y="104"/>
                  </a:lnTo>
                  <a:lnTo>
                    <a:pt x="135" y="106"/>
                  </a:lnTo>
                  <a:lnTo>
                    <a:pt x="138" y="99"/>
                  </a:lnTo>
                  <a:lnTo>
                    <a:pt x="140" y="97"/>
                  </a:lnTo>
                  <a:lnTo>
                    <a:pt x="138" y="92"/>
                  </a:lnTo>
                  <a:lnTo>
                    <a:pt x="138" y="87"/>
                  </a:lnTo>
                  <a:lnTo>
                    <a:pt x="135" y="87"/>
                  </a:lnTo>
                  <a:lnTo>
                    <a:pt x="135" y="83"/>
                  </a:lnTo>
                  <a:lnTo>
                    <a:pt x="135" y="78"/>
                  </a:lnTo>
                  <a:lnTo>
                    <a:pt x="133" y="76"/>
                  </a:lnTo>
                  <a:lnTo>
                    <a:pt x="133" y="73"/>
                  </a:lnTo>
                  <a:lnTo>
                    <a:pt x="135" y="71"/>
                  </a:lnTo>
                  <a:lnTo>
                    <a:pt x="135" y="71"/>
                  </a:lnTo>
                  <a:lnTo>
                    <a:pt x="135" y="71"/>
                  </a:ln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58">
              <a:extLst>
                <a:ext uri="{FF2B5EF4-FFF2-40B4-BE49-F238E27FC236}">
                  <a16:creationId xmlns:a16="http://schemas.microsoft.com/office/drawing/2014/main" id="{74F09A3D-119C-2D8D-2B1E-8286DF0B5FD8}"/>
                </a:ext>
              </a:extLst>
            </p:cNvPr>
            <p:cNvSpPr>
              <a:spLocks/>
            </p:cNvSpPr>
            <p:nvPr/>
          </p:nvSpPr>
          <p:spPr bwMode="auto">
            <a:xfrm>
              <a:off x="2581864" y="3979012"/>
              <a:ext cx="28335" cy="17879"/>
            </a:xfrm>
            <a:custGeom>
              <a:avLst/>
              <a:gdLst>
                <a:gd name="T0" fmla="*/ 4 w 10"/>
                <a:gd name="T1" fmla="*/ 5 h 6"/>
                <a:gd name="T2" fmla="*/ 8 w 10"/>
                <a:gd name="T3" fmla="*/ 5 h 6"/>
                <a:gd name="T4" fmla="*/ 10 w 10"/>
                <a:gd name="T5" fmla="*/ 6 h 6"/>
                <a:gd name="T6" fmla="*/ 5 w 10"/>
                <a:gd name="T7" fmla="*/ 0 h 6"/>
                <a:gd name="T8" fmla="*/ 1 w 10"/>
                <a:gd name="T9" fmla="*/ 4 h 6"/>
                <a:gd name="T10" fmla="*/ 4 w 10"/>
                <a:gd name="T11" fmla="*/ 5 h 6"/>
              </a:gdLst>
              <a:ahLst/>
              <a:cxnLst>
                <a:cxn ang="0">
                  <a:pos x="T0" y="T1"/>
                </a:cxn>
                <a:cxn ang="0">
                  <a:pos x="T2" y="T3"/>
                </a:cxn>
                <a:cxn ang="0">
                  <a:pos x="T4" y="T5"/>
                </a:cxn>
                <a:cxn ang="0">
                  <a:pos x="T6" y="T7"/>
                </a:cxn>
                <a:cxn ang="0">
                  <a:pos x="T8" y="T9"/>
                </a:cxn>
                <a:cxn ang="0">
                  <a:pos x="T10" y="T11"/>
                </a:cxn>
              </a:cxnLst>
              <a:rect l="0" t="0" r="r" b="b"/>
              <a:pathLst>
                <a:path w="10" h="6">
                  <a:moveTo>
                    <a:pt x="4" y="5"/>
                  </a:moveTo>
                  <a:cubicBezTo>
                    <a:pt x="4" y="6"/>
                    <a:pt x="6" y="5"/>
                    <a:pt x="8" y="5"/>
                  </a:cubicBezTo>
                  <a:cubicBezTo>
                    <a:pt x="8" y="5"/>
                    <a:pt x="9" y="6"/>
                    <a:pt x="10" y="6"/>
                  </a:cubicBezTo>
                  <a:cubicBezTo>
                    <a:pt x="9" y="3"/>
                    <a:pt x="7" y="1"/>
                    <a:pt x="5" y="0"/>
                  </a:cubicBezTo>
                  <a:cubicBezTo>
                    <a:pt x="3" y="0"/>
                    <a:pt x="0" y="2"/>
                    <a:pt x="1" y="4"/>
                  </a:cubicBezTo>
                  <a:cubicBezTo>
                    <a:pt x="1" y="3"/>
                    <a:pt x="4" y="4"/>
                    <a:pt x="4" y="5"/>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59">
              <a:extLst>
                <a:ext uri="{FF2B5EF4-FFF2-40B4-BE49-F238E27FC236}">
                  <a16:creationId xmlns:a16="http://schemas.microsoft.com/office/drawing/2014/main" id="{08C30044-40B4-0AD2-596E-20DD8ECA0F02}"/>
                </a:ext>
              </a:extLst>
            </p:cNvPr>
            <p:cNvSpPr>
              <a:spLocks/>
            </p:cNvSpPr>
            <p:nvPr/>
          </p:nvSpPr>
          <p:spPr bwMode="auto">
            <a:xfrm>
              <a:off x="2766038" y="398854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60">
              <a:extLst>
                <a:ext uri="{FF2B5EF4-FFF2-40B4-BE49-F238E27FC236}">
                  <a16:creationId xmlns:a16="http://schemas.microsoft.com/office/drawing/2014/main" id="{59A7B507-B471-5C53-732F-61EEFE8FA3F6}"/>
                </a:ext>
              </a:extLst>
            </p:cNvPr>
            <p:cNvSpPr>
              <a:spLocks/>
            </p:cNvSpPr>
            <p:nvPr/>
          </p:nvSpPr>
          <p:spPr bwMode="auto">
            <a:xfrm>
              <a:off x="2579502" y="3999274"/>
              <a:ext cx="4722" cy="0"/>
            </a:xfrm>
            <a:custGeom>
              <a:avLst/>
              <a:gdLst>
                <a:gd name="T0" fmla="*/ 2 w 2"/>
                <a:gd name="T1" fmla="*/ 2 w 2"/>
                <a:gd name="T2" fmla="*/ 2 w 2"/>
              </a:gdLst>
              <a:ahLst/>
              <a:cxnLst>
                <a:cxn ang="0">
                  <a:pos x="T0" y="0"/>
                </a:cxn>
                <a:cxn ang="0">
                  <a:pos x="T1" y="0"/>
                </a:cxn>
                <a:cxn ang="0">
                  <a:pos x="T2" y="0"/>
                </a:cxn>
              </a:cxnLst>
              <a:rect l="0" t="0" r="r" b="b"/>
              <a:pathLst>
                <a:path w="2">
                  <a:moveTo>
                    <a:pt x="2" y="0"/>
                  </a:moveTo>
                  <a:cubicBezTo>
                    <a:pt x="2" y="0"/>
                    <a:pt x="2" y="0"/>
                    <a:pt x="2" y="0"/>
                  </a:cubicBezTo>
                  <a:cubicBezTo>
                    <a:pt x="0" y="0"/>
                    <a:pt x="1" y="0"/>
                    <a:pt x="2"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63">
              <a:extLst>
                <a:ext uri="{FF2B5EF4-FFF2-40B4-BE49-F238E27FC236}">
                  <a16:creationId xmlns:a16="http://schemas.microsoft.com/office/drawing/2014/main" id="{CA645918-B4C3-3AEB-767D-BBFC8DBED760}"/>
                </a:ext>
              </a:extLst>
            </p:cNvPr>
            <p:cNvSpPr>
              <a:spLocks/>
            </p:cNvSpPr>
            <p:nvPr/>
          </p:nvSpPr>
          <p:spPr bwMode="auto">
            <a:xfrm>
              <a:off x="2349283" y="2952793"/>
              <a:ext cx="25973" cy="14303"/>
            </a:xfrm>
            <a:custGeom>
              <a:avLst/>
              <a:gdLst>
                <a:gd name="T0" fmla="*/ 4 w 9"/>
                <a:gd name="T1" fmla="*/ 4 h 5"/>
                <a:gd name="T2" fmla="*/ 4 w 9"/>
                <a:gd name="T3" fmla="*/ 1 h 5"/>
                <a:gd name="T4" fmla="*/ 4 w 9"/>
                <a:gd name="T5" fmla="*/ 4 h 5"/>
              </a:gdLst>
              <a:ahLst/>
              <a:cxnLst>
                <a:cxn ang="0">
                  <a:pos x="T0" y="T1"/>
                </a:cxn>
                <a:cxn ang="0">
                  <a:pos x="T2" y="T3"/>
                </a:cxn>
                <a:cxn ang="0">
                  <a:pos x="T4" y="T5"/>
                </a:cxn>
              </a:cxnLst>
              <a:rect l="0" t="0" r="r" b="b"/>
              <a:pathLst>
                <a:path w="9" h="5">
                  <a:moveTo>
                    <a:pt x="4" y="4"/>
                  </a:moveTo>
                  <a:cubicBezTo>
                    <a:pt x="9" y="4"/>
                    <a:pt x="7" y="0"/>
                    <a:pt x="4" y="1"/>
                  </a:cubicBezTo>
                  <a:cubicBezTo>
                    <a:pt x="0" y="2"/>
                    <a:pt x="1" y="5"/>
                    <a:pt x="4" y="4"/>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64">
              <a:extLst>
                <a:ext uri="{FF2B5EF4-FFF2-40B4-BE49-F238E27FC236}">
                  <a16:creationId xmlns:a16="http://schemas.microsoft.com/office/drawing/2014/main" id="{D86978A5-30FE-4CAE-B799-51C7D6DE5787}"/>
                </a:ext>
              </a:extLst>
            </p:cNvPr>
            <p:cNvSpPr>
              <a:spLocks/>
            </p:cNvSpPr>
            <p:nvPr/>
          </p:nvSpPr>
          <p:spPr bwMode="auto">
            <a:xfrm>
              <a:off x="2171012" y="3060063"/>
              <a:ext cx="22432" cy="16686"/>
            </a:xfrm>
            <a:custGeom>
              <a:avLst/>
              <a:gdLst>
                <a:gd name="T0" fmla="*/ 6 w 8"/>
                <a:gd name="T1" fmla="*/ 4 h 6"/>
                <a:gd name="T2" fmla="*/ 7 w 8"/>
                <a:gd name="T3" fmla="*/ 1 h 6"/>
                <a:gd name="T4" fmla="*/ 1 w 8"/>
                <a:gd name="T5" fmla="*/ 1 h 6"/>
                <a:gd name="T6" fmla="*/ 1 w 8"/>
                <a:gd name="T7" fmla="*/ 4 h 6"/>
                <a:gd name="T8" fmla="*/ 0 w 8"/>
                <a:gd name="T9" fmla="*/ 4 h 6"/>
                <a:gd name="T10" fmla="*/ 6 w 8"/>
                <a:gd name="T11" fmla="*/ 4 h 6"/>
              </a:gdLst>
              <a:ahLst/>
              <a:cxnLst>
                <a:cxn ang="0">
                  <a:pos x="T0" y="T1"/>
                </a:cxn>
                <a:cxn ang="0">
                  <a:pos x="T2" y="T3"/>
                </a:cxn>
                <a:cxn ang="0">
                  <a:pos x="T4" y="T5"/>
                </a:cxn>
                <a:cxn ang="0">
                  <a:pos x="T6" y="T7"/>
                </a:cxn>
                <a:cxn ang="0">
                  <a:pos x="T8" y="T9"/>
                </a:cxn>
                <a:cxn ang="0">
                  <a:pos x="T10" y="T11"/>
                </a:cxn>
              </a:cxnLst>
              <a:rect l="0" t="0" r="r" b="b"/>
              <a:pathLst>
                <a:path w="8" h="6">
                  <a:moveTo>
                    <a:pt x="6" y="4"/>
                  </a:moveTo>
                  <a:cubicBezTo>
                    <a:pt x="7" y="4"/>
                    <a:pt x="8" y="1"/>
                    <a:pt x="7" y="1"/>
                  </a:cubicBezTo>
                  <a:cubicBezTo>
                    <a:pt x="5" y="2"/>
                    <a:pt x="3" y="0"/>
                    <a:pt x="1" y="1"/>
                  </a:cubicBezTo>
                  <a:cubicBezTo>
                    <a:pt x="0" y="2"/>
                    <a:pt x="0" y="3"/>
                    <a:pt x="1" y="4"/>
                  </a:cubicBezTo>
                  <a:cubicBezTo>
                    <a:pt x="1" y="4"/>
                    <a:pt x="0" y="4"/>
                    <a:pt x="0" y="4"/>
                  </a:cubicBezTo>
                  <a:cubicBezTo>
                    <a:pt x="1" y="6"/>
                    <a:pt x="5" y="5"/>
                    <a:pt x="6" y="4"/>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72">
              <a:extLst>
                <a:ext uri="{FF2B5EF4-FFF2-40B4-BE49-F238E27FC236}">
                  <a16:creationId xmlns:a16="http://schemas.microsoft.com/office/drawing/2014/main" id="{2797002B-EBC6-F1C5-EE29-39D1FAF7604D}"/>
                </a:ext>
              </a:extLst>
            </p:cNvPr>
            <p:cNvSpPr>
              <a:spLocks/>
            </p:cNvSpPr>
            <p:nvPr/>
          </p:nvSpPr>
          <p:spPr bwMode="auto">
            <a:xfrm>
              <a:off x="2126149" y="3344925"/>
              <a:ext cx="24793" cy="36949"/>
            </a:xfrm>
            <a:custGeom>
              <a:avLst/>
              <a:gdLst>
                <a:gd name="T0" fmla="*/ 4 w 9"/>
                <a:gd name="T1" fmla="*/ 5 h 13"/>
                <a:gd name="T2" fmla="*/ 3 w 9"/>
                <a:gd name="T3" fmla="*/ 12 h 13"/>
                <a:gd name="T4" fmla="*/ 4 w 9"/>
                <a:gd name="T5" fmla="*/ 8 h 13"/>
                <a:gd name="T6" fmla="*/ 3 w 9"/>
                <a:gd name="T7" fmla="*/ 8 h 13"/>
                <a:gd name="T8" fmla="*/ 5 w 9"/>
                <a:gd name="T9" fmla="*/ 6 h 13"/>
                <a:gd name="T10" fmla="*/ 6 w 9"/>
                <a:gd name="T11" fmla="*/ 8 h 13"/>
                <a:gd name="T12" fmla="*/ 4 w 9"/>
                <a:gd name="T13" fmla="*/ 3 h 13"/>
                <a:gd name="T14" fmla="*/ 2 w 9"/>
                <a:gd name="T15" fmla="*/ 0 h 13"/>
                <a:gd name="T16" fmla="*/ 3 w 9"/>
                <a:gd name="T17" fmla="*/ 2 h 13"/>
                <a:gd name="T18" fmla="*/ 1 w 9"/>
                <a:gd name="T19" fmla="*/ 4 h 13"/>
                <a:gd name="T20" fmla="*/ 2 w 9"/>
                <a:gd name="T21" fmla="*/ 4 h 13"/>
                <a:gd name="T22" fmla="*/ 4 w 9"/>
                <a:gd name="T2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3">
                  <a:moveTo>
                    <a:pt x="4" y="5"/>
                  </a:moveTo>
                  <a:cubicBezTo>
                    <a:pt x="1" y="6"/>
                    <a:pt x="2" y="13"/>
                    <a:pt x="3" y="12"/>
                  </a:cubicBezTo>
                  <a:cubicBezTo>
                    <a:pt x="4" y="11"/>
                    <a:pt x="5" y="8"/>
                    <a:pt x="4" y="8"/>
                  </a:cubicBezTo>
                  <a:cubicBezTo>
                    <a:pt x="4" y="7"/>
                    <a:pt x="3" y="10"/>
                    <a:pt x="3" y="8"/>
                  </a:cubicBezTo>
                  <a:cubicBezTo>
                    <a:pt x="3" y="8"/>
                    <a:pt x="4" y="5"/>
                    <a:pt x="5" y="6"/>
                  </a:cubicBezTo>
                  <a:cubicBezTo>
                    <a:pt x="6" y="5"/>
                    <a:pt x="7" y="7"/>
                    <a:pt x="6" y="8"/>
                  </a:cubicBezTo>
                  <a:cubicBezTo>
                    <a:pt x="9" y="8"/>
                    <a:pt x="6" y="2"/>
                    <a:pt x="4" y="3"/>
                  </a:cubicBezTo>
                  <a:cubicBezTo>
                    <a:pt x="5" y="2"/>
                    <a:pt x="2" y="0"/>
                    <a:pt x="2" y="0"/>
                  </a:cubicBezTo>
                  <a:cubicBezTo>
                    <a:pt x="2" y="1"/>
                    <a:pt x="3" y="2"/>
                    <a:pt x="3" y="2"/>
                  </a:cubicBezTo>
                  <a:cubicBezTo>
                    <a:pt x="2" y="2"/>
                    <a:pt x="0" y="4"/>
                    <a:pt x="1" y="4"/>
                  </a:cubicBezTo>
                  <a:cubicBezTo>
                    <a:pt x="1" y="4"/>
                    <a:pt x="1" y="4"/>
                    <a:pt x="2" y="4"/>
                  </a:cubicBezTo>
                  <a:cubicBezTo>
                    <a:pt x="2" y="5"/>
                    <a:pt x="3" y="5"/>
                    <a:pt x="4" y="5"/>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73">
              <a:extLst>
                <a:ext uri="{FF2B5EF4-FFF2-40B4-BE49-F238E27FC236}">
                  <a16:creationId xmlns:a16="http://schemas.microsoft.com/office/drawing/2014/main" id="{A1DFF44A-7B4A-DC7B-9B78-B160DD66305E}"/>
                </a:ext>
              </a:extLst>
            </p:cNvPr>
            <p:cNvSpPr>
              <a:spLocks/>
            </p:cNvSpPr>
            <p:nvPr/>
          </p:nvSpPr>
          <p:spPr bwMode="auto">
            <a:xfrm>
              <a:off x="2129690" y="3398561"/>
              <a:ext cx="12987" cy="33373"/>
            </a:xfrm>
            <a:custGeom>
              <a:avLst/>
              <a:gdLst>
                <a:gd name="T0" fmla="*/ 2 w 5"/>
                <a:gd name="T1" fmla="*/ 0 h 12"/>
                <a:gd name="T2" fmla="*/ 2 w 5"/>
                <a:gd name="T3" fmla="*/ 2 h 12"/>
                <a:gd name="T4" fmla="*/ 1 w 5"/>
                <a:gd name="T5" fmla="*/ 3 h 12"/>
                <a:gd name="T6" fmla="*/ 3 w 5"/>
                <a:gd name="T7" fmla="*/ 5 h 12"/>
                <a:gd name="T8" fmla="*/ 2 w 5"/>
                <a:gd name="T9" fmla="*/ 11 h 12"/>
                <a:gd name="T10" fmla="*/ 4 w 5"/>
                <a:gd name="T11" fmla="*/ 5 h 12"/>
                <a:gd name="T12" fmla="*/ 2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2" y="0"/>
                  </a:moveTo>
                  <a:cubicBezTo>
                    <a:pt x="2" y="1"/>
                    <a:pt x="2" y="1"/>
                    <a:pt x="2" y="2"/>
                  </a:cubicBezTo>
                  <a:cubicBezTo>
                    <a:pt x="2" y="2"/>
                    <a:pt x="1" y="2"/>
                    <a:pt x="1" y="3"/>
                  </a:cubicBezTo>
                  <a:cubicBezTo>
                    <a:pt x="1" y="4"/>
                    <a:pt x="2" y="5"/>
                    <a:pt x="3" y="5"/>
                  </a:cubicBezTo>
                  <a:cubicBezTo>
                    <a:pt x="0" y="3"/>
                    <a:pt x="0" y="12"/>
                    <a:pt x="2" y="11"/>
                  </a:cubicBezTo>
                  <a:cubicBezTo>
                    <a:pt x="5" y="11"/>
                    <a:pt x="5" y="7"/>
                    <a:pt x="4" y="5"/>
                  </a:cubicBezTo>
                  <a:cubicBezTo>
                    <a:pt x="4" y="4"/>
                    <a:pt x="3" y="0"/>
                    <a:pt x="2"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76">
              <a:extLst>
                <a:ext uri="{FF2B5EF4-FFF2-40B4-BE49-F238E27FC236}">
                  <a16:creationId xmlns:a16="http://schemas.microsoft.com/office/drawing/2014/main" id="{43CF2489-88CB-69F7-8167-C2F7955E5C87}"/>
                </a:ext>
              </a:extLst>
            </p:cNvPr>
            <p:cNvSpPr>
              <a:spLocks/>
            </p:cNvSpPr>
            <p:nvPr/>
          </p:nvSpPr>
          <p:spPr bwMode="auto">
            <a:xfrm>
              <a:off x="2377618" y="2888431"/>
              <a:ext cx="44863" cy="21454"/>
            </a:xfrm>
            <a:custGeom>
              <a:avLst/>
              <a:gdLst>
                <a:gd name="T0" fmla="*/ 6 w 16"/>
                <a:gd name="T1" fmla="*/ 7 h 8"/>
                <a:gd name="T2" fmla="*/ 10 w 16"/>
                <a:gd name="T3" fmla="*/ 7 h 8"/>
                <a:gd name="T4" fmla="*/ 15 w 16"/>
                <a:gd name="T5" fmla="*/ 3 h 8"/>
                <a:gd name="T6" fmla="*/ 11 w 16"/>
                <a:gd name="T7" fmla="*/ 3 h 8"/>
                <a:gd name="T8" fmla="*/ 13 w 16"/>
                <a:gd name="T9" fmla="*/ 3 h 8"/>
                <a:gd name="T10" fmla="*/ 8 w 16"/>
                <a:gd name="T11" fmla="*/ 4 h 8"/>
                <a:gd name="T12" fmla="*/ 7 w 16"/>
                <a:gd name="T13" fmla="*/ 5 h 8"/>
                <a:gd name="T14" fmla="*/ 0 w 16"/>
                <a:gd name="T15" fmla="*/ 7 h 8"/>
                <a:gd name="T16" fmla="*/ 6 w 16"/>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
                  <a:moveTo>
                    <a:pt x="6" y="7"/>
                  </a:moveTo>
                  <a:cubicBezTo>
                    <a:pt x="7" y="7"/>
                    <a:pt x="8" y="7"/>
                    <a:pt x="10" y="7"/>
                  </a:cubicBezTo>
                  <a:cubicBezTo>
                    <a:pt x="11" y="7"/>
                    <a:pt x="16" y="6"/>
                    <a:pt x="15" y="3"/>
                  </a:cubicBezTo>
                  <a:cubicBezTo>
                    <a:pt x="14" y="1"/>
                    <a:pt x="13" y="0"/>
                    <a:pt x="11" y="3"/>
                  </a:cubicBezTo>
                  <a:cubicBezTo>
                    <a:pt x="12" y="2"/>
                    <a:pt x="12" y="2"/>
                    <a:pt x="13" y="3"/>
                  </a:cubicBezTo>
                  <a:cubicBezTo>
                    <a:pt x="12" y="3"/>
                    <a:pt x="10" y="3"/>
                    <a:pt x="8" y="4"/>
                  </a:cubicBezTo>
                  <a:cubicBezTo>
                    <a:pt x="7" y="5"/>
                    <a:pt x="9" y="5"/>
                    <a:pt x="7" y="5"/>
                  </a:cubicBezTo>
                  <a:cubicBezTo>
                    <a:pt x="5" y="5"/>
                    <a:pt x="2" y="5"/>
                    <a:pt x="0" y="7"/>
                  </a:cubicBezTo>
                  <a:cubicBezTo>
                    <a:pt x="1" y="8"/>
                    <a:pt x="4" y="6"/>
                    <a:pt x="6" y="7"/>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1" name="Freeform 77">
              <a:extLst>
                <a:ext uri="{FF2B5EF4-FFF2-40B4-BE49-F238E27FC236}">
                  <a16:creationId xmlns:a16="http://schemas.microsoft.com/office/drawing/2014/main" id="{4E4F9F6C-AFBA-48A6-2018-3009D1C3B090}"/>
                </a:ext>
              </a:extLst>
            </p:cNvPr>
            <p:cNvSpPr>
              <a:spLocks/>
            </p:cNvSpPr>
            <p:nvPr/>
          </p:nvSpPr>
          <p:spPr bwMode="auto">
            <a:xfrm>
              <a:off x="2600753" y="2816917"/>
              <a:ext cx="3542"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0" y="0"/>
                    <a:pt x="1" y="0"/>
                  </a:cubicBezTo>
                  <a:cubicBezTo>
                    <a:pt x="1" y="0"/>
                    <a:pt x="1" y="0"/>
                    <a:pt x="1" y="0"/>
                  </a:cubicBezTo>
                  <a:cubicBezTo>
                    <a:pt x="0" y="0"/>
                    <a:pt x="0" y="0"/>
                    <a:pt x="0" y="0"/>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78">
              <a:extLst>
                <a:ext uri="{FF2B5EF4-FFF2-40B4-BE49-F238E27FC236}">
                  <a16:creationId xmlns:a16="http://schemas.microsoft.com/office/drawing/2014/main" id="{4DEE2C7C-CCAF-ED89-A067-6DD5660A6807}"/>
                </a:ext>
              </a:extLst>
            </p:cNvPr>
            <p:cNvSpPr>
              <a:spLocks noEditPoints="1"/>
            </p:cNvSpPr>
            <p:nvPr/>
          </p:nvSpPr>
          <p:spPr bwMode="auto">
            <a:xfrm>
              <a:off x="2120245" y="2089863"/>
              <a:ext cx="1847652" cy="1480330"/>
            </a:xfrm>
            <a:custGeom>
              <a:avLst/>
              <a:gdLst>
                <a:gd name="T0" fmla="*/ 630 w 661"/>
                <a:gd name="T1" fmla="*/ 48 h 525"/>
                <a:gd name="T2" fmla="*/ 640 w 661"/>
                <a:gd name="T3" fmla="*/ 22 h 525"/>
                <a:gd name="T4" fmla="*/ 588 w 661"/>
                <a:gd name="T5" fmla="*/ 31 h 525"/>
                <a:gd name="T6" fmla="*/ 587 w 661"/>
                <a:gd name="T7" fmla="*/ 5 h 525"/>
                <a:gd name="T8" fmla="*/ 559 w 661"/>
                <a:gd name="T9" fmla="*/ 16 h 525"/>
                <a:gd name="T10" fmla="*/ 512 w 661"/>
                <a:gd name="T11" fmla="*/ 38 h 525"/>
                <a:gd name="T12" fmla="*/ 528 w 661"/>
                <a:gd name="T13" fmla="*/ 9 h 525"/>
                <a:gd name="T14" fmla="*/ 499 w 661"/>
                <a:gd name="T15" fmla="*/ 9 h 525"/>
                <a:gd name="T16" fmla="*/ 473 w 661"/>
                <a:gd name="T17" fmla="*/ 42 h 525"/>
                <a:gd name="T18" fmla="*/ 435 w 661"/>
                <a:gd name="T19" fmla="*/ 30 h 525"/>
                <a:gd name="T20" fmla="*/ 437 w 661"/>
                <a:gd name="T21" fmla="*/ 49 h 525"/>
                <a:gd name="T22" fmla="*/ 404 w 661"/>
                <a:gd name="T23" fmla="*/ 59 h 525"/>
                <a:gd name="T24" fmla="*/ 379 w 661"/>
                <a:gd name="T25" fmla="*/ 60 h 525"/>
                <a:gd name="T26" fmla="*/ 355 w 661"/>
                <a:gd name="T27" fmla="*/ 68 h 525"/>
                <a:gd name="T28" fmla="*/ 324 w 661"/>
                <a:gd name="T29" fmla="*/ 90 h 525"/>
                <a:gd name="T30" fmla="*/ 305 w 661"/>
                <a:gd name="T31" fmla="*/ 102 h 525"/>
                <a:gd name="T32" fmla="*/ 307 w 661"/>
                <a:gd name="T33" fmla="*/ 115 h 525"/>
                <a:gd name="T34" fmla="*/ 281 w 661"/>
                <a:gd name="T35" fmla="*/ 111 h 525"/>
                <a:gd name="T36" fmla="*/ 261 w 661"/>
                <a:gd name="T37" fmla="*/ 127 h 525"/>
                <a:gd name="T38" fmla="*/ 271 w 661"/>
                <a:gd name="T39" fmla="*/ 134 h 525"/>
                <a:gd name="T40" fmla="*/ 261 w 661"/>
                <a:gd name="T41" fmla="*/ 142 h 525"/>
                <a:gd name="T42" fmla="*/ 266 w 661"/>
                <a:gd name="T43" fmla="*/ 148 h 525"/>
                <a:gd name="T44" fmla="*/ 231 w 661"/>
                <a:gd name="T45" fmla="*/ 167 h 525"/>
                <a:gd name="T46" fmla="*/ 219 w 661"/>
                <a:gd name="T47" fmla="*/ 184 h 525"/>
                <a:gd name="T48" fmla="*/ 215 w 661"/>
                <a:gd name="T49" fmla="*/ 191 h 525"/>
                <a:gd name="T50" fmla="*/ 205 w 661"/>
                <a:gd name="T51" fmla="*/ 216 h 525"/>
                <a:gd name="T52" fmla="*/ 204 w 661"/>
                <a:gd name="T53" fmla="*/ 229 h 525"/>
                <a:gd name="T54" fmla="*/ 177 w 661"/>
                <a:gd name="T55" fmla="*/ 239 h 525"/>
                <a:gd name="T56" fmla="*/ 178 w 661"/>
                <a:gd name="T57" fmla="*/ 255 h 525"/>
                <a:gd name="T58" fmla="*/ 151 w 661"/>
                <a:gd name="T59" fmla="*/ 264 h 525"/>
                <a:gd name="T60" fmla="*/ 133 w 661"/>
                <a:gd name="T61" fmla="*/ 288 h 525"/>
                <a:gd name="T62" fmla="*/ 176 w 661"/>
                <a:gd name="T63" fmla="*/ 284 h 525"/>
                <a:gd name="T64" fmla="*/ 125 w 661"/>
                <a:gd name="T65" fmla="*/ 293 h 525"/>
                <a:gd name="T66" fmla="*/ 93 w 661"/>
                <a:gd name="T67" fmla="*/ 313 h 525"/>
                <a:gd name="T68" fmla="*/ 90 w 661"/>
                <a:gd name="T69" fmla="*/ 320 h 525"/>
                <a:gd name="T70" fmla="*/ 77 w 661"/>
                <a:gd name="T71" fmla="*/ 328 h 525"/>
                <a:gd name="T72" fmla="*/ 38 w 661"/>
                <a:gd name="T73" fmla="*/ 338 h 525"/>
                <a:gd name="T74" fmla="*/ 33 w 661"/>
                <a:gd name="T75" fmla="*/ 349 h 525"/>
                <a:gd name="T76" fmla="*/ 15 w 661"/>
                <a:gd name="T77" fmla="*/ 360 h 525"/>
                <a:gd name="T78" fmla="*/ 7 w 661"/>
                <a:gd name="T79" fmla="*/ 367 h 525"/>
                <a:gd name="T80" fmla="*/ 8 w 661"/>
                <a:gd name="T81" fmla="*/ 391 h 525"/>
                <a:gd name="T82" fmla="*/ 55 w 661"/>
                <a:gd name="T83" fmla="*/ 392 h 525"/>
                <a:gd name="T84" fmla="*/ 43 w 661"/>
                <a:gd name="T85" fmla="*/ 394 h 525"/>
                <a:gd name="T86" fmla="*/ 9 w 661"/>
                <a:gd name="T87" fmla="*/ 407 h 525"/>
                <a:gd name="T88" fmla="*/ 8 w 661"/>
                <a:gd name="T89" fmla="*/ 426 h 525"/>
                <a:gd name="T90" fmla="*/ 33 w 661"/>
                <a:gd name="T91" fmla="*/ 425 h 525"/>
                <a:gd name="T92" fmla="*/ 23 w 661"/>
                <a:gd name="T93" fmla="*/ 449 h 525"/>
                <a:gd name="T94" fmla="*/ 7 w 661"/>
                <a:gd name="T95" fmla="*/ 465 h 525"/>
                <a:gd name="T96" fmla="*/ 27 w 661"/>
                <a:gd name="T97" fmla="*/ 464 h 525"/>
                <a:gd name="T98" fmla="*/ 28 w 661"/>
                <a:gd name="T99" fmla="*/ 481 h 525"/>
                <a:gd name="T100" fmla="*/ 51 w 661"/>
                <a:gd name="T101" fmla="*/ 511 h 525"/>
                <a:gd name="T102" fmla="*/ 87 w 661"/>
                <a:gd name="T103" fmla="*/ 516 h 525"/>
                <a:gd name="T104" fmla="*/ 118 w 661"/>
                <a:gd name="T105" fmla="*/ 488 h 525"/>
                <a:gd name="T106" fmla="*/ 149 w 661"/>
                <a:gd name="T107" fmla="*/ 470 h 525"/>
                <a:gd name="T108" fmla="*/ 166 w 661"/>
                <a:gd name="T109" fmla="*/ 475 h 525"/>
                <a:gd name="T110" fmla="*/ 206 w 661"/>
                <a:gd name="T111" fmla="*/ 413 h 525"/>
                <a:gd name="T112" fmla="*/ 246 w 661"/>
                <a:gd name="T113" fmla="*/ 268 h 525"/>
                <a:gd name="T114" fmla="*/ 344 w 661"/>
                <a:gd name="T115" fmla="*/ 98 h 525"/>
                <a:gd name="T116" fmla="*/ 502 w 661"/>
                <a:gd name="T117" fmla="*/ 92 h 525"/>
                <a:gd name="T118" fmla="*/ 615 w 661"/>
                <a:gd name="T119" fmla="*/ 79 h 525"/>
                <a:gd name="T120" fmla="*/ 12 w 661"/>
                <a:gd name="T121" fmla="*/ 383 h 525"/>
                <a:gd name="T122" fmla="*/ 186 w 661"/>
                <a:gd name="T123" fmla="*/ 24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1" h="525">
                  <a:moveTo>
                    <a:pt x="659" y="55"/>
                  </a:moveTo>
                  <a:cubicBezTo>
                    <a:pt x="658" y="53"/>
                    <a:pt x="657" y="52"/>
                    <a:pt x="656" y="51"/>
                  </a:cubicBezTo>
                  <a:cubicBezTo>
                    <a:pt x="656" y="50"/>
                    <a:pt x="654" y="51"/>
                    <a:pt x="653" y="51"/>
                  </a:cubicBezTo>
                  <a:cubicBezTo>
                    <a:pt x="654" y="50"/>
                    <a:pt x="654" y="50"/>
                    <a:pt x="654" y="50"/>
                  </a:cubicBezTo>
                  <a:cubicBezTo>
                    <a:pt x="653" y="49"/>
                    <a:pt x="648" y="48"/>
                    <a:pt x="647" y="50"/>
                  </a:cubicBezTo>
                  <a:cubicBezTo>
                    <a:pt x="646" y="50"/>
                    <a:pt x="648" y="51"/>
                    <a:pt x="648" y="52"/>
                  </a:cubicBezTo>
                  <a:cubicBezTo>
                    <a:pt x="647" y="54"/>
                    <a:pt x="647" y="55"/>
                    <a:pt x="645" y="55"/>
                  </a:cubicBezTo>
                  <a:cubicBezTo>
                    <a:pt x="648" y="54"/>
                    <a:pt x="647" y="51"/>
                    <a:pt x="646" y="49"/>
                  </a:cubicBezTo>
                  <a:cubicBezTo>
                    <a:pt x="645" y="48"/>
                    <a:pt x="643" y="48"/>
                    <a:pt x="642" y="48"/>
                  </a:cubicBezTo>
                  <a:cubicBezTo>
                    <a:pt x="643" y="48"/>
                    <a:pt x="643" y="48"/>
                    <a:pt x="644" y="47"/>
                  </a:cubicBezTo>
                  <a:cubicBezTo>
                    <a:pt x="643" y="47"/>
                    <a:pt x="639" y="46"/>
                    <a:pt x="639" y="48"/>
                  </a:cubicBezTo>
                  <a:cubicBezTo>
                    <a:pt x="639" y="48"/>
                    <a:pt x="641" y="50"/>
                    <a:pt x="641" y="50"/>
                  </a:cubicBezTo>
                  <a:cubicBezTo>
                    <a:pt x="641" y="51"/>
                    <a:pt x="639" y="51"/>
                    <a:pt x="639" y="52"/>
                  </a:cubicBezTo>
                  <a:cubicBezTo>
                    <a:pt x="639" y="52"/>
                    <a:pt x="640" y="53"/>
                    <a:pt x="640" y="54"/>
                  </a:cubicBezTo>
                  <a:cubicBezTo>
                    <a:pt x="638" y="52"/>
                    <a:pt x="637" y="53"/>
                    <a:pt x="635" y="53"/>
                  </a:cubicBezTo>
                  <a:cubicBezTo>
                    <a:pt x="636" y="53"/>
                    <a:pt x="637" y="52"/>
                    <a:pt x="638" y="51"/>
                  </a:cubicBezTo>
                  <a:cubicBezTo>
                    <a:pt x="636" y="50"/>
                    <a:pt x="632" y="52"/>
                    <a:pt x="630" y="52"/>
                  </a:cubicBezTo>
                  <a:cubicBezTo>
                    <a:pt x="628" y="52"/>
                    <a:pt x="626" y="54"/>
                    <a:pt x="624" y="55"/>
                  </a:cubicBezTo>
                  <a:cubicBezTo>
                    <a:pt x="624" y="54"/>
                    <a:pt x="624" y="54"/>
                    <a:pt x="624" y="53"/>
                  </a:cubicBezTo>
                  <a:cubicBezTo>
                    <a:pt x="624" y="53"/>
                    <a:pt x="628" y="52"/>
                    <a:pt x="627" y="51"/>
                  </a:cubicBezTo>
                  <a:cubicBezTo>
                    <a:pt x="628" y="51"/>
                    <a:pt x="629" y="49"/>
                    <a:pt x="630" y="48"/>
                  </a:cubicBezTo>
                  <a:cubicBezTo>
                    <a:pt x="629" y="47"/>
                    <a:pt x="629" y="46"/>
                    <a:pt x="627" y="45"/>
                  </a:cubicBezTo>
                  <a:cubicBezTo>
                    <a:pt x="626" y="45"/>
                    <a:pt x="621" y="48"/>
                    <a:pt x="620" y="47"/>
                  </a:cubicBezTo>
                  <a:cubicBezTo>
                    <a:pt x="621" y="47"/>
                    <a:pt x="622" y="45"/>
                    <a:pt x="624" y="45"/>
                  </a:cubicBezTo>
                  <a:cubicBezTo>
                    <a:pt x="625" y="44"/>
                    <a:pt x="626" y="44"/>
                    <a:pt x="626" y="43"/>
                  </a:cubicBezTo>
                  <a:cubicBezTo>
                    <a:pt x="622" y="41"/>
                    <a:pt x="617" y="42"/>
                    <a:pt x="613" y="41"/>
                  </a:cubicBezTo>
                  <a:cubicBezTo>
                    <a:pt x="613" y="41"/>
                    <a:pt x="613" y="41"/>
                    <a:pt x="614" y="40"/>
                  </a:cubicBezTo>
                  <a:cubicBezTo>
                    <a:pt x="610" y="40"/>
                    <a:pt x="606" y="40"/>
                    <a:pt x="603" y="39"/>
                  </a:cubicBezTo>
                  <a:cubicBezTo>
                    <a:pt x="604" y="39"/>
                    <a:pt x="604" y="39"/>
                    <a:pt x="605" y="38"/>
                  </a:cubicBezTo>
                  <a:cubicBezTo>
                    <a:pt x="603" y="37"/>
                    <a:pt x="601" y="38"/>
                    <a:pt x="599" y="37"/>
                  </a:cubicBezTo>
                  <a:cubicBezTo>
                    <a:pt x="600" y="37"/>
                    <a:pt x="602" y="37"/>
                    <a:pt x="603" y="36"/>
                  </a:cubicBezTo>
                  <a:cubicBezTo>
                    <a:pt x="601" y="36"/>
                    <a:pt x="600" y="36"/>
                    <a:pt x="599" y="36"/>
                  </a:cubicBezTo>
                  <a:cubicBezTo>
                    <a:pt x="602" y="35"/>
                    <a:pt x="605" y="36"/>
                    <a:pt x="608" y="36"/>
                  </a:cubicBezTo>
                  <a:cubicBezTo>
                    <a:pt x="611" y="37"/>
                    <a:pt x="614" y="38"/>
                    <a:pt x="617" y="38"/>
                  </a:cubicBezTo>
                  <a:cubicBezTo>
                    <a:pt x="624" y="39"/>
                    <a:pt x="632" y="41"/>
                    <a:pt x="639" y="39"/>
                  </a:cubicBezTo>
                  <a:cubicBezTo>
                    <a:pt x="634" y="39"/>
                    <a:pt x="644" y="38"/>
                    <a:pt x="643" y="36"/>
                  </a:cubicBezTo>
                  <a:cubicBezTo>
                    <a:pt x="641" y="35"/>
                    <a:pt x="645" y="35"/>
                    <a:pt x="646" y="34"/>
                  </a:cubicBezTo>
                  <a:cubicBezTo>
                    <a:pt x="648" y="32"/>
                    <a:pt x="661" y="33"/>
                    <a:pt x="659" y="29"/>
                  </a:cubicBezTo>
                  <a:cubicBezTo>
                    <a:pt x="657" y="26"/>
                    <a:pt x="656" y="25"/>
                    <a:pt x="653" y="26"/>
                  </a:cubicBezTo>
                  <a:cubicBezTo>
                    <a:pt x="650" y="27"/>
                    <a:pt x="650" y="24"/>
                    <a:pt x="648" y="23"/>
                  </a:cubicBezTo>
                  <a:cubicBezTo>
                    <a:pt x="646" y="23"/>
                    <a:pt x="647" y="22"/>
                    <a:pt x="645" y="21"/>
                  </a:cubicBezTo>
                  <a:cubicBezTo>
                    <a:pt x="643" y="21"/>
                    <a:pt x="642" y="22"/>
                    <a:pt x="640" y="22"/>
                  </a:cubicBezTo>
                  <a:cubicBezTo>
                    <a:pt x="638" y="23"/>
                    <a:pt x="635" y="24"/>
                    <a:pt x="632" y="22"/>
                  </a:cubicBezTo>
                  <a:cubicBezTo>
                    <a:pt x="633" y="22"/>
                    <a:pt x="634" y="22"/>
                    <a:pt x="635" y="22"/>
                  </a:cubicBezTo>
                  <a:cubicBezTo>
                    <a:pt x="633" y="21"/>
                    <a:pt x="640" y="22"/>
                    <a:pt x="639" y="19"/>
                  </a:cubicBezTo>
                  <a:cubicBezTo>
                    <a:pt x="638" y="18"/>
                    <a:pt x="635" y="18"/>
                    <a:pt x="634" y="18"/>
                  </a:cubicBezTo>
                  <a:cubicBezTo>
                    <a:pt x="634" y="17"/>
                    <a:pt x="635" y="17"/>
                    <a:pt x="636" y="17"/>
                  </a:cubicBezTo>
                  <a:cubicBezTo>
                    <a:pt x="632" y="13"/>
                    <a:pt x="628" y="18"/>
                    <a:pt x="624" y="19"/>
                  </a:cubicBezTo>
                  <a:cubicBezTo>
                    <a:pt x="626" y="18"/>
                    <a:pt x="627" y="15"/>
                    <a:pt x="625" y="14"/>
                  </a:cubicBezTo>
                  <a:cubicBezTo>
                    <a:pt x="623" y="14"/>
                    <a:pt x="622" y="15"/>
                    <a:pt x="620" y="15"/>
                  </a:cubicBezTo>
                  <a:cubicBezTo>
                    <a:pt x="619" y="16"/>
                    <a:pt x="614" y="18"/>
                    <a:pt x="613" y="17"/>
                  </a:cubicBezTo>
                  <a:cubicBezTo>
                    <a:pt x="614" y="16"/>
                    <a:pt x="617" y="16"/>
                    <a:pt x="614" y="15"/>
                  </a:cubicBezTo>
                  <a:cubicBezTo>
                    <a:pt x="615" y="15"/>
                    <a:pt x="616" y="15"/>
                    <a:pt x="616" y="15"/>
                  </a:cubicBezTo>
                  <a:cubicBezTo>
                    <a:pt x="615" y="14"/>
                    <a:pt x="614" y="15"/>
                    <a:pt x="612" y="14"/>
                  </a:cubicBezTo>
                  <a:cubicBezTo>
                    <a:pt x="613" y="14"/>
                    <a:pt x="615" y="14"/>
                    <a:pt x="615" y="13"/>
                  </a:cubicBezTo>
                  <a:cubicBezTo>
                    <a:pt x="613" y="11"/>
                    <a:pt x="610" y="10"/>
                    <a:pt x="607" y="10"/>
                  </a:cubicBezTo>
                  <a:cubicBezTo>
                    <a:pt x="607" y="8"/>
                    <a:pt x="603" y="9"/>
                    <a:pt x="602" y="9"/>
                  </a:cubicBezTo>
                  <a:cubicBezTo>
                    <a:pt x="600" y="10"/>
                    <a:pt x="591" y="15"/>
                    <a:pt x="596" y="16"/>
                  </a:cubicBezTo>
                  <a:cubicBezTo>
                    <a:pt x="595" y="17"/>
                    <a:pt x="593" y="18"/>
                    <a:pt x="592" y="20"/>
                  </a:cubicBezTo>
                  <a:cubicBezTo>
                    <a:pt x="592" y="22"/>
                    <a:pt x="595" y="23"/>
                    <a:pt x="596" y="23"/>
                  </a:cubicBezTo>
                  <a:cubicBezTo>
                    <a:pt x="594" y="25"/>
                    <a:pt x="593" y="23"/>
                    <a:pt x="591" y="25"/>
                  </a:cubicBezTo>
                  <a:cubicBezTo>
                    <a:pt x="590" y="26"/>
                    <a:pt x="589" y="26"/>
                    <a:pt x="589" y="27"/>
                  </a:cubicBezTo>
                  <a:cubicBezTo>
                    <a:pt x="588" y="29"/>
                    <a:pt x="589" y="30"/>
                    <a:pt x="588" y="31"/>
                  </a:cubicBezTo>
                  <a:cubicBezTo>
                    <a:pt x="587" y="29"/>
                    <a:pt x="588" y="27"/>
                    <a:pt x="589" y="26"/>
                  </a:cubicBezTo>
                  <a:cubicBezTo>
                    <a:pt x="590" y="25"/>
                    <a:pt x="591" y="24"/>
                    <a:pt x="591" y="23"/>
                  </a:cubicBezTo>
                  <a:cubicBezTo>
                    <a:pt x="591" y="21"/>
                    <a:pt x="583" y="25"/>
                    <a:pt x="584" y="26"/>
                  </a:cubicBezTo>
                  <a:cubicBezTo>
                    <a:pt x="583" y="25"/>
                    <a:pt x="587" y="23"/>
                    <a:pt x="587" y="23"/>
                  </a:cubicBezTo>
                  <a:cubicBezTo>
                    <a:pt x="585" y="22"/>
                    <a:pt x="582" y="23"/>
                    <a:pt x="581" y="24"/>
                  </a:cubicBezTo>
                  <a:cubicBezTo>
                    <a:pt x="581" y="24"/>
                    <a:pt x="581" y="24"/>
                    <a:pt x="582" y="23"/>
                  </a:cubicBezTo>
                  <a:cubicBezTo>
                    <a:pt x="580" y="23"/>
                    <a:pt x="581" y="25"/>
                    <a:pt x="580" y="25"/>
                  </a:cubicBezTo>
                  <a:cubicBezTo>
                    <a:pt x="579" y="26"/>
                    <a:pt x="578" y="24"/>
                    <a:pt x="578" y="24"/>
                  </a:cubicBezTo>
                  <a:cubicBezTo>
                    <a:pt x="579" y="23"/>
                    <a:pt x="592" y="19"/>
                    <a:pt x="589" y="16"/>
                  </a:cubicBezTo>
                  <a:cubicBezTo>
                    <a:pt x="588" y="14"/>
                    <a:pt x="585" y="16"/>
                    <a:pt x="583" y="17"/>
                  </a:cubicBezTo>
                  <a:cubicBezTo>
                    <a:pt x="580" y="18"/>
                    <a:pt x="577" y="19"/>
                    <a:pt x="573" y="19"/>
                  </a:cubicBezTo>
                  <a:cubicBezTo>
                    <a:pt x="577" y="18"/>
                    <a:pt x="580" y="17"/>
                    <a:pt x="584" y="15"/>
                  </a:cubicBezTo>
                  <a:cubicBezTo>
                    <a:pt x="582" y="13"/>
                    <a:pt x="578" y="13"/>
                    <a:pt x="576" y="14"/>
                  </a:cubicBezTo>
                  <a:cubicBezTo>
                    <a:pt x="576" y="13"/>
                    <a:pt x="575" y="12"/>
                    <a:pt x="575" y="12"/>
                  </a:cubicBezTo>
                  <a:cubicBezTo>
                    <a:pt x="577" y="12"/>
                    <a:pt x="580" y="11"/>
                    <a:pt x="582" y="12"/>
                  </a:cubicBezTo>
                  <a:cubicBezTo>
                    <a:pt x="584" y="12"/>
                    <a:pt x="586" y="14"/>
                    <a:pt x="588" y="11"/>
                  </a:cubicBezTo>
                  <a:cubicBezTo>
                    <a:pt x="587" y="11"/>
                    <a:pt x="587" y="11"/>
                    <a:pt x="586" y="11"/>
                  </a:cubicBezTo>
                  <a:cubicBezTo>
                    <a:pt x="587" y="11"/>
                    <a:pt x="591" y="11"/>
                    <a:pt x="591" y="9"/>
                  </a:cubicBezTo>
                  <a:cubicBezTo>
                    <a:pt x="591" y="9"/>
                    <a:pt x="590" y="9"/>
                    <a:pt x="590" y="9"/>
                  </a:cubicBezTo>
                  <a:cubicBezTo>
                    <a:pt x="593" y="9"/>
                    <a:pt x="595" y="5"/>
                    <a:pt x="591" y="5"/>
                  </a:cubicBezTo>
                  <a:cubicBezTo>
                    <a:pt x="590" y="4"/>
                    <a:pt x="588" y="4"/>
                    <a:pt x="587" y="5"/>
                  </a:cubicBezTo>
                  <a:cubicBezTo>
                    <a:pt x="587" y="5"/>
                    <a:pt x="583" y="7"/>
                    <a:pt x="584" y="5"/>
                  </a:cubicBezTo>
                  <a:cubicBezTo>
                    <a:pt x="584" y="4"/>
                    <a:pt x="587" y="3"/>
                    <a:pt x="586" y="2"/>
                  </a:cubicBezTo>
                  <a:cubicBezTo>
                    <a:pt x="585" y="1"/>
                    <a:pt x="583" y="1"/>
                    <a:pt x="582" y="2"/>
                  </a:cubicBezTo>
                  <a:cubicBezTo>
                    <a:pt x="581" y="3"/>
                    <a:pt x="578" y="2"/>
                    <a:pt x="577" y="2"/>
                  </a:cubicBezTo>
                  <a:cubicBezTo>
                    <a:pt x="576" y="3"/>
                    <a:pt x="573" y="3"/>
                    <a:pt x="572" y="2"/>
                  </a:cubicBezTo>
                  <a:cubicBezTo>
                    <a:pt x="573" y="1"/>
                    <a:pt x="572" y="0"/>
                    <a:pt x="571" y="0"/>
                  </a:cubicBezTo>
                  <a:cubicBezTo>
                    <a:pt x="570" y="1"/>
                    <a:pt x="566" y="1"/>
                    <a:pt x="568" y="3"/>
                  </a:cubicBezTo>
                  <a:cubicBezTo>
                    <a:pt x="568" y="3"/>
                    <a:pt x="570" y="5"/>
                    <a:pt x="569" y="6"/>
                  </a:cubicBezTo>
                  <a:cubicBezTo>
                    <a:pt x="569" y="6"/>
                    <a:pt x="564" y="3"/>
                    <a:pt x="563" y="3"/>
                  </a:cubicBezTo>
                  <a:cubicBezTo>
                    <a:pt x="559" y="3"/>
                    <a:pt x="563" y="5"/>
                    <a:pt x="564" y="6"/>
                  </a:cubicBezTo>
                  <a:cubicBezTo>
                    <a:pt x="563" y="7"/>
                    <a:pt x="559" y="5"/>
                    <a:pt x="558" y="7"/>
                  </a:cubicBezTo>
                  <a:cubicBezTo>
                    <a:pt x="557" y="10"/>
                    <a:pt x="565" y="8"/>
                    <a:pt x="566" y="8"/>
                  </a:cubicBezTo>
                  <a:cubicBezTo>
                    <a:pt x="566" y="8"/>
                    <a:pt x="565" y="9"/>
                    <a:pt x="565" y="9"/>
                  </a:cubicBezTo>
                  <a:cubicBezTo>
                    <a:pt x="566" y="9"/>
                    <a:pt x="567" y="10"/>
                    <a:pt x="569" y="10"/>
                  </a:cubicBezTo>
                  <a:cubicBezTo>
                    <a:pt x="568" y="10"/>
                    <a:pt x="568" y="10"/>
                    <a:pt x="567" y="11"/>
                  </a:cubicBezTo>
                  <a:cubicBezTo>
                    <a:pt x="569" y="12"/>
                    <a:pt x="571" y="11"/>
                    <a:pt x="572" y="12"/>
                  </a:cubicBezTo>
                  <a:cubicBezTo>
                    <a:pt x="570" y="12"/>
                    <a:pt x="567" y="11"/>
                    <a:pt x="565" y="11"/>
                  </a:cubicBezTo>
                  <a:cubicBezTo>
                    <a:pt x="562" y="10"/>
                    <a:pt x="562" y="14"/>
                    <a:pt x="565" y="14"/>
                  </a:cubicBezTo>
                  <a:cubicBezTo>
                    <a:pt x="564" y="15"/>
                    <a:pt x="562" y="14"/>
                    <a:pt x="561" y="14"/>
                  </a:cubicBezTo>
                  <a:cubicBezTo>
                    <a:pt x="559" y="14"/>
                    <a:pt x="558" y="16"/>
                    <a:pt x="561" y="16"/>
                  </a:cubicBezTo>
                  <a:cubicBezTo>
                    <a:pt x="560" y="16"/>
                    <a:pt x="560" y="16"/>
                    <a:pt x="559" y="16"/>
                  </a:cubicBezTo>
                  <a:cubicBezTo>
                    <a:pt x="562" y="17"/>
                    <a:pt x="558" y="17"/>
                    <a:pt x="561" y="18"/>
                  </a:cubicBezTo>
                  <a:cubicBezTo>
                    <a:pt x="562" y="19"/>
                    <a:pt x="563" y="19"/>
                    <a:pt x="564" y="20"/>
                  </a:cubicBezTo>
                  <a:cubicBezTo>
                    <a:pt x="562" y="20"/>
                    <a:pt x="560" y="18"/>
                    <a:pt x="558" y="19"/>
                  </a:cubicBezTo>
                  <a:cubicBezTo>
                    <a:pt x="557" y="19"/>
                    <a:pt x="555" y="21"/>
                    <a:pt x="557" y="21"/>
                  </a:cubicBezTo>
                  <a:cubicBezTo>
                    <a:pt x="555" y="22"/>
                    <a:pt x="559" y="24"/>
                    <a:pt x="560" y="24"/>
                  </a:cubicBezTo>
                  <a:cubicBezTo>
                    <a:pt x="559" y="24"/>
                    <a:pt x="556" y="25"/>
                    <a:pt x="556" y="24"/>
                  </a:cubicBezTo>
                  <a:cubicBezTo>
                    <a:pt x="555" y="24"/>
                    <a:pt x="554" y="23"/>
                    <a:pt x="552" y="24"/>
                  </a:cubicBezTo>
                  <a:cubicBezTo>
                    <a:pt x="552" y="24"/>
                    <a:pt x="552" y="25"/>
                    <a:pt x="552" y="25"/>
                  </a:cubicBezTo>
                  <a:cubicBezTo>
                    <a:pt x="551" y="26"/>
                    <a:pt x="547" y="27"/>
                    <a:pt x="549" y="27"/>
                  </a:cubicBezTo>
                  <a:cubicBezTo>
                    <a:pt x="548" y="27"/>
                    <a:pt x="546" y="30"/>
                    <a:pt x="546" y="26"/>
                  </a:cubicBezTo>
                  <a:cubicBezTo>
                    <a:pt x="546" y="26"/>
                    <a:pt x="547" y="24"/>
                    <a:pt x="547" y="23"/>
                  </a:cubicBezTo>
                  <a:cubicBezTo>
                    <a:pt x="546" y="22"/>
                    <a:pt x="548" y="20"/>
                    <a:pt x="548" y="18"/>
                  </a:cubicBezTo>
                  <a:cubicBezTo>
                    <a:pt x="546" y="16"/>
                    <a:pt x="542" y="18"/>
                    <a:pt x="541" y="18"/>
                  </a:cubicBezTo>
                  <a:cubicBezTo>
                    <a:pt x="544" y="15"/>
                    <a:pt x="548" y="16"/>
                    <a:pt x="549" y="10"/>
                  </a:cubicBezTo>
                  <a:cubicBezTo>
                    <a:pt x="545" y="11"/>
                    <a:pt x="551" y="8"/>
                    <a:pt x="548" y="6"/>
                  </a:cubicBezTo>
                  <a:cubicBezTo>
                    <a:pt x="545" y="4"/>
                    <a:pt x="538" y="11"/>
                    <a:pt x="536" y="13"/>
                  </a:cubicBezTo>
                  <a:cubicBezTo>
                    <a:pt x="534" y="15"/>
                    <a:pt x="533" y="15"/>
                    <a:pt x="532" y="18"/>
                  </a:cubicBezTo>
                  <a:cubicBezTo>
                    <a:pt x="531" y="19"/>
                    <a:pt x="530" y="20"/>
                    <a:pt x="529" y="21"/>
                  </a:cubicBezTo>
                  <a:cubicBezTo>
                    <a:pt x="526" y="23"/>
                    <a:pt x="521" y="26"/>
                    <a:pt x="519" y="29"/>
                  </a:cubicBezTo>
                  <a:cubicBezTo>
                    <a:pt x="524" y="31"/>
                    <a:pt x="520" y="32"/>
                    <a:pt x="517" y="35"/>
                  </a:cubicBezTo>
                  <a:cubicBezTo>
                    <a:pt x="516" y="36"/>
                    <a:pt x="514" y="42"/>
                    <a:pt x="512" y="38"/>
                  </a:cubicBezTo>
                  <a:cubicBezTo>
                    <a:pt x="512" y="37"/>
                    <a:pt x="513" y="37"/>
                    <a:pt x="514" y="37"/>
                  </a:cubicBezTo>
                  <a:cubicBezTo>
                    <a:pt x="513" y="37"/>
                    <a:pt x="512" y="37"/>
                    <a:pt x="512" y="37"/>
                  </a:cubicBezTo>
                  <a:cubicBezTo>
                    <a:pt x="513" y="36"/>
                    <a:pt x="507" y="36"/>
                    <a:pt x="511" y="38"/>
                  </a:cubicBezTo>
                  <a:cubicBezTo>
                    <a:pt x="512" y="39"/>
                    <a:pt x="511" y="39"/>
                    <a:pt x="510" y="39"/>
                  </a:cubicBezTo>
                  <a:cubicBezTo>
                    <a:pt x="509" y="38"/>
                    <a:pt x="508" y="38"/>
                    <a:pt x="508" y="37"/>
                  </a:cubicBezTo>
                  <a:cubicBezTo>
                    <a:pt x="507" y="36"/>
                    <a:pt x="508" y="34"/>
                    <a:pt x="509" y="33"/>
                  </a:cubicBezTo>
                  <a:cubicBezTo>
                    <a:pt x="510" y="32"/>
                    <a:pt x="516" y="28"/>
                    <a:pt x="511" y="30"/>
                  </a:cubicBezTo>
                  <a:cubicBezTo>
                    <a:pt x="511" y="29"/>
                    <a:pt x="513" y="28"/>
                    <a:pt x="511" y="28"/>
                  </a:cubicBezTo>
                  <a:cubicBezTo>
                    <a:pt x="512" y="27"/>
                    <a:pt x="512" y="26"/>
                    <a:pt x="514" y="27"/>
                  </a:cubicBezTo>
                  <a:cubicBezTo>
                    <a:pt x="515" y="28"/>
                    <a:pt x="514" y="25"/>
                    <a:pt x="515" y="24"/>
                  </a:cubicBezTo>
                  <a:cubicBezTo>
                    <a:pt x="514" y="24"/>
                    <a:pt x="512" y="24"/>
                    <a:pt x="510" y="24"/>
                  </a:cubicBezTo>
                  <a:cubicBezTo>
                    <a:pt x="511" y="24"/>
                    <a:pt x="515" y="23"/>
                    <a:pt x="514" y="22"/>
                  </a:cubicBezTo>
                  <a:cubicBezTo>
                    <a:pt x="513" y="21"/>
                    <a:pt x="511" y="23"/>
                    <a:pt x="510" y="23"/>
                  </a:cubicBezTo>
                  <a:cubicBezTo>
                    <a:pt x="511" y="21"/>
                    <a:pt x="513" y="21"/>
                    <a:pt x="515" y="20"/>
                  </a:cubicBezTo>
                  <a:cubicBezTo>
                    <a:pt x="516" y="19"/>
                    <a:pt x="517" y="17"/>
                    <a:pt x="518" y="17"/>
                  </a:cubicBezTo>
                  <a:cubicBezTo>
                    <a:pt x="520" y="16"/>
                    <a:pt x="524" y="16"/>
                    <a:pt x="525" y="14"/>
                  </a:cubicBezTo>
                  <a:cubicBezTo>
                    <a:pt x="524" y="14"/>
                    <a:pt x="523" y="14"/>
                    <a:pt x="522" y="14"/>
                  </a:cubicBezTo>
                  <a:cubicBezTo>
                    <a:pt x="522" y="13"/>
                    <a:pt x="525" y="12"/>
                    <a:pt x="526" y="12"/>
                  </a:cubicBezTo>
                  <a:cubicBezTo>
                    <a:pt x="527" y="12"/>
                    <a:pt x="528" y="10"/>
                    <a:pt x="529" y="10"/>
                  </a:cubicBezTo>
                  <a:cubicBezTo>
                    <a:pt x="528" y="10"/>
                    <a:pt x="528" y="10"/>
                    <a:pt x="527" y="9"/>
                  </a:cubicBezTo>
                  <a:cubicBezTo>
                    <a:pt x="528" y="9"/>
                    <a:pt x="528" y="9"/>
                    <a:pt x="528" y="9"/>
                  </a:cubicBezTo>
                  <a:cubicBezTo>
                    <a:pt x="527" y="8"/>
                    <a:pt x="525" y="10"/>
                    <a:pt x="525" y="10"/>
                  </a:cubicBezTo>
                  <a:cubicBezTo>
                    <a:pt x="522" y="9"/>
                    <a:pt x="522" y="8"/>
                    <a:pt x="519" y="10"/>
                  </a:cubicBezTo>
                  <a:cubicBezTo>
                    <a:pt x="519" y="10"/>
                    <a:pt x="518" y="10"/>
                    <a:pt x="517" y="10"/>
                  </a:cubicBezTo>
                  <a:cubicBezTo>
                    <a:pt x="518" y="9"/>
                    <a:pt x="521" y="8"/>
                    <a:pt x="518" y="7"/>
                  </a:cubicBezTo>
                  <a:cubicBezTo>
                    <a:pt x="518" y="6"/>
                    <a:pt x="515" y="5"/>
                    <a:pt x="514" y="6"/>
                  </a:cubicBezTo>
                  <a:cubicBezTo>
                    <a:pt x="514" y="7"/>
                    <a:pt x="518" y="9"/>
                    <a:pt x="515" y="10"/>
                  </a:cubicBezTo>
                  <a:cubicBezTo>
                    <a:pt x="516" y="11"/>
                    <a:pt x="514" y="12"/>
                    <a:pt x="513" y="12"/>
                  </a:cubicBezTo>
                  <a:cubicBezTo>
                    <a:pt x="513" y="12"/>
                    <a:pt x="512" y="9"/>
                    <a:pt x="511" y="8"/>
                  </a:cubicBezTo>
                  <a:cubicBezTo>
                    <a:pt x="509" y="7"/>
                    <a:pt x="508" y="8"/>
                    <a:pt x="507" y="9"/>
                  </a:cubicBezTo>
                  <a:cubicBezTo>
                    <a:pt x="507" y="10"/>
                    <a:pt x="505" y="9"/>
                    <a:pt x="504" y="9"/>
                  </a:cubicBezTo>
                  <a:cubicBezTo>
                    <a:pt x="505" y="9"/>
                    <a:pt x="509" y="7"/>
                    <a:pt x="507" y="6"/>
                  </a:cubicBezTo>
                  <a:cubicBezTo>
                    <a:pt x="506" y="5"/>
                    <a:pt x="504" y="6"/>
                    <a:pt x="505" y="8"/>
                  </a:cubicBezTo>
                  <a:cubicBezTo>
                    <a:pt x="504" y="7"/>
                    <a:pt x="503" y="8"/>
                    <a:pt x="502" y="8"/>
                  </a:cubicBezTo>
                  <a:cubicBezTo>
                    <a:pt x="503" y="7"/>
                    <a:pt x="501" y="5"/>
                    <a:pt x="501" y="5"/>
                  </a:cubicBezTo>
                  <a:cubicBezTo>
                    <a:pt x="500" y="5"/>
                    <a:pt x="499" y="6"/>
                    <a:pt x="498" y="6"/>
                  </a:cubicBezTo>
                  <a:cubicBezTo>
                    <a:pt x="500" y="4"/>
                    <a:pt x="496" y="4"/>
                    <a:pt x="495" y="4"/>
                  </a:cubicBezTo>
                  <a:cubicBezTo>
                    <a:pt x="496" y="4"/>
                    <a:pt x="496" y="5"/>
                    <a:pt x="497" y="5"/>
                  </a:cubicBezTo>
                  <a:cubicBezTo>
                    <a:pt x="496" y="5"/>
                    <a:pt x="496" y="5"/>
                    <a:pt x="495" y="6"/>
                  </a:cubicBezTo>
                  <a:cubicBezTo>
                    <a:pt x="496" y="6"/>
                    <a:pt x="496" y="6"/>
                    <a:pt x="497" y="6"/>
                  </a:cubicBezTo>
                  <a:cubicBezTo>
                    <a:pt x="494" y="6"/>
                    <a:pt x="498" y="8"/>
                    <a:pt x="496" y="8"/>
                  </a:cubicBezTo>
                  <a:cubicBezTo>
                    <a:pt x="497" y="9"/>
                    <a:pt x="498" y="9"/>
                    <a:pt x="499" y="9"/>
                  </a:cubicBezTo>
                  <a:cubicBezTo>
                    <a:pt x="498" y="9"/>
                    <a:pt x="497" y="9"/>
                    <a:pt x="496" y="10"/>
                  </a:cubicBezTo>
                  <a:cubicBezTo>
                    <a:pt x="496" y="12"/>
                    <a:pt x="499" y="13"/>
                    <a:pt x="495" y="12"/>
                  </a:cubicBezTo>
                  <a:cubicBezTo>
                    <a:pt x="494" y="11"/>
                    <a:pt x="492" y="9"/>
                    <a:pt x="490" y="9"/>
                  </a:cubicBezTo>
                  <a:cubicBezTo>
                    <a:pt x="487" y="10"/>
                    <a:pt x="489" y="13"/>
                    <a:pt x="491" y="13"/>
                  </a:cubicBezTo>
                  <a:cubicBezTo>
                    <a:pt x="493" y="14"/>
                    <a:pt x="496" y="14"/>
                    <a:pt x="498" y="16"/>
                  </a:cubicBezTo>
                  <a:cubicBezTo>
                    <a:pt x="497" y="16"/>
                    <a:pt x="499" y="17"/>
                    <a:pt x="500" y="18"/>
                  </a:cubicBezTo>
                  <a:cubicBezTo>
                    <a:pt x="501" y="19"/>
                    <a:pt x="498" y="19"/>
                    <a:pt x="497" y="18"/>
                  </a:cubicBezTo>
                  <a:cubicBezTo>
                    <a:pt x="496" y="17"/>
                    <a:pt x="491" y="15"/>
                    <a:pt x="489" y="17"/>
                  </a:cubicBezTo>
                  <a:cubicBezTo>
                    <a:pt x="489" y="18"/>
                    <a:pt x="486" y="21"/>
                    <a:pt x="487" y="22"/>
                  </a:cubicBezTo>
                  <a:cubicBezTo>
                    <a:pt x="488" y="22"/>
                    <a:pt x="491" y="23"/>
                    <a:pt x="492" y="25"/>
                  </a:cubicBezTo>
                  <a:cubicBezTo>
                    <a:pt x="487" y="24"/>
                    <a:pt x="483" y="22"/>
                    <a:pt x="479" y="24"/>
                  </a:cubicBezTo>
                  <a:cubicBezTo>
                    <a:pt x="476" y="25"/>
                    <a:pt x="472" y="27"/>
                    <a:pt x="470" y="30"/>
                  </a:cubicBezTo>
                  <a:cubicBezTo>
                    <a:pt x="472" y="30"/>
                    <a:pt x="472" y="31"/>
                    <a:pt x="474" y="31"/>
                  </a:cubicBezTo>
                  <a:cubicBezTo>
                    <a:pt x="471" y="32"/>
                    <a:pt x="469" y="32"/>
                    <a:pt x="466" y="32"/>
                  </a:cubicBezTo>
                  <a:cubicBezTo>
                    <a:pt x="468" y="34"/>
                    <a:pt x="470" y="32"/>
                    <a:pt x="472" y="33"/>
                  </a:cubicBezTo>
                  <a:cubicBezTo>
                    <a:pt x="470" y="33"/>
                    <a:pt x="467" y="33"/>
                    <a:pt x="465" y="34"/>
                  </a:cubicBezTo>
                  <a:cubicBezTo>
                    <a:pt x="466" y="35"/>
                    <a:pt x="468" y="35"/>
                    <a:pt x="469" y="35"/>
                  </a:cubicBezTo>
                  <a:cubicBezTo>
                    <a:pt x="468" y="35"/>
                    <a:pt x="468" y="35"/>
                    <a:pt x="467" y="36"/>
                  </a:cubicBezTo>
                  <a:cubicBezTo>
                    <a:pt x="467" y="36"/>
                    <a:pt x="469" y="37"/>
                    <a:pt x="469" y="38"/>
                  </a:cubicBezTo>
                  <a:cubicBezTo>
                    <a:pt x="468" y="38"/>
                    <a:pt x="465" y="38"/>
                    <a:pt x="464" y="39"/>
                  </a:cubicBezTo>
                  <a:cubicBezTo>
                    <a:pt x="465" y="40"/>
                    <a:pt x="473" y="42"/>
                    <a:pt x="473" y="42"/>
                  </a:cubicBezTo>
                  <a:cubicBezTo>
                    <a:pt x="473" y="43"/>
                    <a:pt x="468" y="42"/>
                    <a:pt x="467" y="43"/>
                  </a:cubicBezTo>
                  <a:cubicBezTo>
                    <a:pt x="466" y="44"/>
                    <a:pt x="464" y="45"/>
                    <a:pt x="463" y="44"/>
                  </a:cubicBezTo>
                  <a:cubicBezTo>
                    <a:pt x="466" y="43"/>
                    <a:pt x="462" y="40"/>
                    <a:pt x="461" y="41"/>
                  </a:cubicBezTo>
                  <a:cubicBezTo>
                    <a:pt x="460" y="41"/>
                    <a:pt x="461" y="37"/>
                    <a:pt x="459" y="37"/>
                  </a:cubicBezTo>
                  <a:cubicBezTo>
                    <a:pt x="457" y="37"/>
                    <a:pt x="455" y="38"/>
                    <a:pt x="454" y="39"/>
                  </a:cubicBezTo>
                  <a:cubicBezTo>
                    <a:pt x="452" y="39"/>
                    <a:pt x="451" y="39"/>
                    <a:pt x="450" y="39"/>
                  </a:cubicBezTo>
                  <a:cubicBezTo>
                    <a:pt x="448" y="40"/>
                    <a:pt x="445" y="41"/>
                    <a:pt x="443" y="41"/>
                  </a:cubicBezTo>
                  <a:cubicBezTo>
                    <a:pt x="447" y="38"/>
                    <a:pt x="452" y="39"/>
                    <a:pt x="456" y="38"/>
                  </a:cubicBezTo>
                  <a:cubicBezTo>
                    <a:pt x="457" y="37"/>
                    <a:pt x="460" y="34"/>
                    <a:pt x="457" y="34"/>
                  </a:cubicBezTo>
                  <a:cubicBezTo>
                    <a:pt x="455" y="34"/>
                    <a:pt x="453" y="34"/>
                    <a:pt x="451" y="34"/>
                  </a:cubicBezTo>
                  <a:cubicBezTo>
                    <a:pt x="449" y="34"/>
                    <a:pt x="444" y="30"/>
                    <a:pt x="443" y="34"/>
                  </a:cubicBezTo>
                  <a:cubicBezTo>
                    <a:pt x="441" y="37"/>
                    <a:pt x="448" y="37"/>
                    <a:pt x="449" y="37"/>
                  </a:cubicBezTo>
                  <a:cubicBezTo>
                    <a:pt x="447" y="37"/>
                    <a:pt x="446" y="37"/>
                    <a:pt x="444" y="36"/>
                  </a:cubicBezTo>
                  <a:cubicBezTo>
                    <a:pt x="443" y="36"/>
                    <a:pt x="441" y="37"/>
                    <a:pt x="440" y="37"/>
                  </a:cubicBezTo>
                  <a:cubicBezTo>
                    <a:pt x="441" y="36"/>
                    <a:pt x="441" y="35"/>
                    <a:pt x="441" y="34"/>
                  </a:cubicBezTo>
                  <a:cubicBezTo>
                    <a:pt x="442" y="33"/>
                    <a:pt x="440" y="34"/>
                    <a:pt x="441" y="33"/>
                  </a:cubicBezTo>
                  <a:cubicBezTo>
                    <a:pt x="441" y="33"/>
                    <a:pt x="443" y="31"/>
                    <a:pt x="440" y="31"/>
                  </a:cubicBezTo>
                  <a:cubicBezTo>
                    <a:pt x="439" y="31"/>
                    <a:pt x="438" y="33"/>
                    <a:pt x="437" y="32"/>
                  </a:cubicBezTo>
                  <a:cubicBezTo>
                    <a:pt x="438" y="33"/>
                    <a:pt x="437" y="31"/>
                    <a:pt x="437" y="31"/>
                  </a:cubicBezTo>
                  <a:cubicBezTo>
                    <a:pt x="436" y="30"/>
                    <a:pt x="434" y="31"/>
                    <a:pt x="433" y="31"/>
                  </a:cubicBezTo>
                  <a:cubicBezTo>
                    <a:pt x="434" y="31"/>
                    <a:pt x="435" y="30"/>
                    <a:pt x="435" y="30"/>
                  </a:cubicBezTo>
                  <a:cubicBezTo>
                    <a:pt x="434" y="29"/>
                    <a:pt x="430" y="32"/>
                    <a:pt x="430" y="32"/>
                  </a:cubicBezTo>
                  <a:cubicBezTo>
                    <a:pt x="428" y="34"/>
                    <a:pt x="432" y="34"/>
                    <a:pt x="431" y="36"/>
                  </a:cubicBezTo>
                  <a:cubicBezTo>
                    <a:pt x="429" y="34"/>
                    <a:pt x="426" y="33"/>
                    <a:pt x="424" y="30"/>
                  </a:cubicBezTo>
                  <a:cubicBezTo>
                    <a:pt x="422" y="28"/>
                    <a:pt x="422" y="33"/>
                    <a:pt x="423" y="34"/>
                  </a:cubicBezTo>
                  <a:cubicBezTo>
                    <a:pt x="421" y="34"/>
                    <a:pt x="421" y="32"/>
                    <a:pt x="419" y="32"/>
                  </a:cubicBezTo>
                  <a:cubicBezTo>
                    <a:pt x="418" y="32"/>
                    <a:pt x="415" y="33"/>
                    <a:pt x="414" y="34"/>
                  </a:cubicBezTo>
                  <a:cubicBezTo>
                    <a:pt x="414" y="36"/>
                    <a:pt x="421" y="36"/>
                    <a:pt x="422" y="36"/>
                  </a:cubicBezTo>
                  <a:cubicBezTo>
                    <a:pt x="419" y="37"/>
                    <a:pt x="423" y="38"/>
                    <a:pt x="424" y="38"/>
                  </a:cubicBezTo>
                  <a:cubicBezTo>
                    <a:pt x="426" y="38"/>
                    <a:pt x="427" y="39"/>
                    <a:pt x="428" y="40"/>
                  </a:cubicBezTo>
                  <a:cubicBezTo>
                    <a:pt x="429" y="40"/>
                    <a:pt x="431" y="40"/>
                    <a:pt x="430" y="39"/>
                  </a:cubicBezTo>
                  <a:cubicBezTo>
                    <a:pt x="431" y="39"/>
                    <a:pt x="432" y="39"/>
                    <a:pt x="432" y="39"/>
                  </a:cubicBezTo>
                  <a:cubicBezTo>
                    <a:pt x="433" y="39"/>
                    <a:pt x="437" y="38"/>
                    <a:pt x="437" y="37"/>
                  </a:cubicBezTo>
                  <a:cubicBezTo>
                    <a:pt x="438" y="38"/>
                    <a:pt x="431" y="40"/>
                    <a:pt x="430" y="41"/>
                  </a:cubicBezTo>
                  <a:cubicBezTo>
                    <a:pt x="432" y="43"/>
                    <a:pt x="435" y="40"/>
                    <a:pt x="437" y="41"/>
                  </a:cubicBezTo>
                  <a:cubicBezTo>
                    <a:pt x="437" y="41"/>
                    <a:pt x="436" y="41"/>
                    <a:pt x="436" y="42"/>
                  </a:cubicBezTo>
                  <a:cubicBezTo>
                    <a:pt x="437" y="42"/>
                    <a:pt x="437" y="43"/>
                    <a:pt x="437" y="44"/>
                  </a:cubicBezTo>
                  <a:cubicBezTo>
                    <a:pt x="436" y="44"/>
                    <a:pt x="436" y="43"/>
                    <a:pt x="435" y="43"/>
                  </a:cubicBezTo>
                  <a:cubicBezTo>
                    <a:pt x="434" y="42"/>
                    <a:pt x="431" y="43"/>
                    <a:pt x="434" y="44"/>
                  </a:cubicBezTo>
                  <a:cubicBezTo>
                    <a:pt x="430" y="44"/>
                    <a:pt x="437" y="48"/>
                    <a:pt x="437" y="47"/>
                  </a:cubicBezTo>
                  <a:cubicBezTo>
                    <a:pt x="437" y="48"/>
                    <a:pt x="434" y="48"/>
                    <a:pt x="434" y="48"/>
                  </a:cubicBezTo>
                  <a:cubicBezTo>
                    <a:pt x="435" y="49"/>
                    <a:pt x="436" y="49"/>
                    <a:pt x="437" y="49"/>
                  </a:cubicBezTo>
                  <a:cubicBezTo>
                    <a:pt x="438" y="50"/>
                    <a:pt x="439" y="51"/>
                    <a:pt x="440" y="52"/>
                  </a:cubicBezTo>
                  <a:cubicBezTo>
                    <a:pt x="438" y="52"/>
                    <a:pt x="437" y="53"/>
                    <a:pt x="436" y="52"/>
                  </a:cubicBezTo>
                  <a:cubicBezTo>
                    <a:pt x="436" y="52"/>
                    <a:pt x="438" y="52"/>
                    <a:pt x="438" y="51"/>
                  </a:cubicBezTo>
                  <a:cubicBezTo>
                    <a:pt x="437" y="50"/>
                    <a:pt x="435" y="50"/>
                    <a:pt x="434" y="49"/>
                  </a:cubicBezTo>
                  <a:cubicBezTo>
                    <a:pt x="433" y="48"/>
                    <a:pt x="432" y="47"/>
                    <a:pt x="431" y="46"/>
                  </a:cubicBezTo>
                  <a:cubicBezTo>
                    <a:pt x="429" y="46"/>
                    <a:pt x="427" y="46"/>
                    <a:pt x="426" y="45"/>
                  </a:cubicBezTo>
                  <a:cubicBezTo>
                    <a:pt x="425" y="44"/>
                    <a:pt x="424" y="43"/>
                    <a:pt x="424" y="43"/>
                  </a:cubicBezTo>
                  <a:cubicBezTo>
                    <a:pt x="422" y="41"/>
                    <a:pt x="419" y="41"/>
                    <a:pt x="417" y="42"/>
                  </a:cubicBezTo>
                  <a:cubicBezTo>
                    <a:pt x="414" y="44"/>
                    <a:pt x="418" y="45"/>
                    <a:pt x="419" y="45"/>
                  </a:cubicBezTo>
                  <a:cubicBezTo>
                    <a:pt x="418" y="46"/>
                    <a:pt x="416" y="46"/>
                    <a:pt x="417" y="47"/>
                  </a:cubicBezTo>
                  <a:cubicBezTo>
                    <a:pt x="418" y="48"/>
                    <a:pt x="415" y="49"/>
                    <a:pt x="415" y="49"/>
                  </a:cubicBezTo>
                  <a:cubicBezTo>
                    <a:pt x="416" y="48"/>
                    <a:pt x="417" y="47"/>
                    <a:pt x="415" y="47"/>
                  </a:cubicBezTo>
                  <a:cubicBezTo>
                    <a:pt x="412" y="46"/>
                    <a:pt x="414" y="48"/>
                    <a:pt x="411" y="49"/>
                  </a:cubicBezTo>
                  <a:cubicBezTo>
                    <a:pt x="412" y="49"/>
                    <a:pt x="412" y="49"/>
                    <a:pt x="413" y="50"/>
                  </a:cubicBezTo>
                  <a:cubicBezTo>
                    <a:pt x="412" y="51"/>
                    <a:pt x="409" y="49"/>
                    <a:pt x="410" y="48"/>
                  </a:cubicBezTo>
                  <a:cubicBezTo>
                    <a:pt x="410" y="48"/>
                    <a:pt x="409" y="48"/>
                    <a:pt x="409" y="47"/>
                  </a:cubicBezTo>
                  <a:cubicBezTo>
                    <a:pt x="410" y="46"/>
                    <a:pt x="412" y="45"/>
                    <a:pt x="413" y="44"/>
                  </a:cubicBezTo>
                  <a:cubicBezTo>
                    <a:pt x="412" y="43"/>
                    <a:pt x="405" y="47"/>
                    <a:pt x="406" y="47"/>
                  </a:cubicBezTo>
                  <a:cubicBezTo>
                    <a:pt x="408" y="50"/>
                    <a:pt x="399" y="51"/>
                    <a:pt x="399" y="51"/>
                  </a:cubicBezTo>
                  <a:cubicBezTo>
                    <a:pt x="401" y="52"/>
                    <a:pt x="398" y="56"/>
                    <a:pt x="401" y="57"/>
                  </a:cubicBezTo>
                  <a:cubicBezTo>
                    <a:pt x="402" y="57"/>
                    <a:pt x="403" y="58"/>
                    <a:pt x="404" y="59"/>
                  </a:cubicBezTo>
                  <a:cubicBezTo>
                    <a:pt x="406" y="59"/>
                    <a:pt x="407" y="60"/>
                    <a:pt x="409" y="61"/>
                  </a:cubicBezTo>
                  <a:cubicBezTo>
                    <a:pt x="406" y="61"/>
                    <a:pt x="403" y="60"/>
                    <a:pt x="401" y="59"/>
                  </a:cubicBezTo>
                  <a:cubicBezTo>
                    <a:pt x="398" y="56"/>
                    <a:pt x="397" y="59"/>
                    <a:pt x="396" y="61"/>
                  </a:cubicBezTo>
                  <a:cubicBezTo>
                    <a:pt x="395" y="64"/>
                    <a:pt x="395" y="65"/>
                    <a:pt x="393" y="65"/>
                  </a:cubicBezTo>
                  <a:cubicBezTo>
                    <a:pt x="391" y="66"/>
                    <a:pt x="389" y="69"/>
                    <a:pt x="387" y="69"/>
                  </a:cubicBezTo>
                  <a:cubicBezTo>
                    <a:pt x="388" y="67"/>
                    <a:pt x="390" y="66"/>
                    <a:pt x="392" y="64"/>
                  </a:cubicBezTo>
                  <a:cubicBezTo>
                    <a:pt x="393" y="64"/>
                    <a:pt x="392" y="63"/>
                    <a:pt x="393" y="62"/>
                  </a:cubicBezTo>
                  <a:cubicBezTo>
                    <a:pt x="393" y="61"/>
                    <a:pt x="394" y="62"/>
                    <a:pt x="394" y="62"/>
                  </a:cubicBezTo>
                  <a:cubicBezTo>
                    <a:pt x="395" y="61"/>
                    <a:pt x="394" y="59"/>
                    <a:pt x="394" y="58"/>
                  </a:cubicBezTo>
                  <a:cubicBezTo>
                    <a:pt x="395" y="58"/>
                    <a:pt x="397" y="56"/>
                    <a:pt x="396" y="56"/>
                  </a:cubicBezTo>
                  <a:cubicBezTo>
                    <a:pt x="391" y="53"/>
                    <a:pt x="399" y="48"/>
                    <a:pt x="396" y="44"/>
                  </a:cubicBezTo>
                  <a:cubicBezTo>
                    <a:pt x="394" y="42"/>
                    <a:pt x="390" y="44"/>
                    <a:pt x="392" y="47"/>
                  </a:cubicBezTo>
                  <a:cubicBezTo>
                    <a:pt x="391" y="47"/>
                    <a:pt x="391" y="45"/>
                    <a:pt x="390" y="44"/>
                  </a:cubicBezTo>
                  <a:cubicBezTo>
                    <a:pt x="389" y="43"/>
                    <a:pt x="387" y="51"/>
                    <a:pt x="387" y="51"/>
                  </a:cubicBezTo>
                  <a:cubicBezTo>
                    <a:pt x="385" y="50"/>
                    <a:pt x="387" y="48"/>
                    <a:pt x="387" y="47"/>
                  </a:cubicBezTo>
                  <a:cubicBezTo>
                    <a:pt x="386" y="47"/>
                    <a:pt x="382" y="52"/>
                    <a:pt x="382" y="54"/>
                  </a:cubicBezTo>
                  <a:cubicBezTo>
                    <a:pt x="383" y="56"/>
                    <a:pt x="384" y="57"/>
                    <a:pt x="386" y="57"/>
                  </a:cubicBezTo>
                  <a:cubicBezTo>
                    <a:pt x="384" y="57"/>
                    <a:pt x="381" y="57"/>
                    <a:pt x="381" y="58"/>
                  </a:cubicBezTo>
                  <a:cubicBezTo>
                    <a:pt x="382" y="62"/>
                    <a:pt x="380" y="64"/>
                    <a:pt x="376" y="64"/>
                  </a:cubicBezTo>
                  <a:cubicBezTo>
                    <a:pt x="377" y="63"/>
                    <a:pt x="379" y="63"/>
                    <a:pt x="380" y="61"/>
                  </a:cubicBezTo>
                  <a:cubicBezTo>
                    <a:pt x="379" y="61"/>
                    <a:pt x="379" y="61"/>
                    <a:pt x="379" y="60"/>
                  </a:cubicBezTo>
                  <a:cubicBezTo>
                    <a:pt x="379" y="60"/>
                    <a:pt x="379" y="59"/>
                    <a:pt x="379" y="59"/>
                  </a:cubicBezTo>
                  <a:cubicBezTo>
                    <a:pt x="380" y="57"/>
                    <a:pt x="382" y="55"/>
                    <a:pt x="379" y="54"/>
                  </a:cubicBezTo>
                  <a:cubicBezTo>
                    <a:pt x="379" y="53"/>
                    <a:pt x="381" y="48"/>
                    <a:pt x="378" y="49"/>
                  </a:cubicBezTo>
                  <a:cubicBezTo>
                    <a:pt x="375" y="50"/>
                    <a:pt x="371" y="49"/>
                    <a:pt x="368" y="50"/>
                  </a:cubicBezTo>
                  <a:cubicBezTo>
                    <a:pt x="366" y="51"/>
                    <a:pt x="361" y="54"/>
                    <a:pt x="361" y="57"/>
                  </a:cubicBezTo>
                  <a:cubicBezTo>
                    <a:pt x="361" y="61"/>
                    <a:pt x="367" y="57"/>
                    <a:pt x="369" y="60"/>
                  </a:cubicBezTo>
                  <a:cubicBezTo>
                    <a:pt x="367" y="59"/>
                    <a:pt x="365" y="59"/>
                    <a:pt x="363" y="60"/>
                  </a:cubicBezTo>
                  <a:cubicBezTo>
                    <a:pt x="360" y="62"/>
                    <a:pt x="364" y="63"/>
                    <a:pt x="365" y="64"/>
                  </a:cubicBezTo>
                  <a:cubicBezTo>
                    <a:pt x="365" y="67"/>
                    <a:pt x="371" y="65"/>
                    <a:pt x="372" y="66"/>
                  </a:cubicBezTo>
                  <a:cubicBezTo>
                    <a:pt x="374" y="67"/>
                    <a:pt x="373" y="68"/>
                    <a:pt x="374" y="70"/>
                  </a:cubicBezTo>
                  <a:cubicBezTo>
                    <a:pt x="375" y="71"/>
                    <a:pt x="376" y="71"/>
                    <a:pt x="376" y="71"/>
                  </a:cubicBezTo>
                  <a:cubicBezTo>
                    <a:pt x="375" y="71"/>
                    <a:pt x="372" y="72"/>
                    <a:pt x="371" y="71"/>
                  </a:cubicBezTo>
                  <a:cubicBezTo>
                    <a:pt x="370" y="70"/>
                    <a:pt x="372" y="69"/>
                    <a:pt x="372" y="68"/>
                  </a:cubicBezTo>
                  <a:cubicBezTo>
                    <a:pt x="373" y="66"/>
                    <a:pt x="366" y="67"/>
                    <a:pt x="365" y="66"/>
                  </a:cubicBezTo>
                  <a:cubicBezTo>
                    <a:pt x="363" y="65"/>
                    <a:pt x="361" y="61"/>
                    <a:pt x="359" y="61"/>
                  </a:cubicBezTo>
                  <a:cubicBezTo>
                    <a:pt x="361" y="60"/>
                    <a:pt x="358" y="59"/>
                    <a:pt x="357" y="59"/>
                  </a:cubicBezTo>
                  <a:cubicBezTo>
                    <a:pt x="356" y="59"/>
                    <a:pt x="355" y="59"/>
                    <a:pt x="354" y="60"/>
                  </a:cubicBezTo>
                  <a:cubicBezTo>
                    <a:pt x="353" y="60"/>
                    <a:pt x="348" y="60"/>
                    <a:pt x="349" y="62"/>
                  </a:cubicBezTo>
                  <a:cubicBezTo>
                    <a:pt x="350" y="64"/>
                    <a:pt x="354" y="66"/>
                    <a:pt x="356" y="67"/>
                  </a:cubicBezTo>
                  <a:cubicBezTo>
                    <a:pt x="358" y="67"/>
                    <a:pt x="362" y="66"/>
                    <a:pt x="363" y="69"/>
                  </a:cubicBezTo>
                  <a:cubicBezTo>
                    <a:pt x="360" y="69"/>
                    <a:pt x="358" y="67"/>
                    <a:pt x="355" y="68"/>
                  </a:cubicBezTo>
                  <a:cubicBezTo>
                    <a:pt x="354" y="68"/>
                    <a:pt x="356" y="70"/>
                    <a:pt x="356" y="70"/>
                  </a:cubicBezTo>
                  <a:cubicBezTo>
                    <a:pt x="355" y="69"/>
                    <a:pt x="352" y="66"/>
                    <a:pt x="352" y="68"/>
                  </a:cubicBezTo>
                  <a:cubicBezTo>
                    <a:pt x="352" y="68"/>
                    <a:pt x="351" y="72"/>
                    <a:pt x="350" y="71"/>
                  </a:cubicBezTo>
                  <a:cubicBezTo>
                    <a:pt x="350" y="70"/>
                    <a:pt x="351" y="68"/>
                    <a:pt x="350" y="66"/>
                  </a:cubicBezTo>
                  <a:cubicBezTo>
                    <a:pt x="350" y="65"/>
                    <a:pt x="346" y="66"/>
                    <a:pt x="346" y="64"/>
                  </a:cubicBezTo>
                  <a:cubicBezTo>
                    <a:pt x="347" y="62"/>
                    <a:pt x="344" y="61"/>
                    <a:pt x="343" y="62"/>
                  </a:cubicBezTo>
                  <a:cubicBezTo>
                    <a:pt x="340" y="63"/>
                    <a:pt x="343" y="63"/>
                    <a:pt x="342" y="65"/>
                  </a:cubicBezTo>
                  <a:cubicBezTo>
                    <a:pt x="341" y="67"/>
                    <a:pt x="334" y="71"/>
                    <a:pt x="340" y="72"/>
                  </a:cubicBezTo>
                  <a:cubicBezTo>
                    <a:pt x="339" y="73"/>
                    <a:pt x="341" y="74"/>
                    <a:pt x="342" y="74"/>
                  </a:cubicBezTo>
                  <a:cubicBezTo>
                    <a:pt x="341" y="75"/>
                    <a:pt x="338" y="74"/>
                    <a:pt x="336" y="75"/>
                  </a:cubicBezTo>
                  <a:cubicBezTo>
                    <a:pt x="334" y="76"/>
                    <a:pt x="332" y="75"/>
                    <a:pt x="329" y="76"/>
                  </a:cubicBezTo>
                  <a:cubicBezTo>
                    <a:pt x="331" y="77"/>
                    <a:pt x="329" y="78"/>
                    <a:pt x="328" y="79"/>
                  </a:cubicBezTo>
                  <a:cubicBezTo>
                    <a:pt x="326" y="80"/>
                    <a:pt x="326" y="80"/>
                    <a:pt x="328" y="82"/>
                  </a:cubicBezTo>
                  <a:cubicBezTo>
                    <a:pt x="325" y="82"/>
                    <a:pt x="325" y="85"/>
                    <a:pt x="328" y="84"/>
                  </a:cubicBezTo>
                  <a:cubicBezTo>
                    <a:pt x="330" y="83"/>
                    <a:pt x="333" y="83"/>
                    <a:pt x="334" y="85"/>
                  </a:cubicBezTo>
                  <a:cubicBezTo>
                    <a:pt x="333" y="85"/>
                    <a:pt x="332" y="85"/>
                    <a:pt x="331" y="85"/>
                  </a:cubicBezTo>
                  <a:cubicBezTo>
                    <a:pt x="333" y="84"/>
                    <a:pt x="330" y="85"/>
                    <a:pt x="329" y="85"/>
                  </a:cubicBezTo>
                  <a:cubicBezTo>
                    <a:pt x="328" y="85"/>
                    <a:pt x="327" y="86"/>
                    <a:pt x="326" y="86"/>
                  </a:cubicBezTo>
                  <a:cubicBezTo>
                    <a:pt x="328" y="88"/>
                    <a:pt x="333" y="86"/>
                    <a:pt x="334" y="89"/>
                  </a:cubicBezTo>
                  <a:cubicBezTo>
                    <a:pt x="330" y="88"/>
                    <a:pt x="326" y="86"/>
                    <a:pt x="322" y="89"/>
                  </a:cubicBezTo>
                  <a:cubicBezTo>
                    <a:pt x="320" y="90"/>
                    <a:pt x="323" y="90"/>
                    <a:pt x="324" y="90"/>
                  </a:cubicBezTo>
                  <a:cubicBezTo>
                    <a:pt x="326" y="90"/>
                    <a:pt x="328" y="91"/>
                    <a:pt x="330" y="92"/>
                  </a:cubicBezTo>
                  <a:cubicBezTo>
                    <a:pt x="327" y="93"/>
                    <a:pt x="325" y="91"/>
                    <a:pt x="322" y="90"/>
                  </a:cubicBezTo>
                  <a:cubicBezTo>
                    <a:pt x="320" y="90"/>
                    <a:pt x="316" y="93"/>
                    <a:pt x="316" y="91"/>
                  </a:cubicBezTo>
                  <a:cubicBezTo>
                    <a:pt x="316" y="89"/>
                    <a:pt x="307" y="93"/>
                    <a:pt x="306" y="93"/>
                  </a:cubicBezTo>
                  <a:cubicBezTo>
                    <a:pt x="305" y="94"/>
                    <a:pt x="302" y="97"/>
                    <a:pt x="305" y="97"/>
                  </a:cubicBezTo>
                  <a:cubicBezTo>
                    <a:pt x="305" y="97"/>
                    <a:pt x="299" y="97"/>
                    <a:pt x="302" y="99"/>
                  </a:cubicBezTo>
                  <a:cubicBezTo>
                    <a:pt x="303" y="101"/>
                    <a:pt x="304" y="102"/>
                    <a:pt x="306" y="101"/>
                  </a:cubicBezTo>
                  <a:cubicBezTo>
                    <a:pt x="309" y="101"/>
                    <a:pt x="314" y="97"/>
                    <a:pt x="317" y="100"/>
                  </a:cubicBezTo>
                  <a:cubicBezTo>
                    <a:pt x="316" y="100"/>
                    <a:pt x="316" y="100"/>
                    <a:pt x="315" y="101"/>
                  </a:cubicBezTo>
                  <a:cubicBezTo>
                    <a:pt x="319" y="102"/>
                    <a:pt x="322" y="99"/>
                    <a:pt x="326" y="98"/>
                  </a:cubicBezTo>
                  <a:cubicBezTo>
                    <a:pt x="329" y="98"/>
                    <a:pt x="329" y="99"/>
                    <a:pt x="326" y="101"/>
                  </a:cubicBezTo>
                  <a:cubicBezTo>
                    <a:pt x="329" y="101"/>
                    <a:pt x="331" y="100"/>
                    <a:pt x="333" y="101"/>
                  </a:cubicBezTo>
                  <a:cubicBezTo>
                    <a:pt x="334" y="102"/>
                    <a:pt x="336" y="102"/>
                    <a:pt x="337" y="102"/>
                  </a:cubicBezTo>
                  <a:cubicBezTo>
                    <a:pt x="333" y="104"/>
                    <a:pt x="328" y="99"/>
                    <a:pt x="324" y="102"/>
                  </a:cubicBezTo>
                  <a:cubicBezTo>
                    <a:pt x="326" y="103"/>
                    <a:pt x="328" y="103"/>
                    <a:pt x="330" y="104"/>
                  </a:cubicBezTo>
                  <a:cubicBezTo>
                    <a:pt x="327" y="104"/>
                    <a:pt x="325" y="102"/>
                    <a:pt x="323" y="103"/>
                  </a:cubicBezTo>
                  <a:cubicBezTo>
                    <a:pt x="319" y="104"/>
                    <a:pt x="325" y="108"/>
                    <a:pt x="325" y="108"/>
                  </a:cubicBezTo>
                  <a:cubicBezTo>
                    <a:pt x="325" y="109"/>
                    <a:pt x="324" y="111"/>
                    <a:pt x="323" y="111"/>
                  </a:cubicBezTo>
                  <a:cubicBezTo>
                    <a:pt x="323" y="108"/>
                    <a:pt x="322" y="104"/>
                    <a:pt x="319" y="104"/>
                  </a:cubicBezTo>
                  <a:cubicBezTo>
                    <a:pt x="316" y="103"/>
                    <a:pt x="314" y="107"/>
                    <a:pt x="311" y="105"/>
                  </a:cubicBezTo>
                  <a:cubicBezTo>
                    <a:pt x="314" y="103"/>
                    <a:pt x="305" y="102"/>
                    <a:pt x="305" y="102"/>
                  </a:cubicBezTo>
                  <a:cubicBezTo>
                    <a:pt x="303" y="103"/>
                    <a:pt x="298" y="103"/>
                    <a:pt x="297" y="104"/>
                  </a:cubicBezTo>
                  <a:cubicBezTo>
                    <a:pt x="297" y="104"/>
                    <a:pt x="298" y="105"/>
                    <a:pt x="297" y="106"/>
                  </a:cubicBezTo>
                  <a:cubicBezTo>
                    <a:pt x="300" y="105"/>
                    <a:pt x="302" y="107"/>
                    <a:pt x="305" y="108"/>
                  </a:cubicBezTo>
                  <a:cubicBezTo>
                    <a:pt x="306" y="108"/>
                    <a:pt x="306" y="110"/>
                    <a:pt x="307" y="111"/>
                  </a:cubicBezTo>
                  <a:cubicBezTo>
                    <a:pt x="308" y="112"/>
                    <a:pt x="309" y="112"/>
                    <a:pt x="311" y="112"/>
                  </a:cubicBezTo>
                  <a:cubicBezTo>
                    <a:pt x="308" y="113"/>
                    <a:pt x="306" y="110"/>
                    <a:pt x="304" y="108"/>
                  </a:cubicBezTo>
                  <a:cubicBezTo>
                    <a:pt x="302" y="107"/>
                    <a:pt x="299" y="106"/>
                    <a:pt x="297" y="106"/>
                  </a:cubicBezTo>
                  <a:cubicBezTo>
                    <a:pt x="296" y="106"/>
                    <a:pt x="294" y="106"/>
                    <a:pt x="293" y="107"/>
                  </a:cubicBezTo>
                  <a:cubicBezTo>
                    <a:pt x="293" y="107"/>
                    <a:pt x="298" y="108"/>
                    <a:pt x="299" y="108"/>
                  </a:cubicBezTo>
                  <a:cubicBezTo>
                    <a:pt x="298" y="109"/>
                    <a:pt x="296" y="109"/>
                    <a:pt x="295" y="110"/>
                  </a:cubicBezTo>
                  <a:cubicBezTo>
                    <a:pt x="297" y="111"/>
                    <a:pt x="299" y="110"/>
                    <a:pt x="301" y="110"/>
                  </a:cubicBezTo>
                  <a:cubicBezTo>
                    <a:pt x="302" y="109"/>
                    <a:pt x="303" y="111"/>
                    <a:pt x="305" y="111"/>
                  </a:cubicBezTo>
                  <a:cubicBezTo>
                    <a:pt x="303" y="112"/>
                    <a:pt x="302" y="111"/>
                    <a:pt x="301" y="111"/>
                  </a:cubicBezTo>
                  <a:cubicBezTo>
                    <a:pt x="301" y="111"/>
                    <a:pt x="302" y="111"/>
                    <a:pt x="302" y="112"/>
                  </a:cubicBezTo>
                  <a:cubicBezTo>
                    <a:pt x="301" y="112"/>
                    <a:pt x="299" y="111"/>
                    <a:pt x="300" y="112"/>
                  </a:cubicBezTo>
                  <a:cubicBezTo>
                    <a:pt x="299" y="112"/>
                    <a:pt x="298" y="113"/>
                    <a:pt x="297" y="113"/>
                  </a:cubicBezTo>
                  <a:cubicBezTo>
                    <a:pt x="298" y="114"/>
                    <a:pt x="298" y="115"/>
                    <a:pt x="299" y="115"/>
                  </a:cubicBezTo>
                  <a:cubicBezTo>
                    <a:pt x="300" y="115"/>
                    <a:pt x="301" y="113"/>
                    <a:pt x="302" y="113"/>
                  </a:cubicBezTo>
                  <a:cubicBezTo>
                    <a:pt x="303" y="113"/>
                    <a:pt x="304" y="114"/>
                    <a:pt x="305" y="115"/>
                  </a:cubicBezTo>
                  <a:cubicBezTo>
                    <a:pt x="306" y="115"/>
                    <a:pt x="307" y="115"/>
                    <a:pt x="309" y="115"/>
                  </a:cubicBezTo>
                  <a:cubicBezTo>
                    <a:pt x="308" y="115"/>
                    <a:pt x="308" y="115"/>
                    <a:pt x="307" y="115"/>
                  </a:cubicBezTo>
                  <a:cubicBezTo>
                    <a:pt x="307" y="116"/>
                    <a:pt x="307" y="116"/>
                    <a:pt x="307" y="116"/>
                  </a:cubicBezTo>
                  <a:cubicBezTo>
                    <a:pt x="305" y="116"/>
                    <a:pt x="303" y="113"/>
                    <a:pt x="301" y="115"/>
                  </a:cubicBezTo>
                  <a:cubicBezTo>
                    <a:pt x="298" y="118"/>
                    <a:pt x="302" y="117"/>
                    <a:pt x="303" y="118"/>
                  </a:cubicBezTo>
                  <a:cubicBezTo>
                    <a:pt x="303" y="118"/>
                    <a:pt x="302" y="118"/>
                    <a:pt x="302" y="118"/>
                  </a:cubicBezTo>
                  <a:cubicBezTo>
                    <a:pt x="303" y="119"/>
                    <a:pt x="303" y="119"/>
                    <a:pt x="304" y="120"/>
                  </a:cubicBezTo>
                  <a:cubicBezTo>
                    <a:pt x="303" y="120"/>
                    <a:pt x="299" y="116"/>
                    <a:pt x="299" y="118"/>
                  </a:cubicBezTo>
                  <a:cubicBezTo>
                    <a:pt x="298" y="120"/>
                    <a:pt x="302" y="120"/>
                    <a:pt x="302" y="122"/>
                  </a:cubicBezTo>
                  <a:cubicBezTo>
                    <a:pt x="300" y="121"/>
                    <a:pt x="297" y="116"/>
                    <a:pt x="295" y="118"/>
                  </a:cubicBezTo>
                  <a:cubicBezTo>
                    <a:pt x="296" y="118"/>
                    <a:pt x="297" y="118"/>
                    <a:pt x="297" y="120"/>
                  </a:cubicBezTo>
                  <a:cubicBezTo>
                    <a:pt x="297" y="121"/>
                    <a:pt x="297" y="121"/>
                    <a:pt x="297" y="122"/>
                  </a:cubicBezTo>
                  <a:cubicBezTo>
                    <a:pt x="299" y="123"/>
                    <a:pt x="301" y="124"/>
                    <a:pt x="303" y="125"/>
                  </a:cubicBezTo>
                  <a:cubicBezTo>
                    <a:pt x="301" y="126"/>
                    <a:pt x="298" y="124"/>
                    <a:pt x="296" y="123"/>
                  </a:cubicBezTo>
                  <a:cubicBezTo>
                    <a:pt x="294" y="122"/>
                    <a:pt x="297" y="120"/>
                    <a:pt x="295" y="119"/>
                  </a:cubicBezTo>
                  <a:cubicBezTo>
                    <a:pt x="293" y="118"/>
                    <a:pt x="292" y="117"/>
                    <a:pt x="292" y="115"/>
                  </a:cubicBezTo>
                  <a:cubicBezTo>
                    <a:pt x="293" y="111"/>
                    <a:pt x="293" y="113"/>
                    <a:pt x="291" y="111"/>
                  </a:cubicBezTo>
                  <a:cubicBezTo>
                    <a:pt x="295" y="111"/>
                    <a:pt x="285" y="106"/>
                    <a:pt x="289" y="110"/>
                  </a:cubicBezTo>
                  <a:cubicBezTo>
                    <a:pt x="288" y="111"/>
                    <a:pt x="286" y="110"/>
                    <a:pt x="286" y="111"/>
                  </a:cubicBezTo>
                  <a:cubicBezTo>
                    <a:pt x="286" y="112"/>
                    <a:pt x="287" y="112"/>
                    <a:pt x="288" y="113"/>
                  </a:cubicBezTo>
                  <a:cubicBezTo>
                    <a:pt x="286" y="113"/>
                    <a:pt x="282" y="117"/>
                    <a:pt x="280" y="115"/>
                  </a:cubicBezTo>
                  <a:cubicBezTo>
                    <a:pt x="280" y="113"/>
                    <a:pt x="282" y="115"/>
                    <a:pt x="283" y="113"/>
                  </a:cubicBezTo>
                  <a:cubicBezTo>
                    <a:pt x="283" y="112"/>
                    <a:pt x="282" y="111"/>
                    <a:pt x="281" y="111"/>
                  </a:cubicBezTo>
                  <a:cubicBezTo>
                    <a:pt x="280" y="111"/>
                    <a:pt x="281" y="113"/>
                    <a:pt x="279" y="113"/>
                  </a:cubicBezTo>
                  <a:cubicBezTo>
                    <a:pt x="279" y="113"/>
                    <a:pt x="276" y="115"/>
                    <a:pt x="278" y="113"/>
                  </a:cubicBezTo>
                  <a:cubicBezTo>
                    <a:pt x="277" y="113"/>
                    <a:pt x="275" y="114"/>
                    <a:pt x="274" y="115"/>
                  </a:cubicBezTo>
                  <a:cubicBezTo>
                    <a:pt x="273" y="115"/>
                    <a:pt x="273" y="115"/>
                    <a:pt x="273" y="116"/>
                  </a:cubicBezTo>
                  <a:cubicBezTo>
                    <a:pt x="273" y="116"/>
                    <a:pt x="272" y="116"/>
                    <a:pt x="272" y="116"/>
                  </a:cubicBezTo>
                  <a:cubicBezTo>
                    <a:pt x="272" y="119"/>
                    <a:pt x="278" y="119"/>
                    <a:pt x="275" y="117"/>
                  </a:cubicBezTo>
                  <a:cubicBezTo>
                    <a:pt x="276" y="117"/>
                    <a:pt x="278" y="117"/>
                    <a:pt x="278" y="115"/>
                  </a:cubicBezTo>
                  <a:cubicBezTo>
                    <a:pt x="281" y="116"/>
                    <a:pt x="283" y="116"/>
                    <a:pt x="286" y="117"/>
                  </a:cubicBezTo>
                  <a:cubicBezTo>
                    <a:pt x="286" y="117"/>
                    <a:pt x="291" y="118"/>
                    <a:pt x="289" y="119"/>
                  </a:cubicBezTo>
                  <a:cubicBezTo>
                    <a:pt x="287" y="122"/>
                    <a:pt x="287" y="121"/>
                    <a:pt x="285" y="120"/>
                  </a:cubicBezTo>
                  <a:cubicBezTo>
                    <a:pt x="282" y="119"/>
                    <a:pt x="281" y="122"/>
                    <a:pt x="278" y="122"/>
                  </a:cubicBezTo>
                  <a:cubicBezTo>
                    <a:pt x="280" y="120"/>
                    <a:pt x="277" y="121"/>
                    <a:pt x="276" y="121"/>
                  </a:cubicBezTo>
                  <a:cubicBezTo>
                    <a:pt x="275" y="122"/>
                    <a:pt x="274" y="122"/>
                    <a:pt x="273" y="122"/>
                  </a:cubicBezTo>
                  <a:cubicBezTo>
                    <a:pt x="272" y="122"/>
                    <a:pt x="271" y="124"/>
                    <a:pt x="270" y="124"/>
                  </a:cubicBezTo>
                  <a:cubicBezTo>
                    <a:pt x="270" y="124"/>
                    <a:pt x="271" y="123"/>
                    <a:pt x="271" y="123"/>
                  </a:cubicBezTo>
                  <a:cubicBezTo>
                    <a:pt x="269" y="121"/>
                    <a:pt x="264" y="123"/>
                    <a:pt x="262" y="123"/>
                  </a:cubicBezTo>
                  <a:cubicBezTo>
                    <a:pt x="262" y="123"/>
                    <a:pt x="262" y="124"/>
                    <a:pt x="262" y="124"/>
                  </a:cubicBezTo>
                  <a:cubicBezTo>
                    <a:pt x="262" y="124"/>
                    <a:pt x="262" y="124"/>
                    <a:pt x="262" y="124"/>
                  </a:cubicBezTo>
                  <a:cubicBezTo>
                    <a:pt x="263" y="124"/>
                    <a:pt x="268" y="124"/>
                    <a:pt x="268" y="124"/>
                  </a:cubicBezTo>
                  <a:cubicBezTo>
                    <a:pt x="266" y="125"/>
                    <a:pt x="262" y="124"/>
                    <a:pt x="260" y="125"/>
                  </a:cubicBezTo>
                  <a:cubicBezTo>
                    <a:pt x="258" y="126"/>
                    <a:pt x="263" y="126"/>
                    <a:pt x="261" y="127"/>
                  </a:cubicBezTo>
                  <a:cubicBezTo>
                    <a:pt x="263" y="128"/>
                    <a:pt x="264" y="126"/>
                    <a:pt x="266" y="127"/>
                  </a:cubicBezTo>
                  <a:cubicBezTo>
                    <a:pt x="265" y="128"/>
                    <a:pt x="267" y="127"/>
                    <a:pt x="268" y="128"/>
                  </a:cubicBezTo>
                  <a:cubicBezTo>
                    <a:pt x="266" y="129"/>
                    <a:pt x="262" y="127"/>
                    <a:pt x="260" y="129"/>
                  </a:cubicBezTo>
                  <a:cubicBezTo>
                    <a:pt x="261" y="129"/>
                    <a:pt x="261" y="130"/>
                    <a:pt x="262" y="130"/>
                  </a:cubicBezTo>
                  <a:cubicBezTo>
                    <a:pt x="261" y="130"/>
                    <a:pt x="260" y="130"/>
                    <a:pt x="259" y="131"/>
                  </a:cubicBezTo>
                  <a:cubicBezTo>
                    <a:pt x="262" y="134"/>
                    <a:pt x="267" y="130"/>
                    <a:pt x="270" y="130"/>
                  </a:cubicBezTo>
                  <a:cubicBezTo>
                    <a:pt x="271" y="129"/>
                    <a:pt x="270" y="129"/>
                    <a:pt x="271" y="128"/>
                  </a:cubicBezTo>
                  <a:cubicBezTo>
                    <a:pt x="271" y="128"/>
                    <a:pt x="272" y="127"/>
                    <a:pt x="273" y="127"/>
                  </a:cubicBezTo>
                  <a:cubicBezTo>
                    <a:pt x="274" y="127"/>
                    <a:pt x="275" y="126"/>
                    <a:pt x="275" y="124"/>
                  </a:cubicBezTo>
                  <a:cubicBezTo>
                    <a:pt x="275" y="124"/>
                    <a:pt x="278" y="125"/>
                    <a:pt x="276" y="125"/>
                  </a:cubicBezTo>
                  <a:cubicBezTo>
                    <a:pt x="278" y="127"/>
                    <a:pt x="280" y="127"/>
                    <a:pt x="282" y="127"/>
                  </a:cubicBezTo>
                  <a:cubicBezTo>
                    <a:pt x="284" y="128"/>
                    <a:pt x="285" y="130"/>
                    <a:pt x="287" y="130"/>
                  </a:cubicBezTo>
                  <a:cubicBezTo>
                    <a:pt x="287" y="131"/>
                    <a:pt x="282" y="129"/>
                    <a:pt x="282" y="128"/>
                  </a:cubicBezTo>
                  <a:cubicBezTo>
                    <a:pt x="280" y="128"/>
                    <a:pt x="278" y="127"/>
                    <a:pt x="276" y="128"/>
                  </a:cubicBezTo>
                  <a:cubicBezTo>
                    <a:pt x="277" y="130"/>
                    <a:pt x="278" y="130"/>
                    <a:pt x="280" y="130"/>
                  </a:cubicBezTo>
                  <a:cubicBezTo>
                    <a:pt x="279" y="130"/>
                    <a:pt x="279" y="130"/>
                    <a:pt x="279" y="131"/>
                  </a:cubicBezTo>
                  <a:cubicBezTo>
                    <a:pt x="278" y="131"/>
                    <a:pt x="272" y="128"/>
                    <a:pt x="272" y="130"/>
                  </a:cubicBezTo>
                  <a:cubicBezTo>
                    <a:pt x="273" y="130"/>
                    <a:pt x="273" y="131"/>
                    <a:pt x="274" y="131"/>
                  </a:cubicBezTo>
                  <a:cubicBezTo>
                    <a:pt x="273" y="131"/>
                    <a:pt x="269" y="132"/>
                    <a:pt x="271" y="133"/>
                  </a:cubicBezTo>
                  <a:cubicBezTo>
                    <a:pt x="272" y="133"/>
                    <a:pt x="276" y="133"/>
                    <a:pt x="277" y="134"/>
                  </a:cubicBezTo>
                  <a:cubicBezTo>
                    <a:pt x="277" y="134"/>
                    <a:pt x="272" y="133"/>
                    <a:pt x="271" y="134"/>
                  </a:cubicBezTo>
                  <a:cubicBezTo>
                    <a:pt x="270" y="136"/>
                    <a:pt x="274" y="137"/>
                    <a:pt x="274" y="137"/>
                  </a:cubicBezTo>
                  <a:cubicBezTo>
                    <a:pt x="279" y="138"/>
                    <a:pt x="283" y="134"/>
                    <a:pt x="288" y="135"/>
                  </a:cubicBezTo>
                  <a:cubicBezTo>
                    <a:pt x="285" y="136"/>
                    <a:pt x="282" y="136"/>
                    <a:pt x="280" y="139"/>
                  </a:cubicBezTo>
                  <a:cubicBezTo>
                    <a:pt x="280" y="139"/>
                    <a:pt x="280" y="139"/>
                    <a:pt x="281" y="139"/>
                  </a:cubicBezTo>
                  <a:cubicBezTo>
                    <a:pt x="279" y="139"/>
                    <a:pt x="280" y="141"/>
                    <a:pt x="281" y="141"/>
                  </a:cubicBezTo>
                  <a:cubicBezTo>
                    <a:pt x="282" y="142"/>
                    <a:pt x="283" y="141"/>
                    <a:pt x="283" y="141"/>
                  </a:cubicBezTo>
                  <a:cubicBezTo>
                    <a:pt x="283" y="141"/>
                    <a:pt x="284" y="142"/>
                    <a:pt x="285" y="143"/>
                  </a:cubicBezTo>
                  <a:cubicBezTo>
                    <a:pt x="284" y="142"/>
                    <a:pt x="283" y="142"/>
                    <a:pt x="282" y="142"/>
                  </a:cubicBezTo>
                  <a:cubicBezTo>
                    <a:pt x="282" y="142"/>
                    <a:pt x="282" y="142"/>
                    <a:pt x="282" y="143"/>
                  </a:cubicBezTo>
                  <a:cubicBezTo>
                    <a:pt x="281" y="143"/>
                    <a:pt x="280" y="143"/>
                    <a:pt x="280" y="142"/>
                  </a:cubicBezTo>
                  <a:cubicBezTo>
                    <a:pt x="278" y="139"/>
                    <a:pt x="276" y="138"/>
                    <a:pt x="273" y="138"/>
                  </a:cubicBezTo>
                  <a:cubicBezTo>
                    <a:pt x="273" y="138"/>
                    <a:pt x="271" y="140"/>
                    <a:pt x="270" y="140"/>
                  </a:cubicBezTo>
                  <a:cubicBezTo>
                    <a:pt x="269" y="140"/>
                    <a:pt x="270" y="138"/>
                    <a:pt x="271" y="138"/>
                  </a:cubicBezTo>
                  <a:cubicBezTo>
                    <a:pt x="269" y="135"/>
                    <a:pt x="267" y="140"/>
                    <a:pt x="264" y="138"/>
                  </a:cubicBezTo>
                  <a:cubicBezTo>
                    <a:pt x="265" y="138"/>
                    <a:pt x="266" y="138"/>
                    <a:pt x="267" y="137"/>
                  </a:cubicBezTo>
                  <a:cubicBezTo>
                    <a:pt x="266" y="136"/>
                    <a:pt x="266" y="136"/>
                    <a:pt x="265" y="135"/>
                  </a:cubicBezTo>
                  <a:cubicBezTo>
                    <a:pt x="266" y="135"/>
                    <a:pt x="268" y="136"/>
                    <a:pt x="269" y="136"/>
                  </a:cubicBezTo>
                  <a:cubicBezTo>
                    <a:pt x="270" y="136"/>
                    <a:pt x="269" y="135"/>
                    <a:pt x="268" y="134"/>
                  </a:cubicBezTo>
                  <a:cubicBezTo>
                    <a:pt x="264" y="134"/>
                    <a:pt x="261" y="137"/>
                    <a:pt x="258" y="139"/>
                  </a:cubicBezTo>
                  <a:cubicBezTo>
                    <a:pt x="260" y="142"/>
                    <a:pt x="264" y="139"/>
                    <a:pt x="267" y="140"/>
                  </a:cubicBezTo>
                  <a:cubicBezTo>
                    <a:pt x="266" y="140"/>
                    <a:pt x="262" y="143"/>
                    <a:pt x="261" y="142"/>
                  </a:cubicBezTo>
                  <a:cubicBezTo>
                    <a:pt x="262" y="142"/>
                    <a:pt x="262" y="141"/>
                    <a:pt x="262" y="141"/>
                  </a:cubicBezTo>
                  <a:cubicBezTo>
                    <a:pt x="262" y="140"/>
                    <a:pt x="259" y="140"/>
                    <a:pt x="259" y="140"/>
                  </a:cubicBezTo>
                  <a:cubicBezTo>
                    <a:pt x="257" y="140"/>
                    <a:pt x="257" y="141"/>
                    <a:pt x="256" y="142"/>
                  </a:cubicBezTo>
                  <a:cubicBezTo>
                    <a:pt x="256" y="142"/>
                    <a:pt x="256" y="142"/>
                    <a:pt x="256" y="142"/>
                  </a:cubicBezTo>
                  <a:cubicBezTo>
                    <a:pt x="255" y="144"/>
                    <a:pt x="252" y="146"/>
                    <a:pt x="251" y="146"/>
                  </a:cubicBezTo>
                  <a:cubicBezTo>
                    <a:pt x="250" y="147"/>
                    <a:pt x="249" y="147"/>
                    <a:pt x="248" y="147"/>
                  </a:cubicBezTo>
                  <a:cubicBezTo>
                    <a:pt x="252" y="148"/>
                    <a:pt x="256" y="145"/>
                    <a:pt x="259" y="145"/>
                  </a:cubicBezTo>
                  <a:cubicBezTo>
                    <a:pt x="258" y="148"/>
                    <a:pt x="260" y="148"/>
                    <a:pt x="261" y="147"/>
                  </a:cubicBezTo>
                  <a:cubicBezTo>
                    <a:pt x="263" y="145"/>
                    <a:pt x="265" y="146"/>
                    <a:pt x="267" y="146"/>
                  </a:cubicBezTo>
                  <a:cubicBezTo>
                    <a:pt x="265" y="144"/>
                    <a:pt x="274" y="145"/>
                    <a:pt x="267" y="147"/>
                  </a:cubicBezTo>
                  <a:cubicBezTo>
                    <a:pt x="270" y="147"/>
                    <a:pt x="272" y="147"/>
                    <a:pt x="274" y="147"/>
                  </a:cubicBezTo>
                  <a:cubicBezTo>
                    <a:pt x="274" y="148"/>
                    <a:pt x="273" y="148"/>
                    <a:pt x="273" y="148"/>
                  </a:cubicBezTo>
                  <a:cubicBezTo>
                    <a:pt x="274" y="149"/>
                    <a:pt x="277" y="148"/>
                    <a:pt x="279" y="148"/>
                  </a:cubicBezTo>
                  <a:cubicBezTo>
                    <a:pt x="281" y="148"/>
                    <a:pt x="284" y="148"/>
                    <a:pt x="285" y="149"/>
                  </a:cubicBezTo>
                  <a:cubicBezTo>
                    <a:pt x="282" y="149"/>
                    <a:pt x="279" y="148"/>
                    <a:pt x="276" y="148"/>
                  </a:cubicBezTo>
                  <a:cubicBezTo>
                    <a:pt x="279" y="147"/>
                    <a:pt x="277" y="152"/>
                    <a:pt x="278" y="153"/>
                  </a:cubicBezTo>
                  <a:cubicBezTo>
                    <a:pt x="275" y="154"/>
                    <a:pt x="277" y="152"/>
                    <a:pt x="277" y="151"/>
                  </a:cubicBezTo>
                  <a:cubicBezTo>
                    <a:pt x="276" y="149"/>
                    <a:pt x="273" y="149"/>
                    <a:pt x="272" y="149"/>
                  </a:cubicBezTo>
                  <a:cubicBezTo>
                    <a:pt x="270" y="149"/>
                    <a:pt x="267" y="148"/>
                    <a:pt x="265" y="150"/>
                  </a:cubicBezTo>
                  <a:cubicBezTo>
                    <a:pt x="264" y="151"/>
                    <a:pt x="266" y="151"/>
                    <a:pt x="266" y="152"/>
                  </a:cubicBezTo>
                  <a:cubicBezTo>
                    <a:pt x="263" y="152"/>
                    <a:pt x="264" y="149"/>
                    <a:pt x="266" y="148"/>
                  </a:cubicBezTo>
                  <a:cubicBezTo>
                    <a:pt x="263" y="148"/>
                    <a:pt x="258" y="148"/>
                    <a:pt x="256" y="149"/>
                  </a:cubicBezTo>
                  <a:cubicBezTo>
                    <a:pt x="258" y="149"/>
                    <a:pt x="253" y="150"/>
                    <a:pt x="253" y="150"/>
                  </a:cubicBezTo>
                  <a:cubicBezTo>
                    <a:pt x="251" y="150"/>
                    <a:pt x="250" y="150"/>
                    <a:pt x="249" y="151"/>
                  </a:cubicBezTo>
                  <a:cubicBezTo>
                    <a:pt x="250" y="152"/>
                    <a:pt x="248" y="153"/>
                    <a:pt x="247" y="153"/>
                  </a:cubicBezTo>
                  <a:cubicBezTo>
                    <a:pt x="250" y="155"/>
                    <a:pt x="255" y="152"/>
                    <a:pt x="256" y="156"/>
                  </a:cubicBezTo>
                  <a:cubicBezTo>
                    <a:pt x="255" y="157"/>
                    <a:pt x="254" y="155"/>
                    <a:pt x="253" y="155"/>
                  </a:cubicBezTo>
                  <a:cubicBezTo>
                    <a:pt x="251" y="155"/>
                    <a:pt x="249" y="154"/>
                    <a:pt x="247" y="154"/>
                  </a:cubicBezTo>
                  <a:cubicBezTo>
                    <a:pt x="249" y="156"/>
                    <a:pt x="246" y="159"/>
                    <a:pt x="245" y="157"/>
                  </a:cubicBezTo>
                  <a:cubicBezTo>
                    <a:pt x="244" y="156"/>
                    <a:pt x="243" y="154"/>
                    <a:pt x="242" y="155"/>
                  </a:cubicBezTo>
                  <a:cubicBezTo>
                    <a:pt x="241" y="156"/>
                    <a:pt x="242" y="157"/>
                    <a:pt x="242" y="158"/>
                  </a:cubicBezTo>
                  <a:cubicBezTo>
                    <a:pt x="241" y="159"/>
                    <a:pt x="239" y="160"/>
                    <a:pt x="238" y="158"/>
                  </a:cubicBezTo>
                  <a:cubicBezTo>
                    <a:pt x="239" y="159"/>
                    <a:pt x="240" y="158"/>
                    <a:pt x="241" y="157"/>
                  </a:cubicBezTo>
                  <a:cubicBezTo>
                    <a:pt x="240" y="157"/>
                    <a:pt x="235" y="157"/>
                    <a:pt x="234" y="158"/>
                  </a:cubicBezTo>
                  <a:cubicBezTo>
                    <a:pt x="235" y="158"/>
                    <a:pt x="235" y="158"/>
                    <a:pt x="236" y="158"/>
                  </a:cubicBezTo>
                  <a:cubicBezTo>
                    <a:pt x="234" y="160"/>
                    <a:pt x="231" y="159"/>
                    <a:pt x="228" y="159"/>
                  </a:cubicBezTo>
                  <a:cubicBezTo>
                    <a:pt x="229" y="160"/>
                    <a:pt x="229" y="161"/>
                    <a:pt x="229" y="161"/>
                  </a:cubicBezTo>
                  <a:cubicBezTo>
                    <a:pt x="230" y="161"/>
                    <a:pt x="231" y="161"/>
                    <a:pt x="231" y="161"/>
                  </a:cubicBezTo>
                  <a:cubicBezTo>
                    <a:pt x="232" y="161"/>
                    <a:pt x="234" y="162"/>
                    <a:pt x="233" y="164"/>
                  </a:cubicBezTo>
                  <a:cubicBezTo>
                    <a:pt x="234" y="163"/>
                    <a:pt x="239" y="164"/>
                    <a:pt x="241" y="165"/>
                  </a:cubicBezTo>
                  <a:cubicBezTo>
                    <a:pt x="240" y="165"/>
                    <a:pt x="228" y="164"/>
                    <a:pt x="229" y="166"/>
                  </a:cubicBezTo>
                  <a:cubicBezTo>
                    <a:pt x="229" y="166"/>
                    <a:pt x="230" y="166"/>
                    <a:pt x="231" y="167"/>
                  </a:cubicBezTo>
                  <a:cubicBezTo>
                    <a:pt x="230" y="167"/>
                    <a:pt x="229" y="167"/>
                    <a:pt x="230" y="168"/>
                  </a:cubicBezTo>
                  <a:cubicBezTo>
                    <a:pt x="230" y="168"/>
                    <a:pt x="230" y="168"/>
                    <a:pt x="231" y="169"/>
                  </a:cubicBezTo>
                  <a:cubicBezTo>
                    <a:pt x="230" y="168"/>
                    <a:pt x="230" y="169"/>
                    <a:pt x="229" y="168"/>
                  </a:cubicBezTo>
                  <a:cubicBezTo>
                    <a:pt x="227" y="168"/>
                    <a:pt x="223" y="167"/>
                    <a:pt x="221" y="168"/>
                  </a:cubicBezTo>
                  <a:cubicBezTo>
                    <a:pt x="223" y="169"/>
                    <a:pt x="228" y="168"/>
                    <a:pt x="229" y="171"/>
                  </a:cubicBezTo>
                  <a:cubicBezTo>
                    <a:pt x="229" y="171"/>
                    <a:pt x="220" y="169"/>
                    <a:pt x="220" y="171"/>
                  </a:cubicBezTo>
                  <a:cubicBezTo>
                    <a:pt x="220" y="172"/>
                    <a:pt x="225" y="171"/>
                    <a:pt x="225" y="172"/>
                  </a:cubicBezTo>
                  <a:cubicBezTo>
                    <a:pt x="223" y="171"/>
                    <a:pt x="219" y="175"/>
                    <a:pt x="223" y="175"/>
                  </a:cubicBezTo>
                  <a:cubicBezTo>
                    <a:pt x="227" y="174"/>
                    <a:pt x="230" y="172"/>
                    <a:pt x="234" y="172"/>
                  </a:cubicBezTo>
                  <a:cubicBezTo>
                    <a:pt x="232" y="173"/>
                    <a:pt x="230" y="173"/>
                    <a:pt x="228" y="174"/>
                  </a:cubicBezTo>
                  <a:cubicBezTo>
                    <a:pt x="227" y="175"/>
                    <a:pt x="232" y="175"/>
                    <a:pt x="233" y="176"/>
                  </a:cubicBezTo>
                  <a:cubicBezTo>
                    <a:pt x="230" y="175"/>
                    <a:pt x="227" y="174"/>
                    <a:pt x="224" y="175"/>
                  </a:cubicBezTo>
                  <a:cubicBezTo>
                    <a:pt x="224" y="176"/>
                    <a:pt x="222" y="177"/>
                    <a:pt x="223" y="178"/>
                  </a:cubicBezTo>
                  <a:cubicBezTo>
                    <a:pt x="223" y="179"/>
                    <a:pt x="225" y="178"/>
                    <a:pt x="226" y="178"/>
                  </a:cubicBezTo>
                  <a:cubicBezTo>
                    <a:pt x="224" y="179"/>
                    <a:pt x="222" y="179"/>
                    <a:pt x="221" y="178"/>
                  </a:cubicBezTo>
                  <a:cubicBezTo>
                    <a:pt x="222" y="177"/>
                    <a:pt x="221" y="176"/>
                    <a:pt x="220" y="176"/>
                  </a:cubicBezTo>
                  <a:cubicBezTo>
                    <a:pt x="218" y="175"/>
                    <a:pt x="216" y="175"/>
                    <a:pt x="215" y="176"/>
                  </a:cubicBezTo>
                  <a:cubicBezTo>
                    <a:pt x="216" y="177"/>
                    <a:pt x="218" y="177"/>
                    <a:pt x="219" y="178"/>
                  </a:cubicBezTo>
                  <a:cubicBezTo>
                    <a:pt x="219" y="178"/>
                    <a:pt x="218" y="178"/>
                    <a:pt x="217" y="178"/>
                  </a:cubicBezTo>
                  <a:cubicBezTo>
                    <a:pt x="222" y="180"/>
                    <a:pt x="216" y="181"/>
                    <a:pt x="216" y="183"/>
                  </a:cubicBezTo>
                  <a:cubicBezTo>
                    <a:pt x="216" y="183"/>
                    <a:pt x="219" y="184"/>
                    <a:pt x="219" y="184"/>
                  </a:cubicBezTo>
                  <a:cubicBezTo>
                    <a:pt x="218" y="185"/>
                    <a:pt x="224" y="184"/>
                    <a:pt x="225" y="183"/>
                  </a:cubicBezTo>
                  <a:cubicBezTo>
                    <a:pt x="227" y="183"/>
                    <a:pt x="227" y="184"/>
                    <a:pt x="229" y="184"/>
                  </a:cubicBezTo>
                  <a:cubicBezTo>
                    <a:pt x="225" y="184"/>
                    <a:pt x="221" y="186"/>
                    <a:pt x="217" y="188"/>
                  </a:cubicBezTo>
                  <a:cubicBezTo>
                    <a:pt x="216" y="188"/>
                    <a:pt x="216" y="190"/>
                    <a:pt x="217" y="189"/>
                  </a:cubicBezTo>
                  <a:cubicBezTo>
                    <a:pt x="218" y="189"/>
                    <a:pt x="219" y="189"/>
                    <a:pt x="221" y="188"/>
                  </a:cubicBezTo>
                  <a:cubicBezTo>
                    <a:pt x="222" y="188"/>
                    <a:pt x="223" y="187"/>
                    <a:pt x="225" y="187"/>
                  </a:cubicBezTo>
                  <a:cubicBezTo>
                    <a:pt x="227" y="187"/>
                    <a:pt x="229" y="185"/>
                    <a:pt x="230" y="185"/>
                  </a:cubicBezTo>
                  <a:cubicBezTo>
                    <a:pt x="232" y="185"/>
                    <a:pt x="230" y="187"/>
                    <a:pt x="232" y="187"/>
                  </a:cubicBezTo>
                  <a:cubicBezTo>
                    <a:pt x="234" y="187"/>
                    <a:pt x="234" y="185"/>
                    <a:pt x="235" y="185"/>
                  </a:cubicBezTo>
                  <a:cubicBezTo>
                    <a:pt x="235" y="186"/>
                    <a:pt x="235" y="186"/>
                    <a:pt x="235" y="186"/>
                  </a:cubicBezTo>
                  <a:cubicBezTo>
                    <a:pt x="236" y="186"/>
                    <a:pt x="245" y="184"/>
                    <a:pt x="245" y="184"/>
                  </a:cubicBezTo>
                  <a:cubicBezTo>
                    <a:pt x="245" y="185"/>
                    <a:pt x="237" y="188"/>
                    <a:pt x="236" y="188"/>
                  </a:cubicBezTo>
                  <a:cubicBezTo>
                    <a:pt x="238" y="186"/>
                    <a:pt x="232" y="187"/>
                    <a:pt x="232" y="187"/>
                  </a:cubicBezTo>
                  <a:cubicBezTo>
                    <a:pt x="232" y="189"/>
                    <a:pt x="233" y="189"/>
                    <a:pt x="234" y="189"/>
                  </a:cubicBezTo>
                  <a:cubicBezTo>
                    <a:pt x="235" y="189"/>
                    <a:pt x="237" y="189"/>
                    <a:pt x="237" y="190"/>
                  </a:cubicBezTo>
                  <a:cubicBezTo>
                    <a:pt x="237" y="190"/>
                    <a:pt x="234" y="190"/>
                    <a:pt x="234" y="190"/>
                  </a:cubicBezTo>
                  <a:cubicBezTo>
                    <a:pt x="232" y="190"/>
                    <a:pt x="231" y="191"/>
                    <a:pt x="230" y="192"/>
                  </a:cubicBezTo>
                  <a:cubicBezTo>
                    <a:pt x="229" y="191"/>
                    <a:pt x="232" y="188"/>
                    <a:pt x="229" y="189"/>
                  </a:cubicBezTo>
                  <a:cubicBezTo>
                    <a:pt x="232" y="188"/>
                    <a:pt x="228" y="188"/>
                    <a:pt x="228" y="187"/>
                  </a:cubicBezTo>
                  <a:cubicBezTo>
                    <a:pt x="226" y="187"/>
                    <a:pt x="224" y="187"/>
                    <a:pt x="222" y="188"/>
                  </a:cubicBezTo>
                  <a:cubicBezTo>
                    <a:pt x="220" y="189"/>
                    <a:pt x="218" y="191"/>
                    <a:pt x="215" y="191"/>
                  </a:cubicBezTo>
                  <a:cubicBezTo>
                    <a:pt x="213" y="191"/>
                    <a:pt x="210" y="192"/>
                    <a:pt x="208" y="194"/>
                  </a:cubicBezTo>
                  <a:cubicBezTo>
                    <a:pt x="209" y="194"/>
                    <a:pt x="210" y="194"/>
                    <a:pt x="211" y="194"/>
                  </a:cubicBezTo>
                  <a:cubicBezTo>
                    <a:pt x="210" y="194"/>
                    <a:pt x="208" y="194"/>
                    <a:pt x="207" y="195"/>
                  </a:cubicBezTo>
                  <a:cubicBezTo>
                    <a:pt x="210" y="195"/>
                    <a:pt x="213" y="193"/>
                    <a:pt x="216" y="194"/>
                  </a:cubicBezTo>
                  <a:cubicBezTo>
                    <a:pt x="214" y="194"/>
                    <a:pt x="215" y="196"/>
                    <a:pt x="213" y="198"/>
                  </a:cubicBezTo>
                  <a:cubicBezTo>
                    <a:pt x="216" y="198"/>
                    <a:pt x="221" y="199"/>
                    <a:pt x="221" y="203"/>
                  </a:cubicBezTo>
                  <a:cubicBezTo>
                    <a:pt x="217" y="199"/>
                    <a:pt x="208" y="195"/>
                    <a:pt x="206" y="203"/>
                  </a:cubicBezTo>
                  <a:cubicBezTo>
                    <a:pt x="206" y="203"/>
                    <a:pt x="209" y="204"/>
                    <a:pt x="209" y="205"/>
                  </a:cubicBezTo>
                  <a:cubicBezTo>
                    <a:pt x="207" y="203"/>
                    <a:pt x="203" y="206"/>
                    <a:pt x="205" y="207"/>
                  </a:cubicBezTo>
                  <a:cubicBezTo>
                    <a:pt x="206" y="208"/>
                    <a:pt x="207" y="210"/>
                    <a:pt x="208" y="210"/>
                  </a:cubicBezTo>
                  <a:cubicBezTo>
                    <a:pt x="208" y="211"/>
                    <a:pt x="210" y="210"/>
                    <a:pt x="210" y="211"/>
                  </a:cubicBezTo>
                  <a:cubicBezTo>
                    <a:pt x="210" y="211"/>
                    <a:pt x="205" y="211"/>
                    <a:pt x="207" y="209"/>
                  </a:cubicBezTo>
                  <a:cubicBezTo>
                    <a:pt x="206" y="209"/>
                    <a:pt x="206" y="209"/>
                    <a:pt x="205" y="209"/>
                  </a:cubicBezTo>
                  <a:cubicBezTo>
                    <a:pt x="207" y="206"/>
                    <a:pt x="202" y="208"/>
                    <a:pt x="201" y="209"/>
                  </a:cubicBezTo>
                  <a:cubicBezTo>
                    <a:pt x="200" y="210"/>
                    <a:pt x="198" y="214"/>
                    <a:pt x="201" y="213"/>
                  </a:cubicBezTo>
                  <a:cubicBezTo>
                    <a:pt x="200" y="214"/>
                    <a:pt x="201" y="215"/>
                    <a:pt x="202" y="215"/>
                  </a:cubicBezTo>
                  <a:cubicBezTo>
                    <a:pt x="203" y="215"/>
                    <a:pt x="203" y="214"/>
                    <a:pt x="204" y="213"/>
                  </a:cubicBezTo>
                  <a:cubicBezTo>
                    <a:pt x="204" y="214"/>
                    <a:pt x="203" y="215"/>
                    <a:pt x="203" y="216"/>
                  </a:cubicBezTo>
                  <a:cubicBezTo>
                    <a:pt x="204" y="217"/>
                    <a:pt x="205" y="213"/>
                    <a:pt x="205" y="213"/>
                  </a:cubicBezTo>
                  <a:cubicBezTo>
                    <a:pt x="205" y="214"/>
                    <a:pt x="205" y="215"/>
                    <a:pt x="207" y="216"/>
                  </a:cubicBezTo>
                  <a:cubicBezTo>
                    <a:pt x="206" y="216"/>
                    <a:pt x="205" y="216"/>
                    <a:pt x="205" y="216"/>
                  </a:cubicBezTo>
                  <a:cubicBezTo>
                    <a:pt x="205" y="217"/>
                    <a:pt x="206" y="217"/>
                    <a:pt x="207" y="217"/>
                  </a:cubicBezTo>
                  <a:cubicBezTo>
                    <a:pt x="205" y="218"/>
                    <a:pt x="209" y="218"/>
                    <a:pt x="210" y="218"/>
                  </a:cubicBezTo>
                  <a:cubicBezTo>
                    <a:pt x="208" y="219"/>
                    <a:pt x="206" y="219"/>
                    <a:pt x="208" y="221"/>
                  </a:cubicBezTo>
                  <a:cubicBezTo>
                    <a:pt x="207" y="220"/>
                    <a:pt x="206" y="220"/>
                    <a:pt x="205" y="219"/>
                  </a:cubicBezTo>
                  <a:cubicBezTo>
                    <a:pt x="204" y="218"/>
                    <a:pt x="202" y="218"/>
                    <a:pt x="203" y="220"/>
                  </a:cubicBezTo>
                  <a:cubicBezTo>
                    <a:pt x="202" y="220"/>
                    <a:pt x="200" y="215"/>
                    <a:pt x="199" y="214"/>
                  </a:cubicBezTo>
                  <a:cubicBezTo>
                    <a:pt x="197" y="211"/>
                    <a:pt x="197" y="216"/>
                    <a:pt x="196" y="217"/>
                  </a:cubicBezTo>
                  <a:cubicBezTo>
                    <a:pt x="196" y="217"/>
                    <a:pt x="197" y="217"/>
                    <a:pt x="197" y="217"/>
                  </a:cubicBezTo>
                  <a:cubicBezTo>
                    <a:pt x="197" y="219"/>
                    <a:pt x="198" y="216"/>
                    <a:pt x="199" y="218"/>
                  </a:cubicBezTo>
                  <a:cubicBezTo>
                    <a:pt x="199" y="219"/>
                    <a:pt x="193" y="220"/>
                    <a:pt x="196" y="222"/>
                  </a:cubicBezTo>
                  <a:cubicBezTo>
                    <a:pt x="194" y="221"/>
                    <a:pt x="194" y="223"/>
                    <a:pt x="193" y="224"/>
                  </a:cubicBezTo>
                  <a:cubicBezTo>
                    <a:pt x="193" y="224"/>
                    <a:pt x="193" y="224"/>
                    <a:pt x="194" y="224"/>
                  </a:cubicBezTo>
                  <a:cubicBezTo>
                    <a:pt x="193" y="226"/>
                    <a:pt x="193" y="227"/>
                    <a:pt x="192" y="228"/>
                  </a:cubicBezTo>
                  <a:cubicBezTo>
                    <a:pt x="194" y="228"/>
                    <a:pt x="199" y="226"/>
                    <a:pt x="196" y="224"/>
                  </a:cubicBezTo>
                  <a:cubicBezTo>
                    <a:pt x="198" y="224"/>
                    <a:pt x="200" y="221"/>
                    <a:pt x="202" y="222"/>
                  </a:cubicBezTo>
                  <a:cubicBezTo>
                    <a:pt x="202" y="222"/>
                    <a:pt x="202" y="223"/>
                    <a:pt x="201" y="223"/>
                  </a:cubicBezTo>
                  <a:cubicBezTo>
                    <a:pt x="202" y="223"/>
                    <a:pt x="202" y="223"/>
                    <a:pt x="203" y="223"/>
                  </a:cubicBezTo>
                  <a:cubicBezTo>
                    <a:pt x="201" y="224"/>
                    <a:pt x="199" y="225"/>
                    <a:pt x="197" y="227"/>
                  </a:cubicBezTo>
                  <a:cubicBezTo>
                    <a:pt x="199" y="226"/>
                    <a:pt x="200" y="226"/>
                    <a:pt x="202" y="226"/>
                  </a:cubicBezTo>
                  <a:cubicBezTo>
                    <a:pt x="201" y="226"/>
                    <a:pt x="200" y="227"/>
                    <a:pt x="199" y="227"/>
                  </a:cubicBezTo>
                  <a:cubicBezTo>
                    <a:pt x="201" y="227"/>
                    <a:pt x="202" y="228"/>
                    <a:pt x="204" y="229"/>
                  </a:cubicBezTo>
                  <a:cubicBezTo>
                    <a:pt x="203" y="229"/>
                    <a:pt x="199" y="229"/>
                    <a:pt x="200" y="230"/>
                  </a:cubicBezTo>
                  <a:cubicBezTo>
                    <a:pt x="202" y="231"/>
                    <a:pt x="204" y="231"/>
                    <a:pt x="205" y="230"/>
                  </a:cubicBezTo>
                  <a:cubicBezTo>
                    <a:pt x="206" y="230"/>
                    <a:pt x="215" y="223"/>
                    <a:pt x="215" y="223"/>
                  </a:cubicBezTo>
                  <a:cubicBezTo>
                    <a:pt x="215" y="224"/>
                    <a:pt x="210" y="229"/>
                    <a:pt x="209" y="229"/>
                  </a:cubicBezTo>
                  <a:cubicBezTo>
                    <a:pt x="207" y="230"/>
                    <a:pt x="204" y="231"/>
                    <a:pt x="201" y="232"/>
                  </a:cubicBezTo>
                  <a:cubicBezTo>
                    <a:pt x="202" y="232"/>
                    <a:pt x="203" y="232"/>
                    <a:pt x="203" y="232"/>
                  </a:cubicBezTo>
                  <a:cubicBezTo>
                    <a:pt x="201" y="235"/>
                    <a:pt x="193" y="234"/>
                    <a:pt x="191" y="234"/>
                  </a:cubicBezTo>
                  <a:cubicBezTo>
                    <a:pt x="193" y="232"/>
                    <a:pt x="197" y="235"/>
                    <a:pt x="199" y="232"/>
                  </a:cubicBezTo>
                  <a:cubicBezTo>
                    <a:pt x="197" y="231"/>
                    <a:pt x="199" y="227"/>
                    <a:pt x="196" y="228"/>
                  </a:cubicBezTo>
                  <a:cubicBezTo>
                    <a:pt x="194" y="228"/>
                    <a:pt x="192" y="231"/>
                    <a:pt x="195" y="231"/>
                  </a:cubicBezTo>
                  <a:cubicBezTo>
                    <a:pt x="194" y="231"/>
                    <a:pt x="193" y="232"/>
                    <a:pt x="192" y="232"/>
                  </a:cubicBezTo>
                  <a:cubicBezTo>
                    <a:pt x="192" y="232"/>
                    <a:pt x="193" y="234"/>
                    <a:pt x="191" y="232"/>
                  </a:cubicBezTo>
                  <a:cubicBezTo>
                    <a:pt x="191" y="232"/>
                    <a:pt x="191" y="232"/>
                    <a:pt x="191" y="231"/>
                  </a:cubicBezTo>
                  <a:cubicBezTo>
                    <a:pt x="191" y="229"/>
                    <a:pt x="188" y="231"/>
                    <a:pt x="188" y="231"/>
                  </a:cubicBezTo>
                  <a:cubicBezTo>
                    <a:pt x="187" y="232"/>
                    <a:pt x="183" y="235"/>
                    <a:pt x="184" y="235"/>
                  </a:cubicBezTo>
                  <a:cubicBezTo>
                    <a:pt x="185" y="236"/>
                    <a:pt x="185" y="236"/>
                    <a:pt x="185" y="235"/>
                  </a:cubicBezTo>
                  <a:cubicBezTo>
                    <a:pt x="185" y="236"/>
                    <a:pt x="185" y="236"/>
                    <a:pt x="184" y="236"/>
                  </a:cubicBezTo>
                  <a:cubicBezTo>
                    <a:pt x="183" y="236"/>
                    <a:pt x="182" y="236"/>
                    <a:pt x="180" y="237"/>
                  </a:cubicBezTo>
                  <a:cubicBezTo>
                    <a:pt x="182" y="237"/>
                    <a:pt x="183" y="237"/>
                    <a:pt x="184" y="237"/>
                  </a:cubicBezTo>
                  <a:cubicBezTo>
                    <a:pt x="183" y="239"/>
                    <a:pt x="180" y="237"/>
                    <a:pt x="181" y="238"/>
                  </a:cubicBezTo>
                  <a:cubicBezTo>
                    <a:pt x="180" y="238"/>
                    <a:pt x="178" y="238"/>
                    <a:pt x="177" y="239"/>
                  </a:cubicBezTo>
                  <a:cubicBezTo>
                    <a:pt x="178" y="240"/>
                    <a:pt x="179" y="239"/>
                    <a:pt x="180" y="239"/>
                  </a:cubicBezTo>
                  <a:cubicBezTo>
                    <a:pt x="179" y="241"/>
                    <a:pt x="177" y="239"/>
                    <a:pt x="175" y="240"/>
                  </a:cubicBezTo>
                  <a:cubicBezTo>
                    <a:pt x="175" y="240"/>
                    <a:pt x="172" y="241"/>
                    <a:pt x="172" y="241"/>
                  </a:cubicBezTo>
                  <a:cubicBezTo>
                    <a:pt x="172" y="242"/>
                    <a:pt x="173" y="241"/>
                    <a:pt x="173" y="241"/>
                  </a:cubicBezTo>
                  <a:cubicBezTo>
                    <a:pt x="172" y="242"/>
                    <a:pt x="171" y="242"/>
                    <a:pt x="171" y="243"/>
                  </a:cubicBezTo>
                  <a:cubicBezTo>
                    <a:pt x="172" y="243"/>
                    <a:pt x="174" y="243"/>
                    <a:pt x="176" y="244"/>
                  </a:cubicBezTo>
                  <a:cubicBezTo>
                    <a:pt x="174" y="245"/>
                    <a:pt x="171" y="245"/>
                    <a:pt x="170" y="247"/>
                  </a:cubicBezTo>
                  <a:cubicBezTo>
                    <a:pt x="173" y="247"/>
                    <a:pt x="177" y="244"/>
                    <a:pt x="180" y="243"/>
                  </a:cubicBezTo>
                  <a:cubicBezTo>
                    <a:pt x="181" y="242"/>
                    <a:pt x="182" y="242"/>
                    <a:pt x="183" y="241"/>
                  </a:cubicBezTo>
                  <a:cubicBezTo>
                    <a:pt x="182" y="241"/>
                    <a:pt x="182" y="242"/>
                    <a:pt x="182" y="242"/>
                  </a:cubicBezTo>
                  <a:cubicBezTo>
                    <a:pt x="183" y="243"/>
                    <a:pt x="184" y="242"/>
                    <a:pt x="185" y="242"/>
                  </a:cubicBezTo>
                  <a:cubicBezTo>
                    <a:pt x="184" y="243"/>
                    <a:pt x="182" y="243"/>
                    <a:pt x="181" y="243"/>
                  </a:cubicBezTo>
                  <a:cubicBezTo>
                    <a:pt x="183" y="244"/>
                    <a:pt x="185" y="244"/>
                    <a:pt x="186" y="244"/>
                  </a:cubicBezTo>
                  <a:cubicBezTo>
                    <a:pt x="184" y="246"/>
                    <a:pt x="182" y="245"/>
                    <a:pt x="179" y="246"/>
                  </a:cubicBezTo>
                  <a:cubicBezTo>
                    <a:pt x="182" y="247"/>
                    <a:pt x="174" y="247"/>
                    <a:pt x="176" y="248"/>
                  </a:cubicBezTo>
                  <a:cubicBezTo>
                    <a:pt x="173" y="248"/>
                    <a:pt x="175" y="251"/>
                    <a:pt x="176" y="252"/>
                  </a:cubicBezTo>
                  <a:cubicBezTo>
                    <a:pt x="177" y="253"/>
                    <a:pt x="180" y="253"/>
                    <a:pt x="179" y="252"/>
                  </a:cubicBezTo>
                  <a:cubicBezTo>
                    <a:pt x="180" y="251"/>
                    <a:pt x="181" y="252"/>
                    <a:pt x="180" y="253"/>
                  </a:cubicBezTo>
                  <a:cubicBezTo>
                    <a:pt x="182" y="252"/>
                    <a:pt x="183" y="252"/>
                    <a:pt x="185" y="252"/>
                  </a:cubicBezTo>
                  <a:cubicBezTo>
                    <a:pt x="183" y="252"/>
                    <a:pt x="180" y="254"/>
                    <a:pt x="178" y="254"/>
                  </a:cubicBezTo>
                  <a:cubicBezTo>
                    <a:pt x="178" y="254"/>
                    <a:pt x="177" y="255"/>
                    <a:pt x="178" y="255"/>
                  </a:cubicBezTo>
                  <a:cubicBezTo>
                    <a:pt x="178" y="255"/>
                    <a:pt x="174" y="258"/>
                    <a:pt x="177" y="258"/>
                  </a:cubicBezTo>
                  <a:cubicBezTo>
                    <a:pt x="178" y="258"/>
                    <a:pt x="180" y="256"/>
                    <a:pt x="181" y="257"/>
                  </a:cubicBezTo>
                  <a:cubicBezTo>
                    <a:pt x="180" y="257"/>
                    <a:pt x="173" y="258"/>
                    <a:pt x="175" y="260"/>
                  </a:cubicBezTo>
                  <a:cubicBezTo>
                    <a:pt x="173" y="260"/>
                    <a:pt x="171" y="262"/>
                    <a:pt x="170" y="263"/>
                  </a:cubicBezTo>
                  <a:cubicBezTo>
                    <a:pt x="170" y="263"/>
                    <a:pt x="173" y="260"/>
                    <a:pt x="173" y="258"/>
                  </a:cubicBezTo>
                  <a:cubicBezTo>
                    <a:pt x="171" y="258"/>
                    <a:pt x="170" y="259"/>
                    <a:pt x="169" y="259"/>
                  </a:cubicBezTo>
                  <a:cubicBezTo>
                    <a:pt x="169" y="258"/>
                    <a:pt x="169" y="257"/>
                    <a:pt x="168" y="256"/>
                  </a:cubicBezTo>
                  <a:cubicBezTo>
                    <a:pt x="167" y="256"/>
                    <a:pt x="167" y="256"/>
                    <a:pt x="166" y="255"/>
                  </a:cubicBezTo>
                  <a:cubicBezTo>
                    <a:pt x="166" y="254"/>
                    <a:pt x="166" y="253"/>
                    <a:pt x="165" y="253"/>
                  </a:cubicBezTo>
                  <a:cubicBezTo>
                    <a:pt x="164" y="252"/>
                    <a:pt x="163" y="251"/>
                    <a:pt x="162" y="253"/>
                  </a:cubicBezTo>
                  <a:cubicBezTo>
                    <a:pt x="164" y="254"/>
                    <a:pt x="163" y="255"/>
                    <a:pt x="164" y="256"/>
                  </a:cubicBezTo>
                  <a:cubicBezTo>
                    <a:pt x="163" y="256"/>
                    <a:pt x="161" y="255"/>
                    <a:pt x="162" y="257"/>
                  </a:cubicBezTo>
                  <a:cubicBezTo>
                    <a:pt x="161" y="256"/>
                    <a:pt x="159" y="256"/>
                    <a:pt x="158" y="256"/>
                  </a:cubicBezTo>
                  <a:cubicBezTo>
                    <a:pt x="158" y="256"/>
                    <a:pt x="155" y="258"/>
                    <a:pt x="155" y="258"/>
                  </a:cubicBezTo>
                  <a:cubicBezTo>
                    <a:pt x="156" y="259"/>
                    <a:pt x="157" y="258"/>
                    <a:pt x="158" y="259"/>
                  </a:cubicBezTo>
                  <a:cubicBezTo>
                    <a:pt x="159" y="259"/>
                    <a:pt x="159" y="260"/>
                    <a:pt x="159" y="261"/>
                  </a:cubicBezTo>
                  <a:cubicBezTo>
                    <a:pt x="158" y="261"/>
                    <a:pt x="158" y="259"/>
                    <a:pt x="157" y="260"/>
                  </a:cubicBezTo>
                  <a:cubicBezTo>
                    <a:pt x="155" y="260"/>
                    <a:pt x="154" y="258"/>
                    <a:pt x="152" y="259"/>
                  </a:cubicBezTo>
                  <a:cubicBezTo>
                    <a:pt x="154" y="259"/>
                    <a:pt x="154" y="262"/>
                    <a:pt x="155" y="262"/>
                  </a:cubicBezTo>
                  <a:cubicBezTo>
                    <a:pt x="155" y="262"/>
                    <a:pt x="149" y="261"/>
                    <a:pt x="153" y="263"/>
                  </a:cubicBezTo>
                  <a:cubicBezTo>
                    <a:pt x="152" y="263"/>
                    <a:pt x="148" y="263"/>
                    <a:pt x="151" y="264"/>
                  </a:cubicBezTo>
                  <a:cubicBezTo>
                    <a:pt x="149" y="264"/>
                    <a:pt x="147" y="265"/>
                    <a:pt x="146" y="266"/>
                  </a:cubicBezTo>
                  <a:cubicBezTo>
                    <a:pt x="145" y="267"/>
                    <a:pt x="148" y="268"/>
                    <a:pt x="148" y="268"/>
                  </a:cubicBezTo>
                  <a:cubicBezTo>
                    <a:pt x="148" y="268"/>
                    <a:pt x="145" y="268"/>
                    <a:pt x="145" y="268"/>
                  </a:cubicBezTo>
                  <a:cubicBezTo>
                    <a:pt x="144" y="268"/>
                    <a:pt x="143" y="269"/>
                    <a:pt x="144" y="270"/>
                  </a:cubicBezTo>
                  <a:cubicBezTo>
                    <a:pt x="142" y="268"/>
                    <a:pt x="140" y="273"/>
                    <a:pt x="145" y="272"/>
                  </a:cubicBezTo>
                  <a:cubicBezTo>
                    <a:pt x="143" y="274"/>
                    <a:pt x="142" y="272"/>
                    <a:pt x="140" y="272"/>
                  </a:cubicBezTo>
                  <a:cubicBezTo>
                    <a:pt x="138" y="272"/>
                    <a:pt x="139" y="274"/>
                    <a:pt x="140" y="274"/>
                  </a:cubicBezTo>
                  <a:cubicBezTo>
                    <a:pt x="139" y="275"/>
                    <a:pt x="138" y="276"/>
                    <a:pt x="137" y="278"/>
                  </a:cubicBezTo>
                  <a:cubicBezTo>
                    <a:pt x="138" y="278"/>
                    <a:pt x="140" y="277"/>
                    <a:pt x="141" y="277"/>
                  </a:cubicBezTo>
                  <a:cubicBezTo>
                    <a:pt x="142" y="277"/>
                    <a:pt x="136" y="279"/>
                    <a:pt x="142" y="277"/>
                  </a:cubicBezTo>
                  <a:cubicBezTo>
                    <a:pt x="142" y="277"/>
                    <a:pt x="137" y="280"/>
                    <a:pt x="137" y="280"/>
                  </a:cubicBezTo>
                  <a:cubicBezTo>
                    <a:pt x="138" y="281"/>
                    <a:pt x="144" y="275"/>
                    <a:pt x="144" y="280"/>
                  </a:cubicBezTo>
                  <a:cubicBezTo>
                    <a:pt x="142" y="278"/>
                    <a:pt x="140" y="279"/>
                    <a:pt x="138" y="280"/>
                  </a:cubicBezTo>
                  <a:cubicBezTo>
                    <a:pt x="137" y="281"/>
                    <a:pt x="135" y="280"/>
                    <a:pt x="134" y="281"/>
                  </a:cubicBezTo>
                  <a:cubicBezTo>
                    <a:pt x="134" y="282"/>
                    <a:pt x="134" y="282"/>
                    <a:pt x="135" y="282"/>
                  </a:cubicBezTo>
                  <a:cubicBezTo>
                    <a:pt x="133" y="283"/>
                    <a:pt x="130" y="281"/>
                    <a:pt x="128" y="283"/>
                  </a:cubicBezTo>
                  <a:cubicBezTo>
                    <a:pt x="130" y="283"/>
                    <a:pt x="131" y="282"/>
                    <a:pt x="133" y="282"/>
                  </a:cubicBezTo>
                  <a:cubicBezTo>
                    <a:pt x="132" y="283"/>
                    <a:pt x="127" y="285"/>
                    <a:pt x="127" y="286"/>
                  </a:cubicBezTo>
                  <a:cubicBezTo>
                    <a:pt x="127" y="287"/>
                    <a:pt x="131" y="286"/>
                    <a:pt x="132" y="286"/>
                  </a:cubicBezTo>
                  <a:cubicBezTo>
                    <a:pt x="129" y="286"/>
                    <a:pt x="127" y="287"/>
                    <a:pt x="126" y="290"/>
                  </a:cubicBezTo>
                  <a:cubicBezTo>
                    <a:pt x="128" y="289"/>
                    <a:pt x="131" y="288"/>
                    <a:pt x="133" y="288"/>
                  </a:cubicBezTo>
                  <a:cubicBezTo>
                    <a:pt x="136" y="287"/>
                    <a:pt x="138" y="286"/>
                    <a:pt x="140" y="285"/>
                  </a:cubicBezTo>
                  <a:cubicBezTo>
                    <a:pt x="140" y="285"/>
                    <a:pt x="139" y="286"/>
                    <a:pt x="139" y="287"/>
                  </a:cubicBezTo>
                  <a:cubicBezTo>
                    <a:pt x="139" y="287"/>
                    <a:pt x="140" y="286"/>
                    <a:pt x="141" y="286"/>
                  </a:cubicBezTo>
                  <a:cubicBezTo>
                    <a:pt x="139" y="288"/>
                    <a:pt x="136" y="288"/>
                    <a:pt x="134" y="289"/>
                  </a:cubicBezTo>
                  <a:cubicBezTo>
                    <a:pt x="131" y="291"/>
                    <a:pt x="135" y="293"/>
                    <a:pt x="135" y="294"/>
                  </a:cubicBezTo>
                  <a:cubicBezTo>
                    <a:pt x="135" y="297"/>
                    <a:pt x="139" y="297"/>
                    <a:pt x="141" y="296"/>
                  </a:cubicBezTo>
                  <a:cubicBezTo>
                    <a:pt x="142" y="296"/>
                    <a:pt x="144" y="295"/>
                    <a:pt x="145" y="294"/>
                  </a:cubicBezTo>
                  <a:cubicBezTo>
                    <a:pt x="147" y="294"/>
                    <a:pt x="148" y="294"/>
                    <a:pt x="150" y="293"/>
                  </a:cubicBezTo>
                  <a:cubicBezTo>
                    <a:pt x="153" y="291"/>
                    <a:pt x="155" y="289"/>
                    <a:pt x="159" y="288"/>
                  </a:cubicBezTo>
                  <a:cubicBezTo>
                    <a:pt x="162" y="287"/>
                    <a:pt x="163" y="286"/>
                    <a:pt x="165" y="284"/>
                  </a:cubicBezTo>
                  <a:cubicBezTo>
                    <a:pt x="167" y="281"/>
                    <a:pt x="164" y="280"/>
                    <a:pt x="163" y="281"/>
                  </a:cubicBezTo>
                  <a:cubicBezTo>
                    <a:pt x="161" y="282"/>
                    <a:pt x="156" y="284"/>
                    <a:pt x="154" y="284"/>
                  </a:cubicBezTo>
                  <a:cubicBezTo>
                    <a:pt x="155" y="282"/>
                    <a:pt x="158" y="282"/>
                    <a:pt x="160" y="281"/>
                  </a:cubicBezTo>
                  <a:cubicBezTo>
                    <a:pt x="162" y="280"/>
                    <a:pt x="165" y="279"/>
                    <a:pt x="167" y="278"/>
                  </a:cubicBezTo>
                  <a:cubicBezTo>
                    <a:pt x="169" y="276"/>
                    <a:pt x="172" y="270"/>
                    <a:pt x="174" y="272"/>
                  </a:cubicBezTo>
                  <a:cubicBezTo>
                    <a:pt x="174" y="272"/>
                    <a:pt x="169" y="275"/>
                    <a:pt x="171" y="275"/>
                  </a:cubicBezTo>
                  <a:cubicBezTo>
                    <a:pt x="173" y="275"/>
                    <a:pt x="176" y="276"/>
                    <a:pt x="177" y="275"/>
                  </a:cubicBezTo>
                  <a:cubicBezTo>
                    <a:pt x="176" y="277"/>
                    <a:pt x="166" y="279"/>
                    <a:pt x="167" y="281"/>
                  </a:cubicBezTo>
                  <a:cubicBezTo>
                    <a:pt x="167" y="283"/>
                    <a:pt x="170" y="282"/>
                    <a:pt x="171" y="282"/>
                  </a:cubicBezTo>
                  <a:cubicBezTo>
                    <a:pt x="172" y="282"/>
                    <a:pt x="174" y="282"/>
                    <a:pt x="175" y="283"/>
                  </a:cubicBezTo>
                  <a:cubicBezTo>
                    <a:pt x="176" y="283"/>
                    <a:pt x="175" y="283"/>
                    <a:pt x="176" y="284"/>
                  </a:cubicBezTo>
                  <a:cubicBezTo>
                    <a:pt x="178" y="285"/>
                    <a:pt x="173" y="286"/>
                    <a:pt x="173" y="286"/>
                  </a:cubicBezTo>
                  <a:cubicBezTo>
                    <a:pt x="170" y="286"/>
                    <a:pt x="169" y="289"/>
                    <a:pt x="166" y="288"/>
                  </a:cubicBezTo>
                  <a:cubicBezTo>
                    <a:pt x="164" y="288"/>
                    <a:pt x="162" y="290"/>
                    <a:pt x="160" y="291"/>
                  </a:cubicBezTo>
                  <a:cubicBezTo>
                    <a:pt x="158" y="292"/>
                    <a:pt x="157" y="292"/>
                    <a:pt x="155" y="294"/>
                  </a:cubicBezTo>
                  <a:cubicBezTo>
                    <a:pt x="156" y="295"/>
                    <a:pt x="161" y="293"/>
                    <a:pt x="162" y="292"/>
                  </a:cubicBezTo>
                  <a:cubicBezTo>
                    <a:pt x="162" y="293"/>
                    <a:pt x="161" y="294"/>
                    <a:pt x="162" y="294"/>
                  </a:cubicBezTo>
                  <a:cubicBezTo>
                    <a:pt x="161" y="294"/>
                    <a:pt x="159" y="294"/>
                    <a:pt x="158" y="295"/>
                  </a:cubicBezTo>
                  <a:cubicBezTo>
                    <a:pt x="157" y="297"/>
                    <a:pt x="160" y="297"/>
                    <a:pt x="160" y="297"/>
                  </a:cubicBezTo>
                  <a:cubicBezTo>
                    <a:pt x="162" y="297"/>
                    <a:pt x="160" y="299"/>
                    <a:pt x="159" y="299"/>
                  </a:cubicBezTo>
                  <a:cubicBezTo>
                    <a:pt x="157" y="299"/>
                    <a:pt x="154" y="299"/>
                    <a:pt x="152" y="299"/>
                  </a:cubicBezTo>
                  <a:cubicBezTo>
                    <a:pt x="151" y="299"/>
                    <a:pt x="150" y="298"/>
                    <a:pt x="149" y="299"/>
                  </a:cubicBezTo>
                  <a:cubicBezTo>
                    <a:pt x="149" y="299"/>
                    <a:pt x="148" y="299"/>
                    <a:pt x="147" y="299"/>
                  </a:cubicBezTo>
                  <a:cubicBezTo>
                    <a:pt x="145" y="298"/>
                    <a:pt x="144" y="298"/>
                    <a:pt x="142" y="299"/>
                  </a:cubicBezTo>
                  <a:cubicBezTo>
                    <a:pt x="142" y="299"/>
                    <a:pt x="139" y="300"/>
                    <a:pt x="140" y="302"/>
                  </a:cubicBezTo>
                  <a:cubicBezTo>
                    <a:pt x="141" y="303"/>
                    <a:pt x="143" y="302"/>
                    <a:pt x="145" y="303"/>
                  </a:cubicBezTo>
                  <a:cubicBezTo>
                    <a:pt x="143" y="303"/>
                    <a:pt x="141" y="302"/>
                    <a:pt x="138" y="303"/>
                  </a:cubicBezTo>
                  <a:cubicBezTo>
                    <a:pt x="136" y="303"/>
                    <a:pt x="135" y="304"/>
                    <a:pt x="133" y="304"/>
                  </a:cubicBezTo>
                  <a:cubicBezTo>
                    <a:pt x="134" y="303"/>
                    <a:pt x="137" y="302"/>
                    <a:pt x="137" y="300"/>
                  </a:cubicBezTo>
                  <a:cubicBezTo>
                    <a:pt x="136" y="298"/>
                    <a:pt x="133" y="296"/>
                    <a:pt x="133" y="294"/>
                  </a:cubicBezTo>
                  <a:cubicBezTo>
                    <a:pt x="132" y="292"/>
                    <a:pt x="131" y="290"/>
                    <a:pt x="130" y="291"/>
                  </a:cubicBezTo>
                  <a:cubicBezTo>
                    <a:pt x="128" y="291"/>
                    <a:pt x="126" y="292"/>
                    <a:pt x="125" y="293"/>
                  </a:cubicBezTo>
                  <a:cubicBezTo>
                    <a:pt x="126" y="293"/>
                    <a:pt x="126" y="293"/>
                    <a:pt x="126" y="294"/>
                  </a:cubicBezTo>
                  <a:cubicBezTo>
                    <a:pt x="125" y="293"/>
                    <a:pt x="123" y="294"/>
                    <a:pt x="122" y="296"/>
                  </a:cubicBezTo>
                  <a:cubicBezTo>
                    <a:pt x="122" y="294"/>
                    <a:pt x="121" y="294"/>
                    <a:pt x="120" y="295"/>
                  </a:cubicBezTo>
                  <a:cubicBezTo>
                    <a:pt x="118" y="296"/>
                    <a:pt x="117" y="295"/>
                    <a:pt x="116" y="296"/>
                  </a:cubicBezTo>
                  <a:cubicBezTo>
                    <a:pt x="115" y="298"/>
                    <a:pt x="118" y="299"/>
                    <a:pt x="119" y="298"/>
                  </a:cubicBezTo>
                  <a:cubicBezTo>
                    <a:pt x="120" y="297"/>
                    <a:pt x="123" y="297"/>
                    <a:pt x="124" y="297"/>
                  </a:cubicBezTo>
                  <a:cubicBezTo>
                    <a:pt x="123" y="298"/>
                    <a:pt x="116" y="298"/>
                    <a:pt x="116" y="300"/>
                  </a:cubicBezTo>
                  <a:cubicBezTo>
                    <a:pt x="116" y="303"/>
                    <a:pt x="123" y="301"/>
                    <a:pt x="124" y="301"/>
                  </a:cubicBezTo>
                  <a:cubicBezTo>
                    <a:pt x="122" y="303"/>
                    <a:pt x="115" y="302"/>
                    <a:pt x="113" y="305"/>
                  </a:cubicBezTo>
                  <a:cubicBezTo>
                    <a:pt x="114" y="304"/>
                    <a:pt x="115" y="302"/>
                    <a:pt x="115" y="301"/>
                  </a:cubicBezTo>
                  <a:cubicBezTo>
                    <a:pt x="115" y="299"/>
                    <a:pt x="110" y="297"/>
                    <a:pt x="111" y="300"/>
                  </a:cubicBezTo>
                  <a:cubicBezTo>
                    <a:pt x="109" y="299"/>
                    <a:pt x="109" y="300"/>
                    <a:pt x="107" y="300"/>
                  </a:cubicBezTo>
                  <a:cubicBezTo>
                    <a:pt x="106" y="299"/>
                    <a:pt x="105" y="299"/>
                    <a:pt x="104" y="299"/>
                  </a:cubicBezTo>
                  <a:cubicBezTo>
                    <a:pt x="102" y="300"/>
                    <a:pt x="103" y="302"/>
                    <a:pt x="105" y="303"/>
                  </a:cubicBezTo>
                  <a:cubicBezTo>
                    <a:pt x="102" y="303"/>
                    <a:pt x="96" y="303"/>
                    <a:pt x="100" y="307"/>
                  </a:cubicBezTo>
                  <a:cubicBezTo>
                    <a:pt x="103" y="310"/>
                    <a:pt x="107" y="308"/>
                    <a:pt x="111" y="308"/>
                  </a:cubicBezTo>
                  <a:cubicBezTo>
                    <a:pt x="109" y="309"/>
                    <a:pt x="106" y="309"/>
                    <a:pt x="103" y="309"/>
                  </a:cubicBezTo>
                  <a:cubicBezTo>
                    <a:pt x="102" y="309"/>
                    <a:pt x="101" y="309"/>
                    <a:pt x="100" y="310"/>
                  </a:cubicBezTo>
                  <a:cubicBezTo>
                    <a:pt x="99" y="311"/>
                    <a:pt x="101" y="312"/>
                    <a:pt x="101" y="312"/>
                  </a:cubicBezTo>
                  <a:cubicBezTo>
                    <a:pt x="98" y="310"/>
                    <a:pt x="94" y="310"/>
                    <a:pt x="91" y="311"/>
                  </a:cubicBezTo>
                  <a:cubicBezTo>
                    <a:pt x="92" y="311"/>
                    <a:pt x="93" y="312"/>
                    <a:pt x="93" y="313"/>
                  </a:cubicBezTo>
                  <a:cubicBezTo>
                    <a:pt x="93" y="313"/>
                    <a:pt x="93" y="313"/>
                    <a:pt x="92" y="313"/>
                  </a:cubicBezTo>
                  <a:cubicBezTo>
                    <a:pt x="93" y="311"/>
                    <a:pt x="89" y="311"/>
                    <a:pt x="89" y="312"/>
                  </a:cubicBezTo>
                  <a:cubicBezTo>
                    <a:pt x="89" y="312"/>
                    <a:pt x="91" y="315"/>
                    <a:pt x="91" y="315"/>
                  </a:cubicBezTo>
                  <a:cubicBezTo>
                    <a:pt x="93" y="316"/>
                    <a:pt x="95" y="315"/>
                    <a:pt x="97" y="316"/>
                  </a:cubicBezTo>
                  <a:cubicBezTo>
                    <a:pt x="96" y="316"/>
                    <a:pt x="95" y="316"/>
                    <a:pt x="94" y="316"/>
                  </a:cubicBezTo>
                  <a:cubicBezTo>
                    <a:pt x="95" y="319"/>
                    <a:pt x="98" y="316"/>
                    <a:pt x="100" y="316"/>
                  </a:cubicBezTo>
                  <a:cubicBezTo>
                    <a:pt x="99" y="316"/>
                    <a:pt x="98" y="316"/>
                    <a:pt x="98" y="317"/>
                  </a:cubicBezTo>
                  <a:cubicBezTo>
                    <a:pt x="98" y="317"/>
                    <a:pt x="102" y="317"/>
                    <a:pt x="102" y="317"/>
                  </a:cubicBezTo>
                  <a:cubicBezTo>
                    <a:pt x="101" y="318"/>
                    <a:pt x="97" y="318"/>
                    <a:pt x="97" y="319"/>
                  </a:cubicBezTo>
                  <a:cubicBezTo>
                    <a:pt x="96" y="320"/>
                    <a:pt x="102" y="323"/>
                    <a:pt x="103" y="324"/>
                  </a:cubicBezTo>
                  <a:cubicBezTo>
                    <a:pt x="102" y="324"/>
                    <a:pt x="101" y="322"/>
                    <a:pt x="100" y="322"/>
                  </a:cubicBezTo>
                  <a:cubicBezTo>
                    <a:pt x="99" y="321"/>
                    <a:pt x="97" y="321"/>
                    <a:pt x="96" y="321"/>
                  </a:cubicBezTo>
                  <a:cubicBezTo>
                    <a:pt x="97" y="321"/>
                    <a:pt x="97" y="322"/>
                    <a:pt x="98" y="322"/>
                  </a:cubicBezTo>
                  <a:cubicBezTo>
                    <a:pt x="96" y="323"/>
                    <a:pt x="95" y="320"/>
                    <a:pt x="93" y="322"/>
                  </a:cubicBezTo>
                  <a:cubicBezTo>
                    <a:pt x="94" y="320"/>
                    <a:pt x="93" y="317"/>
                    <a:pt x="91" y="316"/>
                  </a:cubicBezTo>
                  <a:cubicBezTo>
                    <a:pt x="91" y="316"/>
                    <a:pt x="88" y="316"/>
                    <a:pt x="88" y="315"/>
                  </a:cubicBezTo>
                  <a:cubicBezTo>
                    <a:pt x="88" y="314"/>
                    <a:pt x="88" y="312"/>
                    <a:pt x="87" y="312"/>
                  </a:cubicBezTo>
                  <a:cubicBezTo>
                    <a:pt x="85" y="312"/>
                    <a:pt x="82" y="314"/>
                    <a:pt x="81" y="316"/>
                  </a:cubicBezTo>
                  <a:cubicBezTo>
                    <a:pt x="81" y="317"/>
                    <a:pt x="84" y="317"/>
                    <a:pt x="83" y="315"/>
                  </a:cubicBezTo>
                  <a:cubicBezTo>
                    <a:pt x="84" y="315"/>
                    <a:pt x="86" y="317"/>
                    <a:pt x="86" y="318"/>
                  </a:cubicBezTo>
                  <a:cubicBezTo>
                    <a:pt x="87" y="319"/>
                    <a:pt x="88" y="320"/>
                    <a:pt x="90" y="320"/>
                  </a:cubicBezTo>
                  <a:cubicBezTo>
                    <a:pt x="87" y="321"/>
                    <a:pt x="92" y="324"/>
                    <a:pt x="93" y="324"/>
                  </a:cubicBezTo>
                  <a:cubicBezTo>
                    <a:pt x="93" y="325"/>
                    <a:pt x="100" y="329"/>
                    <a:pt x="99" y="329"/>
                  </a:cubicBezTo>
                  <a:cubicBezTo>
                    <a:pt x="99" y="329"/>
                    <a:pt x="95" y="327"/>
                    <a:pt x="94" y="326"/>
                  </a:cubicBezTo>
                  <a:cubicBezTo>
                    <a:pt x="92" y="325"/>
                    <a:pt x="89" y="325"/>
                    <a:pt x="87" y="322"/>
                  </a:cubicBezTo>
                  <a:cubicBezTo>
                    <a:pt x="85" y="314"/>
                    <a:pt x="80" y="320"/>
                    <a:pt x="76" y="320"/>
                  </a:cubicBezTo>
                  <a:cubicBezTo>
                    <a:pt x="76" y="320"/>
                    <a:pt x="78" y="319"/>
                    <a:pt x="77" y="318"/>
                  </a:cubicBezTo>
                  <a:cubicBezTo>
                    <a:pt x="76" y="317"/>
                    <a:pt x="73" y="319"/>
                    <a:pt x="72" y="320"/>
                  </a:cubicBezTo>
                  <a:cubicBezTo>
                    <a:pt x="68" y="321"/>
                    <a:pt x="67" y="315"/>
                    <a:pt x="63" y="316"/>
                  </a:cubicBezTo>
                  <a:cubicBezTo>
                    <a:pt x="62" y="316"/>
                    <a:pt x="54" y="319"/>
                    <a:pt x="56" y="321"/>
                  </a:cubicBezTo>
                  <a:cubicBezTo>
                    <a:pt x="58" y="322"/>
                    <a:pt x="57" y="323"/>
                    <a:pt x="60" y="323"/>
                  </a:cubicBezTo>
                  <a:cubicBezTo>
                    <a:pt x="62" y="322"/>
                    <a:pt x="62" y="323"/>
                    <a:pt x="63" y="324"/>
                  </a:cubicBezTo>
                  <a:cubicBezTo>
                    <a:pt x="61" y="325"/>
                    <a:pt x="60" y="322"/>
                    <a:pt x="57" y="324"/>
                  </a:cubicBezTo>
                  <a:cubicBezTo>
                    <a:pt x="56" y="326"/>
                    <a:pt x="57" y="328"/>
                    <a:pt x="59" y="328"/>
                  </a:cubicBezTo>
                  <a:cubicBezTo>
                    <a:pt x="62" y="327"/>
                    <a:pt x="66" y="327"/>
                    <a:pt x="69" y="326"/>
                  </a:cubicBezTo>
                  <a:cubicBezTo>
                    <a:pt x="71" y="325"/>
                    <a:pt x="74" y="324"/>
                    <a:pt x="76" y="325"/>
                  </a:cubicBezTo>
                  <a:cubicBezTo>
                    <a:pt x="73" y="326"/>
                    <a:pt x="70" y="326"/>
                    <a:pt x="68" y="327"/>
                  </a:cubicBezTo>
                  <a:cubicBezTo>
                    <a:pt x="69" y="328"/>
                    <a:pt x="68" y="329"/>
                    <a:pt x="67" y="329"/>
                  </a:cubicBezTo>
                  <a:cubicBezTo>
                    <a:pt x="74" y="331"/>
                    <a:pt x="83" y="321"/>
                    <a:pt x="88" y="329"/>
                  </a:cubicBezTo>
                  <a:cubicBezTo>
                    <a:pt x="87" y="329"/>
                    <a:pt x="86" y="327"/>
                    <a:pt x="85" y="327"/>
                  </a:cubicBezTo>
                  <a:cubicBezTo>
                    <a:pt x="84" y="327"/>
                    <a:pt x="82" y="327"/>
                    <a:pt x="81" y="327"/>
                  </a:cubicBezTo>
                  <a:cubicBezTo>
                    <a:pt x="80" y="327"/>
                    <a:pt x="78" y="328"/>
                    <a:pt x="77" y="328"/>
                  </a:cubicBezTo>
                  <a:cubicBezTo>
                    <a:pt x="75" y="328"/>
                    <a:pt x="73" y="329"/>
                    <a:pt x="72" y="330"/>
                  </a:cubicBezTo>
                  <a:cubicBezTo>
                    <a:pt x="71" y="331"/>
                    <a:pt x="72" y="333"/>
                    <a:pt x="71" y="333"/>
                  </a:cubicBezTo>
                  <a:cubicBezTo>
                    <a:pt x="70" y="333"/>
                    <a:pt x="72" y="332"/>
                    <a:pt x="70" y="332"/>
                  </a:cubicBezTo>
                  <a:cubicBezTo>
                    <a:pt x="68" y="332"/>
                    <a:pt x="69" y="333"/>
                    <a:pt x="70" y="334"/>
                  </a:cubicBezTo>
                  <a:cubicBezTo>
                    <a:pt x="72" y="336"/>
                    <a:pt x="75" y="332"/>
                    <a:pt x="78" y="334"/>
                  </a:cubicBezTo>
                  <a:cubicBezTo>
                    <a:pt x="74" y="334"/>
                    <a:pt x="71" y="337"/>
                    <a:pt x="68" y="334"/>
                  </a:cubicBezTo>
                  <a:cubicBezTo>
                    <a:pt x="66" y="332"/>
                    <a:pt x="65" y="332"/>
                    <a:pt x="62" y="332"/>
                  </a:cubicBezTo>
                  <a:cubicBezTo>
                    <a:pt x="60" y="332"/>
                    <a:pt x="62" y="334"/>
                    <a:pt x="61" y="335"/>
                  </a:cubicBezTo>
                  <a:cubicBezTo>
                    <a:pt x="61" y="333"/>
                    <a:pt x="60" y="332"/>
                    <a:pt x="58" y="332"/>
                  </a:cubicBezTo>
                  <a:cubicBezTo>
                    <a:pt x="59" y="332"/>
                    <a:pt x="59" y="332"/>
                    <a:pt x="60" y="331"/>
                  </a:cubicBezTo>
                  <a:cubicBezTo>
                    <a:pt x="59" y="330"/>
                    <a:pt x="56" y="330"/>
                    <a:pt x="55" y="331"/>
                  </a:cubicBezTo>
                  <a:cubicBezTo>
                    <a:pt x="56" y="332"/>
                    <a:pt x="55" y="333"/>
                    <a:pt x="54" y="332"/>
                  </a:cubicBezTo>
                  <a:cubicBezTo>
                    <a:pt x="53" y="332"/>
                    <a:pt x="52" y="331"/>
                    <a:pt x="50" y="331"/>
                  </a:cubicBezTo>
                  <a:cubicBezTo>
                    <a:pt x="48" y="331"/>
                    <a:pt x="48" y="332"/>
                    <a:pt x="47" y="334"/>
                  </a:cubicBezTo>
                  <a:cubicBezTo>
                    <a:pt x="47" y="334"/>
                    <a:pt x="43" y="330"/>
                    <a:pt x="43" y="333"/>
                  </a:cubicBezTo>
                  <a:cubicBezTo>
                    <a:pt x="42" y="331"/>
                    <a:pt x="37" y="332"/>
                    <a:pt x="38" y="335"/>
                  </a:cubicBezTo>
                  <a:cubicBezTo>
                    <a:pt x="39" y="337"/>
                    <a:pt x="44" y="334"/>
                    <a:pt x="46" y="335"/>
                  </a:cubicBezTo>
                  <a:cubicBezTo>
                    <a:pt x="45" y="336"/>
                    <a:pt x="44" y="336"/>
                    <a:pt x="43" y="336"/>
                  </a:cubicBezTo>
                  <a:cubicBezTo>
                    <a:pt x="45" y="337"/>
                    <a:pt x="47" y="337"/>
                    <a:pt x="49" y="337"/>
                  </a:cubicBezTo>
                  <a:cubicBezTo>
                    <a:pt x="47" y="338"/>
                    <a:pt x="45" y="337"/>
                    <a:pt x="43" y="337"/>
                  </a:cubicBezTo>
                  <a:cubicBezTo>
                    <a:pt x="42" y="337"/>
                    <a:pt x="39" y="337"/>
                    <a:pt x="38" y="338"/>
                  </a:cubicBezTo>
                  <a:cubicBezTo>
                    <a:pt x="39" y="338"/>
                    <a:pt x="41" y="340"/>
                    <a:pt x="43" y="340"/>
                  </a:cubicBezTo>
                  <a:cubicBezTo>
                    <a:pt x="45" y="339"/>
                    <a:pt x="46" y="338"/>
                    <a:pt x="48" y="338"/>
                  </a:cubicBezTo>
                  <a:cubicBezTo>
                    <a:pt x="50" y="337"/>
                    <a:pt x="52" y="338"/>
                    <a:pt x="54" y="339"/>
                  </a:cubicBezTo>
                  <a:cubicBezTo>
                    <a:pt x="55" y="340"/>
                    <a:pt x="56" y="341"/>
                    <a:pt x="56" y="342"/>
                  </a:cubicBezTo>
                  <a:cubicBezTo>
                    <a:pt x="54" y="347"/>
                    <a:pt x="68" y="343"/>
                    <a:pt x="68" y="347"/>
                  </a:cubicBezTo>
                  <a:cubicBezTo>
                    <a:pt x="65" y="345"/>
                    <a:pt x="64" y="347"/>
                    <a:pt x="61" y="346"/>
                  </a:cubicBezTo>
                  <a:cubicBezTo>
                    <a:pt x="58" y="345"/>
                    <a:pt x="58" y="346"/>
                    <a:pt x="58" y="349"/>
                  </a:cubicBezTo>
                  <a:cubicBezTo>
                    <a:pt x="58" y="351"/>
                    <a:pt x="55" y="352"/>
                    <a:pt x="58" y="353"/>
                  </a:cubicBezTo>
                  <a:cubicBezTo>
                    <a:pt x="59" y="353"/>
                    <a:pt x="61" y="351"/>
                    <a:pt x="62" y="353"/>
                  </a:cubicBezTo>
                  <a:cubicBezTo>
                    <a:pt x="61" y="352"/>
                    <a:pt x="60" y="353"/>
                    <a:pt x="59" y="353"/>
                  </a:cubicBezTo>
                  <a:cubicBezTo>
                    <a:pt x="57" y="354"/>
                    <a:pt x="56" y="353"/>
                    <a:pt x="54" y="353"/>
                  </a:cubicBezTo>
                  <a:cubicBezTo>
                    <a:pt x="56" y="351"/>
                    <a:pt x="59" y="349"/>
                    <a:pt x="57" y="346"/>
                  </a:cubicBezTo>
                  <a:cubicBezTo>
                    <a:pt x="56" y="344"/>
                    <a:pt x="54" y="343"/>
                    <a:pt x="54" y="341"/>
                  </a:cubicBezTo>
                  <a:cubicBezTo>
                    <a:pt x="55" y="339"/>
                    <a:pt x="46" y="336"/>
                    <a:pt x="46" y="343"/>
                  </a:cubicBezTo>
                  <a:cubicBezTo>
                    <a:pt x="45" y="341"/>
                    <a:pt x="44" y="341"/>
                    <a:pt x="43" y="341"/>
                  </a:cubicBezTo>
                  <a:cubicBezTo>
                    <a:pt x="42" y="342"/>
                    <a:pt x="41" y="342"/>
                    <a:pt x="42" y="343"/>
                  </a:cubicBezTo>
                  <a:cubicBezTo>
                    <a:pt x="44" y="345"/>
                    <a:pt x="44" y="348"/>
                    <a:pt x="47" y="349"/>
                  </a:cubicBezTo>
                  <a:cubicBezTo>
                    <a:pt x="44" y="348"/>
                    <a:pt x="48" y="353"/>
                    <a:pt x="45" y="352"/>
                  </a:cubicBezTo>
                  <a:cubicBezTo>
                    <a:pt x="46" y="351"/>
                    <a:pt x="41" y="345"/>
                    <a:pt x="40" y="344"/>
                  </a:cubicBezTo>
                  <a:cubicBezTo>
                    <a:pt x="38" y="340"/>
                    <a:pt x="32" y="344"/>
                    <a:pt x="30" y="347"/>
                  </a:cubicBezTo>
                  <a:cubicBezTo>
                    <a:pt x="31" y="348"/>
                    <a:pt x="32" y="348"/>
                    <a:pt x="33" y="349"/>
                  </a:cubicBezTo>
                  <a:cubicBezTo>
                    <a:pt x="32" y="350"/>
                    <a:pt x="30" y="347"/>
                    <a:pt x="29" y="348"/>
                  </a:cubicBezTo>
                  <a:cubicBezTo>
                    <a:pt x="31" y="352"/>
                    <a:pt x="35" y="352"/>
                    <a:pt x="38" y="354"/>
                  </a:cubicBezTo>
                  <a:cubicBezTo>
                    <a:pt x="36" y="354"/>
                    <a:pt x="34" y="353"/>
                    <a:pt x="32" y="354"/>
                  </a:cubicBezTo>
                  <a:cubicBezTo>
                    <a:pt x="33" y="353"/>
                    <a:pt x="31" y="352"/>
                    <a:pt x="30" y="352"/>
                  </a:cubicBezTo>
                  <a:cubicBezTo>
                    <a:pt x="28" y="352"/>
                    <a:pt x="27" y="356"/>
                    <a:pt x="26" y="356"/>
                  </a:cubicBezTo>
                  <a:cubicBezTo>
                    <a:pt x="27" y="354"/>
                    <a:pt x="31" y="350"/>
                    <a:pt x="27" y="349"/>
                  </a:cubicBezTo>
                  <a:cubicBezTo>
                    <a:pt x="26" y="348"/>
                    <a:pt x="24" y="349"/>
                    <a:pt x="23" y="350"/>
                  </a:cubicBezTo>
                  <a:cubicBezTo>
                    <a:pt x="21" y="351"/>
                    <a:pt x="22" y="352"/>
                    <a:pt x="23" y="353"/>
                  </a:cubicBezTo>
                  <a:cubicBezTo>
                    <a:pt x="22" y="353"/>
                    <a:pt x="21" y="351"/>
                    <a:pt x="20" y="351"/>
                  </a:cubicBezTo>
                  <a:cubicBezTo>
                    <a:pt x="19" y="350"/>
                    <a:pt x="18" y="350"/>
                    <a:pt x="17" y="350"/>
                  </a:cubicBezTo>
                  <a:cubicBezTo>
                    <a:pt x="16" y="349"/>
                    <a:pt x="13" y="351"/>
                    <a:pt x="14" y="352"/>
                  </a:cubicBezTo>
                  <a:cubicBezTo>
                    <a:pt x="15" y="353"/>
                    <a:pt x="21" y="353"/>
                    <a:pt x="19" y="355"/>
                  </a:cubicBezTo>
                  <a:cubicBezTo>
                    <a:pt x="19" y="352"/>
                    <a:pt x="17" y="356"/>
                    <a:pt x="15" y="357"/>
                  </a:cubicBezTo>
                  <a:cubicBezTo>
                    <a:pt x="17" y="355"/>
                    <a:pt x="12" y="352"/>
                    <a:pt x="11" y="350"/>
                  </a:cubicBezTo>
                  <a:cubicBezTo>
                    <a:pt x="9" y="347"/>
                    <a:pt x="4" y="349"/>
                    <a:pt x="7" y="352"/>
                  </a:cubicBezTo>
                  <a:cubicBezTo>
                    <a:pt x="7" y="352"/>
                    <a:pt x="6" y="352"/>
                    <a:pt x="6" y="352"/>
                  </a:cubicBezTo>
                  <a:cubicBezTo>
                    <a:pt x="6" y="351"/>
                    <a:pt x="14" y="356"/>
                    <a:pt x="14" y="356"/>
                  </a:cubicBezTo>
                  <a:cubicBezTo>
                    <a:pt x="13" y="356"/>
                    <a:pt x="12" y="358"/>
                    <a:pt x="10" y="358"/>
                  </a:cubicBezTo>
                  <a:cubicBezTo>
                    <a:pt x="10" y="359"/>
                    <a:pt x="7" y="358"/>
                    <a:pt x="8" y="357"/>
                  </a:cubicBezTo>
                  <a:cubicBezTo>
                    <a:pt x="6" y="359"/>
                    <a:pt x="6" y="361"/>
                    <a:pt x="9" y="361"/>
                  </a:cubicBezTo>
                  <a:cubicBezTo>
                    <a:pt x="11" y="361"/>
                    <a:pt x="13" y="360"/>
                    <a:pt x="15" y="360"/>
                  </a:cubicBezTo>
                  <a:cubicBezTo>
                    <a:pt x="18" y="360"/>
                    <a:pt x="20" y="360"/>
                    <a:pt x="23" y="360"/>
                  </a:cubicBezTo>
                  <a:cubicBezTo>
                    <a:pt x="25" y="360"/>
                    <a:pt x="28" y="360"/>
                    <a:pt x="29" y="361"/>
                  </a:cubicBezTo>
                  <a:cubicBezTo>
                    <a:pt x="27" y="361"/>
                    <a:pt x="25" y="361"/>
                    <a:pt x="23" y="361"/>
                  </a:cubicBezTo>
                  <a:cubicBezTo>
                    <a:pt x="24" y="363"/>
                    <a:pt x="27" y="362"/>
                    <a:pt x="29" y="362"/>
                  </a:cubicBezTo>
                  <a:cubicBezTo>
                    <a:pt x="32" y="362"/>
                    <a:pt x="35" y="363"/>
                    <a:pt x="37" y="363"/>
                  </a:cubicBezTo>
                  <a:cubicBezTo>
                    <a:pt x="40" y="363"/>
                    <a:pt x="41" y="364"/>
                    <a:pt x="44" y="363"/>
                  </a:cubicBezTo>
                  <a:cubicBezTo>
                    <a:pt x="46" y="361"/>
                    <a:pt x="49" y="362"/>
                    <a:pt x="52" y="363"/>
                  </a:cubicBezTo>
                  <a:cubicBezTo>
                    <a:pt x="50" y="363"/>
                    <a:pt x="48" y="362"/>
                    <a:pt x="46" y="363"/>
                  </a:cubicBezTo>
                  <a:cubicBezTo>
                    <a:pt x="45" y="363"/>
                    <a:pt x="44" y="365"/>
                    <a:pt x="42" y="365"/>
                  </a:cubicBezTo>
                  <a:cubicBezTo>
                    <a:pt x="39" y="364"/>
                    <a:pt x="36" y="364"/>
                    <a:pt x="32" y="364"/>
                  </a:cubicBezTo>
                  <a:cubicBezTo>
                    <a:pt x="33" y="365"/>
                    <a:pt x="34" y="365"/>
                    <a:pt x="35" y="366"/>
                  </a:cubicBezTo>
                  <a:cubicBezTo>
                    <a:pt x="33" y="367"/>
                    <a:pt x="31" y="363"/>
                    <a:pt x="30" y="364"/>
                  </a:cubicBezTo>
                  <a:cubicBezTo>
                    <a:pt x="28" y="365"/>
                    <a:pt x="29" y="368"/>
                    <a:pt x="26" y="368"/>
                  </a:cubicBezTo>
                  <a:cubicBezTo>
                    <a:pt x="27" y="367"/>
                    <a:pt x="30" y="364"/>
                    <a:pt x="28" y="363"/>
                  </a:cubicBezTo>
                  <a:cubicBezTo>
                    <a:pt x="26" y="362"/>
                    <a:pt x="22" y="366"/>
                    <a:pt x="20" y="364"/>
                  </a:cubicBezTo>
                  <a:cubicBezTo>
                    <a:pt x="20" y="364"/>
                    <a:pt x="23" y="363"/>
                    <a:pt x="23" y="363"/>
                  </a:cubicBezTo>
                  <a:cubicBezTo>
                    <a:pt x="21" y="361"/>
                    <a:pt x="17" y="361"/>
                    <a:pt x="15" y="361"/>
                  </a:cubicBezTo>
                  <a:cubicBezTo>
                    <a:pt x="14" y="360"/>
                    <a:pt x="9" y="363"/>
                    <a:pt x="12" y="363"/>
                  </a:cubicBezTo>
                  <a:cubicBezTo>
                    <a:pt x="11" y="363"/>
                    <a:pt x="5" y="364"/>
                    <a:pt x="6" y="366"/>
                  </a:cubicBezTo>
                  <a:cubicBezTo>
                    <a:pt x="6" y="367"/>
                    <a:pt x="9" y="366"/>
                    <a:pt x="10" y="366"/>
                  </a:cubicBezTo>
                  <a:cubicBezTo>
                    <a:pt x="9" y="367"/>
                    <a:pt x="8" y="367"/>
                    <a:pt x="7" y="367"/>
                  </a:cubicBezTo>
                  <a:cubicBezTo>
                    <a:pt x="9" y="368"/>
                    <a:pt x="6" y="369"/>
                    <a:pt x="5" y="368"/>
                  </a:cubicBezTo>
                  <a:cubicBezTo>
                    <a:pt x="4" y="368"/>
                    <a:pt x="2" y="366"/>
                    <a:pt x="2" y="369"/>
                  </a:cubicBezTo>
                  <a:cubicBezTo>
                    <a:pt x="0" y="375"/>
                    <a:pt x="10" y="372"/>
                    <a:pt x="13" y="372"/>
                  </a:cubicBezTo>
                  <a:cubicBezTo>
                    <a:pt x="9" y="374"/>
                    <a:pt x="5" y="372"/>
                    <a:pt x="2" y="374"/>
                  </a:cubicBezTo>
                  <a:cubicBezTo>
                    <a:pt x="4" y="375"/>
                    <a:pt x="6" y="374"/>
                    <a:pt x="8" y="374"/>
                  </a:cubicBezTo>
                  <a:cubicBezTo>
                    <a:pt x="8" y="374"/>
                    <a:pt x="8" y="374"/>
                    <a:pt x="8" y="374"/>
                  </a:cubicBezTo>
                  <a:cubicBezTo>
                    <a:pt x="9" y="374"/>
                    <a:pt x="11" y="375"/>
                    <a:pt x="13" y="375"/>
                  </a:cubicBezTo>
                  <a:cubicBezTo>
                    <a:pt x="12" y="375"/>
                    <a:pt x="4" y="375"/>
                    <a:pt x="8" y="377"/>
                  </a:cubicBezTo>
                  <a:cubicBezTo>
                    <a:pt x="9" y="378"/>
                    <a:pt x="14" y="378"/>
                    <a:pt x="14" y="379"/>
                  </a:cubicBezTo>
                  <a:cubicBezTo>
                    <a:pt x="14" y="379"/>
                    <a:pt x="14" y="379"/>
                    <a:pt x="14" y="379"/>
                  </a:cubicBezTo>
                  <a:cubicBezTo>
                    <a:pt x="13" y="379"/>
                    <a:pt x="10" y="378"/>
                    <a:pt x="12" y="379"/>
                  </a:cubicBezTo>
                  <a:cubicBezTo>
                    <a:pt x="11" y="380"/>
                    <a:pt x="2" y="378"/>
                    <a:pt x="2" y="381"/>
                  </a:cubicBezTo>
                  <a:cubicBezTo>
                    <a:pt x="1" y="382"/>
                    <a:pt x="5" y="381"/>
                    <a:pt x="6" y="381"/>
                  </a:cubicBezTo>
                  <a:cubicBezTo>
                    <a:pt x="5" y="381"/>
                    <a:pt x="4" y="382"/>
                    <a:pt x="3" y="383"/>
                  </a:cubicBezTo>
                  <a:cubicBezTo>
                    <a:pt x="2" y="384"/>
                    <a:pt x="5" y="383"/>
                    <a:pt x="4" y="384"/>
                  </a:cubicBezTo>
                  <a:cubicBezTo>
                    <a:pt x="5" y="385"/>
                    <a:pt x="6" y="385"/>
                    <a:pt x="7" y="384"/>
                  </a:cubicBezTo>
                  <a:cubicBezTo>
                    <a:pt x="7" y="384"/>
                    <a:pt x="7" y="385"/>
                    <a:pt x="7" y="385"/>
                  </a:cubicBezTo>
                  <a:cubicBezTo>
                    <a:pt x="5" y="386"/>
                    <a:pt x="3" y="386"/>
                    <a:pt x="1" y="387"/>
                  </a:cubicBezTo>
                  <a:cubicBezTo>
                    <a:pt x="1" y="387"/>
                    <a:pt x="2" y="387"/>
                    <a:pt x="2" y="387"/>
                  </a:cubicBezTo>
                  <a:cubicBezTo>
                    <a:pt x="1" y="390"/>
                    <a:pt x="8" y="389"/>
                    <a:pt x="9" y="390"/>
                  </a:cubicBezTo>
                  <a:cubicBezTo>
                    <a:pt x="7" y="390"/>
                    <a:pt x="11" y="392"/>
                    <a:pt x="8" y="391"/>
                  </a:cubicBezTo>
                  <a:cubicBezTo>
                    <a:pt x="7" y="391"/>
                    <a:pt x="7" y="390"/>
                    <a:pt x="6" y="390"/>
                  </a:cubicBezTo>
                  <a:cubicBezTo>
                    <a:pt x="6" y="390"/>
                    <a:pt x="3" y="390"/>
                    <a:pt x="4" y="391"/>
                  </a:cubicBezTo>
                  <a:cubicBezTo>
                    <a:pt x="5" y="392"/>
                    <a:pt x="7" y="391"/>
                    <a:pt x="9" y="392"/>
                  </a:cubicBezTo>
                  <a:cubicBezTo>
                    <a:pt x="8" y="392"/>
                    <a:pt x="7" y="392"/>
                    <a:pt x="6" y="392"/>
                  </a:cubicBezTo>
                  <a:cubicBezTo>
                    <a:pt x="7" y="394"/>
                    <a:pt x="9" y="394"/>
                    <a:pt x="11" y="393"/>
                  </a:cubicBezTo>
                  <a:cubicBezTo>
                    <a:pt x="10" y="397"/>
                    <a:pt x="23" y="393"/>
                    <a:pt x="23" y="390"/>
                  </a:cubicBezTo>
                  <a:cubicBezTo>
                    <a:pt x="24" y="393"/>
                    <a:pt x="29" y="391"/>
                    <a:pt x="30" y="390"/>
                  </a:cubicBezTo>
                  <a:cubicBezTo>
                    <a:pt x="27" y="392"/>
                    <a:pt x="33" y="391"/>
                    <a:pt x="35" y="391"/>
                  </a:cubicBezTo>
                  <a:cubicBezTo>
                    <a:pt x="35" y="393"/>
                    <a:pt x="39" y="393"/>
                    <a:pt x="40" y="393"/>
                  </a:cubicBezTo>
                  <a:cubicBezTo>
                    <a:pt x="42" y="393"/>
                    <a:pt x="46" y="390"/>
                    <a:pt x="42" y="389"/>
                  </a:cubicBezTo>
                  <a:cubicBezTo>
                    <a:pt x="43" y="389"/>
                    <a:pt x="43" y="389"/>
                    <a:pt x="44" y="389"/>
                  </a:cubicBezTo>
                  <a:cubicBezTo>
                    <a:pt x="44" y="388"/>
                    <a:pt x="43" y="387"/>
                    <a:pt x="43" y="387"/>
                  </a:cubicBezTo>
                  <a:cubicBezTo>
                    <a:pt x="44" y="386"/>
                    <a:pt x="45" y="387"/>
                    <a:pt x="47" y="385"/>
                  </a:cubicBezTo>
                  <a:cubicBezTo>
                    <a:pt x="48" y="384"/>
                    <a:pt x="48" y="382"/>
                    <a:pt x="49" y="381"/>
                  </a:cubicBezTo>
                  <a:cubicBezTo>
                    <a:pt x="49" y="382"/>
                    <a:pt x="49" y="385"/>
                    <a:pt x="48" y="385"/>
                  </a:cubicBezTo>
                  <a:cubicBezTo>
                    <a:pt x="47" y="386"/>
                    <a:pt x="46" y="387"/>
                    <a:pt x="45" y="388"/>
                  </a:cubicBezTo>
                  <a:cubicBezTo>
                    <a:pt x="45" y="390"/>
                    <a:pt x="49" y="390"/>
                    <a:pt x="50" y="391"/>
                  </a:cubicBezTo>
                  <a:cubicBezTo>
                    <a:pt x="51" y="391"/>
                    <a:pt x="54" y="392"/>
                    <a:pt x="55" y="391"/>
                  </a:cubicBezTo>
                  <a:cubicBezTo>
                    <a:pt x="57" y="390"/>
                    <a:pt x="59" y="387"/>
                    <a:pt x="61" y="387"/>
                  </a:cubicBezTo>
                  <a:cubicBezTo>
                    <a:pt x="60" y="388"/>
                    <a:pt x="59" y="389"/>
                    <a:pt x="60" y="390"/>
                  </a:cubicBezTo>
                  <a:cubicBezTo>
                    <a:pt x="58" y="390"/>
                    <a:pt x="57" y="392"/>
                    <a:pt x="55" y="392"/>
                  </a:cubicBezTo>
                  <a:cubicBezTo>
                    <a:pt x="53" y="392"/>
                    <a:pt x="54" y="393"/>
                    <a:pt x="55" y="393"/>
                  </a:cubicBezTo>
                  <a:cubicBezTo>
                    <a:pt x="57" y="393"/>
                    <a:pt x="60" y="391"/>
                    <a:pt x="62" y="391"/>
                  </a:cubicBezTo>
                  <a:cubicBezTo>
                    <a:pt x="64" y="391"/>
                    <a:pt x="65" y="392"/>
                    <a:pt x="67" y="391"/>
                  </a:cubicBezTo>
                  <a:cubicBezTo>
                    <a:pt x="65" y="390"/>
                    <a:pt x="65" y="389"/>
                    <a:pt x="65" y="388"/>
                  </a:cubicBezTo>
                  <a:cubicBezTo>
                    <a:pt x="64" y="387"/>
                    <a:pt x="63" y="387"/>
                    <a:pt x="63" y="386"/>
                  </a:cubicBezTo>
                  <a:cubicBezTo>
                    <a:pt x="63" y="384"/>
                    <a:pt x="67" y="384"/>
                    <a:pt x="64" y="382"/>
                  </a:cubicBezTo>
                  <a:cubicBezTo>
                    <a:pt x="67" y="383"/>
                    <a:pt x="70" y="380"/>
                    <a:pt x="72" y="378"/>
                  </a:cubicBezTo>
                  <a:cubicBezTo>
                    <a:pt x="71" y="381"/>
                    <a:pt x="64" y="384"/>
                    <a:pt x="65" y="386"/>
                  </a:cubicBezTo>
                  <a:cubicBezTo>
                    <a:pt x="65" y="388"/>
                    <a:pt x="68" y="390"/>
                    <a:pt x="69" y="390"/>
                  </a:cubicBezTo>
                  <a:cubicBezTo>
                    <a:pt x="71" y="390"/>
                    <a:pt x="73" y="388"/>
                    <a:pt x="75" y="388"/>
                  </a:cubicBezTo>
                  <a:cubicBezTo>
                    <a:pt x="73" y="391"/>
                    <a:pt x="69" y="390"/>
                    <a:pt x="66" y="392"/>
                  </a:cubicBezTo>
                  <a:cubicBezTo>
                    <a:pt x="67" y="393"/>
                    <a:pt x="68" y="393"/>
                    <a:pt x="68" y="393"/>
                  </a:cubicBezTo>
                  <a:cubicBezTo>
                    <a:pt x="65" y="393"/>
                    <a:pt x="61" y="391"/>
                    <a:pt x="58" y="394"/>
                  </a:cubicBezTo>
                  <a:cubicBezTo>
                    <a:pt x="53" y="397"/>
                    <a:pt x="64" y="401"/>
                    <a:pt x="59" y="404"/>
                  </a:cubicBezTo>
                  <a:cubicBezTo>
                    <a:pt x="59" y="401"/>
                    <a:pt x="60" y="399"/>
                    <a:pt x="56" y="399"/>
                  </a:cubicBezTo>
                  <a:cubicBezTo>
                    <a:pt x="56" y="399"/>
                    <a:pt x="55" y="399"/>
                    <a:pt x="54" y="400"/>
                  </a:cubicBezTo>
                  <a:cubicBezTo>
                    <a:pt x="55" y="399"/>
                    <a:pt x="56" y="398"/>
                    <a:pt x="56" y="397"/>
                  </a:cubicBezTo>
                  <a:cubicBezTo>
                    <a:pt x="56" y="394"/>
                    <a:pt x="54" y="396"/>
                    <a:pt x="53" y="395"/>
                  </a:cubicBezTo>
                  <a:cubicBezTo>
                    <a:pt x="52" y="394"/>
                    <a:pt x="52" y="393"/>
                    <a:pt x="51" y="392"/>
                  </a:cubicBezTo>
                  <a:cubicBezTo>
                    <a:pt x="50" y="392"/>
                    <a:pt x="47" y="391"/>
                    <a:pt x="46" y="391"/>
                  </a:cubicBezTo>
                  <a:cubicBezTo>
                    <a:pt x="45" y="392"/>
                    <a:pt x="44" y="393"/>
                    <a:pt x="43" y="394"/>
                  </a:cubicBezTo>
                  <a:cubicBezTo>
                    <a:pt x="42" y="395"/>
                    <a:pt x="41" y="395"/>
                    <a:pt x="40" y="396"/>
                  </a:cubicBezTo>
                  <a:cubicBezTo>
                    <a:pt x="39" y="397"/>
                    <a:pt x="40" y="398"/>
                    <a:pt x="38" y="397"/>
                  </a:cubicBezTo>
                  <a:cubicBezTo>
                    <a:pt x="38" y="397"/>
                    <a:pt x="39" y="396"/>
                    <a:pt x="39" y="396"/>
                  </a:cubicBezTo>
                  <a:cubicBezTo>
                    <a:pt x="39" y="395"/>
                    <a:pt x="37" y="396"/>
                    <a:pt x="36" y="396"/>
                  </a:cubicBezTo>
                  <a:cubicBezTo>
                    <a:pt x="39" y="394"/>
                    <a:pt x="32" y="393"/>
                    <a:pt x="31" y="393"/>
                  </a:cubicBezTo>
                  <a:cubicBezTo>
                    <a:pt x="30" y="393"/>
                    <a:pt x="22" y="393"/>
                    <a:pt x="23" y="395"/>
                  </a:cubicBezTo>
                  <a:cubicBezTo>
                    <a:pt x="23" y="394"/>
                    <a:pt x="23" y="393"/>
                    <a:pt x="22" y="394"/>
                  </a:cubicBezTo>
                  <a:cubicBezTo>
                    <a:pt x="21" y="394"/>
                    <a:pt x="18" y="394"/>
                    <a:pt x="20" y="395"/>
                  </a:cubicBezTo>
                  <a:cubicBezTo>
                    <a:pt x="18" y="395"/>
                    <a:pt x="14" y="395"/>
                    <a:pt x="14" y="398"/>
                  </a:cubicBezTo>
                  <a:cubicBezTo>
                    <a:pt x="12" y="396"/>
                    <a:pt x="5" y="394"/>
                    <a:pt x="2" y="396"/>
                  </a:cubicBezTo>
                  <a:cubicBezTo>
                    <a:pt x="0" y="398"/>
                    <a:pt x="5" y="401"/>
                    <a:pt x="6" y="398"/>
                  </a:cubicBezTo>
                  <a:cubicBezTo>
                    <a:pt x="6" y="399"/>
                    <a:pt x="6" y="400"/>
                    <a:pt x="7" y="399"/>
                  </a:cubicBezTo>
                  <a:cubicBezTo>
                    <a:pt x="6" y="399"/>
                    <a:pt x="5" y="399"/>
                    <a:pt x="4" y="401"/>
                  </a:cubicBezTo>
                  <a:cubicBezTo>
                    <a:pt x="4" y="402"/>
                    <a:pt x="5" y="403"/>
                    <a:pt x="4" y="403"/>
                  </a:cubicBezTo>
                  <a:cubicBezTo>
                    <a:pt x="5" y="401"/>
                    <a:pt x="3" y="400"/>
                    <a:pt x="1" y="400"/>
                  </a:cubicBezTo>
                  <a:cubicBezTo>
                    <a:pt x="2" y="404"/>
                    <a:pt x="3" y="405"/>
                    <a:pt x="7" y="405"/>
                  </a:cubicBezTo>
                  <a:cubicBezTo>
                    <a:pt x="9" y="405"/>
                    <a:pt x="9" y="405"/>
                    <a:pt x="10" y="404"/>
                  </a:cubicBezTo>
                  <a:cubicBezTo>
                    <a:pt x="11" y="402"/>
                    <a:pt x="14" y="403"/>
                    <a:pt x="15" y="402"/>
                  </a:cubicBezTo>
                  <a:cubicBezTo>
                    <a:pt x="14" y="403"/>
                    <a:pt x="16" y="403"/>
                    <a:pt x="16" y="403"/>
                  </a:cubicBezTo>
                  <a:cubicBezTo>
                    <a:pt x="15" y="404"/>
                    <a:pt x="13" y="403"/>
                    <a:pt x="11" y="404"/>
                  </a:cubicBezTo>
                  <a:cubicBezTo>
                    <a:pt x="11" y="405"/>
                    <a:pt x="8" y="407"/>
                    <a:pt x="9" y="407"/>
                  </a:cubicBezTo>
                  <a:cubicBezTo>
                    <a:pt x="9" y="408"/>
                    <a:pt x="12" y="410"/>
                    <a:pt x="13" y="412"/>
                  </a:cubicBezTo>
                  <a:cubicBezTo>
                    <a:pt x="13" y="411"/>
                    <a:pt x="12" y="411"/>
                    <a:pt x="12" y="411"/>
                  </a:cubicBezTo>
                  <a:cubicBezTo>
                    <a:pt x="11" y="411"/>
                    <a:pt x="12" y="412"/>
                    <a:pt x="12" y="412"/>
                  </a:cubicBezTo>
                  <a:cubicBezTo>
                    <a:pt x="12" y="412"/>
                    <a:pt x="10" y="411"/>
                    <a:pt x="11" y="412"/>
                  </a:cubicBezTo>
                  <a:cubicBezTo>
                    <a:pt x="9" y="411"/>
                    <a:pt x="9" y="409"/>
                    <a:pt x="6" y="408"/>
                  </a:cubicBezTo>
                  <a:cubicBezTo>
                    <a:pt x="4" y="407"/>
                    <a:pt x="1" y="405"/>
                    <a:pt x="0" y="406"/>
                  </a:cubicBezTo>
                  <a:cubicBezTo>
                    <a:pt x="1" y="407"/>
                    <a:pt x="3" y="409"/>
                    <a:pt x="5" y="410"/>
                  </a:cubicBezTo>
                  <a:cubicBezTo>
                    <a:pt x="3" y="409"/>
                    <a:pt x="7" y="412"/>
                    <a:pt x="7" y="413"/>
                  </a:cubicBezTo>
                  <a:cubicBezTo>
                    <a:pt x="7" y="413"/>
                    <a:pt x="4" y="410"/>
                    <a:pt x="4" y="412"/>
                  </a:cubicBezTo>
                  <a:cubicBezTo>
                    <a:pt x="4" y="412"/>
                    <a:pt x="7" y="415"/>
                    <a:pt x="7" y="415"/>
                  </a:cubicBezTo>
                  <a:cubicBezTo>
                    <a:pt x="8" y="416"/>
                    <a:pt x="12" y="416"/>
                    <a:pt x="10" y="415"/>
                  </a:cubicBezTo>
                  <a:cubicBezTo>
                    <a:pt x="12" y="415"/>
                    <a:pt x="16" y="414"/>
                    <a:pt x="16" y="413"/>
                  </a:cubicBezTo>
                  <a:cubicBezTo>
                    <a:pt x="16" y="410"/>
                    <a:pt x="19" y="409"/>
                    <a:pt x="21" y="408"/>
                  </a:cubicBezTo>
                  <a:cubicBezTo>
                    <a:pt x="20" y="408"/>
                    <a:pt x="19" y="409"/>
                    <a:pt x="19" y="410"/>
                  </a:cubicBezTo>
                  <a:cubicBezTo>
                    <a:pt x="19" y="411"/>
                    <a:pt x="22" y="410"/>
                    <a:pt x="22" y="410"/>
                  </a:cubicBezTo>
                  <a:cubicBezTo>
                    <a:pt x="21" y="411"/>
                    <a:pt x="21" y="413"/>
                    <a:pt x="20" y="415"/>
                  </a:cubicBezTo>
                  <a:cubicBezTo>
                    <a:pt x="20" y="416"/>
                    <a:pt x="21" y="419"/>
                    <a:pt x="20" y="420"/>
                  </a:cubicBezTo>
                  <a:cubicBezTo>
                    <a:pt x="19" y="423"/>
                    <a:pt x="13" y="420"/>
                    <a:pt x="13" y="421"/>
                  </a:cubicBezTo>
                  <a:cubicBezTo>
                    <a:pt x="12" y="420"/>
                    <a:pt x="10" y="417"/>
                    <a:pt x="8" y="418"/>
                  </a:cubicBezTo>
                  <a:cubicBezTo>
                    <a:pt x="7" y="419"/>
                    <a:pt x="10" y="423"/>
                    <a:pt x="7" y="423"/>
                  </a:cubicBezTo>
                  <a:cubicBezTo>
                    <a:pt x="3" y="422"/>
                    <a:pt x="6" y="426"/>
                    <a:pt x="8" y="426"/>
                  </a:cubicBezTo>
                  <a:cubicBezTo>
                    <a:pt x="7" y="426"/>
                    <a:pt x="6" y="426"/>
                    <a:pt x="5" y="427"/>
                  </a:cubicBezTo>
                  <a:cubicBezTo>
                    <a:pt x="4" y="429"/>
                    <a:pt x="8" y="428"/>
                    <a:pt x="9" y="428"/>
                  </a:cubicBezTo>
                  <a:cubicBezTo>
                    <a:pt x="8" y="429"/>
                    <a:pt x="7" y="430"/>
                    <a:pt x="7" y="430"/>
                  </a:cubicBezTo>
                  <a:cubicBezTo>
                    <a:pt x="8" y="431"/>
                    <a:pt x="9" y="429"/>
                    <a:pt x="10" y="430"/>
                  </a:cubicBezTo>
                  <a:cubicBezTo>
                    <a:pt x="8" y="431"/>
                    <a:pt x="11" y="433"/>
                    <a:pt x="12" y="433"/>
                  </a:cubicBezTo>
                  <a:cubicBezTo>
                    <a:pt x="12" y="432"/>
                    <a:pt x="14" y="430"/>
                    <a:pt x="15" y="429"/>
                  </a:cubicBezTo>
                  <a:cubicBezTo>
                    <a:pt x="16" y="429"/>
                    <a:pt x="17" y="424"/>
                    <a:pt x="18" y="424"/>
                  </a:cubicBezTo>
                  <a:cubicBezTo>
                    <a:pt x="18" y="424"/>
                    <a:pt x="21" y="423"/>
                    <a:pt x="21" y="423"/>
                  </a:cubicBezTo>
                  <a:cubicBezTo>
                    <a:pt x="21" y="423"/>
                    <a:pt x="16" y="429"/>
                    <a:pt x="16" y="429"/>
                  </a:cubicBezTo>
                  <a:cubicBezTo>
                    <a:pt x="17" y="429"/>
                    <a:pt x="18" y="428"/>
                    <a:pt x="18" y="428"/>
                  </a:cubicBezTo>
                  <a:cubicBezTo>
                    <a:pt x="18" y="428"/>
                    <a:pt x="18" y="429"/>
                    <a:pt x="18" y="429"/>
                  </a:cubicBezTo>
                  <a:cubicBezTo>
                    <a:pt x="18" y="429"/>
                    <a:pt x="19" y="429"/>
                    <a:pt x="20" y="429"/>
                  </a:cubicBezTo>
                  <a:cubicBezTo>
                    <a:pt x="19" y="430"/>
                    <a:pt x="15" y="431"/>
                    <a:pt x="15" y="432"/>
                  </a:cubicBezTo>
                  <a:cubicBezTo>
                    <a:pt x="15" y="434"/>
                    <a:pt x="22" y="431"/>
                    <a:pt x="22" y="431"/>
                  </a:cubicBezTo>
                  <a:cubicBezTo>
                    <a:pt x="21" y="432"/>
                    <a:pt x="18" y="434"/>
                    <a:pt x="20" y="437"/>
                  </a:cubicBezTo>
                  <a:cubicBezTo>
                    <a:pt x="19" y="436"/>
                    <a:pt x="20" y="442"/>
                    <a:pt x="22" y="439"/>
                  </a:cubicBezTo>
                  <a:cubicBezTo>
                    <a:pt x="22" y="441"/>
                    <a:pt x="24" y="439"/>
                    <a:pt x="25" y="438"/>
                  </a:cubicBezTo>
                  <a:cubicBezTo>
                    <a:pt x="25" y="437"/>
                    <a:pt x="24" y="434"/>
                    <a:pt x="25" y="433"/>
                  </a:cubicBezTo>
                  <a:cubicBezTo>
                    <a:pt x="26" y="432"/>
                    <a:pt x="27" y="430"/>
                    <a:pt x="28" y="429"/>
                  </a:cubicBezTo>
                  <a:cubicBezTo>
                    <a:pt x="29" y="428"/>
                    <a:pt x="30" y="429"/>
                    <a:pt x="32" y="429"/>
                  </a:cubicBezTo>
                  <a:cubicBezTo>
                    <a:pt x="33" y="428"/>
                    <a:pt x="33" y="426"/>
                    <a:pt x="33" y="425"/>
                  </a:cubicBezTo>
                  <a:cubicBezTo>
                    <a:pt x="32" y="423"/>
                    <a:pt x="35" y="424"/>
                    <a:pt x="36" y="423"/>
                  </a:cubicBezTo>
                  <a:cubicBezTo>
                    <a:pt x="39" y="422"/>
                    <a:pt x="41" y="421"/>
                    <a:pt x="44" y="420"/>
                  </a:cubicBezTo>
                  <a:cubicBezTo>
                    <a:pt x="45" y="419"/>
                    <a:pt x="46" y="418"/>
                    <a:pt x="47" y="418"/>
                  </a:cubicBezTo>
                  <a:cubicBezTo>
                    <a:pt x="47" y="418"/>
                    <a:pt x="45" y="420"/>
                    <a:pt x="45" y="421"/>
                  </a:cubicBezTo>
                  <a:cubicBezTo>
                    <a:pt x="46" y="422"/>
                    <a:pt x="48" y="421"/>
                    <a:pt x="48" y="421"/>
                  </a:cubicBezTo>
                  <a:cubicBezTo>
                    <a:pt x="49" y="420"/>
                    <a:pt x="51" y="419"/>
                    <a:pt x="52" y="419"/>
                  </a:cubicBezTo>
                  <a:cubicBezTo>
                    <a:pt x="53" y="419"/>
                    <a:pt x="52" y="417"/>
                    <a:pt x="53" y="416"/>
                  </a:cubicBezTo>
                  <a:cubicBezTo>
                    <a:pt x="52" y="417"/>
                    <a:pt x="56" y="415"/>
                    <a:pt x="56" y="415"/>
                  </a:cubicBezTo>
                  <a:cubicBezTo>
                    <a:pt x="55" y="416"/>
                    <a:pt x="53" y="418"/>
                    <a:pt x="54" y="419"/>
                  </a:cubicBezTo>
                  <a:cubicBezTo>
                    <a:pt x="54" y="419"/>
                    <a:pt x="58" y="419"/>
                    <a:pt x="59" y="419"/>
                  </a:cubicBezTo>
                  <a:cubicBezTo>
                    <a:pt x="56" y="422"/>
                    <a:pt x="51" y="419"/>
                    <a:pt x="48" y="422"/>
                  </a:cubicBezTo>
                  <a:cubicBezTo>
                    <a:pt x="45" y="426"/>
                    <a:pt x="45" y="432"/>
                    <a:pt x="42" y="436"/>
                  </a:cubicBezTo>
                  <a:cubicBezTo>
                    <a:pt x="42" y="432"/>
                    <a:pt x="47" y="425"/>
                    <a:pt x="46" y="422"/>
                  </a:cubicBezTo>
                  <a:cubicBezTo>
                    <a:pt x="44" y="420"/>
                    <a:pt x="42" y="423"/>
                    <a:pt x="41" y="424"/>
                  </a:cubicBezTo>
                  <a:cubicBezTo>
                    <a:pt x="40" y="424"/>
                    <a:pt x="38" y="424"/>
                    <a:pt x="37" y="425"/>
                  </a:cubicBezTo>
                  <a:cubicBezTo>
                    <a:pt x="37" y="428"/>
                    <a:pt x="30" y="429"/>
                    <a:pt x="30" y="432"/>
                  </a:cubicBezTo>
                  <a:cubicBezTo>
                    <a:pt x="30" y="437"/>
                    <a:pt x="34" y="432"/>
                    <a:pt x="36" y="434"/>
                  </a:cubicBezTo>
                  <a:cubicBezTo>
                    <a:pt x="37" y="434"/>
                    <a:pt x="29" y="436"/>
                    <a:pt x="29" y="436"/>
                  </a:cubicBezTo>
                  <a:cubicBezTo>
                    <a:pt x="26" y="439"/>
                    <a:pt x="28" y="441"/>
                    <a:pt x="24" y="442"/>
                  </a:cubicBezTo>
                  <a:cubicBezTo>
                    <a:pt x="23" y="442"/>
                    <a:pt x="16" y="447"/>
                    <a:pt x="20" y="447"/>
                  </a:cubicBezTo>
                  <a:cubicBezTo>
                    <a:pt x="21" y="447"/>
                    <a:pt x="22" y="449"/>
                    <a:pt x="23" y="449"/>
                  </a:cubicBezTo>
                  <a:cubicBezTo>
                    <a:pt x="25" y="449"/>
                    <a:pt x="26" y="447"/>
                    <a:pt x="26" y="446"/>
                  </a:cubicBezTo>
                  <a:cubicBezTo>
                    <a:pt x="27" y="447"/>
                    <a:pt x="25" y="450"/>
                    <a:pt x="27" y="450"/>
                  </a:cubicBezTo>
                  <a:cubicBezTo>
                    <a:pt x="28" y="450"/>
                    <a:pt x="29" y="449"/>
                    <a:pt x="30" y="449"/>
                  </a:cubicBezTo>
                  <a:cubicBezTo>
                    <a:pt x="32" y="448"/>
                    <a:pt x="34" y="446"/>
                    <a:pt x="37" y="445"/>
                  </a:cubicBezTo>
                  <a:cubicBezTo>
                    <a:pt x="35" y="448"/>
                    <a:pt x="27" y="451"/>
                    <a:pt x="25" y="449"/>
                  </a:cubicBezTo>
                  <a:cubicBezTo>
                    <a:pt x="25" y="452"/>
                    <a:pt x="21" y="451"/>
                    <a:pt x="21" y="453"/>
                  </a:cubicBezTo>
                  <a:cubicBezTo>
                    <a:pt x="21" y="455"/>
                    <a:pt x="24" y="453"/>
                    <a:pt x="25" y="454"/>
                  </a:cubicBezTo>
                  <a:cubicBezTo>
                    <a:pt x="24" y="454"/>
                    <a:pt x="20" y="454"/>
                    <a:pt x="22" y="456"/>
                  </a:cubicBezTo>
                  <a:cubicBezTo>
                    <a:pt x="21" y="456"/>
                    <a:pt x="20" y="456"/>
                    <a:pt x="20" y="456"/>
                  </a:cubicBezTo>
                  <a:cubicBezTo>
                    <a:pt x="23" y="455"/>
                    <a:pt x="15" y="451"/>
                    <a:pt x="15" y="455"/>
                  </a:cubicBezTo>
                  <a:cubicBezTo>
                    <a:pt x="15" y="458"/>
                    <a:pt x="14" y="460"/>
                    <a:pt x="11" y="460"/>
                  </a:cubicBezTo>
                  <a:cubicBezTo>
                    <a:pt x="9" y="461"/>
                    <a:pt x="8" y="458"/>
                    <a:pt x="10" y="459"/>
                  </a:cubicBezTo>
                  <a:cubicBezTo>
                    <a:pt x="7" y="460"/>
                    <a:pt x="13" y="459"/>
                    <a:pt x="13" y="459"/>
                  </a:cubicBezTo>
                  <a:cubicBezTo>
                    <a:pt x="14" y="457"/>
                    <a:pt x="13" y="456"/>
                    <a:pt x="14" y="455"/>
                  </a:cubicBezTo>
                  <a:cubicBezTo>
                    <a:pt x="16" y="451"/>
                    <a:pt x="13" y="451"/>
                    <a:pt x="11" y="453"/>
                  </a:cubicBezTo>
                  <a:cubicBezTo>
                    <a:pt x="10" y="454"/>
                    <a:pt x="13" y="455"/>
                    <a:pt x="11" y="457"/>
                  </a:cubicBezTo>
                  <a:cubicBezTo>
                    <a:pt x="10" y="452"/>
                    <a:pt x="5" y="458"/>
                    <a:pt x="5" y="459"/>
                  </a:cubicBezTo>
                  <a:cubicBezTo>
                    <a:pt x="6" y="459"/>
                    <a:pt x="6" y="459"/>
                    <a:pt x="6" y="459"/>
                  </a:cubicBezTo>
                  <a:cubicBezTo>
                    <a:pt x="5" y="460"/>
                    <a:pt x="6" y="460"/>
                    <a:pt x="7" y="461"/>
                  </a:cubicBezTo>
                  <a:cubicBezTo>
                    <a:pt x="6" y="461"/>
                    <a:pt x="4" y="460"/>
                    <a:pt x="5" y="462"/>
                  </a:cubicBezTo>
                  <a:cubicBezTo>
                    <a:pt x="6" y="463"/>
                    <a:pt x="6" y="464"/>
                    <a:pt x="7" y="465"/>
                  </a:cubicBezTo>
                  <a:cubicBezTo>
                    <a:pt x="9" y="470"/>
                    <a:pt x="8" y="465"/>
                    <a:pt x="9" y="464"/>
                  </a:cubicBezTo>
                  <a:cubicBezTo>
                    <a:pt x="9" y="465"/>
                    <a:pt x="9" y="469"/>
                    <a:pt x="10" y="469"/>
                  </a:cubicBezTo>
                  <a:cubicBezTo>
                    <a:pt x="11" y="469"/>
                    <a:pt x="11" y="465"/>
                    <a:pt x="12" y="465"/>
                  </a:cubicBezTo>
                  <a:cubicBezTo>
                    <a:pt x="11" y="467"/>
                    <a:pt x="12" y="472"/>
                    <a:pt x="14" y="469"/>
                  </a:cubicBezTo>
                  <a:cubicBezTo>
                    <a:pt x="15" y="468"/>
                    <a:pt x="17" y="463"/>
                    <a:pt x="14" y="465"/>
                  </a:cubicBezTo>
                  <a:cubicBezTo>
                    <a:pt x="15" y="464"/>
                    <a:pt x="16" y="460"/>
                    <a:pt x="14" y="462"/>
                  </a:cubicBezTo>
                  <a:cubicBezTo>
                    <a:pt x="14" y="462"/>
                    <a:pt x="12" y="464"/>
                    <a:pt x="12" y="463"/>
                  </a:cubicBezTo>
                  <a:cubicBezTo>
                    <a:pt x="12" y="463"/>
                    <a:pt x="15" y="460"/>
                    <a:pt x="16" y="460"/>
                  </a:cubicBezTo>
                  <a:cubicBezTo>
                    <a:pt x="15" y="462"/>
                    <a:pt x="16" y="465"/>
                    <a:pt x="17" y="466"/>
                  </a:cubicBezTo>
                  <a:cubicBezTo>
                    <a:pt x="17" y="467"/>
                    <a:pt x="16" y="469"/>
                    <a:pt x="17" y="469"/>
                  </a:cubicBezTo>
                  <a:cubicBezTo>
                    <a:pt x="17" y="470"/>
                    <a:pt x="19" y="467"/>
                    <a:pt x="19" y="467"/>
                  </a:cubicBezTo>
                  <a:cubicBezTo>
                    <a:pt x="20" y="467"/>
                    <a:pt x="21" y="467"/>
                    <a:pt x="22" y="467"/>
                  </a:cubicBezTo>
                  <a:cubicBezTo>
                    <a:pt x="24" y="466"/>
                    <a:pt x="23" y="464"/>
                    <a:pt x="22" y="463"/>
                  </a:cubicBezTo>
                  <a:cubicBezTo>
                    <a:pt x="20" y="463"/>
                    <a:pt x="19" y="464"/>
                    <a:pt x="18" y="464"/>
                  </a:cubicBezTo>
                  <a:cubicBezTo>
                    <a:pt x="19" y="464"/>
                    <a:pt x="20" y="463"/>
                    <a:pt x="19" y="461"/>
                  </a:cubicBezTo>
                  <a:cubicBezTo>
                    <a:pt x="20" y="463"/>
                    <a:pt x="22" y="463"/>
                    <a:pt x="22" y="461"/>
                  </a:cubicBezTo>
                  <a:cubicBezTo>
                    <a:pt x="22" y="460"/>
                    <a:pt x="21" y="459"/>
                    <a:pt x="22" y="459"/>
                  </a:cubicBezTo>
                  <a:cubicBezTo>
                    <a:pt x="23" y="459"/>
                    <a:pt x="23" y="459"/>
                    <a:pt x="23" y="459"/>
                  </a:cubicBezTo>
                  <a:cubicBezTo>
                    <a:pt x="22" y="463"/>
                    <a:pt x="30" y="461"/>
                    <a:pt x="32" y="461"/>
                  </a:cubicBezTo>
                  <a:cubicBezTo>
                    <a:pt x="30" y="463"/>
                    <a:pt x="27" y="461"/>
                    <a:pt x="25" y="463"/>
                  </a:cubicBezTo>
                  <a:cubicBezTo>
                    <a:pt x="23" y="464"/>
                    <a:pt x="25" y="468"/>
                    <a:pt x="27" y="464"/>
                  </a:cubicBezTo>
                  <a:cubicBezTo>
                    <a:pt x="30" y="465"/>
                    <a:pt x="31" y="462"/>
                    <a:pt x="33" y="459"/>
                  </a:cubicBezTo>
                  <a:cubicBezTo>
                    <a:pt x="35" y="458"/>
                    <a:pt x="35" y="454"/>
                    <a:pt x="37" y="454"/>
                  </a:cubicBezTo>
                  <a:cubicBezTo>
                    <a:pt x="36" y="455"/>
                    <a:pt x="35" y="458"/>
                    <a:pt x="35" y="459"/>
                  </a:cubicBezTo>
                  <a:cubicBezTo>
                    <a:pt x="37" y="458"/>
                    <a:pt x="40" y="457"/>
                    <a:pt x="43" y="458"/>
                  </a:cubicBezTo>
                  <a:cubicBezTo>
                    <a:pt x="40" y="459"/>
                    <a:pt x="37" y="459"/>
                    <a:pt x="35" y="460"/>
                  </a:cubicBezTo>
                  <a:cubicBezTo>
                    <a:pt x="33" y="461"/>
                    <a:pt x="34" y="463"/>
                    <a:pt x="32" y="464"/>
                  </a:cubicBezTo>
                  <a:cubicBezTo>
                    <a:pt x="33" y="462"/>
                    <a:pt x="31" y="464"/>
                    <a:pt x="30" y="464"/>
                  </a:cubicBezTo>
                  <a:cubicBezTo>
                    <a:pt x="29" y="464"/>
                    <a:pt x="28" y="465"/>
                    <a:pt x="28" y="466"/>
                  </a:cubicBezTo>
                  <a:cubicBezTo>
                    <a:pt x="27" y="467"/>
                    <a:pt x="29" y="468"/>
                    <a:pt x="29" y="466"/>
                  </a:cubicBezTo>
                  <a:cubicBezTo>
                    <a:pt x="29" y="468"/>
                    <a:pt x="30" y="468"/>
                    <a:pt x="31" y="468"/>
                  </a:cubicBezTo>
                  <a:cubicBezTo>
                    <a:pt x="31" y="468"/>
                    <a:pt x="32" y="467"/>
                    <a:pt x="32" y="467"/>
                  </a:cubicBezTo>
                  <a:cubicBezTo>
                    <a:pt x="32" y="467"/>
                    <a:pt x="32" y="467"/>
                    <a:pt x="32" y="468"/>
                  </a:cubicBezTo>
                  <a:cubicBezTo>
                    <a:pt x="33" y="467"/>
                    <a:pt x="33" y="467"/>
                    <a:pt x="33" y="466"/>
                  </a:cubicBezTo>
                  <a:cubicBezTo>
                    <a:pt x="33" y="467"/>
                    <a:pt x="34" y="467"/>
                    <a:pt x="34" y="468"/>
                  </a:cubicBezTo>
                  <a:cubicBezTo>
                    <a:pt x="34" y="468"/>
                    <a:pt x="30" y="469"/>
                    <a:pt x="30" y="469"/>
                  </a:cubicBezTo>
                  <a:cubicBezTo>
                    <a:pt x="29" y="471"/>
                    <a:pt x="35" y="469"/>
                    <a:pt x="35" y="469"/>
                  </a:cubicBezTo>
                  <a:cubicBezTo>
                    <a:pt x="37" y="468"/>
                    <a:pt x="39" y="467"/>
                    <a:pt x="41" y="468"/>
                  </a:cubicBezTo>
                  <a:cubicBezTo>
                    <a:pt x="37" y="469"/>
                    <a:pt x="32" y="469"/>
                    <a:pt x="29" y="473"/>
                  </a:cubicBezTo>
                  <a:cubicBezTo>
                    <a:pt x="25" y="476"/>
                    <a:pt x="30" y="474"/>
                    <a:pt x="31" y="475"/>
                  </a:cubicBezTo>
                  <a:cubicBezTo>
                    <a:pt x="29" y="475"/>
                    <a:pt x="25" y="475"/>
                    <a:pt x="24" y="477"/>
                  </a:cubicBezTo>
                  <a:cubicBezTo>
                    <a:pt x="21" y="479"/>
                    <a:pt x="27" y="480"/>
                    <a:pt x="28" y="481"/>
                  </a:cubicBezTo>
                  <a:cubicBezTo>
                    <a:pt x="26" y="480"/>
                    <a:pt x="26" y="483"/>
                    <a:pt x="26" y="483"/>
                  </a:cubicBezTo>
                  <a:cubicBezTo>
                    <a:pt x="27" y="486"/>
                    <a:pt x="29" y="483"/>
                    <a:pt x="30" y="482"/>
                  </a:cubicBezTo>
                  <a:cubicBezTo>
                    <a:pt x="34" y="479"/>
                    <a:pt x="40" y="479"/>
                    <a:pt x="44" y="479"/>
                  </a:cubicBezTo>
                  <a:cubicBezTo>
                    <a:pt x="40" y="481"/>
                    <a:pt x="34" y="480"/>
                    <a:pt x="30" y="483"/>
                  </a:cubicBezTo>
                  <a:cubicBezTo>
                    <a:pt x="26" y="487"/>
                    <a:pt x="33" y="487"/>
                    <a:pt x="34" y="488"/>
                  </a:cubicBezTo>
                  <a:cubicBezTo>
                    <a:pt x="31" y="488"/>
                    <a:pt x="26" y="486"/>
                    <a:pt x="25" y="484"/>
                  </a:cubicBezTo>
                  <a:cubicBezTo>
                    <a:pt x="23" y="482"/>
                    <a:pt x="18" y="485"/>
                    <a:pt x="19" y="486"/>
                  </a:cubicBezTo>
                  <a:cubicBezTo>
                    <a:pt x="18" y="484"/>
                    <a:pt x="20" y="483"/>
                    <a:pt x="17" y="481"/>
                  </a:cubicBezTo>
                  <a:cubicBezTo>
                    <a:pt x="16" y="481"/>
                    <a:pt x="14" y="479"/>
                    <a:pt x="14" y="481"/>
                  </a:cubicBezTo>
                  <a:cubicBezTo>
                    <a:pt x="14" y="482"/>
                    <a:pt x="17" y="483"/>
                    <a:pt x="17" y="484"/>
                  </a:cubicBezTo>
                  <a:cubicBezTo>
                    <a:pt x="17" y="484"/>
                    <a:pt x="16" y="486"/>
                    <a:pt x="16" y="485"/>
                  </a:cubicBezTo>
                  <a:cubicBezTo>
                    <a:pt x="15" y="485"/>
                    <a:pt x="15" y="483"/>
                    <a:pt x="14" y="483"/>
                  </a:cubicBezTo>
                  <a:cubicBezTo>
                    <a:pt x="14" y="484"/>
                    <a:pt x="14" y="484"/>
                    <a:pt x="15" y="484"/>
                  </a:cubicBezTo>
                  <a:cubicBezTo>
                    <a:pt x="15" y="485"/>
                    <a:pt x="13" y="488"/>
                    <a:pt x="13" y="488"/>
                  </a:cubicBezTo>
                  <a:cubicBezTo>
                    <a:pt x="13" y="491"/>
                    <a:pt x="11" y="492"/>
                    <a:pt x="13" y="494"/>
                  </a:cubicBezTo>
                  <a:cubicBezTo>
                    <a:pt x="15" y="497"/>
                    <a:pt x="17" y="501"/>
                    <a:pt x="20" y="503"/>
                  </a:cubicBezTo>
                  <a:cubicBezTo>
                    <a:pt x="22" y="503"/>
                    <a:pt x="25" y="503"/>
                    <a:pt x="26" y="504"/>
                  </a:cubicBezTo>
                  <a:cubicBezTo>
                    <a:pt x="26" y="507"/>
                    <a:pt x="27" y="508"/>
                    <a:pt x="30" y="509"/>
                  </a:cubicBezTo>
                  <a:cubicBezTo>
                    <a:pt x="35" y="510"/>
                    <a:pt x="39" y="513"/>
                    <a:pt x="44" y="513"/>
                  </a:cubicBezTo>
                  <a:cubicBezTo>
                    <a:pt x="44" y="512"/>
                    <a:pt x="44" y="511"/>
                    <a:pt x="44" y="511"/>
                  </a:cubicBezTo>
                  <a:cubicBezTo>
                    <a:pt x="43" y="515"/>
                    <a:pt x="50" y="511"/>
                    <a:pt x="51" y="511"/>
                  </a:cubicBezTo>
                  <a:cubicBezTo>
                    <a:pt x="50" y="512"/>
                    <a:pt x="41" y="517"/>
                    <a:pt x="41" y="518"/>
                  </a:cubicBezTo>
                  <a:cubicBezTo>
                    <a:pt x="41" y="520"/>
                    <a:pt x="44" y="520"/>
                    <a:pt x="45" y="520"/>
                  </a:cubicBezTo>
                  <a:cubicBezTo>
                    <a:pt x="46" y="520"/>
                    <a:pt x="50" y="520"/>
                    <a:pt x="48" y="520"/>
                  </a:cubicBezTo>
                  <a:cubicBezTo>
                    <a:pt x="49" y="518"/>
                    <a:pt x="51" y="520"/>
                    <a:pt x="52" y="519"/>
                  </a:cubicBezTo>
                  <a:cubicBezTo>
                    <a:pt x="52" y="519"/>
                    <a:pt x="52" y="520"/>
                    <a:pt x="52" y="520"/>
                  </a:cubicBezTo>
                  <a:cubicBezTo>
                    <a:pt x="52" y="521"/>
                    <a:pt x="54" y="518"/>
                    <a:pt x="55" y="518"/>
                  </a:cubicBezTo>
                  <a:cubicBezTo>
                    <a:pt x="54" y="520"/>
                    <a:pt x="52" y="520"/>
                    <a:pt x="52" y="522"/>
                  </a:cubicBezTo>
                  <a:cubicBezTo>
                    <a:pt x="54" y="521"/>
                    <a:pt x="55" y="521"/>
                    <a:pt x="56" y="520"/>
                  </a:cubicBezTo>
                  <a:cubicBezTo>
                    <a:pt x="58" y="519"/>
                    <a:pt x="57" y="518"/>
                    <a:pt x="58" y="518"/>
                  </a:cubicBezTo>
                  <a:cubicBezTo>
                    <a:pt x="59" y="521"/>
                    <a:pt x="57" y="520"/>
                    <a:pt x="55" y="521"/>
                  </a:cubicBezTo>
                  <a:cubicBezTo>
                    <a:pt x="54" y="523"/>
                    <a:pt x="55" y="525"/>
                    <a:pt x="56" y="523"/>
                  </a:cubicBezTo>
                  <a:cubicBezTo>
                    <a:pt x="57" y="520"/>
                    <a:pt x="62" y="523"/>
                    <a:pt x="62" y="521"/>
                  </a:cubicBezTo>
                  <a:cubicBezTo>
                    <a:pt x="64" y="523"/>
                    <a:pt x="71" y="524"/>
                    <a:pt x="72" y="521"/>
                  </a:cubicBezTo>
                  <a:cubicBezTo>
                    <a:pt x="72" y="523"/>
                    <a:pt x="74" y="521"/>
                    <a:pt x="72" y="519"/>
                  </a:cubicBezTo>
                  <a:cubicBezTo>
                    <a:pt x="73" y="520"/>
                    <a:pt x="74" y="520"/>
                    <a:pt x="74" y="521"/>
                  </a:cubicBezTo>
                  <a:cubicBezTo>
                    <a:pt x="76" y="519"/>
                    <a:pt x="79" y="521"/>
                    <a:pt x="81" y="519"/>
                  </a:cubicBezTo>
                  <a:cubicBezTo>
                    <a:pt x="81" y="519"/>
                    <a:pt x="81" y="518"/>
                    <a:pt x="81" y="518"/>
                  </a:cubicBezTo>
                  <a:cubicBezTo>
                    <a:pt x="81" y="518"/>
                    <a:pt x="82" y="517"/>
                    <a:pt x="82" y="517"/>
                  </a:cubicBezTo>
                  <a:cubicBezTo>
                    <a:pt x="83" y="516"/>
                    <a:pt x="83" y="515"/>
                    <a:pt x="83" y="513"/>
                  </a:cubicBezTo>
                  <a:cubicBezTo>
                    <a:pt x="84" y="515"/>
                    <a:pt x="83" y="517"/>
                    <a:pt x="85" y="518"/>
                  </a:cubicBezTo>
                  <a:cubicBezTo>
                    <a:pt x="86" y="519"/>
                    <a:pt x="87" y="517"/>
                    <a:pt x="87" y="516"/>
                  </a:cubicBezTo>
                  <a:cubicBezTo>
                    <a:pt x="87" y="517"/>
                    <a:pt x="88" y="517"/>
                    <a:pt x="88" y="518"/>
                  </a:cubicBezTo>
                  <a:cubicBezTo>
                    <a:pt x="89" y="518"/>
                    <a:pt x="87" y="515"/>
                    <a:pt x="88" y="515"/>
                  </a:cubicBezTo>
                  <a:cubicBezTo>
                    <a:pt x="89" y="517"/>
                    <a:pt x="92" y="515"/>
                    <a:pt x="89" y="515"/>
                  </a:cubicBezTo>
                  <a:cubicBezTo>
                    <a:pt x="91" y="514"/>
                    <a:pt x="93" y="512"/>
                    <a:pt x="94" y="511"/>
                  </a:cubicBezTo>
                  <a:cubicBezTo>
                    <a:pt x="94" y="512"/>
                    <a:pt x="96" y="513"/>
                    <a:pt x="96" y="512"/>
                  </a:cubicBezTo>
                  <a:cubicBezTo>
                    <a:pt x="97" y="511"/>
                    <a:pt x="96" y="511"/>
                    <a:pt x="98" y="510"/>
                  </a:cubicBezTo>
                  <a:cubicBezTo>
                    <a:pt x="98" y="509"/>
                    <a:pt x="99" y="509"/>
                    <a:pt x="100" y="509"/>
                  </a:cubicBezTo>
                  <a:cubicBezTo>
                    <a:pt x="102" y="508"/>
                    <a:pt x="101" y="507"/>
                    <a:pt x="102" y="505"/>
                  </a:cubicBezTo>
                  <a:cubicBezTo>
                    <a:pt x="102" y="505"/>
                    <a:pt x="103" y="505"/>
                    <a:pt x="103" y="505"/>
                  </a:cubicBezTo>
                  <a:cubicBezTo>
                    <a:pt x="104" y="504"/>
                    <a:pt x="103" y="504"/>
                    <a:pt x="105" y="503"/>
                  </a:cubicBezTo>
                  <a:cubicBezTo>
                    <a:pt x="105" y="503"/>
                    <a:pt x="106" y="502"/>
                    <a:pt x="107" y="502"/>
                  </a:cubicBezTo>
                  <a:cubicBezTo>
                    <a:pt x="108" y="501"/>
                    <a:pt x="109" y="500"/>
                    <a:pt x="108" y="497"/>
                  </a:cubicBezTo>
                  <a:cubicBezTo>
                    <a:pt x="109" y="498"/>
                    <a:pt x="117" y="496"/>
                    <a:pt x="116" y="494"/>
                  </a:cubicBezTo>
                  <a:cubicBezTo>
                    <a:pt x="116" y="494"/>
                    <a:pt x="114" y="494"/>
                    <a:pt x="114" y="494"/>
                  </a:cubicBezTo>
                  <a:cubicBezTo>
                    <a:pt x="115" y="494"/>
                    <a:pt x="115" y="494"/>
                    <a:pt x="116" y="493"/>
                  </a:cubicBezTo>
                  <a:cubicBezTo>
                    <a:pt x="115" y="493"/>
                    <a:pt x="113" y="493"/>
                    <a:pt x="112" y="493"/>
                  </a:cubicBezTo>
                  <a:cubicBezTo>
                    <a:pt x="112" y="491"/>
                    <a:pt x="116" y="491"/>
                    <a:pt x="117" y="492"/>
                  </a:cubicBezTo>
                  <a:cubicBezTo>
                    <a:pt x="118" y="492"/>
                    <a:pt x="119" y="492"/>
                    <a:pt x="120" y="491"/>
                  </a:cubicBezTo>
                  <a:cubicBezTo>
                    <a:pt x="121" y="490"/>
                    <a:pt x="123" y="489"/>
                    <a:pt x="121" y="489"/>
                  </a:cubicBezTo>
                  <a:cubicBezTo>
                    <a:pt x="121" y="490"/>
                    <a:pt x="123" y="489"/>
                    <a:pt x="122" y="488"/>
                  </a:cubicBezTo>
                  <a:cubicBezTo>
                    <a:pt x="122" y="487"/>
                    <a:pt x="119" y="488"/>
                    <a:pt x="118" y="488"/>
                  </a:cubicBezTo>
                  <a:cubicBezTo>
                    <a:pt x="118" y="485"/>
                    <a:pt x="121" y="488"/>
                    <a:pt x="121" y="486"/>
                  </a:cubicBezTo>
                  <a:cubicBezTo>
                    <a:pt x="121" y="486"/>
                    <a:pt x="121" y="486"/>
                    <a:pt x="120" y="486"/>
                  </a:cubicBezTo>
                  <a:cubicBezTo>
                    <a:pt x="121" y="485"/>
                    <a:pt x="124" y="486"/>
                    <a:pt x="124" y="484"/>
                  </a:cubicBezTo>
                  <a:cubicBezTo>
                    <a:pt x="125" y="484"/>
                    <a:pt x="127" y="485"/>
                    <a:pt x="127" y="484"/>
                  </a:cubicBezTo>
                  <a:cubicBezTo>
                    <a:pt x="127" y="483"/>
                    <a:pt x="130" y="483"/>
                    <a:pt x="129" y="482"/>
                  </a:cubicBezTo>
                  <a:cubicBezTo>
                    <a:pt x="132" y="481"/>
                    <a:pt x="126" y="477"/>
                    <a:pt x="125" y="476"/>
                  </a:cubicBezTo>
                  <a:cubicBezTo>
                    <a:pt x="127" y="476"/>
                    <a:pt x="129" y="479"/>
                    <a:pt x="130" y="477"/>
                  </a:cubicBezTo>
                  <a:cubicBezTo>
                    <a:pt x="130" y="479"/>
                    <a:pt x="135" y="480"/>
                    <a:pt x="133" y="482"/>
                  </a:cubicBezTo>
                  <a:cubicBezTo>
                    <a:pt x="134" y="483"/>
                    <a:pt x="139" y="483"/>
                    <a:pt x="139" y="482"/>
                  </a:cubicBezTo>
                  <a:cubicBezTo>
                    <a:pt x="139" y="482"/>
                    <a:pt x="138" y="479"/>
                    <a:pt x="139" y="480"/>
                  </a:cubicBezTo>
                  <a:cubicBezTo>
                    <a:pt x="140" y="481"/>
                    <a:pt x="141" y="480"/>
                    <a:pt x="142" y="479"/>
                  </a:cubicBezTo>
                  <a:cubicBezTo>
                    <a:pt x="142" y="480"/>
                    <a:pt x="142" y="480"/>
                    <a:pt x="141" y="481"/>
                  </a:cubicBezTo>
                  <a:cubicBezTo>
                    <a:pt x="144" y="482"/>
                    <a:pt x="144" y="478"/>
                    <a:pt x="144" y="476"/>
                  </a:cubicBezTo>
                  <a:cubicBezTo>
                    <a:pt x="145" y="477"/>
                    <a:pt x="145" y="478"/>
                    <a:pt x="145" y="479"/>
                  </a:cubicBezTo>
                  <a:cubicBezTo>
                    <a:pt x="145" y="478"/>
                    <a:pt x="145" y="478"/>
                    <a:pt x="145" y="477"/>
                  </a:cubicBezTo>
                  <a:cubicBezTo>
                    <a:pt x="146" y="477"/>
                    <a:pt x="146" y="478"/>
                    <a:pt x="146" y="479"/>
                  </a:cubicBezTo>
                  <a:cubicBezTo>
                    <a:pt x="146" y="477"/>
                    <a:pt x="145" y="476"/>
                    <a:pt x="146" y="475"/>
                  </a:cubicBezTo>
                  <a:cubicBezTo>
                    <a:pt x="146" y="475"/>
                    <a:pt x="147" y="474"/>
                    <a:pt x="147" y="474"/>
                  </a:cubicBezTo>
                  <a:cubicBezTo>
                    <a:pt x="147" y="473"/>
                    <a:pt x="149" y="471"/>
                    <a:pt x="148" y="470"/>
                  </a:cubicBezTo>
                  <a:cubicBezTo>
                    <a:pt x="150" y="470"/>
                    <a:pt x="146" y="474"/>
                    <a:pt x="149" y="474"/>
                  </a:cubicBezTo>
                  <a:cubicBezTo>
                    <a:pt x="152" y="474"/>
                    <a:pt x="149" y="471"/>
                    <a:pt x="149" y="470"/>
                  </a:cubicBezTo>
                  <a:cubicBezTo>
                    <a:pt x="150" y="469"/>
                    <a:pt x="151" y="471"/>
                    <a:pt x="151" y="470"/>
                  </a:cubicBezTo>
                  <a:cubicBezTo>
                    <a:pt x="152" y="469"/>
                    <a:pt x="152" y="469"/>
                    <a:pt x="152" y="468"/>
                  </a:cubicBezTo>
                  <a:cubicBezTo>
                    <a:pt x="151" y="466"/>
                    <a:pt x="151" y="464"/>
                    <a:pt x="149" y="463"/>
                  </a:cubicBezTo>
                  <a:cubicBezTo>
                    <a:pt x="148" y="461"/>
                    <a:pt x="145" y="461"/>
                    <a:pt x="144" y="458"/>
                  </a:cubicBezTo>
                  <a:cubicBezTo>
                    <a:pt x="147" y="459"/>
                    <a:pt x="148" y="459"/>
                    <a:pt x="149" y="456"/>
                  </a:cubicBezTo>
                  <a:cubicBezTo>
                    <a:pt x="151" y="457"/>
                    <a:pt x="149" y="458"/>
                    <a:pt x="149" y="459"/>
                  </a:cubicBezTo>
                  <a:cubicBezTo>
                    <a:pt x="150" y="460"/>
                    <a:pt x="153" y="459"/>
                    <a:pt x="154" y="458"/>
                  </a:cubicBezTo>
                  <a:cubicBezTo>
                    <a:pt x="156" y="455"/>
                    <a:pt x="152" y="452"/>
                    <a:pt x="151" y="449"/>
                  </a:cubicBezTo>
                  <a:cubicBezTo>
                    <a:pt x="151" y="444"/>
                    <a:pt x="154" y="443"/>
                    <a:pt x="157" y="443"/>
                  </a:cubicBezTo>
                  <a:cubicBezTo>
                    <a:pt x="162" y="443"/>
                    <a:pt x="157" y="449"/>
                    <a:pt x="158" y="451"/>
                  </a:cubicBezTo>
                  <a:cubicBezTo>
                    <a:pt x="157" y="449"/>
                    <a:pt x="156" y="441"/>
                    <a:pt x="154" y="449"/>
                  </a:cubicBezTo>
                  <a:cubicBezTo>
                    <a:pt x="154" y="452"/>
                    <a:pt x="156" y="454"/>
                    <a:pt x="156" y="457"/>
                  </a:cubicBezTo>
                  <a:cubicBezTo>
                    <a:pt x="156" y="460"/>
                    <a:pt x="157" y="460"/>
                    <a:pt x="157" y="462"/>
                  </a:cubicBezTo>
                  <a:cubicBezTo>
                    <a:pt x="156" y="463"/>
                    <a:pt x="155" y="464"/>
                    <a:pt x="156" y="466"/>
                  </a:cubicBezTo>
                  <a:cubicBezTo>
                    <a:pt x="157" y="469"/>
                    <a:pt x="158" y="466"/>
                    <a:pt x="159" y="468"/>
                  </a:cubicBezTo>
                  <a:cubicBezTo>
                    <a:pt x="158" y="469"/>
                    <a:pt x="157" y="472"/>
                    <a:pt x="160" y="470"/>
                  </a:cubicBezTo>
                  <a:cubicBezTo>
                    <a:pt x="159" y="471"/>
                    <a:pt x="160" y="474"/>
                    <a:pt x="161" y="474"/>
                  </a:cubicBezTo>
                  <a:cubicBezTo>
                    <a:pt x="162" y="474"/>
                    <a:pt x="162" y="472"/>
                    <a:pt x="163" y="472"/>
                  </a:cubicBezTo>
                  <a:cubicBezTo>
                    <a:pt x="163" y="473"/>
                    <a:pt x="162" y="475"/>
                    <a:pt x="164" y="475"/>
                  </a:cubicBezTo>
                  <a:cubicBezTo>
                    <a:pt x="165" y="475"/>
                    <a:pt x="164" y="473"/>
                    <a:pt x="164" y="472"/>
                  </a:cubicBezTo>
                  <a:cubicBezTo>
                    <a:pt x="164" y="474"/>
                    <a:pt x="166" y="474"/>
                    <a:pt x="166" y="475"/>
                  </a:cubicBezTo>
                  <a:cubicBezTo>
                    <a:pt x="167" y="477"/>
                    <a:pt x="169" y="476"/>
                    <a:pt x="168" y="474"/>
                  </a:cubicBezTo>
                  <a:cubicBezTo>
                    <a:pt x="169" y="475"/>
                    <a:pt x="171" y="475"/>
                    <a:pt x="169" y="473"/>
                  </a:cubicBezTo>
                  <a:cubicBezTo>
                    <a:pt x="170" y="473"/>
                    <a:pt x="170" y="473"/>
                    <a:pt x="171" y="473"/>
                  </a:cubicBezTo>
                  <a:cubicBezTo>
                    <a:pt x="171" y="473"/>
                    <a:pt x="171" y="476"/>
                    <a:pt x="171" y="475"/>
                  </a:cubicBezTo>
                  <a:cubicBezTo>
                    <a:pt x="172" y="476"/>
                    <a:pt x="171" y="476"/>
                    <a:pt x="171" y="476"/>
                  </a:cubicBezTo>
                  <a:cubicBezTo>
                    <a:pt x="170" y="477"/>
                    <a:pt x="173" y="475"/>
                    <a:pt x="171" y="477"/>
                  </a:cubicBezTo>
                  <a:cubicBezTo>
                    <a:pt x="174" y="477"/>
                    <a:pt x="175" y="478"/>
                    <a:pt x="176" y="480"/>
                  </a:cubicBezTo>
                  <a:cubicBezTo>
                    <a:pt x="177" y="481"/>
                    <a:pt x="177" y="484"/>
                    <a:pt x="179" y="485"/>
                  </a:cubicBezTo>
                  <a:cubicBezTo>
                    <a:pt x="180" y="486"/>
                    <a:pt x="183" y="485"/>
                    <a:pt x="184" y="484"/>
                  </a:cubicBezTo>
                  <a:cubicBezTo>
                    <a:pt x="185" y="483"/>
                    <a:pt x="186" y="478"/>
                    <a:pt x="186" y="476"/>
                  </a:cubicBezTo>
                  <a:cubicBezTo>
                    <a:pt x="186" y="474"/>
                    <a:pt x="188" y="472"/>
                    <a:pt x="188" y="469"/>
                  </a:cubicBezTo>
                  <a:cubicBezTo>
                    <a:pt x="188" y="466"/>
                    <a:pt x="186" y="464"/>
                    <a:pt x="185" y="462"/>
                  </a:cubicBezTo>
                  <a:cubicBezTo>
                    <a:pt x="184" y="460"/>
                    <a:pt x="183" y="458"/>
                    <a:pt x="184" y="456"/>
                  </a:cubicBezTo>
                  <a:cubicBezTo>
                    <a:pt x="185" y="454"/>
                    <a:pt x="187" y="454"/>
                    <a:pt x="189" y="453"/>
                  </a:cubicBezTo>
                  <a:cubicBezTo>
                    <a:pt x="190" y="451"/>
                    <a:pt x="191" y="449"/>
                    <a:pt x="189" y="447"/>
                  </a:cubicBezTo>
                  <a:cubicBezTo>
                    <a:pt x="188" y="446"/>
                    <a:pt x="188" y="444"/>
                    <a:pt x="190" y="444"/>
                  </a:cubicBezTo>
                  <a:cubicBezTo>
                    <a:pt x="192" y="443"/>
                    <a:pt x="194" y="444"/>
                    <a:pt x="196" y="444"/>
                  </a:cubicBezTo>
                  <a:cubicBezTo>
                    <a:pt x="198" y="443"/>
                    <a:pt x="200" y="441"/>
                    <a:pt x="203" y="439"/>
                  </a:cubicBezTo>
                  <a:cubicBezTo>
                    <a:pt x="204" y="438"/>
                    <a:pt x="206" y="436"/>
                    <a:pt x="207" y="434"/>
                  </a:cubicBezTo>
                  <a:cubicBezTo>
                    <a:pt x="207" y="431"/>
                    <a:pt x="205" y="428"/>
                    <a:pt x="207" y="425"/>
                  </a:cubicBezTo>
                  <a:cubicBezTo>
                    <a:pt x="210" y="421"/>
                    <a:pt x="209" y="418"/>
                    <a:pt x="206" y="413"/>
                  </a:cubicBezTo>
                  <a:cubicBezTo>
                    <a:pt x="203" y="409"/>
                    <a:pt x="201" y="406"/>
                    <a:pt x="200" y="401"/>
                  </a:cubicBezTo>
                  <a:cubicBezTo>
                    <a:pt x="198" y="396"/>
                    <a:pt x="205" y="396"/>
                    <a:pt x="208" y="396"/>
                  </a:cubicBezTo>
                  <a:cubicBezTo>
                    <a:pt x="211" y="396"/>
                    <a:pt x="211" y="396"/>
                    <a:pt x="212" y="393"/>
                  </a:cubicBezTo>
                  <a:cubicBezTo>
                    <a:pt x="213" y="391"/>
                    <a:pt x="215" y="389"/>
                    <a:pt x="215" y="386"/>
                  </a:cubicBezTo>
                  <a:cubicBezTo>
                    <a:pt x="215" y="382"/>
                    <a:pt x="213" y="379"/>
                    <a:pt x="210" y="377"/>
                  </a:cubicBezTo>
                  <a:cubicBezTo>
                    <a:pt x="208" y="376"/>
                    <a:pt x="206" y="375"/>
                    <a:pt x="204" y="375"/>
                  </a:cubicBezTo>
                  <a:cubicBezTo>
                    <a:pt x="199" y="372"/>
                    <a:pt x="196" y="366"/>
                    <a:pt x="198" y="359"/>
                  </a:cubicBezTo>
                  <a:cubicBezTo>
                    <a:pt x="198" y="356"/>
                    <a:pt x="199" y="352"/>
                    <a:pt x="200" y="348"/>
                  </a:cubicBezTo>
                  <a:cubicBezTo>
                    <a:pt x="200" y="345"/>
                    <a:pt x="199" y="344"/>
                    <a:pt x="198" y="341"/>
                  </a:cubicBezTo>
                  <a:cubicBezTo>
                    <a:pt x="196" y="339"/>
                    <a:pt x="194" y="335"/>
                    <a:pt x="194" y="332"/>
                  </a:cubicBezTo>
                  <a:cubicBezTo>
                    <a:pt x="194" y="330"/>
                    <a:pt x="195" y="327"/>
                    <a:pt x="195" y="325"/>
                  </a:cubicBezTo>
                  <a:cubicBezTo>
                    <a:pt x="195" y="321"/>
                    <a:pt x="196" y="320"/>
                    <a:pt x="196" y="317"/>
                  </a:cubicBezTo>
                  <a:cubicBezTo>
                    <a:pt x="196" y="314"/>
                    <a:pt x="195" y="312"/>
                    <a:pt x="194" y="310"/>
                  </a:cubicBezTo>
                  <a:cubicBezTo>
                    <a:pt x="193" y="309"/>
                    <a:pt x="191" y="306"/>
                    <a:pt x="192" y="304"/>
                  </a:cubicBezTo>
                  <a:cubicBezTo>
                    <a:pt x="193" y="302"/>
                    <a:pt x="196" y="299"/>
                    <a:pt x="196" y="297"/>
                  </a:cubicBezTo>
                  <a:cubicBezTo>
                    <a:pt x="197" y="295"/>
                    <a:pt x="195" y="294"/>
                    <a:pt x="196" y="292"/>
                  </a:cubicBezTo>
                  <a:cubicBezTo>
                    <a:pt x="198" y="289"/>
                    <a:pt x="200" y="288"/>
                    <a:pt x="201" y="286"/>
                  </a:cubicBezTo>
                  <a:cubicBezTo>
                    <a:pt x="204" y="283"/>
                    <a:pt x="206" y="280"/>
                    <a:pt x="209" y="278"/>
                  </a:cubicBezTo>
                  <a:cubicBezTo>
                    <a:pt x="211" y="276"/>
                    <a:pt x="214" y="274"/>
                    <a:pt x="218" y="273"/>
                  </a:cubicBezTo>
                  <a:cubicBezTo>
                    <a:pt x="223" y="272"/>
                    <a:pt x="229" y="273"/>
                    <a:pt x="235" y="274"/>
                  </a:cubicBezTo>
                  <a:cubicBezTo>
                    <a:pt x="240" y="275"/>
                    <a:pt x="245" y="275"/>
                    <a:pt x="246" y="268"/>
                  </a:cubicBezTo>
                  <a:cubicBezTo>
                    <a:pt x="247" y="263"/>
                    <a:pt x="246" y="258"/>
                    <a:pt x="242" y="256"/>
                  </a:cubicBezTo>
                  <a:cubicBezTo>
                    <a:pt x="238" y="255"/>
                    <a:pt x="234" y="253"/>
                    <a:pt x="237" y="248"/>
                  </a:cubicBezTo>
                  <a:cubicBezTo>
                    <a:pt x="240" y="243"/>
                    <a:pt x="244" y="239"/>
                    <a:pt x="248" y="235"/>
                  </a:cubicBezTo>
                  <a:cubicBezTo>
                    <a:pt x="250" y="233"/>
                    <a:pt x="252" y="230"/>
                    <a:pt x="253" y="227"/>
                  </a:cubicBezTo>
                  <a:cubicBezTo>
                    <a:pt x="255" y="224"/>
                    <a:pt x="255" y="221"/>
                    <a:pt x="255" y="217"/>
                  </a:cubicBezTo>
                  <a:cubicBezTo>
                    <a:pt x="255" y="210"/>
                    <a:pt x="259" y="205"/>
                    <a:pt x="257" y="198"/>
                  </a:cubicBezTo>
                  <a:cubicBezTo>
                    <a:pt x="256" y="196"/>
                    <a:pt x="254" y="193"/>
                    <a:pt x="256" y="192"/>
                  </a:cubicBezTo>
                  <a:cubicBezTo>
                    <a:pt x="259" y="190"/>
                    <a:pt x="263" y="191"/>
                    <a:pt x="266" y="190"/>
                  </a:cubicBezTo>
                  <a:cubicBezTo>
                    <a:pt x="269" y="189"/>
                    <a:pt x="280" y="188"/>
                    <a:pt x="279" y="182"/>
                  </a:cubicBezTo>
                  <a:cubicBezTo>
                    <a:pt x="279" y="181"/>
                    <a:pt x="277" y="178"/>
                    <a:pt x="278" y="176"/>
                  </a:cubicBezTo>
                  <a:cubicBezTo>
                    <a:pt x="280" y="175"/>
                    <a:pt x="282" y="174"/>
                    <a:pt x="284" y="172"/>
                  </a:cubicBezTo>
                  <a:cubicBezTo>
                    <a:pt x="288" y="168"/>
                    <a:pt x="292" y="163"/>
                    <a:pt x="296" y="159"/>
                  </a:cubicBezTo>
                  <a:cubicBezTo>
                    <a:pt x="298" y="157"/>
                    <a:pt x="302" y="156"/>
                    <a:pt x="302" y="153"/>
                  </a:cubicBezTo>
                  <a:cubicBezTo>
                    <a:pt x="302" y="151"/>
                    <a:pt x="301" y="149"/>
                    <a:pt x="300" y="147"/>
                  </a:cubicBezTo>
                  <a:cubicBezTo>
                    <a:pt x="299" y="145"/>
                    <a:pt x="291" y="137"/>
                    <a:pt x="298" y="137"/>
                  </a:cubicBezTo>
                  <a:cubicBezTo>
                    <a:pt x="304" y="136"/>
                    <a:pt x="306" y="132"/>
                    <a:pt x="309" y="126"/>
                  </a:cubicBezTo>
                  <a:cubicBezTo>
                    <a:pt x="311" y="120"/>
                    <a:pt x="316" y="120"/>
                    <a:pt x="321" y="116"/>
                  </a:cubicBezTo>
                  <a:cubicBezTo>
                    <a:pt x="324" y="114"/>
                    <a:pt x="324" y="115"/>
                    <a:pt x="327" y="115"/>
                  </a:cubicBezTo>
                  <a:cubicBezTo>
                    <a:pt x="330" y="116"/>
                    <a:pt x="333" y="117"/>
                    <a:pt x="335" y="118"/>
                  </a:cubicBezTo>
                  <a:cubicBezTo>
                    <a:pt x="340" y="120"/>
                    <a:pt x="344" y="113"/>
                    <a:pt x="343" y="108"/>
                  </a:cubicBezTo>
                  <a:cubicBezTo>
                    <a:pt x="343" y="106"/>
                    <a:pt x="342" y="100"/>
                    <a:pt x="344" y="98"/>
                  </a:cubicBezTo>
                  <a:cubicBezTo>
                    <a:pt x="345" y="96"/>
                    <a:pt x="350" y="97"/>
                    <a:pt x="352" y="97"/>
                  </a:cubicBezTo>
                  <a:cubicBezTo>
                    <a:pt x="355" y="98"/>
                    <a:pt x="358" y="98"/>
                    <a:pt x="361" y="99"/>
                  </a:cubicBezTo>
                  <a:cubicBezTo>
                    <a:pt x="365" y="99"/>
                    <a:pt x="369" y="100"/>
                    <a:pt x="372" y="101"/>
                  </a:cubicBezTo>
                  <a:cubicBezTo>
                    <a:pt x="378" y="102"/>
                    <a:pt x="386" y="106"/>
                    <a:pt x="391" y="103"/>
                  </a:cubicBezTo>
                  <a:cubicBezTo>
                    <a:pt x="392" y="103"/>
                    <a:pt x="396" y="100"/>
                    <a:pt x="394" y="99"/>
                  </a:cubicBezTo>
                  <a:cubicBezTo>
                    <a:pt x="393" y="98"/>
                    <a:pt x="391" y="98"/>
                    <a:pt x="389" y="97"/>
                  </a:cubicBezTo>
                  <a:cubicBezTo>
                    <a:pt x="393" y="96"/>
                    <a:pt x="396" y="92"/>
                    <a:pt x="397" y="88"/>
                  </a:cubicBezTo>
                  <a:cubicBezTo>
                    <a:pt x="398" y="84"/>
                    <a:pt x="394" y="81"/>
                    <a:pt x="392" y="79"/>
                  </a:cubicBezTo>
                  <a:cubicBezTo>
                    <a:pt x="394" y="78"/>
                    <a:pt x="397" y="78"/>
                    <a:pt x="400" y="78"/>
                  </a:cubicBezTo>
                  <a:cubicBezTo>
                    <a:pt x="401" y="78"/>
                    <a:pt x="403" y="79"/>
                    <a:pt x="404" y="78"/>
                  </a:cubicBezTo>
                  <a:cubicBezTo>
                    <a:pt x="405" y="78"/>
                    <a:pt x="406" y="77"/>
                    <a:pt x="408" y="76"/>
                  </a:cubicBezTo>
                  <a:cubicBezTo>
                    <a:pt x="409" y="76"/>
                    <a:pt x="411" y="77"/>
                    <a:pt x="413" y="77"/>
                  </a:cubicBezTo>
                  <a:cubicBezTo>
                    <a:pt x="418" y="78"/>
                    <a:pt x="413" y="72"/>
                    <a:pt x="416" y="70"/>
                  </a:cubicBezTo>
                  <a:cubicBezTo>
                    <a:pt x="420" y="67"/>
                    <a:pt x="425" y="69"/>
                    <a:pt x="430" y="72"/>
                  </a:cubicBezTo>
                  <a:cubicBezTo>
                    <a:pt x="435" y="75"/>
                    <a:pt x="440" y="79"/>
                    <a:pt x="443" y="81"/>
                  </a:cubicBezTo>
                  <a:cubicBezTo>
                    <a:pt x="445" y="83"/>
                    <a:pt x="447" y="85"/>
                    <a:pt x="448" y="87"/>
                  </a:cubicBezTo>
                  <a:cubicBezTo>
                    <a:pt x="450" y="90"/>
                    <a:pt x="452" y="90"/>
                    <a:pt x="455" y="91"/>
                  </a:cubicBezTo>
                  <a:cubicBezTo>
                    <a:pt x="461" y="92"/>
                    <a:pt x="467" y="93"/>
                    <a:pt x="473" y="93"/>
                  </a:cubicBezTo>
                  <a:cubicBezTo>
                    <a:pt x="476" y="93"/>
                    <a:pt x="480" y="92"/>
                    <a:pt x="483" y="91"/>
                  </a:cubicBezTo>
                  <a:cubicBezTo>
                    <a:pt x="485" y="90"/>
                    <a:pt x="484" y="87"/>
                    <a:pt x="487" y="87"/>
                  </a:cubicBezTo>
                  <a:cubicBezTo>
                    <a:pt x="492" y="87"/>
                    <a:pt x="497" y="91"/>
                    <a:pt x="502" y="92"/>
                  </a:cubicBezTo>
                  <a:cubicBezTo>
                    <a:pt x="506" y="92"/>
                    <a:pt x="508" y="94"/>
                    <a:pt x="511" y="96"/>
                  </a:cubicBezTo>
                  <a:cubicBezTo>
                    <a:pt x="514" y="98"/>
                    <a:pt x="513" y="95"/>
                    <a:pt x="515" y="95"/>
                  </a:cubicBezTo>
                  <a:cubicBezTo>
                    <a:pt x="521" y="94"/>
                    <a:pt x="518" y="88"/>
                    <a:pt x="521" y="86"/>
                  </a:cubicBezTo>
                  <a:cubicBezTo>
                    <a:pt x="524" y="84"/>
                    <a:pt x="527" y="84"/>
                    <a:pt x="530" y="85"/>
                  </a:cubicBezTo>
                  <a:cubicBezTo>
                    <a:pt x="531" y="85"/>
                    <a:pt x="533" y="82"/>
                    <a:pt x="534" y="81"/>
                  </a:cubicBezTo>
                  <a:cubicBezTo>
                    <a:pt x="535" y="79"/>
                    <a:pt x="533" y="77"/>
                    <a:pt x="533" y="75"/>
                  </a:cubicBezTo>
                  <a:cubicBezTo>
                    <a:pt x="532" y="72"/>
                    <a:pt x="531" y="70"/>
                    <a:pt x="533" y="67"/>
                  </a:cubicBezTo>
                  <a:cubicBezTo>
                    <a:pt x="534" y="65"/>
                    <a:pt x="533" y="60"/>
                    <a:pt x="535" y="59"/>
                  </a:cubicBezTo>
                  <a:cubicBezTo>
                    <a:pt x="537" y="58"/>
                    <a:pt x="536" y="56"/>
                    <a:pt x="536" y="55"/>
                  </a:cubicBezTo>
                  <a:cubicBezTo>
                    <a:pt x="535" y="53"/>
                    <a:pt x="540" y="53"/>
                    <a:pt x="541" y="52"/>
                  </a:cubicBezTo>
                  <a:cubicBezTo>
                    <a:pt x="543" y="51"/>
                    <a:pt x="544" y="49"/>
                    <a:pt x="546" y="47"/>
                  </a:cubicBezTo>
                  <a:cubicBezTo>
                    <a:pt x="549" y="44"/>
                    <a:pt x="554" y="43"/>
                    <a:pt x="558" y="45"/>
                  </a:cubicBezTo>
                  <a:cubicBezTo>
                    <a:pt x="559" y="45"/>
                    <a:pt x="569" y="45"/>
                    <a:pt x="568" y="43"/>
                  </a:cubicBezTo>
                  <a:cubicBezTo>
                    <a:pt x="571" y="42"/>
                    <a:pt x="574" y="40"/>
                    <a:pt x="577" y="39"/>
                  </a:cubicBezTo>
                  <a:cubicBezTo>
                    <a:pt x="580" y="39"/>
                    <a:pt x="583" y="40"/>
                    <a:pt x="586" y="42"/>
                  </a:cubicBezTo>
                  <a:cubicBezTo>
                    <a:pt x="589" y="45"/>
                    <a:pt x="592" y="45"/>
                    <a:pt x="595" y="47"/>
                  </a:cubicBezTo>
                  <a:cubicBezTo>
                    <a:pt x="596" y="50"/>
                    <a:pt x="597" y="50"/>
                    <a:pt x="598" y="50"/>
                  </a:cubicBezTo>
                  <a:cubicBezTo>
                    <a:pt x="600" y="51"/>
                    <a:pt x="601" y="51"/>
                    <a:pt x="603" y="52"/>
                  </a:cubicBezTo>
                  <a:cubicBezTo>
                    <a:pt x="608" y="53"/>
                    <a:pt x="613" y="53"/>
                    <a:pt x="618" y="58"/>
                  </a:cubicBezTo>
                  <a:cubicBezTo>
                    <a:pt x="622" y="63"/>
                    <a:pt x="620" y="64"/>
                    <a:pt x="615" y="67"/>
                  </a:cubicBezTo>
                  <a:cubicBezTo>
                    <a:pt x="610" y="72"/>
                    <a:pt x="610" y="75"/>
                    <a:pt x="615" y="79"/>
                  </a:cubicBezTo>
                  <a:cubicBezTo>
                    <a:pt x="616" y="81"/>
                    <a:pt x="624" y="75"/>
                    <a:pt x="622" y="70"/>
                  </a:cubicBezTo>
                  <a:cubicBezTo>
                    <a:pt x="622" y="68"/>
                    <a:pt x="635" y="66"/>
                    <a:pt x="636" y="66"/>
                  </a:cubicBezTo>
                  <a:cubicBezTo>
                    <a:pt x="639" y="65"/>
                    <a:pt x="641" y="63"/>
                    <a:pt x="642" y="60"/>
                  </a:cubicBezTo>
                  <a:cubicBezTo>
                    <a:pt x="643" y="56"/>
                    <a:pt x="641" y="57"/>
                    <a:pt x="639" y="56"/>
                  </a:cubicBezTo>
                  <a:cubicBezTo>
                    <a:pt x="643" y="54"/>
                    <a:pt x="646" y="58"/>
                    <a:pt x="649" y="59"/>
                  </a:cubicBezTo>
                  <a:cubicBezTo>
                    <a:pt x="651" y="60"/>
                    <a:pt x="654" y="60"/>
                    <a:pt x="657" y="60"/>
                  </a:cubicBezTo>
                  <a:cubicBezTo>
                    <a:pt x="659" y="60"/>
                    <a:pt x="661" y="57"/>
                    <a:pt x="659" y="55"/>
                  </a:cubicBezTo>
                  <a:close/>
                  <a:moveTo>
                    <a:pt x="280" y="130"/>
                  </a:moveTo>
                  <a:cubicBezTo>
                    <a:pt x="281" y="130"/>
                    <a:pt x="281" y="130"/>
                    <a:pt x="282" y="131"/>
                  </a:cubicBezTo>
                  <a:cubicBezTo>
                    <a:pt x="281" y="131"/>
                    <a:pt x="281" y="130"/>
                    <a:pt x="280" y="130"/>
                  </a:cubicBezTo>
                  <a:close/>
                  <a:moveTo>
                    <a:pt x="231" y="169"/>
                  </a:moveTo>
                  <a:cubicBezTo>
                    <a:pt x="233" y="169"/>
                    <a:pt x="237" y="168"/>
                    <a:pt x="238" y="168"/>
                  </a:cubicBezTo>
                  <a:cubicBezTo>
                    <a:pt x="236" y="168"/>
                    <a:pt x="233" y="169"/>
                    <a:pt x="231" y="169"/>
                  </a:cubicBezTo>
                  <a:close/>
                  <a:moveTo>
                    <a:pt x="12" y="374"/>
                  </a:moveTo>
                  <a:cubicBezTo>
                    <a:pt x="13" y="374"/>
                    <a:pt x="12" y="373"/>
                    <a:pt x="11" y="373"/>
                  </a:cubicBezTo>
                  <a:cubicBezTo>
                    <a:pt x="12" y="373"/>
                    <a:pt x="13" y="373"/>
                    <a:pt x="15" y="374"/>
                  </a:cubicBezTo>
                  <a:cubicBezTo>
                    <a:pt x="14" y="375"/>
                    <a:pt x="13" y="375"/>
                    <a:pt x="12" y="374"/>
                  </a:cubicBezTo>
                  <a:close/>
                  <a:moveTo>
                    <a:pt x="10" y="384"/>
                  </a:moveTo>
                  <a:cubicBezTo>
                    <a:pt x="10" y="384"/>
                    <a:pt x="11" y="385"/>
                    <a:pt x="11" y="385"/>
                  </a:cubicBezTo>
                  <a:cubicBezTo>
                    <a:pt x="11" y="385"/>
                    <a:pt x="8" y="384"/>
                    <a:pt x="8" y="384"/>
                  </a:cubicBezTo>
                  <a:cubicBezTo>
                    <a:pt x="9" y="384"/>
                    <a:pt x="11" y="383"/>
                    <a:pt x="12" y="383"/>
                  </a:cubicBezTo>
                  <a:cubicBezTo>
                    <a:pt x="14" y="382"/>
                    <a:pt x="18" y="382"/>
                    <a:pt x="20" y="383"/>
                  </a:cubicBezTo>
                  <a:cubicBezTo>
                    <a:pt x="17" y="384"/>
                    <a:pt x="13" y="383"/>
                    <a:pt x="10" y="384"/>
                  </a:cubicBezTo>
                  <a:close/>
                  <a:moveTo>
                    <a:pt x="17" y="380"/>
                  </a:moveTo>
                  <a:cubicBezTo>
                    <a:pt x="16" y="380"/>
                    <a:pt x="16" y="379"/>
                    <a:pt x="15" y="379"/>
                  </a:cubicBezTo>
                  <a:cubicBezTo>
                    <a:pt x="17" y="380"/>
                    <a:pt x="24" y="375"/>
                    <a:pt x="24" y="379"/>
                  </a:cubicBezTo>
                  <a:cubicBezTo>
                    <a:pt x="22" y="378"/>
                    <a:pt x="20" y="380"/>
                    <a:pt x="17" y="380"/>
                  </a:cubicBezTo>
                  <a:close/>
                  <a:moveTo>
                    <a:pt x="52" y="402"/>
                  </a:moveTo>
                  <a:cubicBezTo>
                    <a:pt x="52" y="402"/>
                    <a:pt x="53" y="401"/>
                    <a:pt x="53" y="401"/>
                  </a:cubicBezTo>
                  <a:cubicBezTo>
                    <a:pt x="53" y="401"/>
                    <a:pt x="52" y="402"/>
                    <a:pt x="52" y="402"/>
                  </a:cubicBezTo>
                  <a:close/>
                  <a:moveTo>
                    <a:pt x="112" y="307"/>
                  </a:moveTo>
                  <a:cubicBezTo>
                    <a:pt x="112" y="307"/>
                    <a:pt x="112" y="306"/>
                    <a:pt x="113" y="305"/>
                  </a:cubicBezTo>
                  <a:cubicBezTo>
                    <a:pt x="112" y="306"/>
                    <a:pt x="112" y="306"/>
                    <a:pt x="112" y="307"/>
                  </a:cubicBezTo>
                  <a:close/>
                  <a:moveTo>
                    <a:pt x="189" y="233"/>
                  </a:moveTo>
                  <a:cubicBezTo>
                    <a:pt x="188" y="234"/>
                    <a:pt x="187" y="235"/>
                    <a:pt x="186" y="235"/>
                  </a:cubicBezTo>
                  <a:cubicBezTo>
                    <a:pt x="187" y="235"/>
                    <a:pt x="188" y="233"/>
                    <a:pt x="189" y="233"/>
                  </a:cubicBezTo>
                  <a:close/>
                  <a:moveTo>
                    <a:pt x="177" y="241"/>
                  </a:moveTo>
                  <a:cubicBezTo>
                    <a:pt x="179" y="240"/>
                    <a:pt x="182" y="240"/>
                    <a:pt x="182" y="240"/>
                  </a:cubicBezTo>
                  <a:cubicBezTo>
                    <a:pt x="181" y="241"/>
                    <a:pt x="179" y="241"/>
                    <a:pt x="177" y="241"/>
                  </a:cubicBezTo>
                  <a:close/>
                  <a:moveTo>
                    <a:pt x="196" y="238"/>
                  </a:moveTo>
                  <a:cubicBezTo>
                    <a:pt x="194" y="238"/>
                    <a:pt x="193" y="238"/>
                    <a:pt x="191" y="239"/>
                  </a:cubicBezTo>
                  <a:cubicBezTo>
                    <a:pt x="190" y="239"/>
                    <a:pt x="188" y="239"/>
                    <a:pt x="186" y="240"/>
                  </a:cubicBezTo>
                  <a:cubicBezTo>
                    <a:pt x="187" y="239"/>
                    <a:pt x="187" y="239"/>
                    <a:pt x="188" y="239"/>
                  </a:cubicBezTo>
                  <a:cubicBezTo>
                    <a:pt x="192" y="237"/>
                    <a:pt x="199" y="236"/>
                    <a:pt x="203" y="240"/>
                  </a:cubicBezTo>
                  <a:cubicBezTo>
                    <a:pt x="201" y="240"/>
                    <a:pt x="198" y="239"/>
                    <a:pt x="196" y="238"/>
                  </a:cubicBezTo>
                  <a:close/>
                  <a:moveTo>
                    <a:pt x="391" y="58"/>
                  </a:moveTo>
                  <a:cubicBezTo>
                    <a:pt x="390" y="58"/>
                    <a:pt x="388" y="58"/>
                    <a:pt x="386" y="57"/>
                  </a:cubicBezTo>
                  <a:cubicBezTo>
                    <a:pt x="388" y="58"/>
                    <a:pt x="390" y="58"/>
                    <a:pt x="391" y="58"/>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79">
              <a:extLst>
                <a:ext uri="{FF2B5EF4-FFF2-40B4-BE49-F238E27FC236}">
                  <a16:creationId xmlns:a16="http://schemas.microsoft.com/office/drawing/2014/main" id="{B1F97F79-F630-22E0-3EDF-5706CCF1E9BA}"/>
                </a:ext>
              </a:extLst>
            </p:cNvPr>
            <p:cNvSpPr>
              <a:spLocks/>
            </p:cNvSpPr>
            <p:nvPr/>
          </p:nvSpPr>
          <p:spPr bwMode="auto">
            <a:xfrm>
              <a:off x="2381160" y="2905117"/>
              <a:ext cx="63753" cy="33373"/>
            </a:xfrm>
            <a:custGeom>
              <a:avLst/>
              <a:gdLst>
                <a:gd name="T0" fmla="*/ 7 w 23"/>
                <a:gd name="T1" fmla="*/ 4 h 12"/>
                <a:gd name="T2" fmla="*/ 11 w 23"/>
                <a:gd name="T3" fmla="*/ 5 h 12"/>
                <a:gd name="T4" fmla="*/ 0 w 23"/>
                <a:gd name="T5" fmla="*/ 8 h 12"/>
                <a:gd name="T6" fmla="*/ 12 w 23"/>
                <a:gd name="T7" fmla="*/ 8 h 12"/>
                <a:gd name="T8" fmla="*/ 20 w 23"/>
                <a:gd name="T9" fmla="*/ 7 h 12"/>
                <a:gd name="T10" fmla="*/ 23 w 23"/>
                <a:gd name="T11" fmla="*/ 5 h 12"/>
                <a:gd name="T12" fmla="*/ 22 w 23"/>
                <a:gd name="T13" fmla="*/ 4 h 12"/>
                <a:gd name="T14" fmla="*/ 21 w 23"/>
                <a:gd name="T15" fmla="*/ 3 h 12"/>
                <a:gd name="T16" fmla="*/ 18 w 23"/>
                <a:gd name="T17" fmla="*/ 4 h 12"/>
                <a:gd name="T18" fmla="*/ 16 w 23"/>
                <a:gd name="T19" fmla="*/ 2 h 12"/>
                <a:gd name="T20" fmla="*/ 14 w 23"/>
                <a:gd name="T21" fmla="*/ 2 h 12"/>
                <a:gd name="T22" fmla="*/ 7 w 23"/>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2">
                  <a:moveTo>
                    <a:pt x="7" y="4"/>
                  </a:moveTo>
                  <a:cubicBezTo>
                    <a:pt x="8" y="4"/>
                    <a:pt x="10" y="4"/>
                    <a:pt x="11" y="5"/>
                  </a:cubicBezTo>
                  <a:cubicBezTo>
                    <a:pt x="9" y="5"/>
                    <a:pt x="0" y="4"/>
                    <a:pt x="0" y="8"/>
                  </a:cubicBezTo>
                  <a:cubicBezTo>
                    <a:pt x="4" y="12"/>
                    <a:pt x="8" y="9"/>
                    <a:pt x="12" y="8"/>
                  </a:cubicBezTo>
                  <a:cubicBezTo>
                    <a:pt x="15" y="8"/>
                    <a:pt x="17" y="8"/>
                    <a:pt x="20" y="7"/>
                  </a:cubicBezTo>
                  <a:cubicBezTo>
                    <a:pt x="20" y="7"/>
                    <a:pt x="23" y="5"/>
                    <a:pt x="23" y="5"/>
                  </a:cubicBezTo>
                  <a:cubicBezTo>
                    <a:pt x="22" y="5"/>
                    <a:pt x="22" y="5"/>
                    <a:pt x="22" y="4"/>
                  </a:cubicBezTo>
                  <a:cubicBezTo>
                    <a:pt x="22" y="3"/>
                    <a:pt x="21" y="3"/>
                    <a:pt x="21" y="3"/>
                  </a:cubicBezTo>
                  <a:cubicBezTo>
                    <a:pt x="20" y="3"/>
                    <a:pt x="19" y="4"/>
                    <a:pt x="18" y="4"/>
                  </a:cubicBezTo>
                  <a:cubicBezTo>
                    <a:pt x="19" y="2"/>
                    <a:pt x="17" y="0"/>
                    <a:pt x="16" y="2"/>
                  </a:cubicBezTo>
                  <a:cubicBezTo>
                    <a:pt x="15" y="3"/>
                    <a:pt x="15" y="2"/>
                    <a:pt x="14" y="2"/>
                  </a:cubicBezTo>
                  <a:cubicBezTo>
                    <a:pt x="12" y="2"/>
                    <a:pt x="8" y="2"/>
                    <a:pt x="7" y="4"/>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81">
              <a:extLst>
                <a:ext uri="{FF2B5EF4-FFF2-40B4-BE49-F238E27FC236}">
                  <a16:creationId xmlns:a16="http://schemas.microsoft.com/office/drawing/2014/main" id="{E136C2F1-BDB8-667F-8B56-EE28C87FA8D1}"/>
                </a:ext>
              </a:extLst>
            </p:cNvPr>
            <p:cNvSpPr>
              <a:spLocks/>
            </p:cNvSpPr>
            <p:nvPr/>
          </p:nvSpPr>
          <p:spPr bwMode="auto">
            <a:xfrm>
              <a:off x="2107259" y="3105355"/>
              <a:ext cx="41322" cy="22646"/>
            </a:xfrm>
            <a:custGeom>
              <a:avLst/>
              <a:gdLst>
                <a:gd name="T0" fmla="*/ 12 w 15"/>
                <a:gd name="T1" fmla="*/ 3 h 8"/>
                <a:gd name="T2" fmla="*/ 15 w 15"/>
                <a:gd name="T3" fmla="*/ 3 h 8"/>
                <a:gd name="T4" fmla="*/ 3 w 15"/>
                <a:gd name="T5" fmla="*/ 3 h 8"/>
                <a:gd name="T6" fmla="*/ 7 w 15"/>
                <a:gd name="T7" fmla="*/ 4 h 8"/>
                <a:gd name="T8" fmla="*/ 12 w 15"/>
                <a:gd name="T9" fmla="*/ 3 h 8"/>
              </a:gdLst>
              <a:ahLst/>
              <a:cxnLst>
                <a:cxn ang="0">
                  <a:pos x="T0" y="T1"/>
                </a:cxn>
                <a:cxn ang="0">
                  <a:pos x="T2" y="T3"/>
                </a:cxn>
                <a:cxn ang="0">
                  <a:pos x="T4" y="T5"/>
                </a:cxn>
                <a:cxn ang="0">
                  <a:pos x="T6" y="T7"/>
                </a:cxn>
                <a:cxn ang="0">
                  <a:pos x="T8" y="T9"/>
                </a:cxn>
              </a:cxnLst>
              <a:rect l="0" t="0" r="r" b="b"/>
              <a:pathLst>
                <a:path w="15" h="8">
                  <a:moveTo>
                    <a:pt x="12" y="3"/>
                  </a:moveTo>
                  <a:cubicBezTo>
                    <a:pt x="12" y="4"/>
                    <a:pt x="13" y="4"/>
                    <a:pt x="15" y="3"/>
                  </a:cubicBezTo>
                  <a:cubicBezTo>
                    <a:pt x="12" y="0"/>
                    <a:pt x="5" y="0"/>
                    <a:pt x="3" y="3"/>
                  </a:cubicBezTo>
                  <a:cubicBezTo>
                    <a:pt x="4" y="3"/>
                    <a:pt x="6" y="4"/>
                    <a:pt x="7" y="4"/>
                  </a:cubicBezTo>
                  <a:cubicBezTo>
                    <a:pt x="0" y="8"/>
                    <a:pt x="12" y="4"/>
                    <a:pt x="12" y="3"/>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82">
              <a:extLst>
                <a:ext uri="{FF2B5EF4-FFF2-40B4-BE49-F238E27FC236}">
                  <a16:creationId xmlns:a16="http://schemas.microsoft.com/office/drawing/2014/main" id="{073CF333-F948-1A76-6ED5-1B69FCB9CE81}"/>
                </a:ext>
              </a:extLst>
            </p:cNvPr>
            <p:cNvSpPr>
              <a:spLocks/>
            </p:cNvSpPr>
            <p:nvPr/>
          </p:nvSpPr>
          <p:spPr bwMode="auto">
            <a:xfrm>
              <a:off x="2140316" y="3324663"/>
              <a:ext cx="22432" cy="36949"/>
            </a:xfrm>
            <a:custGeom>
              <a:avLst/>
              <a:gdLst>
                <a:gd name="T0" fmla="*/ 1 w 8"/>
                <a:gd name="T1" fmla="*/ 9 h 13"/>
                <a:gd name="T2" fmla="*/ 2 w 8"/>
                <a:gd name="T3" fmla="*/ 8 h 13"/>
                <a:gd name="T4" fmla="*/ 7 w 8"/>
                <a:gd name="T5" fmla="*/ 9 h 13"/>
                <a:gd name="T6" fmla="*/ 1 w 8"/>
                <a:gd name="T7" fmla="*/ 3 h 13"/>
                <a:gd name="T8" fmla="*/ 0 w 8"/>
                <a:gd name="T9" fmla="*/ 6 h 13"/>
                <a:gd name="T10" fmla="*/ 1 w 8"/>
                <a:gd name="T11" fmla="*/ 9 h 13"/>
              </a:gdLst>
              <a:ahLst/>
              <a:cxnLst>
                <a:cxn ang="0">
                  <a:pos x="T0" y="T1"/>
                </a:cxn>
                <a:cxn ang="0">
                  <a:pos x="T2" y="T3"/>
                </a:cxn>
                <a:cxn ang="0">
                  <a:pos x="T4" y="T5"/>
                </a:cxn>
                <a:cxn ang="0">
                  <a:pos x="T6" y="T7"/>
                </a:cxn>
                <a:cxn ang="0">
                  <a:pos x="T8" y="T9"/>
                </a:cxn>
                <a:cxn ang="0">
                  <a:pos x="T10" y="T11"/>
                </a:cxn>
              </a:cxnLst>
              <a:rect l="0" t="0" r="r" b="b"/>
              <a:pathLst>
                <a:path w="8" h="13">
                  <a:moveTo>
                    <a:pt x="1" y="9"/>
                  </a:moveTo>
                  <a:cubicBezTo>
                    <a:pt x="2" y="9"/>
                    <a:pt x="2" y="9"/>
                    <a:pt x="2" y="8"/>
                  </a:cubicBezTo>
                  <a:cubicBezTo>
                    <a:pt x="2" y="13"/>
                    <a:pt x="8" y="13"/>
                    <a:pt x="7" y="9"/>
                  </a:cubicBezTo>
                  <a:cubicBezTo>
                    <a:pt x="7" y="7"/>
                    <a:pt x="4" y="0"/>
                    <a:pt x="1" y="3"/>
                  </a:cubicBezTo>
                  <a:cubicBezTo>
                    <a:pt x="2" y="4"/>
                    <a:pt x="0" y="5"/>
                    <a:pt x="0" y="6"/>
                  </a:cubicBezTo>
                  <a:cubicBezTo>
                    <a:pt x="1" y="6"/>
                    <a:pt x="0" y="8"/>
                    <a:pt x="1" y="9"/>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84">
              <a:extLst>
                <a:ext uri="{FF2B5EF4-FFF2-40B4-BE49-F238E27FC236}">
                  <a16:creationId xmlns:a16="http://schemas.microsoft.com/office/drawing/2014/main" id="{8E0843D3-4834-626D-E4EC-D267A7339562}"/>
                </a:ext>
              </a:extLst>
            </p:cNvPr>
            <p:cNvSpPr>
              <a:spLocks/>
            </p:cNvSpPr>
            <p:nvPr/>
          </p:nvSpPr>
          <p:spPr bwMode="auto">
            <a:xfrm>
              <a:off x="2191082" y="3045761"/>
              <a:ext cx="22432" cy="25030"/>
            </a:xfrm>
            <a:custGeom>
              <a:avLst/>
              <a:gdLst>
                <a:gd name="T0" fmla="*/ 8 w 8"/>
                <a:gd name="T1" fmla="*/ 4 h 9"/>
                <a:gd name="T2" fmla="*/ 6 w 8"/>
                <a:gd name="T3" fmla="*/ 3 h 9"/>
                <a:gd name="T4" fmla="*/ 6 w 8"/>
                <a:gd name="T5" fmla="*/ 2 h 9"/>
                <a:gd name="T6" fmla="*/ 1 w 8"/>
                <a:gd name="T7" fmla="*/ 2 h 9"/>
                <a:gd name="T8" fmla="*/ 1 w 8"/>
                <a:gd name="T9" fmla="*/ 8 h 9"/>
                <a:gd name="T10" fmla="*/ 8 w 8"/>
                <a:gd name="T11" fmla="*/ 4 h 9"/>
              </a:gdLst>
              <a:ahLst/>
              <a:cxnLst>
                <a:cxn ang="0">
                  <a:pos x="T0" y="T1"/>
                </a:cxn>
                <a:cxn ang="0">
                  <a:pos x="T2" y="T3"/>
                </a:cxn>
                <a:cxn ang="0">
                  <a:pos x="T4" y="T5"/>
                </a:cxn>
                <a:cxn ang="0">
                  <a:pos x="T6" y="T7"/>
                </a:cxn>
                <a:cxn ang="0">
                  <a:pos x="T8" y="T9"/>
                </a:cxn>
                <a:cxn ang="0">
                  <a:pos x="T10" y="T11"/>
                </a:cxn>
              </a:cxnLst>
              <a:rect l="0" t="0" r="r" b="b"/>
              <a:pathLst>
                <a:path w="8" h="9">
                  <a:moveTo>
                    <a:pt x="8" y="4"/>
                  </a:moveTo>
                  <a:cubicBezTo>
                    <a:pt x="7" y="3"/>
                    <a:pt x="6" y="3"/>
                    <a:pt x="6" y="3"/>
                  </a:cubicBezTo>
                  <a:cubicBezTo>
                    <a:pt x="6" y="3"/>
                    <a:pt x="6" y="3"/>
                    <a:pt x="6" y="2"/>
                  </a:cubicBezTo>
                  <a:cubicBezTo>
                    <a:pt x="6" y="0"/>
                    <a:pt x="2" y="0"/>
                    <a:pt x="1" y="2"/>
                  </a:cubicBezTo>
                  <a:cubicBezTo>
                    <a:pt x="0" y="4"/>
                    <a:pt x="3" y="6"/>
                    <a:pt x="1" y="8"/>
                  </a:cubicBezTo>
                  <a:cubicBezTo>
                    <a:pt x="3" y="9"/>
                    <a:pt x="6" y="6"/>
                    <a:pt x="8" y="4"/>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85">
              <a:extLst>
                <a:ext uri="{FF2B5EF4-FFF2-40B4-BE49-F238E27FC236}">
                  <a16:creationId xmlns:a16="http://schemas.microsoft.com/office/drawing/2014/main" id="{DA1DF336-A01B-82C2-6892-1DA9BE6BB4BA}"/>
                </a:ext>
              </a:extLst>
            </p:cNvPr>
            <p:cNvSpPr>
              <a:spLocks/>
            </p:cNvSpPr>
            <p:nvPr/>
          </p:nvSpPr>
          <p:spPr bwMode="auto">
            <a:xfrm>
              <a:off x="2336297" y="2927763"/>
              <a:ext cx="35418" cy="16686"/>
            </a:xfrm>
            <a:custGeom>
              <a:avLst/>
              <a:gdLst>
                <a:gd name="T0" fmla="*/ 5 w 13"/>
                <a:gd name="T1" fmla="*/ 5 h 6"/>
                <a:gd name="T2" fmla="*/ 9 w 13"/>
                <a:gd name="T3" fmla="*/ 6 h 6"/>
                <a:gd name="T4" fmla="*/ 13 w 13"/>
                <a:gd name="T5" fmla="*/ 5 h 6"/>
                <a:gd name="T6" fmla="*/ 10 w 13"/>
                <a:gd name="T7" fmla="*/ 1 h 6"/>
                <a:gd name="T8" fmla="*/ 6 w 13"/>
                <a:gd name="T9" fmla="*/ 2 h 6"/>
                <a:gd name="T10" fmla="*/ 5 w 13"/>
                <a:gd name="T11" fmla="*/ 5 h 6"/>
              </a:gdLst>
              <a:ahLst/>
              <a:cxnLst>
                <a:cxn ang="0">
                  <a:pos x="T0" y="T1"/>
                </a:cxn>
                <a:cxn ang="0">
                  <a:pos x="T2" y="T3"/>
                </a:cxn>
                <a:cxn ang="0">
                  <a:pos x="T4" y="T5"/>
                </a:cxn>
                <a:cxn ang="0">
                  <a:pos x="T6" y="T7"/>
                </a:cxn>
                <a:cxn ang="0">
                  <a:pos x="T8" y="T9"/>
                </a:cxn>
                <a:cxn ang="0">
                  <a:pos x="T10" y="T11"/>
                </a:cxn>
              </a:cxnLst>
              <a:rect l="0" t="0" r="r" b="b"/>
              <a:pathLst>
                <a:path w="13" h="6">
                  <a:moveTo>
                    <a:pt x="5" y="5"/>
                  </a:moveTo>
                  <a:cubicBezTo>
                    <a:pt x="4" y="6"/>
                    <a:pt x="8" y="6"/>
                    <a:pt x="9" y="6"/>
                  </a:cubicBezTo>
                  <a:cubicBezTo>
                    <a:pt x="10" y="6"/>
                    <a:pt x="11" y="6"/>
                    <a:pt x="13" y="5"/>
                  </a:cubicBezTo>
                  <a:cubicBezTo>
                    <a:pt x="13" y="4"/>
                    <a:pt x="11" y="0"/>
                    <a:pt x="10" y="1"/>
                  </a:cubicBezTo>
                  <a:cubicBezTo>
                    <a:pt x="8" y="1"/>
                    <a:pt x="7" y="1"/>
                    <a:pt x="6" y="2"/>
                  </a:cubicBezTo>
                  <a:cubicBezTo>
                    <a:pt x="3" y="2"/>
                    <a:pt x="0" y="5"/>
                    <a:pt x="5" y="5"/>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89">
              <a:extLst>
                <a:ext uri="{FF2B5EF4-FFF2-40B4-BE49-F238E27FC236}">
                  <a16:creationId xmlns:a16="http://schemas.microsoft.com/office/drawing/2014/main" id="{ACBD0CF5-AF85-856F-DCD9-22972E54DA14}"/>
                </a:ext>
              </a:extLst>
            </p:cNvPr>
            <p:cNvSpPr>
              <a:spLocks/>
            </p:cNvSpPr>
            <p:nvPr/>
          </p:nvSpPr>
          <p:spPr bwMode="auto">
            <a:xfrm>
              <a:off x="2148580" y="3319896"/>
              <a:ext cx="28335" cy="22646"/>
            </a:xfrm>
            <a:custGeom>
              <a:avLst/>
              <a:gdLst>
                <a:gd name="T0" fmla="*/ 7 w 10"/>
                <a:gd name="T1" fmla="*/ 1 h 8"/>
                <a:gd name="T2" fmla="*/ 3 w 10"/>
                <a:gd name="T3" fmla="*/ 3 h 8"/>
                <a:gd name="T4" fmla="*/ 0 w 10"/>
                <a:gd name="T5" fmla="*/ 4 h 8"/>
                <a:gd name="T6" fmla="*/ 3 w 10"/>
                <a:gd name="T7" fmla="*/ 5 h 8"/>
                <a:gd name="T8" fmla="*/ 5 w 10"/>
                <a:gd name="T9" fmla="*/ 8 h 8"/>
                <a:gd name="T10" fmla="*/ 7 w 10"/>
                <a:gd name="T11" fmla="*/ 8 h 8"/>
                <a:gd name="T12" fmla="*/ 8 w 10"/>
                <a:gd name="T13" fmla="*/ 4 h 8"/>
                <a:gd name="T14" fmla="*/ 7 w 10"/>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7" y="1"/>
                  </a:moveTo>
                  <a:cubicBezTo>
                    <a:pt x="6" y="1"/>
                    <a:pt x="2" y="0"/>
                    <a:pt x="3" y="3"/>
                  </a:cubicBezTo>
                  <a:cubicBezTo>
                    <a:pt x="4" y="5"/>
                    <a:pt x="0" y="2"/>
                    <a:pt x="0" y="4"/>
                  </a:cubicBezTo>
                  <a:cubicBezTo>
                    <a:pt x="0" y="5"/>
                    <a:pt x="3" y="6"/>
                    <a:pt x="3" y="5"/>
                  </a:cubicBezTo>
                  <a:cubicBezTo>
                    <a:pt x="4" y="6"/>
                    <a:pt x="4" y="7"/>
                    <a:pt x="5" y="8"/>
                  </a:cubicBezTo>
                  <a:cubicBezTo>
                    <a:pt x="6" y="7"/>
                    <a:pt x="7" y="8"/>
                    <a:pt x="7" y="8"/>
                  </a:cubicBezTo>
                  <a:cubicBezTo>
                    <a:pt x="8" y="7"/>
                    <a:pt x="7" y="5"/>
                    <a:pt x="8" y="4"/>
                  </a:cubicBezTo>
                  <a:cubicBezTo>
                    <a:pt x="9" y="3"/>
                    <a:pt x="10" y="0"/>
                    <a:pt x="7"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91">
              <a:extLst>
                <a:ext uri="{FF2B5EF4-FFF2-40B4-BE49-F238E27FC236}">
                  <a16:creationId xmlns:a16="http://schemas.microsoft.com/office/drawing/2014/main" id="{7F546888-A2CB-F2F3-EAB2-C9EF5E631BE5}"/>
                </a:ext>
              </a:extLst>
            </p:cNvPr>
            <p:cNvSpPr>
              <a:spLocks/>
            </p:cNvSpPr>
            <p:nvPr/>
          </p:nvSpPr>
          <p:spPr bwMode="auto">
            <a:xfrm>
              <a:off x="2375257" y="2944449"/>
              <a:ext cx="24793" cy="22646"/>
            </a:xfrm>
            <a:custGeom>
              <a:avLst/>
              <a:gdLst>
                <a:gd name="T0" fmla="*/ 8 w 9"/>
                <a:gd name="T1" fmla="*/ 6 h 8"/>
                <a:gd name="T2" fmla="*/ 4 w 9"/>
                <a:gd name="T3" fmla="*/ 5 h 8"/>
                <a:gd name="T4" fmla="*/ 3 w 9"/>
                <a:gd name="T5" fmla="*/ 3 h 8"/>
                <a:gd name="T6" fmla="*/ 3 w 9"/>
                <a:gd name="T7" fmla="*/ 4 h 8"/>
                <a:gd name="T8" fmla="*/ 0 w 9"/>
                <a:gd name="T9" fmla="*/ 3 h 8"/>
                <a:gd name="T10" fmla="*/ 1 w 9"/>
                <a:gd name="T11" fmla="*/ 5 h 8"/>
                <a:gd name="T12" fmla="*/ 8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8" y="6"/>
                  </a:moveTo>
                  <a:cubicBezTo>
                    <a:pt x="9" y="4"/>
                    <a:pt x="3" y="0"/>
                    <a:pt x="4" y="5"/>
                  </a:cubicBezTo>
                  <a:cubicBezTo>
                    <a:pt x="4" y="4"/>
                    <a:pt x="3" y="3"/>
                    <a:pt x="3" y="3"/>
                  </a:cubicBezTo>
                  <a:cubicBezTo>
                    <a:pt x="3" y="3"/>
                    <a:pt x="3" y="4"/>
                    <a:pt x="3" y="4"/>
                  </a:cubicBezTo>
                  <a:cubicBezTo>
                    <a:pt x="2" y="3"/>
                    <a:pt x="2" y="2"/>
                    <a:pt x="0" y="3"/>
                  </a:cubicBezTo>
                  <a:cubicBezTo>
                    <a:pt x="1" y="3"/>
                    <a:pt x="1" y="4"/>
                    <a:pt x="1" y="5"/>
                  </a:cubicBezTo>
                  <a:cubicBezTo>
                    <a:pt x="2" y="6"/>
                    <a:pt x="8" y="8"/>
                    <a:pt x="8" y="6"/>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93">
              <a:extLst>
                <a:ext uri="{FF2B5EF4-FFF2-40B4-BE49-F238E27FC236}">
                  <a16:creationId xmlns:a16="http://schemas.microsoft.com/office/drawing/2014/main" id="{7464BB36-4CC7-BA00-F052-3CA7A9AEA927}"/>
                </a:ext>
              </a:extLst>
            </p:cNvPr>
            <p:cNvSpPr>
              <a:spLocks/>
            </p:cNvSpPr>
            <p:nvPr/>
          </p:nvSpPr>
          <p:spPr bwMode="auto">
            <a:xfrm>
              <a:off x="2477970" y="3844328"/>
              <a:ext cx="92087" cy="72706"/>
            </a:xfrm>
            <a:custGeom>
              <a:avLst/>
              <a:gdLst>
                <a:gd name="T0" fmla="*/ 32 w 33"/>
                <a:gd name="T1" fmla="*/ 21 h 26"/>
                <a:gd name="T2" fmla="*/ 32 w 33"/>
                <a:gd name="T3" fmla="*/ 15 h 26"/>
                <a:gd name="T4" fmla="*/ 33 w 33"/>
                <a:gd name="T5" fmla="*/ 16 h 26"/>
                <a:gd name="T6" fmla="*/ 29 w 33"/>
                <a:gd name="T7" fmla="*/ 10 h 26"/>
                <a:gd name="T8" fmla="*/ 25 w 33"/>
                <a:gd name="T9" fmla="*/ 9 h 26"/>
                <a:gd name="T10" fmla="*/ 29 w 33"/>
                <a:gd name="T11" fmla="*/ 6 h 26"/>
                <a:gd name="T12" fmla="*/ 27 w 33"/>
                <a:gd name="T13" fmla="*/ 2 h 26"/>
                <a:gd name="T14" fmla="*/ 26 w 33"/>
                <a:gd name="T15" fmla="*/ 4 h 26"/>
                <a:gd name="T16" fmla="*/ 25 w 33"/>
                <a:gd name="T17" fmla="*/ 6 h 26"/>
                <a:gd name="T18" fmla="*/ 25 w 33"/>
                <a:gd name="T19" fmla="*/ 8 h 26"/>
                <a:gd name="T20" fmla="*/ 21 w 33"/>
                <a:gd name="T21" fmla="*/ 9 h 26"/>
                <a:gd name="T22" fmla="*/ 22 w 33"/>
                <a:gd name="T23" fmla="*/ 6 h 26"/>
                <a:gd name="T24" fmla="*/ 24 w 33"/>
                <a:gd name="T25" fmla="*/ 6 h 26"/>
                <a:gd name="T26" fmla="*/ 17 w 33"/>
                <a:gd name="T27" fmla="*/ 3 h 26"/>
                <a:gd name="T28" fmla="*/ 12 w 33"/>
                <a:gd name="T29" fmla="*/ 3 h 26"/>
                <a:gd name="T30" fmla="*/ 8 w 33"/>
                <a:gd name="T31" fmla="*/ 6 h 26"/>
                <a:gd name="T32" fmla="*/ 4 w 33"/>
                <a:gd name="T33" fmla="*/ 6 h 26"/>
                <a:gd name="T34" fmla="*/ 0 w 33"/>
                <a:gd name="T35" fmla="*/ 7 h 26"/>
                <a:gd name="T36" fmla="*/ 3 w 33"/>
                <a:gd name="T37" fmla="*/ 10 h 26"/>
                <a:gd name="T38" fmla="*/ 0 w 33"/>
                <a:gd name="T39" fmla="*/ 9 h 26"/>
                <a:gd name="T40" fmla="*/ 3 w 33"/>
                <a:gd name="T41" fmla="*/ 10 h 26"/>
                <a:gd name="T42" fmla="*/ 4 w 33"/>
                <a:gd name="T43" fmla="*/ 12 h 26"/>
                <a:gd name="T44" fmla="*/ 3 w 33"/>
                <a:gd name="T45" fmla="*/ 12 h 26"/>
                <a:gd name="T46" fmla="*/ 5 w 33"/>
                <a:gd name="T47" fmla="*/ 14 h 26"/>
                <a:gd name="T48" fmla="*/ 7 w 33"/>
                <a:gd name="T49" fmla="*/ 19 h 26"/>
                <a:gd name="T50" fmla="*/ 8 w 33"/>
                <a:gd name="T51" fmla="*/ 23 h 26"/>
                <a:gd name="T52" fmla="*/ 9 w 33"/>
                <a:gd name="T53" fmla="*/ 23 h 26"/>
                <a:gd name="T54" fmla="*/ 11 w 33"/>
                <a:gd name="T55" fmla="*/ 21 h 26"/>
                <a:gd name="T56" fmla="*/ 11 w 33"/>
                <a:gd name="T57" fmla="*/ 24 h 26"/>
                <a:gd name="T58" fmla="*/ 17 w 33"/>
                <a:gd name="T59" fmla="*/ 25 h 26"/>
                <a:gd name="T60" fmla="*/ 22 w 33"/>
                <a:gd name="T61" fmla="*/ 26 h 26"/>
                <a:gd name="T62" fmla="*/ 27 w 33"/>
                <a:gd name="T63" fmla="*/ 26 h 26"/>
                <a:gd name="T64" fmla="*/ 32 w 33"/>
                <a:gd name="T65"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6">
                  <a:moveTo>
                    <a:pt x="32" y="21"/>
                  </a:moveTo>
                  <a:cubicBezTo>
                    <a:pt x="32" y="20"/>
                    <a:pt x="32" y="15"/>
                    <a:pt x="32" y="15"/>
                  </a:cubicBezTo>
                  <a:cubicBezTo>
                    <a:pt x="32" y="15"/>
                    <a:pt x="32" y="15"/>
                    <a:pt x="33" y="16"/>
                  </a:cubicBezTo>
                  <a:cubicBezTo>
                    <a:pt x="32" y="13"/>
                    <a:pt x="31" y="11"/>
                    <a:pt x="29" y="10"/>
                  </a:cubicBezTo>
                  <a:cubicBezTo>
                    <a:pt x="27" y="9"/>
                    <a:pt x="26" y="10"/>
                    <a:pt x="25" y="9"/>
                  </a:cubicBezTo>
                  <a:cubicBezTo>
                    <a:pt x="27" y="7"/>
                    <a:pt x="31" y="10"/>
                    <a:pt x="29" y="6"/>
                  </a:cubicBezTo>
                  <a:cubicBezTo>
                    <a:pt x="29" y="5"/>
                    <a:pt x="28" y="3"/>
                    <a:pt x="27" y="2"/>
                  </a:cubicBezTo>
                  <a:cubicBezTo>
                    <a:pt x="26" y="2"/>
                    <a:pt x="27" y="4"/>
                    <a:pt x="26" y="4"/>
                  </a:cubicBezTo>
                  <a:cubicBezTo>
                    <a:pt x="26" y="5"/>
                    <a:pt x="27" y="6"/>
                    <a:pt x="25" y="6"/>
                  </a:cubicBezTo>
                  <a:cubicBezTo>
                    <a:pt x="26" y="7"/>
                    <a:pt x="26" y="7"/>
                    <a:pt x="25" y="8"/>
                  </a:cubicBezTo>
                  <a:cubicBezTo>
                    <a:pt x="24" y="8"/>
                    <a:pt x="22" y="10"/>
                    <a:pt x="21" y="9"/>
                  </a:cubicBezTo>
                  <a:cubicBezTo>
                    <a:pt x="22" y="10"/>
                    <a:pt x="23" y="5"/>
                    <a:pt x="22" y="6"/>
                  </a:cubicBezTo>
                  <a:cubicBezTo>
                    <a:pt x="23" y="5"/>
                    <a:pt x="24" y="6"/>
                    <a:pt x="24" y="6"/>
                  </a:cubicBezTo>
                  <a:cubicBezTo>
                    <a:pt x="23" y="5"/>
                    <a:pt x="18" y="0"/>
                    <a:pt x="17" y="3"/>
                  </a:cubicBezTo>
                  <a:cubicBezTo>
                    <a:pt x="16" y="2"/>
                    <a:pt x="14" y="3"/>
                    <a:pt x="12" y="3"/>
                  </a:cubicBezTo>
                  <a:cubicBezTo>
                    <a:pt x="10" y="4"/>
                    <a:pt x="8" y="6"/>
                    <a:pt x="8" y="6"/>
                  </a:cubicBezTo>
                  <a:cubicBezTo>
                    <a:pt x="6" y="7"/>
                    <a:pt x="5" y="7"/>
                    <a:pt x="4" y="6"/>
                  </a:cubicBezTo>
                  <a:cubicBezTo>
                    <a:pt x="2" y="4"/>
                    <a:pt x="1" y="7"/>
                    <a:pt x="0" y="7"/>
                  </a:cubicBezTo>
                  <a:cubicBezTo>
                    <a:pt x="1" y="8"/>
                    <a:pt x="2" y="8"/>
                    <a:pt x="3" y="10"/>
                  </a:cubicBezTo>
                  <a:cubicBezTo>
                    <a:pt x="2" y="10"/>
                    <a:pt x="1" y="9"/>
                    <a:pt x="0" y="9"/>
                  </a:cubicBezTo>
                  <a:cubicBezTo>
                    <a:pt x="1" y="10"/>
                    <a:pt x="2" y="10"/>
                    <a:pt x="3" y="10"/>
                  </a:cubicBezTo>
                  <a:cubicBezTo>
                    <a:pt x="2" y="11"/>
                    <a:pt x="5" y="11"/>
                    <a:pt x="4" y="12"/>
                  </a:cubicBezTo>
                  <a:cubicBezTo>
                    <a:pt x="4" y="12"/>
                    <a:pt x="3" y="12"/>
                    <a:pt x="3" y="12"/>
                  </a:cubicBezTo>
                  <a:cubicBezTo>
                    <a:pt x="3" y="13"/>
                    <a:pt x="4" y="14"/>
                    <a:pt x="5" y="14"/>
                  </a:cubicBezTo>
                  <a:cubicBezTo>
                    <a:pt x="5" y="16"/>
                    <a:pt x="6" y="18"/>
                    <a:pt x="7" y="19"/>
                  </a:cubicBezTo>
                  <a:cubicBezTo>
                    <a:pt x="8" y="20"/>
                    <a:pt x="9" y="21"/>
                    <a:pt x="8" y="23"/>
                  </a:cubicBezTo>
                  <a:cubicBezTo>
                    <a:pt x="9" y="23"/>
                    <a:pt x="9" y="23"/>
                    <a:pt x="9" y="23"/>
                  </a:cubicBezTo>
                  <a:cubicBezTo>
                    <a:pt x="9" y="21"/>
                    <a:pt x="8" y="20"/>
                    <a:pt x="11" y="21"/>
                  </a:cubicBezTo>
                  <a:cubicBezTo>
                    <a:pt x="14" y="21"/>
                    <a:pt x="13" y="22"/>
                    <a:pt x="11" y="24"/>
                  </a:cubicBezTo>
                  <a:cubicBezTo>
                    <a:pt x="13" y="25"/>
                    <a:pt x="15" y="25"/>
                    <a:pt x="17" y="25"/>
                  </a:cubicBezTo>
                  <a:cubicBezTo>
                    <a:pt x="19" y="26"/>
                    <a:pt x="20" y="26"/>
                    <a:pt x="22" y="26"/>
                  </a:cubicBezTo>
                  <a:cubicBezTo>
                    <a:pt x="23" y="26"/>
                    <a:pt x="25" y="26"/>
                    <a:pt x="27" y="26"/>
                  </a:cubicBezTo>
                  <a:cubicBezTo>
                    <a:pt x="30" y="25"/>
                    <a:pt x="31" y="25"/>
                    <a:pt x="32" y="2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94">
              <a:extLst>
                <a:ext uri="{FF2B5EF4-FFF2-40B4-BE49-F238E27FC236}">
                  <a16:creationId xmlns:a16="http://schemas.microsoft.com/office/drawing/2014/main" id="{1D50E4E1-50D4-5F35-256F-C6CC350E42D6}"/>
                </a:ext>
              </a:extLst>
            </p:cNvPr>
            <p:cNvSpPr>
              <a:spLocks/>
            </p:cNvSpPr>
            <p:nvPr/>
          </p:nvSpPr>
          <p:spPr bwMode="auto">
            <a:xfrm>
              <a:off x="2878196" y="3883660"/>
              <a:ext cx="44863" cy="41717"/>
            </a:xfrm>
            <a:custGeom>
              <a:avLst/>
              <a:gdLst>
                <a:gd name="T0" fmla="*/ 10 w 16"/>
                <a:gd name="T1" fmla="*/ 6 h 15"/>
                <a:gd name="T2" fmla="*/ 4 w 16"/>
                <a:gd name="T3" fmla="*/ 3 h 15"/>
                <a:gd name="T4" fmla="*/ 3 w 16"/>
                <a:gd name="T5" fmla="*/ 3 h 15"/>
                <a:gd name="T6" fmla="*/ 3 w 16"/>
                <a:gd name="T7" fmla="*/ 12 h 15"/>
                <a:gd name="T8" fmla="*/ 8 w 16"/>
                <a:gd name="T9" fmla="*/ 14 h 15"/>
                <a:gd name="T10" fmla="*/ 12 w 16"/>
                <a:gd name="T11" fmla="*/ 14 h 15"/>
                <a:gd name="T12" fmla="*/ 10 w 16"/>
                <a:gd name="T13" fmla="*/ 6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0" y="6"/>
                  </a:moveTo>
                  <a:cubicBezTo>
                    <a:pt x="8" y="5"/>
                    <a:pt x="6" y="4"/>
                    <a:pt x="4" y="3"/>
                  </a:cubicBezTo>
                  <a:cubicBezTo>
                    <a:pt x="3" y="2"/>
                    <a:pt x="2" y="0"/>
                    <a:pt x="3" y="3"/>
                  </a:cubicBezTo>
                  <a:cubicBezTo>
                    <a:pt x="1" y="5"/>
                    <a:pt x="0" y="10"/>
                    <a:pt x="3" y="12"/>
                  </a:cubicBezTo>
                  <a:cubicBezTo>
                    <a:pt x="4" y="12"/>
                    <a:pt x="6" y="13"/>
                    <a:pt x="8" y="14"/>
                  </a:cubicBezTo>
                  <a:cubicBezTo>
                    <a:pt x="9" y="15"/>
                    <a:pt x="11" y="15"/>
                    <a:pt x="12" y="14"/>
                  </a:cubicBezTo>
                  <a:cubicBezTo>
                    <a:pt x="16" y="11"/>
                    <a:pt x="13" y="7"/>
                    <a:pt x="10" y="6"/>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95">
              <a:extLst>
                <a:ext uri="{FF2B5EF4-FFF2-40B4-BE49-F238E27FC236}">
                  <a16:creationId xmlns:a16="http://schemas.microsoft.com/office/drawing/2014/main" id="{269EB841-5833-9B7D-E8D6-38BA0D4082E0}"/>
                </a:ext>
              </a:extLst>
            </p:cNvPr>
            <p:cNvSpPr>
              <a:spLocks/>
            </p:cNvSpPr>
            <p:nvPr/>
          </p:nvSpPr>
          <p:spPr bwMode="auto">
            <a:xfrm>
              <a:off x="2473248" y="3914650"/>
              <a:ext cx="38960" cy="25030"/>
            </a:xfrm>
            <a:custGeom>
              <a:avLst/>
              <a:gdLst>
                <a:gd name="T0" fmla="*/ 4 w 14"/>
                <a:gd name="T1" fmla="*/ 0 h 9"/>
                <a:gd name="T2" fmla="*/ 1 w 14"/>
                <a:gd name="T3" fmla="*/ 1 h 9"/>
                <a:gd name="T4" fmla="*/ 2 w 14"/>
                <a:gd name="T5" fmla="*/ 2 h 9"/>
                <a:gd name="T6" fmla="*/ 3 w 14"/>
                <a:gd name="T7" fmla="*/ 3 h 9"/>
                <a:gd name="T8" fmla="*/ 6 w 14"/>
                <a:gd name="T9" fmla="*/ 4 h 9"/>
                <a:gd name="T10" fmla="*/ 4 w 14"/>
                <a:gd name="T11" fmla="*/ 4 h 9"/>
                <a:gd name="T12" fmla="*/ 11 w 14"/>
                <a:gd name="T13" fmla="*/ 9 h 9"/>
                <a:gd name="T14" fmla="*/ 7 w 14"/>
                <a:gd name="T15" fmla="*/ 8 h 9"/>
                <a:gd name="T16" fmla="*/ 12 w 14"/>
                <a:gd name="T17" fmla="*/ 9 h 9"/>
                <a:gd name="T18" fmla="*/ 11 w 14"/>
                <a:gd name="T19" fmla="*/ 4 h 9"/>
                <a:gd name="T20" fmla="*/ 4 w 14"/>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9">
                  <a:moveTo>
                    <a:pt x="4" y="0"/>
                  </a:moveTo>
                  <a:cubicBezTo>
                    <a:pt x="4" y="0"/>
                    <a:pt x="0" y="0"/>
                    <a:pt x="1" y="1"/>
                  </a:cubicBezTo>
                  <a:cubicBezTo>
                    <a:pt x="1" y="2"/>
                    <a:pt x="1" y="2"/>
                    <a:pt x="2" y="2"/>
                  </a:cubicBezTo>
                  <a:cubicBezTo>
                    <a:pt x="0" y="3"/>
                    <a:pt x="3" y="3"/>
                    <a:pt x="3" y="3"/>
                  </a:cubicBezTo>
                  <a:cubicBezTo>
                    <a:pt x="4" y="3"/>
                    <a:pt x="5" y="4"/>
                    <a:pt x="6" y="4"/>
                  </a:cubicBezTo>
                  <a:cubicBezTo>
                    <a:pt x="6" y="7"/>
                    <a:pt x="5" y="5"/>
                    <a:pt x="4" y="4"/>
                  </a:cubicBezTo>
                  <a:cubicBezTo>
                    <a:pt x="4" y="9"/>
                    <a:pt x="8" y="7"/>
                    <a:pt x="11" y="9"/>
                  </a:cubicBezTo>
                  <a:cubicBezTo>
                    <a:pt x="10" y="9"/>
                    <a:pt x="8" y="7"/>
                    <a:pt x="7" y="8"/>
                  </a:cubicBezTo>
                  <a:cubicBezTo>
                    <a:pt x="7" y="9"/>
                    <a:pt x="11" y="9"/>
                    <a:pt x="12" y="9"/>
                  </a:cubicBezTo>
                  <a:cubicBezTo>
                    <a:pt x="14" y="8"/>
                    <a:pt x="12" y="6"/>
                    <a:pt x="11" y="4"/>
                  </a:cubicBezTo>
                  <a:cubicBezTo>
                    <a:pt x="10" y="3"/>
                    <a:pt x="6" y="0"/>
                    <a:pt x="4"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96">
              <a:extLst>
                <a:ext uri="{FF2B5EF4-FFF2-40B4-BE49-F238E27FC236}">
                  <a16:creationId xmlns:a16="http://schemas.microsoft.com/office/drawing/2014/main" id="{304BC19D-755A-DA20-DB10-6E8FB0069E59}"/>
                </a:ext>
              </a:extLst>
            </p:cNvPr>
            <p:cNvSpPr>
              <a:spLocks/>
            </p:cNvSpPr>
            <p:nvPr/>
          </p:nvSpPr>
          <p:spPr bwMode="auto">
            <a:xfrm>
              <a:off x="2366993" y="3866974"/>
              <a:ext cx="236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Freeform 97">
              <a:extLst>
                <a:ext uri="{FF2B5EF4-FFF2-40B4-BE49-F238E27FC236}">
                  <a16:creationId xmlns:a16="http://schemas.microsoft.com/office/drawing/2014/main" id="{534504A6-EA99-DE82-3FA5-1065465D98CC}"/>
                </a:ext>
              </a:extLst>
            </p:cNvPr>
            <p:cNvSpPr>
              <a:spLocks/>
            </p:cNvSpPr>
            <p:nvPr/>
          </p:nvSpPr>
          <p:spPr bwMode="auto">
            <a:xfrm>
              <a:off x="2346922" y="3592839"/>
              <a:ext cx="234941" cy="355184"/>
            </a:xfrm>
            <a:custGeom>
              <a:avLst/>
              <a:gdLst>
                <a:gd name="T0" fmla="*/ 40 w 84"/>
                <a:gd name="T1" fmla="*/ 116 h 126"/>
                <a:gd name="T2" fmla="*/ 47 w 84"/>
                <a:gd name="T3" fmla="*/ 109 h 126"/>
                <a:gd name="T4" fmla="*/ 42 w 84"/>
                <a:gd name="T5" fmla="*/ 97 h 126"/>
                <a:gd name="T6" fmla="*/ 51 w 84"/>
                <a:gd name="T7" fmla="*/ 91 h 126"/>
                <a:gd name="T8" fmla="*/ 43 w 84"/>
                <a:gd name="T9" fmla="*/ 87 h 126"/>
                <a:gd name="T10" fmla="*/ 57 w 84"/>
                <a:gd name="T11" fmla="*/ 85 h 126"/>
                <a:gd name="T12" fmla="*/ 58 w 84"/>
                <a:gd name="T13" fmla="*/ 80 h 126"/>
                <a:gd name="T14" fmla="*/ 64 w 84"/>
                <a:gd name="T15" fmla="*/ 74 h 126"/>
                <a:gd name="T16" fmla="*/ 66 w 84"/>
                <a:gd name="T17" fmla="*/ 64 h 126"/>
                <a:gd name="T18" fmla="*/ 66 w 84"/>
                <a:gd name="T19" fmla="*/ 67 h 126"/>
                <a:gd name="T20" fmla="*/ 72 w 84"/>
                <a:gd name="T21" fmla="*/ 68 h 126"/>
                <a:gd name="T22" fmla="*/ 78 w 84"/>
                <a:gd name="T23" fmla="*/ 64 h 126"/>
                <a:gd name="T24" fmla="*/ 68 w 84"/>
                <a:gd name="T25" fmla="*/ 52 h 126"/>
                <a:gd name="T26" fmla="*/ 63 w 84"/>
                <a:gd name="T27" fmla="*/ 50 h 126"/>
                <a:gd name="T28" fmla="*/ 60 w 84"/>
                <a:gd name="T29" fmla="*/ 45 h 126"/>
                <a:gd name="T30" fmla="*/ 58 w 84"/>
                <a:gd name="T31" fmla="*/ 45 h 126"/>
                <a:gd name="T32" fmla="*/ 64 w 84"/>
                <a:gd name="T33" fmla="*/ 33 h 126"/>
                <a:gd name="T34" fmla="*/ 71 w 84"/>
                <a:gd name="T35" fmla="*/ 22 h 126"/>
                <a:gd name="T36" fmla="*/ 68 w 84"/>
                <a:gd name="T37" fmla="*/ 7 h 126"/>
                <a:gd name="T38" fmla="*/ 53 w 84"/>
                <a:gd name="T39" fmla="*/ 9 h 126"/>
                <a:gd name="T40" fmla="*/ 19 w 84"/>
                <a:gd name="T41" fmla="*/ 28 h 126"/>
                <a:gd name="T42" fmla="*/ 6 w 84"/>
                <a:gd name="T43" fmla="*/ 45 h 126"/>
                <a:gd name="T44" fmla="*/ 16 w 84"/>
                <a:gd name="T45" fmla="*/ 48 h 126"/>
                <a:gd name="T46" fmla="*/ 13 w 84"/>
                <a:gd name="T47" fmla="*/ 45 h 126"/>
                <a:gd name="T48" fmla="*/ 19 w 84"/>
                <a:gd name="T49" fmla="*/ 35 h 126"/>
                <a:gd name="T50" fmla="*/ 31 w 84"/>
                <a:gd name="T51" fmla="*/ 30 h 126"/>
                <a:gd name="T52" fmla="*/ 46 w 84"/>
                <a:gd name="T53" fmla="*/ 29 h 126"/>
                <a:gd name="T54" fmla="*/ 56 w 84"/>
                <a:gd name="T55" fmla="*/ 29 h 126"/>
                <a:gd name="T56" fmla="*/ 55 w 84"/>
                <a:gd name="T57" fmla="*/ 29 h 126"/>
                <a:gd name="T58" fmla="*/ 33 w 84"/>
                <a:gd name="T59" fmla="*/ 36 h 126"/>
                <a:gd name="T60" fmla="*/ 34 w 84"/>
                <a:gd name="T61" fmla="*/ 44 h 126"/>
                <a:gd name="T62" fmla="*/ 38 w 84"/>
                <a:gd name="T63" fmla="*/ 51 h 126"/>
                <a:gd name="T64" fmla="*/ 31 w 84"/>
                <a:gd name="T65" fmla="*/ 48 h 126"/>
                <a:gd name="T66" fmla="*/ 29 w 84"/>
                <a:gd name="T67" fmla="*/ 50 h 126"/>
                <a:gd name="T68" fmla="*/ 23 w 84"/>
                <a:gd name="T69" fmla="*/ 43 h 126"/>
                <a:gd name="T70" fmla="*/ 18 w 84"/>
                <a:gd name="T71" fmla="*/ 48 h 126"/>
                <a:gd name="T72" fmla="*/ 8 w 84"/>
                <a:gd name="T73" fmla="*/ 51 h 126"/>
                <a:gd name="T74" fmla="*/ 5 w 84"/>
                <a:gd name="T75" fmla="*/ 45 h 126"/>
                <a:gd name="T76" fmla="*/ 2 w 84"/>
                <a:gd name="T77" fmla="*/ 63 h 126"/>
                <a:gd name="T78" fmla="*/ 8 w 84"/>
                <a:gd name="T79" fmla="*/ 74 h 126"/>
                <a:gd name="T80" fmla="*/ 4 w 84"/>
                <a:gd name="T81" fmla="*/ 86 h 126"/>
                <a:gd name="T82" fmla="*/ 7 w 84"/>
                <a:gd name="T83" fmla="*/ 93 h 126"/>
                <a:gd name="T84" fmla="*/ 17 w 84"/>
                <a:gd name="T85" fmla="*/ 105 h 126"/>
                <a:gd name="T86" fmla="*/ 17 w 84"/>
                <a:gd name="T87" fmla="*/ 120 h 126"/>
                <a:gd name="T88" fmla="*/ 34 w 84"/>
                <a:gd name="T89" fmla="*/ 124 h 126"/>
                <a:gd name="T90" fmla="*/ 45 w 84"/>
                <a:gd name="T91" fmla="*/ 122 h 126"/>
                <a:gd name="T92" fmla="*/ 47 w 84"/>
                <a:gd name="T93"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26">
                  <a:moveTo>
                    <a:pt x="47" y="117"/>
                  </a:moveTo>
                  <a:cubicBezTo>
                    <a:pt x="45" y="117"/>
                    <a:pt x="45" y="115"/>
                    <a:pt x="43" y="116"/>
                  </a:cubicBezTo>
                  <a:cubicBezTo>
                    <a:pt x="43" y="116"/>
                    <a:pt x="39" y="116"/>
                    <a:pt x="40" y="116"/>
                  </a:cubicBezTo>
                  <a:cubicBezTo>
                    <a:pt x="42" y="114"/>
                    <a:pt x="44" y="114"/>
                    <a:pt x="40" y="112"/>
                  </a:cubicBezTo>
                  <a:cubicBezTo>
                    <a:pt x="41" y="112"/>
                    <a:pt x="41" y="112"/>
                    <a:pt x="42" y="112"/>
                  </a:cubicBezTo>
                  <a:cubicBezTo>
                    <a:pt x="40" y="111"/>
                    <a:pt x="46" y="109"/>
                    <a:pt x="47" y="109"/>
                  </a:cubicBezTo>
                  <a:cubicBezTo>
                    <a:pt x="48" y="107"/>
                    <a:pt x="46" y="105"/>
                    <a:pt x="45" y="104"/>
                  </a:cubicBezTo>
                  <a:cubicBezTo>
                    <a:pt x="46" y="102"/>
                    <a:pt x="43" y="100"/>
                    <a:pt x="45" y="98"/>
                  </a:cubicBezTo>
                  <a:cubicBezTo>
                    <a:pt x="48" y="96"/>
                    <a:pt x="42" y="97"/>
                    <a:pt x="42" y="97"/>
                  </a:cubicBezTo>
                  <a:cubicBezTo>
                    <a:pt x="42" y="96"/>
                    <a:pt x="43" y="95"/>
                    <a:pt x="44" y="95"/>
                  </a:cubicBezTo>
                  <a:cubicBezTo>
                    <a:pt x="45" y="95"/>
                    <a:pt x="46" y="95"/>
                    <a:pt x="47" y="95"/>
                  </a:cubicBezTo>
                  <a:cubicBezTo>
                    <a:pt x="49" y="94"/>
                    <a:pt x="50" y="92"/>
                    <a:pt x="51" y="91"/>
                  </a:cubicBezTo>
                  <a:cubicBezTo>
                    <a:pt x="50" y="91"/>
                    <a:pt x="49" y="91"/>
                    <a:pt x="49" y="91"/>
                  </a:cubicBezTo>
                  <a:cubicBezTo>
                    <a:pt x="48" y="90"/>
                    <a:pt x="48" y="90"/>
                    <a:pt x="47" y="89"/>
                  </a:cubicBezTo>
                  <a:cubicBezTo>
                    <a:pt x="46" y="88"/>
                    <a:pt x="45" y="88"/>
                    <a:pt x="43" y="87"/>
                  </a:cubicBezTo>
                  <a:cubicBezTo>
                    <a:pt x="46" y="86"/>
                    <a:pt x="48" y="89"/>
                    <a:pt x="51" y="89"/>
                  </a:cubicBezTo>
                  <a:cubicBezTo>
                    <a:pt x="52" y="88"/>
                    <a:pt x="55" y="88"/>
                    <a:pt x="56" y="87"/>
                  </a:cubicBezTo>
                  <a:cubicBezTo>
                    <a:pt x="56" y="87"/>
                    <a:pt x="57" y="86"/>
                    <a:pt x="57" y="85"/>
                  </a:cubicBezTo>
                  <a:cubicBezTo>
                    <a:pt x="55" y="85"/>
                    <a:pt x="58" y="83"/>
                    <a:pt x="56" y="82"/>
                  </a:cubicBezTo>
                  <a:cubicBezTo>
                    <a:pt x="55" y="82"/>
                    <a:pt x="54" y="82"/>
                    <a:pt x="52" y="82"/>
                  </a:cubicBezTo>
                  <a:cubicBezTo>
                    <a:pt x="54" y="80"/>
                    <a:pt x="56" y="80"/>
                    <a:pt x="58" y="80"/>
                  </a:cubicBezTo>
                  <a:cubicBezTo>
                    <a:pt x="59" y="80"/>
                    <a:pt x="60" y="82"/>
                    <a:pt x="61" y="82"/>
                  </a:cubicBezTo>
                  <a:cubicBezTo>
                    <a:pt x="61" y="82"/>
                    <a:pt x="62" y="79"/>
                    <a:pt x="62" y="79"/>
                  </a:cubicBezTo>
                  <a:cubicBezTo>
                    <a:pt x="64" y="77"/>
                    <a:pt x="63" y="75"/>
                    <a:pt x="64" y="74"/>
                  </a:cubicBezTo>
                  <a:cubicBezTo>
                    <a:pt x="63" y="74"/>
                    <a:pt x="63" y="74"/>
                    <a:pt x="62" y="74"/>
                  </a:cubicBezTo>
                  <a:cubicBezTo>
                    <a:pt x="64" y="72"/>
                    <a:pt x="61" y="70"/>
                    <a:pt x="62" y="68"/>
                  </a:cubicBezTo>
                  <a:cubicBezTo>
                    <a:pt x="63" y="67"/>
                    <a:pt x="65" y="66"/>
                    <a:pt x="66" y="64"/>
                  </a:cubicBezTo>
                  <a:cubicBezTo>
                    <a:pt x="67" y="63"/>
                    <a:pt x="69" y="61"/>
                    <a:pt x="70" y="64"/>
                  </a:cubicBezTo>
                  <a:cubicBezTo>
                    <a:pt x="70" y="63"/>
                    <a:pt x="69" y="66"/>
                    <a:pt x="70" y="66"/>
                  </a:cubicBezTo>
                  <a:cubicBezTo>
                    <a:pt x="69" y="66"/>
                    <a:pt x="66" y="65"/>
                    <a:pt x="66" y="67"/>
                  </a:cubicBezTo>
                  <a:cubicBezTo>
                    <a:pt x="66" y="69"/>
                    <a:pt x="70" y="66"/>
                    <a:pt x="70" y="68"/>
                  </a:cubicBezTo>
                  <a:cubicBezTo>
                    <a:pt x="71" y="68"/>
                    <a:pt x="69" y="71"/>
                    <a:pt x="71" y="71"/>
                  </a:cubicBezTo>
                  <a:cubicBezTo>
                    <a:pt x="72" y="71"/>
                    <a:pt x="72" y="69"/>
                    <a:pt x="72" y="68"/>
                  </a:cubicBezTo>
                  <a:cubicBezTo>
                    <a:pt x="72" y="66"/>
                    <a:pt x="76" y="64"/>
                    <a:pt x="75" y="67"/>
                  </a:cubicBezTo>
                  <a:cubicBezTo>
                    <a:pt x="75" y="68"/>
                    <a:pt x="77" y="69"/>
                    <a:pt x="77" y="68"/>
                  </a:cubicBezTo>
                  <a:cubicBezTo>
                    <a:pt x="77" y="66"/>
                    <a:pt x="77" y="65"/>
                    <a:pt x="78" y="64"/>
                  </a:cubicBezTo>
                  <a:cubicBezTo>
                    <a:pt x="80" y="62"/>
                    <a:pt x="84" y="58"/>
                    <a:pt x="82" y="55"/>
                  </a:cubicBezTo>
                  <a:cubicBezTo>
                    <a:pt x="80" y="51"/>
                    <a:pt x="77" y="52"/>
                    <a:pt x="73" y="53"/>
                  </a:cubicBezTo>
                  <a:cubicBezTo>
                    <a:pt x="72" y="53"/>
                    <a:pt x="69" y="53"/>
                    <a:pt x="68" y="52"/>
                  </a:cubicBezTo>
                  <a:cubicBezTo>
                    <a:pt x="66" y="51"/>
                    <a:pt x="66" y="49"/>
                    <a:pt x="65" y="49"/>
                  </a:cubicBezTo>
                  <a:cubicBezTo>
                    <a:pt x="61" y="50"/>
                    <a:pt x="64" y="55"/>
                    <a:pt x="61" y="55"/>
                  </a:cubicBezTo>
                  <a:cubicBezTo>
                    <a:pt x="62" y="53"/>
                    <a:pt x="62" y="51"/>
                    <a:pt x="63" y="50"/>
                  </a:cubicBezTo>
                  <a:cubicBezTo>
                    <a:pt x="64" y="49"/>
                    <a:pt x="66" y="49"/>
                    <a:pt x="66" y="48"/>
                  </a:cubicBezTo>
                  <a:cubicBezTo>
                    <a:pt x="67" y="45"/>
                    <a:pt x="64" y="45"/>
                    <a:pt x="62" y="45"/>
                  </a:cubicBezTo>
                  <a:cubicBezTo>
                    <a:pt x="61" y="45"/>
                    <a:pt x="61" y="45"/>
                    <a:pt x="60" y="45"/>
                  </a:cubicBezTo>
                  <a:cubicBezTo>
                    <a:pt x="60" y="45"/>
                    <a:pt x="59" y="46"/>
                    <a:pt x="58" y="46"/>
                  </a:cubicBezTo>
                  <a:cubicBezTo>
                    <a:pt x="56" y="46"/>
                    <a:pt x="53" y="49"/>
                    <a:pt x="50" y="47"/>
                  </a:cubicBezTo>
                  <a:cubicBezTo>
                    <a:pt x="53" y="47"/>
                    <a:pt x="56" y="46"/>
                    <a:pt x="58" y="45"/>
                  </a:cubicBezTo>
                  <a:cubicBezTo>
                    <a:pt x="60" y="44"/>
                    <a:pt x="63" y="45"/>
                    <a:pt x="65" y="44"/>
                  </a:cubicBezTo>
                  <a:cubicBezTo>
                    <a:pt x="64" y="45"/>
                    <a:pt x="63" y="35"/>
                    <a:pt x="65" y="33"/>
                  </a:cubicBezTo>
                  <a:cubicBezTo>
                    <a:pt x="64" y="33"/>
                    <a:pt x="64" y="33"/>
                    <a:pt x="64" y="33"/>
                  </a:cubicBezTo>
                  <a:cubicBezTo>
                    <a:pt x="64" y="33"/>
                    <a:pt x="64" y="33"/>
                    <a:pt x="64" y="33"/>
                  </a:cubicBezTo>
                  <a:cubicBezTo>
                    <a:pt x="67" y="32"/>
                    <a:pt x="67" y="27"/>
                    <a:pt x="68" y="25"/>
                  </a:cubicBezTo>
                  <a:cubicBezTo>
                    <a:pt x="69" y="24"/>
                    <a:pt x="70" y="23"/>
                    <a:pt x="71" y="22"/>
                  </a:cubicBezTo>
                  <a:cubicBezTo>
                    <a:pt x="71" y="21"/>
                    <a:pt x="70" y="19"/>
                    <a:pt x="71" y="17"/>
                  </a:cubicBezTo>
                  <a:cubicBezTo>
                    <a:pt x="71" y="15"/>
                    <a:pt x="71" y="14"/>
                    <a:pt x="70" y="12"/>
                  </a:cubicBezTo>
                  <a:cubicBezTo>
                    <a:pt x="69" y="11"/>
                    <a:pt x="68" y="9"/>
                    <a:pt x="68" y="7"/>
                  </a:cubicBezTo>
                  <a:cubicBezTo>
                    <a:pt x="69" y="4"/>
                    <a:pt x="72" y="3"/>
                    <a:pt x="74" y="1"/>
                  </a:cubicBezTo>
                  <a:cubicBezTo>
                    <a:pt x="70" y="0"/>
                    <a:pt x="66" y="4"/>
                    <a:pt x="63" y="6"/>
                  </a:cubicBezTo>
                  <a:cubicBezTo>
                    <a:pt x="60" y="7"/>
                    <a:pt x="56" y="6"/>
                    <a:pt x="53" y="9"/>
                  </a:cubicBezTo>
                  <a:cubicBezTo>
                    <a:pt x="51" y="12"/>
                    <a:pt x="49" y="15"/>
                    <a:pt x="47" y="19"/>
                  </a:cubicBezTo>
                  <a:cubicBezTo>
                    <a:pt x="42" y="26"/>
                    <a:pt x="37" y="26"/>
                    <a:pt x="29" y="26"/>
                  </a:cubicBezTo>
                  <a:cubicBezTo>
                    <a:pt x="25" y="26"/>
                    <a:pt x="22" y="28"/>
                    <a:pt x="19" y="28"/>
                  </a:cubicBezTo>
                  <a:cubicBezTo>
                    <a:pt x="17" y="27"/>
                    <a:pt x="16" y="28"/>
                    <a:pt x="14" y="30"/>
                  </a:cubicBezTo>
                  <a:cubicBezTo>
                    <a:pt x="12" y="32"/>
                    <a:pt x="9" y="35"/>
                    <a:pt x="8" y="38"/>
                  </a:cubicBezTo>
                  <a:cubicBezTo>
                    <a:pt x="6" y="40"/>
                    <a:pt x="6" y="42"/>
                    <a:pt x="6" y="45"/>
                  </a:cubicBezTo>
                  <a:cubicBezTo>
                    <a:pt x="7" y="44"/>
                    <a:pt x="6" y="39"/>
                    <a:pt x="8" y="44"/>
                  </a:cubicBezTo>
                  <a:cubicBezTo>
                    <a:pt x="9" y="46"/>
                    <a:pt x="13" y="49"/>
                    <a:pt x="14" y="50"/>
                  </a:cubicBezTo>
                  <a:cubicBezTo>
                    <a:pt x="15" y="49"/>
                    <a:pt x="16" y="49"/>
                    <a:pt x="16" y="48"/>
                  </a:cubicBezTo>
                  <a:cubicBezTo>
                    <a:pt x="16" y="49"/>
                    <a:pt x="15" y="45"/>
                    <a:pt x="16" y="46"/>
                  </a:cubicBezTo>
                  <a:cubicBezTo>
                    <a:pt x="15" y="45"/>
                    <a:pt x="12" y="46"/>
                    <a:pt x="11" y="46"/>
                  </a:cubicBezTo>
                  <a:cubicBezTo>
                    <a:pt x="11" y="45"/>
                    <a:pt x="13" y="45"/>
                    <a:pt x="13" y="45"/>
                  </a:cubicBezTo>
                  <a:cubicBezTo>
                    <a:pt x="13" y="45"/>
                    <a:pt x="13" y="45"/>
                    <a:pt x="13" y="44"/>
                  </a:cubicBezTo>
                  <a:cubicBezTo>
                    <a:pt x="13" y="44"/>
                    <a:pt x="12" y="42"/>
                    <a:pt x="14" y="41"/>
                  </a:cubicBezTo>
                  <a:cubicBezTo>
                    <a:pt x="16" y="39"/>
                    <a:pt x="17" y="35"/>
                    <a:pt x="19" y="35"/>
                  </a:cubicBezTo>
                  <a:cubicBezTo>
                    <a:pt x="20" y="35"/>
                    <a:pt x="23" y="34"/>
                    <a:pt x="23" y="33"/>
                  </a:cubicBezTo>
                  <a:cubicBezTo>
                    <a:pt x="24" y="32"/>
                    <a:pt x="25" y="34"/>
                    <a:pt x="25" y="32"/>
                  </a:cubicBezTo>
                  <a:cubicBezTo>
                    <a:pt x="26" y="31"/>
                    <a:pt x="31" y="33"/>
                    <a:pt x="31" y="30"/>
                  </a:cubicBezTo>
                  <a:cubicBezTo>
                    <a:pt x="32" y="31"/>
                    <a:pt x="33" y="33"/>
                    <a:pt x="34" y="32"/>
                  </a:cubicBezTo>
                  <a:cubicBezTo>
                    <a:pt x="36" y="32"/>
                    <a:pt x="38" y="31"/>
                    <a:pt x="40" y="31"/>
                  </a:cubicBezTo>
                  <a:cubicBezTo>
                    <a:pt x="42" y="30"/>
                    <a:pt x="44" y="30"/>
                    <a:pt x="46" y="29"/>
                  </a:cubicBezTo>
                  <a:cubicBezTo>
                    <a:pt x="48" y="29"/>
                    <a:pt x="48" y="30"/>
                    <a:pt x="49" y="28"/>
                  </a:cubicBezTo>
                  <a:cubicBezTo>
                    <a:pt x="50" y="27"/>
                    <a:pt x="51" y="29"/>
                    <a:pt x="52" y="29"/>
                  </a:cubicBezTo>
                  <a:cubicBezTo>
                    <a:pt x="54" y="30"/>
                    <a:pt x="55" y="29"/>
                    <a:pt x="56" y="29"/>
                  </a:cubicBezTo>
                  <a:cubicBezTo>
                    <a:pt x="58" y="29"/>
                    <a:pt x="59" y="31"/>
                    <a:pt x="61" y="32"/>
                  </a:cubicBezTo>
                  <a:cubicBezTo>
                    <a:pt x="60" y="32"/>
                    <a:pt x="60" y="32"/>
                    <a:pt x="59" y="31"/>
                  </a:cubicBezTo>
                  <a:cubicBezTo>
                    <a:pt x="58" y="30"/>
                    <a:pt x="56" y="28"/>
                    <a:pt x="55" y="29"/>
                  </a:cubicBezTo>
                  <a:cubicBezTo>
                    <a:pt x="53" y="30"/>
                    <a:pt x="47" y="29"/>
                    <a:pt x="46" y="32"/>
                  </a:cubicBezTo>
                  <a:cubicBezTo>
                    <a:pt x="43" y="35"/>
                    <a:pt x="45" y="32"/>
                    <a:pt x="41" y="31"/>
                  </a:cubicBezTo>
                  <a:cubicBezTo>
                    <a:pt x="38" y="31"/>
                    <a:pt x="34" y="33"/>
                    <a:pt x="33" y="36"/>
                  </a:cubicBezTo>
                  <a:cubicBezTo>
                    <a:pt x="32" y="38"/>
                    <a:pt x="33" y="37"/>
                    <a:pt x="33" y="39"/>
                  </a:cubicBezTo>
                  <a:cubicBezTo>
                    <a:pt x="33" y="40"/>
                    <a:pt x="32" y="41"/>
                    <a:pt x="33" y="42"/>
                  </a:cubicBezTo>
                  <a:cubicBezTo>
                    <a:pt x="33" y="42"/>
                    <a:pt x="34" y="43"/>
                    <a:pt x="34" y="44"/>
                  </a:cubicBezTo>
                  <a:cubicBezTo>
                    <a:pt x="34" y="44"/>
                    <a:pt x="32" y="46"/>
                    <a:pt x="33" y="46"/>
                  </a:cubicBezTo>
                  <a:cubicBezTo>
                    <a:pt x="34" y="47"/>
                    <a:pt x="37" y="43"/>
                    <a:pt x="36" y="48"/>
                  </a:cubicBezTo>
                  <a:cubicBezTo>
                    <a:pt x="36" y="51"/>
                    <a:pt x="36" y="49"/>
                    <a:pt x="38" y="51"/>
                  </a:cubicBezTo>
                  <a:cubicBezTo>
                    <a:pt x="38" y="52"/>
                    <a:pt x="32" y="53"/>
                    <a:pt x="35" y="49"/>
                  </a:cubicBezTo>
                  <a:cubicBezTo>
                    <a:pt x="37" y="47"/>
                    <a:pt x="32" y="49"/>
                    <a:pt x="32" y="47"/>
                  </a:cubicBezTo>
                  <a:cubicBezTo>
                    <a:pt x="31" y="47"/>
                    <a:pt x="31" y="48"/>
                    <a:pt x="31" y="48"/>
                  </a:cubicBezTo>
                  <a:cubicBezTo>
                    <a:pt x="31" y="48"/>
                    <a:pt x="31" y="48"/>
                    <a:pt x="32" y="49"/>
                  </a:cubicBezTo>
                  <a:cubicBezTo>
                    <a:pt x="32" y="49"/>
                    <a:pt x="30" y="50"/>
                    <a:pt x="30" y="50"/>
                  </a:cubicBezTo>
                  <a:cubicBezTo>
                    <a:pt x="30" y="50"/>
                    <a:pt x="29" y="52"/>
                    <a:pt x="29" y="50"/>
                  </a:cubicBezTo>
                  <a:cubicBezTo>
                    <a:pt x="28" y="47"/>
                    <a:pt x="32" y="46"/>
                    <a:pt x="32" y="44"/>
                  </a:cubicBezTo>
                  <a:cubicBezTo>
                    <a:pt x="31" y="41"/>
                    <a:pt x="28" y="40"/>
                    <a:pt x="26" y="41"/>
                  </a:cubicBezTo>
                  <a:cubicBezTo>
                    <a:pt x="25" y="41"/>
                    <a:pt x="23" y="42"/>
                    <a:pt x="23" y="43"/>
                  </a:cubicBezTo>
                  <a:cubicBezTo>
                    <a:pt x="23" y="45"/>
                    <a:pt x="24" y="44"/>
                    <a:pt x="25" y="45"/>
                  </a:cubicBezTo>
                  <a:cubicBezTo>
                    <a:pt x="24" y="45"/>
                    <a:pt x="22" y="46"/>
                    <a:pt x="21" y="47"/>
                  </a:cubicBezTo>
                  <a:cubicBezTo>
                    <a:pt x="20" y="47"/>
                    <a:pt x="18" y="48"/>
                    <a:pt x="18" y="48"/>
                  </a:cubicBezTo>
                  <a:cubicBezTo>
                    <a:pt x="18" y="50"/>
                    <a:pt x="23" y="52"/>
                    <a:pt x="19" y="54"/>
                  </a:cubicBezTo>
                  <a:cubicBezTo>
                    <a:pt x="16" y="56"/>
                    <a:pt x="15" y="50"/>
                    <a:pt x="14" y="51"/>
                  </a:cubicBezTo>
                  <a:cubicBezTo>
                    <a:pt x="13" y="53"/>
                    <a:pt x="8" y="48"/>
                    <a:pt x="8" y="51"/>
                  </a:cubicBezTo>
                  <a:cubicBezTo>
                    <a:pt x="7" y="50"/>
                    <a:pt x="8" y="50"/>
                    <a:pt x="7" y="49"/>
                  </a:cubicBezTo>
                  <a:cubicBezTo>
                    <a:pt x="6" y="49"/>
                    <a:pt x="5" y="48"/>
                    <a:pt x="5" y="48"/>
                  </a:cubicBezTo>
                  <a:cubicBezTo>
                    <a:pt x="5" y="47"/>
                    <a:pt x="6" y="45"/>
                    <a:pt x="5" y="45"/>
                  </a:cubicBezTo>
                  <a:cubicBezTo>
                    <a:pt x="3" y="45"/>
                    <a:pt x="2" y="50"/>
                    <a:pt x="2" y="53"/>
                  </a:cubicBezTo>
                  <a:cubicBezTo>
                    <a:pt x="2" y="54"/>
                    <a:pt x="2" y="55"/>
                    <a:pt x="2" y="57"/>
                  </a:cubicBezTo>
                  <a:cubicBezTo>
                    <a:pt x="2" y="59"/>
                    <a:pt x="2" y="61"/>
                    <a:pt x="2" y="63"/>
                  </a:cubicBezTo>
                  <a:cubicBezTo>
                    <a:pt x="2" y="65"/>
                    <a:pt x="0" y="74"/>
                    <a:pt x="2" y="75"/>
                  </a:cubicBezTo>
                  <a:cubicBezTo>
                    <a:pt x="3" y="75"/>
                    <a:pt x="3" y="71"/>
                    <a:pt x="3" y="70"/>
                  </a:cubicBezTo>
                  <a:cubicBezTo>
                    <a:pt x="4" y="70"/>
                    <a:pt x="8" y="71"/>
                    <a:pt x="8" y="74"/>
                  </a:cubicBezTo>
                  <a:cubicBezTo>
                    <a:pt x="7" y="76"/>
                    <a:pt x="12" y="78"/>
                    <a:pt x="8" y="80"/>
                  </a:cubicBezTo>
                  <a:cubicBezTo>
                    <a:pt x="2" y="85"/>
                    <a:pt x="5" y="79"/>
                    <a:pt x="2" y="75"/>
                  </a:cubicBezTo>
                  <a:cubicBezTo>
                    <a:pt x="2" y="79"/>
                    <a:pt x="4" y="82"/>
                    <a:pt x="4" y="86"/>
                  </a:cubicBezTo>
                  <a:cubicBezTo>
                    <a:pt x="4" y="88"/>
                    <a:pt x="2" y="90"/>
                    <a:pt x="1" y="92"/>
                  </a:cubicBezTo>
                  <a:cubicBezTo>
                    <a:pt x="0" y="95"/>
                    <a:pt x="6" y="96"/>
                    <a:pt x="7" y="97"/>
                  </a:cubicBezTo>
                  <a:cubicBezTo>
                    <a:pt x="6" y="96"/>
                    <a:pt x="4" y="92"/>
                    <a:pt x="7" y="93"/>
                  </a:cubicBezTo>
                  <a:cubicBezTo>
                    <a:pt x="7" y="93"/>
                    <a:pt x="9" y="96"/>
                    <a:pt x="9" y="96"/>
                  </a:cubicBezTo>
                  <a:cubicBezTo>
                    <a:pt x="10" y="97"/>
                    <a:pt x="11" y="98"/>
                    <a:pt x="12" y="98"/>
                  </a:cubicBezTo>
                  <a:cubicBezTo>
                    <a:pt x="16" y="99"/>
                    <a:pt x="17" y="99"/>
                    <a:pt x="17" y="105"/>
                  </a:cubicBezTo>
                  <a:cubicBezTo>
                    <a:pt x="17" y="106"/>
                    <a:pt x="19" y="112"/>
                    <a:pt x="17" y="112"/>
                  </a:cubicBezTo>
                  <a:cubicBezTo>
                    <a:pt x="19" y="112"/>
                    <a:pt x="17" y="113"/>
                    <a:pt x="17" y="115"/>
                  </a:cubicBezTo>
                  <a:cubicBezTo>
                    <a:pt x="17" y="117"/>
                    <a:pt x="17" y="118"/>
                    <a:pt x="17" y="120"/>
                  </a:cubicBezTo>
                  <a:cubicBezTo>
                    <a:pt x="18" y="123"/>
                    <a:pt x="20" y="122"/>
                    <a:pt x="22" y="121"/>
                  </a:cubicBezTo>
                  <a:cubicBezTo>
                    <a:pt x="24" y="121"/>
                    <a:pt x="26" y="122"/>
                    <a:pt x="27" y="122"/>
                  </a:cubicBezTo>
                  <a:cubicBezTo>
                    <a:pt x="28" y="123"/>
                    <a:pt x="33" y="123"/>
                    <a:pt x="34" y="124"/>
                  </a:cubicBezTo>
                  <a:cubicBezTo>
                    <a:pt x="34" y="126"/>
                    <a:pt x="36" y="126"/>
                    <a:pt x="37" y="125"/>
                  </a:cubicBezTo>
                  <a:cubicBezTo>
                    <a:pt x="39" y="125"/>
                    <a:pt x="45" y="120"/>
                    <a:pt x="45" y="121"/>
                  </a:cubicBezTo>
                  <a:cubicBezTo>
                    <a:pt x="45" y="121"/>
                    <a:pt x="45" y="122"/>
                    <a:pt x="45" y="122"/>
                  </a:cubicBezTo>
                  <a:cubicBezTo>
                    <a:pt x="46" y="124"/>
                    <a:pt x="47" y="123"/>
                    <a:pt x="47" y="124"/>
                  </a:cubicBezTo>
                  <a:cubicBezTo>
                    <a:pt x="49" y="126"/>
                    <a:pt x="48" y="123"/>
                    <a:pt x="47" y="122"/>
                  </a:cubicBezTo>
                  <a:cubicBezTo>
                    <a:pt x="50" y="123"/>
                    <a:pt x="48" y="118"/>
                    <a:pt x="47" y="117"/>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98">
              <a:extLst>
                <a:ext uri="{FF2B5EF4-FFF2-40B4-BE49-F238E27FC236}">
                  <a16:creationId xmlns:a16="http://schemas.microsoft.com/office/drawing/2014/main" id="{CE9C6DFC-F464-1ABB-6696-4E473023C5BE}"/>
                </a:ext>
              </a:extLst>
            </p:cNvPr>
            <p:cNvSpPr>
              <a:spLocks/>
            </p:cNvSpPr>
            <p:nvPr/>
          </p:nvSpPr>
          <p:spPr bwMode="auto">
            <a:xfrm>
              <a:off x="2539362" y="3801420"/>
              <a:ext cx="17709" cy="34565"/>
            </a:xfrm>
            <a:custGeom>
              <a:avLst/>
              <a:gdLst>
                <a:gd name="T0" fmla="*/ 4 w 6"/>
                <a:gd name="T1" fmla="*/ 10 h 12"/>
                <a:gd name="T2" fmla="*/ 6 w 6"/>
                <a:gd name="T3" fmla="*/ 5 h 12"/>
                <a:gd name="T4" fmla="*/ 2 w 6"/>
                <a:gd name="T5" fmla="*/ 1 h 12"/>
                <a:gd name="T6" fmla="*/ 3 w 6"/>
                <a:gd name="T7" fmla="*/ 5 h 12"/>
                <a:gd name="T8" fmla="*/ 1 w 6"/>
                <a:gd name="T9" fmla="*/ 8 h 12"/>
                <a:gd name="T10" fmla="*/ 4 w 6"/>
                <a:gd name="T11" fmla="*/ 10 h 12"/>
              </a:gdLst>
              <a:ahLst/>
              <a:cxnLst>
                <a:cxn ang="0">
                  <a:pos x="T0" y="T1"/>
                </a:cxn>
                <a:cxn ang="0">
                  <a:pos x="T2" y="T3"/>
                </a:cxn>
                <a:cxn ang="0">
                  <a:pos x="T4" y="T5"/>
                </a:cxn>
                <a:cxn ang="0">
                  <a:pos x="T6" y="T7"/>
                </a:cxn>
                <a:cxn ang="0">
                  <a:pos x="T8" y="T9"/>
                </a:cxn>
                <a:cxn ang="0">
                  <a:pos x="T10" y="T11"/>
                </a:cxn>
              </a:cxnLst>
              <a:rect l="0" t="0" r="r" b="b"/>
              <a:pathLst>
                <a:path w="6" h="12">
                  <a:moveTo>
                    <a:pt x="4" y="10"/>
                  </a:moveTo>
                  <a:cubicBezTo>
                    <a:pt x="5" y="9"/>
                    <a:pt x="6" y="7"/>
                    <a:pt x="6" y="5"/>
                  </a:cubicBezTo>
                  <a:cubicBezTo>
                    <a:pt x="6" y="8"/>
                    <a:pt x="3" y="1"/>
                    <a:pt x="2" y="1"/>
                  </a:cubicBezTo>
                  <a:cubicBezTo>
                    <a:pt x="0" y="0"/>
                    <a:pt x="3" y="5"/>
                    <a:pt x="3" y="5"/>
                  </a:cubicBezTo>
                  <a:cubicBezTo>
                    <a:pt x="4" y="6"/>
                    <a:pt x="2" y="8"/>
                    <a:pt x="1" y="8"/>
                  </a:cubicBezTo>
                  <a:cubicBezTo>
                    <a:pt x="1" y="10"/>
                    <a:pt x="3" y="12"/>
                    <a:pt x="4" y="1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6" name="Freeform 99">
              <a:extLst>
                <a:ext uri="{FF2B5EF4-FFF2-40B4-BE49-F238E27FC236}">
                  <a16:creationId xmlns:a16="http://schemas.microsoft.com/office/drawing/2014/main" id="{418EB7C1-D0CD-890D-3A6F-5DD6977C6373}"/>
                </a:ext>
              </a:extLst>
            </p:cNvPr>
            <p:cNvSpPr>
              <a:spLocks/>
            </p:cNvSpPr>
            <p:nvPr/>
          </p:nvSpPr>
          <p:spPr bwMode="auto">
            <a:xfrm>
              <a:off x="2573599" y="3787118"/>
              <a:ext cx="141673" cy="191895"/>
            </a:xfrm>
            <a:custGeom>
              <a:avLst/>
              <a:gdLst>
                <a:gd name="T0" fmla="*/ 47 w 51"/>
                <a:gd name="T1" fmla="*/ 2 h 68"/>
                <a:gd name="T2" fmla="*/ 37 w 51"/>
                <a:gd name="T3" fmla="*/ 2 h 68"/>
                <a:gd name="T4" fmla="*/ 30 w 51"/>
                <a:gd name="T5" fmla="*/ 8 h 68"/>
                <a:gd name="T6" fmla="*/ 35 w 51"/>
                <a:gd name="T7" fmla="*/ 19 h 68"/>
                <a:gd name="T8" fmla="*/ 33 w 51"/>
                <a:gd name="T9" fmla="*/ 19 h 68"/>
                <a:gd name="T10" fmla="*/ 34 w 51"/>
                <a:gd name="T11" fmla="*/ 16 h 68"/>
                <a:gd name="T12" fmla="*/ 30 w 51"/>
                <a:gd name="T13" fmla="*/ 14 h 68"/>
                <a:gd name="T14" fmla="*/ 22 w 51"/>
                <a:gd name="T15" fmla="*/ 17 h 68"/>
                <a:gd name="T16" fmla="*/ 21 w 51"/>
                <a:gd name="T17" fmla="*/ 15 h 68"/>
                <a:gd name="T18" fmla="*/ 25 w 51"/>
                <a:gd name="T19" fmla="*/ 10 h 68"/>
                <a:gd name="T20" fmla="*/ 21 w 51"/>
                <a:gd name="T21" fmla="*/ 8 h 68"/>
                <a:gd name="T22" fmla="*/ 18 w 51"/>
                <a:gd name="T23" fmla="*/ 10 h 68"/>
                <a:gd name="T24" fmla="*/ 12 w 51"/>
                <a:gd name="T25" fmla="*/ 17 h 68"/>
                <a:gd name="T26" fmla="*/ 8 w 51"/>
                <a:gd name="T27" fmla="*/ 16 h 68"/>
                <a:gd name="T28" fmla="*/ 0 w 51"/>
                <a:gd name="T29" fmla="*/ 17 h 68"/>
                <a:gd name="T30" fmla="*/ 2 w 51"/>
                <a:gd name="T31" fmla="*/ 20 h 68"/>
                <a:gd name="T32" fmla="*/ 6 w 51"/>
                <a:gd name="T33" fmla="*/ 27 h 68"/>
                <a:gd name="T34" fmla="*/ 10 w 51"/>
                <a:gd name="T35" fmla="*/ 32 h 68"/>
                <a:gd name="T36" fmla="*/ 9 w 51"/>
                <a:gd name="T37" fmla="*/ 34 h 68"/>
                <a:gd name="T38" fmla="*/ 12 w 51"/>
                <a:gd name="T39" fmla="*/ 38 h 68"/>
                <a:gd name="T40" fmla="*/ 16 w 51"/>
                <a:gd name="T41" fmla="*/ 39 h 68"/>
                <a:gd name="T42" fmla="*/ 24 w 51"/>
                <a:gd name="T43" fmla="*/ 39 h 68"/>
                <a:gd name="T44" fmla="*/ 27 w 51"/>
                <a:gd name="T45" fmla="*/ 42 h 68"/>
                <a:gd name="T46" fmla="*/ 28 w 51"/>
                <a:gd name="T47" fmla="*/ 46 h 68"/>
                <a:gd name="T48" fmla="*/ 29 w 51"/>
                <a:gd name="T49" fmla="*/ 49 h 68"/>
                <a:gd name="T50" fmla="*/ 27 w 51"/>
                <a:gd name="T51" fmla="*/ 56 h 68"/>
                <a:gd name="T52" fmla="*/ 26 w 51"/>
                <a:gd name="T53" fmla="*/ 56 h 68"/>
                <a:gd name="T54" fmla="*/ 23 w 51"/>
                <a:gd name="T55" fmla="*/ 54 h 68"/>
                <a:gd name="T56" fmla="*/ 21 w 51"/>
                <a:gd name="T57" fmla="*/ 56 h 68"/>
                <a:gd name="T58" fmla="*/ 9 w 51"/>
                <a:gd name="T59" fmla="*/ 50 h 68"/>
                <a:gd name="T60" fmla="*/ 4 w 51"/>
                <a:gd name="T61" fmla="*/ 57 h 68"/>
                <a:gd name="T62" fmla="*/ 12 w 51"/>
                <a:gd name="T63" fmla="*/ 61 h 68"/>
                <a:gd name="T64" fmla="*/ 24 w 51"/>
                <a:gd name="T65" fmla="*/ 63 h 68"/>
                <a:gd name="T66" fmla="*/ 28 w 51"/>
                <a:gd name="T67" fmla="*/ 59 h 68"/>
                <a:gd name="T68" fmla="*/ 30 w 51"/>
                <a:gd name="T69" fmla="*/ 60 h 68"/>
                <a:gd name="T70" fmla="*/ 32 w 51"/>
                <a:gd name="T71" fmla="*/ 63 h 68"/>
                <a:gd name="T72" fmla="*/ 36 w 51"/>
                <a:gd name="T73" fmla="*/ 53 h 68"/>
                <a:gd name="T74" fmla="*/ 30 w 51"/>
                <a:gd name="T75" fmla="*/ 51 h 68"/>
                <a:gd name="T76" fmla="*/ 33 w 51"/>
                <a:gd name="T77" fmla="*/ 49 h 68"/>
                <a:gd name="T78" fmla="*/ 35 w 51"/>
                <a:gd name="T79" fmla="*/ 43 h 68"/>
                <a:gd name="T80" fmla="*/ 35 w 51"/>
                <a:gd name="T81" fmla="*/ 42 h 68"/>
                <a:gd name="T82" fmla="*/ 40 w 51"/>
                <a:gd name="T83" fmla="*/ 38 h 68"/>
                <a:gd name="T84" fmla="*/ 38 w 51"/>
                <a:gd name="T85" fmla="*/ 29 h 68"/>
                <a:gd name="T86" fmla="*/ 49 w 51"/>
                <a:gd name="T87" fmla="*/ 17 h 68"/>
                <a:gd name="T88" fmla="*/ 47 w 51"/>
                <a:gd name="T89"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 h="68">
                  <a:moveTo>
                    <a:pt x="47" y="9"/>
                  </a:moveTo>
                  <a:cubicBezTo>
                    <a:pt x="47" y="5"/>
                    <a:pt x="51" y="4"/>
                    <a:pt x="47" y="2"/>
                  </a:cubicBezTo>
                  <a:cubicBezTo>
                    <a:pt x="45" y="1"/>
                    <a:pt x="43" y="1"/>
                    <a:pt x="42" y="1"/>
                  </a:cubicBezTo>
                  <a:cubicBezTo>
                    <a:pt x="40" y="0"/>
                    <a:pt x="38" y="0"/>
                    <a:pt x="37" y="2"/>
                  </a:cubicBezTo>
                  <a:cubicBezTo>
                    <a:pt x="35" y="3"/>
                    <a:pt x="33" y="4"/>
                    <a:pt x="31" y="5"/>
                  </a:cubicBezTo>
                  <a:cubicBezTo>
                    <a:pt x="30" y="6"/>
                    <a:pt x="26" y="10"/>
                    <a:pt x="30" y="8"/>
                  </a:cubicBezTo>
                  <a:cubicBezTo>
                    <a:pt x="34" y="7"/>
                    <a:pt x="33" y="11"/>
                    <a:pt x="34" y="14"/>
                  </a:cubicBezTo>
                  <a:cubicBezTo>
                    <a:pt x="34" y="16"/>
                    <a:pt x="35" y="17"/>
                    <a:pt x="35" y="19"/>
                  </a:cubicBezTo>
                  <a:cubicBezTo>
                    <a:pt x="34" y="19"/>
                    <a:pt x="33" y="20"/>
                    <a:pt x="33" y="20"/>
                  </a:cubicBezTo>
                  <a:cubicBezTo>
                    <a:pt x="33" y="19"/>
                    <a:pt x="33" y="19"/>
                    <a:pt x="33" y="19"/>
                  </a:cubicBezTo>
                  <a:cubicBezTo>
                    <a:pt x="32" y="18"/>
                    <a:pt x="30" y="20"/>
                    <a:pt x="30" y="20"/>
                  </a:cubicBezTo>
                  <a:cubicBezTo>
                    <a:pt x="29" y="18"/>
                    <a:pt x="34" y="18"/>
                    <a:pt x="34" y="16"/>
                  </a:cubicBezTo>
                  <a:cubicBezTo>
                    <a:pt x="34" y="15"/>
                    <a:pt x="32" y="10"/>
                    <a:pt x="31" y="9"/>
                  </a:cubicBezTo>
                  <a:cubicBezTo>
                    <a:pt x="29" y="7"/>
                    <a:pt x="31" y="13"/>
                    <a:pt x="30" y="14"/>
                  </a:cubicBezTo>
                  <a:cubicBezTo>
                    <a:pt x="27" y="14"/>
                    <a:pt x="29" y="19"/>
                    <a:pt x="26" y="20"/>
                  </a:cubicBezTo>
                  <a:cubicBezTo>
                    <a:pt x="28" y="17"/>
                    <a:pt x="23" y="18"/>
                    <a:pt x="22" y="17"/>
                  </a:cubicBezTo>
                  <a:cubicBezTo>
                    <a:pt x="23" y="17"/>
                    <a:pt x="26" y="17"/>
                    <a:pt x="25" y="15"/>
                  </a:cubicBezTo>
                  <a:cubicBezTo>
                    <a:pt x="24" y="14"/>
                    <a:pt x="22" y="16"/>
                    <a:pt x="21" y="15"/>
                  </a:cubicBezTo>
                  <a:cubicBezTo>
                    <a:pt x="22" y="14"/>
                    <a:pt x="26" y="13"/>
                    <a:pt x="23" y="11"/>
                  </a:cubicBezTo>
                  <a:cubicBezTo>
                    <a:pt x="21" y="9"/>
                    <a:pt x="24" y="9"/>
                    <a:pt x="25" y="10"/>
                  </a:cubicBezTo>
                  <a:cubicBezTo>
                    <a:pt x="25" y="8"/>
                    <a:pt x="26" y="7"/>
                    <a:pt x="24" y="7"/>
                  </a:cubicBezTo>
                  <a:cubicBezTo>
                    <a:pt x="23" y="8"/>
                    <a:pt x="22" y="8"/>
                    <a:pt x="21" y="8"/>
                  </a:cubicBezTo>
                  <a:cubicBezTo>
                    <a:pt x="18" y="8"/>
                    <a:pt x="14" y="6"/>
                    <a:pt x="11" y="6"/>
                  </a:cubicBezTo>
                  <a:cubicBezTo>
                    <a:pt x="13" y="8"/>
                    <a:pt x="17" y="7"/>
                    <a:pt x="18" y="10"/>
                  </a:cubicBezTo>
                  <a:cubicBezTo>
                    <a:pt x="19" y="12"/>
                    <a:pt x="15" y="13"/>
                    <a:pt x="14" y="13"/>
                  </a:cubicBezTo>
                  <a:cubicBezTo>
                    <a:pt x="15" y="15"/>
                    <a:pt x="14" y="16"/>
                    <a:pt x="12" y="17"/>
                  </a:cubicBezTo>
                  <a:cubicBezTo>
                    <a:pt x="11" y="17"/>
                    <a:pt x="8" y="17"/>
                    <a:pt x="10" y="18"/>
                  </a:cubicBezTo>
                  <a:cubicBezTo>
                    <a:pt x="9" y="19"/>
                    <a:pt x="6" y="18"/>
                    <a:pt x="8" y="16"/>
                  </a:cubicBezTo>
                  <a:cubicBezTo>
                    <a:pt x="7" y="16"/>
                    <a:pt x="5" y="17"/>
                    <a:pt x="4" y="17"/>
                  </a:cubicBezTo>
                  <a:cubicBezTo>
                    <a:pt x="3" y="17"/>
                    <a:pt x="1" y="16"/>
                    <a:pt x="0" y="17"/>
                  </a:cubicBezTo>
                  <a:cubicBezTo>
                    <a:pt x="0" y="17"/>
                    <a:pt x="5" y="20"/>
                    <a:pt x="5" y="20"/>
                  </a:cubicBezTo>
                  <a:cubicBezTo>
                    <a:pt x="5" y="20"/>
                    <a:pt x="3" y="20"/>
                    <a:pt x="2" y="20"/>
                  </a:cubicBezTo>
                  <a:cubicBezTo>
                    <a:pt x="3" y="21"/>
                    <a:pt x="9" y="21"/>
                    <a:pt x="8" y="24"/>
                  </a:cubicBezTo>
                  <a:cubicBezTo>
                    <a:pt x="7" y="25"/>
                    <a:pt x="6" y="25"/>
                    <a:pt x="6" y="27"/>
                  </a:cubicBezTo>
                  <a:cubicBezTo>
                    <a:pt x="6" y="26"/>
                    <a:pt x="8" y="27"/>
                    <a:pt x="8" y="27"/>
                  </a:cubicBezTo>
                  <a:cubicBezTo>
                    <a:pt x="10" y="28"/>
                    <a:pt x="9" y="30"/>
                    <a:pt x="10" y="32"/>
                  </a:cubicBezTo>
                  <a:cubicBezTo>
                    <a:pt x="10" y="32"/>
                    <a:pt x="5" y="34"/>
                    <a:pt x="7" y="34"/>
                  </a:cubicBezTo>
                  <a:cubicBezTo>
                    <a:pt x="7" y="34"/>
                    <a:pt x="8" y="33"/>
                    <a:pt x="9" y="34"/>
                  </a:cubicBezTo>
                  <a:cubicBezTo>
                    <a:pt x="9" y="34"/>
                    <a:pt x="8" y="35"/>
                    <a:pt x="8" y="35"/>
                  </a:cubicBezTo>
                  <a:cubicBezTo>
                    <a:pt x="9" y="35"/>
                    <a:pt x="11" y="38"/>
                    <a:pt x="12" y="38"/>
                  </a:cubicBezTo>
                  <a:cubicBezTo>
                    <a:pt x="10" y="39"/>
                    <a:pt x="11" y="41"/>
                    <a:pt x="13" y="40"/>
                  </a:cubicBezTo>
                  <a:cubicBezTo>
                    <a:pt x="12" y="39"/>
                    <a:pt x="14" y="39"/>
                    <a:pt x="16" y="39"/>
                  </a:cubicBezTo>
                  <a:cubicBezTo>
                    <a:pt x="18" y="40"/>
                    <a:pt x="20" y="40"/>
                    <a:pt x="21" y="40"/>
                  </a:cubicBezTo>
                  <a:cubicBezTo>
                    <a:pt x="22" y="41"/>
                    <a:pt x="23" y="39"/>
                    <a:pt x="24" y="39"/>
                  </a:cubicBezTo>
                  <a:cubicBezTo>
                    <a:pt x="26" y="40"/>
                    <a:pt x="24" y="41"/>
                    <a:pt x="24" y="41"/>
                  </a:cubicBezTo>
                  <a:cubicBezTo>
                    <a:pt x="25" y="42"/>
                    <a:pt x="27" y="41"/>
                    <a:pt x="27" y="42"/>
                  </a:cubicBezTo>
                  <a:cubicBezTo>
                    <a:pt x="28" y="43"/>
                    <a:pt x="25" y="43"/>
                    <a:pt x="25" y="43"/>
                  </a:cubicBezTo>
                  <a:cubicBezTo>
                    <a:pt x="24" y="44"/>
                    <a:pt x="27" y="45"/>
                    <a:pt x="28" y="46"/>
                  </a:cubicBezTo>
                  <a:cubicBezTo>
                    <a:pt x="25" y="46"/>
                    <a:pt x="24" y="45"/>
                    <a:pt x="22" y="45"/>
                  </a:cubicBezTo>
                  <a:cubicBezTo>
                    <a:pt x="23" y="46"/>
                    <a:pt x="29" y="46"/>
                    <a:pt x="29" y="49"/>
                  </a:cubicBezTo>
                  <a:cubicBezTo>
                    <a:pt x="29" y="51"/>
                    <a:pt x="26" y="50"/>
                    <a:pt x="25" y="50"/>
                  </a:cubicBezTo>
                  <a:cubicBezTo>
                    <a:pt x="24" y="51"/>
                    <a:pt x="25" y="53"/>
                    <a:pt x="27" y="56"/>
                  </a:cubicBezTo>
                  <a:cubicBezTo>
                    <a:pt x="27" y="56"/>
                    <a:pt x="27" y="57"/>
                    <a:pt x="27" y="57"/>
                  </a:cubicBezTo>
                  <a:cubicBezTo>
                    <a:pt x="27" y="57"/>
                    <a:pt x="26" y="56"/>
                    <a:pt x="26" y="56"/>
                  </a:cubicBezTo>
                  <a:cubicBezTo>
                    <a:pt x="25" y="55"/>
                    <a:pt x="23" y="52"/>
                    <a:pt x="22" y="53"/>
                  </a:cubicBezTo>
                  <a:cubicBezTo>
                    <a:pt x="22" y="53"/>
                    <a:pt x="22" y="54"/>
                    <a:pt x="23" y="54"/>
                  </a:cubicBezTo>
                  <a:cubicBezTo>
                    <a:pt x="22" y="54"/>
                    <a:pt x="21" y="54"/>
                    <a:pt x="21" y="55"/>
                  </a:cubicBezTo>
                  <a:cubicBezTo>
                    <a:pt x="21" y="56"/>
                    <a:pt x="21" y="56"/>
                    <a:pt x="21" y="56"/>
                  </a:cubicBezTo>
                  <a:cubicBezTo>
                    <a:pt x="18" y="55"/>
                    <a:pt x="16" y="54"/>
                    <a:pt x="14" y="52"/>
                  </a:cubicBezTo>
                  <a:cubicBezTo>
                    <a:pt x="12" y="51"/>
                    <a:pt x="11" y="50"/>
                    <a:pt x="9" y="50"/>
                  </a:cubicBezTo>
                  <a:cubicBezTo>
                    <a:pt x="8" y="50"/>
                    <a:pt x="2" y="52"/>
                    <a:pt x="5" y="55"/>
                  </a:cubicBezTo>
                  <a:cubicBezTo>
                    <a:pt x="9" y="57"/>
                    <a:pt x="3" y="55"/>
                    <a:pt x="4" y="57"/>
                  </a:cubicBezTo>
                  <a:cubicBezTo>
                    <a:pt x="4" y="58"/>
                    <a:pt x="6" y="59"/>
                    <a:pt x="8" y="60"/>
                  </a:cubicBezTo>
                  <a:cubicBezTo>
                    <a:pt x="10" y="61"/>
                    <a:pt x="11" y="61"/>
                    <a:pt x="12" y="61"/>
                  </a:cubicBezTo>
                  <a:cubicBezTo>
                    <a:pt x="14" y="62"/>
                    <a:pt x="15" y="64"/>
                    <a:pt x="17" y="64"/>
                  </a:cubicBezTo>
                  <a:cubicBezTo>
                    <a:pt x="20" y="64"/>
                    <a:pt x="22" y="63"/>
                    <a:pt x="24" y="63"/>
                  </a:cubicBezTo>
                  <a:cubicBezTo>
                    <a:pt x="26" y="64"/>
                    <a:pt x="29" y="63"/>
                    <a:pt x="27" y="61"/>
                  </a:cubicBezTo>
                  <a:cubicBezTo>
                    <a:pt x="27" y="61"/>
                    <a:pt x="28" y="60"/>
                    <a:pt x="28" y="59"/>
                  </a:cubicBezTo>
                  <a:cubicBezTo>
                    <a:pt x="28" y="59"/>
                    <a:pt x="28" y="59"/>
                    <a:pt x="28" y="58"/>
                  </a:cubicBezTo>
                  <a:cubicBezTo>
                    <a:pt x="29" y="60"/>
                    <a:pt x="30" y="60"/>
                    <a:pt x="30" y="60"/>
                  </a:cubicBezTo>
                  <a:cubicBezTo>
                    <a:pt x="27" y="63"/>
                    <a:pt x="32" y="68"/>
                    <a:pt x="32" y="67"/>
                  </a:cubicBezTo>
                  <a:cubicBezTo>
                    <a:pt x="32" y="66"/>
                    <a:pt x="31" y="64"/>
                    <a:pt x="32" y="63"/>
                  </a:cubicBezTo>
                  <a:cubicBezTo>
                    <a:pt x="32" y="61"/>
                    <a:pt x="33" y="60"/>
                    <a:pt x="34" y="59"/>
                  </a:cubicBezTo>
                  <a:cubicBezTo>
                    <a:pt x="34" y="58"/>
                    <a:pt x="39" y="55"/>
                    <a:pt x="36" y="53"/>
                  </a:cubicBezTo>
                  <a:cubicBezTo>
                    <a:pt x="35" y="53"/>
                    <a:pt x="33" y="53"/>
                    <a:pt x="33" y="52"/>
                  </a:cubicBezTo>
                  <a:cubicBezTo>
                    <a:pt x="32" y="51"/>
                    <a:pt x="31" y="50"/>
                    <a:pt x="30" y="51"/>
                  </a:cubicBezTo>
                  <a:cubicBezTo>
                    <a:pt x="29" y="53"/>
                    <a:pt x="30" y="49"/>
                    <a:pt x="30" y="49"/>
                  </a:cubicBezTo>
                  <a:cubicBezTo>
                    <a:pt x="30" y="48"/>
                    <a:pt x="32" y="49"/>
                    <a:pt x="33" y="49"/>
                  </a:cubicBezTo>
                  <a:cubicBezTo>
                    <a:pt x="34" y="50"/>
                    <a:pt x="38" y="49"/>
                    <a:pt x="37" y="47"/>
                  </a:cubicBezTo>
                  <a:cubicBezTo>
                    <a:pt x="35" y="44"/>
                    <a:pt x="39" y="44"/>
                    <a:pt x="35" y="43"/>
                  </a:cubicBezTo>
                  <a:cubicBezTo>
                    <a:pt x="35" y="43"/>
                    <a:pt x="32" y="42"/>
                    <a:pt x="33" y="41"/>
                  </a:cubicBezTo>
                  <a:cubicBezTo>
                    <a:pt x="34" y="40"/>
                    <a:pt x="35" y="42"/>
                    <a:pt x="35" y="42"/>
                  </a:cubicBezTo>
                  <a:cubicBezTo>
                    <a:pt x="36" y="42"/>
                    <a:pt x="36" y="41"/>
                    <a:pt x="36" y="40"/>
                  </a:cubicBezTo>
                  <a:cubicBezTo>
                    <a:pt x="37" y="39"/>
                    <a:pt x="39" y="39"/>
                    <a:pt x="40" y="38"/>
                  </a:cubicBezTo>
                  <a:cubicBezTo>
                    <a:pt x="42" y="38"/>
                    <a:pt x="47" y="38"/>
                    <a:pt x="45" y="34"/>
                  </a:cubicBezTo>
                  <a:cubicBezTo>
                    <a:pt x="44" y="31"/>
                    <a:pt x="39" y="32"/>
                    <a:pt x="38" y="29"/>
                  </a:cubicBezTo>
                  <a:cubicBezTo>
                    <a:pt x="37" y="26"/>
                    <a:pt x="42" y="23"/>
                    <a:pt x="44" y="22"/>
                  </a:cubicBezTo>
                  <a:cubicBezTo>
                    <a:pt x="46" y="22"/>
                    <a:pt x="49" y="21"/>
                    <a:pt x="49" y="17"/>
                  </a:cubicBezTo>
                  <a:cubicBezTo>
                    <a:pt x="49" y="15"/>
                    <a:pt x="49" y="13"/>
                    <a:pt x="49" y="12"/>
                  </a:cubicBezTo>
                  <a:cubicBezTo>
                    <a:pt x="48" y="11"/>
                    <a:pt x="47" y="10"/>
                    <a:pt x="47" y="9"/>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7" name="Freeform 100">
              <a:extLst>
                <a:ext uri="{FF2B5EF4-FFF2-40B4-BE49-F238E27FC236}">
                  <a16:creationId xmlns:a16="http://schemas.microsoft.com/office/drawing/2014/main" id="{7BDEBDA0-9A94-82F0-36B2-B29F8ADE682B}"/>
                </a:ext>
              </a:extLst>
            </p:cNvPr>
            <p:cNvSpPr>
              <a:spLocks/>
            </p:cNvSpPr>
            <p:nvPr/>
          </p:nvSpPr>
          <p:spPr bwMode="auto">
            <a:xfrm>
              <a:off x="2570057" y="3644090"/>
              <a:ext cx="28335" cy="14303"/>
            </a:xfrm>
            <a:custGeom>
              <a:avLst/>
              <a:gdLst>
                <a:gd name="T0" fmla="*/ 4 w 10"/>
                <a:gd name="T1" fmla="*/ 5 h 5"/>
                <a:gd name="T2" fmla="*/ 6 w 10"/>
                <a:gd name="T3" fmla="*/ 3 h 5"/>
                <a:gd name="T4" fmla="*/ 7 w 10"/>
                <a:gd name="T5" fmla="*/ 2 h 5"/>
                <a:gd name="T6" fmla="*/ 10 w 10"/>
                <a:gd name="T7" fmla="*/ 1 h 5"/>
                <a:gd name="T8" fmla="*/ 3 w 10"/>
                <a:gd name="T9" fmla="*/ 1 h 5"/>
                <a:gd name="T10" fmla="*/ 0 w 10"/>
                <a:gd name="T11" fmla="*/ 3 h 5"/>
                <a:gd name="T12" fmla="*/ 4 w 1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5"/>
                  </a:moveTo>
                  <a:cubicBezTo>
                    <a:pt x="5" y="5"/>
                    <a:pt x="6" y="5"/>
                    <a:pt x="6" y="3"/>
                  </a:cubicBezTo>
                  <a:cubicBezTo>
                    <a:pt x="6" y="3"/>
                    <a:pt x="6" y="2"/>
                    <a:pt x="7" y="2"/>
                  </a:cubicBezTo>
                  <a:cubicBezTo>
                    <a:pt x="7" y="2"/>
                    <a:pt x="10" y="1"/>
                    <a:pt x="10" y="1"/>
                  </a:cubicBezTo>
                  <a:cubicBezTo>
                    <a:pt x="9" y="0"/>
                    <a:pt x="6" y="0"/>
                    <a:pt x="3" y="1"/>
                  </a:cubicBezTo>
                  <a:cubicBezTo>
                    <a:pt x="2" y="1"/>
                    <a:pt x="0" y="2"/>
                    <a:pt x="0" y="3"/>
                  </a:cubicBezTo>
                  <a:cubicBezTo>
                    <a:pt x="0" y="4"/>
                    <a:pt x="3" y="4"/>
                    <a:pt x="4" y="5"/>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8" name="Freeform 101">
              <a:extLst>
                <a:ext uri="{FF2B5EF4-FFF2-40B4-BE49-F238E27FC236}">
                  <a16:creationId xmlns:a16="http://schemas.microsoft.com/office/drawing/2014/main" id="{88FADAD4-E2B4-CEEC-8B87-B7B7FABE5AEF}"/>
                </a:ext>
              </a:extLst>
            </p:cNvPr>
            <p:cNvSpPr>
              <a:spLocks/>
            </p:cNvSpPr>
            <p:nvPr/>
          </p:nvSpPr>
          <p:spPr bwMode="auto">
            <a:xfrm>
              <a:off x="2385883" y="3685806"/>
              <a:ext cx="30696" cy="36949"/>
            </a:xfrm>
            <a:custGeom>
              <a:avLst/>
              <a:gdLst>
                <a:gd name="T0" fmla="*/ 4 w 11"/>
                <a:gd name="T1" fmla="*/ 13 h 13"/>
                <a:gd name="T2" fmla="*/ 8 w 11"/>
                <a:gd name="T3" fmla="*/ 11 h 13"/>
                <a:gd name="T4" fmla="*/ 10 w 11"/>
                <a:gd name="T5" fmla="*/ 8 h 13"/>
                <a:gd name="T6" fmla="*/ 10 w 11"/>
                <a:gd name="T7" fmla="*/ 5 h 13"/>
                <a:gd name="T8" fmla="*/ 11 w 11"/>
                <a:gd name="T9" fmla="*/ 0 h 13"/>
                <a:gd name="T10" fmla="*/ 6 w 11"/>
                <a:gd name="T11" fmla="*/ 4 h 13"/>
                <a:gd name="T12" fmla="*/ 3 w 11"/>
                <a:gd name="T13" fmla="*/ 6 h 13"/>
                <a:gd name="T14" fmla="*/ 4 w 11"/>
                <a:gd name="T15" fmla="*/ 7 h 13"/>
                <a:gd name="T16" fmla="*/ 0 w 11"/>
                <a:gd name="T17" fmla="*/ 10 h 13"/>
                <a:gd name="T18" fmla="*/ 4 w 11"/>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3">
                  <a:moveTo>
                    <a:pt x="4" y="13"/>
                  </a:moveTo>
                  <a:cubicBezTo>
                    <a:pt x="5" y="12"/>
                    <a:pt x="6" y="12"/>
                    <a:pt x="8" y="11"/>
                  </a:cubicBezTo>
                  <a:cubicBezTo>
                    <a:pt x="8" y="10"/>
                    <a:pt x="9" y="8"/>
                    <a:pt x="10" y="8"/>
                  </a:cubicBezTo>
                  <a:cubicBezTo>
                    <a:pt x="8" y="6"/>
                    <a:pt x="10" y="3"/>
                    <a:pt x="10" y="5"/>
                  </a:cubicBezTo>
                  <a:cubicBezTo>
                    <a:pt x="11" y="3"/>
                    <a:pt x="11" y="2"/>
                    <a:pt x="11" y="0"/>
                  </a:cubicBezTo>
                  <a:cubicBezTo>
                    <a:pt x="10" y="2"/>
                    <a:pt x="8" y="3"/>
                    <a:pt x="6" y="4"/>
                  </a:cubicBezTo>
                  <a:cubicBezTo>
                    <a:pt x="4" y="4"/>
                    <a:pt x="3" y="5"/>
                    <a:pt x="3" y="6"/>
                  </a:cubicBezTo>
                  <a:cubicBezTo>
                    <a:pt x="3" y="7"/>
                    <a:pt x="4" y="7"/>
                    <a:pt x="4" y="7"/>
                  </a:cubicBezTo>
                  <a:cubicBezTo>
                    <a:pt x="3" y="8"/>
                    <a:pt x="0" y="8"/>
                    <a:pt x="0" y="10"/>
                  </a:cubicBezTo>
                  <a:cubicBezTo>
                    <a:pt x="0" y="9"/>
                    <a:pt x="3" y="13"/>
                    <a:pt x="4" y="13"/>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102">
              <a:extLst>
                <a:ext uri="{FF2B5EF4-FFF2-40B4-BE49-F238E27FC236}">
                  <a16:creationId xmlns:a16="http://schemas.microsoft.com/office/drawing/2014/main" id="{39005565-E1B5-A95B-F4C3-8E2F29C8784C}"/>
                </a:ext>
              </a:extLst>
            </p:cNvPr>
            <p:cNvSpPr>
              <a:spLocks/>
            </p:cNvSpPr>
            <p:nvPr/>
          </p:nvSpPr>
          <p:spPr bwMode="auto">
            <a:xfrm>
              <a:off x="2671590" y="3917033"/>
              <a:ext cx="38960" cy="20263"/>
            </a:xfrm>
            <a:custGeom>
              <a:avLst/>
              <a:gdLst>
                <a:gd name="T0" fmla="*/ 5 w 14"/>
                <a:gd name="T1" fmla="*/ 0 h 7"/>
                <a:gd name="T2" fmla="*/ 3 w 14"/>
                <a:gd name="T3" fmla="*/ 4 h 7"/>
                <a:gd name="T4" fmla="*/ 3 w 14"/>
                <a:gd name="T5" fmla="*/ 7 h 7"/>
                <a:gd name="T6" fmla="*/ 8 w 14"/>
                <a:gd name="T7" fmla="*/ 4 h 7"/>
                <a:gd name="T8" fmla="*/ 13 w 14"/>
                <a:gd name="T9" fmla="*/ 4 h 7"/>
                <a:gd name="T10" fmla="*/ 5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5" y="0"/>
                  </a:moveTo>
                  <a:cubicBezTo>
                    <a:pt x="6" y="0"/>
                    <a:pt x="6" y="4"/>
                    <a:pt x="3" y="4"/>
                  </a:cubicBezTo>
                  <a:cubicBezTo>
                    <a:pt x="1" y="3"/>
                    <a:pt x="0" y="7"/>
                    <a:pt x="3" y="7"/>
                  </a:cubicBezTo>
                  <a:cubicBezTo>
                    <a:pt x="5" y="7"/>
                    <a:pt x="6" y="5"/>
                    <a:pt x="8" y="4"/>
                  </a:cubicBezTo>
                  <a:cubicBezTo>
                    <a:pt x="9" y="4"/>
                    <a:pt x="13" y="5"/>
                    <a:pt x="13" y="4"/>
                  </a:cubicBezTo>
                  <a:cubicBezTo>
                    <a:pt x="14" y="1"/>
                    <a:pt x="6" y="0"/>
                    <a:pt x="5"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103">
              <a:extLst>
                <a:ext uri="{FF2B5EF4-FFF2-40B4-BE49-F238E27FC236}">
                  <a16:creationId xmlns:a16="http://schemas.microsoft.com/office/drawing/2014/main" id="{66B33FDD-CC0B-B235-05FD-57D95223839C}"/>
                </a:ext>
              </a:extLst>
            </p:cNvPr>
            <p:cNvSpPr>
              <a:spLocks/>
            </p:cNvSpPr>
            <p:nvPr/>
          </p:nvSpPr>
          <p:spPr bwMode="auto">
            <a:xfrm>
              <a:off x="2551168" y="3897963"/>
              <a:ext cx="30696" cy="67938"/>
            </a:xfrm>
            <a:custGeom>
              <a:avLst/>
              <a:gdLst>
                <a:gd name="T0" fmla="*/ 9 w 11"/>
                <a:gd name="T1" fmla="*/ 3 h 24"/>
                <a:gd name="T2" fmla="*/ 5 w 11"/>
                <a:gd name="T3" fmla="*/ 11 h 24"/>
                <a:gd name="T4" fmla="*/ 4 w 11"/>
                <a:gd name="T5" fmla="*/ 14 h 24"/>
                <a:gd name="T6" fmla="*/ 0 w 11"/>
                <a:gd name="T7" fmla="*/ 16 h 24"/>
                <a:gd name="T8" fmla="*/ 5 w 11"/>
                <a:gd name="T9" fmla="*/ 18 h 24"/>
                <a:gd name="T10" fmla="*/ 9 w 11"/>
                <a:gd name="T11" fmla="*/ 8 h 24"/>
                <a:gd name="T12" fmla="*/ 9 w 11"/>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11" h="24">
                  <a:moveTo>
                    <a:pt x="9" y="3"/>
                  </a:moveTo>
                  <a:cubicBezTo>
                    <a:pt x="7" y="5"/>
                    <a:pt x="7" y="10"/>
                    <a:pt x="5" y="11"/>
                  </a:cubicBezTo>
                  <a:cubicBezTo>
                    <a:pt x="2" y="13"/>
                    <a:pt x="4" y="13"/>
                    <a:pt x="4" y="14"/>
                  </a:cubicBezTo>
                  <a:cubicBezTo>
                    <a:pt x="4" y="14"/>
                    <a:pt x="1" y="17"/>
                    <a:pt x="0" y="16"/>
                  </a:cubicBezTo>
                  <a:cubicBezTo>
                    <a:pt x="3" y="18"/>
                    <a:pt x="4" y="24"/>
                    <a:pt x="5" y="18"/>
                  </a:cubicBezTo>
                  <a:cubicBezTo>
                    <a:pt x="6" y="14"/>
                    <a:pt x="8" y="11"/>
                    <a:pt x="9" y="8"/>
                  </a:cubicBezTo>
                  <a:cubicBezTo>
                    <a:pt x="9" y="7"/>
                    <a:pt x="11" y="0"/>
                    <a:pt x="9" y="3"/>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1" name="Freeform 104">
              <a:extLst>
                <a:ext uri="{FF2B5EF4-FFF2-40B4-BE49-F238E27FC236}">
                  <a16:creationId xmlns:a16="http://schemas.microsoft.com/office/drawing/2014/main" id="{4F9CEAFD-52FE-7DD3-00F7-4CB4A685B999}"/>
                </a:ext>
              </a:extLst>
            </p:cNvPr>
            <p:cNvSpPr>
              <a:spLocks/>
            </p:cNvSpPr>
            <p:nvPr/>
          </p:nvSpPr>
          <p:spPr bwMode="auto">
            <a:xfrm>
              <a:off x="3140291" y="3570193"/>
              <a:ext cx="77920" cy="127533"/>
            </a:xfrm>
            <a:custGeom>
              <a:avLst/>
              <a:gdLst>
                <a:gd name="T0" fmla="*/ 23 w 28"/>
                <a:gd name="T1" fmla="*/ 1 h 45"/>
                <a:gd name="T2" fmla="*/ 20 w 28"/>
                <a:gd name="T3" fmla="*/ 5 h 45"/>
                <a:gd name="T4" fmla="*/ 16 w 28"/>
                <a:gd name="T5" fmla="*/ 2 h 45"/>
                <a:gd name="T6" fmla="*/ 12 w 28"/>
                <a:gd name="T7" fmla="*/ 5 h 45"/>
                <a:gd name="T8" fmla="*/ 8 w 28"/>
                <a:gd name="T9" fmla="*/ 11 h 45"/>
                <a:gd name="T10" fmla="*/ 3 w 28"/>
                <a:gd name="T11" fmla="*/ 16 h 45"/>
                <a:gd name="T12" fmla="*/ 3 w 28"/>
                <a:gd name="T13" fmla="*/ 25 h 45"/>
                <a:gd name="T14" fmla="*/ 2 w 28"/>
                <a:gd name="T15" fmla="*/ 28 h 45"/>
                <a:gd name="T16" fmla="*/ 3 w 28"/>
                <a:gd name="T17" fmla="*/ 32 h 45"/>
                <a:gd name="T18" fmla="*/ 5 w 28"/>
                <a:gd name="T19" fmla="*/ 37 h 45"/>
                <a:gd name="T20" fmla="*/ 7 w 28"/>
                <a:gd name="T21" fmla="*/ 36 h 45"/>
                <a:gd name="T22" fmla="*/ 5 w 28"/>
                <a:gd name="T23" fmla="*/ 40 h 45"/>
                <a:gd name="T24" fmla="*/ 3 w 28"/>
                <a:gd name="T25" fmla="*/ 44 h 45"/>
                <a:gd name="T26" fmla="*/ 8 w 28"/>
                <a:gd name="T27" fmla="*/ 43 h 45"/>
                <a:gd name="T28" fmla="*/ 10 w 28"/>
                <a:gd name="T29" fmla="*/ 40 h 45"/>
                <a:gd name="T30" fmla="*/ 9 w 28"/>
                <a:gd name="T31" fmla="*/ 40 h 45"/>
                <a:gd name="T32" fmla="*/ 12 w 28"/>
                <a:gd name="T33" fmla="*/ 35 h 45"/>
                <a:gd name="T34" fmla="*/ 10 w 28"/>
                <a:gd name="T35" fmla="*/ 35 h 45"/>
                <a:gd name="T36" fmla="*/ 15 w 28"/>
                <a:gd name="T37" fmla="*/ 32 h 45"/>
                <a:gd name="T38" fmla="*/ 18 w 28"/>
                <a:gd name="T39" fmla="*/ 30 h 45"/>
                <a:gd name="T40" fmla="*/ 19 w 28"/>
                <a:gd name="T41" fmla="*/ 30 h 45"/>
                <a:gd name="T42" fmla="*/ 17 w 28"/>
                <a:gd name="T43" fmla="*/ 28 h 45"/>
                <a:gd name="T44" fmla="*/ 21 w 28"/>
                <a:gd name="T45" fmla="*/ 25 h 45"/>
                <a:gd name="T46" fmla="*/ 24 w 28"/>
                <a:gd name="T47" fmla="*/ 23 h 45"/>
                <a:gd name="T48" fmla="*/ 21 w 28"/>
                <a:gd name="T49" fmla="*/ 22 h 45"/>
                <a:gd name="T50" fmla="*/ 20 w 28"/>
                <a:gd name="T51" fmla="*/ 14 h 45"/>
                <a:gd name="T52" fmla="*/ 20 w 28"/>
                <a:gd name="T53" fmla="*/ 9 h 45"/>
                <a:gd name="T54" fmla="*/ 24 w 28"/>
                <a:gd name="T55" fmla="*/ 10 h 45"/>
                <a:gd name="T56" fmla="*/ 24 w 28"/>
                <a:gd name="T57" fmla="*/ 7 h 45"/>
                <a:gd name="T58" fmla="*/ 26 w 28"/>
                <a:gd name="T59" fmla="*/ 6 h 45"/>
                <a:gd name="T60" fmla="*/ 28 w 28"/>
                <a:gd name="T61" fmla="*/ 6 h 45"/>
                <a:gd name="T62" fmla="*/ 26 w 28"/>
                <a:gd name="T63" fmla="*/ 3 h 45"/>
                <a:gd name="T64" fmla="*/ 23 w 28"/>
                <a:gd name="T65"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45">
                  <a:moveTo>
                    <a:pt x="23" y="1"/>
                  </a:moveTo>
                  <a:cubicBezTo>
                    <a:pt x="21" y="1"/>
                    <a:pt x="20" y="2"/>
                    <a:pt x="20" y="5"/>
                  </a:cubicBezTo>
                  <a:cubicBezTo>
                    <a:pt x="19" y="3"/>
                    <a:pt x="19" y="0"/>
                    <a:pt x="16" y="2"/>
                  </a:cubicBezTo>
                  <a:cubicBezTo>
                    <a:pt x="14" y="3"/>
                    <a:pt x="15" y="4"/>
                    <a:pt x="12" y="5"/>
                  </a:cubicBezTo>
                  <a:cubicBezTo>
                    <a:pt x="10" y="6"/>
                    <a:pt x="9" y="8"/>
                    <a:pt x="8" y="11"/>
                  </a:cubicBezTo>
                  <a:cubicBezTo>
                    <a:pt x="6" y="13"/>
                    <a:pt x="5" y="14"/>
                    <a:pt x="3" y="16"/>
                  </a:cubicBezTo>
                  <a:cubicBezTo>
                    <a:pt x="0" y="19"/>
                    <a:pt x="3" y="22"/>
                    <a:pt x="3" y="25"/>
                  </a:cubicBezTo>
                  <a:cubicBezTo>
                    <a:pt x="3" y="26"/>
                    <a:pt x="3" y="27"/>
                    <a:pt x="2" y="28"/>
                  </a:cubicBezTo>
                  <a:cubicBezTo>
                    <a:pt x="1" y="29"/>
                    <a:pt x="3" y="30"/>
                    <a:pt x="3" y="32"/>
                  </a:cubicBezTo>
                  <a:cubicBezTo>
                    <a:pt x="3" y="34"/>
                    <a:pt x="6" y="36"/>
                    <a:pt x="5" y="37"/>
                  </a:cubicBezTo>
                  <a:cubicBezTo>
                    <a:pt x="6" y="38"/>
                    <a:pt x="7" y="37"/>
                    <a:pt x="7" y="36"/>
                  </a:cubicBezTo>
                  <a:cubicBezTo>
                    <a:pt x="7" y="38"/>
                    <a:pt x="5" y="39"/>
                    <a:pt x="5" y="40"/>
                  </a:cubicBezTo>
                  <a:cubicBezTo>
                    <a:pt x="5" y="41"/>
                    <a:pt x="3" y="44"/>
                    <a:pt x="3" y="44"/>
                  </a:cubicBezTo>
                  <a:cubicBezTo>
                    <a:pt x="5" y="45"/>
                    <a:pt x="6" y="44"/>
                    <a:pt x="8" y="43"/>
                  </a:cubicBezTo>
                  <a:cubicBezTo>
                    <a:pt x="8" y="43"/>
                    <a:pt x="10" y="39"/>
                    <a:pt x="10" y="40"/>
                  </a:cubicBezTo>
                  <a:cubicBezTo>
                    <a:pt x="10" y="40"/>
                    <a:pt x="10" y="40"/>
                    <a:pt x="9" y="40"/>
                  </a:cubicBezTo>
                  <a:cubicBezTo>
                    <a:pt x="6" y="38"/>
                    <a:pt x="12" y="36"/>
                    <a:pt x="12" y="35"/>
                  </a:cubicBezTo>
                  <a:cubicBezTo>
                    <a:pt x="13" y="35"/>
                    <a:pt x="11" y="36"/>
                    <a:pt x="10" y="35"/>
                  </a:cubicBezTo>
                  <a:cubicBezTo>
                    <a:pt x="10" y="34"/>
                    <a:pt x="15" y="32"/>
                    <a:pt x="15" y="32"/>
                  </a:cubicBezTo>
                  <a:cubicBezTo>
                    <a:pt x="13" y="32"/>
                    <a:pt x="19" y="32"/>
                    <a:pt x="18" y="30"/>
                  </a:cubicBezTo>
                  <a:cubicBezTo>
                    <a:pt x="18" y="30"/>
                    <a:pt x="19" y="30"/>
                    <a:pt x="19" y="30"/>
                  </a:cubicBezTo>
                  <a:cubicBezTo>
                    <a:pt x="19" y="29"/>
                    <a:pt x="17" y="28"/>
                    <a:pt x="17" y="28"/>
                  </a:cubicBezTo>
                  <a:cubicBezTo>
                    <a:pt x="17" y="27"/>
                    <a:pt x="20" y="25"/>
                    <a:pt x="21" y="25"/>
                  </a:cubicBezTo>
                  <a:cubicBezTo>
                    <a:pt x="22" y="24"/>
                    <a:pt x="24" y="25"/>
                    <a:pt x="24" y="23"/>
                  </a:cubicBezTo>
                  <a:cubicBezTo>
                    <a:pt x="24" y="21"/>
                    <a:pt x="22" y="22"/>
                    <a:pt x="21" y="22"/>
                  </a:cubicBezTo>
                  <a:cubicBezTo>
                    <a:pt x="17" y="21"/>
                    <a:pt x="22" y="15"/>
                    <a:pt x="20" y="14"/>
                  </a:cubicBezTo>
                  <a:cubicBezTo>
                    <a:pt x="20" y="14"/>
                    <a:pt x="20" y="10"/>
                    <a:pt x="20" y="9"/>
                  </a:cubicBezTo>
                  <a:cubicBezTo>
                    <a:pt x="21" y="9"/>
                    <a:pt x="23" y="10"/>
                    <a:pt x="24" y="10"/>
                  </a:cubicBezTo>
                  <a:cubicBezTo>
                    <a:pt x="25" y="9"/>
                    <a:pt x="24" y="8"/>
                    <a:pt x="24" y="7"/>
                  </a:cubicBezTo>
                  <a:cubicBezTo>
                    <a:pt x="26" y="8"/>
                    <a:pt x="25" y="7"/>
                    <a:pt x="26" y="6"/>
                  </a:cubicBezTo>
                  <a:cubicBezTo>
                    <a:pt x="26" y="5"/>
                    <a:pt x="27" y="5"/>
                    <a:pt x="28" y="6"/>
                  </a:cubicBezTo>
                  <a:cubicBezTo>
                    <a:pt x="28" y="6"/>
                    <a:pt x="26" y="3"/>
                    <a:pt x="26" y="3"/>
                  </a:cubicBezTo>
                  <a:cubicBezTo>
                    <a:pt x="26" y="1"/>
                    <a:pt x="24" y="1"/>
                    <a:pt x="23"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2" name="Rectangle 105">
              <a:extLst>
                <a:ext uri="{FF2B5EF4-FFF2-40B4-BE49-F238E27FC236}">
                  <a16:creationId xmlns:a16="http://schemas.microsoft.com/office/drawing/2014/main" id="{C8F9A5F8-6985-6FBB-D1D6-0D3136F4C01D}"/>
                </a:ext>
              </a:extLst>
            </p:cNvPr>
            <p:cNvSpPr>
              <a:spLocks noChangeArrowheads="1"/>
            </p:cNvSpPr>
            <p:nvPr/>
          </p:nvSpPr>
          <p:spPr bwMode="auto">
            <a:xfrm>
              <a:off x="3403567" y="2793660"/>
              <a:ext cx="1181" cy="1192"/>
            </a:xfrm>
            <a:prstGeom prst="rect">
              <a:avLst/>
            </a:pr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106">
              <a:extLst>
                <a:ext uri="{FF2B5EF4-FFF2-40B4-BE49-F238E27FC236}">
                  <a16:creationId xmlns:a16="http://schemas.microsoft.com/office/drawing/2014/main" id="{AE6013A8-5841-F8D3-AC07-FDE74B44E30A}"/>
                </a:ext>
              </a:extLst>
            </p:cNvPr>
            <p:cNvSpPr>
              <a:spLocks noEditPoints="1"/>
            </p:cNvSpPr>
            <p:nvPr/>
          </p:nvSpPr>
          <p:spPr bwMode="auto">
            <a:xfrm>
              <a:off x="2587766" y="2306787"/>
              <a:ext cx="946848" cy="1576874"/>
            </a:xfrm>
            <a:custGeom>
              <a:avLst/>
              <a:gdLst>
                <a:gd name="T0" fmla="*/ 323 w 339"/>
                <a:gd name="T1" fmla="*/ 79 h 559"/>
                <a:gd name="T2" fmla="*/ 308 w 339"/>
                <a:gd name="T3" fmla="*/ 36 h 559"/>
                <a:gd name="T4" fmla="*/ 258 w 339"/>
                <a:gd name="T5" fmla="*/ 13 h 559"/>
                <a:gd name="T6" fmla="*/ 209 w 339"/>
                <a:gd name="T7" fmla="*/ 25 h 559"/>
                <a:gd name="T8" fmla="*/ 128 w 339"/>
                <a:gd name="T9" fmla="*/ 83 h 559"/>
                <a:gd name="T10" fmla="*/ 88 w 339"/>
                <a:gd name="T11" fmla="*/ 147 h 559"/>
                <a:gd name="T12" fmla="*/ 36 w 339"/>
                <a:gd name="T13" fmla="*/ 207 h 559"/>
                <a:gd name="T14" fmla="*/ 31 w 339"/>
                <a:gd name="T15" fmla="*/ 278 h 559"/>
                <a:gd name="T16" fmla="*/ 39 w 339"/>
                <a:gd name="T17" fmla="*/ 350 h 559"/>
                <a:gd name="T18" fmla="*/ 11 w 339"/>
                <a:gd name="T19" fmla="*/ 408 h 559"/>
                <a:gd name="T20" fmla="*/ 3 w 339"/>
                <a:gd name="T21" fmla="*/ 415 h 559"/>
                <a:gd name="T22" fmla="*/ 12 w 339"/>
                <a:gd name="T23" fmla="*/ 432 h 559"/>
                <a:gd name="T24" fmla="*/ 23 w 339"/>
                <a:gd name="T25" fmla="*/ 440 h 559"/>
                <a:gd name="T26" fmla="*/ 24 w 339"/>
                <a:gd name="T27" fmla="*/ 461 h 559"/>
                <a:gd name="T28" fmla="*/ 32 w 339"/>
                <a:gd name="T29" fmla="*/ 480 h 559"/>
                <a:gd name="T30" fmla="*/ 52 w 339"/>
                <a:gd name="T31" fmla="*/ 503 h 559"/>
                <a:gd name="T32" fmla="*/ 53 w 339"/>
                <a:gd name="T33" fmla="*/ 537 h 559"/>
                <a:gd name="T34" fmla="*/ 74 w 339"/>
                <a:gd name="T35" fmla="*/ 557 h 559"/>
                <a:gd name="T36" fmla="*/ 115 w 339"/>
                <a:gd name="T37" fmla="*/ 524 h 559"/>
                <a:gd name="T38" fmla="*/ 134 w 339"/>
                <a:gd name="T39" fmla="*/ 523 h 559"/>
                <a:gd name="T40" fmla="*/ 153 w 339"/>
                <a:gd name="T41" fmla="*/ 498 h 559"/>
                <a:gd name="T42" fmla="*/ 155 w 339"/>
                <a:gd name="T43" fmla="*/ 479 h 559"/>
                <a:gd name="T44" fmla="*/ 158 w 339"/>
                <a:gd name="T45" fmla="*/ 463 h 559"/>
                <a:gd name="T46" fmla="*/ 161 w 339"/>
                <a:gd name="T47" fmla="*/ 451 h 559"/>
                <a:gd name="T48" fmla="*/ 159 w 339"/>
                <a:gd name="T49" fmla="*/ 441 h 559"/>
                <a:gd name="T50" fmla="*/ 159 w 339"/>
                <a:gd name="T51" fmla="*/ 430 h 559"/>
                <a:gd name="T52" fmla="*/ 151 w 339"/>
                <a:gd name="T53" fmla="*/ 420 h 559"/>
                <a:gd name="T54" fmla="*/ 169 w 339"/>
                <a:gd name="T55" fmla="*/ 416 h 559"/>
                <a:gd name="T56" fmla="*/ 179 w 339"/>
                <a:gd name="T57" fmla="*/ 410 h 559"/>
                <a:gd name="T58" fmla="*/ 184 w 339"/>
                <a:gd name="T59" fmla="*/ 398 h 559"/>
                <a:gd name="T60" fmla="*/ 189 w 339"/>
                <a:gd name="T61" fmla="*/ 408 h 559"/>
                <a:gd name="T62" fmla="*/ 202 w 339"/>
                <a:gd name="T63" fmla="*/ 401 h 559"/>
                <a:gd name="T64" fmla="*/ 205 w 339"/>
                <a:gd name="T65" fmla="*/ 394 h 559"/>
                <a:gd name="T66" fmla="*/ 196 w 339"/>
                <a:gd name="T67" fmla="*/ 391 h 559"/>
                <a:gd name="T68" fmla="*/ 211 w 339"/>
                <a:gd name="T69" fmla="*/ 378 h 559"/>
                <a:gd name="T70" fmla="*/ 215 w 339"/>
                <a:gd name="T71" fmla="*/ 362 h 559"/>
                <a:gd name="T72" fmla="*/ 204 w 339"/>
                <a:gd name="T73" fmla="*/ 351 h 559"/>
                <a:gd name="T74" fmla="*/ 179 w 339"/>
                <a:gd name="T75" fmla="*/ 336 h 559"/>
                <a:gd name="T76" fmla="*/ 167 w 339"/>
                <a:gd name="T77" fmla="*/ 311 h 559"/>
                <a:gd name="T78" fmla="*/ 163 w 339"/>
                <a:gd name="T79" fmla="*/ 297 h 559"/>
                <a:gd name="T80" fmla="*/ 172 w 339"/>
                <a:gd name="T81" fmla="*/ 292 h 559"/>
                <a:gd name="T82" fmla="*/ 174 w 339"/>
                <a:gd name="T83" fmla="*/ 272 h 559"/>
                <a:gd name="T84" fmla="*/ 182 w 339"/>
                <a:gd name="T85" fmla="*/ 253 h 559"/>
                <a:gd name="T86" fmla="*/ 183 w 339"/>
                <a:gd name="T87" fmla="*/ 246 h 559"/>
                <a:gd name="T88" fmla="*/ 200 w 339"/>
                <a:gd name="T89" fmla="*/ 240 h 559"/>
                <a:gd name="T90" fmla="*/ 204 w 339"/>
                <a:gd name="T91" fmla="*/ 233 h 559"/>
                <a:gd name="T92" fmla="*/ 213 w 339"/>
                <a:gd name="T93" fmla="*/ 231 h 559"/>
                <a:gd name="T94" fmla="*/ 227 w 339"/>
                <a:gd name="T95" fmla="*/ 220 h 559"/>
                <a:gd name="T96" fmla="*/ 250 w 339"/>
                <a:gd name="T97" fmla="*/ 207 h 559"/>
                <a:gd name="T98" fmla="*/ 265 w 339"/>
                <a:gd name="T99" fmla="*/ 191 h 559"/>
                <a:gd name="T100" fmla="*/ 270 w 339"/>
                <a:gd name="T101" fmla="*/ 176 h 559"/>
                <a:gd name="T102" fmla="*/ 262 w 339"/>
                <a:gd name="T103" fmla="*/ 168 h 559"/>
                <a:gd name="T104" fmla="*/ 274 w 339"/>
                <a:gd name="T105" fmla="*/ 157 h 559"/>
                <a:gd name="T106" fmla="*/ 275 w 339"/>
                <a:gd name="T107" fmla="*/ 145 h 559"/>
                <a:gd name="T108" fmla="*/ 293 w 339"/>
                <a:gd name="T109" fmla="*/ 136 h 559"/>
                <a:gd name="T110" fmla="*/ 300 w 339"/>
                <a:gd name="T111" fmla="*/ 128 h 559"/>
                <a:gd name="T112" fmla="*/ 317 w 339"/>
                <a:gd name="T113" fmla="*/ 127 h 559"/>
                <a:gd name="T114" fmla="*/ 337 w 339"/>
                <a:gd name="T115" fmla="*/ 12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9" h="559">
                  <a:moveTo>
                    <a:pt x="337" y="123"/>
                  </a:moveTo>
                  <a:cubicBezTo>
                    <a:pt x="335" y="121"/>
                    <a:pt x="334" y="117"/>
                    <a:pt x="332" y="115"/>
                  </a:cubicBezTo>
                  <a:cubicBezTo>
                    <a:pt x="330" y="113"/>
                    <a:pt x="328" y="113"/>
                    <a:pt x="327" y="111"/>
                  </a:cubicBezTo>
                  <a:cubicBezTo>
                    <a:pt x="325" y="110"/>
                    <a:pt x="324" y="108"/>
                    <a:pt x="324" y="106"/>
                  </a:cubicBezTo>
                  <a:cubicBezTo>
                    <a:pt x="325" y="104"/>
                    <a:pt x="322" y="103"/>
                    <a:pt x="324" y="101"/>
                  </a:cubicBezTo>
                  <a:cubicBezTo>
                    <a:pt x="326" y="99"/>
                    <a:pt x="329" y="98"/>
                    <a:pt x="329" y="95"/>
                  </a:cubicBezTo>
                  <a:cubicBezTo>
                    <a:pt x="329" y="92"/>
                    <a:pt x="328" y="89"/>
                    <a:pt x="330" y="89"/>
                  </a:cubicBezTo>
                  <a:cubicBezTo>
                    <a:pt x="332" y="89"/>
                    <a:pt x="329" y="85"/>
                    <a:pt x="328" y="84"/>
                  </a:cubicBezTo>
                  <a:cubicBezTo>
                    <a:pt x="326" y="83"/>
                    <a:pt x="325" y="81"/>
                    <a:pt x="323" y="79"/>
                  </a:cubicBezTo>
                  <a:cubicBezTo>
                    <a:pt x="321" y="77"/>
                    <a:pt x="315" y="70"/>
                    <a:pt x="320" y="70"/>
                  </a:cubicBezTo>
                  <a:cubicBezTo>
                    <a:pt x="324" y="69"/>
                    <a:pt x="325" y="65"/>
                    <a:pt x="321" y="63"/>
                  </a:cubicBezTo>
                  <a:cubicBezTo>
                    <a:pt x="318" y="62"/>
                    <a:pt x="311" y="64"/>
                    <a:pt x="315" y="58"/>
                  </a:cubicBezTo>
                  <a:cubicBezTo>
                    <a:pt x="315" y="57"/>
                    <a:pt x="316" y="58"/>
                    <a:pt x="316" y="57"/>
                  </a:cubicBezTo>
                  <a:cubicBezTo>
                    <a:pt x="316" y="56"/>
                    <a:pt x="315" y="55"/>
                    <a:pt x="315" y="54"/>
                  </a:cubicBezTo>
                  <a:cubicBezTo>
                    <a:pt x="314" y="53"/>
                    <a:pt x="314" y="51"/>
                    <a:pt x="314" y="49"/>
                  </a:cubicBezTo>
                  <a:cubicBezTo>
                    <a:pt x="314" y="46"/>
                    <a:pt x="315" y="46"/>
                    <a:pt x="317" y="45"/>
                  </a:cubicBezTo>
                  <a:cubicBezTo>
                    <a:pt x="320" y="44"/>
                    <a:pt x="315" y="42"/>
                    <a:pt x="314" y="42"/>
                  </a:cubicBezTo>
                  <a:cubicBezTo>
                    <a:pt x="312" y="40"/>
                    <a:pt x="310" y="37"/>
                    <a:pt x="308" y="36"/>
                  </a:cubicBezTo>
                  <a:cubicBezTo>
                    <a:pt x="305" y="35"/>
                    <a:pt x="304" y="35"/>
                    <a:pt x="303" y="32"/>
                  </a:cubicBezTo>
                  <a:cubicBezTo>
                    <a:pt x="301" y="29"/>
                    <a:pt x="298" y="28"/>
                    <a:pt x="295" y="27"/>
                  </a:cubicBezTo>
                  <a:cubicBezTo>
                    <a:pt x="293" y="26"/>
                    <a:pt x="290" y="26"/>
                    <a:pt x="288" y="25"/>
                  </a:cubicBezTo>
                  <a:cubicBezTo>
                    <a:pt x="287" y="25"/>
                    <a:pt x="283" y="24"/>
                    <a:pt x="283" y="24"/>
                  </a:cubicBezTo>
                  <a:cubicBezTo>
                    <a:pt x="283" y="23"/>
                    <a:pt x="277" y="23"/>
                    <a:pt x="276" y="23"/>
                  </a:cubicBezTo>
                  <a:cubicBezTo>
                    <a:pt x="273" y="21"/>
                    <a:pt x="272" y="19"/>
                    <a:pt x="269" y="19"/>
                  </a:cubicBezTo>
                  <a:cubicBezTo>
                    <a:pt x="266" y="19"/>
                    <a:pt x="266" y="17"/>
                    <a:pt x="264" y="16"/>
                  </a:cubicBezTo>
                  <a:cubicBezTo>
                    <a:pt x="263" y="16"/>
                    <a:pt x="261" y="16"/>
                    <a:pt x="260" y="15"/>
                  </a:cubicBezTo>
                  <a:cubicBezTo>
                    <a:pt x="259" y="15"/>
                    <a:pt x="259" y="13"/>
                    <a:pt x="258" y="13"/>
                  </a:cubicBezTo>
                  <a:cubicBezTo>
                    <a:pt x="256" y="12"/>
                    <a:pt x="253" y="10"/>
                    <a:pt x="251" y="9"/>
                  </a:cubicBezTo>
                  <a:cubicBezTo>
                    <a:pt x="249" y="8"/>
                    <a:pt x="245" y="8"/>
                    <a:pt x="244" y="6"/>
                  </a:cubicBezTo>
                  <a:cubicBezTo>
                    <a:pt x="244" y="6"/>
                    <a:pt x="246" y="5"/>
                    <a:pt x="244" y="4"/>
                  </a:cubicBezTo>
                  <a:cubicBezTo>
                    <a:pt x="242" y="2"/>
                    <a:pt x="239" y="2"/>
                    <a:pt x="237" y="1"/>
                  </a:cubicBezTo>
                  <a:cubicBezTo>
                    <a:pt x="233" y="2"/>
                    <a:pt x="228" y="0"/>
                    <a:pt x="225" y="2"/>
                  </a:cubicBezTo>
                  <a:cubicBezTo>
                    <a:pt x="227" y="4"/>
                    <a:pt x="231" y="7"/>
                    <a:pt x="230" y="11"/>
                  </a:cubicBezTo>
                  <a:cubicBezTo>
                    <a:pt x="229" y="16"/>
                    <a:pt x="226" y="19"/>
                    <a:pt x="222" y="20"/>
                  </a:cubicBezTo>
                  <a:cubicBezTo>
                    <a:pt x="225" y="22"/>
                    <a:pt x="231" y="22"/>
                    <a:pt x="226" y="26"/>
                  </a:cubicBezTo>
                  <a:cubicBezTo>
                    <a:pt x="221" y="29"/>
                    <a:pt x="214" y="26"/>
                    <a:pt x="209" y="25"/>
                  </a:cubicBezTo>
                  <a:cubicBezTo>
                    <a:pt x="207" y="24"/>
                    <a:pt x="199" y="22"/>
                    <a:pt x="192" y="21"/>
                  </a:cubicBezTo>
                  <a:cubicBezTo>
                    <a:pt x="184" y="20"/>
                    <a:pt x="177" y="19"/>
                    <a:pt x="176" y="22"/>
                  </a:cubicBezTo>
                  <a:cubicBezTo>
                    <a:pt x="176" y="27"/>
                    <a:pt x="179" y="41"/>
                    <a:pt x="171" y="42"/>
                  </a:cubicBezTo>
                  <a:cubicBezTo>
                    <a:pt x="166" y="43"/>
                    <a:pt x="159" y="35"/>
                    <a:pt x="154" y="39"/>
                  </a:cubicBezTo>
                  <a:cubicBezTo>
                    <a:pt x="151" y="41"/>
                    <a:pt x="146" y="43"/>
                    <a:pt x="143" y="47"/>
                  </a:cubicBezTo>
                  <a:cubicBezTo>
                    <a:pt x="141" y="51"/>
                    <a:pt x="139" y="58"/>
                    <a:pt x="134" y="60"/>
                  </a:cubicBezTo>
                  <a:cubicBezTo>
                    <a:pt x="131" y="60"/>
                    <a:pt x="126" y="60"/>
                    <a:pt x="129" y="66"/>
                  </a:cubicBezTo>
                  <a:cubicBezTo>
                    <a:pt x="132" y="69"/>
                    <a:pt x="137" y="74"/>
                    <a:pt x="134" y="78"/>
                  </a:cubicBezTo>
                  <a:cubicBezTo>
                    <a:pt x="133" y="80"/>
                    <a:pt x="130" y="81"/>
                    <a:pt x="128" y="83"/>
                  </a:cubicBezTo>
                  <a:cubicBezTo>
                    <a:pt x="126" y="85"/>
                    <a:pt x="124" y="87"/>
                    <a:pt x="122" y="89"/>
                  </a:cubicBezTo>
                  <a:cubicBezTo>
                    <a:pt x="120" y="92"/>
                    <a:pt x="117" y="95"/>
                    <a:pt x="115" y="97"/>
                  </a:cubicBezTo>
                  <a:cubicBezTo>
                    <a:pt x="113" y="98"/>
                    <a:pt x="110" y="99"/>
                    <a:pt x="111" y="102"/>
                  </a:cubicBezTo>
                  <a:cubicBezTo>
                    <a:pt x="112" y="104"/>
                    <a:pt x="113" y="107"/>
                    <a:pt x="111" y="108"/>
                  </a:cubicBezTo>
                  <a:cubicBezTo>
                    <a:pt x="109" y="111"/>
                    <a:pt x="106" y="111"/>
                    <a:pt x="104" y="112"/>
                  </a:cubicBezTo>
                  <a:cubicBezTo>
                    <a:pt x="102" y="112"/>
                    <a:pt x="88" y="114"/>
                    <a:pt x="89" y="116"/>
                  </a:cubicBezTo>
                  <a:cubicBezTo>
                    <a:pt x="89" y="119"/>
                    <a:pt x="91" y="122"/>
                    <a:pt x="91" y="126"/>
                  </a:cubicBezTo>
                  <a:cubicBezTo>
                    <a:pt x="91" y="129"/>
                    <a:pt x="89" y="133"/>
                    <a:pt x="89" y="136"/>
                  </a:cubicBezTo>
                  <a:cubicBezTo>
                    <a:pt x="88" y="140"/>
                    <a:pt x="89" y="144"/>
                    <a:pt x="88" y="147"/>
                  </a:cubicBezTo>
                  <a:cubicBezTo>
                    <a:pt x="87" y="150"/>
                    <a:pt x="85" y="151"/>
                    <a:pt x="84" y="154"/>
                  </a:cubicBezTo>
                  <a:cubicBezTo>
                    <a:pt x="83" y="157"/>
                    <a:pt x="80" y="160"/>
                    <a:pt x="78" y="162"/>
                  </a:cubicBezTo>
                  <a:cubicBezTo>
                    <a:pt x="75" y="164"/>
                    <a:pt x="73" y="167"/>
                    <a:pt x="71" y="170"/>
                  </a:cubicBezTo>
                  <a:cubicBezTo>
                    <a:pt x="67" y="175"/>
                    <a:pt x="69" y="177"/>
                    <a:pt x="74" y="179"/>
                  </a:cubicBezTo>
                  <a:cubicBezTo>
                    <a:pt x="78" y="181"/>
                    <a:pt x="80" y="185"/>
                    <a:pt x="80" y="190"/>
                  </a:cubicBezTo>
                  <a:cubicBezTo>
                    <a:pt x="79" y="198"/>
                    <a:pt x="73" y="198"/>
                    <a:pt x="68" y="197"/>
                  </a:cubicBezTo>
                  <a:cubicBezTo>
                    <a:pt x="62" y="196"/>
                    <a:pt x="56" y="195"/>
                    <a:pt x="50" y="197"/>
                  </a:cubicBezTo>
                  <a:cubicBezTo>
                    <a:pt x="47" y="198"/>
                    <a:pt x="44" y="199"/>
                    <a:pt x="42" y="201"/>
                  </a:cubicBezTo>
                  <a:cubicBezTo>
                    <a:pt x="40" y="203"/>
                    <a:pt x="38" y="205"/>
                    <a:pt x="36" y="207"/>
                  </a:cubicBezTo>
                  <a:cubicBezTo>
                    <a:pt x="34" y="209"/>
                    <a:pt x="32" y="212"/>
                    <a:pt x="30" y="214"/>
                  </a:cubicBezTo>
                  <a:cubicBezTo>
                    <a:pt x="29" y="216"/>
                    <a:pt x="29" y="218"/>
                    <a:pt x="29" y="220"/>
                  </a:cubicBezTo>
                  <a:cubicBezTo>
                    <a:pt x="29" y="222"/>
                    <a:pt x="26" y="224"/>
                    <a:pt x="25" y="226"/>
                  </a:cubicBezTo>
                  <a:cubicBezTo>
                    <a:pt x="24" y="228"/>
                    <a:pt x="26" y="231"/>
                    <a:pt x="27" y="233"/>
                  </a:cubicBezTo>
                  <a:cubicBezTo>
                    <a:pt x="28" y="237"/>
                    <a:pt x="30" y="239"/>
                    <a:pt x="28" y="243"/>
                  </a:cubicBezTo>
                  <a:cubicBezTo>
                    <a:pt x="27" y="245"/>
                    <a:pt x="28" y="248"/>
                    <a:pt x="28" y="251"/>
                  </a:cubicBezTo>
                  <a:cubicBezTo>
                    <a:pt x="29" y="254"/>
                    <a:pt x="27" y="257"/>
                    <a:pt x="29" y="260"/>
                  </a:cubicBezTo>
                  <a:cubicBezTo>
                    <a:pt x="30" y="263"/>
                    <a:pt x="32" y="265"/>
                    <a:pt x="33" y="268"/>
                  </a:cubicBezTo>
                  <a:cubicBezTo>
                    <a:pt x="33" y="271"/>
                    <a:pt x="32" y="275"/>
                    <a:pt x="31" y="278"/>
                  </a:cubicBezTo>
                  <a:cubicBezTo>
                    <a:pt x="31" y="281"/>
                    <a:pt x="30" y="285"/>
                    <a:pt x="30" y="289"/>
                  </a:cubicBezTo>
                  <a:cubicBezTo>
                    <a:pt x="30" y="300"/>
                    <a:pt x="49" y="297"/>
                    <a:pt x="48" y="309"/>
                  </a:cubicBezTo>
                  <a:cubicBezTo>
                    <a:pt x="48" y="312"/>
                    <a:pt x="46" y="314"/>
                    <a:pt x="45" y="317"/>
                  </a:cubicBezTo>
                  <a:cubicBezTo>
                    <a:pt x="44" y="320"/>
                    <a:pt x="42" y="319"/>
                    <a:pt x="39" y="319"/>
                  </a:cubicBezTo>
                  <a:cubicBezTo>
                    <a:pt x="38" y="319"/>
                    <a:pt x="33" y="319"/>
                    <a:pt x="32" y="321"/>
                  </a:cubicBezTo>
                  <a:cubicBezTo>
                    <a:pt x="32" y="322"/>
                    <a:pt x="34" y="327"/>
                    <a:pt x="35" y="328"/>
                  </a:cubicBezTo>
                  <a:cubicBezTo>
                    <a:pt x="35" y="330"/>
                    <a:pt x="38" y="333"/>
                    <a:pt x="39" y="336"/>
                  </a:cubicBezTo>
                  <a:cubicBezTo>
                    <a:pt x="41" y="339"/>
                    <a:pt x="43" y="342"/>
                    <a:pt x="42" y="345"/>
                  </a:cubicBezTo>
                  <a:cubicBezTo>
                    <a:pt x="42" y="347"/>
                    <a:pt x="40" y="348"/>
                    <a:pt x="39" y="350"/>
                  </a:cubicBezTo>
                  <a:cubicBezTo>
                    <a:pt x="39" y="353"/>
                    <a:pt x="40" y="355"/>
                    <a:pt x="39" y="358"/>
                  </a:cubicBezTo>
                  <a:cubicBezTo>
                    <a:pt x="38" y="361"/>
                    <a:pt x="35" y="363"/>
                    <a:pt x="32" y="365"/>
                  </a:cubicBezTo>
                  <a:cubicBezTo>
                    <a:pt x="29" y="367"/>
                    <a:pt x="28" y="367"/>
                    <a:pt x="25" y="367"/>
                  </a:cubicBezTo>
                  <a:cubicBezTo>
                    <a:pt x="19" y="367"/>
                    <a:pt x="22" y="369"/>
                    <a:pt x="23" y="372"/>
                  </a:cubicBezTo>
                  <a:cubicBezTo>
                    <a:pt x="22" y="378"/>
                    <a:pt x="15" y="376"/>
                    <a:pt x="17" y="383"/>
                  </a:cubicBezTo>
                  <a:cubicBezTo>
                    <a:pt x="18" y="385"/>
                    <a:pt x="20" y="388"/>
                    <a:pt x="20" y="391"/>
                  </a:cubicBezTo>
                  <a:cubicBezTo>
                    <a:pt x="21" y="394"/>
                    <a:pt x="19" y="395"/>
                    <a:pt x="19" y="398"/>
                  </a:cubicBezTo>
                  <a:cubicBezTo>
                    <a:pt x="19" y="401"/>
                    <a:pt x="18" y="406"/>
                    <a:pt x="16" y="408"/>
                  </a:cubicBezTo>
                  <a:cubicBezTo>
                    <a:pt x="15" y="408"/>
                    <a:pt x="12" y="409"/>
                    <a:pt x="11" y="408"/>
                  </a:cubicBezTo>
                  <a:cubicBezTo>
                    <a:pt x="11" y="408"/>
                    <a:pt x="11" y="406"/>
                    <a:pt x="11" y="405"/>
                  </a:cubicBezTo>
                  <a:cubicBezTo>
                    <a:pt x="11" y="404"/>
                    <a:pt x="10" y="403"/>
                    <a:pt x="9" y="402"/>
                  </a:cubicBezTo>
                  <a:cubicBezTo>
                    <a:pt x="8" y="400"/>
                    <a:pt x="6" y="400"/>
                    <a:pt x="4" y="400"/>
                  </a:cubicBezTo>
                  <a:cubicBezTo>
                    <a:pt x="5" y="401"/>
                    <a:pt x="0" y="406"/>
                    <a:pt x="4" y="404"/>
                  </a:cubicBezTo>
                  <a:cubicBezTo>
                    <a:pt x="1" y="405"/>
                    <a:pt x="3" y="406"/>
                    <a:pt x="4" y="408"/>
                  </a:cubicBezTo>
                  <a:cubicBezTo>
                    <a:pt x="5" y="410"/>
                    <a:pt x="6" y="412"/>
                    <a:pt x="5" y="414"/>
                  </a:cubicBezTo>
                  <a:cubicBezTo>
                    <a:pt x="5" y="414"/>
                    <a:pt x="4" y="413"/>
                    <a:pt x="4" y="413"/>
                  </a:cubicBezTo>
                  <a:cubicBezTo>
                    <a:pt x="3" y="414"/>
                    <a:pt x="6" y="415"/>
                    <a:pt x="6" y="416"/>
                  </a:cubicBezTo>
                  <a:cubicBezTo>
                    <a:pt x="6" y="416"/>
                    <a:pt x="4" y="414"/>
                    <a:pt x="3" y="415"/>
                  </a:cubicBezTo>
                  <a:cubicBezTo>
                    <a:pt x="3" y="416"/>
                    <a:pt x="5" y="417"/>
                    <a:pt x="6" y="418"/>
                  </a:cubicBezTo>
                  <a:cubicBezTo>
                    <a:pt x="6" y="419"/>
                    <a:pt x="6" y="420"/>
                    <a:pt x="7" y="421"/>
                  </a:cubicBezTo>
                  <a:cubicBezTo>
                    <a:pt x="7" y="422"/>
                    <a:pt x="6" y="423"/>
                    <a:pt x="6" y="424"/>
                  </a:cubicBezTo>
                  <a:cubicBezTo>
                    <a:pt x="6" y="425"/>
                    <a:pt x="8" y="426"/>
                    <a:pt x="7" y="427"/>
                  </a:cubicBezTo>
                  <a:cubicBezTo>
                    <a:pt x="7" y="428"/>
                    <a:pt x="5" y="433"/>
                    <a:pt x="8" y="431"/>
                  </a:cubicBezTo>
                  <a:cubicBezTo>
                    <a:pt x="9" y="430"/>
                    <a:pt x="11" y="427"/>
                    <a:pt x="12" y="427"/>
                  </a:cubicBezTo>
                  <a:cubicBezTo>
                    <a:pt x="11" y="429"/>
                    <a:pt x="10" y="430"/>
                    <a:pt x="9" y="431"/>
                  </a:cubicBezTo>
                  <a:cubicBezTo>
                    <a:pt x="10" y="432"/>
                    <a:pt x="10" y="430"/>
                    <a:pt x="11" y="430"/>
                  </a:cubicBezTo>
                  <a:cubicBezTo>
                    <a:pt x="11" y="430"/>
                    <a:pt x="12" y="431"/>
                    <a:pt x="12" y="432"/>
                  </a:cubicBezTo>
                  <a:cubicBezTo>
                    <a:pt x="9" y="430"/>
                    <a:pt x="11" y="434"/>
                    <a:pt x="10" y="434"/>
                  </a:cubicBezTo>
                  <a:cubicBezTo>
                    <a:pt x="14" y="436"/>
                    <a:pt x="15" y="429"/>
                    <a:pt x="15" y="426"/>
                  </a:cubicBezTo>
                  <a:cubicBezTo>
                    <a:pt x="15" y="427"/>
                    <a:pt x="15" y="429"/>
                    <a:pt x="16" y="429"/>
                  </a:cubicBezTo>
                  <a:cubicBezTo>
                    <a:pt x="17" y="429"/>
                    <a:pt x="17" y="428"/>
                    <a:pt x="18" y="428"/>
                  </a:cubicBezTo>
                  <a:cubicBezTo>
                    <a:pt x="17" y="428"/>
                    <a:pt x="11" y="437"/>
                    <a:pt x="14" y="436"/>
                  </a:cubicBezTo>
                  <a:cubicBezTo>
                    <a:pt x="15" y="436"/>
                    <a:pt x="19" y="433"/>
                    <a:pt x="19" y="432"/>
                  </a:cubicBezTo>
                  <a:cubicBezTo>
                    <a:pt x="20" y="432"/>
                    <a:pt x="22" y="432"/>
                    <a:pt x="24" y="432"/>
                  </a:cubicBezTo>
                  <a:cubicBezTo>
                    <a:pt x="22" y="433"/>
                    <a:pt x="21" y="433"/>
                    <a:pt x="23" y="436"/>
                  </a:cubicBezTo>
                  <a:cubicBezTo>
                    <a:pt x="24" y="437"/>
                    <a:pt x="23" y="438"/>
                    <a:pt x="23" y="440"/>
                  </a:cubicBezTo>
                  <a:cubicBezTo>
                    <a:pt x="23" y="442"/>
                    <a:pt x="20" y="447"/>
                    <a:pt x="21" y="449"/>
                  </a:cubicBezTo>
                  <a:cubicBezTo>
                    <a:pt x="20" y="450"/>
                    <a:pt x="21" y="449"/>
                    <a:pt x="20" y="450"/>
                  </a:cubicBezTo>
                  <a:cubicBezTo>
                    <a:pt x="19" y="449"/>
                    <a:pt x="19" y="451"/>
                    <a:pt x="18" y="452"/>
                  </a:cubicBezTo>
                  <a:cubicBezTo>
                    <a:pt x="18" y="452"/>
                    <a:pt x="18" y="454"/>
                    <a:pt x="19" y="454"/>
                  </a:cubicBezTo>
                  <a:cubicBezTo>
                    <a:pt x="20" y="455"/>
                    <a:pt x="22" y="454"/>
                    <a:pt x="23" y="454"/>
                  </a:cubicBezTo>
                  <a:cubicBezTo>
                    <a:pt x="22" y="455"/>
                    <a:pt x="19" y="458"/>
                    <a:pt x="19" y="458"/>
                  </a:cubicBezTo>
                  <a:cubicBezTo>
                    <a:pt x="21" y="460"/>
                    <a:pt x="20" y="458"/>
                    <a:pt x="21" y="458"/>
                  </a:cubicBezTo>
                  <a:cubicBezTo>
                    <a:pt x="22" y="458"/>
                    <a:pt x="23" y="458"/>
                    <a:pt x="24" y="459"/>
                  </a:cubicBezTo>
                  <a:cubicBezTo>
                    <a:pt x="22" y="459"/>
                    <a:pt x="24" y="463"/>
                    <a:pt x="24" y="461"/>
                  </a:cubicBezTo>
                  <a:cubicBezTo>
                    <a:pt x="26" y="463"/>
                    <a:pt x="24" y="466"/>
                    <a:pt x="26" y="467"/>
                  </a:cubicBezTo>
                  <a:cubicBezTo>
                    <a:pt x="24" y="467"/>
                    <a:pt x="24" y="470"/>
                    <a:pt x="25" y="471"/>
                  </a:cubicBezTo>
                  <a:cubicBezTo>
                    <a:pt x="25" y="472"/>
                    <a:pt x="26" y="473"/>
                    <a:pt x="27" y="472"/>
                  </a:cubicBezTo>
                  <a:cubicBezTo>
                    <a:pt x="28" y="472"/>
                    <a:pt x="27" y="470"/>
                    <a:pt x="28" y="469"/>
                  </a:cubicBezTo>
                  <a:cubicBezTo>
                    <a:pt x="30" y="468"/>
                    <a:pt x="31" y="470"/>
                    <a:pt x="29" y="471"/>
                  </a:cubicBezTo>
                  <a:cubicBezTo>
                    <a:pt x="32" y="471"/>
                    <a:pt x="28" y="473"/>
                    <a:pt x="31" y="474"/>
                  </a:cubicBezTo>
                  <a:cubicBezTo>
                    <a:pt x="34" y="475"/>
                    <a:pt x="27" y="477"/>
                    <a:pt x="31" y="478"/>
                  </a:cubicBezTo>
                  <a:cubicBezTo>
                    <a:pt x="28" y="478"/>
                    <a:pt x="33" y="479"/>
                    <a:pt x="33" y="479"/>
                  </a:cubicBezTo>
                  <a:cubicBezTo>
                    <a:pt x="34" y="480"/>
                    <a:pt x="32" y="479"/>
                    <a:pt x="32" y="480"/>
                  </a:cubicBezTo>
                  <a:cubicBezTo>
                    <a:pt x="32" y="481"/>
                    <a:pt x="33" y="480"/>
                    <a:pt x="33" y="480"/>
                  </a:cubicBezTo>
                  <a:cubicBezTo>
                    <a:pt x="33" y="481"/>
                    <a:pt x="34" y="482"/>
                    <a:pt x="34" y="483"/>
                  </a:cubicBezTo>
                  <a:cubicBezTo>
                    <a:pt x="33" y="483"/>
                    <a:pt x="33" y="483"/>
                    <a:pt x="33" y="483"/>
                  </a:cubicBezTo>
                  <a:cubicBezTo>
                    <a:pt x="34" y="483"/>
                    <a:pt x="35" y="486"/>
                    <a:pt x="36" y="487"/>
                  </a:cubicBezTo>
                  <a:cubicBezTo>
                    <a:pt x="38" y="488"/>
                    <a:pt x="37" y="489"/>
                    <a:pt x="37" y="491"/>
                  </a:cubicBezTo>
                  <a:cubicBezTo>
                    <a:pt x="38" y="492"/>
                    <a:pt x="40" y="492"/>
                    <a:pt x="41" y="493"/>
                  </a:cubicBezTo>
                  <a:cubicBezTo>
                    <a:pt x="42" y="494"/>
                    <a:pt x="44" y="495"/>
                    <a:pt x="45" y="497"/>
                  </a:cubicBezTo>
                  <a:cubicBezTo>
                    <a:pt x="46" y="499"/>
                    <a:pt x="47" y="502"/>
                    <a:pt x="48" y="503"/>
                  </a:cubicBezTo>
                  <a:cubicBezTo>
                    <a:pt x="50" y="504"/>
                    <a:pt x="51" y="502"/>
                    <a:pt x="52" y="503"/>
                  </a:cubicBezTo>
                  <a:cubicBezTo>
                    <a:pt x="53" y="504"/>
                    <a:pt x="54" y="506"/>
                    <a:pt x="54" y="507"/>
                  </a:cubicBezTo>
                  <a:cubicBezTo>
                    <a:pt x="54" y="509"/>
                    <a:pt x="54" y="512"/>
                    <a:pt x="51" y="512"/>
                  </a:cubicBezTo>
                  <a:cubicBezTo>
                    <a:pt x="50" y="512"/>
                    <a:pt x="49" y="510"/>
                    <a:pt x="48" y="511"/>
                  </a:cubicBezTo>
                  <a:cubicBezTo>
                    <a:pt x="42" y="511"/>
                    <a:pt x="48" y="515"/>
                    <a:pt x="49" y="516"/>
                  </a:cubicBezTo>
                  <a:cubicBezTo>
                    <a:pt x="49" y="516"/>
                    <a:pt x="53" y="521"/>
                    <a:pt x="50" y="521"/>
                  </a:cubicBezTo>
                  <a:cubicBezTo>
                    <a:pt x="47" y="521"/>
                    <a:pt x="44" y="518"/>
                    <a:pt x="40" y="518"/>
                  </a:cubicBezTo>
                  <a:cubicBezTo>
                    <a:pt x="43" y="520"/>
                    <a:pt x="43" y="523"/>
                    <a:pt x="45" y="526"/>
                  </a:cubicBezTo>
                  <a:cubicBezTo>
                    <a:pt x="47" y="528"/>
                    <a:pt x="49" y="530"/>
                    <a:pt x="50" y="533"/>
                  </a:cubicBezTo>
                  <a:cubicBezTo>
                    <a:pt x="51" y="535"/>
                    <a:pt x="51" y="535"/>
                    <a:pt x="53" y="537"/>
                  </a:cubicBezTo>
                  <a:cubicBezTo>
                    <a:pt x="54" y="537"/>
                    <a:pt x="54" y="538"/>
                    <a:pt x="54" y="539"/>
                  </a:cubicBezTo>
                  <a:cubicBezTo>
                    <a:pt x="54" y="539"/>
                    <a:pt x="54" y="541"/>
                    <a:pt x="54" y="541"/>
                  </a:cubicBezTo>
                  <a:cubicBezTo>
                    <a:pt x="54" y="541"/>
                    <a:pt x="62" y="545"/>
                    <a:pt x="57" y="546"/>
                  </a:cubicBezTo>
                  <a:cubicBezTo>
                    <a:pt x="56" y="547"/>
                    <a:pt x="54" y="548"/>
                    <a:pt x="54" y="550"/>
                  </a:cubicBezTo>
                  <a:cubicBezTo>
                    <a:pt x="54" y="552"/>
                    <a:pt x="56" y="552"/>
                    <a:pt x="56" y="554"/>
                  </a:cubicBezTo>
                  <a:cubicBezTo>
                    <a:pt x="55" y="554"/>
                    <a:pt x="54" y="556"/>
                    <a:pt x="53" y="555"/>
                  </a:cubicBezTo>
                  <a:cubicBezTo>
                    <a:pt x="52" y="554"/>
                    <a:pt x="52" y="557"/>
                    <a:pt x="52" y="557"/>
                  </a:cubicBezTo>
                  <a:cubicBezTo>
                    <a:pt x="55" y="555"/>
                    <a:pt x="59" y="557"/>
                    <a:pt x="62" y="558"/>
                  </a:cubicBezTo>
                  <a:cubicBezTo>
                    <a:pt x="67" y="559"/>
                    <a:pt x="69" y="558"/>
                    <a:pt x="74" y="557"/>
                  </a:cubicBezTo>
                  <a:cubicBezTo>
                    <a:pt x="77" y="556"/>
                    <a:pt x="81" y="554"/>
                    <a:pt x="85" y="555"/>
                  </a:cubicBezTo>
                  <a:cubicBezTo>
                    <a:pt x="87" y="557"/>
                    <a:pt x="90" y="558"/>
                    <a:pt x="92" y="555"/>
                  </a:cubicBezTo>
                  <a:cubicBezTo>
                    <a:pt x="95" y="553"/>
                    <a:pt x="96" y="551"/>
                    <a:pt x="94" y="547"/>
                  </a:cubicBezTo>
                  <a:cubicBezTo>
                    <a:pt x="93" y="544"/>
                    <a:pt x="90" y="544"/>
                    <a:pt x="91" y="540"/>
                  </a:cubicBezTo>
                  <a:cubicBezTo>
                    <a:pt x="92" y="536"/>
                    <a:pt x="94" y="534"/>
                    <a:pt x="96" y="531"/>
                  </a:cubicBezTo>
                  <a:cubicBezTo>
                    <a:pt x="97" y="531"/>
                    <a:pt x="98" y="530"/>
                    <a:pt x="99" y="529"/>
                  </a:cubicBezTo>
                  <a:cubicBezTo>
                    <a:pt x="100" y="528"/>
                    <a:pt x="101" y="529"/>
                    <a:pt x="102" y="528"/>
                  </a:cubicBezTo>
                  <a:cubicBezTo>
                    <a:pt x="102" y="532"/>
                    <a:pt x="110" y="531"/>
                    <a:pt x="106" y="527"/>
                  </a:cubicBezTo>
                  <a:cubicBezTo>
                    <a:pt x="102" y="522"/>
                    <a:pt x="113" y="524"/>
                    <a:pt x="115" y="524"/>
                  </a:cubicBezTo>
                  <a:cubicBezTo>
                    <a:pt x="114" y="524"/>
                    <a:pt x="114" y="523"/>
                    <a:pt x="114" y="522"/>
                  </a:cubicBezTo>
                  <a:cubicBezTo>
                    <a:pt x="115" y="522"/>
                    <a:pt x="115" y="523"/>
                    <a:pt x="116" y="524"/>
                  </a:cubicBezTo>
                  <a:cubicBezTo>
                    <a:pt x="117" y="524"/>
                    <a:pt x="118" y="524"/>
                    <a:pt x="119" y="524"/>
                  </a:cubicBezTo>
                  <a:cubicBezTo>
                    <a:pt x="120" y="524"/>
                    <a:pt x="122" y="523"/>
                    <a:pt x="122" y="523"/>
                  </a:cubicBezTo>
                  <a:cubicBezTo>
                    <a:pt x="122" y="524"/>
                    <a:pt x="122" y="524"/>
                    <a:pt x="122" y="524"/>
                  </a:cubicBezTo>
                  <a:cubicBezTo>
                    <a:pt x="124" y="526"/>
                    <a:pt x="125" y="522"/>
                    <a:pt x="127" y="523"/>
                  </a:cubicBezTo>
                  <a:cubicBezTo>
                    <a:pt x="128" y="524"/>
                    <a:pt x="130" y="521"/>
                    <a:pt x="131" y="522"/>
                  </a:cubicBezTo>
                  <a:cubicBezTo>
                    <a:pt x="131" y="522"/>
                    <a:pt x="129" y="523"/>
                    <a:pt x="129" y="524"/>
                  </a:cubicBezTo>
                  <a:cubicBezTo>
                    <a:pt x="129" y="524"/>
                    <a:pt x="133" y="523"/>
                    <a:pt x="134" y="523"/>
                  </a:cubicBezTo>
                  <a:cubicBezTo>
                    <a:pt x="135" y="523"/>
                    <a:pt x="136" y="525"/>
                    <a:pt x="137" y="523"/>
                  </a:cubicBezTo>
                  <a:cubicBezTo>
                    <a:pt x="137" y="524"/>
                    <a:pt x="135" y="527"/>
                    <a:pt x="138" y="527"/>
                  </a:cubicBezTo>
                  <a:cubicBezTo>
                    <a:pt x="139" y="526"/>
                    <a:pt x="140" y="524"/>
                    <a:pt x="141" y="523"/>
                  </a:cubicBezTo>
                  <a:cubicBezTo>
                    <a:pt x="143" y="520"/>
                    <a:pt x="143" y="517"/>
                    <a:pt x="145" y="513"/>
                  </a:cubicBezTo>
                  <a:cubicBezTo>
                    <a:pt x="146" y="510"/>
                    <a:pt x="147" y="508"/>
                    <a:pt x="148" y="506"/>
                  </a:cubicBezTo>
                  <a:cubicBezTo>
                    <a:pt x="148" y="505"/>
                    <a:pt x="150" y="501"/>
                    <a:pt x="150" y="504"/>
                  </a:cubicBezTo>
                  <a:cubicBezTo>
                    <a:pt x="152" y="503"/>
                    <a:pt x="152" y="500"/>
                    <a:pt x="151" y="498"/>
                  </a:cubicBezTo>
                  <a:cubicBezTo>
                    <a:pt x="152" y="498"/>
                    <a:pt x="155" y="499"/>
                    <a:pt x="155" y="497"/>
                  </a:cubicBezTo>
                  <a:cubicBezTo>
                    <a:pt x="155" y="497"/>
                    <a:pt x="153" y="498"/>
                    <a:pt x="153" y="498"/>
                  </a:cubicBezTo>
                  <a:cubicBezTo>
                    <a:pt x="153" y="496"/>
                    <a:pt x="153" y="495"/>
                    <a:pt x="153" y="493"/>
                  </a:cubicBezTo>
                  <a:cubicBezTo>
                    <a:pt x="153" y="493"/>
                    <a:pt x="154" y="491"/>
                    <a:pt x="154" y="490"/>
                  </a:cubicBezTo>
                  <a:cubicBezTo>
                    <a:pt x="154" y="489"/>
                    <a:pt x="153" y="490"/>
                    <a:pt x="153" y="488"/>
                  </a:cubicBezTo>
                  <a:cubicBezTo>
                    <a:pt x="154" y="487"/>
                    <a:pt x="155" y="488"/>
                    <a:pt x="153" y="486"/>
                  </a:cubicBezTo>
                  <a:cubicBezTo>
                    <a:pt x="155" y="488"/>
                    <a:pt x="155" y="486"/>
                    <a:pt x="156" y="486"/>
                  </a:cubicBezTo>
                  <a:cubicBezTo>
                    <a:pt x="156" y="486"/>
                    <a:pt x="156" y="487"/>
                    <a:pt x="157" y="486"/>
                  </a:cubicBezTo>
                  <a:cubicBezTo>
                    <a:pt x="157" y="486"/>
                    <a:pt x="156" y="486"/>
                    <a:pt x="156" y="485"/>
                  </a:cubicBezTo>
                  <a:cubicBezTo>
                    <a:pt x="156" y="485"/>
                    <a:pt x="157" y="485"/>
                    <a:pt x="157" y="484"/>
                  </a:cubicBezTo>
                  <a:cubicBezTo>
                    <a:pt x="155" y="484"/>
                    <a:pt x="152" y="478"/>
                    <a:pt x="155" y="479"/>
                  </a:cubicBezTo>
                  <a:cubicBezTo>
                    <a:pt x="154" y="478"/>
                    <a:pt x="154" y="478"/>
                    <a:pt x="153" y="477"/>
                  </a:cubicBezTo>
                  <a:cubicBezTo>
                    <a:pt x="155" y="475"/>
                    <a:pt x="156" y="475"/>
                    <a:pt x="156" y="473"/>
                  </a:cubicBezTo>
                  <a:cubicBezTo>
                    <a:pt x="156" y="474"/>
                    <a:pt x="159" y="471"/>
                    <a:pt x="159" y="471"/>
                  </a:cubicBezTo>
                  <a:cubicBezTo>
                    <a:pt x="159" y="471"/>
                    <a:pt x="158" y="470"/>
                    <a:pt x="158" y="470"/>
                  </a:cubicBezTo>
                  <a:cubicBezTo>
                    <a:pt x="158" y="470"/>
                    <a:pt x="159" y="469"/>
                    <a:pt x="159" y="469"/>
                  </a:cubicBezTo>
                  <a:cubicBezTo>
                    <a:pt x="158" y="468"/>
                    <a:pt x="160" y="469"/>
                    <a:pt x="160" y="468"/>
                  </a:cubicBezTo>
                  <a:cubicBezTo>
                    <a:pt x="159" y="467"/>
                    <a:pt x="157" y="466"/>
                    <a:pt x="159" y="466"/>
                  </a:cubicBezTo>
                  <a:cubicBezTo>
                    <a:pt x="158" y="464"/>
                    <a:pt x="155" y="465"/>
                    <a:pt x="155" y="462"/>
                  </a:cubicBezTo>
                  <a:cubicBezTo>
                    <a:pt x="156" y="462"/>
                    <a:pt x="157" y="464"/>
                    <a:pt x="158" y="463"/>
                  </a:cubicBezTo>
                  <a:cubicBezTo>
                    <a:pt x="158" y="462"/>
                    <a:pt x="157" y="461"/>
                    <a:pt x="157" y="460"/>
                  </a:cubicBezTo>
                  <a:cubicBezTo>
                    <a:pt x="160" y="462"/>
                    <a:pt x="156" y="459"/>
                    <a:pt x="156" y="458"/>
                  </a:cubicBezTo>
                  <a:cubicBezTo>
                    <a:pt x="157" y="459"/>
                    <a:pt x="159" y="460"/>
                    <a:pt x="160" y="459"/>
                  </a:cubicBezTo>
                  <a:cubicBezTo>
                    <a:pt x="159" y="458"/>
                    <a:pt x="158" y="458"/>
                    <a:pt x="158" y="456"/>
                  </a:cubicBezTo>
                  <a:cubicBezTo>
                    <a:pt x="158" y="457"/>
                    <a:pt x="159" y="457"/>
                    <a:pt x="160" y="457"/>
                  </a:cubicBezTo>
                  <a:cubicBezTo>
                    <a:pt x="159" y="457"/>
                    <a:pt x="154" y="451"/>
                    <a:pt x="153" y="451"/>
                  </a:cubicBezTo>
                  <a:cubicBezTo>
                    <a:pt x="153" y="450"/>
                    <a:pt x="154" y="451"/>
                    <a:pt x="153" y="450"/>
                  </a:cubicBezTo>
                  <a:cubicBezTo>
                    <a:pt x="153" y="450"/>
                    <a:pt x="157" y="452"/>
                    <a:pt x="156" y="450"/>
                  </a:cubicBezTo>
                  <a:cubicBezTo>
                    <a:pt x="156" y="450"/>
                    <a:pt x="160" y="452"/>
                    <a:pt x="161" y="451"/>
                  </a:cubicBezTo>
                  <a:cubicBezTo>
                    <a:pt x="162" y="451"/>
                    <a:pt x="160" y="450"/>
                    <a:pt x="160" y="449"/>
                  </a:cubicBezTo>
                  <a:cubicBezTo>
                    <a:pt x="161" y="450"/>
                    <a:pt x="161" y="450"/>
                    <a:pt x="162" y="449"/>
                  </a:cubicBezTo>
                  <a:cubicBezTo>
                    <a:pt x="161" y="449"/>
                    <a:pt x="161" y="447"/>
                    <a:pt x="160" y="448"/>
                  </a:cubicBezTo>
                  <a:cubicBezTo>
                    <a:pt x="159" y="448"/>
                    <a:pt x="157" y="447"/>
                    <a:pt x="157" y="447"/>
                  </a:cubicBezTo>
                  <a:cubicBezTo>
                    <a:pt x="157" y="447"/>
                    <a:pt x="158" y="447"/>
                    <a:pt x="158" y="447"/>
                  </a:cubicBezTo>
                  <a:cubicBezTo>
                    <a:pt x="157" y="446"/>
                    <a:pt x="157" y="445"/>
                    <a:pt x="158" y="445"/>
                  </a:cubicBezTo>
                  <a:cubicBezTo>
                    <a:pt x="158" y="447"/>
                    <a:pt x="161" y="446"/>
                    <a:pt x="160" y="444"/>
                  </a:cubicBezTo>
                  <a:cubicBezTo>
                    <a:pt x="161" y="444"/>
                    <a:pt x="161" y="444"/>
                    <a:pt x="162" y="444"/>
                  </a:cubicBezTo>
                  <a:cubicBezTo>
                    <a:pt x="162" y="444"/>
                    <a:pt x="159" y="441"/>
                    <a:pt x="159" y="441"/>
                  </a:cubicBezTo>
                  <a:cubicBezTo>
                    <a:pt x="160" y="441"/>
                    <a:pt x="162" y="441"/>
                    <a:pt x="162" y="440"/>
                  </a:cubicBezTo>
                  <a:cubicBezTo>
                    <a:pt x="163" y="440"/>
                    <a:pt x="162" y="439"/>
                    <a:pt x="162" y="439"/>
                  </a:cubicBezTo>
                  <a:cubicBezTo>
                    <a:pt x="162" y="439"/>
                    <a:pt x="163" y="439"/>
                    <a:pt x="163" y="439"/>
                  </a:cubicBezTo>
                  <a:cubicBezTo>
                    <a:pt x="162" y="436"/>
                    <a:pt x="160" y="436"/>
                    <a:pt x="159" y="435"/>
                  </a:cubicBezTo>
                  <a:cubicBezTo>
                    <a:pt x="160" y="435"/>
                    <a:pt x="161" y="434"/>
                    <a:pt x="162" y="433"/>
                  </a:cubicBezTo>
                  <a:cubicBezTo>
                    <a:pt x="160" y="433"/>
                    <a:pt x="158" y="433"/>
                    <a:pt x="157" y="432"/>
                  </a:cubicBezTo>
                  <a:cubicBezTo>
                    <a:pt x="157" y="432"/>
                    <a:pt x="162" y="432"/>
                    <a:pt x="161" y="431"/>
                  </a:cubicBezTo>
                  <a:cubicBezTo>
                    <a:pt x="160" y="430"/>
                    <a:pt x="159" y="431"/>
                    <a:pt x="159" y="431"/>
                  </a:cubicBezTo>
                  <a:cubicBezTo>
                    <a:pt x="159" y="431"/>
                    <a:pt x="159" y="430"/>
                    <a:pt x="159" y="430"/>
                  </a:cubicBezTo>
                  <a:cubicBezTo>
                    <a:pt x="158" y="429"/>
                    <a:pt x="157" y="429"/>
                    <a:pt x="156" y="428"/>
                  </a:cubicBezTo>
                  <a:cubicBezTo>
                    <a:pt x="154" y="428"/>
                    <a:pt x="152" y="427"/>
                    <a:pt x="150" y="426"/>
                  </a:cubicBezTo>
                  <a:cubicBezTo>
                    <a:pt x="153" y="426"/>
                    <a:pt x="156" y="428"/>
                    <a:pt x="158" y="428"/>
                  </a:cubicBezTo>
                  <a:cubicBezTo>
                    <a:pt x="159" y="428"/>
                    <a:pt x="161" y="429"/>
                    <a:pt x="162" y="428"/>
                  </a:cubicBezTo>
                  <a:cubicBezTo>
                    <a:pt x="163" y="428"/>
                    <a:pt x="163" y="427"/>
                    <a:pt x="163" y="426"/>
                  </a:cubicBezTo>
                  <a:cubicBezTo>
                    <a:pt x="164" y="427"/>
                    <a:pt x="164" y="427"/>
                    <a:pt x="165" y="426"/>
                  </a:cubicBezTo>
                  <a:cubicBezTo>
                    <a:pt x="164" y="425"/>
                    <a:pt x="162" y="425"/>
                    <a:pt x="162" y="423"/>
                  </a:cubicBezTo>
                  <a:cubicBezTo>
                    <a:pt x="161" y="423"/>
                    <a:pt x="154" y="418"/>
                    <a:pt x="154" y="420"/>
                  </a:cubicBezTo>
                  <a:cubicBezTo>
                    <a:pt x="154" y="421"/>
                    <a:pt x="152" y="420"/>
                    <a:pt x="151" y="420"/>
                  </a:cubicBezTo>
                  <a:cubicBezTo>
                    <a:pt x="150" y="420"/>
                    <a:pt x="151" y="421"/>
                    <a:pt x="151" y="421"/>
                  </a:cubicBezTo>
                  <a:cubicBezTo>
                    <a:pt x="150" y="422"/>
                    <a:pt x="149" y="420"/>
                    <a:pt x="148" y="421"/>
                  </a:cubicBezTo>
                  <a:cubicBezTo>
                    <a:pt x="147" y="421"/>
                    <a:pt x="146" y="421"/>
                    <a:pt x="144" y="420"/>
                  </a:cubicBezTo>
                  <a:cubicBezTo>
                    <a:pt x="146" y="420"/>
                    <a:pt x="146" y="419"/>
                    <a:pt x="145" y="419"/>
                  </a:cubicBezTo>
                  <a:cubicBezTo>
                    <a:pt x="150" y="418"/>
                    <a:pt x="155" y="419"/>
                    <a:pt x="159" y="420"/>
                  </a:cubicBezTo>
                  <a:cubicBezTo>
                    <a:pt x="161" y="421"/>
                    <a:pt x="171" y="420"/>
                    <a:pt x="165" y="418"/>
                  </a:cubicBezTo>
                  <a:cubicBezTo>
                    <a:pt x="166" y="418"/>
                    <a:pt x="170" y="420"/>
                    <a:pt x="170" y="417"/>
                  </a:cubicBezTo>
                  <a:cubicBezTo>
                    <a:pt x="170" y="417"/>
                    <a:pt x="169" y="417"/>
                    <a:pt x="168" y="417"/>
                  </a:cubicBezTo>
                  <a:cubicBezTo>
                    <a:pt x="168" y="417"/>
                    <a:pt x="169" y="417"/>
                    <a:pt x="169" y="416"/>
                  </a:cubicBezTo>
                  <a:cubicBezTo>
                    <a:pt x="169" y="416"/>
                    <a:pt x="167" y="415"/>
                    <a:pt x="167" y="415"/>
                  </a:cubicBezTo>
                  <a:cubicBezTo>
                    <a:pt x="167" y="415"/>
                    <a:pt x="169" y="414"/>
                    <a:pt x="169" y="414"/>
                  </a:cubicBezTo>
                  <a:cubicBezTo>
                    <a:pt x="170" y="415"/>
                    <a:pt x="169" y="415"/>
                    <a:pt x="171" y="416"/>
                  </a:cubicBezTo>
                  <a:cubicBezTo>
                    <a:pt x="172" y="416"/>
                    <a:pt x="173" y="416"/>
                    <a:pt x="174" y="416"/>
                  </a:cubicBezTo>
                  <a:cubicBezTo>
                    <a:pt x="174" y="414"/>
                    <a:pt x="177" y="415"/>
                    <a:pt x="177" y="416"/>
                  </a:cubicBezTo>
                  <a:cubicBezTo>
                    <a:pt x="177" y="415"/>
                    <a:pt x="176" y="414"/>
                    <a:pt x="176" y="413"/>
                  </a:cubicBezTo>
                  <a:cubicBezTo>
                    <a:pt x="178" y="413"/>
                    <a:pt x="179" y="414"/>
                    <a:pt x="180" y="414"/>
                  </a:cubicBezTo>
                  <a:cubicBezTo>
                    <a:pt x="180" y="413"/>
                    <a:pt x="178" y="411"/>
                    <a:pt x="180" y="411"/>
                  </a:cubicBezTo>
                  <a:cubicBezTo>
                    <a:pt x="180" y="411"/>
                    <a:pt x="179" y="410"/>
                    <a:pt x="179" y="410"/>
                  </a:cubicBezTo>
                  <a:cubicBezTo>
                    <a:pt x="179" y="410"/>
                    <a:pt x="185" y="412"/>
                    <a:pt x="181" y="409"/>
                  </a:cubicBezTo>
                  <a:cubicBezTo>
                    <a:pt x="182" y="409"/>
                    <a:pt x="184" y="408"/>
                    <a:pt x="182" y="408"/>
                  </a:cubicBezTo>
                  <a:cubicBezTo>
                    <a:pt x="183" y="407"/>
                    <a:pt x="182" y="407"/>
                    <a:pt x="182" y="406"/>
                  </a:cubicBezTo>
                  <a:cubicBezTo>
                    <a:pt x="183" y="406"/>
                    <a:pt x="183" y="407"/>
                    <a:pt x="183" y="406"/>
                  </a:cubicBezTo>
                  <a:cubicBezTo>
                    <a:pt x="184" y="406"/>
                    <a:pt x="184" y="408"/>
                    <a:pt x="186" y="409"/>
                  </a:cubicBezTo>
                  <a:cubicBezTo>
                    <a:pt x="184" y="408"/>
                    <a:pt x="186" y="404"/>
                    <a:pt x="185" y="403"/>
                  </a:cubicBezTo>
                  <a:cubicBezTo>
                    <a:pt x="184" y="400"/>
                    <a:pt x="184" y="404"/>
                    <a:pt x="183" y="405"/>
                  </a:cubicBezTo>
                  <a:cubicBezTo>
                    <a:pt x="182" y="403"/>
                    <a:pt x="182" y="401"/>
                    <a:pt x="184" y="401"/>
                  </a:cubicBezTo>
                  <a:cubicBezTo>
                    <a:pt x="185" y="400"/>
                    <a:pt x="184" y="399"/>
                    <a:pt x="184" y="398"/>
                  </a:cubicBezTo>
                  <a:cubicBezTo>
                    <a:pt x="185" y="399"/>
                    <a:pt x="184" y="402"/>
                    <a:pt x="185" y="402"/>
                  </a:cubicBezTo>
                  <a:cubicBezTo>
                    <a:pt x="187" y="402"/>
                    <a:pt x="186" y="400"/>
                    <a:pt x="187" y="400"/>
                  </a:cubicBezTo>
                  <a:cubicBezTo>
                    <a:pt x="187" y="400"/>
                    <a:pt x="186" y="404"/>
                    <a:pt x="186" y="404"/>
                  </a:cubicBezTo>
                  <a:cubicBezTo>
                    <a:pt x="186" y="406"/>
                    <a:pt x="187" y="408"/>
                    <a:pt x="188" y="410"/>
                  </a:cubicBezTo>
                  <a:cubicBezTo>
                    <a:pt x="189" y="408"/>
                    <a:pt x="187" y="408"/>
                    <a:pt x="187" y="406"/>
                  </a:cubicBezTo>
                  <a:cubicBezTo>
                    <a:pt x="188" y="408"/>
                    <a:pt x="190" y="411"/>
                    <a:pt x="188" y="413"/>
                  </a:cubicBezTo>
                  <a:cubicBezTo>
                    <a:pt x="190" y="413"/>
                    <a:pt x="190" y="413"/>
                    <a:pt x="190" y="411"/>
                  </a:cubicBezTo>
                  <a:cubicBezTo>
                    <a:pt x="190" y="410"/>
                    <a:pt x="189" y="411"/>
                    <a:pt x="190" y="409"/>
                  </a:cubicBezTo>
                  <a:cubicBezTo>
                    <a:pt x="190" y="409"/>
                    <a:pt x="189" y="409"/>
                    <a:pt x="189" y="408"/>
                  </a:cubicBezTo>
                  <a:cubicBezTo>
                    <a:pt x="189" y="408"/>
                    <a:pt x="190" y="410"/>
                    <a:pt x="191" y="410"/>
                  </a:cubicBezTo>
                  <a:cubicBezTo>
                    <a:pt x="190" y="410"/>
                    <a:pt x="191" y="409"/>
                    <a:pt x="191" y="409"/>
                  </a:cubicBezTo>
                  <a:cubicBezTo>
                    <a:pt x="191" y="411"/>
                    <a:pt x="193" y="408"/>
                    <a:pt x="193" y="407"/>
                  </a:cubicBezTo>
                  <a:cubicBezTo>
                    <a:pt x="192" y="405"/>
                    <a:pt x="194" y="406"/>
                    <a:pt x="194" y="405"/>
                  </a:cubicBezTo>
                  <a:cubicBezTo>
                    <a:pt x="194" y="405"/>
                    <a:pt x="193" y="405"/>
                    <a:pt x="193" y="405"/>
                  </a:cubicBezTo>
                  <a:cubicBezTo>
                    <a:pt x="194" y="405"/>
                    <a:pt x="194" y="404"/>
                    <a:pt x="193" y="403"/>
                  </a:cubicBezTo>
                  <a:cubicBezTo>
                    <a:pt x="195" y="404"/>
                    <a:pt x="200" y="399"/>
                    <a:pt x="200" y="400"/>
                  </a:cubicBezTo>
                  <a:cubicBezTo>
                    <a:pt x="200" y="400"/>
                    <a:pt x="199" y="401"/>
                    <a:pt x="199" y="401"/>
                  </a:cubicBezTo>
                  <a:cubicBezTo>
                    <a:pt x="199" y="402"/>
                    <a:pt x="202" y="401"/>
                    <a:pt x="202" y="401"/>
                  </a:cubicBezTo>
                  <a:cubicBezTo>
                    <a:pt x="202" y="400"/>
                    <a:pt x="202" y="400"/>
                    <a:pt x="201" y="400"/>
                  </a:cubicBezTo>
                  <a:cubicBezTo>
                    <a:pt x="203" y="399"/>
                    <a:pt x="205" y="399"/>
                    <a:pt x="206" y="398"/>
                  </a:cubicBezTo>
                  <a:cubicBezTo>
                    <a:pt x="205" y="397"/>
                    <a:pt x="202" y="397"/>
                    <a:pt x="202" y="395"/>
                  </a:cubicBezTo>
                  <a:cubicBezTo>
                    <a:pt x="203" y="395"/>
                    <a:pt x="203" y="396"/>
                    <a:pt x="204" y="397"/>
                  </a:cubicBezTo>
                  <a:cubicBezTo>
                    <a:pt x="204" y="394"/>
                    <a:pt x="201" y="395"/>
                    <a:pt x="200" y="393"/>
                  </a:cubicBezTo>
                  <a:cubicBezTo>
                    <a:pt x="201" y="393"/>
                    <a:pt x="201" y="393"/>
                    <a:pt x="202" y="394"/>
                  </a:cubicBezTo>
                  <a:cubicBezTo>
                    <a:pt x="201" y="393"/>
                    <a:pt x="201" y="391"/>
                    <a:pt x="202" y="391"/>
                  </a:cubicBezTo>
                  <a:cubicBezTo>
                    <a:pt x="203" y="391"/>
                    <a:pt x="202" y="392"/>
                    <a:pt x="202" y="393"/>
                  </a:cubicBezTo>
                  <a:cubicBezTo>
                    <a:pt x="203" y="393"/>
                    <a:pt x="204" y="393"/>
                    <a:pt x="205" y="394"/>
                  </a:cubicBezTo>
                  <a:cubicBezTo>
                    <a:pt x="207" y="395"/>
                    <a:pt x="208" y="396"/>
                    <a:pt x="210" y="394"/>
                  </a:cubicBezTo>
                  <a:cubicBezTo>
                    <a:pt x="209" y="394"/>
                    <a:pt x="204" y="392"/>
                    <a:pt x="204" y="392"/>
                  </a:cubicBezTo>
                  <a:cubicBezTo>
                    <a:pt x="205" y="391"/>
                    <a:pt x="213" y="395"/>
                    <a:pt x="212" y="392"/>
                  </a:cubicBezTo>
                  <a:cubicBezTo>
                    <a:pt x="212" y="392"/>
                    <a:pt x="209" y="390"/>
                    <a:pt x="208" y="390"/>
                  </a:cubicBezTo>
                  <a:cubicBezTo>
                    <a:pt x="209" y="390"/>
                    <a:pt x="209" y="389"/>
                    <a:pt x="210" y="390"/>
                  </a:cubicBezTo>
                  <a:cubicBezTo>
                    <a:pt x="209" y="388"/>
                    <a:pt x="206" y="387"/>
                    <a:pt x="204" y="387"/>
                  </a:cubicBezTo>
                  <a:cubicBezTo>
                    <a:pt x="205" y="388"/>
                    <a:pt x="206" y="389"/>
                    <a:pt x="206" y="391"/>
                  </a:cubicBezTo>
                  <a:cubicBezTo>
                    <a:pt x="206" y="390"/>
                    <a:pt x="202" y="389"/>
                    <a:pt x="201" y="390"/>
                  </a:cubicBezTo>
                  <a:cubicBezTo>
                    <a:pt x="200" y="390"/>
                    <a:pt x="198" y="392"/>
                    <a:pt x="196" y="391"/>
                  </a:cubicBezTo>
                  <a:cubicBezTo>
                    <a:pt x="198" y="391"/>
                    <a:pt x="195" y="389"/>
                    <a:pt x="194" y="389"/>
                  </a:cubicBezTo>
                  <a:cubicBezTo>
                    <a:pt x="194" y="389"/>
                    <a:pt x="198" y="383"/>
                    <a:pt x="198" y="387"/>
                  </a:cubicBezTo>
                  <a:cubicBezTo>
                    <a:pt x="197" y="386"/>
                    <a:pt x="197" y="388"/>
                    <a:pt x="198" y="388"/>
                  </a:cubicBezTo>
                  <a:cubicBezTo>
                    <a:pt x="199" y="388"/>
                    <a:pt x="202" y="389"/>
                    <a:pt x="202" y="388"/>
                  </a:cubicBezTo>
                  <a:cubicBezTo>
                    <a:pt x="202" y="387"/>
                    <a:pt x="199" y="386"/>
                    <a:pt x="199" y="386"/>
                  </a:cubicBezTo>
                  <a:cubicBezTo>
                    <a:pt x="199" y="386"/>
                    <a:pt x="201" y="387"/>
                    <a:pt x="200" y="385"/>
                  </a:cubicBezTo>
                  <a:cubicBezTo>
                    <a:pt x="202" y="386"/>
                    <a:pt x="212" y="381"/>
                    <a:pt x="210" y="378"/>
                  </a:cubicBezTo>
                  <a:cubicBezTo>
                    <a:pt x="212" y="380"/>
                    <a:pt x="212" y="378"/>
                    <a:pt x="213" y="379"/>
                  </a:cubicBezTo>
                  <a:cubicBezTo>
                    <a:pt x="213" y="377"/>
                    <a:pt x="212" y="377"/>
                    <a:pt x="211" y="378"/>
                  </a:cubicBezTo>
                  <a:cubicBezTo>
                    <a:pt x="212" y="377"/>
                    <a:pt x="213" y="377"/>
                    <a:pt x="212" y="376"/>
                  </a:cubicBezTo>
                  <a:cubicBezTo>
                    <a:pt x="214" y="376"/>
                    <a:pt x="216" y="375"/>
                    <a:pt x="217" y="374"/>
                  </a:cubicBezTo>
                  <a:cubicBezTo>
                    <a:pt x="218" y="373"/>
                    <a:pt x="219" y="375"/>
                    <a:pt x="220" y="375"/>
                  </a:cubicBezTo>
                  <a:cubicBezTo>
                    <a:pt x="223" y="374"/>
                    <a:pt x="220" y="372"/>
                    <a:pt x="219" y="372"/>
                  </a:cubicBezTo>
                  <a:cubicBezTo>
                    <a:pt x="221" y="371"/>
                    <a:pt x="216" y="367"/>
                    <a:pt x="216" y="366"/>
                  </a:cubicBezTo>
                  <a:cubicBezTo>
                    <a:pt x="217" y="366"/>
                    <a:pt x="219" y="371"/>
                    <a:pt x="220" y="370"/>
                  </a:cubicBezTo>
                  <a:cubicBezTo>
                    <a:pt x="223" y="370"/>
                    <a:pt x="219" y="367"/>
                    <a:pt x="219" y="367"/>
                  </a:cubicBezTo>
                  <a:cubicBezTo>
                    <a:pt x="219" y="366"/>
                    <a:pt x="218" y="367"/>
                    <a:pt x="217" y="366"/>
                  </a:cubicBezTo>
                  <a:cubicBezTo>
                    <a:pt x="216" y="365"/>
                    <a:pt x="215" y="363"/>
                    <a:pt x="215" y="362"/>
                  </a:cubicBezTo>
                  <a:cubicBezTo>
                    <a:pt x="214" y="362"/>
                    <a:pt x="213" y="355"/>
                    <a:pt x="212" y="359"/>
                  </a:cubicBezTo>
                  <a:cubicBezTo>
                    <a:pt x="211" y="357"/>
                    <a:pt x="209" y="357"/>
                    <a:pt x="208" y="357"/>
                  </a:cubicBezTo>
                  <a:cubicBezTo>
                    <a:pt x="206" y="357"/>
                    <a:pt x="207" y="359"/>
                    <a:pt x="207" y="360"/>
                  </a:cubicBezTo>
                  <a:cubicBezTo>
                    <a:pt x="206" y="357"/>
                    <a:pt x="203" y="356"/>
                    <a:pt x="202" y="353"/>
                  </a:cubicBezTo>
                  <a:cubicBezTo>
                    <a:pt x="202" y="354"/>
                    <a:pt x="203" y="354"/>
                    <a:pt x="204" y="354"/>
                  </a:cubicBezTo>
                  <a:cubicBezTo>
                    <a:pt x="203" y="353"/>
                    <a:pt x="201" y="353"/>
                    <a:pt x="201" y="351"/>
                  </a:cubicBezTo>
                  <a:cubicBezTo>
                    <a:pt x="203" y="352"/>
                    <a:pt x="205" y="354"/>
                    <a:pt x="207" y="353"/>
                  </a:cubicBezTo>
                  <a:cubicBezTo>
                    <a:pt x="209" y="352"/>
                    <a:pt x="203" y="351"/>
                    <a:pt x="203" y="351"/>
                  </a:cubicBezTo>
                  <a:cubicBezTo>
                    <a:pt x="203" y="351"/>
                    <a:pt x="204" y="351"/>
                    <a:pt x="204" y="351"/>
                  </a:cubicBezTo>
                  <a:cubicBezTo>
                    <a:pt x="204" y="349"/>
                    <a:pt x="202" y="350"/>
                    <a:pt x="203" y="349"/>
                  </a:cubicBezTo>
                  <a:cubicBezTo>
                    <a:pt x="201" y="348"/>
                    <a:pt x="198" y="349"/>
                    <a:pt x="197" y="348"/>
                  </a:cubicBezTo>
                  <a:cubicBezTo>
                    <a:pt x="197" y="348"/>
                    <a:pt x="197" y="347"/>
                    <a:pt x="197" y="347"/>
                  </a:cubicBezTo>
                  <a:cubicBezTo>
                    <a:pt x="195" y="346"/>
                    <a:pt x="193" y="342"/>
                    <a:pt x="189" y="342"/>
                  </a:cubicBezTo>
                  <a:cubicBezTo>
                    <a:pt x="191" y="340"/>
                    <a:pt x="190" y="338"/>
                    <a:pt x="188" y="338"/>
                  </a:cubicBezTo>
                  <a:cubicBezTo>
                    <a:pt x="187" y="338"/>
                    <a:pt x="185" y="338"/>
                    <a:pt x="184" y="339"/>
                  </a:cubicBezTo>
                  <a:cubicBezTo>
                    <a:pt x="183" y="339"/>
                    <a:pt x="182" y="342"/>
                    <a:pt x="182" y="341"/>
                  </a:cubicBezTo>
                  <a:cubicBezTo>
                    <a:pt x="181" y="341"/>
                    <a:pt x="179" y="339"/>
                    <a:pt x="179" y="338"/>
                  </a:cubicBezTo>
                  <a:cubicBezTo>
                    <a:pt x="179" y="337"/>
                    <a:pt x="180" y="337"/>
                    <a:pt x="179" y="336"/>
                  </a:cubicBezTo>
                  <a:cubicBezTo>
                    <a:pt x="178" y="335"/>
                    <a:pt x="176" y="335"/>
                    <a:pt x="175" y="336"/>
                  </a:cubicBezTo>
                  <a:cubicBezTo>
                    <a:pt x="174" y="336"/>
                    <a:pt x="169" y="335"/>
                    <a:pt x="167" y="334"/>
                  </a:cubicBezTo>
                  <a:cubicBezTo>
                    <a:pt x="168" y="333"/>
                    <a:pt x="173" y="332"/>
                    <a:pt x="170" y="330"/>
                  </a:cubicBezTo>
                  <a:cubicBezTo>
                    <a:pt x="168" y="328"/>
                    <a:pt x="170" y="329"/>
                    <a:pt x="170" y="327"/>
                  </a:cubicBezTo>
                  <a:cubicBezTo>
                    <a:pt x="169" y="325"/>
                    <a:pt x="163" y="322"/>
                    <a:pt x="168" y="321"/>
                  </a:cubicBezTo>
                  <a:cubicBezTo>
                    <a:pt x="165" y="322"/>
                    <a:pt x="167" y="319"/>
                    <a:pt x="167" y="317"/>
                  </a:cubicBezTo>
                  <a:cubicBezTo>
                    <a:pt x="167" y="317"/>
                    <a:pt x="166" y="317"/>
                    <a:pt x="166" y="317"/>
                  </a:cubicBezTo>
                  <a:cubicBezTo>
                    <a:pt x="166" y="316"/>
                    <a:pt x="166" y="316"/>
                    <a:pt x="166" y="315"/>
                  </a:cubicBezTo>
                  <a:cubicBezTo>
                    <a:pt x="166" y="313"/>
                    <a:pt x="167" y="312"/>
                    <a:pt x="167" y="311"/>
                  </a:cubicBezTo>
                  <a:cubicBezTo>
                    <a:pt x="166" y="310"/>
                    <a:pt x="165" y="309"/>
                    <a:pt x="165" y="309"/>
                  </a:cubicBezTo>
                  <a:cubicBezTo>
                    <a:pt x="165" y="309"/>
                    <a:pt x="167" y="310"/>
                    <a:pt x="168" y="309"/>
                  </a:cubicBezTo>
                  <a:cubicBezTo>
                    <a:pt x="167" y="309"/>
                    <a:pt x="166" y="308"/>
                    <a:pt x="165" y="308"/>
                  </a:cubicBezTo>
                  <a:cubicBezTo>
                    <a:pt x="166" y="308"/>
                    <a:pt x="167" y="308"/>
                    <a:pt x="168" y="309"/>
                  </a:cubicBezTo>
                  <a:cubicBezTo>
                    <a:pt x="167" y="308"/>
                    <a:pt x="161" y="303"/>
                    <a:pt x="166" y="304"/>
                  </a:cubicBezTo>
                  <a:cubicBezTo>
                    <a:pt x="164" y="303"/>
                    <a:pt x="166" y="301"/>
                    <a:pt x="164" y="300"/>
                  </a:cubicBezTo>
                  <a:cubicBezTo>
                    <a:pt x="167" y="300"/>
                    <a:pt x="163" y="299"/>
                    <a:pt x="163" y="299"/>
                  </a:cubicBezTo>
                  <a:cubicBezTo>
                    <a:pt x="164" y="298"/>
                    <a:pt x="165" y="299"/>
                    <a:pt x="166" y="299"/>
                  </a:cubicBezTo>
                  <a:cubicBezTo>
                    <a:pt x="165" y="298"/>
                    <a:pt x="164" y="298"/>
                    <a:pt x="163" y="297"/>
                  </a:cubicBezTo>
                  <a:cubicBezTo>
                    <a:pt x="163" y="297"/>
                    <a:pt x="165" y="297"/>
                    <a:pt x="163" y="296"/>
                  </a:cubicBezTo>
                  <a:cubicBezTo>
                    <a:pt x="165" y="296"/>
                    <a:pt x="166" y="297"/>
                    <a:pt x="167" y="296"/>
                  </a:cubicBezTo>
                  <a:cubicBezTo>
                    <a:pt x="166" y="296"/>
                    <a:pt x="163" y="296"/>
                    <a:pt x="164" y="295"/>
                  </a:cubicBezTo>
                  <a:cubicBezTo>
                    <a:pt x="164" y="295"/>
                    <a:pt x="167" y="294"/>
                    <a:pt x="167" y="294"/>
                  </a:cubicBezTo>
                  <a:cubicBezTo>
                    <a:pt x="167" y="292"/>
                    <a:pt x="165" y="292"/>
                    <a:pt x="164" y="292"/>
                  </a:cubicBezTo>
                  <a:cubicBezTo>
                    <a:pt x="164" y="291"/>
                    <a:pt x="167" y="292"/>
                    <a:pt x="167" y="291"/>
                  </a:cubicBezTo>
                  <a:cubicBezTo>
                    <a:pt x="168" y="292"/>
                    <a:pt x="170" y="292"/>
                    <a:pt x="171" y="294"/>
                  </a:cubicBezTo>
                  <a:cubicBezTo>
                    <a:pt x="172" y="296"/>
                    <a:pt x="174" y="296"/>
                    <a:pt x="174" y="294"/>
                  </a:cubicBezTo>
                  <a:cubicBezTo>
                    <a:pt x="175" y="291"/>
                    <a:pt x="173" y="292"/>
                    <a:pt x="172" y="292"/>
                  </a:cubicBezTo>
                  <a:cubicBezTo>
                    <a:pt x="170" y="291"/>
                    <a:pt x="170" y="289"/>
                    <a:pt x="171" y="288"/>
                  </a:cubicBezTo>
                  <a:cubicBezTo>
                    <a:pt x="168" y="288"/>
                    <a:pt x="170" y="286"/>
                    <a:pt x="170" y="285"/>
                  </a:cubicBezTo>
                  <a:cubicBezTo>
                    <a:pt x="168" y="282"/>
                    <a:pt x="171" y="282"/>
                    <a:pt x="172" y="280"/>
                  </a:cubicBezTo>
                  <a:cubicBezTo>
                    <a:pt x="172" y="281"/>
                    <a:pt x="172" y="279"/>
                    <a:pt x="172" y="279"/>
                  </a:cubicBezTo>
                  <a:cubicBezTo>
                    <a:pt x="172" y="278"/>
                    <a:pt x="172" y="278"/>
                    <a:pt x="172" y="278"/>
                  </a:cubicBezTo>
                  <a:cubicBezTo>
                    <a:pt x="172" y="277"/>
                    <a:pt x="172" y="277"/>
                    <a:pt x="173" y="276"/>
                  </a:cubicBezTo>
                  <a:cubicBezTo>
                    <a:pt x="173" y="274"/>
                    <a:pt x="174" y="274"/>
                    <a:pt x="173" y="272"/>
                  </a:cubicBezTo>
                  <a:cubicBezTo>
                    <a:pt x="173" y="271"/>
                    <a:pt x="174" y="271"/>
                    <a:pt x="175" y="271"/>
                  </a:cubicBezTo>
                  <a:cubicBezTo>
                    <a:pt x="175" y="271"/>
                    <a:pt x="174" y="271"/>
                    <a:pt x="174" y="272"/>
                  </a:cubicBezTo>
                  <a:cubicBezTo>
                    <a:pt x="174" y="272"/>
                    <a:pt x="177" y="272"/>
                    <a:pt x="177" y="271"/>
                  </a:cubicBezTo>
                  <a:cubicBezTo>
                    <a:pt x="177" y="269"/>
                    <a:pt x="173" y="270"/>
                    <a:pt x="172" y="269"/>
                  </a:cubicBezTo>
                  <a:cubicBezTo>
                    <a:pt x="173" y="269"/>
                    <a:pt x="171" y="266"/>
                    <a:pt x="170" y="266"/>
                  </a:cubicBezTo>
                  <a:cubicBezTo>
                    <a:pt x="169" y="267"/>
                    <a:pt x="169" y="265"/>
                    <a:pt x="169" y="264"/>
                  </a:cubicBezTo>
                  <a:cubicBezTo>
                    <a:pt x="171" y="264"/>
                    <a:pt x="167" y="261"/>
                    <a:pt x="170" y="259"/>
                  </a:cubicBezTo>
                  <a:cubicBezTo>
                    <a:pt x="172" y="258"/>
                    <a:pt x="172" y="260"/>
                    <a:pt x="173" y="261"/>
                  </a:cubicBezTo>
                  <a:cubicBezTo>
                    <a:pt x="174" y="263"/>
                    <a:pt x="177" y="263"/>
                    <a:pt x="178" y="262"/>
                  </a:cubicBezTo>
                  <a:cubicBezTo>
                    <a:pt x="174" y="260"/>
                    <a:pt x="182" y="260"/>
                    <a:pt x="182" y="259"/>
                  </a:cubicBezTo>
                  <a:cubicBezTo>
                    <a:pt x="183" y="258"/>
                    <a:pt x="185" y="254"/>
                    <a:pt x="182" y="253"/>
                  </a:cubicBezTo>
                  <a:cubicBezTo>
                    <a:pt x="183" y="253"/>
                    <a:pt x="185" y="254"/>
                    <a:pt x="185" y="252"/>
                  </a:cubicBezTo>
                  <a:cubicBezTo>
                    <a:pt x="185" y="250"/>
                    <a:pt x="184" y="249"/>
                    <a:pt x="183" y="248"/>
                  </a:cubicBezTo>
                  <a:cubicBezTo>
                    <a:pt x="181" y="246"/>
                    <a:pt x="182" y="243"/>
                    <a:pt x="180" y="242"/>
                  </a:cubicBezTo>
                  <a:cubicBezTo>
                    <a:pt x="179" y="241"/>
                    <a:pt x="177" y="241"/>
                    <a:pt x="176" y="240"/>
                  </a:cubicBezTo>
                  <a:cubicBezTo>
                    <a:pt x="180" y="240"/>
                    <a:pt x="177" y="238"/>
                    <a:pt x="178" y="236"/>
                  </a:cubicBezTo>
                  <a:cubicBezTo>
                    <a:pt x="179" y="235"/>
                    <a:pt x="180" y="238"/>
                    <a:pt x="180" y="238"/>
                  </a:cubicBezTo>
                  <a:cubicBezTo>
                    <a:pt x="180" y="240"/>
                    <a:pt x="180" y="240"/>
                    <a:pt x="181" y="241"/>
                  </a:cubicBezTo>
                  <a:cubicBezTo>
                    <a:pt x="179" y="241"/>
                    <a:pt x="182" y="242"/>
                    <a:pt x="182" y="242"/>
                  </a:cubicBezTo>
                  <a:cubicBezTo>
                    <a:pt x="183" y="243"/>
                    <a:pt x="182" y="245"/>
                    <a:pt x="183" y="246"/>
                  </a:cubicBezTo>
                  <a:cubicBezTo>
                    <a:pt x="183" y="247"/>
                    <a:pt x="187" y="246"/>
                    <a:pt x="189" y="247"/>
                  </a:cubicBezTo>
                  <a:cubicBezTo>
                    <a:pt x="188" y="247"/>
                    <a:pt x="186" y="247"/>
                    <a:pt x="185" y="247"/>
                  </a:cubicBezTo>
                  <a:cubicBezTo>
                    <a:pt x="187" y="249"/>
                    <a:pt x="192" y="249"/>
                    <a:pt x="193" y="245"/>
                  </a:cubicBezTo>
                  <a:cubicBezTo>
                    <a:pt x="190" y="246"/>
                    <a:pt x="190" y="243"/>
                    <a:pt x="193" y="245"/>
                  </a:cubicBezTo>
                  <a:cubicBezTo>
                    <a:pt x="194" y="245"/>
                    <a:pt x="194" y="247"/>
                    <a:pt x="196" y="245"/>
                  </a:cubicBezTo>
                  <a:cubicBezTo>
                    <a:pt x="196" y="245"/>
                    <a:pt x="198" y="244"/>
                    <a:pt x="197" y="243"/>
                  </a:cubicBezTo>
                  <a:cubicBezTo>
                    <a:pt x="198" y="244"/>
                    <a:pt x="199" y="242"/>
                    <a:pt x="198" y="242"/>
                  </a:cubicBezTo>
                  <a:cubicBezTo>
                    <a:pt x="197" y="242"/>
                    <a:pt x="196" y="242"/>
                    <a:pt x="196" y="241"/>
                  </a:cubicBezTo>
                  <a:cubicBezTo>
                    <a:pt x="196" y="241"/>
                    <a:pt x="200" y="242"/>
                    <a:pt x="200" y="240"/>
                  </a:cubicBezTo>
                  <a:cubicBezTo>
                    <a:pt x="200" y="239"/>
                    <a:pt x="192" y="240"/>
                    <a:pt x="191" y="239"/>
                  </a:cubicBezTo>
                  <a:cubicBezTo>
                    <a:pt x="192" y="240"/>
                    <a:pt x="193" y="238"/>
                    <a:pt x="194" y="238"/>
                  </a:cubicBezTo>
                  <a:cubicBezTo>
                    <a:pt x="195" y="238"/>
                    <a:pt x="195" y="239"/>
                    <a:pt x="196" y="239"/>
                  </a:cubicBezTo>
                  <a:cubicBezTo>
                    <a:pt x="196" y="238"/>
                    <a:pt x="195" y="238"/>
                    <a:pt x="195" y="237"/>
                  </a:cubicBezTo>
                  <a:cubicBezTo>
                    <a:pt x="197" y="237"/>
                    <a:pt x="198" y="240"/>
                    <a:pt x="198" y="237"/>
                  </a:cubicBezTo>
                  <a:cubicBezTo>
                    <a:pt x="199" y="236"/>
                    <a:pt x="199" y="234"/>
                    <a:pt x="199" y="233"/>
                  </a:cubicBezTo>
                  <a:cubicBezTo>
                    <a:pt x="199" y="234"/>
                    <a:pt x="201" y="236"/>
                    <a:pt x="201" y="234"/>
                  </a:cubicBezTo>
                  <a:cubicBezTo>
                    <a:pt x="201" y="233"/>
                    <a:pt x="200" y="232"/>
                    <a:pt x="199" y="232"/>
                  </a:cubicBezTo>
                  <a:cubicBezTo>
                    <a:pt x="201" y="232"/>
                    <a:pt x="202" y="233"/>
                    <a:pt x="204" y="233"/>
                  </a:cubicBezTo>
                  <a:cubicBezTo>
                    <a:pt x="204" y="232"/>
                    <a:pt x="203" y="231"/>
                    <a:pt x="203" y="230"/>
                  </a:cubicBezTo>
                  <a:cubicBezTo>
                    <a:pt x="204" y="230"/>
                    <a:pt x="205" y="230"/>
                    <a:pt x="206" y="230"/>
                  </a:cubicBezTo>
                  <a:cubicBezTo>
                    <a:pt x="205" y="230"/>
                    <a:pt x="203" y="231"/>
                    <a:pt x="204" y="232"/>
                  </a:cubicBezTo>
                  <a:cubicBezTo>
                    <a:pt x="204" y="232"/>
                    <a:pt x="206" y="231"/>
                    <a:pt x="206" y="231"/>
                  </a:cubicBezTo>
                  <a:cubicBezTo>
                    <a:pt x="211" y="231"/>
                    <a:pt x="207" y="230"/>
                    <a:pt x="205" y="229"/>
                  </a:cubicBezTo>
                  <a:cubicBezTo>
                    <a:pt x="206" y="229"/>
                    <a:pt x="207" y="229"/>
                    <a:pt x="208" y="230"/>
                  </a:cubicBezTo>
                  <a:cubicBezTo>
                    <a:pt x="208" y="229"/>
                    <a:pt x="207" y="229"/>
                    <a:pt x="207" y="228"/>
                  </a:cubicBezTo>
                  <a:cubicBezTo>
                    <a:pt x="207" y="227"/>
                    <a:pt x="211" y="231"/>
                    <a:pt x="211" y="231"/>
                  </a:cubicBezTo>
                  <a:cubicBezTo>
                    <a:pt x="211" y="231"/>
                    <a:pt x="214" y="232"/>
                    <a:pt x="213" y="231"/>
                  </a:cubicBezTo>
                  <a:cubicBezTo>
                    <a:pt x="213" y="230"/>
                    <a:pt x="212" y="230"/>
                    <a:pt x="212" y="230"/>
                  </a:cubicBezTo>
                  <a:cubicBezTo>
                    <a:pt x="212" y="229"/>
                    <a:pt x="215" y="231"/>
                    <a:pt x="214" y="229"/>
                  </a:cubicBezTo>
                  <a:cubicBezTo>
                    <a:pt x="213" y="228"/>
                    <a:pt x="215" y="227"/>
                    <a:pt x="216" y="227"/>
                  </a:cubicBezTo>
                  <a:cubicBezTo>
                    <a:pt x="218" y="226"/>
                    <a:pt x="217" y="220"/>
                    <a:pt x="220" y="222"/>
                  </a:cubicBezTo>
                  <a:cubicBezTo>
                    <a:pt x="220" y="221"/>
                    <a:pt x="220" y="220"/>
                    <a:pt x="219" y="220"/>
                  </a:cubicBezTo>
                  <a:cubicBezTo>
                    <a:pt x="221" y="220"/>
                    <a:pt x="222" y="222"/>
                    <a:pt x="224" y="222"/>
                  </a:cubicBezTo>
                  <a:cubicBezTo>
                    <a:pt x="227" y="222"/>
                    <a:pt x="222" y="219"/>
                    <a:pt x="222" y="219"/>
                  </a:cubicBezTo>
                  <a:cubicBezTo>
                    <a:pt x="224" y="218"/>
                    <a:pt x="221" y="217"/>
                    <a:pt x="223" y="217"/>
                  </a:cubicBezTo>
                  <a:cubicBezTo>
                    <a:pt x="225" y="217"/>
                    <a:pt x="226" y="219"/>
                    <a:pt x="227" y="220"/>
                  </a:cubicBezTo>
                  <a:cubicBezTo>
                    <a:pt x="228" y="222"/>
                    <a:pt x="229" y="223"/>
                    <a:pt x="230" y="221"/>
                  </a:cubicBezTo>
                  <a:cubicBezTo>
                    <a:pt x="231" y="219"/>
                    <a:pt x="230" y="219"/>
                    <a:pt x="230" y="218"/>
                  </a:cubicBezTo>
                  <a:cubicBezTo>
                    <a:pt x="230" y="218"/>
                    <a:pt x="233" y="216"/>
                    <a:pt x="233" y="216"/>
                  </a:cubicBezTo>
                  <a:cubicBezTo>
                    <a:pt x="234" y="215"/>
                    <a:pt x="236" y="215"/>
                    <a:pt x="237" y="215"/>
                  </a:cubicBezTo>
                  <a:cubicBezTo>
                    <a:pt x="235" y="213"/>
                    <a:pt x="238" y="213"/>
                    <a:pt x="240" y="213"/>
                  </a:cubicBezTo>
                  <a:cubicBezTo>
                    <a:pt x="242" y="214"/>
                    <a:pt x="242" y="213"/>
                    <a:pt x="244" y="210"/>
                  </a:cubicBezTo>
                  <a:cubicBezTo>
                    <a:pt x="246" y="207"/>
                    <a:pt x="245" y="211"/>
                    <a:pt x="247" y="212"/>
                  </a:cubicBezTo>
                  <a:cubicBezTo>
                    <a:pt x="249" y="213"/>
                    <a:pt x="247" y="209"/>
                    <a:pt x="247" y="209"/>
                  </a:cubicBezTo>
                  <a:cubicBezTo>
                    <a:pt x="249" y="211"/>
                    <a:pt x="249" y="206"/>
                    <a:pt x="250" y="207"/>
                  </a:cubicBezTo>
                  <a:cubicBezTo>
                    <a:pt x="251" y="207"/>
                    <a:pt x="251" y="209"/>
                    <a:pt x="251" y="209"/>
                  </a:cubicBezTo>
                  <a:cubicBezTo>
                    <a:pt x="252" y="209"/>
                    <a:pt x="251" y="207"/>
                    <a:pt x="253" y="207"/>
                  </a:cubicBezTo>
                  <a:cubicBezTo>
                    <a:pt x="253" y="207"/>
                    <a:pt x="255" y="208"/>
                    <a:pt x="255" y="207"/>
                  </a:cubicBezTo>
                  <a:cubicBezTo>
                    <a:pt x="255" y="206"/>
                    <a:pt x="254" y="206"/>
                    <a:pt x="254" y="206"/>
                  </a:cubicBezTo>
                  <a:cubicBezTo>
                    <a:pt x="255" y="205"/>
                    <a:pt x="256" y="207"/>
                    <a:pt x="257" y="205"/>
                  </a:cubicBezTo>
                  <a:cubicBezTo>
                    <a:pt x="257" y="203"/>
                    <a:pt x="258" y="202"/>
                    <a:pt x="259" y="201"/>
                  </a:cubicBezTo>
                  <a:cubicBezTo>
                    <a:pt x="260" y="199"/>
                    <a:pt x="260" y="197"/>
                    <a:pt x="261" y="195"/>
                  </a:cubicBezTo>
                  <a:cubicBezTo>
                    <a:pt x="261" y="193"/>
                    <a:pt x="263" y="193"/>
                    <a:pt x="263" y="191"/>
                  </a:cubicBezTo>
                  <a:cubicBezTo>
                    <a:pt x="264" y="190"/>
                    <a:pt x="264" y="192"/>
                    <a:pt x="265" y="191"/>
                  </a:cubicBezTo>
                  <a:cubicBezTo>
                    <a:pt x="266" y="191"/>
                    <a:pt x="266" y="190"/>
                    <a:pt x="267" y="189"/>
                  </a:cubicBezTo>
                  <a:cubicBezTo>
                    <a:pt x="268" y="188"/>
                    <a:pt x="270" y="188"/>
                    <a:pt x="271" y="187"/>
                  </a:cubicBezTo>
                  <a:cubicBezTo>
                    <a:pt x="272" y="186"/>
                    <a:pt x="278" y="182"/>
                    <a:pt x="276" y="180"/>
                  </a:cubicBezTo>
                  <a:cubicBezTo>
                    <a:pt x="276" y="181"/>
                    <a:pt x="273" y="182"/>
                    <a:pt x="273" y="181"/>
                  </a:cubicBezTo>
                  <a:cubicBezTo>
                    <a:pt x="273" y="179"/>
                    <a:pt x="274" y="178"/>
                    <a:pt x="272" y="179"/>
                  </a:cubicBezTo>
                  <a:cubicBezTo>
                    <a:pt x="273" y="177"/>
                    <a:pt x="274" y="179"/>
                    <a:pt x="276" y="178"/>
                  </a:cubicBezTo>
                  <a:cubicBezTo>
                    <a:pt x="275" y="178"/>
                    <a:pt x="274" y="178"/>
                    <a:pt x="273" y="177"/>
                  </a:cubicBezTo>
                  <a:cubicBezTo>
                    <a:pt x="273" y="175"/>
                    <a:pt x="273" y="177"/>
                    <a:pt x="272" y="177"/>
                  </a:cubicBezTo>
                  <a:cubicBezTo>
                    <a:pt x="272" y="177"/>
                    <a:pt x="269" y="174"/>
                    <a:pt x="270" y="176"/>
                  </a:cubicBezTo>
                  <a:cubicBezTo>
                    <a:pt x="268" y="175"/>
                    <a:pt x="265" y="173"/>
                    <a:pt x="263" y="172"/>
                  </a:cubicBezTo>
                  <a:cubicBezTo>
                    <a:pt x="264" y="171"/>
                    <a:pt x="265" y="173"/>
                    <a:pt x="266" y="172"/>
                  </a:cubicBezTo>
                  <a:cubicBezTo>
                    <a:pt x="266" y="172"/>
                    <a:pt x="265" y="172"/>
                    <a:pt x="264" y="172"/>
                  </a:cubicBezTo>
                  <a:cubicBezTo>
                    <a:pt x="266" y="171"/>
                    <a:pt x="267" y="173"/>
                    <a:pt x="268" y="173"/>
                  </a:cubicBezTo>
                  <a:cubicBezTo>
                    <a:pt x="268" y="172"/>
                    <a:pt x="268" y="172"/>
                    <a:pt x="268" y="172"/>
                  </a:cubicBezTo>
                  <a:cubicBezTo>
                    <a:pt x="268" y="172"/>
                    <a:pt x="268" y="172"/>
                    <a:pt x="268" y="172"/>
                  </a:cubicBezTo>
                  <a:cubicBezTo>
                    <a:pt x="268" y="171"/>
                    <a:pt x="266" y="170"/>
                    <a:pt x="267" y="170"/>
                  </a:cubicBezTo>
                  <a:cubicBezTo>
                    <a:pt x="267" y="169"/>
                    <a:pt x="267" y="169"/>
                    <a:pt x="268" y="169"/>
                  </a:cubicBezTo>
                  <a:cubicBezTo>
                    <a:pt x="267" y="167"/>
                    <a:pt x="264" y="168"/>
                    <a:pt x="262" y="168"/>
                  </a:cubicBezTo>
                  <a:cubicBezTo>
                    <a:pt x="265" y="168"/>
                    <a:pt x="261" y="166"/>
                    <a:pt x="261" y="165"/>
                  </a:cubicBezTo>
                  <a:cubicBezTo>
                    <a:pt x="261" y="166"/>
                    <a:pt x="268" y="166"/>
                    <a:pt x="265" y="163"/>
                  </a:cubicBezTo>
                  <a:cubicBezTo>
                    <a:pt x="266" y="163"/>
                    <a:pt x="266" y="161"/>
                    <a:pt x="267" y="161"/>
                  </a:cubicBezTo>
                  <a:cubicBezTo>
                    <a:pt x="268" y="161"/>
                    <a:pt x="269" y="161"/>
                    <a:pt x="269" y="161"/>
                  </a:cubicBezTo>
                  <a:cubicBezTo>
                    <a:pt x="269" y="160"/>
                    <a:pt x="269" y="159"/>
                    <a:pt x="270" y="160"/>
                  </a:cubicBezTo>
                  <a:cubicBezTo>
                    <a:pt x="270" y="160"/>
                    <a:pt x="270" y="160"/>
                    <a:pt x="270" y="159"/>
                  </a:cubicBezTo>
                  <a:cubicBezTo>
                    <a:pt x="271" y="159"/>
                    <a:pt x="271" y="159"/>
                    <a:pt x="272" y="158"/>
                  </a:cubicBezTo>
                  <a:cubicBezTo>
                    <a:pt x="272" y="158"/>
                    <a:pt x="271" y="157"/>
                    <a:pt x="271" y="157"/>
                  </a:cubicBezTo>
                  <a:cubicBezTo>
                    <a:pt x="272" y="157"/>
                    <a:pt x="273" y="157"/>
                    <a:pt x="274" y="157"/>
                  </a:cubicBezTo>
                  <a:cubicBezTo>
                    <a:pt x="273" y="156"/>
                    <a:pt x="274" y="155"/>
                    <a:pt x="273" y="154"/>
                  </a:cubicBezTo>
                  <a:cubicBezTo>
                    <a:pt x="276" y="155"/>
                    <a:pt x="274" y="152"/>
                    <a:pt x="273" y="151"/>
                  </a:cubicBezTo>
                  <a:cubicBezTo>
                    <a:pt x="273" y="150"/>
                    <a:pt x="275" y="149"/>
                    <a:pt x="276" y="149"/>
                  </a:cubicBezTo>
                  <a:cubicBezTo>
                    <a:pt x="276" y="149"/>
                    <a:pt x="278" y="146"/>
                    <a:pt x="276" y="147"/>
                  </a:cubicBezTo>
                  <a:cubicBezTo>
                    <a:pt x="276" y="147"/>
                    <a:pt x="273" y="147"/>
                    <a:pt x="276" y="147"/>
                  </a:cubicBezTo>
                  <a:cubicBezTo>
                    <a:pt x="275" y="145"/>
                    <a:pt x="272" y="146"/>
                    <a:pt x="270" y="145"/>
                  </a:cubicBezTo>
                  <a:cubicBezTo>
                    <a:pt x="271" y="145"/>
                    <a:pt x="272" y="145"/>
                    <a:pt x="271" y="144"/>
                  </a:cubicBezTo>
                  <a:cubicBezTo>
                    <a:pt x="271" y="144"/>
                    <a:pt x="272" y="144"/>
                    <a:pt x="273" y="144"/>
                  </a:cubicBezTo>
                  <a:cubicBezTo>
                    <a:pt x="271" y="143"/>
                    <a:pt x="275" y="146"/>
                    <a:pt x="275" y="145"/>
                  </a:cubicBezTo>
                  <a:cubicBezTo>
                    <a:pt x="275" y="145"/>
                    <a:pt x="274" y="143"/>
                    <a:pt x="274" y="143"/>
                  </a:cubicBezTo>
                  <a:cubicBezTo>
                    <a:pt x="275" y="144"/>
                    <a:pt x="283" y="144"/>
                    <a:pt x="282" y="142"/>
                  </a:cubicBezTo>
                  <a:cubicBezTo>
                    <a:pt x="285" y="142"/>
                    <a:pt x="284" y="143"/>
                    <a:pt x="285" y="141"/>
                  </a:cubicBezTo>
                  <a:cubicBezTo>
                    <a:pt x="284" y="141"/>
                    <a:pt x="283" y="140"/>
                    <a:pt x="282" y="139"/>
                  </a:cubicBezTo>
                  <a:cubicBezTo>
                    <a:pt x="282" y="141"/>
                    <a:pt x="281" y="139"/>
                    <a:pt x="280" y="139"/>
                  </a:cubicBezTo>
                  <a:cubicBezTo>
                    <a:pt x="282" y="138"/>
                    <a:pt x="287" y="141"/>
                    <a:pt x="289" y="137"/>
                  </a:cubicBezTo>
                  <a:cubicBezTo>
                    <a:pt x="288" y="137"/>
                    <a:pt x="286" y="136"/>
                    <a:pt x="286" y="135"/>
                  </a:cubicBezTo>
                  <a:cubicBezTo>
                    <a:pt x="286" y="136"/>
                    <a:pt x="290" y="139"/>
                    <a:pt x="290" y="137"/>
                  </a:cubicBezTo>
                  <a:cubicBezTo>
                    <a:pt x="292" y="137"/>
                    <a:pt x="297" y="138"/>
                    <a:pt x="293" y="136"/>
                  </a:cubicBezTo>
                  <a:cubicBezTo>
                    <a:pt x="291" y="135"/>
                    <a:pt x="295" y="134"/>
                    <a:pt x="292" y="133"/>
                  </a:cubicBezTo>
                  <a:cubicBezTo>
                    <a:pt x="291" y="133"/>
                    <a:pt x="290" y="134"/>
                    <a:pt x="290" y="132"/>
                  </a:cubicBezTo>
                  <a:cubicBezTo>
                    <a:pt x="290" y="132"/>
                    <a:pt x="295" y="134"/>
                    <a:pt x="293" y="131"/>
                  </a:cubicBezTo>
                  <a:cubicBezTo>
                    <a:pt x="292" y="131"/>
                    <a:pt x="292" y="129"/>
                    <a:pt x="291" y="129"/>
                  </a:cubicBezTo>
                  <a:cubicBezTo>
                    <a:pt x="292" y="128"/>
                    <a:pt x="292" y="128"/>
                    <a:pt x="292" y="128"/>
                  </a:cubicBezTo>
                  <a:cubicBezTo>
                    <a:pt x="292" y="128"/>
                    <a:pt x="292" y="128"/>
                    <a:pt x="292" y="128"/>
                  </a:cubicBezTo>
                  <a:cubicBezTo>
                    <a:pt x="294" y="129"/>
                    <a:pt x="293" y="126"/>
                    <a:pt x="292" y="125"/>
                  </a:cubicBezTo>
                  <a:cubicBezTo>
                    <a:pt x="293" y="125"/>
                    <a:pt x="298" y="127"/>
                    <a:pt x="296" y="128"/>
                  </a:cubicBezTo>
                  <a:cubicBezTo>
                    <a:pt x="297" y="129"/>
                    <a:pt x="298" y="127"/>
                    <a:pt x="300" y="128"/>
                  </a:cubicBezTo>
                  <a:cubicBezTo>
                    <a:pt x="300" y="128"/>
                    <a:pt x="301" y="130"/>
                    <a:pt x="301" y="129"/>
                  </a:cubicBezTo>
                  <a:cubicBezTo>
                    <a:pt x="303" y="129"/>
                    <a:pt x="301" y="125"/>
                    <a:pt x="300" y="124"/>
                  </a:cubicBezTo>
                  <a:cubicBezTo>
                    <a:pt x="303" y="125"/>
                    <a:pt x="305" y="128"/>
                    <a:pt x="308" y="129"/>
                  </a:cubicBezTo>
                  <a:cubicBezTo>
                    <a:pt x="308" y="129"/>
                    <a:pt x="314" y="132"/>
                    <a:pt x="313" y="130"/>
                  </a:cubicBezTo>
                  <a:cubicBezTo>
                    <a:pt x="314" y="129"/>
                    <a:pt x="316" y="132"/>
                    <a:pt x="316" y="130"/>
                  </a:cubicBezTo>
                  <a:cubicBezTo>
                    <a:pt x="316" y="131"/>
                    <a:pt x="317" y="131"/>
                    <a:pt x="317" y="131"/>
                  </a:cubicBezTo>
                  <a:cubicBezTo>
                    <a:pt x="317" y="130"/>
                    <a:pt x="313" y="128"/>
                    <a:pt x="315" y="128"/>
                  </a:cubicBezTo>
                  <a:cubicBezTo>
                    <a:pt x="314" y="127"/>
                    <a:pt x="314" y="127"/>
                    <a:pt x="313" y="126"/>
                  </a:cubicBezTo>
                  <a:cubicBezTo>
                    <a:pt x="315" y="126"/>
                    <a:pt x="316" y="128"/>
                    <a:pt x="317" y="127"/>
                  </a:cubicBezTo>
                  <a:cubicBezTo>
                    <a:pt x="318" y="127"/>
                    <a:pt x="319" y="128"/>
                    <a:pt x="318" y="129"/>
                  </a:cubicBezTo>
                  <a:cubicBezTo>
                    <a:pt x="318" y="129"/>
                    <a:pt x="319" y="129"/>
                    <a:pt x="319" y="129"/>
                  </a:cubicBezTo>
                  <a:cubicBezTo>
                    <a:pt x="319" y="129"/>
                    <a:pt x="319" y="129"/>
                    <a:pt x="319" y="129"/>
                  </a:cubicBezTo>
                  <a:cubicBezTo>
                    <a:pt x="319" y="129"/>
                    <a:pt x="320" y="129"/>
                    <a:pt x="320" y="129"/>
                  </a:cubicBezTo>
                  <a:cubicBezTo>
                    <a:pt x="319" y="128"/>
                    <a:pt x="320" y="127"/>
                    <a:pt x="321" y="126"/>
                  </a:cubicBezTo>
                  <a:cubicBezTo>
                    <a:pt x="321" y="129"/>
                    <a:pt x="325" y="128"/>
                    <a:pt x="326" y="127"/>
                  </a:cubicBezTo>
                  <a:cubicBezTo>
                    <a:pt x="327" y="126"/>
                    <a:pt x="331" y="128"/>
                    <a:pt x="332" y="128"/>
                  </a:cubicBezTo>
                  <a:cubicBezTo>
                    <a:pt x="334" y="129"/>
                    <a:pt x="337" y="128"/>
                    <a:pt x="339" y="127"/>
                  </a:cubicBezTo>
                  <a:cubicBezTo>
                    <a:pt x="339" y="126"/>
                    <a:pt x="338" y="124"/>
                    <a:pt x="337" y="123"/>
                  </a:cubicBezTo>
                  <a:close/>
                  <a:moveTo>
                    <a:pt x="177" y="412"/>
                  </a:moveTo>
                  <a:cubicBezTo>
                    <a:pt x="177" y="412"/>
                    <a:pt x="176" y="413"/>
                    <a:pt x="176" y="413"/>
                  </a:cubicBezTo>
                  <a:cubicBezTo>
                    <a:pt x="176" y="413"/>
                    <a:pt x="176" y="412"/>
                    <a:pt x="177" y="412"/>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4" name="Freeform 107">
              <a:extLst>
                <a:ext uri="{FF2B5EF4-FFF2-40B4-BE49-F238E27FC236}">
                  <a16:creationId xmlns:a16="http://schemas.microsoft.com/office/drawing/2014/main" id="{7F370FF3-A509-D301-B119-9DB4D661CBD6}"/>
                </a:ext>
              </a:extLst>
            </p:cNvPr>
            <p:cNvSpPr>
              <a:spLocks/>
            </p:cNvSpPr>
            <p:nvPr/>
          </p:nvSpPr>
          <p:spPr bwMode="auto">
            <a:xfrm>
              <a:off x="3011605" y="3640514"/>
              <a:ext cx="56669" cy="138260"/>
            </a:xfrm>
            <a:custGeom>
              <a:avLst/>
              <a:gdLst>
                <a:gd name="T0" fmla="*/ 17 w 20"/>
                <a:gd name="T1" fmla="*/ 1 h 49"/>
                <a:gd name="T2" fmla="*/ 15 w 20"/>
                <a:gd name="T3" fmla="*/ 6 h 49"/>
                <a:gd name="T4" fmla="*/ 14 w 20"/>
                <a:gd name="T5" fmla="*/ 9 h 49"/>
                <a:gd name="T6" fmla="*/ 11 w 20"/>
                <a:gd name="T7" fmla="*/ 15 h 49"/>
                <a:gd name="T8" fmla="*/ 9 w 20"/>
                <a:gd name="T9" fmla="*/ 20 h 49"/>
                <a:gd name="T10" fmla="*/ 5 w 20"/>
                <a:gd name="T11" fmla="*/ 25 h 49"/>
                <a:gd name="T12" fmla="*/ 1 w 20"/>
                <a:gd name="T13" fmla="*/ 39 h 49"/>
                <a:gd name="T14" fmla="*/ 1 w 20"/>
                <a:gd name="T15" fmla="*/ 44 h 49"/>
                <a:gd name="T16" fmla="*/ 2 w 20"/>
                <a:gd name="T17" fmla="*/ 49 h 49"/>
                <a:gd name="T18" fmla="*/ 6 w 20"/>
                <a:gd name="T19" fmla="*/ 41 h 49"/>
                <a:gd name="T20" fmla="*/ 9 w 20"/>
                <a:gd name="T21" fmla="*/ 33 h 49"/>
                <a:gd name="T22" fmla="*/ 11 w 20"/>
                <a:gd name="T23" fmla="*/ 25 h 49"/>
                <a:gd name="T24" fmla="*/ 14 w 20"/>
                <a:gd name="T25" fmla="*/ 18 h 49"/>
                <a:gd name="T26" fmla="*/ 17 w 20"/>
                <a:gd name="T27" fmla="*/ 11 h 49"/>
                <a:gd name="T28" fmla="*/ 18 w 20"/>
                <a:gd name="T29" fmla="*/ 5 h 49"/>
                <a:gd name="T30" fmla="*/ 20 w 20"/>
                <a:gd name="T31" fmla="*/ 2 h 49"/>
                <a:gd name="T32" fmla="*/ 19 w 20"/>
                <a:gd name="T33" fmla="*/ 0 h 49"/>
                <a:gd name="T34" fmla="*/ 17 w 20"/>
                <a:gd name="T3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49">
                  <a:moveTo>
                    <a:pt x="17" y="1"/>
                  </a:moveTo>
                  <a:cubicBezTo>
                    <a:pt x="15" y="2"/>
                    <a:pt x="16" y="4"/>
                    <a:pt x="15" y="6"/>
                  </a:cubicBezTo>
                  <a:cubicBezTo>
                    <a:pt x="14" y="7"/>
                    <a:pt x="14" y="8"/>
                    <a:pt x="14" y="9"/>
                  </a:cubicBezTo>
                  <a:cubicBezTo>
                    <a:pt x="14" y="11"/>
                    <a:pt x="12" y="13"/>
                    <a:pt x="11" y="15"/>
                  </a:cubicBezTo>
                  <a:cubicBezTo>
                    <a:pt x="10" y="16"/>
                    <a:pt x="10" y="19"/>
                    <a:pt x="9" y="20"/>
                  </a:cubicBezTo>
                  <a:cubicBezTo>
                    <a:pt x="7" y="21"/>
                    <a:pt x="6" y="23"/>
                    <a:pt x="5" y="25"/>
                  </a:cubicBezTo>
                  <a:cubicBezTo>
                    <a:pt x="3" y="29"/>
                    <a:pt x="0" y="34"/>
                    <a:pt x="1" y="39"/>
                  </a:cubicBezTo>
                  <a:cubicBezTo>
                    <a:pt x="2" y="41"/>
                    <a:pt x="1" y="42"/>
                    <a:pt x="1" y="44"/>
                  </a:cubicBezTo>
                  <a:cubicBezTo>
                    <a:pt x="1" y="46"/>
                    <a:pt x="2" y="47"/>
                    <a:pt x="2" y="49"/>
                  </a:cubicBezTo>
                  <a:cubicBezTo>
                    <a:pt x="4" y="47"/>
                    <a:pt x="5" y="44"/>
                    <a:pt x="6" y="41"/>
                  </a:cubicBezTo>
                  <a:cubicBezTo>
                    <a:pt x="7" y="38"/>
                    <a:pt x="8" y="35"/>
                    <a:pt x="9" y="33"/>
                  </a:cubicBezTo>
                  <a:cubicBezTo>
                    <a:pt x="10" y="30"/>
                    <a:pt x="10" y="27"/>
                    <a:pt x="11" y="25"/>
                  </a:cubicBezTo>
                  <a:cubicBezTo>
                    <a:pt x="12" y="23"/>
                    <a:pt x="14" y="21"/>
                    <a:pt x="14" y="18"/>
                  </a:cubicBezTo>
                  <a:cubicBezTo>
                    <a:pt x="14" y="15"/>
                    <a:pt x="16" y="14"/>
                    <a:pt x="17" y="11"/>
                  </a:cubicBezTo>
                  <a:cubicBezTo>
                    <a:pt x="18" y="9"/>
                    <a:pt x="19" y="7"/>
                    <a:pt x="18" y="5"/>
                  </a:cubicBezTo>
                  <a:cubicBezTo>
                    <a:pt x="18" y="3"/>
                    <a:pt x="19" y="2"/>
                    <a:pt x="20" y="2"/>
                  </a:cubicBezTo>
                  <a:cubicBezTo>
                    <a:pt x="20" y="1"/>
                    <a:pt x="20" y="1"/>
                    <a:pt x="19" y="0"/>
                  </a:cubicBezTo>
                  <a:cubicBezTo>
                    <a:pt x="19" y="2"/>
                    <a:pt x="18" y="0"/>
                    <a:pt x="17"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5" name="Freeform 108">
              <a:extLst>
                <a:ext uri="{FF2B5EF4-FFF2-40B4-BE49-F238E27FC236}">
                  <a16:creationId xmlns:a16="http://schemas.microsoft.com/office/drawing/2014/main" id="{AEB07533-A76B-D5E4-C9BA-144864C98B78}"/>
                </a:ext>
              </a:extLst>
            </p:cNvPr>
            <p:cNvSpPr>
              <a:spLocks/>
            </p:cNvSpPr>
            <p:nvPr/>
          </p:nvSpPr>
          <p:spPr bwMode="auto">
            <a:xfrm>
              <a:off x="2614921" y="3530860"/>
              <a:ext cx="42502" cy="25030"/>
            </a:xfrm>
            <a:custGeom>
              <a:avLst/>
              <a:gdLst>
                <a:gd name="T0" fmla="*/ 9 w 15"/>
                <a:gd name="T1" fmla="*/ 8 h 9"/>
                <a:gd name="T2" fmla="*/ 7 w 15"/>
                <a:gd name="T3" fmla="*/ 9 h 9"/>
                <a:gd name="T4" fmla="*/ 11 w 15"/>
                <a:gd name="T5" fmla="*/ 1 h 9"/>
                <a:gd name="T6" fmla="*/ 9 w 15"/>
                <a:gd name="T7" fmla="*/ 0 h 9"/>
                <a:gd name="T8" fmla="*/ 7 w 15"/>
                <a:gd name="T9" fmla="*/ 2 h 9"/>
                <a:gd name="T10" fmla="*/ 5 w 15"/>
                <a:gd name="T11" fmla="*/ 3 h 9"/>
                <a:gd name="T12" fmla="*/ 3 w 15"/>
                <a:gd name="T13" fmla="*/ 4 h 9"/>
                <a:gd name="T14" fmla="*/ 0 w 15"/>
                <a:gd name="T15" fmla="*/ 6 h 9"/>
                <a:gd name="T16" fmla="*/ 3 w 15"/>
                <a:gd name="T17" fmla="*/ 9 h 9"/>
                <a:gd name="T18" fmla="*/ 7 w 15"/>
                <a:gd name="T19" fmla="*/ 7 h 9"/>
                <a:gd name="T20" fmla="*/ 9 w 15"/>
                <a:gd name="T2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9">
                  <a:moveTo>
                    <a:pt x="9" y="8"/>
                  </a:moveTo>
                  <a:cubicBezTo>
                    <a:pt x="8" y="8"/>
                    <a:pt x="7" y="9"/>
                    <a:pt x="7" y="9"/>
                  </a:cubicBezTo>
                  <a:cubicBezTo>
                    <a:pt x="7" y="9"/>
                    <a:pt x="15" y="5"/>
                    <a:pt x="11" y="1"/>
                  </a:cubicBezTo>
                  <a:cubicBezTo>
                    <a:pt x="11" y="0"/>
                    <a:pt x="10" y="0"/>
                    <a:pt x="9" y="0"/>
                  </a:cubicBezTo>
                  <a:cubicBezTo>
                    <a:pt x="7" y="0"/>
                    <a:pt x="8" y="1"/>
                    <a:pt x="7" y="2"/>
                  </a:cubicBezTo>
                  <a:cubicBezTo>
                    <a:pt x="7" y="2"/>
                    <a:pt x="6" y="2"/>
                    <a:pt x="5" y="3"/>
                  </a:cubicBezTo>
                  <a:cubicBezTo>
                    <a:pt x="4" y="3"/>
                    <a:pt x="4" y="4"/>
                    <a:pt x="3" y="4"/>
                  </a:cubicBezTo>
                  <a:cubicBezTo>
                    <a:pt x="2" y="5"/>
                    <a:pt x="1" y="5"/>
                    <a:pt x="0" y="6"/>
                  </a:cubicBezTo>
                  <a:cubicBezTo>
                    <a:pt x="1" y="7"/>
                    <a:pt x="2" y="7"/>
                    <a:pt x="3" y="9"/>
                  </a:cubicBezTo>
                  <a:cubicBezTo>
                    <a:pt x="3" y="7"/>
                    <a:pt x="6" y="7"/>
                    <a:pt x="7" y="7"/>
                  </a:cubicBezTo>
                  <a:cubicBezTo>
                    <a:pt x="6" y="8"/>
                    <a:pt x="8" y="8"/>
                    <a:pt x="9" y="8"/>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6" name="Freeform 109">
              <a:extLst>
                <a:ext uri="{FF2B5EF4-FFF2-40B4-BE49-F238E27FC236}">
                  <a16:creationId xmlns:a16="http://schemas.microsoft.com/office/drawing/2014/main" id="{35D51FD4-D8C8-7661-970A-E9AF9332CECC}"/>
                </a:ext>
              </a:extLst>
            </p:cNvPr>
            <p:cNvSpPr>
              <a:spLocks/>
            </p:cNvSpPr>
            <p:nvPr/>
          </p:nvSpPr>
          <p:spPr bwMode="auto">
            <a:xfrm>
              <a:off x="2620823" y="3555890"/>
              <a:ext cx="24793" cy="14303"/>
            </a:xfrm>
            <a:custGeom>
              <a:avLst/>
              <a:gdLst>
                <a:gd name="T0" fmla="*/ 7 w 9"/>
                <a:gd name="T1" fmla="*/ 2 h 5"/>
                <a:gd name="T2" fmla="*/ 7 w 9"/>
                <a:gd name="T3" fmla="*/ 0 h 5"/>
                <a:gd name="T4" fmla="*/ 4 w 9"/>
                <a:gd name="T5" fmla="*/ 1 h 5"/>
                <a:gd name="T6" fmla="*/ 2 w 9"/>
                <a:gd name="T7" fmla="*/ 2 h 5"/>
                <a:gd name="T8" fmla="*/ 3 w 9"/>
                <a:gd name="T9" fmla="*/ 3 h 5"/>
                <a:gd name="T10" fmla="*/ 1 w 9"/>
                <a:gd name="T11" fmla="*/ 4 h 5"/>
                <a:gd name="T12" fmla="*/ 5 w 9"/>
                <a:gd name="T13" fmla="*/ 4 h 5"/>
                <a:gd name="T14" fmla="*/ 7 w 9"/>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7" y="2"/>
                  </a:moveTo>
                  <a:cubicBezTo>
                    <a:pt x="8" y="4"/>
                    <a:pt x="9" y="1"/>
                    <a:pt x="7" y="0"/>
                  </a:cubicBezTo>
                  <a:cubicBezTo>
                    <a:pt x="6" y="0"/>
                    <a:pt x="5" y="1"/>
                    <a:pt x="4" y="1"/>
                  </a:cubicBezTo>
                  <a:cubicBezTo>
                    <a:pt x="3" y="0"/>
                    <a:pt x="0" y="1"/>
                    <a:pt x="2" y="2"/>
                  </a:cubicBezTo>
                  <a:cubicBezTo>
                    <a:pt x="2" y="3"/>
                    <a:pt x="3" y="2"/>
                    <a:pt x="3" y="3"/>
                  </a:cubicBezTo>
                  <a:cubicBezTo>
                    <a:pt x="3" y="3"/>
                    <a:pt x="2" y="4"/>
                    <a:pt x="1" y="4"/>
                  </a:cubicBezTo>
                  <a:cubicBezTo>
                    <a:pt x="3" y="5"/>
                    <a:pt x="3" y="5"/>
                    <a:pt x="5" y="4"/>
                  </a:cubicBezTo>
                  <a:cubicBezTo>
                    <a:pt x="5" y="4"/>
                    <a:pt x="7" y="2"/>
                    <a:pt x="7" y="2"/>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7" name="Freeform 110">
              <a:extLst>
                <a:ext uri="{FF2B5EF4-FFF2-40B4-BE49-F238E27FC236}">
                  <a16:creationId xmlns:a16="http://schemas.microsoft.com/office/drawing/2014/main" id="{CB1E892D-80CA-DF97-92F1-4FAA5F213708}"/>
                </a:ext>
              </a:extLst>
            </p:cNvPr>
            <p:cNvSpPr>
              <a:spLocks/>
            </p:cNvSpPr>
            <p:nvPr/>
          </p:nvSpPr>
          <p:spPr bwMode="auto">
            <a:xfrm>
              <a:off x="3385857" y="3307977"/>
              <a:ext cx="22432" cy="8344"/>
            </a:xfrm>
            <a:custGeom>
              <a:avLst/>
              <a:gdLst>
                <a:gd name="T0" fmla="*/ 3 w 8"/>
                <a:gd name="T1" fmla="*/ 0 h 3"/>
                <a:gd name="T2" fmla="*/ 4 w 8"/>
                <a:gd name="T3" fmla="*/ 3 h 3"/>
                <a:gd name="T4" fmla="*/ 5 w 8"/>
                <a:gd name="T5" fmla="*/ 2 h 3"/>
                <a:gd name="T6" fmla="*/ 3 w 8"/>
                <a:gd name="T7" fmla="*/ 0 h 3"/>
              </a:gdLst>
              <a:ahLst/>
              <a:cxnLst>
                <a:cxn ang="0">
                  <a:pos x="T0" y="T1"/>
                </a:cxn>
                <a:cxn ang="0">
                  <a:pos x="T2" y="T3"/>
                </a:cxn>
                <a:cxn ang="0">
                  <a:pos x="T4" y="T5"/>
                </a:cxn>
                <a:cxn ang="0">
                  <a:pos x="T6" y="T7"/>
                </a:cxn>
              </a:cxnLst>
              <a:rect l="0" t="0" r="r" b="b"/>
              <a:pathLst>
                <a:path w="8" h="3">
                  <a:moveTo>
                    <a:pt x="3" y="0"/>
                  </a:moveTo>
                  <a:cubicBezTo>
                    <a:pt x="0" y="1"/>
                    <a:pt x="3" y="3"/>
                    <a:pt x="4" y="3"/>
                  </a:cubicBezTo>
                  <a:cubicBezTo>
                    <a:pt x="5" y="3"/>
                    <a:pt x="6" y="3"/>
                    <a:pt x="5" y="2"/>
                  </a:cubicBezTo>
                  <a:cubicBezTo>
                    <a:pt x="8" y="1"/>
                    <a:pt x="4" y="0"/>
                    <a:pt x="3"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8" name="Freeform 111">
              <a:extLst>
                <a:ext uri="{FF2B5EF4-FFF2-40B4-BE49-F238E27FC236}">
                  <a16:creationId xmlns:a16="http://schemas.microsoft.com/office/drawing/2014/main" id="{8254FF59-68DC-CF39-7C19-408611CBD3AB}"/>
                </a:ext>
              </a:extLst>
            </p:cNvPr>
            <p:cNvSpPr>
              <a:spLocks/>
            </p:cNvSpPr>
            <p:nvPr/>
          </p:nvSpPr>
          <p:spPr bwMode="auto">
            <a:xfrm>
              <a:off x="3444888" y="3285330"/>
              <a:ext cx="22432" cy="14303"/>
            </a:xfrm>
            <a:custGeom>
              <a:avLst/>
              <a:gdLst>
                <a:gd name="T0" fmla="*/ 5 w 8"/>
                <a:gd name="T1" fmla="*/ 0 h 5"/>
                <a:gd name="T2" fmla="*/ 8 w 8"/>
                <a:gd name="T3" fmla="*/ 2 h 5"/>
                <a:gd name="T4" fmla="*/ 5 w 8"/>
                <a:gd name="T5" fmla="*/ 0 h 5"/>
              </a:gdLst>
              <a:ahLst/>
              <a:cxnLst>
                <a:cxn ang="0">
                  <a:pos x="T0" y="T1"/>
                </a:cxn>
                <a:cxn ang="0">
                  <a:pos x="T2" y="T3"/>
                </a:cxn>
                <a:cxn ang="0">
                  <a:pos x="T4" y="T5"/>
                </a:cxn>
              </a:cxnLst>
              <a:rect l="0" t="0" r="r" b="b"/>
              <a:pathLst>
                <a:path w="8" h="5">
                  <a:moveTo>
                    <a:pt x="5" y="0"/>
                  </a:moveTo>
                  <a:cubicBezTo>
                    <a:pt x="0" y="2"/>
                    <a:pt x="6" y="5"/>
                    <a:pt x="8" y="2"/>
                  </a:cubicBezTo>
                  <a:cubicBezTo>
                    <a:pt x="7" y="2"/>
                    <a:pt x="5" y="2"/>
                    <a:pt x="5"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9" name="Freeform 112">
              <a:extLst>
                <a:ext uri="{FF2B5EF4-FFF2-40B4-BE49-F238E27FC236}">
                  <a16:creationId xmlns:a16="http://schemas.microsoft.com/office/drawing/2014/main" id="{FEC24988-7A38-CB6A-E36B-ED24788471DB}"/>
                </a:ext>
              </a:extLst>
            </p:cNvPr>
            <p:cNvSpPr>
              <a:spLocks/>
            </p:cNvSpPr>
            <p:nvPr/>
          </p:nvSpPr>
          <p:spPr bwMode="auto">
            <a:xfrm>
              <a:off x="3405928" y="3305593"/>
              <a:ext cx="16529" cy="10727"/>
            </a:xfrm>
            <a:custGeom>
              <a:avLst/>
              <a:gdLst>
                <a:gd name="T0" fmla="*/ 5 w 6"/>
                <a:gd name="T1" fmla="*/ 0 h 4"/>
                <a:gd name="T2" fmla="*/ 1 w 6"/>
                <a:gd name="T3" fmla="*/ 1 h 4"/>
                <a:gd name="T4" fmla="*/ 0 w 6"/>
                <a:gd name="T5" fmla="*/ 3 h 4"/>
                <a:gd name="T6" fmla="*/ 2 w 6"/>
                <a:gd name="T7" fmla="*/ 2 h 4"/>
                <a:gd name="T8" fmla="*/ 6 w 6"/>
                <a:gd name="T9" fmla="*/ 1 h 4"/>
                <a:gd name="T10" fmla="*/ 6 w 6"/>
                <a:gd name="T11" fmla="*/ 1 h 4"/>
                <a:gd name="T12" fmla="*/ 4 w 6"/>
                <a:gd name="T13" fmla="*/ 0 h 4"/>
                <a:gd name="T14" fmla="*/ 5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5" y="0"/>
                  </a:moveTo>
                  <a:cubicBezTo>
                    <a:pt x="4" y="0"/>
                    <a:pt x="2" y="0"/>
                    <a:pt x="1" y="1"/>
                  </a:cubicBezTo>
                  <a:cubicBezTo>
                    <a:pt x="1" y="1"/>
                    <a:pt x="0" y="3"/>
                    <a:pt x="0" y="3"/>
                  </a:cubicBezTo>
                  <a:cubicBezTo>
                    <a:pt x="1" y="4"/>
                    <a:pt x="4" y="3"/>
                    <a:pt x="2" y="2"/>
                  </a:cubicBezTo>
                  <a:cubicBezTo>
                    <a:pt x="4" y="2"/>
                    <a:pt x="5" y="2"/>
                    <a:pt x="6" y="1"/>
                  </a:cubicBezTo>
                  <a:cubicBezTo>
                    <a:pt x="6" y="1"/>
                    <a:pt x="6" y="1"/>
                    <a:pt x="6" y="1"/>
                  </a:cubicBezTo>
                  <a:cubicBezTo>
                    <a:pt x="6" y="1"/>
                    <a:pt x="5" y="0"/>
                    <a:pt x="4" y="0"/>
                  </a:cubicBezTo>
                  <a:cubicBezTo>
                    <a:pt x="4" y="0"/>
                    <a:pt x="4" y="0"/>
                    <a:pt x="5"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0" name="Freeform 113">
              <a:extLst>
                <a:ext uri="{FF2B5EF4-FFF2-40B4-BE49-F238E27FC236}">
                  <a16:creationId xmlns:a16="http://schemas.microsoft.com/office/drawing/2014/main" id="{DBFF1DD8-5678-B7B9-79BA-165452EDE773}"/>
                </a:ext>
              </a:extLst>
            </p:cNvPr>
            <p:cNvSpPr>
              <a:spLocks/>
            </p:cNvSpPr>
            <p:nvPr/>
          </p:nvSpPr>
          <p:spPr bwMode="auto">
            <a:xfrm>
              <a:off x="3248907" y="2199517"/>
              <a:ext cx="874831" cy="1153752"/>
            </a:xfrm>
            <a:custGeom>
              <a:avLst/>
              <a:gdLst>
                <a:gd name="T0" fmla="*/ 265 w 313"/>
                <a:gd name="T1" fmla="*/ 248 h 409"/>
                <a:gd name="T2" fmla="*/ 264 w 313"/>
                <a:gd name="T3" fmla="*/ 223 h 409"/>
                <a:gd name="T4" fmla="*/ 251 w 313"/>
                <a:gd name="T5" fmla="*/ 203 h 409"/>
                <a:gd name="T6" fmla="*/ 249 w 313"/>
                <a:gd name="T7" fmla="*/ 181 h 409"/>
                <a:gd name="T8" fmla="*/ 236 w 313"/>
                <a:gd name="T9" fmla="*/ 136 h 409"/>
                <a:gd name="T10" fmla="*/ 239 w 313"/>
                <a:gd name="T11" fmla="*/ 89 h 409"/>
                <a:gd name="T12" fmla="*/ 202 w 313"/>
                <a:gd name="T13" fmla="*/ 55 h 409"/>
                <a:gd name="T14" fmla="*/ 213 w 313"/>
                <a:gd name="T15" fmla="*/ 18 h 409"/>
                <a:gd name="T16" fmla="*/ 164 w 313"/>
                <a:gd name="T17" fmla="*/ 5 h 409"/>
                <a:gd name="T18" fmla="*/ 135 w 313"/>
                <a:gd name="T19" fmla="*/ 14 h 409"/>
                <a:gd name="T20" fmla="*/ 129 w 313"/>
                <a:gd name="T21" fmla="*/ 38 h 409"/>
                <a:gd name="T22" fmla="*/ 110 w 313"/>
                <a:gd name="T23" fmla="*/ 58 h 409"/>
                <a:gd name="T24" fmla="*/ 56 w 313"/>
                <a:gd name="T25" fmla="*/ 53 h 409"/>
                <a:gd name="T26" fmla="*/ 12 w 313"/>
                <a:gd name="T27" fmla="*/ 32 h 409"/>
                <a:gd name="T28" fmla="*/ 19 w 313"/>
                <a:gd name="T29" fmla="*/ 50 h 409"/>
                <a:gd name="T30" fmla="*/ 54 w 313"/>
                <a:gd name="T31" fmla="*/ 64 h 409"/>
                <a:gd name="T32" fmla="*/ 78 w 313"/>
                <a:gd name="T33" fmla="*/ 92 h 409"/>
                <a:gd name="T34" fmla="*/ 93 w 313"/>
                <a:gd name="T35" fmla="*/ 125 h 409"/>
                <a:gd name="T36" fmla="*/ 97 w 313"/>
                <a:gd name="T37" fmla="*/ 156 h 409"/>
                <a:gd name="T38" fmla="*/ 116 w 313"/>
                <a:gd name="T39" fmla="*/ 172 h 409"/>
                <a:gd name="T40" fmla="*/ 133 w 313"/>
                <a:gd name="T41" fmla="*/ 182 h 409"/>
                <a:gd name="T42" fmla="*/ 133 w 313"/>
                <a:gd name="T43" fmla="*/ 191 h 409"/>
                <a:gd name="T44" fmla="*/ 121 w 313"/>
                <a:gd name="T45" fmla="*/ 204 h 409"/>
                <a:gd name="T46" fmla="*/ 103 w 313"/>
                <a:gd name="T47" fmla="*/ 227 h 409"/>
                <a:gd name="T48" fmla="*/ 90 w 313"/>
                <a:gd name="T49" fmla="*/ 240 h 409"/>
                <a:gd name="T50" fmla="*/ 80 w 313"/>
                <a:gd name="T51" fmla="*/ 243 h 409"/>
                <a:gd name="T52" fmla="*/ 75 w 313"/>
                <a:gd name="T53" fmla="*/ 251 h 409"/>
                <a:gd name="T54" fmla="*/ 62 w 313"/>
                <a:gd name="T55" fmla="*/ 258 h 409"/>
                <a:gd name="T56" fmla="*/ 57 w 313"/>
                <a:gd name="T57" fmla="*/ 268 h 409"/>
                <a:gd name="T58" fmla="*/ 43 w 313"/>
                <a:gd name="T59" fmla="*/ 266 h 409"/>
                <a:gd name="T60" fmla="*/ 34 w 313"/>
                <a:gd name="T61" fmla="*/ 288 h 409"/>
                <a:gd name="T62" fmla="*/ 33 w 313"/>
                <a:gd name="T63" fmla="*/ 298 h 409"/>
                <a:gd name="T64" fmla="*/ 40 w 313"/>
                <a:gd name="T65" fmla="*/ 308 h 409"/>
                <a:gd name="T66" fmla="*/ 40 w 313"/>
                <a:gd name="T67" fmla="*/ 320 h 409"/>
                <a:gd name="T68" fmla="*/ 45 w 313"/>
                <a:gd name="T69" fmla="*/ 336 h 409"/>
                <a:gd name="T70" fmla="*/ 47 w 313"/>
                <a:gd name="T71" fmla="*/ 347 h 409"/>
                <a:gd name="T72" fmla="*/ 46 w 313"/>
                <a:gd name="T73" fmla="*/ 357 h 409"/>
                <a:gd name="T74" fmla="*/ 44 w 313"/>
                <a:gd name="T75" fmla="*/ 366 h 409"/>
                <a:gd name="T76" fmla="*/ 54 w 313"/>
                <a:gd name="T77" fmla="*/ 379 h 409"/>
                <a:gd name="T78" fmla="*/ 59 w 313"/>
                <a:gd name="T79" fmla="*/ 378 h 409"/>
                <a:gd name="T80" fmla="*/ 77 w 313"/>
                <a:gd name="T81" fmla="*/ 384 h 409"/>
                <a:gd name="T82" fmla="*/ 93 w 313"/>
                <a:gd name="T83" fmla="*/ 386 h 409"/>
                <a:gd name="T84" fmla="*/ 76 w 313"/>
                <a:gd name="T85" fmla="*/ 394 h 409"/>
                <a:gd name="T86" fmla="*/ 79 w 313"/>
                <a:gd name="T87" fmla="*/ 401 h 409"/>
                <a:gd name="T88" fmla="*/ 90 w 313"/>
                <a:gd name="T89" fmla="*/ 390 h 409"/>
                <a:gd name="T90" fmla="*/ 96 w 313"/>
                <a:gd name="T91" fmla="*/ 403 h 409"/>
                <a:gd name="T92" fmla="*/ 99 w 313"/>
                <a:gd name="T93" fmla="*/ 407 h 409"/>
                <a:gd name="T94" fmla="*/ 108 w 313"/>
                <a:gd name="T95" fmla="*/ 403 h 409"/>
                <a:gd name="T96" fmla="*/ 120 w 313"/>
                <a:gd name="T97" fmla="*/ 399 h 409"/>
                <a:gd name="T98" fmla="*/ 133 w 313"/>
                <a:gd name="T99" fmla="*/ 400 h 409"/>
                <a:gd name="T100" fmla="*/ 145 w 313"/>
                <a:gd name="T101" fmla="*/ 394 h 409"/>
                <a:gd name="T102" fmla="*/ 160 w 313"/>
                <a:gd name="T103" fmla="*/ 390 h 409"/>
                <a:gd name="T104" fmla="*/ 170 w 313"/>
                <a:gd name="T105" fmla="*/ 390 h 409"/>
                <a:gd name="T106" fmla="*/ 176 w 313"/>
                <a:gd name="T107" fmla="*/ 386 h 409"/>
                <a:gd name="T108" fmla="*/ 185 w 313"/>
                <a:gd name="T109" fmla="*/ 384 h 409"/>
                <a:gd name="T110" fmla="*/ 200 w 313"/>
                <a:gd name="T111" fmla="*/ 380 h 409"/>
                <a:gd name="T112" fmla="*/ 214 w 313"/>
                <a:gd name="T113" fmla="*/ 382 h 409"/>
                <a:gd name="T114" fmla="*/ 220 w 313"/>
                <a:gd name="T115" fmla="*/ 378 h 409"/>
                <a:gd name="T116" fmla="*/ 252 w 313"/>
                <a:gd name="T117" fmla="*/ 352 h 409"/>
                <a:gd name="T118" fmla="*/ 287 w 313"/>
                <a:gd name="T119" fmla="*/ 31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409">
                  <a:moveTo>
                    <a:pt x="304" y="274"/>
                  </a:moveTo>
                  <a:cubicBezTo>
                    <a:pt x="302" y="272"/>
                    <a:pt x="302" y="270"/>
                    <a:pt x="301" y="269"/>
                  </a:cubicBezTo>
                  <a:cubicBezTo>
                    <a:pt x="299" y="267"/>
                    <a:pt x="296" y="267"/>
                    <a:pt x="294" y="266"/>
                  </a:cubicBezTo>
                  <a:cubicBezTo>
                    <a:pt x="291" y="264"/>
                    <a:pt x="288" y="262"/>
                    <a:pt x="285" y="260"/>
                  </a:cubicBezTo>
                  <a:cubicBezTo>
                    <a:pt x="283" y="259"/>
                    <a:pt x="280" y="259"/>
                    <a:pt x="278" y="257"/>
                  </a:cubicBezTo>
                  <a:cubicBezTo>
                    <a:pt x="277" y="256"/>
                    <a:pt x="264" y="249"/>
                    <a:pt x="265" y="248"/>
                  </a:cubicBezTo>
                  <a:cubicBezTo>
                    <a:pt x="267" y="245"/>
                    <a:pt x="270" y="246"/>
                    <a:pt x="272" y="243"/>
                  </a:cubicBezTo>
                  <a:cubicBezTo>
                    <a:pt x="274" y="240"/>
                    <a:pt x="276" y="239"/>
                    <a:pt x="278" y="237"/>
                  </a:cubicBezTo>
                  <a:cubicBezTo>
                    <a:pt x="280" y="235"/>
                    <a:pt x="279" y="233"/>
                    <a:pt x="278" y="231"/>
                  </a:cubicBezTo>
                  <a:cubicBezTo>
                    <a:pt x="277" y="229"/>
                    <a:pt x="278" y="228"/>
                    <a:pt x="276" y="227"/>
                  </a:cubicBezTo>
                  <a:cubicBezTo>
                    <a:pt x="273" y="227"/>
                    <a:pt x="272" y="225"/>
                    <a:pt x="270" y="224"/>
                  </a:cubicBezTo>
                  <a:cubicBezTo>
                    <a:pt x="268" y="224"/>
                    <a:pt x="266" y="224"/>
                    <a:pt x="264" y="223"/>
                  </a:cubicBezTo>
                  <a:cubicBezTo>
                    <a:pt x="262" y="221"/>
                    <a:pt x="264" y="219"/>
                    <a:pt x="262" y="217"/>
                  </a:cubicBezTo>
                  <a:cubicBezTo>
                    <a:pt x="262" y="217"/>
                    <a:pt x="259" y="215"/>
                    <a:pt x="260" y="214"/>
                  </a:cubicBezTo>
                  <a:cubicBezTo>
                    <a:pt x="261" y="212"/>
                    <a:pt x="264" y="214"/>
                    <a:pt x="265" y="211"/>
                  </a:cubicBezTo>
                  <a:cubicBezTo>
                    <a:pt x="266" y="209"/>
                    <a:pt x="263" y="209"/>
                    <a:pt x="263" y="207"/>
                  </a:cubicBezTo>
                  <a:cubicBezTo>
                    <a:pt x="263" y="205"/>
                    <a:pt x="258" y="206"/>
                    <a:pt x="256" y="206"/>
                  </a:cubicBezTo>
                  <a:cubicBezTo>
                    <a:pt x="254" y="206"/>
                    <a:pt x="252" y="205"/>
                    <a:pt x="251" y="203"/>
                  </a:cubicBezTo>
                  <a:cubicBezTo>
                    <a:pt x="249" y="201"/>
                    <a:pt x="247" y="199"/>
                    <a:pt x="248" y="196"/>
                  </a:cubicBezTo>
                  <a:cubicBezTo>
                    <a:pt x="248" y="193"/>
                    <a:pt x="251" y="194"/>
                    <a:pt x="252" y="193"/>
                  </a:cubicBezTo>
                  <a:cubicBezTo>
                    <a:pt x="254" y="193"/>
                    <a:pt x="252" y="192"/>
                    <a:pt x="253" y="190"/>
                  </a:cubicBezTo>
                  <a:cubicBezTo>
                    <a:pt x="255" y="189"/>
                    <a:pt x="250" y="188"/>
                    <a:pt x="250" y="188"/>
                  </a:cubicBezTo>
                  <a:cubicBezTo>
                    <a:pt x="248" y="189"/>
                    <a:pt x="245" y="188"/>
                    <a:pt x="247" y="186"/>
                  </a:cubicBezTo>
                  <a:cubicBezTo>
                    <a:pt x="249" y="184"/>
                    <a:pt x="250" y="183"/>
                    <a:pt x="249" y="181"/>
                  </a:cubicBezTo>
                  <a:cubicBezTo>
                    <a:pt x="248" y="178"/>
                    <a:pt x="248" y="178"/>
                    <a:pt x="250" y="175"/>
                  </a:cubicBezTo>
                  <a:cubicBezTo>
                    <a:pt x="251" y="174"/>
                    <a:pt x="248" y="173"/>
                    <a:pt x="247" y="172"/>
                  </a:cubicBezTo>
                  <a:cubicBezTo>
                    <a:pt x="249" y="171"/>
                    <a:pt x="257" y="171"/>
                    <a:pt x="258" y="170"/>
                  </a:cubicBezTo>
                  <a:cubicBezTo>
                    <a:pt x="259" y="168"/>
                    <a:pt x="255" y="162"/>
                    <a:pt x="254" y="161"/>
                  </a:cubicBezTo>
                  <a:cubicBezTo>
                    <a:pt x="252" y="158"/>
                    <a:pt x="250" y="154"/>
                    <a:pt x="247" y="151"/>
                  </a:cubicBezTo>
                  <a:cubicBezTo>
                    <a:pt x="243" y="147"/>
                    <a:pt x="240" y="141"/>
                    <a:pt x="236" y="136"/>
                  </a:cubicBezTo>
                  <a:cubicBezTo>
                    <a:pt x="235" y="134"/>
                    <a:pt x="233" y="132"/>
                    <a:pt x="231" y="130"/>
                  </a:cubicBezTo>
                  <a:cubicBezTo>
                    <a:pt x="229" y="128"/>
                    <a:pt x="226" y="127"/>
                    <a:pt x="224" y="124"/>
                  </a:cubicBezTo>
                  <a:cubicBezTo>
                    <a:pt x="222" y="121"/>
                    <a:pt x="225" y="117"/>
                    <a:pt x="226" y="115"/>
                  </a:cubicBezTo>
                  <a:cubicBezTo>
                    <a:pt x="229" y="112"/>
                    <a:pt x="232" y="109"/>
                    <a:pt x="235" y="106"/>
                  </a:cubicBezTo>
                  <a:cubicBezTo>
                    <a:pt x="237" y="103"/>
                    <a:pt x="242" y="101"/>
                    <a:pt x="243" y="97"/>
                  </a:cubicBezTo>
                  <a:cubicBezTo>
                    <a:pt x="244" y="93"/>
                    <a:pt x="242" y="91"/>
                    <a:pt x="239" y="89"/>
                  </a:cubicBezTo>
                  <a:cubicBezTo>
                    <a:pt x="236" y="88"/>
                    <a:pt x="233" y="85"/>
                    <a:pt x="231" y="83"/>
                  </a:cubicBezTo>
                  <a:cubicBezTo>
                    <a:pt x="229" y="81"/>
                    <a:pt x="227" y="78"/>
                    <a:pt x="225" y="77"/>
                  </a:cubicBezTo>
                  <a:cubicBezTo>
                    <a:pt x="223" y="76"/>
                    <a:pt x="221" y="76"/>
                    <a:pt x="219" y="75"/>
                  </a:cubicBezTo>
                  <a:cubicBezTo>
                    <a:pt x="216" y="74"/>
                    <a:pt x="209" y="74"/>
                    <a:pt x="207" y="72"/>
                  </a:cubicBezTo>
                  <a:cubicBezTo>
                    <a:pt x="205" y="70"/>
                    <a:pt x="203" y="65"/>
                    <a:pt x="201" y="63"/>
                  </a:cubicBezTo>
                  <a:cubicBezTo>
                    <a:pt x="199" y="59"/>
                    <a:pt x="200" y="58"/>
                    <a:pt x="202" y="55"/>
                  </a:cubicBezTo>
                  <a:cubicBezTo>
                    <a:pt x="204" y="53"/>
                    <a:pt x="207" y="50"/>
                    <a:pt x="206" y="47"/>
                  </a:cubicBezTo>
                  <a:cubicBezTo>
                    <a:pt x="205" y="44"/>
                    <a:pt x="199" y="47"/>
                    <a:pt x="197" y="46"/>
                  </a:cubicBezTo>
                  <a:cubicBezTo>
                    <a:pt x="201" y="44"/>
                    <a:pt x="206" y="42"/>
                    <a:pt x="211" y="41"/>
                  </a:cubicBezTo>
                  <a:cubicBezTo>
                    <a:pt x="209" y="39"/>
                    <a:pt x="207" y="38"/>
                    <a:pt x="207" y="35"/>
                  </a:cubicBezTo>
                  <a:cubicBezTo>
                    <a:pt x="207" y="32"/>
                    <a:pt x="209" y="30"/>
                    <a:pt x="211" y="29"/>
                  </a:cubicBezTo>
                  <a:cubicBezTo>
                    <a:pt x="216" y="25"/>
                    <a:pt x="218" y="23"/>
                    <a:pt x="213" y="18"/>
                  </a:cubicBezTo>
                  <a:cubicBezTo>
                    <a:pt x="209" y="13"/>
                    <a:pt x="204" y="13"/>
                    <a:pt x="199" y="12"/>
                  </a:cubicBezTo>
                  <a:cubicBezTo>
                    <a:pt x="196" y="12"/>
                    <a:pt x="192" y="12"/>
                    <a:pt x="190" y="8"/>
                  </a:cubicBezTo>
                  <a:cubicBezTo>
                    <a:pt x="189" y="7"/>
                    <a:pt x="188" y="8"/>
                    <a:pt x="186" y="6"/>
                  </a:cubicBezTo>
                  <a:cubicBezTo>
                    <a:pt x="181" y="4"/>
                    <a:pt x="180" y="1"/>
                    <a:pt x="175" y="0"/>
                  </a:cubicBezTo>
                  <a:cubicBezTo>
                    <a:pt x="173" y="0"/>
                    <a:pt x="168" y="3"/>
                    <a:pt x="166" y="3"/>
                  </a:cubicBezTo>
                  <a:cubicBezTo>
                    <a:pt x="165" y="4"/>
                    <a:pt x="164" y="4"/>
                    <a:pt x="164" y="5"/>
                  </a:cubicBezTo>
                  <a:cubicBezTo>
                    <a:pt x="164" y="5"/>
                    <a:pt x="164" y="5"/>
                    <a:pt x="163" y="5"/>
                  </a:cubicBezTo>
                  <a:cubicBezTo>
                    <a:pt x="161" y="6"/>
                    <a:pt x="159" y="6"/>
                    <a:pt x="157" y="6"/>
                  </a:cubicBezTo>
                  <a:cubicBezTo>
                    <a:pt x="154" y="6"/>
                    <a:pt x="152" y="5"/>
                    <a:pt x="150" y="5"/>
                  </a:cubicBezTo>
                  <a:cubicBezTo>
                    <a:pt x="148" y="5"/>
                    <a:pt x="144" y="5"/>
                    <a:pt x="143" y="7"/>
                  </a:cubicBezTo>
                  <a:cubicBezTo>
                    <a:pt x="142" y="8"/>
                    <a:pt x="142" y="10"/>
                    <a:pt x="141" y="10"/>
                  </a:cubicBezTo>
                  <a:cubicBezTo>
                    <a:pt x="139" y="11"/>
                    <a:pt x="137" y="13"/>
                    <a:pt x="135" y="14"/>
                  </a:cubicBezTo>
                  <a:cubicBezTo>
                    <a:pt x="134" y="14"/>
                    <a:pt x="132" y="14"/>
                    <a:pt x="132" y="16"/>
                  </a:cubicBezTo>
                  <a:cubicBezTo>
                    <a:pt x="132" y="17"/>
                    <a:pt x="132" y="18"/>
                    <a:pt x="133" y="18"/>
                  </a:cubicBezTo>
                  <a:cubicBezTo>
                    <a:pt x="133" y="19"/>
                    <a:pt x="131" y="20"/>
                    <a:pt x="131" y="21"/>
                  </a:cubicBezTo>
                  <a:cubicBezTo>
                    <a:pt x="131" y="21"/>
                    <a:pt x="130" y="24"/>
                    <a:pt x="130" y="25"/>
                  </a:cubicBezTo>
                  <a:cubicBezTo>
                    <a:pt x="130" y="27"/>
                    <a:pt x="128" y="29"/>
                    <a:pt x="128" y="31"/>
                  </a:cubicBezTo>
                  <a:cubicBezTo>
                    <a:pt x="128" y="33"/>
                    <a:pt x="129" y="36"/>
                    <a:pt x="129" y="38"/>
                  </a:cubicBezTo>
                  <a:cubicBezTo>
                    <a:pt x="129" y="41"/>
                    <a:pt x="131" y="40"/>
                    <a:pt x="129" y="43"/>
                  </a:cubicBezTo>
                  <a:cubicBezTo>
                    <a:pt x="128" y="44"/>
                    <a:pt x="127" y="46"/>
                    <a:pt x="126" y="46"/>
                  </a:cubicBezTo>
                  <a:cubicBezTo>
                    <a:pt x="122" y="46"/>
                    <a:pt x="116" y="45"/>
                    <a:pt x="115" y="51"/>
                  </a:cubicBezTo>
                  <a:cubicBezTo>
                    <a:pt x="115" y="54"/>
                    <a:pt x="115" y="54"/>
                    <a:pt x="113" y="55"/>
                  </a:cubicBezTo>
                  <a:cubicBezTo>
                    <a:pt x="112" y="56"/>
                    <a:pt x="110" y="56"/>
                    <a:pt x="110" y="57"/>
                  </a:cubicBezTo>
                  <a:cubicBezTo>
                    <a:pt x="110" y="57"/>
                    <a:pt x="110" y="57"/>
                    <a:pt x="110" y="58"/>
                  </a:cubicBezTo>
                  <a:cubicBezTo>
                    <a:pt x="108" y="58"/>
                    <a:pt x="106" y="55"/>
                    <a:pt x="104" y="55"/>
                  </a:cubicBezTo>
                  <a:cubicBezTo>
                    <a:pt x="102" y="53"/>
                    <a:pt x="100" y="53"/>
                    <a:pt x="97" y="52"/>
                  </a:cubicBezTo>
                  <a:cubicBezTo>
                    <a:pt x="93" y="51"/>
                    <a:pt x="88" y="48"/>
                    <a:pt x="83" y="48"/>
                  </a:cubicBezTo>
                  <a:cubicBezTo>
                    <a:pt x="80" y="47"/>
                    <a:pt x="81" y="51"/>
                    <a:pt x="79" y="52"/>
                  </a:cubicBezTo>
                  <a:cubicBezTo>
                    <a:pt x="77" y="53"/>
                    <a:pt x="74" y="53"/>
                    <a:pt x="72" y="53"/>
                  </a:cubicBezTo>
                  <a:cubicBezTo>
                    <a:pt x="66" y="55"/>
                    <a:pt x="62" y="53"/>
                    <a:pt x="56" y="53"/>
                  </a:cubicBezTo>
                  <a:cubicBezTo>
                    <a:pt x="53" y="52"/>
                    <a:pt x="50" y="52"/>
                    <a:pt x="47" y="51"/>
                  </a:cubicBezTo>
                  <a:cubicBezTo>
                    <a:pt x="46" y="50"/>
                    <a:pt x="44" y="48"/>
                    <a:pt x="43" y="47"/>
                  </a:cubicBezTo>
                  <a:cubicBezTo>
                    <a:pt x="40" y="44"/>
                    <a:pt x="37" y="41"/>
                    <a:pt x="34" y="39"/>
                  </a:cubicBezTo>
                  <a:cubicBezTo>
                    <a:pt x="31" y="37"/>
                    <a:pt x="28" y="34"/>
                    <a:pt x="25" y="32"/>
                  </a:cubicBezTo>
                  <a:cubicBezTo>
                    <a:pt x="24" y="32"/>
                    <a:pt x="22" y="31"/>
                    <a:pt x="21" y="31"/>
                  </a:cubicBezTo>
                  <a:cubicBezTo>
                    <a:pt x="18" y="30"/>
                    <a:pt x="14" y="29"/>
                    <a:pt x="12" y="32"/>
                  </a:cubicBezTo>
                  <a:cubicBezTo>
                    <a:pt x="10" y="35"/>
                    <a:pt x="14" y="38"/>
                    <a:pt x="9" y="38"/>
                  </a:cubicBezTo>
                  <a:cubicBezTo>
                    <a:pt x="6" y="38"/>
                    <a:pt x="3" y="37"/>
                    <a:pt x="0" y="39"/>
                  </a:cubicBezTo>
                  <a:cubicBezTo>
                    <a:pt x="2" y="40"/>
                    <a:pt x="5" y="40"/>
                    <a:pt x="7" y="41"/>
                  </a:cubicBezTo>
                  <a:cubicBezTo>
                    <a:pt x="9" y="42"/>
                    <a:pt x="7" y="44"/>
                    <a:pt x="7" y="45"/>
                  </a:cubicBezTo>
                  <a:cubicBezTo>
                    <a:pt x="9" y="46"/>
                    <a:pt x="13" y="46"/>
                    <a:pt x="15" y="47"/>
                  </a:cubicBezTo>
                  <a:cubicBezTo>
                    <a:pt x="16" y="48"/>
                    <a:pt x="18" y="49"/>
                    <a:pt x="19" y="50"/>
                  </a:cubicBezTo>
                  <a:cubicBezTo>
                    <a:pt x="20" y="51"/>
                    <a:pt x="20" y="50"/>
                    <a:pt x="21" y="51"/>
                  </a:cubicBezTo>
                  <a:cubicBezTo>
                    <a:pt x="23" y="54"/>
                    <a:pt x="25" y="53"/>
                    <a:pt x="28" y="54"/>
                  </a:cubicBezTo>
                  <a:cubicBezTo>
                    <a:pt x="29" y="55"/>
                    <a:pt x="29" y="56"/>
                    <a:pt x="30" y="57"/>
                  </a:cubicBezTo>
                  <a:cubicBezTo>
                    <a:pt x="31" y="57"/>
                    <a:pt x="33" y="57"/>
                    <a:pt x="34" y="57"/>
                  </a:cubicBezTo>
                  <a:cubicBezTo>
                    <a:pt x="36" y="58"/>
                    <a:pt x="38" y="61"/>
                    <a:pt x="40" y="61"/>
                  </a:cubicBezTo>
                  <a:cubicBezTo>
                    <a:pt x="45" y="61"/>
                    <a:pt x="50" y="62"/>
                    <a:pt x="54" y="64"/>
                  </a:cubicBezTo>
                  <a:cubicBezTo>
                    <a:pt x="58" y="65"/>
                    <a:pt x="66" y="67"/>
                    <a:pt x="67" y="72"/>
                  </a:cubicBezTo>
                  <a:cubicBezTo>
                    <a:pt x="67" y="75"/>
                    <a:pt x="70" y="73"/>
                    <a:pt x="72" y="75"/>
                  </a:cubicBezTo>
                  <a:cubicBezTo>
                    <a:pt x="74" y="76"/>
                    <a:pt x="75" y="78"/>
                    <a:pt x="77" y="79"/>
                  </a:cubicBezTo>
                  <a:cubicBezTo>
                    <a:pt x="78" y="80"/>
                    <a:pt x="82" y="82"/>
                    <a:pt x="80" y="83"/>
                  </a:cubicBezTo>
                  <a:cubicBezTo>
                    <a:pt x="78" y="84"/>
                    <a:pt x="77" y="84"/>
                    <a:pt x="77" y="86"/>
                  </a:cubicBezTo>
                  <a:cubicBezTo>
                    <a:pt x="77" y="88"/>
                    <a:pt x="77" y="90"/>
                    <a:pt x="78" y="92"/>
                  </a:cubicBezTo>
                  <a:cubicBezTo>
                    <a:pt x="79" y="94"/>
                    <a:pt x="79" y="94"/>
                    <a:pt x="78" y="96"/>
                  </a:cubicBezTo>
                  <a:cubicBezTo>
                    <a:pt x="78" y="98"/>
                    <a:pt x="75" y="99"/>
                    <a:pt x="77" y="100"/>
                  </a:cubicBezTo>
                  <a:cubicBezTo>
                    <a:pt x="78" y="101"/>
                    <a:pt x="81" y="101"/>
                    <a:pt x="83" y="101"/>
                  </a:cubicBezTo>
                  <a:cubicBezTo>
                    <a:pt x="84" y="101"/>
                    <a:pt x="87" y="103"/>
                    <a:pt x="87" y="106"/>
                  </a:cubicBezTo>
                  <a:cubicBezTo>
                    <a:pt x="86" y="108"/>
                    <a:pt x="83" y="107"/>
                    <a:pt x="82" y="108"/>
                  </a:cubicBezTo>
                  <a:cubicBezTo>
                    <a:pt x="79" y="111"/>
                    <a:pt x="92" y="122"/>
                    <a:pt x="93" y="125"/>
                  </a:cubicBezTo>
                  <a:cubicBezTo>
                    <a:pt x="94" y="127"/>
                    <a:pt x="92" y="126"/>
                    <a:pt x="92" y="127"/>
                  </a:cubicBezTo>
                  <a:cubicBezTo>
                    <a:pt x="91" y="130"/>
                    <a:pt x="92" y="132"/>
                    <a:pt x="91" y="135"/>
                  </a:cubicBezTo>
                  <a:cubicBezTo>
                    <a:pt x="90" y="137"/>
                    <a:pt x="88" y="137"/>
                    <a:pt x="87" y="139"/>
                  </a:cubicBezTo>
                  <a:cubicBezTo>
                    <a:pt x="86" y="140"/>
                    <a:pt x="88" y="142"/>
                    <a:pt x="87" y="144"/>
                  </a:cubicBezTo>
                  <a:cubicBezTo>
                    <a:pt x="87" y="147"/>
                    <a:pt x="89" y="149"/>
                    <a:pt x="91" y="150"/>
                  </a:cubicBezTo>
                  <a:cubicBezTo>
                    <a:pt x="93" y="151"/>
                    <a:pt x="95" y="151"/>
                    <a:pt x="97" y="156"/>
                  </a:cubicBezTo>
                  <a:cubicBezTo>
                    <a:pt x="98" y="158"/>
                    <a:pt x="98" y="160"/>
                    <a:pt x="100" y="162"/>
                  </a:cubicBezTo>
                  <a:cubicBezTo>
                    <a:pt x="100" y="162"/>
                    <a:pt x="103" y="167"/>
                    <a:pt x="104" y="166"/>
                  </a:cubicBezTo>
                  <a:cubicBezTo>
                    <a:pt x="104" y="166"/>
                    <a:pt x="103" y="165"/>
                    <a:pt x="103" y="165"/>
                  </a:cubicBezTo>
                  <a:cubicBezTo>
                    <a:pt x="106" y="165"/>
                    <a:pt x="109" y="169"/>
                    <a:pt x="112" y="166"/>
                  </a:cubicBezTo>
                  <a:cubicBezTo>
                    <a:pt x="112" y="168"/>
                    <a:pt x="113" y="169"/>
                    <a:pt x="114" y="170"/>
                  </a:cubicBezTo>
                  <a:cubicBezTo>
                    <a:pt x="116" y="170"/>
                    <a:pt x="115" y="171"/>
                    <a:pt x="116" y="172"/>
                  </a:cubicBezTo>
                  <a:cubicBezTo>
                    <a:pt x="117" y="172"/>
                    <a:pt x="119" y="171"/>
                    <a:pt x="119" y="171"/>
                  </a:cubicBezTo>
                  <a:cubicBezTo>
                    <a:pt x="120" y="171"/>
                    <a:pt x="122" y="172"/>
                    <a:pt x="123" y="172"/>
                  </a:cubicBezTo>
                  <a:cubicBezTo>
                    <a:pt x="124" y="173"/>
                    <a:pt x="126" y="174"/>
                    <a:pt x="127" y="175"/>
                  </a:cubicBezTo>
                  <a:cubicBezTo>
                    <a:pt x="128" y="176"/>
                    <a:pt x="130" y="175"/>
                    <a:pt x="131" y="176"/>
                  </a:cubicBezTo>
                  <a:cubicBezTo>
                    <a:pt x="131" y="177"/>
                    <a:pt x="135" y="179"/>
                    <a:pt x="134" y="180"/>
                  </a:cubicBezTo>
                  <a:cubicBezTo>
                    <a:pt x="135" y="181"/>
                    <a:pt x="134" y="182"/>
                    <a:pt x="133" y="182"/>
                  </a:cubicBezTo>
                  <a:cubicBezTo>
                    <a:pt x="133" y="182"/>
                    <a:pt x="133" y="183"/>
                    <a:pt x="133" y="184"/>
                  </a:cubicBezTo>
                  <a:cubicBezTo>
                    <a:pt x="133" y="186"/>
                    <a:pt x="135" y="186"/>
                    <a:pt x="133" y="187"/>
                  </a:cubicBezTo>
                  <a:cubicBezTo>
                    <a:pt x="134" y="187"/>
                    <a:pt x="134" y="187"/>
                    <a:pt x="134" y="187"/>
                  </a:cubicBezTo>
                  <a:cubicBezTo>
                    <a:pt x="134" y="188"/>
                    <a:pt x="134" y="188"/>
                    <a:pt x="134" y="188"/>
                  </a:cubicBezTo>
                  <a:cubicBezTo>
                    <a:pt x="134" y="188"/>
                    <a:pt x="134" y="188"/>
                    <a:pt x="135" y="188"/>
                  </a:cubicBezTo>
                  <a:cubicBezTo>
                    <a:pt x="134" y="188"/>
                    <a:pt x="133" y="190"/>
                    <a:pt x="133" y="191"/>
                  </a:cubicBezTo>
                  <a:cubicBezTo>
                    <a:pt x="133" y="193"/>
                    <a:pt x="134" y="193"/>
                    <a:pt x="135" y="193"/>
                  </a:cubicBezTo>
                  <a:cubicBezTo>
                    <a:pt x="138" y="194"/>
                    <a:pt x="139" y="198"/>
                    <a:pt x="140" y="199"/>
                  </a:cubicBezTo>
                  <a:cubicBezTo>
                    <a:pt x="140" y="200"/>
                    <a:pt x="133" y="197"/>
                    <a:pt x="133" y="199"/>
                  </a:cubicBezTo>
                  <a:cubicBezTo>
                    <a:pt x="133" y="201"/>
                    <a:pt x="140" y="200"/>
                    <a:pt x="138" y="204"/>
                  </a:cubicBezTo>
                  <a:cubicBezTo>
                    <a:pt x="136" y="207"/>
                    <a:pt x="132" y="201"/>
                    <a:pt x="130" y="201"/>
                  </a:cubicBezTo>
                  <a:cubicBezTo>
                    <a:pt x="129" y="201"/>
                    <a:pt x="120" y="202"/>
                    <a:pt x="121" y="204"/>
                  </a:cubicBezTo>
                  <a:cubicBezTo>
                    <a:pt x="121" y="204"/>
                    <a:pt x="117" y="205"/>
                    <a:pt x="117" y="205"/>
                  </a:cubicBezTo>
                  <a:cubicBezTo>
                    <a:pt x="116" y="207"/>
                    <a:pt x="116" y="210"/>
                    <a:pt x="114" y="210"/>
                  </a:cubicBezTo>
                  <a:cubicBezTo>
                    <a:pt x="114" y="210"/>
                    <a:pt x="113" y="214"/>
                    <a:pt x="113" y="215"/>
                  </a:cubicBezTo>
                  <a:cubicBezTo>
                    <a:pt x="112" y="217"/>
                    <a:pt x="110" y="216"/>
                    <a:pt x="110" y="217"/>
                  </a:cubicBezTo>
                  <a:cubicBezTo>
                    <a:pt x="110" y="217"/>
                    <a:pt x="110" y="217"/>
                    <a:pt x="110" y="217"/>
                  </a:cubicBezTo>
                  <a:cubicBezTo>
                    <a:pt x="108" y="217"/>
                    <a:pt x="100" y="224"/>
                    <a:pt x="103" y="227"/>
                  </a:cubicBezTo>
                  <a:cubicBezTo>
                    <a:pt x="100" y="226"/>
                    <a:pt x="99" y="228"/>
                    <a:pt x="96" y="229"/>
                  </a:cubicBezTo>
                  <a:cubicBezTo>
                    <a:pt x="98" y="230"/>
                    <a:pt x="96" y="231"/>
                    <a:pt x="95" y="232"/>
                  </a:cubicBezTo>
                  <a:cubicBezTo>
                    <a:pt x="94" y="233"/>
                    <a:pt x="95" y="233"/>
                    <a:pt x="93" y="233"/>
                  </a:cubicBezTo>
                  <a:cubicBezTo>
                    <a:pt x="94" y="234"/>
                    <a:pt x="95" y="235"/>
                    <a:pt x="95" y="236"/>
                  </a:cubicBezTo>
                  <a:cubicBezTo>
                    <a:pt x="93" y="236"/>
                    <a:pt x="90" y="233"/>
                    <a:pt x="88" y="235"/>
                  </a:cubicBezTo>
                  <a:cubicBezTo>
                    <a:pt x="87" y="236"/>
                    <a:pt x="89" y="239"/>
                    <a:pt x="90" y="240"/>
                  </a:cubicBezTo>
                  <a:cubicBezTo>
                    <a:pt x="89" y="242"/>
                    <a:pt x="87" y="240"/>
                    <a:pt x="86" y="240"/>
                  </a:cubicBezTo>
                  <a:cubicBezTo>
                    <a:pt x="88" y="242"/>
                    <a:pt x="83" y="242"/>
                    <a:pt x="82" y="241"/>
                  </a:cubicBezTo>
                  <a:cubicBezTo>
                    <a:pt x="82" y="242"/>
                    <a:pt x="83" y="242"/>
                    <a:pt x="83" y="242"/>
                  </a:cubicBezTo>
                  <a:cubicBezTo>
                    <a:pt x="82" y="242"/>
                    <a:pt x="81" y="242"/>
                    <a:pt x="81" y="241"/>
                  </a:cubicBezTo>
                  <a:cubicBezTo>
                    <a:pt x="81" y="241"/>
                    <a:pt x="83" y="244"/>
                    <a:pt x="82" y="244"/>
                  </a:cubicBezTo>
                  <a:cubicBezTo>
                    <a:pt x="81" y="244"/>
                    <a:pt x="81" y="242"/>
                    <a:pt x="80" y="243"/>
                  </a:cubicBezTo>
                  <a:cubicBezTo>
                    <a:pt x="80" y="244"/>
                    <a:pt x="79" y="246"/>
                    <a:pt x="80" y="246"/>
                  </a:cubicBezTo>
                  <a:cubicBezTo>
                    <a:pt x="80" y="247"/>
                    <a:pt x="78" y="244"/>
                    <a:pt x="77" y="246"/>
                  </a:cubicBezTo>
                  <a:cubicBezTo>
                    <a:pt x="77" y="247"/>
                    <a:pt x="79" y="248"/>
                    <a:pt x="77" y="248"/>
                  </a:cubicBezTo>
                  <a:cubicBezTo>
                    <a:pt x="77" y="248"/>
                    <a:pt x="79" y="248"/>
                    <a:pt x="76" y="248"/>
                  </a:cubicBezTo>
                  <a:cubicBezTo>
                    <a:pt x="77" y="248"/>
                    <a:pt x="77" y="249"/>
                    <a:pt x="78" y="250"/>
                  </a:cubicBezTo>
                  <a:cubicBezTo>
                    <a:pt x="77" y="250"/>
                    <a:pt x="76" y="252"/>
                    <a:pt x="75" y="251"/>
                  </a:cubicBezTo>
                  <a:cubicBezTo>
                    <a:pt x="74" y="251"/>
                    <a:pt x="73" y="250"/>
                    <a:pt x="71" y="250"/>
                  </a:cubicBezTo>
                  <a:cubicBezTo>
                    <a:pt x="72" y="251"/>
                    <a:pt x="70" y="250"/>
                    <a:pt x="69" y="249"/>
                  </a:cubicBezTo>
                  <a:cubicBezTo>
                    <a:pt x="69" y="251"/>
                    <a:pt x="67" y="254"/>
                    <a:pt x="65" y="254"/>
                  </a:cubicBezTo>
                  <a:cubicBezTo>
                    <a:pt x="66" y="254"/>
                    <a:pt x="66" y="254"/>
                    <a:pt x="67" y="254"/>
                  </a:cubicBezTo>
                  <a:cubicBezTo>
                    <a:pt x="66" y="258"/>
                    <a:pt x="65" y="259"/>
                    <a:pt x="63" y="256"/>
                  </a:cubicBezTo>
                  <a:cubicBezTo>
                    <a:pt x="62" y="255"/>
                    <a:pt x="61" y="257"/>
                    <a:pt x="62" y="258"/>
                  </a:cubicBezTo>
                  <a:cubicBezTo>
                    <a:pt x="63" y="259"/>
                    <a:pt x="64" y="259"/>
                    <a:pt x="65" y="260"/>
                  </a:cubicBezTo>
                  <a:cubicBezTo>
                    <a:pt x="64" y="260"/>
                    <a:pt x="60" y="258"/>
                    <a:pt x="59" y="259"/>
                  </a:cubicBezTo>
                  <a:cubicBezTo>
                    <a:pt x="59" y="261"/>
                    <a:pt x="64" y="263"/>
                    <a:pt x="65" y="265"/>
                  </a:cubicBezTo>
                  <a:cubicBezTo>
                    <a:pt x="63" y="266"/>
                    <a:pt x="62" y="265"/>
                    <a:pt x="61" y="268"/>
                  </a:cubicBezTo>
                  <a:cubicBezTo>
                    <a:pt x="61" y="268"/>
                    <a:pt x="57" y="269"/>
                    <a:pt x="57" y="269"/>
                  </a:cubicBezTo>
                  <a:cubicBezTo>
                    <a:pt x="57" y="269"/>
                    <a:pt x="57" y="267"/>
                    <a:pt x="57" y="268"/>
                  </a:cubicBezTo>
                  <a:cubicBezTo>
                    <a:pt x="56" y="268"/>
                    <a:pt x="55" y="270"/>
                    <a:pt x="55" y="271"/>
                  </a:cubicBezTo>
                  <a:cubicBezTo>
                    <a:pt x="54" y="271"/>
                    <a:pt x="54" y="270"/>
                    <a:pt x="53" y="269"/>
                  </a:cubicBezTo>
                  <a:cubicBezTo>
                    <a:pt x="55" y="269"/>
                    <a:pt x="55" y="267"/>
                    <a:pt x="54" y="267"/>
                  </a:cubicBezTo>
                  <a:cubicBezTo>
                    <a:pt x="53" y="267"/>
                    <a:pt x="53" y="267"/>
                    <a:pt x="52" y="267"/>
                  </a:cubicBezTo>
                  <a:cubicBezTo>
                    <a:pt x="51" y="267"/>
                    <a:pt x="47" y="267"/>
                    <a:pt x="49" y="269"/>
                  </a:cubicBezTo>
                  <a:cubicBezTo>
                    <a:pt x="47" y="268"/>
                    <a:pt x="43" y="270"/>
                    <a:pt x="43" y="266"/>
                  </a:cubicBezTo>
                  <a:cubicBezTo>
                    <a:pt x="42" y="267"/>
                    <a:pt x="42" y="269"/>
                    <a:pt x="43" y="270"/>
                  </a:cubicBezTo>
                  <a:cubicBezTo>
                    <a:pt x="41" y="271"/>
                    <a:pt x="47" y="275"/>
                    <a:pt x="47" y="276"/>
                  </a:cubicBezTo>
                  <a:cubicBezTo>
                    <a:pt x="47" y="276"/>
                    <a:pt x="39" y="274"/>
                    <a:pt x="41" y="277"/>
                  </a:cubicBezTo>
                  <a:cubicBezTo>
                    <a:pt x="40" y="277"/>
                    <a:pt x="41" y="281"/>
                    <a:pt x="40" y="282"/>
                  </a:cubicBezTo>
                  <a:cubicBezTo>
                    <a:pt x="39" y="283"/>
                    <a:pt x="36" y="283"/>
                    <a:pt x="36" y="283"/>
                  </a:cubicBezTo>
                  <a:cubicBezTo>
                    <a:pt x="36" y="284"/>
                    <a:pt x="31" y="289"/>
                    <a:pt x="34" y="288"/>
                  </a:cubicBezTo>
                  <a:cubicBezTo>
                    <a:pt x="34" y="290"/>
                    <a:pt x="31" y="290"/>
                    <a:pt x="32" y="293"/>
                  </a:cubicBezTo>
                  <a:cubicBezTo>
                    <a:pt x="32" y="294"/>
                    <a:pt x="33" y="293"/>
                    <a:pt x="33" y="292"/>
                  </a:cubicBezTo>
                  <a:cubicBezTo>
                    <a:pt x="33" y="293"/>
                    <a:pt x="34" y="293"/>
                    <a:pt x="34" y="293"/>
                  </a:cubicBezTo>
                  <a:cubicBezTo>
                    <a:pt x="34" y="293"/>
                    <a:pt x="35" y="293"/>
                    <a:pt x="36" y="294"/>
                  </a:cubicBezTo>
                  <a:cubicBezTo>
                    <a:pt x="34" y="295"/>
                    <a:pt x="35" y="295"/>
                    <a:pt x="35" y="296"/>
                  </a:cubicBezTo>
                  <a:cubicBezTo>
                    <a:pt x="35" y="297"/>
                    <a:pt x="34" y="298"/>
                    <a:pt x="33" y="298"/>
                  </a:cubicBezTo>
                  <a:cubicBezTo>
                    <a:pt x="34" y="299"/>
                    <a:pt x="35" y="299"/>
                    <a:pt x="35" y="299"/>
                  </a:cubicBezTo>
                  <a:cubicBezTo>
                    <a:pt x="35" y="299"/>
                    <a:pt x="35" y="300"/>
                    <a:pt x="35" y="301"/>
                  </a:cubicBezTo>
                  <a:cubicBezTo>
                    <a:pt x="37" y="300"/>
                    <a:pt x="36" y="303"/>
                    <a:pt x="36" y="304"/>
                  </a:cubicBezTo>
                  <a:cubicBezTo>
                    <a:pt x="36" y="304"/>
                    <a:pt x="38" y="302"/>
                    <a:pt x="38" y="301"/>
                  </a:cubicBezTo>
                  <a:cubicBezTo>
                    <a:pt x="38" y="304"/>
                    <a:pt x="39" y="303"/>
                    <a:pt x="40" y="303"/>
                  </a:cubicBezTo>
                  <a:cubicBezTo>
                    <a:pt x="40" y="304"/>
                    <a:pt x="40" y="307"/>
                    <a:pt x="40" y="308"/>
                  </a:cubicBezTo>
                  <a:cubicBezTo>
                    <a:pt x="40" y="308"/>
                    <a:pt x="41" y="308"/>
                    <a:pt x="41" y="307"/>
                  </a:cubicBezTo>
                  <a:cubicBezTo>
                    <a:pt x="41" y="309"/>
                    <a:pt x="41" y="310"/>
                    <a:pt x="43" y="309"/>
                  </a:cubicBezTo>
                  <a:cubicBezTo>
                    <a:pt x="42" y="310"/>
                    <a:pt x="40" y="310"/>
                    <a:pt x="40" y="312"/>
                  </a:cubicBezTo>
                  <a:cubicBezTo>
                    <a:pt x="41" y="313"/>
                    <a:pt x="40" y="314"/>
                    <a:pt x="40" y="312"/>
                  </a:cubicBezTo>
                  <a:cubicBezTo>
                    <a:pt x="40" y="314"/>
                    <a:pt x="40" y="317"/>
                    <a:pt x="39" y="319"/>
                  </a:cubicBezTo>
                  <a:cubicBezTo>
                    <a:pt x="41" y="319"/>
                    <a:pt x="39" y="320"/>
                    <a:pt x="40" y="320"/>
                  </a:cubicBezTo>
                  <a:cubicBezTo>
                    <a:pt x="41" y="321"/>
                    <a:pt x="43" y="320"/>
                    <a:pt x="43" y="322"/>
                  </a:cubicBezTo>
                  <a:cubicBezTo>
                    <a:pt x="44" y="324"/>
                    <a:pt x="44" y="326"/>
                    <a:pt x="46" y="326"/>
                  </a:cubicBezTo>
                  <a:cubicBezTo>
                    <a:pt x="44" y="328"/>
                    <a:pt x="47" y="329"/>
                    <a:pt x="48" y="330"/>
                  </a:cubicBezTo>
                  <a:cubicBezTo>
                    <a:pt x="48" y="330"/>
                    <a:pt x="47" y="330"/>
                    <a:pt x="47" y="330"/>
                  </a:cubicBezTo>
                  <a:cubicBezTo>
                    <a:pt x="47" y="331"/>
                    <a:pt x="51" y="337"/>
                    <a:pt x="51" y="337"/>
                  </a:cubicBezTo>
                  <a:cubicBezTo>
                    <a:pt x="51" y="337"/>
                    <a:pt x="45" y="335"/>
                    <a:pt x="45" y="336"/>
                  </a:cubicBezTo>
                  <a:cubicBezTo>
                    <a:pt x="45" y="337"/>
                    <a:pt x="49" y="337"/>
                    <a:pt x="49" y="338"/>
                  </a:cubicBezTo>
                  <a:cubicBezTo>
                    <a:pt x="49" y="340"/>
                    <a:pt x="45" y="339"/>
                    <a:pt x="44" y="339"/>
                  </a:cubicBezTo>
                  <a:cubicBezTo>
                    <a:pt x="46" y="340"/>
                    <a:pt x="47" y="340"/>
                    <a:pt x="48" y="342"/>
                  </a:cubicBezTo>
                  <a:cubicBezTo>
                    <a:pt x="47" y="342"/>
                    <a:pt x="46" y="341"/>
                    <a:pt x="45" y="342"/>
                  </a:cubicBezTo>
                  <a:cubicBezTo>
                    <a:pt x="47" y="343"/>
                    <a:pt x="48" y="345"/>
                    <a:pt x="48" y="347"/>
                  </a:cubicBezTo>
                  <a:cubicBezTo>
                    <a:pt x="48" y="347"/>
                    <a:pt x="48" y="347"/>
                    <a:pt x="47" y="347"/>
                  </a:cubicBezTo>
                  <a:cubicBezTo>
                    <a:pt x="47" y="349"/>
                    <a:pt x="48" y="349"/>
                    <a:pt x="50" y="350"/>
                  </a:cubicBezTo>
                  <a:cubicBezTo>
                    <a:pt x="50" y="351"/>
                    <a:pt x="47" y="350"/>
                    <a:pt x="48" y="352"/>
                  </a:cubicBezTo>
                  <a:cubicBezTo>
                    <a:pt x="47" y="352"/>
                    <a:pt x="46" y="351"/>
                    <a:pt x="45" y="351"/>
                  </a:cubicBezTo>
                  <a:cubicBezTo>
                    <a:pt x="47" y="352"/>
                    <a:pt x="46" y="355"/>
                    <a:pt x="47" y="356"/>
                  </a:cubicBezTo>
                  <a:cubicBezTo>
                    <a:pt x="46" y="356"/>
                    <a:pt x="45" y="356"/>
                    <a:pt x="44" y="356"/>
                  </a:cubicBezTo>
                  <a:cubicBezTo>
                    <a:pt x="45" y="356"/>
                    <a:pt x="46" y="357"/>
                    <a:pt x="46" y="357"/>
                  </a:cubicBezTo>
                  <a:cubicBezTo>
                    <a:pt x="45" y="358"/>
                    <a:pt x="43" y="356"/>
                    <a:pt x="42" y="356"/>
                  </a:cubicBezTo>
                  <a:cubicBezTo>
                    <a:pt x="43" y="358"/>
                    <a:pt x="44" y="359"/>
                    <a:pt x="45" y="360"/>
                  </a:cubicBezTo>
                  <a:cubicBezTo>
                    <a:pt x="46" y="361"/>
                    <a:pt x="47" y="361"/>
                    <a:pt x="47" y="363"/>
                  </a:cubicBezTo>
                  <a:cubicBezTo>
                    <a:pt x="46" y="362"/>
                    <a:pt x="46" y="362"/>
                    <a:pt x="45" y="363"/>
                  </a:cubicBezTo>
                  <a:cubicBezTo>
                    <a:pt x="45" y="363"/>
                    <a:pt x="46" y="364"/>
                    <a:pt x="47" y="364"/>
                  </a:cubicBezTo>
                  <a:cubicBezTo>
                    <a:pt x="45" y="365"/>
                    <a:pt x="43" y="364"/>
                    <a:pt x="44" y="366"/>
                  </a:cubicBezTo>
                  <a:cubicBezTo>
                    <a:pt x="46" y="368"/>
                    <a:pt x="47" y="370"/>
                    <a:pt x="48" y="372"/>
                  </a:cubicBezTo>
                  <a:cubicBezTo>
                    <a:pt x="47" y="372"/>
                    <a:pt x="45" y="371"/>
                    <a:pt x="45" y="372"/>
                  </a:cubicBezTo>
                  <a:cubicBezTo>
                    <a:pt x="45" y="374"/>
                    <a:pt x="47" y="374"/>
                    <a:pt x="48" y="375"/>
                  </a:cubicBezTo>
                  <a:cubicBezTo>
                    <a:pt x="46" y="374"/>
                    <a:pt x="48" y="376"/>
                    <a:pt x="49" y="377"/>
                  </a:cubicBezTo>
                  <a:cubicBezTo>
                    <a:pt x="49" y="377"/>
                    <a:pt x="50" y="377"/>
                    <a:pt x="50" y="377"/>
                  </a:cubicBezTo>
                  <a:cubicBezTo>
                    <a:pt x="51" y="378"/>
                    <a:pt x="53" y="382"/>
                    <a:pt x="54" y="379"/>
                  </a:cubicBezTo>
                  <a:cubicBezTo>
                    <a:pt x="55" y="376"/>
                    <a:pt x="55" y="376"/>
                    <a:pt x="52" y="375"/>
                  </a:cubicBezTo>
                  <a:cubicBezTo>
                    <a:pt x="54" y="375"/>
                    <a:pt x="55" y="376"/>
                    <a:pt x="56" y="376"/>
                  </a:cubicBezTo>
                  <a:cubicBezTo>
                    <a:pt x="57" y="376"/>
                    <a:pt x="58" y="375"/>
                    <a:pt x="59" y="374"/>
                  </a:cubicBezTo>
                  <a:cubicBezTo>
                    <a:pt x="58" y="376"/>
                    <a:pt x="57" y="379"/>
                    <a:pt x="58" y="380"/>
                  </a:cubicBezTo>
                  <a:cubicBezTo>
                    <a:pt x="58" y="380"/>
                    <a:pt x="60" y="380"/>
                    <a:pt x="60" y="381"/>
                  </a:cubicBezTo>
                  <a:cubicBezTo>
                    <a:pt x="60" y="380"/>
                    <a:pt x="59" y="379"/>
                    <a:pt x="59" y="378"/>
                  </a:cubicBezTo>
                  <a:cubicBezTo>
                    <a:pt x="60" y="378"/>
                    <a:pt x="61" y="378"/>
                    <a:pt x="62" y="378"/>
                  </a:cubicBezTo>
                  <a:cubicBezTo>
                    <a:pt x="63" y="379"/>
                    <a:pt x="65" y="384"/>
                    <a:pt x="67" y="381"/>
                  </a:cubicBezTo>
                  <a:cubicBezTo>
                    <a:pt x="67" y="382"/>
                    <a:pt x="67" y="384"/>
                    <a:pt x="66" y="383"/>
                  </a:cubicBezTo>
                  <a:cubicBezTo>
                    <a:pt x="67" y="384"/>
                    <a:pt x="68" y="383"/>
                    <a:pt x="69" y="383"/>
                  </a:cubicBezTo>
                  <a:cubicBezTo>
                    <a:pt x="70" y="383"/>
                    <a:pt x="70" y="384"/>
                    <a:pt x="71" y="384"/>
                  </a:cubicBezTo>
                  <a:cubicBezTo>
                    <a:pt x="73" y="386"/>
                    <a:pt x="75" y="383"/>
                    <a:pt x="77" y="384"/>
                  </a:cubicBezTo>
                  <a:cubicBezTo>
                    <a:pt x="76" y="385"/>
                    <a:pt x="80" y="385"/>
                    <a:pt x="81" y="384"/>
                  </a:cubicBezTo>
                  <a:cubicBezTo>
                    <a:pt x="80" y="386"/>
                    <a:pt x="78" y="387"/>
                    <a:pt x="77" y="389"/>
                  </a:cubicBezTo>
                  <a:cubicBezTo>
                    <a:pt x="76" y="391"/>
                    <a:pt x="80" y="390"/>
                    <a:pt x="80" y="391"/>
                  </a:cubicBezTo>
                  <a:cubicBezTo>
                    <a:pt x="80" y="391"/>
                    <a:pt x="79" y="391"/>
                    <a:pt x="79" y="392"/>
                  </a:cubicBezTo>
                  <a:cubicBezTo>
                    <a:pt x="81" y="393"/>
                    <a:pt x="85" y="391"/>
                    <a:pt x="87" y="389"/>
                  </a:cubicBezTo>
                  <a:cubicBezTo>
                    <a:pt x="88" y="389"/>
                    <a:pt x="93" y="385"/>
                    <a:pt x="93" y="386"/>
                  </a:cubicBezTo>
                  <a:cubicBezTo>
                    <a:pt x="93" y="386"/>
                    <a:pt x="91" y="388"/>
                    <a:pt x="90" y="390"/>
                  </a:cubicBezTo>
                  <a:cubicBezTo>
                    <a:pt x="90" y="389"/>
                    <a:pt x="90" y="389"/>
                    <a:pt x="90" y="389"/>
                  </a:cubicBezTo>
                  <a:cubicBezTo>
                    <a:pt x="91" y="387"/>
                    <a:pt x="86" y="391"/>
                    <a:pt x="86" y="391"/>
                  </a:cubicBezTo>
                  <a:cubicBezTo>
                    <a:pt x="84" y="391"/>
                    <a:pt x="79" y="393"/>
                    <a:pt x="77" y="392"/>
                  </a:cubicBezTo>
                  <a:cubicBezTo>
                    <a:pt x="77" y="392"/>
                    <a:pt x="77" y="392"/>
                    <a:pt x="77" y="391"/>
                  </a:cubicBezTo>
                  <a:cubicBezTo>
                    <a:pt x="76" y="391"/>
                    <a:pt x="76" y="394"/>
                    <a:pt x="76" y="394"/>
                  </a:cubicBezTo>
                  <a:cubicBezTo>
                    <a:pt x="78" y="395"/>
                    <a:pt x="80" y="394"/>
                    <a:pt x="81" y="395"/>
                  </a:cubicBezTo>
                  <a:cubicBezTo>
                    <a:pt x="79" y="395"/>
                    <a:pt x="78" y="394"/>
                    <a:pt x="76" y="395"/>
                  </a:cubicBezTo>
                  <a:cubicBezTo>
                    <a:pt x="77" y="396"/>
                    <a:pt x="78" y="396"/>
                    <a:pt x="78" y="398"/>
                  </a:cubicBezTo>
                  <a:cubicBezTo>
                    <a:pt x="75" y="396"/>
                    <a:pt x="74" y="399"/>
                    <a:pt x="76" y="401"/>
                  </a:cubicBezTo>
                  <a:cubicBezTo>
                    <a:pt x="76" y="401"/>
                    <a:pt x="76" y="400"/>
                    <a:pt x="76" y="400"/>
                  </a:cubicBezTo>
                  <a:cubicBezTo>
                    <a:pt x="77" y="400"/>
                    <a:pt x="77" y="401"/>
                    <a:pt x="79" y="401"/>
                  </a:cubicBezTo>
                  <a:cubicBezTo>
                    <a:pt x="80" y="400"/>
                    <a:pt x="81" y="399"/>
                    <a:pt x="81" y="398"/>
                  </a:cubicBezTo>
                  <a:cubicBezTo>
                    <a:pt x="81" y="399"/>
                    <a:pt x="81" y="399"/>
                    <a:pt x="81" y="400"/>
                  </a:cubicBezTo>
                  <a:cubicBezTo>
                    <a:pt x="82" y="400"/>
                    <a:pt x="85" y="399"/>
                    <a:pt x="86" y="400"/>
                  </a:cubicBezTo>
                  <a:cubicBezTo>
                    <a:pt x="86" y="398"/>
                    <a:pt x="87" y="398"/>
                    <a:pt x="88" y="396"/>
                  </a:cubicBezTo>
                  <a:cubicBezTo>
                    <a:pt x="88" y="395"/>
                    <a:pt x="88" y="394"/>
                    <a:pt x="88" y="393"/>
                  </a:cubicBezTo>
                  <a:cubicBezTo>
                    <a:pt x="88" y="392"/>
                    <a:pt x="89" y="391"/>
                    <a:pt x="90" y="390"/>
                  </a:cubicBezTo>
                  <a:cubicBezTo>
                    <a:pt x="89" y="391"/>
                    <a:pt x="89" y="392"/>
                    <a:pt x="88" y="393"/>
                  </a:cubicBezTo>
                  <a:cubicBezTo>
                    <a:pt x="88" y="396"/>
                    <a:pt x="92" y="395"/>
                    <a:pt x="93" y="396"/>
                  </a:cubicBezTo>
                  <a:cubicBezTo>
                    <a:pt x="89" y="399"/>
                    <a:pt x="97" y="398"/>
                    <a:pt x="99" y="399"/>
                  </a:cubicBezTo>
                  <a:cubicBezTo>
                    <a:pt x="98" y="399"/>
                    <a:pt x="97" y="398"/>
                    <a:pt x="96" y="399"/>
                  </a:cubicBezTo>
                  <a:cubicBezTo>
                    <a:pt x="94" y="401"/>
                    <a:pt x="98" y="400"/>
                    <a:pt x="98" y="400"/>
                  </a:cubicBezTo>
                  <a:cubicBezTo>
                    <a:pt x="98" y="400"/>
                    <a:pt x="93" y="402"/>
                    <a:pt x="96" y="403"/>
                  </a:cubicBezTo>
                  <a:cubicBezTo>
                    <a:pt x="97" y="403"/>
                    <a:pt x="97" y="402"/>
                    <a:pt x="98" y="403"/>
                  </a:cubicBezTo>
                  <a:cubicBezTo>
                    <a:pt x="98" y="403"/>
                    <a:pt x="97" y="404"/>
                    <a:pt x="97" y="404"/>
                  </a:cubicBezTo>
                  <a:cubicBezTo>
                    <a:pt x="96" y="405"/>
                    <a:pt x="98" y="403"/>
                    <a:pt x="98" y="403"/>
                  </a:cubicBezTo>
                  <a:cubicBezTo>
                    <a:pt x="100" y="402"/>
                    <a:pt x="100" y="401"/>
                    <a:pt x="101" y="399"/>
                  </a:cubicBezTo>
                  <a:cubicBezTo>
                    <a:pt x="102" y="407"/>
                    <a:pt x="91" y="403"/>
                    <a:pt x="90" y="409"/>
                  </a:cubicBezTo>
                  <a:cubicBezTo>
                    <a:pt x="93" y="407"/>
                    <a:pt x="96" y="409"/>
                    <a:pt x="99" y="407"/>
                  </a:cubicBezTo>
                  <a:cubicBezTo>
                    <a:pt x="97" y="406"/>
                    <a:pt x="102" y="403"/>
                    <a:pt x="103" y="402"/>
                  </a:cubicBezTo>
                  <a:cubicBezTo>
                    <a:pt x="104" y="401"/>
                    <a:pt x="105" y="397"/>
                    <a:pt x="107" y="397"/>
                  </a:cubicBezTo>
                  <a:cubicBezTo>
                    <a:pt x="107" y="399"/>
                    <a:pt x="105" y="402"/>
                    <a:pt x="104" y="402"/>
                  </a:cubicBezTo>
                  <a:cubicBezTo>
                    <a:pt x="105" y="402"/>
                    <a:pt x="107" y="402"/>
                    <a:pt x="108" y="401"/>
                  </a:cubicBezTo>
                  <a:cubicBezTo>
                    <a:pt x="106" y="402"/>
                    <a:pt x="103" y="402"/>
                    <a:pt x="102" y="404"/>
                  </a:cubicBezTo>
                  <a:cubicBezTo>
                    <a:pt x="104" y="405"/>
                    <a:pt x="106" y="403"/>
                    <a:pt x="108" y="403"/>
                  </a:cubicBezTo>
                  <a:cubicBezTo>
                    <a:pt x="110" y="404"/>
                    <a:pt x="112" y="404"/>
                    <a:pt x="113" y="403"/>
                  </a:cubicBezTo>
                  <a:cubicBezTo>
                    <a:pt x="112" y="403"/>
                    <a:pt x="111" y="402"/>
                    <a:pt x="110" y="402"/>
                  </a:cubicBezTo>
                  <a:cubicBezTo>
                    <a:pt x="111" y="402"/>
                    <a:pt x="114" y="401"/>
                    <a:pt x="114" y="402"/>
                  </a:cubicBezTo>
                  <a:cubicBezTo>
                    <a:pt x="115" y="402"/>
                    <a:pt x="116" y="400"/>
                    <a:pt x="118" y="401"/>
                  </a:cubicBezTo>
                  <a:cubicBezTo>
                    <a:pt x="115" y="400"/>
                    <a:pt x="118" y="400"/>
                    <a:pt x="119" y="400"/>
                  </a:cubicBezTo>
                  <a:cubicBezTo>
                    <a:pt x="119" y="400"/>
                    <a:pt x="120" y="399"/>
                    <a:pt x="120" y="399"/>
                  </a:cubicBezTo>
                  <a:cubicBezTo>
                    <a:pt x="120" y="401"/>
                    <a:pt x="129" y="397"/>
                    <a:pt x="129" y="397"/>
                  </a:cubicBezTo>
                  <a:cubicBezTo>
                    <a:pt x="130" y="398"/>
                    <a:pt x="127" y="401"/>
                    <a:pt x="128" y="401"/>
                  </a:cubicBezTo>
                  <a:cubicBezTo>
                    <a:pt x="129" y="401"/>
                    <a:pt x="129" y="400"/>
                    <a:pt x="129" y="400"/>
                  </a:cubicBezTo>
                  <a:cubicBezTo>
                    <a:pt x="130" y="400"/>
                    <a:pt x="131" y="399"/>
                    <a:pt x="132" y="398"/>
                  </a:cubicBezTo>
                  <a:cubicBezTo>
                    <a:pt x="132" y="400"/>
                    <a:pt x="131" y="401"/>
                    <a:pt x="130" y="402"/>
                  </a:cubicBezTo>
                  <a:cubicBezTo>
                    <a:pt x="132" y="402"/>
                    <a:pt x="132" y="401"/>
                    <a:pt x="133" y="400"/>
                  </a:cubicBezTo>
                  <a:cubicBezTo>
                    <a:pt x="135" y="399"/>
                    <a:pt x="135" y="397"/>
                    <a:pt x="137" y="396"/>
                  </a:cubicBezTo>
                  <a:cubicBezTo>
                    <a:pt x="136" y="396"/>
                    <a:pt x="136" y="396"/>
                    <a:pt x="135" y="396"/>
                  </a:cubicBezTo>
                  <a:cubicBezTo>
                    <a:pt x="136" y="395"/>
                    <a:pt x="135" y="394"/>
                    <a:pt x="134" y="394"/>
                  </a:cubicBezTo>
                  <a:cubicBezTo>
                    <a:pt x="135" y="394"/>
                    <a:pt x="141" y="397"/>
                    <a:pt x="138" y="395"/>
                  </a:cubicBezTo>
                  <a:cubicBezTo>
                    <a:pt x="140" y="394"/>
                    <a:pt x="141" y="394"/>
                    <a:pt x="142" y="392"/>
                  </a:cubicBezTo>
                  <a:cubicBezTo>
                    <a:pt x="142" y="392"/>
                    <a:pt x="145" y="396"/>
                    <a:pt x="145" y="394"/>
                  </a:cubicBezTo>
                  <a:cubicBezTo>
                    <a:pt x="145" y="394"/>
                    <a:pt x="147" y="391"/>
                    <a:pt x="147" y="392"/>
                  </a:cubicBezTo>
                  <a:cubicBezTo>
                    <a:pt x="147" y="392"/>
                    <a:pt x="147" y="393"/>
                    <a:pt x="147" y="393"/>
                  </a:cubicBezTo>
                  <a:cubicBezTo>
                    <a:pt x="148" y="393"/>
                    <a:pt x="149" y="393"/>
                    <a:pt x="149" y="392"/>
                  </a:cubicBezTo>
                  <a:cubicBezTo>
                    <a:pt x="149" y="395"/>
                    <a:pt x="152" y="391"/>
                    <a:pt x="152" y="391"/>
                  </a:cubicBezTo>
                  <a:cubicBezTo>
                    <a:pt x="153" y="390"/>
                    <a:pt x="156" y="391"/>
                    <a:pt x="155" y="389"/>
                  </a:cubicBezTo>
                  <a:cubicBezTo>
                    <a:pt x="157" y="390"/>
                    <a:pt x="158" y="391"/>
                    <a:pt x="160" y="390"/>
                  </a:cubicBezTo>
                  <a:cubicBezTo>
                    <a:pt x="161" y="390"/>
                    <a:pt x="162" y="388"/>
                    <a:pt x="161" y="387"/>
                  </a:cubicBezTo>
                  <a:cubicBezTo>
                    <a:pt x="161" y="387"/>
                    <a:pt x="166" y="384"/>
                    <a:pt x="166" y="386"/>
                  </a:cubicBezTo>
                  <a:cubicBezTo>
                    <a:pt x="166" y="387"/>
                    <a:pt x="164" y="386"/>
                    <a:pt x="164" y="387"/>
                  </a:cubicBezTo>
                  <a:cubicBezTo>
                    <a:pt x="167" y="387"/>
                    <a:pt x="164" y="386"/>
                    <a:pt x="164" y="387"/>
                  </a:cubicBezTo>
                  <a:cubicBezTo>
                    <a:pt x="164" y="388"/>
                    <a:pt x="165" y="389"/>
                    <a:pt x="165" y="389"/>
                  </a:cubicBezTo>
                  <a:cubicBezTo>
                    <a:pt x="167" y="390"/>
                    <a:pt x="168" y="391"/>
                    <a:pt x="170" y="390"/>
                  </a:cubicBezTo>
                  <a:cubicBezTo>
                    <a:pt x="169" y="389"/>
                    <a:pt x="167" y="389"/>
                    <a:pt x="167" y="388"/>
                  </a:cubicBezTo>
                  <a:cubicBezTo>
                    <a:pt x="167" y="388"/>
                    <a:pt x="171" y="390"/>
                    <a:pt x="172" y="390"/>
                  </a:cubicBezTo>
                  <a:cubicBezTo>
                    <a:pt x="170" y="389"/>
                    <a:pt x="171" y="385"/>
                    <a:pt x="169" y="384"/>
                  </a:cubicBezTo>
                  <a:cubicBezTo>
                    <a:pt x="170" y="384"/>
                    <a:pt x="171" y="385"/>
                    <a:pt x="173" y="385"/>
                  </a:cubicBezTo>
                  <a:cubicBezTo>
                    <a:pt x="174" y="385"/>
                    <a:pt x="174" y="388"/>
                    <a:pt x="175" y="388"/>
                  </a:cubicBezTo>
                  <a:cubicBezTo>
                    <a:pt x="177" y="389"/>
                    <a:pt x="176" y="387"/>
                    <a:pt x="176" y="386"/>
                  </a:cubicBezTo>
                  <a:cubicBezTo>
                    <a:pt x="175" y="386"/>
                    <a:pt x="173" y="385"/>
                    <a:pt x="174" y="383"/>
                  </a:cubicBezTo>
                  <a:cubicBezTo>
                    <a:pt x="174" y="383"/>
                    <a:pt x="172" y="382"/>
                    <a:pt x="172" y="381"/>
                  </a:cubicBezTo>
                  <a:cubicBezTo>
                    <a:pt x="172" y="381"/>
                    <a:pt x="175" y="384"/>
                    <a:pt x="176" y="384"/>
                  </a:cubicBezTo>
                  <a:cubicBezTo>
                    <a:pt x="177" y="384"/>
                    <a:pt x="181" y="385"/>
                    <a:pt x="180" y="382"/>
                  </a:cubicBezTo>
                  <a:cubicBezTo>
                    <a:pt x="180" y="382"/>
                    <a:pt x="181" y="385"/>
                    <a:pt x="182" y="385"/>
                  </a:cubicBezTo>
                  <a:cubicBezTo>
                    <a:pt x="183" y="384"/>
                    <a:pt x="184" y="384"/>
                    <a:pt x="185" y="384"/>
                  </a:cubicBezTo>
                  <a:cubicBezTo>
                    <a:pt x="187" y="383"/>
                    <a:pt x="185" y="381"/>
                    <a:pt x="186" y="381"/>
                  </a:cubicBezTo>
                  <a:cubicBezTo>
                    <a:pt x="186" y="380"/>
                    <a:pt x="188" y="383"/>
                    <a:pt x="189" y="383"/>
                  </a:cubicBezTo>
                  <a:cubicBezTo>
                    <a:pt x="188" y="380"/>
                    <a:pt x="191" y="382"/>
                    <a:pt x="191" y="383"/>
                  </a:cubicBezTo>
                  <a:cubicBezTo>
                    <a:pt x="193" y="384"/>
                    <a:pt x="193" y="380"/>
                    <a:pt x="195" y="381"/>
                  </a:cubicBezTo>
                  <a:cubicBezTo>
                    <a:pt x="194" y="383"/>
                    <a:pt x="199" y="381"/>
                    <a:pt x="199" y="381"/>
                  </a:cubicBezTo>
                  <a:cubicBezTo>
                    <a:pt x="198" y="380"/>
                    <a:pt x="200" y="381"/>
                    <a:pt x="200" y="380"/>
                  </a:cubicBezTo>
                  <a:cubicBezTo>
                    <a:pt x="201" y="379"/>
                    <a:pt x="200" y="377"/>
                    <a:pt x="202" y="379"/>
                  </a:cubicBezTo>
                  <a:cubicBezTo>
                    <a:pt x="201" y="377"/>
                    <a:pt x="205" y="381"/>
                    <a:pt x="205" y="378"/>
                  </a:cubicBezTo>
                  <a:cubicBezTo>
                    <a:pt x="205" y="376"/>
                    <a:pt x="207" y="378"/>
                    <a:pt x="208" y="379"/>
                  </a:cubicBezTo>
                  <a:cubicBezTo>
                    <a:pt x="207" y="378"/>
                    <a:pt x="206" y="378"/>
                    <a:pt x="206" y="379"/>
                  </a:cubicBezTo>
                  <a:cubicBezTo>
                    <a:pt x="207" y="379"/>
                    <a:pt x="209" y="380"/>
                    <a:pt x="211" y="380"/>
                  </a:cubicBezTo>
                  <a:cubicBezTo>
                    <a:pt x="212" y="380"/>
                    <a:pt x="213" y="382"/>
                    <a:pt x="214" y="382"/>
                  </a:cubicBezTo>
                  <a:cubicBezTo>
                    <a:pt x="214" y="381"/>
                    <a:pt x="214" y="381"/>
                    <a:pt x="213" y="380"/>
                  </a:cubicBezTo>
                  <a:cubicBezTo>
                    <a:pt x="214" y="380"/>
                    <a:pt x="217" y="381"/>
                    <a:pt x="217" y="381"/>
                  </a:cubicBezTo>
                  <a:cubicBezTo>
                    <a:pt x="215" y="379"/>
                    <a:pt x="219" y="379"/>
                    <a:pt x="218" y="380"/>
                  </a:cubicBezTo>
                  <a:cubicBezTo>
                    <a:pt x="218" y="380"/>
                    <a:pt x="216" y="380"/>
                    <a:pt x="218" y="381"/>
                  </a:cubicBezTo>
                  <a:cubicBezTo>
                    <a:pt x="218" y="381"/>
                    <a:pt x="221" y="381"/>
                    <a:pt x="221" y="380"/>
                  </a:cubicBezTo>
                  <a:cubicBezTo>
                    <a:pt x="221" y="380"/>
                    <a:pt x="220" y="378"/>
                    <a:pt x="220" y="378"/>
                  </a:cubicBezTo>
                  <a:cubicBezTo>
                    <a:pt x="221" y="376"/>
                    <a:pt x="221" y="379"/>
                    <a:pt x="223" y="378"/>
                  </a:cubicBezTo>
                  <a:cubicBezTo>
                    <a:pt x="226" y="375"/>
                    <a:pt x="229" y="371"/>
                    <a:pt x="232" y="368"/>
                  </a:cubicBezTo>
                  <a:cubicBezTo>
                    <a:pt x="234" y="367"/>
                    <a:pt x="236" y="365"/>
                    <a:pt x="237" y="363"/>
                  </a:cubicBezTo>
                  <a:cubicBezTo>
                    <a:pt x="239" y="362"/>
                    <a:pt x="241" y="362"/>
                    <a:pt x="242" y="361"/>
                  </a:cubicBezTo>
                  <a:cubicBezTo>
                    <a:pt x="244" y="360"/>
                    <a:pt x="245" y="357"/>
                    <a:pt x="247" y="356"/>
                  </a:cubicBezTo>
                  <a:cubicBezTo>
                    <a:pt x="248" y="354"/>
                    <a:pt x="250" y="353"/>
                    <a:pt x="252" y="352"/>
                  </a:cubicBezTo>
                  <a:cubicBezTo>
                    <a:pt x="256" y="350"/>
                    <a:pt x="259" y="346"/>
                    <a:pt x="263" y="342"/>
                  </a:cubicBezTo>
                  <a:cubicBezTo>
                    <a:pt x="264" y="341"/>
                    <a:pt x="265" y="339"/>
                    <a:pt x="267" y="338"/>
                  </a:cubicBezTo>
                  <a:cubicBezTo>
                    <a:pt x="268" y="337"/>
                    <a:pt x="271" y="336"/>
                    <a:pt x="271" y="334"/>
                  </a:cubicBezTo>
                  <a:cubicBezTo>
                    <a:pt x="272" y="332"/>
                    <a:pt x="274" y="331"/>
                    <a:pt x="275" y="330"/>
                  </a:cubicBezTo>
                  <a:cubicBezTo>
                    <a:pt x="277" y="328"/>
                    <a:pt x="279" y="325"/>
                    <a:pt x="280" y="323"/>
                  </a:cubicBezTo>
                  <a:cubicBezTo>
                    <a:pt x="283" y="320"/>
                    <a:pt x="285" y="317"/>
                    <a:pt x="287" y="315"/>
                  </a:cubicBezTo>
                  <a:cubicBezTo>
                    <a:pt x="288" y="314"/>
                    <a:pt x="290" y="312"/>
                    <a:pt x="291" y="311"/>
                  </a:cubicBezTo>
                  <a:cubicBezTo>
                    <a:pt x="293" y="309"/>
                    <a:pt x="296" y="308"/>
                    <a:pt x="298" y="305"/>
                  </a:cubicBezTo>
                  <a:cubicBezTo>
                    <a:pt x="300" y="303"/>
                    <a:pt x="302" y="301"/>
                    <a:pt x="304" y="299"/>
                  </a:cubicBezTo>
                  <a:cubicBezTo>
                    <a:pt x="308" y="296"/>
                    <a:pt x="307" y="289"/>
                    <a:pt x="310" y="284"/>
                  </a:cubicBezTo>
                  <a:cubicBezTo>
                    <a:pt x="313" y="279"/>
                    <a:pt x="307" y="276"/>
                    <a:pt x="304" y="274"/>
                  </a:cubicBezTo>
                  <a:close/>
                </a:path>
              </a:pathLst>
            </a:cu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1" name="Rectangle 114">
              <a:extLst>
                <a:ext uri="{FF2B5EF4-FFF2-40B4-BE49-F238E27FC236}">
                  <a16:creationId xmlns:a16="http://schemas.microsoft.com/office/drawing/2014/main" id="{C70BF860-8767-0B1C-EDB5-1AB9D4AE8408}"/>
                </a:ext>
              </a:extLst>
            </p:cNvPr>
            <p:cNvSpPr>
              <a:spLocks noChangeArrowheads="1"/>
            </p:cNvSpPr>
            <p:nvPr/>
          </p:nvSpPr>
          <p:spPr bwMode="auto">
            <a:xfrm>
              <a:off x="3624340" y="2855639"/>
              <a:ext cx="1181" cy="1192"/>
            </a:xfrm>
            <a:prstGeom prst="rect">
              <a:avLst/>
            </a:prstGeom>
            <a:grp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2" name="Freeform 115">
              <a:extLst>
                <a:ext uri="{FF2B5EF4-FFF2-40B4-BE49-F238E27FC236}">
                  <a16:creationId xmlns:a16="http://schemas.microsoft.com/office/drawing/2014/main" id="{1574B26B-692A-EBC4-7062-BBBD100B0FD4}"/>
                </a:ext>
              </a:extLst>
            </p:cNvPr>
            <p:cNvSpPr>
              <a:spLocks/>
            </p:cNvSpPr>
            <p:nvPr/>
          </p:nvSpPr>
          <p:spPr bwMode="auto">
            <a:xfrm>
              <a:off x="3422457" y="3305593"/>
              <a:ext cx="14167" cy="8344"/>
            </a:xfrm>
            <a:custGeom>
              <a:avLst/>
              <a:gdLst>
                <a:gd name="T0" fmla="*/ 1 w 5"/>
                <a:gd name="T1" fmla="*/ 2 h 3"/>
                <a:gd name="T2" fmla="*/ 3 w 5"/>
                <a:gd name="T3" fmla="*/ 1 h 3"/>
                <a:gd name="T4" fmla="*/ 4 w 5"/>
                <a:gd name="T5" fmla="*/ 0 h 3"/>
                <a:gd name="T6" fmla="*/ 1 w 5"/>
                <a:gd name="T7" fmla="*/ 2 h 3"/>
              </a:gdLst>
              <a:ahLst/>
              <a:cxnLst>
                <a:cxn ang="0">
                  <a:pos x="T0" y="T1"/>
                </a:cxn>
                <a:cxn ang="0">
                  <a:pos x="T2" y="T3"/>
                </a:cxn>
                <a:cxn ang="0">
                  <a:pos x="T4" y="T5"/>
                </a:cxn>
                <a:cxn ang="0">
                  <a:pos x="T6" y="T7"/>
                </a:cxn>
              </a:cxnLst>
              <a:rect l="0" t="0" r="r" b="b"/>
              <a:pathLst>
                <a:path w="5" h="3">
                  <a:moveTo>
                    <a:pt x="1" y="2"/>
                  </a:moveTo>
                  <a:cubicBezTo>
                    <a:pt x="2" y="3"/>
                    <a:pt x="5" y="2"/>
                    <a:pt x="3" y="1"/>
                  </a:cubicBezTo>
                  <a:cubicBezTo>
                    <a:pt x="4" y="1"/>
                    <a:pt x="5" y="1"/>
                    <a:pt x="4" y="0"/>
                  </a:cubicBezTo>
                  <a:cubicBezTo>
                    <a:pt x="4" y="0"/>
                    <a:pt x="0" y="1"/>
                    <a:pt x="1" y="2"/>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3" name="Freeform 116">
              <a:extLst>
                <a:ext uri="{FF2B5EF4-FFF2-40B4-BE49-F238E27FC236}">
                  <a16:creationId xmlns:a16="http://schemas.microsoft.com/office/drawing/2014/main" id="{1738BC95-A67C-3D82-7803-93B1D0EC5E74}"/>
                </a:ext>
              </a:extLst>
            </p:cNvPr>
            <p:cNvSpPr>
              <a:spLocks/>
            </p:cNvSpPr>
            <p:nvPr/>
          </p:nvSpPr>
          <p:spPr bwMode="auto">
            <a:xfrm>
              <a:off x="3235921" y="3293674"/>
              <a:ext cx="12987" cy="22646"/>
            </a:xfrm>
            <a:custGeom>
              <a:avLst/>
              <a:gdLst>
                <a:gd name="T0" fmla="*/ 1 w 5"/>
                <a:gd name="T1" fmla="*/ 5 h 8"/>
                <a:gd name="T2" fmla="*/ 2 w 5"/>
                <a:gd name="T3" fmla="*/ 4 h 8"/>
                <a:gd name="T4" fmla="*/ 5 w 5"/>
                <a:gd name="T5" fmla="*/ 4 h 8"/>
                <a:gd name="T6" fmla="*/ 3 w 5"/>
                <a:gd name="T7" fmla="*/ 0 h 8"/>
                <a:gd name="T8" fmla="*/ 1 w 5"/>
                <a:gd name="T9" fmla="*/ 5 h 8"/>
              </a:gdLst>
              <a:ahLst/>
              <a:cxnLst>
                <a:cxn ang="0">
                  <a:pos x="T0" y="T1"/>
                </a:cxn>
                <a:cxn ang="0">
                  <a:pos x="T2" y="T3"/>
                </a:cxn>
                <a:cxn ang="0">
                  <a:pos x="T4" y="T5"/>
                </a:cxn>
                <a:cxn ang="0">
                  <a:pos x="T6" y="T7"/>
                </a:cxn>
                <a:cxn ang="0">
                  <a:pos x="T8" y="T9"/>
                </a:cxn>
              </a:cxnLst>
              <a:rect l="0" t="0" r="r" b="b"/>
              <a:pathLst>
                <a:path w="5" h="8">
                  <a:moveTo>
                    <a:pt x="1" y="5"/>
                  </a:moveTo>
                  <a:cubicBezTo>
                    <a:pt x="2" y="8"/>
                    <a:pt x="4" y="6"/>
                    <a:pt x="2" y="4"/>
                  </a:cubicBezTo>
                  <a:cubicBezTo>
                    <a:pt x="4" y="4"/>
                    <a:pt x="5" y="6"/>
                    <a:pt x="5" y="4"/>
                  </a:cubicBezTo>
                  <a:cubicBezTo>
                    <a:pt x="5" y="2"/>
                    <a:pt x="3" y="1"/>
                    <a:pt x="3" y="0"/>
                  </a:cubicBezTo>
                  <a:cubicBezTo>
                    <a:pt x="2" y="2"/>
                    <a:pt x="0" y="3"/>
                    <a:pt x="1" y="5"/>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4" name="Freeform 117">
              <a:extLst>
                <a:ext uri="{FF2B5EF4-FFF2-40B4-BE49-F238E27FC236}">
                  <a16:creationId xmlns:a16="http://schemas.microsoft.com/office/drawing/2014/main" id="{85836C65-166D-6EBE-4339-00E0CA953EBB}"/>
                </a:ext>
              </a:extLst>
            </p:cNvPr>
            <p:cNvSpPr>
              <a:spLocks/>
            </p:cNvSpPr>
            <p:nvPr/>
          </p:nvSpPr>
          <p:spPr bwMode="auto">
            <a:xfrm>
              <a:off x="3434263" y="3288907"/>
              <a:ext cx="22432" cy="10727"/>
            </a:xfrm>
            <a:custGeom>
              <a:avLst/>
              <a:gdLst>
                <a:gd name="T0" fmla="*/ 1 w 8"/>
                <a:gd name="T1" fmla="*/ 2 h 4"/>
                <a:gd name="T2" fmla="*/ 3 w 8"/>
                <a:gd name="T3" fmla="*/ 2 h 4"/>
                <a:gd name="T4" fmla="*/ 4 w 8"/>
                <a:gd name="T5" fmla="*/ 4 h 4"/>
                <a:gd name="T6" fmla="*/ 8 w 8"/>
                <a:gd name="T7" fmla="*/ 2 h 4"/>
                <a:gd name="T8" fmla="*/ 1 w 8"/>
                <a:gd name="T9" fmla="*/ 2 h 4"/>
              </a:gdLst>
              <a:ahLst/>
              <a:cxnLst>
                <a:cxn ang="0">
                  <a:pos x="T0" y="T1"/>
                </a:cxn>
                <a:cxn ang="0">
                  <a:pos x="T2" y="T3"/>
                </a:cxn>
                <a:cxn ang="0">
                  <a:pos x="T4" y="T5"/>
                </a:cxn>
                <a:cxn ang="0">
                  <a:pos x="T6" y="T7"/>
                </a:cxn>
                <a:cxn ang="0">
                  <a:pos x="T8" y="T9"/>
                </a:cxn>
              </a:cxnLst>
              <a:rect l="0" t="0" r="r" b="b"/>
              <a:pathLst>
                <a:path w="8" h="4">
                  <a:moveTo>
                    <a:pt x="1" y="2"/>
                  </a:moveTo>
                  <a:cubicBezTo>
                    <a:pt x="0" y="4"/>
                    <a:pt x="4" y="4"/>
                    <a:pt x="3" y="2"/>
                  </a:cubicBezTo>
                  <a:cubicBezTo>
                    <a:pt x="4" y="2"/>
                    <a:pt x="4" y="3"/>
                    <a:pt x="4" y="4"/>
                  </a:cubicBezTo>
                  <a:cubicBezTo>
                    <a:pt x="4" y="3"/>
                    <a:pt x="7" y="4"/>
                    <a:pt x="8" y="2"/>
                  </a:cubicBezTo>
                  <a:cubicBezTo>
                    <a:pt x="6" y="1"/>
                    <a:pt x="2" y="0"/>
                    <a:pt x="1" y="2"/>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5" name="Freeform 167">
              <a:extLst>
                <a:ext uri="{FF2B5EF4-FFF2-40B4-BE49-F238E27FC236}">
                  <a16:creationId xmlns:a16="http://schemas.microsoft.com/office/drawing/2014/main" id="{F9EEE1FE-E56B-BF8C-8508-8203FC1CF38C}"/>
                </a:ext>
              </a:extLst>
            </p:cNvPr>
            <p:cNvSpPr>
              <a:spLocks/>
            </p:cNvSpPr>
            <p:nvPr/>
          </p:nvSpPr>
          <p:spPr bwMode="auto">
            <a:xfrm>
              <a:off x="3442527" y="3437893"/>
              <a:ext cx="80281" cy="47676"/>
            </a:xfrm>
            <a:custGeom>
              <a:avLst/>
              <a:gdLst>
                <a:gd name="T0" fmla="*/ 10 w 29"/>
                <a:gd name="T1" fmla="*/ 8 h 17"/>
                <a:gd name="T2" fmla="*/ 12 w 29"/>
                <a:gd name="T3" fmla="*/ 13 h 17"/>
                <a:gd name="T4" fmla="*/ 16 w 29"/>
                <a:gd name="T5" fmla="*/ 16 h 17"/>
                <a:gd name="T6" fmla="*/ 20 w 29"/>
                <a:gd name="T7" fmla="*/ 11 h 17"/>
                <a:gd name="T8" fmla="*/ 21 w 29"/>
                <a:gd name="T9" fmla="*/ 12 h 17"/>
                <a:gd name="T10" fmla="*/ 23 w 29"/>
                <a:gd name="T11" fmla="*/ 11 h 17"/>
                <a:gd name="T12" fmla="*/ 27 w 29"/>
                <a:gd name="T13" fmla="*/ 10 h 17"/>
                <a:gd name="T14" fmla="*/ 24 w 29"/>
                <a:gd name="T15" fmla="*/ 4 h 17"/>
                <a:gd name="T16" fmla="*/ 18 w 29"/>
                <a:gd name="T17" fmla="*/ 3 h 17"/>
                <a:gd name="T18" fmla="*/ 16 w 29"/>
                <a:gd name="T19" fmla="*/ 0 h 17"/>
                <a:gd name="T20" fmla="*/ 11 w 29"/>
                <a:gd name="T21" fmla="*/ 4 h 17"/>
                <a:gd name="T22" fmla="*/ 11 w 29"/>
                <a:gd name="T23" fmla="*/ 5 h 17"/>
                <a:gd name="T24" fmla="*/ 0 w 29"/>
                <a:gd name="T25" fmla="*/ 6 h 17"/>
                <a:gd name="T26" fmla="*/ 10 w 29"/>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17">
                  <a:moveTo>
                    <a:pt x="10" y="8"/>
                  </a:moveTo>
                  <a:cubicBezTo>
                    <a:pt x="11" y="9"/>
                    <a:pt x="11" y="11"/>
                    <a:pt x="12" y="13"/>
                  </a:cubicBezTo>
                  <a:cubicBezTo>
                    <a:pt x="13" y="15"/>
                    <a:pt x="13" y="17"/>
                    <a:pt x="16" y="16"/>
                  </a:cubicBezTo>
                  <a:cubicBezTo>
                    <a:pt x="19" y="15"/>
                    <a:pt x="18" y="12"/>
                    <a:pt x="20" y="11"/>
                  </a:cubicBezTo>
                  <a:cubicBezTo>
                    <a:pt x="22" y="10"/>
                    <a:pt x="21" y="12"/>
                    <a:pt x="21" y="12"/>
                  </a:cubicBezTo>
                  <a:cubicBezTo>
                    <a:pt x="23" y="14"/>
                    <a:pt x="23" y="12"/>
                    <a:pt x="23" y="11"/>
                  </a:cubicBezTo>
                  <a:cubicBezTo>
                    <a:pt x="24" y="10"/>
                    <a:pt x="26" y="10"/>
                    <a:pt x="27" y="10"/>
                  </a:cubicBezTo>
                  <a:cubicBezTo>
                    <a:pt x="29" y="10"/>
                    <a:pt x="25" y="4"/>
                    <a:pt x="24" y="4"/>
                  </a:cubicBezTo>
                  <a:cubicBezTo>
                    <a:pt x="22" y="3"/>
                    <a:pt x="20" y="4"/>
                    <a:pt x="18" y="3"/>
                  </a:cubicBezTo>
                  <a:cubicBezTo>
                    <a:pt x="17" y="2"/>
                    <a:pt x="19" y="0"/>
                    <a:pt x="16" y="0"/>
                  </a:cubicBezTo>
                  <a:cubicBezTo>
                    <a:pt x="14" y="0"/>
                    <a:pt x="12" y="5"/>
                    <a:pt x="11" y="4"/>
                  </a:cubicBezTo>
                  <a:cubicBezTo>
                    <a:pt x="11" y="4"/>
                    <a:pt x="11" y="4"/>
                    <a:pt x="11" y="5"/>
                  </a:cubicBezTo>
                  <a:cubicBezTo>
                    <a:pt x="10" y="5"/>
                    <a:pt x="0" y="6"/>
                    <a:pt x="0" y="6"/>
                  </a:cubicBezTo>
                  <a:cubicBezTo>
                    <a:pt x="2" y="9"/>
                    <a:pt x="7" y="7"/>
                    <a:pt x="10" y="8"/>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6" name="Freeform 168">
              <a:extLst>
                <a:ext uri="{FF2B5EF4-FFF2-40B4-BE49-F238E27FC236}">
                  <a16:creationId xmlns:a16="http://schemas.microsoft.com/office/drawing/2014/main" id="{69422EED-6755-AAEF-4E8B-E37E7B9E9ADF}"/>
                </a:ext>
              </a:extLst>
            </p:cNvPr>
            <p:cNvSpPr>
              <a:spLocks/>
            </p:cNvSpPr>
            <p:nvPr/>
          </p:nvSpPr>
          <p:spPr bwMode="auto">
            <a:xfrm>
              <a:off x="3593644" y="3545163"/>
              <a:ext cx="10626" cy="10727"/>
            </a:xfrm>
            <a:custGeom>
              <a:avLst/>
              <a:gdLst>
                <a:gd name="T0" fmla="*/ 2 w 4"/>
                <a:gd name="T1" fmla="*/ 3 h 4"/>
                <a:gd name="T2" fmla="*/ 4 w 4"/>
                <a:gd name="T3" fmla="*/ 1 h 4"/>
                <a:gd name="T4" fmla="*/ 2 w 4"/>
                <a:gd name="T5" fmla="*/ 3 h 4"/>
              </a:gdLst>
              <a:ahLst/>
              <a:cxnLst>
                <a:cxn ang="0">
                  <a:pos x="T0" y="T1"/>
                </a:cxn>
                <a:cxn ang="0">
                  <a:pos x="T2" y="T3"/>
                </a:cxn>
                <a:cxn ang="0">
                  <a:pos x="T4" y="T5"/>
                </a:cxn>
              </a:cxnLst>
              <a:rect l="0" t="0" r="r" b="b"/>
              <a:pathLst>
                <a:path w="4" h="4">
                  <a:moveTo>
                    <a:pt x="2" y="3"/>
                  </a:moveTo>
                  <a:cubicBezTo>
                    <a:pt x="3" y="4"/>
                    <a:pt x="4" y="2"/>
                    <a:pt x="4" y="1"/>
                  </a:cubicBezTo>
                  <a:cubicBezTo>
                    <a:pt x="3" y="0"/>
                    <a:pt x="0" y="1"/>
                    <a:pt x="2" y="3"/>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7" name="Freeform 169">
              <a:extLst>
                <a:ext uri="{FF2B5EF4-FFF2-40B4-BE49-F238E27FC236}">
                  <a16:creationId xmlns:a16="http://schemas.microsoft.com/office/drawing/2014/main" id="{0D135952-5FDE-6CB1-7FC9-72AFF77517CA}"/>
                </a:ext>
              </a:extLst>
            </p:cNvPr>
            <p:cNvSpPr>
              <a:spLocks/>
            </p:cNvSpPr>
            <p:nvPr/>
          </p:nvSpPr>
          <p:spPr bwMode="auto">
            <a:xfrm>
              <a:off x="3520447" y="3440276"/>
              <a:ext cx="33057" cy="11919"/>
            </a:xfrm>
            <a:custGeom>
              <a:avLst/>
              <a:gdLst>
                <a:gd name="T0" fmla="*/ 4 w 12"/>
                <a:gd name="T1" fmla="*/ 4 h 4"/>
                <a:gd name="T2" fmla="*/ 8 w 12"/>
                <a:gd name="T3" fmla="*/ 3 h 4"/>
                <a:gd name="T4" fmla="*/ 3 w 12"/>
                <a:gd name="T5" fmla="*/ 0 h 4"/>
                <a:gd name="T6" fmla="*/ 4 w 12"/>
                <a:gd name="T7" fmla="*/ 4 h 4"/>
              </a:gdLst>
              <a:ahLst/>
              <a:cxnLst>
                <a:cxn ang="0">
                  <a:pos x="T0" y="T1"/>
                </a:cxn>
                <a:cxn ang="0">
                  <a:pos x="T2" y="T3"/>
                </a:cxn>
                <a:cxn ang="0">
                  <a:pos x="T4" y="T5"/>
                </a:cxn>
                <a:cxn ang="0">
                  <a:pos x="T6" y="T7"/>
                </a:cxn>
              </a:cxnLst>
              <a:rect l="0" t="0" r="r" b="b"/>
              <a:pathLst>
                <a:path w="12" h="4">
                  <a:moveTo>
                    <a:pt x="4" y="4"/>
                  </a:moveTo>
                  <a:cubicBezTo>
                    <a:pt x="5" y="4"/>
                    <a:pt x="7" y="4"/>
                    <a:pt x="8" y="3"/>
                  </a:cubicBezTo>
                  <a:cubicBezTo>
                    <a:pt x="12" y="2"/>
                    <a:pt x="4" y="1"/>
                    <a:pt x="3" y="0"/>
                  </a:cubicBezTo>
                  <a:cubicBezTo>
                    <a:pt x="0" y="0"/>
                    <a:pt x="1" y="4"/>
                    <a:pt x="4" y="4"/>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170">
              <a:extLst>
                <a:ext uri="{FF2B5EF4-FFF2-40B4-BE49-F238E27FC236}">
                  <a16:creationId xmlns:a16="http://schemas.microsoft.com/office/drawing/2014/main" id="{78A87795-F428-563B-784F-313D99D3D13C}"/>
                </a:ext>
              </a:extLst>
            </p:cNvPr>
            <p:cNvSpPr>
              <a:spLocks/>
            </p:cNvSpPr>
            <p:nvPr/>
          </p:nvSpPr>
          <p:spPr bwMode="auto">
            <a:xfrm>
              <a:off x="3425998" y="3489144"/>
              <a:ext cx="119242" cy="89392"/>
            </a:xfrm>
            <a:custGeom>
              <a:avLst/>
              <a:gdLst>
                <a:gd name="T0" fmla="*/ 36 w 43"/>
                <a:gd name="T1" fmla="*/ 4 h 32"/>
                <a:gd name="T2" fmla="*/ 32 w 43"/>
                <a:gd name="T3" fmla="*/ 2 h 32"/>
                <a:gd name="T4" fmla="*/ 28 w 43"/>
                <a:gd name="T5" fmla="*/ 1 h 32"/>
                <a:gd name="T6" fmla="*/ 23 w 43"/>
                <a:gd name="T7" fmla="*/ 2 h 32"/>
                <a:gd name="T8" fmla="*/ 18 w 43"/>
                <a:gd name="T9" fmla="*/ 3 h 32"/>
                <a:gd name="T10" fmla="*/ 13 w 43"/>
                <a:gd name="T11" fmla="*/ 5 h 32"/>
                <a:gd name="T12" fmla="*/ 12 w 43"/>
                <a:gd name="T13" fmla="*/ 5 h 32"/>
                <a:gd name="T14" fmla="*/ 8 w 43"/>
                <a:gd name="T15" fmla="*/ 9 h 32"/>
                <a:gd name="T16" fmla="*/ 5 w 43"/>
                <a:gd name="T17" fmla="*/ 6 h 32"/>
                <a:gd name="T18" fmla="*/ 1 w 43"/>
                <a:gd name="T19" fmla="*/ 6 h 32"/>
                <a:gd name="T20" fmla="*/ 6 w 43"/>
                <a:gd name="T21" fmla="*/ 12 h 32"/>
                <a:gd name="T22" fmla="*/ 4 w 43"/>
                <a:gd name="T23" fmla="*/ 14 h 32"/>
                <a:gd name="T24" fmla="*/ 3 w 43"/>
                <a:gd name="T25" fmla="*/ 13 h 32"/>
                <a:gd name="T26" fmla="*/ 4 w 43"/>
                <a:gd name="T27" fmla="*/ 15 h 32"/>
                <a:gd name="T28" fmla="*/ 6 w 43"/>
                <a:gd name="T29" fmla="*/ 18 h 32"/>
                <a:gd name="T30" fmla="*/ 12 w 43"/>
                <a:gd name="T31" fmla="*/ 22 h 32"/>
                <a:gd name="T32" fmla="*/ 10 w 43"/>
                <a:gd name="T33" fmla="*/ 24 h 32"/>
                <a:gd name="T34" fmla="*/ 8 w 43"/>
                <a:gd name="T35" fmla="*/ 26 h 32"/>
                <a:gd name="T36" fmla="*/ 9 w 43"/>
                <a:gd name="T37" fmla="*/ 31 h 32"/>
                <a:gd name="T38" fmla="*/ 14 w 43"/>
                <a:gd name="T39" fmla="*/ 23 h 32"/>
                <a:gd name="T40" fmla="*/ 18 w 43"/>
                <a:gd name="T41" fmla="*/ 18 h 32"/>
                <a:gd name="T42" fmla="*/ 24 w 43"/>
                <a:gd name="T43" fmla="*/ 17 h 32"/>
                <a:gd name="T44" fmla="*/ 27 w 43"/>
                <a:gd name="T45" fmla="*/ 16 h 32"/>
                <a:gd name="T46" fmla="*/ 33 w 43"/>
                <a:gd name="T47" fmla="*/ 11 h 32"/>
                <a:gd name="T48" fmla="*/ 38 w 43"/>
                <a:gd name="T49" fmla="*/ 8 h 32"/>
                <a:gd name="T50" fmla="*/ 41 w 43"/>
                <a:gd name="T51" fmla="*/ 8 h 32"/>
                <a:gd name="T52" fmla="*/ 43 w 43"/>
                <a:gd name="T53" fmla="*/ 8 h 32"/>
                <a:gd name="T54" fmla="*/ 36 w 43"/>
                <a:gd name="T55"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32">
                  <a:moveTo>
                    <a:pt x="36" y="4"/>
                  </a:moveTo>
                  <a:cubicBezTo>
                    <a:pt x="35" y="3"/>
                    <a:pt x="34" y="2"/>
                    <a:pt x="32" y="2"/>
                  </a:cubicBezTo>
                  <a:cubicBezTo>
                    <a:pt x="31" y="1"/>
                    <a:pt x="29" y="1"/>
                    <a:pt x="28" y="1"/>
                  </a:cubicBezTo>
                  <a:cubicBezTo>
                    <a:pt x="26" y="2"/>
                    <a:pt x="24" y="4"/>
                    <a:pt x="23" y="2"/>
                  </a:cubicBezTo>
                  <a:cubicBezTo>
                    <a:pt x="20" y="0"/>
                    <a:pt x="20" y="2"/>
                    <a:pt x="18" y="3"/>
                  </a:cubicBezTo>
                  <a:cubicBezTo>
                    <a:pt x="16" y="3"/>
                    <a:pt x="14" y="3"/>
                    <a:pt x="13" y="5"/>
                  </a:cubicBezTo>
                  <a:cubicBezTo>
                    <a:pt x="13" y="7"/>
                    <a:pt x="12" y="6"/>
                    <a:pt x="12" y="5"/>
                  </a:cubicBezTo>
                  <a:cubicBezTo>
                    <a:pt x="11" y="2"/>
                    <a:pt x="8" y="9"/>
                    <a:pt x="8" y="9"/>
                  </a:cubicBezTo>
                  <a:cubicBezTo>
                    <a:pt x="7" y="8"/>
                    <a:pt x="7" y="7"/>
                    <a:pt x="5" y="6"/>
                  </a:cubicBezTo>
                  <a:cubicBezTo>
                    <a:pt x="4" y="5"/>
                    <a:pt x="3" y="6"/>
                    <a:pt x="1" y="6"/>
                  </a:cubicBezTo>
                  <a:cubicBezTo>
                    <a:pt x="3" y="8"/>
                    <a:pt x="6" y="9"/>
                    <a:pt x="6" y="12"/>
                  </a:cubicBezTo>
                  <a:cubicBezTo>
                    <a:pt x="5" y="12"/>
                    <a:pt x="5" y="13"/>
                    <a:pt x="4" y="14"/>
                  </a:cubicBezTo>
                  <a:cubicBezTo>
                    <a:pt x="4" y="14"/>
                    <a:pt x="3" y="13"/>
                    <a:pt x="3" y="13"/>
                  </a:cubicBezTo>
                  <a:cubicBezTo>
                    <a:pt x="3" y="14"/>
                    <a:pt x="3" y="14"/>
                    <a:pt x="4" y="15"/>
                  </a:cubicBezTo>
                  <a:cubicBezTo>
                    <a:pt x="0" y="14"/>
                    <a:pt x="5" y="17"/>
                    <a:pt x="6" y="18"/>
                  </a:cubicBezTo>
                  <a:cubicBezTo>
                    <a:pt x="7" y="18"/>
                    <a:pt x="12" y="21"/>
                    <a:pt x="12" y="22"/>
                  </a:cubicBezTo>
                  <a:cubicBezTo>
                    <a:pt x="12" y="23"/>
                    <a:pt x="11" y="24"/>
                    <a:pt x="10" y="24"/>
                  </a:cubicBezTo>
                  <a:cubicBezTo>
                    <a:pt x="9" y="23"/>
                    <a:pt x="8" y="25"/>
                    <a:pt x="8" y="26"/>
                  </a:cubicBezTo>
                  <a:cubicBezTo>
                    <a:pt x="7" y="28"/>
                    <a:pt x="7" y="32"/>
                    <a:pt x="9" y="31"/>
                  </a:cubicBezTo>
                  <a:cubicBezTo>
                    <a:pt x="12" y="29"/>
                    <a:pt x="14" y="26"/>
                    <a:pt x="14" y="23"/>
                  </a:cubicBezTo>
                  <a:cubicBezTo>
                    <a:pt x="15" y="19"/>
                    <a:pt x="15" y="18"/>
                    <a:pt x="18" y="18"/>
                  </a:cubicBezTo>
                  <a:cubicBezTo>
                    <a:pt x="20" y="18"/>
                    <a:pt x="23" y="16"/>
                    <a:pt x="24" y="17"/>
                  </a:cubicBezTo>
                  <a:cubicBezTo>
                    <a:pt x="25" y="17"/>
                    <a:pt x="29" y="18"/>
                    <a:pt x="27" y="16"/>
                  </a:cubicBezTo>
                  <a:cubicBezTo>
                    <a:pt x="28" y="15"/>
                    <a:pt x="35" y="14"/>
                    <a:pt x="33" y="11"/>
                  </a:cubicBezTo>
                  <a:cubicBezTo>
                    <a:pt x="35" y="12"/>
                    <a:pt x="36" y="11"/>
                    <a:pt x="38" y="8"/>
                  </a:cubicBezTo>
                  <a:cubicBezTo>
                    <a:pt x="39" y="6"/>
                    <a:pt x="42" y="10"/>
                    <a:pt x="41" y="8"/>
                  </a:cubicBezTo>
                  <a:cubicBezTo>
                    <a:pt x="41" y="8"/>
                    <a:pt x="43" y="9"/>
                    <a:pt x="43" y="8"/>
                  </a:cubicBezTo>
                  <a:cubicBezTo>
                    <a:pt x="43" y="7"/>
                    <a:pt x="37" y="4"/>
                    <a:pt x="36" y="4"/>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9" name="Freeform 172">
              <a:extLst>
                <a:ext uri="{FF2B5EF4-FFF2-40B4-BE49-F238E27FC236}">
                  <a16:creationId xmlns:a16="http://schemas.microsoft.com/office/drawing/2014/main" id="{D82BEFFF-1DEE-3563-B925-42BB2C9AE215}"/>
                </a:ext>
              </a:extLst>
            </p:cNvPr>
            <p:cNvSpPr>
              <a:spLocks/>
            </p:cNvSpPr>
            <p:nvPr/>
          </p:nvSpPr>
          <p:spPr bwMode="auto">
            <a:xfrm>
              <a:off x="3522808" y="3483185"/>
              <a:ext cx="25973" cy="22646"/>
            </a:xfrm>
            <a:custGeom>
              <a:avLst/>
              <a:gdLst>
                <a:gd name="T0" fmla="*/ 6 w 9"/>
                <a:gd name="T1" fmla="*/ 1 h 8"/>
                <a:gd name="T2" fmla="*/ 1 w 9"/>
                <a:gd name="T3" fmla="*/ 2 h 8"/>
                <a:gd name="T4" fmla="*/ 3 w 9"/>
                <a:gd name="T5" fmla="*/ 6 h 8"/>
                <a:gd name="T6" fmla="*/ 9 w 9"/>
                <a:gd name="T7" fmla="*/ 6 h 8"/>
                <a:gd name="T8" fmla="*/ 6 w 9"/>
                <a:gd name="T9" fmla="*/ 1 h 8"/>
              </a:gdLst>
              <a:ahLst/>
              <a:cxnLst>
                <a:cxn ang="0">
                  <a:pos x="T0" y="T1"/>
                </a:cxn>
                <a:cxn ang="0">
                  <a:pos x="T2" y="T3"/>
                </a:cxn>
                <a:cxn ang="0">
                  <a:pos x="T4" y="T5"/>
                </a:cxn>
                <a:cxn ang="0">
                  <a:pos x="T6" y="T7"/>
                </a:cxn>
                <a:cxn ang="0">
                  <a:pos x="T8" y="T9"/>
                </a:cxn>
              </a:cxnLst>
              <a:rect l="0" t="0" r="r" b="b"/>
              <a:pathLst>
                <a:path w="9" h="8">
                  <a:moveTo>
                    <a:pt x="6" y="1"/>
                  </a:moveTo>
                  <a:cubicBezTo>
                    <a:pt x="3" y="0"/>
                    <a:pt x="3" y="1"/>
                    <a:pt x="1" y="2"/>
                  </a:cubicBezTo>
                  <a:cubicBezTo>
                    <a:pt x="0" y="4"/>
                    <a:pt x="2" y="5"/>
                    <a:pt x="3" y="6"/>
                  </a:cubicBezTo>
                  <a:cubicBezTo>
                    <a:pt x="4" y="7"/>
                    <a:pt x="9" y="8"/>
                    <a:pt x="9" y="6"/>
                  </a:cubicBezTo>
                  <a:cubicBezTo>
                    <a:pt x="9" y="3"/>
                    <a:pt x="7" y="2"/>
                    <a:pt x="6" y="1"/>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0" name="Freeform 175">
              <a:extLst>
                <a:ext uri="{FF2B5EF4-FFF2-40B4-BE49-F238E27FC236}">
                  <a16:creationId xmlns:a16="http://schemas.microsoft.com/office/drawing/2014/main" id="{1408957B-7687-79F3-21EF-6F91AEC8AD7D}"/>
                </a:ext>
              </a:extLst>
            </p:cNvPr>
            <p:cNvSpPr>
              <a:spLocks/>
            </p:cNvSpPr>
            <p:nvPr/>
          </p:nvSpPr>
          <p:spPr bwMode="auto">
            <a:xfrm>
              <a:off x="3383496" y="3838369"/>
              <a:ext cx="20071" cy="56019"/>
            </a:xfrm>
            <a:custGeom>
              <a:avLst/>
              <a:gdLst>
                <a:gd name="T0" fmla="*/ 2 w 7"/>
                <a:gd name="T1" fmla="*/ 15 h 20"/>
                <a:gd name="T2" fmla="*/ 0 w 7"/>
                <a:gd name="T3" fmla="*/ 18 h 20"/>
                <a:gd name="T4" fmla="*/ 3 w 7"/>
                <a:gd name="T5" fmla="*/ 0 h 20"/>
                <a:gd name="T6" fmla="*/ 2 w 7"/>
                <a:gd name="T7" fmla="*/ 15 h 20"/>
              </a:gdLst>
              <a:ahLst/>
              <a:cxnLst>
                <a:cxn ang="0">
                  <a:pos x="T0" y="T1"/>
                </a:cxn>
                <a:cxn ang="0">
                  <a:pos x="T2" y="T3"/>
                </a:cxn>
                <a:cxn ang="0">
                  <a:pos x="T4" y="T5"/>
                </a:cxn>
                <a:cxn ang="0">
                  <a:pos x="T6" y="T7"/>
                </a:cxn>
              </a:cxnLst>
              <a:rect l="0" t="0" r="r" b="b"/>
              <a:pathLst>
                <a:path w="7" h="20">
                  <a:moveTo>
                    <a:pt x="2" y="15"/>
                  </a:moveTo>
                  <a:cubicBezTo>
                    <a:pt x="1" y="16"/>
                    <a:pt x="1" y="17"/>
                    <a:pt x="0" y="18"/>
                  </a:cubicBezTo>
                  <a:cubicBezTo>
                    <a:pt x="3" y="20"/>
                    <a:pt x="7" y="3"/>
                    <a:pt x="3" y="0"/>
                  </a:cubicBezTo>
                  <a:cubicBezTo>
                    <a:pt x="4" y="5"/>
                    <a:pt x="4" y="10"/>
                    <a:pt x="2" y="15"/>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182">
              <a:extLst>
                <a:ext uri="{FF2B5EF4-FFF2-40B4-BE49-F238E27FC236}">
                  <a16:creationId xmlns:a16="http://schemas.microsoft.com/office/drawing/2014/main" id="{AC076330-755D-8EE0-8705-5422832DE28E}"/>
                </a:ext>
              </a:extLst>
            </p:cNvPr>
            <p:cNvSpPr>
              <a:spLocks/>
            </p:cNvSpPr>
            <p:nvPr/>
          </p:nvSpPr>
          <p:spPr bwMode="auto">
            <a:xfrm>
              <a:off x="3283145" y="3889620"/>
              <a:ext cx="259734" cy="117998"/>
            </a:xfrm>
            <a:custGeom>
              <a:avLst/>
              <a:gdLst>
                <a:gd name="T0" fmla="*/ 93 w 93"/>
                <a:gd name="T1" fmla="*/ 19 h 42"/>
                <a:gd name="T2" fmla="*/ 87 w 93"/>
                <a:gd name="T3" fmla="*/ 14 h 42"/>
                <a:gd name="T4" fmla="*/ 82 w 93"/>
                <a:gd name="T5" fmla="*/ 10 h 42"/>
                <a:gd name="T6" fmla="*/ 72 w 93"/>
                <a:gd name="T7" fmla="*/ 10 h 42"/>
                <a:gd name="T8" fmla="*/ 68 w 93"/>
                <a:gd name="T9" fmla="*/ 9 h 42"/>
                <a:gd name="T10" fmla="*/ 64 w 93"/>
                <a:gd name="T11" fmla="*/ 9 h 42"/>
                <a:gd name="T12" fmla="*/ 58 w 93"/>
                <a:gd name="T13" fmla="*/ 5 h 42"/>
                <a:gd name="T14" fmla="*/ 52 w 93"/>
                <a:gd name="T15" fmla="*/ 4 h 42"/>
                <a:gd name="T16" fmla="*/ 45 w 93"/>
                <a:gd name="T17" fmla="*/ 2 h 42"/>
                <a:gd name="T18" fmla="*/ 43 w 93"/>
                <a:gd name="T19" fmla="*/ 4 h 42"/>
                <a:gd name="T20" fmla="*/ 45 w 93"/>
                <a:gd name="T21" fmla="*/ 12 h 42"/>
                <a:gd name="T22" fmla="*/ 42 w 93"/>
                <a:gd name="T23" fmla="*/ 17 h 42"/>
                <a:gd name="T24" fmla="*/ 35 w 93"/>
                <a:gd name="T25" fmla="*/ 16 h 42"/>
                <a:gd name="T26" fmla="*/ 26 w 93"/>
                <a:gd name="T27" fmla="*/ 15 h 42"/>
                <a:gd name="T28" fmla="*/ 28 w 93"/>
                <a:gd name="T29" fmla="*/ 11 h 42"/>
                <a:gd name="T30" fmla="*/ 34 w 93"/>
                <a:gd name="T31" fmla="*/ 4 h 42"/>
                <a:gd name="T32" fmla="*/ 36 w 93"/>
                <a:gd name="T33" fmla="*/ 0 h 42"/>
                <a:gd name="T34" fmla="*/ 24 w 93"/>
                <a:gd name="T35" fmla="*/ 13 h 42"/>
                <a:gd name="T36" fmla="*/ 12 w 93"/>
                <a:gd name="T37" fmla="*/ 14 h 42"/>
                <a:gd name="T38" fmla="*/ 8 w 93"/>
                <a:gd name="T39" fmla="*/ 17 h 42"/>
                <a:gd name="T40" fmla="*/ 8 w 93"/>
                <a:gd name="T41" fmla="*/ 23 h 42"/>
                <a:gd name="T42" fmla="*/ 0 w 93"/>
                <a:gd name="T43" fmla="*/ 35 h 42"/>
                <a:gd name="T44" fmla="*/ 9 w 93"/>
                <a:gd name="T45" fmla="*/ 28 h 42"/>
                <a:gd name="T46" fmla="*/ 10 w 93"/>
                <a:gd name="T47" fmla="*/ 24 h 42"/>
                <a:gd name="T48" fmla="*/ 12 w 93"/>
                <a:gd name="T49" fmla="*/ 26 h 42"/>
                <a:gd name="T50" fmla="*/ 16 w 93"/>
                <a:gd name="T51" fmla="*/ 26 h 42"/>
                <a:gd name="T52" fmla="*/ 22 w 93"/>
                <a:gd name="T53" fmla="*/ 26 h 42"/>
                <a:gd name="T54" fmla="*/ 20 w 93"/>
                <a:gd name="T55" fmla="*/ 27 h 42"/>
                <a:gd name="T56" fmla="*/ 14 w 93"/>
                <a:gd name="T57" fmla="*/ 30 h 42"/>
                <a:gd name="T58" fmla="*/ 12 w 93"/>
                <a:gd name="T59" fmla="*/ 31 h 42"/>
                <a:gd name="T60" fmla="*/ 10 w 93"/>
                <a:gd name="T61" fmla="*/ 31 h 42"/>
                <a:gd name="T62" fmla="*/ 8 w 93"/>
                <a:gd name="T63" fmla="*/ 34 h 42"/>
                <a:gd name="T64" fmla="*/ 5 w 93"/>
                <a:gd name="T65" fmla="*/ 36 h 42"/>
                <a:gd name="T66" fmla="*/ 33 w 93"/>
                <a:gd name="T67" fmla="*/ 40 h 42"/>
                <a:gd name="T68" fmla="*/ 63 w 93"/>
                <a:gd name="T69" fmla="*/ 41 h 42"/>
                <a:gd name="T70" fmla="*/ 92 w 93"/>
                <a:gd name="T71" fmla="*/ 40 h 42"/>
                <a:gd name="T72" fmla="*/ 89 w 93"/>
                <a:gd name="T73" fmla="*/ 26 h 42"/>
                <a:gd name="T74" fmla="*/ 93 w 93"/>
                <a:gd name="T75"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 h="42">
                  <a:moveTo>
                    <a:pt x="93" y="19"/>
                  </a:moveTo>
                  <a:cubicBezTo>
                    <a:pt x="92" y="16"/>
                    <a:pt x="89" y="15"/>
                    <a:pt x="87" y="14"/>
                  </a:cubicBezTo>
                  <a:cubicBezTo>
                    <a:pt x="85" y="13"/>
                    <a:pt x="85" y="9"/>
                    <a:pt x="82" y="10"/>
                  </a:cubicBezTo>
                  <a:cubicBezTo>
                    <a:pt x="79" y="11"/>
                    <a:pt x="75" y="8"/>
                    <a:pt x="72" y="10"/>
                  </a:cubicBezTo>
                  <a:cubicBezTo>
                    <a:pt x="70" y="11"/>
                    <a:pt x="68" y="12"/>
                    <a:pt x="68" y="9"/>
                  </a:cubicBezTo>
                  <a:cubicBezTo>
                    <a:pt x="67" y="8"/>
                    <a:pt x="65" y="9"/>
                    <a:pt x="64" y="9"/>
                  </a:cubicBezTo>
                  <a:cubicBezTo>
                    <a:pt x="62" y="8"/>
                    <a:pt x="60" y="7"/>
                    <a:pt x="58" y="5"/>
                  </a:cubicBezTo>
                  <a:cubicBezTo>
                    <a:pt x="56" y="4"/>
                    <a:pt x="54" y="4"/>
                    <a:pt x="52" y="4"/>
                  </a:cubicBezTo>
                  <a:cubicBezTo>
                    <a:pt x="49" y="2"/>
                    <a:pt x="49" y="0"/>
                    <a:pt x="45" y="2"/>
                  </a:cubicBezTo>
                  <a:cubicBezTo>
                    <a:pt x="47" y="4"/>
                    <a:pt x="43" y="2"/>
                    <a:pt x="43" y="4"/>
                  </a:cubicBezTo>
                  <a:cubicBezTo>
                    <a:pt x="43" y="6"/>
                    <a:pt x="44" y="9"/>
                    <a:pt x="45" y="12"/>
                  </a:cubicBezTo>
                  <a:cubicBezTo>
                    <a:pt x="46" y="15"/>
                    <a:pt x="45" y="16"/>
                    <a:pt x="42" y="17"/>
                  </a:cubicBezTo>
                  <a:cubicBezTo>
                    <a:pt x="40" y="17"/>
                    <a:pt x="37" y="17"/>
                    <a:pt x="35" y="16"/>
                  </a:cubicBezTo>
                  <a:cubicBezTo>
                    <a:pt x="32" y="15"/>
                    <a:pt x="29" y="15"/>
                    <a:pt x="26" y="15"/>
                  </a:cubicBezTo>
                  <a:cubicBezTo>
                    <a:pt x="23" y="14"/>
                    <a:pt x="27" y="12"/>
                    <a:pt x="28" y="11"/>
                  </a:cubicBezTo>
                  <a:cubicBezTo>
                    <a:pt x="30" y="9"/>
                    <a:pt x="32" y="7"/>
                    <a:pt x="34" y="4"/>
                  </a:cubicBezTo>
                  <a:cubicBezTo>
                    <a:pt x="35" y="3"/>
                    <a:pt x="39" y="1"/>
                    <a:pt x="36" y="0"/>
                  </a:cubicBezTo>
                  <a:cubicBezTo>
                    <a:pt x="32" y="5"/>
                    <a:pt x="29" y="10"/>
                    <a:pt x="24" y="13"/>
                  </a:cubicBezTo>
                  <a:cubicBezTo>
                    <a:pt x="21" y="15"/>
                    <a:pt x="16" y="15"/>
                    <a:pt x="12" y="14"/>
                  </a:cubicBezTo>
                  <a:cubicBezTo>
                    <a:pt x="10" y="14"/>
                    <a:pt x="8" y="14"/>
                    <a:pt x="8" y="17"/>
                  </a:cubicBezTo>
                  <a:cubicBezTo>
                    <a:pt x="7" y="19"/>
                    <a:pt x="9" y="21"/>
                    <a:pt x="8" y="23"/>
                  </a:cubicBezTo>
                  <a:cubicBezTo>
                    <a:pt x="7" y="29"/>
                    <a:pt x="4" y="32"/>
                    <a:pt x="0" y="35"/>
                  </a:cubicBezTo>
                  <a:cubicBezTo>
                    <a:pt x="4" y="37"/>
                    <a:pt x="6" y="28"/>
                    <a:pt x="9" y="28"/>
                  </a:cubicBezTo>
                  <a:cubicBezTo>
                    <a:pt x="8" y="27"/>
                    <a:pt x="9" y="25"/>
                    <a:pt x="10" y="24"/>
                  </a:cubicBezTo>
                  <a:cubicBezTo>
                    <a:pt x="12" y="24"/>
                    <a:pt x="11" y="26"/>
                    <a:pt x="12" y="26"/>
                  </a:cubicBezTo>
                  <a:cubicBezTo>
                    <a:pt x="13" y="27"/>
                    <a:pt x="15" y="26"/>
                    <a:pt x="16" y="26"/>
                  </a:cubicBezTo>
                  <a:cubicBezTo>
                    <a:pt x="18" y="25"/>
                    <a:pt x="20" y="26"/>
                    <a:pt x="22" y="26"/>
                  </a:cubicBezTo>
                  <a:cubicBezTo>
                    <a:pt x="21" y="27"/>
                    <a:pt x="20" y="28"/>
                    <a:pt x="20" y="27"/>
                  </a:cubicBezTo>
                  <a:cubicBezTo>
                    <a:pt x="18" y="28"/>
                    <a:pt x="16" y="29"/>
                    <a:pt x="14" y="30"/>
                  </a:cubicBezTo>
                  <a:cubicBezTo>
                    <a:pt x="13" y="30"/>
                    <a:pt x="13" y="32"/>
                    <a:pt x="12" y="31"/>
                  </a:cubicBezTo>
                  <a:cubicBezTo>
                    <a:pt x="11" y="31"/>
                    <a:pt x="11" y="30"/>
                    <a:pt x="10" y="31"/>
                  </a:cubicBezTo>
                  <a:cubicBezTo>
                    <a:pt x="9" y="31"/>
                    <a:pt x="9" y="33"/>
                    <a:pt x="8" y="34"/>
                  </a:cubicBezTo>
                  <a:cubicBezTo>
                    <a:pt x="7" y="35"/>
                    <a:pt x="5" y="35"/>
                    <a:pt x="5" y="36"/>
                  </a:cubicBezTo>
                  <a:cubicBezTo>
                    <a:pt x="14" y="38"/>
                    <a:pt x="24" y="39"/>
                    <a:pt x="33" y="40"/>
                  </a:cubicBezTo>
                  <a:cubicBezTo>
                    <a:pt x="43" y="41"/>
                    <a:pt x="53" y="42"/>
                    <a:pt x="63" y="41"/>
                  </a:cubicBezTo>
                  <a:cubicBezTo>
                    <a:pt x="73" y="41"/>
                    <a:pt x="82" y="41"/>
                    <a:pt x="92" y="40"/>
                  </a:cubicBezTo>
                  <a:cubicBezTo>
                    <a:pt x="88" y="35"/>
                    <a:pt x="88" y="32"/>
                    <a:pt x="89" y="26"/>
                  </a:cubicBezTo>
                  <a:cubicBezTo>
                    <a:pt x="90" y="23"/>
                    <a:pt x="93" y="21"/>
                    <a:pt x="93" y="19"/>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2" name="Freeform 208">
              <a:extLst>
                <a:ext uri="{FF2B5EF4-FFF2-40B4-BE49-F238E27FC236}">
                  <a16:creationId xmlns:a16="http://schemas.microsoft.com/office/drawing/2014/main" id="{B261405B-7EA4-A005-8962-31862232AC2B}"/>
                </a:ext>
              </a:extLst>
            </p:cNvPr>
            <p:cNvSpPr>
              <a:spLocks/>
            </p:cNvSpPr>
            <p:nvPr/>
          </p:nvSpPr>
          <p:spPr bwMode="auto">
            <a:xfrm>
              <a:off x="2389424" y="3928952"/>
              <a:ext cx="75559" cy="22646"/>
            </a:xfrm>
            <a:custGeom>
              <a:avLst/>
              <a:gdLst>
                <a:gd name="T0" fmla="*/ 4 w 27"/>
                <a:gd name="T1" fmla="*/ 5 h 8"/>
                <a:gd name="T2" fmla="*/ 4 w 27"/>
                <a:gd name="T3" fmla="*/ 5 h 8"/>
                <a:gd name="T4" fmla="*/ 6 w 27"/>
                <a:gd name="T5" fmla="*/ 4 h 8"/>
                <a:gd name="T6" fmla="*/ 6 w 27"/>
                <a:gd name="T7" fmla="*/ 4 h 8"/>
                <a:gd name="T8" fmla="*/ 6 w 27"/>
                <a:gd name="T9" fmla="*/ 4 h 8"/>
                <a:gd name="T10" fmla="*/ 8 w 27"/>
                <a:gd name="T11" fmla="*/ 4 h 8"/>
                <a:gd name="T12" fmla="*/ 12 w 27"/>
                <a:gd name="T13" fmla="*/ 5 h 8"/>
                <a:gd name="T14" fmla="*/ 12 w 27"/>
                <a:gd name="T15" fmla="*/ 5 h 8"/>
                <a:gd name="T16" fmla="*/ 12 w 27"/>
                <a:gd name="T17" fmla="*/ 5 h 8"/>
                <a:gd name="T18" fmla="*/ 14 w 27"/>
                <a:gd name="T19" fmla="*/ 6 h 8"/>
                <a:gd name="T20" fmla="*/ 14 w 27"/>
                <a:gd name="T21" fmla="*/ 6 h 8"/>
                <a:gd name="T22" fmla="*/ 17 w 27"/>
                <a:gd name="T23" fmla="*/ 6 h 8"/>
                <a:gd name="T24" fmla="*/ 21 w 27"/>
                <a:gd name="T25" fmla="*/ 8 h 8"/>
                <a:gd name="T26" fmla="*/ 21 w 27"/>
                <a:gd name="T27" fmla="*/ 8 h 8"/>
                <a:gd name="T28" fmla="*/ 23 w 27"/>
                <a:gd name="T29" fmla="*/ 8 h 8"/>
                <a:gd name="T30" fmla="*/ 24 w 27"/>
                <a:gd name="T31" fmla="*/ 8 h 8"/>
                <a:gd name="T32" fmla="*/ 24 w 27"/>
                <a:gd name="T33" fmla="*/ 7 h 8"/>
                <a:gd name="T34" fmla="*/ 24 w 27"/>
                <a:gd name="T35" fmla="*/ 8 h 8"/>
                <a:gd name="T36" fmla="*/ 26 w 27"/>
                <a:gd name="T37" fmla="*/ 7 h 8"/>
                <a:gd name="T38" fmla="*/ 26 w 27"/>
                <a:gd name="T39" fmla="*/ 4 h 8"/>
                <a:gd name="T40" fmla="*/ 24 w 27"/>
                <a:gd name="T41" fmla="*/ 4 h 8"/>
                <a:gd name="T42" fmla="*/ 22 w 27"/>
                <a:gd name="T43" fmla="*/ 4 h 8"/>
                <a:gd name="T44" fmla="*/ 22 w 27"/>
                <a:gd name="T45" fmla="*/ 4 h 8"/>
                <a:gd name="T46" fmla="*/ 22 w 27"/>
                <a:gd name="T47" fmla="*/ 4 h 8"/>
                <a:gd name="T48" fmla="*/ 21 w 27"/>
                <a:gd name="T49" fmla="*/ 5 h 8"/>
                <a:gd name="T50" fmla="*/ 20 w 27"/>
                <a:gd name="T51" fmla="*/ 4 h 8"/>
                <a:gd name="T52" fmla="*/ 20 w 27"/>
                <a:gd name="T53" fmla="*/ 4 h 8"/>
                <a:gd name="T54" fmla="*/ 20 w 27"/>
                <a:gd name="T55" fmla="*/ 3 h 8"/>
                <a:gd name="T56" fmla="*/ 20 w 27"/>
                <a:gd name="T57" fmla="*/ 3 h 8"/>
                <a:gd name="T58" fmla="*/ 19 w 27"/>
                <a:gd name="T59" fmla="*/ 3 h 8"/>
                <a:gd name="T60" fmla="*/ 19 w 27"/>
                <a:gd name="T61" fmla="*/ 3 h 8"/>
                <a:gd name="T62" fmla="*/ 19 w 27"/>
                <a:gd name="T63" fmla="*/ 3 h 8"/>
                <a:gd name="T64" fmla="*/ 15 w 27"/>
                <a:gd name="T65" fmla="*/ 2 h 8"/>
                <a:gd name="T66" fmla="*/ 15 w 27"/>
                <a:gd name="T67" fmla="*/ 2 h 8"/>
                <a:gd name="T68" fmla="*/ 15 w 27"/>
                <a:gd name="T69" fmla="*/ 2 h 8"/>
                <a:gd name="T70" fmla="*/ 13 w 27"/>
                <a:gd name="T71" fmla="*/ 1 h 8"/>
                <a:gd name="T72" fmla="*/ 8 w 27"/>
                <a:gd name="T73" fmla="*/ 0 h 8"/>
                <a:gd name="T74" fmla="*/ 5 w 27"/>
                <a:gd name="T75" fmla="*/ 1 h 8"/>
                <a:gd name="T76" fmla="*/ 5 w 27"/>
                <a:gd name="T77" fmla="*/ 1 h 8"/>
                <a:gd name="T78" fmla="*/ 5 w 27"/>
                <a:gd name="T79" fmla="*/ 1 h 8"/>
                <a:gd name="T80" fmla="*/ 4 w 27"/>
                <a:gd name="T81" fmla="*/ 1 h 8"/>
                <a:gd name="T82" fmla="*/ 3 w 27"/>
                <a:gd name="T83" fmla="*/ 0 h 8"/>
                <a:gd name="T84" fmla="*/ 1 w 27"/>
                <a:gd name="T85" fmla="*/ 1 h 8"/>
                <a:gd name="T86" fmla="*/ 1 w 27"/>
                <a:gd name="T87" fmla="*/ 4 h 8"/>
                <a:gd name="T88" fmla="*/ 4 w 27"/>
                <a:gd name="T8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8">
                  <a:moveTo>
                    <a:pt x="4" y="5"/>
                  </a:moveTo>
                  <a:cubicBezTo>
                    <a:pt x="4" y="5"/>
                    <a:pt x="4" y="5"/>
                    <a:pt x="4" y="5"/>
                  </a:cubicBezTo>
                  <a:cubicBezTo>
                    <a:pt x="5" y="5"/>
                    <a:pt x="5" y="5"/>
                    <a:pt x="6" y="4"/>
                  </a:cubicBezTo>
                  <a:cubicBezTo>
                    <a:pt x="6" y="4"/>
                    <a:pt x="6" y="4"/>
                    <a:pt x="6" y="4"/>
                  </a:cubicBezTo>
                  <a:cubicBezTo>
                    <a:pt x="6" y="4"/>
                    <a:pt x="6" y="4"/>
                    <a:pt x="6" y="4"/>
                  </a:cubicBezTo>
                  <a:cubicBezTo>
                    <a:pt x="6" y="4"/>
                    <a:pt x="7" y="4"/>
                    <a:pt x="8" y="4"/>
                  </a:cubicBezTo>
                  <a:cubicBezTo>
                    <a:pt x="9" y="4"/>
                    <a:pt x="10" y="4"/>
                    <a:pt x="12" y="5"/>
                  </a:cubicBezTo>
                  <a:cubicBezTo>
                    <a:pt x="12" y="5"/>
                    <a:pt x="12" y="5"/>
                    <a:pt x="12" y="5"/>
                  </a:cubicBezTo>
                  <a:cubicBezTo>
                    <a:pt x="12" y="5"/>
                    <a:pt x="12" y="5"/>
                    <a:pt x="12" y="5"/>
                  </a:cubicBezTo>
                  <a:cubicBezTo>
                    <a:pt x="14" y="6"/>
                    <a:pt x="14" y="6"/>
                    <a:pt x="14" y="6"/>
                  </a:cubicBezTo>
                  <a:cubicBezTo>
                    <a:pt x="14" y="6"/>
                    <a:pt x="14" y="6"/>
                    <a:pt x="14" y="6"/>
                  </a:cubicBezTo>
                  <a:cubicBezTo>
                    <a:pt x="17" y="6"/>
                    <a:pt x="17" y="6"/>
                    <a:pt x="17" y="6"/>
                  </a:cubicBezTo>
                  <a:cubicBezTo>
                    <a:pt x="18" y="8"/>
                    <a:pt x="20" y="8"/>
                    <a:pt x="21" y="8"/>
                  </a:cubicBezTo>
                  <a:cubicBezTo>
                    <a:pt x="21" y="8"/>
                    <a:pt x="21" y="8"/>
                    <a:pt x="21" y="8"/>
                  </a:cubicBezTo>
                  <a:cubicBezTo>
                    <a:pt x="22" y="8"/>
                    <a:pt x="23" y="8"/>
                    <a:pt x="23" y="8"/>
                  </a:cubicBezTo>
                  <a:cubicBezTo>
                    <a:pt x="23" y="8"/>
                    <a:pt x="24" y="8"/>
                    <a:pt x="24" y="8"/>
                  </a:cubicBezTo>
                  <a:cubicBezTo>
                    <a:pt x="24" y="7"/>
                    <a:pt x="24" y="7"/>
                    <a:pt x="24" y="7"/>
                  </a:cubicBezTo>
                  <a:cubicBezTo>
                    <a:pt x="24" y="7"/>
                    <a:pt x="24" y="7"/>
                    <a:pt x="24" y="8"/>
                  </a:cubicBezTo>
                  <a:cubicBezTo>
                    <a:pt x="25" y="8"/>
                    <a:pt x="26" y="8"/>
                    <a:pt x="26" y="7"/>
                  </a:cubicBezTo>
                  <a:cubicBezTo>
                    <a:pt x="27" y="6"/>
                    <a:pt x="26" y="5"/>
                    <a:pt x="26" y="4"/>
                  </a:cubicBezTo>
                  <a:cubicBezTo>
                    <a:pt x="25" y="4"/>
                    <a:pt x="24" y="4"/>
                    <a:pt x="24" y="4"/>
                  </a:cubicBezTo>
                  <a:cubicBezTo>
                    <a:pt x="23" y="4"/>
                    <a:pt x="22" y="4"/>
                    <a:pt x="22" y="4"/>
                  </a:cubicBezTo>
                  <a:cubicBezTo>
                    <a:pt x="22" y="4"/>
                    <a:pt x="22" y="4"/>
                    <a:pt x="22" y="4"/>
                  </a:cubicBezTo>
                  <a:cubicBezTo>
                    <a:pt x="22" y="4"/>
                    <a:pt x="22" y="4"/>
                    <a:pt x="22" y="4"/>
                  </a:cubicBezTo>
                  <a:cubicBezTo>
                    <a:pt x="21" y="4"/>
                    <a:pt x="21" y="5"/>
                    <a:pt x="21" y="5"/>
                  </a:cubicBezTo>
                  <a:cubicBezTo>
                    <a:pt x="20" y="4"/>
                    <a:pt x="20" y="4"/>
                    <a:pt x="20" y="4"/>
                  </a:cubicBezTo>
                  <a:cubicBezTo>
                    <a:pt x="20" y="4"/>
                    <a:pt x="20" y="4"/>
                    <a:pt x="20" y="4"/>
                  </a:cubicBezTo>
                  <a:cubicBezTo>
                    <a:pt x="20" y="4"/>
                    <a:pt x="20" y="4"/>
                    <a:pt x="20" y="3"/>
                  </a:cubicBezTo>
                  <a:cubicBezTo>
                    <a:pt x="20" y="3"/>
                    <a:pt x="20" y="3"/>
                    <a:pt x="20" y="3"/>
                  </a:cubicBezTo>
                  <a:cubicBezTo>
                    <a:pt x="20" y="3"/>
                    <a:pt x="19" y="3"/>
                    <a:pt x="19" y="3"/>
                  </a:cubicBezTo>
                  <a:cubicBezTo>
                    <a:pt x="19" y="3"/>
                    <a:pt x="19" y="3"/>
                    <a:pt x="19" y="3"/>
                  </a:cubicBezTo>
                  <a:cubicBezTo>
                    <a:pt x="19" y="3"/>
                    <a:pt x="19" y="3"/>
                    <a:pt x="19" y="3"/>
                  </a:cubicBezTo>
                  <a:cubicBezTo>
                    <a:pt x="15" y="2"/>
                    <a:pt x="15" y="2"/>
                    <a:pt x="15" y="2"/>
                  </a:cubicBezTo>
                  <a:cubicBezTo>
                    <a:pt x="15" y="2"/>
                    <a:pt x="15" y="2"/>
                    <a:pt x="15" y="2"/>
                  </a:cubicBezTo>
                  <a:cubicBezTo>
                    <a:pt x="15" y="2"/>
                    <a:pt x="15" y="2"/>
                    <a:pt x="15" y="2"/>
                  </a:cubicBezTo>
                  <a:cubicBezTo>
                    <a:pt x="13" y="1"/>
                    <a:pt x="13" y="1"/>
                    <a:pt x="13" y="1"/>
                  </a:cubicBezTo>
                  <a:cubicBezTo>
                    <a:pt x="11" y="1"/>
                    <a:pt x="10" y="0"/>
                    <a:pt x="8" y="0"/>
                  </a:cubicBezTo>
                  <a:cubicBezTo>
                    <a:pt x="7" y="0"/>
                    <a:pt x="6" y="0"/>
                    <a:pt x="5" y="1"/>
                  </a:cubicBezTo>
                  <a:cubicBezTo>
                    <a:pt x="5" y="1"/>
                    <a:pt x="5" y="1"/>
                    <a:pt x="5" y="1"/>
                  </a:cubicBezTo>
                  <a:cubicBezTo>
                    <a:pt x="5" y="1"/>
                    <a:pt x="5" y="1"/>
                    <a:pt x="5" y="1"/>
                  </a:cubicBezTo>
                  <a:cubicBezTo>
                    <a:pt x="4" y="1"/>
                    <a:pt x="4" y="1"/>
                    <a:pt x="4" y="1"/>
                  </a:cubicBezTo>
                  <a:cubicBezTo>
                    <a:pt x="4" y="1"/>
                    <a:pt x="4" y="1"/>
                    <a:pt x="3" y="0"/>
                  </a:cubicBezTo>
                  <a:cubicBezTo>
                    <a:pt x="3" y="0"/>
                    <a:pt x="2" y="0"/>
                    <a:pt x="1" y="1"/>
                  </a:cubicBezTo>
                  <a:cubicBezTo>
                    <a:pt x="0" y="2"/>
                    <a:pt x="0" y="3"/>
                    <a:pt x="1" y="4"/>
                  </a:cubicBezTo>
                  <a:cubicBezTo>
                    <a:pt x="2" y="4"/>
                    <a:pt x="3" y="5"/>
                    <a:pt x="4" y="5"/>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3" name="Freeform 214">
              <a:extLst>
                <a:ext uri="{FF2B5EF4-FFF2-40B4-BE49-F238E27FC236}">
                  <a16:creationId xmlns:a16="http://schemas.microsoft.com/office/drawing/2014/main" id="{DA34DE47-6FA8-059A-2C54-0F51DC0AD378}"/>
                </a:ext>
              </a:extLst>
            </p:cNvPr>
            <p:cNvSpPr>
              <a:spLocks/>
            </p:cNvSpPr>
            <p:nvPr/>
          </p:nvSpPr>
          <p:spPr bwMode="auto">
            <a:xfrm>
              <a:off x="3763651" y="3984972"/>
              <a:ext cx="34001"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4" name="Freeform 119">
              <a:extLst>
                <a:ext uri="{FF2B5EF4-FFF2-40B4-BE49-F238E27FC236}">
                  <a16:creationId xmlns:a16="http://schemas.microsoft.com/office/drawing/2014/main" id="{FE2B4EE4-B862-2ABF-5BBF-47722ABB01B7}"/>
                </a:ext>
              </a:extLst>
            </p:cNvPr>
            <p:cNvSpPr>
              <a:spLocks/>
            </p:cNvSpPr>
            <p:nvPr/>
          </p:nvSpPr>
          <p:spPr bwMode="auto">
            <a:xfrm>
              <a:off x="2691677" y="4413680"/>
              <a:ext cx="569053" cy="313468"/>
            </a:xfrm>
            <a:custGeom>
              <a:avLst/>
              <a:gdLst>
                <a:gd name="T0" fmla="*/ 195 w 204"/>
                <a:gd name="T1" fmla="*/ 55 h 111"/>
                <a:gd name="T2" fmla="*/ 193 w 204"/>
                <a:gd name="T3" fmla="*/ 51 h 111"/>
                <a:gd name="T4" fmla="*/ 181 w 204"/>
                <a:gd name="T5" fmla="*/ 47 h 111"/>
                <a:gd name="T6" fmla="*/ 172 w 204"/>
                <a:gd name="T7" fmla="*/ 47 h 111"/>
                <a:gd name="T8" fmla="*/ 169 w 204"/>
                <a:gd name="T9" fmla="*/ 36 h 111"/>
                <a:gd name="T10" fmla="*/ 159 w 204"/>
                <a:gd name="T11" fmla="*/ 35 h 111"/>
                <a:gd name="T12" fmla="*/ 154 w 204"/>
                <a:gd name="T13" fmla="*/ 32 h 111"/>
                <a:gd name="T14" fmla="*/ 146 w 204"/>
                <a:gd name="T15" fmla="*/ 33 h 111"/>
                <a:gd name="T16" fmla="*/ 140 w 204"/>
                <a:gd name="T17" fmla="*/ 41 h 111"/>
                <a:gd name="T18" fmla="*/ 128 w 204"/>
                <a:gd name="T19" fmla="*/ 32 h 111"/>
                <a:gd name="T20" fmla="*/ 123 w 204"/>
                <a:gd name="T21" fmla="*/ 28 h 111"/>
                <a:gd name="T22" fmla="*/ 125 w 204"/>
                <a:gd name="T23" fmla="*/ 18 h 111"/>
                <a:gd name="T24" fmla="*/ 116 w 204"/>
                <a:gd name="T25" fmla="*/ 17 h 111"/>
                <a:gd name="T26" fmla="*/ 102 w 204"/>
                <a:gd name="T27" fmla="*/ 12 h 111"/>
                <a:gd name="T28" fmla="*/ 96 w 204"/>
                <a:gd name="T29" fmla="*/ 9 h 111"/>
                <a:gd name="T30" fmla="*/ 88 w 204"/>
                <a:gd name="T31" fmla="*/ 3 h 111"/>
                <a:gd name="T32" fmla="*/ 82 w 204"/>
                <a:gd name="T33" fmla="*/ 9 h 111"/>
                <a:gd name="T34" fmla="*/ 75 w 204"/>
                <a:gd name="T35" fmla="*/ 7 h 111"/>
                <a:gd name="T36" fmla="*/ 71 w 204"/>
                <a:gd name="T37" fmla="*/ 1 h 111"/>
                <a:gd name="T38" fmla="*/ 66 w 204"/>
                <a:gd name="T39" fmla="*/ 8 h 111"/>
                <a:gd name="T40" fmla="*/ 48 w 204"/>
                <a:gd name="T41" fmla="*/ 15 h 111"/>
                <a:gd name="T42" fmla="*/ 35 w 204"/>
                <a:gd name="T43" fmla="*/ 21 h 111"/>
                <a:gd name="T44" fmla="*/ 26 w 204"/>
                <a:gd name="T45" fmla="*/ 28 h 111"/>
                <a:gd name="T46" fmla="*/ 14 w 204"/>
                <a:gd name="T47" fmla="*/ 29 h 111"/>
                <a:gd name="T48" fmla="*/ 5 w 204"/>
                <a:gd name="T49" fmla="*/ 36 h 111"/>
                <a:gd name="T50" fmla="*/ 0 w 204"/>
                <a:gd name="T51" fmla="*/ 33 h 111"/>
                <a:gd name="T52" fmla="*/ 3 w 204"/>
                <a:gd name="T53" fmla="*/ 41 h 111"/>
                <a:gd name="T54" fmla="*/ 13 w 204"/>
                <a:gd name="T55" fmla="*/ 51 h 111"/>
                <a:gd name="T56" fmla="*/ 14 w 204"/>
                <a:gd name="T57" fmla="*/ 65 h 111"/>
                <a:gd name="T58" fmla="*/ 24 w 204"/>
                <a:gd name="T59" fmla="*/ 76 h 111"/>
                <a:gd name="T60" fmla="*/ 38 w 204"/>
                <a:gd name="T61" fmla="*/ 87 h 111"/>
                <a:gd name="T62" fmla="*/ 44 w 204"/>
                <a:gd name="T63" fmla="*/ 92 h 111"/>
                <a:gd name="T64" fmla="*/ 53 w 204"/>
                <a:gd name="T65" fmla="*/ 101 h 111"/>
                <a:gd name="T66" fmla="*/ 72 w 204"/>
                <a:gd name="T67" fmla="*/ 107 h 111"/>
                <a:gd name="T68" fmla="*/ 82 w 204"/>
                <a:gd name="T69" fmla="*/ 101 h 111"/>
                <a:gd name="T70" fmla="*/ 92 w 204"/>
                <a:gd name="T71" fmla="*/ 90 h 111"/>
                <a:gd name="T72" fmla="*/ 106 w 204"/>
                <a:gd name="T73" fmla="*/ 95 h 111"/>
                <a:gd name="T74" fmla="*/ 118 w 204"/>
                <a:gd name="T75" fmla="*/ 100 h 111"/>
                <a:gd name="T76" fmla="*/ 136 w 204"/>
                <a:gd name="T77" fmla="*/ 100 h 111"/>
                <a:gd name="T78" fmla="*/ 147 w 204"/>
                <a:gd name="T79" fmla="*/ 107 h 111"/>
                <a:gd name="T80" fmla="*/ 174 w 204"/>
                <a:gd name="T81" fmla="*/ 94 h 111"/>
                <a:gd name="T82" fmla="*/ 183 w 204"/>
                <a:gd name="T83" fmla="*/ 79 h 111"/>
                <a:gd name="T84" fmla="*/ 198 w 204"/>
                <a:gd name="T85" fmla="*/ 6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111">
                  <a:moveTo>
                    <a:pt x="202" y="61"/>
                  </a:moveTo>
                  <a:cubicBezTo>
                    <a:pt x="201" y="60"/>
                    <a:pt x="201" y="61"/>
                    <a:pt x="200" y="61"/>
                  </a:cubicBezTo>
                  <a:cubicBezTo>
                    <a:pt x="198" y="60"/>
                    <a:pt x="196" y="58"/>
                    <a:pt x="195" y="55"/>
                  </a:cubicBezTo>
                  <a:cubicBezTo>
                    <a:pt x="194" y="54"/>
                    <a:pt x="195" y="54"/>
                    <a:pt x="195" y="53"/>
                  </a:cubicBezTo>
                  <a:cubicBezTo>
                    <a:pt x="195" y="52"/>
                    <a:pt x="194" y="52"/>
                    <a:pt x="194" y="51"/>
                  </a:cubicBezTo>
                  <a:cubicBezTo>
                    <a:pt x="194" y="49"/>
                    <a:pt x="193" y="51"/>
                    <a:pt x="193" y="51"/>
                  </a:cubicBezTo>
                  <a:cubicBezTo>
                    <a:pt x="191" y="51"/>
                    <a:pt x="190" y="49"/>
                    <a:pt x="188" y="50"/>
                  </a:cubicBezTo>
                  <a:cubicBezTo>
                    <a:pt x="186" y="50"/>
                    <a:pt x="186" y="50"/>
                    <a:pt x="185" y="49"/>
                  </a:cubicBezTo>
                  <a:cubicBezTo>
                    <a:pt x="184" y="48"/>
                    <a:pt x="182" y="48"/>
                    <a:pt x="181" y="47"/>
                  </a:cubicBezTo>
                  <a:cubicBezTo>
                    <a:pt x="179" y="46"/>
                    <a:pt x="180" y="46"/>
                    <a:pt x="179" y="45"/>
                  </a:cubicBezTo>
                  <a:cubicBezTo>
                    <a:pt x="176" y="43"/>
                    <a:pt x="178" y="46"/>
                    <a:pt x="178" y="46"/>
                  </a:cubicBezTo>
                  <a:cubicBezTo>
                    <a:pt x="177" y="48"/>
                    <a:pt x="173" y="48"/>
                    <a:pt x="172" y="47"/>
                  </a:cubicBezTo>
                  <a:cubicBezTo>
                    <a:pt x="171" y="46"/>
                    <a:pt x="168" y="44"/>
                    <a:pt x="169" y="42"/>
                  </a:cubicBezTo>
                  <a:cubicBezTo>
                    <a:pt x="168" y="42"/>
                    <a:pt x="166" y="42"/>
                    <a:pt x="165" y="41"/>
                  </a:cubicBezTo>
                  <a:cubicBezTo>
                    <a:pt x="163" y="38"/>
                    <a:pt x="170" y="40"/>
                    <a:pt x="169" y="36"/>
                  </a:cubicBezTo>
                  <a:cubicBezTo>
                    <a:pt x="169" y="35"/>
                    <a:pt x="168" y="31"/>
                    <a:pt x="167" y="34"/>
                  </a:cubicBezTo>
                  <a:cubicBezTo>
                    <a:pt x="166" y="36"/>
                    <a:pt x="164" y="35"/>
                    <a:pt x="163" y="35"/>
                  </a:cubicBezTo>
                  <a:cubicBezTo>
                    <a:pt x="161" y="35"/>
                    <a:pt x="160" y="36"/>
                    <a:pt x="159" y="35"/>
                  </a:cubicBezTo>
                  <a:cubicBezTo>
                    <a:pt x="158" y="34"/>
                    <a:pt x="158" y="36"/>
                    <a:pt x="157" y="35"/>
                  </a:cubicBezTo>
                  <a:cubicBezTo>
                    <a:pt x="157" y="35"/>
                    <a:pt x="157" y="34"/>
                    <a:pt x="157" y="33"/>
                  </a:cubicBezTo>
                  <a:cubicBezTo>
                    <a:pt x="157" y="33"/>
                    <a:pt x="155" y="33"/>
                    <a:pt x="154" y="32"/>
                  </a:cubicBezTo>
                  <a:cubicBezTo>
                    <a:pt x="153" y="32"/>
                    <a:pt x="153" y="30"/>
                    <a:pt x="152" y="30"/>
                  </a:cubicBezTo>
                  <a:cubicBezTo>
                    <a:pt x="151" y="30"/>
                    <a:pt x="142" y="26"/>
                    <a:pt x="143" y="29"/>
                  </a:cubicBezTo>
                  <a:cubicBezTo>
                    <a:pt x="144" y="31"/>
                    <a:pt x="145" y="32"/>
                    <a:pt x="146" y="33"/>
                  </a:cubicBezTo>
                  <a:cubicBezTo>
                    <a:pt x="146" y="34"/>
                    <a:pt x="147" y="37"/>
                    <a:pt x="147" y="37"/>
                  </a:cubicBezTo>
                  <a:cubicBezTo>
                    <a:pt x="145" y="35"/>
                    <a:pt x="144" y="38"/>
                    <a:pt x="143" y="38"/>
                  </a:cubicBezTo>
                  <a:cubicBezTo>
                    <a:pt x="142" y="38"/>
                    <a:pt x="141" y="38"/>
                    <a:pt x="140" y="41"/>
                  </a:cubicBezTo>
                  <a:cubicBezTo>
                    <a:pt x="138" y="43"/>
                    <a:pt x="136" y="43"/>
                    <a:pt x="134" y="40"/>
                  </a:cubicBezTo>
                  <a:cubicBezTo>
                    <a:pt x="133" y="38"/>
                    <a:pt x="133" y="37"/>
                    <a:pt x="131" y="35"/>
                  </a:cubicBezTo>
                  <a:cubicBezTo>
                    <a:pt x="130" y="34"/>
                    <a:pt x="129" y="33"/>
                    <a:pt x="128" y="32"/>
                  </a:cubicBezTo>
                  <a:cubicBezTo>
                    <a:pt x="128" y="31"/>
                    <a:pt x="127" y="31"/>
                    <a:pt x="127" y="30"/>
                  </a:cubicBezTo>
                  <a:cubicBezTo>
                    <a:pt x="126" y="30"/>
                    <a:pt x="126" y="30"/>
                    <a:pt x="125" y="30"/>
                  </a:cubicBezTo>
                  <a:cubicBezTo>
                    <a:pt x="124" y="30"/>
                    <a:pt x="124" y="29"/>
                    <a:pt x="123" y="28"/>
                  </a:cubicBezTo>
                  <a:cubicBezTo>
                    <a:pt x="121" y="27"/>
                    <a:pt x="127" y="25"/>
                    <a:pt x="128" y="24"/>
                  </a:cubicBezTo>
                  <a:cubicBezTo>
                    <a:pt x="129" y="23"/>
                    <a:pt x="130" y="21"/>
                    <a:pt x="128" y="19"/>
                  </a:cubicBezTo>
                  <a:cubicBezTo>
                    <a:pt x="127" y="18"/>
                    <a:pt x="127" y="18"/>
                    <a:pt x="125" y="18"/>
                  </a:cubicBezTo>
                  <a:cubicBezTo>
                    <a:pt x="123" y="17"/>
                    <a:pt x="123" y="20"/>
                    <a:pt x="121" y="18"/>
                  </a:cubicBezTo>
                  <a:cubicBezTo>
                    <a:pt x="119" y="17"/>
                    <a:pt x="119" y="19"/>
                    <a:pt x="117" y="20"/>
                  </a:cubicBezTo>
                  <a:cubicBezTo>
                    <a:pt x="116" y="21"/>
                    <a:pt x="116" y="18"/>
                    <a:pt x="116" y="17"/>
                  </a:cubicBezTo>
                  <a:cubicBezTo>
                    <a:pt x="115" y="16"/>
                    <a:pt x="113" y="17"/>
                    <a:pt x="112" y="16"/>
                  </a:cubicBezTo>
                  <a:cubicBezTo>
                    <a:pt x="111" y="16"/>
                    <a:pt x="111" y="14"/>
                    <a:pt x="109" y="14"/>
                  </a:cubicBezTo>
                  <a:cubicBezTo>
                    <a:pt x="107" y="14"/>
                    <a:pt x="104" y="13"/>
                    <a:pt x="102" y="12"/>
                  </a:cubicBezTo>
                  <a:cubicBezTo>
                    <a:pt x="102" y="12"/>
                    <a:pt x="100" y="11"/>
                    <a:pt x="99" y="11"/>
                  </a:cubicBezTo>
                  <a:cubicBezTo>
                    <a:pt x="99" y="12"/>
                    <a:pt x="98" y="12"/>
                    <a:pt x="97" y="12"/>
                  </a:cubicBezTo>
                  <a:cubicBezTo>
                    <a:pt x="97" y="13"/>
                    <a:pt x="97" y="10"/>
                    <a:pt x="96" y="9"/>
                  </a:cubicBezTo>
                  <a:cubicBezTo>
                    <a:pt x="93" y="7"/>
                    <a:pt x="95" y="4"/>
                    <a:pt x="92" y="4"/>
                  </a:cubicBezTo>
                  <a:cubicBezTo>
                    <a:pt x="91" y="3"/>
                    <a:pt x="90" y="2"/>
                    <a:pt x="90" y="3"/>
                  </a:cubicBezTo>
                  <a:cubicBezTo>
                    <a:pt x="90" y="3"/>
                    <a:pt x="89" y="3"/>
                    <a:pt x="88" y="3"/>
                  </a:cubicBezTo>
                  <a:cubicBezTo>
                    <a:pt x="84" y="0"/>
                    <a:pt x="87" y="5"/>
                    <a:pt x="86" y="6"/>
                  </a:cubicBezTo>
                  <a:cubicBezTo>
                    <a:pt x="86" y="7"/>
                    <a:pt x="86" y="8"/>
                    <a:pt x="86" y="9"/>
                  </a:cubicBezTo>
                  <a:cubicBezTo>
                    <a:pt x="85" y="10"/>
                    <a:pt x="83" y="9"/>
                    <a:pt x="82" y="9"/>
                  </a:cubicBezTo>
                  <a:cubicBezTo>
                    <a:pt x="80" y="8"/>
                    <a:pt x="81" y="10"/>
                    <a:pt x="79" y="11"/>
                  </a:cubicBezTo>
                  <a:cubicBezTo>
                    <a:pt x="78" y="11"/>
                    <a:pt x="76" y="10"/>
                    <a:pt x="76" y="10"/>
                  </a:cubicBezTo>
                  <a:cubicBezTo>
                    <a:pt x="74" y="9"/>
                    <a:pt x="75" y="8"/>
                    <a:pt x="75" y="7"/>
                  </a:cubicBezTo>
                  <a:cubicBezTo>
                    <a:pt x="75" y="6"/>
                    <a:pt x="74" y="7"/>
                    <a:pt x="73" y="6"/>
                  </a:cubicBezTo>
                  <a:cubicBezTo>
                    <a:pt x="73" y="6"/>
                    <a:pt x="74" y="5"/>
                    <a:pt x="73" y="3"/>
                  </a:cubicBezTo>
                  <a:cubicBezTo>
                    <a:pt x="72" y="3"/>
                    <a:pt x="71" y="2"/>
                    <a:pt x="71" y="1"/>
                  </a:cubicBezTo>
                  <a:cubicBezTo>
                    <a:pt x="69" y="3"/>
                    <a:pt x="67" y="1"/>
                    <a:pt x="65" y="1"/>
                  </a:cubicBezTo>
                  <a:cubicBezTo>
                    <a:pt x="64" y="3"/>
                    <a:pt x="64" y="4"/>
                    <a:pt x="66" y="4"/>
                  </a:cubicBezTo>
                  <a:cubicBezTo>
                    <a:pt x="65" y="5"/>
                    <a:pt x="71" y="7"/>
                    <a:pt x="66" y="8"/>
                  </a:cubicBezTo>
                  <a:cubicBezTo>
                    <a:pt x="63" y="9"/>
                    <a:pt x="61" y="10"/>
                    <a:pt x="58" y="11"/>
                  </a:cubicBezTo>
                  <a:cubicBezTo>
                    <a:pt x="57" y="11"/>
                    <a:pt x="54" y="11"/>
                    <a:pt x="53" y="13"/>
                  </a:cubicBezTo>
                  <a:cubicBezTo>
                    <a:pt x="52" y="15"/>
                    <a:pt x="50" y="15"/>
                    <a:pt x="48" y="15"/>
                  </a:cubicBezTo>
                  <a:cubicBezTo>
                    <a:pt x="47" y="15"/>
                    <a:pt x="46" y="15"/>
                    <a:pt x="45" y="15"/>
                  </a:cubicBezTo>
                  <a:cubicBezTo>
                    <a:pt x="41" y="16"/>
                    <a:pt x="43" y="20"/>
                    <a:pt x="39" y="20"/>
                  </a:cubicBezTo>
                  <a:cubicBezTo>
                    <a:pt x="37" y="19"/>
                    <a:pt x="36" y="22"/>
                    <a:pt x="35" y="21"/>
                  </a:cubicBezTo>
                  <a:cubicBezTo>
                    <a:pt x="33" y="21"/>
                    <a:pt x="33" y="24"/>
                    <a:pt x="31" y="25"/>
                  </a:cubicBezTo>
                  <a:cubicBezTo>
                    <a:pt x="30" y="25"/>
                    <a:pt x="28" y="24"/>
                    <a:pt x="27" y="26"/>
                  </a:cubicBezTo>
                  <a:cubicBezTo>
                    <a:pt x="26" y="27"/>
                    <a:pt x="27" y="28"/>
                    <a:pt x="26" y="28"/>
                  </a:cubicBezTo>
                  <a:cubicBezTo>
                    <a:pt x="24" y="30"/>
                    <a:pt x="22" y="27"/>
                    <a:pt x="21" y="27"/>
                  </a:cubicBezTo>
                  <a:cubicBezTo>
                    <a:pt x="19" y="27"/>
                    <a:pt x="19" y="29"/>
                    <a:pt x="18" y="29"/>
                  </a:cubicBezTo>
                  <a:cubicBezTo>
                    <a:pt x="17" y="30"/>
                    <a:pt x="16" y="29"/>
                    <a:pt x="14" y="29"/>
                  </a:cubicBezTo>
                  <a:cubicBezTo>
                    <a:pt x="12" y="30"/>
                    <a:pt x="10" y="31"/>
                    <a:pt x="8" y="34"/>
                  </a:cubicBezTo>
                  <a:cubicBezTo>
                    <a:pt x="8" y="34"/>
                    <a:pt x="6" y="39"/>
                    <a:pt x="6" y="39"/>
                  </a:cubicBezTo>
                  <a:cubicBezTo>
                    <a:pt x="5" y="38"/>
                    <a:pt x="5" y="36"/>
                    <a:pt x="5" y="36"/>
                  </a:cubicBezTo>
                  <a:cubicBezTo>
                    <a:pt x="4" y="35"/>
                    <a:pt x="3" y="35"/>
                    <a:pt x="3" y="35"/>
                  </a:cubicBezTo>
                  <a:cubicBezTo>
                    <a:pt x="3" y="34"/>
                    <a:pt x="3" y="34"/>
                    <a:pt x="2" y="33"/>
                  </a:cubicBezTo>
                  <a:cubicBezTo>
                    <a:pt x="2" y="33"/>
                    <a:pt x="1" y="33"/>
                    <a:pt x="0" y="33"/>
                  </a:cubicBezTo>
                  <a:cubicBezTo>
                    <a:pt x="1" y="34"/>
                    <a:pt x="0" y="35"/>
                    <a:pt x="0" y="35"/>
                  </a:cubicBezTo>
                  <a:cubicBezTo>
                    <a:pt x="0" y="37"/>
                    <a:pt x="2" y="37"/>
                    <a:pt x="2" y="38"/>
                  </a:cubicBezTo>
                  <a:cubicBezTo>
                    <a:pt x="3" y="39"/>
                    <a:pt x="2" y="40"/>
                    <a:pt x="3" y="41"/>
                  </a:cubicBezTo>
                  <a:cubicBezTo>
                    <a:pt x="3" y="43"/>
                    <a:pt x="5" y="45"/>
                    <a:pt x="7" y="45"/>
                  </a:cubicBezTo>
                  <a:cubicBezTo>
                    <a:pt x="8" y="46"/>
                    <a:pt x="12" y="47"/>
                    <a:pt x="12" y="49"/>
                  </a:cubicBezTo>
                  <a:cubicBezTo>
                    <a:pt x="11" y="50"/>
                    <a:pt x="13" y="50"/>
                    <a:pt x="13" y="51"/>
                  </a:cubicBezTo>
                  <a:cubicBezTo>
                    <a:pt x="13" y="52"/>
                    <a:pt x="11" y="56"/>
                    <a:pt x="10" y="57"/>
                  </a:cubicBezTo>
                  <a:cubicBezTo>
                    <a:pt x="8" y="58"/>
                    <a:pt x="10" y="60"/>
                    <a:pt x="11" y="60"/>
                  </a:cubicBezTo>
                  <a:cubicBezTo>
                    <a:pt x="12" y="61"/>
                    <a:pt x="14" y="63"/>
                    <a:pt x="14" y="65"/>
                  </a:cubicBezTo>
                  <a:cubicBezTo>
                    <a:pt x="15" y="66"/>
                    <a:pt x="16" y="67"/>
                    <a:pt x="16" y="68"/>
                  </a:cubicBezTo>
                  <a:cubicBezTo>
                    <a:pt x="17" y="70"/>
                    <a:pt x="17" y="72"/>
                    <a:pt x="20" y="74"/>
                  </a:cubicBezTo>
                  <a:cubicBezTo>
                    <a:pt x="21" y="76"/>
                    <a:pt x="23" y="76"/>
                    <a:pt x="24" y="76"/>
                  </a:cubicBezTo>
                  <a:cubicBezTo>
                    <a:pt x="25" y="76"/>
                    <a:pt x="27" y="77"/>
                    <a:pt x="28" y="78"/>
                  </a:cubicBezTo>
                  <a:cubicBezTo>
                    <a:pt x="30" y="80"/>
                    <a:pt x="31" y="82"/>
                    <a:pt x="33" y="84"/>
                  </a:cubicBezTo>
                  <a:cubicBezTo>
                    <a:pt x="34" y="86"/>
                    <a:pt x="36" y="85"/>
                    <a:pt x="38" y="87"/>
                  </a:cubicBezTo>
                  <a:cubicBezTo>
                    <a:pt x="38" y="88"/>
                    <a:pt x="39" y="88"/>
                    <a:pt x="39" y="89"/>
                  </a:cubicBezTo>
                  <a:cubicBezTo>
                    <a:pt x="39" y="89"/>
                    <a:pt x="39" y="90"/>
                    <a:pt x="40" y="91"/>
                  </a:cubicBezTo>
                  <a:cubicBezTo>
                    <a:pt x="41" y="92"/>
                    <a:pt x="42" y="93"/>
                    <a:pt x="44" y="92"/>
                  </a:cubicBezTo>
                  <a:cubicBezTo>
                    <a:pt x="45" y="91"/>
                    <a:pt x="47" y="94"/>
                    <a:pt x="48" y="95"/>
                  </a:cubicBezTo>
                  <a:cubicBezTo>
                    <a:pt x="49" y="96"/>
                    <a:pt x="50" y="96"/>
                    <a:pt x="51" y="98"/>
                  </a:cubicBezTo>
                  <a:cubicBezTo>
                    <a:pt x="52" y="99"/>
                    <a:pt x="52" y="100"/>
                    <a:pt x="53" y="101"/>
                  </a:cubicBezTo>
                  <a:cubicBezTo>
                    <a:pt x="55" y="101"/>
                    <a:pt x="59" y="103"/>
                    <a:pt x="59" y="105"/>
                  </a:cubicBezTo>
                  <a:cubicBezTo>
                    <a:pt x="57" y="108"/>
                    <a:pt x="64" y="108"/>
                    <a:pt x="67" y="110"/>
                  </a:cubicBezTo>
                  <a:cubicBezTo>
                    <a:pt x="70" y="111"/>
                    <a:pt x="70" y="108"/>
                    <a:pt x="72" y="107"/>
                  </a:cubicBezTo>
                  <a:cubicBezTo>
                    <a:pt x="73" y="106"/>
                    <a:pt x="74" y="108"/>
                    <a:pt x="77" y="108"/>
                  </a:cubicBezTo>
                  <a:cubicBezTo>
                    <a:pt x="79" y="108"/>
                    <a:pt x="80" y="110"/>
                    <a:pt x="80" y="106"/>
                  </a:cubicBezTo>
                  <a:cubicBezTo>
                    <a:pt x="80" y="105"/>
                    <a:pt x="81" y="102"/>
                    <a:pt x="82" y="101"/>
                  </a:cubicBezTo>
                  <a:cubicBezTo>
                    <a:pt x="84" y="99"/>
                    <a:pt x="86" y="102"/>
                    <a:pt x="87" y="100"/>
                  </a:cubicBezTo>
                  <a:cubicBezTo>
                    <a:pt x="88" y="98"/>
                    <a:pt x="88" y="95"/>
                    <a:pt x="88" y="94"/>
                  </a:cubicBezTo>
                  <a:cubicBezTo>
                    <a:pt x="87" y="89"/>
                    <a:pt x="90" y="89"/>
                    <a:pt x="92" y="90"/>
                  </a:cubicBezTo>
                  <a:cubicBezTo>
                    <a:pt x="94" y="90"/>
                    <a:pt x="92" y="93"/>
                    <a:pt x="93" y="93"/>
                  </a:cubicBezTo>
                  <a:cubicBezTo>
                    <a:pt x="94" y="94"/>
                    <a:pt x="97" y="91"/>
                    <a:pt x="98" y="92"/>
                  </a:cubicBezTo>
                  <a:cubicBezTo>
                    <a:pt x="101" y="92"/>
                    <a:pt x="103" y="94"/>
                    <a:pt x="106" y="95"/>
                  </a:cubicBezTo>
                  <a:cubicBezTo>
                    <a:pt x="107" y="96"/>
                    <a:pt x="108" y="97"/>
                    <a:pt x="110" y="97"/>
                  </a:cubicBezTo>
                  <a:cubicBezTo>
                    <a:pt x="111" y="97"/>
                    <a:pt x="112" y="96"/>
                    <a:pt x="112" y="96"/>
                  </a:cubicBezTo>
                  <a:cubicBezTo>
                    <a:pt x="115" y="96"/>
                    <a:pt x="116" y="98"/>
                    <a:pt x="118" y="100"/>
                  </a:cubicBezTo>
                  <a:cubicBezTo>
                    <a:pt x="120" y="101"/>
                    <a:pt x="124" y="103"/>
                    <a:pt x="127" y="103"/>
                  </a:cubicBezTo>
                  <a:cubicBezTo>
                    <a:pt x="129" y="103"/>
                    <a:pt x="130" y="102"/>
                    <a:pt x="131" y="101"/>
                  </a:cubicBezTo>
                  <a:cubicBezTo>
                    <a:pt x="133" y="99"/>
                    <a:pt x="134" y="99"/>
                    <a:pt x="136" y="100"/>
                  </a:cubicBezTo>
                  <a:cubicBezTo>
                    <a:pt x="139" y="100"/>
                    <a:pt x="139" y="102"/>
                    <a:pt x="140" y="102"/>
                  </a:cubicBezTo>
                  <a:cubicBezTo>
                    <a:pt x="142" y="103"/>
                    <a:pt x="144" y="102"/>
                    <a:pt x="146" y="103"/>
                  </a:cubicBezTo>
                  <a:cubicBezTo>
                    <a:pt x="146" y="104"/>
                    <a:pt x="147" y="107"/>
                    <a:pt x="147" y="107"/>
                  </a:cubicBezTo>
                  <a:cubicBezTo>
                    <a:pt x="151" y="105"/>
                    <a:pt x="151" y="94"/>
                    <a:pt x="157" y="97"/>
                  </a:cubicBezTo>
                  <a:cubicBezTo>
                    <a:pt x="161" y="99"/>
                    <a:pt x="164" y="98"/>
                    <a:pt x="169" y="97"/>
                  </a:cubicBezTo>
                  <a:cubicBezTo>
                    <a:pt x="171" y="97"/>
                    <a:pt x="172" y="94"/>
                    <a:pt x="174" y="94"/>
                  </a:cubicBezTo>
                  <a:cubicBezTo>
                    <a:pt x="176" y="93"/>
                    <a:pt x="176" y="91"/>
                    <a:pt x="177" y="90"/>
                  </a:cubicBezTo>
                  <a:cubicBezTo>
                    <a:pt x="179" y="89"/>
                    <a:pt x="182" y="90"/>
                    <a:pt x="182" y="86"/>
                  </a:cubicBezTo>
                  <a:cubicBezTo>
                    <a:pt x="182" y="84"/>
                    <a:pt x="182" y="81"/>
                    <a:pt x="183" y="79"/>
                  </a:cubicBezTo>
                  <a:cubicBezTo>
                    <a:pt x="185" y="78"/>
                    <a:pt x="192" y="76"/>
                    <a:pt x="190" y="73"/>
                  </a:cubicBezTo>
                  <a:cubicBezTo>
                    <a:pt x="191" y="73"/>
                    <a:pt x="193" y="72"/>
                    <a:pt x="194" y="70"/>
                  </a:cubicBezTo>
                  <a:cubicBezTo>
                    <a:pt x="195" y="69"/>
                    <a:pt x="197" y="69"/>
                    <a:pt x="198" y="69"/>
                  </a:cubicBezTo>
                  <a:cubicBezTo>
                    <a:pt x="200" y="69"/>
                    <a:pt x="204" y="69"/>
                    <a:pt x="203" y="66"/>
                  </a:cubicBezTo>
                  <a:cubicBezTo>
                    <a:pt x="203" y="64"/>
                    <a:pt x="202" y="63"/>
                    <a:pt x="202" y="61"/>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5" name="Freeform 118">
              <a:extLst>
                <a:ext uri="{FF2B5EF4-FFF2-40B4-BE49-F238E27FC236}">
                  <a16:creationId xmlns:a16="http://schemas.microsoft.com/office/drawing/2014/main" id="{C98E73A2-260C-8EFB-1477-8A0EFF313693}"/>
                </a:ext>
              </a:extLst>
            </p:cNvPr>
            <p:cNvSpPr>
              <a:spLocks/>
            </p:cNvSpPr>
            <p:nvPr/>
          </p:nvSpPr>
          <p:spPr bwMode="auto">
            <a:xfrm>
              <a:off x="2470904" y="4662785"/>
              <a:ext cx="654057" cy="332538"/>
            </a:xfrm>
            <a:custGeom>
              <a:avLst/>
              <a:gdLst>
                <a:gd name="T0" fmla="*/ 231 w 234"/>
                <a:gd name="T1" fmla="*/ 43 h 118"/>
                <a:gd name="T2" fmla="*/ 228 w 234"/>
                <a:gd name="T3" fmla="*/ 38 h 118"/>
                <a:gd name="T4" fmla="*/ 224 w 234"/>
                <a:gd name="T5" fmla="*/ 31 h 118"/>
                <a:gd name="T6" fmla="*/ 223 w 234"/>
                <a:gd name="T7" fmla="*/ 15 h 118"/>
                <a:gd name="T8" fmla="*/ 218 w 234"/>
                <a:gd name="T9" fmla="*/ 12 h 118"/>
                <a:gd name="T10" fmla="*/ 203 w 234"/>
                <a:gd name="T11" fmla="*/ 14 h 118"/>
                <a:gd name="T12" fmla="*/ 193 w 234"/>
                <a:gd name="T13" fmla="*/ 8 h 118"/>
                <a:gd name="T14" fmla="*/ 186 w 234"/>
                <a:gd name="T15" fmla="*/ 8 h 118"/>
                <a:gd name="T16" fmla="*/ 172 w 234"/>
                <a:gd name="T17" fmla="*/ 4 h 118"/>
                <a:gd name="T18" fmla="*/ 166 w 234"/>
                <a:gd name="T19" fmla="*/ 11 h 118"/>
                <a:gd name="T20" fmla="*/ 158 w 234"/>
                <a:gd name="T21" fmla="*/ 21 h 118"/>
                <a:gd name="T22" fmla="*/ 148 w 234"/>
                <a:gd name="T23" fmla="*/ 22 h 118"/>
                <a:gd name="T24" fmla="*/ 138 w 234"/>
                <a:gd name="T25" fmla="*/ 17 h 118"/>
                <a:gd name="T26" fmla="*/ 131 w 234"/>
                <a:gd name="T27" fmla="*/ 20 h 118"/>
                <a:gd name="T28" fmla="*/ 116 w 234"/>
                <a:gd name="T29" fmla="*/ 33 h 118"/>
                <a:gd name="T30" fmla="*/ 104 w 234"/>
                <a:gd name="T31" fmla="*/ 38 h 118"/>
                <a:gd name="T32" fmla="*/ 106 w 234"/>
                <a:gd name="T33" fmla="*/ 56 h 118"/>
                <a:gd name="T34" fmla="*/ 109 w 234"/>
                <a:gd name="T35" fmla="*/ 68 h 118"/>
                <a:gd name="T36" fmla="*/ 96 w 234"/>
                <a:gd name="T37" fmla="*/ 61 h 118"/>
                <a:gd name="T38" fmla="*/ 90 w 234"/>
                <a:gd name="T39" fmla="*/ 60 h 118"/>
                <a:gd name="T40" fmla="*/ 85 w 234"/>
                <a:gd name="T41" fmla="*/ 58 h 118"/>
                <a:gd name="T42" fmla="*/ 79 w 234"/>
                <a:gd name="T43" fmla="*/ 64 h 118"/>
                <a:gd name="T44" fmla="*/ 66 w 234"/>
                <a:gd name="T45" fmla="*/ 65 h 118"/>
                <a:gd name="T46" fmla="*/ 59 w 234"/>
                <a:gd name="T47" fmla="*/ 71 h 118"/>
                <a:gd name="T48" fmla="*/ 52 w 234"/>
                <a:gd name="T49" fmla="*/ 72 h 118"/>
                <a:gd name="T50" fmla="*/ 45 w 234"/>
                <a:gd name="T51" fmla="*/ 71 h 118"/>
                <a:gd name="T52" fmla="*/ 43 w 234"/>
                <a:gd name="T53" fmla="*/ 68 h 118"/>
                <a:gd name="T54" fmla="*/ 33 w 234"/>
                <a:gd name="T55" fmla="*/ 66 h 118"/>
                <a:gd name="T56" fmla="*/ 29 w 234"/>
                <a:gd name="T57" fmla="*/ 73 h 118"/>
                <a:gd name="T58" fmla="*/ 22 w 234"/>
                <a:gd name="T59" fmla="*/ 74 h 118"/>
                <a:gd name="T60" fmla="*/ 17 w 234"/>
                <a:gd name="T61" fmla="*/ 69 h 118"/>
                <a:gd name="T62" fmla="*/ 11 w 234"/>
                <a:gd name="T63" fmla="*/ 66 h 118"/>
                <a:gd name="T64" fmla="*/ 3 w 234"/>
                <a:gd name="T65" fmla="*/ 67 h 118"/>
                <a:gd name="T66" fmla="*/ 2 w 234"/>
                <a:gd name="T67" fmla="*/ 78 h 118"/>
                <a:gd name="T68" fmla="*/ 12 w 234"/>
                <a:gd name="T69" fmla="*/ 90 h 118"/>
                <a:gd name="T70" fmla="*/ 20 w 234"/>
                <a:gd name="T71" fmla="*/ 97 h 118"/>
                <a:gd name="T72" fmla="*/ 23 w 234"/>
                <a:gd name="T73" fmla="*/ 94 h 118"/>
                <a:gd name="T74" fmla="*/ 28 w 234"/>
                <a:gd name="T75" fmla="*/ 91 h 118"/>
                <a:gd name="T76" fmla="*/ 36 w 234"/>
                <a:gd name="T77" fmla="*/ 97 h 118"/>
                <a:gd name="T78" fmla="*/ 39 w 234"/>
                <a:gd name="T79" fmla="*/ 100 h 118"/>
                <a:gd name="T80" fmla="*/ 50 w 234"/>
                <a:gd name="T81" fmla="*/ 95 h 118"/>
                <a:gd name="T82" fmla="*/ 63 w 234"/>
                <a:gd name="T83" fmla="*/ 90 h 118"/>
                <a:gd name="T84" fmla="*/ 81 w 234"/>
                <a:gd name="T85" fmla="*/ 87 h 118"/>
                <a:gd name="T86" fmla="*/ 82 w 234"/>
                <a:gd name="T87" fmla="*/ 95 h 118"/>
                <a:gd name="T88" fmla="*/ 90 w 234"/>
                <a:gd name="T89" fmla="*/ 104 h 118"/>
                <a:gd name="T90" fmla="*/ 113 w 234"/>
                <a:gd name="T91" fmla="*/ 109 h 118"/>
                <a:gd name="T92" fmla="*/ 122 w 234"/>
                <a:gd name="T93" fmla="*/ 110 h 118"/>
                <a:gd name="T94" fmla="*/ 142 w 234"/>
                <a:gd name="T95" fmla="*/ 114 h 118"/>
                <a:gd name="T96" fmla="*/ 156 w 234"/>
                <a:gd name="T97" fmla="*/ 118 h 118"/>
                <a:gd name="T98" fmla="*/ 169 w 234"/>
                <a:gd name="T99" fmla="*/ 108 h 118"/>
                <a:gd name="T100" fmla="*/ 183 w 234"/>
                <a:gd name="T101" fmla="*/ 107 h 118"/>
                <a:gd name="T102" fmla="*/ 192 w 234"/>
                <a:gd name="T103" fmla="*/ 104 h 118"/>
                <a:gd name="T104" fmla="*/ 201 w 234"/>
                <a:gd name="T105" fmla="*/ 98 h 118"/>
                <a:gd name="T106" fmla="*/ 215 w 234"/>
                <a:gd name="T107" fmla="*/ 90 h 118"/>
                <a:gd name="T108" fmla="*/ 215 w 234"/>
                <a:gd name="T109" fmla="*/ 88 h 118"/>
                <a:gd name="T110" fmla="*/ 213 w 234"/>
                <a:gd name="T111" fmla="*/ 82 h 118"/>
                <a:gd name="T112" fmla="*/ 214 w 234"/>
                <a:gd name="T113" fmla="*/ 73 h 118"/>
                <a:gd name="T114" fmla="*/ 220 w 234"/>
                <a:gd name="T115" fmla="*/ 67 h 118"/>
                <a:gd name="T116" fmla="*/ 214 w 234"/>
                <a:gd name="T117" fmla="*/ 60 h 118"/>
                <a:gd name="T118" fmla="*/ 221 w 234"/>
                <a:gd name="T119" fmla="*/ 59 h 118"/>
                <a:gd name="T120" fmla="*/ 225 w 234"/>
                <a:gd name="T121" fmla="*/ 60 h 118"/>
                <a:gd name="T122" fmla="*/ 231 w 234"/>
                <a:gd name="T123" fmla="*/ 55 h 118"/>
                <a:gd name="T124" fmla="*/ 232 w 234"/>
                <a:gd name="T125" fmla="*/ 5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 h="118">
                  <a:moveTo>
                    <a:pt x="234" y="46"/>
                  </a:moveTo>
                  <a:cubicBezTo>
                    <a:pt x="233" y="45"/>
                    <a:pt x="231" y="45"/>
                    <a:pt x="231" y="43"/>
                  </a:cubicBezTo>
                  <a:cubicBezTo>
                    <a:pt x="231" y="42"/>
                    <a:pt x="231" y="41"/>
                    <a:pt x="230" y="41"/>
                  </a:cubicBezTo>
                  <a:cubicBezTo>
                    <a:pt x="229" y="40"/>
                    <a:pt x="228" y="40"/>
                    <a:pt x="228" y="38"/>
                  </a:cubicBezTo>
                  <a:cubicBezTo>
                    <a:pt x="227" y="37"/>
                    <a:pt x="227" y="36"/>
                    <a:pt x="227" y="34"/>
                  </a:cubicBezTo>
                  <a:cubicBezTo>
                    <a:pt x="226" y="34"/>
                    <a:pt x="224" y="31"/>
                    <a:pt x="224" y="31"/>
                  </a:cubicBezTo>
                  <a:cubicBezTo>
                    <a:pt x="223" y="28"/>
                    <a:pt x="225" y="26"/>
                    <a:pt x="226" y="23"/>
                  </a:cubicBezTo>
                  <a:cubicBezTo>
                    <a:pt x="227" y="21"/>
                    <a:pt x="226" y="15"/>
                    <a:pt x="223" y="15"/>
                  </a:cubicBezTo>
                  <a:cubicBezTo>
                    <a:pt x="222" y="14"/>
                    <a:pt x="220" y="15"/>
                    <a:pt x="219" y="14"/>
                  </a:cubicBezTo>
                  <a:cubicBezTo>
                    <a:pt x="217" y="14"/>
                    <a:pt x="219" y="13"/>
                    <a:pt x="218" y="12"/>
                  </a:cubicBezTo>
                  <a:cubicBezTo>
                    <a:pt x="215" y="11"/>
                    <a:pt x="211" y="10"/>
                    <a:pt x="210" y="13"/>
                  </a:cubicBezTo>
                  <a:cubicBezTo>
                    <a:pt x="209" y="15"/>
                    <a:pt x="204" y="14"/>
                    <a:pt x="203" y="14"/>
                  </a:cubicBezTo>
                  <a:cubicBezTo>
                    <a:pt x="200" y="13"/>
                    <a:pt x="199" y="12"/>
                    <a:pt x="197" y="11"/>
                  </a:cubicBezTo>
                  <a:cubicBezTo>
                    <a:pt x="196" y="10"/>
                    <a:pt x="195" y="9"/>
                    <a:pt x="193" y="8"/>
                  </a:cubicBezTo>
                  <a:cubicBezTo>
                    <a:pt x="191" y="8"/>
                    <a:pt x="190" y="9"/>
                    <a:pt x="189" y="9"/>
                  </a:cubicBezTo>
                  <a:cubicBezTo>
                    <a:pt x="188" y="9"/>
                    <a:pt x="187" y="8"/>
                    <a:pt x="186" y="8"/>
                  </a:cubicBezTo>
                  <a:cubicBezTo>
                    <a:pt x="183" y="6"/>
                    <a:pt x="180" y="3"/>
                    <a:pt x="176" y="4"/>
                  </a:cubicBezTo>
                  <a:cubicBezTo>
                    <a:pt x="174" y="4"/>
                    <a:pt x="173" y="5"/>
                    <a:pt x="172" y="4"/>
                  </a:cubicBezTo>
                  <a:cubicBezTo>
                    <a:pt x="171" y="3"/>
                    <a:pt x="167" y="0"/>
                    <a:pt x="166" y="4"/>
                  </a:cubicBezTo>
                  <a:cubicBezTo>
                    <a:pt x="166" y="6"/>
                    <a:pt x="167" y="8"/>
                    <a:pt x="166" y="11"/>
                  </a:cubicBezTo>
                  <a:cubicBezTo>
                    <a:pt x="166" y="15"/>
                    <a:pt x="162" y="10"/>
                    <a:pt x="161" y="14"/>
                  </a:cubicBezTo>
                  <a:cubicBezTo>
                    <a:pt x="158" y="16"/>
                    <a:pt x="160" y="20"/>
                    <a:pt x="158" y="21"/>
                  </a:cubicBezTo>
                  <a:cubicBezTo>
                    <a:pt x="157" y="20"/>
                    <a:pt x="151" y="18"/>
                    <a:pt x="151" y="19"/>
                  </a:cubicBezTo>
                  <a:cubicBezTo>
                    <a:pt x="150" y="20"/>
                    <a:pt x="149" y="21"/>
                    <a:pt x="148" y="22"/>
                  </a:cubicBezTo>
                  <a:cubicBezTo>
                    <a:pt x="146" y="22"/>
                    <a:pt x="144" y="21"/>
                    <a:pt x="143" y="21"/>
                  </a:cubicBezTo>
                  <a:cubicBezTo>
                    <a:pt x="140" y="20"/>
                    <a:pt x="136" y="19"/>
                    <a:pt x="138" y="17"/>
                  </a:cubicBezTo>
                  <a:cubicBezTo>
                    <a:pt x="138" y="15"/>
                    <a:pt x="132" y="12"/>
                    <a:pt x="131" y="13"/>
                  </a:cubicBezTo>
                  <a:cubicBezTo>
                    <a:pt x="130" y="14"/>
                    <a:pt x="133" y="16"/>
                    <a:pt x="131" y="20"/>
                  </a:cubicBezTo>
                  <a:cubicBezTo>
                    <a:pt x="129" y="24"/>
                    <a:pt x="129" y="23"/>
                    <a:pt x="126" y="22"/>
                  </a:cubicBezTo>
                  <a:cubicBezTo>
                    <a:pt x="117" y="19"/>
                    <a:pt x="122" y="30"/>
                    <a:pt x="116" y="33"/>
                  </a:cubicBezTo>
                  <a:cubicBezTo>
                    <a:pt x="115" y="33"/>
                    <a:pt x="111" y="33"/>
                    <a:pt x="108" y="35"/>
                  </a:cubicBezTo>
                  <a:cubicBezTo>
                    <a:pt x="107" y="36"/>
                    <a:pt x="106" y="37"/>
                    <a:pt x="104" y="38"/>
                  </a:cubicBezTo>
                  <a:cubicBezTo>
                    <a:pt x="101" y="40"/>
                    <a:pt x="99" y="42"/>
                    <a:pt x="100" y="43"/>
                  </a:cubicBezTo>
                  <a:cubicBezTo>
                    <a:pt x="102" y="48"/>
                    <a:pt x="109" y="51"/>
                    <a:pt x="106" y="56"/>
                  </a:cubicBezTo>
                  <a:cubicBezTo>
                    <a:pt x="104" y="60"/>
                    <a:pt x="106" y="59"/>
                    <a:pt x="108" y="59"/>
                  </a:cubicBezTo>
                  <a:cubicBezTo>
                    <a:pt x="113" y="61"/>
                    <a:pt x="108" y="65"/>
                    <a:pt x="109" y="68"/>
                  </a:cubicBezTo>
                  <a:cubicBezTo>
                    <a:pt x="112" y="74"/>
                    <a:pt x="97" y="65"/>
                    <a:pt x="102" y="64"/>
                  </a:cubicBezTo>
                  <a:cubicBezTo>
                    <a:pt x="100" y="61"/>
                    <a:pt x="99" y="60"/>
                    <a:pt x="96" y="61"/>
                  </a:cubicBezTo>
                  <a:cubicBezTo>
                    <a:pt x="94" y="62"/>
                    <a:pt x="93" y="63"/>
                    <a:pt x="91" y="62"/>
                  </a:cubicBezTo>
                  <a:cubicBezTo>
                    <a:pt x="90" y="61"/>
                    <a:pt x="91" y="60"/>
                    <a:pt x="90" y="60"/>
                  </a:cubicBezTo>
                  <a:cubicBezTo>
                    <a:pt x="88" y="60"/>
                    <a:pt x="87" y="60"/>
                    <a:pt x="86" y="60"/>
                  </a:cubicBezTo>
                  <a:cubicBezTo>
                    <a:pt x="85" y="60"/>
                    <a:pt x="83" y="60"/>
                    <a:pt x="85" y="58"/>
                  </a:cubicBezTo>
                  <a:cubicBezTo>
                    <a:pt x="81" y="60"/>
                    <a:pt x="85" y="63"/>
                    <a:pt x="83" y="64"/>
                  </a:cubicBezTo>
                  <a:cubicBezTo>
                    <a:pt x="82" y="64"/>
                    <a:pt x="80" y="64"/>
                    <a:pt x="79" y="64"/>
                  </a:cubicBezTo>
                  <a:cubicBezTo>
                    <a:pt x="76" y="63"/>
                    <a:pt x="75" y="65"/>
                    <a:pt x="73" y="65"/>
                  </a:cubicBezTo>
                  <a:cubicBezTo>
                    <a:pt x="71" y="65"/>
                    <a:pt x="68" y="64"/>
                    <a:pt x="66" y="65"/>
                  </a:cubicBezTo>
                  <a:cubicBezTo>
                    <a:pt x="64" y="65"/>
                    <a:pt x="65" y="68"/>
                    <a:pt x="63" y="68"/>
                  </a:cubicBezTo>
                  <a:cubicBezTo>
                    <a:pt x="62" y="68"/>
                    <a:pt x="57" y="68"/>
                    <a:pt x="59" y="71"/>
                  </a:cubicBezTo>
                  <a:cubicBezTo>
                    <a:pt x="57" y="71"/>
                    <a:pt x="55" y="74"/>
                    <a:pt x="54" y="73"/>
                  </a:cubicBezTo>
                  <a:cubicBezTo>
                    <a:pt x="53" y="72"/>
                    <a:pt x="54" y="71"/>
                    <a:pt x="52" y="72"/>
                  </a:cubicBezTo>
                  <a:cubicBezTo>
                    <a:pt x="51" y="72"/>
                    <a:pt x="50" y="73"/>
                    <a:pt x="49" y="73"/>
                  </a:cubicBezTo>
                  <a:cubicBezTo>
                    <a:pt x="47" y="74"/>
                    <a:pt x="46" y="74"/>
                    <a:pt x="45" y="71"/>
                  </a:cubicBezTo>
                  <a:cubicBezTo>
                    <a:pt x="45" y="70"/>
                    <a:pt x="43" y="70"/>
                    <a:pt x="42" y="69"/>
                  </a:cubicBezTo>
                  <a:cubicBezTo>
                    <a:pt x="42" y="69"/>
                    <a:pt x="43" y="68"/>
                    <a:pt x="43" y="68"/>
                  </a:cubicBezTo>
                  <a:cubicBezTo>
                    <a:pt x="42" y="67"/>
                    <a:pt x="39" y="68"/>
                    <a:pt x="38" y="67"/>
                  </a:cubicBezTo>
                  <a:cubicBezTo>
                    <a:pt x="37" y="66"/>
                    <a:pt x="35" y="65"/>
                    <a:pt x="33" y="66"/>
                  </a:cubicBezTo>
                  <a:cubicBezTo>
                    <a:pt x="31" y="68"/>
                    <a:pt x="30" y="64"/>
                    <a:pt x="29" y="66"/>
                  </a:cubicBezTo>
                  <a:cubicBezTo>
                    <a:pt x="28" y="68"/>
                    <a:pt x="31" y="70"/>
                    <a:pt x="29" y="73"/>
                  </a:cubicBezTo>
                  <a:cubicBezTo>
                    <a:pt x="27" y="76"/>
                    <a:pt x="25" y="79"/>
                    <a:pt x="21" y="79"/>
                  </a:cubicBezTo>
                  <a:cubicBezTo>
                    <a:pt x="22" y="77"/>
                    <a:pt x="23" y="76"/>
                    <a:pt x="22" y="74"/>
                  </a:cubicBezTo>
                  <a:cubicBezTo>
                    <a:pt x="22" y="73"/>
                    <a:pt x="21" y="74"/>
                    <a:pt x="20" y="74"/>
                  </a:cubicBezTo>
                  <a:cubicBezTo>
                    <a:pt x="18" y="75"/>
                    <a:pt x="19" y="70"/>
                    <a:pt x="17" y="69"/>
                  </a:cubicBezTo>
                  <a:cubicBezTo>
                    <a:pt x="16" y="69"/>
                    <a:pt x="15" y="68"/>
                    <a:pt x="14" y="67"/>
                  </a:cubicBezTo>
                  <a:cubicBezTo>
                    <a:pt x="13" y="66"/>
                    <a:pt x="11" y="68"/>
                    <a:pt x="11" y="66"/>
                  </a:cubicBezTo>
                  <a:cubicBezTo>
                    <a:pt x="10" y="64"/>
                    <a:pt x="9" y="66"/>
                    <a:pt x="8" y="67"/>
                  </a:cubicBezTo>
                  <a:cubicBezTo>
                    <a:pt x="6" y="68"/>
                    <a:pt x="4" y="68"/>
                    <a:pt x="3" y="67"/>
                  </a:cubicBezTo>
                  <a:cubicBezTo>
                    <a:pt x="1" y="70"/>
                    <a:pt x="5" y="70"/>
                    <a:pt x="5" y="72"/>
                  </a:cubicBezTo>
                  <a:cubicBezTo>
                    <a:pt x="6" y="75"/>
                    <a:pt x="3" y="76"/>
                    <a:pt x="2" y="78"/>
                  </a:cubicBezTo>
                  <a:cubicBezTo>
                    <a:pt x="0" y="81"/>
                    <a:pt x="7" y="85"/>
                    <a:pt x="4" y="88"/>
                  </a:cubicBezTo>
                  <a:cubicBezTo>
                    <a:pt x="6" y="89"/>
                    <a:pt x="10" y="88"/>
                    <a:pt x="12" y="90"/>
                  </a:cubicBezTo>
                  <a:cubicBezTo>
                    <a:pt x="14" y="92"/>
                    <a:pt x="11" y="94"/>
                    <a:pt x="15" y="95"/>
                  </a:cubicBezTo>
                  <a:cubicBezTo>
                    <a:pt x="17" y="95"/>
                    <a:pt x="18" y="98"/>
                    <a:pt x="20" y="97"/>
                  </a:cubicBezTo>
                  <a:cubicBezTo>
                    <a:pt x="21" y="97"/>
                    <a:pt x="22" y="97"/>
                    <a:pt x="23" y="96"/>
                  </a:cubicBezTo>
                  <a:cubicBezTo>
                    <a:pt x="23" y="96"/>
                    <a:pt x="23" y="94"/>
                    <a:pt x="23" y="94"/>
                  </a:cubicBezTo>
                  <a:cubicBezTo>
                    <a:pt x="24" y="93"/>
                    <a:pt x="25" y="94"/>
                    <a:pt x="26" y="93"/>
                  </a:cubicBezTo>
                  <a:cubicBezTo>
                    <a:pt x="26" y="92"/>
                    <a:pt x="27" y="91"/>
                    <a:pt x="28" y="91"/>
                  </a:cubicBezTo>
                  <a:cubicBezTo>
                    <a:pt x="31" y="92"/>
                    <a:pt x="29" y="95"/>
                    <a:pt x="31" y="97"/>
                  </a:cubicBezTo>
                  <a:cubicBezTo>
                    <a:pt x="32" y="98"/>
                    <a:pt x="35" y="97"/>
                    <a:pt x="36" y="97"/>
                  </a:cubicBezTo>
                  <a:cubicBezTo>
                    <a:pt x="37" y="97"/>
                    <a:pt x="39" y="98"/>
                    <a:pt x="39" y="99"/>
                  </a:cubicBezTo>
                  <a:cubicBezTo>
                    <a:pt x="39" y="99"/>
                    <a:pt x="38" y="99"/>
                    <a:pt x="39" y="100"/>
                  </a:cubicBezTo>
                  <a:cubicBezTo>
                    <a:pt x="39" y="101"/>
                    <a:pt x="44" y="101"/>
                    <a:pt x="45" y="101"/>
                  </a:cubicBezTo>
                  <a:cubicBezTo>
                    <a:pt x="48" y="100"/>
                    <a:pt x="49" y="98"/>
                    <a:pt x="50" y="95"/>
                  </a:cubicBezTo>
                  <a:cubicBezTo>
                    <a:pt x="52" y="91"/>
                    <a:pt x="56" y="91"/>
                    <a:pt x="59" y="92"/>
                  </a:cubicBezTo>
                  <a:cubicBezTo>
                    <a:pt x="61" y="92"/>
                    <a:pt x="62" y="90"/>
                    <a:pt x="63" y="90"/>
                  </a:cubicBezTo>
                  <a:cubicBezTo>
                    <a:pt x="65" y="91"/>
                    <a:pt x="67" y="91"/>
                    <a:pt x="69" y="91"/>
                  </a:cubicBezTo>
                  <a:cubicBezTo>
                    <a:pt x="73" y="92"/>
                    <a:pt x="77" y="89"/>
                    <a:pt x="81" y="87"/>
                  </a:cubicBezTo>
                  <a:cubicBezTo>
                    <a:pt x="82" y="87"/>
                    <a:pt x="86" y="88"/>
                    <a:pt x="83" y="89"/>
                  </a:cubicBezTo>
                  <a:cubicBezTo>
                    <a:pt x="81" y="90"/>
                    <a:pt x="81" y="92"/>
                    <a:pt x="82" y="95"/>
                  </a:cubicBezTo>
                  <a:cubicBezTo>
                    <a:pt x="84" y="98"/>
                    <a:pt x="86" y="95"/>
                    <a:pt x="86" y="99"/>
                  </a:cubicBezTo>
                  <a:cubicBezTo>
                    <a:pt x="86" y="100"/>
                    <a:pt x="89" y="104"/>
                    <a:pt x="90" y="104"/>
                  </a:cubicBezTo>
                  <a:cubicBezTo>
                    <a:pt x="93" y="106"/>
                    <a:pt x="98" y="106"/>
                    <a:pt x="101" y="107"/>
                  </a:cubicBezTo>
                  <a:cubicBezTo>
                    <a:pt x="105" y="108"/>
                    <a:pt x="109" y="108"/>
                    <a:pt x="113" y="109"/>
                  </a:cubicBezTo>
                  <a:cubicBezTo>
                    <a:pt x="114" y="109"/>
                    <a:pt x="115" y="110"/>
                    <a:pt x="117" y="110"/>
                  </a:cubicBezTo>
                  <a:cubicBezTo>
                    <a:pt x="118" y="111"/>
                    <a:pt x="120" y="110"/>
                    <a:pt x="122" y="110"/>
                  </a:cubicBezTo>
                  <a:cubicBezTo>
                    <a:pt x="126" y="111"/>
                    <a:pt x="129" y="112"/>
                    <a:pt x="133" y="112"/>
                  </a:cubicBezTo>
                  <a:cubicBezTo>
                    <a:pt x="136" y="112"/>
                    <a:pt x="140" y="113"/>
                    <a:pt x="142" y="114"/>
                  </a:cubicBezTo>
                  <a:cubicBezTo>
                    <a:pt x="144" y="116"/>
                    <a:pt x="147" y="115"/>
                    <a:pt x="150" y="116"/>
                  </a:cubicBezTo>
                  <a:cubicBezTo>
                    <a:pt x="152" y="116"/>
                    <a:pt x="154" y="116"/>
                    <a:pt x="156" y="118"/>
                  </a:cubicBezTo>
                  <a:cubicBezTo>
                    <a:pt x="157" y="115"/>
                    <a:pt x="161" y="114"/>
                    <a:pt x="163" y="112"/>
                  </a:cubicBezTo>
                  <a:cubicBezTo>
                    <a:pt x="164" y="112"/>
                    <a:pt x="167" y="104"/>
                    <a:pt x="169" y="108"/>
                  </a:cubicBezTo>
                  <a:cubicBezTo>
                    <a:pt x="170" y="105"/>
                    <a:pt x="176" y="106"/>
                    <a:pt x="178" y="106"/>
                  </a:cubicBezTo>
                  <a:cubicBezTo>
                    <a:pt x="180" y="106"/>
                    <a:pt x="181" y="106"/>
                    <a:pt x="183" y="107"/>
                  </a:cubicBezTo>
                  <a:cubicBezTo>
                    <a:pt x="184" y="108"/>
                    <a:pt x="185" y="108"/>
                    <a:pt x="186" y="107"/>
                  </a:cubicBezTo>
                  <a:cubicBezTo>
                    <a:pt x="186" y="104"/>
                    <a:pt x="190" y="104"/>
                    <a:pt x="192" y="104"/>
                  </a:cubicBezTo>
                  <a:cubicBezTo>
                    <a:pt x="195" y="103"/>
                    <a:pt x="198" y="103"/>
                    <a:pt x="201" y="106"/>
                  </a:cubicBezTo>
                  <a:cubicBezTo>
                    <a:pt x="201" y="103"/>
                    <a:pt x="197" y="100"/>
                    <a:pt x="201" y="98"/>
                  </a:cubicBezTo>
                  <a:cubicBezTo>
                    <a:pt x="204" y="97"/>
                    <a:pt x="208" y="93"/>
                    <a:pt x="208" y="90"/>
                  </a:cubicBezTo>
                  <a:cubicBezTo>
                    <a:pt x="209" y="91"/>
                    <a:pt x="214" y="92"/>
                    <a:pt x="215" y="90"/>
                  </a:cubicBezTo>
                  <a:cubicBezTo>
                    <a:pt x="215" y="89"/>
                    <a:pt x="213" y="89"/>
                    <a:pt x="213" y="89"/>
                  </a:cubicBezTo>
                  <a:cubicBezTo>
                    <a:pt x="214" y="89"/>
                    <a:pt x="214" y="89"/>
                    <a:pt x="215" y="88"/>
                  </a:cubicBezTo>
                  <a:cubicBezTo>
                    <a:pt x="212" y="87"/>
                    <a:pt x="217" y="85"/>
                    <a:pt x="215" y="84"/>
                  </a:cubicBezTo>
                  <a:cubicBezTo>
                    <a:pt x="213" y="83"/>
                    <a:pt x="214" y="85"/>
                    <a:pt x="213" y="82"/>
                  </a:cubicBezTo>
                  <a:cubicBezTo>
                    <a:pt x="212" y="79"/>
                    <a:pt x="215" y="80"/>
                    <a:pt x="214" y="77"/>
                  </a:cubicBezTo>
                  <a:cubicBezTo>
                    <a:pt x="214" y="76"/>
                    <a:pt x="212" y="73"/>
                    <a:pt x="214" y="73"/>
                  </a:cubicBezTo>
                  <a:cubicBezTo>
                    <a:pt x="216" y="72"/>
                    <a:pt x="217" y="72"/>
                    <a:pt x="219" y="69"/>
                  </a:cubicBezTo>
                  <a:cubicBezTo>
                    <a:pt x="219" y="69"/>
                    <a:pt x="220" y="67"/>
                    <a:pt x="220" y="67"/>
                  </a:cubicBezTo>
                  <a:cubicBezTo>
                    <a:pt x="218" y="62"/>
                    <a:pt x="216" y="63"/>
                    <a:pt x="212" y="61"/>
                  </a:cubicBezTo>
                  <a:cubicBezTo>
                    <a:pt x="212" y="60"/>
                    <a:pt x="213" y="60"/>
                    <a:pt x="214" y="60"/>
                  </a:cubicBezTo>
                  <a:cubicBezTo>
                    <a:pt x="215" y="59"/>
                    <a:pt x="215" y="58"/>
                    <a:pt x="215" y="58"/>
                  </a:cubicBezTo>
                  <a:cubicBezTo>
                    <a:pt x="217" y="56"/>
                    <a:pt x="219" y="58"/>
                    <a:pt x="221" y="59"/>
                  </a:cubicBezTo>
                  <a:cubicBezTo>
                    <a:pt x="221" y="59"/>
                    <a:pt x="221" y="60"/>
                    <a:pt x="222" y="61"/>
                  </a:cubicBezTo>
                  <a:cubicBezTo>
                    <a:pt x="223" y="61"/>
                    <a:pt x="224" y="60"/>
                    <a:pt x="225" y="60"/>
                  </a:cubicBezTo>
                  <a:cubicBezTo>
                    <a:pt x="227" y="59"/>
                    <a:pt x="230" y="60"/>
                    <a:pt x="232" y="59"/>
                  </a:cubicBezTo>
                  <a:cubicBezTo>
                    <a:pt x="231" y="58"/>
                    <a:pt x="231" y="56"/>
                    <a:pt x="231" y="55"/>
                  </a:cubicBezTo>
                  <a:cubicBezTo>
                    <a:pt x="231" y="54"/>
                    <a:pt x="229" y="53"/>
                    <a:pt x="229" y="53"/>
                  </a:cubicBezTo>
                  <a:cubicBezTo>
                    <a:pt x="230" y="52"/>
                    <a:pt x="232" y="51"/>
                    <a:pt x="232" y="50"/>
                  </a:cubicBezTo>
                  <a:cubicBezTo>
                    <a:pt x="232" y="48"/>
                    <a:pt x="232" y="47"/>
                    <a:pt x="234" y="46"/>
                  </a:cubicBezTo>
                  <a:close/>
                </a:path>
              </a:pathLst>
            </a:custGeom>
            <a:grp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6" name="Freeform 121">
              <a:extLst>
                <a:ext uri="{FF2B5EF4-FFF2-40B4-BE49-F238E27FC236}">
                  <a16:creationId xmlns:a16="http://schemas.microsoft.com/office/drawing/2014/main" id="{9B8C197A-FBDB-6674-8360-96DB0A0BFFAE}"/>
                </a:ext>
              </a:extLst>
            </p:cNvPr>
            <p:cNvSpPr>
              <a:spLocks/>
            </p:cNvSpPr>
            <p:nvPr/>
          </p:nvSpPr>
          <p:spPr bwMode="auto">
            <a:xfrm>
              <a:off x="3094264" y="4588888"/>
              <a:ext cx="480508" cy="237187"/>
            </a:xfrm>
            <a:custGeom>
              <a:avLst/>
              <a:gdLst>
                <a:gd name="T0" fmla="*/ 158 w 172"/>
                <a:gd name="T1" fmla="*/ 20 h 84"/>
                <a:gd name="T2" fmla="*/ 148 w 172"/>
                <a:gd name="T3" fmla="*/ 12 h 84"/>
                <a:gd name="T4" fmla="*/ 145 w 172"/>
                <a:gd name="T5" fmla="*/ 10 h 84"/>
                <a:gd name="T6" fmla="*/ 131 w 172"/>
                <a:gd name="T7" fmla="*/ 10 h 84"/>
                <a:gd name="T8" fmla="*/ 127 w 172"/>
                <a:gd name="T9" fmla="*/ 12 h 84"/>
                <a:gd name="T10" fmla="*/ 120 w 172"/>
                <a:gd name="T11" fmla="*/ 15 h 84"/>
                <a:gd name="T12" fmla="*/ 109 w 172"/>
                <a:gd name="T13" fmla="*/ 11 h 84"/>
                <a:gd name="T14" fmla="*/ 99 w 172"/>
                <a:gd name="T15" fmla="*/ 16 h 84"/>
                <a:gd name="T16" fmla="*/ 92 w 172"/>
                <a:gd name="T17" fmla="*/ 19 h 84"/>
                <a:gd name="T18" fmla="*/ 89 w 172"/>
                <a:gd name="T19" fmla="*/ 16 h 84"/>
                <a:gd name="T20" fmla="*/ 86 w 172"/>
                <a:gd name="T21" fmla="*/ 11 h 84"/>
                <a:gd name="T22" fmla="*/ 77 w 172"/>
                <a:gd name="T23" fmla="*/ 3 h 84"/>
                <a:gd name="T24" fmla="*/ 68 w 172"/>
                <a:gd name="T25" fmla="*/ 11 h 84"/>
                <a:gd name="T26" fmla="*/ 59 w 172"/>
                <a:gd name="T27" fmla="*/ 6 h 84"/>
                <a:gd name="T28" fmla="*/ 46 w 172"/>
                <a:gd name="T29" fmla="*/ 11 h 84"/>
                <a:gd name="T30" fmla="*/ 37 w 172"/>
                <a:gd name="T31" fmla="*/ 25 h 84"/>
                <a:gd name="T32" fmla="*/ 31 w 172"/>
                <a:gd name="T33" fmla="*/ 32 h 84"/>
                <a:gd name="T34" fmla="*/ 21 w 172"/>
                <a:gd name="T35" fmla="*/ 37 h 84"/>
                <a:gd name="T36" fmla="*/ 17 w 172"/>
                <a:gd name="T37" fmla="*/ 36 h 84"/>
                <a:gd name="T38" fmla="*/ 6 w 172"/>
                <a:gd name="T39" fmla="*/ 39 h 84"/>
                <a:gd name="T40" fmla="*/ 1 w 172"/>
                <a:gd name="T41" fmla="*/ 53 h 84"/>
                <a:gd name="T42" fmla="*/ 6 w 172"/>
                <a:gd name="T43" fmla="*/ 66 h 84"/>
                <a:gd name="T44" fmla="*/ 13 w 172"/>
                <a:gd name="T45" fmla="*/ 72 h 84"/>
                <a:gd name="T46" fmla="*/ 13 w 172"/>
                <a:gd name="T47" fmla="*/ 71 h 84"/>
                <a:gd name="T48" fmla="*/ 19 w 172"/>
                <a:gd name="T49" fmla="*/ 76 h 84"/>
                <a:gd name="T50" fmla="*/ 33 w 172"/>
                <a:gd name="T51" fmla="*/ 84 h 84"/>
                <a:gd name="T52" fmla="*/ 52 w 172"/>
                <a:gd name="T53" fmla="*/ 83 h 84"/>
                <a:gd name="T54" fmla="*/ 61 w 172"/>
                <a:gd name="T55" fmla="*/ 79 h 84"/>
                <a:gd name="T56" fmla="*/ 66 w 172"/>
                <a:gd name="T57" fmla="*/ 70 h 84"/>
                <a:gd name="T58" fmla="*/ 81 w 172"/>
                <a:gd name="T59" fmla="*/ 68 h 84"/>
                <a:gd name="T60" fmla="*/ 92 w 172"/>
                <a:gd name="T61" fmla="*/ 66 h 84"/>
                <a:gd name="T62" fmla="*/ 102 w 172"/>
                <a:gd name="T63" fmla="*/ 61 h 84"/>
                <a:gd name="T64" fmla="*/ 109 w 172"/>
                <a:gd name="T65" fmla="*/ 55 h 84"/>
                <a:gd name="T66" fmla="*/ 116 w 172"/>
                <a:gd name="T67" fmla="*/ 48 h 84"/>
                <a:gd name="T68" fmla="*/ 132 w 172"/>
                <a:gd name="T69" fmla="*/ 50 h 84"/>
                <a:gd name="T70" fmla="*/ 143 w 172"/>
                <a:gd name="T71" fmla="*/ 50 h 84"/>
                <a:gd name="T72" fmla="*/ 153 w 172"/>
                <a:gd name="T73" fmla="*/ 57 h 84"/>
                <a:gd name="T74" fmla="*/ 165 w 172"/>
                <a:gd name="T75" fmla="*/ 43 h 84"/>
                <a:gd name="T76" fmla="*/ 168 w 172"/>
                <a:gd name="T77" fmla="*/ 34 h 84"/>
                <a:gd name="T78" fmla="*/ 172 w 172"/>
                <a:gd name="T79"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84">
                  <a:moveTo>
                    <a:pt x="164" y="23"/>
                  </a:moveTo>
                  <a:cubicBezTo>
                    <a:pt x="162" y="22"/>
                    <a:pt x="160" y="21"/>
                    <a:pt x="158" y="20"/>
                  </a:cubicBezTo>
                  <a:cubicBezTo>
                    <a:pt x="156" y="20"/>
                    <a:pt x="155" y="18"/>
                    <a:pt x="154" y="15"/>
                  </a:cubicBezTo>
                  <a:cubicBezTo>
                    <a:pt x="153" y="13"/>
                    <a:pt x="151" y="12"/>
                    <a:pt x="148" y="12"/>
                  </a:cubicBezTo>
                  <a:cubicBezTo>
                    <a:pt x="148" y="12"/>
                    <a:pt x="147" y="13"/>
                    <a:pt x="147" y="12"/>
                  </a:cubicBezTo>
                  <a:cubicBezTo>
                    <a:pt x="147" y="12"/>
                    <a:pt x="146" y="11"/>
                    <a:pt x="145" y="10"/>
                  </a:cubicBezTo>
                  <a:cubicBezTo>
                    <a:pt x="143" y="9"/>
                    <a:pt x="140" y="11"/>
                    <a:pt x="137" y="10"/>
                  </a:cubicBezTo>
                  <a:cubicBezTo>
                    <a:pt x="134" y="9"/>
                    <a:pt x="133" y="8"/>
                    <a:pt x="131" y="10"/>
                  </a:cubicBezTo>
                  <a:cubicBezTo>
                    <a:pt x="129" y="12"/>
                    <a:pt x="128" y="9"/>
                    <a:pt x="126" y="10"/>
                  </a:cubicBezTo>
                  <a:cubicBezTo>
                    <a:pt x="125" y="11"/>
                    <a:pt x="127" y="11"/>
                    <a:pt x="127" y="12"/>
                  </a:cubicBezTo>
                  <a:cubicBezTo>
                    <a:pt x="127" y="13"/>
                    <a:pt x="126" y="12"/>
                    <a:pt x="126" y="13"/>
                  </a:cubicBezTo>
                  <a:cubicBezTo>
                    <a:pt x="124" y="15"/>
                    <a:pt x="123" y="16"/>
                    <a:pt x="120" y="15"/>
                  </a:cubicBezTo>
                  <a:cubicBezTo>
                    <a:pt x="118" y="14"/>
                    <a:pt x="117" y="12"/>
                    <a:pt x="116" y="11"/>
                  </a:cubicBezTo>
                  <a:cubicBezTo>
                    <a:pt x="114" y="10"/>
                    <a:pt x="111" y="12"/>
                    <a:pt x="109" y="11"/>
                  </a:cubicBezTo>
                  <a:cubicBezTo>
                    <a:pt x="108" y="11"/>
                    <a:pt x="104" y="10"/>
                    <a:pt x="104" y="13"/>
                  </a:cubicBezTo>
                  <a:cubicBezTo>
                    <a:pt x="104" y="14"/>
                    <a:pt x="100" y="14"/>
                    <a:pt x="99" y="16"/>
                  </a:cubicBezTo>
                  <a:cubicBezTo>
                    <a:pt x="98" y="16"/>
                    <a:pt x="97" y="20"/>
                    <a:pt x="97" y="21"/>
                  </a:cubicBezTo>
                  <a:cubicBezTo>
                    <a:pt x="95" y="21"/>
                    <a:pt x="94" y="18"/>
                    <a:pt x="92" y="19"/>
                  </a:cubicBezTo>
                  <a:cubicBezTo>
                    <a:pt x="92" y="19"/>
                    <a:pt x="86" y="22"/>
                    <a:pt x="87" y="19"/>
                  </a:cubicBezTo>
                  <a:cubicBezTo>
                    <a:pt x="88" y="18"/>
                    <a:pt x="89" y="17"/>
                    <a:pt x="89" y="16"/>
                  </a:cubicBezTo>
                  <a:cubicBezTo>
                    <a:pt x="89" y="16"/>
                    <a:pt x="88" y="15"/>
                    <a:pt x="88" y="14"/>
                  </a:cubicBezTo>
                  <a:cubicBezTo>
                    <a:pt x="88" y="12"/>
                    <a:pt x="88" y="10"/>
                    <a:pt x="86" y="11"/>
                  </a:cubicBezTo>
                  <a:cubicBezTo>
                    <a:pt x="85" y="11"/>
                    <a:pt x="83" y="11"/>
                    <a:pt x="83" y="9"/>
                  </a:cubicBezTo>
                  <a:cubicBezTo>
                    <a:pt x="81" y="9"/>
                    <a:pt x="79" y="0"/>
                    <a:pt x="77" y="3"/>
                  </a:cubicBezTo>
                  <a:cubicBezTo>
                    <a:pt x="75" y="5"/>
                    <a:pt x="72" y="5"/>
                    <a:pt x="71" y="7"/>
                  </a:cubicBezTo>
                  <a:cubicBezTo>
                    <a:pt x="70" y="9"/>
                    <a:pt x="70" y="11"/>
                    <a:pt x="68" y="11"/>
                  </a:cubicBezTo>
                  <a:cubicBezTo>
                    <a:pt x="66" y="10"/>
                    <a:pt x="63" y="13"/>
                    <a:pt x="63" y="10"/>
                  </a:cubicBezTo>
                  <a:cubicBezTo>
                    <a:pt x="63" y="7"/>
                    <a:pt x="61" y="5"/>
                    <a:pt x="59" y="6"/>
                  </a:cubicBezTo>
                  <a:cubicBezTo>
                    <a:pt x="57" y="6"/>
                    <a:pt x="53" y="6"/>
                    <a:pt x="51" y="7"/>
                  </a:cubicBezTo>
                  <a:cubicBezTo>
                    <a:pt x="49" y="8"/>
                    <a:pt x="48" y="12"/>
                    <a:pt x="46" y="11"/>
                  </a:cubicBezTo>
                  <a:cubicBezTo>
                    <a:pt x="48" y="14"/>
                    <a:pt x="40" y="16"/>
                    <a:pt x="39" y="19"/>
                  </a:cubicBezTo>
                  <a:cubicBezTo>
                    <a:pt x="38" y="21"/>
                    <a:pt x="38" y="23"/>
                    <a:pt x="37" y="25"/>
                  </a:cubicBezTo>
                  <a:cubicBezTo>
                    <a:pt x="37" y="26"/>
                    <a:pt x="36" y="27"/>
                    <a:pt x="33" y="28"/>
                  </a:cubicBezTo>
                  <a:cubicBezTo>
                    <a:pt x="31" y="28"/>
                    <a:pt x="32" y="32"/>
                    <a:pt x="31" y="32"/>
                  </a:cubicBezTo>
                  <a:cubicBezTo>
                    <a:pt x="28" y="32"/>
                    <a:pt x="28" y="34"/>
                    <a:pt x="26" y="35"/>
                  </a:cubicBezTo>
                  <a:cubicBezTo>
                    <a:pt x="24" y="35"/>
                    <a:pt x="22" y="37"/>
                    <a:pt x="21" y="37"/>
                  </a:cubicBezTo>
                  <a:cubicBezTo>
                    <a:pt x="20" y="37"/>
                    <a:pt x="20" y="36"/>
                    <a:pt x="19" y="35"/>
                  </a:cubicBezTo>
                  <a:cubicBezTo>
                    <a:pt x="19" y="35"/>
                    <a:pt x="18" y="36"/>
                    <a:pt x="17" y="36"/>
                  </a:cubicBezTo>
                  <a:cubicBezTo>
                    <a:pt x="15" y="36"/>
                    <a:pt x="13" y="34"/>
                    <a:pt x="11" y="34"/>
                  </a:cubicBezTo>
                  <a:cubicBezTo>
                    <a:pt x="9" y="34"/>
                    <a:pt x="7" y="37"/>
                    <a:pt x="6" y="39"/>
                  </a:cubicBezTo>
                  <a:cubicBezTo>
                    <a:pt x="5" y="41"/>
                    <a:pt x="4" y="44"/>
                    <a:pt x="3" y="46"/>
                  </a:cubicBezTo>
                  <a:cubicBezTo>
                    <a:pt x="3" y="49"/>
                    <a:pt x="1" y="51"/>
                    <a:pt x="1" y="53"/>
                  </a:cubicBezTo>
                  <a:cubicBezTo>
                    <a:pt x="0" y="56"/>
                    <a:pt x="2" y="57"/>
                    <a:pt x="3" y="60"/>
                  </a:cubicBezTo>
                  <a:cubicBezTo>
                    <a:pt x="4" y="62"/>
                    <a:pt x="4" y="65"/>
                    <a:pt x="6" y="66"/>
                  </a:cubicBezTo>
                  <a:cubicBezTo>
                    <a:pt x="8" y="67"/>
                    <a:pt x="7" y="68"/>
                    <a:pt x="8" y="70"/>
                  </a:cubicBezTo>
                  <a:cubicBezTo>
                    <a:pt x="9" y="72"/>
                    <a:pt x="12" y="71"/>
                    <a:pt x="13" y="72"/>
                  </a:cubicBezTo>
                  <a:cubicBezTo>
                    <a:pt x="12" y="70"/>
                    <a:pt x="8" y="70"/>
                    <a:pt x="9" y="67"/>
                  </a:cubicBezTo>
                  <a:cubicBezTo>
                    <a:pt x="10" y="69"/>
                    <a:pt x="11" y="70"/>
                    <a:pt x="13" y="71"/>
                  </a:cubicBezTo>
                  <a:cubicBezTo>
                    <a:pt x="14" y="71"/>
                    <a:pt x="17" y="73"/>
                    <a:pt x="15" y="73"/>
                  </a:cubicBezTo>
                  <a:cubicBezTo>
                    <a:pt x="16" y="73"/>
                    <a:pt x="18" y="74"/>
                    <a:pt x="19" y="76"/>
                  </a:cubicBezTo>
                  <a:cubicBezTo>
                    <a:pt x="21" y="77"/>
                    <a:pt x="22" y="79"/>
                    <a:pt x="23" y="80"/>
                  </a:cubicBezTo>
                  <a:cubicBezTo>
                    <a:pt x="26" y="82"/>
                    <a:pt x="29" y="84"/>
                    <a:pt x="33" y="84"/>
                  </a:cubicBezTo>
                  <a:cubicBezTo>
                    <a:pt x="37" y="83"/>
                    <a:pt x="41" y="84"/>
                    <a:pt x="45" y="84"/>
                  </a:cubicBezTo>
                  <a:cubicBezTo>
                    <a:pt x="48" y="83"/>
                    <a:pt x="50" y="83"/>
                    <a:pt x="52" y="83"/>
                  </a:cubicBezTo>
                  <a:cubicBezTo>
                    <a:pt x="54" y="83"/>
                    <a:pt x="56" y="83"/>
                    <a:pt x="57" y="83"/>
                  </a:cubicBezTo>
                  <a:cubicBezTo>
                    <a:pt x="59" y="82"/>
                    <a:pt x="63" y="81"/>
                    <a:pt x="61" y="79"/>
                  </a:cubicBezTo>
                  <a:cubicBezTo>
                    <a:pt x="60" y="78"/>
                    <a:pt x="59" y="76"/>
                    <a:pt x="59" y="74"/>
                  </a:cubicBezTo>
                  <a:cubicBezTo>
                    <a:pt x="61" y="71"/>
                    <a:pt x="63" y="70"/>
                    <a:pt x="66" y="70"/>
                  </a:cubicBezTo>
                  <a:cubicBezTo>
                    <a:pt x="69" y="69"/>
                    <a:pt x="71" y="70"/>
                    <a:pt x="73" y="69"/>
                  </a:cubicBezTo>
                  <a:cubicBezTo>
                    <a:pt x="76" y="68"/>
                    <a:pt x="80" y="69"/>
                    <a:pt x="81" y="68"/>
                  </a:cubicBezTo>
                  <a:cubicBezTo>
                    <a:pt x="83" y="65"/>
                    <a:pt x="82" y="62"/>
                    <a:pt x="86" y="63"/>
                  </a:cubicBezTo>
                  <a:cubicBezTo>
                    <a:pt x="89" y="63"/>
                    <a:pt x="90" y="65"/>
                    <a:pt x="92" y="66"/>
                  </a:cubicBezTo>
                  <a:cubicBezTo>
                    <a:pt x="94" y="67"/>
                    <a:pt x="96" y="66"/>
                    <a:pt x="98" y="65"/>
                  </a:cubicBezTo>
                  <a:cubicBezTo>
                    <a:pt x="100" y="64"/>
                    <a:pt x="100" y="62"/>
                    <a:pt x="102" y="61"/>
                  </a:cubicBezTo>
                  <a:cubicBezTo>
                    <a:pt x="104" y="61"/>
                    <a:pt x="105" y="61"/>
                    <a:pt x="107" y="60"/>
                  </a:cubicBezTo>
                  <a:cubicBezTo>
                    <a:pt x="108" y="59"/>
                    <a:pt x="108" y="56"/>
                    <a:pt x="109" y="55"/>
                  </a:cubicBezTo>
                  <a:cubicBezTo>
                    <a:pt x="109" y="53"/>
                    <a:pt x="111" y="52"/>
                    <a:pt x="111" y="50"/>
                  </a:cubicBezTo>
                  <a:cubicBezTo>
                    <a:pt x="112" y="48"/>
                    <a:pt x="114" y="49"/>
                    <a:pt x="116" y="48"/>
                  </a:cubicBezTo>
                  <a:cubicBezTo>
                    <a:pt x="120" y="47"/>
                    <a:pt x="122" y="48"/>
                    <a:pt x="125" y="50"/>
                  </a:cubicBezTo>
                  <a:cubicBezTo>
                    <a:pt x="128" y="51"/>
                    <a:pt x="129" y="50"/>
                    <a:pt x="132" y="50"/>
                  </a:cubicBezTo>
                  <a:cubicBezTo>
                    <a:pt x="134" y="49"/>
                    <a:pt x="135" y="50"/>
                    <a:pt x="137" y="48"/>
                  </a:cubicBezTo>
                  <a:cubicBezTo>
                    <a:pt x="139" y="47"/>
                    <a:pt x="141" y="48"/>
                    <a:pt x="143" y="50"/>
                  </a:cubicBezTo>
                  <a:cubicBezTo>
                    <a:pt x="144" y="51"/>
                    <a:pt x="145" y="52"/>
                    <a:pt x="146" y="53"/>
                  </a:cubicBezTo>
                  <a:cubicBezTo>
                    <a:pt x="148" y="56"/>
                    <a:pt x="149" y="59"/>
                    <a:pt x="153" y="57"/>
                  </a:cubicBezTo>
                  <a:cubicBezTo>
                    <a:pt x="158" y="54"/>
                    <a:pt x="162" y="58"/>
                    <a:pt x="161" y="49"/>
                  </a:cubicBezTo>
                  <a:cubicBezTo>
                    <a:pt x="161" y="45"/>
                    <a:pt x="163" y="45"/>
                    <a:pt x="165" y="43"/>
                  </a:cubicBezTo>
                  <a:cubicBezTo>
                    <a:pt x="167" y="41"/>
                    <a:pt x="167" y="39"/>
                    <a:pt x="167" y="37"/>
                  </a:cubicBezTo>
                  <a:cubicBezTo>
                    <a:pt x="168" y="35"/>
                    <a:pt x="166" y="36"/>
                    <a:pt x="168" y="34"/>
                  </a:cubicBezTo>
                  <a:cubicBezTo>
                    <a:pt x="169" y="33"/>
                    <a:pt x="169" y="32"/>
                    <a:pt x="170" y="30"/>
                  </a:cubicBezTo>
                  <a:cubicBezTo>
                    <a:pt x="171" y="28"/>
                    <a:pt x="172" y="28"/>
                    <a:pt x="172" y="25"/>
                  </a:cubicBezTo>
                  <a:cubicBezTo>
                    <a:pt x="169" y="25"/>
                    <a:pt x="167" y="24"/>
                    <a:pt x="164" y="23"/>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7" name="Freeform 122">
              <a:extLst>
                <a:ext uri="{FF2B5EF4-FFF2-40B4-BE49-F238E27FC236}">
                  <a16:creationId xmlns:a16="http://schemas.microsoft.com/office/drawing/2014/main" id="{A1296262-57FD-AE89-C73F-A12A0FC21C44}"/>
                </a:ext>
              </a:extLst>
            </p:cNvPr>
            <p:cNvSpPr>
              <a:spLocks/>
            </p:cNvSpPr>
            <p:nvPr/>
          </p:nvSpPr>
          <p:spPr bwMode="auto">
            <a:xfrm>
              <a:off x="3037595" y="4721188"/>
              <a:ext cx="572596" cy="356376"/>
            </a:xfrm>
            <a:custGeom>
              <a:avLst/>
              <a:gdLst>
                <a:gd name="T0" fmla="*/ 200 w 205"/>
                <a:gd name="T1" fmla="*/ 21 h 126"/>
                <a:gd name="T2" fmla="*/ 188 w 205"/>
                <a:gd name="T3" fmla="*/ 13 h 126"/>
                <a:gd name="T4" fmla="*/ 183 w 205"/>
                <a:gd name="T5" fmla="*/ 7 h 126"/>
                <a:gd name="T6" fmla="*/ 171 w 205"/>
                <a:gd name="T7" fmla="*/ 10 h 126"/>
                <a:gd name="T8" fmla="*/ 163 w 205"/>
                <a:gd name="T9" fmla="*/ 4 h 126"/>
                <a:gd name="T10" fmla="*/ 156 w 205"/>
                <a:gd name="T11" fmla="*/ 1 h 126"/>
                <a:gd name="T12" fmla="*/ 153 w 205"/>
                <a:gd name="T13" fmla="*/ 3 h 126"/>
                <a:gd name="T14" fmla="*/ 140 w 205"/>
                <a:gd name="T15" fmla="*/ 0 h 126"/>
                <a:gd name="T16" fmla="*/ 130 w 205"/>
                <a:gd name="T17" fmla="*/ 5 h 126"/>
                <a:gd name="T18" fmla="*/ 123 w 205"/>
                <a:gd name="T19" fmla="*/ 14 h 126"/>
                <a:gd name="T20" fmla="*/ 118 w 205"/>
                <a:gd name="T21" fmla="*/ 18 h 126"/>
                <a:gd name="T22" fmla="*/ 107 w 205"/>
                <a:gd name="T23" fmla="*/ 16 h 126"/>
                <a:gd name="T24" fmla="*/ 99 w 205"/>
                <a:gd name="T25" fmla="*/ 21 h 126"/>
                <a:gd name="T26" fmla="*/ 88 w 205"/>
                <a:gd name="T27" fmla="*/ 22 h 126"/>
                <a:gd name="T28" fmla="*/ 80 w 205"/>
                <a:gd name="T29" fmla="*/ 26 h 126"/>
                <a:gd name="T30" fmla="*/ 82 w 205"/>
                <a:gd name="T31" fmla="*/ 34 h 126"/>
                <a:gd name="T32" fmla="*/ 68 w 205"/>
                <a:gd name="T33" fmla="*/ 36 h 126"/>
                <a:gd name="T34" fmla="*/ 47 w 205"/>
                <a:gd name="T35" fmla="*/ 36 h 126"/>
                <a:gd name="T36" fmla="*/ 34 w 205"/>
                <a:gd name="T37" fmla="*/ 25 h 126"/>
                <a:gd name="T38" fmla="*/ 26 w 205"/>
                <a:gd name="T39" fmla="*/ 32 h 126"/>
                <a:gd name="T40" fmla="*/ 29 w 205"/>
                <a:gd name="T41" fmla="*/ 38 h 126"/>
                <a:gd name="T42" fmla="*/ 18 w 205"/>
                <a:gd name="T43" fmla="*/ 38 h 126"/>
                <a:gd name="T44" fmla="*/ 9 w 205"/>
                <a:gd name="T45" fmla="*/ 40 h 126"/>
                <a:gd name="T46" fmla="*/ 15 w 205"/>
                <a:gd name="T47" fmla="*/ 50 h 126"/>
                <a:gd name="T48" fmla="*/ 10 w 205"/>
                <a:gd name="T49" fmla="*/ 59 h 126"/>
                <a:gd name="T50" fmla="*/ 12 w 205"/>
                <a:gd name="T51" fmla="*/ 64 h 126"/>
                <a:gd name="T52" fmla="*/ 10 w 205"/>
                <a:gd name="T53" fmla="*/ 68 h 126"/>
                <a:gd name="T54" fmla="*/ 5 w 205"/>
                <a:gd name="T55" fmla="*/ 69 h 126"/>
                <a:gd name="T56" fmla="*/ 7 w 205"/>
                <a:gd name="T57" fmla="*/ 76 h 126"/>
                <a:gd name="T58" fmla="*/ 9 w 205"/>
                <a:gd name="T59" fmla="*/ 85 h 126"/>
                <a:gd name="T60" fmla="*/ 19 w 205"/>
                <a:gd name="T61" fmla="*/ 96 h 126"/>
                <a:gd name="T62" fmla="*/ 29 w 205"/>
                <a:gd name="T63" fmla="*/ 105 h 126"/>
                <a:gd name="T64" fmla="*/ 35 w 205"/>
                <a:gd name="T65" fmla="*/ 110 h 126"/>
                <a:gd name="T66" fmla="*/ 37 w 205"/>
                <a:gd name="T67" fmla="*/ 113 h 126"/>
                <a:gd name="T68" fmla="*/ 39 w 205"/>
                <a:gd name="T69" fmla="*/ 116 h 126"/>
                <a:gd name="T70" fmla="*/ 48 w 205"/>
                <a:gd name="T71" fmla="*/ 118 h 126"/>
                <a:gd name="T72" fmla="*/ 55 w 205"/>
                <a:gd name="T73" fmla="*/ 123 h 126"/>
                <a:gd name="T74" fmla="*/ 62 w 205"/>
                <a:gd name="T75" fmla="*/ 124 h 126"/>
                <a:gd name="T76" fmla="*/ 74 w 205"/>
                <a:gd name="T77" fmla="*/ 124 h 126"/>
                <a:gd name="T78" fmla="*/ 84 w 205"/>
                <a:gd name="T79" fmla="*/ 118 h 126"/>
                <a:gd name="T80" fmla="*/ 92 w 205"/>
                <a:gd name="T81" fmla="*/ 115 h 126"/>
                <a:gd name="T82" fmla="*/ 99 w 205"/>
                <a:gd name="T83" fmla="*/ 115 h 126"/>
                <a:gd name="T84" fmla="*/ 103 w 205"/>
                <a:gd name="T85" fmla="*/ 112 h 126"/>
                <a:gd name="T86" fmla="*/ 107 w 205"/>
                <a:gd name="T87" fmla="*/ 107 h 126"/>
                <a:gd name="T88" fmla="*/ 118 w 205"/>
                <a:gd name="T89" fmla="*/ 107 h 126"/>
                <a:gd name="T90" fmla="*/ 129 w 205"/>
                <a:gd name="T91" fmla="*/ 109 h 126"/>
                <a:gd name="T92" fmla="*/ 135 w 205"/>
                <a:gd name="T93" fmla="*/ 107 h 126"/>
                <a:gd name="T94" fmla="*/ 143 w 205"/>
                <a:gd name="T95" fmla="*/ 106 h 126"/>
                <a:gd name="T96" fmla="*/ 155 w 205"/>
                <a:gd name="T97" fmla="*/ 101 h 126"/>
                <a:gd name="T98" fmla="*/ 159 w 205"/>
                <a:gd name="T99" fmla="*/ 95 h 126"/>
                <a:gd name="T100" fmla="*/ 160 w 205"/>
                <a:gd name="T101" fmla="*/ 87 h 126"/>
                <a:gd name="T102" fmla="*/ 166 w 205"/>
                <a:gd name="T103" fmla="*/ 84 h 126"/>
                <a:gd name="T104" fmla="*/ 168 w 205"/>
                <a:gd name="T105" fmla="*/ 73 h 126"/>
                <a:gd name="T106" fmla="*/ 171 w 205"/>
                <a:gd name="T107" fmla="*/ 66 h 126"/>
                <a:gd name="T108" fmla="*/ 175 w 205"/>
                <a:gd name="T109" fmla="*/ 58 h 126"/>
                <a:gd name="T110" fmla="*/ 179 w 205"/>
                <a:gd name="T111" fmla="*/ 52 h 126"/>
                <a:gd name="T112" fmla="*/ 184 w 205"/>
                <a:gd name="T113" fmla="*/ 44 h 126"/>
                <a:gd name="T114" fmla="*/ 190 w 205"/>
                <a:gd name="T115" fmla="*/ 37 h 126"/>
                <a:gd name="T116" fmla="*/ 197 w 205"/>
                <a:gd name="T117" fmla="*/ 36 h 126"/>
                <a:gd name="T118" fmla="*/ 202 w 205"/>
                <a:gd name="T119" fmla="*/ 32 h 126"/>
                <a:gd name="T120" fmla="*/ 203 w 205"/>
                <a:gd name="T121" fmla="*/ 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5" h="126">
                  <a:moveTo>
                    <a:pt x="203" y="22"/>
                  </a:moveTo>
                  <a:cubicBezTo>
                    <a:pt x="202" y="21"/>
                    <a:pt x="201" y="20"/>
                    <a:pt x="200" y="21"/>
                  </a:cubicBezTo>
                  <a:cubicBezTo>
                    <a:pt x="195" y="22"/>
                    <a:pt x="196" y="17"/>
                    <a:pt x="192" y="15"/>
                  </a:cubicBezTo>
                  <a:cubicBezTo>
                    <a:pt x="191" y="14"/>
                    <a:pt x="189" y="15"/>
                    <a:pt x="188" y="13"/>
                  </a:cubicBezTo>
                  <a:cubicBezTo>
                    <a:pt x="187" y="12"/>
                    <a:pt x="186" y="9"/>
                    <a:pt x="186" y="10"/>
                  </a:cubicBezTo>
                  <a:cubicBezTo>
                    <a:pt x="184" y="10"/>
                    <a:pt x="185" y="7"/>
                    <a:pt x="183" y="7"/>
                  </a:cubicBezTo>
                  <a:cubicBezTo>
                    <a:pt x="181" y="8"/>
                    <a:pt x="180" y="9"/>
                    <a:pt x="178" y="9"/>
                  </a:cubicBezTo>
                  <a:cubicBezTo>
                    <a:pt x="176" y="9"/>
                    <a:pt x="173" y="10"/>
                    <a:pt x="171" y="10"/>
                  </a:cubicBezTo>
                  <a:cubicBezTo>
                    <a:pt x="169" y="10"/>
                    <a:pt x="168" y="10"/>
                    <a:pt x="167" y="8"/>
                  </a:cubicBezTo>
                  <a:cubicBezTo>
                    <a:pt x="166" y="6"/>
                    <a:pt x="166" y="4"/>
                    <a:pt x="163" y="4"/>
                  </a:cubicBezTo>
                  <a:cubicBezTo>
                    <a:pt x="162" y="3"/>
                    <a:pt x="161" y="1"/>
                    <a:pt x="159" y="1"/>
                  </a:cubicBezTo>
                  <a:cubicBezTo>
                    <a:pt x="158" y="1"/>
                    <a:pt x="157" y="1"/>
                    <a:pt x="156" y="1"/>
                  </a:cubicBezTo>
                  <a:cubicBezTo>
                    <a:pt x="155" y="2"/>
                    <a:pt x="156" y="3"/>
                    <a:pt x="155" y="3"/>
                  </a:cubicBezTo>
                  <a:cubicBezTo>
                    <a:pt x="154" y="3"/>
                    <a:pt x="153" y="3"/>
                    <a:pt x="153" y="3"/>
                  </a:cubicBezTo>
                  <a:cubicBezTo>
                    <a:pt x="152" y="3"/>
                    <a:pt x="151" y="3"/>
                    <a:pt x="151" y="3"/>
                  </a:cubicBezTo>
                  <a:cubicBezTo>
                    <a:pt x="148" y="4"/>
                    <a:pt x="143" y="1"/>
                    <a:pt x="140" y="0"/>
                  </a:cubicBezTo>
                  <a:cubicBezTo>
                    <a:pt x="137" y="1"/>
                    <a:pt x="134" y="1"/>
                    <a:pt x="132" y="2"/>
                  </a:cubicBezTo>
                  <a:cubicBezTo>
                    <a:pt x="131" y="2"/>
                    <a:pt x="131" y="4"/>
                    <a:pt x="130" y="5"/>
                  </a:cubicBezTo>
                  <a:cubicBezTo>
                    <a:pt x="129" y="7"/>
                    <a:pt x="129" y="10"/>
                    <a:pt x="127" y="13"/>
                  </a:cubicBezTo>
                  <a:cubicBezTo>
                    <a:pt x="126" y="15"/>
                    <a:pt x="124" y="13"/>
                    <a:pt x="123" y="14"/>
                  </a:cubicBezTo>
                  <a:cubicBezTo>
                    <a:pt x="122" y="15"/>
                    <a:pt x="121" y="14"/>
                    <a:pt x="120" y="16"/>
                  </a:cubicBezTo>
                  <a:cubicBezTo>
                    <a:pt x="120" y="17"/>
                    <a:pt x="119" y="17"/>
                    <a:pt x="118" y="18"/>
                  </a:cubicBezTo>
                  <a:cubicBezTo>
                    <a:pt x="117" y="18"/>
                    <a:pt x="115" y="20"/>
                    <a:pt x="114" y="20"/>
                  </a:cubicBezTo>
                  <a:cubicBezTo>
                    <a:pt x="111" y="20"/>
                    <a:pt x="109" y="16"/>
                    <a:pt x="107" y="16"/>
                  </a:cubicBezTo>
                  <a:cubicBezTo>
                    <a:pt x="104" y="15"/>
                    <a:pt x="103" y="16"/>
                    <a:pt x="102" y="18"/>
                  </a:cubicBezTo>
                  <a:cubicBezTo>
                    <a:pt x="101" y="20"/>
                    <a:pt x="101" y="21"/>
                    <a:pt x="99" y="21"/>
                  </a:cubicBezTo>
                  <a:cubicBezTo>
                    <a:pt x="97" y="21"/>
                    <a:pt x="95" y="23"/>
                    <a:pt x="93" y="23"/>
                  </a:cubicBezTo>
                  <a:cubicBezTo>
                    <a:pt x="91" y="22"/>
                    <a:pt x="89" y="22"/>
                    <a:pt x="88" y="22"/>
                  </a:cubicBezTo>
                  <a:cubicBezTo>
                    <a:pt x="85" y="22"/>
                    <a:pt x="83" y="23"/>
                    <a:pt x="81" y="24"/>
                  </a:cubicBezTo>
                  <a:cubicBezTo>
                    <a:pt x="81" y="25"/>
                    <a:pt x="80" y="26"/>
                    <a:pt x="80" y="26"/>
                  </a:cubicBezTo>
                  <a:cubicBezTo>
                    <a:pt x="79" y="27"/>
                    <a:pt x="79" y="30"/>
                    <a:pt x="80" y="31"/>
                  </a:cubicBezTo>
                  <a:cubicBezTo>
                    <a:pt x="80" y="31"/>
                    <a:pt x="82" y="32"/>
                    <a:pt x="82" y="34"/>
                  </a:cubicBezTo>
                  <a:cubicBezTo>
                    <a:pt x="82" y="33"/>
                    <a:pt x="77" y="36"/>
                    <a:pt x="77" y="36"/>
                  </a:cubicBezTo>
                  <a:cubicBezTo>
                    <a:pt x="74" y="36"/>
                    <a:pt x="71" y="36"/>
                    <a:pt x="68" y="36"/>
                  </a:cubicBezTo>
                  <a:cubicBezTo>
                    <a:pt x="64" y="37"/>
                    <a:pt x="61" y="36"/>
                    <a:pt x="57" y="36"/>
                  </a:cubicBezTo>
                  <a:cubicBezTo>
                    <a:pt x="54" y="36"/>
                    <a:pt x="50" y="38"/>
                    <a:pt x="47" y="36"/>
                  </a:cubicBezTo>
                  <a:cubicBezTo>
                    <a:pt x="45" y="33"/>
                    <a:pt x="42" y="33"/>
                    <a:pt x="40" y="30"/>
                  </a:cubicBezTo>
                  <a:cubicBezTo>
                    <a:pt x="38" y="28"/>
                    <a:pt x="36" y="26"/>
                    <a:pt x="34" y="25"/>
                  </a:cubicBezTo>
                  <a:cubicBezTo>
                    <a:pt x="32" y="24"/>
                    <a:pt x="29" y="25"/>
                    <a:pt x="29" y="28"/>
                  </a:cubicBezTo>
                  <a:cubicBezTo>
                    <a:pt x="29" y="30"/>
                    <a:pt x="27" y="30"/>
                    <a:pt x="26" y="32"/>
                  </a:cubicBezTo>
                  <a:cubicBezTo>
                    <a:pt x="26" y="32"/>
                    <a:pt x="28" y="33"/>
                    <a:pt x="28" y="34"/>
                  </a:cubicBezTo>
                  <a:cubicBezTo>
                    <a:pt x="28" y="35"/>
                    <a:pt x="28" y="37"/>
                    <a:pt x="29" y="38"/>
                  </a:cubicBezTo>
                  <a:cubicBezTo>
                    <a:pt x="27" y="39"/>
                    <a:pt x="23" y="37"/>
                    <a:pt x="21" y="39"/>
                  </a:cubicBezTo>
                  <a:cubicBezTo>
                    <a:pt x="20" y="41"/>
                    <a:pt x="19" y="38"/>
                    <a:pt x="18" y="38"/>
                  </a:cubicBezTo>
                  <a:cubicBezTo>
                    <a:pt x="17" y="37"/>
                    <a:pt x="11" y="36"/>
                    <a:pt x="12" y="37"/>
                  </a:cubicBezTo>
                  <a:cubicBezTo>
                    <a:pt x="13" y="39"/>
                    <a:pt x="9" y="39"/>
                    <a:pt x="9" y="40"/>
                  </a:cubicBezTo>
                  <a:cubicBezTo>
                    <a:pt x="12" y="41"/>
                    <a:pt x="15" y="41"/>
                    <a:pt x="17" y="44"/>
                  </a:cubicBezTo>
                  <a:cubicBezTo>
                    <a:pt x="18" y="46"/>
                    <a:pt x="16" y="48"/>
                    <a:pt x="15" y="50"/>
                  </a:cubicBezTo>
                  <a:cubicBezTo>
                    <a:pt x="13" y="53"/>
                    <a:pt x="8" y="50"/>
                    <a:pt x="11" y="55"/>
                  </a:cubicBezTo>
                  <a:cubicBezTo>
                    <a:pt x="12" y="58"/>
                    <a:pt x="10" y="57"/>
                    <a:pt x="10" y="59"/>
                  </a:cubicBezTo>
                  <a:cubicBezTo>
                    <a:pt x="10" y="60"/>
                    <a:pt x="10" y="63"/>
                    <a:pt x="10" y="63"/>
                  </a:cubicBezTo>
                  <a:cubicBezTo>
                    <a:pt x="11" y="64"/>
                    <a:pt x="13" y="62"/>
                    <a:pt x="12" y="64"/>
                  </a:cubicBezTo>
                  <a:cubicBezTo>
                    <a:pt x="12" y="65"/>
                    <a:pt x="10" y="67"/>
                    <a:pt x="12" y="67"/>
                  </a:cubicBezTo>
                  <a:cubicBezTo>
                    <a:pt x="11" y="68"/>
                    <a:pt x="11" y="68"/>
                    <a:pt x="10" y="68"/>
                  </a:cubicBezTo>
                  <a:cubicBezTo>
                    <a:pt x="10" y="68"/>
                    <a:pt x="12" y="68"/>
                    <a:pt x="12" y="69"/>
                  </a:cubicBezTo>
                  <a:cubicBezTo>
                    <a:pt x="11" y="71"/>
                    <a:pt x="6" y="70"/>
                    <a:pt x="5" y="69"/>
                  </a:cubicBezTo>
                  <a:cubicBezTo>
                    <a:pt x="5" y="72"/>
                    <a:pt x="2" y="74"/>
                    <a:pt x="0" y="76"/>
                  </a:cubicBezTo>
                  <a:cubicBezTo>
                    <a:pt x="2" y="77"/>
                    <a:pt x="5" y="74"/>
                    <a:pt x="7" y="76"/>
                  </a:cubicBezTo>
                  <a:cubicBezTo>
                    <a:pt x="8" y="77"/>
                    <a:pt x="6" y="80"/>
                    <a:pt x="7" y="82"/>
                  </a:cubicBezTo>
                  <a:cubicBezTo>
                    <a:pt x="8" y="82"/>
                    <a:pt x="11" y="85"/>
                    <a:pt x="9" y="85"/>
                  </a:cubicBezTo>
                  <a:cubicBezTo>
                    <a:pt x="8" y="85"/>
                    <a:pt x="12" y="89"/>
                    <a:pt x="12" y="90"/>
                  </a:cubicBezTo>
                  <a:cubicBezTo>
                    <a:pt x="15" y="92"/>
                    <a:pt x="17" y="93"/>
                    <a:pt x="19" y="96"/>
                  </a:cubicBezTo>
                  <a:cubicBezTo>
                    <a:pt x="21" y="98"/>
                    <a:pt x="23" y="98"/>
                    <a:pt x="24" y="100"/>
                  </a:cubicBezTo>
                  <a:cubicBezTo>
                    <a:pt x="25" y="103"/>
                    <a:pt x="27" y="104"/>
                    <a:pt x="29" y="105"/>
                  </a:cubicBezTo>
                  <a:cubicBezTo>
                    <a:pt x="31" y="106"/>
                    <a:pt x="33" y="106"/>
                    <a:pt x="34" y="109"/>
                  </a:cubicBezTo>
                  <a:cubicBezTo>
                    <a:pt x="34" y="109"/>
                    <a:pt x="35" y="110"/>
                    <a:pt x="35" y="110"/>
                  </a:cubicBezTo>
                  <a:cubicBezTo>
                    <a:pt x="35" y="110"/>
                    <a:pt x="35" y="110"/>
                    <a:pt x="34" y="110"/>
                  </a:cubicBezTo>
                  <a:cubicBezTo>
                    <a:pt x="37" y="110"/>
                    <a:pt x="36" y="113"/>
                    <a:pt x="37" y="113"/>
                  </a:cubicBezTo>
                  <a:cubicBezTo>
                    <a:pt x="35" y="113"/>
                    <a:pt x="38" y="114"/>
                    <a:pt x="38" y="115"/>
                  </a:cubicBezTo>
                  <a:cubicBezTo>
                    <a:pt x="40" y="114"/>
                    <a:pt x="41" y="116"/>
                    <a:pt x="39" y="116"/>
                  </a:cubicBezTo>
                  <a:cubicBezTo>
                    <a:pt x="40" y="116"/>
                    <a:pt x="41" y="117"/>
                    <a:pt x="41" y="117"/>
                  </a:cubicBezTo>
                  <a:cubicBezTo>
                    <a:pt x="43" y="116"/>
                    <a:pt x="46" y="116"/>
                    <a:pt x="48" y="118"/>
                  </a:cubicBezTo>
                  <a:cubicBezTo>
                    <a:pt x="50" y="121"/>
                    <a:pt x="49" y="122"/>
                    <a:pt x="52" y="122"/>
                  </a:cubicBezTo>
                  <a:cubicBezTo>
                    <a:pt x="53" y="122"/>
                    <a:pt x="54" y="122"/>
                    <a:pt x="55" y="123"/>
                  </a:cubicBezTo>
                  <a:cubicBezTo>
                    <a:pt x="56" y="125"/>
                    <a:pt x="55" y="124"/>
                    <a:pt x="56" y="124"/>
                  </a:cubicBezTo>
                  <a:cubicBezTo>
                    <a:pt x="58" y="124"/>
                    <a:pt x="60" y="124"/>
                    <a:pt x="62" y="124"/>
                  </a:cubicBezTo>
                  <a:cubicBezTo>
                    <a:pt x="63" y="124"/>
                    <a:pt x="65" y="124"/>
                    <a:pt x="67" y="125"/>
                  </a:cubicBezTo>
                  <a:cubicBezTo>
                    <a:pt x="69" y="125"/>
                    <a:pt x="72" y="126"/>
                    <a:pt x="74" y="124"/>
                  </a:cubicBezTo>
                  <a:cubicBezTo>
                    <a:pt x="76" y="122"/>
                    <a:pt x="78" y="123"/>
                    <a:pt x="79" y="120"/>
                  </a:cubicBezTo>
                  <a:cubicBezTo>
                    <a:pt x="81" y="117"/>
                    <a:pt x="83" y="120"/>
                    <a:pt x="84" y="118"/>
                  </a:cubicBezTo>
                  <a:cubicBezTo>
                    <a:pt x="85" y="117"/>
                    <a:pt x="89" y="117"/>
                    <a:pt x="90" y="117"/>
                  </a:cubicBezTo>
                  <a:cubicBezTo>
                    <a:pt x="89" y="115"/>
                    <a:pt x="92" y="116"/>
                    <a:pt x="92" y="115"/>
                  </a:cubicBezTo>
                  <a:cubicBezTo>
                    <a:pt x="91" y="114"/>
                    <a:pt x="94" y="111"/>
                    <a:pt x="94" y="114"/>
                  </a:cubicBezTo>
                  <a:cubicBezTo>
                    <a:pt x="95" y="115"/>
                    <a:pt x="98" y="115"/>
                    <a:pt x="99" y="115"/>
                  </a:cubicBezTo>
                  <a:cubicBezTo>
                    <a:pt x="99" y="114"/>
                    <a:pt x="99" y="114"/>
                    <a:pt x="99" y="113"/>
                  </a:cubicBezTo>
                  <a:cubicBezTo>
                    <a:pt x="100" y="112"/>
                    <a:pt x="102" y="113"/>
                    <a:pt x="103" y="112"/>
                  </a:cubicBezTo>
                  <a:cubicBezTo>
                    <a:pt x="103" y="111"/>
                    <a:pt x="104" y="111"/>
                    <a:pt x="105" y="110"/>
                  </a:cubicBezTo>
                  <a:cubicBezTo>
                    <a:pt x="105" y="109"/>
                    <a:pt x="106" y="107"/>
                    <a:pt x="107" y="107"/>
                  </a:cubicBezTo>
                  <a:cubicBezTo>
                    <a:pt x="109" y="105"/>
                    <a:pt x="112" y="108"/>
                    <a:pt x="114" y="108"/>
                  </a:cubicBezTo>
                  <a:cubicBezTo>
                    <a:pt x="116" y="108"/>
                    <a:pt x="117" y="107"/>
                    <a:pt x="118" y="107"/>
                  </a:cubicBezTo>
                  <a:cubicBezTo>
                    <a:pt x="119" y="107"/>
                    <a:pt x="120" y="107"/>
                    <a:pt x="121" y="108"/>
                  </a:cubicBezTo>
                  <a:cubicBezTo>
                    <a:pt x="124" y="108"/>
                    <a:pt x="126" y="107"/>
                    <a:pt x="129" y="109"/>
                  </a:cubicBezTo>
                  <a:cubicBezTo>
                    <a:pt x="129" y="107"/>
                    <a:pt x="131" y="107"/>
                    <a:pt x="132" y="107"/>
                  </a:cubicBezTo>
                  <a:cubicBezTo>
                    <a:pt x="133" y="107"/>
                    <a:pt x="134" y="108"/>
                    <a:pt x="135" y="107"/>
                  </a:cubicBezTo>
                  <a:cubicBezTo>
                    <a:pt x="135" y="107"/>
                    <a:pt x="135" y="107"/>
                    <a:pt x="135" y="106"/>
                  </a:cubicBezTo>
                  <a:cubicBezTo>
                    <a:pt x="139" y="106"/>
                    <a:pt x="140" y="110"/>
                    <a:pt x="143" y="106"/>
                  </a:cubicBezTo>
                  <a:cubicBezTo>
                    <a:pt x="144" y="103"/>
                    <a:pt x="144" y="101"/>
                    <a:pt x="148" y="103"/>
                  </a:cubicBezTo>
                  <a:cubicBezTo>
                    <a:pt x="151" y="103"/>
                    <a:pt x="153" y="104"/>
                    <a:pt x="155" y="101"/>
                  </a:cubicBezTo>
                  <a:cubicBezTo>
                    <a:pt x="157" y="100"/>
                    <a:pt x="156" y="99"/>
                    <a:pt x="157" y="97"/>
                  </a:cubicBezTo>
                  <a:cubicBezTo>
                    <a:pt x="157" y="96"/>
                    <a:pt x="159" y="96"/>
                    <a:pt x="159" y="95"/>
                  </a:cubicBezTo>
                  <a:cubicBezTo>
                    <a:pt x="160" y="94"/>
                    <a:pt x="158" y="93"/>
                    <a:pt x="159" y="91"/>
                  </a:cubicBezTo>
                  <a:cubicBezTo>
                    <a:pt x="160" y="90"/>
                    <a:pt x="160" y="89"/>
                    <a:pt x="160" y="87"/>
                  </a:cubicBezTo>
                  <a:cubicBezTo>
                    <a:pt x="161" y="85"/>
                    <a:pt x="163" y="87"/>
                    <a:pt x="164" y="85"/>
                  </a:cubicBezTo>
                  <a:cubicBezTo>
                    <a:pt x="164" y="83"/>
                    <a:pt x="165" y="85"/>
                    <a:pt x="166" y="84"/>
                  </a:cubicBezTo>
                  <a:cubicBezTo>
                    <a:pt x="167" y="82"/>
                    <a:pt x="164" y="79"/>
                    <a:pt x="167" y="77"/>
                  </a:cubicBezTo>
                  <a:cubicBezTo>
                    <a:pt x="169" y="76"/>
                    <a:pt x="168" y="75"/>
                    <a:pt x="168" y="73"/>
                  </a:cubicBezTo>
                  <a:cubicBezTo>
                    <a:pt x="169" y="72"/>
                    <a:pt x="171" y="72"/>
                    <a:pt x="171" y="69"/>
                  </a:cubicBezTo>
                  <a:cubicBezTo>
                    <a:pt x="170" y="68"/>
                    <a:pt x="169" y="68"/>
                    <a:pt x="171" y="66"/>
                  </a:cubicBezTo>
                  <a:cubicBezTo>
                    <a:pt x="172" y="65"/>
                    <a:pt x="173" y="65"/>
                    <a:pt x="174" y="63"/>
                  </a:cubicBezTo>
                  <a:cubicBezTo>
                    <a:pt x="174" y="61"/>
                    <a:pt x="175" y="60"/>
                    <a:pt x="175" y="58"/>
                  </a:cubicBezTo>
                  <a:cubicBezTo>
                    <a:pt x="175" y="57"/>
                    <a:pt x="176" y="56"/>
                    <a:pt x="176" y="55"/>
                  </a:cubicBezTo>
                  <a:cubicBezTo>
                    <a:pt x="177" y="54"/>
                    <a:pt x="179" y="54"/>
                    <a:pt x="179" y="52"/>
                  </a:cubicBezTo>
                  <a:cubicBezTo>
                    <a:pt x="180" y="51"/>
                    <a:pt x="179" y="50"/>
                    <a:pt x="179" y="48"/>
                  </a:cubicBezTo>
                  <a:cubicBezTo>
                    <a:pt x="180" y="45"/>
                    <a:pt x="182" y="45"/>
                    <a:pt x="184" y="44"/>
                  </a:cubicBezTo>
                  <a:cubicBezTo>
                    <a:pt x="185" y="43"/>
                    <a:pt x="185" y="41"/>
                    <a:pt x="185" y="40"/>
                  </a:cubicBezTo>
                  <a:cubicBezTo>
                    <a:pt x="186" y="38"/>
                    <a:pt x="188" y="37"/>
                    <a:pt x="190" y="37"/>
                  </a:cubicBezTo>
                  <a:cubicBezTo>
                    <a:pt x="192" y="38"/>
                    <a:pt x="191" y="36"/>
                    <a:pt x="192" y="35"/>
                  </a:cubicBezTo>
                  <a:cubicBezTo>
                    <a:pt x="193" y="34"/>
                    <a:pt x="195" y="36"/>
                    <a:pt x="197" y="36"/>
                  </a:cubicBezTo>
                  <a:cubicBezTo>
                    <a:pt x="198" y="36"/>
                    <a:pt x="199" y="35"/>
                    <a:pt x="200" y="34"/>
                  </a:cubicBezTo>
                  <a:cubicBezTo>
                    <a:pt x="201" y="33"/>
                    <a:pt x="202" y="33"/>
                    <a:pt x="202" y="32"/>
                  </a:cubicBezTo>
                  <a:cubicBezTo>
                    <a:pt x="203" y="30"/>
                    <a:pt x="204" y="29"/>
                    <a:pt x="205" y="28"/>
                  </a:cubicBezTo>
                  <a:cubicBezTo>
                    <a:pt x="203" y="27"/>
                    <a:pt x="205" y="24"/>
                    <a:pt x="203" y="22"/>
                  </a:cubicBezTo>
                  <a:close/>
                </a:path>
              </a:pathLst>
            </a:custGeom>
            <a:grp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0" name="TextBox 9">
            <a:extLst>
              <a:ext uri="{FF2B5EF4-FFF2-40B4-BE49-F238E27FC236}">
                <a16:creationId xmlns:a16="http://schemas.microsoft.com/office/drawing/2014/main" id="{FBF5ECF3-55C4-86AA-6D63-34F892272A2D}"/>
              </a:ext>
            </a:extLst>
          </p:cNvPr>
          <p:cNvSpPr txBox="1"/>
          <p:nvPr/>
        </p:nvSpPr>
        <p:spPr>
          <a:xfrm>
            <a:off x="622045" y="1884480"/>
            <a:ext cx="3066035" cy="111569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Performance Improvement Playbook</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Landscape Analysis on emerging technologies</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Business Review Data &amp; Analytics Section</a:t>
            </a:r>
          </a:p>
          <a:p>
            <a:pPr marL="203200" indent="-203200">
              <a:spcBef>
                <a:spcPts val="600"/>
              </a:spcBef>
              <a:buSzPct val="100000"/>
              <a:buFont typeface="Arial"/>
              <a:buChar char="•"/>
            </a:pPr>
            <a:r>
              <a:rPr lang="en-US" sz="10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CryptoFund</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Strategy Advisory Services</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Global Technical Teams </a:t>
            </a:r>
            <a:r>
              <a:rPr lang="en-US" sz="10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programme</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roll-out</a:t>
            </a:r>
          </a:p>
        </p:txBody>
      </p:sp>
      <p:pic>
        <p:nvPicPr>
          <p:cNvPr id="11" name="Picture 8">
            <a:extLst>
              <a:ext uri="{FF2B5EF4-FFF2-40B4-BE49-F238E27FC236}">
                <a16:creationId xmlns:a16="http://schemas.microsoft.com/office/drawing/2014/main" id="{757DDCB2-54E8-4671-7399-EB41A2A4B7E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176371" y="2434269"/>
            <a:ext cx="936000" cy="23400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FEF57CDC-E1C2-668A-1703-E3855AD55D2C}"/>
              </a:ext>
            </a:extLst>
          </p:cNvPr>
          <p:cNvSpPr txBox="1"/>
          <p:nvPr/>
        </p:nvSpPr>
        <p:spPr>
          <a:xfrm>
            <a:off x="622046" y="3167648"/>
            <a:ext cx="3066035" cy="146193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Supporting the enhancement of talent acquisition (Hungary, 2022)</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Optimization of UNHCR’s internal Service Delivery Model</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Results-based Management solution, BOARD Implementation and Support Services</a:t>
            </a:r>
          </a:p>
          <a:p>
            <a:pPr marL="203200" indent="-203200">
              <a:spcBef>
                <a:spcPts val="600"/>
              </a:spcBef>
              <a:buSzPct val="100000"/>
              <a:buFont typeface="Arial"/>
              <a:buChar char="•"/>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Supporting the efficiency improvement of the HRSS function (Hungary, 2023)</a:t>
            </a:r>
          </a:p>
        </p:txBody>
      </p:sp>
      <p:pic>
        <p:nvPicPr>
          <p:cNvPr id="13" name="Picture 12" descr="A blue and black logo&#10;&#10;Description automatically generated">
            <a:extLst>
              <a:ext uri="{FF2B5EF4-FFF2-40B4-BE49-F238E27FC236}">
                <a16:creationId xmlns:a16="http://schemas.microsoft.com/office/drawing/2014/main" id="{8B755DE1-C62D-B507-D85F-8F3936F0522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73725" y="3471700"/>
            <a:ext cx="612000" cy="760964"/>
          </a:xfrm>
          <a:prstGeom prst="rect">
            <a:avLst/>
          </a:prstGeom>
        </p:spPr>
      </p:pic>
      <p:sp>
        <p:nvSpPr>
          <p:cNvPr id="14" name="TextBox 13">
            <a:extLst>
              <a:ext uri="{FF2B5EF4-FFF2-40B4-BE49-F238E27FC236}">
                <a16:creationId xmlns:a16="http://schemas.microsoft.com/office/drawing/2014/main" id="{6FE1F122-CABF-4742-E034-01F8BD18CDDD}"/>
              </a:ext>
            </a:extLst>
          </p:cNvPr>
          <p:cNvSpPr txBox="1"/>
          <p:nvPr/>
        </p:nvSpPr>
        <p:spPr>
          <a:xfrm>
            <a:off x="8609651" y="3454867"/>
            <a:ext cx="3083154" cy="92333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Country Program Monitor (CPM) for providing monitoring &amp; evaluation services for projects</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Long Term Agreement for Enterprise Risk Management</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Organization Design</a:t>
            </a:r>
          </a:p>
        </p:txBody>
      </p:sp>
      <p:sp>
        <p:nvSpPr>
          <p:cNvPr id="15" name="TextBox 14">
            <a:extLst>
              <a:ext uri="{FF2B5EF4-FFF2-40B4-BE49-F238E27FC236}">
                <a16:creationId xmlns:a16="http://schemas.microsoft.com/office/drawing/2014/main" id="{FB495961-F5BD-D236-409D-EC2A65D16A4B}"/>
              </a:ext>
            </a:extLst>
          </p:cNvPr>
          <p:cNvSpPr txBox="1"/>
          <p:nvPr/>
        </p:nvSpPr>
        <p:spPr>
          <a:xfrm>
            <a:off x="8609651" y="2355553"/>
            <a:ext cx="3083154" cy="384721"/>
          </a:xfrm>
          <a:prstGeom prst="rect">
            <a:avLst/>
          </a:prstGeom>
          <a:noFill/>
        </p:spPr>
        <p:txBody>
          <a:bodyPr wrap="square" lIns="0" tIns="0" rIns="0" bIns="0" rtlCol="0">
            <a:spAutoFit/>
          </a:bodyPr>
          <a:lstStyle>
            <a:defPPr>
              <a:defRPr lang="en-US"/>
            </a:defPPr>
            <a:lvl1pPr marL="203200" indent="-203200">
              <a:spcBef>
                <a:spcPts val="600"/>
              </a:spcBef>
              <a:buSzPct val="100000"/>
              <a:buFont typeface="Arial"/>
              <a:buChar char="•"/>
              <a:defRPr sz="1100">
                <a:solidFill>
                  <a:srgbClr val="313131"/>
                </a:solidFill>
              </a:defRPr>
            </a:lvl1pPr>
          </a:lstStyle>
          <a:p>
            <a:r>
              <a:rPr lang="en-US" sz="1000" dirty="0">
                <a:latin typeface="Open Sans" panose="020B0606030504020204" pitchFamily="34" charset="0"/>
                <a:ea typeface="Open Sans" panose="020B0606030504020204" pitchFamily="34" charset="0"/>
                <a:cs typeface="Open Sans" panose="020B0606030504020204" pitchFamily="34" charset="0"/>
              </a:rPr>
              <a:t>End to end supply chain process assessment</a:t>
            </a:r>
          </a:p>
          <a:p>
            <a:r>
              <a:rPr lang="en-US" sz="1000" dirty="0">
                <a:latin typeface="Open Sans" panose="020B0606030504020204" pitchFamily="34" charset="0"/>
                <a:ea typeface="Open Sans" panose="020B0606030504020204" pitchFamily="34" charset="0"/>
                <a:cs typeface="Open Sans" panose="020B0606030504020204" pitchFamily="34" charset="0"/>
              </a:rPr>
              <a:t>SAP and GRC Framework Evolution</a:t>
            </a:r>
          </a:p>
        </p:txBody>
      </p:sp>
      <p:pic>
        <p:nvPicPr>
          <p:cNvPr id="16" name="Picture 26" descr="Storybook">
            <a:extLst>
              <a:ext uri="{FF2B5EF4-FFF2-40B4-BE49-F238E27FC236}">
                <a16:creationId xmlns:a16="http://schemas.microsoft.com/office/drawing/2014/main" id="{C425CEFC-CC0C-5444-8C74-11965B93E5C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057984" y="2339878"/>
            <a:ext cx="1008000" cy="442908"/>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C73739E8-C329-BFE8-3993-E9A0441CF6DF}"/>
              </a:ext>
            </a:extLst>
          </p:cNvPr>
          <p:cNvSpPr txBox="1"/>
          <p:nvPr/>
        </p:nvSpPr>
        <p:spPr>
          <a:xfrm>
            <a:off x="622046" y="4955136"/>
            <a:ext cx="3066035" cy="69249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Analytics end to end data processes and systems</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Data Transformation Project: Functional and Technical Support for Priority Data Initiatives</a:t>
            </a:r>
          </a:p>
        </p:txBody>
      </p:sp>
      <p:sp>
        <p:nvSpPr>
          <p:cNvPr id="24" name="TextBox 23">
            <a:extLst>
              <a:ext uri="{FF2B5EF4-FFF2-40B4-BE49-F238E27FC236}">
                <a16:creationId xmlns:a16="http://schemas.microsoft.com/office/drawing/2014/main" id="{0E95D16A-028A-4B76-20AF-C762B529AA44}"/>
              </a:ext>
            </a:extLst>
          </p:cNvPr>
          <p:cNvSpPr txBox="1"/>
          <p:nvPr/>
        </p:nvSpPr>
        <p:spPr>
          <a:xfrm>
            <a:off x="8609651" y="4809757"/>
            <a:ext cx="3083154" cy="84638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Development Global Data Guiderails</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Open Data Portal Modernization</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Development Global Data Strategy</a:t>
            </a:r>
          </a:p>
          <a:p>
            <a:pPr marL="203200" indent="-203200">
              <a:spcBef>
                <a:spcPts val="600"/>
              </a:spcBef>
              <a:buSzPct val="100000"/>
              <a:buFont typeface="Arial"/>
              <a:buChar cha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Setup of CDO office governance</a:t>
            </a:r>
          </a:p>
        </p:txBody>
      </p:sp>
      <p:pic>
        <p:nvPicPr>
          <p:cNvPr id="27" name="Picture 24" descr="Undp Logo PNG Vectors Free Download">
            <a:extLst>
              <a:ext uri="{FF2B5EF4-FFF2-40B4-BE49-F238E27FC236}">
                <a16:creationId xmlns:a16="http://schemas.microsoft.com/office/drawing/2014/main" id="{BE1C19EE-31DC-5C7F-63F4-AEA27440FEAD}"/>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147180" y="5020201"/>
            <a:ext cx="828000" cy="4084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2" descr="United Nations Office for Project Services - UNOPS Europe | Genève  internationale">
            <a:extLst>
              <a:ext uri="{FF2B5EF4-FFF2-40B4-BE49-F238E27FC236}">
                <a16:creationId xmlns:a16="http://schemas.microsoft.com/office/drawing/2014/main" id="{BA410468-3B91-F928-1216-C705FF944F4D}"/>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578152" y="3519277"/>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AABA2988-64EF-FD97-8057-B6EC73B15BF8}"/>
              </a:ext>
            </a:extLst>
          </p:cNvPr>
          <p:cNvSpPr/>
          <p:nvPr/>
        </p:nvSpPr>
        <p:spPr bwMode="gray">
          <a:xfrm>
            <a:off x="7396457" y="3327326"/>
            <a:ext cx="1080000" cy="1080000"/>
          </a:xfrm>
          <a:prstGeom prst="ellipse">
            <a:avLst/>
          </a:prstGeom>
          <a:noFill/>
          <a:ln w="1270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Oval 4">
            <a:extLst>
              <a:ext uri="{FF2B5EF4-FFF2-40B4-BE49-F238E27FC236}">
                <a16:creationId xmlns:a16="http://schemas.microsoft.com/office/drawing/2014/main" id="{3F4B4291-EBC1-C477-D73D-322CC736DC07}"/>
              </a:ext>
            </a:extLst>
          </p:cNvPr>
          <p:cNvSpPr/>
          <p:nvPr/>
        </p:nvSpPr>
        <p:spPr bwMode="gray">
          <a:xfrm>
            <a:off x="3713529" y="3326322"/>
            <a:ext cx="1080000" cy="1080000"/>
          </a:xfrm>
          <a:prstGeom prst="ellipse">
            <a:avLst/>
          </a:prstGeom>
          <a:noFill/>
          <a:ln w="1270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DA05D64-212F-54D7-CBB8-4BB3D5DDED9D}"/>
              </a:ext>
            </a:extLst>
          </p:cNvPr>
          <p:cNvSpPr/>
          <p:nvPr/>
        </p:nvSpPr>
        <p:spPr bwMode="gray">
          <a:xfrm>
            <a:off x="4090822" y="4692950"/>
            <a:ext cx="1080000" cy="1080000"/>
          </a:xfrm>
          <a:prstGeom prst="ellipse">
            <a:avLst/>
          </a:prstGeom>
          <a:noFill/>
          <a:ln w="1270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15BD38BA-0EB0-706B-C92A-1F6962C1C272}"/>
              </a:ext>
            </a:extLst>
          </p:cNvPr>
          <p:cNvSpPr/>
          <p:nvPr/>
        </p:nvSpPr>
        <p:spPr bwMode="gray">
          <a:xfrm>
            <a:off x="7021984" y="2015711"/>
            <a:ext cx="1080000" cy="1080000"/>
          </a:xfrm>
          <a:prstGeom prst="ellipse">
            <a:avLst/>
          </a:prstGeom>
          <a:noFill/>
          <a:ln w="1270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Oval 7">
            <a:extLst>
              <a:ext uri="{FF2B5EF4-FFF2-40B4-BE49-F238E27FC236}">
                <a16:creationId xmlns:a16="http://schemas.microsoft.com/office/drawing/2014/main" id="{FC654486-7E8B-D049-7B09-53C82E6BA095}"/>
              </a:ext>
            </a:extLst>
          </p:cNvPr>
          <p:cNvSpPr/>
          <p:nvPr/>
        </p:nvSpPr>
        <p:spPr bwMode="gray">
          <a:xfrm>
            <a:off x="4089067" y="2017075"/>
            <a:ext cx="1080000" cy="1080000"/>
          </a:xfrm>
          <a:prstGeom prst="ellipse">
            <a:avLst/>
          </a:prstGeom>
          <a:noFill/>
          <a:ln w="1270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Oval 16">
            <a:extLst>
              <a:ext uri="{FF2B5EF4-FFF2-40B4-BE49-F238E27FC236}">
                <a16:creationId xmlns:a16="http://schemas.microsoft.com/office/drawing/2014/main" id="{EC57825B-B5AF-05B3-C883-CEA83B29DBFD}"/>
              </a:ext>
            </a:extLst>
          </p:cNvPr>
          <p:cNvSpPr/>
          <p:nvPr/>
        </p:nvSpPr>
        <p:spPr bwMode="gray">
          <a:xfrm>
            <a:off x="7021180" y="4694007"/>
            <a:ext cx="1080000" cy="1080000"/>
          </a:xfrm>
          <a:prstGeom prst="ellipse">
            <a:avLst/>
          </a:prstGeom>
          <a:noFill/>
          <a:ln w="1270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25" name="Straight Connector 24">
            <a:extLst>
              <a:ext uri="{FF2B5EF4-FFF2-40B4-BE49-F238E27FC236}">
                <a16:creationId xmlns:a16="http://schemas.microsoft.com/office/drawing/2014/main" id="{45FF162A-F9AE-98FE-DAB3-FC4465E24F20}"/>
              </a:ext>
            </a:extLst>
          </p:cNvPr>
          <p:cNvCxnSpPr>
            <a:cxnSpLocks/>
          </p:cNvCxnSpPr>
          <p:nvPr/>
        </p:nvCxnSpPr>
        <p:spPr>
          <a:xfrm flipV="1">
            <a:off x="7166844" y="3052313"/>
            <a:ext cx="1150972" cy="3348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11022AC-D857-E3C1-AD51-075FB2B1C728}"/>
              </a:ext>
            </a:extLst>
          </p:cNvPr>
          <p:cNvCxnSpPr>
            <a:cxnSpLocks/>
          </p:cNvCxnSpPr>
          <p:nvPr/>
        </p:nvCxnSpPr>
        <p:spPr>
          <a:xfrm flipH="1" flipV="1">
            <a:off x="3862045" y="3052313"/>
            <a:ext cx="1150972" cy="3348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8D86D1-F19B-9C31-86EF-4006C0CF5EA5}"/>
              </a:ext>
            </a:extLst>
          </p:cNvPr>
          <p:cNvCxnSpPr>
            <a:cxnSpLocks/>
          </p:cNvCxnSpPr>
          <p:nvPr/>
        </p:nvCxnSpPr>
        <p:spPr>
          <a:xfrm>
            <a:off x="7157012" y="4378997"/>
            <a:ext cx="1150972" cy="3348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342E314-3F20-1409-2BD8-C47481BA19B3}"/>
              </a:ext>
            </a:extLst>
          </p:cNvPr>
          <p:cNvCxnSpPr>
            <a:cxnSpLocks/>
          </p:cNvCxnSpPr>
          <p:nvPr/>
        </p:nvCxnSpPr>
        <p:spPr>
          <a:xfrm flipH="1">
            <a:off x="3870512" y="4354188"/>
            <a:ext cx="1155450" cy="33485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C231CCB-A6ED-166E-1A04-59D06D5391EC}"/>
              </a:ext>
            </a:extLst>
          </p:cNvPr>
          <p:cNvCxnSpPr>
            <a:cxnSpLocks/>
          </p:cNvCxnSpPr>
          <p:nvPr/>
        </p:nvCxnSpPr>
        <p:spPr>
          <a:xfrm flipH="1">
            <a:off x="8312900" y="3055102"/>
            <a:ext cx="32400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B6688FB-4DFD-80A3-08E5-7C171F472BAE}"/>
              </a:ext>
            </a:extLst>
          </p:cNvPr>
          <p:cNvCxnSpPr>
            <a:cxnSpLocks/>
          </p:cNvCxnSpPr>
          <p:nvPr/>
        </p:nvCxnSpPr>
        <p:spPr>
          <a:xfrm flipH="1">
            <a:off x="8312900" y="4713856"/>
            <a:ext cx="32400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BE7E9F4-4C24-3EC8-B7A2-475B73591F19}"/>
              </a:ext>
            </a:extLst>
          </p:cNvPr>
          <p:cNvCxnSpPr>
            <a:cxnSpLocks/>
          </p:cNvCxnSpPr>
          <p:nvPr/>
        </p:nvCxnSpPr>
        <p:spPr>
          <a:xfrm flipH="1">
            <a:off x="630512" y="3055102"/>
            <a:ext cx="32400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FDF17F7-617A-57DD-EB05-D308B2781338}"/>
              </a:ext>
            </a:extLst>
          </p:cNvPr>
          <p:cNvCxnSpPr>
            <a:cxnSpLocks/>
          </p:cNvCxnSpPr>
          <p:nvPr/>
        </p:nvCxnSpPr>
        <p:spPr>
          <a:xfrm flipH="1">
            <a:off x="630512" y="4696922"/>
            <a:ext cx="32400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DC25196-93A8-EC00-6525-14934E6D7721}"/>
              </a:ext>
            </a:extLst>
          </p:cNvPr>
          <p:cNvCxnSpPr>
            <a:cxnSpLocks/>
          </p:cNvCxnSpPr>
          <p:nvPr/>
        </p:nvCxnSpPr>
        <p:spPr>
          <a:xfrm flipH="1" flipV="1">
            <a:off x="5094297" y="1807726"/>
            <a:ext cx="997950" cy="8865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A7E43D4-C0E9-CAE1-11EB-04883611C2E8}"/>
              </a:ext>
            </a:extLst>
          </p:cNvPr>
          <p:cNvCxnSpPr>
            <a:cxnSpLocks/>
          </p:cNvCxnSpPr>
          <p:nvPr/>
        </p:nvCxnSpPr>
        <p:spPr>
          <a:xfrm flipH="1">
            <a:off x="622045" y="1792907"/>
            <a:ext cx="447225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0DE1793-0139-DDE0-85EF-DB798BF3B239}"/>
              </a:ext>
            </a:extLst>
          </p:cNvPr>
          <p:cNvCxnSpPr>
            <a:cxnSpLocks/>
          </p:cNvCxnSpPr>
          <p:nvPr/>
        </p:nvCxnSpPr>
        <p:spPr>
          <a:xfrm flipV="1">
            <a:off x="6109616" y="1807726"/>
            <a:ext cx="997950" cy="8865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C03D61D-FEC6-FEC8-405B-77ED53003885}"/>
              </a:ext>
            </a:extLst>
          </p:cNvPr>
          <p:cNvCxnSpPr>
            <a:cxnSpLocks/>
          </p:cNvCxnSpPr>
          <p:nvPr/>
        </p:nvCxnSpPr>
        <p:spPr>
          <a:xfrm flipH="1">
            <a:off x="7107566" y="1807726"/>
            <a:ext cx="44460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C6A1CE0-F8DD-A9C2-8455-6F1D6F3DA7C8}"/>
              </a:ext>
            </a:extLst>
          </p:cNvPr>
          <p:cNvCxnSpPr>
            <a:cxnSpLocks/>
          </p:cNvCxnSpPr>
          <p:nvPr/>
        </p:nvCxnSpPr>
        <p:spPr>
          <a:xfrm flipH="1">
            <a:off x="5100015" y="5017201"/>
            <a:ext cx="997950" cy="8865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5802384-B55A-B1C7-F1D9-02040DB730D1}"/>
              </a:ext>
            </a:extLst>
          </p:cNvPr>
          <p:cNvCxnSpPr>
            <a:cxnSpLocks/>
          </p:cNvCxnSpPr>
          <p:nvPr/>
        </p:nvCxnSpPr>
        <p:spPr>
          <a:xfrm>
            <a:off x="6115334" y="5017201"/>
            <a:ext cx="997950" cy="8865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71ACFF9-8EFB-B77B-CBAD-B93E0B2FB1CD}"/>
              </a:ext>
            </a:extLst>
          </p:cNvPr>
          <p:cNvCxnSpPr>
            <a:cxnSpLocks/>
          </p:cNvCxnSpPr>
          <p:nvPr/>
        </p:nvCxnSpPr>
        <p:spPr>
          <a:xfrm flipH="1">
            <a:off x="7116732" y="5912115"/>
            <a:ext cx="44460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15142D8-3F2F-84A2-BA48-A776A4457D06}"/>
              </a:ext>
            </a:extLst>
          </p:cNvPr>
          <p:cNvCxnSpPr>
            <a:cxnSpLocks/>
          </p:cNvCxnSpPr>
          <p:nvPr/>
        </p:nvCxnSpPr>
        <p:spPr>
          <a:xfrm flipH="1">
            <a:off x="648297" y="5912115"/>
            <a:ext cx="44460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57" name="Picture 14">
            <a:extLst>
              <a:ext uri="{FF2B5EF4-FFF2-40B4-BE49-F238E27FC236}">
                <a16:creationId xmlns:a16="http://schemas.microsoft.com/office/drawing/2014/main" id="{0D2F8884-492B-9679-4999-D435D656EED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332408" y="4909614"/>
            <a:ext cx="612000" cy="629652"/>
          </a:xfrm>
          <a:prstGeom prst="rect">
            <a:avLst/>
          </a:prstGeom>
          <a:noFill/>
          <a:extLst>
            <a:ext uri="{909E8E84-426E-40DD-AFC4-6F175D3DCCD1}">
              <a14:hiddenFill xmlns:a14="http://schemas.microsoft.com/office/drawing/2010/main">
                <a:solidFill>
                  <a:srgbClr val="FFFFFF"/>
                </a:solidFill>
              </a14:hiddenFill>
            </a:ext>
          </a:extLst>
        </p:spPr>
      </p:pic>
      <p:sp>
        <p:nvSpPr>
          <p:cNvPr id="18" name="Oval 17">
            <a:extLst>
              <a:ext uri="{FF2B5EF4-FFF2-40B4-BE49-F238E27FC236}">
                <a16:creationId xmlns:a16="http://schemas.microsoft.com/office/drawing/2014/main" id="{13B16189-C43D-66C9-FAB2-0E38587CA505}"/>
              </a:ext>
            </a:extLst>
          </p:cNvPr>
          <p:cNvSpPr/>
          <p:nvPr/>
        </p:nvSpPr>
        <p:spPr bwMode="gray">
          <a:xfrm>
            <a:off x="4905387" y="2682544"/>
            <a:ext cx="2381226" cy="2349946"/>
          </a:xfrm>
          <a:prstGeom prst="ellipse">
            <a:avLst/>
          </a:prstGeom>
          <a:noFill/>
          <a:ln w="571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0" name="Group 19">
            <a:extLst>
              <a:ext uri="{FF2B5EF4-FFF2-40B4-BE49-F238E27FC236}">
                <a16:creationId xmlns:a16="http://schemas.microsoft.com/office/drawing/2014/main" id="{2ADF1A80-22EC-5525-11B9-2A37122E983B}"/>
              </a:ext>
            </a:extLst>
          </p:cNvPr>
          <p:cNvGrpSpPr>
            <a:grpSpLocks noChangeAspect="1"/>
          </p:cNvGrpSpPr>
          <p:nvPr/>
        </p:nvGrpSpPr>
        <p:grpSpPr>
          <a:xfrm>
            <a:off x="5393541" y="3723976"/>
            <a:ext cx="1404929" cy="267088"/>
            <a:chOff x="398463" y="404813"/>
            <a:chExt cx="1627187" cy="307976"/>
          </a:xfrm>
          <a:solidFill>
            <a:schemeClr val="tx1"/>
          </a:solidFill>
        </p:grpSpPr>
        <p:sp>
          <p:nvSpPr>
            <p:cNvPr id="22" name="Oval 5">
              <a:extLst>
                <a:ext uri="{FF2B5EF4-FFF2-40B4-BE49-F238E27FC236}">
                  <a16:creationId xmlns:a16="http://schemas.microsoft.com/office/drawing/2014/main" id="{F2CB18F7-2156-A273-A95B-03F026F1EFA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6">
              <a:extLst>
                <a:ext uri="{FF2B5EF4-FFF2-40B4-BE49-F238E27FC236}">
                  <a16:creationId xmlns:a16="http://schemas.microsoft.com/office/drawing/2014/main" id="{3D34D54F-EBB0-F47F-9666-14334459FEC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7">
              <a:extLst>
                <a:ext uri="{FF2B5EF4-FFF2-40B4-BE49-F238E27FC236}">
                  <a16:creationId xmlns:a16="http://schemas.microsoft.com/office/drawing/2014/main" id="{70E9C001-E64B-FB5E-5B30-044DB77BDD45}"/>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Freeform 8">
              <a:extLst>
                <a:ext uri="{FF2B5EF4-FFF2-40B4-BE49-F238E27FC236}">
                  <a16:creationId xmlns:a16="http://schemas.microsoft.com/office/drawing/2014/main" id="{A52A350F-330C-7FAA-C0CF-8089A676E2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9">
              <a:extLst>
                <a:ext uri="{FF2B5EF4-FFF2-40B4-BE49-F238E27FC236}">
                  <a16:creationId xmlns:a16="http://schemas.microsoft.com/office/drawing/2014/main" id="{EEAEEE9C-76B5-237A-B8A4-B2FD3A761945}"/>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Rectangle 10">
              <a:extLst>
                <a:ext uri="{FF2B5EF4-FFF2-40B4-BE49-F238E27FC236}">
                  <a16:creationId xmlns:a16="http://schemas.microsoft.com/office/drawing/2014/main" id="{04FEB9C1-5E42-C65F-D4E3-F48F1D7127A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1">
              <a:extLst>
                <a:ext uri="{FF2B5EF4-FFF2-40B4-BE49-F238E27FC236}">
                  <a16:creationId xmlns:a16="http://schemas.microsoft.com/office/drawing/2014/main" id="{54BD87A7-DCCF-2DE9-4A0E-BB946D6642E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1" name="Freeform 12">
              <a:extLst>
                <a:ext uri="{FF2B5EF4-FFF2-40B4-BE49-F238E27FC236}">
                  <a16:creationId xmlns:a16="http://schemas.microsoft.com/office/drawing/2014/main" id="{3D6F5E34-7221-F407-3223-26087DCADF3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2" name="Freeform 13">
              <a:extLst>
                <a:ext uri="{FF2B5EF4-FFF2-40B4-BE49-F238E27FC236}">
                  <a16:creationId xmlns:a16="http://schemas.microsoft.com/office/drawing/2014/main" id="{8ED17316-6C72-6351-CFC3-0AA0D3B1B3C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3" name="Freeform 14">
              <a:extLst>
                <a:ext uri="{FF2B5EF4-FFF2-40B4-BE49-F238E27FC236}">
                  <a16:creationId xmlns:a16="http://schemas.microsoft.com/office/drawing/2014/main" id="{FA61C814-0649-4DC9-68B8-1BA5BA76E8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431734942"/>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1" y="2997200"/>
            <a:ext cx="7477761" cy="863600"/>
            <a:chOff x="-1" y="2997200"/>
            <a:chExt cx="7477761" cy="86360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1" y="2997200"/>
              <a:ext cx="7055893"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5 </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 case and options appraisal</a:t>
              </a:r>
              <a:endPar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145169017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9B46740-B572-15BB-8E1E-3D7E564430B7}"/>
              </a:ext>
            </a:extLst>
          </p:cNvPr>
          <p:cNvGraphicFramePr>
            <a:graphicFrameLocks noChangeAspect="1"/>
          </p:cNvGraphicFramePr>
          <p:nvPr>
            <p:custDataLst>
              <p:tags r:id="rId1"/>
            </p:custDataLst>
            <p:extLst>
              <p:ext uri="{D42A27DB-BD31-4B8C-83A1-F6EECF244321}">
                <p14:modId xmlns:p14="http://schemas.microsoft.com/office/powerpoint/2010/main" val="249791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3" name="think-cell data - do not delete" hidden="1">
                        <a:extLst>
                          <a:ext uri="{FF2B5EF4-FFF2-40B4-BE49-F238E27FC236}">
                            <a16:creationId xmlns:a16="http://schemas.microsoft.com/office/drawing/2014/main" id="{A9B46740-B572-15BB-8E1E-3D7E564430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1">
            <a:extLst>
              <a:ext uri="{FF2B5EF4-FFF2-40B4-BE49-F238E27FC236}">
                <a16:creationId xmlns:a16="http://schemas.microsoft.com/office/drawing/2014/main" id="{6475FBFC-8AFC-A59C-0D9C-C3090F265FEC}"/>
              </a:ext>
            </a:extLst>
          </p:cNvPr>
          <p:cNvSpPr>
            <a:spLocks noGrp="1"/>
          </p:cNvSpPr>
          <p:nvPr>
            <p:ph type="body" sz="quarter" idx="22"/>
          </p:nvPr>
        </p:nvSpPr>
        <p:spPr>
          <a:xfrm>
            <a:off x="457200" y="919672"/>
            <a:ext cx="11277600" cy="757255"/>
          </a:xfrm>
        </p:spPr>
        <p:txBody>
          <a:bodyPr/>
          <a:lstStyle/>
          <a:p>
            <a:r>
              <a:rPr lang="en-US" altLang="en-US" sz="1800"/>
              <a:t>A Business case is an integral part of the process used to evaluate potential projects within a defined set of options</a:t>
            </a:r>
            <a:endParaRPr lang="en-US"/>
          </a:p>
        </p:txBody>
      </p:sp>
      <p:sp>
        <p:nvSpPr>
          <p:cNvPr id="7" name="Title 2">
            <a:extLst>
              <a:ext uri="{FF2B5EF4-FFF2-40B4-BE49-F238E27FC236}">
                <a16:creationId xmlns:a16="http://schemas.microsoft.com/office/drawing/2014/main" id="{8B51BE6F-CC43-7240-EA04-61EAA54C8BF5}"/>
              </a:ext>
            </a:extLst>
          </p:cNvPr>
          <p:cNvSpPr>
            <a:spLocks noGrp="1"/>
          </p:cNvSpPr>
          <p:nvPr>
            <p:ph type="title"/>
          </p:nvPr>
        </p:nvSpPr>
        <p:spPr>
          <a:xfrm>
            <a:off x="455013" y="417911"/>
            <a:ext cx="10261913" cy="334099"/>
          </a:xfrm>
        </p:spPr>
        <p:txBody>
          <a:bodyPr vert="horz"/>
          <a:lstStyle/>
          <a:p>
            <a:r>
              <a:rPr lang="en-US" dirty="0">
                <a:latin typeface="Open Sans Light"/>
                <a:ea typeface="Open Sans Light"/>
                <a:cs typeface="Open Sans Light"/>
              </a:rPr>
              <a:t>Purpose and key advantages of a business case (1/4)</a:t>
            </a:r>
            <a:endParaRPr lang="en-US" dirty="0"/>
          </a:p>
        </p:txBody>
      </p:sp>
      <p:sp>
        <p:nvSpPr>
          <p:cNvPr id="9" name="Rectangle 3">
            <a:extLst>
              <a:ext uri="{FF2B5EF4-FFF2-40B4-BE49-F238E27FC236}">
                <a16:creationId xmlns:a16="http://schemas.microsoft.com/office/drawing/2014/main" id="{4BDF1C5A-42F2-67C2-F3CC-7B01CCB0F707}"/>
              </a:ext>
            </a:extLst>
          </p:cNvPr>
          <p:cNvSpPr>
            <a:spLocks noChangeArrowheads="1"/>
          </p:cNvSpPr>
          <p:nvPr/>
        </p:nvSpPr>
        <p:spPr bwMode="auto">
          <a:xfrm>
            <a:off x="375315" y="2157419"/>
            <a:ext cx="1307181" cy="407707"/>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lvl1pPr marL="115888" indent="-115888">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5888" marR="0" lvl="0" indent="-115888"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urpose</a:t>
            </a:r>
            <a:endPar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4">
            <a:extLst>
              <a:ext uri="{FF2B5EF4-FFF2-40B4-BE49-F238E27FC236}">
                <a16:creationId xmlns:a16="http://schemas.microsoft.com/office/drawing/2014/main" id="{5BAA07A7-74CE-643E-9098-252C0B379FA1}"/>
              </a:ext>
            </a:extLst>
          </p:cNvPr>
          <p:cNvSpPr>
            <a:spLocks noChangeArrowheads="1"/>
          </p:cNvSpPr>
          <p:nvPr/>
        </p:nvSpPr>
        <p:spPr bwMode="auto">
          <a:xfrm>
            <a:off x="400255" y="2885735"/>
            <a:ext cx="1261628" cy="2737112"/>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lvl1pPr marL="115888" indent="-115888">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5888" marR="0" lvl="0" indent="-115888" algn="ctr" defTabSz="914400" rtl="0" eaLnBrk="1" fontAlgn="auto" latinLnBrk="0" hangingPunct="1">
              <a:lnSpc>
                <a:spcPct val="100000"/>
              </a:lnSpc>
              <a:spcBef>
                <a:spcPts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Key Objectives</a:t>
            </a:r>
          </a:p>
        </p:txBody>
      </p:sp>
      <p:sp>
        <p:nvSpPr>
          <p:cNvPr id="13" name="Rectangle 5">
            <a:extLst>
              <a:ext uri="{FF2B5EF4-FFF2-40B4-BE49-F238E27FC236}">
                <a16:creationId xmlns:a16="http://schemas.microsoft.com/office/drawing/2014/main" id="{DD617431-41F3-E063-4970-BDD448E112DA}"/>
              </a:ext>
            </a:extLst>
          </p:cNvPr>
          <p:cNvSpPr>
            <a:spLocks noChangeArrowheads="1"/>
          </p:cNvSpPr>
          <p:nvPr/>
        </p:nvSpPr>
        <p:spPr bwMode="auto">
          <a:xfrm>
            <a:off x="1682931" y="2939830"/>
            <a:ext cx="2806773" cy="2711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lvl1pPr marL="190500" indent="-1905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90500" marR="0" lvl="0" indent="-190500" algn="just" defTabSz="914400" rtl="0" eaLnBrk="1" fontAlgn="auto" latinLnBrk="0" hangingPunct="1">
              <a:lnSpc>
                <a:spcPct val="106000"/>
              </a:lnSpc>
              <a:spcBef>
                <a:spcPts val="0"/>
              </a:spcBef>
              <a:spcAft>
                <a:spcPct val="40000"/>
              </a:spcAft>
              <a:buClr>
                <a:srgbClr val="000066"/>
              </a:buClr>
              <a:buSzTx/>
              <a:buFont typeface="Wingdings" panose="05000000000000000000" pitchFamily="2" charset="2"/>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termine the potential value of the project(s)</a:t>
            </a:r>
          </a:p>
          <a:p>
            <a:pPr marL="190500" marR="0" lvl="0" indent="-190500" algn="just" defTabSz="914400" rtl="0" eaLnBrk="1" fontAlgn="auto" latinLnBrk="0" hangingPunct="1">
              <a:lnSpc>
                <a:spcPct val="106000"/>
              </a:lnSpc>
              <a:spcBef>
                <a:spcPts val="0"/>
              </a:spcBef>
              <a:spcAft>
                <a:spcPct val="40000"/>
              </a:spcAft>
              <a:buClr>
                <a:srgbClr val="000066"/>
              </a:buClr>
              <a:buSzTx/>
              <a:buFont typeface="Wingdings" panose="05000000000000000000" pitchFamily="2" charset="2"/>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fine the costs and expected benefits of the project(s)</a:t>
            </a:r>
          </a:p>
          <a:p>
            <a:pPr marL="190500" marR="0" lvl="0" indent="-190500" algn="just" defTabSz="914400" rtl="0" eaLnBrk="1" fontAlgn="auto" latinLnBrk="0" hangingPunct="1">
              <a:lnSpc>
                <a:spcPct val="106000"/>
              </a:lnSpc>
              <a:spcBef>
                <a:spcPts val="0"/>
              </a:spcBef>
              <a:spcAft>
                <a:spcPct val="40000"/>
              </a:spcAft>
              <a:buClr>
                <a:srgbClr val="000066"/>
              </a:buClr>
              <a:buSzTx/>
              <a:buFont typeface="Wingdings" panose="05000000000000000000" pitchFamily="2" charset="2"/>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termine the extent to which a given project supports the overall business strategy of an enterprise</a:t>
            </a:r>
          </a:p>
          <a:p>
            <a:pPr marL="190500" marR="0" lvl="0" indent="-190500" algn="just" defTabSz="914400" rtl="0" eaLnBrk="1" fontAlgn="auto" latinLnBrk="0" hangingPunct="1">
              <a:lnSpc>
                <a:spcPct val="106000"/>
              </a:lnSpc>
              <a:spcBef>
                <a:spcPts val="0"/>
              </a:spcBef>
              <a:spcAft>
                <a:spcPct val="40000"/>
              </a:spcAft>
              <a:buClr>
                <a:srgbClr val="000066"/>
              </a:buClr>
              <a:buSzTx/>
              <a:buFont typeface="Wingdings" panose="05000000000000000000" pitchFamily="2" charset="2"/>
              <a:buChar char="§"/>
              <a:tabLst/>
              <a:defRPr/>
            </a:pPr>
            <a:r>
              <a:rPr kumimoji="0" lang="en-US" altLang="en-US" sz="900" b="0" i="0" u="none" strike="noStrike" kern="1200" cap="none" spc="0" normalizeH="0" baseline="0" noProof="0" dirty="0">
                <a:ln>
                  <a:noFill/>
                </a:ln>
                <a:solidFill>
                  <a:srgbClr val="000000"/>
                </a:solidFill>
                <a:effectLst/>
                <a:uLnTx/>
                <a:uFillTx/>
                <a:latin typeface="Open Sans"/>
                <a:ea typeface="Open Sans"/>
                <a:cs typeface="Open Sans"/>
              </a:rPr>
              <a:t>Define the time-phased net cash flow impact, return on investment and payback period associated with a given initiative</a:t>
            </a:r>
          </a:p>
          <a:p>
            <a:pPr marL="190500" marR="0" lvl="0" indent="-190500" algn="just" defTabSz="914400" rtl="0" eaLnBrk="1" fontAlgn="auto" latinLnBrk="0" hangingPunct="1">
              <a:lnSpc>
                <a:spcPct val="106000"/>
              </a:lnSpc>
              <a:spcBef>
                <a:spcPts val="0"/>
              </a:spcBef>
              <a:spcAft>
                <a:spcPct val="40000"/>
              </a:spcAft>
              <a:buClr>
                <a:srgbClr val="000066"/>
              </a:buClr>
              <a:buSzTx/>
              <a:buFont typeface="Wingdings" panose="05000000000000000000" pitchFamily="2" charset="2"/>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y what changes will drive expected outcomes and provide an overview of the value drivers to which benefits can be tied</a:t>
            </a:r>
          </a:p>
          <a:p>
            <a:pPr marL="190500" marR="0" lvl="0" indent="-190500" algn="just" defTabSz="914400" rtl="0" eaLnBrk="1" fontAlgn="auto" latinLnBrk="0" hangingPunct="1">
              <a:lnSpc>
                <a:spcPct val="106000"/>
              </a:lnSpc>
              <a:spcBef>
                <a:spcPts val="0"/>
              </a:spcBef>
              <a:spcAft>
                <a:spcPct val="40000"/>
              </a:spcAft>
              <a:buClr>
                <a:srgbClr val="000066"/>
              </a:buClr>
              <a:buSzTx/>
              <a:buFont typeface="Wingdings" panose="05000000000000000000" pitchFamily="2" charset="2"/>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ie actual outcomes/benefits to the expected benefits and track progress during project implementation</a:t>
            </a:r>
          </a:p>
        </p:txBody>
      </p:sp>
      <p:sp>
        <p:nvSpPr>
          <p:cNvPr id="15" name="Rectangle 6">
            <a:extLst>
              <a:ext uri="{FF2B5EF4-FFF2-40B4-BE49-F238E27FC236}">
                <a16:creationId xmlns:a16="http://schemas.microsoft.com/office/drawing/2014/main" id="{25C3FAD2-13DC-6CBC-CBC6-5046F1CF7107}"/>
              </a:ext>
            </a:extLst>
          </p:cNvPr>
          <p:cNvSpPr>
            <a:spLocks noChangeArrowheads="1"/>
          </p:cNvSpPr>
          <p:nvPr/>
        </p:nvSpPr>
        <p:spPr bwMode="auto">
          <a:xfrm>
            <a:off x="1681566" y="2154244"/>
            <a:ext cx="2854371" cy="525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lvl1pPr marL="190500" indent="-1905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90500" marR="0" lvl="0" indent="-190500" algn="just" defTabSz="914400" rtl="0" eaLnBrk="1" fontAlgn="auto" latinLnBrk="0" hangingPunct="1">
              <a:lnSpc>
                <a:spcPct val="106000"/>
              </a:lnSpc>
              <a:spcBef>
                <a:spcPts val="0"/>
              </a:spcBef>
              <a:spcAft>
                <a:spcPct val="40000"/>
              </a:spcAft>
              <a:buClr>
                <a:srgbClr val="000066"/>
              </a:buClr>
              <a:buSzTx/>
              <a:buFont typeface="Wingdings" panose="05000000000000000000" pitchFamily="2" charset="2"/>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complete a rigorous analysis of a proposed project, or a series of projects, to determine if the project(s) should be undertaken</a:t>
            </a:r>
          </a:p>
        </p:txBody>
      </p:sp>
      <p:sp>
        <p:nvSpPr>
          <p:cNvPr id="17" name="Rectangle 16">
            <a:extLst>
              <a:ext uri="{FF2B5EF4-FFF2-40B4-BE49-F238E27FC236}">
                <a16:creationId xmlns:a16="http://schemas.microsoft.com/office/drawing/2014/main" id="{7B0C6924-AB09-D765-5B86-5FBE05D503C7}"/>
              </a:ext>
            </a:extLst>
          </p:cNvPr>
          <p:cNvSpPr>
            <a:spLocks noChangeArrowheads="1"/>
          </p:cNvSpPr>
          <p:nvPr/>
        </p:nvSpPr>
        <p:spPr bwMode="auto">
          <a:xfrm>
            <a:off x="5931408" y="1877096"/>
            <a:ext cx="5085060" cy="766084"/>
          </a:xfrm>
          <a:prstGeom prst="rect">
            <a:avLst/>
          </a:prstGeom>
          <a:ln>
            <a:noFill/>
            <a:headEnd type="none" w="sm" len="sm"/>
            <a:tailEnd type="none" w="sm" len="sm"/>
          </a:ln>
        </p:spPr>
        <p:style>
          <a:lnRef idx="2">
            <a:schemeClr val="accent3"/>
          </a:lnRef>
          <a:fillRef idx="1">
            <a:schemeClr val="lt1"/>
          </a:fillRef>
          <a:effectRef idx="0">
            <a:schemeClr val="accent3"/>
          </a:effectRef>
          <a:fontRef idx="minor">
            <a:schemeClr val="dk1"/>
          </a:fontRef>
        </p:style>
        <p:txBody>
          <a:bodyPr lIns="45720" tIns="45720" rIns="45720" bIns="45720" anchor="t"/>
          <a:lstStyle>
            <a:lvl1pPr marL="115888" indent="-115888">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5570" marR="0" lvl="0" indent="-115570"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es a climate for rigorous analysis of new ideas and the ability to quantify expected outcomes</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15570" marR="0" lvl="0" indent="-115570"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alls for the consideration of issues</a:t>
            </a:r>
            <a:r>
              <a:rPr kumimoji="0" lang="en-US" alt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before</a:t>
            </a: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 project is launched and/or</a:t>
            </a:r>
            <a:r>
              <a:rPr kumimoji="0" lang="en-US" altLang="en-US" sz="900" b="0"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d </a:t>
            </a:r>
          </a:p>
          <a:p>
            <a:pPr marL="115570" marR="0" lvl="0" indent="-115570"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es financial and business owners of a project; establishes accountability for results</a:t>
            </a:r>
          </a:p>
        </p:txBody>
      </p:sp>
      <p:sp>
        <p:nvSpPr>
          <p:cNvPr id="19" name="Oval 18">
            <a:extLst>
              <a:ext uri="{FF2B5EF4-FFF2-40B4-BE49-F238E27FC236}">
                <a16:creationId xmlns:a16="http://schemas.microsoft.com/office/drawing/2014/main" id="{EA0B185E-8F16-1560-17BF-819AA0A2ED12}"/>
              </a:ext>
            </a:extLst>
          </p:cNvPr>
          <p:cNvSpPr>
            <a:spLocks noChangeArrowheads="1"/>
          </p:cNvSpPr>
          <p:nvPr/>
        </p:nvSpPr>
        <p:spPr bwMode="auto">
          <a:xfrm>
            <a:off x="6706271" y="2543363"/>
            <a:ext cx="3478212" cy="2926220"/>
          </a:xfrm>
          <a:prstGeom prst="ellipse">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anchor="ctr"/>
          <a:lstStyle>
            <a:lvl1pPr algn="ctr">
              <a:spcBef>
                <a:spcPct val="50000"/>
              </a:spcBef>
              <a:defRPr kumimoji="1" sz="2000">
                <a:solidFill>
                  <a:srgbClr val="FF0000"/>
                </a:solidFill>
                <a:latin typeface="Agency FB" panose="020B0503020202020204" pitchFamily="34" charset="0"/>
              </a:defRPr>
            </a:lvl1pPr>
            <a:lvl2pPr marL="742950" indent="-285750" algn="ctr">
              <a:spcBef>
                <a:spcPct val="50000"/>
              </a:spcBef>
              <a:defRPr kumimoji="1" sz="2000">
                <a:solidFill>
                  <a:srgbClr val="FF0000"/>
                </a:solidFill>
                <a:latin typeface="Agency FB" panose="020B0503020202020204" pitchFamily="34" charset="0"/>
              </a:defRPr>
            </a:lvl2pPr>
            <a:lvl3pPr marL="1143000" indent="-228600" algn="ctr">
              <a:spcBef>
                <a:spcPct val="50000"/>
              </a:spcBef>
              <a:defRPr kumimoji="1" sz="2000">
                <a:solidFill>
                  <a:srgbClr val="FF0000"/>
                </a:solidFill>
                <a:latin typeface="Agency FB" panose="020B0503020202020204" pitchFamily="34" charset="0"/>
              </a:defRPr>
            </a:lvl3pPr>
            <a:lvl4pPr marL="1600200" indent="-228600" algn="ctr">
              <a:spcBef>
                <a:spcPct val="50000"/>
              </a:spcBef>
              <a:defRPr kumimoji="1" sz="2000">
                <a:solidFill>
                  <a:srgbClr val="FF0000"/>
                </a:solidFill>
                <a:latin typeface="Agency FB" panose="020B0503020202020204" pitchFamily="34" charset="0"/>
              </a:defRPr>
            </a:lvl4pPr>
            <a:lvl5pPr marL="2057400" indent="-228600" algn="ctr">
              <a:spcBef>
                <a:spcPct val="50000"/>
              </a:spcBef>
              <a:defRPr kumimoji="1" sz="2000">
                <a:solidFill>
                  <a:srgbClr val="FF0000"/>
                </a:solidFill>
                <a:latin typeface="Agency FB" panose="020B0503020202020204" pitchFamily="34" charset="0"/>
              </a:defRPr>
            </a:lvl5pPr>
            <a:lvl6pPr marL="2514600" indent="-228600" algn="ctr" eaLnBrk="0" fontAlgn="base" hangingPunct="0">
              <a:spcBef>
                <a:spcPct val="50000"/>
              </a:spcBef>
              <a:spcAft>
                <a:spcPct val="0"/>
              </a:spcAft>
              <a:defRPr kumimoji="1" sz="2000">
                <a:solidFill>
                  <a:srgbClr val="FF0000"/>
                </a:solidFill>
                <a:latin typeface="Agency FB" panose="020B0503020202020204" pitchFamily="34" charset="0"/>
              </a:defRPr>
            </a:lvl6pPr>
            <a:lvl7pPr marL="2971800" indent="-228600" algn="ctr" eaLnBrk="0" fontAlgn="base" hangingPunct="0">
              <a:spcBef>
                <a:spcPct val="50000"/>
              </a:spcBef>
              <a:spcAft>
                <a:spcPct val="0"/>
              </a:spcAft>
              <a:defRPr kumimoji="1" sz="2000">
                <a:solidFill>
                  <a:srgbClr val="FF0000"/>
                </a:solidFill>
                <a:latin typeface="Agency FB" panose="020B0503020202020204" pitchFamily="34" charset="0"/>
              </a:defRPr>
            </a:lvl7pPr>
            <a:lvl8pPr marL="3429000" indent="-228600" algn="ctr" eaLnBrk="0" fontAlgn="base" hangingPunct="0">
              <a:spcBef>
                <a:spcPct val="50000"/>
              </a:spcBef>
              <a:spcAft>
                <a:spcPct val="0"/>
              </a:spcAft>
              <a:defRPr kumimoji="1" sz="2000">
                <a:solidFill>
                  <a:srgbClr val="FF0000"/>
                </a:solidFill>
                <a:latin typeface="Agency FB" panose="020B0503020202020204" pitchFamily="34" charset="0"/>
              </a:defRPr>
            </a:lvl8pPr>
            <a:lvl9pPr marL="3886200" indent="-228600" algn="ctr" eaLnBrk="0" fontAlgn="base" hangingPunct="0">
              <a:spcBef>
                <a:spcPct val="50000"/>
              </a:spcBef>
              <a:spcAft>
                <a:spcPct val="0"/>
              </a:spcAft>
              <a:defRPr kumimoji="1" sz="2000">
                <a:solidFill>
                  <a:srgbClr val="FF0000"/>
                </a:solidFill>
                <a:latin typeface="Agency FB" panose="020B0503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10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B40BCD42-7B37-66B7-F6DB-BDE9A10364B5}"/>
              </a:ext>
            </a:extLst>
          </p:cNvPr>
          <p:cNvSpPr>
            <a:spLocks noChangeArrowheads="1"/>
          </p:cNvSpPr>
          <p:nvPr/>
        </p:nvSpPr>
        <p:spPr bwMode="auto">
          <a:xfrm>
            <a:off x="10198031" y="2991665"/>
            <a:ext cx="983029" cy="1224000"/>
          </a:xfrm>
          <a:prstGeom prst="rect">
            <a:avLst/>
          </a:prstGeom>
          <a:ln>
            <a:noFill/>
            <a:headEnd type="none" w="sm" len="sm"/>
            <a:tailEnd type="none" w="sm" len="sm"/>
          </a:ln>
        </p:spPr>
        <p:style>
          <a:lnRef idx="2">
            <a:schemeClr val="accent3"/>
          </a:lnRef>
          <a:fillRef idx="1">
            <a:schemeClr val="lt1"/>
          </a:fillRef>
          <a:effectRef idx="0">
            <a:schemeClr val="accent3"/>
          </a:effectRef>
          <a:fontRef idx="minor">
            <a:schemeClr val="dk1"/>
          </a:fontRef>
        </p:style>
        <p:txBody>
          <a:bodyPr lIns="45720" rIns="45720"/>
          <a:lstStyle>
            <a:lvl1pPr marL="115888" indent="-115888">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5888" marR="0" lvl="0" indent="-115888"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tablishes a benchmark against which the performance of the project can be monitored and benefits can be tracked</a:t>
            </a:r>
          </a:p>
          <a:p>
            <a:pPr marL="115888" marR="0" lvl="0" indent="-115888"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lows for identification of problems and tracking of expected costs/benefits</a:t>
            </a:r>
          </a:p>
        </p:txBody>
      </p:sp>
      <p:sp>
        <p:nvSpPr>
          <p:cNvPr id="23" name="Rectangle 22">
            <a:extLst>
              <a:ext uri="{FF2B5EF4-FFF2-40B4-BE49-F238E27FC236}">
                <a16:creationId xmlns:a16="http://schemas.microsoft.com/office/drawing/2014/main" id="{2D2A02C6-875D-F00B-A48A-320C6094F442}"/>
              </a:ext>
            </a:extLst>
          </p:cNvPr>
          <p:cNvSpPr>
            <a:spLocks noChangeArrowheads="1"/>
          </p:cNvSpPr>
          <p:nvPr/>
        </p:nvSpPr>
        <p:spPr bwMode="auto">
          <a:xfrm>
            <a:off x="7275293" y="5622848"/>
            <a:ext cx="3020851" cy="828000"/>
          </a:xfrm>
          <a:prstGeom prst="rect">
            <a:avLst/>
          </a:prstGeom>
          <a:noFill/>
          <a:ln>
            <a:noFill/>
            <a:headEnd type="none" w="sm" len="sm"/>
            <a:tailEnd type="none" w="sm" len="sm"/>
          </a:ln>
        </p:spPr>
        <p:style>
          <a:lnRef idx="2">
            <a:schemeClr val="accent3"/>
          </a:lnRef>
          <a:fillRef idx="1">
            <a:schemeClr val="lt1"/>
          </a:fillRef>
          <a:effectRef idx="0">
            <a:schemeClr val="accent3"/>
          </a:effectRef>
          <a:fontRef idx="minor">
            <a:schemeClr val="dk1"/>
          </a:fontRef>
        </p:style>
        <p:txBody>
          <a:bodyPr lIns="45720" tIns="45720" rIns="45720" bIns="45720" anchor="t"/>
          <a:lstStyle>
            <a:lvl1pPr marL="115888" indent="-115888">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5570" marR="0" lvl="0" indent="-115570"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es the financial impact of the project (i.e. IRR)</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15570" marR="0" lvl="0" indent="-115570"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ssesses the impact of the risks and rewards associated with the project</a:t>
            </a:r>
          </a:p>
        </p:txBody>
      </p:sp>
      <p:sp>
        <p:nvSpPr>
          <p:cNvPr id="25" name="Rectangle 24">
            <a:extLst>
              <a:ext uri="{FF2B5EF4-FFF2-40B4-BE49-F238E27FC236}">
                <a16:creationId xmlns:a16="http://schemas.microsoft.com/office/drawing/2014/main" id="{EBCD1626-1CFB-05C2-F769-FA24ADA02883}"/>
              </a:ext>
            </a:extLst>
          </p:cNvPr>
          <p:cNvSpPr>
            <a:spLocks noChangeArrowheads="1"/>
          </p:cNvSpPr>
          <p:nvPr/>
        </p:nvSpPr>
        <p:spPr bwMode="auto">
          <a:xfrm>
            <a:off x="5384342" y="3148864"/>
            <a:ext cx="1240699" cy="2473983"/>
          </a:xfrm>
          <a:prstGeom prst="rect">
            <a:avLst/>
          </a:prstGeom>
          <a:noFill/>
          <a:ln>
            <a:noFill/>
            <a:headEnd type="none" w="sm" len="sm"/>
            <a:tailEnd type="none" w="sm" len="sm"/>
          </a:ln>
        </p:spPr>
        <p:style>
          <a:lnRef idx="2">
            <a:schemeClr val="accent3"/>
          </a:lnRef>
          <a:fillRef idx="1">
            <a:schemeClr val="lt1"/>
          </a:fillRef>
          <a:effectRef idx="0">
            <a:schemeClr val="accent3"/>
          </a:effectRef>
          <a:fontRef idx="minor">
            <a:schemeClr val="dk1"/>
          </a:fontRef>
        </p:style>
        <p:txBody>
          <a:bodyPr lIns="45720" rIns="45720"/>
          <a:lstStyle>
            <a:lvl1pPr marL="115888" indent="-115888">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5888" marR="0" lvl="0" indent="-115888"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vides management with an outline of the key steps necessary to complete the project(s)</a:t>
            </a:r>
          </a:p>
          <a:p>
            <a:pPr marL="115888" marR="0" lvl="0" indent="-115888"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ives stakeholders a sense of where things are headed if projects are implemented</a:t>
            </a:r>
          </a:p>
          <a:p>
            <a:pPr marL="115888" marR="0" lvl="0" indent="-115888" algn="just" defTabSz="914400" rtl="0" eaLnBrk="1" fontAlgn="auto" latinLnBrk="0" hangingPunct="1">
              <a:lnSpc>
                <a:spcPct val="100000"/>
              </a:lnSpc>
              <a:spcBef>
                <a:spcPts val="0"/>
              </a:spcBef>
              <a:spcAft>
                <a:spcPct val="2000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ghlights the operational changes necessary to implement a project</a:t>
            </a:r>
          </a:p>
        </p:txBody>
      </p:sp>
      <p:cxnSp>
        <p:nvCxnSpPr>
          <p:cNvPr id="27" name="Straight Connector 26">
            <a:extLst>
              <a:ext uri="{FF2B5EF4-FFF2-40B4-BE49-F238E27FC236}">
                <a16:creationId xmlns:a16="http://schemas.microsoft.com/office/drawing/2014/main" id="{099FB7B7-2BC3-3C95-57E4-38C1F5F23127}"/>
              </a:ext>
            </a:extLst>
          </p:cNvPr>
          <p:cNvCxnSpPr>
            <a:cxnSpLocks/>
          </p:cNvCxnSpPr>
          <p:nvPr/>
        </p:nvCxnSpPr>
        <p:spPr>
          <a:xfrm>
            <a:off x="7215643" y="2971898"/>
            <a:ext cx="2459468" cy="2069150"/>
          </a:xfrm>
          <a:prstGeom prst="line">
            <a:avLst/>
          </a:prstGeom>
          <a:ln/>
        </p:spPr>
        <p:style>
          <a:lnRef idx="2">
            <a:schemeClr val="accent3"/>
          </a:lnRef>
          <a:fillRef idx="0">
            <a:schemeClr val="accent3"/>
          </a:fillRef>
          <a:effectRef idx="1">
            <a:schemeClr val="accent3"/>
          </a:effectRef>
          <a:fontRef idx="minor">
            <a:schemeClr val="tx1"/>
          </a:fontRef>
        </p:style>
      </p:cxnSp>
      <p:cxnSp>
        <p:nvCxnSpPr>
          <p:cNvPr id="29" name="Straight Connector 28">
            <a:extLst>
              <a:ext uri="{FF2B5EF4-FFF2-40B4-BE49-F238E27FC236}">
                <a16:creationId xmlns:a16="http://schemas.microsoft.com/office/drawing/2014/main" id="{C9F4CB59-FE6F-529E-37B1-27B123A5B9CC}"/>
              </a:ext>
            </a:extLst>
          </p:cNvPr>
          <p:cNvCxnSpPr>
            <a:cxnSpLocks/>
          </p:cNvCxnSpPr>
          <p:nvPr/>
        </p:nvCxnSpPr>
        <p:spPr>
          <a:xfrm flipV="1">
            <a:off x="7368043" y="3124298"/>
            <a:ext cx="2459468" cy="2069150"/>
          </a:xfrm>
          <a:prstGeom prst="line">
            <a:avLst/>
          </a:prstGeom>
          <a:ln/>
        </p:spPr>
        <p:style>
          <a:lnRef idx="2">
            <a:schemeClr val="accent3"/>
          </a:lnRef>
          <a:fillRef idx="0">
            <a:schemeClr val="accent3"/>
          </a:fillRef>
          <a:effectRef idx="1">
            <a:schemeClr val="accent3"/>
          </a:effectRef>
          <a:fontRef idx="minor">
            <a:schemeClr val="tx1"/>
          </a:fontRef>
        </p:style>
      </p:cxnSp>
      <p:sp>
        <p:nvSpPr>
          <p:cNvPr id="31" name="Oval 30">
            <a:extLst>
              <a:ext uri="{FF2B5EF4-FFF2-40B4-BE49-F238E27FC236}">
                <a16:creationId xmlns:a16="http://schemas.microsoft.com/office/drawing/2014/main" id="{59F53AF1-657B-FA59-7772-C9A4D79F9C47}"/>
              </a:ext>
            </a:extLst>
          </p:cNvPr>
          <p:cNvSpPr>
            <a:spLocks noChangeArrowheads="1"/>
          </p:cNvSpPr>
          <p:nvPr/>
        </p:nvSpPr>
        <p:spPr bwMode="auto">
          <a:xfrm>
            <a:off x="7470653" y="3125163"/>
            <a:ext cx="1933575" cy="1731962"/>
          </a:xfrm>
          <a:prstGeom prst="ellipse">
            <a:avLst/>
          </a:prstGeom>
          <a:ln>
            <a:headEnd type="none" w="sm" len="sm"/>
            <a:tailEnd type="none" w="sm" len="sm"/>
          </a:ln>
        </p:spPr>
        <p:style>
          <a:lnRef idx="3">
            <a:schemeClr val="lt1"/>
          </a:lnRef>
          <a:fillRef idx="1">
            <a:schemeClr val="accent3"/>
          </a:fillRef>
          <a:effectRef idx="1">
            <a:schemeClr val="accent3"/>
          </a:effectRef>
          <a:fontRef idx="minor">
            <a:schemeClr val="lt1"/>
          </a:fontRef>
        </p:style>
        <p:txBody>
          <a:bodyPr anchor="ctr"/>
          <a:lstStyle>
            <a:lvl1pPr algn="ctr">
              <a:spcBef>
                <a:spcPct val="50000"/>
              </a:spcBef>
              <a:defRPr kumimoji="1" sz="2000">
                <a:solidFill>
                  <a:srgbClr val="FF0000"/>
                </a:solidFill>
                <a:latin typeface="Agency FB" panose="020B0503020202020204" pitchFamily="34" charset="0"/>
              </a:defRPr>
            </a:lvl1pPr>
            <a:lvl2pPr marL="742950" indent="-285750" algn="ctr">
              <a:spcBef>
                <a:spcPct val="50000"/>
              </a:spcBef>
              <a:defRPr kumimoji="1" sz="2000">
                <a:solidFill>
                  <a:srgbClr val="FF0000"/>
                </a:solidFill>
                <a:latin typeface="Agency FB" panose="020B0503020202020204" pitchFamily="34" charset="0"/>
              </a:defRPr>
            </a:lvl2pPr>
            <a:lvl3pPr marL="1143000" indent="-228600" algn="ctr">
              <a:spcBef>
                <a:spcPct val="50000"/>
              </a:spcBef>
              <a:defRPr kumimoji="1" sz="2000">
                <a:solidFill>
                  <a:srgbClr val="FF0000"/>
                </a:solidFill>
                <a:latin typeface="Agency FB" panose="020B0503020202020204" pitchFamily="34" charset="0"/>
              </a:defRPr>
            </a:lvl3pPr>
            <a:lvl4pPr marL="1600200" indent="-228600" algn="ctr">
              <a:spcBef>
                <a:spcPct val="50000"/>
              </a:spcBef>
              <a:defRPr kumimoji="1" sz="2000">
                <a:solidFill>
                  <a:srgbClr val="FF0000"/>
                </a:solidFill>
                <a:latin typeface="Agency FB" panose="020B0503020202020204" pitchFamily="34" charset="0"/>
              </a:defRPr>
            </a:lvl4pPr>
            <a:lvl5pPr marL="2057400" indent="-228600" algn="ctr">
              <a:spcBef>
                <a:spcPct val="50000"/>
              </a:spcBef>
              <a:defRPr kumimoji="1" sz="2000">
                <a:solidFill>
                  <a:srgbClr val="FF0000"/>
                </a:solidFill>
                <a:latin typeface="Agency FB" panose="020B0503020202020204" pitchFamily="34" charset="0"/>
              </a:defRPr>
            </a:lvl5pPr>
            <a:lvl6pPr marL="2514600" indent="-228600" algn="ctr" eaLnBrk="0" fontAlgn="base" hangingPunct="0">
              <a:spcBef>
                <a:spcPct val="50000"/>
              </a:spcBef>
              <a:spcAft>
                <a:spcPct val="0"/>
              </a:spcAft>
              <a:defRPr kumimoji="1" sz="2000">
                <a:solidFill>
                  <a:srgbClr val="FF0000"/>
                </a:solidFill>
                <a:latin typeface="Agency FB" panose="020B0503020202020204" pitchFamily="34" charset="0"/>
              </a:defRPr>
            </a:lvl6pPr>
            <a:lvl7pPr marL="2971800" indent="-228600" algn="ctr" eaLnBrk="0" fontAlgn="base" hangingPunct="0">
              <a:spcBef>
                <a:spcPct val="50000"/>
              </a:spcBef>
              <a:spcAft>
                <a:spcPct val="0"/>
              </a:spcAft>
              <a:defRPr kumimoji="1" sz="2000">
                <a:solidFill>
                  <a:srgbClr val="FF0000"/>
                </a:solidFill>
                <a:latin typeface="Agency FB" panose="020B0503020202020204" pitchFamily="34" charset="0"/>
              </a:defRPr>
            </a:lvl7pPr>
            <a:lvl8pPr marL="3429000" indent="-228600" algn="ctr" eaLnBrk="0" fontAlgn="base" hangingPunct="0">
              <a:spcBef>
                <a:spcPct val="50000"/>
              </a:spcBef>
              <a:spcAft>
                <a:spcPct val="0"/>
              </a:spcAft>
              <a:defRPr kumimoji="1" sz="2000">
                <a:solidFill>
                  <a:srgbClr val="FF0000"/>
                </a:solidFill>
                <a:latin typeface="Agency FB" panose="020B0503020202020204" pitchFamily="34" charset="0"/>
              </a:defRPr>
            </a:lvl8pPr>
            <a:lvl9pPr marL="3886200" indent="-228600" algn="ctr" eaLnBrk="0" fontAlgn="base" hangingPunct="0">
              <a:spcBef>
                <a:spcPct val="50000"/>
              </a:spcBef>
              <a:spcAft>
                <a:spcPct val="0"/>
              </a:spcAft>
              <a:defRPr kumimoji="1" sz="2000">
                <a:solidFill>
                  <a:srgbClr val="FF0000"/>
                </a:solidFill>
                <a:latin typeface="Agency FB" panose="020B0503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dvantages of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reating a Business Case</a:t>
            </a:r>
          </a:p>
        </p:txBody>
      </p:sp>
      <p:sp>
        <p:nvSpPr>
          <p:cNvPr id="33" name="TextBox 32">
            <a:extLst>
              <a:ext uri="{FF2B5EF4-FFF2-40B4-BE49-F238E27FC236}">
                <a16:creationId xmlns:a16="http://schemas.microsoft.com/office/drawing/2014/main" id="{36E0B1B6-5780-4E55-01BD-EA5BD670631C}"/>
              </a:ext>
            </a:extLst>
          </p:cNvPr>
          <p:cNvSpPr txBox="1"/>
          <p:nvPr/>
        </p:nvSpPr>
        <p:spPr>
          <a:xfrm>
            <a:off x="7883820" y="2731847"/>
            <a:ext cx="1107239"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es Discipline</a:t>
            </a:r>
          </a:p>
        </p:txBody>
      </p:sp>
      <p:sp>
        <p:nvSpPr>
          <p:cNvPr id="35" name="TextBox 34">
            <a:extLst>
              <a:ext uri="{FF2B5EF4-FFF2-40B4-BE49-F238E27FC236}">
                <a16:creationId xmlns:a16="http://schemas.microsoft.com/office/drawing/2014/main" id="{18E76645-5C81-2088-CE97-54DAE9131C2F}"/>
              </a:ext>
            </a:extLst>
          </p:cNvPr>
          <p:cNvSpPr txBox="1"/>
          <p:nvPr/>
        </p:nvSpPr>
        <p:spPr>
          <a:xfrm>
            <a:off x="6545005" y="3783091"/>
            <a:ext cx="110723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tablishes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rection</a:t>
            </a:r>
          </a:p>
        </p:txBody>
      </p:sp>
      <p:sp>
        <p:nvSpPr>
          <p:cNvPr id="37" name="TextBox 36">
            <a:extLst>
              <a:ext uri="{FF2B5EF4-FFF2-40B4-BE49-F238E27FC236}">
                <a16:creationId xmlns:a16="http://schemas.microsoft.com/office/drawing/2014/main" id="{69CA1E08-1480-1B95-0CAC-F4ED4E608A88}"/>
              </a:ext>
            </a:extLst>
          </p:cNvPr>
          <p:cNvSpPr txBox="1"/>
          <p:nvPr/>
        </p:nvSpPr>
        <p:spPr>
          <a:xfrm>
            <a:off x="7883819" y="4947538"/>
            <a:ext cx="110723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nimizes Risk</a:t>
            </a:r>
          </a:p>
        </p:txBody>
      </p:sp>
      <p:sp>
        <p:nvSpPr>
          <p:cNvPr id="39" name="TextBox 38">
            <a:extLst>
              <a:ext uri="{FF2B5EF4-FFF2-40B4-BE49-F238E27FC236}">
                <a16:creationId xmlns:a16="http://schemas.microsoft.com/office/drawing/2014/main" id="{14919B0F-23D0-50DD-DA30-6F2B385BEB90}"/>
              </a:ext>
            </a:extLst>
          </p:cNvPr>
          <p:cNvSpPr txBox="1"/>
          <p:nvPr/>
        </p:nvSpPr>
        <p:spPr>
          <a:xfrm>
            <a:off x="9404228" y="3914200"/>
            <a:ext cx="739733"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vides Control</a:t>
            </a:r>
          </a:p>
        </p:txBody>
      </p:sp>
    </p:spTree>
    <p:extLst>
      <p:ext uri="{BB962C8B-B14F-4D97-AF65-F5344CB8AC3E}">
        <p14:creationId xmlns:p14="http://schemas.microsoft.com/office/powerpoint/2010/main" val="1228834989"/>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0A1174B-ECF6-B9DB-89F4-C31EF74EEDAE}"/>
              </a:ext>
            </a:extLst>
          </p:cNvPr>
          <p:cNvGraphicFramePr>
            <a:graphicFrameLocks noChangeAspect="1"/>
          </p:cNvGraphicFramePr>
          <p:nvPr>
            <p:custDataLst>
              <p:tags r:id="rId1"/>
            </p:custDataLst>
            <p:extLst>
              <p:ext uri="{D42A27DB-BD31-4B8C-83A1-F6EECF244321}">
                <p14:modId xmlns:p14="http://schemas.microsoft.com/office/powerpoint/2010/main" val="574094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3" name="think-cell data - do not delete" hidden="1">
                        <a:extLst>
                          <a:ext uri="{FF2B5EF4-FFF2-40B4-BE49-F238E27FC236}">
                            <a16:creationId xmlns:a16="http://schemas.microsoft.com/office/drawing/2014/main" id="{40A1174B-ECF6-B9DB-89F4-C31EF74EE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1">
            <a:extLst>
              <a:ext uri="{FF2B5EF4-FFF2-40B4-BE49-F238E27FC236}">
                <a16:creationId xmlns:a16="http://schemas.microsoft.com/office/drawing/2014/main" id="{0D166230-B8D9-89CE-BE80-C6C8797783BB}"/>
              </a:ext>
            </a:extLst>
          </p:cNvPr>
          <p:cNvSpPr>
            <a:spLocks noGrp="1"/>
          </p:cNvSpPr>
          <p:nvPr>
            <p:ph type="body" sz="quarter" idx="22"/>
          </p:nvPr>
        </p:nvSpPr>
        <p:spPr>
          <a:xfrm>
            <a:off x="463295" y="936000"/>
            <a:ext cx="11277600" cy="757255"/>
          </a:xfrm>
        </p:spPr>
        <p:txBody>
          <a:bodyPr vert="horz" lIns="0" tIns="0" rIns="0" bIns="0" rtlCol="0" anchor="t">
            <a:noAutofit/>
          </a:bodyPr>
          <a:lstStyle/>
          <a:p>
            <a:r>
              <a:rPr lang="en-US" dirty="0">
                <a:latin typeface="Open Sans"/>
                <a:ea typeface="Open Sans"/>
                <a:cs typeface="Open Sans"/>
              </a:rPr>
              <a:t>The business case answers the question if the project is worth doing supported with the following components</a:t>
            </a:r>
          </a:p>
        </p:txBody>
      </p:sp>
      <p:sp>
        <p:nvSpPr>
          <p:cNvPr id="7" name="Title 2">
            <a:extLst>
              <a:ext uri="{FF2B5EF4-FFF2-40B4-BE49-F238E27FC236}">
                <a16:creationId xmlns:a16="http://schemas.microsoft.com/office/drawing/2014/main" id="{2FA1F4CF-CBAA-A334-A8FE-4BC90416D00E}"/>
              </a:ext>
            </a:extLst>
          </p:cNvPr>
          <p:cNvSpPr>
            <a:spLocks noGrp="1"/>
          </p:cNvSpPr>
          <p:nvPr>
            <p:ph type="title"/>
          </p:nvPr>
        </p:nvSpPr>
        <p:spPr>
          <a:xfrm>
            <a:off x="463295" y="417911"/>
            <a:ext cx="8307218" cy="334099"/>
          </a:xfrm>
        </p:spPr>
        <p:txBody>
          <a:bodyPr vert="horz"/>
          <a:lstStyle/>
          <a:p>
            <a:r>
              <a:rPr lang="en-US" dirty="0">
                <a:latin typeface="Open Sans Light"/>
                <a:ea typeface="Open Sans Light"/>
                <a:cs typeface="Open Sans Light"/>
              </a:rPr>
              <a:t>Components of a business case (2/4)</a:t>
            </a:r>
            <a:endParaRPr lang="en-US" dirty="0"/>
          </a:p>
        </p:txBody>
      </p:sp>
      <p:grpSp>
        <p:nvGrpSpPr>
          <p:cNvPr id="19" name="Group 18">
            <a:extLst>
              <a:ext uri="{FF2B5EF4-FFF2-40B4-BE49-F238E27FC236}">
                <a16:creationId xmlns:a16="http://schemas.microsoft.com/office/drawing/2014/main" id="{2C64C6D2-F34F-63B8-342B-D3DC46FC8208}"/>
              </a:ext>
            </a:extLst>
          </p:cNvPr>
          <p:cNvGrpSpPr/>
          <p:nvPr/>
        </p:nvGrpSpPr>
        <p:grpSpPr>
          <a:xfrm>
            <a:off x="463295" y="1714280"/>
            <a:ext cx="4831081" cy="3656935"/>
            <a:chOff x="463295" y="1865574"/>
            <a:chExt cx="4831081" cy="3656935"/>
          </a:xfrm>
        </p:grpSpPr>
        <p:sp>
          <p:nvSpPr>
            <p:cNvPr id="9" name="TextBox 8">
              <a:extLst>
                <a:ext uri="{FF2B5EF4-FFF2-40B4-BE49-F238E27FC236}">
                  <a16:creationId xmlns:a16="http://schemas.microsoft.com/office/drawing/2014/main" id="{6A8E50DA-4312-88E4-F7C5-46679217550B}"/>
                </a:ext>
              </a:extLst>
            </p:cNvPr>
            <p:cNvSpPr txBox="1"/>
            <p:nvPr/>
          </p:nvSpPr>
          <p:spPr>
            <a:xfrm>
              <a:off x="463295" y="1865574"/>
              <a:ext cx="473049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business case should answer these questions</a:t>
              </a:r>
              <a:endParaRPr kumimoji="0" lang="en-GB"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Freeform 3">
              <a:extLst>
                <a:ext uri="{FF2B5EF4-FFF2-40B4-BE49-F238E27FC236}">
                  <a16:creationId xmlns:a16="http://schemas.microsoft.com/office/drawing/2014/main" id="{BC241990-BAA4-9393-986E-3E94B18062E3}"/>
                </a:ext>
              </a:extLst>
            </p:cNvPr>
            <p:cNvSpPr>
              <a:spLocks/>
            </p:cNvSpPr>
            <p:nvPr/>
          </p:nvSpPr>
          <p:spPr bwMode="auto">
            <a:xfrm>
              <a:off x="1907652" y="2292068"/>
              <a:ext cx="1079389" cy="691840"/>
            </a:xfrm>
            <a:custGeom>
              <a:avLst/>
              <a:gdLst>
                <a:gd name="T0" fmla="*/ 0 w 1020"/>
                <a:gd name="T1" fmla="*/ 0 h 120"/>
                <a:gd name="T2" fmla="*/ 1789112 w 1020"/>
                <a:gd name="T3" fmla="*/ 0 h 120"/>
                <a:gd name="T4" fmla="*/ 1789112 w 1020"/>
                <a:gd name="T5" fmla="*/ 601663 h 120"/>
                <a:gd name="T6" fmla="*/ 0 60000 65536"/>
                <a:gd name="T7" fmla="*/ 0 60000 65536"/>
                <a:gd name="T8" fmla="*/ 0 60000 65536"/>
              </a:gdLst>
              <a:ahLst/>
              <a:cxnLst>
                <a:cxn ang="T6">
                  <a:pos x="T0" y="T1"/>
                </a:cxn>
                <a:cxn ang="T7">
                  <a:pos x="T2" y="T3"/>
                </a:cxn>
                <a:cxn ang="T8">
                  <a:pos x="T4" y="T5"/>
                </a:cxn>
              </a:cxnLst>
              <a:rect l="0" t="0" r="r" b="b"/>
              <a:pathLst>
                <a:path w="1020" h="120">
                  <a:moveTo>
                    <a:pt x="0" y="0"/>
                  </a:moveTo>
                  <a:lnTo>
                    <a:pt x="1020" y="0"/>
                  </a:lnTo>
                  <a:lnTo>
                    <a:pt x="1020" y="120"/>
                  </a:lnTo>
                </a:path>
              </a:pathLst>
            </a:custGeom>
            <a:noFill/>
            <a:ln w="31750" cap="flat" cmpd="sng">
              <a:solidFill>
                <a:schemeClr val="tx1"/>
              </a:solidFill>
              <a:prstDash val="solid"/>
              <a:round/>
              <a:headEnd type="none" w="sm" len="sm"/>
              <a:tailEnd type="triangl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88EE67CE-DAF6-9EA6-E0AF-80723B14CE75}"/>
                </a:ext>
              </a:extLst>
            </p:cNvPr>
            <p:cNvSpPr>
              <a:spLocks noChangeArrowheads="1"/>
            </p:cNvSpPr>
            <p:nvPr/>
          </p:nvSpPr>
          <p:spPr bwMode="auto">
            <a:xfrm>
              <a:off x="619267" y="2196787"/>
              <a:ext cx="1403001" cy="246221"/>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000" b="1"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is the project?</a:t>
              </a:r>
            </a:p>
          </p:txBody>
        </p:sp>
        <p:sp>
          <p:nvSpPr>
            <p:cNvPr id="12" name="Rectangle 11">
              <a:extLst>
                <a:ext uri="{FF2B5EF4-FFF2-40B4-BE49-F238E27FC236}">
                  <a16:creationId xmlns:a16="http://schemas.microsoft.com/office/drawing/2014/main" id="{D649B9F6-6502-766B-2130-93D79200F975}"/>
                </a:ext>
              </a:extLst>
            </p:cNvPr>
            <p:cNvSpPr>
              <a:spLocks noChangeArrowheads="1"/>
            </p:cNvSpPr>
            <p:nvPr/>
          </p:nvSpPr>
          <p:spPr bwMode="auto">
            <a:xfrm>
              <a:off x="619267" y="2450205"/>
              <a:ext cx="1403001" cy="900000"/>
            </a:xfrm>
            <a:prstGeom prst="rect">
              <a:avLst/>
            </a:prstGeom>
            <a:noFill/>
            <a:ln w="12700">
              <a:solidFill>
                <a:schemeClr val="tx1"/>
              </a:solidFill>
              <a:miter lim="800000"/>
              <a:headEnd type="none" w="sm" len="sm"/>
              <a:tailEnd type="none" w="sm" len="sm"/>
            </a:ln>
            <a:effectLst>
              <a:outerShdw dist="35921" dir="2700000" algn="ctr" rotWithShape="0">
                <a:schemeClr val="bg2"/>
              </a:outerShdw>
            </a:effectLst>
          </p:spPr>
          <p:txBody>
            <a:bodyPr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cription</a:t>
              </a: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alue proposition</a:t>
              </a: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kely </a:t>
              </a:r>
              <a:r>
                <a:rPr kumimoji="0" lang="en-US" altLang="en-US" sz="900" b="0" i="0" u="none" strike="noStrike" kern="1200" cap="none" spc="0" normalizeH="0" baseline="0" noProof="0" dirty="0">
                  <a:ln>
                    <a:noFill/>
                  </a:ln>
                  <a:solidFill>
                    <a:srgbClr val="000000"/>
                  </a:solidFill>
                  <a:effectLst/>
                  <a:uLnTx/>
                  <a:uFillTx/>
                  <a:latin typeface="Open Sans"/>
                  <a:ea typeface="Open Sans"/>
                  <a:cs typeface="Open Sans"/>
                </a:rPr>
                <a:t>impact</a:t>
              </a: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t>
              </a:r>
            </a:p>
            <a:p>
              <a:pPr marL="0" marR="0" lvl="0" indent="0" algn="l" defTabSz="914400" rtl="0" eaLnBrk="1" fontAlgn="auto" latinLnBrk="0" hangingPunct="1">
                <a:lnSpc>
                  <a:spcPct val="100000"/>
                </a:lnSpc>
                <a:spcBef>
                  <a:spcPts val="0"/>
                </a:spcBef>
                <a:spcAft>
                  <a:spcPct val="0"/>
                </a:spcAft>
                <a:buClrTx/>
                <a:buSzTx/>
                <a:buFontTx/>
                <a:buNone/>
                <a:tabLst/>
                <a:defRPr/>
              </a:pPr>
              <a:endParaRPr kumimoji="0" lang="en-US" alt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7">
              <a:extLst>
                <a:ext uri="{FF2B5EF4-FFF2-40B4-BE49-F238E27FC236}">
                  <a16:creationId xmlns:a16="http://schemas.microsoft.com/office/drawing/2014/main" id="{424AE2AC-9E1B-98F0-A3B1-01F1A86D8CC9}"/>
                </a:ext>
              </a:extLst>
            </p:cNvPr>
            <p:cNvSpPr>
              <a:spLocks/>
            </p:cNvSpPr>
            <p:nvPr/>
          </p:nvSpPr>
          <p:spPr bwMode="auto">
            <a:xfrm>
              <a:off x="3377135" y="3168965"/>
              <a:ext cx="1010896" cy="570176"/>
            </a:xfrm>
            <a:custGeom>
              <a:avLst/>
              <a:gdLst>
                <a:gd name="T0" fmla="*/ 0 w 1020"/>
                <a:gd name="T1" fmla="*/ 0 h 120"/>
                <a:gd name="T2" fmla="*/ 1592263 w 1020"/>
                <a:gd name="T3" fmla="*/ 0 h 120"/>
                <a:gd name="T4" fmla="*/ 1592263 w 1020"/>
                <a:gd name="T5" fmla="*/ 457200 h 120"/>
                <a:gd name="T6" fmla="*/ 0 60000 65536"/>
                <a:gd name="T7" fmla="*/ 0 60000 65536"/>
                <a:gd name="T8" fmla="*/ 0 60000 65536"/>
              </a:gdLst>
              <a:ahLst/>
              <a:cxnLst>
                <a:cxn ang="T6">
                  <a:pos x="T0" y="T1"/>
                </a:cxn>
                <a:cxn ang="T7">
                  <a:pos x="T2" y="T3"/>
                </a:cxn>
                <a:cxn ang="T8">
                  <a:pos x="T4" y="T5"/>
                </a:cxn>
              </a:cxnLst>
              <a:rect l="0" t="0" r="r" b="b"/>
              <a:pathLst>
                <a:path w="1020" h="120">
                  <a:moveTo>
                    <a:pt x="0" y="0"/>
                  </a:moveTo>
                  <a:lnTo>
                    <a:pt x="1020" y="0"/>
                  </a:lnTo>
                  <a:lnTo>
                    <a:pt x="1020" y="120"/>
                  </a:lnTo>
                </a:path>
              </a:pathLst>
            </a:custGeom>
            <a:noFill/>
            <a:ln w="31750" cap="flat" cmpd="sng">
              <a:solidFill>
                <a:schemeClr val="tx1"/>
              </a:solidFill>
              <a:prstDash val="solid"/>
              <a:round/>
              <a:headEnd type="none" w="sm" len="sm"/>
              <a:tailEnd type="triangl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8703960A-898A-56F6-838B-E4FB5406C623}"/>
                </a:ext>
              </a:extLst>
            </p:cNvPr>
            <p:cNvSpPr>
              <a:spLocks noChangeArrowheads="1"/>
            </p:cNvSpPr>
            <p:nvPr/>
          </p:nvSpPr>
          <p:spPr bwMode="auto">
            <a:xfrm>
              <a:off x="3794193" y="3764518"/>
              <a:ext cx="1403001" cy="400110"/>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wrap="square"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000" b="1"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will it take to implement?</a:t>
              </a:r>
            </a:p>
          </p:txBody>
        </p:sp>
        <p:sp>
          <p:nvSpPr>
            <p:cNvPr id="15" name="Rectangle 14">
              <a:extLst>
                <a:ext uri="{FF2B5EF4-FFF2-40B4-BE49-F238E27FC236}">
                  <a16:creationId xmlns:a16="http://schemas.microsoft.com/office/drawing/2014/main" id="{F71367A7-05F3-AC7C-57EA-8F8FB4017A5B}"/>
                </a:ext>
              </a:extLst>
            </p:cNvPr>
            <p:cNvSpPr>
              <a:spLocks noChangeArrowheads="1"/>
            </p:cNvSpPr>
            <p:nvPr/>
          </p:nvSpPr>
          <p:spPr bwMode="auto">
            <a:xfrm>
              <a:off x="3790791" y="4165160"/>
              <a:ext cx="1403001" cy="900000"/>
            </a:xfrm>
            <a:prstGeom prst="rect">
              <a:avLst/>
            </a:prstGeom>
            <a:noFill/>
            <a:ln w="12700">
              <a:solidFill>
                <a:schemeClr val="tx1"/>
              </a:solidFill>
              <a:miter lim="800000"/>
              <a:headEnd type="none" w="sm" len="sm"/>
              <a:tailEnd type="none" w="sm" len="sm"/>
            </a:ln>
            <a:effectLst>
              <a:outerShdw dist="35921" dir="2700000" algn="ctr" rotWithShape="0">
                <a:schemeClr val="bg2"/>
              </a:outerShdw>
            </a:effectLst>
          </p:spPr>
          <p:txBody>
            <a:bodyPr lIns="9144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Open Sans"/>
                  <a:ea typeface="Open Sans"/>
                  <a:cs typeface="Open Sans"/>
                </a:rPr>
                <a:t>What operational changes are necessary to achieve desired financial benefits</a:t>
              </a:r>
            </a:p>
          </p:txBody>
        </p:sp>
        <p:sp>
          <p:nvSpPr>
            <p:cNvPr id="16" name="Rectangle 15">
              <a:extLst>
                <a:ext uri="{FF2B5EF4-FFF2-40B4-BE49-F238E27FC236}">
                  <a16:creationId xmlns:a16="http://schemas.microsoft.com/office/drawing/2014/main" id="{1D33F1CD-3D79-A096-975C-7DAB7779FC84}"/>
                </a:ext>
              </a:extLst>
            </p:cNvPr>
            <p:cNvSpPr>
              <a:spLocks noChangeArrowheads="1"/>
            </p:cNvSpPr>
            <p:nvPr/>
          </p:nvSpPr>
          <p:spPr bwMode="auto">
            <a:xfrm>
              <a:off x="2219029" y="3009507"/>
              <a:ext cx="1403001" cy="400110"/>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0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ow much value will it create?</a:t>
              </a:r>
            </a:p>
          </p:txBody>
        </p:sp>
        <p:sp>
          <p:nvSpPr>
            <p:cNvPr id="17" name="Rectangle 16">
              <a:extLst>
                <a:ext uri="{FF2B5EF4-FFF2-40B4-BE49-F238E27FC236}">
                  <a16:creationId xmlns:a16="http://schemas.microsoft.com/office/drawing/2014/main" id="{437C9FD9-47A2-675F-73B3-75BF2C5B4F92}"/>
                </a:ext>
              </a:extLst>
            </p:cNvPr>
            <p:cNvSpPr>
              <a:spLocks noChangeArrowheads="1"/>
            </p:cNvSpPr>
            <p:nvPr/>
          </p:nvSpPr>
          <p:spPr bwMode="auto">
            <a:xfrm>
              <a:off x="2217215" y="3418662"/>
              <a:ext cx="1403001" cy="900000"/>
            </a:xfrm>
            <a:prstGeom prst="rect">
              <a:avLst/>
            </a:prstGeom>
            <a:noFill/>
            <a:ln w="12700">
              <a:solidFill>
                <a:schemeClr val="tx1"/>
              </a:solidFill>
              <a:miter lim="800000"/>
              <a:headEnd type="none" w="sm" len="sm"/>
              <a:tailEnd type="none" w="sm" len="sm"/>
            </a:ln>
            <a:effectLst>
              <a:outerShdw dist="35921" dir="2700000" algn="ctr" rotWithShape="0">
                <a:schemeClr val="bg2"/>
              </a:outerShdw>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PV of the investment</a:t>
              </a: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ulting time-phased cash flow impact</a:t>
              </a: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RR and payback period </a:t>
              </a:r>
            </a:p>
          </p:txBody>
        </p:sp>
        <p:sp>
          <p:nvSpPr>
            <p:cNvPr id="18" name="Rectangle 17">
              <a:extLst>
                <a:ext uri="{FF2B5EF4-FFF2-40B4-BE49-F238E27FC236}">
                  <a16:creationId xmlns:a16="http://schemas.microsoft.com/office/drawing/2014/main" id="{EF443B71-C194-2F7E-C43E-CA7B593FD618}"/>
                </a:ext>
              </a:extLst>
            </p:cNvPr>
            <p:cNvSpPr>
              <a:spLocks noChangeArrowheads="1"/>
            </p:cNvSpPr>
            <p:nvPr/>
          </p:nvSpPr>
          <p:spPr bwMode="auto">
            <a:xfrm>
              <a:off x="619267" y="5237479"/>
              <a:ext cx="4675109" cy="285030"/>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s this project worth doing?</a:t>
              </a:r>
            </a:p>
          </p:txBody>
        </p:sp>
      </p:grpSp>
      <p:sp>
        <p:nvSpPr>
          <p:cNvPr id="21" name="Rectangle 4">
            <a:extLst>
              <a:ext uri="{FF2B5EF4-FFF2-40B4-BE49-F238E27FC236}">
                <a16:creationId xmlns:a16="http://schemas.microsoft.com/office/drawing/2014/main" id="{85CE8C5D-4A20-8A72-A5DF-8B66C5253616}"/>
              </a:ext>
            </a:extLst>
          </p:cNvPr>
          <p:cNvSpPr>
            <a:spLocks noChangeArrowheads="1"/>
          </p:cNvSpPr>
          <p:nvPr/>
        </p:nvSpPr>
        <p:spPr bwMode="black">
          <a:xfrm>
            <a:off x="6260870" y="1656002"/>
            <a:ext cx="2439444" cy="259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0" marR="0" lvl="0" indent="0" algn="l" defTabSz="914400" rtl="0" eaLnBrk="1" fontAlgn="auto" latinLnBrk="0" hangingPunct="1">
              <a:lnSpc>
                <a:spcPct val="85000"/>
              </a:lnSpc>
              <a:spcBef>
                <a:spcPts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siness case components</a:t>
            </a:r>
          </a:p>
        </p:txBody>
      </p:sp>
      <p:sp>
        <p:nvSpPr>
          <p:cNvPr id="23" name="Rectangle 5">
            <a:extLst>
              <a:ext uri="{FF2B5EF4-FFF2-40B4-BE49-F238E27FC236}">
                <a16:creationId xmlns:a16="http://schemas.microsoft.com/office/drawing/2014/main" id="{7783231F-4EB2-45EE-0408-2508D7D11928}"/>
              </a:ext>
            </a:extLst>
          </p:cNvPr>
          <p:cNvSpPr>
            <a:spLocks noChangeArrowheads="1"/>
          </p:cNvSpPr>
          <p:nvPr/>
        </p:nvSpPr>
        <p:spPr bwMode="auto">
          <a:xfrm>
            <a:off x="6345936" y="1934434"/>
            <a:ext cx="1042416" cy="609600"/>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570" indent="-115570" algn="ctr">
              <a:spcAft>
                <a:spcPct val="0"/>
              </a:spcAft>
              <a:defRPr/>
            </a:pPr>
            <a:r>
              <a:rPr lang="en-US" altLang="en-US" sz="900" dirty="0">
                <a:solidFill>
                  <a:srgbClr val="000000"/>
                </a:solidFill>
                <a:latin typeface="Open Sans"/>
                <a:ea typeface="Open Sans"/>
                <a:cs typeface="Open Sans"/>
              </a:rPr>
              <a:t>Executive Summary</a:t>
            </a:r>
            <a:endParaRPr lang="en-US" dirty="0" err="1"/>
          </a:p>
        </p:txBody>
      </p:sp>
      <p:sp>
        <p:nvSpPr>
          <p:cNvPr id="25" name="Rectangle 7">
            <a:extLst>
              <a:ext uri="{FF2B5EF4-FFF2-40B4-BE49-F238E27FC236}">
                <a16:creationId xmlns:a16="http://schemas.microsoft.com/office/drawing/2014/main" id="{ED7B47CF-078B-2741-F793-2DF70379049B}"/>
              </a:ext>
            </a:extLst>
          </p:cNvPr>
          <p:cNvSpPr>
            <a:spLocks noChangeArrowheads="1"/>
          </p:cNvSpPr>
          <p:nvPr/>
        </p:nvSpPr>
        <p:spPr bwMode="auto">
          <a:xfrm>
            <a:off x="6345936" y="2716488"/>
            <a:ext cx="1042416" cy="609600"/>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marR="0" lvl="0" indent="-115888" algn="ctr" defTabSz="914400" rtl="0" eaLnBrk="1" fontAlgn="auto" latinLnBrk="0" hangingPunct="1">
              <a:lnSpc>
                <a:spcPct val="100000"/>
              </a:lnSpc>
              <a:spcBef>
                <a:spcPts val="0"/>
              </a:spcBef>
              <a:spcAft>
                <a:spcPct val="0"/>
              </a:spcAft>
              <a:buClrTx/>
              <a:buSzTx/>
              <a:buFontTx/>
              <a:buNone/>
              <a:tabLst/>
              <a:defRPr/>
            </a:pPr>
            <a:r>
              <a:rPr kumimoji="0" lang="en-US"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pportunity</a:t>
            </a:r>
            <a:r>
              <a:rPr kumimoji="0" lang="hu-HU"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alysis</a:t>
            </a:r>
          </a:p>
        </p:txBody>
      </p:sp>
      <p:sp>
        <p:nvSpPr>
          <p:cNvPr id="27" name="Rectangle 8">
            <a:extLst>
              <a:ext uri="{FF2B5EF4-FFF2-40B4-BE49-F238E27FC236}">
                <a16:creationId xmlns:a16="http://schemas.microsoft.com/office/drawing/2014/main" id="{55F95CF7-53C4-60EC-5C26-CE2ED1362C4A}"/>
              </a:ext>
            </a:extLst>
          </p:cNvPr>
          <p:cNvSpPr>
            <a:spLocks noChangeArrowheads="1"/>
          </p:cNvSpPr>
          <p:nvPr/>
        </p:nvSpPr>
        <p:spPr bwMode="auto">
          <a:xfrm>
            <a:off x="6345936" y="3494532"/>
            <a:ext cx="1042416" cy="609600"/>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marR="0" lvl="0" indent="-115888" algn="ctr" defTabSz="914400" rtl="0" eaLnBrk="1" fontAlgn="auto" latinLnBrk="0" hangingPunct="1">
              <a:lnSpc>
                <a:spcPct val="100000"/>
              </a:lnSpc>
              <a:spcBef>
                <a:spcPts val="0"/>
              </a:spcBef>
              <a:spcAft>
                <a:spcPct val="0"/>
              </a:spcAft>
              <a:buClrTx/>
              <a:buSzTx/>
              <a:buFontTx/>
              <a:buNone/>
              <a:tabLst/>
              <a:defRPr/>
            </a:pPr>
            <a:r>
              <a:rPr kumimoji="0" lang="en-US"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sts and</a:t>
            </a:r>
            <a:r>
              <a:rPr kumimoji="0" lang="hu-HU"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nefits</a:t>
            </a:r>
          </a:p>
        </p:txBody>
      </p:sp>
      <p:sp>
        <p:nvSpPr>
          <p:cNvPr id="29" name="Rectangle 9">
            <a:extLst>
              <a:ext uri="{FF2B5EF4-FFF2-40B4-BE49-F238E27FC236}">
                <a16:creationId xmlns:a16="http://schemas.microsoft.com/office/drawing/2014/main" id="{D1593F01-8945-5857-0259-57119F2FE7CB}"/>
              </a:ext>
            </a:extLst>
          </p:cNvPr>
          <p:cNvSpPr>
            <a:spLocks noChangeArrowheads="1"/>
          </p:cNvSpPr>
          <p:nvPr/>
        </p:nvSpPr>
        <p:spPr bwMode="auto">
          <a:xfrm>
            <a:off x="6345936" y="4274578"/>
            <a:ext cx="1042416" cy="609600"/>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marR="0" lvl="0" indent="-115888" algn="ctr" defTabSz="914400" rtl="0" eaLnBrk="1" fontAlgn="auto" latinLnBrk="0" hangingPunct="1">
              <a:lnSpc>
                <a:spcPct val="100000"/>
              </a:lnSpc>
              <a:spcBef>
                <a:spcPts val="0"/>
              </a:spcBef>
              <a:spcAft>
                <a:spcPct val="0"/>
              </a:spcAft>
              <a:buClrTx/>
              <a:buSzTx/>
              <a:buFontTx/>
              <a:buNone/>
              <a:tabLst/>
              <a:defRPr/>
            </a:pPr>
            <a:r>
              <a:rPr kumimoji="0" lang="en-US"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isks and</a:t>
            </a:r>
            <a:r>
              <a:rPr kumimoji="0" lang="hu-HU"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9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railers</a:t>
            </a:r>
          </a:p>
        </p:txBody>
      </p:sp>
      <p:sp>
        <p:nvSpPr>
          <p:cNvPr id="31" name="Rectangle 10">
            <a:extLst>
              <a:ext uri="{FF2B5EF4-FFF2-40B4-BE49-F238E27FC236}">
                <a16:creationId xmlns:a16="http://schemas.microsoft.com/office/drawing/2014/main" id="{427CDEE2-0BCA-AB74-CDB0-B8DED599C45F}"/>
              </a:ext>
            </a:extLst>
          </p:cNvPr>
          <p:cNvSpPr>
            <a:spLocks noChangeArrowheads="1"/>
          </p:cNvSpPr>
          <p:nvPr/>
        </p:nvSpPr>
        <p:spPr bwMode="auto">
          <a:xfrm>
            <a:off x="6345936" y="5014519"/>
            <a:ext cx="1042416" cy="609600"/>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marR="0" lvl="0" indent="-115888" algn="ctr" defTabSz="914400" rtl="0" eaLnBrk="1" fontAlgn="auto" latinLnBrk="0" hangingPunct="1">
              <a:lnSpc>
                <a:spcPct val="100000"/>
              </a:lnSpc>
              <a:spcBef>
                <a:spcPts val="0"/>
              </a:spcBef>
              <a:spcAft>
                <a:spcPct val="0"/>
              </a:spcAft>
              <a:buClrTx/>
              <a:buSzTx/>
              <a:buFontTx/>
              <a:buNone/>
              <a:tabLst/>
              <a:defRPr/>
            </a:pPr>
            <a:r>
              <a:rPr kumimoji="0" lang="en-US" altLang="en-US" sz="90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tion Plan</a:t>
            </a:r>
          </a:p>
        </p:txBody>
      </p:sp>
      <p:sp>
        <p:nvSpPr>
          <p:cNvPr id="33" name="Line 11">
            <a:extLst>
              <a:ext uri="{FF2B5EF4-FFF2-40B4-BE49-F238E27FC236}">
                <a16:creationId xmlns:a16="http://schemas.microsoft.com/office/drawing/2014/main" id="{61913ECF-2C87-4402-E187-1CED1BD7EA8B}"/>
              </a:ext>
            </a:extLst>
          </p:cNvPr>
          <p:cNvSpPr>
            <a:spLocks noChangeShapeType="1"/>
          </p:cNvSpPr>
          <p:nvPr/>
        </p:nvSpPr>
        <p:spPr bwMode="auto">
          <a:xfrm>
            <a:off x="7510754" y="2584782"/>
            <a:ext cx="4176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Rectangle 16">
            <a:extLst>
              <a:ext uri="{FF2B5EF4-FFF2-40B4-BE49-F238E27FC236}">
                <a16:creationId xmlns:a16="http://schemas.microsoft.com/office/drawing/2014/main" id="{209CE910-3980-D139-FE52-810C6939B5EC}"/>
              </a:ext>
            </a:extLst>
          </p:cNvPr>
          <p:cNvSpPr>
            <a:spLocks noChangeArrowheads="1"/>
          </p:cNvSpPr>
          <p:nvPr/>
        </p:nvSpPr>
        <p:spPr bwMode="auto">
          <a:xfrm>
            <a:off x="7480593" y="4957710"/>
            <a:ext cx="4371010" cy="738063"/>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0" rIns="91440" bIns="0" anchor="ctr"/>
          <a:lstStyle>
            <a:lvl1pPr marL="174625" indent="-174625">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tion timeline, project deliverables, resources and project tollgates</a:t>
            </a:r>
          </a:p>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a:ea typeface="Open Sans"/>
                <a:cs typeface="Open Sans"/>
              </a:rPr>
              <a:t>Operational changes required to achieve financial targets</a:t>
            </a:r>
          </a:p>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siness owners and operational owners of the project</a:t>
            </a:r>
          </a:p>
        </p:txBody>
      </p:sp>
      <p:sp>
        <p:nvSpPr>
          <p:cNvPr id="37" name="Rectangle 17">
            <a:extLst>
              <a:ext uri="{FF2B5EF4-FFF2-40B4-BE49-F238E27FC236}">
                <a16:creationId xmlns:a16="http://schemas.microsoft.com/office/drawing/2014/main" id="{AC81887C-1A8C-F1E7-A2E0-00421F90970B}"/>
              </a:ext>
            </a:extLst>
          </p:cNvPr>
          <p:cNvSpPr>
            <a:spLocks noChangeArrowheads="1"/>
          </p:cNvSpPr>
          <p:nvPr/>
        </p:nvSpPr>
        <p:spPr bwMode="auto">
          <a:xfrm>
            <a:off x="7480593" y="4274578"/>
            <a:ext cx="4371010" cy="609600"/>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ctr"/>
          <a:lstStyle>
            <a:lvl1pPr marL="174625" indent="-174625">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otential risk factors</a:t>
            </a:r>
          </a:p>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sts of potential derailers, if known</a:t>
            </a:r>
          </a:p>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tion plans for risks/derailers</a:t>
            </a:r>
          </a:p>
        </p:txBody>
      </p:sp>
      <p:sp>
        <p:nvSpPr>
          <p:cNvPr id="39" name="Rectangle 18">
            <a:extLst>
              <a:ext uri="{FF2B5EF4-FFF2-40B4-BE49-F238E27FC236}">
                <a16:creationId xmlns:a16="http://schemas.microsoft.com/office/drawing/2014/main" id="{1AEB5B58-C2A1-7ED6-A620-E25D8EF0764F}"/>
              </a:ext>
            </a:extLst>
          </p:cNvPr>
          <p:cNvSpPr>
            <a:spLocks noChangeArrowheads="1"/>
          </p:cNvSpPr>
          <p:nvPr/>
        </p:nvSpPr>
        <p:spPr bwMode="auto">
          <a:xfrm>
            <a:off x="7432077" y="3443225"/>
            <a:ext cx="4371010" cy="726159"/>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marL="231775" indent="-231775">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231775" marR="0" lvl="0" indent="-23177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tailed description of costs and benefits (both hard and soft)</a:t>
            </a:r>
          </a:p>
          <a:p>
            <a:pPr marL="231775" marR="0" lvl="0" indent="-23177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f there is uncertainty in the numbers, presents a range of numbers and describes the uncertainty</a:t>
            </a:r>
          </a:p>
          <a:p>
            <a:pPr marL="231775" marR="0" lvl="0" indent="-23177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st/benefit assumptions</a:t>
            </a:r>
          </a:p>
        </p:txBody>
      </p:sp>
      <p:sp>
        <p:nvSpPr>
          <p:cNvPr id="41" name="Rectangle 19">
            <a:extLst>
              <a:ext uri="{FF2B5EF4-FFF2-40B4-BE49-F238E27FC236}">
                <a16:creationId xmlns:a16="http://schemas.microsoft.com/office/drawing/2014/main" id="{FCE09B55-0EF9-E0DA-7B58-F540F0556CBC}"/>
              </a:ext>
            </a:extLst>
          </p:cNvPr>
          <p:cNvSpPr>
            <a:spLocks noChangeArrowheads="1"/>
          </p:cNvSpPr>
          <p:nvPr/>
        </p:nvSpPr>
        <p:spPr bwMode="auto">
          <a:xfrm>
            <a:off x="7452018" y="2729364"/>
            <a:ext cx="4371010" cy="609600"/>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ctr"/>
          <a:lstStyle>
            <a:lvl1pPr marL="231775" indent="-231775">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231775" marR="0" lvl="0" indent="-23177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mmary of costs and benefits, time-phased cash flow impact, IRR and payback period</a:t>
            </a:r>
          </a:p>
          <a:p>
            <a:pPr marL="231775" marR="0" lvl="0" indent="-23177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mmary of value opportunity (value creation and value drivers)</a:t>
            </a:r>
          </a:p>
          <a:p>
            <a:pPr marL="231775" marR="0" lvl="0" indent="-23177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asonable set of alternatives to realize the opportunity if project not undertaken</a:t>
            </a:r>
          </a:p>
        </p:txBody>
      </p:sp>
      <p:sp>
        <p:nvSpPr>
          <p:cNvPr id="43" name="Rectangle 20">
            <a:extLst>
              <a:ext uri="{FF2B5EF4-FFF2-40B4-BE49-F238E27FC236}">
                <a16:creationId xmlns:a16="http://schemas.microsoft.com/office/drawing/2014/main" id="{174CF916-FA64-4794-875C-8E1804BACBAE}"/>
              </a:ext>
            </a:extLst>
          </p:cNvPr>
          <p:cNvSpPr>
            <a:spLocks noChangeArrowheads="1"/>
          </p:cNvSpPr>
          <p:nvPr/>
        </p:nvSpPr>
        <p:spPr bwMode="auto">
          <a:xfrm>
            <a:off x="7452018" y="1908613"/>
            <a:ext cx="4471759" cy="685800"/>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ctr"/>
          <a:lstStyle>
            <a:lvl1pPr marL="174625" indent="-174625">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gh level summary of opportunity or goal </a:t>
            </a:r>
          </a:p>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nks to the business strategy,</a:t>
            </a:r>
            <a:r>
              <a:rPr kumimoji="0" lang="en-US" altLang="en-US" sz="900" b="0"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rategic priorities and goals</a:t>
            </a:r>
          </a:p>
          <a:p>
            <a:pPr marL="174625" marR="0" lvl="0" indent="-174625" algn="l" defTabSz="914400" rtl="0" eaLnBrk="1" fontAlgn="auto" latinLnBrk="0" hangingPunct="1">
              <a:lnSpc>
                <a:spcPct val="100000"/>
              </a:lnSpc>
              <a:spcBef>
                <a:spcPct val="20000"/>
              </a:spcBef>
              <a:spcAft>
                <a:spcPct val="0"/>
              </a:spcAft>
              <a:buClrTx/>
              <a:buSzTx/>
              <a:buFontTx/>
              <a:buChar char="•"/>
              <a:tabLst/>
              <a:defRPr/>
            </a:pPr>
            <a:r>
              <a:rPr kumimoji="0" lang="en-US" alt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cription of the project and resources required to implement</a:t>
            </a:r>
          </a:p>
        </p:txBody>
      </p:sp>
      <p:sp>
        <p:nvSpPr>
          <p:cNvPr id="45" name="Line 11">
            <a:extLst>
              <a:ext uri="{FF2B5EF4-FFF2-40B4-BE49-F238E27FC236}">
                <a16:creationId xmlns:a16="http://schemas.microsoft.com/office/drawing/2014/main" id="{3A8BC273-6F1B-6257-3263-79DA406A26EF}"/>
              </a:ext>
            </a:extLst>
          </p:cNvPr>
          <p:cNvSpPr>
            <a:spLocks noChangeShapeType="1"/>
          </p:cNvSpPr>
          <p:nvPr/>
        </p:nvSpPr>
        <p:spPr bwMode="auto">
          <a:xfrm>
            <a:off x="7510754" y="4921134"/>
            <a:ext cx="4176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Line 11">
            <a:extLst>
              <a:ext uri="{FF2B5EF4-FFF2-40B4-BE49-F238E27FC236}">
                <a16:creationId xmlns:a16="http://schemas.microsoft.com/office/drawing/2014/main" id="{1A25EB44-1E6A-9205-DE6E-C4301A45F8EC}"/>
              </a:ext>
            </a:extLst>
          </p:cNvPr>
          <p:cNvSpPr>
            <a:spLocks noChangeShapeType="1"/>
          </p:cNvSpPr>
          <p:nvPr/>
        </p:nvSpPr>
        <p:spPr bwMode="auto">
          <a:xfrm>
            <a:off x="7432077" y="4182916"/>
            <a:ext cx="4176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Line 11">
            <a:extLst>
              <a:ext uri="{FF2B5EF4-FFF2-40B4-BE49-F238E27FC236}">
                <a16:creationId xmlns:a16="http://schemas.microsoft.com/office/drawing/2014/main" id="{30EC15E1-4E95-80A6-5153-16509B7536E4}"/>
              </a:ext>
            </a:extLst>
          </p:cNvPr>
          <p:cNvSpPr>
            <a:spLocks noChangeShapeType="1"/>
          </p:cNvSpPr>
          <p:nvPr/>
        </p:nvSpPr>
        <p:spPr bwMode="auto">
          <a:xfrm>
            <a:off x="7452018" y="3424937"/>
            <a:ext cx="4176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4342153"/>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28B00D2-347A-B74F-41FA-93D9A16A95FC}"/>
              </a:ext>
            </a:extLst>
          </p:cNvPr>
          <p:cNvGraphicFramePr>
            <a:graphicFrameLocks noChangeAspect="1"/>
          </p:cNvGraphicFramePr>
          <p:nvPr>
            <p:custDataLst>
              <p:tags r:id="rId1"/>
            </p:custDataLst>
            <p:extLst>
              <p:ext uri="{D42A27DB-BD31-4B8C-83A1-F6EECF244321}">
                <p14:modId xmlns:p14="http://schemas.microsoft.com/office/powerpoint/2010/main" val="132233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3" name="think-cell data - do not delete" hidden="1">
                        <a:extLst>
                          <a:ext uri="{FF2B5EF4-FFF2-40B4-BE49-F238E27FC236}">
                            <a16:creationId xmlns:a16="http://schemas.microsoft.com/office/drawing/2014/main" id="{C28B00D2-347A-B74F-41FA-93D9A16A95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D45FE657-8B50-5CC0-472C-1869430F23CA}"/>
              </a:ext>
            </a:extLst>
          </p:cNvPr>
          <p:cNvSpPr>
            <a:spLocks noGrp="1"/>
          </p:cNvSpPr>
          <p:nvPr>
            <p:ph type="title"/>
          </p:nvPr>
        </p:nvSpPr>
        <p:spPr>
          <a:xfrm>
            <a:off x="463295" y="417911"/>
            <a:ext cx="8307218" cy="334099"/>
          </a:xfrm>
        </p:spPr>
        <p:txBody>
          <a:bodyPr vert="horz"/>
          <a:lstStyle/>
          <a:p>
            <a:r>
              <a:rPr lang="en-US" dirty="0">
                <a:latin typeface="Open Sans Light"/>
                <a:ea typeface="Open Sans Light"/>
                <a:cs typeface="Open Sans Light"/>
              </a:rPr>
              <a:t>Business case development (3/4)</a:t>
            </a:r>
            <a:endParaRPr lang="en-US" dirty="0"/>
          </a:p>
        </p:txBody>
      </p:sp>
      <p:sp>
        <p:nvSpPr>
          <p:cNvPr id="7" name="Rectangle 2">
            <a:extLst>
              <a:ext uri="{FF2B5EF4-FFF2-40B4-BE49-F238E27FC236}">
                <a16:creationId xmlns:a16="http://schemas.microsoft.com/office/drawing/2014/main" id="{9F31A9FB-4480-C154-E7CA-81025F18EBD9}"/>
              </a:ext>
            </a:extLst>
          </p:cNvPr>
          <p:cNvSpPr>
            <a:spLocks noGrp="1" noChangeArrowheads="1"/>
          </p:cNvSpPr>
          <p:nvPr>
            <p:ph type="body" sz="quarter" idx="22"/>
          </p:nvPr>
        </p:nvSpPr>
        <p:spPr>
          <a:xfrm>
            <a:off x="463550" y="936625"/>
            <a:ext cx="11277600" cy="757238"/>
          </a:xfrm>
        </p:spPr>
        <p:txBody>
          <a:bodyPr/>
          <a:lstStyle/>
          <a:p>
            <a:pPr eaLnBrk="1" hangingPunct="1"/>
            <a:r>
              <a:rPr lang="en-US" altLang="en-US" sz="1800" dirty="0"/>
              <a:t>Business Case Development &amp; Tracking Approach</a:t>
            </a:r>
          </a:p>
        </p:txBody>
      </p:sp>
      <p:sp>
        <p:nvSpPr>
          <p:cNvPr id="9" name="Text Box 3">
            <a:extLst>
              <a:ext uri="{FF2B5EF4-FFF2-40B4-BE49-F238E27FC236}">
                <a16:creationId xmlns:a16="http://schemas.microsoft.com/office/drawing/2014/main" id="{B2BAA8F6-73C6-9B96-9580-09546361DF9E}"/>
              </a:ext>
            </a:extLst>
          </p:cNvPr>
          <p:cNvSpPr txBox="1">
            <a:spLocks noChangeArrowheads="1"/>
          </p:cNvSpPr>
          <p:nvPr/>
        </p:nvSpPr>
        <p:spPr bwMode="auto">
          <a:xfrm>
            <a:off x="1049333" y="3023135"/>
            <a:ext cx="1600200" cy="2862322"/>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is being proposed?</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are the high-level </a:t>
            </a:r>
            <a:b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nefits and costs?</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ow does this project align with our strategies/priorities?</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are the key</a:t>
            </a:r>
            <a:b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ssumptions for this</a:t>
            </a:r>
            <a:b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ject?</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are the key </a:t>
            </a:r>
            <a:b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tions for </a:t>
            </a:r>
            <a:b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is project? (</a:t>
            </a:r>
            <a:b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imeframe, key assumptions, biggest risks, etc.)</a:t>
            </a:r>
          </a:p>
        </p:txBody>
      </p:sp>
      <p:sp>
        <p:nvSpPr>
          <p:cNvPr id="11" name="Text Box 4">
            <a:extLst>
              <a:ext uri="{FF2B5EF4-FFF2-40B4-BE49-F238E27FC236}">
                <a16:creationId xmlns:a16="http://schemas.microsoft.com/office/drawing/2014/main" id="{B5D532D7-769D-B8A9-3048-9D0F87333842}"/>
              </a:ext>
            </a:extLst>
          </p:cNvPr>
          <p:cNvSpPr txBox="1">
            <a:spLocks noChangeArrowheads="1"/>
          </p:cNvSpPr>
          <p:nvPr/>
        </p:nvSpPr>
        <p:spPr bwMode="auto">
          <a:xfrm>
            <a:off x="2954952" y="3023135"/>
            <a:ext cx="1752600" cy="1539875"/>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financial value (revenue growth, margin improvement, asset efficiency) will be created by this project?</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operational (people, process and technology) changes will drive the financial results? </a:t>
            </a:r>
          </a:p>
        </p:txBody>
      </p:sp>
      <p:sp>
        <p:nvSpPr>
          <p:cNvPr id="13" name="Rectangle 5">
            <a:extLst>
              <a:ext uri="{FF2B5EF4-FFF2-40B4-BE49-F238E27FC236}">
                <a16:creationId xmlns:a16="http://schemas.microsoft.com/office/drawing/2014/main" id="{B89AB854-C563-A6EC-F4FF-FC447C8175FB}"/>
              </a:ext>
            </a:extLst>
          </p:cNvPr>
          <p:cNvSpPr>
            <a:spLocks noChangeArrowheads="1"/>
          </p:cNvSpPr>
          <p:nvPr/>
        </p:nvSpPr>
        <p:spPr bwMode="auto">
          <a:xfrm>
            <a:off x="1125533" y="1947509"/>
            <a:ext cx="1447800" cy="992188"/>
          </a:xfrm>
          <a:prstGeom prst="rect">
            <a:avLst/>
          </a:prstGeom>
          <a:solidFill>
            <a:schemeClr val="bg1"/>
          </a:solidFill>
          <a:ln w="9525"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spcBef>
                <a:spcPct val="50000"/>
              </a:spcBef>
              <a:defRPr kumimoji="1" sz="2000">
                <a:solidFill>
                  <a:srgbClr val="FF0000"/>
                </a:solidFill>
                <a:latin typeface="Agency FB" panose="020B0503020202020204" pitchFamily="34" charset="0"/>
              </a:defRPr>
            </a:lvl1pPr>
            <a:lvl2pPr marL="742950" indent="-285750" algn="ctr">
              <a:spcBef>
                <a:spcPct val="50000"/>
              </a:spcBef>
              <a:defRPr kumimoji="1" sz="2000">
                <a:solidFill>
                  <a:srgbClr val="FF0000"/>
                </a:solidFill>
                <a:latin typeface="Agency FB" panose="020B0503020202020204" pitchFamily="34" charset="0"/>
              </a:defRPr>
            </a:lvl2pPr>
            <a:lvl3pPr marL="1143000" indent="-228600" algn="ctr">
              <a:spcBef>
                <a:spcPct val="50000"/>
              </a:spcBef>
              <a:defRPr kumimoji="1" sz="2000">
                <a:solidFill>
                  <a:srgbClr val="FF0000"/>
                </a:solidFill>
                <a:latin typeface="Agency FB" panose="020B0503020202020204" pitchFamily="34" charset="0"/>
              </a:defRPr>
            </a:lvl3pPr>
            <a:lvl4pPr marL="1600200" indent="-228600" algn="ctr">
              <a:spcBef>
                <a:spcPct val="50000"/>
              </a:spcBef>
              <a:defRPr kumimoji="1" sz="2000">
                <a:solidFill>
                  <a:srgbClr val="FF0000"/>
                </a:solidFill>
                <a:latin typeface="Agency FB" panose="020B0503020202020204" pitchFamily="34" charset="0"/>
              </a:defRPr>
            </a:lvl4pPr>
            <a:lvl5pPr marL="2057400" indent="-228600" algn="ctr">
              <a:spcBef>
                <a:spcPct val="50000"/>
              </a:spcBef>
              <a:defRPr kumimoji="1" sz="2000">
                <a:solidFill>
                  <a:srgbClr val="FF0000"/>
                </a:solidFill>
                <a:latin typeface="Agency FB" panose="020B0503020202020204" pitchFamily="34" charset="0"/>
              </a:defRPr>
            </a:lvl5pPr>
            <a:lvl6pPr marL="2514600" indent="-228600" algn="ctr" eaLnBrk="0" fontAlgn="base" hangingPunct="0">
              <a:spcBef>
                <a:spcPct val="50000"/>
              </a:spcBef>
              <a:spcAft>
                <a:spcPct val="0"/>
              </a:spcAft>
              <a:defRPr kumimoji="1" sz="2000">
                <a:solidFill>
                  <a:srgbClr val="FF0000"/>
                </a:solidFill>
                <a:latin typeface="Agency FB" panose="020B0503020202020204" pitchFamily="34" charset="0"/>
              </a:defRPr>
            </a:lvl6pPr>
            <a:lvl7pPr marL="2971800" indent="-228600" algn="ctr" eaLnBrk="0" fontAlgn="base" hangingPunct="0">
              <a:spcBef>
                <a:spcPct val="50000"/>
              </a:spcBef>
              <a:spcAft>
                <a:spcPct val="0"/>
              </a:spcAft>
              <a:defRPr kumimoji="1" sz="2000">
                <a:solidFill>
                  <a:srgbClr val="FF0000"/>
                </a:solidFill>
                <a:latin typeface="Agency FB" panose="020B0503020202020204" pitchFamily="34" charset="0"/>
              </a:defRPr>
            </a:lvl7pPr>
            <a:lvl8pPr marL="3429000" indent="-228600" algn="ctr" eaLnBrk="0" fontAlgn="base" hangingPunct="0">
              <a:spcBef>
                <a:spcPct val="50000"/>
              </a:spcBef>
              <a:spcAft>
                <a:spcPct val="0"/>
              </a:spcAft>
              <a:defRPr kumimoji="1" sz="2000">
                <a:solidFill>
                  <a:srgbClr val="FF0000"/>
                </a:solidFill>
                <a:latin typeface="Agency FB" panose="020B0503020202020204" pitchFamily="34" charset="0"/>
              </a:defRPr>
            </a:lvl8pPr>
            <a:lvl9pPr marL="3886200" indent="-228600" algn="ctr" eaLnBrk="0" fontAlgn="base" hangingPunct="0">
              <a:spcBef>
                <a:spcPct val="50000"/>
              </a:spcBef>
              <a:spcAft>
                <a:spcPct val="0"/>
              </a:spcAft>
              <a:defRPr kumimoji="1" sz="2000">
                <a:solidFill>
                  <a:srgbClr val="FF0000"/>
                </a:solidFill>
                <a:latin typeface="Agency FB" panose="020B0503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1" lang="en-US" alt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Box 7">
            <a:extLst>
              <a:ext uri="{FF2B5EF4-FFF2-40B4-BE49-F238E27FC236}">
                <a16:creationId xmlns:a16="http://schemas.microsoft.com/office/drawing/2014/main" id="{D55D519F-C838-3CED-ACA9-D4B444D76EEA}"/>
              </a:ext>
            </a:extLst>
          </p:cNvPr>
          <p:cNvSpPr txBox="1">
            <a:spLocks noChangeArrowheads="1"/>
          </p:cNvSpPr>
          <p:nvPr/>
        </p:nvSpPr>
        <p:spPr bwMode="auto">
          <a:xfrm>
            <a:off x="1201734" y="2072922"/>
            <a:ext cx="1075936" cy="830997"/>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l" defTabSz="914400" rtl="0" eaLnBrk="1" fontAlgn="auto" latinLnBrk="0" hangingPunct="1">
              <a:lnSpc>
                <a:spcPct val="100000"/>
              </a:lnSpc>
              <a:spcBef>
                <a:spcPct val="50000"/>
              </a:spcBef>
              <a:spcAft>
                <a:spcPct val="0"/>
              </a:spcAft>
              <a:buClrTx/>
              <a:buSzTx/>
              <a:buFontTx/>
              <a:buChar char="•"/>
              <a:tabLst/>
              <a:defRPr/>
            </a:pP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bjective</a:t>
            </a:r>
          </a:p>
          <a:p>
            <a:pPr marL="114300" marR="0" lvl="0" indent="-114300" algn="l" defTabSz="914400" rtl="0" eaLnBrk="1" fontAlgn="auto" latinLnBrk="0" hangingPunct="1">
              <a:lnSpc>
                <a:spcPct val="100000"/>
              </a:lnSpc>
              <a:spcBef>
                <a:spcPts val="0"/>
              </a:spcBef>
              <a:spcAft>
                <a:spcPct val="0"/>
              </a:spcAft>
              <a:buClrTx/>
              <a:buSzTx/>
              <a:buFontTx/>
              <a:buChar char="•"/>
              <a:tabLst/>
              <a:defRPr/>
            </a:pP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cope</a:t>
            </a:r>
          </a:p>
          <a:p>
            <a:pPr marL="114300" marR="0" lvl="0" indent="-114300" algn="l" defTabSz="914400" rtl="0" eaLnBrk="1" fontAlgn="auto" latinLnBrk="0" hangingPunct="1">
              <a:lnSpc>
                <a:spcPct val="100000"/>
              </a:lnSpc>
              <a:spcBef>
                <a:spcPts val="0"/>
              </a:spcBef>
              <a:spcAft>
                <a:spcPct val="0"/>
              </a:spcAft>
              <a:buClrTx/>
              <a:buSzTx/>
              <a:buFontTx/>
              <a:buChar char="•"/>
              <a:tabLst/>
              <a:defRPr/>
            </a:pP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iming</a:t>
            </a:r>
          </a:p>
          <a:p>
            <a:pPr marL="114300" marR="0" lvl="0" indent="-114300" algn="l" defTabSz="914400" rtl="0" eaLnBrk="1" fontAlgn="auto" latinLnBrk="0" hangingPunct="1">
              <a:lnSpc>
                <a:spcPct val="100000"/>
              </a:lnSpc>
              <a:spcBef>
                <a:spcPts val="0"/>
              </a:spcBef>
              <a:spcAft>
                <a:spcPct val="0"/>
              </a:spcAft>
              <a:buClrTx/>
              <a:buSzTx/>
              <a:buFontTx/>
              <a:buChar char="•"/>
              <a:tabLst/>
              <a:defRPr/>
            </a:pP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iverables</a:t>
            </a:r>
          </a:p>
          <a:p>
            <a:pPr marL="114300" marR="0" lvl="0" indent="-114300" algn="l" defTabSz="914400" rtl="0" eaLnBrk="1" fontAlgn="auto" latinLnBrk="0" hangingPunct="1">
              <a:lnSpc>
                <a:spcPct val="100000"/>
              </a:lnSpc>
              <a:spcBef>
                <a:spcPts val="0"/>
              </a:spcBef>
              <a:spcAft>
                <a:spcPct val="0"/>
              </a:spcAft>
              <a:buClrTx/>
              <a:buSzTx/>
              <a:buFontTx/>
              <a:buChar char="•"/>
              <a:tabLst/>
              <a:defRPr/>
            </a:pP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ources</a:t>
            </a:r>
          </a:p>
          <a:p>
            <a:pPr marL="114300" marR="0" lvl="0" indent="-114300" algn="l" defTabSz="914400" rtl="0" eaLnBrk="1" fontAlgn="auto" latinLnBrk="0" hangingPunct="1">
              <a:lnSpc>
                <a:spcPct val="100000"/>
              </a:lnSpc>
              <a:spcBef>
                <a:spcPts val="0"/>
              </a:spcBef>
              <a:spcAft>
                <a:spcPct val="0"/>
              </a:spcAft>
              <a:buClrTx/>
              <a:buSzTx/>
              <a:buFontTx/>
              <a:buChar char="•"/>
              <a:tabLst/>
              <a:defRPr/>
            </a:pP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st Projections</a:t>
            </a:r>
          </a:p>
        </p:txBody>
      </p:sp>
      <p:sp>
        <p:nvSpPr>
          <p:cNvPr id="17" name="Text Box 11">
            <a:extLst>
              <a:ext uri="{FF2B5EF4-FFF2-40B4-BE49-F238E27FC236}">
                <a16:creationId xmlns:a16="http://schemas.microsoft.com/office/drawing/2014/main" id="{EE899091-B14E-F1D9-82AE-9CFCAC2F72E1}"/>
              </a:ext>
            </a:extLst>
          </p:cNvPr>
          <p:cNvSpPr txBox="1">
            <a:spLocks noChangeArrowheads="1"/>
          </p:cNvSpPr>
          <p:nvPr/>
        </p:nvSpPr>
        <p:spPr bwMode="auto">
          <a:xfrm>
            <a:off x="4966632" y="3251735"/>
            <a:ext cx="1676400" cy="549275"/>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is the expected</a:t>
            </a:r>
            <a:r>
              <a:rPr kumimoji="0" lang="hu-HU"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alue of quantifiable benefits?</a:t>
            </a:r>
          </a:p>
        </p:txBody>
      </p:sp>
      <p:sp>
        <p:nvSpPr>
          <p:cNvPr id="19" name="Text Box 12">
            <a:extLst>
              <a:ext uri="{FF2B5EF4-FFF2-40B4-BE49-F238E27FC236}">
                <a16:creationId xmlns:a16="http://schemas.microsoft.com/office/drawing/2014/main" id="{3AAA7FC9-7FCC-A4B2-7BC3-A60395CC029F}"/>
              </a:ext>
            </a:extLst>
          </p:cNvPr>
          <p:cNvSpPr txBox="1">
            <a:spLocks noChangeArrowheads="1"/>
          </p:cNvSpPr>
          <p:nvPr/>
        </p:nvSpPr>
        <p:spPr bwMode="auto">
          <a:xfrm>
            <a:off x="4890432" y="3801010"/>
            <a:ext cx="1676400" cy="549275"/>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is the expected</a:t>
            </a:r>
            <a:r>
              <a:rPr kumimoji="0" lang="hu-HU"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st of achieving project benefits?</a:t>
            </a:r>
          </a:p>
        </p:txBody>
      </p:sp>
      <p:sp>
        <p:nvSpPr>
          <p:cNvPr id="21" name="Text Box 14">
            <a:extLst>
              <a:ext uri="{FF2B5EF4-FFF2-40B4-BE49-F238E27FC236}">
                <a16:creationId xmlns:a16="http://schemas.microsoft.com/office/drawing/2014/main" id="{C330C89C-5F60-2502-1AAE-D09C714E39C7}"/>
              </a:ext>
            </a:extLst>
          </p:cNvPr>
          <p:cNvSpPr txBox="1">
            <a:spLocks noChangeArrowheads="1"/>
          </p:cNvSpPr>
          <p:nvPr/>
        </p:nvSpPr>
        <p:spPr bwMode="auto">
          <a:xfrm>
            <a:off x="6816288" y="3251734"/>
            <a:ext cx="1600200" cy="1785104"/>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will be the total impact on </a:t>
            </a:r>
            <a:r>
              <a:rPr kumimoji="0" lang="en-US" altLang="en-US" sz="10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ome</a:t>
            </a:r>
            <a:r>
              <a:rPr kumimoji="0" lang="en-US" alt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BITDA, Net Earnings)</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will be the impact on </a:t>
            </a:r>
            <a:r>
              <a:rPr kumimoji="0" lang="en-US" altLang="en-US" sz="10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ssets and equity</a:t>
            </a:r>
            <a:r>
              <a:rPr kumimoji="0" lang="en-US" alt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tal Assets, Liabilities, Equity) </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will be the impact on </a:t>
            </a:r>
            <a:r>
              <a:rPr kumimoji="0" lang="en-US" altLang="en-US" sz="10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ash flows</a:t>
            </a:r>
            <a:r>
              <a:rPr kumimoji="0" lang="en-US" alt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perating Cash Flow, Total Cash Flow)</a:t>
            </a:r>
          </a:p>
        </p:txBody>
      </p:sp>
      <p:sp>
        <p:nvSpPr>
          <p:cNvPr id="23" name="Text Box 17">
            <a:extLst>
              <a:ext uri="{FF2B5EF4-FFF2-40B4-BE49-F238E27FC236}">
                <a16:creationId xmlns:a16="http://schemas.microsoft.com/office/drawing/2014/main" id="{34F0D90E-82F5-13CE-23D9-D70AD36C8C4E}"/>
              </a:ext>
            </a:extLst>
          </p:cNvPr>
          <p:cNvSpPr txBox="1">
            <a:spLocks noChangeArrowheads="1"/>
          </p:cNvSpPr>
          <p:nvPr/>
        </p:nvSpPr>
        <p:spPr bwMode="auto">
          <a:xfrm>
            <a:off x="6778188" y="5008703"/>
            <a:ext cx="1600200" cy="1015663"/>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is the financial value of the project?  </a:t>
            </a: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scounted Pre-Tax Income, Depreciation Schedule, EVA, Free Cash Flow, IRR</a:t>
            </a:r>
            <a:r>
              <a:rPr kumimoji="0" lang="en-US" altLang="en-US" sz="800" b="1"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n-Discounted Payback Period)</a:t>
            </a:r>
          </a:p>
        </p:txBody>
      </p:sp>
      <p:sp>
        <p:nvSpPr>
          <p:cNvPr id="25" name="Text Box 19">
            <a:extLst>
              <a:ext uri="{FF2B5EF4-FFF2-40B4-BE49-F238E27FC236}">
                <a16:creationId xmlns:a16="http://schemas.microsoft.com/office/drawing/2014/main" id="{66213127-B07A-8652-4B53-B956B4E02E2F}"/>
              </a:ext>
            </a:extLst>
          </p:cNvPr>
          <p:cNvSpPr txBox="1">
            <a:spLocks noChangeArrowheads="1"/>
          </p:cNvSpPr>
          <p:nvPr/>
        </p:nvSpPr>
        <p:spPr bwMode="auto">
          <a:xfrm>
            <a:off x="8637869" y="2793447"/>
            <a:ext cx="1447800" cy="3062377"/>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is the total investment? </a:t>
            </a:r>
            <a:b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apex, </a:t>
            </a:r>
            <a:r>
              <a:rPr kumimoji="0" lang="en-US" altLang="en-US" sz="8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pex</a:t>
            </a: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are the total benefits? </a:t>
            </a: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ome Statement and Balance Sheet Benefits) </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are the total financial returns? </a:t>
            </a: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PV of EVA, NPV of Cash Flows, IRR, Discounted Payback Period)</a:t>
            </a:r>
          </a:p>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is the timeline for implementation?</a:t>
            </a:r>
            <a:b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ject tollgates, milestones, key activities and expected duration) </a:t>
            </a:r>
          </a:p>
        </p:txBody>
      </p:sp>
      <p:sp>
        <p:nvSpPr>
          <p:cNvPr id="27" name="Rectangle 21">
            <a:extLst>
              <a:ext uri="{FF2B5EF4-FFF2-40B4-BE49-F238E27FC236}">
                <a16:creationId xmlns:a16="http://schemas.microsoft.com/office/drawing/2014/main" id="{6198E490-128A-9A2B-87DE-448B43ACF13B}"/>
              </a:ext>
            </a:extLst>
          </p:cNvPr>
          <p:cNvSpPr>
            <a:spLocks noChangeArrowheads="1"/>
          </p:cNvSpPr>
          <p:nvPr/>
        </p:nvSpPr>
        <p:spPr bwMode="auto">
          <a:xfrm>
            <a:off x="2685629" y="4795788"/>
            <a:ext cx="2362819" cy="1981200"/>
          </a:xfrm>
          <a:prstGeom prst="rect">
            <a:avLst/>
          </a:prstGeom>
          <a:ln/>
        </p:spPr>
        <p:style>
          <a:lnRef idx="2">
            <a:schemeClr val="accent3"/>
          </a:lnRef>
          <a:fillRef idx="1">
            <a:schemeClr val="lt1"/>
          </a:fillRef>
          <a:effectRef idx="0">
            <a:schemeClr val="accent3"/>
          </a:effectRef>
          <a:fontRef idx="minor">
            <a:schemeClr val="dk1"/>
          </a:fontRef>
        </p:style>
        <p:txBody>
          <a:bodyPr wrap="none" anchor="ctr"/>
          <a:lstStyle>
            <a:lvl1pPr algn="ctr">
              <a:spcBef>
                <a:spcPct val="50000"/>
              </a:spcBef>
              <a:defRPr kumimoji="1" sz="2000">
                <a:solidFill>
                  <a:srgbClr val="FF0000"/>
                </a:solidFill>
                <a:latin typeface="Agency FB" panose="020B0503020202020204" pitchFamily="34" charset="0"/>
              </a:defRPr>
            </a:lvl1pPr>
            <a:lvl2pPr marL="742950" indent="-285750" algn="ctr">
              <a:spcBef>
                <a:spcPct val="50000"/>
              </a:spcBef>
              <a:defRPr kumimoji="1" sz="2000">
                <a:solidFill>
                  <a:srgbClr val="FF0000"/>
                </a:solidFill>
                <a:latin typeface="Agency FB" panose="020B0503020202020204" pitchFamily="34" charset="0"/>
              </a:defRPr>
            </a:lvl2pPr>
            <a:lvl3pPr marL="1143000" indent="-228600" algn="ctr">
              <a:spcBef>
                <a:spcPct val="50000"/>
              </a:spcBef>
              <a:defRPr kumimoji="1" sz="2000">
                <a:solidFill>
                  <a:srgbClr val="FF0000"/>
                </a:solidFill>
                <a:latin typeface="Agency FB" panose="020B0503020202020204" pitchFamily="34" charset="0"/>
              </a:defRPr>
            </a:lvl3pPr>
            <a:lvl4pPr marL="1600200" indent="-228600" algn="ctr">
              <a:spcBef>
                <a:spcPct val="50000"/>
              </a:spcBef>
              <a:defRPr kumimoji="1" sz="2000">
                <a:solidFill>
                  <a:srgbClr val="FF0000"/>
                </a:solidFill>
                <a:latin typeface="Agency FB" panose="020B0503020202020204" pitchFamily="34" charset="0"/>
              </a:defRPr>
            </a:lvl4pPr>
            <a:lvl5pPr marL="2057400" indent="-228600" algn="ctr">
              <a:spcBef>
                <a:spcPct val="50000"/>
              </a:spcBef>
              <a:defRPr kumimoji="1" sz="2000">
                <a:solidFill>
                  <a:srgbClr val="FF0000"/>
                </a:solidFill>
                <a:latin typeface="Agency FB" panose="020B0503020202020204" pitchFamily="34" charset="0"/>
              </a:defRPr>
            </a:lvl5pPr>
            <a:lvl6pPr marL="2514600" indent="-228600" algn="ctr" eaLnBrk="0" fontAlgn="base" hangingPunct="0">
              <a:spcBef>
                <a:spcPct val="50000"/>
              </a:spcBef>
              <a:spcAft>
                <a:spcPct val="0"/>
              </a:spcAft>
              <a:defRPr kumimoji="1" sz="2000">
                <a:solidFill>
                  <a:srgbClr val="FF0000"/>
                </a:solidFill>
                <a:latin typeface="Agency FB" panose="020B0503020202020204" pitchFamily="34" charset="0"/>
              </a:defRPr>
            </a:lvl6pPr>
            <a:lvl7pPr marL="2971800" indent="-228600" algn="ctr" eaLnBrk="0" fontAlgn="base" hangingPunct="0">
              <a:spcBef>
                <a:spcPct val="50000"/>
              </a:spcBef>
              <a:spcAft>
                <a:spcPct val="0"/>
              </a:spcAft>
              <a:defRPr kumimoji="1" sz="2000">
                <a:solidFill>
                  <a:srgbClr val="FF0000"/>
                </a:solidFill>
                <a:latin typeface="Agency FB" panose="020B0503020202020204" pitchFamily="34" charset="0"/>
              </a:defRPr>
            </a:lvl7pPr>
            <a:lvl8pPr marL="3429000" indent="-228600" algn="ctr" eaLnBrk="0" fontAlgn="base" hangingPunct="0">
              <a:spcBef>
                <a:spcPct val="50000"/>
              </a:spcBef>
              <a:spcAft>
                <a:spcPct val="0"/>
              </a:spcAft>
              <a:defRPr kumimoji="1" sz="2000">
                <a:solidFill>
                  <a:srgbClr val="FF0000"/>
                </a:solidFill>
                <a:latin typeface="Agency FB" panose="020B0503020202020204" pitchFamily="34" charset="0"/>
              </a:defRPr>
            </a:lvl8pPr>
            <a:lvl9pPr marL="3886200" indent="-228600" algn="ctr" eaLnBrk="0" fontAlgn="base" hangingPunct="0">
              <a:spcBef>
                <a:spcPct val="50000"/>
              </a:spcBef>
              <a:spcAft>
                <a:spcPct val="0"/>
              </a:spcAft>
              <a:defRPr kumimoji="1" sz="2000">
                <a:solidFill>
                  <a:srgbClr val="FF0000"/>
                </a:solidFill>
                <a:latin typeface="Agency FB" panose="020B0503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1" lang="en-US" alt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Text Box 22">
            <a:extLst>
              <a:ext uri="{FF2B5EF4-FFF2-40B4-BE49-F238E27FC236}">
                <a16:creationId xmlns:a16="http://schemas.microsoft.com/office/drawing/2014/main" id="{225E32E6-F270-6960-CA5F-1FC3EEFA5333}"/>
              </a:ext>
            </a:extLst>
          </p:cNvPr>
          <p:cNvSpPr txBox="1">
            <a:spLocks noChangeArrowheads="1"/>
          </p:cNvSpPr>
          <p:nvPr/>
        </p:nvSpPr>
        <p:spPr bwMode="auto">
          <a:xfrm>
            <a:off x="2752601" y="4795063"/>
            <a:ext cx="2286000" cy="244475"/>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100000"/>
              </a:lnSpc>
              <a:spcBef>
                <a:spcPct val="5000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nefits Tracking &amp; Assurance</a:t>
            </a:r>
            <a:endPar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Text Box 23">
            <a:extLst>
              <a:ext uri="{FF2B5EF4-FFF2-40B4-BE49-F238E27FC236}">
                <a16:creationId xmlns:a16="http://schemas.microsoft.com/office/drawing/2014/main" id="{B20033CD-13DE-D244-5621-270429A178D6}"/>
              </a:ext>
            </a:extLst>
          </p:cNvPr>
          <p:cNvSpPr txBox="1">
            <a:spLocks noChangeArrowheads="1"/>
          </p:cNvSpPr>
          <p:nvPr/>
        </p:nvSpPr>
        <p:spPr bwMode="auto">
          <a:xfrm>
            <a:off x="2609429" y="5726063"/>
            <a:ext cx="2515219" cy="1046440"/>
          </a:xfrm>
          <a:prstGeom prst="rect">
            <a:avLst/>
          </a:prstGeom>
          <a:noFill/>
          <a:ln>
            <a:noFill/>
          </a:ln>
          <a:effectLst/>
          <a:extLst>
            <a:ext uri="{909E8E84-426E-40DD-AFC4-6F175D3DCCD1}">
              <a14:hiddenFill xmlns:a14="http://schemas.microsoft.com/office/drawing/2010/main">
                <a:solidFill>
                  <a:srgbClr val="EDE8CB"/>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14300" indent="-114300">
              <a:lnSpc>
                <a:spcPct val="85000"/>
              </a:lnSpc>
              <a:spcAft>
                <a:spcPct val="35000"/>
              </a:spcAft>
              <a:buClr>
                <a:schemeClr val="tx1"/>
              </a:buClr>
              <a:buChar char="•"/>
              <a:defRPr sz="2400">
                <a:solidFill>
                  <a:schemeClr val="tx1"/>
                </a:solidFill>
                <a:latin typeface="Verdana" panose="020B0604030504040204" pitchFamily="34" charset="0"/>
              </a:defRPr>
            </a:lvl1pPr>
            <a:lvl2pPr marL="577850" indent="-231775">
              <a:lnSpc>
                <a:spcPct val="85000"/>
              </a:lnSpc>
              <a:spcAft>
                <a:spcPct val="35000"/>
              </a:spcAft>
              <a:buClr>
                <a:schemeClr val="tx1"/>
              </a:buClr>
              <a:buFont typeface="Verdana" panose="020B0604030504040204" pitchFamily="34" charset="0"/>
              <a:buChar char="–"/>
              <a:defRPr sz="2000">
                <a:solidFill>
                  <a:schemeClr val="tx1"/>
                </a:solidFill>
                <a:latin typeface="Verdana" panose="020B0604030504040204" pitchFamily="34" charset="0"/>
              </a:defRPr>
            </a:lvl2pPr>
            <a:lvl3pPr indent="-222250">
              <a:lnSpc>
                <a:spcPct val="85000"/>
              </a:lnSpc>
              <a:spcAft>
                <a:spcPct val="35000"/>
              </a:spcAft>
              <a:buClr>
                <a:schemeClr val="tx1"/>
              </a:buClr>
              <a:buChar char="•"/>
              <a:defRPr>
                <a:solidFill>
                  <a:schemeClr val="tx1"/>
                </a:solidFill>
                <a:latin typeface="Verdana" panose="020B0604030504040204" pitchFamily="34" charset="0"/>
              </a:defRPr>
            </a:lvl3pPr>
            <a:lvl4pPr marL="1260475" indent="-231775">
              <a:lnSpc>
                <a:spcPct val="85000"/>
              </a:lnSpc>
              <a:spcAft>
                <a:spcPct val="35000"/>
              </a:spcAft>
              <a:buClr>
                <a:schemeClr val="tx1"/>
              </a:buClr>
              <a:buFont typeface="Verdana" panose="020B0604030504040204" pitchFamily="34" charset="0"/>
              <a:buChar char="–"/>
              <a:defRPr sz="1600">
                <a:solidFill>
                  <a:schemeClr val="tx1"/>
                </a:solidFill>
                <a:latin typeface="Verdana" panose="020B0604030504040204" pitchFamily="34" charset="0"/>
              </a:defRPr>
            </a:lvl4pPr>
            <a:lvl5pPr marL="1778000" indent="-282575">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5pPr>
            <a:lvl6pPr marL="22352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6pPr>
            <a:lvl7pPr marL="26924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7pPr>
            <a:lvl8pPr marL="31496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8pPr>
            <a:lvl9pPr marL="3606800" indent="-282575" eaLnBrk="0" fontAlgn="base" hangingPunct="0">
              <a:spcBef>
                <a:spcPct val="0"/>
              </a:spcBef>
              <a:spcAft>
                <a:spcPct val="20000"/>
              </a:spcAft>
              <a:buClr>
                <a:schemeClr val="tx1"/>
              </a:buClr>
              <a:buFont typeface="Verdana" panose="020B0604030504040204" pitchFamily="34" charset="0"/>
              <a:buChar char="–"/>
              <a:defRPr>
                <a:solidFill>
                  <a:schemeClr val="tx1"/>
                </a:solidFill>
                <a:latin typeface="Verdana" panose="020B0604030504040204" pitchFamily="34" charset="0"/>
              </a:defRPr>
            </a:lvl9pPr>
          </a:lstStyle>
          <a:p>
            <a:pPr marL="114300" marR="0" lvl="0" indent="-114300" algn="ctr" defTabSz="914400" rtl="0" eaLnBrk="1" fontAlgn="auto" latinLnBrk="0" hangingPunct="1">
              <a:lnSpc>
                <a:spcPct val="90000"/>
              </a:lnSpc>
              <a:spcBef>
                <a:spcPct val="4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re the operational changes being implemented?  If not, why not?</a:t>
            </a:r>
          </a:p>
          <a:p>
            <a:pPr marL="114300" marR="0" lvl="0" indent="-114300" algn="ctr" defTabSz="914400" rtl="0" eaLnBrk="1" fontAlgn="auto" latinLnBrk="0" hangingPunct="1">
              <a:lnSpc>
                <a:spcPct val="90000"/>
              </a:lnSpc>
              <a:spcBef>
                <a:spcPct val="4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re the financial results being achieved?  If not, why not?</a:t>
            </a:r>
          </a:p>
          <a:p>
            <a:pPr marL="114300" marR="0" lvl="0" indent="-114300" algn="ctr" defTabSz="914400" rtl="0" eaLnBrk="1" fontAlgn="auto" latinLnBrk="0" hangingPunct="1">
              <a:lnSpc>
                <a:spcPct val="90000"/>
              </a:lnSpc>
              <a:spcBef>
                <a:spcPct val="4000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planning or implementation adjustments are needed?</a:t>
            </a:r>
          </a:p>
        </p:txBody>
      </p:sp>
      <p:cxnSp>
        <p:nvCxnSpPr>
          <p:cNvPr id="33" name="AutoShape 25">
            <a:extLst>
              <a:ext uri="{FF2B5EF4-FFF2-40B4-BE49-F238E27FC236}">
                <a16:creationId xmlns:a16="http://schemas.microsoft.com/office/drawing/2014/main" id="{FE4D8762-C276-0198-1845-E68EBCF6FD25}"/>
              </a:ext>
            </a:extLst>
          </p:cNvPr>
          <p:cNvCxnSpPr>
            <a:cxnSpLocks noChangeShapeType="1"/>
          </p:cNvCxnSpPr>
          <p:nvPr/>
        </p:nvCxnSpPr>
        <p:spPr bwMode="auto">
          <a:xfrm rot="10800000" flipV="1">
            <a:off x="5164752" y="5620009"/>
            <a:ext cx="3921898" cy="955040"/>
          </a:xfrm>
          <a:prstGeom prst="bentConnector3">
            <a:avLst>
              <a:gd name="adj1" fmla="val -66"/>
            </a:avLst>
          </a:prstGeom>
          <a:noFill/>
          <a:ln w="28575" cap="rnd">
            <a:solidFill>
              <a:srgbClr val="000000"/>
            </a:solidFill>
            <a:prstDash val="sysDot"/>
            <a:miter lim="800000"/>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AutoShape 29">
            <a:extLst>
              <a:ext uri="{FF2B5EF4-FFF2-40B4-BE49-F238E27FC236}">
                <a16:creationId xmlns:a16="http://schemas.microsoft.com/office/drawing/2014/main" id="{464DB7DC-4863-D61B-2608-DC3F4CC41E8C}"/>
              </a:ext>
            </a:extLst>
          </p:cNvPr>
          <p:cNvSpPr>
            <a:spLocks noChangeArrowheads="1"/>
          </p:cNvSpPr>
          <p:nvPr/>
        </p:nvSpPr>
        <p:spPr bwMode="gray">
          <a:xfrm>
            <a:off x="1066796" y="1287109"/>
            <a:ext cx="1846263" cy="584200"/>
          </a:xfrm>
          <a:prstGeom prst="chevron">
            <a:avLst>
              <a:gd name="adj" fmla="val 39094"/>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indent="-115888" algn="ctr">
              <a:spcAft>
                <a:spcPct val="0"/>
              </a:spcAft>
            </a:pPr>
            <a:r>
              <a:rPr lang="en-US" alt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Project Charter</a:t>
            </a:r>
          </a:p>
        </p:txBody>
      </p:sp>
      <p:sp>
        <p:nvSpPr>
          <p:cNvPr id="37" name="AutoShape 30">
            <a:extLst>
              <a:ext uri="{FF2B5EF4-FFF2-40B4-BE49-F238E27FC236}">
                <a16:creationId xmlns:a16="http://schemas.microsoft.com/office/drawing/2014/main" id="{21C1A07C-D4FC-4B9E-C178-13115A40DFBA}"/>
              </a:ext>
            </a:extLst>
          </p:cNvPr>
          <p:cNvSpPr>
            <a:spLocks noChangeArrowheads="1"/>
          </p:cNvSpPr>
          <p:nvPr/>
        </p:nvSpPr>
        <p:spPr bwMode="gray">
          <a:xfrm>
            <a:off x="2954953" y="1287109"/>
            <a:ext cx="1846263" cy="584200"/>
          </a:xfrm>
          <a:prstGeom prst="chevron">
            <a:avLst>
              <a:gd name="adj" fmla="val 39094"/>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indent="-115888" algn="ctr">
              <a:spcAft>
                <a:spcPct val="0"/>
              </a:spcAft>
            </a:pPr>
            <a:r>
              <a:rPr lang="en-US" altLang="en-US" sz="900">
                <a:solidFill>
                  <a:srgbClr val="000000"/>
                </a:solidFill>
                <a:latin typeface="Open Sans" panose="020B0606030504020204" pitchFamily="34" charset="0"/>
                <a:ea typeface="Open Sans" panose="020B0606030504020204" pitchFamily="34" charset="0"/>
                <a:cs typeface="Open Sans" panose="020B0606030504020204" pitchFamily="34" charset="0"/>
              </a:rPr>
              <a:t>Value Definition </a:t>
            </a:r>
            <a:br>
              <a:rPr lang="en-US" altLang="en-US" sz="90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altLang="en-US" sz="900">
                <a:solidFill>
                  <a:srgbClr val="000000"/>
                </a:solidFill>
                <a:latin typeface="Open Sans" panose="020B0606030504020204" pitchFamily="34" charset="0"/>
                <a:ea typeface="Open Sans" panose="020B0606030504020204" pitchFamily="34" charset="0"/>
                <a:cs typeface="Open Sans" panose="020B0606030504020204" pitchFamily="34" charset="0"/>
              </a:rPr>
              <a:t>and Plan</a:t>
            </a:r>
          </a:p>
        </p:txBody>
      </p:sp>
      <p:sp>
        <p:nvSpPr>
          <p:cNvPr id="39" name="AutoShape 31">
            <a:extLst>
              <a:ext uri="{FF2B5EF4-FFF2-40B4-BE49-F238E27FC236}">
                <a16:creationId xmlns:a16="http://schemas.microsoft.com/office/drawing/2014/main" id="{B11750CE-03DF-D534-7197-23E2D5AF2275}"/>
              </a:ext>
            </a:extLst>
          </p:cNvPr>
          <p:cNvSpPr>
            <a:spLocks noChangeArrowheads="1"/>
          </p:cNvSpPr>
          <p:nvPr/>
        </p:nvSpPr>
        <p:spPr bwMode="gray">
          <a:xfrm>
            <a:off x="4814233" y="1287109"/>
            <a:ext cx="1846263" cy="584200"/>
          </a:xfrm>
          <a:prstGeom prst="chevron">
            <a:avLst>
              <a:gd name="adj" fmla="val 39094"/>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indent="-115888" algn="ctr">
              <a:spcAft>
                <a:spcPct val="0"/>
              </a:spcAft>
            </a:pPr>
            <a:r>
              <a:rPr lang="en-US" altLang="en-US" sz="900">
                <a:solidFill>
                  <a:srgbClr val="000000"/>
                </a:solidFill>
                <a:latin typeface="Open Sans" panose="020B0606030504020204" pitchFamily="34" charset="0"/>
                <a:ea typeface="Open Sans" panose="020B0606030504020204" pitchFamily="34" charset="0"/>
                <a:cs typeface="Open Sans" panose="020B0606030504020204" pitchFamily="34" charset="0"/>
              </a:rPr>
              <a:t>Financial Impact Summaries</a:t>
            </a:r>
          </a:p>
        </p:txBody>
      </p:sp>
      <p:sp>
        <p:nvSpPr>
          <p:cNvPr id="41" name="AutoShape 32">
            <a:extLst>
              <a:ext uri="{FF2B5EF4-FFF2-40B4-BE49-F238E27FC236}">
                <a16:creationId xmlns:a16="http://schemas.microsoft.com/office/drawing/2014/main" id="{B25897D9-5B8D-2154-09A6-4F5E71515DE1}"/>
              </a:ext>
            </a:extLst>
          </p:cNvPr>
          <p:cNvSpPr>
            <a:spLocks noChangeArrowheads="1"/>
          </p:cNvSpPr>
          <p:nvPr/>
        </p:nvSpPr>
        <p:spPr bwMode="gray">
          <a:xfrm>
            <a:off x="6663889" y="1287109"/>
            <a:ext cx="1846263" cy="584200"/>
          </a:xfrm>
          <a:prstGeom prst="chevron">
            <a:avLst>
              <a:gd name="adj" fmla="val 39094"/>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indent="-115888" algn="ctr">
              <a:spcAft>
                <a:spcPct val="0"/>
              </a:spcAft>
            </a:pPr>
            <a:r>
              <a:rPr lang="en-US" altLang="en-US" sz="900">
                <a:solidFill>
                  <a:srgbClr val="000000"/>
                </a:solidFill>
                <a:latin typeface="Open Sans" panose="020B0606030504020204" pitchFamily="34" charset="0"/>
                <a:ea typeface="Open Sans" panose="020B0606030504020204" pitchFamily="34" charset="0"/>
                <a:cs typeface="Open Sans" panose="020B0606030504020204" pitchFamily="34" charset="0"/>
              </a:rPr>
              <a:t>Financial and Value Analysis</a:t>
            </a:r>
          </a:p>
        </p:txBody>
      </p:sp>
      <p:sp>
        <p:nvSpPr>
          <p:cNvPr id="43" name="AutoShape 33">
            <a:extLst>
              <a:ext uri="{FF2B5EF4-FFF2-40B4-BE49-F238E27FC236}">
                <a16:creationId xmlns:a16="http://schemas.microsoft.com/office/drawing/2014/main" id="{2DC0991C-C57E-D2BD-716A-63405626CBAC}"/>
              </a:ext>
            </a:extLst>
          </p:cNvPr>
          <p:cNvSpPr>
            <a:spLocks noChangeArrowheads="1"/>
          </p:cNvSpPr>
          <p:nvPr/>
        </p:nvSpPr>
        <p:spPr bwMode="gray">
          <a:xfrm>
            <a:off x="8561669" y="1287109"/>
            <a:ext cx="1690688" cy="584200"/>
          </a:xfrm>
          <a:prstGeom prst="chevron">
            <a:avLst>
              <a:gd name="adj" fmla="val 35800"/>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lIns="92075" tIns="46038" rIns="92075" bIns="46038" anchor="ctr"/>
          <a:lstStyle/>
          <a:p>
            <a:pPr marL="115888" indent="-115888" algn="ctr">
              <a:spcAft>
                <a:spcPct val="0"/>
              </a:spcAft>
            </a:pPr>
            <a:r>
              <a:rPr lang="en-US" altLang="en-US" sz="900">
                <a:solidFill>
                  <a:srgbClr val="000000"/>
                </a:solidFill>
                <a:latin typeface="Open Sans" panose="020B0606030504020204" pitchFamily="34" charset="0"/>
                <a:ea typeface="Open Sans" panose="020B0606030504020204" pitchFamily="34" charset="0"/>
                <a:cs typeface="Open Sans" panose="020B0606030504020204" pitchFamily="34" charset="0"/>
              </a:rPr>
              <a:t>Business Case Summary</a:t>
            </a:r>
          </a:p>
        </p:txBody>
      </p:sp>
      <p:sp>
        <p:nvSpPr>
          <p:cNvPr id="45" name="Line 34">
            <a:extLst>
              <a:ext uri="{FF2B5EF4-FFF2-40B4-BE49-F238E27FC236}">
                <a16:creationId xmlns:a16="http://schemas.microsoft.com/office/drawing/2014/main" id="{D44370E1-16E8-CA7C-2B96-750FEDDADFF6}"/>
              </a:ext>
            </a:extLst>
          </p:cNvPr>
          <p:cNvSpPr>
            <a:spLocks noChangeShapeType="1"/>
          </p:cNvSpPr>
          <p:nvPr/>
        </p:nvSpPr>
        <p:spPr bwMode="auto">
          <a:xfrm rot="5400000">
            <a:off x="3791148" y="4606088"/>
            <a:ext cx="228600" cy="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7" name="Picture 39" descr="A computer screen with a black background&#10;&#10;Description automatically generated">
            <a:extLst>
              <a:ext uri="{FF2B5EF4-FFF2-40B4-BE49-F238E27FC236}">
                <a16:creationId xmlns:a16="http://schemas.microsoft.com/office/drawing/2014/main" id="{A5AE2D94-06E1-CC82-5EBC-DA0F41DAA3D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b="35332"/>
          <a:stretch>
            <a:fillRect/>
          </a:stretch>
        </p:blipFill>
        <p:spPr bwMode="auto">
          <a:xfrm>
            <a:off x="3216639" y="5069140"/>
            <a:ext cx="1316037" cy="60960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EDE8C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41" descr="A screenshot of a computer&#10;&#10;Description automatically generated">
            <a:extLst>
              <a:ext uri="{FF2B5EF4-FFF2-40B4-BE49-F238E27FC236}">
                <a16:creationId xmlns:a16="http://schemas.microsoft.com/office/drawing/2014/main" id="{CEC8E7EF-0877-41AD-C11A-91666FB4EF0C}"/>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80378" y="1947509"/>
            <a:ext cx="1298575" cy="95250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EDE8C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42" descr="A screenshot of a computer&#10;&#10;Description automatically generated">
            <a:extLst>
              <a:ext uri="{FF2B5EF4-FFF2-40B4-BE49-F238E27FC236}">
                <a16:creationId xmlns:a16="http://schemas.microsoft.com/office/drawing/2014/main" id="{FB9DEC49-20CD-8D94-9464-19BB2CD6F93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90432" y="1947510"/>
            <a:ext cx="1371600" cy="879475"/>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EDE8C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43" descr="A screenshot of a computer&#10;&#10;Description automatically generated">
            <a:extLst>
              <a:ext uri="{FF2B5EF4-FFF2-40B4-BE49-F238E27FC236}">
                <a16:creationId xmlns:a16="http://schemas.microsoft.com/office/drawing/2014/main" id="{741E6409-AAFC-8FBC-6B2E-55EA8D80719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966632" y="2099910"/>
            <a:ext cx="1371600" cy="879475"/>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EDE8C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44" descr="A screenshot of a computer&#10;&#10;Description automatically generated">
            <a:extLst>
              <a:ext uri="{FF2B5EF4-FFF2-40B4-BE49-F238E27FC236}">
                <a16:creationId xmlns:a16="http://schemas.microsoft.com/office/drawing/2014/main" id="{07FB5F2D-3036-F1D1-AD3E-8B3AE47A4F71}"/>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42832" y="2252310"/>
            <a:ext cx="1371600" cy="879475"/>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EDE8C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45" descr="A screenshot of a computer screen&#10;&#10;Description automatically generated">
            <a:extLst>
              <a:ext uri="{FF2B5EF4-FFF2-40B4-BE49-F238E27FC236}">
                <a16:creationId xmlns:a16="http://schemas.microsoft.com/office/drawing/2014/main" id="{AEC044B6-C89E-F615-2A16-7AB8C8F26D4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816288" y="1947510"/>
            <a:ext cx="1371600" cy="879475"/>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EDE8C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6" descr="A screenshot of a computer&#10;&#10;Description automatically generated">
            <a:extLst>
              <a:ext uri="{FF2B5EF4-FFF2-40B4-BE49-F238E27FC236}">
                <a16:creationId xmlns:a16="http://schemas.microsoft.com/office/drawing/2014/main" id="{6C06DE6A-A47E-671A-E609-C15C2CB5574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b="6470"/>
          <a:stretch>
            <a:fillRect/>
          </a:stretch>
        </p:blipFill>
        <p:spPr bwMode="auto">
          <a:xfrm>
            <a:off x="6892488" y="2141185"/>
            <a:ext cx="1371600" cy="1101725"/>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EDE8C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48" descr="A screenshot of a computer&#10;&#10;Description automatically generated">
            <a:extLst>
              <a:ext uri="{FF2B5EF4-FFF2-40B4-BE49-F238E27FC236}">
                <a16:creationId xmlns:a16="http://schemas.microsoft.com/office/drawing/2014/main" id="{F735C952-FA02-E45F-5AF2-4FAE5921904B}"/>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710895" y="1949097"/>
            <a:ext cx="1298575" cy="86995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EDE8C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8906172"/>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FA2323A-8946-75C0-1BB5-AA6E2D881D6D}"/>
              </a:ext>
            </a:extLst>
          </p:cNvPr>
          <p:cNvGraphicFramePr>
            <a:graphicFrameLocks noChangeAspect="1"/>
          </p:cNvGraphicFramePr>
          <p:nvPr>
            <p:custDataLst>
              <p:tags r:id="rId1"/>
            </p:custDataLst>
            <p:extLst>
              <p:ext uri="{D42A27DB-BD31-4B8C-83A1-F6EECF244321}">
                <p14:modId xmlns:p14="http://schemas.microsoft.com/office/powerpoint/2010/main" val="1276262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3" name="think-cell data - do not delete" hidden="1">
                        <a:extLst>
                          <a:ext uri="{FF2B5EF4-FFF2-40B4-BE49-F238E27FC236}">
                            <a16:creationId xmlns:a16="http://schemas.microsoft.com/office/drawing/2014/main" id="{8FA2323A-8946-75C0-1BB5-AA6E2D881D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15FEE2FF-4CE1-6219-A4A7-105294C79C0E}"/>
              </a:ext>
            </a:extLst>
          </p:cNvPr>
          <p:cNvSpPr>
            <a:spLocks noGrp="1"/>
          </p:cNvSpPr>
          <p:nvPr>
            <p:ph type="title"/>
          </p:nvPr>
        </p:nvSpPr>
        <p:spPr>
          <a:xfrm>
            <a:off x="463295" y="417911"/>
            <a:ext cx="9859800" cy="334099"/>
          </a:xfrm>
        </p:spPr>
        <p:txBody>
          <a:bodyPr vert="horz"/>
          <a:lstStyle/>
          <a:p>
            <a:r>
              <a:rPr lang="hu-HU" altLang="en-US" sz="2800" dirty="0">
                <a:latin typeface="Open Sans Light"/>
                <a:ea typeface="Open Sans Light"/>
                <a:cs typeface="Open Sans Light"/>
              </a:rPr>
              <a:t>Key Deloitte </a:t>
            </a:r>
            <a:r>
              <a:rPr lang="hu-HU" altLang="en-US" sz="2800" dirty="0" err="1">
                <a:latin typeface="Open Sans Light"/>
                <a:ea typeface="Open Sans Light"/>
                <a:cs typeface="Open Sans Light"/>
              </a:rPr>
              <a:t>asset</a:t>
            </a:r>
            <a:r>
              <a:rPr lang="en-US" altLang="en-US" sz="2800" dirty="0">
                <a:latin typeface="Open Sans Light"/>
                <a:ea typeface="Open Sans Light"/>
                <a:cs typeface="Open Sans Light"/>
              </a:rPr>
              <a:t> - </a:t>
            </a:r>
            <a:r>
              <a:rPr lang="hu-HU" dirty="0">
                <a:latin typeface="Open Sans Light"/>
                <a:ea typeface="Open Sans Light"/>
                <a:cs typeface="Open Sans Light"/>
              </a:rPr>
              <a:t>Enterprise </a:t>
            </a:r>
            <a:r>
              <a:rPr lang="en-US" dirty="0">
                <a:latin typeface="Open Sans Light"/>
                <a:ea typeface="Open Sans Light"/>
                <a:cs typeface="Open Sans Light"/>
              </a:rPr>
              <a:t>Value Map Framework (4/4)</a:t>
            </a:r>
            <a:endParaRPr lang="en-GB" dirty="0"/>
          </a:p>
        </p:txBody>
      </p:sp>
      <p:sp>
        <p:nvSpPr>
          <p:cNvPr id="8" name="Text Placeholder 5">
            <a:extLst>
              <a:ext uri="{FF2B5EF4-FFF2-40B4-BE49-F238E27FC236}">
                <a16:creationId xmlns:a16="http://schemas.microsoft.com/office/drawing/2014/main" id="{26983BF5-C473-4DAC-1FF4-8A39BA6CFB88}"/>
              </a:ext>
            </a:extLst>
          </p:cNvPr>
          <p:cNvSpPr>
            <a:spLocks noGrp="1"/>
          </p:cNvSpPr>
          <p:nvPr>
            <p:ph type="body" sz="quarter" idx="22"/>
          </p:nvPr>
        </p:nvSpPr>
        <p:spPr>
          <a:xfrm>
            <a:off x="463550" y="936625"/>
            <a:ext cx="11277600" cy="757238"/>
          </a:xfrm>
        </p:spPr>
        <p:txBody>
          <a:bodyPr vert="horz" lIns="0" tIns="0" rIns="0" bIns="0" rtlCol="0" anchor="t">
            <a:noAutofit/>
          </a:bodyPr>
          <a:lstStyle/>
          <a:p>
            <a:r>
              <a:rPr lang="en-US" dirty="0">
                <a:latin typeface="Open Sans"/>
                <a:ea typeface="Open Sans"/>
                <a:cs typeface="Open Sans"/>
              </a:rPr>
              <a:t>Business case elements are linked to specific </a:t>
            </a:r>
            <a:r>
              <a:rPr lang="en-US" sz="1600" dirty="0">
                <a:latin typeface="Open Sans"/>
                <a:ea typeface="Open Sans"/>
                <a:cs typeface="Open Sans"/>
              </a:rPr>
              <a:t>shareholder values that the project o</a:t>
            </a:r>
            <a:r>
              <a:rPr lang="hu-HU" sz="1600" dirty="0">
                <a:latin typeface="Open Sans"/>
                <a:ea typeface="Open Sans"/>
                <a:cs typeface="Open Sans"/>
              </a:rPr>
              <a:t>f</a:t>
            </a:r>
            <a:r>
              <a:rPr lang="en-US" sz="1600" dirty="0">
                <a:latin typeface="Open Sans"/>
                <a:ea typeface="Open Sans"/>
                <a:cs typeface="Open Sans"/>
              </a:rPr>
              <a:t> transformation is aiming to improve.</a:t>
            </a:r>
            <a:endParaRPr lang="en-US" dirty="0"/>
          </a:p>
          <a:p>
            <a:endParaRPr lang="en-US" dirty="0"/>
          </a:p>
        </p:txBody>
      </p:sp>
      <p:sp>
        <p:nvSpPr>
          <p:cNvPr id="10" name="Content Placeholder 3">
            <a:extLst>
              <a:ext uri="{FF2B5EF4-FFF2-40B4-BE49-F238E27FC236}">
                <a16:creationId xmlns:a16="http://schemas.microsoft.com/office/drawing/2014/main" id="{06EC7DF3-267A-6ED7-2DB1-6B82B031616D}"/>
              </a:ext>
            </a:extLst>
          </p:cNvPr>
          <p:cNvSpPr txBox="1">
            <a:spLocks/>
          </p:cNvSpPr>
          <p:nvPr/>
        </p:nvSpPr>
        <p:spPr>
          <a:xfrm>
            <a:off x="1213364" y="2050322"/>
            <a:ext cx="2623499" cy="2610304"/>
          </a:xfrm>
          <a:prstGeom prst="rect">
            <a:avLst/>
          </a:prstGeom>
          <a:ln w="15875">
            <a:solidFill>
              <a:schemeClr val="accent3"/>
            </a:solidFill>
          </a:ln>
        </p:spPr>
        <p:txBody>
          <a:bodyPr vert="horz" lIns="90000" tIns="216000" rIns="90000" bIns="0" rtlCol="0">
            <a:normAutofit/>
          </a:bodyPr>
          <a:lstStyle>
            <a:lvl1pPr marL="0" indent="0" algn="l" defTabSz="1219170" rtl="0" eaLnBrk="1" latinLnBrk="0" hangingPunct="1">
              <a:spcBef>
                <a:spcPts val="0"/>
              </a:spcBef>
              <a:spcAft>
                <a:spcPts val="1333"/>
              </a:spcAft>
              <a:buSzPct val="100000"/>
              <a:buFontTx/>
              <a:buNone/>
              <a:defRPr sz="1200" b="0" kern="1200">
                <a:solidFill>
                  <a:schemeClr val="bg1"/>
                </a:solidFill>
                <a:latin typeface="+mn-lt"/>
                <a:ea typeface="Verdana" charset="0"/>
                <a:cs typeface="Verdana"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bg1"/>
                </a:solidFill>
                <a:latin typeface="+mn-lt"/>
                <a:ea typeface="Verdana" charset="0"/>
                <a:cs typeface="Verdana"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bg1"/>
                </a:solidFill>
                <a:latin typeface="+mn-lt"/>
                <a:ea typeface="Verdana" charset="0"/>
                <a:cs typeface="Verdana"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bg1"/>
                </a:solidFill>
                <a:latin typeface="+mn-lt"/>
                <a:ea typeface="Verdana" charset="0"/>
                <a:cs typeface="Verdana"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bg1"/>
                </a:solidFill>
                <a:latin typeface="+mn-lt"/>
                <a:ea typeface="Verdana" charset="0"/>
                <a:cs typeface="Verdana"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B9EF4D68-F1D2-27E4-9EAA-E0BF52AF0DCA}"/>
              </a:ext>
            </a:extLst>
          </p:cNvPr>
          <p:cNvSpPr/>
          <p:nvPr/>
        </p:nvSpPr>
        <p:spPr bwMode="gray">
          <a:xfrm>
            <a:off x="1517113" y="1890992"/>
            <a:ext cx="2016000" cy="318663"/>
          </a:xfrm>
          <a:prstGeom prst="rect">
            <a:avLst/>
          </a:prstGeom>
          <a:solidFill>
            <a:schemeClr val="bg1"/>
          </a:solidFill>
          <a:ln w="19050"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srgbClr val="42AF2A"/>
                </a:solidFill>
                <a:effectLst/>
                <a:uLnTx/>
                <a:uFillTx/>
                <a:latin typeface="Open Sans" panose="020B0606030504020204" pitchFamily="34" charset="0"/>
                <a:ea typeface="Open Sans" panose="020B0606030504020204" pitchFamily="34" charset="0"/>
                <a:cs typeface="Open Sans" panose="020B0606030504020204" pitchFamily="34" charset="0"/>
              </a:rPr>
              <a:t>Enterprise Value Map</a:t>
            </a:r>
            <a:endParaRPr kumimoji="0" lang="en-GB" sz="1000" b="1" i="0" u="none" strike="noStrike" kern="1200" cap="none" spc="0" normalizeH="0" baseline="0" noProof="0" dirty="0">
              <a:ln>
                <a:noFill/>
              </a:ln>
              <a:solidFill>
                <a:srgbClr val="42AF2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ED94ADBF-EA00-749B-8C10-9672C8CB94F3}"/>
              </a:ext>
            </a:extLst>
          </p:cNvPr>
          <p:cNvSpPr/>
          <p:nvPr/>
        </p:nvSpPr>
        <p:spPr>
          <a:xfrm>
            <a:off x="1285561" y="2163296"/>
            <a:ext cx="2466681" cy="2497330"/>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ile it is crucial that projects be executed well and on-time, it is equally important that projects not lose sight of the business value they are intended to deliv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value map” approach allows teams to stay focused on the delivering of business value throughout the projec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value map allows you to identify value drivers, such as revenue growth, and identify how these drivers are influenc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oitte has more than 80 customized </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dustry and service maps available for our clients</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22">
            <a:extLst>
              <a:ext uri="{FF2B5EF4-FFF2-40B4-BE49-F238E27FC236}">
                <a16:creationId xmlns:a16="http://schemas.microsoft.com/office/drawing/2014/main" id="{790C03E7-8F9B-EFD0-DA04-5C09BC1690AC}"/>
              </a:ext>
            </a:extLst>
          </p:cNvPr>
          <p:cNvSpPr>
            <a:spLocks noChangeArrowheads="1"/>
          </p:cNvSpPr>
          <p:nvPr/>
        </p:nvSpPr>
        <p:spPr bwMode="auto">
          <a:xfrm>
            <a:off x="4194929" y="3324734"/>
            <a:ext cx="792365" cy="398526"/>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rketing &amp; Sales</a:t>
            </a:r>
          </a:p>
        </p:txBody>
      </p:sp>
      <p:sp>
        <p:nvSpPr>
          <p:cNvPr id="16" name="Rectangle 23">
            <a:extLst>
              <a:ext uri="{FF2B5EF4-FFF2-40B4-BE49-F238E27FC236}">
                <a16:creationId xmlns:a16="http://schemas.microsoft.com/office/drawing/2014/main" id="{311BCF8F-A3AA-0C21-05B5-4B4502DFFA9D}"/>
              </a:ext>
            </a:extLst>
          </p:cNvPr>
          <p:cNvSpPr>
            <a:spLocks noChangeArrowheads="1"/>
          </p:cNvSpPr>
          <p:nvPr/>
        </p:nvSpPr>
        <p:spPr bwMode="auto">
          <a:xfrm>
            <a:off x="5923617" y="3324733"/>
            <a:ext cx="792365" cy="398527"/>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count Management</a:t>
            </a:r>
          </a:p>
        </p:txBody>
      </p:sp>
      <p:sp>
        <p:nvSpPr>
          <p:cNvPr id="17" name="Rectangle 24">
            <a:extLst>
              <a:ext uri="{FF2B5EF4-FFF2-40B4-BE49-F238E27FC236}">
                <a16:creationId xmlns:a16="http://schemas.microsoft.com/office/drawing/2014/main" id="{5F1937DE-4CD2-D233-245B-E8A6557F95C4}"/>
              </a:ext>
            </a:extLst>
          </p:cNvPr>
          <p:cNvSpPr>
            <a:spLocks noChangeArrowheads="1"/>
          </p:cNvSpPr>
          <p:nvPr/>
        </p:nvSpPr>
        <p:spPr bwMode="auto">
          <a:xfrm>
            <a:off x="6784820" y="3324734"/>
            <a:ext cx="792365" cy="398526"/>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oss-Sell/ Up-Sell</a:t>
            </a:r>
          </a:p>
        </p:txBody>
      </p:sp>
      <p:sp>
        <p:nvSpPr>
          <p:cNvPr id="18" name="Rectangle 25">
            <a:extLst>
              <a:ext uri="{FF2B5EF4-FFF2-40B4-BE49-F238E27FC236}">
                <a16:creationId xmlns:a16="http://schemas.microsoft.com/office/drawing/2014/main" id="{9525057B-699A-E216-0885-42BC6ADCB96F}"/>
              </a:ext>
            </a:extLst>
          </p:cNvPr>
          <p:cNvSpPr>
            <a:spLocks noChangeArrowheads="1"/>
          </p:cNvSpPr>
          <p:nvPr/>
        </p:nvSpPr>
        <p:spPr bwMode="auto">
          <a:xfrm>
            <a:off x="7637736" y="3324734"/>
            <a:ext cx="792365" cy="398526"/>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tention</a:t>
            </a:r>
          </a:p>
        </p:txBody>
      </p:sp>
      <p:sp>
        <p:nvSpPr>
          <p:cNvPr id="19" name="Rectangle 26">
            <a:extLst>
              <a:ext uri="{FF2B5EF4-FFF2-40B4-BE49-F238E27FC236}">
                <a16:creationId xmlns:a16="http://schemas.microsoft.com/office/drawing/2014/main" id="{5E6F611D-A9F7-7F97-861B-CC851154DB52}"/>
              </a:ext>
            </a:extLst>
          </p:cNvPr>
          <p:cNvSpPr>
            <a:spLocks noChangeArrowheads="1"/>
          </p:cNvSpPr>
          <p:nvPr/>
        </p:nvSpPr>
        <p:spPr bwMode="auto">
          <a:xfrm>
            <a:off x="9930057" y="3324734"/>
            <a:ext cx="792365" cy="398526"/>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mand &amp; Supply Management</a:t>
            </a:r>
          </a:p>
        </p:txBody>
      </p:sp>
      <p:sp>
        <p:nvSpPr>
          <p:cNvPr id="20" name="Rectangle 27">
            <a:extLst>
              <a:ext uri="{FF2B5EF4-FFF2-40B4-BE49-F238E27FC236}">
                <a16:creationId xmlns:a16="http://schemas.microsoft.com/office/drawing/2014/main" id="{B6B06BB4-0A5B-D963-9885-83C4CD9FDEAE}"/>
              </a:ext>
            </a:extLst>
          </p:cNvPr>
          <p:cNvSpPr>
            <a:spLocks noChangeArrowheads="1"/>
          </p:cNvSpPr>
          <p:nvPr/>
        </p:nvSpPr>
        <p:spPr bwMode="auto">
          <a:xfrm>
            <a:off x="10774324" y="3324734"/>
            <a:ext cx="792365" cy="398526"/>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ice Optimization</a:t>
            </a:r>
          </a:p>
        </p:txBody>
      </p:sp>
      <p:sp>
        <p:nvSpPr>
          <p:cNvPr id="21" name="Rectangle 28">
            <a:extLst>
              <a:ext uri="{FF2B5EF4-FFF2-40B4-BE49-F238E27FC236}">
                <a16:creationId xmlns:a16="http://schemas.microsoft.com/office/drawing/2014/main" id="{935CDEDC-F57E-BA63-EEE3-79D3F7A3722E}"/>
              </a:ext>
            </a:extLst>
          </p:cNvPr>
          <p:cNvSpPr>
            <a:spLocks noChangeArrowheads="1"/>
          </p:cNvSpPr>
          <p:nvPr/>
        </p:nvSpPr>
        <p:spPr bwMode="auto">
          <a:xfrm>
            <a:off x="6418048" y="2334375"/>
            <a:ext cx="1527637" cy="296578"/>
          </a:xfrm>
          <a:prstGeom prst="rect">
            <a:avLst/>
          </a:prstGeom>
          <a:solidFill>
            <a:schemeClr val="accent3"/>
          </a:solidFill>
          <a:ln w="9525">
            <a:solidFill>
              <a:schemeClr val="accent3"/>
            </a:solid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5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Volume</a:t>
            </a:r>
          </a:p>
        </p:txBody>
      </p:sp>
      <p:sp>
        <p:nvSpPr>
          <p:cNvPr id="22" name="Rectangle 29">
            <a:extLst>
              <a:ext uri="{FF2B5EF4-FFF2-40B4-BE49-F238E27FC236}">
                <a16:creationId xmlns:a16="http://schemas.microsoft.com/office/drawing/2014/main" id="{7FC5CE83-CBE4-7559-5F93-BBD83CD3C84C}"/>
              </a:ext>
            </a:extLst>
          </p:cNvPr>
          <p:cNvSpPr>
            <a:spLocks noChangeArrowheads="1"/>
          </p:cNvSpPr>
          <p:nvPr/>
        </p:nvSpPr>
        <p:spPr bwMode="auto">
          <a:xfrm>
            <a:off x="9949087" y="2334375"/>
            <a:ext cx="1527638" cy="296578"/>
          </a:xfrm>
          <a:prstGeom prst="rect">
            <a:avLst/>
          </a:prstGeom>
          <a:solidFill>
            <a:schemeClr val="accent3"/>
          </a:solidFill>
          <a:ln w="9525" algn="ctr">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5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Price Realization</a:t>
            </a:r>
          </a:p>
        </p:txBody>
      </p:sp>
      <p:sp>
        <p:nvSpPr>
          <p:cNvPr id="23" name="Rectangle 30">
            <a:extLst>
              <a:ext uri="{FF2B5EF4-FFF2-40B4-BE49-F238E27FC236}">
                <a16:creationId xmlns:a16="http://schemas.microsoft.com/office/drawing/2014/main" id="{0DEDC8D2-23EF-E61B-5449-0D80395B0D2A}"/>
              </a:ext>
            </a:extLst>
          </p:cNvPr>
          <p:cNvSpPr>
            <a:spLocks noChangeArrowheads="1"/>
          </p:cNvSpPr>
          <p:nvPr/>
        </p:nvSpPr>
        <p:spPr bwMode="auto">
          <a:xfrm>
            <a:off x="7688273" y="1802124"/>
            <a:ext cx="2470517" cy="312466"/>
          </a:xfrm>
          <a:prstGeom prst="rect">
            <a:avLst/>
          </a:prstGeom>
          <a:solidFill>
            <a:schemeClr val="accent3"/>
          </a:solidFill>
          <a:ln w="9525">
            <a:solidFill>
              <a:schemeClr val="accent3"/>
            </a:solid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5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Revenue Growth</a:t>
            </a:r>
          </a:p>
        </p:txBody>
      </p:sp>
      <p:sp>
        <p:nvSpPr>
          <p:cNvPr id="24" name="Rectangle 31">
            <a:extLst>
              <a:ext uri="{FF2B5EF4-FFF2-40B4-BE49-F238E27FC236}">
                <a16:creationId xmlns:a16="http://schemas.microsoft.com/office/drawing/2014/main" id="{79F0432B-B887-9448-1B0D-3B8BBF0A09DE}"/>
              </a:ext>
            </a:extLst>
          </p:cNvPr>
          <p:cNvSpPr>
            <a:spLocks noChangeArrowheads="1"/>
          </p:cNvSpPr>
          <p:nvPr/>
        </p:nvSpPr>
        <p:spPr bwMode="auto">
          <a:xfrm>
            <a:off x="9956007" y="2763354"/>
            <a:ext cx="1513797" cy="348214"/>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rengthen Pricing</a:t>
            </a:r>
          </a:p>
        </p:txBody>
      </p:sp>
      <p:sp>
        <p:nvSpPr>
          <p:cNvPr id="25" name="Rectangle 32">
            <a:extLst>
              <a:ext uri="{FF2B5EF4-FFF2-40B4-BE49-F238E27FC236}">
                <a16:creationId xmlns:a16="http://schemas.microsoft.com/office/drawing/2014/main" id="{2B75AA8B-833B-1BCB-5F15-852172A4D351}"/>
              </a:ext>
            </a:extLst>
          </p:cNvPr>
          <p:cNvSpPr>
            <a:spLocks noChangeArrowheads="1"/>
          </p:cNvSpPr>
          <p:nvPr/>
        </p:nvSpPr>
        <p:spPr bwMode="auto">
          <a:xfrm>
            <a:off x="4245101" y="2763354"/>
            <a:ext cx="1527637" cy="348214"/>
          </a:xfrm>
          <a:prstGeom prst="rect">
            <a:avLst/>
          </a:prstGeom>
          <a:noFill/>
          <a:ln w="28575" cap="sq">
            <a:solidFill>
              <a:schemeClr val="accent3"/>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quire</a:t>
            </a:r>
            <a:b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w Customers</a:t>
            </a:r>
          </a:p>
        </p:txBody>
      </p:sp>
      <p:sp>
        <p:nvSpPr>
          <p:cNvPr id="26" name="Rectangle 33">
            <a:extLst>
              <a:ext uri="{FF2B5EF4-FFF2-40B4-BE49-F238E27FC236}">
                <a16:creationId xmlns:a16="http://schemas.microsoft.com/office/drawing/2014/main" id="{7B723B5A-574C-8660-1526-352BCFECF533}"/>
              </a:ext>
            </a:extLst>
          </p:cNvPr>
          <p:cNvSpPr>
            <a:spLocks noChangeArrowheads="1"/>
          </p:cNvSpPr>
          <p:nvPr/>
        </p:nvSpPr>
        <p:spPr bwMode="auto">
          <a:xfrm>
            <a:off x="6418048" y="2763354"/>
            <a:ext cx="1527637" cy="348214"/>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tain and Grow</a:t>
            </a:r>
            <a:b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urrent Customers</a:t>
            </a:r>
          </a:p>
        </p:txBody>
      </p:sp>
      <p:sp>
        <p:nvSpPr>
          <p:cNvPr id="27" name="Rectangle 34">
            <a:extLst>
              <a:ext uri="{FF2B5EF4-FFF2-40B4-BE49-F238E27FC236}">
                <a16:creationId xmlns:a16="http://schemas.microsoft.com/office/drawing/2014/main" id="{DBF4EED8-5CEE-9F53-4FCF-59510C62028B}"/>
              </a:ext>
            </a:extLst>
          </p:cNvPr>
          <p:cNvSpPr>
            <a:spLocks noChangeArrowheads="1"/>
          </p:cNvSpPr>
          <p:nvPr/>
        </p:nvSpPr>
        <p:spPr bwMode="auto">
          <a:xfrm>
            <a:off x="5063416" y="3324734"/>
            <a:ext cx="792365" cy="398526"/>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duct &amp; Service Innovation</a:t>
            </a:r>
          </a:p>
        </p:txBody>
      </p:sp>
      <p:sp>
        <p:nvSpPr>
          <p:cNvPr id="28" name="Rectangle 35">
            <a:extLst>
              <a:ext uri="{FF2B5EF4-FFF2-40B4-BE49-F238E27FC236}">
                <a16:creationId xmlns:a16="http://schemas.microsoft.com/office/drawing/2014/main" id="{5FB82C91-053A-962F-DE95-669DC37DB33E}"/>
              </a:ext>
            </a:extLst>
          </p:cNvPr>
          <p:cNvSpPr>
            <a:spLocks noChangeArrowheads="1"/>
          </p:cNvSpPr>
          <p:nvPr/>
        </p:nvSpPr>
        <p:spPr bwMode="auto">
          <a:xfrm>
            <a:off x="8231145" y="2763354"/>
            <a:ext cx="1527637" cy="348214"/>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verage Income Generating Assets</a:t>
            </a:r>
          </a:p>
        </p:txBody>
      </p:sp>
      <p:sp>
        <p:nvSpPr>
          <p:cNvPr id="29" name="Rectangle 36">
            <a:extLst>
              <a:ext uri="{FF2B5EF4-FFF2-40B4-BE49-F238E27FC236}">
                <a16:creationId xmlns:a16="http://schemas.microsoft.com/office/drawing/2014/main" id="{EDC7C6A6-DF4E-119D-AC9F-987BABF19ED7}"/>
              </a:ext>
            </a:extLst>
          </p:cNvPr>
          <p:cNvSpPr>
            <a:spLocks noChangeArrowheads="1"/>
          </p:cNvSpPr>
          <p:nvPr/>
        </p:nvSpPr>
        <p:spPr bwMode="auto">
          <a:xfrm>
            <a:off x="8522247" y="3324733"/>
            <a:ext cx="950123" cy="398527"/>
          </a:xfrm>
          <a:prstGeom prst="rect">
            <a:avLst/>
          </a:prstGeom>
          <a:noFill/>
          <a:ln w="28575" cap="sq" algn="ctr">
            <a:solidFill>
              <a:schemeClr val="accent3"/>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altLang="de-DE" sz="8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ash/Asset Management</a:t>
            </a:r>
          </a:p>
        </p:txBody>
      </p:sp>
      <p:cxnSp>
        <p:nvCxnSpPr>
          <p:cNvPr id="30" name="AutoShape 39">
            <a:extLst>
              <a:ext uri="{FF2B5EF4-FFF2-40B4-BE49-F238E27FC236}">
                <a16:creationId xmlns:a16="http://schemas.microsoft.com/office/drawing/2014/main" id="{1BA4C86B-153A-766F-466D-309DAA95E9FB}"/>
              </a:ext>
            </a:extLst>
          </p:cNvPr>
          <p:cNvCxnSpPr>
            <a:cxnSpLocks noChangeShapeType="1"/>
            <a:stCxn id="16" idx="0"/>
            <a:endCxn id="18" idx="2"/>
          </p:cNvCxnSpPr>
          <p:nvPr/>
        </p:nvCxnSpPr>
        <p:spPr bwMode="auto">
          <a:xfrm rot="5400000" flipH="1" flipV="1">
            <a:off x="7942806" y="1353652"/>
            <a:ext cx="219785" cy="1741662"/>
          </a:xfrm>
          <a:prstGeom prst="bentConnector3">
            <a:avLst>
              <a:gd name="adj1" fmla="val 50000"/>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AutoShape 40">
            <a:extLst>
              <a:ext uri="{FF2B5EF4-FFF2-40B4-BE49-F238E27FC236}">
                <a16:creationId xmlns:a16="http://schemas.microsoft.com/office/drawing/2014/main" id="{C33C537F-F6AB-2774-05A0-6C86B3458106}"/>
              </a:ext>
            </a:extLst>
          </p:cNvPr>
          <p:cNvCxnSpPr>
            <a:cxnSpLocks noChangeShapeType="1"/>
            <a:stCxn id="18" idx="2"/>
          </p:cNvCxnSpPr>
          <p:nvPr/>
        </p:nvCxnSpPr>
        <p:spPr bwMode="auto">
          <a:xfrm rot="16200000" flipH="1">
            <a:off x="9717440" y="1320680"/>
            <a:ext cx="213165" cy="1800986"/>
          </a:xfrm>
          <a:prstGeom prst="bentConnector3">
            <a:avLst>
              <a:gd name="adj1" fmla="val 51551"/>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AutoShape 41">
            <a:extLst>
              <a:ext uri="{FF2B5EF4-FFF2-40B4-BE49-F238E27FC236}">
                <a16:creationId xmlns:a16="http://schemas.microsoft.com/office/drawing/2014/main" id="{0FAA15BA-E676-8FE6-8492-2BAB93A3BACC}"/>
              </a:ext>
            </a:extLst>
          </p:cNvPr>
          <p:cNvCxnSpPr>
            <a:cxnSpLocks noChangeShapeType="1"/>
            <a:stCxn id="20" idx="0"/>
            <a:endCxn id="16" idx="2"/>
          </p:cNvCxnSpPr>
          <p:nvPr/>
        </p:nvCxnSpPr>
        <p:spPr bwMode="auto">
          <a:xfrm rot="16200000">
            <a:off x="6036016" y="1604722"/>
            <a:ext cx="120484" cy="2172947"/>
          </a:xfrm>
          <a:prstGeom prst="bentConnector3">
            <a:avLst>
              <a:gd name="adj1" fmla="val 45056"/>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AutoShape 42">
            <a:extLst>
              <a:ext uri="{FF2B5EF4-FFF2-40B4-BE49-F238E27FC236}">
                <a16:creationId xmlns:a16="http://schemas.microsoft.com/office/drawing/2014/main" id="{501AEB4E-9A10-3FF1-F378-8115A0D3B726}"/>
              </a:ext>
            </a:extLst>
          </p:cNvPr>
          <p:cNvCxnSpPr>
            <a:cxnSpLocks noChangeShapeType="1"/>
            <a:stCxn id="21" idx="0"/>
            <a:endCxn id="16" idx="2"/>
          </p:cNvCxnSpPr>
          <p:nvPr/>
        </p:nvCxnSpPr>
        <p:spPr bwMode="auto">
          <a:xfrm rot="16200000">
            <a:off x="7122490" y="2691196"/>
            <a:ext cx="120484" cy="0"/>
          </a:xfrm>
          <a:prstGeom prst="straightConnector1">
            <a:avLst/>
          </a:prstGeom>
          <a:noFill/>
          <a:ln w="19050">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AutoShape 43">
            <a:extLst>
              <a:ext uri="{FF2B5EF4-FFF2-40B4-BE49-F238E27FC236}">
                <a16:creationId xmlns:a16="http://schemas.microsoft.com/office/drawing/2014/main" id="{79D567B9-EC3B-36DC-6283-F8BEA0A852D3}"/>
              </a:ext>
            </a:extLst>
          </p:cNvPr>
          <p:cNvCxnSpPr>
            <a:cxnSpLocks noChangeShapeType="1"/>
            <a:stCxn id="23" idx="0"/>
            <a:endCxn id="16" idx="2"/>
          </p:cNvCxnSpPr>
          <p:nvPr/>
        </p:nvCxnSpPr>
        <p:spPr bwMode="auto">
          <a:xfrm rot="5400000" flipH="1">
            <a:off x="8029038" y="1784647"/>
            <a:ext cx="120484" cy="1813096"/>
          </a:xfrm>
          <a:prstGeom prst="bentConnector3">
            <a:avLst>
              <a:gd name="adj1" fmla="val 45056"/>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AutoShape 44">
            <a:extLst>
              <a:ext uri="{FF2B5EF4-FFF2-40B4-BE49-F238E27FC236}">
                <a16:creationId xmlns:a16="http://schemas.microsoft.com/office/drawing/2014/main" id="{240413F1-52A2-097D-5D99-71CC71B2B3EB}"/>
              </a:ext>
            </a:extLst>
          </p:cNvPr>
          <p:cNvCxnSpPr>
            <a:cxnSpLocks noChangeShapeType="1"/>
            <a:stCxn id="10" idx="0"/>
            <a:endCxn id="20" idx="2"/>
          </p:cNvCxnSpPr>
          <p:nvPr/>
        </p:nvCxnSpPr>
        <p:spPr bwMode="auto">
          <a:xfrm rot="16200000">
            <a:off x="4705782" y="3008814"/>
            <a:ext cx="189333" cy="418673"/>
          </a:xfrm>
          <a:prstGeom prst="bentConnector3">
            <a:avLst>
              <a:gd name="adj1" fmla="val 49648"/>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AutoShape 45">
            <a:extLst>
              <a:ext uri="{FF2B5EF4-FFF2-40B4-BE49-F238E27FC236}">
                <a16:creationId xmlns:a16="http://schemas.microsoft.com/office/drawing/2014/main" id="{3230D7A9-A31C-9752-3E9B-E9845F0B95FC}"/>
              </a:ext>
            </a:extLst>
          </p:cNvPr>
          <p:cNvCxnSpPr>
            <a:cxnSpLocks noChangeShapeType="1"/>
            <a:stCxn id="22" idx="0"/>
            <a:endCxn id="20" idx="2"/>
          </p:cNvCxnSpPr>
          <p:nvPr/>
        </p:nvCxnSpPr>
        <p:spPr bwMode="auto">
          <a:xfrm rot="5400000" flipH="1">
            <a:off x="5140025" y="2993244"/>
            <a:ext cx="189333" cy="449814"/>
          </a:xfrm>
          <a:prstGeom prst="bentConnector3">
            <a:avLst>
              <a:gd name="adj1" fmla="val 49648"/>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AutoShape 46">
            <a:extLst>
              <a:ext uri="{FF2B5EF4-FFF2-40B4-BE49-F238E27FC236}">
                <a16:creationId xmlns:a16="http://schemas.microsoft.com/office/drawing/2014/main" id="{33D04A8B-B840-9814-E3FD-26DFD65D655D}"/>
              </a:ext>
            </a:extLst>
          </p:cNvPr>
          <p:cNvCxnSpPr>
            <a:cxnSpLocks noChangeShapeType="1"/>
            <a:stCxn id="11" idx="0"/>
            <a:endCxn id="21" idx="2"/>
          </p:cNvCxnSpPr>
          <p:nvPr/>
        </p:nvCxnSpPr>
        <p:spPr bwMode="auto">
          <a:xfrm rot="5400000" flipH="1" flipV="1">
            <a:off x="6644250" y="2787118"/>
            <a:ext cx="213165" cy="862067"/>
          </a:xfrm>
          <a:prstGeom prst="bentConnector3">
            <a:avLst>
              <a:gd name="adj1" fmla="val 50000"/>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AutoShape 47">
            <a:extLst>
              <a:ext uri="{FF2B5EF4-FFF2-40B4-BE49-F238E27FC236}">
                <a16:creationId xmlns:a16="http://schemas.microsoft.com/office/drawing/2014/main" id="{0D0B6FEE-6374-7A6E-3C4C-966AF85DBAC3}"/>
              </a:ext>
            </a:extLst>
          </p:cNvPr>
          <p:cNvCxnSpPr>
            <a:cxnSpLocks noChangeShapeType="1"/>
            <a:stCxn id="12" idx="0"/>
            <a:endCxn id="21" idx="2"/>
          </p:cNvCxnSpPr>
          <p:nvPr/>
        </p:nvCxnSpPr>
        <p:spPr bwMode="auto">
          <a:xfrm rot="16200000">
            <a:off x="7087200" y="3217286"/>
            <a:ext cx="189333" cy="1731"/>
          </a:xfrm>
          <a:prstGeom prst="bentConnector3">
            <a:avLst>
              <a:gd name="adj1" fmla="val 49648"/>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AutoShape 48">
            <a:extLst>
              <a:ext uri="{FF2B5EF4-FFF2-40B4-BE49-F238E27FC236}">
                <a16:creationId xmlns:a16="http://schemas.microsoft.com/office/drawing/2014/main" id="{F2B9A606-D8E5-49E9-D991-5EFBBD4F013F}"/>
              </a:ext>
            </a:extLst>
          </p:cNvPr>
          <p:cNvCxnSpPr>
            <a:cxnSpLocks noChangeShapeType="1"/>
            <a:endCxn id="21" idx="2"/>
          </p:cNvCxnSpPr>
          <p:nvPr/>
        </p:nvCxnSpPr>
        <p:spPr bwMode="auto">
          <a:xfrm rot="5400000" flipH="1">
            <a:off x="7513659" y="2792558"/>
            <a:ext cx="189333" cy="851186"/>
          </a:xfrm>
          <a:prstGeom prst="bentConnector3">
            <a:avLst>
              <a:gd name="adj1" fmla="val 49648"/>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AutoShape 49">
            <a:extLst>
              <a:ext uri="{FF2B5EF4-FFF2-40B4-BE49-F238E27FC236}">
                <a16:creationId xmlns:a16="http://schemas.microsoft.com/office/drawing/2014/main" id="{F84A287B-8373-7296-606A-4B0A90F1FA68}"/>
              </a:ext>
            </a:extLst>
          </p:cNvPr>
          <p:cNvCxnSpPr>
            <a:cxnSpLocks noChangeShapeType="1"/>
            <a:stCxn id="24" idx="0"/>
            <a:endCxn id="23" idx="2"/>
          </p:cNvCxnSpPr>
          <p:nvPr/>
        </p:nvCxnSpPr>
        <p:spPr bwMode="auto">
          <a:xfrm rot="16200000" flipV="1">
            <a:off x="8889555" y="3216978"/>
            <a:ext cx="213165" cy="2345"/>
          </a:xfrm>
          <a:prstGeom prst="bentConnector3">
            <a:avLst>
              <a:gd name="adj1" fmla="val 50000"/>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AutoShape 50">
            <a:extLst>
              <a:ext uri="{FF2B5EF4-FFF2-40B4-BE49-F238E27FC236}">
                <a16:creationId xmlns:a16="http://schemas.microsoft.com/office/drawing/2014/main" id="{7249A24F-AD45-742E-E734-F6985A2C1834}"/>
              </a:ext>
            </a:extLst>
          </p:cNvPr>
          <p:cNvCxnSpPr>
            <a:cxnSpLocks noChangeShapeType="1"/>
            <a:stCxn id="14" idx="0"/>
            <a:endCxn id="19" idx="2"/>
          </p:cNvCxnSpPr>
          <p:nvPr/>
        </p:nvCxnSpPr>
        <p:spPr bwMode="auto">
          <a:xfrm rot="16200000">
            <a:off x="10425339" y="3024385"/>
            <a:ext cx="189333" cy="387532"/>
          </a:xfrm>
          <a:prstGeom prst="bentConnector3">
            <a:avLst>
              <a:gd name="adj1" fmla="val 49648"/>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AutoShape 51">
            <a:extLst>
              <a:ext uri="{FF2B5EF4-FFF2-40B4-BE49-F238E27FC236}">
                <a16:creationId xmlns:a16="http://schemas.microsoft.com/office/drawing/2014/main" id="{20FEBDA1-62AC-A5AD-D069-D9AEAEE7ADB6}"/>
              </a:ext>
            </a:extLst>
          </p:cNvPr>
          <p:cNvCxnSpPr>
            <a:cxnSpLocks noChangeShapeType="1"/>
            <a:stCxn id="17" idx="2"/>
            <a:endCxn id="19" idx="0"/>
          </p:cNvCxnSpPr>
          <p:nvPr/>
        </p:nvCxnSpPr>
        <p:spPr bwMode="auto">
          <a:xfrm rot="5400000">
            <a:off x="10653529" y="2691196"/>
            <a:ext cx="120484" cy="0"/>
          </a:xfrm>
          <a:prstGeom prst="straightConnector1">
            <a:avLst/>
          </a:prstGeom>
          <a:noFill/>
          <a:ln w="19050">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AutoShape 52">
            <a:extLst>
              <a:ext uri="{FF2B5EF4-FFF2-40B4-BE49-F238E27FC236}">
                <a16:creationId xmlns:a16="http://schemas.microsoft.com/office/drawing/2014/main" id="{3A76A1E0-144E-414F-0866-32938330862E}"/>
              </a:ext>
            </a:extLst>
          </p:cNvPr>
          <p:cNvCxnSpPr>
            <a:cxnSpLocks noChangeShapeType="1"/>
            <a:stCxn id="19" idx="2"/>
            <a:endCxn id="15" idx="0"/>
          </p:cNvCxnSpPr>
          <p:nvPr/>
        </p:nvCxnSpPr>
        <p:spPr bwMode="auto">
          <a:xfrm rot="16200000" flipH="1">
            <a:off x="10847472" y="2989784"/>
            <a:ext cx="189333" cy="456734"/>
          </a:xfrm>
          <a:prstGeom prst="bentConnector3">
            <a:avLst>
              <a:gd name="adj1" fmla="val 49648"/>
            </a:avLst>
          </a:prstGeom>
          <a:noFill/>
          <a:ln w="19050">
            <a:solidFill>
              <a:schemeClr val="accent3"/>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Arrow: Down 50">
            <a:extLst>
              <a:ext uri="{FF2B5EF4-FFF2-40B4-BE49-F238E27FC236}">
                <a16:creationId xmlns:a16="http://schemas.microsoft.com/office/drawing/2014/main" id="{A0618534-2311-75AA-8B3B-160C76DCE437}"/>
              </a:ext>
            </a:extLst>
          </p:cNvPr>
          <p:cNvSpPr/>
          <p:nvPr/>
        </p:nvSpPr>
        <p:spPr bwMode="gray">
          <a:xfrm flipV="1">
            <a:off x="7181002" y="3766638"/>
            <a:ext cx="2102720" cy="386611"/>
          </a:xfrm>
          <a:prstGeom prst="down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5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3" name="Picture 2" descr="Search in sidebar query">
            <a:extLst>
              <a:ext uri="{FF2B5EF4-FFF2-40B4-BE49-F238E27FC236}">
                <a16:creationId xmlns:a16="http://schemas.microsoft.com/office/drawing/2014/main" id="{5F84E052-E6FB-E74C-156B-814AF9A197D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208046" y="4725508"/>
            <a:ext cx="2159949" cy="1918806"/>
          </a:xfrm>
          <a:prstGeom prst="rect">
            <a:avLst/>
          </a:prstGeom>
          <a:noFill/>
          <a:extLst>
            <a:ext uri="{909E8E84-426E-40DD-AFC4-6F175D3DCCD1}">
              <a14:hiddenFill xmlns:a14="http://schemas.microsoft.com/office/drawing/2010/main">
                <a:solidFill>
                  <a:srgbClr val="FFFFFF"/>
                </a:solidFill>
              </a14:hiddenFill>
            </a:ext>
          </a:extLst>
        </p:spPr>
      </p:pic>
      <p:sp>
        <p:nvSpPr>
          <p:cNvPr id="55" name="Isosceles Triangle 54">
            <a:extLst>
              <a:ext uri="{FF2B5EF4-FFF2-40B4-BE49-F238E27FC236}">
                <a16:creationId xmlns:a16="http://schemas.microsoft.com/office/drawing/2014/main" id="{6F1A1F9D-E5F3-0AFC-34BA-9738EE26F6B1}"/>
              </a:ext>
            </a:extLst>
          </p:cNvPr>
          <p:cNvSpPr/>
          <p:nvPr/>
        </p:nvSpPr>
        <p:spPr bwMode="gray">
          <a:xfrm rot="5400000">
            <a:off x="4145929" y="5431255"/>
            <a:ext cx="1309036" cy="290689"/>
          </a:xfrm>
          <a:prstGeom prst="triangl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72" name="Picture 71" descr="A screenshot of a computer&#10;&#10;Description automatically generated">
            <a:extLst>
              <a:ext uri="{FF2B5EF4-FFF2-40B4-BE49-F238E27FC236}">
                <a16:creationId xmlns:a16="http://schemas.microsoft.com/office/drawing/2014/main" id="{10F3C15F-8F58-DB3D-835D-4DB3B505853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69835" y="4355410"/>
            <a:ext cx="5452462" cy="2086617"/>
          </a:xfrm>
          <a:prstGeom prst="rect">
            <a:avLst/>
          </a:prstGeom>
        </p:spPr>
      </p:pic>
    </p:spTree>
    <p:extLst>
      <p:ext uri="{BB962C8B-B14F-4D97-AF65-F5344CB8AC3E}">
        <p14:creationId xmlns:p14="http://schemas.microsoft.com/office/powerpoint/2010/main" val="2629069604"/>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0" y="2997200"/>
            <a:ext cx="7477760" cy="863600"/>
            <a:chOff x="0" y="2997200"/>
            <a:chExt cx="7477760" cy="86360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0" y="2997200"/>
              <a:ext cx="6695440"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6 Business </a:t>
              </a:r>
              <a:r>
                <a:rPr lang="hu-HU" sz="2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ourcing</a:t>
              </a: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hu-HU" sz="2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trategies</a:t>
              </a:r>
              <a:endPar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616217413"/>
      </p:ext>
    </p:extLst>
  </p:cSld>
  <p:clrMapOvr>
    <a:masterClrMapping/>
  </p:clrMapOvr>
  <p:extLst>
    <p:ext uri="{6950BFC3-D8DA-4A85-94F7-54DA5524770B}">
      <p188:commentRel xmlns:p188="http://schemas.microsoft.com/office/powerpoint/2018/8/main" r:id="rId3"/>
    </p:ext>
  </p:extLs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6C2F720-3AC5-EA95-4D7C-9D39E0AD834C}"/>
              </a:ext>
            </a:extLst>
          </p:cNvPr>
          <p:cNvGraphicFramePr>
            <a:graphicFrameLocks noChangeAspect="1"/>
          </p:cNvGraphicFramePr>
          <p:nvPr>
            <p:custDataLst>
              <p:tags r:id="rId1"/>
            </p:custDataLst>
            <p:extLst>
              <p:ext uri="{D42A27DB-BD31-4B8C-83A1-F6EECF244321}">
                <p14:modId xmlns:p14="http://schemas.microsoft.com/office/powerpoint/2010/main" val="61143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4" name="think-cell data - do not delete" hidden="1">
                        <a:extLst>
                          <a:ext uri="{FF2B5EF4-FFF2-40B4-BE49-F238E27FC236}">
                            <a16:creationId xmlns:a16="http://schemas.microsoft.com/office/drawing/2014/main" id="{D6C2F720-3AC5-EA95-4D7C-9D39E0AD83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A654250-EC88-BB44-7220-85C391783153}"/>
              </a:ext>
            </a:extLst>
          </p:cNvPr>
          <p:cNvSpPr>
            <a:spLocks noGrp="1"/>
          </p:cNvSpPr>
          <p:nvPr>
            <p:ph type="body" sz="quarter" idx="22"/>
          </p:nvPr>
        </p:nvSpPr>
        <p:spPr/>
        <p:txBody>
          <a:bodyPr/>
          <a:lstStyle/>
          <a:p>
            <a:r>
              <a:rPr lang="en-US"/>
              <a:t>GBS organisations employ different approaches at various stages of their maturity lifecycle</a:t>
            </a:r>
            <a:endParaRPr lang="en-US" dirty="0"/>
          </a:p>
        </p:txBody>
      </p:sp>
      <p:sp>
        <p:nvSpPr>
          <p:cNvPr id="3" name="Title 2">
            <a:extLst>
              <a:ext uri="{FF2B5EF4-FFF2-40B4-BE49-F238E27FC236}">
                <a16:creationId xmlns:a16="http://schemas.microsoft.com/office/drawing/2014/main" id="{45E594CC-2B40-02D9-0677-65892B4B1521}"/>
              </a:ext>
            </a:extLst>
          </p:cNvPr>
          <p:cNvSpPr>
            <a:spLocks noGrp="1"/>
          </p:cNvSpPr>
          <p:nvPr>
            <p:ph type="title"/>
          </p:nvPr>
        </p:nvSpPr>
        <p:spPr>
          <a:xfrm>
            <a:off x="463294" y="417911"/>
            <a:ext cx="11029555" cy="334099"/>
          </a:xfrm>
        </p:spPr>
        <p:txBody>
          <a:bodyPr vert="horz"/>
          <a:lstStyle/>
          <a:p>
            <a:r>
              <a:rPr lang="en-US" dirty="0"/>
              <a:t>Service Delivery Models</a:t>
            </a:r>
            <a:endParaRPr lang="en-GB" dirty="0"/>
          </a:p>
        </p:txBody>
      </p:sp>
      <p:sp>
        <p:nvSpPr>
          <p:cNvPr id="4" name="Text Placeholder 1">
            <a:extLst>
              <a:ext uri="{FF2B5EF4-FFF2-40B4-BE49-F238E27FC236}">
                <a16:creationId xmlns:a16="http://schemas.microsoft.com/office/drawing/2014/main" id="{3B4EF686-8823-FCC9-3CA7-6ADA6D2C2979}"/>
              </a:ext>
            </a:extLst>
          </p:cNvPr>
          <p:cNvSpPr txBox="1">
            <a:spLocks/>
          </p:cNvSpPr>
          <p:nvPr/>
        </p:nvSpPr>
        <p:spPr>
          <a:xfrm>
            <a:off x="463295" y="936000"/>
            <a:ext cx="112776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i="0" kern="12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US" dirty="0"/>
          </a:p>
        </p:txBody>
      </p:sp>
      <p:sp>
        <p:nvSpPr>
          <p:cNvPr id="5" name="Title 2">
            <a:extLst>
              <a:ext uri="{FF2B5EF4-FFF2-40B4-BE49-F238E27FC236}">
                <a16:creationId xmlns:a16="http://schemas.microsoft.com/office/drawing/2014/main" id="{7A0FF20C-3F1B-C891-EB17-2A46F5A22632}"/>
              </a:ext>
            </a:extLst>
          </p:cNvPr>
          <p:cNvSpPr txBox="1">
            <a:spLocks/>
          </p:cNvSpPr>
          <p:nvPr/>
        </p:nvSpPr>
        <p:spPr bwMode="gray">
          <a:xfrm>
            <a:off x="1942391" y="450987"/>
            <a:ext cx="8307218" cy="334099"/>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p>
        </p:txBody>
      </p:sp>
      <p:sp>
        <p:nvSpPr>
          <p:cNvPr id="6" name="Rectangle 5">
            <a:extLst>
              <a:ext uri="{FF2B5EF4-FFF2-40B4-BE49-F238E27FC236}">
                <a16:creationId xmlns:a16="http://schemas.microsoft.com/office/drawing/2014/main" id="{7193015E-8449-975F-EDD3-E03794E5A1D2}"/>
              </a:ext>
            </a:extLst>
          </p:cNvPr>
          <p:cNvSpPr/>
          <p:nvPr/>
        </p:nvSpPr>
        <p:spPr bwMode="gray">
          <a:xfrm>
            <a:off x="463293" y="1339913"/>
            <a:ext cx="2196780" cy="4956976"/>
          </a:xfrm>
          <a:prstGeom prst="rect">
            <a:avLst/>
          </a:prstGeom>
          <a:solidFill>
            <a:srgbClr val="9DD4CF">
              <a:alpha val="20000"/>
            </a:srgbClr>
          </a:solidFill>
          <a:ln w="19050" algn="ctr">
            <a:noFill/>
            <a:miter lim="800000"/>
            <a:headEnd/>
            <a:tailEnd/>
          </a:ln>
        </p:spPr>
        <p:txBody>
          <a:bodyPr wrap="square" lIns="0" tIns="0" rIns="0" bIns="0" rtlCol="0" anchor="ctr"/>
          <a:lstStyle/>
          <a:p>
            <a:pPr algn="ctr"/>
            <a:endParaRPr lang="hu-HU">
              <a:solidFill>
                <a:prstClr val="black"/>
              </a:solidFill>
              <a:latin typeface="Open Sans"/>
            </a:endParaRPr>
          </a:p>
        </p:txBody>
      </p:sp>
      <p:sp>
        <p:nvSpPr>
          <p:cNvPr id="7" name="Rectangle 6">
            <a:extLst>
              <a:ext uri="{FF2B5EF4-FFF2-40B4-BE49-F238E27FC236}">
                <a16:creationId xmlns:a16="http://schemas.microsoft.com/office/drawing/2014/main" id="{7FD504A8-9938-9B9C-6DDB-C55C58114F5D}"/>
              </a:ext>
            </a:extLst>
          </p:cNvPr>
          <p:cNvSpPr/>
          <p:nvPr/>
        </p:nvSpPr>
        <p:spPr bwMode="gray">
          <a:xfrm>
            <a:off x="2804546" y="1339913"/>
            <a:ext cx="3493262" cy="4956976"/>
          </a:xfrm>
          <a:prstGeom prst="rect">
            <a:avLst/>
          </a:prstGeom>
          <a:solidFill>
            <a:srgbClr val="E3E48D">
              <a:alpha val="2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8" name="Rectangle 7">
            <a:extLst>
              <a:ext uri="{FF2B5EF4-FFF2-40B4-BE49-F238E27FC236}">
                <a16:creationId xmlns:a16="http://schemas.microsoft.com/office/drawing/2014/main" id="{12757C17-3466-80C1-6FB1-3D9ADA836B98}"/>
              </a:ext>
            </a:extLst>
          </p:cNvPr>
          <p:cNvSpPr/>
          <p:nvPr/>
        </p:nvSpPr>
        <p:spPr bwMode="gray">
          <a:xfrm>
            <a:off x="6471405" y="1339913"/>
            <a:ext cx="5025058" cy="4956976"/>
          </a:xfrm>
          <a:prstGeom prst="rect">
            <a:avLst/>
          </a:prstGeom>
          <a:solidFill>
            <a:srgbClr val="53565A">
              <a:lumMod val="20000"/>
              <a:lumOff val="80000"/>
              <a:alpha val="2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9" name="TextBox 1">
            <a:extLst>
              <a:ext uri="{FF2B5EF4-FFF2-40B4-BE49-F238E27FC236}">
                <a16:creationId xmlns:a16="http://schemas.microsoft.com/office/drawing/2014/main" id="{B1E4BAA8-3C01-D3A6-515E-412060F0AEEE}"/>
              </a:ext>
            </a:extLst>
          </p:cNvPr>
          <p:cNvSpPr txBox="1"/>
          <p:nvPr/>
        </p:nvSpPr>
        <p:spPr>
          <a:xfrm>
            <a:off x="806941" y="2359940"/>
            <a:ext cx="1320877"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hu-HU" sz="1200" dirty="0" err="1">
                <a:solidFill>
                  <a:prstClr val="black"/>
                </a:solidFill>
                <a:latin typeface="Open Sans"/>
              </a:rPr>
              <a:t>Onshore</a:t>
            </a:r>
            <a:r>
              <a:rPr lang="hu-HU" sz="1200" dirty="0">
                <a:solidFill>
                  <a:prstClr val="black"/>
                </a:solidFill>
                <a:latin typeface="Open Sans"/>
              </a:rPr>
              <a:t> SSC</a:t>
            </a:r>
          </a:p>
        </p:txBody>
      </p:sp>
      <p:sp>
        <p:nvSpPr>
          <p:cNvPr id="10" name="TextBox 2">
            <a:extLst>
              <a:ext uri="{FF2B5EF4-FFF2-40B4-BE49-F238E27FC236}">
                <a16:creationId xmlns:a16="http://schemas.microsoft.com/office/drawing/2014/main" id="{6606DA66-83D1-62E1-9411-D1829BADB62A}"/>
              </a:ext>
            </a:extLst>
          </p:cNvPr>
          <p:cNvSpPr txBox="1"/>
          <p:nvPr/>
        </p:nvSpPr>
        <p:spPr>
          <a:xfrm>
            <a:off x="593927" y="3135061"/>
            <a:ext cx="1746904" cy="3693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hu-HU" sz="1200" dirty="0">
                <a:solidFill>
                  <a:prstClr val="black"/>
                </a:solidFill>
                <a:latin typeface="Open Sans"/>
              </a:rPr>
              <a:t>Off-shore SSC/</a:t>
            </a:r>
            <a:br>
              <a:rPr lang="hu-HU" sz="1200" dirty="0">
                <a:solidFill>
                  <a:prstClr val="black"/>
                </a:solidFill>
                <a:latin typeface="Open Sans"/>
              </a:rPr>
            </a:br>
            <a:r>
              <a:rPr lang="hu-HU" sz="1200" dirty="0" err="1">
                <a:solidFill>
                  <a:prstClr val="black"/>
                </a:solidFill>
                <a:latin typeface="Open Sans"/>
              </a:rPr>
              <a:t>Near-shore</a:t>
            </a:r>
            <a:r>
              <a:rPr lang="hu-HU" sz="1200" dirty="0">
                <a:solidFill>
                  <a:prstClr val="black"/>
                </a:solidFill>
                <a:latin typeface="Open Sans"/>
              </a:rPr>
              <a:t> SSC</a:t>
            </a:r>
          </a:p>
        </p:txBody>
      </p:sp>
      <p:sp>
        <p:nvSpPr>
          <p:cNvPr id="11" name="TextBox 3">
            <a:extLst>
              <a:ext uri="{FF2B5EF4-FFF2-40B4-BE49-F238E27FC236}">
                <a16:creationId xmlns:a16="http://schemas.microsoft.com/office/drawing/2014/main" id="{82D77CFC-BD82-87BA-ABDC-29602FC849BF}"/>
              </a:ext>
            </a:extLst>
          </p:cNvPr>
          <p:cNvSpPr txBox="1"/>
          <p:nvPr/>
        </p:nvSpPr>
        <p:spPr>
          <a:xfrm>
            <a:off x="806941" y="4147385"/>
            <a:ext cx="1320877"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hu-HU" sz="1200" dirty="0" err="1">
                <a:solidFill>
                  <a:prstClr val="black"/>
                </a:solidFill>
                <a:latin typeface="Open Sans"/>
              </a:rPr>
              <a:t>Outsourcing</a:t>
            </a:r>
            <a:endParaRPr lang="hu-HU" sz="1200" dirty="0">
              <a:solidFill>
                <a:prstClr val="black"/>
              </a:solidFill>
              <a:latin typeface="Open Sans"/>
            </a:endParaRPr>
          </a:p>
        </p:txBody>
      </p:sp>
      <p:sp>
        <p:nvSpPr>
          <p:cNvPr id="12" name="TextBox 4">
            <a:extLst>
              <a:ext uri="{FF2B5EF4-FFF2-40B4-BE49-F238E27FC236}">
                <a16:creationId xmlns:a16="http://schemas.microsoft.com/office/drawing/2014/main" id="{734E282B-DCA3-986F-A78C-64538DC349B8}"/>
              </a:ext>
            </a:extLst>
          </p:cNvPr>
          <p:cNvSpPr txBox="1"/>
          <p:nvPr/>
        </p:nvSpPr>
        <p:spPr>
          <a:xfrm>
            <a:off x="734205" y="5208591"/>
            <a:ext cx="1466348"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hu-HU" sz="1200" dirty="0">
                <a:solidFill>
                  <a:prstClr val="black"/>
                </a:solidFill>
                <a:latin typeface="Open Sans"/>
              </a:rPr>
              <a:t>Centre of Excellence</a:t>
            </a:r>
          </a:p>
        </p:txBody>
      </p:sp>
      <p:graphicFrame>
        <p:nvGraphicFramePr>
          <p:cNvPr id="13" name="Chart 12">
            <a:extLst>
              <a:ext uri="{FF2B5EF4-FFF2-40B4-BE49-F238E27FC236}">
                <a16:creationId xmlns:a16="http://schemas.microsoft.com/office/drawing/2014/main" id="{2EA5C24D-8F24-9C1C-D937-8563E9043F9C}"/>
              </a:ext>
            </a:extLst>
          </p:cNvPr>
          <p:cNvGraphicFramePr/>
          <p:nvPr/>
        </p:nvGraphicFramePr>
        <p:xfrm>
          <a:off x="3364851" y="2097027"/>
          <a:ext cx="8128000" cy="5948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14">
            <a:extLst>
              <a:ext uri="{FF2B5EF4-FFF2-40B4-BE49-F238E27FC236}">
                <a16:creationId xmlns:a16="http://schemas.microsoft.com/office/drawing/2014/main" id="{FDA49274-C3ED-E47E-B933-528367ECBC9D}"/>
              </a:ext>
            </a:extLst>
          </p:cNvPr>
          <p:cNvGraphicFramePr/>
          <p:nvPr/>
        </p:nvGraphicFramePr>
        <p:xfrm>
          <a:off x="6220693" y="3035063"/>
          <a:ext cx="5272158" cy="59483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a:extLst>
              <a:ext uri="{FF2B5EF4-FFF2-40B4-BE49-F238E27FC236}">
                <a16:creationId xmlns:a16="http://schemas.microsoft.com/office/drawing/2014/main" id="{DC88170E-7FA0-40BC-9D98-F254F553C1DE}"/>
              </a:ext>
            </a:extLst>
          </p:cNvPr>
          <p:cNvGraphicFramePr/>
          <p:nvPr/>
        </p:nvGraphicFramePr>
        <p:xfrm>
          <a:off x="6220691" y="3973100"/>
          <a:ext cx="5272159" cy="59125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Chart 16">
            <a:extLst>
              <a:ext uri="{FF2B5EF4-FFF2-40B4-BE49-F238E27FC236}">
                <a16:creationId xmlns:a16="http://schemas.microsoft.com/office/drawing/2014/main" id="{33C01FB7-F723-7A6F-2A7C-994678B1E070}"/>
              </a:ext>
            </a:extLst>
          </p:cNvPr>
          <p:cNvGraphicFramePr/>
          <p:nvPr/>
        </p:nvGraphicFramePr>
        <p:xfrm>
          <a:off x="6220691" y="4907556"/>
          <a:ext cx="5272160" cy="591259"/>
        </p:xfrm>
        <a:graphic>
          <a:graphicData uri="http://schemas.openxmlformats.org/drawingml/2006/chart">
            <c:chart xmlns:c="http://schemas.openxmlformats.org/drawingml/2006/chart" xmlns:r="http://schemas.openxmlformats.org/officeDocument/2006/relationships" r:id="rId9"/>
          </a:graphicData>
        </a:graphic>
      </p:graphicFrame>
      <p:sp>
        <p:nvSpPr>
          <p:cNvPr id="18" name="TextBox 21">
            <a:extLst>
              <a:ext uri="{FF2B5EF4-FFF2-40B4-BE49-F238E27FC236}">
                <a16:creationId xmlns:a16="http://schemas.microsoft.com/office/drawing/2014/main" id="{E2C8EE10-4773-6501-AFE1-AD540D7AF58D}"/>
              </a:ext>
            </a:extLst>
          </p:cNvPr>
          <p:cNvSpPr txBox="1"/>
          <p:nvPr/>
        </p:nvSpPr>
        <p:spPr>
          <a:xfrm>
            <a:off x="6514451" y="5838718"/>
            <a:ext cx="914400"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hu-HU" sz="1200" b="1" dirty="0">
                <a:solidFill>
                  <a:prstClr val="black"/>
                </a:solidFill>
                <a:latin typeface="Open Sans"/>
              </a:rPr>
              <a:t>1-3 </a:t>
            </a:r>
            <a:r>
              <a:rPr lang="hu-HU" sz="1200" b="1" dirty="0" err="1">
                <a:solidFill>
                  <a:prstClr val="black"/>
                </a:solidFill>
                <a:latin typeface="Open Sans"/>
              </a:rPr>
              <a:t>Years</a:t>
            </a:r>
            <a:endParaRPr lang="hu-HU" sz="1200" b="1" dirty="0">
              <a:solidFill>
                <a:prstClr val="black"/>
              </a:solidFill>
              <a:latin typeface="Open Sans"/>
            </a:endParaRPr>
          </a:p>
        </p:txBody>
      </p:sp>
      <p:sp>
        <p:nvSpPr>
          <p:cNvPr id="19" name="TextBox 22">
            <a:extLst>
              <a:ext uri="{FF2B5EF4-FFF2-40B4-BE49-F238E27FC236}">
                <a16:creationId xmlns:a16="http://schemas.microsoft.com/office/drawing/2014/main" id="{839A0127-6764-2081-4024-27849CA5008D}"/>
              </a:ext>
            </a:extLst>
          </p:cNvPr>
          <p:cNvSpPr txBox="1"/>
          <p:nvPr/>
        </p:nvSpPr>
        <p:spPr>
          <a:xfrm>
            <a:off x="7763953" y="5838718"/>
            <a:ext cx="914400"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hu-HU" sz="1200" b="1" dirty="0">
                <a:solidFill>
                  <a:prstClr val="black"/>
                </a:solidFill>
                <a:latin typeface="Open Sans"/>
              </a:rPr>
              <a:t>4-6 </a:t>
            </a:r>
            <a:r>
              <a:rPr lang="hu-HU" sz="1200" b="1" dirty="0" err="1">
                <a:solidFill>
                  <a:prstClr val="black"/>
                </a:solidFill>
                <a:latin typeface="Open Sans"/>
              </a:rPr>
              <a:t>Years</a:t>
            </a:r>
            <a:endParaRPr lang="hu-HU" sz="1200" b="1" dirty="0">
              <a:solidFill>
                <a:prstClr val="black"/>
              </a:solidFill>
              <a:latin typeface="Open Sans"/>
            </a:endParaRPr>
          </a:p>
        </p:txBody>
      </p:sp>
      <p:sp>
        <p:nvSpPr>
          <p:cNvPr id="20" name="TextBox 23">
            <a:extLst>
              <a:ext uri="{FF2B5EF4-FFF2-40B4-BE49-F238E27FC236}">
                <a16:creationId xmlns:a16="http://schemas.microsoft.com/office/drawing/2014/main" id="{991A8AAD-222E-5E19-106D-D3FFE2127F6E}"/>
              </a:ext>
            </a:extLst>
          </p:cNvPr>
          <p:cNvSpPr txBox="1"/>
          <p:nvPr/>
        </p:nvSpPr>
        <p:spPr>
          <a:xfrm>
            <a:off x="9013455" y="5838718"/>
            <a:ext cx="914400"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hu-HU" sz="1200" b="1">
                <a:solidFill>
                  <a:prstClr val="black"/>
                </a:solidFill>
                <a:latin typeface="Open Sans"/>
              </a:rPr>
              <a:t>7-10 </a:t>
            </a:r>
            <a:r>
              <a:rPr lang="hu-HU" sz="1200" b="1" err="1">
                <a:solidFill>
                  <a:prstClr val="black"/>
                </a:solidFill>
                <a:latin typeface="Open Sans"/>
              </a:rPr>
              <a:t>Years</a:t>
            </a:r>
            <a:endParaRPr lang="hu-HU" sz="1200" b="1">
              <a:solidFill>
                <a:prstClr val="black"/>
              </a:solidFill>
              <a:latin typeface="Open Sans"/>
            </a:endParaRPr>
          </a:p>
        </p:txBody>
      </p:sp>
      <p:sp>
        <p:nvSpPr>
          <p:cNvPr id="21" name="TextBox 24">
            <a:extLst>
              <a:ext uri="{FF2B5EF4-FFF2-40B4-BE49-F238E27FC236}">
                <a16:creationId xmlns:a16="http://schemas.microsoft.com/office/drawing/2014/main" id="{30CB6B05-FA07-F308-05C9-B83B4E0AE04E}"/>
              </a:ext>
            </a:extLst>
          </p:cNvPr>
          <p:cNvSpPr txBox="1"/>
          <p:nvPr/>
        </p:nvSpPr>
        <p:spPr>
          <a:xfrm>
            <a:off x="10262957" y="5838718"/>
            <a:ext cx="1135872"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hu-HU" sz="1200" b="1" dirty="0">
                <a:solidFill>
                  <a:prstClr val="black"/>
                </a:solidFill>
                <a:latin typeface="Open Sans"/>
              </a:rPr>
              <a:t>Over 10 </a:t>
            </a:r>
            <a:r>
              <a:rPr lang="hu-HU" sz="1200" b="1" dirty="0" err="1">
                <a:solidFill>
                  <a:prstClr val="black"/>
                </a:solidFill>
                <a:latin typeface="Open Sans"/>
              </a:rPr>
              <a:t>Years</a:t>
            </a:r>
            <a:endParaRPr lang="hu-HU" sz="1200" b="1" dirty="0">
              <a:solidFill>
                <a:prstClr val="black"/>
              </a:solidFill>
              <a:latin typeface="Open Sans"/>
            </a:endParaRPr>
          </a:p>
        </p:txBody>
      </p:sp>
      <p:cxnSp>
        <p:nvCxnSpPr>
          <p:cNvPr id="22" name="Straight Connector 21">
            <a:extLst>
              <a:ext uri="{FF2B5EF4-FFF2-40B4-BE49-F238E27FC236}">
                <a16:creationId xmlns:a16="http://schemas.microsoft.com/office/drawing/2014/main" id="{90D921D9-45C4-68BC-C9B4-B04BFE0442EE}"/>
              </a:ext>
            </a:extLst>
          </p:cNvPr>
          <p:cNvCxnSpPr>
            <a:cxnSpLocks/>
          </p:cNvCxnSpPr>
          <p:nvPr/>
        </p:nvCxnSpPr>
        <p:spPr>
          <a:xfrm>
            <a:off x="463293" y="2835202"/>
            <a:ext cx="11033170" cy="0"/>
          </a:xfrm>
          <a:prstGeom prst="line">
            <a:avLst/>
          </a:prstGeom>
          <a:noFill/>
          <a:ln w="9525" cap="flat" cmpd="sng" algn="ctr">
            <a:solidFill>
              <a:srgbClr val="53565A">
                <a:lumMod val="20000"/>
                <a:lumOff val="80000"/>
              </a:srgbClr>
            </a:solidFill>
            <a:prstDash val="solid"/>
          </a:ln>
          <a:effectLst/>
        </p:spPr>
      </p:cxnSp>
      <p:cxnSp>
        <p:nvCxnSpPr>
          <p:cNvPr id="23" name="Straight Connector 22">
            <a:extLst>
              <a:ext uri="{FF2B5EF4-FFF2-40B4-BE49-F238E27FC236}">
                <a16:creationId xmlns:a16="http://schemas.microsoft.com/office/drawing/2014/main" id="{6AA9B92D-F4BF-F0B3-9CFA-589526CD8BCA}"/>
              </a:ext>
            </a:extLst>
          </p:cNvPr>
          <p:cNvCxnSpPr>
            <a:cxnSpLocks/>
          </p:cNvCxnSpPr>
          <p:nvPr/>
        </p:nvCxnSpPr>
        <p:spPr>
          <a:xfrm>
            <a:off x="463293" y="3797921"/>
            <a:ext cx="11033170" cy="0"/>
          </a:xfrm>
          <a:prstGeom prst="line">
            <a:avLst/>
          </a:prstGeom>
          <a:noFill/>
          <a:ln w="9525" cap="flat" cmpd="sng" algn="ctr">
            <a:solidFill>
              <a:srgbClr val="53565A">
                <a:lumMod val="20000"/>
                <a:lumOff val="80000"/>
              </a:srgbClr>
            </a:solidFill>
            <a:prstDash val="solid"/>
          </a:ln>
          <a:effectLst/>
        </p:spPr>
      </p:cxnSp>
      <p:cxnSp>
        <p:nvCxnSpPr>
          <p:cNvPr id="24" name="Straight Connector 23">
            <a:extLst>
              <a:ext uri="{FF2B5EF4-FFF2-40B4-BE49-F238E27FC236}">
                <a16:creationId xmlns:a16="http://schemas.microsoft.com/office/drawing/2014/main" id="{598F35BF-8EEE-BC94-12CA-CFB8B991DB4C}"/>
              </a:ext>
            </a:extLst>
          </p:cNvPr>
          <p:cNvCxnSpPr>
            <a:cxnSpLocks/>
          </p:cNvCxnSpPr>
          <p:nvPr/>
        </p:nvCxnSpPr>
        <p:spPr>
          <a:xfrm>
            <a:off x="463293" y="4757226"/>
            <a:ext cx="11033170" cy="0"/>
          </a:xfrm>
          <a:prstGeom prst="line">
            <a:avLst/>
          </a:prstGeom>
          <a:noFill/>
          <a:ln w="9525" cap="flat" cmpd="sng" algn="ctr">
            <a:solidFill>
              <a:srgbClr val="53565A">
                <a:lumMod val="20000"/>
                <a:lumOff val="80000"/>
              </a:srgbClr>
            </a:solidFill>
            <a:prstDash val="solid"/>
          </a:ln>
          <a:effectLst/>
        </p:spPr>
      </p:cxnSp>
      <p:sp>
        <p:nvSpPr>
          <p:cNvPr id="25" name="TextBox 24">
            <a:extLst>
              <a:ext uri="{FF2B5EF4-FFF2-40B4-BE49-F238E27FC236}">
                <a16:creationId xmlns:a16="http://schemas.microsoft.com/office/drawing/2014/main" id="{76104E9C-CEA1-675F-2E5E-8A74A141872B}"/>
              </a:ext>
            </a:extLst>
          </p:cNvPr>
          <p:cNvSpPr txBox="1"/>
          <p:nvPr/>
        </p:nvSpPr>
        <p:spPr>
          <a:xfrm>
            <a:off x="460940" y="1463164"/>
            <a:ext cx="2012879" cy="242677"/>
          </a:xfrm>
          <a:prstGeom prst="rect">
            <a:avLst/>
          </a:prstGeom>
          <a:noFill/>
        </p:spPr>
        <p:txBody>
          <a:bodyPr wrap="square" lIns="0" tIns="0" rIns="0" bIns="0" rtlCol="0">
            <a:noAutofit/>
          </a:bodyPr>
          <a:lstStyle/>
          <a:p>
            <a:pPr algn="ctr">
              <a:spcBef>
                <a:spcPts val="600"/>
              </a:spcBef>
              <a:buSzPct val="100000"/>
            </a:pPr>
            <a:r>
              <a:rPr lang="hu-HU" sz="1200" b="1"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Service </a:t>
            </a:r>
            <a:r>
              <a:rPr lang="hu-HU" sz="1200" b="1" dirty="0" err="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delivery</a:t>
            </a:r>
            <a:r>
              <a:rPr lang="hu-HU" sz="1200" b="1"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hu-HU" sz="1200" b="1" dirty="0" err="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model</a:t>
            </a:r>
            <a:r>
              <a:rPr lang="hu-HU" sz="1200" b="1"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hu-HU" sz="1200" b="1" dirty="0" err="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types</a:t>
            </a:r>
            <a:endParaRPr lang="hu-HU" sz="1200" b="1"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cxnSp>
        <p:nvCxnSpPr>
          <p:cNvPr id="26" name="Straight Connector 25">
            <a:extLst>
              <a:ext uri="{FF2B5EF4-FFF2-40B4-BE49-F238E27FC236}">
                <a16:creationId xmlns:a16="http://schemas.microsoft.com/office/drawing/2014/main" id="{FAFB4A61-9212-D62B-6946-2832DD3728D9}"/>
              </a:ext>
            </a:extLst>
          </p:cNvPr>
          <p:cNvCxnSpPr>
            <a:cxnSpLocks/>
          </p:cNvCxnSpPr>
          <p:nvPr/>
        </p:nvCxnSpPr>
        <p:spPr>
          <a:xfrm>
            <a:off x="463293" y="2004851"/>
            <a:ext cx="10904865" cy="0"/>
          </a:xfrm>
          <a:prstGeom prst="line">
            <a:avLst/>
          </a:prstGeom>
          <a:noFill/>
          <a:ln w="38100" cap="flat" cmpd="sng" algn="ctr">
            <a:solidFill>
              <a:srgbClr val="53565A">
                <a:lumMod val="20000"/>
                <a:lumOff val="80000"/>
              </a:srgbClr>
            </a:solidFill>
            <a:prstDash val="solid"/>
          </a:ln>
          <a:effectLst/>
        </p:spPr>
      </p:cxnSp>
      <p:sp>
        <p:nvSpPr>
          <p:cNvPr id="27" name="TextBox 26">
            <a:extLst>
              <a:ext uri="{FF2B5EF4-FFF2-40B4-BE49-F238E27FC236}">
                <a16:creationId xmlns:a16="http://schemas.microsoft.com/office/drawing/2014/main" id="{21DC53DF-7C90-53F3-8CCF-F115B9A25242}"/>
              </a:ext>
            </a:extLst>
          </p:cNvPr>
          <p:cNvSpPr txBox="1"/>
          <p:nvPr/>
        </p:nvSpPr>
        <p:spPr>
          <a:xfrm>
            <a:off x="3544737" y="1460285"/>
            <a:ext cx="2012879" cy="242677"/>
          </a:xfrm>
          <a:prstGeom prst="rect">
            <a:avLst/>
          </a:prstGeom>
          <a:noFill/>
        </p:spPr>
        <p:txBody>
          <a:bodyPr wrap="square" lIns="0" tIns="0" rIns="0" bIns="0" rtlCol="0">
            <a:noAutofit/>
          </a:bodyPr>
          <a:lstStyle/>
          <a:p>
            <a:pPr algn="ctr">
              <a:spcBef>
                <a:spcPts val="600"/>
              </a:spcBef>
              <a:buSzPct val="100000"/>
            </a:pPr>
            <a:r>
              <a:rPr lang="hu-HU" sz="1200" b="1" dirty="0" err="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Description</a:t>
            </a:r>
            <a:endParaRPr lang="hu-HU" sz="1200" b="1"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8" name="TextBox 27">
            <a:extLst>
              <a:ext uri="{FF2B5EF4-FFF2-40B4-BE49-F238E27FC236}">
                <a16:creationId xmlns:a16="http://schemas.microsoft.com/office/drawing/2014/main" id="{7028AA37-FF12-398C-301A-443B6D533964}"/>
              </a:ext>
            </a:extLst>
          </p:cNvPr>
          <p:cNvSpPr txBox="1"/>
          <p:nvPr/>
        </p:nvSpPr>
        <p:spPr>
          <a:xfrm>
            <a:off x="2804546" y="2102046"/>
            <a:ext cx="3493262" cy="697721"/>
          </a:xfrm>
          <a:prstGeom prst="rect">
            <a:avLst/>
          </a:prstGeom>
          <a:noFill/>
        </p:spPr>
        <p:txBody>
          <a:bodyPr wrap="square">
            <a:spAutoFit/>
          </a:bodyPr>
          <a:lstStyle/>
          <a:p>
            <a:r>
              <a:rPr lang="en-US" sz="1000" dirty="0">
                <a:solidFill>
                  <a:prstClr val="black"/>
                </a:solidFill>
                <a:latin typeface="Open Sans"/>
              </a:rPr>
              <a:t>Service is generally performed in the same country as the service is received or in a country where labor rates are generally consistent with those where the service is received</a:t>
            </a:r>
            <a:endParaRPr lang="hu-HU" sz="1000" dirty="0">
              <a:solidFill>
                <a:prstClr val="black"/>
              </a:solidFill>
              <a:latin typeface="Open Sans"/>
            </a:endParaRPr>
          </a:p>
        </p:txBody>
      </p:sp>
      <p:sp>
        <p:nvSpPr>
          <p:cNvPr id="29" name="TextBox 28">
            <a:extLst>
              <a:ext uri="{FF2B5EF4-FFF2-40B4-BE49-F238E27FC236}">
                <a16:creationId xmlns:a16="http://schemas.microsoft.com/office/drawing/2014/main" id="{161CD329-C3C7-2CF0-CBDD-16EC3FFB8DB0}"/>
              </a:ext>
            </a:extLst>
          </p:cNvPr>
          <p:cNvSpPr txBox="1"/>
          <p:nvPr/>
        </p:nvSpPr>
        <p:spPr>
          <a:xfrm>
            <a:off x="2819107" y="2967833"/>
            <a:ext cx="3464138" cy="697721"/>
          </a:xfrm>
          <a:prstGeom prst="rect">
            <a:avLst/>
          </a:prstGeom>
          <a:noFill/>
        </p:spPr>
        <p:txBody>
          <a:bodyPr wrap="square">
            <a:spAutoFit/>
          </a:bodyPr>
          <a:lstStyle/>
          <a:p>
            <a:r>
              <a:rPr lang="en-US" sz="1000" dirty="0">
                <a:solidFill>
                  <a:prstClr val="black"/>
                </a:solidFill>
                <a:latin typeface="Open Sans"/>
              </a:rPr>
              <a:t> Service is generally performed in another </a:t>
            </a:r>
          </a:p>
          <a:p>
            <a:r>
              <a:rPr lang="en-US" sz="1000" dirty="0">
                <a:solidFill>
                  <a:prstClr val="black"/>
                </a:solidFill>
                <a:latin typeface="Open Sans"/>
              </a:rPr>
              <a:t>country where labor rates are typically significantly lower than those where the service is received and there may be a significant difference in time zone </a:t>
            </a:r>
            <a:endParaRPr lang="hu-HU" sz="1000" dirty="0">
              <a:solidFill>
                <a:prstClr val="black"/>
              </a:solidFill>
              <a:latin typeface="Open Sans"/>
            </a:endParaRPr>
          </a:p>
        </p:txBody>
      </p:sp>
      <p:sp>
        <p:nvSpPr>
          <p:cNvPr id="30" name="TextBox 29">
            <a:extLst>
              <a:ext uri="{FF2B5EF4-FFF2-40B4-BE49-F238E27FC236}">
                <a16:creationId xmlns:a16="http://schemas.microsoft.com/office/drawing/2014/main" id="{7E9CBAFA-E2BA-0858-AF31-CFF862C69CFE}"/>
              </a:ext>
            </a:extLst>
          </p:cNvPr>
          <p:cNvSpPr txBox="1"/>
          <p:nvPr/>
        </p:nvSpPr>
        <p:spPr>
          <a:xfrm>
            <a:off x="2804546" y="3909177"/>
            <a:ext cx="3493262" cy="697721"/>
          </a:xfrm>
          <a:prstGeom prst="rect">
            <a:avLst/>
          </a:prstGeom>
          <a:noFill/>
        </p:spPr>
        <p:txBody>
          <a:bodyPr wrap="square">
            <a:spAutoFit/>
          </a:bodyPr>
          <a:lstStyle/>
          <a:p>
            <a:r>
              <a:rPr lang="hu-HU" sz="1000" dirty="0">
                <a:solidFill>
                  <a:prstClr val="black"/>
                </a:solidFill>
                <a:latin typeface="Open Sans"/>
              </a:rPr>
              <a:t>The </a:t>
            </a:r>
            <a:r>
              <a:rPr lang="en-US" sz="1000" dirty="0">
                <a:solidFill>
                  <a:prstClr val="black"/>
                </a:solidFill>
                <a:latin typeface="Open Sans"/>
              </a:rPr>
              <a:t>process of entering into a contract with an external service provider (or “vendor”) to perform specific functions or processes, usually on an ongoing basis for the life of the contract</a:t>
            </a:r>
            <a:endParaRPr lang="hu-HU" sz="1000" dirty="0">
              <a:solidFill>
                <a:prstClr val="black"/>
              </a:solidFill>
              <a:latin typeface="Open Sans"/>
            </a:endParaRPr>
          </a:p>
        </p:txBody>
      </p:sp>
      <p:sp>
        <p:nvSpPr>
          <p:cNvPr id="31" name="TextBox 30">
            <a:extLst>
              <a:ext uri="{FF2B5EF4-FFF2-40B4-BE49-F238E27FC236}">
                <a16:creationId xmlns:a16="http://schemas.microsoft.com/office/drawing/2014/main" id="{E1E20E88-E7C7-8176-88A4-3C19912A2E90}"/>
              </a:ext>
            </a:extLst>
          </p:cNvPr>
          <p:cNvSpPr txBox="1"/>
          <p:nvPr/>
        </p:nvSpPr>
        <p:spPr>
          <a:xfrm>
            <a:off x="2807584" y="4945330"/>
            <a:ext cx="3613439" cy="697721"/>
          </a:xfrm>
          <a:prstGeom prst="rect">
            <a:avLst/>
          </a:prstGeom>
          <a:noFill/>
        </p:spPr>
        <p:txBody>
          <a:bodyPr wrap="square">
            <a:spAutoFit/>
          </a:bodyPr>
          <a:lstStyle/>
          <a:p>
            <a:r>
              <a:rPr lang="en-US" sz="1000" dirty="0">
                <a:solidFill>
                  <a:prstClr val="black"/>
                </a:solidFill>
                <a:latin typeface="Open Sans"/>
              </a:rPr>
              <a:t>Centers of Excellence (COEs) designed in different forms, mainly focused on establishing the required capabilities to create assets for the organization and reaping the returns from those assets. </a:t>
            </a:r>
            <a:endParaRPr lang="hu-HU" sz="1000" dirty="0">
              <a:solidFill>
                <a:prstClr val="black"/>
              </a:solidFill>
              <a:latin typeface="Open Sans"/>
            </a:endParaRPr>
          </a:p>
        </p:txBody>
      </p:sp>
      <p:sp>
        <p:nvSpPr>
          <p:cNvPr id="32" name="TextBox 31">
            <a:extLst>
              <a:ext uri="{FF2B5EF4-FFF2-40B4-BE49-F238E27FC236}">
                <a16:creationId xmlns:a16="http://schemas.microsoft.com/office/drawing/2014/main" id="{14360EE8-F4AA-6E0A-7720-6D37806CB789}"/>
              </a:ext>
            </a:extLst>
          </p:cNvPr>
          <p:cNvSpPr txBox="1"/>
          <p:nvPr/>
        </p:nvSpPr>
        <p:spPr>
          <a:xfrm>
            <a:off x="6665474" y="1468339"/>
            <a:ext cx="4515144" cy="193648"/>
          </a:xfrm>
          <a:prstGeom prst="rect">
            <a:avLst/>
          </a:prstGeom>
          <a:noFill/>
        </p:spPr>
        <p:txBody>
          <a:bodyPr wrap="square" lIns="0" tIns="0" rIns="0" bIns="0" rtlCol="0">
            <a:noAutofit/>
          </a:bodyPr>
          <a:lstStyle/>
          <a:p>
            <a:pPr algn="ctr">
              <a:spcBef>
                <a:spcPts val="600"/>
              </a:spcBef>
              <a:buSzPct val="100000"/>
            </a:pPr>
            <a:r>
              <a:rPr lang="en-US" sz="1200" b="1"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Preferred service delivery model by maturity of GBS organizations</a:t>
            </a:r>
            <a:r>
              <a:rPr lang="hu-HU" sz="1200" b="1"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a:t>
            </a:r>
          </a:p>
        </p:txBody>
      </p:sp>
      <p:sp>
        <p:nvSpPr>
          <p:cNvPr id="33" name="TextBox 32">
            <a:extLst>
              <a:ext uri="{FF2B5EF4-FFF2-40B4-BE49-F238E27FC236}">
                <a16:creationId xmlns:a16="http://schemas.microsoft.com/office/drawing/2014/main" id="{9C598A9B-3FA1-D71A-D4C7-A5CFE140AC7E}"/>
              </a:ext>
            </a:extLst>
          </p:cNvPr>
          <p:cNvSpPr txBox="1"/>
          <p:nvPr/>
        </p:nvSpPr>
        <p:spPr>
          <a:xfrm>
            <a:off x="7215823" y="6376550"/>
            <a:ext cx="6094268" cy="246221"/>
          </a:xfrm>
          <a:prstGeom prst="rect">
            <a:avLst/>
          </a:prstGeom>
          <a:noFill/>
        </p:spPr>
        <p:txBody>
          <a:bodyPr wrap="square">
            <a:spAutoFit/>
          </a:bodyPr>
          <a:lstStyle/>
          <a:p>
            <a:r>
              <a:rPr lang="hu-HU" sz="1000" dirty="0">
                <a:solidFill>
                  <a:prstClr val="black"/>
                </a:solidFill>
                <a:latin typeface="Open Sans"/>
              </a:rPr>
              <a:t>*</a:t>
            </a:r>
            <a:r>
              <a:rPr lang="hu-HU" sz="1000" dirty="0" err="1">
                <a:solidFill>
                  <a:prstClr val="black"/>
                </a:solidFill>
                <a:latin typeface="Open Sans"/>
              </a:rPr>
              <a:t>Source</a:t>
            </a:r>
            <a:r>
              <a:rPr lang="hu-HU" sz="1000" dirty="0">
                <a:solidFill>
                  <a:prstClr val="black"/>
                </a:solidFill>
                <a:latin typeface="Open Sans"/>
              </a:rPr>
              <a:t>: </a:t>
            </a:r>
            <a:r>
              <a:rPr lang="en-US" sz="1000" dirty="0">
                <a:solidFill>
                  <a:prstClr val="black"/>
                </a:solidFill>
                <a:latin typeface="Open Sans"/>
                <a:hlinkClick r:id="rId10"/>
              </a:rPr>
              <a:t>Global Shared Services and Outsourcing Survey | Deloitte US</a:t>
            </a:r>
            <a:endParaRPr lang="hu-HU" sz="1000" dirty="0">
              <a:solidFill>
                <a:prstClr val="black"/>
              </a:solidFill>
              <a:latin typeface="Open Sans"/>
            </a:endParaRPr>
          </a:p>
        </p:txBody>
      </p:sp>
      <p:sp>
        <p:nvSpPr>
          <p:cNvPr id="37" name="TextBox 21">
            <a:extLst>
              <a:ext uri="{FF2B5EF4-FFF2-40B4-BE49-F238E27FC236}">
                <a16:creationId xmlns:a16="http://schemas.microsoft.com/office/drawing/2014/main" id="{FF669D92-FFFD-F230-39DB-3F90D4DF671A}"/>
              </a:ext>
            </a:extLst>
          </p:cNvPr>
          <p:cNvSpPr txBox="1"/>
          <p:nvPr/>
        </p:nvSpPr>
        <p:spPr>
          <a:xfrm>
            <a:off x="4943192" y="5876870"/>
            <a:ext cx="1236157"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SzPct val="100000"/>
            </a:pPr>
            <a:r>
              <a:rPr lang="en-US" sz="1200" b="1" dirty="0">
                <a:solidFill>
                  <a:prstClr val="black"/>
                </a:solidFill>
                <a:latin typeface="Open Sans"/>
              </a:rPr>
              <a:t>Age of centers</a:t>
            </a:r>
            <a:endParaRPr lang="hu-HU" sz="1200" b="1" dirty="0">
              <a:solidFill>
                <a:prstClr val="black"/>
              </a:solidFill>
              <a:latin typeface="Open Sans"/>
            </a:endParaRPr>
          </a:p>
        </p:txBody>
      </p:sp>
    </p:spTree>
    <p:extLst>
      <p:ext uri="{BB962C8B-B14F-4D97-AF65-F5344CB8AC3E}">
        <p14:creationId xmlns:p14="http://schemas.microsoft.com/office/powerpoint/2010/main" val="266828794"/>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9A8323-8B7C-C9D7-FA45-083BAED65984}"/>
              </a:ext>
            </a:extLst>
          </p:cNvPr>
          <p:cNvGraphicFramePr>
            <a:graphicFrameLocks noChangeAspect="1"/>
          </p:cNvGraphicFramePr>
          <p:nvPr>
            <p:custDataLst>
              <p:tags r:id="rId1"/>
            </p:custDataLst>
            <p:extLst>
              <p:ext uri="{D42A27DB-BD31-4B8C-83A1-F6EECF244321}">
                <p14:modId xmlns:p14="http://schemas.microsoft.com/office/powerpoint/2010/main" val="1808174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CB9A8323-8B7C-C9D7-FA45-083BAED659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0411A705-2871-D126-3A5B-5E9BF99A51BB}"/>
              </a:ext>
            </a:extLst>
          </p:cNvPr>
          <p:cNvSpPr/>
          <p:nvPr/>
        </p:nvSpPr>
        <p:spPr bwMode="gray">
          <a:xfrm>
            <a:off x="386080" y="2788766"/>
            <a:ext cx="5578302" cy="3651323"/>
          </a:xfrm>
          <a:prstGeom prst="rect">
            <a:avLst/>
          </a:prstGeom>
          <a:solidFill>
            <a:srgbClr val="53565A">
              <a:lumMod val="20000"/>
              <a:lumOff val="80000"/>
              <a:alpha val="20000"/>
            </a:srgbClr>
          </a:solidFill>
          <a:ln w="19050" algn="ctr">
            <a:noFill/>
            <a:miter lim="800000"/>
            <a:headEnd/>
            <a:tailEnd/>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pic>
        <p:nvPicPr>
          <p:cNvPr id="6" name="Picture 5">
            <a:extLst>
              <a:ext uri="{FF2B5EF4-FFF2-40B4-BE49-F238E27FC236}">
                <a16:creationId xmlns:a16="http://schemas.microsoft.com/office/drawing/2014/main" id="{923B7D43-D10A-29A6-42F8-AB217D33C5F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46524" y="5179078"/>
            <a:ext cx="2253983" cy="939347"/>
          </a:xfrm>
          <a:prstGeom prst="rect">
            <a:avLst/>
          </a:prstGeom>
          <a:effectLst>
            <a:outerShdw blurRad="50800" dist="38100" dir="2700000" algn="tl" rotWithShape="0">
              <a:prstClr val="black">
                <a:alpha val="40000"/>
              </a:prstClr>
            </a:outerShdw>
          </a:effectLst>
        </p:spPr>
      </p:pic>
      <p:sp>
        <p:nvSpPr>
          <p:cNvPr id="2" name="Text Placeholder 1">
            <a:extLst>
              <a:ext uri="{FF2B5EF4-FFF2-40B4-BE49-F238E27FC236}">
                <a16:creationId xmlns:a16="http://schemas.microsoft.com/office/drawing/2014/main" id="{2AF28E11-6F2C-2C86-11DE-5E35143FB0BC}"/>
              </a:ext>
            </a:extLst>
          </p:cNvPr>
          <p:cNvSpPr>
            <a:spLocks noGrp="1"/>
          </p:cNvSpPr>
          <p:nvPr>
            <p:ph type="body" sz="quarter" idx="22"/>
          </p:nvPr>
        </p:nvSpPr>
        <p:spPr/>
        <p:txBody>
          <a:bodyPr/>
          <a:lstStyle/>
          <a:p>
            <a:r>
              <a:rPr lang="hu-HU" dirty="0"/>
              <a:t>The </a:t>
            </a:r>
            <a:r>
              <a:rPr lang="en-US" dirty="0" err="1"/>
              <a:t>methodolog</a:t>
            </a:r>
            <a:r>
              <a:rPr lang="hu-HU" dirty="0"/>
              <a:t>y</a:t>
            </a:r>
            <a:r>
              <a:rPr lang="en-US" dirty="0"/>
              <a:t> support</a:t>
            </a:r>
            <a:r>
              <a:rPr lang="hu-HU" dirty="0"/>
              <a:t>s</a:t>
            </a:r>
            <a:r>
              <a:rPr lang="en-US" dirty="0"/>
              <a:t> projects aiming to set up or improve service delivery to serve business units ​</a:t>
            </a:r>
            <a:endParaRPr lang="en-US"/>
          </a:p>
        </p:txBody>
      </p:sp>
      <p:sp>
        <p:nvSpPr>
          <p:cNvPr id="3" name="Title 2">
            <a:extLst>
              <a:ext uri="{FF2B5EF4-FFF2-40B4-BE49-F238E27FC236}">
                <a16:creationId xmlns:a16="http://schemas.microsoft.com/office/drawing/2014/main" id="{3BCC0C0F-B5C2-55DD-275E-1ED5465D9A1E}"/>
              </a:ext>
            </a:extLst>
          </p:cNvPr>
          <p:cNvSpPr>
            <a:spLocks noGrp="1"/>
          </p:cNvSpPr>
          <p:nvPr>
            <p:ph type="title"/>
          </p:nvPr>
        </p:nvSpPr>
        <p:spPr>
          <a:xfrm>
            <a:off x="463294" y="417911"/>
            <a:ext cx="11818761" cy="334099"/>
          </a:xfrm>
        </p:spPr>
        <p:txBody>
          <a:bodyPr vert="horz"/>
          <a:lstStyle/>
          <a:p>
            <a:r>
              <a:rPr lang="en-US" dirty="0"/>
              <a:t>Deloitte SSC and BPO Methodology – Define service delivery model​</a:t>
            </a:r>
          </a:p>
        </p:txBody>
      </p:sp>
      <p:sp>
        <p:nvSpPr>
          <p:cNvPr id="33" name="Rectangle 32">
            <a:extLst>
              <a:ext uri="{FF2B5EF4-FFF2-40B4-BE49-F238E27FC236}">
                <a16:creationId xmlns:a16="http://schemas.microsoft.com/office/drawing/2014/main" id="{C4D25A0B-211B-0E55-DB49-15DE51BEAC30}"/>
              </a:ext>
            </a:extLst>
          </p:cNvPr>
          <p:cNvSpPr/>
          <p:nvPr/>
        </p:nvSpPr>
        <p:spPr bwMode="gray">
          <a:xfrm>
            <a:off x="6410703" y="2784894"/>
            <a:ext cx="5330189" cy="3651323"/>
          </a:xfrm>
          <a:prstGeom prst="rect">
            <a:avLst/>
          </a:prstGeom>
          <a:solidFill>
            <a:srgbClr val="53565A">
              <a:lumMod val="20000"/>
              <a:lumOff val="80000"/>
              <a:alpha val="20000"/>
            </a:srgbClr>
          </a:solidFill>
          <a:ln w="19050" algn="ctr">
            <a:noFill/>
            <a:miter lim="800000"/>
            <a:headEnd/>
            <a:tailEnd/>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prstClr val="black"/>
              </a:solidFill>
              <a:effectLst/>
              <a:uLnTx/>
              <a:uFillTx/>
              <a:latin typeface="Open Sans"/>
            </a:endParaRPr>
          </a:p>
        </p:txBody>
      </p:sp>
      <p:sp>
        <p:nvSpPr>
          <p:cNvPr id="34" name="TextBox 33">
            <a:extLst>
              <a:ext uri="{FF2B5EF4-FFF2-40B4-BE49-F238E27FC236}">
                <a16:creationId xmlns:a16="http://schemas.microsoft.com/office/drawing/2014/main" id="{8417CDB8-9AE0-B771-CFEF-6177CB933987}"/>
              </a:ext>
            </a:extLst>
          </p:cNvPr>
          <p:cNvSpPr txBox="1"/>
          <p:nvPr/>
        </p:nvSpPr>
        <p:spPr>
          <a:xfrm>
            <a:off x="386080" y="2909478"/>
            <a:ext cx="2458720" cy="280762"/>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1. Define process splits</a:t>
            </a:r>
          </a:p>
        </p:txBody>
      </p:sp>
      <p:sp>
        <p:nvSpPr>
          <p:cNvPr id="35" name="Arrow: Right 34">
            <a:extLst>
              <a:ext uri="{FF2B5EF4-FFF2-40B4-BE49-F238E27FC236}">
                <a16:creationId xmlns:a16="http://schemas.microsoft.com/office/drawing/2014/main" id="{2DFEC00C-E2A5-77EC-BAD5-3586840BB432}"/>
              </a:ext>
            </a:extLst>
          </p:cNvPr>
          <p:cNvSpPr/>
          <p:nvPr/>
        </p:nvSpPr>
        <p:spPr bwMode="gray">
          <a:xfrm>
            <a:off x="9052493" y="1688540"/>
            <a:ext cx="2444560" cy="600739"/>
          </a:xfrm>
          <a:prstGeom prst="rightArrow">
            <a:avLst>
              <a:gd name="adj1" fmla="val 100000"/>
              <a:gd name="adj2" fmla="val 50000"/>
            </a:avLst>
          </a:prstGeom>
          <a:solidFill>
            <a:srgbClr val="62B5E5">
              <a:lumMod val="75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Open Sans"/>
            </a:endParaRPr>
          </a:p>
        </p:txBody>
      </p:sp>
      <p:sp>
        <p:nvSpPr>
          <p:cNvPr id="36" name="Arrow: Right 35">
            <a:extLst>
              <a:ext uri="{FF2B5EF4-FFF2-40B4-BE49-F238E27FC236}">
                <a16:creationId xmlns:a16="http://schemas.microsoft.com/office/drawing/2014/main" id="{A26F32F3-BE11-3593-3F04-EC55E5F35A95}"/>
              </a:ext>
            </a:extLst>
          </p:cNvPr>
          <p:cNvSpPr/>
          <p:nvPr/>
        </p:nvSpPr>
        <p:spPr bwMode="gray">
          <a:xfrm>
            <a:off x="6941563" y="1688540"/>
            <a:ext cx="2421890" cy="600739"/>
          </a:xfrm>
          <a:prstGeom prst="rightArrow">
            <a:avLst>
              <a:gd name="adj1" fmla="val 100000"/>
              <a:gd name="adj2" fmla="val 50000"/>
            </a:avLst>
          </a:prstGeom>
          <a:solidFill>
            <a:srgbClr val="62B5E5"/>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Open Sans"/>
            </a:endParaRPr>
          </a:p>
        </p:txBody>
      </p:sp>
      <p:sp>
        <p:nvSpPr>
          <p:cNvPr id="37" name="Arrow: Right 36">
            <a:extLst>
              <a:ext uri="{FF2B5EF4-FFF2-40B4-BE49-F238E27FC236}">
                <a16:creationId xmlns:a16="http://schemas.microsoft.com/office/drawing/2014/main" id="{980B4BEC-1789-3FEC-B02B-0A2D3F0E55BD}"/>
              </a:ext>
            </a:extLst>
          </p:cNvPr>
          <p:cNvSpPr/>
          <p:nvPr/>
        </p:nvSpPr>
        <p:spPr bwMode="gray">
          <a:xfrm>
            <a:off x="4807963" y="1688540"/>
            <a:ext cx="2421890" cy="600739"/>
          </a:xfrm>
          <a:prstGeom prst="rightArrow">
            <a:avLst>
              <a:gd name="adj1" fmla="val 100000"/>
              <a:gd name="adj2" fmla="val 50000"/>
            </a:avLst>
          </a:prstGeom>
          <a:solidFill>
            <a:srgbClr val="62B5E5">
              <a:lumMod val="60000"/>
              <a:lumOff val="4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Open Sans"/>
            </a:endParaRPr>
          </a:p>
        </p:txBody>
      </p:sp>
      <p:sp>
        <p:nvSpPr>
          <p:cNvPr id="38" name="Arrow: Right 37">
            <a:extLst>
              <a:ext uri="{FF2B5EF4-FFF2-40B4-BE49-F238E27FC236}">
                <a16:creationId xmlns:a16="http://schemas.microsoft.com/office/drawing/2014/main" id="{0DB6C1D9-594B-5706-A70E-91D1A6D3F2D3}"/>
              </a:ext>
            </a:extLst>
          </p:cNvPr>
          <p:cNvSpPr/>
          <p:nvPr/>
        </p:nvSpPr>
        <p:spPr bwMode="gray">
          <a:xfrm>
            <a:off x="2641600" y="1688540"/>
            <a:ext cx="2454653" cy="600739"/>
          </a:xfrm>
          <a:prstGeom prst="rightArrow">
            <a:avLst>
              <a:gd name="adj1" fmla="val 100000"/>
              <a:gd name="adj2" fmla="val 50000"/>
            </a:avLst>
          </a:prstGeom>
          <a:solidFill>
            <a:srgbClr val="62B5E5">
              <a:lumMod val="40000"/>
              <a:lumOff val="6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Open Sans"/>
            </a:endParaRPr>
          </a:p>
        </p:txBody>
      </p:sp>
      <p:sp>
        <p:nvSpPr>
          <p:cNvPr id="39" name="Arrow: Right 38">
            <a:extLst>
              <a:ext uri="{FF2B5EF4-FFF2-40B4-BE49-F238E27FC236}">
                <a16:creationId xmlns:a16="http://schemas.microsoft.com/office/drawing/2014/main" id="{498F879B-75C2-89C9-4B2E-8F30BAA61D5C}"/>
              </a:ext>
            </a:extLst>
          </p:cNvPr>
          <p:cNvSpPr/>
          <p:nvPr/>
        </p:nvSpPr>
        <p:spPr bwMode="gray">
          <a:xfrm>
            <a:off x="585213" y="1688540"/>
            <a:ext cx="2377440" cy="600739"/>
          </a:xfrm>
          <a:prstGeom prst="rightArrow">
            <a:avLst>
              <a:gd name="adj1" fmla="val 100000"/>
              <a:gd name="adj2" fmla="val 50000"/>
            </a:avLst>
          </a:prstGeom>
          <a:solidFill>
            <a:srgbClr val="62B5E5">
              <a:lumMod val="20000"/>
              <a:lumOff val="80000"/>
            </a:srgbClr>
          </a:solidFill>
          <a:ln w="19050" algn="ctr">
            <a:noFill/>
            <a:miter lim="800000"/>
            <a:headEnd/>
            <a:tailEnd/>
          </a:ln>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Define process splits</a:t>
            </a:r>
          </a:p>
        </p:txBody>
      </p:sp>
      <p:sp>
        <p:nvSpPr>
          <p:cNvPr id="40" name="TextBox 39">
            <a:extLst>
              <a:ext uri="{FF2B5EF4-FFF2-40B4-BE49-F238E27FC236}">
                <a16:creationId xmlns:a16="http://schemas.microsoft.com/office/drawing/2014/main" id="{EF9F244D-A560-BDB0-2D1A-D25CBAA94206}"/>
              </a:ext>
            </a:extLst>
          </p:cNvPr>
          <p:cNvSpPr txBox="1"/>
          <p:nvPr/>
        </p:nvSpPr>
        <p:spPr>
          <a:xfrm>
            <a:off x="2962653" y="1758077"/>
            <a:ext cx="1978660"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Consider technology issues</a:t>
            </a:r>
          </a:p>
        </p:txBody>
      </p:sp>
      <p:sp>
        <p:nvSpPr>
          <p:cNvPr id="41" name="TextBox 40">
            <a:extLst>
              <a:ext uri="{FF2B5EF4-FFF2-40B4-BE49-F238E27FC236}">
                <a16:creationId xmlns:a16="http://schemas.microsoft.com/office/drawing/2014/main" id="{ABFA4F18-8E04-94B5-D0E0-CA6E0E2B8583}"/>
              </a:ext>
            </a:extLst>
          </p:cNvPr>
          <p:cNvSpPr txBox="1"/>
          <p:nvPr/>
        </p:nvSpPr>
        <p:spPr>
          <a:xfrm>
            <a:off x="5162483" y="1758077"/>
            <a:ext cx="2044700"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Define high-level organization structure</a:t>
            </a:r>
          </a:p>
        </p:txBody>
      </p:sp>
      <p:sp>
        <p:nvSpPr>
          <p:cNvPr id="42" name="TextBox 41">
            <a:extLst>
              <a:ext uri="{FF2B5EF4-FFF2-40B4-BE49-F238E27FC236}">
                <a16:creationId xmlns:a16="http://schemas.microsoft.com/office/drawing/2014/main" id="{82BA74A8-29B6-FBB4-3AF5-F313E9093F80}"/>
              </a:ext>
            </a:extLst>
          </p:cNvPr>
          <p:cNvSpPr txBox="1"/>
          <p:nvPr/>
        </p:nvSpPr>
        <p:spPr>
          <a:xfrm>
            <a:off x="7146668" y="1758077"/>
            <a:ext cx="2044700"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Conduct high-level state location analysis</a:t>
            </a:r>
          </a:p>
        </p:txBody>
      </p:sp>
      <p:sp>
        <p:nvSpPr>
          <p:cNvPr id="43" name="TextBox 42">
            <a:extLst>
              <a:ext uri="{FF2B5EF4-FFF2-40B4-BE49-F238E27FC236}">
                <a16:creationId xmlns:a16="http://schemas.microsoft.com/office/drawing/2014/main" id="{E4BC5D54-7D5B-02C7-177B-830037457625}"/>
              </a:ext>
            </a:extLst>
          </p:cNvPr>
          <p:cNvSpPr txBox="1"/>
          <p:nvPr/>
        </p:nvSpPr>
        <p:spPr>
          <a:xfrm>
            <a:off x="9407904" y="1758077"/>
            <a:ext cx="1800860"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Review potential outsourcers</a:t>
            </a:r>
          </a:p>
        </p:txBody>
      </p:sp>
      <p:sp>
        <p:nvSpPr>
          <p:cNvPr id="44" name="Rectangle: Rounded Corners 43">
            <a:extLst>
              <a:ext uri="{FF2B5EF4-FFF2-40B4-BE49-F238E27FC236}">
                <a16:creationId xmlns:a16="http://schemas.microsoft.com/office/drawing/2014/main" id="{83F6747A-4CD0-D3A7-824C-1EFB7F00926F}"/>
              </a:ext>
            </a:extLst>
          </p:cNvPr>
          <p:cNvSpPr/>
          <p:nvPr/>
        </p:nvSpPr>
        <p:spPr bwMode="gray">
          <a:xfrm>
            <a:off x="700593" y="1573860"/>
            <a:ext cx="439420" cy="188538"/>
          </a:xfrm>
          <a:prstGeom prst="roundRect">
            <a:avLst/>
          </a:prstGeom>
          <a:solidFill>
            <a:sysClr val="window" lastClr="FFFFFF"/>
          </a:solidFill>
          <a:ln w="38100" algn="ctr">
            <a:solidFill>
              <a:srgbClr val="62B5E5">
                <a:lumMod val="20000"/>
                <a:lumOff val="80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Open Sans"/>
              </a:rPr>
              <a:t>1</a:t>
            </a:r>
          </a:p>
        </p:txBody>
      </p:sp>
      <p:sp>
        <p:nvSpPr>
          <p:cNvPr id="45" name="Rectangle: Rounded Corners 44">
            <a:extLst>
              <a:ext uri="{FF2B5EF4-FFF2-40B4-BE49-F238E27FC236}">
                <a16:creationId xmlns:a16="http://schemas.microsoft.com/office/drawing/2014/main" id="{064FD08E-89C0-08A8-BB9D-29E60D89573E}"/>
              </a:ext>
            </a:extLst>
          </p:cNvPr>
          <p:cNvSpPr/>
          <p:nvPr/>
        </p:nvSpPr>
        <p:spPr bwMode="gray">
          <a:xfrm>
            <a:off x="3007104" y="1573860"/>
            <a:ext cx="439420" cy="188538"/>
          </a:xfrm>
          <a:prstGeom prst="roundRect">
            <a:avLst/>
          </a:prstGeom>
          <a:solidFill>
            <a:sysClr val="window" lastClr="FFFFFF"/>
          </a:solidFill>
          <a:ln w="38100" algn="ctr">
            <a:solidFill>
              <a:srgbClr val="62B5E5">
                <a:lumMod val="40000"/>
                <a:lumOff val="60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Open Sans"/>
              </a:rPr>
              <a:t>2</a:t>
            </a:r>
          </a:p>
        </p:txBody>
      </p:sp>
      <p:sp>
        <p:nvSpPr>
          <p:cNvPr id="46" name="Rectangle: Rounded Corners 45">
            <a:extLst>
              <a:ext uri="{FF2B5EF4-FFF2-40B4-BE49-F238E27FC236}">
                <a16:creationId xmlns:a16="http://schemas.microsoft.com/office/drawing/2014/main" id="{7AFC939B-088F-966D-7079-30027CA554A6}"/>
              </a:ext>
            </a:extLst>
          </p:cNvPr>
          <p:cNvSpPr/>
          <p:nvPr/>
        </p:nvSpPr>
        <p:spPr bwMode="gray">
          <a:xfrm>
            <a:off x="5139813" y="1573860"/>
            <a:ext cx="439420" cy="188538"/>
          </a:xfrm>
          <a:prstGeom prst="roundRect">
            <a:avLst/>
          </a:prstGeom>
          <a:solidFill>
            <a:sysClr val="window" lastClr="FFFFFF"/>
          </a:solidFill>
          <a:ln w="38100" algn="ctr">
            <a:solidFill>
              <a:srgbClr val="62B5E5">
                <a:lumMod val="60000"/>
                <a:lumOff val="40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Open Sans"/>
              </a:rPr>
              <a:t>3</a:t>
            </a:r>
          </a:p>
        </p:txBody>
      </p:sp>
      <p:sp>
        <p:nvSpPr>
          <p:cNvPr id="47" name="Rectangle: Rounded Corners 46">
            <a:extLst>
              <a:ext uri="{FF2B5EF4-FFF2-40B4-BE49-F238E27FC236}">
                <a16:creationId xmlns:a16="http://schemas.microsoft.com/office/drawing/2014/main" id="{627DE61B-1150-67CB-8F6E-E87D4CDB7E5A}"/>
              </a:ext>
            </a:extLst>
          </p:cNvPr>
          <p:cNvSpPr/>
          <p:nvPr/>
        </p:nvSpPr>
        <p:spPr bwMode="gray">
          <a:xfrm>
            <a:off x="7256201" y="1573860"/>
            <a:ext cx="439420" cy="188538"/>
          </a:xfrm>
          <a:prstGeom prst="roundRect">
            <a:avLst/>
          </a:prstGeom>
          <a:solidFill>
            <a:sysClr val="window" lastClr="FFFFFF"/>
          </a:solidFill>
          <a:ln w="38100" algn="ctr">
            <a:solidFill>
              <a:srgbClr val="62B5E5"/>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Open Sans"/>
              </a:rPr>
              <a:t>4</a:t>
            </a:r>
          </a:p>
        </p:txBody>
      </p:sp>
      <p:sp>
        <p:nvSpPr>
          <p:cNvPr id="48" name="Rectangle: Rounded Corners 47">
            <a:extLst>
              <a:ext uri="{FF2B5EF4-FFF2-40B4-BE49-F238E27FC236}">
                <a16:creationId xmlns:a16="http://schemas.microsoft.com/office/drawing/2014/main" id="{9348F6D2-3EC3-35FE-94DF-65657E43DB18}"/>
              </a:ext>
            </a:extLst>
          </p:cNvPr>
          <p:cNvSpPr/>
          <p:nvPr/>
        </p:nvSpPr>
        <p:spPr bwMode="gray">
          <a:xfrm>
            <a:off x="9380901" y="1573860"/>
            <a:ext cx="439420" cy="188538"/>
          </a:xfrm>
          <a:prstGeom prst="roundRect">
            <a:avLst/>
          </a:prstGeom>
          <a:solidFill>
            <a:sysClr val="window" lastClr="FFFFFF"/>
          </a:solidFill>
          <a:ln w="38100" algn="ctr">
            <a:solidFill>
              <a:srgbClr val="62B5E5">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Open Sans"/>
              </a:rPr>
              <a:t>5</a:t>
            </a:r>
          </a:p>
        </p:txBody>
      </p:sp>
      <p:sp>
        <p:nvSpPr>
          <p:cNvPr id="49" name="Rectangle: Rounded Corners 48">
            <a:extLst>
              <a:ext uri="{FF2B5EF4-FFF2-40B4-BE49-F238E27FC236}">
                <a16:creationId xmlns:a16="http://schemas.microsoft.com/office/drawing/2014/main" id="{87D8D13B-89C0-EECF-EC9C-66AD3700BB6F}"/>
              </a:ext>
            </a:extLst>
          </p:cNvPr>
          <p:cNvSpPr/>
          <p:nvPr/>
        </p:nvSpPr>
        <p:spPr bwMode="gray">
          <a:xfrm>
            <a:off x="386080" y="1361918"/>
            <a:ext cx="11277600" cy="1241670"/>
          </a:xfrm>
          <a:prstGeom prst="roundRect">
            <a:avLst/>
          </a:prstGeom>
          <a:noFill/>
          <a:ln w="25400" cap="flat" cmpd="sng" algn="ctr">
            <a:solidFill>
              <a:srgbClr val="D0D0CE"/>
            </a:solidFill>
            <a:prstDash val="dash"/>
            <a:headEnd/>
            <a:tailEnd/>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0" name="TextBox 49">
            <a:extLst>
              <a:ext uri="{FF2B5EF4-FFF2-40B4-BE49-F238E27FC236}">
                <a16:creationId xmlns:a16="http://schemas.microsoft.com/office/drawing/2014/main" id="{F70A991E-76A6-0301-89B5-7DFA386C6BF5}"/>
              </a:ext>
            </a:extLst>
          </p:cNvPr>
          <p:cNvSpPr txBox="1"/>
          <p:nvPr/>
        </p:nvSpPr>
        <p:spPr>
          <a:xfrm>
            <a:off x="4488026" y="1231417"/>
            <a:ext cx="3393613" cy="188538"/>
          </a:xfrm>
          <a:prstGeom prst="rect">
            <a:avLst/>
          </a:prstGeom>
          <a:solidFill>
            <a:sysClr val="window" lastClr="FFFFFF"/>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How to d</a:t>
            </a:r>
            <a:r>
              <a:rPr kumimoji="0" lang="en-US" sz="1400" b="0" i="0" u="none" strike="noStrike" kern="0" cap="none" spc="0" normalizeH="0" baseline="0" noProof="0" dirty="0" err="1">
                <a:ln>
                  <a:noFill/>
                </a:ln>
                <a:solidFill>
                  <a:prstClr val="black"/>
                </a:solidFill>
                <a:effectLst/>
                <a:uLnTx/>
                <a:uFillTx/>
                <a:latin typeface="Open Sans"/>
                <a:ea typeface="Open Sans" panose="020B0606030504020204" pitchFamily="34" charset="0"/>
                <a:cs typeface="Open Sans" panose="020B0606030504020204" pitchFamily="34" charset="0"/>
              </a:rPr>
              <a:t>efin</a:t>
            </a:r>
            <a:r>
              <a:rPr kumimoji="0" lang="en-US" sz="14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e a service delivery model?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cxnSp>
        <p:nvCxnSpPr>
          <p:cNvPr id="51" name="Straight Connector 50">
            <a:extLst>
              <a:ext uri="{FF2B5EF4-FFF2-40B4-BE49-F238E27FC236}">
                <a16:creationId xmlns:a16="http://schemas.microsoft.com/office/drawing/2014/main" id="{681846F1-38FB-9A71-7DF3-4EFBAC4B5EC2}"/>
              </a:ext>
            </a:extLst>
          </p:cNvPr>
          <p:cNvCxnSpPr>
            <a:cxnSpLocks/>
          </p:cNvCxnSpPr>
          <p:nvPr/>
        </p:nvCxnSpPr>
        <p:spPr>
          <a:xfrm>
            <a:off x="386080" y="3190240"/>
            <a:ext cx="4023360" cy="0"/>
          </a:xfrm>
          <a:prstGeom prst="line">
            <a:avLst/>
          </a:prstGeom>
          <a:noFill/>
          <a:ln w="38100" cap="flat" cmpd="sng" algn="ctr">
            <a:solidFill>
              <a:srgbClr val="62B5E5">
                <a:lumMod val="20000"/>
                <a:lumOff val="80000"/>
              </a:srgbClr>
            </a:solidFill>
            <a:prstDash val="solid"/>
          </a:ln>
          <a:effectLst>
            <a:outerShdw blurRad="50800" dist="38100" dir="2700000" algn="tl" rotWithShape="0">
              <a:prstClr val="black">
                <a:alpha val="40000"/>
              </a:prstClr>
            </a:outerShdw>
          </a:effectLst>
        </p:spPr>
      </p:cxnSp>
      <p:sp>
        <p:nvSpPr>
          <p:cNvPr id="52" name="TextBox 51">
            <a:extLst>
              <a:ext uri="{FF2B5EF4-FFF2-40B4-BE49-F238E27FC236}">
                <a16:creationId xmlns:a16="http://schemas.microsoft.com/office/drawing/2014/main" id="{F5E7FCB2-01BB-400A-632B-2F55EDA67E98}"/>
              </a:ext>
            </a:extLst>
          </p:cNvPr>
          <p:cNvSpPr txBox="1"/>
          <p:nvPr/>
        </p:nvSpPr>
        <p:spPr>
          <a:xfrm>
            <a:off x="463293" y="3429000"/>
            <a:ext cx="4175382" cy="2504440"/>
          </a:xfrm>
          <a:prstGeom prst="rect">
            <a:avLst/>
          </a:prstGeom>
          <a:noFill/>
        </p:spPr>
        <p:txBody>
          <a:bodyPr wrap="square" lIns="0" tIns="0" rIns="0" bIns="0" rtlCol="0">
            <a:noAutofit/>
          </a:bodyPr>
          <a:lstStyle/>
          <a:p>
            <a:pPr marL="171450" indent="-171450">
              <a:lnSpc>
                <a:spcPct val="150000"/>
              </a:lnSpc>
              <a:spcBef>
                <a:spcPts val="600"/>
              </a:spcBef>
              <a:buSzPct val="100000"/>
              <a:buFont typeface="Arial" panose="020B0604020202020204" pitchFamily="34" charset="0"/>
              <a:buChar char="•"/>
            </a:pPr>
            <a:r>
              <a:rPr lang="en-US" sz="1000" b="1" dirty="0">
                <a:solidFill>
                  <a:prstClr val="black"/>
                </a:solidFill>
                <a:latin typeface="Open Sans"/>
              </a:rPr>
              <a:t>Processes </a:t>
            </a:r>
            <a:r>
              <a:rPr lang="en-US" sz="1000" dirty="0">
                <a:solidFill>
                  <a:prstClr val="black"/>
                </a:solidFill>
                <a:latin typeface="Open Sans"/>
              </a:rPr>
              <a:t>under review have to be </a:t>
            </a:r>
            <a:r>
              <a:rPr lang="en-US" sz="1000" b="1" dirty="0">
                <a:solidFill>
                  <a:prstClr val="black"/>
                </a:solidFill>
                <a:latin typeface="Open Sans"/>
              </a:rPr>
              <a:t>clearly defined </a:t>
            </a:r>
            <a:r>
              <a:rPr lang="en-US" sz="1000" dirty="0">
                <a:solidFill>
                  <a:prstClr val="black"/>
                </a:solidFill>
                <a:latin typeface="Open Sans"/>
              </a:rPr>
              <a:t>and that the </a:t>
            </a:r>
            <a:r>
              <a:rPr lang="en-US" sz="1000" b="1" dirty="0">
                <a:solidFill>
                  <a:prstClr val="black"/>
                </a:solidFill>
                <a:latin typeface="Open Sans"/>
              </a:rPr>
              <a:t>boundaries</a:t>
            </a:r>
            <a:r>
              <a:rPr lang="en-US" sz="1000" dirty="0">
                <a:solidFill>
                  <a:prstClr val="black"/>
                </a:solidFill>
                <a:latin typeface="Open Sans"/>
              </a:rPr>
              <a:t> </a:t>
            </a:r>
            <a:r>
              <a:rPr lang="en-US" sz="1000" b="1" dirty="0">
                <a:solidFill>
                  <a:prstClr val="black"/>
                </a:solidFill>
                <a:latin typeface="Open Sans"/>
              </a:rPr>
              <a:t>between the SSC </a:t>
            </a:r>
            <a:r>
              <a:rPr lang="en-US" sz="1000" dirty="0">
                <a:solidFill>
                  <a:prstClr val="black"/>
                </a:solidFill>
                <a:latin typeface="Open Sans"/>
              </a:rPr>
              <a:t>and </a:t>
            </a:r>
            <a:r>
              <a:rPr lang="en-US" sz="1000" b="1" dirty="0">
                <a:solidFill>
                  <a:prstClr val="black"/>
                </a:solidFill>
                <a:latin typeface="Open Sans"/>
              </a:rPr>
              <a:t>local responsibilities </a:t>
            </a:r>
            <a:r>
              <a:rPr lang="en-US" sz="1000" dirty="0">
                <a:solidFill>
                  <a:prstClr val="black"/>
                </a:solidFill>
                <a:latin typeface="Open Sans"/>
              </a:rPr>
              <a:t>are </a:t>
            </a:r>
            <a:r>
              <a:rPr lang="en-US" sz="1000" b="1" dirty="0">
                <a:solidFill>
                  <a:prstClr val="black"/>
                </a:solidFill>
                <a:latin typeface="Open Sans"/>
              </a:rPr>
              <a:t>made explicit </a:t>
            </a:r>
            <a:r>
              <a:rPr lang="en-US" sz="1000" dirty="0">
                <a:solidFill>
                  <a:prstClr val="black"/>
                </a:solidFill>
                <a:latin typeface="Open Sans"/>
              </a:rPr>
              <a:t>at granular level.</a:t>
            </a:r>
          </a:p>
          <a:p>
            <a:pPr marL="171450" indent="-171450">
              <a:lnSpc>
                <a:spcPct val="150000"/>
              </a:lnSpc>
              <a:spcBef>
                <a:spcPts val="600"/>
              </a:spcBef>
              <a:buSzPct val="100000"/>
              <a:buFont typeface="Arial" panose="020B0604020202020204" pitchFamily="34" charset="0"/>
              <a:buChar char="•"/>
            </a:pPr>
            <a:r>
              <a:rPr lang="en-US" sz="1000" dirty="0">
                <a:solidFill>
                  <a:prstClr val="black"/>
                </a:solidFill>
                <a:latin typeface="Open Sans"/>
              </a:rPr>
              <a:t>The </a:t>
            </a:r>
            <a:r>
              <a:rPr lang="en-US" sz="1000" b="1" dirty="0">
                <a:solidFill>
                  <a:prstClr val="black"/>
                </a:solidFill>
                <a:latin typeface="Open Sans"/>
              </a:rPr>
              <a:t>2x3 matrix </a:t>
            </a:r>
            <a:r>
              <a:rPr lang="en-US" sz="1000" dirty="0">
                <a:solidFill>
                  <a:prstClr val="black"/>
                </a:solidFill>
                <a:latin typeface="Open Sans"/>
              </a:rPr>
              <a:t>below is an effective</a:t>
            </a:r>
            <a:r>
              <a:rPr lang="en-US" sz="1000" b="1" dirty="0">
                <a:solidFill>
                  <a:prstClr val="black"/>
                </a:solidFill>
                <a:latin typeface="Open Sans"/>
              </a:rPr>
              <a:t> tool </a:t>
            </a:r>
            <a:br>
              <a:rPr lang="en-US" sz="1000" b="1" dirty="0">
                <a:solidFill>
                  <a:prstClr val="black"/>
                </a:solidFill>
                <a:latin typeface="Open Sans"/>
              </a:rPr>
            </a:br>
            <a:r>
              <a:rPr lang="en-US" sz="1000" dirty="0">
                <a:solidFill>
                  <a:prstClr val="black"/>
                </a:solidFill>
                <a:latin typeface="Open Sans"/>
              </a:rPr>
              <a:t>for </a:t>
            </a:r>
            <a:r>
              <a:rPr lang="en-US" sz="1000" b="1" dirty="0">
                <a:solidFill>
                  <a:prstClr val="black"/>
                </a:solidFill>
                <a:latin typeface="Open Sans"/>
              </a:rPr>
              <a:t>defining process splits.</a:t>
            </a:r>
          </a:p>
          <a:p>
            <a:pPr marL="171450" indent="-171450">
              <a:lnSpc>
                <a:spcPct val="150000"/>
              </a:lnSpc>
              <a:spcBef>
                <a:spcPts val="600"/>
              </a:spcBef>
              <a:buSzPct val="100000"/>
              <a:buFont typeface="Arial" panose="020B0604020202020204" pitchFamily="34" charset="0"/>
              <a:buChar char="•"/>
            </a:pPr>
            <a:r>
              <a:rPr lang="en-US" sz="1000" dirty="0">
                <a:solidFill>
                  <a:prstClr val="black"/>
                </a:solidFill>
                <a:latin typeface="Open Sans"/>
              </a:rPr>
              <a:t>Once the processes have been split the </a:t>
            </a:r>
            <a:br>
              <a:rPr lang="en-US" sz="1000" dirty="0">
                <a:solidFill>
                  <a:prstClr val="black"/>
                </a:solidFill>
                <a:latin typeface="Open Sans"/>
              </a:rPr>
            </a:br>
            <a:r>
              <a:rPr lang="en-US" sz="1000" dirty="0">
                <a:solidFill>
                  <a:prstClr val="black"/>
                </a:solidFill>
                <a:latin typeface="Open Sans"/>
              </a:rPr>
              <a:t>next step is to </a:t>
            </a:r>
            <a:r>
              <a:rPr lang="en-US" sz="1000" b="1" dirty="0">
                <a:solidFill>
                  <a:prstClr val="black"/>
                </a:solidFill>
                <a:latin typeface="Open Sans"/>
              </a:rPr>
              <a:t>understand</a:t>
            </a:r>
            <a:r>
              <a:rPr lang="en-US" sz="1000" dirty="0">
                <a:solidFill>
                  <a:prstClr val="black"/>
                </a:solidFill>
                <a:latin typeface="Open Sans"/>
              </a:rPr>
              <a:t> </a:t>
            </a:r>
            <a:r>
              <a:rPr lang="en-US" sz="1000" b="1" dirty="0">
                <a:solidFill>
                  <a:prstClr val="black"/>
                </a:solidFill>
                <a:latin typeface="Open Sans"/>
              </a:rPr>
              <a:t>which of the 4 SSC models will be used </a:t>
            </a:r>
            <a:r>
              <a:rPr lang="en-US" sz="1000" dirty="0">
                <a:solidFill>
                  <a:prstClr val="black"/>
                </a:solidFill>
                <a:latin typeface="Open Sans"/>
              </a:rPr>
              <a:t>to  structure the </a:t>
            </a:r>
            <a:r>
              <a:rPr lang="en-US" sz="1000" dirty="0" err="1">
                <a:solidFill>
                  <a:prstClr val="black"/>
                </a:solidFill>
                <a:latin typeface="Open Sans"/>
              </a:rPr>
              <a:t>centre</a:t>
            </a:r>
            <a:r>
              <a:rPr lang="en-US" sz="1000" dirty="0">
                <a:solidFill>
                  <a:prstClr val="black"/>
                </a:solidFill>
                <a:latin typeface="Open Sans"/>
              </a:rPr>
              <a:t>.</a:t>
            </a:r>
          </a:p>
          <a:p>
            <a:pPr marL="171450" indent="-171450">
              <a:lnSpc>
                <a:spcPct val="150000"/>
              </a:lnSpc>
              <a:spcBef>
                <a:spcPts val="600"/>
              </a:spcBef>
              <a:buSzPct val="100000"/>
              <a:buFont typeface="Arial" panose="020B0604020202020204" pitchFamily="34" charset="0"/>
              <a:buChar char="•"/>
            </a:pPr>
            <a:endParaRPr lang="en-US" sz="1200" dirty="0">
              <a:solidFill>
                <a:prstClr val="black"/>
              </a:solidFill>
              <a:latin typeface="Open Sans"/>
            </a:endParaRPr>
          </a:p>
        </p:txBody>
      </p:sp>
      <p:pic>
        <p:nvPicPr>
          <p:cNvPr id="53" name="Picture 52">
            <a:extLst>
              <a:ext uri="{FF2B5EF4-FFF2-40B4-BE49-F238E27FC236}">
                <a16:creationId xmlns:a16="http://schemas.microsoft.com/office/drawing/2014/main" id="{BF9A39A2-815D-363F-31E2-2D897A1C8B58}"/>
              </a:ext>
            </a:extLst>
          </p:cNvPr>
          <p:cNvPicPr>
            <a:picLocks noChangeAspect="1"/>
          </p:cNvPicPr>
          <p:nvPr/>
        </p:nvPicPr>
        <p:blipFill>
          <a:blip r:embed="rId6" cstate="email">
            <a:duotone>
              <a:srgbClr val="62B5E5">
                <a:shade val="45000"/>
                <a:satMod val="135000"/>
              </a:srgbClr>
              <a:prstClr val="white"/>
            </a:duotone>
            <a:extLst>
              <a:ext uri="{28A0092B-C50C-407E-A947-70E740481C1C}">
                <a14:useLocalDpi xmlns:a14="http://schemas.microsoft.com/office/drawing/2010/main"/>
              </a:ext>
            </a:extLst>
          </a:blip>
          <a:stretch>
            <a:fillRect/>
          </a:stretch>
        </p:blipFill>
        <p:spPr>
          <a:xfrm>
            <a:off x="3951983" y="3870159"/>
            <a:ext cx="1911574" cy="1117237"/>
          </a:xfrm>
          <a:prstGeom prst="rect">
            <a:avLst/>
          </a:prstGeom>
          <a:effectLst>
            <a:outerShdw blurRad="50800" dist="38100" dir="2700000" algn="tl" rotWithShape="0">
              <a:prstClr val="black">
                <a:alpha val="40000"/>
              </a:prstClr>
            </a:outerShdw>
          </a:effectLst>
        </p:spPr>
      </p:pic>
      <p:cxnSp>
        <p:nvCxnSpPr>
          <p:cNvPr id="54" name="Connector: Curved 53">
            <a:extLst>
              <a:ext uri="{FF2B5EF4-FFF2-40B4-BE49-F238E27FC236}">
                <a16:creationId xmlns:a16="http://schemas.microsoft.com/office/drawing/2014/main" id="{B57E6A39-3C02-B0A7-7AC6-8EC224033B64}"/>
              </a:ext>
            </a:extLst>
          </p:cNvPr>
          <p:cNvCxnSpPr>
            <a:cxnSpLocks/>
          </p:cNvCxnSpPr>
          <p:nvPr/>
        </p:nvCxnSpPr>
        <p:spPr>
          <a:xfrm>
            <a:off x="2641600" y="4480378"/>
            <a:ext cx="1310383" cy="218499"/>
          </a:xfrm>
          <a:prstGeom prst="curvedConnector3">
            <a:avLst>
              <a:gd name="adj1" fmla="val 54652"/>
            </a:avLst>
          </a:prstGeom>
          <a:noFill/>
          <a:ln w="9525" cap="flat" cmpd="sng" algn="ctr">
            <a:solidFill>
              <a:srgbClr val="53565A"/>
            </a:solidFill>
            <a:prstDash val="lgDash"/>
            <a:tailEnd type="triangle"/>
          </a:ln>
          <a:effectLst>
            <a:outerShdw blurRad="50800" dist="38100" dir="2700000" algn="tl" rotWithShape="0">
              <a:prstClr val="black">
                <a:alpha val="40000"/>
              </a:prstClr>
            </a:outerShdw>
          </a:effectLst>
        </p:spPr>
      </p:cxnSp>
      <p:sp>
        <p:nvSpPr>
          <p:cNvPr id="55" name="TextBox 54">
            <a:extLst>
              <a:ext uri="{FF2B5EF4-FFF2-40B4-BE49-F238E27FC236}">
                <a16:creationId xmlns:a16="http://schemas.microsoft.com/office/drawing/2014/main" id="{B74D2DCD-2CBE-D993-FFB5-70CF48BB7B56}"/>
              </a:ext>
            </a:extLst>
          </p:cNvPr>
          <p:cNvSpPr txBox="1"/>
          <p:nvPr/>
        </p:nvSpPr>
        <p:spPr>
          <a:xfrm>
            <a:off x="6466261" y="2909478"/>
            <a:ext cx="2458720" cy="280762"/>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2. Consider technology issues</a:t>
            </a:r>
          </a:p>
        </p:txBody>
      </p:sp>
      <p:cxnSp>
        <p:nvCxnSpPr>
          <p:cNvPr id="56" name="Straight Connector 55">
            <a:extLst>
              <a:ext uri="{FF2B5EF4-FFF2-40B4-BE49-F238E27FC236}">
                <a16:creationId xmlns:a16="http://schemas.microsoft.com/office/drawing/2014/main" id="{D1A3D7E7-A7F6-EC8A-0CCB-71A2DA6B142E}"/>
              </a:ext>
            </a:extLst>
          </p:cNvPr>
          <p:cNvCxnSpPr>
            <a:cxnSpLocks/>
          </p:cNvCxnSpPr>
          <p:nvPr/>
        </p:nvCxnSpPr>
        <p:spPr>
          <a:xfrm>
            <a:off x="6466261" y="3197398"/>
            <a:ext cx="4023360" cy="0"/>
          </a:xfrm>
          <a:prstGeom prst="line">
            <a:avLst/>
          </a:prstGeom>
          <a:noFill/>
          <a:ln w="38100" cap="flat" cmpd="sng" algn="ctr">
            <a:solidFill>
              <a:srgbClr val="62B5E5">
                <a:lumMod val="40000"/>
                <a:lumOff val="60000"/>
              </a:srgbClr>
            </a:solidFill>
            <a:prstDash val="solid"/>
          </a:ln>
          <a:effectLst>
            <a:outerShdw blurRad="50800" dist="38100" dir="2700000" algn="tl" rotWithShape="0">
              <a:prstClr val="black">
                <a:alpha val="40000"/>
              </a:prstClr>
            </a:outerShdw>
          </a:effectLst>
        </p:spPr>
      </p:cxnSp>
      <p:sp>
        <p:nvSpPr>
          <p:cNvPr id="57" name="TextBox 56">
            <a:extLst>
              <a:ext uri="{FF2B5EF4-FFF2-40B4-BE49-F238E27FC236}">
                <a16:creationId xmlns:a16="http://schemas.microsoft.com/office/drawing/2014/main" id="{8E854591-6554-9C75-400B-4261EFE21681}"/>
              </a:ext>
            </a:extLst>
          </p:cNvPr>
          <p:cNvSpPr txBox="1"/>
          <p:nvPr/>
        </p:nvSpPr>
        <p:spPr>
          <a:xfrm>
            <a:off x="6547022" y="3429000"/>
            <a:ext cx="4755918" cy="2504440"/>
          </a:xfrm>
          <a:prstGeom prst="rect">
            <a:avLst/>
          </a:prstGeom>
          <a:noFill/>
        </p:spPr>
        <p:txBody>
          <a:bodyPr wrap="square" lIns="0" tIns="0" rIns="0" bIns="0" rtlCol="0">
            <a:noAutofit/>
          </a:bodyPr>
          <a:lstStyle/>
          <a:p>
            <a:pPr>
              <a:lnSpc>
                <a:spcPct val="150000"/>
              </a:lnSpc>
              <a:spcBef>
                <a:spcPts val="600"/>
              </a:spcBef>
              <a:buSzPct val="100000"/>
            </a:pPr>
            <a:r>
              <a:rPr lang="en-US" sz="1000" dirty="0">
                <a:solidFill>
                  <a:prstClr val="black"/>
                </a:solidFill>
                <a:latin typeface="Open Sans"/>
              </a:rPr>
              <a:t>When </a:t>
            </a:r>
            <a:r>
              <a:rPr lang="en-US" sz="1000" b="1" dirty="0">
                <a:solidFill>
                  <a:prstClr val="black"/>
                </a:solidFill>
                <a:latin typeface="Open Sans"/>
              </a:rPr>
              <a:t>assessing technology options </a:t>
            </a:r>
            <a:r>
              <a:rPr lang="en-US" sz="1000" dirty="0">
                <a:solidFill>
                  <a:prstClr val="black"/>
                </a:solidFill>
                <a:latin typeface="Open Sans"/>
              </a:rPr>
              <a:t>in the feasibility study, it is </a:t>
            </a:r>
            <a:r>
              <a:rPr lang="en-US" sz="1000" b="1" dirty="0">
                <a:solidFill>
                  <a:prstClr val="black"/>
                </a:solidFill>
                <a:latin typeface="Open Sans"/>
              </a:rPr>
              <a:t>worth considering the following questions:</a:t>
            </a:r>
          </a:p>
          <a:p>
            <a:pPr marL="171450" indent="-171450">
              <a:spcBef>
                <a:spcPts val="600"/>
              </a:spcBef>
              <a:buSzPct val="100000"/>
              <a:buFont typeface="Arial" panose="020B0604020202020204" pitchFamily="34" charset="0"/>
              <a:buChar char="•"/>
            </a:pPr>
            <a:r>
              <a:rPr lang="en-US" sz="1000" dirty="0">
                <a:solidFill>
                  <a:prstClr val="black"/>
                </a:solidFill>
                <a:latin typeface="Open Sans"/>
              </a:rPr>
              <a:t>What is the </a:t>
            </a:r>
            <a:r>
              <a:rPr lang="en-US" sz="1000" b="1" dirty="0">
                <a:solidFill>
                  <a:prstClr val="black"/>
                </a:solidFill>
                <a:latin typeface="Open Sans"/>
              </a:rPr>
              <a:t>current or planned level of standard systems </a:t>
            </a:r>
            <a:r>
              <a:rPr lang="en-US" sz="1000" dirty="0">
                <a:solidFill>
                  <a:prstClr val="black"/>
                </a:solidFill>
                <a:latin typeface="Open Sans"/>
              </a:rPr>
              <a:t>in processes across locations?</a:t>
            </a:r>
          </a:p>
          <a:p>
            <a:pPr marL="171450" indent="-171450">
              <a:spcBef>
                <a:spcPts val="600"/>
              </a:spcBef>
              <a:buSzPct val="100000"/>
              <a:buFont typeface="Arial" panose="020B0604020202020204" pitchFamily="34" charset="0"/>
              <a:buChar char="•"/>
            </a:pPr>
            <a:r>
              <a:rPr lang="en-US" sz="1000" dirty="0">
                <a:solidFill>
                  <a:prstClr val="black"/>
                </a:solidFill>
                <a:latin typeface="Open Sans"/>
              </a:rPr>
              <a:t>What </a:t>
            </a:r>
            <a:r>
              <a:rPr lang="en-US" sz="1000" b="1" dirty="0">
                <a:solidFill>
                  <a:prstClr val="black"/>
                </a:solidFill>
                <a:latin typeface="Open Sans"/>
              </a:rPr>
              <a:t>level of system </a:t>
            </a:r>
            <a:r>
              <a:rPr lang="en-US" sz="1000" b="1" dirty="0" err="1">
                <a:solidFill>
                  <a:prstClr val="black"/>
                </a:solidFill>
                <a:latin typeface="Open Sans"/>
              </a:rPr>
              <a:t>standardisation</a:t>
            </a:r>
            <a:r>
              <a:rPr lang="en-US" sz="1000" b="1" dirty="0">
                <a:solidFill>
                  <a:prstClr val="black"/>
                </a:solidFill>
                <a:latin typeface="Open Sans"/>
              </a:rPr>
              <a:t> is required </a:t>
            </a:r>
            <a:r>
              <a:rPr lang="en-US" sz="1000" dirty="0">
                <a:solidFill>
                  <a:prstClr val="black"/>
                </a:solidFill>
                <a:latin typeface="Open Sans"/>
              </a:rPr>
              <a:t>to enable the new structure?</a:t>
            </a:r>
          </a:p>
          <a:p>
            <a:pPr marL="171450" indent="-171450">
              <a:spcBef>
                <a:spcPts val="600"/>
              </a:spcBef>
              <a:buSzPct val="100000"/>
              <a:buFont typeface="Arial" panose="020B0604020202020204" pitchFamily="34" charset="0"/>
              <a:buChar char="•"/>
            </a:pPr>
            <a:r>
              <a:rPr lang="en-US" sz="1000" dirty="0">
                <a:solidFill>
                  <a:prstClr val="black"/>
                </a:solidFill>
                <a:latin typeface="Open Sans"/>
              </a:rPr>
              <a:t>Would it make sense </a:t>
            </a:r>
            <a:r>
              <a:rPr lang="en-US" sz="1000" b="1" dirty="0">
                <a:solidFill>
                  <a:prstClr val="black"/>
                </a:solidFill>
                <a:latin typeface="Open Sans"/>
              </a:rPr>
              <a:t>for processes to migrate </a:t>
            </a:r>
            <a:r>
              <a:rPr lang="en-US" sz="1000" dirty="0">
                <a:solidFill>
                  <a:prstClr val="black"/>
                </a:solidFill>
                <a:latin typeface="Open Sans"/>
              </a:rPr>
              <a:t>on non-standard systems?</a:t>
            </a:r>
          </a:p>
          <a:p>
            <a:pPr marL="171450" indent="-171450">
              <a:spcBef>
                <a:spcPts val="600"/>
              </a:spcBef>
              <a:buSzPct val="100000"/>
              <a:buFont typeface="Arial" panose="020B0604020202020204" pitchFamily="34" charset="0"/>
              <a:buChar char="•"/>
            </a:pPr>
            <a:r>
              <a:rPr lang="en-US" sz="1000" dirty="0">
                <a:solidFill>
                  <a:prstClr val="black"/>
                </a:solidFill>
                <a:latin typeface="Open Sans"/>
              </a:rPr>
              <a:t>Is </a:t>
            </a:r>
            <a:r>
              <a:rPr lang="en-US" sz="1000" b="1" dirty="0">
                <a:solidFill>
                  <a:prstClr val="black"/>
                </a:solidFill>
                <a:latin typeface="Open Sans"/>
              </a:rPr>
              <a:t>in-house expertise available </a:t>
            </a:r>
            <a:r>
              <a:rPr lang="en-US" sz="1000" dirty="0">
                <a:solidFill>
                  <a:prstClr val="black"/>
                </a:solidFill>
                <a:latin typeface="Open Sans"/>
              </a:rPr>
              <a:t>to help implement the technologies?</a:t>
            </a:r>
          </a:p>
          <a:p>
            <a:pPr marL="171450" indent="-171450">
              <a:spcBef>
                <a:spcPts val="600"/>
              </a:spcBef>
              <a:buSzPct val="100000"/>
              <a:buFont typeface="Arial" panose="020B0604020202020204" pitchFamily="34" charset="0"/>
              <a:buChar char="•"/>
            </a:pPr>
            <a:r>
              <a:rPr lang="en-US" sz="1000" b="1" dirty="0">
                <a:solidFill>
                  <a:prstClr val="black"/>
                </a:solidFill>
                <a:latin typeface="Open Sans"/>
              </a:rPr>
              <a:t>What technology enablers </a:t>
            </a:r>
            <a:r>
              <a:rPr lang="en-US" sz="1000" dirty="0">
                <a:solidFill>
                  <a:prstClr val="black"/>
                </a:solidFill>
                <a:latin typeface="Open Sans"/>
              </a:rPr>
              <a:t>beyond ERP are </a:t>
            </a:r>
            <a:r>
              <a:rPr lang="en-US" sz="1000" b="1" dirty="0">
                <a:solidFill>
                  <a:prstClr val="black"/>
                </a:solidFill>
                <a:latin typeface="Open Sans"/>
              </a:rPr>
              <a:t>required</a:t>
            </a:r>
            <a:r>
              <a:rPr lang="en-US" sz="1000" dirty="0">
                <a:solidFill>
                  <a:prstClr val="black"/>
                </a:solidFill>
                <a:latin typeface="Open Sans"/>
              </a:rPr>
              <a:t>?</a:t>
            </a:r>
          </a:p>
          <a:p>
            <a:pPr marL="171450" indent="-171450">
              <a:spcBef>
                <a:spcPts val="600"/>
              </a:spcBef>
              <a:buSzPct val="100000"/>
              <a:buFont typeface="Arial" panose="020B0604020202020204" pitchFamily="34" charset="0"/>
              <a:buChar char="•"/>
            </a:pPr>
            <a:r>
              <a:rPr lang="en-US" sz="1000" dirty="0">
                <a:solidFill>
                  <a:prstClr val="black"/>
                </a:solidFill>
                <a:latin typeface="Open Sans"/>
              </a:rPr>
              <a:t>How will the addition technologies </a:t>
            </a:r>
            <a:r>
              <a:rPr lang="en-US" sz="1000" b="1" dirty="0">
                <a:solidFill>
                  <a:prstClr val="black"/>
                </a:solidFill>
                <a:latin typeface="Open Sans"/>
              </a:rPr>
              <a:t>impact the business case</a:t>
            </a:r>
            <a:r>
              <a:rPr lang="en-US" sz="1000" dirty="0">
                <a:solidFill>
                  <a:prstClr val="black"/>
                </a:solidFill>
                <a:latin typeface="Open Sans"/>
              </a:rPr>
              <a:t>?</a:t>
            </a:r>
          </a:p>
          <a:p>
            <a:pPr marL="171450" indent="-171450">
              <a:lnSpc>
                <a:spcPct val="150000"/>
              </a:lnSpc>
              <a:spcBef>
                <a:spcPts val="600"/>
              </a:spcBef>
              <a:buSzPct val="100000"/>
              <a:buFont typeface="Arial" panose="020B0604020202020204" pitchFamily="34" charset="0"/>
              <a:buChar char="•"/>
            </a:pPr>
            <a:endParaRPr lang="en-US" sz="1000" dirty="0">
              <a:solidFill>
                <a:prstClr val="black"/>
              </a:solidFill>
              <a:latin typeface="Open Sans"/>
            </a:endParaRPr>
          </a:p>
        </p:txBody>
      </p:sp>
      <p:pic>
        <p:nvPicPr>
          <p:cNvPr id="58" name="Picture 57">
            <a:extLst>
              <a:ext uri="{FF2B5EF4-FFF2-40B4-BE49-F238E27FC236}">
                <a16:creationId xmlns:a16="http://schemas.microsoft.com/office/drawing/2014/main" id="{B1A41815-EEC6-7AC3-97BD-30715477EBB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85526" y="5510156"/>
            <a:ext cx="1911574" cy="986586"/>
          </a:xfrm>
          <a:prstGeom prst="rect">
            <a:avLst/>
          </a:prstGeom>
          <a:effectLst>
            <a:outerShdw blurRad="50800" dist="38100" dir="2700000" algn="tl" rotWithShape="0">
              <a:prstClr val="black">
                <a:alpha val="40000"/>
              </a:prstClr>
            </a:outerShdw>
          </a:effectLst>
        </p:spPr>
      </p:pic>
      <p:cxnSp>
        <p:nvCxnSpPr>
          <p:cNvPr id="59" name="Connector: Curved 58">
            <a:extLst>
              <a:ext uri="{FF2B5EF4-FFF2-40B4-BE49-F238E27FC236}">
                <a16:creationId xmlns:a16="http://schemas.microsoft.com/office/drawing/2014/main" id="{C6E96E86-CAD3-FA97-29D5-1F9827F6DD3B}"/>
              </a:ext>
            </a:extLst>
          </p:cNvPr>
          <p:cNvCxnSpPr>
            <a:cxnSpLocks/>
            <a:endCxn id="58" idx="1"/>
          </p:cNvCxnSpPr>
          <p:nvPr/>
        </p:nvCxnSpPr>
        <p:spPr>
          <a:xfrm>
            <a:off x="3007104" y="5221637"/>
            <a:ext cx="978422" cy="781812"/>
          </a:xfrm>
          <a:prstGeom prst="curvedConnector3">
            <a:avLst>
              <a:gd name="adj1" fmla="val 50000"/>
            </a:avLst>
          </a:prstGeom>
          <a:noFill/>
          <a:ln w="9525" cap="flat" cmpd="sng" algn="ctr">
            <a:solidFill>
              <a:srgbClr val="53565A"/>
            </a:solidFill>
            <a:prstDash val="lgDash"/>
            <a:tailEnd type="triangle"/>
          </a:ln>
          <a:effectLst>
            <a:outerShdw blurRad="50800" dist="38100" dir="2700000" algn="tl" rotWithShape="0">
              <a:prstClr val="black">
                <a:alpha val="40000"/>
              </a:prstClr>
            </a:outerShdw>
          </a:effectLst>
        </p:spPr>
      </p:cxnSp>
    </p:spTree>
    <p:extLst>
      <p:ext uri="{BB962C8B-B14F-4D97-AF65-F5344CB8AC3E}">
        <p14:creationId xmlns:p14="http://schemas.microsoft.com/office/powerpoint/2010/main" val="502035591"/>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6C2F720-3AC5-EA95-4D7C-9D39E0AD834C}"/>
              </a:ext>
            </a:extLst>
          </p:cNvPr>
          <p:cNvGraphicFramePr>
            <a:graphicFrameLocks noChangeAspect="1"/>
          </p:cNvGraphicFramePr>
          <p:nvPr>
            <p:custDataLst>
              <p:tags r:id="rId1"/>
            </p:custDataLst>
            <p:extLst>
              <p:ext uri="{D42A27DB-BD31-4B8C-83A1-F6EECF244321}">
                <p14:modId xmlns:p14="http://schemas.microsoft.com/office/powerpoint/2010/main" val="199105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4" name="think-cell data - do not delete" hidden="1">
                        <a:extLst>
                          <a:ext uri="{FF2B5EF4-FFF2-40B4-BE49-F238E27FC236}">
                            <a16:creationId xmlns:a16="http://schemas.microsoft.com/office/drawing/2014/main" id="{D6C2F720-3AC5-EA95-4D7C-9D39E0AD83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A654250-EC88-BB44-7220-85C391783153}"/>
              </a:ext>
            </a:extLst>
          </p:cNvPr>
          <p:cNvSpPr>
            <a:spLocks noGrp="1"/>
          </p:cNvSpPr>
          <p:nvPr>
            <p:ph type="body" sz="quarter" idx="22"/>
          </p:nvPr>
        </p:nvSpPr>
        <p:spPr/>
        <p:txBody>
          <a:bodyPr/>
          <a:lstStyle/>
          <a:p>
            <a:r>
              <a:rPr lang="en-US" dirty="0"/>
              <a:t>Shared Service Center and Business Process Outsourcing methodologies support projects aiming to set up or improve service delivery to serve business units. </a:t>
            </a:r>
          </a:p>
          <a:p>
            <a:endParaRPr lang="en-GB" dirty="0"/>
          </a:p>
        </p:txBody>
      </p:sp>
      <p:sp>
        <p:nvSpPr>
          <p:cNvPr id="3" name="Title 2">
            <a:extLst>
              <a:ext uri="{FF2B5EF4-FFF2-40B4-BE49-F238E27FC236}">
                <a16:creationId xmlns:a16="http://schemas.microsoft.com/office/drawing/2014/main" id="{45E594CC-2B40-02D9-0677-65892B4B1521}"/>
              </a:ext>
            </a:extLst>
          </p:cNvPr>
          <p:cNvSpPr>
            <a:spLocks noGrp="1"/>
          </p:cNvSpPr>
          <p:nvPr>
            <p:ph type="title"/>
          </p:nvPr>
        </p:nvSpPr>
        <p:spPr>
          <a:xfrm>
            <a:off x="463295" y="417911"/>
            <a:ext cx="11590160" cy="334099"/>
          </a:xfrm>
        </p:spPr>
        <p:txBody>
          <a:bodyPr vert="horz"/>
          <a:lstStyle/>
          <a:p>
            <a:r>
              <a:rPr lang="en-US" dirty="0"/>
              <a:t>Deloitte SSC and BPO Methodology – Define service delivery model</a:t>
            </a:r>
            <a:endParaRPr lang="en-GB" dirty="0"/>
          </a:p>
        </p:txBody>
      </p:sp>
      <p:sp>
        <p:nvSpPr>
          <p:cNvPr id="4" name="Text Placeholder 1">
            <a:extLst>
              <a:ext uri="{FF2B5EF4-FFF2-40B4-BE49-F238E27FC236}">
                <a16:creationId xmlns:a16="http://schemas.microsoft.com/office/drawing/2014/main" id="{3B4EF686-8823-FCC9-3CA7-6ADA6D2C2979}"/>
              </a:ext>
            </a:extLst>
          </p:cNvPr>
          <p:cNvSpPr txBox="1">
            <a:spLocks/>
          </p:cNvSpPr>
          <p:nvPr/>
        </p:nvSpPr>
        <p:spPr>
          <a:xfrm>
            <a:off x="463295" y="936000"/>
            <a:ext cx="112776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i="0" kern="12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US" dirty="0"/>
          </a:p>
        </p:txBody>
      </p:sp>
      <p:sp>
        <p:nvSpPr>
          <p:cNvPr id="5" name="Title 2">
            <a:extLst>
              <a:ext uri="{FF2B5EF4-FFF2-40B4-BE49-F238E27FC236}">
                <a16:creationId xmlns:a16="http://schemas.microsoft.com/office/drawing/2014/main" id="{7A0FF20C-3F1B-C891-EB17-2A46F5A22632}"/>
              </a:ext>
            </a:extLst>
          </p:cNvPr>
          <p:cNvSpPr txBox="1">
            <a:spLocks/>
          </p:cNvSpPr>
          <p:nvPr/>
        </p:nvSpPr>
        <p:spPr bwMode="gray">
          <a:xfrm>
            <a:off x="1942391" y="450987"/>
            <a:ext cx="8307218" cy="334099"/>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p>
        </p:txBody>
      </p:sp>
      <p:sp>
        <p:nvSpPr>
          <p:cNvPr id="13" name="Rectangle 12">
            <a:extLst>
              <a:ext uri="{FF2B5EF4-FFF2-40B4-BE49-F238E27FC236}">
                <a16:creationId xmlns:a16="http://schemas.microsoft.com/office/drawing/2014/main" id="{19950B11-7573-AC63-F3D2-AF30EDCDD51C}"/>
              </a:ext>
            </a:extLst>
          </p:cNvPr>
          <p:cNvSpPr/>
          <p:nvPr/>
        </p:nvSpPr>
        <p:spPr bwMode="gray">
          <a:xfrm>
            <a:off x="451105" y="2508210"/>
            <a:ext cx="11277599" cy="1062609"/>
          </a:xfrm>
          <a:prstGeom prst="rect">
            <a:avLst/>
          </a:prstGeom>
          <a:solidFill>
            <a:srgbClr val="53565A">
              <a:lumMod val="20000"/>
              <a:lumOff val="80000"/>
              <a:alpha val="20000"/>
            </a:srgbClr>
          </a:solidFill>
          <a:ln w="19050" algn="ctr">
            <a:noFill/>
            <a:miter lim="800000"/>
            <a:headEnd/>
            <a:tailEnd/>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15" name="TextBox 14">
            <a:extLst>
              <a:ext uri="{FF2B5EF4-FFF2-40B4-BE49-F238E27FC236}">
                <a16:creationId xmlns:a16="http://schemas.microsoft.com/office/drawing/2014/main" id="{F1170173-8419-4C63-C10B-6581CA3834AC}"/>
              </a:ext>
            </a:extLst>
          </p:cNvPr>
          <p:cNvSpPr txBox="1"/>
          <p:nvPr/>
        </p:nvSpPr>
        <p:spPr>
          <a:xfrm>
            <a:off x="451107" y="2547643"/>
            <a:ext cx="3767602" cy="276999"/>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3. Define high-level organization structure</a:t>
            </a:r>
          </a:p>
        </p:txBody>
      </p:sp>
      <p:cxnSp>
        <p:nvCxnSpPr>
          <p:cNvPr id="16" name="Straight Connector 15">
            <a:extLst>
              <a:ext uri="{FF2B5EF4-FFF2-40B4-BE49-F238E27FC236}">
                <a16:creationId xmlns:a16="http://schemas.microsoft.com/office/drawing/2014/main" id="{4DCC0F0A-9F3B-3B40-2866-B67F4C1909A1}"/>
              </a:ext>
            </a:extLst>
          </p:cNvPr>
          <p:cNvCxnSpPr>
            <a:cxnSpLocks/>
          </p:cNvCxnSpPr>
          <p:nvPr/>
        </p:nvCxnSpPr>
        <p:spPr>
          <a:xfrm>
            <a:off x="451107" y="2828405"/>
            <a:ext cx="3196102" cy="0"/>
          </a:xfrm>
          <a:prstGeom prst="line">
            <a:avLst/>
          </a:prstGeom>
          <a:noFill/>
          <a:ln w="38100" cap="flat" cmpd="sng" algn="ctr">
            <a:solidFill>
              <a:srgbClr val="62B5E5">
                <a:lumMod val="60000"/>
                <a:lumOff val="40000"/>
              </a:srgbClr>
            </a:solidFill>
            <a:prstDash val="solid"/>
          </a:ln>
          <a:effectLst>
            <a:outerShdw blurRad="50800" dist="38100" dir="2700000" algn="tl" rotWithShape="0">
              <a:prstClr val="black">
                <a:alpha val="40000"/>
              </a:prstClr>
            </a:outerShdw>
          </a:effectLst>
        </p:spPr>
      </p:cxnSp>
      <p:sp>
        <p:nvSpPr>
          <p:cNvPr id="17" name="TextBox 16">
            <a:extLst>
              <a:ext uri="{FF2B5EF4-FFF2-40B4-BE49-F238E27FC236}">
                <a16:creationId xmlns:a16="http://schemas.microsoft.com/office/drawing/2014/main" id="{1EF6F46C-4DD8-7007-9C29-AAA92BD105BB}"/>
              </a:ext>
            </a:extLst>
          </p:cNvPr>
          <p:cNvSpPr txBox="1"/>
          <p:nvPr/>
        </p:nvSpPr>
        <p:spPr>
          <a:xfrm>
            <a:off x="489889" y="2913491"/>
            <a:ext cx="10737926" cy="680057"/>
          </a:xfrm>
          <a:prstGeom prst="rect">
            <a:avLst/>
          </a:prstGeom>
          <a:noFill/>
        </p:spPr>
        <p:txBody>
          <a:bodyPr wrap="square" lIns="0" tIns="0" rIns="0" bIns="0" rtlCol="0">
            <a:noAutofit/>
          </a:bodyPr>
          <a:lstStyle/>
          <a:p>
            <a:pPr marL="171450" indent="-171450">
              <a:lnSpc>
                <a:spcPct val="150000"/>
              </a:lnSpc>
              <a:spcBef>
                <a:spcPts val="600"/>
              </a:spcBef>
              <a:buSzPct val="100000"/>
              <a:buFont typeface="Arial" panose="020B0604020202020204" pitchFamily="34" charset="0"/>
              <a:buChar char="•"/>
            </a:pPr>
            <a:r>
              <a:rPr lang="en-US" sz="1000" dirty="0">
                <a:solidFill>
                  <a:prstClr val="black"/>
                </a:solidFill>
                <a:latin typeface="Open Sans"/>
              </a:rPr>
              <a:t>The </a:t>
            </a:r>
            <a:r>
              <a:rPr lang="en-US" sz="1000" b="1" dirty="0" err="1">
                <a:solidFill>
                  <a:prstClr val="black"/>
                </a:solidFill>
                <a:latin typeface="Open Sans"/>
              </a:rPr>
              <a:t>organisation</a:t>
            </a:r>
            <a:r>
              <a:rPr lang="en-US" sz="1000" b="1" dirty="0">
                <a:solidFill>
                  <a:prstClr val="black"/>
                </a:solidFill>
                <a:latin typeface="Open Sans"/>
              </a:rPr>
              <a:t> structure helps to </a:t>
            </a:r>
            <a:r>
              <a:rPr lang="en-US" sz="1000" b="1" dirty="0" err="1">
                <a:solidFill>
                  <a:prstClr val="black"/>
                </a:solidFill>
                <a:latin typeface="Open Sans"/>
              </a:rPr>
              <a:t>visualise</a:t>
            </a:r>
            <a:r>
              <a:rPr lang="en-US" sz="1000" b="1" dirty="0">
                <a:solidFill>
                  <a:prstClr val="black"/>
                </a:solidFill>
                <a:latin typeface="Open Sans"/>
              </a:rPr>
              <a:t> </a:t>
            </a:r>
            <a:r>
              <a:rPr lang="en-US" sz="1000" dirty="0">
                <a:solidFill>
                  <a:prstClr val="black"/>
                </a:solidFill>
                <a:latin typeface="Open Sans"/>
              </a:rPr>
              <a:t>what the SSC would look like.</a:t>
            </a:r>
          </a:p>
          <a:p>
            <a:pPr marL="171450" indent="-171450">
              <a:lnSpc>
                <a:spcPct val="150000"/>
              </a:lnSpc>
              <a:spcBef>
                <a:spcPts val="600"/>
              </a:spcBef>
              <a:buSzPct val="100000"/>
              <a:buFont typeface="Arial" panose="020B0604020202020204" pitchFamily="34" charset="0"/>
              <a:buChar char="•"/>
            </a:pPr>
            <a:r>
              <a:rPr lang="en-US" sz="1000" dirty="0">
                <a:solidFill>
                  <a:prstClr val="black"/>
                </a:solidFill>
                <a:latin typeface="Open Sans"/>
              </a:rPr>
              <a:t>An SSC should be </a:t>
            </a:r>
            <a:r>
              <a:rPr lang="en-US" sz="1000" dirty="0" err="1">
                <a:solidFill>
                  <a:prstClr val="black"/>
                </a:solidFill>
                <a:latin typeface="Open Sans"/>
              </a:rPr>
              <a:t>organised</a:t>
            </a:r>
            <a:r>
              <a:rPr lang="en-US" sz="1000" dirty="0">
                <a:solidFill>
                  <a:prstClr val="black"/>
                </a:solidFill>
                <a:latin typeface="Open Sans"/>
              </a:rPr>
              <a:t> to </a:t>
            </a:r>
            <a:r>
              <a:rPr lang="en-US" sz="1000" b="1" dirty="0">
                <a:solidFill>
                  <a:prstClr val="black"/>
                </a:solidFill>
                <a:latin typeface="Open Sans"/>
              </a:rPr>
              <a:t>improve</a:t>
            </a:r>
            <a:r>
              <a:rPr lang="en-US" sz="1000" dirty="0">
                <a:solidFill>
                  <a:prstClr val="black"/>
                </a:solidFill>
                <a:latin typeface="Open Sans"/>
              </a:rPr>
              <a:t> both </a:t>
            </a:r>
            <a:r>
              <a:rPr lang="en-US" sz="1000" b="1" dirty="0">
                <a:solidFill>
                  <a:prstClr val="black"/>
                </a:solidFill>
                <a:latin typeface="Open Sans"/>
              </a:rPr>
              <a:t>process efficiency </a:t>
            </a:r>
            <a:r>
              <a:rPr lang="en-US" sz="1000" dirty="0">
                <a:solidFill>
                  <a:prstClr val="black"/>
                </a:solidFill>
                <a:latin typeface="Open Sans"/>
              </a:rPr>
              <a:t>and </a:t>
            </a:r>
            <a:r>
              <a:rPr lang="en-US" sz="1000" b="1" dirty="0">
                <a:solidFill>
                  <a:prstClr val="black"/>
                </a:solidFill>
                <a:latin typeface="Open Sans"/>
              </a:rPr>
              <a:t>effectiveness</a:t>
            </a:r>
            <a:r>
              <a:rPr lang="en-US" sz="1000" dirty="0">
                <a:solidFill>
                  <a:prstClr val="black"/>
                </a:solidFill>
                <a:latin typeface="Open Sans"/>
              </a:rPr>
              <a:t>, </a:t>
            </a:r>
            <a:r>
              <a:rPr lang="en-US" sz="1000" b="1" dirty="0">
                <a:solidFill>
                  <a:prstClr val="black"/>
                </a:solidFill>
                <a:latin typeface="Open Sans"/>
              </a:rPr>
              <a:t>it can be </a:t>
            </a:r>
            <a:r>
              <a:rPr lang="en-US" sz="1000" b="1" dirty="0" err="1">
                <a:solidFill>
                  <a:prstClr val="black"/>
                </a:solidFill>
                <a:latin typeface="Open Sans"/>
              </a:rPr>
              <a:t>organised</a:t>
            </a:r>
            <a:r>
              <a:rPr lang="en-US" sz="1000" b="1" dirty="0">
                <a:solidFill>
                  <a:prstClr val="black"/>
                </a:solidFill>
                <a:latin typeface="Open Sans"/>
              </a:rPr>
              <a:t> by: Process, Business unit, and Regional.</a:t>
            </a:r>
          </a:p>
        </p:txBody>
      </p:sp>
      <p:sp>
        <p:nvSpPr>
          <p:cNvPr id="18" name="Rectangle 17">
            <a:extLst>
              <a:ext uri="{FF2B5EF4-FFF2-40B4-BE49-F238E27FC236}">
                <a16:creationId xmlns:a16="http://schemas.microsoft.com/office/drawing/2014/main" id="{A9915938-7137-CEDD-6F7A-97F6CA6E05C2}"/>
              </a:ext>
            </a:extLst>
          </p:cNvPr>
          <p:cNvSpPr/>
          <p:nvPr/>
        </p:nvSpPr>
        <p:spPr bwMode="gray">
          <a:xfrm>
            <a:off x="451105" y="3662268"/>
            <a:ext cx="11277598" cy="1069765"/>
          </a:xfrm>
          <a:prstGeom prst="rect">
            <a:avLst/>
          </a:prstGeom>
          <a:solidFill>
            <a:srgbClr val="53565A">
              <a:lumMod val="20000"/>
              <a:lumOff val="80000"/>
              <a:alpha val="20000"/>
            </a:srgbClr>
          </a:solidFill>
          <a:ln w="19050" algn="ctr">
            <a:noFill/>
            <a:miter lim="800000"/>
            <a:headEnd/>
            <a:tailEnd/>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19" name="TextBox 18">
            <a:extLst>
              <a:ext uri="{FF2B5EF4-FFF2-40B4-BE49-F238E27FC236}">
                <a16:creationId xmlns:a16="http://schemas.microsoft.com/office/drawing/2014/main" id="{CA0580E2-F4BF-8692-96B3-42451E1B8E42}"/>
              </a:ext>
            </a:extLst>
          </p:cNvPr>
          <p:cNvSpPr txBox="1"/>
          <p:nvPr/>
        </p:nvSpPr>
        <p:spPr>
          <a:xfrm>
            <a:off x="451105" y="3700509"/>
            <a:ext cx="3767602"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4. Conduct high-level state location analysis</a:t>
            </a:r>
          </a:p>
          <a:p>
            <a:endParaRPr lang="en-US" sz="1200" dirty="0">
              <a:solidFill>
                <a:prstClr val="black"/>
              </a:solidFill>
              <a:latin typeface="Open Sans"/>
              <a:ea typeface="Open Sans" panose="020B0606030504020204" pitchFamily="34" charset="0"/>
              <a:cs typeface="Open Sans" panose="020B0606030504020204" pitchFamily="34" charset="0"/>
            </a:endParaRPr>
          </a:p>
        </p:txBody>
      </p:sp>
      <p:cxnSp>
        <p:nvCxnSpPr>
          <p:cNvPr id="20" name="Straight Connector 19">
            <a:extLst>
              <a:ext uri="{FF2B5EF4-FFF2-40B4-BE49-F238E27FC236}">
                <a16:creationId xmlns:a16="http://schemas.microsoft.com/office/drawing/2014/main" id="{DCFE4DA8-96B7-7101-53CA-1A0DAF989A96}"/>
              </a:ext>
            </a:extLst>
          </p:cNvPr>
          <p:cNvCxnSpPr>
            <a:cxnSpLocks/>
          </p:cNvCxnSpPr>
          <p:nvPr/>
        </p:nvCxnSpPr>
        <p:spPr>
          <a:xfrm>
            <a:off x="451105" y="3981271"/>
            <a:ext cx="3196102" cy="0"/>
          </a:xfrm>
          <a:prstGeom prst="line">
            <a:avLst/>
          </a:prstGeom>
          <a:noFill/>
          <a:ln w="38100" cap="flat" cmpd="sng" algn="ctr">
            <a:solidFill>
              <a:srgbClr val="62B5E5"/>
            </a:solidFill>
            <a:prstDash val="solid"/>
          </a:ln>
          <a:effectLst>
            <a:outerShdw blurRad="50800" dist="38100" dir="2700000" algn="tl" rotWithShape="0">
              <a:prstClr val="black">
                <a:alpha val="40000"/>
              </a:prstClr>
            </a:outerShdw>
          </a:effectLst>
        </p:spPr>
      </p:cxnSp>
      <p:sp>
        <p:nvSpPr>
          <p:cNvPr id="21" name="TextBox 20">
            <a:extLst>
              <a:ext uri="{FF2B5EF4-FFF2-40B4-BE49-F238E27FC236}">
                <a16:creationId xmlns:a16="http://schemas.microsoft.com/office/drawing/2014/main" id="{5B951239-B5D8-91B8-9530-E9F415EF3842}"/>
              </a:ext>
            </a:extLst>
          </p:cNvPr>
          <p:cNvSpPr txBox="1"/>
          <p:nvPr/>
        </p:nvSpPr>
        <p:spPr>
          <a:xfrm>
            <a:off x="489889" y="4039514"/>
            <a:ext cx="10737925" cy="692519"/>
          </a:xfrm>
          <a:prstGeom prst="rect">
            <a:avLst/>
          </a:prstGeom>
          <a:noFill/>
        </p:spPr>
        <p:txBody>
          <a:bodyPr wrap="square" lIns="0" tIns="0" rIns="0" bIns="0" rtlCol="0">
            <a:noAutofit/>
          </a:bodyPr>
          <a:lstStyle/>
          <a:p>
            <a:pPr marL="171450" indent="-171450">
              <a:lnSpc>
                <a:spcPct val="150000"/>
              </a:lnSpc>
              <a:spcBef>
                <a:spcPts val="600"/>
              </a:spcBef>
              <a:buSzPct val="100000"/>
              <a:buFont typeface="Arial" panose="020B0604020202020204" pitchFamily="34" charset="0"/>
              <a:buChar char="•"/>
            </a:pPr>
            <a:r>
              <a:rPr lang="en-US" sz="1000" dirty="0">
                <a:solidFill>
                  <a:prstClr val="black"/>
                </a:solidFill>
                <a:latin typeface="Open Sans"/>
              </a:rPr>
              <a:t>The location of the SSC will have a critical impact on both quality of the services delivered to the business units and the cost savings achieved.</a:t>
            </a:r>
          </a:p>
          <a:p>
            <a:pPr marL="171450" indent="-171450">
              <a:lnSpc>
                <a:spcPct val="150000"/>
              </a:lnSpc>
              <a:spcBef>
                <a:spcPts val="600"/>
              </a:spcBef>
              <a:buSzPct val="100000"/>
              <a:buFont typeface="Arial" panose="020B0604020202020204" pitchFamily="34" charset="0"/>
              <a:buChar char="•"/>
            </a:pPr>
            <a:r>
              <a:rPr lang="en-US" sz="1000" dirty="0">
                <a:solidFill>
                  <a:prstClr val="black"/>
                </a:solidFill>
                <a:latin typeface="Open Sans"/>
              </a:rPr>
              <a:t>The next step of the feasibility study is taking a high-level, multidisciplinary approach to identify and address any serious obstacles.</a:t>
            </a:r>
          </a:p>
          <a:p>
            <a:pPr marL="171450" indent="-171450">
              <a:lnSpc>
                <a:spcPct val="150000"/>
              </a:lnSpc>
              <a:spcBef>
                <a:spcPts val="600"/>
              </a:spcBef>
              <a:buSzPct val="100000"/>
              <a:buFont typeface="Arial" panose="020B0604020202020204" pitchFamily="34" charset="0"/>
              <a:buChar char="•"/>
            </a:pPr>
            <a:endParaRPr lang="en-US" sz="1000" dirty="0">
              <a:solidFill>
                <a:prstClr val="black"/>
              </a:solidFill>
              <a:latin typeface="Open Sans"/>
            </a:endParaRPr>
          </a:p>
        </p:txBody>
      </p:sp>
      <p:sp>
        <p:nvSpPr>
          <p:cNvPr id="22" name="Rectangle 21">
            <a:extLst>
              <a:ext uri="{FF2B5EF4-FFF2-40B4-BE49-F238E27FC236}">
                <a16:creationId xmlns:a16="http://schemas.microsoft.com/office/drawing/2014/main" id="{0F4429BE-CEBA-5391-7A28-FAE1D993557B}"/>
              </a:ext>
            </a:extLst>
          </p:cNvPr>
          <p:cNvSpPr/>
          <p:nvPr/>
        </p:nvSpPr>
        <p:spPr bwMode="gray">
          <a:xfrm>
            <a:off x="451105" y="4836367"/>
            <a:ext cx="11277598" cy="1570646"/>
          </a:xfrm>
          <a:prstGeom prst="rect">
            <a:avLst/>
          </a:prstGeom>
          <a:solidFill>
            <a:srgbClr val="53565A">
              <a:lumMod val="20000"/>
              <a:lumOff val="80000"/>
              <a:alpha val="20000"/>
            </a:srgbClr>
          </a:solidFill>
          <a:ln w="19050" algn="ctr">
            <a:noFill/>
            <a:miter lim="800000"/>
            <a:headEnd/>
            <a:tailEnd/>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a:endParaRPr>
          </a:p>
        </p:txBody>
      </p:sp>
      <p:sp>
        <p:nvSpPr>
          <p:cNvPr id="23" name="TextBox 22">
            <a:extLst>
              <a:ext uri="{FF2B5EF4-FFF2-40B4-BE49-F238E27FC236}">
                <a16:creationId xmlns:a16="http://schemas.microsoft.com/office/drawing/2014/main" id="{9A8E192E-884B-86C8-BC02-98DD01A87C5D}"/>
              </a:ext>
            </a:extLst>
          </p:cNvPr>
          <p:cNvSpPr txBox="1"/>
          <p:nvPr/>
        </p:nvSpPr>
        <p:spPr>
          <a:xfrm>
            <a:off x="451105" y="4878197"/>
            <a:ext cx="3767602"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5. Review potential outsourcers</a:t>
            </a:r>
          </a:p>
          <a:p>
            <a:endParaRPr lang="en-US" sz="1200" dirty="0">
              <a:solidFill>
                <a:prstClr val="black"/>
              </a:solidFill>
              <a:latin typeface="Open Sans"/>
              <a:ea typeface="Open Sans" panose="020B0606030504020204" pitchFamily="34" charset="0"/>
              <a:cs typeface="Open Sans" panose="020B0606030504020204" pitchFamily="34" charset="0"/>
            </a:endParaRPr>
          </a:p>
        </p:txBody>
      </p:sp>
      <p:cxnSp>
        <p:nvCxnSpPr>
          <p:cNvPr id="24" name="Straight Connector 23">
            <a:extLst>
              <a:ext uri="{FF2B5EF4-FFF2-40B4-BE49-F238E27FC236}">
                <a16:creationId xmlns:a16="http://schemas.microsoft.com/office/drawing/2014/main" id="{C668D1E6-EDCC-B032-EE89-F3B6CAC82FF2}"/>
              </a:ext>
            </a:extLst>
          </p:cNvPr>
          <p:cNvCxnSpPr>
            <a:cxnSpLocks/>
          </p:cNvCxnSpPr>
          <p:nvPr/>
        </p:nvCxnSpPr>
        <p:spPr>
          <a:xfrm>
            <a:off x="451105" y="5158959"/>
            <a:ext cx="3196102" cy="0"/>
          </a:xfrm>
          <a:prstGeom prst="line">
            <a:avLst/>
          </a:prstGeom>
          <a:noFill/>
          <a:ln w="38100" cap="flat" cmpd="sng" algn="ctr">
            <a:solidFill>
              <a:srgbClr val="62B5E5">
                <a:lumMod val="75000"/>
              </a:srgbClr>
            </a:solidFill>
            <a:prstDash val="solid"/>
          </a:ln>
          <a:effectLst>
            <a:outerShdw blurRad="50800" dist="38100" dir="2700000" algn="tl" rotWithShape="0">
              <a:prstClr val="black">
                <a:alpha val="40000"/>
              </a:prstClr>
            </a:outerShdw>
          </a:effectLst>
        </p:spPr>
      </p:cxnSp>
      <p:sp>
        <p:nvSpPr>
          <p:cNvPr id="25" name="TextBox 24">
            <a:extLst>
              <a:ext uri="{FF2B5EF4-FFF2-40B4-BE49-F238E27FC236}">
                <a16:creationId xmlns:a16="http://schemas.microsoft.com/office/drawing/2014/main" id="{D6A67C8C-3C86-46AF-F95E-BC6A9B95375E}"/>
              </a:ext>
            </a:extLst>
          </p:cNvPr>
          <p:cNvSpPr txBox="1"/>
          <p:nvPr/>
        </p:nvSpPr>
        <p:spPr>
          <a:xfrm>
            <a:off x="489889" y="5226970"/>
            <a:ext cx="10737925" cy="692519"/>
          </a:xfrm>
          <a:prstGeom prst="rect">
            <a:avLst/>
          </a:prstGeom>
          <a:noFill/>
        </p:spPr>
        <p:txBody>
          <a:bodyPr wrap="square" lIns="0" tIns="0" rIns="0" bIns="0" rtlCol="0">
            <a:noAutofit/>
          </a:bodyPr>
          <a:lstStyle/>
          <a:p>
            <a:pPr marL="171450" indent="-171450">
              <a:lnSpc>
                <a:spcPct val="150000"/>
              </a:lnSpc>
              <a:spcBef>
                <a:spcPts val="600"/>
              </a:spcBef>
              <a:buSzPct val="100000"/>
              <a:buFont typeface="Arial" panose="020B0604020202020204" pitchFamily="34" charset="0"/>
              <a:buChar char="•"/>
            </a:pPr>
            <a:r>
              <a:rPr lang="en-GB" sz="1000" dirty="0">
                <a:solidFill>
                  <a:prstClr val="black"/>
                </a:solidFill>
                <a:latin typeface="Open Sans"/>
              </a:rPr>
              <a:t>If you are unclear about your service delivery model it is </a:t>
            </a:r>
            <a:r>
              <a:rPr lang="en-GB" sz="1000" b="1" dirty="0">
                <a:solidFill>
                  <a:prstClr val="black"/>
                </a:solidFill>
                <a:latin typeface="Open Sans"/>
              </a:rPr>
              <a:t>worth assessing appropriate outsourcing providers </a:t>
            </a:r>
            <a:r>
              <a:rPr lang="en-GB" sz="1000" dirty="0">
                <a:solidFill>
                  <a:prstClr val="black"/>
                </a:solidFill>
                <a:latin typeface="Open Sans"/>
              </a:rPr>
              <a:t>to </a:t>
            </a:r>
            <a:r>
              <a:rPr lang="en-GB" sz="1000" b="1" dirty="0">
                <a:solidFill>
                  <a:prstClr val="black"/>
                </a:solidFill>
                <a:latin typeface="Open Sans"/>
              </a:rPr>
              <a:t>understand</a:t>
            </a:r>
            <a:r>
              <a:rPr lang="en-GB" sz="1000" dirty="0">
                <a:solidFill>
                  <a:prstClr val="black"/>
                </a:solidFill>
                <a:latin typeface="Open Sans"/>
              </a:rPr>
              <a:t> </a:t>
            </a:r>
            <a:r>
              <a:rPr lang="en-GB" sz="1000" b="1" dirty="0">
                <a:solidFill>
                  <a:prstClr val="black"/>
                </a:solidFill>
                <a:latin typeface="Open Sans"/>
              </a:rPr>
              <a:t>their services and costs.</a:t>
            </a:r>
          </a:p>
          <a:p>
            <a:pPr marL="171450" indent="-171450">
              <a:lnSpc>
                <a:spcPct val="150000"/>
              </a:lnSpc>
              <a:spcBef>
                <a:spcPts val="600"/>
              </a:spcBef>
              <a:buSzPct val="100000"/>
              <a:buFont typeface="Arial" panose="020B0604020202020204" pitchFamily="34" charset="0"/>
              <a:buChar char="•"/>
            </a:pPr>
            <a:r>
              <a:rPr lang="en-GB" sz="1000" b="1" dirty="0">
                <a:solidFill>
                  <a:prstClr val="black"/>
                </a:solidFill>
                <a:latin typeface="Open Sans"/>
              </a:rPr>
              <a:t>Vendors</a:t>
            </a:r>
            <a:r>
              <a:rPr lang="en-GB" sz="1000" dirty="0">
                <a:solidFill>
                  <a:prstClr val="black"/>
                </a:solidFill>
                <a:latin typeface="Open Sans"/>
              </a:rPr>
              <a:t> have </a:t>
            </a:r>
            <a:r>
              <a:rPr lang="en-GB" sz="1000" b="1" dirty="0">
                <a:solidFill>
                  <a:prstClr val="black"/>
                </a:solidFill>
                <a:latin typeface="Open Sans"/>
              </a:rPr>
              <a:t>varying capabilities </a:t>
            </a:r>
            <a:r>
              <a:rPr lang="en-GB" sz="1000" dirty="0">
                <a:solidFill>
                  <a:prstClr val="black"/>
                </a:solidFill>
                <a:latin typeface="Open Sans"/>
              </a:rPr>
              <a:t>in terms of services offering, e.g. </a:t>
            </a:r>
            <a:r>
              <a:rPr lang="en-GB" sz="1000" b="1" dirty="0">
                <a:solidFill>
                  <a:prstClr val="black"/>
                </a:solidFill>
                <a:latin typeface="Open Sans"/>
              </a:rPr>
              <a:t>single functions or multifunctional, and locations.  </a:t>
            </a:r>
            <a:r>
              <a:rPr lang="en-GB" sz="1000" dirty="0">
                <a:solidFill>
                  <a:prstClr val="black"/>
                </a:solidFill>
                <a:latin typeface="Open Sans"/>
              </a:rPr>
              <a:t>In general, vendors can be split into 4 distinct groups:</a:t>
            </a:r>
          </a:p>
          <a:p>
            <a:pPr marL="628650" lvl="1" indent="-171450">
              <a:buSzPct val="100000"/>
              <a:buFont typeface="Arial" panose="020B0604020202020204" pitchFamily="34" charset="0"/>
              <a:buChar char="•"/>
            </a:pPr>
            <a:r>
              <a:rPr lang="en-GB" sz="1000" b="1" dirty="0">
                <a:solidFill>
                  <a:prstClr val="black"/>
                </a:solidFill>
                <a:latin typeface="Open Sans"/>
              </a:rPr>
              <a:t>Global full-service provider – </a:t>
            </a:r>
            <a:r>
              <a:rPr lang="en-GB" sz="1000" dirty="0">
                <a:solidFill>
                  <a:prstClr val="black"/>
                </a:solidFill>
                <a:latin typeface="Open Sans"/>
              </a:rPr>
              <a:t>Global operations and delivery centres,</a:t>
            </a:r>
          </a:p>
          <a:p>
            <a:pPr marL="628650" lvl="1" indent="-171450">
              <a:buSzPct val="100000"/>
              <a:buFont typeface="Arial" panose="020B0604020202020204" pitchFamily="34" charset="0"/>
              <a:buChar char="•"/>
            </a:pPr>
            <a:r>
              <a:rPr lang="en-GB" sz="1000" b="1" dirty="0">
                <a:solidFill>
                  <a:prstClr val="black"/>
                </a:solidFill>
                <a:latin typeface="Open Sans"/>
              </a:rPr>
              <a:t>Offshore full-service provider – </a:t>
            </a:r>
            <a:r>
              <a:rPr lang="en-GB" sz="1000" dirty="0">
                <a:solidFill>
                  <a:prstClr val="black"/>
                </a:solidFill>
                <a:latin typeface="Open Sans"/>
              </a:rPr>
              <a:t>Typically India-based, with strong IT record and growing BPO capabilities,</a:t>
            </a:r>
          </a:p>
          <a:p>
            <a:pPr marL="628650" lvl="1" indent="-171450">
              <a:buSzPct val="100000"/>
              <a:buFont typeface="Arial" panose="020B0604020202020204" pitchFamily="34" charset="0"/>
              <a:buChar char="•"/>
            </a:pPr>
            <a:r>
              <a:rPr lang="en-GB" sz="1000" b="1" dirty="0">
                <a:solidFill>
                  <a:prstClr val="black"/>
                </a:solidFill>
                <a:latin typeface="Open Sans"/>
              </a:rPr>
              <a:t>ITO/BPO specialist – </a:t>
            </a:r>
            <a:r>
              <a:rPr lang="en-GB" sz="1000" dirty="0">
                <a:solidFill>
                  <a:prstClr val="black"/>
                </a:solidFill>
                <a:latin typeface="Open Sans"/>
              </a:rPr>
              <a:t>Specific niche in IT outsourcing or expertise.</a:t>
            </a:r>
            <a:endParaRPr lang="en-GB" sz="1000" b="1" dirty="0">
              <a:solidFill>
                <a:prstClr val="black"/>
              </a:solidFill>
              <a:latin typeface="Open Sans"/>
            </a:endParaRPr>
          </a:p>
          <a:p>
            <a:pPr marL="628650" lvl="1" indent="-171450">
              <a:buSzPct val="100000"/>
              <a:buFont typeface="Arial" panose="020B0604020202020204" pitchFamily="34" charset="0"/>
              <a:buChar char="•"/>
            </a:pPr>
            <a:r>
              <a:rPr lang="en-GB" sz="1000" b="1" dirty="0">
                <a:solidFill>
                  <a:prstClr val="black"/>
                </a:solidFill>
                <a:latin typeface="Open Sans"/>
              </a:rPr>
              <a:t>Niche vendor - </a:t>
            </a:r>
            <a:r>
              <a:rPr lang="en-GB" sz="1000" dirty="0">
                <a:solidFill>
                  <a:prstClr val="black"/>
                </a:solidFill>
                <a:latin typeface="Open Sans"/>
              </a:rPr>
              <a:t> Firmly based in low-cost delivery centres.</a:t>
            </a:r>
            <a:endParaRPr lang="en-GB" sz="1000" b="1" dirty="0">
              <a:solidFill>
                <a:prstClr val="black"/>
              </a:solidFill>
              <a:latin typeface="Open Sans"/>
            </a:endParaRPr>
          </a:p>
        </p:txBody>
      </p:sp>
      <p:sp>
        <p:nvSpPr>
          <p:cNvPr id="26" name="Arrow: Right 25">
            <a:extLst>
              <a:ext uri="{FF2B5EF4-FFF2-40B4-BE49-F238E27FC236}">
                <a16:creationId xmlns:a16="http://schemas.microsoft.com/office/drawing/2014/main" id="{0813A023-7ECC-000A-BC86-A9AD9AD41431}"/>
              </a:ext>
            </a:extLst>
          </p:cNvPr>
          <p:cNvSpPr/>
          <p:nvPr/>
        </p:nvSpPr>
        <p:spPr bwMode="gray">
          <a:xfrm>
            <a:off x="9071543" y="1744431"/>
            <a:ext cx="2444560" cy="513328"/>
          </a:xfrm>
          <a:prstGeom prst="rightArrow">
            <a:avLst>
              <a:gd name="adj1" fmla="val 100000"/>
              <a:gd name="adj2" fmla="val 50000"/>
            </a:avLst>
          </a:prstGeom>
          <a:solidFill>
            <a:srgbClr val="62B5E5">
              <a:lumMod val="75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prstClr val="black"/>
              </a:solidFill>
              <a:effectLst/>
              <a:uLnTx/>
              <a:uFillTx/>
              <a:latin typeface="Open Sans"/>
            </a:endParaRPr>
          </a:p>
        </p:txBody>
      </p:sp>
      <p:sp>
        <p:nvSpPr>
          <p:cNvPr id="27" name="Arrow: Right 26">
            <a:extLst>
              <a:ext uri="{FF2B5EF4-FFF2-40B4-BE49-F238E27FC236}">
                <a16:creationId xmlns:a16="http://schemas.microsoft.com/office/drawing/2014/main" id="{9C6B4858-7224-4980-8237-58F7B4A0428C}"/>
              </a:ext>
            </a:extLst>
          </p:cNvPr>
          <p:cNvSpPr/>
          <p:nvPr/>
        </p:nvSpPr>
        <p:spPr bwMode="gray">
          <a:xfrm>
            <a:off x="6960613" y="1744431"/>
            <a:ext cx="2421890" cy="513328"/>
          </a:xfrm>
          <a:prstGeom prst="rightArrow">
            <a:avLst>
              <a:gd name="adj1" fmla="val 100000"/>
              <a:gd name="adj2" fmla="val 50000"/>
            </a:avLst>
          </a:prstGeom>
          <a:solidFill>
            <a:srgbClr val="62B5E5"/>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prstClr val="black"/>
              </a:solidFill>
              <a:effectLst/>
              <a:uLnTx/>
              <a:uFillTx/>
              <a:latin typeface="Open Sans"/>
            </a:endParaRPr>
          </a:p>
        </p:txBody>
      </p:sp>
      <p:sp>
        <p:nvSpPr>
          <p:cNvPr id="28" name="Arrow: Right 27">
            <a:extLst>
              <a:ext uri="{FF2B5EF4-FFF2-40B4-BE49-F238E27FC236}">
                <a16:creationId xmlns:a16="http://schemas.microsoft.com/office/drawing/2014/main" id="{8BEFF190-BFE0-0560-6AE9-E03A92918404}"/>
              </a:ext>
            </a:extLst>
          </p:cNvPr>
          <p:cNvSpPr/>
          <p:nvPr/>
        </p:nvSpPr>
        <p:spPr bwMode="gray">
          <a:xfrm>
            <a:off x="4827013" y="1744431"/>
            <a:ext cx="2421890" cy="513328"/>
          </a:xfrm>
          <a:prstGeom prst="rightArrow">
            <a:avLst>
              <a:gd name="adj1" fmla="val 100000"/>
              <a:gd name="adj2" fmla="val 50000"/>
            </a:avLst>
          </a:prstGeom>
          <a:solidFill>
            <a:srgbClr val="62B5E5">
              <a:lumMod val="60000"/>
              <a:lumOff val="4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prstClr val="black"/>
              </a:solidFill>
              <a:effectLst/>
              <a:uLnTx/>
              <a:uFillTx/>
              <a:latin typeface="Open Sans"/>
            </a:endParaRPr>
          </a:p>
        </p:txBody>
      </p:sp>
      <p:sp>
        <p:nvSpPr>
          <p:cNvPr id="29" name="Arrow: Right 28">
            <a:extLst>
              <a:ext uri="{FF2B5EF4-FFF2-40B4-BE49-F238E27FC236}">
                <a16:creationId xmlns:a16="http://schemas.microsoft.com/office/drawing/2014/main" id="{8138E877-129E-D485-2EDA-526994822577}"/>
              </a:ext>
            </a:extLst>
          </p:cNvPr>
          <p:cNvSpPr/>
          <p:nvPr/>
        </p:nvSpPr>
        <p:spPr bwMode="gray">
          <a:xfrm>
            <a:off x="2660650" y="1744431"/>
            <a:ext cx="2454653" cy="513328"/>
          </a:xfrm>
          <a:prstGeom prst="rightArrow">
            <a:avLst>
              <a:gd name="adj1" fmla="val 100000"/>
              <a:gd name="adj2" fmla="val 50000"/>
            </a:avLst>
          </a:prstGeom>
          <a:solidFill>
            <a:srgbClr val="53565A">
              <a:lumMod val="20000"/>
              <a:lumOff val="80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prstClr val="black"/>
              </a:solidFill>
              <a:effectLst/>
              <a:uLnTx/>
              <a:uFillTx/>
              <a:latin typeface="Open Sans"/>
            </a:endParaRPr>
          </a:p>
        </p:txBody>
      </p:sp>
      <p:sp>
        <p:nvSpPr>
          <p:cNvPr id="30" name="Arrow: Right 29">
            <a:extLst>
              <a:ext uri="{FF2B5EF4-FFF2-40B4-BE49-F238E27FC236}">
                <a16:creationId xmlns:a16="http://schemas.microsoft.com/office/drawing/2014/main" id="{104F4934-906D-6EB0-F753-95CF05EC6C86}"/>
              </a:ext>
            </a:extLst>
          </p:cNvPr>
          <p:cNvSpPr/>
          <p:nvPr/>
        </p:nvSpPr>
        <p:spPr bwMode="gray">
          <a:xfrm>
            <a:off x="604263" y="1736638"/>
            <a:ext cx="2377440" cy="513328"/>
          </a:xfrm>
          <a:prstGeom prst="rightArrow">
            <a:avLst>
              <a:gd name="adj1" fmla="val 100000"/>
              <a:gd name="adj2" fmla="val 50000"/>
            </a:avLst>
          </a:prstGeom>
          <a:solidFill>
            <a:sysClr val="window" lastClr="FFFFFF">
              <a:lumMod val="95000"/>
            </a:sysClr>
          </a:solidFill>
          <a:ln w="19050" algn="ctr">
            <a:noFill/>
            <a:miter lim="800000"/>
            <a:headEnd/>
            <a:tailEnd/>
          </a:ln>
        </p:spPr>
        <p:txBody>
          <a:bodyPr wrap="square"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dirty="0">
                <a:ln>
                  <a:noFill/>
                </a:ln>
                <a:solidFill>
                  <a:prstClr val="black"/>
                </a:solidFill>
                <a:effectLst/>
                <a:uLnTx/>
                <a:uFillTx/>
                <a:latin typeface="Open Sans"/>
                <a:ea typeface="Open Sans" panose="020B0606030504020204" pitchFamily="34" charset="0"/>
                <a:cs typeface="Open Sans" panose="020B0606030504020204" pitchFamily="34" charset="0"/>
              </a:rPr>
              <a:t>  Define process splits</a:t>
            </a:r>
          </a:p>
        </p:txBody>
      </p:sp>
      <p:sp>
        <p:nvSpPr>
          <p:cNvPr id="31" name="TextBox 30">
            <a:extLst>
              <a:ext uri="{FF2B5EF4-FFF2-40B4-BE49-F238E27FC236}">
                <a16:creationId xmlns:a16="http://schemas.microsoft.com/office/drawing/2014/main" id="{2B86C9B0-7324-D4B3-6558-4F671EE70A97}"/>
              </a:ext>
            </a:extLst>
          </p:cNvPr>
          <p:cNvSpPr txBox="1"/>
          <p:nvPr/>
        </p:nvSpPr>
        <p:spPr>
          <a:xfrm>
            <a:off x="2981703" y="1785392"/>
            <a:ext cx="1978660"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Consider technology issues</a:t>
            </a:r>
          </a:p>
        </p:txBody>
      </p:sp>
      <p:sp>
        <p:nvSpPr>
          <p:cNvPr id="32" name="TextBox 31">
            <a:extLst>
              <a:ext uri="{FF2B5EF4-FFF2-40B4-BE49-F238E27FC236}">
                <a16:creationId xmlns:a16="http://schemas.microsoft.com/office/drawing/2014/main" id="{676E9515-E546-9DBC-0CFF-C6707EA33716}"/>
              </a:ext>
            </a:extLst>
          </p:cNvPr>
          <p:cNvSpPr txBox="1"/>
          <p:nvPr/>
        </p:nvSpPr>
        <p:spPr>
          <a:xfrm>
            <a:off x="5181533" y="1785392"/>
            <a:ext cx="2044700"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Define high-level organization structure</a:t>
            </a:r>
          </a:p>
        </p:txBody>
      </p:sp>
      <p:sp>
        <p:nvSpPr>
          <p:cNvPr id="33" name="TextBox 32">
            <a:extLst>
              <a:ext uri="{FF2B5EF4-FFF2-40B4-BE49-F238E27FC236}">
                <a16:creationId xmlns:a16="http://schemas.microsoft.com/office/drawing/2014/main" id="{1565D837-E88F-79A0-2592-3BC727C01EEA}"/>
              </a:ext>
            </a:extLst>
          </p:cNvPr>
          <p:cNvSpPr txBox="1"/>
          <p:nvPr/>
        </p:nvSpPr>
        <p:spPr>
          <a:xfrm>
            <a:off x="7165718" y="1785392"/>
            <a:ext cx="2044700"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Conduct high-level state location analysis</a:t>
            </a:r>
          </a:p>
        </p:txBody>
      </p:sp>
      <p:sp>
        <p:nvSpPr>
          <p:cNvPr id="34" name="TextBox 33">
            <a:extLst>
              <a:ext uri="{FF2B5EF4-FFF2-40B4-BE49-F238E27FC236}">
                <a16:creationId xmlns:a16="http://schemas.microsoft.com/office/drawing/2014/main" id="{2FC54A35-E6FE-A8A8-7A65-E0735B29B474}"/>
              </a:ext>
            </a:extLst>
          </p:cNvPr>
          <p:cNvSpPr txBox="1"/>
          <p:nvPr/>
        </p:nvSpPr>
        <p:spPr>
          <a:xfrm>
            <a:off x="9426954" y="1785392"/>
            <a:ext cx="1800860" cy="461665"/>
          </a:xfrm>
          <a:prstGeom prst="rect">
            <a:avLst/>
          </a:prstGeom>
          <a:noFill/>
        </p:spPr>
        <p:txBody>
          <a:bodyPr wrap="square">
            <a:spAutoFit/>
          </a:bodyPr>
          <a:lstStyle/>
          <a:p>
            <a:r>
              <a:rPr lang="en-US" sz="1200" dirty="0">
                <a:solidFill>
                  <a:prstClr val="black"/>
                </a:solidFill>
                <a:latin typeface="Open Sans"/>
                <a:ea typeface="Open Sans" panose="020B0606030504020204" pitchFamily="34" charset="0"/>
                <a:cs typeface="Open Sans" panose="020B0606030504020204" pitchFamily="34" charset="0"/>
              </a:rPr>
              <a:t>Review potential outsourcers</a:t>
            </a:r>
          </a:p>
        </p:txBody>
      </p:sp>
      <p:sp>
        <p:nvSpPr>
          <p:cNvPr id="36" name="Rectangle: Rounded Corners 35">
            <a:extLst>
              <a:ext uri="{FF2B5EF4-FFF2-40B4-BE49-F238E27FC236}">
                <a16:creationId xmlns:a16="http://schemas.microsoft.com/office/drawing/2014/main" id="{4595AC26-B3D9-170C-2046-65000B2B5C8B}"/>
              </a:ext>
            </a:extLst>
          </p:cNvPr>
          <p:cNvSpPr/>
          <p:nvPr/>
        </p:nvSpPr>
        <p:spPr bwMode="gray">
          <a:xfrm>
            <a:off x="3026154" y="1629750"/>
            <a:ext cx="439420" cy="161105"/>
          </a:xfrm>
          <a:prstGeom prst="roundRect">
            <a:avLst/>
          </a:prstGeom>
          <a:solidFill>
            <a:sysClr val="window" lastClr="FFFFFF"/>
          </a:solidFill>
          <a:ln w="38100" algn="ctr">
            <a:solidFill>
              <a:srgbClr val="53565A">
                <a:lumMod val="20000"/>
                <a:lumOff val="80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dirty="0">
                <a:ln>
                  <a:noFill/>
                </a:ln>
                <a:solidFill>
                  <a:prstClr val="black"/>
                </a:solidFill>
                <a:effectLst/>
                <a:uLnTx/>
                <a:uFillTx/>
                <a:latin typeface="Open Sans"/>
              </a:rPr>
              <a:t>2</a:t>
            </a:r>
          </a:p>
        </p:txBody>
      </p:sp>
      <p:sp>
        <p:nvSpPr>
          <p:cNvPr id="37" name="Rectangle: Rounded Corners 36">
            <a:extLst>
              <a:ext uri="{FF2B5EF4-FFF2-40B4-BE49-F238E27FC236}">
                <a16:creationId xmlns:a16="http://schemas.microsoft.com/office/drawing/2014/main" id="{69D516D7-FD83-070F-E54A-E95954592595}"/>
              </a:ext>
            </a:extLst>
          </p:cNvPr>
          <p:cNvSpPr/>
          <p:nvPr/>
        </p:nvSpPr>
        <p:spPr bwMode="gray">
          <a:xfrm>
            <a:off x="5158863" y="1629750"/>
            <a:ext cx="439420" cy="161105"/>
          </a:xfrm>
          <a:prstGeom prst="roundRect">
            <a:avLst/>
          </a:prstGeom>
          <a:solidFill>
            <a:sysClr val="window" lastClr="FFFFFF"/>
          </a:solidFill>
          <a:ln w="38100" algn="ctr">
            <a:solidFill>
              <a:srgbClr val="62B5E5">
                <a:lumMod val="60000"/>
                <a:lumOff val="40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dirty="0">
                <a:ln>
                  <a:noFill/>
                </a:ln>
                <a:solidFill>
                  <a:prstClr val="black"/>
                </a:solidFill>
                <a:effectLst/>
                <a:uLnTx/>
                <a:uFillTx/>
                <a:latin typeface="Open Sans"/>
              </a:rPr>
              <a:t>3</a:t>
            </a:r>
          </a:p>
        </p:txBody>
      </p:sp>
      <p:sp>
        <p:nvSpPr>
          <p:cNvPr id="38" name="Rectangle: Rounded Corners 37">
            <a:extLst>
              <a:ext uri="{FF2B5EF4-FFF2-40B4-BE49-F238E27FC236}">
                <a16:creationId xmlns:a16="http://schemas.microsoft.com/office/drawing/2014/main" id="{843D8E49-CC0D-CDEF-8607-F95347C46D3E}"/>
              </a:ext>
            </a:extLst>
          </p:cNvPr>
          <p:cNvSpPr/>
          <p:nvPr/>
        </p:nvSpPr>
        <p:spPr bwMode="gray">
          <a:xfrm>
            <a:off x="7275251" y="1629750"/>
            <a:ext cx="439420" cy="161105"/>
          </a:xfrm>
          <a:prstGeom prst="roundRect">
            <a:avLst/>
          </a:prstGeom>
          <a:solidFill>
            <a:sysClr val="window" lastClr="FFFFFF"/>
          </a:solidFill>
          <a:ln w="38100" algn="ctr">
            <a:solidFill>
              <a:srgbClr val="62B5E5"/>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dirty="0">
                <a:ln>
                  <a:noFill/>
                </a:ln>
                <a:solidFill>
                  <a:prstClr val="black"/>
                </a:solidFill>
                <a:effectLst/>
                <a:uLnTx/>
                <a:uFillTx/>
                <a:latin typeface="Open Sans"/>
              </a:rPr>
              <a:t>4</a:t>
            </a:r>
          </a:p>
        </p:txBody>
      </p:sp>
      <p:sp>
        <p:nvSpPr>
          <p:cNvPr id="39" name="Rectangle: Rounded Corners 38">
            <a:extLst>
              <a:ext uri="{FF2B5EF4-FFF2-40B4-BE49-F238E27FC236}">
                <a16:creationId xmlns:a16="http://schemas.microsoft.com/office/drawing/2014/main" id="{D4BC723E-AE4E-C27B-ECDB-DFA16DD197BE}"/>
              </a:ext>
            </a:extLst>
          </p:cNvPr>
          <p:cNvSpPr/>
          <p:nvPr/>
        </p:nvSpPr>
        <p:spPr bwMode="gray">
          <a:xfrm>
            <a:off x="9399951" y="1629750"/>
            <a:ext cx="439420" cy="161105"/>
          </a:xfrm>
          <a:prstGeom prst="roundRect">
            <a:avLst/>
          </a:prstGeom>
          <a:solidFill>
            <a:sysClr val="window" lastClr="FFFFFF"/>
          </a:solidFill>
          <a:ln w="38100" algn="ctr">
            <a:solidFill>
              <a:srgbClr val="62B5E5">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dirty="0">
                <a:ln>
                  <a:noFill/>
                </a:ln>
                <a:solidFill>
                  <a:prstClr val="black"/>
                </a:solidFill>
                <a:effectLst/>
                <a:uLnTx/>
                <a:uFillTx/>
                <a:latin typeface="Open Sans"/>
              </a:rPr>
              <a:t>5</a:t>
            </a:r>
          </a:p>
        </p:txBody>
      </p:sp>
      <p:pic>
        <p:nvPicPr>
          <p:cNvPr id="40" name="Picture 39">
            <a:extLst>
              <a:ext uri="{FF2B5EF4-FFF2-40B4-BE49-F238E27FC236}">
                <a16:creationId xmlns:a16="http://schemas.microsoft.com/office/drawing/2014/main" id="{B4E66EF0-1CB5-AFFF-F0FB-4172CF11E9A0}"/>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221842" y="3700509"/>
            <a:ext cx="1005972" cy="776747"/>
          </a:xfrm>
          <a:prstGeom prst="rect">
            <a:avLst/>
          </a:prstGeom>
          <a:effectLst>
            <a:outerShdw blurRad="50800" dist="38100" dir="2700000" algn="tl" rotWithShape="0">
              <a:prstClr val="black">
                <a:alpha val="40000"/>
              </a:prstClr>
            </a:outerShdw>
          </a:effectLst>
        </p:spPr>
      </p:pic>
      <p:cxnSp>
        <p:nvCxnSpPr>
          <p:cNvPr id="41" name="Connector: Curved 40">
            <a:extLst>
              <a:ext uri="{FF2B5EF4-FFF2-40B4-BE49-F238E27FC236}">
                <a16:creationId xmlns:a16="http://schemas.microsoft.com/office/drawing/2014/main" id="{DEDB66E3-67E3-0358-D917-180C09BD9917}"/>
              </a:ext>
            </a:extLst>
          </p:cNvPr>
          <p:cNvCxnSpPr>
            <a:cxnSpLocks/>
          </p:cNvCxnSpPr>
          <p:nvPr/>
        </p:nvCxnSpPr>
        <p:spPr>
          <a:xfrm flipV="1">
            <a:off x="8469798" y="4137635"/>
            <a:ext cx="1481240" cy="318140"/>
          </a:xfrm>
          <a:prstGeom prst="curvedConnector3">
            <a:avLst>
              <a:gd name="adj1" fmla="val 50000"/>
            </a:avLst>
          </a:prstGeom>
          <a:noFill/>
          <a:ln w="9525" cap="flat" cmpd="sng" algn="ctr">
            <a:solidFill>
              <a:srgbClr val="53565A"/>
            </a:solidFill>
            <a:prstDash val="lgDash"/>
            <a:tailEnd type="triangle"/>
          </a:ln>
          <a:effectLst>
            <a:outerShdw blurRad="50800" dist="38100" dir="2700000" algn="tl" rotWithShape="0">
              <a:prstClr val="black">
                <a:alpha val="40000"/>
              </a:prstClr>
            </a:outerShdw>
          </a:effectLst>
        </p:spPr>
      </p:cxnSp>
      <p:cxnSp>
        <p:nvCxnSpPr>
          <p:cNvPr id="42" name="Connector: Curved 41">
            <a:extLst>
              <a:ext uri="{FF2B5EF4-FFF2-40B4-BE49-F238E27FC236}">
                <a16:creationId xmlns:a16="http://schemas.microsoft.com/office/drawing/2014/main" id="{C5A4A8E4-1C75-9FBE-1EEB-3F0963F390DB}"/>
              </a:ext>
            </a:extLst>
          </p:cNvPr>
          <p:cNvCxnSpPr>
            <a:cxnSpLocks/>
            <a:endCxn id="43" idx="1"/>
          </p:cNvCxnSpPr>
          <p:nvPr/>
        </p:nvCxnSpPr>
        <p:spPr>
          <a:xfrm flipV="1">
            <a:off x="6705600" y="2888630"/>
            <a:ext cx="2676903" cy="384311"/>
          </a:xfrm>
          <a:prstGeom prst="curvedConnector3">
            <a:avLst>
              <a:gd name="adj1" fmla="val 50000"/>
            </a:avLst>
          </a:prstGeom>
          <a:noFill/>
          <a:ln w="9525" cap="flat" cmpd="sng" algn="ctr">
            <a:solidFill>
              <a:srgbClr val="53565A"/>
            </a:solidFill>
            <a:prstDash val="lgDash"/>
            <a:tailEnd type="triangle"/>
          </a:ln>
          <a:effectLst>
            <a:outerShdw blurRad="50800" dist="38100" dir="2700000" algn="tl" rotWithShape="0">
              <a:prstClr val="black">
                <a:alpha val="40000"/>
              </a:prstClr>
            </a:outerShdw>
          </a:effectLst>
        </p:spPr>
      </p:cxnSp>
      <p:pic>
        <p:nvPicPr>
          <p:cNvPr id="43" name="Picture 42">
            <a:extLst>
              <a:ext uri="{FF2B5EF4-FFF2-40B4-BE49-F238E27FC236}">
                <a16:creationId xmlns:a16="http://schemas.microsoft.com/office/drawing/2014/main" id="{C61935DF-D6BB-7642-5098-815FB64EF4C3}"/>
              </a:ext>
            </a:extLst>
          </p:cNvPr>
          <p:cNvPicPr>
            <a:picLocks noChangeAspect="1"/>
          </p:cNvPicPr>
          <p:nvPr/>
        </p:nvPicPr>
        <p:blipFill>
          <a:blip r:embed="rId7"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382503" y="2543162"/>
            <a:ext cx="1548012" cy="690936"/>
          </a:xfrm>
          <a:prstGeom prst="rect">
            <a:avLst/>
          </a:prstGeom>
          <a:effectLst>
            <a:outerShdw blurRad="50800" dist="38100" dir="2700000" algn="tl" rotWithShape="0">
              <a:prstClr val="black">
                <a:alpha val="40000"/>
              </a:prstClr>
            </a:outerShdw>
          </a:effectLst>
        </p:spPr>
      </p:pic>
      <p:pic>
        <p:nvPicPr>
          <p:cNvPr id="44" name="Picture 43">
            <a:extLst>
              <a:ext uri="{FF2B5EF4-FFF2-40B4-BE49-F238E27FC236}">
                <a16:creationId xmlns:a16="http://schemas.microsoft.com/office/drawing/2014/main" id="{A20247B5-9169-792E-FDC5-C203452A27B0}"/>
              </a:ext>
            </a:extLst>
          </p:cNvPr>
          <p:cNvPicPr>
            <a:picLocks noChangeAspect="1"/>
          </p:cNvPicPr>
          <p:nvPr/>
        </p:nvPicPr>
        <p:blipFill rotWithShape="1">
          <a:blip r:embed="rId8" cstate="email">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10249608" y="2674865"/>
            <a:ext cx="1243371" cy="764975"/>
          </a:xfrm>
          <a:prstGeom prst="rect">
            <a:avLst/>
          </a:prstGeom>
          <a:effectLst>
            <a:outerShdw blurRad="50800" dist="38100" dir="2700000" algn="tl" rotWithShape="0">
              <a:prstClr val="black">
                <a:alpha val="40000"/>
              </a:prstClr>
            </a:outerShdw>
          </a:effectLst>
        </p:spPr>
      </p:pic>
      <p:sp>
        <p:nvSpPr>
          <p:cNvPr id="35" name="Rectangle: Rounded Corners 34">
            <a:extLst>
              <a:ext uri="{FF2B5EF4-FFF2-40B4-BE49-F238E27FC236}">
                <a16:creationId xmlns:a16="http://schemas.microsoft.com/office/drawing/2014/main" id="{0321EF75-65DA-7474-E348-2558D8247280}"/>
              </a:ext>
            </a:extLst>
          </p:cNvPr>
          <p:cNvSpPr/>
          <p:nvPr/>
        </p:nvSpPr>
        <p:spPr bwMode="gray">
          <a:xfrm>
            <a:off x="719643" y="1629750"/>
            <a:ext cx="439420" cy="161105"/>
          </a:xfrm>
          <a:prstGeom prst="roundRect">
            <a:avLst/>
          </a:prstGeom>
          <a:solidFill>
            <a:sysClr val="window" lastClr="FFFFFF"/>
          </a:solidFill>
          <a:ln w="38100" algn="ctr">
            <a:solidFill>
              <a:sysClr val="window" lastClr="FFFFFF">
                <a:lumMod val="95000"/>
              </a:sys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dirty="0">
                <a:ln>
                  <a:noFill/>
                </a:ln>
                <a:solidFill>
                  <a:prstClr val="black"/>
                </a:solidFill>
                <a:effectLst/>
                <a:uLnTx/>
                <a:uFillTx/>
                <a:latin typeface="Open Sans"/>
              </a:rPr>
              <a:t>1</a:t>
            </a:r>
          </a:p>
        </p:txBody>
      </p:sp>
    </p:spTree>
    <p:extLst>
      <p:ext uri="{BB962C8B-B14F-4D97-AF65-F5344CB8AC3E}">
        <p14:creationId xmlns:p14="http://schemas.microsoft.com/office/powerpoint/2010/main" val="3039117740"/>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C4594BF-5712-6A4F-4B6A-35A468B78105}"/>
              </a:ext>
            </a:extLst>
          </p:cNvPr>
          <p:cNvGraphicFramePr>
            <a:graphicFrameLocks noChangeAspect="1"/>
          </p:cNvGraphicFramePr>
          <p:nvPr>
            <p:custDataLst>
              <p:tags r:id="rId1"/>
            </p:custDataLst>
            <p:extLst>
              <p:ext uri="{D42A27DB-BD31-4B8C-83A1-F6EECF244321}">
                <p14:modId xmlns:p14="http://schemas.microsoft.com/office/powerpoint/2010/main" val="4033290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think-cell data - do not delete" hidden="1">
                        <a:extLst>
                          <a:ext uri="{FF2B5EF4-FFF2-40B4-BE49-F238E27FC236}">
                            <a16:creationId xmlns:a16="http://schemas.microsoft.com/office/drawing/2014/main" id="{DC4594BF-5712-6A4F-4B6A-35A468B781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FBBD01A-5D31-F6B5-9629-E2BA312F6C4B}"/>
              </a:ext>
            </a:extLst>
          </p:cNvPr>
          <p:cNvSpPr>
            <a:spLocks noGrp="1"/>
          </p:cNvSpPr>
          <p:nvPr>
            <p:ph type="body" sz="quarter" idx="22"/>
          </p:nvPr>
        </p:nvSpPr>
        <p:spPr>
          <a:xfrm>
            <a:off x="463295" y="936001"/>
            <a:ext cx="11277600" cy="334100"/>
          </a:xfrm>
        </p:spPr>
        <p:txBody>
          <a:bodyPr/>
          <a:lstStyle/>
          <a:p>
            <a:r>
              <a:rPr lang="en-US" dirty="0"/>
              <a:t>The 2x3 Process split matrix is an effective tool for defining process splits</a:t>
            </a:r>
            <a:endParaRPr lang="en-US"/>
          </a:p>
        </p:txBody>
      </p:sp>
      <p:sp>
        <p:nvSpPr>
          <p:cNvPr id="3" name="Title 2">
            <a:extLst>
              <a:ext uri="{FF2B5EF4-FFF2-40B4-BE49-F238E27FC236}">
                <a16:creationId xmlns:a16="http://schemas.microsoft.com/office/drawing/2014/main" id="{7730AA09-21E3-9158-50EA-BFD88C906A8B}"/>
              </a:ext>
            </a:extLst>
          </p:cNvPr>
          <p:cNvSpPr>
            <a:spLocks noGrp="1"/>
          </p:cNvSpPr>
          <p:nvPr>
            <p:ph type="title"/>
          </p:nvPr>
        </p:nvSpPr>
        <p:spPr/>
        <p:txBody>
          <a:bodyPr vert="horz"/>
          <a:lstStyle/>
          <a:p>
            <a:r>
              <a:rPr lang="en-US" dirty="0"/>
              <a:t>Sourcing strategy assessment matrix</a:t>
            </a:r>
          </a:p>
        </p:txBody>
      </p:sp>
      <p:sp>
        <p:nvSpPr>
          <p:cNvPr id="4" name="Rectangle 3">
            <a:extLst>
              <a:ext uri="{FF2B5EF4-FFF2-40B4-BE49-F238E27FC236}">
                <a16:creationId xmlns:a16="http://schemas.microsoft.com/office/drawing/2014/main" id="{E48E63CF-F773-782E-1FA4-804125404B71}"/>
              </a:ext>
            </a:extLst>
          </p:cNvPr>
          <p:cNvSpPr/>
          <p:nvPr/>
        </p:nvSpPr>
        <p:spPr bwMode="gray">
          <a:xfrm>
            <a:off x="2205990" y="2169001"/>
            <a:ext cx="4686300" cy="1214280"/>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spcBef>
                <a:spcPts val="300"/>
              </a:spcBef>
            </a:pPr>
            <a:r>
              <a:rPr lang="en-US" sz="1000" b="1" dirty="0">
                <a:latin typeface="Open Sans (Body)"/>
                <a:ea typeface="Open Sans" panose="020B0606030504020204" pitchFamily="34" charset="0"/>
                <a:cs typeface="Open Sans" panose="020B0606030504020204" pitchFamily="34" charset="0"/>
              </a:rPr>
              <a:t>1. In-market support</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Distributed to location(s) for local service needs</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Required for local input/data capture or local programs including (where required) regulatory, statutory reasons</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Manual or end-user intensive</a:t>
            </a:r>
          </a:p>
        </p:txBody>
      </p:sp>
      <p:sp>
        <p:nvSpPr>
          <p:cNvPr id="6" name="Rectangle 5">
            <a:extLst>
              <a:ext uri="{FF2B5EF4-FFF2-40B4-BE49-F238E27FC236}">
                <a16:creationId xmlns:a16="http://schemas.microsoft.com/office/drawing/2014/main" id="{DD74BBD0-CEA8-AE3B-3C16-3B9C2815776C}"/>
              </a:ext>
            </a:extLst>
          </p:cNvPr>
          <p:cNvSpPr/>
          <p:nvPr/>
        </p:nvSpPr>
        <p:spPr bwMode="gray">
          <a:xfrm>
            <a:off x="2205990" y="3461398"/>
            <a:ext cx="4686300" cy="1530510"/>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spcBef>
                <a:spcPts val="300"/>
              </a:spcBef>
              <a:buFont typeface="Wingdings 2" pitchFamily="18" charset="2"/>
              <a:buNone/>
            </a:pPr>
            <a:r>
              <a:rPr lang="en-US" sz="1000" b="1" dirty="0">
                <a:latin typeface="Open Sans (Body)"/>
                <a:ea typeface="Open Sans" panose="020B0606030504020204" pitchFamily="34" charset="0"/>
                <a:cs typeface="Open Sans" panose="020B0606030504020204" pitchFamily="34" charset="0"/>
              </a:rPr>
              <a:t>3. Regional/divisional transaction processing</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Consolidated </a:t>
            </a:r>
            <a:r>
              <a:rPr lang="en-US" sz="1000" dirty="0" err="1">
                <a:latin typeface="Open Sans (Body)"/>
                <a:ea typeface="Open Sans" panose="020B0606030504020204" pitchFamily="34" charset="0"/>
                <a:cs typeface="Open Sans" panose="020B0606030504020204" pitchFamily="34" charset="0"/>
              </a:rPr>
              <a:t>organisation</a:t>
            </a:r>
            <a:r>
              <a:rPr lang="en-US" sz="1000" dirty="0">
                <a:latin typeface="Open Sans (Body)"/>
                <a:ea typeface="Open Sans" panose="020B0606030504020204" pitchFamily="34" charset="0"/>
                <a:cs typeface="Open Sans" panose="020B0606030504020204" pitchFamily="34" charset="0"/>
              </a:rPr>
              <a:t> with some proximity to the region/division</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Operational focus</a:t>
            </a:r>
          </a:p>
          <a:p>
            <a:pPr marL="171450" indent="-171450">
              <a:spcBef>
                <a:spcPts val="300"/>
              </a:spcBef>
              <a:buFont typeface="Arial" panose="020B0604020202020204" pitchFamily="34" charset="0"/>
              <a:buChar char="•"/>
            </a:pPr>
            <a:r>
              <a:rPr lang="en-US" sz="1000" dirty="0" err="1">
                <a:latin typeface="Open Sans (Body)"/>
                <a:ea typeface="Open Sans" panose="020B0606030504020204" pitchFamily="34" charset="0"/>
                <a:cs typeface="Open Sans" panose="020B0606030504020204" pitchFamily="34" charset="0"/>
              </a:rPr>
              <a:t>Standardised</a:t>
            </a:r>
            <a:r>
              <a:rPr lang="en-US" sz="1000" dirty="0">
                <a:latin typeface="Open Sans (Body)"/>
                <a:ea typeface="Open Sans" panose="020B0606030504020204" pitchFamily="34" charset="0"/>
                <a:cs typeface="Open Sans" panose="020B0606030504020204" pitchFamily="34" charset="0"/>
              </a:rPr>
              <a:t> services</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Process intensive</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Could cover countries or regions</a:t>
            </a:r>
          </a:p>
        </p:txBody>
      </p:sp>
      <p:sp>
        <p:nvSpPr>
          <p:cNvPr id="7" name="Rectangle 6">
            <a:extLst>
              <a:ext uri="{FF2B5EF4-FFF2-40B4-BE49-F238E27FC236}">
                <a16:creationId xmlns:a16="http://schemas.microsoft.com/office/drawing/2014/main" id="{AF3A2266-21E3-D97E-EF77-883746903740}"/>
              </a:ext>
            </a:extLst>
          </p:cNvPr>
          <p:cNvSpPr/>
          <p:nvPr/>
        </p:nvSpPr>
        <p:spPr bwMode="gray">
          <a:xfrm>
            <a:off x="2205990" y="5070025"/>
            <a:ext cx="4686300" cy="1370064"/>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spcBef>
                <a:spcPts val="300"/>
              </a:spcBef>
              <a:buFont typeface="Wingdings 2" pitchFamily="18" charset="2"/>
              <a:buNone/>
            </a:pPr>
            <a:r>
              <a:rPr lang="en-US" sz="1000" b="1" dirty="0">
                <a:latin typeface="Open Sans (Body)"/>
                <a:ea typeface="Open Sans" panose="020B0606030504020204" pitchFamily="34" charset="0"/>
                <a:cs typeface="Open Sans" panose="020B0606030504020204" pitchFamily="34" charset="0"/>
              </a:rPr>
              <a:t>5. Global low cost processing/BPO</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Consolidated </a:t>
            </a:r>
            <a:r>
              <a:rPr lang="en-US" sz="1000" dirty="0" err="1">
                <a:latin typeface="Open Sans (Body)"/>
                <a:ea typeface="Open Sans" panose="020B0606030504020204" pitchFamily="34" charset="0"/>
                <a:cs typeface="Open Sans" panose="020B0606030504020204" pitchFamily="34" charset="0"/>
              </a:rPr>
              <a:t>organisation</a:t>
            </a:r>
            <a:endParaRPr lang="en-US" sz="1000" dirty="0">
              <a:latin typeface="Open Sans (Body)"/>
              <a:ea typeface="Open Sans" panose="020B0606030504020204" pitchFamily="34" charset="0"/>
              <a:cs typeface="Open Sans" panose="020B0606030504020204" pitchFamily="34" charset="0"/>
            </a:endParaRP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Operational focus</a:t>
            </a:r>
          </a:p>
          <a:p>
            <a:pPr marL="171450" indent="-171450">
              <a:spcBef>
                <a:spcPts val="300"/>
              </a:spcBef>
              <a:buFont typeface="Arial" panose="020B0604020202020204" pitchFamily="34" charset="0"/>
              <a:buChar char="•"/>
            </a:pPr>
            <a:r>
              <a:rPr lang="en-US" sz="1000" dirty="0" err="1">
                <a:latin typeface="Open Sans (Body)"/>
                <a:ea typeface="Open Sans" panose="020B0606030504020204" pitchFamily="34" charset="0"/>
                <a:cs typeface="Open Sans" panose="020B0606030504020204" pitchFamily="34" charset="0"/>
              </a:rPr>
              <a:t>Standardised</a:t>
            </a:r>
            <a:r>
              <a:rPr lang="en-US" sz="1000" dirty="0">
                <a:latin typeface="Open Sans (Body)"/>
                <a:ea typeface="Open Sans" panose="020B0606030504020204" pitchFamily="34" charset="0"/>
                <a:cs typeface="Open Sans" panose="020B0606030504020204" pitchFamily="34" charset="0"/>
              </a:rPr>
              <a:t> services</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Process intensive</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Could cover countries or regions</a:t>
            </a:r>
          </a:p>
        </p:txBody>
      </p:sp>
      <p:sp>
        <p:nvSpPr>
          <p:cNvPr id="5" name="Rectangle 4">
            <a:extLst>
              <a:ext uri="{FF2B5EF4-FFF2-40B4-BE49-F238E27FC236}">
                <a16:creationId xmlns:a16="http://schemas.microsoft.com/office/drawing/2014/main" id="{F4C93A69-3946-386B-CDA3-ECA567159BCA}"/>
              </a:ext>
            </a:extLst>
          </p:cNvPr>
          <p:cNvSpPr/>
          <p:nvPr/>
        </p:nvSpPr>
        <p:spPr bwMode="gray">
          <a:xfrm>
            <a:off x="7025640" y="2169001"/>
            <a:ext cx="4686300" cy="1214280"/>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spcBef>
                <a:spcPts val="300"/>
              </a:spcBef>
            </a:pPr>
            <a:r>
              <a:rPr lang="en-US" sz="1000" b="1" dirty="0">
                <a:latin typeface="Open Sans (Body)"/>
                <a:ea typeface="Open Sans" panose="020B0606030504020204" pitchFamily="34" charset="0"/>
                <a:cs typeface="Open Sans" panose="020B0606030504020204" pitchFamily="34" charset="0"/>
              </a:rPr>
              <a:t>2. In-market partnering</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Aligned with function /unit</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Line/management focus</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Knowledge &amp; know-how transfer</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Decision/action intensive</a:t>
            </a:r>
          </a:p>
        </p:txBody>
      </p:sp>
      <p:sp>
        <p:nvSpPr>
          <p:cNvPr id="8" name="Rectangle 7">
            <a:extLst>
              <a:ext uri="{FF2B5EF4-FFF2-40B4-BE49-F238E27FC236}">
                <a16:creationId xmlns:a16="http://schemas.microsoft.com/office/drawing/2014/main" id="{343E35C1-6DC4-DDA1-D998-C13ED6217CAF}"/>
              </a:ext>
            </a:extLst>
          </p:cNvPr>
          <p:cNvSpPr/>
          <p:nvPr/>
        </p:nvSpPr>
        <p:spPr bwMode="gray">
          <a:xfrm>
            <a:off x="7025640" y="3461398"/>
            <a:ext cx="4686300" cy="1530510"/>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spcBef>
                <a:spcPts val="300"/>
              </a:spcBef>
              <a:buFont typeface="Wingdings 2" pitchFamily="18" charset="2"/>
              <a:buNone/>
            </a:pPr>
            <a:r>
              <a:rPr lang="en-US" sz="1000" b="1" dirty="0">
                <a:latin typeface="Open Sans (Body)"/>
                <a:ea typeface="Open Sans" panose="020B0606030504020204" pitchFamily="34" charset="0"/>
                <a:cs typeface="Open Sans" panose="020B0606030504020204" pitchFamily="34" charset="0"/>
              </a:rPr>
              <a:t>4. Regional/divisional business partnering</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Expertise focus – ability to leverage skills regionally</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Best practice” development</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Issue/knowledge intensive</a:t>
            </a:r>
          </a:p>
          <a:p>
            <a:pPr marL="171450" indent="-171450">
              <a:spcBef>
                <a:spcPts val="300"/>
              </a:spcBef>
              <a:buFont typeface="Arial" panose="020B0604020202020204" pitchFamily="34" charset="0"/>
              <a:buChar char="•"/>
            </a:pPr>
            <a:r>
              <a:rPr lang="en-US" sz="1000" dirty="0" err="1">
                <a:latin typeface="Open Sans (Body)"/>
                <a:ea typeface="Open Sans" panose="020B0606030504020204" pitchFamily="34" charset="0"/>
                <a:cs typeface="Open Sans" panose="020B0606030504020204" pitchFamily="34" charset="0"/>
              </a:rPr>
              <a:t>Organised</a:t>
            </a:r>
            <a:r>
              <a:rPr lang="en-US" sz="1000" dirty="0">
                <a:latin typeface="Open Sans (Body)"/>
                <a:ea typeface="Open Sans" panose="020B0606030504020204" pitchFamily="34" charset="0"/>
                <a:cs typeface="Open Sans" panose="020B0606030504020204" pitchFamily="34" charset="0"/>
              </a:rPr>
              <a:t> by region with some proximity to the region/ division</a:t>
            </a:r>
          </a:p>
        </p:txBody>
      </p:sp>
      <p:sp>
        <p:nvSpPr>
          <p:cNvPr id="9" name="Rectangle 8">
            <a:extLst>
              <a:ext uri="{FF2B5EF4-FFF2-40B4-BE49-F238E27FC236}">
                <a16:creationId xmlns:a16="http://schemas.microsoft.com/office/drawing/2014/main" id="{B0922836-E482-3664-FC92-0B3CDF9A3F44}"/>
              </a:ext>
            </a:extLst>
          </p:cNvPr>
          <p:cNvSpPr/>
          <p:nvPr/>
        </p:nvSpPr>
        <p:spPr bwMode="gray">
          <a:xfrm>
            <a:off x="7025640" y="5070025"/>
            <a:ext cx="4686300" cy="1370064"/>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spcBef>
                <a:spcPts val="300"/>
              </a:spcBef>
              <a:buFont typeface="Wingdings 2" pitchFamily="18" charset="2"/>
              <a:buNone/>
            </a:pPr>
            <a:r>
              <a:rPr lang="en-US" sz="1000" b="1" dirty="0">
                <a:latin typeface="Open Sans (Body)"/>
                <a:ea typeface="Open Sans" panose="020B0606030504020204" pitchFamily="34" charset="0"/>
                <a:cs typeface="Open Sans" panose="020B0606030504020204" pitchFamily="34" charset="0"/>
              </a:rPr>
              <a:t>6. Corporate </a:t>
            </a:r>
            <a:r>
              <a:rPr lang="en-US" sz="1000" b="1" dirty="0" err="1">
                <a:latin typeface="Open Sans (Body)"/>
                <a:ea typeface="Open Sans" panose="020B0606030504020204" pitchFamily="34" charset="0"/>
                <a:cs typeface="Open Sans" panose="020B0606030504020204" pitchFamily="34" charset="0"/>
              </a:rPr>
              <a:t>centre</a:t>
            </a:r>
            <a:r>
              <a:rPr lang="en-US" sz="1000" b="1" dirty="0">
                <a:latin typeface="Open Sans (Body)"/>
                <a:ea typeface="Open Sans" panose="020B0606030504020204" pitchFamily="34" charset="0"/>
                <a:cs typeface="Open Sans" panose="020B0606030504020204" pitchFamily="34" charset="0"/>
              </a:rPr>
              <a:t> of excellence</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Expertise focus – ability to leverage skills globally</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Best practice” development</a:t>
            </a:r>
          </a:p>
          <a:p>
            <a:pPr marL="171450" indent="-171450">
              <a:spcBef>
                <a:spcPts val="300"/>
              </a:spcBef>
              <a:buFont typeface="Arial" panose="020B0604020202020204" pitchFamily="34" charset="0"/>
              <a:buChar char="•"/>
            </a:pPr>
            <a:r>
              <a:rPr lang="en-US" sz="1000" dirty="0">
                <a:latin typeface="Open Sans (Body)"/>
                <a:ea typeface="Open Sans" panose="020B0606030504020204" pitchFamily="34" charset="0"/>
                <a:cs typeface="Open Sans" panose="020B0606030504020204" pitchFamily="34" charset="0"/>
              </a:rPr>
              <a:t>Issue/knowledge intensive</a:t>
            </a:r>
          </a:p>
          <a:p>
            <a:pPr marL="171450" indent="-171450">
              <a:spcBef>
                <a:spcPts val="300"/>
              </a:spcBef>
              <a:buFont typeface="Arial" panose="020B0604020202020204" pitchFamily="34" charset="0"/>
              <a:buChar char="•"/>
            </a:pPr>
            <a:r>
              <a:rPr lang="en-US" sz="1000" dirty="0" err="1">
                <a:latin typeface="Open Sans (Body)"/>
                <a:ea typeface="Open Sans" panose="020B0606030504020204" pitchFamily="34" charset="0"/>
                <a:cs typeface="Open Sans" panose="020B0606030504020204" pitchFamily="34" charset="0"/>
              </a:rPr>
              <a:t>Organised</a:t>
            </a:r>
            <a:r>
              <a:rPr lang="en-US" sz="1000" dirty="0">
                <a:latin typeface="Open Sans (Body)"/>
                <a:ea typeface="Open Sans" panose="020B0606030504020204" pitchFamily="34" charset="0"/>
                <a:cs typeface="Open Sans" panose="020B0606030504020204" pitchFamily="34" charset="0"/>
              </a:rPr>
              <a:t> globally</a:t>
            </a:r>
          </a:p>
        </p:txBody>
      </p:sp>
      <p:sp>
        <p:nvSpPr>
          <p:cNvPr id="10" name="Rectangle 9">
            <a:extLst>
              <a:ext uri="{FF2B5EF4-FFF2-40B4-BE49-F238E27FC236}">
                <a16:creationId xmlns:a16="http://schemas.microsoft.com/office/drawing/2014/main" id="{BCDFD925-E1AF-86A3-8040-BB88C97F324E}"/>
              </a:ext>
            </a:extLst>
          </p:cNvPr>
          <p:cNvSpPr/>
          <p:nvPr/>
        </p:nvSpPr>
        <p:spPr bwMode="gray">
          <a:xfrm rot="16200000">
            <a:off x="-1547667" y="4059567"/>
            <a:ext cx="4501225" cy="44577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Open Sans (Body)"/>
                <a:ea typeface="Open Sans" panose="020B0606030504020204" pitchFamily="34" charset="0"/>
                <a:cs typeface="Open Sans" panose="020B0606030504020204" pitchFamily="34" charset="0"/>
              </a:rPr>
              <a:t>Relationship to the business</a:t>
            </a:r>
          </a:p>
        </p:txBody>
      </p:sp>
      <p:sp>
        <p:nvSpPr>
          <p:cNvPr id="12" name="Rectangle 11">
            <a:extLst>
              <a:ext uri="{FF2B5EF4-FFF2-40B4-BE49-F238E27FC236}">
                <a16:creationId xmlns:a16="http://schemas.microsoft.com/office/drawing/2014/main" id="{4EA4749E-1B85-982C-5789-3D90A2A39F1E}"/>
              </a:ext>
            </a:extLst>
          </p:cNvPr>
          <p:cNvSpPr/>
          <p:nvPr/>
        </p:nvSpPr>
        <p:spPr bwMode="gray">
          <a:xfrm>
            <a:off x="2205990" y="1319913"/>
            <a:ext cx="9505950" cy="44577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ethod of adding value</a:t>
            </a:r>
          </a:p>
        </p:txBody>
      </p:sp>
      <p:sp>
        <p:nvSpPr>
          <p:cNvPr id="13" name="TextBox 12">
            <a:extLst>
              <a:ext uri="{FF2B5EF4-FFF2-40B4-BE49-F238E27FC236}">
                <a16:creationId xmlns:a16="http://schemas.microsoft.com/office/drawing/2014/main" id="{120C4DD5-51F4-34DB-33AD-DC816FAC1AA1}"/>
              </a:ext>
            </a:extLst>
          </p:cNvPr>
          <p:cNvSpPr txBox="1"/>
          <p:nvPr/>
        </p:nvSpPr>
        <p:spPr>
          <a:xfrm>
            <a:off x="2820489" y="1880657"/>
            <a:ext cx="3592830" cy="184666"/>
          </a:xfrm>
          <a:prstGeom prst="rect">
            <a:avLst/>
          </a:prstGeom>
          <a:noFill/>
        </p:spPr>
        <p:txBody>
          <a:bodyPr wrap="square" lIns="0" tIns="0" rIns="0" bIns="0" rtlCol="0">
            <a:spAutoFit/>
          </a:bodyPr>
          <a:lstStyle/>
          <a:p>
            <a:pPr>
              <a:spcBef>
                <a:spcPts val="600"/>
              </a:spcBef>
              <a:buSzPct val="100000"/>
            </a:pPr>
            <a:r>
              <a:rPr lang="en-US" sz="1200" b="1" dirty="0">
                <a:latin typeface="Open Sans (Body)"/>
                <a:ea typeface="Open Sans" panose="020B0606030504020204" pitchFamily="34" charset="0"/>
                <a:cs typeface="Open Sans" panose="020B0606030504020204" pitchFamily="34" charset="0"/>
              </a:rPr>
              <a:t>Low cost/ Defined transactional service level</a:t>
            </a:r>
          </a:p>
        </p:txBody>
      </p:sp>
      <p:sp>
        <p:nvSpPr>
          <p:cNvPr id="14" name="TextBox 13">
            <a:extLst>
              <a:ext uri="{FF2B5EF4-FFF2-40B4-BE49-F238E27FC236}">
                <a16:creationId xmlns:a16="http://schemas.microsoft.com/office/drawing/2014/main" id="{5EEFCF84-1E3B-C169-8417-3066BCFBDD7F}"/>
              </a:ext>
            </a:extLst>
          </p:cNvPr>
          <p:cNvSpPr txBox="1"/>
          <p:nvPr/>
        </p:nvSpPr>
        <p:spPr>
          <a:xfrm>
            <a:off x="8322808" y="1880656"/>
            <a:ext cx="2097405" cy="184666"/>
          </a:xfrm>
          <a:prstGeom prst="rect">
            <a:avLst/>
          </a:prstGeom>
          <a:noFill/>
        </p:spPr>
        <p:txBody>
          <a:bodyPr wrap="square" lIns="0" tIns="0" rIns="0" bIns="0" rtlCol="0">
            <a:spAutoFit/>
          </a:bodyPr>
          <a:lstStyle/>
          <a:p>
            <a:pPr>
              <a:spcBef>
                <a:spcPts val="600"/>
              </a:spcBef>
              <a:buSzPct val="100000"/>
            </a:pPr>
            <a:r>
              <a:rPr lang="en-US" sz="1200" b="1" dirty="0">
                <a:latin typeface="Open Sans (Body)"/>
                <a:ea typeface="Open Sans" panose="020B0606030504020204" pitchFamily="34" charset="0"/>
                <a:cs typeface="Open Sans" panose="020B0606030504020204" pitchFamily="34" charset="0"/>
              </a:rPr>
              <a:t>Strategic Knowledge based</a:t>
            </a:r>
          </a:p>
        </p:txBody>
      </p:sp>
      <p:sp>
        <p:nvSpPr>
          <p:cNvPr id="15" name="TextBox 14">
            <a:extLst>
              <a:ext uri="{FF2B5EF4-FFF2-40B4-BE49-F238E27FC236}">
                <a16:creationId xmlns:a16="http://schemas.microsoft.com/office/drawing/2014/main" id="{3AC1DF84-61E5-13DB-C908-9BAC57383269}"/>
              </a:ext>
            </a:extLst>
          </p:cNvPr>
          <p:cNvSpPr txBox="1"/>
          <p:nvPr/>
        </p:nvSpPr>
        <p:spPr>
          <a:xfrm>
            <a:off x="1125856" y="2591475"/>
            <a:ext cx="1013459" cy="369332"/>
          </a:xfrm>
          <a:prstGeom prst="rect">
            <a:avLst/>
          </a:prstGeom>
          <a:noFill/>
        </p:spPr>
        <p:txBody>
          <a:bodyPr wrap="square" lIns="0" tIns="0" rIns="0" bIns="0" rtlCol="0">
            <a:spAutoFit/>
          </a:bodyPr>
          <a:lstStyle/>
          <a:p>
            <a:pPr algn="ctr">
              <a:spcBef>
                <a:spcPts val="600"/>
              </a:spcBef>
              <a:buSzPct val="100000"/>
            </a:pPr>
            <a:r>
              <a:rPr lang="en-US" sz="1200" b="1" dirty="0">
                <a:latin typeface="Open Sans (Body)"/>
                <a:ea typeface="Open Sans" panose="020B0606030504020204" pitchFamily="34" charset="0"/>
                <a:cs typeface="Open Sans" panose="020B0606030504020204" pitchFamily="34" charset="0"/>
              </a:rPr>
              <a:t>In-market</a:t>
            </a:r>
            <a:br>
              <a:rPr lang="en-US" sz="1200" b="1" dirty="0">
                <a:latin typeface="Open Sans (Body)"/>
                <a:ea typeface="Open Sans" panose="020B0606030504020204" pitchFamily="34" charset="0"/>
                <a:cs typeface="Open Sans" panose="020B0606030504020204" pitchFamily="34" charset="0"/>
              </a:rPr>
            </a:br>
            <a:r>
              <a:rPr lang="en-US" sz="1200" b="1" dirty="0">
                <a:latin typeface="Open Sans (Body)"/>
                <a:ea typeface="Open Sans" panose="020B0606030504020204" pitchFamily="34" charset="0"/>
                <a:cs typeface="Open Sans" panose="020B0606030504020204" pitchFamily="34" charset="0"/>
              </a:rPr>
              <a:t>(Local)</a:t>
            </a:r>
          </a:p>
        </p:txBody>
      </p:sp>
      <p:sp>
        <p:nvSpPr>
          <p:cNvPr id="16" name="TextBox 15">
            <a:extLst>
              <a:ext uri="{FF2B5EF4-FFF2-40B4-BE49-F238E27FC236}">
                <a16:creationId xmlns:a16="http://schemas.microsoft.com/office/drawing/2014/main" id="{469E5EA5-A6FA-F6B7-C94E-C69E5D25E801}"/>
              </a:ext>
            </a:extLst>
          </p:cNvPr>
          <p:cNvSpPr txBox="1"/>
          <p:nvPr/>
        </p:nvSpPr>
        <p:spPr>
          <a:xfrm>
            <a:off x="1125856" y="4041987"/>
            <a:ext cx="1013459" cy="369332"/>
          </a:xfrm>
          <a:prstGeom prst="rect">
            <a:avLst/>
          </a:prstGeom>
          <a:noFill/>
        </p:spPr>
        <p:txBody>
          <a:bodyPr wrap="square" lIns="0" tIns="0" rIns="0" bIns="0" rtlCol="0">
            <a:spAutoFit/>
          </a:bodyPr>
          <a:lstStyle/>
          <a:p>
            <a:pPr algn="ctr">
              <a:spcBef>
                <a:spcPts val="600"/>
              </a:spcBef>
              <a:buSzPct val="100000"/>
            </a:pPr>
            <a:r>
              <a:rPr lang="en-US" sz="1200" b="1" dirty="0" err="1">
                <a:latin typeface="Open Sans (Body)"/>
                <a:ea typeface="Open Sans" panose="020B0606030504020204" pitchFamily="34" charset="0"/>
                <a:cs typeface="Open Sans" panose="020B0606030504020204" pitchFamily="34" charset="0"/>
              </a:rPr>
              <a:t>Centralised</a:t>
            </a:r>
            <a:br>
              <a:rPr lang="en-US" sz="1200" b="1" dirty="0">
                <a:latin typeface="Open Sans (Body)"/>
                <a:ea typeface="Open Sans" panose="020B0606030504020204" pitchFamily="34" charset="0"/>
                <a:cs typeface="Open Sans" panose="020B0606030504020204" pitchFamily="34" charset="0"/>
              </a:rPr>
            </a:br>
            <a:r>
              <a:rPr lang="en-US" sz="1200" b="1" dirty="0">
                <a:latin typeface="Open Sans (Body)"/>
                <a:ea typeface="Open Sans" panose="020B0606030504020204" pitchFamily="34" charset="0"/>
                <a:cs typeface="Open Sans" panose="020B0606030504020204" pitchFamily="34" charset="0"/>
              </a:rPr>
              <a:t>(Regional)</a:t>
            </a:r>
          </a:p>
        </p:txBody>
      </p:sp>
      <p:sp>
        <p:nvSpPr>
          <p:cNvPr id="17" name="TextBox 16">
            <a:extLst>
              <a:ext uri="{FF2B5EF4-FFF2-40B4-BE49-F238E27FC236}">
                <a16:creationId xmlns:a16="http://schemas.microsoft.com/office/drawing/2014/main" id="{023FB15E-A674-74C9-A0BB-0DB3A3ED5B9D}"/>
              </a:ext>
            </a:extLst>
          </p:cNvPr>
          <p:cNvSpPr txBox="1"/>
          <p:nvPr/>
        </p:nvSpPr>
        <p:spPr>
          <a:xfrm>
            <a:off x="1125856" y="5552667"/>
            <a:ext cx="1013459" cy="369332"/>
          </a:xfrm>
          <a:prstGeom prst="rect">
            <a:avLst/>
          </a:prstGeom>
          <a:noFill/>
        </p:spPr>
        <p:txBody>
          <a:bodyPr wrap="square" lIns="0" tIns="0" rIns="0" bIns="0" rtlCol="0">
            <a:spAutoFit/>
          </a:bodyPr>
          <a:lstStyle/>
          <a:p>
            <a:pPr algn="ctr">
              <a:spcBef>
                <a:spcPts val="600"/>
              </a:spcBef>
              <a:buSzPct val="100000"/>
            </a:pPr>
            <a:r>
              <a:rPr lang="en-US" sz="1200" b="1" dirty="0" err="1">
                <a:latin typeface="Open Sans (Body)"/>
                <a:ea typeface="Open Sans" panose="020B0606030504020204" pitchFamily="34" charset="0"/>
                <a:cs typeface="Open Sans" panose="020B0606030504020204" pitchFamily="34" charset="0"/>
              </a:rPr>
              <a:t>Centralised</a:t>
            </a:r>
            <a:br>
              <a:rPr lang="en-US" sz="1200" b="1" dirty="0">
                <a:latin typeface="Open Sans (Body)"/>
                <a:ea typeface="Open Sans" panose="020B0606030504020204" pitchFamily="34" charset="0"/>
                <a:cs typeface="Open Sans" panose="020B0606030504020204" pitchFamily="34" charset="0"/>
              </a:rPr>
            </a:br>
            <a:r>
              <a:rPr lang="en-US" sz="1200" b="1" dirty="0">
                <a:latin typeface="Open Sans (Body)"/>
                <a:ea typeface="Open Sans" panose="020B0606030504020204" pitchFamily="34" charset="0"/>
                <a:cs typeface="Open Sans" panose="020B0606030504020204" pitchFamily="34" charset="0"/>
              </a:rPr>
              <a:t>(Global)</a:t>
            </a:r>
          </a:p>
        </p:txBody>
      </p:sp>
    </p:spTree>
    <p:extLst>
      <p:ext uri="{BB962C8B-B14F-4D97-AF65-F5344CB8AC3E}">
        <p14:creationId xmlns:p14="http://schemas.microsoft.com/office/powerpoint/2010/main" val="37287376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4CCC22D-F94B-5B63-2D22-3CE128F6AC99}"/>
              </a:ext>
            </a:extLst>
          </p:cNvPr>
          <p:cNvGraphicFramePr>
            <a:graphicFrameLocks noChangeAspect="1"/>
          </p:cNvGraphicFramePr>
          <p:nvPr>
            <p:custDataLst>
              <p:tags r:id="rId1"/>
            </p:custDataLst>
            <p:extLst>
              <p:ext uri="{D42A27DB-BD31-4B8C-83A1-F6EECF244321}">
                <p14:modId xmlns:p14="http://schemas.microsoft.com/office/powerpoint/2010/main" val="1080101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4CCC22D-F94B-5B63-2D22-3CE128F6AC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0419FC05-DB5F-6D73-597D-D429F3992FF6}"/>
              </a:ext>
            </a:extLst>
          </p:cNvPr>
          <p:cNvCxnSpPr>
            <a:cxnSpLocks/>
          </p:cNvCxnSpPr>
          <p:nvPr/>
        </p:nvCxnSpPr>
        <p:spPr>
          <a:xfrm flipH="1">
            <a:off x="463295" y="1709330"/>
            <a:ext cx="11268000"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8014F268-D480-79E6-B5FA-1BAD03870EE6}"/>
              </a:ext>
            </a:extLst>
          </p:cNvPr>
          <p:cNvSpPr>
            <a:spLocks noGrp="1"/>
          </p:cNvSpPr>
          <p:nvPr>
            <p:ph type="title"/>
          </p:nvPr>
        </p:nvSpPr>
        <p:spPr/>
        <p:txBody>
          <a:bodyPr vert="horz"/>
          <a:lstStyle/>
          <a:p>
            <a:r>
              <a:rPr lang="en-US" sz="2800" spc="-75" dirty="0"/>
              <a:t>Deloitte Hungary's previous project with UNHCR Budapest focused on the improvement of the talent acquisition process</a:t>
            </a:r>
            <a:endParaRPr lang="en-US" dirty="0"/>
          </a:p>
        </p:txBody>
      </p:sp>
      <p:sp>
        <p:nvSpPr>
          <p:cNvPr id="5" name="Oval 4">
            <a:extLst>
              <a:ext uri="{FF2B5EF4-FFF2-40B4-BE49-F238E27FC236}">
                <a16:creationId xmlns:a16="http://schemas.microsoft.com/office/drawing/2014/main" id="{23351C2C-DE81-494A-14A8-4A335B370F9A}"/>
              </a:ext>
            </a:extLst>
          </p:cNvPr>
          <p:cNvSpPr/>
          <p:nvPr/>
        </p:nvSpPr>
        <p:spPr>
          <a:xfrm>
            <a:off x="755260" y="1595030"/>
            <a:ext cx="228600" cy="228600"/>
          </a:xfrm>
          <a:prstGeom prst="ellipse">
            <a:avLst/>
          </a:prstGeom>
          <a:solidFill>
            <a:srgbClr val="00B0F2"/>
          </a:solidFill>
          <a:ln w="25400" cap="flat" cmpd="sng" algn="ctr">
            <a:noFill/>
            <a:prstDash val="solid"/>
          </a:ln>
          <a:effectLst>
            <a:glow rad="139700">
              <a:schemeClr val="accent1">
                <a:satMod val="175000"/>
                <a:alpha val="40000"/>
              </a:scheme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7" name="TextBox 6">
            <a:extLst>
              <a:ext uri="{FF2B5EF4-FFF2-40B4-BE49-F238E27FC236}">
                <a16:creationId xmlns:a16="http://schemas.microsoft.com/office/drawing/2014/main" id="{47F8E85D-AD3B-4EC1-AF44-826CD304CDD5}"/>
              </a:ext>
            </a:extLst>
          </p:cNvPr>
          <p:cNvSpPr txBox="1"/>
          <p:nvPr/>
        </p:nvSpPr>
        <p:spPr>
          <a:xfrm>
            <a:off x="1709791" y="1993697"/>
            <a:ext cx="4612558" cy="215444"/>
          </a:xfrm>
          <a:prstGeom prst="rect">
            <a:avLst/>
          </a:prstGeom>
          <a:noFill/>
        </p:spPr>
        <p:txBody>
          <a:bodyPr wrap="square" lIns="0" tIns="0" rIns="0" bIns="0" rtlCol="0">
            <a:spAutoFit/>
          </a:bodyPr>
          <a:lstStyle/>
          <a:p>
            <a:pPr marL="0" marR="0" lvl="0" indent="0" defTabSz="1219170" eaLnBrk="1" fontAlgn="auto" latinLnBrk="0" hangingPunct="1">
              <a:lnSpc>
                <a:spcPct val="100000"/>
              </a:lnSpc>
              <a:spcBef>
                <a:spcPts val="600"/>
              </a:spcBef>
              <a:spcAft>
                <a:spcPts val="0"/>
              </a:spcAft>
              <a:buClrTx/>
              <a:buSzPct val="100000"/>
              <a:buFontTx/>
              <a:buNone/>
              <a:tabLst/>
              <a:defRPr/>
            </a:pPr>
            <a:r>
              <a:rPr kumimoji="0" lang="en-US" sz="1400" i="0" u="none" strike="noStrike" kern="1200" cap="none" spc="-75" normalizeH="0" baseline="0" dirty="0">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2022 - Talent acquisition enhancement on Finance HUB</a:t>
            </a:r>
          </a:p>
        </p:txBody>
      </p:sp>
      <p:sp>
        <p:nvSpPr>
          <p:cNvPr id="18" name="Rectangle 17">
            <a:extLst>
              <a:ext uri="{FF2B5EF4-FFF2-40B4-BE49-F238E27FC236}">
                <a16:creationId xmlns:a16="http://schemas.microsoft.com/office/drawing/2014/main" id="{3FB6FA31-F7F3-1DF5-A2DE-9BEBE72769F3}"/>
              </a:ext>
            </a:extLst>
          </p:cNvPr>
          <p:cNvSpPr/>
          <p:nvPr/>
        </p:nvSpPr>
        <p:spPr>
          <a:xfrm>
            <a:off x="1709791" y="2236994"/>
            <a:ext cx="4835990" cy="4029949"/>
          </a:xfrm>
          <a:prstGeom prst="rect">
            <a:avLst/>
          </a:prstGeom>
        </p:spPr>
        <p:txBody>
          <a:bodyPr wrap="square">
            <a:spAutoFit/>
          </a:bodyPr>
          <a:lstStyle/>
          <a:p>
            <a:pPr algn="just"/>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ituation</a:t>
            </a:r>
          </a:p>
          <a:p>
            <a:pPr algn="just"/>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ue to the situation in Ukraine, the need for additional staff became urgent, therefore UNHCR was looking for at least 6-8 G5-7 profiles, but recruitment was not fast and effective enough. Despite the related outsourced manpower lease activity, they lacked candidates matching the hiring managers’ expectations and could be onboarded as soon as possible.</a:t>
            </a:r>
          </a:p>
          <a:p>
            <a:pPr marR="3810" algn="just">
              <a:lnSpc>
                <a:spcPct val="111300"/>
              </a:lnSpc>
              <a:spcBef>
                <a:spcPts val="300"/>
              </a:spcBef>
              <a:spcAft>
                <a:spcPts val="300"/>
              </a:spcAft>
              <a:buClrTx/>
              <a:defRPr/>
            </a:pPr>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pproach</a:t>
            </a:r>
          </a:p>
          <a:p>
            <a:pPr marL="140494" marR="3810" indent="-128588" defTabSz="914378">
              <a:lnSpc>
                <a:spcPct val="111300"/>
              </a:lnSpc>
              <a:spcAft>
                <a:spcPts val="300"/>
              </a:spcAft>
              <a:buClrTx/>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Expert assessment were performed on the talent acquisition practices to identify pain point, improvement opportunities and characteristics to build on.</a:t>
            </a:r>
          </a:p>
          <a:p>
            <a:pPr marL="140494" marR="3810" indent="-128588" defTabSz="914378">
              <a:lnSpc>
                <a:spcPct val="111300"/>
              </a:lnSpc>
              <a:spcAft>
                <a:spcPts val="300"/>
              </a:spcAft>
              <a:buClrTx/>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5 development areas were recommended to improve talent acquisition results:</a:t>
            </a:r>
          </a:p>
          <a:p>
            <a:pPr marL="597694" marR="3810" lvl="1" indent="-128588" defTabSz="914378">
              <a:lnSpc>
                <a:spcPct val="111300"/>
              </a:lnSpc>
              <a:spcAft>
                <a:spcPts val="300"/>
              </a:spcAft>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Internal direct sourcing capacity and capability enhancement</a:t>
            </a:r>
          </a:p>
          <a:p>
            <a:pPr marL="597694" marR="3810" lvl="1" indent="-128588" defTabSz="914378">
              <a:lnSpc>
                <a:spcPct val="111300"/>
              </a:lnSpc>
              <a:spcAft>
                <a:spcPts val="300"/>
              </a:spcAft>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irect position postings &amp; job description redesign</a:t>
            </a:r>
          </a:p>
          <a:p>
            <a:pPr marL="597694" marR="3810" lvl="1" indent="-128588" defTabSz="914378">
              <a:lnSpc>
                <a:spcPct val="111300"/>
              </a:lnSpc>
              <a:spcAft>
                <a:spcPts val="300"/>
              </a:spcAft>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andidate database building</a:t>
            </a:r>
          </a:p>
          <a:p>
            <a:pPr marL="597694" marR="3810" lvl="1" indent="-128588" defTabSz="914378">
              <a:lnSpc>
                <a:spcPct val="111300"/>
              </a:lnSpc>
              <a:spcAft>
                <a:spcPts val="300"/>
              </a:spcAft>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Employees’ network activation: internal referral &amp; ambassador program</a:t>
            </a:r>
          </a:p>
          <a:p>
            <a:pPr marL="597694" marR="3810" lvl="1" indent="-128588" defTabSz="914378">
              <a:lnSpc>
                <a:spcPct val="111300"/>
              </a:lnSpc>
              <a:spcAft>
                <a:spcPts val="300"/>
              </a:spcAft>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Local employer branding activity boost</a:t>
            </a:r>
          </a:p>
          <a:p>
            <a:pPr marR="3810" algn="just">
              <a:lnSpc>
                <a:spcPct val="111300"/>
              </a:lnSpc>
              <a:spcBef>
                <a:spcPts val="300"/>
              </a:spcBef>
              <a:spcAft>
                <a:spcPts val="300"/>
              </a:spcAft>
              <a:buClrTx/>
              <a:defRPr/>
            </a:pPr>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Impact</a:t>
            </a:r>
          </a:p>
          <a:p>
            <a:pPr marL="140494" marR="3810" indent="-128588" defTabSz="914378">
              <a:lnSpc>
                <a:spcPct val="111300"/>
              </a:lnSpc>
              <a:spcAft>
                <a:spcPts val="300"/>
              </a:spcAft>
              <a:buClrTx/>
              <a:buFont typeface="Arial" panose="020B0604020202020204" pitchFamily="34" charset="0"/>
              <a:buChar char="•"/>
              <a:defRPr/>
            </a:pPr>
            <a:r>
              <a:rPr kumimoji="0" lang="en-US" sz="100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hancing the efficiency of the selection and recruitment process, resulting in a more effective and faster hiring of talents.</a:t>
            </a:r>
          </a:p>
          <a:p>
            <a:pPr marL="140494" marR="3810" indent="-128588" defTabSz="914378">
              <a:lnSpc>
                <a:spcPct val="111300"/>
              </a:lnSpc>
              <a:spcAft>
                <a:spcPts val="300"/>
              </a:spcAft>
              <a:buClrTx/>
              <a:buFont typeface="Arial" panose="020B0604020202020204" pitchFamily="34" charset="0"/>
              <a:buChar char="•"/>
              <a:defRPr/>
            </a:pPr>
            <a:r>
              <a:rPr kumimoji="0" lang="en-US" sz="100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y improving communication with the local labor market, the company's perception will become more positive, and its attractiveness will increase.</a:t>
            </a:r>
          </a:p>
        </p:txBody>
      </p:sp>
      <p:sp>
        <p:nvSpPr>
          <p:cNvPr id="6" name="Rectangle: Rounded Corners 70">
            <a:extLst>
              <a:ext uri="{FF2B5EF4-FFF2-40B4-BE49-F238E27FC236}">
                <a16:creationId xmlns:a16="http://schemas.microsoft.com/office/drawing/2014/main" id="{2874285A-0D1B-3831-BFEF-5CC1B99D5446}"/>
              </a:ext>
            </a:extLst>
          </p:cNvPr>
          <p:cNvSpPr>
            <a:spLocks/>
          </p:cNvSpPr>
          <p:nvPr/>
        </p:nvSpPr>
        <p:spPr bwMode="gray">
          <a:xfrm>
            <a:off x="7086600" y="1972125"/>
            <a:ext cx="2960026" cy="237016"/>
          </a:xfrm>
          <a:prstGeom prst="roundRect">
            <a:avLst/>
          </a:prstGeom>
          <a:solidFill>
            <a:srgbClr val="D9F1FF"/>
          </a:solidFill>
          <a:ln w="19050" algn="ctr">
            <a:noFill/>
            <a:miter lim="800000"/>
            <a:headEnd/>
            <a:tailEnd/>
          </a:ln>
          <a:effectLst>
            <a:outerShdw blurRad="50800" dist="38100" dir="2700000" algn="tl" rotWithShape="0">
              <a:prstClr val="black">
                <a:alpha val="40000"/>
              </a:prstClr>
            </a:outerShdw>
          </a:effectLst>
        </p:spPr>
        <p:txBody>
          <a:bodyPr wrap="square" lIns="72000" tIns="0" rIns="0" bIns="0" rtlCol="0" anchor="ctr"/>
          <a:lstStyle/>
          <a:p>
            <a:pPr marL="0" marR="0" lvl="0" indent="0" algn="l" defTabSz="26670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rPr>
              <a:t>Expert assessment</a:t>
            </a:r>
          </a:p>
        </p:txBody>
      </p:sp>
      <p:sp>
        <p:nvSpPr>
          <p:cNvPr id="8" name="Rectangle: Rounded Corners 70">
            <a:extLst>
              <a:ext uri="{FF2B5EF4-FFF2-40B4-BE49-F238E27FC236}">
                <a16:creationId xmlns:a16="http://schemas.microsoft.com/office/drawing/2014/main" id="{4873FBBE-76C2-AF5C-6B57-70AA529DE285}"/>
              </a:ext>
            </a:extLst>
          </p:cNvPr>
          <p:cNvSpPr>
            <a:spLocks/>
          </p:cNvSpPr>
          <p:nvPr/>
        </p:nvSpPr>
        <p:spPr bwMode="gray">
          <a:xfrm>
            <a:off x="7086600" y="3429000"/>
            <a:ext cx="2960026" cy="237016"/>
          </a:xfrm>
          <a:prstGeom prst="roundRect">
            <a:avLst/>
          </a:prstGeom>
          <a:solidFill>
            <a:srgbClr val="D9F1FF"/>
          </a:solidFill>
          <a:ln w="19050" algn="ctr">
            <a:noFill/>
            <a:miter lim="800000"/>
            <a:headEnd/>
            <a:tailEnd/>
          </a:ln>
          <a:effectLst>
            <a:outerShdw blurRad="50800" dist="38100" dir="2700000" algn="tl" rotWithShape="0">
              <a:prstClr val="black">
                <a:alpha val="40000"/>
              </a:prstClr>
            </a:outerShdw>
          </a:effectLst>
        </p:spPr>
        <p:txBody>
          <a:bodyPr wrap="square" lIns="72000" tIns="0" rIns="0" bIns="0" rtlCol="0" anchor="ctr"/>
          <a:lstStyle/>
          <a:p>
            <a:pPr marL="0" marR="0" lvl="0" indent="0" algn="l" defTabSz="266700" eaLnBrk="1" fontAlgn="auto" latinLnBrk="0" hangingPunct="1">
              <a:lnSpc>
                <a:spcPct val="100000"/>
              </a:lnSpc>
              <a:spcBef>
                <a:spcPts val="0"/>
              </a:spcBef>
              <a:spcAft>
                <a:spcPts val="300"/>
              </a:spcAft>
              <a:buClrTx/>
              <a:buSzTx/>
              <a:buFontTx/>
              <a:buNone/>
              <a:tabLst/>
              <a:defRPr/>
            </a:pPr>
            <a:r>
              <a:rPr lang="en-US" sz="1400" b="1" cap="small" spc="30" dirty="0">
                <a:solidFill>
                  <a:srgbClr val="00B0F2"/>
                </a:solidFill>
                <a:latin typeface="Open Sans" panose="020B0606030504020204" pitchFamily="34" charset="0"/>
                <a:ea typeface="Open Sans" panose="020B0606030504020204" pitchFamily="34" charset="0"/>
                <a:cs typeface="Open Sans" panose="020B0606030504020204" pitchFamily="34" charset="0"/>
              </a:rPr>
              <a:t>Recommended development areas</a:t>
            </a:r>
            <a:endParaRPr kumimoji="0" lang="en-US" sz="1400" b="1" i="0" u="none" strike="noStrike" kern="1200" cap="small" spc="3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3" name="Picture 52">
            <a:extLst>
              <a:ext uri="{FF2B5EF4-FFF2-40B4-BE49-F238E27FC236}">
                <a16:creationId xmlns:a16="http://schemas.microsoft.com/office/drawing/2014/main" id="{E5CC272B-DEC9-983D-C481-9EFCE2CE2EB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94108" y="2294347"/>
            <a:ext cx="2345010" cy="1049446"/>
          </a:xfrm>
          <a:prstGeom prst="rect">
            <a:avLst/>
          </a:prstGeom>
          <a:effectLst>
            <a:outerShdw blurRad="50800" dist="38100" dir="2700000" algn="tl" rotWithShape="0">
              <a:prstClr val="black">
                <a:alpha val="40000"/>
              </a:prstClr>
            </a:outerShdw>
          </a:effectLst>
        </p:spPr>
      </p:pic>
      <p:pic>
        <p:nvPicPr>
          <p:cNvPr id="55" name="Picture 54">
            <a:extLst>
              <a:ext uri="{FF2B5EF4-FFF2-40B4-BE49-F238E27FC236}">
                <a16:creationId xmlns:a16="http://schemas.microsoft.com/office/drawing/2014/main" id="{BF580B38-95F4-0921-2180-C9029D4B257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394108" y="3751223"/>
            <a:ext cx="2010399" cy="1051200"/>
          </a:xfrm>
          <a:prstGeom prst="rect">
            <a:avLst/>
          </a:prstGeom>
        </p:spPr>
      </p:pic>
      <p:pic>
        <p:nvPicPr>
          <p:cNvPr id="57" name="Picture 56">
            <a:extLst>
              <a:ext uri="{FF2B5EF4-FFF2-40B4-BE49-F238E27FC236}">
                <a16:creationId xmlns:a16="http://schemas.microsoft.com/office/drawing/2014/main" id="{48BD25AD-216E-87D9-78B6-9D5CE587490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640079" y="3751223"/>
            <a:ext cx="1952933" cy="1051200"/>
          </a:xfrm>
          <a:prstGeom prst="rect">
            <a:avLst/>
          </a:prstGeom>
        </p:spPr>
      </p:pic>
      <p:pic>
        <p:nvPicPr>
          <p:cNvPr id="59" name="Picture 58">
            <a:extLst>
              <a:ext uri="{FF2B5EF4-FFF2-40B4-BE49-F238E27FC236}">
                <a16:creationId xmlns:a16="http://schemas.microsoft.com/office/drawing/2014/main" id="{E46AC3FF-F2D0-50D3-1B97-96A753B1730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566613" y="4953448"/>
            <a:ext cx="1934369" cy="1051200"/>
          </a:xfrm>
          <a:prstGeom prst="rect">
            <a:avLst/>
          </a:prstGeom>
        </p:spPr>
      </p:pic>
      <p:sp>
        <p:nvSpPr>
          <p:cNvPr id="35" name="Flowchart: Connector 34">
            <a:extLst>
              <a:ext uri="{FF2B5EF4-FFF2-40B4-BE49-F238E27FC236}">
                <a16:creationId xmlns:a16="http://schemas.microsoft.com/office/drawing/2014/main" id="{4A4B2674-62AD-A6F1-94D4-06B7CEA29477}"/>
              </a:ext>
            </a:extLst>
          </p:cNvPr>
          <p:cNvSpPr>
            <a:spLocks/>
          </p:cNvSpPr>
          <p:nvPr/>
        </p:nvSpPr>
        <p:spPr bwMode="gray">
          <a:xfrm>
            <a:off x="-618646" y="1188357"/>
            <a:ext cx="2286000" cy="2288604"/>
          </a:xfrm>
          <a:prstGeom prst="flowChartConnector">
            <a:avLst/>
          </a:prstGeom>
          <a:solidFill>
            <a:srgbClr val="00B0F2">
              <a:alpha val="24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nvGrpSpPr>
          <p:cNvPr id="40" name="Group 39">
            <a:extLst>
              <a:ext uri="{FF2B5EF4-FFF2-40B4-BE49-F238E27FC236}">
                <a16:creationId xmlns:a16="http://schemas.microsoft.com/office/drawing/2014/main" id="{179EF2E9-A8E7-B3FA-D562-6EF4367CB93E}"/>
              </a:ext>
            </a:extLst>
          </p:cNvPr>
          <p:cNvGrpSpPr/>
          <p:nvPr/>
        </p:nvGrpSpPr>
        <p:grpSpPr>
          <a:xfrm>
            <a:off x="231917" y="2001982"/>
            <a:ext cx="1244714" cy="1340640"/>
            <a:chOff x="313485" y="4509531"/>
            <a:chExt cx="1058295" cy="1139858"/>
          </a:xfrm>
        </p:grpSpPr>
        <p:sp>
          <p:nvSpPr>
            <p:cNvPr id="41" name="Freeform: Shape 40">
              <a:extLst>
                <a:ext uri="{FF2B5EF4-FFF2-40B4-BE49-F238E27FC236}">
                  <a16:creationId xmlns:a16="http://schemas.microsoft.com/office/drawing/2014/main" id="{BF2E88AB-CF48-22EB-A2FB-2048F54834C4}"/>
                </a:ext>
              </a:extLst>
            </p:cNvPr>
            <p:cNvSpPr/>
            <p:nvPr/>
          </p:nvSpPr>
          <p:spPr bwMode="gray">
            <a:xfrm>
              <a:off x="313485" y="4682039"/>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dirty="0"/>
            </a:p>
          </p:txBody>
        </p:sp>
        <p:cxnSp>
          <p:nvCxnSpPr>
            <p:cNvPr id="42" name="Straight Connector 41">
              <a:extLst>
                <a:ext uri="{FF2B5EF4-FFF2-40B4-BE49-F238E27FC236}">
                  <a16:creationId xmlns:a16="http://schemas.microsoft.com/office/drawing/2014/main" id="{C579CC8E-FF06-2B08-B881-9A6635FEEDBA}"/>
                </a:ext>
              </a:extLst>
            </p:cNvPr>
            <p:cNvCxnSpPr/>
            <p:nvPr/>
          </p:nvCxnSpPr>
          <p:spPr>
            <a:xfrm flipV="1">
              <a:off x="791851" y="4509531"/>
              <a:ext cx="0" cy="5053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A57716F3-9180-5ABF-74A4-4B3CCA4B08C0}"/>
                </a:ext>
              </a:extLst>
            </p:cNvPr>
            <p:cNvSpPr/>
            <p:nvPr/>
          </p:nvSpPr>
          <p:spPr bwMode="gray">
            <a:xfrm>
              <a:off x="742123" y="4981282"/>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44" name="Rectangle 43">
              <a:extLst>
                <a:ext uri="{FF2B5EF4-FFF2-40B4-BE49-F238E27FC236}">
                  <a16:creationId xmlns:a16="http://schemas.microsoft.com/office/drawing/2014/main" id="{FC073F3F-7428-22F7-0F08-F14F00B88C80}"/>
                </a:ext>
              </a:extLst>
            </p:cNvPr>
            <p:cNvSpPr/>
            <p:nvPr/>
          </p:nvSpPr>
          <p:spPr>
            <a:xfrm>
              <a:off x="465774" y="5074944"/>
              <a:ext cx="906006" cy="15700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a:t>
              </a:r>
              <a:r>
                <a:rPr lang="en-US" sz="600" i="1" spc="300" dirty="0">
                  <a:latin typeface="Open Sans"/>
                </a:rPr>
                <a:t>T</a:t>
              </a:r>
              <a:endParaRPr kumimoji="0" lang="en-US" sz="600" i="1" u="none" strike="noStrike" kern="1200" cap="none" spc="300" normalizeH="0" baseline="0" dirty="0">
                <a:ln>
                  <a:noFill/>
                </a:ln>
                <a:effectLst/>
                <a:uLnTx/>
                <a:uFillTx/>
                <a:latin typeface="Open Sans"/>
              </a:endParaRPr>
            </a:p>
          </p:txBody>
        </p:sp>
        <p:pic>
          <p:nvPicPr>
            <p:cNvPr id="45" name="Picture 4" descr="Hungary Large Flag | Gallery Yopriceville - High-Quality Free Images ...">
              <a:extLst>
                <a:ext uri="{FF2B5EF4-FFF2-40B4-BE49-F238E27FC236}">
                  <a16:creationId xmlns:a16="http://schemas.microsoft.com/office/drawing/2014/main" id="{FC4B8232-1F97-E96C-8274-D26948AABC24}"/>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89759" y="451244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03607787"/>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5F1BDD-D538-F5A4-3754-AF974DFF8A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6" name="think-cell data - do not delete" hidden="1">
                        <a:extLst>
                          <a:ext uri="{FF2B5EF4-FFF2-40B4-BE49-F238E27FC236}">
                            <a16:creationId xmlns:a16="http://schemas.microsoft.com/office/drawing/2014/main" id="{405F1BDD-D538-F5A4-3754-AF974DFF8A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F958F9C-FD47-A60C-2BB0-576EE6098F59}"/>
              </a:ext>
            </a:extLst>
          </p:cNvPr>
          <p:cNvSpPr>
            <a:spLocks noGrp="1"/>
          </p:cNvSpPr>
          <p:nvPr>
            <p:ph type="body" sz="quarter" idx="22"/>
          </p:nvPr>
        </p:nvSpPr>
        <p:spPr>
          <a:xfrm>
            <a:off x="453356" y="936000"/>
            <a:ext cx="11277600" cy="757255"/>
          </a:xfrm>
        </p:spPr>
        <p:txBody>
          <a:bodyPr/>
          <a:lstStyle/>
          <a:p>
            <a:r>
              <a:rPr lang="en-GB"/>
              <a:t>When deciding between the different models, it is important to weigh up the different forces at play</a:t>
            </a:r>
          </a:p>
        </p:txBody>
      </p:sp>
      <p:sp>
        <p:nvSpPr>
          <p:cNvPr id="3" name="Title 2">
            <a:extLst>
              <a:ext uri="{FF2B5EF4-FFF2-40B4-BE49-F238E27FC236}">
                <a16:creationId xmlns:a16="http://schemas.microsoft.com/office/drawing/2014/main" id="{AB8555BD-AFFC-5850-6C83-4F4F25F3DA62}"/>
              </a:ext>
            </a:extLst>
          </p:cNvPr>
          <p:cNvSpPr>
            <a:spLocks noGrp="1"/>
          </p:cNvSpPr>
          <p:nvPr>
            <p:ph type="title"/>
          </p:nvPr>
        </p:nvSpPr>
        <p:spPr/>
        <p:txBody>
          <a:bodyPr vert="horz"/>
          <a:lstStyle/>
          <a:p>
            <a:r>
              <a:rPr lang="en-GB"/>
              <a:t>Shared services models</a:t>
            </a:r>
          </a:p>
        </p:txBody>
      </p:sp>
      <p:sp>
        <p:nvSpPr>
          <p:cNvPr id="4" name="Rectangle 3">
            <a:extLst>
              <a:ext uri="{FF2B5EF4-FFF2-40B4-BE49-F238E27FC236}">
                <a16:creationId xmlns:a16="http://schemas.microsoft.com/office/drawing/2014/main" id="{0331F673-6073-480F-90AE-3899E32C228C}"/>
              </a:ext>
            </a:extLst>
          </p:cNvPr>
          <p:cNvSpPr/>
          <p:nvPr/>
        </p:nvSpPr>
        <p:spPr bwMode="gray">
          <a:xfrm>
            <a:off x="628650" y="2034540"/>
            <a:ext cx="1813492" cy="2068830"/>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a:latin typeface="Open Sans" panose="020B0606030504020204" pitchFamily="34" charset="0"/>
                <a:ea typeface="Open Sans" panose="020B0606030504020204" pitchFamily="34" charset="0"/>
                <a:cs typeface="Open Sans" panose="020B0606030504020204" pitchFamily="34" charset="0"/>
              </a:rPr>
              <a:t>Decentralized model with transition of most basic transaction processing to global hub.</a:t>
            </a:r>
          </a:p>
        </p:txBody>
      </p:sp>
      <p:sp>
        <p:nvSpPr>
          <p:cNvPr id="7" name="Rectangle 6">
            <a:extLst>
              <a:ext uri="{FF2B5EF4-FFF2-40B4-BE49-F238E27FC236}">
                <a16:creationId xmlns:a16="http://schemas.microsoft.com/office/drawing/2014/main" id="{7DCB053D-00B8-DF76-42B0-565FDC060658}"/>
              </a:ext>
            </a:extLst>
          </p:cNvPr>
          <p:cNvSpPr/>
          <p:nvPr/>
        </p:nvSpPr>
        <p:spPr bwMode="gray">
          <a:xfrm>
            <a:off x="628650" y="4255770"/>
            <a:ext cx="1813492" cy="2068830"/>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a:latin typeface="Open Sans" panose="020B0606030504020204" pitchFamily="34" charset="0"/>
                <a:ea typeface="Open Sans" panose="020B0606030504020204" pitchFamily="34" charset="0"/>
                <a:cs typeface="Open Sans" panose="020B0606030504020204" pitchFamily="34" charset="0"/>
              </a:rPr>
              <a:t>Global hub does transaction processing, regional centres focus on higher value and region – critical processes.</a:t>
            </a:r>
          </a:p>
        </p:txBody>
      </p:sp>
      <p:sp>
        <p:nvSpPr>
          <p:cNvPr id="11" name="Rectangle 10">
            <a:extLst>
              <a:ext uri="{FF2B5EF4-FFF2-40B4-BE49-F238E27FC236}">
                <a16:creationId xmlns:a16="http://schemas.microsoft.com/office/drawing/2014/main" id="{4B48763C-5832-6D24-4414-7A064F4F0021}"/>
              </a:ext>
            </a:extLst>
          </p:cNvPr>
          <p:cNvSpPr/>
          <p:nvPr/>
        </p:nvSpPr>
        <p:spPr bwMode="gray">
          <a:xfrm>
            <a:off x="10001250" y="2034540"/>
            <a:ext cx="1813492" cy="2068830"/>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a:latin typeface="Open Sans" panose="020B0606030504020204" pitchFamily="34" charset="0"/>
                <a:ea typeface="Open Sans" panose="020B0606030504020204" pitchFamily="34" charset="0"/>
                <a:cs typeface="Open Sans" panose="020B0606030504020204" pitchFamily="34" charset="0"/>
              </a:rPr>
              <a:t>Multiple centres assigned by country/groupings, each with independent processes/systems historical decentralised model or move to country/groupings</a:t>
            </a:r>
            <a:r>
              <a:rPr lang="en-GB" sz="1200" dirty="0">
                <a:latin typeface="Open Sans" panose="020B0606030504020204" pitchFamily="34" charset="0"/>
                <a:ea typeface="Open Sans" panose="020B0606030504020204" pitchFamily="34" charset="0"/>
                <a:cs typeface="Open Sans" panose="020B0606030504020204" pitchFamily="34" charset="0"/>
              </a:rPr>
              <a:t>.</a:t>
            </a:r>
            <a:endParaRPr lang="en-GB" sz="1200">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727D1CC1-A583-21AC-C3F8-6A618A9084EA}"/>
              </a:ext>
            </a:extLst>
          </p:cNvPr>
          <p:cNvSpPr/>
          <p:nvPr/>
        </p:nvSpPr>
        <p:spPr bwMode="gray">
          <a:xfrm>
            <a:off x="10001250" y="4255770"/>
            <a:ext cx="1813492" cy="2068830"/>
          </a:xfrm>
          <a:prstGeom prst="rect">
            <a:avLst/>
          </a:prstGeom>
          <a:solidFill>
            <a:srgbClr val="007CB0">
              <a:alpha val="20000"/>
            </a:srgbClr>
          </a:solid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a:latin typeface="Open Sans" panose="020B0606030504020204" pitchFamily="34" charset="0"/>
                <a:ea typeface="Open Sans" panose="020B0606030504020204" pitchFamily="34" charset="0"/>
                <a:cs typeface="Open Sans" panose="020B0606030504020204" pitchFamily="34" charset="0"/>
              </a:rPr>
              <a:t>Centres placed strategically in each region to consolidate regional transactional processing – addresses regional organisational dynamics, cultures, regulatory and languages.</a:t>
            </a:r>
          </a:p>
        </p:txBody>
      </p:sp>
      <p:sp>
        <p:nvSpPr>
          <p:cNvPr id="15" name="Rectangle 14">
            <a:extLst>
              <a:ext uri="{FF2B5EF4-FFF2-40B4-BE49-F238E27FC236}">
                <a16:creationId xmlns:a16="http://schemas.microsoft.com/office/drawing/2014/main" id="{20CDE661-0DFB-4A20-B5C8-B26D97E28DCD}"/>
              </a:ext>
            </a:extLst>
          </p:cNvPr>
          <p:cNvSpPr/>
          <p:nvPr/>
        </p:nvSpPr>
        <p:spPr bwMode="gray">
          <a:xfrm>
            <a:off x="2442142" y="3783330"/>
            <a:ext cx="3292588" cy="320040"/>
          </a:xfrm>
          <a:prstGeom prst="rect">
            <a:avLst/>
          </a:prstGeom>
          <a:solidFill>
            <a:srgbClr val="007CB0">
              <a:alpha val="20000"/>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a:latin typeface="Open Sans" panose="020B0606030504020204" pitchFamily="34" charset="0"/>
                <a:ea typeface="Open Sans" panose="020B0606030504020204" pitchFamily="34" charset="0"/>
                <a:cs typeface="Open Sans" panose="020B0606030504020204" pitchFamily="34" charset="0"/>
              </a:rPr>
              <a:t>Decentralized model with global hub</a:t>
            </a:r>
          </a:p>
        </p:txBody>
      </p:sp>
      <p:sp>
        <p:nvSpPr>
          <p:cNvPr id="16" name="Rectangle 15">
            <a:extLst>
              <a:ext uri="{FF2B5EF4-FFF2-40B4-BE49-F238E27FC236}">
                <a16:creationId xmlns:a16="http://schemas.microsoft.com/office/drawing/2014/main" id="{48EAE86C-A21F-664F-D2C1-5B31374D433F}"/>
              </a:ext>
            </a:extLst>
          </p:cNvPr>
          <p:cNvSpPr/>
          <p:nvPr/>
        </p:nvSpPr>
        <p:spPr bwMode="gray">
          <a:xfrm>
            <a:off x="2442142" y="6004560"/>
            <a:ext cx="3292588" cy="320040"/>
          </a:xfrm>
          <a:prstGeom prst="rect">
            <a:avLst/>
          </a:prstGeom>
          <a:solidFill>
            <a:srgbClr val="007CB0">
              <a:alpha val="20000"/>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a:latin typeface="Open Sans" panose="020B0606030504020204" pitchFamily="34" charset="0"/>
                <a:ea typeface="Open Sans" panose="020B0606030504020204" pitchFamily="34" charset="0"/>
                <a:cs typeface="Open Sans" panose="020B0606030504020204" pitchFamily="34" charset="0"/>
              </a:rPr>
              <a:t>Hub and spoke</a:t>
            </a:r>
          </a:p>
        </p:txBody>
      </p:sp>
      <p:sp>
        <p:nvSpPr>
          <p:cNvPr id="17" name="Rectangle 16">
            <a:extLst>
              <a:ext uri="{FF2B5EF4-FFF2-40B4-BE49-F238E27FC236}">
                <a16:creationId xmlns:a16="http://schemas.microsoft.com/office/drawing/2014/main" id="{F0058866-F59C-ED14-A27B-BA34C3CC8038}"/>
              </a:ext>
            </a:extLst>
          </p:cNvPr>
          <p:cNvSpPr/>
          <p:nvPr/>
        </p:nvSpPr>
        <p:spPr bwMode="gray">
          <a:xfrm>
            <a:off x="6708662" y="3783330"/>
            <a:ext cx="3292588" cy="320040"/>
          </a:xfrm>
          <a:prstGeom prst="rect">
            <a:avLst/>
          </a:prstGeom>
          <a:solidFill>
            <a:srgbClr val="007CB0">
              <a:alpha val="20000"/>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a:latin typeface="Open Sans" panose="020B0606030504020204" pitchFamily="34" charset="0"/>
                <a:ea typeface="Open Sans" panose="020B0606030504020204" pitchFamily="34" charset="0"/>
                <a:cs typeface="Open Sans" panose="020B0606030504020204" pitchFamily="34" charset="0"/>
              </a:rPr>
              <a:t>Local/distributed</a:t>
            </a:r>
          </a:p>
        </p:txBody>
      </p:sp>
      <p:sp>
        <p:nvSpPr>
          <p:cNvPr id="18" name="Rectangle 17">
            <a:extLst>
              <a:ext uri="{FF2B5EF4-FFF2-40B4-BE49-F238E27FC236}">
                <a16:creationId xmlns:a16="http://schemas.microsoft.com/office/drawing/2014/main" id="{C5F3A5CF-7C68-656B-8CF6-3F97D363A756}"/>
              </a:ext>
            </a:extLst>
          </p:cNvPr>
          <p:cNvSpPr/>
          <p:nvPr/>
        </p:nvSpPr>
        <p:spPr bwMode="gray">
          <a:xfrm>
            <a:off x="6708662" y="6004560"/>
            <a:ext cx="3292588" cy="320040"/>
          </a:xfrm>
          <a:prstGeom prst="rect">
            <a:avLst/>
          </a:prstGeom>
          <a:solidFill>
            <a:srgbClr val="007CB0">
              <a:alpha val="20000"/>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a:latin typeface="Open Sans" panose="020B0606030504020204" pitchFamily="34" charset="0"/>
                <a:ea typeface="Open Sans" panose="020B0606030504020204" pitchFamily="34" charset="0"/>
                <a:cs typeface="Open Sans" panose="020B0606030504020204" pitchFamily="34" charset="0"/>
              </a:rPr>
              <a:t>Regional</a:t>
            </a:r>
          </a:p>
        </p:txBody>
      </p:sp>
      <p:pic>
        <p:nvPicPr>
          <p:cNvPr id="23" name="Picture 22">
            <a:extLst>
              <a:ext uri="{FF2B5EF4-FFF2-40B4-BE49-F238E27FC236}">
                <a16:creationId xmlns:a16="http://schemas.microsoft.com/office/drawing/2014/main" id="{7F34C8F1-BDE5-F939-38E5-DDEABBEE396F}"/>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889865" y="2034540"/>
            <a:ext cx="2397142" cy="1692797"/>
          </a:xfrm>
          <a:prstGeom prst="rect">
            <a:avLst/>
          </a:prstGeom>
        </p:spPr>
      </p:pic>
      <p:pic>
        <p:nvPicPr>
          <p:cNvPr id="25" name="Picture 24">
            <a:extLst>
              <a:ext uri="{FF2B5EF4-FFF2-40B4-BE49-F238E27FC236}">
                <a16:creationId xmlns:a16="http://schemas.microsoft.com/office/drawing/2014/main" id="{E967A55A-87FF-9CB2-1EC8-BB97C9F378F2}"/>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50485" y="2035697"/>
            <a:ext cx="2408943" cy="1691640"/>
          </a:xfrm>
          <a:prstGeom prst="rect">
            <a:avLst/>
          </a:prstGeom>
        </p:spPr>
      </p:pic>
      <p:pic>
        <p:nvPicPr>
          <p:cNvPr id="27" name="Picture 26">
            <a:extLst>
              <a:ext uri="{FF2B5EF4-FFF2-40B4-BE49-F238E27FC236}">
                <a16:creationId xmlns:a16="http://schemas.microsoft.com/office/drawing/2014/main" id="{441DBA3E-EF34-FB11-8DA8-9AC7CC09C751}"/>
              </a:ext>
            </a:extLst>
          </p:cNvPr>
          <p:cNvPicPr>
            <a:picLocks noChangeAspect="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948166" y="4253865"/>
            <a:ext cx="2280539" cy="1691640"/>
          </a:xfrm>
          <a:prstGeom prst="rect">
            <a:avLst/>
          </a:prstGeom>
        </p:spPr>
      </p:pic>
      <p:pic>
        <p:nvPicPr>
          <p:cNvPr id="29" name="Picture 28">
            <a:extLst>
              <a:ext uri="{FF2B5EF4-FFF2-40B4-BE49-F238E27FC236}">
                <a16:creationId xmlns:a16="http://schemas.microsoft.com/office/drawing/2014/main" id="{EFFAB141-E7CD-F4EF-C4F3-C45FBCAF6D86}"/>
              </a:ext>
            </a:extLst>
          </p:cNvPr>
          <p:cNvPicPr>
            <a:picLocks noChangeAspect="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211800" y="4253865"/>
            <a:ext cx="2286312" cy="1691640"/>
          </a:xfrm>
          <a:prstGeom prst="rect">
            <a:avLst/>
          </a:prstGeom>
        </p:spPr>
      </p:pic>
    </p:spTree>
    <p:extLst>
      <p:ext uri="{BB962C8B-B14F-4D97-AF65-F5344CB8AC3E}">
        <p14:creationId xmlns:p14="http://schemas.microsoft.com/office/powerpoint/2010/main" val="2963802163"/>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1" y="2997200"/>
            <a:ext cx="7477761" cy="863600"/>
            <a:chOff x="-1" y="2997200"/>
            <a:chExt cx="7477761" cy="863600"/>
          </a:xfrm>
          <a:solidFill>
            <a:srgbClr val="62B5E5"/>
          </a:solidFill>
          <a:effectLst>
            <a:outerShdw blurRad="50800" dist="38100" dir="5400000" algn="t" rotWithShape="0">
              <a:prstClr val="black">
                <a:alpha val="40000"/>
              </a:prstClr>
            </a:outerShdw>
          </a:effectLst>
        </p:grpSpPr>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a:extLst>
                <a:ext uri="{FF2B5EF4-FFF2-40B4-BE49-F238E27FC236}">
                  <a16:creationId xmlns:a16="http://schemas.microsoft.com/office/drawing/2014/main" id="{3D401599-9D06-8EE4-4868-D91498BE40B4}"/>
                </a:ext>
              </a:extLst>
            </p:cNvPr>
            <p:cNvSpPr/>
            <p:nvPr/>
          </p:nvSpPr>
          <p:spPr bwMode="gray">
            <a:xfrm>
              <a:off x="-1" y="2997200"/>
              <a:ext cx="7182853"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7 </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Risk strategy and business continuity</a:t>
              </a:r>
              <a:endPar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10616794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6C2F720-3AC5-EA95-4D7C-9D39E0AD83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4" name="think-cell data - do not delete" hidden="1">
                        <a:extLst>
                          <a:ext uri="{FF2B5EF4-FFF2-40B4-BE49-F238E27FC236}">
                            <a16:creationId xmlns:a16="http://schemas.microsoft.com/office/drawing/2014/main" id="{D6C2F720-3AC5-EA95-4D7C-9D39E0AD83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A654250-EC88-BB44-7220-85C391783153}"/>
              </a:ext>
            </a:extLst>
          </p:cNvPr>
          <p:cNvSpPr>
            <a:spLocks noGrp="1"/>
          </p:cNvSpPr>
          <p:nvPr>
            <p:ph type="body" sz="quarter" idx="22"/>
          </p:nvPr>
        </p:nvSpPr>
        <p:spPr/>
        <p:txBody>
          <a:bodyPr/>
          <a:lstStyle/>
          <a:p>
            <a:r>
              <a:rPr lang="en-US" dirty="0"/>
              <a:t>Deloitte is conducting on a regular basis different risk assessments and helps prepare its clients for developing and implementing a tailored risk management strategy in the field of business, operational, finance, IT and cyber risks.</a:t>
            </a:r>
            <a:endParaRPr lang="en-GB" dirty="0"/>
          </a:p>
        </p:txBody>
      </p:sp>
      <p:sp>
        <p:nvSpPr>
          <p:cNvPr id="3" name="Title 2">
            <a:extLst>
              <a:ext uri="{FF2B5EF4-FFF2-40B4-BE49-F238E27FC236}">
                <a16:creationId xmlns:a16="http://schemas.microsoft.com/office/drawing/2014/main" id="{45E594CC-2B40-02D9-0677-65892B4B1521}"/>
              </a:ext>
            </a:extLst>
          </p:cNvPr>
          <p:cNvSpPr>
            <a:spLocks noGrp="1"/>
          </p:cNvSpPr>
          <p:nvPr>
            <p:ph type="title"/>
          </p:nvPr>
        </p:nvSpPr>
        <p:spPr/>
        <p:txBody>
          <a:bodyPr vert="horz"/>
          <a:lstStyle/>
          <a:p>
            <a:r>
              <a:rPr lang="en-US" dirty="0"/>
              <a:t>9.</a:t>
            </a:r>
            <a:r>
              <a:rPr lang="en-US"/>
              <a:t>7</a:t>
            </a:r>
            <a:r>
              <a:rPr lang="en-US" dirty="0"/>
              <a:t>.1</a:t>
            </a:r>
            <a:r>
              <a:rPr lang="en-US"/>
              <a:t>Deloitte Risk</a:t>
            </a:r>
            <a:r>
              <a:rPr lang="en-US" dirty="0"/>
              <a:t> </a:t>
            </a:r>
            <a:r>
              <a:rPr lang="en-US"/>
              <a:t>Strategy </a:t>
            </a:r>
            <a:r>
              <a:rPr lang="en-US" dirty="0"/>
              <a:t>Methodology</a:t>
            </a:r>
            <a:br>
              <a:rPr lang="en-US" dirty="0"/>
            </a:br>
            <a:endParaRPr lang="en-GB" dirty="0"/>
          </a:p>
        </p:txBody>
      </p:sp>
      <p:sp>
        <p:nvSpPr>
          <p:cNvPr id="4" name="Text Placeholder 1">
            <a:extLst>
              <a:ext uri="{FF2B5EF4-FFF2-40B4-BE49-F238E27FC236}">
                <a16:creationId xmlns:a16="http://schemas.microsoft.com/office/drawing/2014/main" id="{3B4EF686-8823-FCC9-3CA7-6ADA6D2C2979}"/>
              </a:ext>
            </a:extLst>
          </p:cNvPr>
          <p:cNvSpPr txBox="1">
            <a:spLocks/>
          </p:cNvSpPr>
          <p:nvPr/>
        </p:nvSpPr>
        <p:spPr>
          <a:xfrm>
            <a:off x="463295" y="936000"/>
            <a:ext cx="11277600" cy="757255"/>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i="0" kern="12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US" dirty="0"/>
          </a:p>
        </p:txBody>
      </p:sp>
      <p:sp>
        <p:nvSpPr>
          <p:cNvPr id="5" name="Title 2">
            <a:extLst>
              <a:ext uri="{FF2B5EF4-FFF2-40B4-BE49-F238E27FC236}">
                <a16:creationId xmlns:a16="http://schemas.microsoft.com/office/drawing/2014/main" id="{7A0FF20C-3F1B-C891-EB17-2A46F5A22632}"/>
              </a:ext>
            </a:extLst>
          </p:cNvPr>
          <p:cNvSpPr txBox="1">
            <a:spLocks/>
          </p:cNvSpPr>
          <p:nvPr/>
        </p:nvSpPr>
        <p:spPr bwMode="gray">
          <a:xfrm>
            <a:off x="1942391" y="450987"/>
            <a:ext cx="8307218" cy="334099"/>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p>
        </p:txBody>
      </p:sp>
      <p:sp>
        <p:nvSpPr>
          <p:cNvPr id="6" name="Rectangle: Rounded Corners 70">
            <a:extLst>
              <a:ext uri="{FF2B5EF4-FFF2-40B4-BE49-F238E27FC236}">
                <a16:creationId xmlns:a16="http://schemas.microsoft.com/office/drawing/2014/main" id="{0D26D6F9-4E3E-5A40-9579-9D60800C5A49}"/>
              </a:ext>
            </a:extLst>
          </p:cNvPr>
          <p:cNvSpPr>
            <a:spLocks/>
          </p:cNvSpPr>
          <p:nvPr/>
        </p:nvSpPr>
        <p:spPr bwMode="gray">
          <a:xfrm>
            <a:off x="471441" y="1977786"/>
            <a:ext cx="3271720" cy="237016"/>
          </a:xfrm>
          <a:prstGeom prst="roundRect">
            <a:avLst/>
          </a:prstGeom>
          <a:solidFill>
            <a:srgbClr val="00B0F2"/>
          </a:solidFill>
          <a:ln w="19050" algn="ctr">
            <a:noFill/>
            <a:miter lim="800000"/>
            <a:headEnd/>
            <a:tailEnd/>
          </a:ln>
        </p:spPr>
        <p:txBody>
          <a:bodyPr wrap="square" lIns="72000" tIns="0" rIns="0" bIns="0" rtlCol="0" anchor="ctr"/>
          <a:lstStyle/>
          <a:p>
            <a:pPr marL="0" marR="0" lvl="0" indent="0" algn="l" defTabSz="91440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Key Project Objectives and Goals</a:t>
            </a:r>
          </a:p>
        </p:txBody>
      </p:sp>
      <p:sp>
        <p:nvSpPr>
          <p:cNvPr id="7" name="TextBox 6">
            <a:extLst>
              <a:ext uri="{FF2B5EF4-FFF2-40B4-BE49-F238E27FC236}">
                <a16:creationId xmlns:a16="http://schemas.microsoft.com/office/drawing/2014/main" id="{DE6435D6-3D79-54A2-5EC7-BD6B145234C3}"/>
              </a:ext>
            </a:extLst>
          </p:cNvPr>
          <p:cNvSpPr txBox="1"/>
          <p:nvPr/>
        </p:nvSpPr>
        <p:spPr>
          <a:xfrm>
            <a:off x="459329" y="2291244"/>
            <a:ext cx="9906929" cy="387798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52425" lvl="1" indent="-228600">
              <a:spcAft>
                <a:spcPts val="0"/>
              </a:spcAft>
              <a:buFont typeface="+mj-lt"/>
              <a:buAutoNum type="arabicPeriod"/>
            </a:pPr>
            <a:r>
              <a:rPr lang="en-US" sz="1050" b="1" dirty="0">
                <a:latin typeface="Open Sans" panose="020B0606030504020204" pitchFamily="34" charset="0"/>
                <a:ea typeface="Open Sans" panose="020B0606030504020204" pitchFamily="34" charset="0"/>
                <a:cs typeface="Open Sans" panose="020B0606030504020204" pitchFamily="34" charset="0"/>
              </a:rPr>
              <a:t>Validate Policies, Standards and Proposed Policy and Compliance Model</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Assess the proposed model against the model used by leading practices and institutions and provide recommendations</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Identify the risk assessment and compliance protocol between UNICEF’s Business Units</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Provide recommendations as to how UNICEF current policies and standards fit with the recommended organizational structure and roles and responsibilities</a:t>
            </a:r>
          </a:p>
          <a:p>
            <a:pPr marL="461963" lvl="1" indent="-120650">
              <a:spcAft>
                <a:spcPts val="0"/>
              </a:spcAft>
              <a:buNone/>
            </a:pPr>
            <a:endParaRPr lang="en-US" sz="1050" dirty="0">
              <a:latin typeface="Open Sans" panose="020B0606030504020204" pitchFamily="34" charset="0"/>
              <a:ea typeface="Open Sans" panose="020B0606030504020204" pitchFamily="34" charset="0"/>
              <a:cs typeface="Open Sans" panose="020B0606030504020204" pitchFamily="34" charset="0"/>
            </a:endParaRPr>
          </a:p>
          <a:p>
            <a:pPr marL="352425" lvl="1" indent="-228600">
              <a:spcAft>
                <a:spcPts val="0"/>
              </a:spcAft>
              <a:buFont typeface="+mj-lt"/>
              <a:buAutoNum type="arabicPeriod" startAt="2"/>
            </a:pPr>
            <a:r>
              <a:rPr lang="en-US" sz="1050" b="1" dirty="0">
                <a:latin typeface="Open Sans" panose="020B0606030504020204" pitchFamily="34" charset="0"/>
                <a:ea typeface="Open Sans" panose="020B0606030504020204" pitchFamily="34" charset="0"/>
                <a:cs typeface="Open Sans" panose="020B0606030504020204" pitchFamily="34" charset="0"/>
              </a:rPr>
              <a:t>Refine Policy and Compliance Model</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Document the governance process used to refine overall policies and standards</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Identify the process for risk and impact assessment related to policies</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Develop a process for rationalizing policies and standards, pilot in a business unit and refine based on pilot</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Identify key reporting requirements (e.g., KRIs, KPIs, metrics)</a:t>
            </a:r>
          </a:p>
          <a:p>
            <a:pPr marL="461963" lvl="1" indent="-120650">
              <a:spcAft>
                <a:spcPts val="0"/>
              </a:spcAft>
              <a:buNone/>
            </a:pPr>
            <a:endParaRPr lang="en-US" sz="1050" dirty="0">
              <a:latin typeface="Open Sans" panose="020B0606030504020204" pitchFamily="34" charset="0"/>
              <a:ea typeface="Open Sans" panose="020B0606030504020204" pitchFamily="34" charset="0"/>
              <a:cs typeface="Open Sans" panose="020B0606030504020204" pitchFamily="34" charset="0"/>
            </a:endParaRPr>
          </a:p>
          <a:p>
            <a:pPr marL="352425" lvl="1" indent="-228600">
              <a:spcAft>
                <a:spcPts val="0"/>
              </a:spcAft>
              <a:buFont typeface="+mj-lt"/>
              <a:buAutoNum type="arabicPeriod" startAt="3"/>
            </a:pPr>
            <a:r>
              <a:rPr lang="en-US" sz="1050" b="1" dirty="0">
                <a:latin typeface="Open Sans" panose="020B0606030504020204" pitchFamily="34" charset="0"/>
                <a:ea typeface="Open Sans" panose="020B0606030504020204" pitchFamily="34" charset="0"/>
                <a:cs typeface="Open Sans" panose="020B0606030504020204" pitchFamily="34" charset="0"/>
              </a:rPr>
              <a:t>Define a Risk Assessment Framework</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Document the major components of a standards-based risk assessment framework (business, operational, finance, IT, cyber, etc.)</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Develop the process for applying the framework to UNICEF’s Business Unites</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Identify key reporting requirements (e.g., KRIs, KPIs, metrics)</a:t>
            </a:r>
          </a:p>
          <a:p>
            <a:pPr marL="461963" lvl="1" indent="-120650">
              <a:spcAft>
                <a:spcPts val="0"/>
              </a:spcAft>
              <a:buNone/>
            </a:pPr>
            <a:endParaRPr lang="en-US" sz="1050" dirty="0">
              <a:latin typeface="Open Sans" panose="020B0606030504020204" pitchFamily="34" charset="0"/>
              <a:ea typeface="Open Sans" panose="020B0606030504020204" pitchFamily="34" charset="0"/>
              <a:cs typeface="Open Sans" panose="020B0606030504020204" pitchFamily="34" charset="0"/>
            </a:endParaRPr>
          </a:p>
          <a:p>
            <a:pPr marL="352425" lvl="1" indent="-228600">
              <a:spcAft>
                <a:spcPts val="0"/>
              </a:spcAft>
              <a:buFont typeface="+mj-lt"/>
              <a:buAutoNum type="arabicPeriod" startAt="4"/>
            </a:pPr>
            <a:r>
              <a:rPr lang="en-US" sz="1050" b="1" dirty="0">
                <a:latin typeface="Open Sans" panose="020B0606030504020204" pitchFamily="34" charset="0"/>
                <a:ea typeface="Open Sans" panose="020B0606030504020204" pitchFamily="34" charset="0"/>
                <a:cs typeface="Open Sans" panose="020B0606030504020204" pitchFamily="34" charset="0"/>
              </a:rPr>
              <a:t>Define Organizational Model</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Document the roles and responsibilities required to support objectives 1 – 3 above</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Identify proposed organizational structure, including UNICEF’s Business Units</a:t>
            </a:r>
          </a:p>
          <a:p>
            <a:pPr marL="461963" lvl="1" indent="-120650">
              <a:spcAft>
                <a:spcPts val="0"/>
              </a:spcAft>
              <a:buNone/>
            </a:pPr>
            <a:endParaRPr lang="en-US" sz="1050" dirty="0">
              <a:latin typeface="Open Sans" panose="020B0606030504020204" pitchFamily="34" charset="0"/>
              <a:ea typeface="Open Sans" panose="020B0606030504020204" pitchFamily="34" charset="0"/>
              <a:cs typeface="Open Sans" panose="020B0606030504020204" pitchFamily="34" charset="0"/>
            </a:endParaRPr>
          </a:p>
          <a:p>
            <a:pPr marL="352425" lvl="1" indent="-228600">
              <a:spcAft>
                <a:spcPts val="0"/>
              </a:spcAft>
              <a:buFont typeface="+mj-lt"/>
              <a:buAutoNum type="arabicPeriod" startAt="5"/>
            </a:pPr>
            <a:r>
              <a:rPr lang="en-US" sz="1050" b="1" dirty="0">
                <a:latin typeface="Open Sans" panose="020B0606030504020204" pitchFamily="34" charset="0"/>
                <a:ea typeface="Open Sans" panose="020B0606030504020204" pitchFamily="34" charset="0"/>
                <a:cs typeface="Open Sans" panose="020B0606030504020204" pitchFamily="34" charset="0"/>
              </a:rPr>
              <a:t>Develop Implementation Plan</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Document an implementation plan that identifies the broad set of initiatives, including detailed plans for each</a:t>
            </a:r>
          </a:p>
          <a:p>
            <a:pPr marL="512763" lvl="1" indent="-171450">
              <a:spcAft>
                <a:spcPts val="0"/>
              </a:spcAft>
              <a:buFont typeface="Wingdings" pitchFamily="2" charset="2"/>
              <a:buChar char="§"/>
            </a:pPr>
            <a:r>
              <a:rPr lang="en-US" sz="1050" dirty="0">
                <a:latin typeface="Open Sans" panose="020B0606030504020204" pitchFamily="34" charset="0"/>
                <a:ea typeface="Open Sans" panose="020B0606030504020204" pitchFamily="34" charset="0"/>
                <a:cs typeface="Open Sans" panose="020B0606030504020204" pitchFamily="34" charset="0"/>
              </a:rPr>
              <a:t>Develop a communication plan that supports the implementation plan</a:t>
            </a:r>
          </a:p>
        </p:txBody>
      </p:sp>
      <p:pic>
        <p:nvPicPr>
          <p:cNvPr id="8" name="Picture 2">
            <a:extLst>
              <a:ext uri="{FF2B5EF4-FFF2-40B4-BE49-F238E27FC236}">
                <a16:creationId xmlns:a16="http://schemas.microsoft.com/office/drawing/2014/main" id="{B34BFF4F-D171-2C03-848B-B7FDF45730F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423844" y="4179447"/>
            <a:ext cx="901066" cy="671311"/>
          </a:xfrm>
          <a:prstGeom prst="rect">
            <a:avLst/>
          </a:prstGeom>
          <a:noFill/>
          <a:ln w="9525">
            <a:solidFill>
              <a:schemeClr val="accent1"/>
            </a:solidFill>
            <a:miter lim="800000"/>
            <a:headEnd/>
            <a:tailEnd/>
          </a:ln>
        </p:spPr>
      </p:pic>
      <p:pic>
        <p:nvPicPr>
          <p:cNvPr id="9" name="Picture 8">
            <a:extLst>
              <a:ext uri="{FF2B5EF4-FFF2-40B4-BE49-F238E27FC236}">
                <a16:creationId xmlns:a16="http://schemas.microsoft.com/office/drawing/2014/main" id="{74563379-6B38-C5D0-5E44-97AEF4337B4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470168" y="5820292"/>
            <a:ext cx="901066" cy="671311"/>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a:extLst>
              <a:ext uri="{FF2B5EF4-FFF2-40B4-BE49-F238E27FC236}">
                <a16:creationId xmlns:a16="http://schemas.microsoft.com/office/drawing/2014/main" id="{7386E601-0142-BD14-FD5F-307CC90B89E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423844" y="3230659"/>
            <a:ext cx="901066" cy="671311"/>
          </a:xfrm>
          <a:prstGeom prst="rect">
            <a:avLst/>
          </a:prstGeom>
          <a:noFill/>
          <a:ln w="9525">
            <a:solidFill>
              <a:schemeClr val="tx1"/>
            </a:solidFill>
            <a:miter lim="800000"/>
            <a:headEnd/>
            <a:tailEnd/>
          </a:ln>
        </p:spPr>
      </p:pic>
      <p:pic>
        <p:nvPicPr>
          <p:cNvPr id="11" name="Picture 10">
            <a:extLst>
              <a:ext uri="{FF2B5EF4-FFF2-40B4-BE49-F238E27FC236}">
                <a16:creationId xmlns:a16="http://schemas.microsoft.com/office/drawing/2014/main" id="{64883D16-6457-C70D-6234-C632B2259A6C}"/>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421379" y="2358738"/>
            <a:ext cx="896111" cy="671311"/>
          </a:xfrm>
          <a:prstGeom prst="rect">
            <a:avLst/>
          </a:prstGeom>
          <a:noFill/>
          <a:ln w="9525">
            <a:solidFill>
              <a:schemeClr val="accent1"/>
            </a:solidFill>
            <a:miter lim="800000"/>
            <a:headEnd/>
            <a:tailEnd/>
          </a:ln>
        </p:spPr>
      </p:pic>
      <p:pic>
        <p:nvPicPr>
          <p:cNvPr id="12" name="Picture 2">
            <a:extLst>
              <a:ext uri="{FF2B5EF4-FFF2-40B4-BE49-F238E27FC236}">
                <a16:creationId xmlns:a16="http://schemas.microsoft.com/office/drawing/2014/main" id="{24E64CEB-356D-C9D9-9D9A-2466EBE509F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475191" y="4994674"/>
            <a:ext cx="779954" cy="671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807951"/>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15D778-ACBC-C2C6-43E8-2FA4835B3C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C615D778-ACBC-C2C6-43E8-2FA4835B3C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0473BB6-4D45-7671-F7EC-B3B703D3BCE5}"/>
              </a:ext>
            </a:extLst>
          </p:cNvPr>
          <p:cNvSpPr>
            <a:spLocks noGrp="1"/>
          </p:cNvSpPr>
          <p:nvPr>
            <p:ph type="body" sz="quarter" idx="22"/>
          </p:nvPr>
        </p:nvSpPr>
        <p:spPr/>
        <p:txBody>
          <a:bodyPr/>
          <a:lstStyle/>
          <a:p>
            <a:r>
              <a:rPr lang="en-US" dirty="0"/>
              <a:t>A strong BCM program helps meet resilience requirements and drive continuous improvement activities to the organization.</a:t>
            </a:r>
          </a:p>
          <a:p>
            <a:endParaRPr lang="en-GB" dirty="0"/>
          </a:p>
        </p:txBody>
      </p:sp>
      <p:sp>
        <p:nvSpPr>
          <p:cNvPr id="3" name="Title 2">
            <a:extLst>
              <a:ext uri="{FF2B5EF4-FFF2-40B4-BE49-F238E27FC236}">
                <a16:creationId xmlns:a16="http://schemas.microsoft.com/office/drawing/2014/main" id="{626A4D21-1609-620A-4C61-E8799498371B}"/>
              </a:ext>
            </a:extLst>
          </p:cNvPr>
          <p:cNvSpPr>
            <a:spLocks noGrp="1"/>
          </p:cNvSpPr>
          <p:nvPr>
            <p:ph type="title"/>
          </p:nvPr>
        </p:nvSpPr>
        <p:spPr>
          <a:xfrm>
            <a:off x="463294" y="417911"/>
            <a:ext cx="11169906" cy="334099"/>
          </a:xfrm>
        </p:spPr>
        <p:txBody>
          <a:bodyPr/>
          <a:lstStyle/>
          <a:p>
            <a:r>
              <a:rPr lang="en-US" dirty="0"/>
              <a:t>9.7.2 Deloitte Business Continuity Management (BCM) Methodology</a:t>
            </a:r>
            <a:endParaRPr lang="en-GB" dirty="0"/>
          </a:p>
        </p:txBody>
      </p:sp>
      <p:graphicFrame>
        <p:nvGraphicFramePr>
          <p:cNvPr id="5" name="Table 4">
            <a:extLst>
              <a:ext uri="{FF2B5EF4-FFF2-40B4-BE49-F238E27FC236}">
                <a16:creationId xmlns:a16="http://schemas.microsoft.com/office/drawing/2014/main" id="{56F1ADB0-E606-15FC-FA31-62D151BB6A8B}"/>
              </a:ext>
            </a:extLst>
          </p:cNvPr>
          <p:cNvGraphicFramePr>
            <a:graphicFrameLocks noGrp="1"/>
          </p:cNvGraphicFramePr>
          <p:nvPr/>
        </p:nvGraphicFramePr>
        <p:xfrm>
          <a:off x="554199" y="1641437"/>
          <a:ext cx="6881317" cy="4738712"/>
        </p:xfrm>
        <a:graphic>
          <a:graphicData uri="http://schemas.openxmlformats.org/drawingml/2006/table">
            <a:tbl>
              <a:tblPr firstRow="1" firstCol="1" bandRow="1">
                <a:tableStyleId>{F2DE63D5-997A-4646-A377-4702673A728D}</a:tableStyleId>
              </a:tblPr>
              <a:tblGrid>
                <a:gridCol w="1375755">
                  <a:extLst>
                    <a:ext uri="{9D8B030D-6E8A-4147-A177-3AD203B41FA5}">
                      <a16:colId xmlns:a16="http://schemas.microsoft.com/office/drawing/2014/main" val="710356913"/>
                    </a:ext>
                  </a:extLst>
                </a:gridCol>
                <a:gridCol w="5505562">
                  <a:extLst>
                    <a:ext uri="{9D8B030D-6E8A-4147-A177-3AD203B41FA5}">
                      <a16:colId xmlns:a16="http://schemas.microsoft.com/office/drawing/2014/main" val="3484583420"/>
                    </a:ext>
                  </a:extLst>
                </a:gridCol>
              </a:tblGrid>
              <a:tr h="135463">
                <a:tc>
                  <a:txBody>
                    <a:bodyPr/>
                    <a:lstStyle/>
                    <a:p>
                      <a:pPr marL="0" marR="0">
                        <a:spcBef>
                          <a:spcPts val="300"/>
                        </a:spcBef>
                        <a:spcAft>
                          <a:spcPts val="300"/>
                        </a:spcAft>
                      </a:pPr>
                      <a:r>
                        <a:rPr lang="en-CA" sz="1000" b="1">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ocess</a:t>
                      </a:r>
                      <a:endParaRPr lang="en-US" sz="1000" b="1">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nchor="ctr"/>
                </a:tc>
                <a:tc>
                  <a:txBody>
                    <a:bodyPr/>
                    <a:lstStyle/>
                    <a:p>
                      <a:pPr marL="0" marR="0">
                        <a:spcBef>
                          <a:spcPts val="300"/>
                        </a:spcBef>
                        <a:spcAft>
                          <a:spcPts val="300"/>
                        </a:spcAft>
                      </a:pPr>
                      <a:r>
                        <a:rPr lang="en-CA" sz="10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Description</a:t>
                      </a:r>
                      <a:endParaRPr lang="en-US" sz="10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nchor="ctr"/>
                </a:tc>
                <a:extLst>
                  <a:ext uri="{0D108BD9-81ED-4DB2-BD59-A6C34878D82A}">
                    <a16:rowId xmlns:a16="http://schemas.microsoft.com/office/drawing/2014/main" val="2317913010"/>
                  </a:ext>
                </a:extLst>
              </a:tr>
              <a:tr h="270926">
                <a:tc>
                  <a:txBody>
                    <a:bodyPr/>
                    <a:lstStyle/>
                    <a:p>
                      <a:pPr marL="0" marR="0">
                        <a:spcBef>
                          <a:spcPts val="300"/>
                        </a:spcBef>
                        <a:spcAft>
                          <a:spcPts val="300"/>
                        </a:spcAft>
                      </a:pPr>
                      <a:r>
                        <a:rPr lang="en-CA" sz="1000" b="1"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BCM Governance</a:t>
                      </a:r>
                      <a:endParaRPr lang="en-US" sz="1000" b="1"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nchor="ctr"/>
                </a:tc>
                <a:tc>
                  <a:txBody>
                    <a:bodyPr/>
                    <a:lstStyle/>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solidFill>
                            <a:srgbClr val="000000"/>
                          </a:solidFill>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Establish the program management for BCM activities including roles and responsibilities, reporting and associated plans and playbooks</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tc>
                <a:extLst>
                  <a:ext uri="{0D108BD9-81ED-4DB2-BD59-A6C34878D82A}">
                    <a16:rowId xmlns:a16="http://schemas.microsoft.com/office/drawing/2014/main" val="2589276465"/>
                  </a:ext>
                </a:extLst>
              </a:tr>
              <a:tr h="500256">
                <a:tc>
                  <a:txBody>
                    <a:bodyPr/>
                    <a:lstStyle/>
                    <a:p>
                      <a:pPr marL="0" marR="0">
                        <a:spcBef>
                          <a:spcPts val="300"/>
                        </a:spcBef>
                        <a:spcAft>
                          <a:spcPts val="300"/>
                        </a:spcAft>
                      </a:pPr>
                      <a:r>
                        <a:rPr lang="en-CA" sz="1000" b="1">
                          <a:solidFill>
                            <a:schemeClr val="tx1"/>
                          </a:solidFill>
                          <a:effectLst/>
                          <a:latin typeface="Open Sans" panose="020B0606030504020204" pitchFamily="34" charset="0"/>
                          <a:ea typeface="Open Sans" panose="020B0606030504020204" pitchFamily="34" charset="0"/>
                          <a:cs typeface="Open Sans" panose="020B0606030504020204" pitchFamily="34" charset="0"/>
                        </a:rPr>
                        <a:t>Risk Assessment </a:t>
                      </a:r>
                      <a:endParaRPr lang="en-US" sz="1000" b="1">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nchor="ctr"/>
                </a:tc>
                <a:tc>
                  <a:txBody>
                    <a:bodyPr/>
                    <a:lstStyle/>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solidFill>
                            <a:srgbClr val="000000"/>
                          </a:solidFill>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Help implement and operate a process to identify and assess risks, conduct impact analysis, and the development and maintenance of BCM plans which capture strategies for recovery during a critical disruption and opportunities for mitigation of gaps in strategies</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solidFill>
                            <a:srgbClr val="000000"/>
                          </a:solidFill>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In all instances where significant gaps exist, ERM is included in report out for the follow through of actions directly related to risk mitigation. </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tc>
                <a:extLst>
                  <a:ext uri="{0D108BD9-81ED-4DB2-BD59-A6C34878D82A}">
                    <a16:rowId xmlns:a16="http://schemas.microsoft.com/office/drawing/2014/main" val="4239402205"/>
                  </a:ext>
                </a:extLst>
              </a:tr>
              <a:tr h="391538">
                <a:tc>
                  <a:txBody>
                    <a:bodyPr/>
                    <a:lstStyle/>
                    <a:p>
                      <a:pPr marL="0" marR="0">
                        <a:spcBef>
                          <a:spcPts val="300"/>
                        </a:spcBef>
                        <a:spcAft>
                          <a:spcPts val="300"/>
                        </a:spcAft>
                      </a:pPr>
                      <a:r>
                        <a:rPr lang="en-CA" sz="1000" b="1">
                          <a:solidFill>
                            <a:schemeClr val="tx1"/>
                          </a:solidFill>
                          <a:effectLst/>
                          <a:latin typeface="Open Sans" panose="020B0606030504020204" pitchFamily="34" charset="0"/>
                          <a:ea typeface="Open Sans" panose="020B0606030504020204" pitchFamily="34" charset="0"/>
                          <a:cs typeface="Open Sans" panose="020B0606030504020204" pitchFamily="34" charset="0"/>
                        </a:rPr>
                        <a:t>Business Impact Assessment</a:t>
                      </a:r>
                      <a:endParaRPr lang="en-US" sz="1000" b="1">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nchor="ctr"/>
                </a:tc>
                <a:tc>
                  <a:txBody>
                    <a:bodyPr/>
                    <a:lstStyle/>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solidFill>
                            <a:srgbClr val="000000"/>
                          </a:solidFill>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Identify impact of business disruptions on business processes and document all related enabling assets and interdependencies. Determine Maximum Tolerable Outage (MTO), </a:t>
                      </a:r>
                      <a:r>
                        <a:rPr lang="en-CA"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Single Points of Failure </a:t>
                      </a:r>
                      <a:r>
                        <a:rPr lang="en-CA" sz="1000" u="none" strike="noStrike" kern="0" spc="0" dirty="0">
                          <a:ln>
                            <a:noFill/>
                          </a:ln>
                          <a:solidFill>
                            <a:srgbClr val="000000"/>
                          </a:solidFill>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and recovery time and recovery point objectives (RTO and RPO) which define the maximum tolerable technology or data loss for the business process.</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tc>
                <a:extLst>
                  <a:ext uri="{0D108BD9-81ED-4DB2-BD59-A6C34878D82A}">
                    <a16:rowId xmlns:a16="http://schemas.microsoft.com/office/drawing/2014/main" val="3747338412"/>
                  </a:ext>
                </a:extLst>
              </a:tr>
              <a:tr h="514322">
                <a:tc>
                  <a:txBody>
                    <a:bodyPr/>
                    <a:lstStyle/>
                    <a:p>
                      <a:pPr marL="0" marR="0">
                        <a:spcBef>
                          <a:spcPts val="300"/>
                        </a:spcBef>
                        <a:spcAft>
                          <a:spcPts val="300"/>
                        </a:spcAft>
                      </a:pPr>
                      <a:r>
                        <a:rPr lang="en-CA" sz="1000" b="1">
                          <a:solidFill>
                            <a:schemeClr val="tx1"/>
                          </a:solidFill>
                          <a:effectLst/>
                          <a:latin typeface="Open Sans" panose="020B0606030504020204" pitchFamily="34" charset="0"/>
                          <a:ea typeface="Open Sans" panose="020B0606030504020204" pitchFamily="34" charset="0"/>
                          <a:cs typeface="Open Sans" panose="020B0606030504020204" pitchFamily="34" charset="0"/>
                        </a:rPr>
                        <a:t>BC Plan Development and Maintenance</a:t>
                      </a:r>
                      <a:endParaRPr lang="en-US" sz="1000" b="1">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nchor="ctr"/>
                </a:tc>
                <a:tc>
                  <a:txBody>
                    <a:bodyPr/>
                    <a:lstStyle/>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Design playbooks and recovery team structures with detailed response procedures and strategies (including workaround opportunities) for critical business functions and activities</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Engage IT as part of continuous improvement activities to map the technology resiliency addressing gaps and validating the business recovery strategies in the BC plan(s).</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tc>
                <a:extLst>
                  <a:ext uri="{0D108BD9-81ED-4DB2-BD59-A6C34878D82A}">
                    <a16:rowId xmlns:a16="http://schemas.microsoft.com/office/drawing/2014/main" val="2452880660"/>
                  </a:ext>
                </a:extLst>
              </a:tr>
              <a:tr h="538295">
                <a:tc>
                  <a:txBody>
                    <a:bodyPr/>
                    <a:lstStyle/>
                    <a:p>
                      <a:pPr marL="0" marR="0">
                        <a:spcBef>
                          <a:spcPts val="300"/>
                        </a:spcBef>
                        <a:spcAft>
                          <a:spcPts val="300"/>
                        </a:spcAft>
                      </a:pPr>
                      <a:r>
                        <a:rPr lang="en-CA" sz="1000" b="1">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ining &amp; Awareness / and Exercising</a:t>
                      </a:r>
                      <a:endParaRPr lang="en-US" sz="1000" b="1">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nchor="ctr"/>
                </a:tc>
                <a:tc>
                  <a:txBody>
                    <a:bodyPr/>
                    <a:lstStyle/>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solidFill>
                            <a:srgbClr val="000000"/>
                          </a:solidFill>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Help monitor and review for any updates to training and exercising materials based on the opportunities and lessons learned from BC and DR exercise, testing, reviews, audits or as part of post event reports to increase resilience and embedding BCM culture across the enterprise.</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tc>
                <a:extLst>
                  <a:ext uri="{0D108BD9-81ED-4DB2-BD59-A6C34878D82A}">
                    <a16:rowId xmlns:a16="http://schemas.microsoft.com/office/drawing/2014/main" val="759182109"/>
                  </a:ext>
                </a:extLst>
              </a:tr>
              <a:tr h="928712">
                <a:tc>
                  <a:txBody>
                    <a:bodyPr/>
                    <a:lstStyle/>
                    <a:p>
                      <a:pPr marL="0" marR="0">
                        <a:spcBef>
                          <a:spcPts val="300"/>
                        </a:spcBef>
                        <a:spcAft>
                          <a:spcPts val="300"/>
                        </a:spcAft>
                      </a:pPr>
                      <a:r>
                        <a:rPr lang="en-CA" sz="1000" b="1"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ntinuous Improvement</a:t>
                      </a:r>
                      <a:endParaRPr lang="en-US" sz="1000" b="1"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nchor="ctr"/>
                </a:tc>
                <a:tc>
                  <a:txBody>
                    <a:bodyPr/>
                    <a:lstStyle/>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solidFill>
                            <a:srgbClr val="000000"/>
                          </a:solidFill>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Opportunities identified through exercising and invocations will enhance the maturity of the BCM program. All recommendations and opportunities are provided to the BCM Manager for review which are identified as necessary for remediation. These items are part of the </a:t>
                      </a:r>
                      <a:r>
                        <a:rPr lang="en-CA"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BCM program.</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p>
                      <a:pPr marL="342900" marR="0" lvl="0" indent="-342900" fontAlgn="base">
                        <a:spcBef>
                          <a:spcPts val="300"/>
                        </a:spcBef>
                        <a:spcAft>
                          <a:spcPts val="300"/>
                        </a:spcAft>
                        <a:buSzPts val="850"/>
                        <a:buFont typeface="Symbol" panose="05050102010706020507" pitchFamily="18" charset="2"/>
                        <a:buChar char=""/>
                      </a:pPr>
                      <a:r>
                        <a:rPr lang="en-CA" sz="1000" u="none" strike="noStrike" kern="0" spc="0" dirty="0">
                          <a:ln>
                            <a:noFill/>
                          </a:ln>
                          <a:solidFill>
                            <a:srgbClr val="000000"/>
                          </a:solidFill>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rPr>
                        <a:t>Help with annual compliance, maturity dashboard (overall and per business function)</a:t>
                      </a:r>
                      <a:endParaRPr lang="en-US" sz="1000" u="none" strike="noStrike" kern="0" spc="0" dirty="0">
                        <a:ln>
                          <a:noFill/>
                        </a:ln>
                        <a:effectLst>
                          <a:glow>
                            <a:srgbClr val="000000"/>
                          </a:glow>
                          <a:outerShdw sx="0" sy="0">
                            <a:srgbClr val="000000"/>
                          </a:outerShdw>
                          <a:reflection stA="0" endPos="0" fadeDir="0" sx="0" sy="0"/>
                        </a:effectLst>
                        <a:latin typeface="Open Sans" panose="020B0606030504020204" pitchFamily="34" charset="0"/>
                        <a:ea typeface="Open Sans" panose="020B0606030504020204" pitchFamily="34" charset="0"/>
                        <a:cs typeface="Open Sans" panose="020B0606030504020204" pitchFamily="34" charset="0"/>
                      </a:endParaRPr>
                    </a:p>
                  </a:txBody>
                  <a:tcPr marL="65984" marR="65984" marT="0" marB="0"/>
                </a:tc>
                <a:extLst>
                  <a:ext uri="{0D108BD9-81ED-4DB2-BD59-A6C34878D82A}">
                    <a16:rowId xmlns:a16="http://schemas.microsoft.com/office/drawing/2014/main" val="1735719044"/>
                  </a:ext>
                </a:extLst>
              </a:tr>
            </a:tbl>
          </a:graphicData>
        </a:graphic>
      </p:graphicFrame>
      <p:grpSp>
        <p:nvGrpSpPr>
          <p:cNvPr id="6" name="Group 5">
            <a:extLst>
              <a:ext uri="{FF2B5EF4-FFF2-40B4-BE49-F238E27FC236}">
                <a16:creationId xmlns:a16="http://schemas.microsoft.com/office/drawing/2014/main" id="{69F8A8AD-8A4C-1F40-1B2D-0F6633A94942}"/>
              </a:ext>
            </a:extLst>
          </p:cNvPr>
          <p:cNvGrpSpPr/>
          <p:nvPr/>
        </p:nvGrpSpPr>
        <p:grpSpPr>
          <a:xfrm>
            <a:off x="7592142" y="1967757"/>
            <a:ext cx="3567430" cy="3733800"/>
            <a:chOff x="0" y="0"/>
            <a:chExt cx="3567855" cy="3733802"/>
          </a:xfrm>
        </p:grpSpPr>
        <p:graphicFrame>
          <p:nvGraphicFramePr>
            <p:cNvPr id="7" name="Diagram 6">
              <a:extLst>
                <a:ext uri="{FF2B5EF4-FFF2-40B4-BE49-F238E27FC236}">
                  <a16:creationId xmlns:a16="http://schemas.microsoft.com/office/drawing/2014/main" id="{BDE54D48-A678-B971-BFF1-0F20E8F8BF57}"/>
                </a:ext>
              </a:extLst>
            </p:cNvPr>
            <p:cNvGraphicFramePr/>
            <p:nvPr/>
          </p:nvGraphicFramePr>
          <p:xfrm>
            <a:off x="0" y="387350"/>
            <a:ext cx="3567855" cy="334645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Rounded Rectangle 15">
              <a:extLst>
                <a:ext uri="{FF2B5EF4-FFF2-40B4-BE49-F238E27FC236}">
                  <a16:creationId xmlns:a16="http://schemas.microsoft.com/office/drawing/2014/main" id="{78D44CAE-AB19-EA21-5040-2C6120CCD4BB}"/>
                </a:ext>
              </a:extLst>
            </p:cNvPr>
            <p:cNvSpPr/>
            <p:nvPr/>
          </p:nvSpPr>
          <p:spPr bwMode="gray">
            <a:xfrm>
              <a:off x="307235" y="0"/>
              <a:ext cx="2953385" cy="301625"/>
            </a:xfrm>
            <a:prstGeom prst="roundRect">
              <a:avLst/>
            </a:prstGeom>
            <a:ln>
              <a:headEnd/>
              <a:tailEnd/>
            </a:ln>
          </p:spPr>
          <p:style>
            <a:lnRef idx="2">
              <a:schemeClr val="accent3">
                <a:shade val="15000"/>
              </a:schemeClr>
            </a:lnRef>
            <a:fillRef idx="1">
              <a:schemeClr val="accent3"/>
            </a:fillRef>
            <a:effectRef idx="0">
              <a:schemeClr val="accent3"/>
            </a:effectRef>
            <a:fontRef idx="minor">
              <a:schemeClr val="lt1"/>
            </a:fontRef>
          </p:style>
          <p:txBody>
            <a:bodyPr wrap="square" lIns="88900" tIns="0" rIns="88900" bIns="0" rtlCol="0" anchor="ctr">
              <a:noAutofit/>
            </a:bodyPr>
            <a:lstStyle/>
            <a:p>
              <a:pPr marL="0" marR="0" lvl="0" indent="0" algn="ctr" defTabSz="914400" eaLnBrk="1" fontAlgn="auto" latinLnBrk="0" hangingPunct="1">
                <a:lnSpc>
                  <a:spcPct val="105000"/>
                </a:lnSpc>
                <a:spcBef>
                  <a:spcPts val="0"/>
                </a:spcBef>
                <a:spcAft>
                  <a:spcPts val="1200"/>
                </a:spcAft>
                <a:buClrTx/>
                <a:buSzTx/>
                <a:buFontTx/>
                <a:buNone/>
                <a:tabLst/>
                <a:defRPr/>
              </a:pPr>
              <a:r>
                <a:rPr kumimoji="0" lang="en-CA" sz="11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BCM Program Activities</a:t>
              </a:r>
              <a:endParaRPr kumimoji="0" lang="en-US" sz="1100" b="0" i="0" u="none" strike="noStrike" kern="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891054156"/>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1" y="2997200"/>
            <a:ext cx="7477761" cy="863600"/>
            <a:chOff x="-1" y="2997200"/>
            <a:chExt cx="7477761" cy="863600"/>
          </a:xfrm>
          <a:solidFill>
            <a:srgbClr val="62B5E5"/>
          </a:solidFill>
          <a:effectLst>
            <a:outerShdw blurRad="50800" dist="38100" dir="5400000" algn="t" rotWithShape="0">
              <a:prstClr val="black">
                <a:alpha val="40000"/>
              </a:prstClr>
            </a:outerShdw>
          </a:effectLst>
        </p:grpSpPr>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a:extLst>
                <a:ext uri="{FF2B5EF4-FFF2-40B4-BE49-F238E27FC236}">
                  <a16:creationId xmlns:a16="http://schemas.microsoft.com/office/drawing/2014/main" id="{3D401599-9D06-8EE4-4868-D91498BE40B4}"/>
                </a:ext>
              </a:extLst>
            </p:cNvPr>
            <p:cNvSpPr/>
            <p:nvPr/>
          </p:nvSpPr>
          <p:spPr bwMode="gray">
            <a:xfrm>
              <a:off x="-1" y="2997200"/>
              <a:ext cx="7182853"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8 </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 performance measurement    </a:t>
              </a:r>
              <a:b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and improvement</a:t>
              </a:r>
              <a:endPar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12640269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DF24332F-E230-806E-D25E-774A1B665BD1}"/>
              </a:ext>
            </a:extLst>
          </p:cNvPr>
          <p:cNvGraphicFramePr>
            <a:graphicFrameLocks noChangeAspect="1"/>
          </p:cNvGraphicFramePr>
          <p:nvPr>
            <p:custDataLst>
              <p:tags r:id="rId1"/>
            </p:custDataLst>
            <p:extLst>
              <p:ext uri="{D42A27DB-BD31-4B8C-83A1-F6EECF244321}">
                <p14:modId xmlns:p14="http://schemas.microsoft.com/office/powerpoint/2010/main" val="44364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32" name="think-cell data - do not delete" hidden="1">
                        <a:extLst>
                          <a:ext uri="{FF2B5EF4-FFF2-40B4-BE49-F238E27FC236}">
                            <a16:creationId xmlns:a16="http://schemas.microsoft.com/office/drawing/2014/main" id="{DF24332F-E230-806E-D25E-774A1B665B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17449C3-0544-BFAC-14AA-E1D19ECE3665}"/>
              </a:ext>
            </a:extLst>
          </p:cNvPr>
          <p:cNvSpPr>
            <a:spLocks noGrp="1"/>
          </p:cNvSpPr>
          <p:nvPr>
            <p:ph type="body" sz="quarter" idx="22"/>
          </p:nvPr>
        </p:nvSpPr>
        <p:spPr/>
        <p:txBody>
          <a:bodyPr/>
          <a:lstStyle/>
          <a:p>
            <a:r>
              <a:rPr lang="en-GB" dirty="0"/>
              <a:t>Deloitte’s Performance Management Framework © </a:t>
            </a:r>
          </a:p>
          <a:p>
            <a:endParaRPr lang="en-GB" dirty="0"/>
          </a:p>
        </p:txBody>
      </p:sp>
      <p:sp>
        <p:nvSpPr>
          <p:cNvPr id="3" name="Title 2">
            <a:extLst>
              <a:ext uri="{FF2B5EF4-FFF2-40B4-BE49-F238E27FC236}">
                <a16:creationId xmlns:a16="http://schemas.microsoft.com/office/drawing/2014/main" id="{AACEE103-6CFB-C5CC-0F0A-E9883A80452E}"/>
              </a:ext>
            </a:extLst>
          </p:cNvPr>
          <p:cNvSpPr>
            <a:spLocks noGrp="1"/>
          </p:cNvSpPr>
          <p:nvPr>
            <p:ph type="title"/>
          </p:nvPr>
        </p:nvSpPr>
        <p:spPr>
          <a:xfrm>
            <a:off x="463294" y="356951"/>
            <a:ext cx="10905745" cy="334099"/>
          </a:xfrm>
        </p:spPr>
        <p:txBody>
          <a:bodyPr vert="horz"/>
          <a:lstStyle/>
          <a:p>
            <a:r>
              <a:rPr lang="en-US" dirty="0">
                <a:latin typeface="Open Sans Light"/>
                <a:ea typeface="Open Sans Light"/>
                <a:cs typeface="Open Sans Light"/>
              </a:rPr>
              <a:t>Business performance measurement and improvement</a:t>
            </a:r>
            <a:endParaRPr lang="en-GB" dirty="0">
              <a:latin typeface="Open Sans Light"/>
              <a:ea typeface="Open Sans Light"/>
              <a:cs typeface="Open Sans Light"/>
            </a:endParaRPr>
          </a:p>
        </p:txBody>
      </p:sp>
      <p:cxnSp>
        <p:nvCxnSpPr>
          <p:cNvPr id="5" name="Straight Connector 4">
            <a:extLst>
              <a:ext uri="{FF2B5EF4-FFF2-40B4-BE49-F238E27FC236}">
                <a16:creationId xmlns:a16="http://schemas.microsoft.com/office/drawing/2014/main" id="{F77BA3B1-B3F4-456D-F55A-DAC133FD7DBF}"/>
              </a:ext>
            </a:extLst>
          </p:cNvPr>
          <p:cNvCxnSpPr>
            <a:cxnSpLocks/>
          </p:cNvCxnSpPr>
          <p:nvPr/>
        </p:nvCxnSpPr>
        <p:spPr>
          <a:xfrm>
            <a:off x="4533900" y="2275865"/>
            <a:ext cx="7020000" cy="0"/>
          </a:xfrm>
          <a:prstGeom prst="line">
            <a:avLst/>
          </a:prstGeom>
          <a:ln w="19050">
            <a:solidFill>
              <a:srgbClr val="007CB0"/>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38052ED-EC8C-8188-D542-AEC4D5AE37F7}"/>
              </a:ext>
            </a:extLst>
          </p:cNvPr>
          <p:cNvSpPr/>
          <p:nvPr/>
        </p:nvSpPr>
        <p:spPr bwMode="gray">
          <a:xfrm>
            <a:off x="5009963" y="1976946"/>
            <a:ext cx="5443963" cy="324000"/>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latin typeface="Open Sans" panose="020B0606030504020204" pitchFamily="34" charset="0"/>
                <a:ea typeface="Open Sans" panose="020B0606030504020204" pitchFamily="34" charset="0"/>
                <a:cs typeface="Open Sans" panose="020B0606030504020204" pitchFamily="34" charset="0"/>
              </a:rPr>
              <a:t>Principles of performance management</a:t>
            </a:r>
          </a:p>
        </p:txBody>
      </p:sp>
      <p:sp>
        <p:nvSpPr>
          <p:cNvPr id="7" name="Rectangle 6">
            <a:extLst>
              <a:ext uri="{FF2B5EF4-FFF2-40B4-BE49-F238E27FC236}">
                <a16:creationId xmlns:a16="http://schemas.microsoft.com/office/drawing/2014/main" id="{A56BA910-74D0-655C-9706-0D43DADBFF73}"/>
              </a:ext>
            </a:extLst>
          </p:cNvPr>
          <p:cNvSpPr/>
          <p:nvPr/>
        </p:nvSpPr>
        <p:spPr bwMode="gray">
          <a:xfrm>
            <a:off x="5181473" y="2343328"/>
            <a:ext cx="144000" cy="3276000"/>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da-DK"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Oval 8">
            <a:extLst>
              <a:ext uri="{FF2B5EF4-FFF2-40B4-BE49-F238E27FC236}">
                <a16:creationId xmlns:a16="http://schemas.microsoft.com/office/drawing/2014/main" id="{F52E15E2-E883-3D72-C053-26A7C2CE9729}"/>
              </a:ext>
            </a:extLst>
          </p:cNvPr>
          <p:cNvSpPr/>
          <p:nvPr/>
        </p:nvSpPr>
        <p:spPr bwMode="gray">
          <a:xfrm>
            <a:off x="4983473" y="3055047"/>
            <a:ext cx="540000" cy="540000"/>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da-DK"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Oval 9">
            <a:extLst>
              <a:ext uri="{FF2B5EF4-FFF2-40B4-BE49-F238E27FC236}">
                <a16:creationId xmlns:a16="http://schemas.microsoft.com/office/drawing/2014/main" id="{D65C0E78-DD3A-60BC-101B-323C6AA3BDE0}"/>
              </a:ext>
            </a:extLst>
          </p:cNvPr>
          <p:cNvSpPr/>
          <p:nvPr/>
        </p:nvSpPr>
        <p:spPr bwMode="gray">
          <a:xfrm>
            <a:off x="4983473" y="3708388"/>
            <a:ext cx="540000" cy="540000"/>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da-DK"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382F017A-52BD-CEBD-EACE-DC5710DFDCA0}"/>
              </a:ext>
            </a:extLst>
          </p:cNvPr>
          <p:cNvSpPr/>
          <p:nvPr/>
        </p:nvSpPr>
        <p:spPr bwMode="gray">
          <a:xfrm>
            <a:off x="4983473" y="4361729"/>
            <a:ext cx="540000" cy="540000"/>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da-DK"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Oval 11">
            <a:extLst>
              <a:ext uri="{FF2B5EF4-FFF2-40B4-BE49-F238E27FC236}">
                <a16:creationId xmlns:a16="http://schemas.microsoft.com/office/drawing/2014/main" id="{B0242BF7-00CE-67E1-6DDD-1DB5BA1A39CE}"/>
              </a:ext>
            </a:extLst>
          </p:cNvPr>
          <p:cNvSpPr/>
          <p:nvPr/>
        </p:nvSpPr>
        <p:spPr bwMode="gray">
          <a:xfrm>
            <a:off x="4983473" y="5015072"/>
            <a:ext cx="540000" cy="540000"/>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da-DK"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45">
            <a:extLst>
              <a:ext uri="{FF2B5EF4-FFF2-40B4-BE49-F238E27FC236}">
                <a16:creationId xmlns:a16="http://schemas.microsoft.com/office/drawing/2014/main" id="{3C1B4DD0-710F-466D-55BC-8FA87FB226DF}"/>
              </a:ext>
            </a:extLst>
          </p:cNvPr>
          <p:cNvSpPr>
            <a:spLocks noChangeAspect="1" noEditPoints="1"/>
          </p:cNvSpPr>
          <p:nvPr/>
        </p:nvSpPr>
        <p:spPr bwMode="auto">
          <a:xfrm>
            <a:off x="5072894" y="3127530"/>
            <a:ext cx="361158" cy="360000"/>
          </a:xfrm>
          <a:custGeom>
            <a:avLst/>
            <a:gdLst>
              <a:gd name="T0" fmla="*/ 445 w 511"/>
              <a:gd name="T1" fmla="*/ 483 h 510"/>
              <a:gd name="T2" fmla="*/ 445 w 511"/>
              <a:gd name="T3" fmla="*/ 483 h 510"/>
              <a:gd name="T4" fmla="*/ 408 w 511"/>
              <a:gd name="T5" fmla="*/ 445 h 510"/>
              <a:gd name="T6" fmla="*/ 445 w 511"/>
              <a:gd name="T7" fmla="*/ 408 h 510"/>
              <a:gd name="T8" fmla="*/ 483 w 511"/>
              <a:gd name="T9" fmla="*/ 445 h 510"/>
              <a:gd name="T10" fmla="*/ 445 w 511"/>
              <a:gd name="T11" fmla="*/ 483 h 510"/>
              <a:gd name="T12" fmla="*/ 293 w 511"/>
              <a:gd name="T13" fmla="*/ 445 h 510"/>
              <a:gd name="T14" fmla="*/ 293 w 511"/>
              <a:gd name="T15" fmla="*/ 445 h 510"/>
              <a:gd name="T16" fmla="*/ 255 w 511"/>
              <a:gd name="T17" fmla="*/ 483 h 510"/>
              <a:gd name="T18" fmla="*/ 217 w 511"/>
              <a:gd name="T19" fmla="*/ 445 h 510"/>
              <a:gd name="T20" fmla="*/ 255 w 511"/>
              <a:gd name="T21" fmla="*/ 408 h 510"/>
              <a:gd name="T22" fmla="*/ 293 w 511"/>
              <a:gd name="T23" fmla="*/ 445 h 510"/>
              <a:gd name="T24" fmla="*/ 217 w 511"/>
              <a:gd name="T25" fmla="*/ 65 h 510"/>
              <a:gd name="T26" fmla="*/ 217 w 511"/>
              <a:gd name="T27" fmla="*/ 65 h 510"/>
              <a:gd name="T28" fmla="*/ 255 w 511"/>
              <a:gd name="T29" fmla="*/ 27 h 510"/>
              <a:gd name="T30" fmla="*/ 293 w 511"/>
              <a:gd name="T31" fmla="*/ 65 h 510"/>
              <a:gd name="T32" fmla="*/ 255 w 511"/>
              <a:gd name="T33" fmla="*/ 102 h 510"/>
              <a:gd name="T34" fmla="*/ 217 w 511"/>
              <a:gd name="T35" fmla="*/ 65 h 510"/>
              <a:gd name="T36" fmla="*/ 102 w 511"/>
              <a:gd name="T37" fmla="*/ 445 h 510"/>
              <a:gd name="T38" fmla="*/ 102 w 511"/>
              <a:gd name="T39" fmla="*/ 445 h 510"/>
              <a:gd name="T40" fmla="*/ 65 w 511"/>
              <a:gd name="T41" fmla="*/ 483 h 510"/>
              <a:gd name="T42" fmla="*/ 27 w 511"/>
              <a:gd name="T43" fmla="*/ 445 h 510"/>
              <a:gd name="T44" fmla="*/ 65 w 511"/>
              <a:gd name="T45" fmla="*/ 408 h 510"/>
              <a:gd name="T46" fmla="*/ 102 w 511"/>
              <a:gd name="T47" fmla="*/ 445 h 510"/>
              <a:gd name="T48" fmla="*/ 471 w 511"/>
              <a:gd name="T49" fmla="*/ 385 h 510"/>
              <a:gd name="T50" fmla="*/ 471 w 511"/>
              <a:gd name="T51" fmla="*/ 385 h 510"/>
              <a:gd name="T52" fmla="*/ 471 w 511"/>
              <a:gd name="T53" fmla="*/ 323 h 510"/>
              <a:gd name="T54" fmla="*/ 377 w 511"/>
              <a:gd name="T55" fmla="*/ 229 h 510"/>
              <a:gd name="T56" fmla="*/ 323 w 511"/>
              <a:gd name="T57" fmla="*/ 229 h 510"/>
              <a:gd name="T58" fmla="*/ 281 w 511"/>
              <a:gd name="T59" fmla="*/ 201 h 510"/>
              <a:gd name="T60" fmla="*/ 281 w 511"/>
              <a:gd name="T61" fmla="*/ 125 h 510"/>
              <a:gd name="T62" fmla="*/ 320 w 511"/>
              <a:gd name="T63" fmla="*/ 65 h 510"/>
              <a:gd name="T64" fmla="*/ 255 w 511"/>
              <a:gd name="T65" fmla="*/ 0 h 510"/>
              <a:gd name="T66" fmla="*/ 190 w 511"/>
              <a:gd name="T67" fmla="*/ 65 h 510"/>
              <a:gd name="T68" fmla="*/ 229 w 511"/>
              <a:gd name="T69" fmla="*/ 125 h 510"/>
              <a:gd name="T70" fmla="*/ 229 w 511"/>
              <a:gd name="T71" fmla="*/ 201 h 510"/>
              <a:gd name="T72" fmla="*/ 187 w 511"/>
              <a:gd name="T73" fmla="*/ 229 h 510"/>
              <a:gd name="T74" fmla="*/ 133 w 511"/>
              <a:gd name="T75" fmla="*/ 229 h 510"/>
              <a:gd name="T76" fmla="*/ 39 w 511"/>
              <a:gd name="T77" fmla="*/ 323 h 510"/>
              <a:gd name="T78" fmla="*/ 39 w 511"/>
              <a:gd name="T79" fmla="*/ 385 h 510"/>
              <a:gd name="T80" fmla="*/ 0 w 511"/>
              <a:gd name="T81" fmla="*/ 445 h 510"/>
              <a:gd name="T82" fmla="*/ 65 w 511"/>
              <a:gd name="T83" fmla="*/ 510 h 510"/>
              <a:gd name="T84" fmla="*/ 130 w 511"/>
              <a:gd name="T85" fmla="*/ 445 h 510"/>
              <a:gd name="T86" fmla="*/ 91 w 511"/>
              <a:gd name="T87" fmla="*/ 385 h 510"/>
              <a:gd name="T88" fmla="*/ 91 w 511"/>
              <a:gd name="T89" fmla="*/ 323 h 510"/>
              <a:gd name="T90" fmla="*/ 133 w 511"/>
              <a:gd name="T91" fmla="*/ 281 h 510"/>
              <a:gd name="T92" fmla="*/ 187 w 511"/>
              <a:gd name="T93" fmla="*/ 281 h 510"/>
              <a:gd name="T94" fmla="*/ 229 w 511"/>
              <a:gd name="T95" fmla="*/ 274 h 510"/>
              <a:gd name="T96" fmla="*/ 229 w 511"/>
              <a:gd name="T97" fmla="*/ 385 h 510"/>
              <a:gd name="T98" fmla="*/ 190 w 511"/>
              <a:gd name="T99" fmla="*/ 445 h 510"/>
              <a:gd name="T100" fmla="*/ 255 w 511"/>
              <a:gd name="T101" fmla="*/ 510 h 510"/>
              <a:gd name="T102" fmla="*/ 320 w 511"/>
              <a:gd name="T103" fmla="*/ 445 h 510"/>
              <a:gd name="T104" fmla="*/ 281 w 511"/>
              <a:gd name="T105" fmla="*/ 385 h 510"/>
              <a:gd name="T106" fmla="*/ 281 w 511"/>
              <a:gd name="T107" fmla="*/ 274 h 510"/>
              <a:gd name="T108" fmla="*/ 323 w 511"/>
              <a:gd name="T109" fmla="*/ 281 h 510"/>
              <a:gd name="T110" fmla="*/ 377 w 511"/>
              <a:gd name="T111" fmla="*/ 281 h 510"/>
              <a:gd name="T112" fmla="*/ 420 w 511"/>
              <a:gd name="T113" fmla="*/ 323 h 510"/>
              <a:gd name="T114" fmla="*/ 420 w 511"/>
              <a:gd name="T115" fmla="*/ 385 h 510"/>
              <a:gd name="T116" fmla="*/ 380 w 511"/>
              <a:gd name="T117" fmla="*/ 445 h 510"/>
              <a:gd name="T118" fmla="*/ 445 w 511"/>
              <a:gd name="T119" fmla="*/ 510 h 510"/>
              <a:gd name="T120" fmla="*/ 511 w 511"/>
              <a:gd name="T121" fmla="*/ 445 h 510"/>
              <a:gd name="T122" fmla="*/ 471 w 511"/>
              <a:gd name="T123" fmla="*/ 38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0">
                <a:moveTo>
                  <a:pt x="445" y="483"/>
                </a:moveTo>
                <a:lnTo>
                  <a:pt x="445" y="483"/>
                </a:lnTo>
                <a:cubicBezTo>
                  <a:pt x="425" y="483"/>
                  <a:pt x="408" y="466"/>
                  <a:pt x="408" y="445"/>
                </a:cubicBezTo>
                <a:cubicBezTo>
                  <a:pt x="408" y="424"/>
                  <a:pt x="425" y="408"/>
                  <a:pt x="445" y="408"/>
                </a:cubicBezTo>
                <a:cubicBezTo>
                  <a:pt x="466" y="408"/>
                  <a:pt x="483" y="424"/>
                  <a:pt x="483" y="445"/>
                </a:cubicBezTo>
                <a:cubicBezTo>
                  <a:pt x="483" y="466"/>
                  <a:pt x="466" y="483"/>
                  <a:pt x="445" y="483"/>
                </a:cubicBezTo>
                <a:close/>
                <a:moveTo>
                  <a:pt x="293" y="445"/>
                </a:moveTo>
                <a:lnTo>
                  <a:pt x="293" y="445"/>
                </a:lnTo>
                <a:cubicBezTo>
                  <a:pt x="293" y="466"/>
                  <a:pt x="276" y="483"/>
                  <a:pt x="255" y="483"/>
                </a:cubicBezTo>
                <a:cubicBezTo>
                  <a:pt x="234" y="483"/>
                  <a:pt x="217" y="466"/>
                  <a:pt x="217" y="445"/>
                </a:cubicBezTo>
                <a:cubicBezTo>
                  <a:pt x="217" y="424"/>
                  <a:pt x="234" y="408"/>
                  <a:pt x="255" y="408"/>
                </a:cubicBezTo>
                <a:cubicBezTo>
                  <a:pt x="276" y="408"/>
                  <a:pt x="293" y="424"/>
                  <a:pt x="293" y="445"/>
                </a:cubicBezTo>
                <a:close/>
                <a:moveTo>
                  <a:pt x="217" y="65"/>
                </a:moveTo>
                <a:lnTo>
                  <a:pt x="217" y="65"/>
                </a:lnTo>
                <a:cubicBezTo>
                  <a:pt x="217" y="44"/>
                  <a:pt x="234" y="27"/>
                  <a:pt x="255" y="27"/>
                </a:cubicBezTo>
                <a:cubicBezTo>
                  <a:pt x="276" y="27"/>
                  <a:pt x="293" y="44"/>
                  <a:pt x="293" y="65"/>
                </a:cubicBezTo>
                <a:cubicBezTo>
                  <a:pt x="293" y="85"/>
                  <a:pt x="276" y="102"/>
                  <a:pt x="255" y="102"/>
                </a:cubicBezTo>
                <a:cubicBezTo>
                  <a:pt x="234" y="102"/>
                  <a:pt x="217" y="85"/>
                  <a:pt x="217" y="65"/>
                </a:cubicBezTo>
                <a:close/>
                <a:moveTo>
                  <a:pt x="102" y="445"/>
                </a:moveTo>
                <a:lnTo>
                  <a:pt x="102" y="445"/>
                </a:lnTo>
                <a:cubicBezTo>
                  <a:pt x="102" y="466"/>
                  <a:pt x="86" y="483"/>
                  <a:pt x="65" y="483"/>
                </a:cubicBezTo>
                <a:cubicBezTo>
                  <a:pt x="44" y="483"/>
                  <a:pt x="27" y="466"/>
                  <a:pt x="27" y="445"/>
                </a:cubicBezTo>
                <a:cubicBezTo>
                  <a:pt x="27" y="424"/>
                  <a:pt x="44" y="408"/>
                  <a:pt x="65" y="408"/>
                </a:cubicBezTo>
                <a:cubicBezTo>
                  <a:pt x="86" y="408"/>
                  <a:pt x="102" y="424"/>
                  <a:pt x="102" y="445"/>
                </a:cubicBezTo>
                <a:close/>
                <a:moveTo>
                  <a:pt x="471" y="385"/>
                </a:moveTo>
                <a:lnTo>
                  <a:pt x="471" y="385"/>
                </a:lnTo>
                <a:lnTo>
                  <a:pt x="471" y="323"/>
                </a:lnTo>
                <a:cubicBezTo>
                  <a:pt x="471" y="285"/>
                  <a:pt x="446" y="229"/>
                  <a:pt x="377" y="229"/>
                </a:cubicBezTo>
                <a:lnTo>
                  <a:pt x="323" y="229"/>
                </a:lnTo>
                <a:cubicBezTo>
                  <a:pt x="285" y="229"/>
                  <a:pt x="281" y="210"/>
                  <a:pt x="281" y="201"/>
                </a:cubicBezTo>
                <a:lnTo>
                  <a:pt x="281" y="125"/>
                </a:lnTo>
                <a:cubicBezTo>
                  <a:pt x="304" y="114"/>
                  <a:pt x="320" y="91"/>
                  <a:pt x="320" y="65"/>
                </a:cubicBezTo>
                <a:cubicBezTo>
                  <a:pt x="320" y="29"/>
                  <a:pt x="291" y="0"/>
                  <a:pt x="255" y="0"/>
                </a:cubicBezTo>
                <a:cubicBezTo>
                  <a:pt x="219" y="0"/>
                  <a:pt x="190" y="29"/>
                  <a:pt x="190" y="65"/>
                </a:cubicBezTo>
                <a:cubicBezTo>
                  <a:pt x="190" y="91"/>
                  <a:pt x="206" y="114"/>
                  <a:pt x="229" y="125"/>
                </a:cubicBezTo>
                <a:lnTo>
                  <a:pt x="229" y="201"/>
                </a:lnTo>
                <a:cubicBezTo>
                  <a:pt x="229" y="208"/>
                  <a:pt x="227" y="229"/>
                  <a:pt x="187" y="229"/>
                </a:cubicBezTo>
                <a:lnTo>
                  <a:pt x="133" y="229"/>
                </a:lnTo>
                <a:cubicBezTo>
                  <a:pt x="64" y="229"/>
                  <a:pt x="39" y="285"/>
                  <a:pt x="39" y="323"/>
                </a:cubicBezTo>
                <a:lnTo>
                  <a:pt x="39" y="385"/>
                </a:lnTo>
                <a:cubicBezTo>
                  <a:pt x="16" y="395"/>
                  <a:pt x="0" y="418"/>
                  <a:pt x="0" y="445"/>
                </a:cubicBezTo>
                <a:cubicBezTo>
                  <a:pt x="0" y="481"/>
                  <a:pt x="29" y="510"/>
                  <a:pt x="65" y="510"/>
                </a:cubicBezTo>
                <a:cubicBezTo>
                  <a:pt x="101" y="510"/>
                  <a:pt x="130" y="481"/>
                  <a:pt x="130" y="445"/>
                </a:cubicBezTo>
                <a:cubicBezTo>
                  <a:pt x="130" y="418"/>
                  <a:pt x="114" y="395"/>
                  <a:pt x="91" y="385"/>
                </a:cubicBezTo>
                <a:lnTo>
                  <a:pt x="91" y="323"/>
                </a:lnTo>
                <a:cubicBezTo>
                  <a:pt x="91" y="316"/>
                  <a:pt x="93" y="281"/>
                  <a:pt x="133" y="281"/>
                </a:cubicBezTo>
                <a:lnTo>
                  <a:pt x="187" y="281"/>
                </a:lnTo>
                <a:cubicBezTo>
                  <a:pt x="204" y="281"/>
                  <a:pt x="218" y="278"/>
                  <a:pt x="229" y="274"/>
                </a:cubicBezTo>
                <a:lnTo>
                  <a:pt x="229" y="385"/>
                </a:lnTo>
                <a:cubicBezTo>
                  <a:pt x="206" y="395"/>
                  <a:pt x="190" y="418"/>
                  <a:pt x="190" y="445"/>
                </a:cubicBezTo>
                <a:cubicBezTo>
                  <a:pt x="190" y="481"/>
                  <a:pt x="219" y="510"/>
                  <a:pt x="255" y="510"/>
                </a:cubicBezTo>
                <a:cubicBezTo>
                  <a:pt x="291" y="510"/>
                  <a:pt x="320" y="481"/>
                  <a:pt x="320" y="445"/>
                </a:cubicBezTo>
                <a:cubicBezTo>
                  <a:pt x="320" y="418"/>
                  <a:pt x="304" y="395"/>
                  <a:pt x="281" y="385"/>
                </a:cubicBezTo>
                <a:lnTo>
                  <a:pt x="281" y="274"/>
                </a:lnTo>
                <a:cubicBezTo>
                  <a:pt x="293" y="278"/>
                  <a:pt x="307" y="281"/>
                  <a:pt x="323" y="281"/>
                </a:cubicBezTo>
                <a:lnTo>
                  <a:pt x="377" y="281"/>
                </a:lnTo>
                <a:cubicBezTo>
                  <a:pt x="416" y="281"/>
                  <a:pt x="419" y="313"/>
                  <a:pt x="420" y="323"/>
                </a:cubicBezTo>
                <a:lnTo>
                  <a:pt x="420" y="385"/>
                </a:lnTo>
                <a:cubicBezTo>
                  <a:pt x="396" y="395"/>
                  <a:pt x="380" y="418"/>
                  <a:pt x="380" y="445"/>
                </a:cubicBezTo>
                <a:cubicBezTo>
                  <a:pt x="380" y="481"/>
                  <a:pt x="409" y="510"/>
                  <a:pt x="445" y="510"/>
                </a:cubicBezTo>
                <a:cubicBezTo>
                  <a:pt x="481" y="510"/>
                  <a:pt x="511" y="481"/>
                  <a:pt x="511" y="445"/>
                </a:cubicBezTo>
                <a:cubicBezTo>
                  <a:pt x="511" y="418"/>
                  <a:pt x="494" y="395"/>
                  <a:pt x="471" y="385"/>
                </a:cubicBezTo>
                <a:close/>
              </a:path>
            </a:pathLst>
          </a:custGeom>
          <a:ln>
            <a:headEnd/>
            <a:tailEn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defTabSz="914400">
              <a:defRPr/>
            </a:pPr>
            <a:endParaRPr lang="en-US" sz="1000"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25">
            <a:extLst>
              <a:ext uri="{FF2B5EF4-FFF2-40B4-BE49-F238E27FC236}">
                <a16:creationId xmlns:a16="http://schemas.microsoft.com/office/drawing/2014/main" id="{D8B14E08-3D84-C722-0F13-374DC3099720}"/>
              </a:ext>
            </a:extLst>
          </p:cNvPr>
          <p:cNvSpPr>
            <a:spLocks noEditPoints="1"/>
          </p:cNvSpPr>
          <p:nvPr/>
        </p:nvSpPr>
        <p:spPr bwMode="auto">
          <a:xfrm>
            <a:off x="5033702" y="3773084"/>
            <a:ext cx="432000" cy="252000"/>
          </a:xfrm>
          <a:custGeom>
            <a:avLst/>
            <a:gdLst>
              <a:gd name="T0" fmla="*/ 386 w 976"/>
              <a:gd name="T1" fmla="*/ 512 h 648"/>
              <a:gd name="T2" fmla="*/ 384 w 976"/>
              <a:gd name="T3" fmla="*/ 570 h 648"/>
              <a:gd name="T4" fmla="*/ 416 w 976"/>
              <a:gd name="T5" fmla="*/ 614 h 648"/>
              <a:gd name="T6" fmla="*/ 450 w 976"/>
              <a:gd name="T7" fmla="*/ 634 h 648"/>
              <a:gd name="T8" fmla="*/ 504 w 976"/>
              <a:gd name="T9" fmla="*/ 640 h 648"/>
              <a:gd name="T10" fmla="*/ 552 w 976"/>
              <a:gd name="T11" fmla="*/ 608 h 648"/>
              <a:gd name="T12" fmla="*/ 586 w 976"/>
              <a:gd name="T13" fmla="*/ 548 h 648"/>
              <a:gd name="T14" fmla="*/ 698 w 976"/>
              <a:gd name="T15" fmla="*/ 276 h 648"/>
              <a:gd name="T16" fmla="*/ 790 w 976"/>
              <a:gd name="T17" fmla="*/ 26 h 648"/>
              <a:gd name="T18" fmla="*/ 792 w 976"/>
              <a:gd name="T19" fmla="*/ 0 h 648"/>
              <a:gd name="T20" fmla="*/ 786 w 976"/>
              <a:gd name="T21" fmla="*/ 2 h 648"/>
              <a:gd name="T22" fmla="*/ 668 w 976"/>
              <a:gd name="T23" fmla="*/ 136 h 648"/>
              <a:gd name="T24" fmla="*/ 470 w 976"/>
              <a:gd name="T25" fmla="*/ 388 h 648"/>
              <a:gd name="T26" fmla="*/ 396 w 976"/>
              <a:gd name="T27" fmla="*/ 492 h 648"/>
              <a:gd name="T28" fmla="*/ 518 w 976"/>
              <a:gd name="T29" fmla="*/ 122 h 648"/>
              <a:gd name="T30" fmla="*/ 618 w 976"/>
              <a:gd name="T31" fmla="*/ 42 h 648"/>
              <a:gd name="T32" fmla="*/ 554 w 976"/>
              <a:gd name="T33" fmla="*/ 28 h 648"/>
              <a:gd name="T34" fmla="*/ 488 w 976"/>
              <a:gd name="T35" fmla="*/ 24 h 648"/>
              <a:gd name="T36" fmla="*/ 412 w 976"/>
              <a:gd name="T37" fmla="*/ 30 h 648"/>
              <a:gd name="T38" fmla="*/ 340 w 976"/>
              <a:gd name="T39" fmla="*/ 46 h 648"/>
              <a:gd name="T40" fmla="*/ 274 w 976"/>
              <a:gd name="T41" fmla="*/ 74 h 648"/>
              <a:gd name="T42" fmla="*/ 212 w 976"/>
              <a:gd name="T43" fmla="*/ 112 h 648"/>
              <a:gd name="T44" fmla="*/ 110 w 976"/>
              <a:gd name="T45" fmla="*/ 212 h 648"/>
              <a:gd name="T46" fmla="*/ 36 w 976"/>
              <a:gd name="T47" fmla="*/ 342 h 648"/>
              <a:gd name="T48" fmla="*/ 8 w 976"/>
              <a:gd name="T49" fmla="*/ 442 h 648"/>
              <a:gd name="T50" fmla="*/ 0 w 976"/>
              <a:gd name="T51" fmla="*/ 520 h 648"/>
              <a:gd name="T52" fmla="*/ 0 w 976"/>
              <a:gd name="T53" fmla="*/ 576 h 648"/>
              <a:gd name="T54" fmla="*/ 4 w 976"/>
              <a:gd name="T55" fmla="*/ 612 h 648"/>
              <a:gd name="T56" fmla="*/ 18 w 976"/>
              <a:gd name="T57" fmla="*/ 636 h 648"/>
              <a:gd name="T58" fmla="*/ 44 w 976"/>
              <a:gd name="T59" fmla="*/ 646 h 648"/>
              <a:gd name="T60" fmla="*/ 64 w 976"/>
              <a:gd name="T61" fmla="*/ 644 h 648"/>
              <a:gd name="T62" fmla="*/ 88 w 976"/>
              <a:gd name="T63" fmla="*/ 630 h 648"/>
              <a:gd name="T64" fmla="*/ 98 w 976"/>
              <a:gd name="T65" fmla="*/ 604 h 648"/>
              <a:gd name="T66" fmla="*/ 96 w 976"/>
              <a:gd name="T67" fmla="*/ 548 h 648"/>
              <a:gd name="T68" fmla="*/ 104 w 976"/>
              <a:gd name="T69" fmla="*/ 462 h 648"/>
              <a:gd name="T70" fmla="*/ 144 w 976"/>
              <a:gd name="T71" fmla="*/ 342 h 648"/>
              <a:gd name="T72" fmla="*/ 210 w 976"/>
              <a:gd name="T73" fmla="*/ 244 h 648"/>
              <a:gd name="T74" fmla="*/ 300 w 976"/>
              <a:gd name="T75" fmla="*/ 172 h 648"/>
              <a:gd name="T76" fmla="*/ 408 w 976"/>
              <a:gd name="T77" fmla="*/ 130 h 648"/>
              <a:gd name="T78" fmla="*/ 488 w 976"/>
              <a:gd name="T79" fmla="*/ 120 h 648"/>
              <a:gd name="T80" fmla="*/ 798 w 976"/>
              <a:gd name="T81" fmla="*/ 288 h 648"/>
              <a:gd name="T82" fmla="*/ 832 w 976"/>
              <a:gd name="T83" fmla="*/ 344 h 648"/>
              <a:gd name="T84" fmla="*/ 866 w 976"/>
              <a:gd name="T85" fmla="*/ 442 h 648"/>
              <a:gd name="T86" fmla="*/ 878 w 976"/>
              <a:gd name="T87" fmla="*/ 548 h 648"/>
              <a:gd name="T88" fmla="*/ 876 w 976"/>
              <a:gd name="T89" fmla="*/ 594 h 648"/>
              <a:gd name="T90" fmla="*/ 882 w 976"/>
              <a:gd name="T91" fmla="*/ 622 h 648"/>
              <a:gd name="T92" fmla="*/ 902 w 976"/>
              <a:gd name="T93" fmla="*/ 642 h 648"/>
              <a:gd name="T94" fmla="*/ 920 w 976"/>
              <a:gd name="T95" fmla="*/ 648 h 648"/>
              <a:gd name="T96" fmla="*/ 934 w 976"/>
              <a:gd name="T97" fmla="*/ 646 h 648"/>
              <a:gd name="T98" fmla="*/ 956 w 976"/>
              <a:gd name="T99" fmla="*/ 636 h 648"/>
              <a:gd name="T100" fmla="*/ 970 w 976"/>
              <a:gd name="T101" fmla="*/ 612 h 648"/>
              <a:gd name="T102" fmla="*/ 974 w 976"/>
              <a:gd name="T103" fmla="*/ 576 h 648"/>
              <a:gd name="T104" fmla="*/ 974 w 976"/>
              <a:gd name="T105" fmla="*/ 522 h 648"/>
              <a:gd name="T106" fmla="*/ 954 w 976"/>
              <a:gd name="T107" fmla="*/ 394 h 648"/>
              <a:gd name="T108" fmla="*/ 896 w 976"/>
              <a:gd name="T109" fmla="*/ 258 h 648"/>
              <a:gd name="T110" fmla="*/ 840 w 976"/>
              <a:gd name="T111" fmla="*/ 182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6" h="648">
                <a:moveTo>
                  <a:pt x="396" y="492"/>
                </a:moveTo>
                <a:lnTo>
                  <a:pt x="396" y="492"/>
                </a:lnTo>
                <a:lnTo>
                  <a:pt x="386" y="512"/>
                </a:lnTo>
                <a:lnTo>
                  <a:pt x="380" y="534"/>
                </a:lnTo>
                <a:lnTo>
                  <a:pt x="380" y="552"/>
                </a:lnTo>
                <a:lnTo>
                  <a:pt x="384" y="570"/>
                </a:lnTo>
                <a:lnTo>
                  <a:pt x="390" y="586"/>
                </a:lnTo>
                <a:lnTo>
                  <a:pt x="402" y="600"/>
                </a:lnTo>
                <a:lnTo>
                  <a:pt x="416" y="614"/>
                </a:lnTo>
                <a:lnTo>
                  <a:pt x="432" y="624"/>
                </a:lnTo>
                <a:lnTo>
                  <a:pt x="432" y="624"/>
                </a:lnTo>
                <a:lnTo>
                  <a:pt x="450" y="634"/>
                </a:lnTo>
                <a:lnTo>
                  <a:pt x="468" y="638"/>
                </a:lnTo>
                <a:lnTo>
                  <a:pt x="486" y="640"/>
                </a:lnTo>
                <a:lnTo>
                  <a:pt x="504" y="640"/>
                </a:lnTo>
                <a:lnTo>
                  <a:pt x="520" y="634"/>
                </a:lnTo>
                <a:lnTo>
                  <a:pt x="536" y="624"/>
                </a:lnTo>
                <a:lnTo>
                  <a:pt x="552" y="608"/>
                </a:lnTo>
                <a:lnTo>
                  <a:pt x="564" y="590"/>
                </a:lnTo>
                <a:lnTo>
                  <a:pt x="564" y="590"/>
                </a:lnTo>
                <a:lnTo>
                  <a:pt x="586" y="548"/>
                </a:lnTo>
                <a:lnTo>
                  <a:pt x="618" y="474"/>
                </a:lnTo>
                <a:lnTo>
                  <a:pt x="656" y="380"/>
                </a:lnTo>
                <a:lnTo>
                  <a:pt x="698" y="276"/>
                </a:lnTo>
                <a:lnTo>
                  <a:pt x="738" y="176"/>
                </a:lnTo>
                <a:lnTo>
                  <a:pt x="770" y="88"/>
                </a:lnTo>
                <a:lnTo>
                  <a:pt x="790" y="26"/>
                </a:lnTo>
                <a:lnTo>
                  <a:pt x="794" y="8"/>
                </a:lnTo>
                <a:lnTo>
                  <a:pt x="794" y="2"/>
                </a:lnTo>
                <a:lnTo>
                  <a:pt x="792" y="0"/>
                </a:lnTo>
                <a:lnTo>
                  <a:pt x="792" y="0"/>
                </a:lnTo>
                <a:lnTo>
                  <a:pt x="790" y="0"/>
                </a:lnTo>
                <a:lnTo>
                  <a:pt x="786" y="2"/>
                </a:lnTo>
                <a:lnTo>
                  <a:pt x="772" y="16"/>
                </a:lnTo>
                <a:lnTo>
                  <a:pt x="728" y="64"/>
                </a:lnTo>
                <a:lnTo>
                  <a:pt x="668" y="136"/>
                </a:lnTo>
                <a:lnTo>
                  <a:pt x="600" y="220"/>
                </a:lnTo>
                <a:lnTo>
                  <a:pt x="532" y="308"/>
                </a:lnTo>
                <a:lnTo>
                  <a:pt x="470" y="388"/>
                </a:lnTo>
                <a:lnTo>
                  <a:pt x="422" y="454"/>
                </a:lnTo>
                <a:lnTo>
                  <a:pt x="396" y="492"/>
                </a:lnTo>
                <a:lnTo>
                  <a:pt x="396" y="492"/>
                </a:lnTo>
                <a:close/>
                <a:moveTo>
                  <a:pt x="488" y="120"/>
                </a:moveTo>
                <a:lnTo>
                  <a:pt x="488" y="120"/>
                </a:lnTo>
                <a:lnTo>
                  <a:pt x="518" y="122"/>
                </a:lnTo>
                <a:lnTo>
                  <a:pt x="550" y="126"/>
                </a:lnTo>
                <a:lnTo>
                  <a:pt x="550" y="126"/>
                </a:lnTo>
                <a:lnTo>
                  <a:pt x="618" y="42"/>
                </a:lnTo>
                <a:lnTo>
                  <a:pt x="618" y="42"/>
                </a:lnTo>
                <a:lnTo>
                  <a:pt x="586" y="34"/>
                </a:lnTo>
                <a:lnTo>
                  <a:pt x="554" y="28"/>
                </a:lnTo>
                <a:lnTo>
                  <a:pt x="522" y="24"/>
                </a:lnTo>
                <a:lnTo>
                  <a:pt x="488" y="24"/>
                </a:lnTo>
                <a:lnTo>
                  <a:pt x="488" y="24"/>
                </a:lnTo>
                <a:lnTo>
                  <a:pt x="462" y="24"/>
                </a:lnTo>
                <a:lnTo>
                  <a:pt x="436" y="26"/>
                </a:lnTo>
                <a:lnTo>
                  <a:pt x="412" y="30"/>
                </a:lnTo>
                <a:lnTo>
                  <a:pt x="388" y="34"/>
                </a:lnTo>
                <a:lnTo>
                  <a:pt x="364" y="40"/>
                </a:lnTo>
                <a:lnTo>
                  <a:pt x="340" y="46"/>
                </a:lnTo>
                <a:lnTo>
                  <a:pt x="318" y="54"/>
                </a:lnTo>
                <a:lnTo>
                  <a:pt x="296" y="64"/>
                </a:lnTo>
                <a:lnTo>
                  <a:pt x="274" y="74"/>
                </a:lnTo>
                <a:lnTo>
                  <a:pt x="252" y="86"/>
                </a:lnTo>
                <a:lnTo>
                  <a:pt x="232" y="98"/>
                </a:lnTo>
                <a:lnTo>
                  <a:pt x="212" y="112"/>
                </a:lnTo>
                <a:lnTo>
                  <a:pt x="174" y="142"/>
                </a:lnTo>
                <a:lnTo>
                  <a:pt x="140" y="176"/>
                </a:lnTo>
                <a:lnTo>
                  <a:pt x="110" y="212"/>
                </a:lnTo>
                <a:lnTo>
                  <a:pt x="82" y="252"/>
                </a:lnTo>
                <a:lnTo>
                  <a:pt x="58" y="296"/>
                </a:lnTo>
                <a:lnTo>
                  <a:pt x="36" y="342"/>
                </a:lnTo>
                <a:lnTo>
                  <a:pt x="20" y="390"/>
                </a:lnTo>
                <a:lnTo>
                  <a:pt x="14" y="416"/>
                </a:lnTo>
                <a:lnTo>
                  <a:pt x="8" y="442"/>
                </a:lnTo>
                <a:lnTo>
                  <a:pt x="4" y="468"/>
                </a:lnTo>
                <a:lnTo>
                  <a:pt x="2" y="494"/>
                </a:lnTo>
                <a:lnTo>
                  <a:pt x="0" y="520"/>
                </a:lnTo>
                <a:lnTo>
                  <a:pt x="0" y="548"/>
                </a:lnTo>
                <a:lnTo>
                  <a:pt x="0" y="548"/>
                </a:lnTo>
                <a:lnTo>
                  <a:pt x="0" y="576"/>
                </a:lnTo>
                <a:lnTo>
                  <a:pt x="2" y="602"/>
                </a:lnTo>
                <a:lnTo>
                  <a:pt x="2" y="602"/>
                </a:lnTo>
                <a:lnTo>
                  <a:pt x="4" y="612"/>
                </a:lnTo>
                <a:lnTo>
                  <a:pt x="8" y="620"/>
                </a:lnTo>
                <a:lnTo>
                  <a:pt x="12" y="628"/>
                </a:lnTo>
                <a:lnTo>
                  <a:pt x="18" y="636"/>
                </a:lnTo>
                <a:lnTo>
                  <a:pt x="26" y="640"/>
                </a:lnTo>
                <a:lnTo>
                  <a:pt x="36" y="644"/>
                </a:lnTo>
                <a:lnTo>
                  <a:pt x="44" y="646"/>
                </a:lnTo>
                <a:lnTo>
                  <a:pt x="54" y="646"/>
                </a:lnTo>
                <a:lnTo>
                  <a:pt x="54" y="646"/>
                </a:lnTo>
                <a:lnTo>
                  <a:pt x="64" y="644"/>
                </a:lnTo>
                <a:lnTo>
                  <a:pt x="74" y="642"/>
                </a:lnTo>
                <a:lnTo>
                  <a:pt x="80" y="636"/>
                </a:lnTo>
                <a:lnTo>
                  <a:pt x="88" y="630"/>
                </a:lnTo>
                <a:lnTo>
                  <a:pt x="92" y="622"/>
                </a:lnTo>
                <a:lnTo>
                  <a:pt x="96" y="612"/>
                </a:lnTo>
                <a:lnTo>
                  <a:pt x="98" y="604"/>
                </a:lnTo>
                <a:lnTo>
                  <a:pt x="98" y="594"/>
                </a:lnTo>
                <a:lnTo>
                  <a:pt x="98" y="594"/>
                </a:lnTo>
                <a:lnTo>
                  <a:pt x="96" y="548"/>
                </a:lnTo>
                <a:lnTo>
                  <a:pt x="96" y="548"/>
                </a:lnTo>
                <a:lnTo>
                  <a:pt x="98" y="504"/>
                </a:lnTo>
                <a:lnTo>
                  <a:pt x="104" y="462"/>
                </a:lnTo>
                <a:lnTo>
                  <a:pt x="114" y="420"/>
                </a:lnTo>
                <a:lnTo>
                  <a:pt x="126" y="380"/>
                </a:lnTo>
                <a:lnTo>
                  <a:pt x="144" y="342"/>
                </a:lnTo>
                <a:lnTo>
                  <a:pt x="162" y="308"/>
                </a:lnTo>
                <a:lnTo>
                  <a:pt x="184" y="274"/>
                </a:lnTo>
                <a:lnTo>
                  <a:pt x="210" y="244"/>
                </a:lnTo>
                <a:lnTo>
                  <a:pt x="238" y="218"/>
                </a:lnTo>
                <a:lnTo>
                  <a:pt x="268" y="192"/>
                </a:lnTo>
                <a:lnTo>
                  <a:pt x="300" y="172"/>
                </a:lnTo>
                <a:lnTo>
                  <a:pt x="334" y="154"/>
                </a:lnTo>
                <a:lnTo>
                  <a:pt x="370" y="140"/>
                </a:lnTo>
                <a:lnTo>
                  <a:pt x="408" y="130"/>
                </a:lnTo>
                <a:lnTo>
                  <a:pt x="446" y="122"/>
                </a:lnTo>
                <a:lnTo>
                  <a:pt x="488" y="120"/>
                </a:lnTo>
                <a:lnTo>
                  <a:pt x="488" y="120"/>
                </a:lnTo>
                <a:close/>
                <a:moveTo>
                  <a:pt x="840" y="182"/>
                </a:moveTo>
                <a:lnTo>
                  <a:pt x="840" y="182"/>
                </a:lnTo>
                <a:lnTo>
                  <a:pt x="798" y="288"/>
                </a:lnTo>
                <a:lnTo>
                  <a:pt x="798" y="288"/>
                </a:lnTo>
                <a:lnTo>
                  <a:pt x="816" y="316"/>
                </a:lnTo>
                <a:lnTo>
                  <a:pt x="832" y="344"/>
                </a:lnTo>
                <a:lnTo>
                  <a:pt x="846" y="376"/>
                </a:lnTo>
                <a:lnTo>
                  <a:pt x="856" y="408"/>
                </a:lnTo>
                <a:lnTo>
                  <a:pt x="866" y="442"/>
                </a:lnTo>
                <a:lnTo>
                  <a:pt x="872" y="476"/>
                </a:lnTo>
                <a:lnTo>
                  <a:pt x="876" y="512"/>
                </a:lnTo>
                <a:lnTo>
                  <a:pt x="878" y="548"/>
                </a:lnTo>
                <a:lnTo>
                  <a:pt x="878" y="548"/>
                </a:lnTo>
                <a:lnTo>
                  <a:pt x="876" y="594"/>
                </a:lnTo>
                <a:lnTo>
                  <a:pt x="876" y="594"/>
                </a:lnTo>
                <a:lnTo>
                  <a:pt x="876" y="604"/>
                </a:lnTo>
                <a:lnTo>
                  <a:pt x="878" y="614"/>
                </a:lnTo>
                <a:lnTo>
                  <a:pt x="882" y="622"/>
                </a:lnTo>
                <a:lnTo>
                  <a:pt x="886" y="630"/>
                </a:lnTo>
                <a:lnTo>
                  <a:pt x="894" y="636"/>
                </a:lnTo>
                <a:lnTo>
                  <a:pt x="902" y="642"/>
                </a:lnTo>
                <a:lnTo>
                  <a:pt x="910" y="646"/>
                </a:lnTo>
                <a:lnTo>
                  <a:pt x="920" y="648"/>
                </a:lnTo>
                <a:lnTo>
                  <a:pt x="920" y="648"/>
                </a:lnTo>
                <a:lnTo>
                  <a:pt x="924" y="648"/>
                </a:lnTo>
                <a:lnTo>
                  <a:pt x="924" y="648"/>
                </a:lnTo>
                <a:lnTo>
                  <a:pt x="934" y="646"/>
                </a:lnTo>
                <a:lnTo>
                  <a:pt x="942" y="644"/>
                </a:lnTo>
                <a:lnTo>
                  <a:pt x="950" y="640"/>
                </a:lnTo>
                <a:lnTo>
                  <a:pt x="956" y="636"/>
                </a:lnTo>
                <a:lnTo>
                  <a:pt x="962" y="628"/>
                </a:lnTo>
                <a:lnTo>
                  <a:pt x="968" y="622"/>
                </a:lnTo>
                <a:lnTo>
                  <a:pt x="970" y="612"/>
                </a:lnTo>
                <a:lnTo>
                  <a:pt x="972" y="604"/>
                </a:lnTo>
                <a:lnTo>
                  <a:pt x="972" y="604"/>
                </a:lnTo>
                <a:lnTo>
                  <a:pt x="974" y="576"/>
                </a:lnTo>
                <a:lnTo>
                  <a:pt x="976" y="548"/>
                </a:lnTo>
                <a:lnTo>
                  <a:pt x="976" y="548"/>
                </a:lnTo>
                <a:lnTo>
                  <a:pt x="974" y="522"/>
                </a:lnTo>
                <a:lnTo>
                  <a:pt x="972" y="496"/>
                </a:lnTo>
                <a:lnTo>
                  <a:pt x="966" y="444"/>
                </a:lnTo>
                <a:lnTo>
                  <a:pt x="954" y="394"/>
                </a:lnTo>
                <a:lnTo>
                  <a:pt x="938" y="346"/>
                </a:lnTo>
                <a:lnTo>
                  <a:pt x="920" y="302"/>
                </a:lnTo>
                <a:lnTo>
                  <a:pt x="896" y="258"/>
                </a:lnTo>
                <a:lnTo>
                  <a:pt x="870" y="218"/>
                </a:lnTo>
                <a:lnTo>
                  <a:pt x="840" y="182"/>
                </a:lnTo>
                <a:lnTo>
                  <a:pt x="840" y="182"/>
                </a:lnTo>
                <a:close/>
              </a:path>
            </a:pathLst>
          </a:custGeom>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defTabSz="914400">
              <a:defRPr/>
            </a:pPr>
            <a:endPar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16">
            <a:extLst>
              <a:ext uri="{FF2B5EF4-FFF2-40B4-BE49-F238E27FC236}">
                <a16:creationId xmlns:a16="http://schemas.microsoft.com/office/drawing/2014/main" id="{8CA64377-6FDE-8E40-EDE0-16EB8FE2BB02}"/>
              </a:ext>
            </a:extLst>
          </p:cNvPr>
          <p:cNvSpPr>
            <a:spLocks noEditPoints="1"/>
          </p:cNvSpPr>
          <p:nvPr/>
        </p:nvSpPr>
        <p:spPr bwMode="auto">
          <a:xfrm>
            <a:off x="5072110" y="4495800"/>
            <a:ext cx="361158" cy="298908"/>
          </a:xfrm>
          <a:custGeom>
            <a:avLst/>
            <a:gdLst>
              <a:gd name="T0" fmla="*/ 143 w 496"/>
              <a:gd name="T1" fmla="*/ 124 h 446"/>
              <a:gd name="T2" fmla="*/ 50 w 496"/>
              <a:gd name="T3" fmla="*/ 124 h 446"/>
              <a:gd name="T4" fmla="*/ 31 w 496"/>
              <a:gd name="T5" fmla="*/ 128 h 446"/>
              <a:gd name="T6" fmla="*/ 14 w 496"/>
              <a:gd name="T7" fmla="*/ 140 h 446"/>
              <a:gd name="T8" fmla="*/ 4 w 496"/>
              <a:gd name="T9" fmla="*/ 155 h 446"/>
              <a:gd name="T10" fmla="*/ 0 w 496"/>
              <a:gd name="T11" fmla="*/ 174 h 446"/>
              <a:gd name="T12" fmla="*/ 0 w 496"/>
              <a:gd name="T13" fmla="*/ 322 h 446"/>
              <a:gd name="T14" fmla="*/ 4 w 496"/>
              <a:gd name="T15" fmla="*/ 342 h 446"/>
              <a:gd name="T16" fmla="*/ 14 w 496"/>
              <a:gd name="T17" fmla="*/ 358 h 446"/>
              <a:gd name="T18" fmla="*/ 31 w 496"/>
              <a:gd name="T19" fmla="*/ 368 h 446"/>
              <a:gd name="T20" fmla="*/ 50 w 496"/>
              <a:gd name="T21" fmla="*/ 372 h 446"/>
              <a:gd name="T22" fmla="*/ 74 w 496"/>
              <a:gd name="T23" fmla="*/ 446 h 446"/>
              <a:gd name="T24" fmla="*/ 273 w 496"/>
              <a:gd name="T25" fmla="*/ 372 h 446"/>
              <a:gd name="T26" fmla="*/ 283 w 496"/>
              <a:gd name="T27" fmla="*/ 371 h 446"/>
              <a:gd name="T28" fmla="*/ 301 w 496"/>
              <a:gd name="T29" fmla="*/ 364 h 446"/>
              <a:gd name="T30" fmla="*/ 314 w 496"/>
              <a:gd name="T31" fmla="*/ 351 h 446"/>
              <a:gd name="T32" fmla="*/ 321 w 496"/>
              <a:gd name="T33" fmla="*/ 333 h 446"/>
              <a:gd name="T34" fmla="*/ 322 w 496"/>
              <a:gd name="T35" fmla="*/ 278 h 446"/>
              <a:gd name="T36" fmla="*/ 317 w 496"/>
              <a:gd name="T37" fmla="*/ 279 h 446"/>
              <a:gd name="T38" fmla="*/ 446 w 496"/>
              <a:gd name="T39" fmla="*/ 0 h 446"/>
              <a:gd name="T40" fmla="*/ 224 w 496"/>
              <a:gd name="T41" fmla="*/ 0 h 446"/>
              <a:gd name="T42" fmla="*/ 204 w 496"/>
              <a:gd name="T43" fmla="*/ 4 h 446"/>
              <a:gd name="T44" fmla="*/ 188 w 496"/>
              <a:gd name="T45" fmla="*/ 16 h 446"/>
              <a:gd name="T46" fmla="*/ 178 w 496"/>
              <a:gd name="T47" fmla="*/ 31 h 446"/>
              <a:gd name="T48" fmla="*/ 174 w 496"/>
              <a:gd name="T49" fmla="*/ 50 h 446"/>
              <a:gd name="T50" fmla="*/ 348 w 496"/>
              <a:gd name="T51" fmla="*/ 248 h 446"/>
              <a:gd name="T52" fmla="*/ 422 w 496"/>
              <a:gd name="T53" fmla="*/ 248 h 446"/>
              <a:gd name="T54" fmla="*/ 446 w 496"/>
              <a:gd name="T55" fmla="*/ 248 h 446"/>
              <a:gd name="T56" fmla="*/ 466 w 496"/>
              <a:gd name="T57" fmla="*/ 244 h 446"/>
              <a:gd name="T58" fmla="*/ 482 w 496"/>
              <a:gd name="T59" fmla="*/ 234 h 446"/>
              <a:gd name="T60" fmla="*/ 492 w 496"/>
              <a:gd name="T61" fmla="*/ 218 h 446"/>
              <a:gd name="T62" fmla="*/ 496 w 496"/>
              <a:gd name="T63" fmla="*/ 198 h 446"/>
              <a:gd name="T64" fmla="*/ 496 w 496"/>
              <a:gd name="T65" fmla="*/ 50 h 446"/>
              <a:gd name="T66" fmla="*/ 492 w 496"/>
              <a:gd name="T67" fmla="*/ 31 h 446"/>
              <a:gd name="T68" fmla="*/ 482 w 496"/>
              <a:gd name="T69" fmla="*/ 16 h 446"/>
              <a:gd name="T70" fmla="*/ 466 w 496"/>
              <a:gd name="T71" fmla="*/ 4 h 446"/>
              <a:gd name="T72" fmla="*/ 446 w 496"/>
              <a:gd name="T73"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6" h="446">
                <a:moveTo>
                  <a:pt x="143" y="279"/>
                </a:moveTo>
                <a:lnTo>
                  <a:pt x="143" y="124"/>
                </a:lnTo>
                <a:lnTo>
                  <a:pt x="50" y="124"/>
                </a:lnTo>
                <a:lnTo>
                  <a:pt x="50" y="124"/>
                </a:lnTo>
                <a:lnTo>
                  <a:pt x="40" y="125"/>
                </a:lnTo>
                <a:lnTo>
                  <a:pt x="31" y="128"/>
                </a:lnTo>
                <a:lnTo>
                  <a:pt x="22" y="133"/>
                </a:lnTo>
                <a:lnTo>
                  <a:pt x="14" y="140"/>
                </a:lnTo>
                <a:lnTo>
                  <a:pt x="8" y="147"/>
                </a:lnTo>
                <a:lnTo>
                  <a:pt x="4" y="155"/>
                </a:lnTo>
                <a:lnTo>
                  <a:pt x="1" y="164"/>
                </a:lnTo>
                <a:lnTo>
                  <a:pt x="0" y="174"/>
                </a:lnTo>
                <a:lnTo>
                  <a:pt x="0" y="322"/>
                </a:lnTo>
                <a:lnTo>
                  <a:pt x="0" y="322"/>
                </a:lnTo>
                <a:lnTo>
                  <a:pt x="1" y="333"/>
                </a:lnTo>
                <a:lnTo>
                  <a:pt x="4" y="342"/>
                </a:lnTo>
                <a:lnTo>
                  <a:pt x="8" y="351"/>
                </a:lnTo>
                <a:lnTo>
                  <a:pt x="14" y="358"/>
                </a:lnTo>
                <a:lnTo>
                  <a:pt x="22" y="364"/>
                </a:lnTo>
                <a:lnTo>
                  <a:pt x="31" y="368"/>
                </a:lnTo>
                <a:lnTo>
                  <a:pt x="40" y="371"/>
                </a:lnTo>
                <a:lnTo>
                  <a:pt x="50" y="372"/>
                </a:lnTo>
                <a:lnTo>
                  <a:pt x="74" y="372"/>
                </a:lnTo>
                <a:lnTo>
                  <a:pt x="74" y="446"/>
                </a:lnTo>
                <a:lnTo>
                  <a:pt x="149" y="372"/>
                </a:lnTo>
                <a:lnTo>
                  <a:pt x="273" y="372"/>
                </a:lnTo>
                <a:lnTo>
                  <a:pt x="273" y="372"/>
                </a:lnTo>
                <a:lnTo>
                  <a:pt x="283" y="371"/>
                </a:lnTo>
                <a:lnTo>
                  <a:pt x="292" y="368"/>
                </a:lnTo>
                <a:lnTo>
                  <a:pt x="301" y="364"/>
                </a:lnTo>
                <a:lnTo>
                  <a:pt x="308" y="358"/>
                </a:lnTo>
                <a:lnTo>
                  <a:pt x="314" y="351"/>
                </a:lnTo>
                <a:lnTo>
                  <a:pt x="318" y="342"/>
                </a:lnTo>
                <a:lnTo>
                  <a:pt x="321" y="333"/>
                </a:lnTo>
                <a:lnTo>
                  <a:pt x="322" y="322"/>
                </a:lnTo>
                <a:lnTo>
                  <a:pt x="322" y="278"/>
                </a:lnTo>
                <a:lnTo>
                  <a:pt x="322" y="278"/>
                </a:lnTo>
                <a:lnTo>
                  <a:pt x="317" y="279"/>
                </a:lnTo>
                <a:lnTo>
                  <a:pt x="143" y="279"/>
                </a:lnTo>
                <a:close/>
                <a:moveTo>
                  <a:pt x="446" y="0"/>
                </a:moveTo>
                <a:lnTo>
                  <a:pt x="224" y="0"/>
                </a:lnTo>
                <a:lnTo>
                  <a:pt x="224" y="0"/>
                </a:lnTo>
                <a:lnTo>
                  <a:pt x="214" y="1"/>
                </a:lnTo>
                <a:lnTo>
                  <a:pt x="204" y="4"/>
                </a:lnTo>
                <a:lnTo>
                  <a:pt x="195" y="9"/>
                </a:lnTo>
                <a:lnTo>
                  <a:pt x="188" y="16"/>
                </a:lnTo>
                <a:lnTo>
                  <a:pt x="182" y="23"/>
                </a:lnTo>
                <a:lnTo>
                  <a:pt x="178" y="31"/>
                </a:lnTo>
                <a:lnTo>
                  <a:pt x="175" y="40"/>
                </a:lnTo>
                <a:lnTo>
                  <a:pt x="174" y="50"/>
                </a:lnTo>
                <a:lnTo>
                  <a:pt x="174" y="248"/>
                </a:lnTo>
                <a:lnTo>
                  <a:pt x="348" y="248"/>
                </a:lnTo>
                <a:lnTo>
                  <a:pt x="422" y="322"/>
                </a:lnTo>
                <a:lnTo>
                  <a:pt x="422" y="248"/>
                </a:lnTo>
                <a:lnTo>
                  <a:pt x="446" y="248"/>
                </a:lnTo>
                <a:lnTo>
                  <a:pt x="446" y="248"/>
                </a:lnTo>
                <a:lnTo>
                  <a:pt x="456" y="247"/>
                </a:lnTo>
                <a:lnTo>
                  <a:pt x="466" y="244"/>
                </a:lnTo>
                <a:lnTo>
                  <a:pt x="474" y="240"/>
                </a:lnTo>
                <a:lnTo>
                  <a:pt x="482" y="234"/>
                </a:lnTo>
                <a:lnTo>
                  <a:pt x="488" y="227"/>
                </a:lnTo>
                <a:lnTo>
                  <a:pt x="492" y="218"/>
                </a:lnTo>
                <a:lnTo>
                  <a:pt x="495" y="209"/>
                </a:lnTo>
                <a:lnTo>
                  <a:pt x="496" y="198"/>
                </a:lnTo>
                <a:lnTo>
                  <a:pt x="496" y="50"/>
                </a:lnTo>
                <a:lnTo>
                  <a:pt x="496" y="50"/>
                </a:lnTo>
                <a:lnTo>
                  <a:pt x="495" y="40"/>
                </a:lnTo>
                <a:lnTo>
                  <a:pt x="492" y="31"/>
                </a:lnTo>
                <a:lnTo>
                  <a:pt x="488" y="23"/>
                </a:lnTo>
                <a:lnTo>
                  <a:pt x="482" y="16"/>
                </a:lnTo>
                <a:lnTo>
                  <a:pt x="474" y="9"/>
                </a:lnTo>
                <a:lnTo>
                  <a:pt x="466" y="4"/>
                </a:lnTo>
                <a:lnTo>
                  <a:pt x="456" y="1"/>
                </a:lnTo>
                <a:lnTo>
                  <a:pt x="446" y="0"/>
                </a:lnTo>
                <a:lnTo>
                  <a:pt x="446" y="0"/>
                </a:lnTo>
                <a:close/>
              </a:path>
            </a:pathLst>
          </a:custGeom>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defTabSz="914400">
              <a:defRPr/>
            </a:pPr>
            <a:endParaRPr lang="en-US" sz="1000"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12">
            <a:extLst>
              <a:ext uri="{FF2B5EF4-FFF2-40B4-BE49-F238E27FC236}">
                <a16:creationId xmlns:a16="http://schemas.microsoft.com/office/drawing/2014/main" id="{B865B6CB-C592-B4BF-CBAC-A1FC66C329AB}"/>
              </a:ext>
            </a:extLst>
          </p:cNvPr>
          <p:cNvSpPr>
            <a:spLocks noEditPoints="1"/>
          </p:cNvSpPr>
          <p:nvPr/>
        </p:nvSpPr>
        <p:spPr bwMode="auto">
          <a:xfrm>
            <a:off x="5048625" y="5114145"/>
            <a:ext cx="384643" cy="313835"/>
          </a:xfrm>
          <a:custGeom>
            <a:avLst/>
            <a:gdLst>
              <a:gd name="T0" fmla="*/ 493 w 496"/>
              <a:gd name="T1" fmla="*/ 352 h 436"/>
              <a:gd name="T2" fmla="*/ 486 w 496"/>
              <a:gd name="T3" fmla="*/ 327 h 436"/>
              <a:gd name="T4" fmla="*/ 448 w 496"/>
              <a:gd name="T5" fmla="*/ 302 h 436"/>
              <a:gd name="T6" fmla="*/ 400 w 496"/>
              <a:gd name="T7" fmla="*/ 281 h 436"/>
              <a:gd name="T8" fmla="*/ 378 w 496"/>
              <a:gd name="T9" fmla="*/ 255 h 436"/>
              <a:gd name="T10" fmla="*/ 376 w 496"/>
              <a:gd name="T11" fmla="*/ 230 h 436"/>
              <a:gd name="T12" fmla="*/ 387 w 496"/>
              <a:gd name="T13" fmla="*/ 211 h 436"/>
              <a:gd name="T14" fmla="*/ 392 w 496"/>
              <a:gd name="T15" fmla="*/ 191 h 436"/>
              <a:gd name="T16" fmla="*/ 402 w 496"/>
              <a:gd name="T17" fmla="*/ 181 h 436"/>
              <a:gd name="T18" fmla="*/ 404 w 496"/>
              <a:gd name="T19" fmla="*/ 158 h 436"/>
              <a:gd name="T20" fmla="*/ 399 w 496"/>
              <a:gd name="T21" fmla="*/ 151 h 436"/>
              <a:gd name="T22" fmla="*/ 403 w 496"/>
              <a:gd name="T23" fmla="*/ 113 h 436"/>
              <a:gd name="T24" fmla="*/ 390 w 496"/>
              <a:gd name="T25" fmla="*/ 81 h 436"/>
              <a:gd name="T26" fmla="*/ 369 w 496"/>
              <a:gd name="T27" fmla="*/ 66 h 436"/>
              <a:gd name="T28" fmla="*/ 345 w 496"/>
              <a:gd name="T29" fmla="*/ 62 h 436"/>
              <a:gd name="T30" fmla="*/ 313 w 496"/>
              <a:gd name="T31" fmla="*/ 69 h 436"/>
              <a:gd name="T32" fmla="*/ 295 w 496"/>
              <a:gd name="T33" fmla="*/ 85 h 436"/>
              <a:gd name="T34" fmla="*/ 286 w 496"/>
              <a:gd name="T35" fmla="*/ 121 h 436"/>
              <a:gd name="T36" fmla="*/ 289 w 496"/>
              <a:gd name="T37" fmla="*/ 151 h 436"/>
              <a:gd name="T38" fmla="*/ 284 w 496"/>
              <a:gd name="T39" fmla="*/ 165 h 436"/>
              <a:gd name="T40" fmla="*/ 289 w 496"/>
              <a:gd name="T41" fmla="*/ 184 h 436"/>
              <a:gd name="T42" fmla="*/ 298 w 496"/>
              <a:gd name="T43" fmla="*/ 195 h 436"/>
              <a:gd name="T44" fmla="*/ 305 w 496"/>
              <a:gd name="T45" fmla="*/ 216 h 436"/>
              <a:gd name="T46" fmla="*/ 314 w 496"/>
              <a:gd name="T47" fmla="*/ 236 h 436"/>
              <a:gd name="T48" fmla="*/ 311 w 496"/>
              <a:gd name="T49" fmla="*/ 255 h 436"/>
              <a:gd name="T50" fmla="*/ 298 w 496"/>
              <a:gd name="T51" fmla="*/ 274 h 436"/>
              <a:gd name="T52" fmla="*/ 341 w 496"/>
              <a:gd name="T53" fmla="*/ 302 h 436"/>
              <a:gd name="T54" fmla="*/ 377 w 496"/>
              <a:gd name="T55" fmla="*/ 330 h 436"/>
              <a:gd name="T56" fmla="*/ 384 w 496"/>
              <a:gd name="T57" fmla="*/ 362 h 436"/>
              <a:gd name="T58" fmla="*/ 253 w 496"/>
              <a:gd name="T59" fmla="*/ 307 h 436"/>
              <a:gd name="T60" fmla="*/ 202 w 496"/>
              <a:gd name="T61" fmla="*/ 275 h 436"/>
              <a:gd name="T62" fmla="*/ 189 w 496"/>
              <a:gd name="T63" fmla="*/ 231 h 436"/>
              <a:gd name="T64" fmla="*/ 194 w 496"/>
              <a:gd name="T65" fmla="*/ 215 h 436"/>
              <a:gd name="T66" fmla="*/ 207 w 496"/>
              <a:gd name="T67" fmla="*/ 189 h 436"/>
              <a:gd name="T68" fmla="*/ 214 w 496"/>
              <a:gd name="T69" fmla="*/ 168 h 436"/>
              <a:gd name="T70" fmla="*/ 228 w 496"/>
              <a:gd name="T71" fmla="*/ 149 h 436"/>
              <a:gd name="T72" fmla="*/ 228 w 496"/>
              <a:gd name="T73" fmla="*/ 128 h 436"/>
              <a:gd name="T74" fmla="*/ 222 w 496"/>
              <a:gd name="T75" fmla="*/ 118 h 436"/>
              <a:gd name="T76" fmla="*/ 227 w 496"/>
              <a:gd name="T77" fmla="*/ 68 h 436"/>
              <a:gd name="T78" fmla="*/ 213 w 496"/>
              <a:gd name="T79" fmla="*/ 30 h 436"/>
              <a:gd name="T80" fmla="*/ 189 w 496"/>
              <a:gd name="T81" fmla="*/ 9 h 436"/>
              <a:gd name="T82" fmla="*/ 147 w 496"/>
              <a:gd name="T83" fmla="*/ 0 h 436"/>
              <a:gd name="T84" fmla="*/ 115 w 496"/>
              <a:gd name="T85" fmla="*/ 5 h 436"/>
              <a:gd name="T86" fmla="*/ 86 w 496"/>
              <a:gd name="T87" fmla="*/ 24 h 436"/>
              <a:gd name="T88" fmla="*/ 70 w 496"/>
              <a:gd name="T89" fmla="*/ 56 h 436"/>
              <a:gd name="T90" fmla="*/ 71 w 496"/>
              <a:gd name="T91" fmla="*/ 104 h 436"/>
              <a:gd name="T92" fmla="*/ 70 w 496"/>
              <a:gd name="T93" fmla="*/ 122 h 436"/>
              <a:gd name="T94" fmla="*/ 66 w 496"/>
              <a:gd name="T95" fmla="*/ 137 h 436"/>
              <a:gd name="T96" fmla="*/ 75 w 496"/>
              <a:gd name="T97" fmla="*/ 164 h 436"/>
              <a:gd name="T98" fmla="*/ 84 w 496"/>
              <a:gd name="T99" fmla="*/ 175 h 436"/>
              <a:gd name="T100" fmla="*/ 99 w 496"/>
              <a:gd name="T101" fmla="*/ 210 h 436"/>
              <a:gd name="T102" fmla="*/ 107 w 496"/>
              <a:gd name="T103" fmla="*/ 231 h 436"/>
              <a:gd name="T104" fmla="*/ 99 w 496"/>
              <a:gd name="T105" fmla="*/ 266 h 436"/>
              <a:gd name="T106" fmla="*/ 59 w 496"/>
              <a:gd name="T107" fmla="*/ 298 h 436"/>
              <a:gd name="T108" fmla="*/ 22 w 496"/>
              <a:gd name="T109" fmla="*/ 315 h 436"/>
              <a:gd name="T110" fmla="*/ 1 w 496"/>
              <a:gd name="T111" fmla="*/ 337 h 436"/>
              <a:gd name="T112" fmla="*/ 345 w 496"/>
              <a:gd name="T113" fmla="*/ 436 h 436"/>
              <a:gd name="T114" fmla="*/ 343 w 496"/>
              <a:gd name="T115" fmla="*/ 363 h 436"/>
              <a:gd name="T116" fmla="*/ 328 w 496"/>
              <a:gd name="T117" fmla="*/ 344 h 436"/>
              <a:gd name="T118" fmla="*/ 253 w 496"/>
              <a:gd name="T119" fmla="*/ 30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6" h="436">
                <a:moveTo>
                  <a:pt x="496" y="436"/>
                </a:moveTo>
                <a:lnTo>
                  <a:pt x="496" y="436"/>
                </a:lnTo>
                <a:lnTo>
                  <a:pt x="495" y="388"/>
                </a:lnTo>
                <a:lnTo>
                  <a:pt x="493" y="352"/>
                </a:lnTo>
                <a:lnTo>
                  <a:pt x="491" y="339"/>
                </a:lnTo>
                <a:lnTo>
                  <a:pt x="489" y="332"/>
                </a:lnTo>
                <a:lnTo>
                  <a:pt x="489" y="332"/>
                </a:lnTo>
                <a:lnTo>
                  <a:pt x="486" y="327"/>
                </a:lnTo>
                <a:lnTo>
                  <a:pt x="481" y="322"/>
                </a:lnTo>
                <a:lnTo>
                  <a:pt x="475" y="317"/>
                </a:lnTo>
                <a:lnTo>
                  <a:pt x="467" y="313"/>
                </a:lnTo>
                <a:lnTo>
                  <a:pt x="448" y="302"/>
                </a:lnTo>
                <a:lnTo>
                  <a:pt x="424" y="292"/>
                </a:lnTo>
                <a:lnTo>
                  <a:pt x="424" y="292"/>
                </a:lnTo>
                <a:lnTo>
                  <a:pt x="412" y="286"/>
                </a:lnTo>
                <a:lnTo>
                  <a:pt x="400" y="281"/>
                </a:lnTo>
                <a:lnTo>
                  <a:pt x="392" y="275"/>
                </a:lnTo>
                <a:lnTo>
                  <a:pt x="386" y="269"/>
                </a:lnTo>
                <a:lnTo>
                  <a:pt x="381" y="262"/>
                </a:lnTo>
                <a:lnTo>
                  <a:pt x="378" y="255"/>
                </a:lnTo>
                <a:lnTo>
                  <a:pt x="376" y="246"/>
                </a:lnTo>
                <a:lnTo>
                  <a:pt x="375" y="236"/>
                </a:lnTo>
                <a:lnTo>
                  <a:pt x="375" y="236"/>
                </a:lnTo>
                <a:lnTo>
                  <a:pt x="376" y="230"/>
                </a:lnTo>
                <a:lnTo>
                  <a:pt x="377" y="226"/>
                </a:lnTo>
                <a:lnTo>
                  <a:pt x="381" y="220"/>
                </a:lnTo>
                <a:lnTo>
                  <a:pt x="384" y="216"/>
                </a:lnTo>
                <a:lnTo>
                  <a:pt x="387" y="211"/>
                </a:lnTo>
                <a:lnTo>
                  <a:pt x="389" y="204"/>
                </a:lnTo>
                <a:lnTo>
                  <a:pt x="391" y="195"/>
                </a:lnTo>
                <a:lnTo>
                  <a:pt x="391" y="195"/>
                </a:lnTo>
                <a:lnTo>
                  <a:pt x="392" y="191"/>
                </a:lnTo>
                <a:lnTo>
                  <a:pt x="394" y="189"/>
                </a:lnTo>
                <a:lnTo>
                  <a:pt x="398" y="186"/>
                </a:lnTo>
                <a:lnTo>
                  <a:pt x="400" y="184"/>
                </a:lnTo>
                <a:lnTo>
                  <a:pt x="402" y="181"/>
                </a:lnTo>
                <a:lnTo>
                  <a:pt x="404" y="174"/>
                </a:lnTo>
                <a:lnTo>
                  <a:pt x="405" y="165"/>
                </a:lnTo>
                <a:lnTo>
                  <a:pt x="405" y="165"/>
                </a:lnTo>
                <a:lnTo>
                  <a:pt x="404" y="158"/>
                </a:lnTo>
                <a:lnTo>
                  <a:pt x="402" y="154"/>
                </a:lnTo>
                <a:lnTo>
                  <a:pt x="400" y="151"/>
                </a:lnTo>
                <a:lnTo>
                  <a:pt x="399" y="151"/>
                </a:lnTo>
                <a:lnTo>
                  <a:pt x="399" y="151"/>
                </a:lnTo>
                <a:lnTo>
                  <a:pt x="401" y="141"/>
                </a:lnTo>
                <a:lnTo>
                  <a:pt x="403" y="121"/>
                </a:lnTo>
                <a:lnTo>
                  <a:pt x="403" y="121"/>
                </a:lnTo>
                <a:lnTo>
                  <a:pt x="403" y="113"/>
                </a:lnTo>
                <a:lnTo>
                  <a:pt x="402" y="104"/>
                </a:lnTo>
                <a:lnTo>
                  <a:pt x="399" y="95"/>
                </a:lnTo>
                <a:lnTo>
                  <a:pt x="393" y="85"/>
                </a:lnTo>
                <a:lnTo>
                  <a:pt x="390" y="81"/>
                </a:lnTo>
                <a:lnTo>
                  <a:pt x="386" y="76"/>
                </a:lnTo>
                <a:lnTo>
                  <a:pt x="381" y="72"/>
                </a:lnTo>
                <a:lnTo>
                  <a:pt x="375" y="69"/>
                </a:lnTo>
                <a:lnTo>
                  <a:pt x="369" y="66"/>
                </a:lnTo>
                <a:lnTo>
                  <a:pt x="362" y="64"/>
                </a:lnTo>
                <a:lnTo>
                  <a:pt x="354" y="63"/>
                </a:lnTo>
                <a:lnTo>
                  <a:pt x="345" y="62"/>
                </a:lnTo>
                <a:lnTo>
                  <a:pt x="345" y="62"/>
                </a:lnTo>
                <a:lnTo>
                  <a:pt x="335" y="63"/>
                </a:lnTo>
                <a:lnTo>
                  <a:pt x="327" y="64"/>
                </a:lnTo>
                <a:lnTo>
                  <a:pt x="320" y="66"/>
                </a:lnTo>
                <a:lnTo>
                  <a:pt x="313" y="69"/>
                </a:lnTo>
                <a:lnTo>
                  <a:pt x="308" y="72"/>
                </a:lnTo>
                <a:lnTo>
                  <a:pt x="303" y="76"/>
                </a:lnTo>
                <a:lnTo>
                  <a:pt x="299" y="81"/>
                </a:lnTo>
                <a:lnTo>
                  <a:pt x="295" y="85"/>
                </a:lnTo>
                <a:lnTo>
                  <a:pt x="290" y="95"/>
                </a:lnTo>
                <a:lnTo>
                  <a:pt x="287" y="104"/>
                </a:lnTo>
                <a:lnTo>
                  <a:pt x="286" y="113"/>
                </a:lnTo>
                <a:lnTo>
                  <a:pt x="286" y="121"/>
                </a:lnTo>
                <a:lnTo>
                  <a:pt x="286" y="121"/>
                </a:lnTo>
                <a:lnTo>
                  <a:pt x="288" y="141"/>
                </a:lnTo>
                <a:lnTo>
                  <a:pt x="289" y="151"/>
                </a:lnTo>
                <a:lnTo>
                  <a:pt x="289" y="151"/>
                </a:lnTo>
                <a:lnTo>
                  <a:pt x="288" y="151"/>
                </a:lnTo>
                <a:lnTo>
                  <a:pt x="287" y="154"/>
                </a:lnTo>
                <a:lnTo>
                  <a:pt x="285" y="158"/>
                </a:lnTo>
                <a:lnTo>
                  <a:pt x="284" y="165"/>
                </a:lnTo>
                <a:lnTo>
                  <a:pt x="284" y="165"/>
                </a:lnTo>
                <a:lnTo>
                  <a:pt x="285" y="174"/>
                </a:lnTo>
                <a:lnTo>
                  <a:pt x="287" y="181"/>
                </a:lnTo>
                <a:lnTo>
                  <a:pt x="289" y="184"/>
                </a:lnTo>
                <a:lnTo>
                  <a:pt x="291" y="186"/>
                </a:lnTo>
                <a:lnTo>
                  <a:pt x="295" y="189"/>
                </a:lnTo>
                <a:lnTo>
                  <a:pt x="297" y="191"/>
                </a:lnTo>
                <a:lnTo>
                  <a:pt x="298" y="195"/>
                </a:lnTo>
                <a:lnTo>
                  <a:pt x="298" y="195"/>
                </a:lnTo>
                <a:lnTo>
                  <a:pt x="300" y="204"/>
                </a:lnTo>
                <a:lnTo>
                  <a:pt x="302" y="211"/>
                </a:lnTo>
                <a:lnTo>
                  <a:pt x="305" y="216"/>
                </a:lnTo>
                <a:lnTo>
                  <a:pt x="307" y="220"/>
                </a:lnTo>
                <a:lnTo>
                  <a:pt x="312" y="226"/>
                </a:lnTo>
                <a:lnTo>
                  <a:pt x="313" y="230"/>
                </a:lnTo>
                <a:lnTo>
                  <a:pt x="314" y="236"/>
                </a:lnTo>
                <a:lnTo>
                  <a:pt x="314" y="236"/>
                </a:lnTo>
                <a:lnTo>
                  <a:pt x="313" y="243"/>
                </a:lnTo>
                <a:lnTo>
                  <a:pt x="312" y="249"/>
                </a:lnTo>
                <a:lnTo>
                  <a:pt x="311" y="255"/>
                </a:lnTo>
                <a:lnTo>
                  <a:pt x="309" y="260"/>
                </a:lnTo>
                <a:lnTo>
                  <a:pt x="306" y="265"/>
                </a:lnTo>
                <a:lnTo>
                  <a:pt x="303" y="269"/>
                </a:lnTo>
                <a:lnTo>
                  <a:pt x="298" y="274"/>
                </a:lnTo>
                <a:lnTo>
                  <a:pt x="293" y="278"/>
                </a:lnTo>
                <a:lnTo>
                  <a:pt x="293" y="278"/>
                </a:lnTo>
                <a:lnTo>
                  <a:pt x="320" y="291"/>
                </a:lnTo>
                <a:lnTo>
                  <a:pt x="341" y="302"/>
                </a:lnTo>
                <a:lnTo>
                  <a:pt x="357" y="313"/>
                </a:lnTo>
                <a:lnTo>
                  <a:pt x="369" y="322"/>
                </a:lnTo>
                <a:lnTo>
                  <a:pt x="373" y="326"/>
                </a:lnTo>
                <a:lnTo>
                  <a:pt x="377" y="330"/>
                </a:lnTo>
                <a:lnTo>
                  <a:pt x="379" y="335"/>
                </a:lnTo>
                <a:lnTo>
                  <a:pt x="381" y="339"/>
                </a:lnTo>
                <a:lnTo>
                  <a:pt x="383" y="349"/>
                </a:lnTo>
                <a:lnTo>
                  <a:pt x="384" y="362"/>
                </a:lnTo>
                <a:lnTo>
                  <a:pt x="384" y="436"/>
                </a:lnTo>
                <a:lnTo>
                  <a:pt x="496" y="436"/>
                </a:lnTo>
                <a:close/>
                <a:moveTo>
                  <a:pt x="253" y="307"/>
                </a:moveTo>
                <a:lnTo>
                  <a:pt x="253" y="307"/>
                </a:lnTo>
                <a:lnTo>
                  <a:pt x="237" y="298"/>
                </a:lnTo>
                <a:lnTo>
                  <a:pt x="223" y="291"/>
                </a:lnTo>
                <a:lnTo>
                  <a:pt x="211" y="283"/>
                </a:lnTo>
                <a:lnTo>
                  <a:pt x="202" y="275"/>
                </a:lnTo>
                <a:lnTo>
                  <a:pt x="196" y="266"/>
                </a:lnTo>
                <a:lnTo>
                  <a:pt x="192" y="256"/>
                </a:lnTo>
                <a:lnTo>
                  <a:pt x="189" y="245"/>
                </a:lnTo>
                <a:lnTo>
                  <a:pt x="189" y="231"/>
                </a:lnTo>
                <a:lnTo>
                  <a:pt x="189" y="231"/>
                </a:lnTo>
                <a:lnTo>
                  <a:pt x="189" y="224"/>
                </a:lnTo>
                <a:lnTo>
                  <a:pt x="191" y="219"/>
                </a:lnTo>
                <a:lnTo>
                  <a:pt x="194" y="215"/>
                </a:lnTo>
                <a:lnTo>
                  <a:pt x="197" y="210"/>
                </a:lnTo>
                <a:lnTo>
                  <a:pt x="200" y="205"/>
                </a:lnTo>
                <a:lnTo>
                  <a:pt x="204" y="199"/>
                </a:lnTo>
                <a:lnTo>
                  <a:pt x="207" y="189"/>
                </a:lnTo>
                <a:lnTo>
                  <a:pt x="210" y="175"/>
                </a:lnTo>
                <a:lnTo>
                  <a:pt x="210" y="175"/>
                </a:lnTo>
                <a:lnTo>
                  <a:pt x="211" y="170"/>
                </a:lnTo>
                <a:lnTo>
                  <a:pt x="214" y="168"/>
                </a:lnTo>
                <a:lnTo>
                  <a:pt x="220" y="164"/>
                </a:lnTo>
                <a:lnTo>
                  <a:pt x="223" y="161"/>
                </a:lnTo>
                <a:lnTo>
                  <a:pt x="226" y="157"/>
                </a:lnTo>
                <a:lnTo>
                  <a:pt x="228" y="149"/>
                </a:lnTo>
                <a:lnTo>
                  <a:pt x="229" y="137"/>
                </a:lnTo>
                <a:lnTo>
                  <a:pt x="229" y="137"/>
                </a:lnTo>
                <a:lnTo>
                  <a:pt x="229" y="132"/>
                </a:lnTo>
                <a:lnTo>
                  <a:pt x="228" y="128"/>
                </a:lnTo>
                <a:lnTo>
                  <a:pt x="225" y="122"/>
                </a:lnTo>
                <a:lnTo>
                  <a:pt x="223" y="119"/>
                </a:lnTo>
                <a:lnTo>
                  <a:pt x="222" y="118"/>
                </a:lnTo>
                <a:lnTo>
                  <a:pt x="222" y="118"/>
                </a:lnTo>
                <a:lnTo>
                  <a:pt x="224" y="104"/>
                </a:lnTo>
                <a:lnTo>
                  <a:pt x="227" y="78"/>
                </a:lnTo>
                <a:lnTo>
                  <a:pt x="227" y="78"/>
                </a:lnTo>
                <a:lnTo>
                  <a:pt x="227" y="68"/>
                </a:lnTo>
                <a:lnTo>
                  <a:pt x="225" y="56"/>
                </a:lnTo>
                <a:lnTo>
                  <a:pt x="221" y="43"/>
                </a:lnTo>
                <a:lnTo>
                  <a:pt x="217" y="36"/>
                </a:lnTo>
                <a:lnTo>
                  <a:pt x="213" y="30"/>
                </a:lnTo>
                <a:lnTo>
                  <a:pt x="208" y="24"/>
                </a:lnTo>
                <a:lnTo>
                  <a:pt x="203" y="18"/>
                </a:lnTo>
                <a:lnTo>
                  <a:pt x="196" y="13"/>
                </a:lnTo>
                <a:lnTo>
                  <a:pt x="189" y="9"/>
                </a:lnTo>
                <a:lnTo>
                  <a:pt x="180" y="5"/>
                </a:lnTo>
                <a:lnTo>
                  <a:pt x="171" y="2"/>
                </a:lnTo>
                <a:lnTo>
                  <a:pt x="160" y="0"/>
                </a:lnTo>
                <a:lnTo>
                  <a:pt x="147" y="0"/>
                </a:lnTo>
                <a:lnTo>
                  <a:pt x="147" y="0"/>
                </a:lnTo>
                <a:lnTo>
                  <a:pt x="135" y="0"/>
                </a:lnTo>
                <a:lnTo>
                  <a:pt x="125" y="2"/>
                </a:lnTo>
                <a:lnTo>
                  <a:pt x="115" y="5"/>
                </a:lnTo>
                <a:lnTo>
                  <a:pt x="107" y="9"/>
                </a:lnTo>
                <a:lnTo>
                  <a:pt x="99" y="13"/>
                </a:lnTo>
                <a:lnTo>
                  <a:pt x="92" y="18"/>
                </a:lnTo>
                <a:lnTo>
                  <a:pt x="86" y="24"/>
                </a:lnTo>
                <a:lnTo>
                  <a:pt x="81" y="30"/>
                </a:lnTo>
                <a:lnTo>
                  <a:pt x="78" y="36"/>
                </a:lnTo>
                <a:lnTo>
                  <a:pt x="75" y="43"/>
                </a:lnTo>
                <a:lnTo>
                  <a:pt x="70" y="56"/>
                </a:lnTo>
                <a:lnTo>
                  <a:pt x="68" y="68"/>
                </a:lnTo>
                <a:lnTo>
                  <a:pt x="68" y="78"/>
                </a:lnTo>
                <a:lnTo>
                  <a:pt x="68" y="78"/>
                </a:lnTo>
                <a:lnTo>
                  <a:pt x="71" y="104"/>
                </a:lnTo>
                <a:lnTo>
                  <a:pt x="73" y="118"/>
                </a:lnTo>
                <a:lnTo>
                  <a:pt x="73" y="118"/>
                </a:lnTo>
                <a:lnTo>
                  <a:pt x="72" y="119"/>
                </a:lnTo>
                <a:lnTo>
                  <a:pt x="70" y="122"/>
                </a:lnTo>
                <a:lnTo>
                  <a:pt x="67" y="128"/>
                </a:lnTo>
                <a:lnTo>
                  <a:pt x="67" y="132"/>
                </a:lnTo>
                <a:lnTo>
                  <a:pt x="66" y="137"/>
                </a:lnTo>
                <a:lnTo>
                  <a:pt x="66" y="137"/>
                </a:lnTo>
                <a:lnTo>
                  <a:pt x="68" y="149"/>
                </a:lnTo>
                <a:lnTo>
                  <a:pt x="70" y="157"/>
                </a:lnTo>
                <a:lnTo>
                  <a:pt x="72" y="161"/>
                </a:lnTo>
                <a:lnTo>
                  <a:pt x="75" y="164"/>
                </a:lnTo>
                <a:lnTo>
                  <a:pt x="81" y="168"/>
                </a:lnTo>
                <a:lnTo>
                  <a:pt x="83" y="170"/>
                </a:lnTo>
                <a:lnTo>
                  <a:pt x="84" y="175"/>
                </a:lnTo>
                <a:lnTo>
                  <a:pt x="84" y="175"/>
                </a:lnTo>
                <a:lnTo>
                  <a:pt x="87" y="189"/>
                </a:lnTo>
                <a:lnTo>
                  <a:pt x="91" y="199"/>
                </a:lnTo>
                <a:lnTo>
                  <a:pt x="95" y="205"/>
                </a:lnTo>
                <a:lnTo>
                  <a:pt x="99" y="210"/>
                </a:lnTo>
                <a:lnTo>
                  <a:pt x="102" y="215"/>
                </a:lnTo>
                <a:lnTo>
                  <a:pt x="104" y="219"/>
                </a:lnTo>
                <a:lnTo>
                  <a:pt x="106" y="224"/>
                </a:lnTo>
                <a:lnTo>
                  <a:pt x="107" y="231"/>
                </a:lnTo>
                <a:lnTo>
                  <a:pt x="107" y="231"/>
                </a:lnTo>
                <a:lnTo>
                  <a:pt x="106" y="245"/>
                </a:lnTo>
                <a:lnTo>
                  <a:pt x="104" y="256"/>
                </a:lnTo>
                <a:lnTo>
                  <a:pt x="99" y="266"/>
                </a:lnTo>
                <a:lnTo>
                  <a:pt x="92" y="275"/>
                </a:lnTo>
                <a:lnTo>
                  <a:pt x="83" y="283"/>
                </a:lnTo>
                <a:lnTo>
                  <a:pt x="72" y="291"/>
                </a:lnTo>
                <a:lnTo>
                  <a:pt x="59" y="298"/>
                </a:lnTo>
                <a:lnTo>
                  <a:pt x="42" y="307"/>
                </a:lnTo>
                <a:lnTo>
                  <a:pt x="42" y="307"/>
                </a:lnTo>
                <a:lnTo>
                  <a:pt x="28" y="312"/>
                </a:lnTo>
                <a:lnTo>
                  <a:pt x="22" y="315"/>
                </a:lnTo>
                <a:lnTo>
                  <a:pt x="15" y="320"/>
                </a:lnTo>
                <a:lnTo>
                  <a:pt x="9" y="324"/>
                </a:lnTo>
                <a:lnTo>
                  <a:pt x="4" y="330"/>
                </a:lnTo>
                <a:lnTo>
                  <a:pt x="1" y="337"/>
                </a:lnTo>
                <a:lnTo>
                  <a:pt x="0" y="341"/>
                </a:lnTo>
                <a:lnTo>
                  <a:pt x="0" y="345"/>
                </a:lnTo>
                <a:lnTo>
                  <a:pt x="0" y="436"/>
                </a:lnTo>
                <a:lnTo>
                  <a:pt x="345" y="436"/>
                </a:lnTo>
                <a:lnTo>
                  <a:pt x="345" y="436"/>
                </a:lnTo>
                <a:lnTo>
                  <a:pt x="345" y="368"/>
                </a:lnTo>
                <a:lnTo>
                  <a:pt x="345" y="368"/>
                </a:lnTo>
                <a:lnTo>
                  <a:pt x="343" y="363"/>
                </a:lnTo>
                <a:lnTo>
                  <a:pt x="342" y="360"/>
                </a:lnTo>
                <a:lnTo>
                  <a:pt x="340" y="356"/>
                </a:lnTo>
                <a:lnTo>
                  <a:pt x="337" y="352"/>
                </a:lnTo>
                <a:lnTo>
                  <a:pt x="328" y="344"/>
                </a:lnTo>
                <a:lnTo>
                  <a:pt x="317" y="337"/>
                </a:lnTo>
                <a:lnTo>
                  <a:pt x="304" y="329"/>
                </a:lnTo>
                <a:lnTo>
                  <a:pt x="289" y="322"/>
                </a:lnTo>
                <a:lnTo>
                  <a:pt x="253" y="307"/>
                </a:lnTo>
                <a:lnTo>
                  <a:pt x="253" y="307"/>
                </a:lnTo>
                <a:close/>
              </a:path>
            </a:pathLst>
          </a:custGeom>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defTabSz="914400">
              <a:defRPr/>
            </a:pPr>
            <a:endParaRPr lang="en-US" sz="1000" kern="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538">
            <a:extLst>
              <a:ext uri="{FF2B5EF4-FFF2-40B4-BE49-F238E27FC236}">
                <a16:creationId xmlns:a16="http://schemas.microsoft.com/office/drawing/2014/main" id="{2291FCEB-3D38-61C0-4AE3-AF7CB4E0051D}"/>
              </a:ext>
            </a:extLst>
          </p:cNvPr>
          <p:cNvSpPr>
            <a:spLocks noChangeAspect="1" noEditPoints="1"/>
          </p:cNvSpPr>
          <p:nvPr/>
        </p:nvSpPr>
        <p:spPr bwMode="auto">
          <a:xfrm>
            <a:off x="4970773" y="2352242"/>
            <a:ext cx="568338" cy="56833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GB" sz="10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8" name="Group 17">
            <a:extLst>
              <a:ext uri="{FF2B5EF4-FFF2-40B4-BE49-F238E27FC236}">
                <a16:creationId xmlns:a16="http://schemas.microsoft.com/office/drawing/2014/main" id="{F9240FBF-3C3F-199B-138A-9374B7C97461}"/>
              </a:ext>
            </a:extLst>
          </p:cNvPr>
          <p:cNvGrpSpPr/>
          <p:nvPr/>
        </p:nvGrpSpPr>
        <p:grpSpPr>
          <a:xfrm>
            <a:off x="5612110" y="2401705"/>
            <a:ext cx="5979889" cy="3153365"/>
            <a:chOff x="5955782" y="2777626"/>
            <a:chExt cx="4475013" cy="4347496"/>
          </a:xfrm>
        </p:grpSpPr>
        <p:sp>
          <p:nvSpPr>
            <p:cNvPr id="19" name="Rectangle 1">
              <a:extLst>
                <a:ext uri="{FF2B5EF4-FFF2-40B4-BE49-F238E27FC236}">
                  <a16:creationId xmlns:a16="http://schemas.microsoft.com/office/drawing/2014/main" id="{07DB6AEC-AE30-3070-5E6F-90B3BA2F625E}"/>
                </a:ext>
              </a:extLst>
            </p:cNvPr>
            <p:cNvSpPr>
              <a:spLocks noChangeArrowheads="1"/>
            </p:cNvSpPr>
            <p:nvPr/>
          </p:nvSpPr>
          <p:spPr bwMode="auto">
            <a:xfrm>
              <a:off x="5955782" y="2777626"/>
              <a:ext cx="4475013" cy="756000"/>
            </a:xfrm>
            <a:prstGeom prst="rect">
              <a:avLst/>
            </a:prstGeom>
            <a:noFill/>
            <a:ln w="19050">
              <a:noFill/>
              <a:miter lim="800000"/>
              <a:headEnd/>
              <a:tailEnd/>
            </a:ln>
          </p:spPr>
          <p:txBody>
            <a:bodyPr lIns="72000" rIns="108000" anchor="ctr"/>
            <a:lstStyle/>
            <a:p>
              <a:r>
                <a:rPr lang="en-GB" sz="1000" dirty="0">
                  <a:latin typeface="Open Sans" panose="020B0606030504020204" pitchFamily="34" charset="0"/>
                  <a:ea typeface="Open Sans" panose="020B0606030504020204" pitchFamily="34" charset="0"/>
                  <a:cs typeface="Open Sans" panose="020B0606030504020204" pitchFamily="34" charset="0"/>
                </a:rPr>
                <a:t>Create a common understanding of </a:t>
              </a:r>
              <a:r>
                <a:rPr lang="en-GB" sz="1000" b="1" u="sng" dirty="0">
                  <a:latin typeface="Open Sans" panose="020B0606030504020204" pitchFamily="34" charset="0"/>
                  <a:ea typeface="Open Sans" panose="020B0606030504020204" pitchFamily="34" charset="0"/>
                  <a:cs typeface="Open Sans" panose="020B0606030504020204" pitchFamily="34" charset="0"/>
                </a:rPr>
                <a:t>value</a:t>
              </a:r>
              <a:r>
                <a:rPr lang="en-GB" sz="1000" dirty="0">
                  <a:latin typeface="Open Sans" panose="020B0606030504020204" pitchFamily="34" charset="0"/>
                  <a:ea typeface="Open Sans" panose="020B0606030504020204" pitchFamily="34" charset="0"/>
                  <a:cs typeface="Open Sans" panose="020B0606030504020204" pitchFamily="34" charset="0"/>
                </a:rPr>
                <a:t> &amp; understand what drives value for the business.</a:t>
              </a:r>
            </a:p>
          </p:txBody>
        </p:sp>
        <p:sp>
          <p:nvSpPr>
            <p:cNvPr id="20" name="Rectangle 1">
              <a:extLst>
                <a:ext uri="{FF2B5EF4-FFF2-40B4-BE49-F238E27FC236}">
                  <a16:creationId xmlns:a16="http://schemas.microsoft.com/office/drawing/2014/main" id="{920518EE-02A5-3925-E9A1-33E1E56F50E6}"/>
                </a:ext>
              </a:extLst>
            </p:cNvPr>
            <p:cNvSpPr>
              <a:spLocks noChangeArrowheads="1"/>
            </p:cNvSpPr>
            <p:nvPr/>
          </p:nvSpPr>
          <p:spPr bwMode="auto">
            <a:xfrm>
              <a:off x="5955782" y="3675500"/>
              <a:ext cx="4475013" cy="756000"/>
            </a:xfrm>
            <a:prstGeom prst="rect">
              <a:avLst/>
            </a:prstGeom>
            <a:noFill/>
            <a:ln w="19050">
              <a:noFill/>
              <a:miter lim="800000"/>
              <a:headEnd/>
              <a:tailEnd/>
            </a:ln>
          </p:spPr>
          <p:txBody>
            <a:bodyPr lIns="72000" rIns="108000" anchor="ctr"/>
            <a:lstStyle/>
            <a:p>
              <a:r>
                <a:rPr lang="en-GB" sz="1000" dirty="0">
                  <a:latin typeface="Open Sans" panose="020B0606030504020204" pitchFamily="34" charset="0"/>
                  <a:ea typeface="Open Sans" panose="020B0606030504020204" pitchFamily="34" charset="0"/>
                  <a:cs typeface="Open Sans" panose="020B0606030504020204" pitchFamily="34" charset="0"/>
                </a:rPr>
                <a:t>Create a clear understanding of strategy, decision rights, and steering dimensions to ensure clear performance </a:t>
              </a:r>
              <a:r>
                <a:rPr lang="en-GB" sz="1000" b="1" u="sng" dirty="0">
                  <a:latin typeface="Open Sans" panose="020B0606030504020204" pitchFamily="34" charset="0"/>
                  <a:ea typeface="Open Sans" panose="020B0606030504020204" pitchFamily="34" charset="0"/>
                  <a:cs typeface="Open Sans" panose="020B0606030504020204" pitchFamily="34" charset="0"/>
                </a:rPr>
                <a:t>accountabilities</a:t>
              </a:r>
              <a:r>
                <a:rPr lang="en-GB" sz="1000" dirty="0">
                  <a:latin typeface="Open Sans" panose="020B0606030504020204" pitchFamily="34" charset="0"/>
                  <a:ea typeface="Open Sans" panose="020B0606030504020204" pitchFamily="34" charset="0"/>
                  <a:cs typeface="Open Sans" panose="020B0606030504020204" pitchFamily="34" charset="0"/>
                </a:rPr>
                <a:t>.</a:t>
              </a:r>
            </a:p>
          </p:txBody>
        </p:sp>
        <p:sp>
          <p:nvSpPr>
            <p:cNvPr id="21" name="Rectangle 1">
              <a:extLst>
                <a:ext uri="{FF2B5EF4-FFF2-40B4-BE49-F238E27FC236}">
                  <a16:creationId xmlns:a16="http://schemas.microsoft.com/office/drawing/2014/main" id="{3659227D-0B79-F28B-A142-98AAAA0C7E75}"/>
                </a:ext>
              </a:extLst>
            </p:cNvPr>
            <p:cNvSpPr>
              <a:spLocks noChangeArrowheads="1"/>
            </p:cNvSpPr>
            <p:nvPr/>
          </p:nvSpPr>
          <p:spPr bwMode="auto">
            <a:xfrm>
              <a:off x="5955782" y="4573374"/>
              <a:ext cx="4475013" cy="756000"/>
            </a:xfrm>
            <a:prstGeom prst="rect">
              <a:avLst/>
            </a:prstGeom>
            <a:noFill/>
            <a:ln w="19050">
              <a:noFill/>
              <a:miter lim="800000"/>
              <a:headEnd/>
              <a:tailEnd/>
            </a:ln>
          </p:spPr>
          <p:txBody>
            <a:bodyPr lIns="72000" rIns="108000" anchor="ctr"/>
            <a:lstStyle/>
            <a:p>
              <a:r>
                <a:rPr lang="en-GB" sz="1000" dirty="0">
                  <a:latin typeface="Open Sans" panose="020B0606030504020204" pitchFamily="34" charset="0"/>
                  <a:ea typeface="Open Sans" panose="020B0606030504020204" pitchFamily="34" charset="0"/>
                  <a:cs typeface="Open Sans" panose="020B0606030504020204" pitchFamily="34" charset="0"/>
                </a:rPr>
                <a:t>Determine how to </a:t>
              </a:r>
              <a:r>
                <a:rPr lang="en-GB" sz="1000" b="1" u="sng" dirty="0">
                  <a:latin typeface="Open Sans" panose="020B0606030504020204" pitchFamily="34" charset="0"/>
                  <a:ea typeface="Open Sans" panose="020B0606030504020204" pitchFamily="34" charset="0"/>
                  <a:cs typeface="Open Sans" panose="020B0606030504020204" pitchFamily="34" charset="0"/>
                </a:rPr>
                <a:t>measure</a:t>
              </a:r>
              <a:r>
                <a:rPr lang="en-GB" sz="1000" dirty="0">
                  <a:latin typeface="Open Sans" panose="020B0606030504020204" pitchFamily="34" charset="0"/>
                  <a:ea typeface="Open Sans" panose="020B0606030504020204" pitchFamily="34" charset="0"/>
                  <a:cs typeface="Open Sans" panose="020B0606030504020204" pitchFamily="34" charset="0"/>
                </a:rPr>
                <a:t>, report and communicate value within (and outside) of the organization.</a:t>
              </a:r>
            </a:p>
          </p:txBody>
        </p:sp>
        <p:sp>
          <p:nvSpPr>
            <p:cNvPr id="22" name="Rectangle 1">
              <a:extLst>
                <a:ext uri="{FF2B5EF4-FFF2-40B4-BE49-F238E27FC236}">
                  <a16:creationId xmlns:a16="http://schemas.microsoft.com/office/drawing/2014/main" id="{EBB6863A-7549-CD9D-2C3C-EAC1629D08B9}"/>
                </a:ext>
              </a:extLst>
            </p:cNvPr>
            <p:cNvSpPr>
              <a:spLocks noChangeArrowheads="1"/>
            </p:cNvSpPr>
            <p:nvPr/>
          </p:nvSpPr>
          <p:spPr bwMode="auto">
            <a:xfrm>
              <a:off x="5955782" y="5471248"/>
              <a:ext cx="4475013" cy="756000"/>
            </a:xfrm>
            <a:prstGeom prst="rect">
              <a:avLst/>
            </a:prstGeom>
            <a:noFill/>
            <a:ln w="19050">
              <a:noFill/>
              <a:miter lim="800000"/>
              <a:headEnd/>
              <a:tailEnd/>
            </a:ln>
          </p:spPr>
          <p:txBody>
            <a:bodyPr lIns="72000" rIns="108000" anchor="ctr"/>
            <a:lstStyle/>
            <a:p>
              <a:r>
                <a:rPr lang="en-GB" sz="1000" dirty="0">
                  <a:latin typeface="Open Sans" panose="020B0606030504020204" pitchFamily="34" charset="0"/>
                  <a:ea typeface="Open Sans" panose="020B0606030504020204" pitchFamily="34" charset="0"/>
                  <a:cs typeface="Open Sans" panose="020B0606030504020204" pitchFamily="34" charset="0"/>
                </a:rPr>
                <a:t>Structure the </a:t>
              </a:r>
              <a:r>
                <a:rPr lang="en-GB" sz="1000" b="1" u="sng" dirty="0">
                  <a:latin typeface="Open Sans" panose="020B0606030504020204" pitchFamily="34" charset="0"/>
                  <a:ea typeface="Open Sans" panose="020B0606030504020204" pitchFamily="34" charset="0"/>
                  <a:cs typeface="Open Sans" panose="020B0606030504020204" pitchFamily="34" charset="0"/>
                </a:rPr>
                <a:t>dialogues</a:t>
              </a:r>
              <a:r>
                <a:rPr lang="en-GB" sz="1000" dirty="0">
                  <a:latin typeface="Open Sans" panose="020B0606030504020204" pitchFamily="34" charset="0"/>
                  <a:ea typeface="Open Sans" panose="020B0606030504020204" pitchFamily="34" charset="0"/>
                  <a:cs typeface="Open Sans" panose="020B0606030504020204" pitchFamily="34" charset="0"/>
                </a:rPr>
                <a:t> to ensure a focus on performance to meet goals and effective decision-making.</a:t>
              </a:r>
            </a:p>
          </p:txBody>
        </p:sp>
        <p:sp>
          <p:nvSpPr>
            <p:cNvPr id="23" name="Rectangle 1">
              <a:extLst>
                <a:ext uri="{FF2B5EF4-FFF2-40B4-BE49-F238E27FC236}">
                  <a16:creationId xmlns:a16="http://schemas.microsoft.com/office/drawing/2014/main" id="{DA641A3B-9453-53FD-412A-F001BF89028C}"/>
                </a:ext>
              </a:extLst>
            </p:cNvPr>
            <p:cNvSpPr>
              <a:spLocks noChangeArrowheads="1"/>
            </p:cNvSpPr>
            <p:nvPr/>
          </p:nvSpPr>
          <p:spPr bwMode="auto">
            <a:xfrm>
              <a:off x="5955782" y="6369122"/>
              <a:ext cx="4475013" cy="756000"/>
            </a:xfrm>
            <a:prstGeom prst="rect">
              <a:avLst/>
            </a:prstGeom>
            <a:noFill/>
            <a:ln w="19050">
              <a:noFill/>
              <a:miter lim="800000"/>
              <a:headEnd/>
              <a:tailEnd/>
            </a:ln>
          </p:spPr>
          <p:txBody>
            <a:bodyPr lIns="72000" rIns="108000" anchor="ctr"/>
            <a:lstStyle/>
            <a:p>
              <a:r>
                <a:rPr lang="en-GB" sz="1000" dirty="0">
                  <a:latin typeface="Open Sans" panose="020B0606030504020204" pitchFamily="34" charset="0"/>
                  <a:ea typeface="Open Sans" panose="020B0606030504020204" pitchFamily="34" charset="0"/>
                  <a:cs typeface="Open Sans" panose="020B0606030504020204" pitchFamily="34" charset="0"/>
                </a:rPr>
                <a:t>Drive a performance oriented </a:t>
              </a:r>
              <a:r>
                <a:rPr lang="en-GB" sz="1000" b="1" u="sng" dirty="0">
                  <a:latin typeface="Open Sans" panose="020B0606030504020204" pitchFamily="34" charset="0"/>
                  <a:ea typeface="Open Sans" panose="020B0606030504020204" pitchFamily="34" charset="0"/>
                  <a:cs typeface="Open Sans" panose="020B0606030504020204" pitchFamily="34" charset="0"/>
                </a:rPr>
                <a:t>culture</a:t>
              </a:r>
              <a:r>
                <a:rPr lang="en-GB" sz="1000" dirty="0">
                  <a:latin typeface="Open Sans" panose="020B0606030504020204" pitchFamily="34" charset="0"/>
                  <a:ea typeface="Open Sans" panose="020B0606030504020204" pitchFamily="34" charset="0"/>
                  <a:cs typeface="Open Sans" panose="020B0606030504020204" pitchFamily="34" charset="0"/>
                </a:rPr>
                <a:t> within the business, </a:t>
              </a:r>
              <a:r>
                <a:rPr lang="en-US" sz="1000" dirty="0">
                  <a:latin typeface="Open Sans" panose="020B0606030504020204" pitchFamily="34" charset="0"/>
                  <a:ea typeface="Open Sans" panose="020B0606030504020204" pitchFamily="34" charset="0"/>
                  <a:cs typeface="Open Sans" panose="020B0606030504020204" pitchFamily="34" charset="0"/>
                </a:rPr>
                <a:t>ensuring a focus on value creation.</a:t>
              </a:r>
              <a:endParaRPr lang="en-GB" sz="10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4" name="Circle: Hollow 23">
            <a:extLst>
              <a:ext uri="{FF2B5EF4-FFF2-40B4-BE49-F238E27FC236}">
                <a16:creationId xmlns:a16="http://schemas.microsoft.com/office/drawing/2014/main" id="{6C784737-3065-B587-734B-78F87D640951}"/>
              </a:ext>
            </a:extLst>
          </p:cNvPr>
          <p:cNvSpPr/>
          <p:nvPr/>
        </p:nvSpPr>
        <p:spPr bwMode="gray">
          <a:xfrm>
            <a:off x="1032324" y="2124092"/>
            <a:ext cx="3492000" cy="3500764"/>
          </a:xfrm>
          <a:prstGeom prst="donut">
            <a:avLst>
              <a:gd name="adj" fmla="val 19730"/>
            </a:avLst>
          </a:prstGeom>
          <a:solidFill>
            <a:srgbClr val="FFFFFF">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a-DK"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8" name="Straight Connector 27">
            <a:extLst>
              <a:ext uri="{FF2B5EF4-FFF2-40B4-BE49-F238E27FC236}">
                <a16:creationId xmlns:a16="http://schemas.microsoft.com/office/drawing/2014/main" id="{B2AB2ACC-DBF2-E201-33D1-641C12D1BAD6}"/>
              </a:ext>
            </a:extLst>
          </p:cNvPr>
          <p:cNvCxnSpPr>
            <a:cxnSpLocks/>
          </p:cNvCxnSpPr>
          <p:nvPr/>
        </p:nvCxnSpPr>
        <p:spPr>
          <a:xfrm flipH="1">
            <a:off x="592358" y="2263165"/>
            <a:ext cx="756433" cy="1"/>
          </a:xfrm>
          <a:prstGeom prst="line">
            <a:avLst/>
          </a:prstGeom>
          <a:ln w="19050">
            <a:solidFill>
              <a:srgbClr val="007CB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37D6F6A-0216-4162-E33F-185416404A7B}"/>
              </a:ext>
            </a:extLst>
          </p:cNvPr>
          <p:cNvCxnSpPr>
            <a:cxnSpLocks/>
          </p:cNvCxnSpPr>
          <p:nvPr/>
        </p:nvCxnSpPr>
        <p:spPr>
          <a:xfrm flipH="1">
            <a:off x="592359" y="2815609"/>
            <a:ext cx="714471" cy="0"/>
          </a:xfrm>
          <a:prstGeom prst="line">
            <a:avLst/>
          </a:prstGeom>
          <a:ln w="19050">
            <a:solidFill>
              <a:srgbClr val="30430D"/>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5F9C0BE2-9437-1CDC-E30C-2C81152BC3AE}"/>
              </a:ext>
            </a:extLst>
          </p:cNvPr>
          <p:cNvSpPr/>
          <p:nvPr/>
        </p:nvSpPr>
        <p:spPr bwMode="gray">
          <a:xfrm>
            <a:off x="613779" y="1951968"/>
            <a:ext cx="893498" cy="432000"/>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i="1" dirty="0">
                <a:latin typeface="Open Sans" panose="020B0606030504020204" pitchFamily="34" charset="0"/>
                <a:ea typeface="Open Sans" panose="020B0606030504020204" pitchFamily="34" charset="0"/>
                <a:cs typeface="Open Sans" panose="020B0606030504020204" pitchFamily="34" charset="0"/>
              </a:rPr>
              <a:t>Enablers</a:t>
            </a:r>
          </a:p>
        </p:txBody>
      </p:sp>
      <p:sp>
        <p:nvSpPr>
          <p:cNvPr id="31" name="Rectangle 30">
            <a:extLst>
              <a:ext uri="{FF2B5EF4-FFF2-40B4-BE49-F238E27FC236}">
                <a16:creationId xmlns:a16="http://schemas.microsoft.com/office/drawing/2014/main" id="{4C77CBCD-0A48-BC82-54A9-83627B808071}"/>
              </a:ext>
            </a:extLst>
          </p:cNvPr>
          <p:cNvSpPr/>
          <p:nvPr/>
        </p:nvSpPr>
        <p:spPr bwMode="gray">
          <a:xfrm>
            <a:off x="546685" y="2496346"/>
            <a:ext cx="893498" cy="432000"/>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i="1" dirty="0">
                <a:solidFill>
                  <a:srgbClr val="30430D"/>
                </a:solidFill>
                <a:latin typeface="Open Sans" panose="020B0606030504020204" pitchFamily="34" charset="0"/>
                <a:ea typeface="Open Sans" panose="020B0606030504020204" pitchFamily="34" charset="0"/>
                <a:cs typeface="Open Sans" panose="020B0606030504020204" pitchFamily="34" charset="0"/>
              </a:rPr>
              <a:t>Processes</a:t>
            </a:r>
          </a:p>
        </p:txBody>
      </p:sp>
      <p:pic>
        <p:nvPicPr>
          <p:cNvPr id="4" name="Picture 3">
            <a:extLst>
              <a:ext uri="{FF2B5EF4-FFF2-40B4-BE49-F238E27FC236}">
                <a16:creationId xmlns:a16="http://schemas.microsoft.com/office/drawing/2014/main" id="{404FA136-7A69-8B76-CD17-390066B151D9}"/>
              </a:ext>
            </a:extLst>
          </p:cNvPr>
          <p:cNvPicPr>
            <a:picLocks noChangeAspect="1"/>
          </p:cNvPicPr>
          <p:nvPr/>
        </p:nvPicPr>
        <p:blipFill>
          <a:blip r:embed="rId5" cstate="email">
            <a:duotone>
              <a:schemeClr val="accent3">
                <a:shade val="45000"/>
                <a:satMod val="135000"/>
              </a:schemeClr>
              <a:prstClr val="white"/>
            </a:duotone>
            <a:extLst>
              <a:ext uri="{BEBA8EAE-BF5A-486C-A8C5-ECC9F3942E4B}">
                <a14:imgProps xmlns:a14="http://schemas.microsoft.com/office/drawing/2010/main">
                  <a14:imgLayer r:embed="rId6">
                    <a14:imgEffect>
                      <a14:artisticPhotocopy/>
                    </a14:imgEffect>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882000" y="2195478"/>
            <a:ext cx="3492000" cy="3492000"/>
          </a:xfrm>
          <a:prstGeom prst="rect">
            <a:avLst/>
          </a:prstGeom>
        </p:spPr>
      </p:pic>
      <p:cxnSp>
        <p:nvCxnSpPr>
          <p:cNvPr id="27" name="Straight Connector 26">
            <a:extLst>
              <a:ext uri="{FF2B5EF4-FFF2-40B4-BE49-F238E27FC236}">
                <a16:creationId xmlns:a16="http://schemas.microsoft.com/office/drawing/2014/main" id="{55C9145A-CF46-A511-67A8-63FE42EC3BE9}"/>
              </a:ext>
            </a:extLst>
          </p:cNvPr>
          <p:cNvCxnSpPr>
            <a:cxnSpLocks/>
          </p:cNvCxnSpPr>
          <p:nvPr/>
        </p:nvCxnSpPr>
        <p:spPr>
          <a:xfrm flipH="1" flipV="1">
            <a:off x="1306830" y="2815609"/>
            <a:ext cx="183588" cy="412686"/>
          </a:xfrm>
          <a:prstGeom prst="line">
            <a:avLst/>
          </a:prstGeom>
          <a:ln w="19050">
            <a:solidFill>
              <a:srgbClr val="30430D"/>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F0788F5-E9F9-F785-A3A2-9F0C3948F0C6}"/>
              </a:ext>
            </a:extLst>
          </p:cNvPr>
          <p:cNvCxnSpPr>
            <a:cxnSpLocks/>
          </p:cNvCxnSpPr>
          <p:nvPr/>
        </p:nvCxnSpPr>
        <p:spPr>
          <a:xfrm flipH="1" flipV="1">
            <a:off x="1349297" y="2263166"/>
            <a:ext cx="282241" cy="408843"/>
          </a:xfrm>
          <a:prstGeom prst="line">
            <a:avLst/>
          </a:prstGeom>
          <a:ln w="19050">
            <a:solidFill>
              <a:srgbClr val="007CB0"/>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1689C6D-E482-AC03-179A-E36DA9FB058E}"/>
              </a:ext>
            </a:extLst>
          </p:cNvPr>
          <p:cNvCxnSpPr>
            <a:cxnSpLocks/>
          </p:cNvCxnSpPr>
          <p:nvPr/>
        </p:nvCxnSpPr>
        <p:spPr>
          <a:xfrm flipV="1">
            <a:off x="3472180" y="2288567"/>
            <a:ext cx="1036320" cy="1224000"/>
          </a:xfrm>
          <a:prstGeom prst="line">
            <a:avLst/>
          </a:prstGeom>
          <a:ln w="19050">
            <a:solidFill>
              <a:srgbClr val="007CB0"/>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6382080"/>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55A9240-1FA1-59C8-DE17-7C6AECC510C4}"/>
              </a:ext>
            </a:extLst>
          </p:cNvPr>
          <p:cNvGraphicFramePr>
            <a:graphicFrameLocks noChangeAspect="1"/>
          </p:cNvGraphicFramePr>
          <p:nvPr>
            <p:custDataLst>
              <p:tags r:id="rId1"/>
            </p:custDataLst>
            <p:extLst>
              <p:ext uri="{D42A27DB-BD31-4B8C-83A1-F6EECF244321}">
                <p14:modId xmlns:p14="http://schemas.microsoft.com/office/powerpoint/2010/main" val="4139234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11" name="think-cell data - do not delete" hidden="1">
                        <a:extLst>
                          <a:ext uri="{FF2B5EF4-FFF2-40B4-BE49-F238E27FC236}">
                            <a16:creationId xmlns:a16="http://schemas.microsoft.com/office/drawing/2014/main" id="{855A9240-1FA1-59C8-DE17-7C6AECC510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D304A6C-3920-599F-55BE-DD037128F3E1}"/>
              </a:ext>
            </a:extLst>
          </p:cNvPr>
          <p:cNvSpPr>
            <a:spLocks noGrp="1"/>
          </p:cNvSpPr>
          <p:nvPr>
            <p:ph type="body" sz="quarter" idx="22"/>
          </p:nvPr>
        </p:nvSpPr>
        <p:spPr>
          <a:xfrm>
            <a:off x="496572" y="923970"/>
            <a:ext cx="11277600" cy="757255"/>
          </a:xfrm>
        </p:spPr>
        <p:txBody>
          <a:bodyPr/>
          <a:lstStyle/>
          <a:p>
            <a:r>
              <a:rPr lang="en-US" dirty="0"/>
              <a:t>We propose a multi-faceted framework that considers the focus areas of business performance measurement​</a:t>
            </a:r>
          </a:p>
        </p:txBody>
      </p:sp>
      <p:sp>
        <p:nvSpPr>
          <p:cNvPr id="3" name="Title 2">
            <a:extLst>
              <a:ext uri="{FF2B5EF4-FFF2-40B4-BE49-F238E27FC236}">
                <a16:creationId xmlns:a16="http://schemas.microsoft.com/office/drawing/2014/main" id="{E3680626-15C2-BF94-37EE-4544D00D14BE}"/>
              </a:ext>
            </a:extLst>
          </p:cNvPr>
          <p:cNvSpPr>
            <a:spLocks noGrp="1"/>
          </p:cNvSpPr>
          <p:nvPr>
            <p:ph type="title"/>
          </p:nvPr>
        </p:nvSpPr>
        <p:spPr>
          <a:xfrm>
            <a:off x="463294" y="417911"/>
            <a:ext cx="10827005" cy="334099"/>
          </a:xfrm>
        </p:spPr>
        <p:txBody>
          <a:bodyPr vert="horz"/>
          <a:lstStyle/>
          <a:p>
            <a:r>
              <a:rPr lang="en-US" dirty="0">
                <a:latin typeface="Open Sans Light"/>
                <a:ea typeface="Open Sans Light"/>
                <a:cs typeface="Open Sans Light"/>
              </a:rPr>
              <a:t>Business performance measurement and improvement</a:t>
            </a:r>
            <a:endParaRPr lang="en-GB" dirty="0">
              <a:latin typeface="Open Sans Light"/>
              <a:ea typeface="Open Sans Light"/>
              <a:cs typeface="Open Sans Light"/>
            </a:endParaRPr>
          </a:p>
        </p:txBody>
      </p:sp>
      <p:cxnSp>
        <p:nvCxnSpPr>
          <p:cNvPr id="4" name="Straight Connector 3">
            <a:extLst>
              <a:ext uri="{FF2B5EF4-FFF2-40B4-BE49-F238E27FC236}">
                <a16:creationId xmlns:a16="http://schemas.microsoft.com/office/drawing/2014/main" id="{EFB79440-6A55-DED7-6A21-7B8EC8DEFD1B}"/>
              </a:ext>
            </a:extLst>
          </p:cNvPr>
          <p:cNvCxnSpPr>
            <a:cxnSpLocks/>
          </p:cNvCxnSpPr>
          <p:nvPr/>
        </p:nvCxnSpPr>
        <p:spPr>
          <a:xfrm flipH="1" flipV="1">
            <a:off x="855629" y="1878366"/>
            <a:ext cx="5015144" cy="10279"/>
          </a:xfrm>
          <a:prstGeom prst="line">
            <a:avLst/>
          </a:prstGeom>
          <a:ln/>
        </p:spPr>
        <p:style>
          <a:lnRef idx="1">
            <a:schemeClr val="accent3"/>
          </a:lnRef>
          <a:fillRef idx="2">
            <a:schemeClr val="accent3"/>
          </a:fillRef>
          <a:effectRef idx="1">
            <a:schemeClr val="accent3"/>
          </a:effectRef>
          <a:fontRef idx="minor">
            <a:schemeClr val="dk1"/>
          </a:fontRef>
        </p:style>
      </p:cxnSp>
      <p:sp>
        <p:nvSpPr>
          <p:cNvPr id="5" name="TextBox 2">
            <a:extLst>
              <a:ext uri="{FF2B5EF4-FFF2-40B4-BE49-F238E27FC236}">
                <a16:creationId xmlns:a16="http://schemas.microsoft.com/office/drawing/2014/main" id="{E4FBA08C-415B-9BED-2A82-84009B22C35C}"/>
              </a:ext>
            </a:extLst>
          </p:cNvPr>
          <p:cNvSpPr txBox="1"/>
          <p:nvPr/>
        </p:nvSpPr>
        <p:spPr>
          <a:xfrm>
            <a:off x="935305" y="1708122"/>
            <a:ext cx="3570854" cy="155427"/>
          </a:xfrm>
          <a:prstGeom prst="rect">
            <a:avLst/>
          </a:prstGeom>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6000"/>
              </a:lnSpc>
              <a:buFont typeface="Wingdings 2" pitchFamily="18" charset="2"/>
              <a:buNone/>
            </a:pPr>
            <a:r>
              <a:rPr lang="en-US" sz="1000" b="1" dirty="0">
                <a:latin typeface="Open Sans" panose="020B0606030504020204" pitchFamily="34" charset="0"/>
                <a:ea typeface="Open Sans" panose="020B0606030504020204" pitchFamily="34" charset="0"/>
                <a:cs typeface="Open Sans" panose="020B0606030504020204" pitchFamily="34" charset="0"/>
              </a:rPr>
              <a:t>Criteria for selecting KPIs - What is a good KPI? </a:t>
            </a:r>
          </a:p>
        </p:txBody>
      </p:sp>
      <p:sp>
        <p:nvSpPr>
          <p:cNvPr id="6" name="Rounded Rectangle 51">
            <a:extLst>
              <a:ext uri="{FF2B5EF4-FFF2-40B4-BE49-F238E27FC236}">
                <a16:creationId xmlns:a16="http://schemas.microsoft.com/office/drawing/2014/main" id="{B872F8AC-78F3-8621-787F-B6DFD770A265}"/>
              </a:ext>
            </a:extLst>
          </p:cNvPr>
          <p:cNvSpPr/>
          <p:nvPr/>
        </p:nvSpPr>
        <p:spPr bwMode="gray">
          <a:xfrm>
            <a:off x="536778" y="1826562"/>
            <a:ext cx="5333995" cy="4618174"/>
          </a:xfrm>
          <a:prstGeom prst="rect">
            <a:avLst/>
          </a:prstGeom>
          <a:noFill/>
          <a:ln w="9525" algn="ctr">
            <a:noFill/>
            <a:prstDash val="dash"/>
            <a:miter lim="800000"/>
            <a:headEnd/>
            <a:tailEnd/>
          </a:ln>
        </p:spPr>
        <p:txBody>
          <a:bodyPr wrap="square" lIns="182880" tIns="18288" rIns="82296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eaLnBrk="1" fontAlgn="auto" latinLnBrk="0" hangingPunct="1">
              <a:lnSpc>
                <a:spcPct val="106000"/>
              </a:lnSpc>
              <a:spcBef>
                <a:spcPts val="0"/>
              </a:spcBef>
              <a:spcAft>
                <a:spcPts val="0"/>
              </a:spcAft>
              <a:buClrTx/>
              <a:buSzTx/>
              <a:buFontTx/>
              <a:buNone/>
              <a:tabLst/>
              <a:defRPr/>
            </a:pPr>
            <a:endParaRPr kumimoji="0" lang="en-US" sz="1000" b="0" i="0" u="none" strike="noStrike" kern="1200" cap="none" spc="0" normalizeH="0" baseline="0" dirty="0">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25F9EAD2-CEF6-0269-E2DF-D3F5854F531C}"/>
              </a:ext>
            </a:extLst>
          </p:cNvPr>
          <p:cNvGrpSpPr/>
          <p:nvPr/>
        </p:nvGrpSpPr>
        <p:grpSpPr>
          <a:xfrm>
            <a:off x="451105" y="1664559"/>
            <a:ext cx="404524" cy="415925"/>
            <a:chOff x="415025" y="1056393"/>
            <a:chExt cx="404524" cy="416220"/>
          </a:xfrm>
          <a:noFill/>
        </p:grpSpPr>
        <p:sp>
          <p:nvSpPr>
            <p:cNvPr id="8" name="Oval 7">
              <a:extLst>
                <a:ext uri="{FF2B5EF4-FFF2-40B4-BE49-F238E27FC236}">
                  <a16:creationId xmlns:a16="http://schemas.microsoft.com/office/drawing/2014/main" id="{DB4F3C97-CFE2-A65B-DDED-2E5ADDB56F67}"/>
                </a:ext>
              </a:extLst>
            </p:cNvPr>
            <p:cNvSpPr/>
            <p:nvPr/>
          </p:nvSpPr>
          <p:spPr bwMode="gray">
            <a:xfrm>
              <a:off x="415025" y="1056393"/>
              <a:ext cx="402336" cy="402336"/>
            </a:xfrm>
            <a:prstGeom prst="ellipse">
              <a:avLst/>
            </a:prstGeom>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000" b="1" i="0" u="none" strike="noStrike" kern="1200" cap="none" spc="0" normalizeH="0" baseline="0" dirty="0">
                <a:ln>
                  <a:noFill/>
                </a:ln>
                <a:solidFill>
                  <a:prstClr val="white"/>
                </a:solidFill>
                <a:effectLst/>
                <a:highlight>
                  <a:srgbClr val="9DD4CF"/>
                </a:highligh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Freeform 727">
              <a:extLst>
                <a:ext uri="{FF2B5EF4-FFF2-40B4-BE49-F238E27FC236}">
                  <a16:creationId xmlns:a16="http://schemas.microsoft.com/office/drawing/2014/main" id="{B696D218-1E84-EAF2-51DC-7EB9101A90F4}"/>
                </a:ext>
              </a:extLst>
            </p:cNvPr>
            <p:cNvSpPr>
              <a:spLocks noEditPoints="1"/>
            </p:cNvSpPr>
            <p:nvPr/>
          </p:nvSpPr>
          <p:spPr bwMode="auto">
            <a:xfrm>
              <a:off x="415025" y="1068089"/>
              <a:ext cx="404524" cy="4045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dirty="0">
                <a:ln>
                  <a:noFill/>
                </a:ln>
                <a:solidFill>
                  <a:prstClr val="black"/>
                </a:solidFill>
                <a:effectLst/>
                <a:highlight>
                  <a:srgbClr val="9DD4CF"/>
                </a:highligh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 name="Group 11">
            <a:extLst>
              <a:ext uri="{FF2B5EF4-FFF2-40B4-BE49-F238E27FC236}">
                <a16:creationId xmlns:a16="http://schemas.microsoft.com/office/drawing/2014/main" id="{D89EC4B4-CF31-CB80-57DF-44DAB2A18516}"/>
              </a:ext>
            </a:extLst>
          </p:cNvPr>
          <p:cNvGrpSpPr/>
          <p:nvPr/>
        </p:nvGrpSpPr>
        <p:grpSpPr>
          <a:xfrm>
            <a:off x="477551" y="2592236"/>
            <a:ext cx="5383595" cy="3711543"/>
            <a:chOff x="511293" y="2608759"/>
            <a:chExt cx="5383595" cy="3711543"/>
          </a:xfrm>
        </p:grpSpPr>
        <p:pic>
          <p:nvPicPr>
            <p:cNvPr id="13" name="Picture 12">
              <a:extLst>
                <a:ext uri="{FF2B5EF4-FFF2-40B4-BE49-F238E27FC236}">
                  <a16:creationId xmlns:a16="http://schemas.microsoft.com/office/drawing/2014/main" id="{5273EE34-F903-3109-AEC9-8A030E1D02F3}"/>
                </a:ext>
              </a:extLst>
            </p:cNvPr>
            <p:cNvPicPr>
              <a:picLocks noChangeAspect="1"/>
            </p:cNvPicPr>
            <p:nvPr/>
          </p:nvPicPr>
          <p:blipFill>
            <a:blip r:embed="rId5"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327955" y="3199505"/>
              <a:ext cx="3798122" cy="2953175"/>
            </a:xfrm>
            <a:prstGeom prst="rect">
              <a:avLst/>
            </a:prstGeom>
          </p:spPr>
        </p:pic>
        <p:sp>
          <p:nvSpPr>
            <p:cNvPr id="14" name="TextBox 11">
              <a:extLst>
                <a:ext uri="{FF2B5EF4-FFF2-40B4-BE49-F238E27FC236}">
                  <a16:creationId xmlns:a16="http://schemas.microsoft.com/office/drawing/2014/main" id="{AD1BC534-6430-2EBB-2D80-7137433CFA1D}"/>
                </a:ext>
              </a:extLst>
            </p:cNvPr>
            <p:cNvSpPr txBox="1"/>
            <p:nvPr/>
          </p:nvSpPr>
          <p:spPr>
            <a:xfrm>
              <a:off x="2719890" y="2608759"/>
              <a:ext cx="1014252" cy="1554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Coherent</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D1A03DD8-6D84-D9F9-F611-E72461870E15}"/>
                </a:ext>
              </a:extLst>
            </p:cNvPr>
            <p:cNvSpPr txBox="1"/>
            <p:nvPr/>
          </p:nvSpPr>
          <p:spPr>
            <a:xfrm>
              <a:off x="2382998" y="2834379"/>
              <a:ext cx="1689100" cy="31854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Derived from and consistent with the strategic objectives</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5EA2B9B1-C3CF-6E75-E16C-2FB2CA6F1459}"/>
                </a:ext>
              </a:extLst>
            </p:cNvPr>
            <p:cNvSpPr txBox="1"/>
            <p:nvPr/>
          </p:nvSpPr>
          <p:spPr>
            <a:xfrm>
              <a:off x="4539901" y="3312342"/>
              <a:ext cx="1014252" cy="1554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Integrated</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F2C74F8F-26A0-C23B-8D3C-BB9C5BC83D20}"/>
                </a:ext>
              </a:extLst>
            </p:cNvPr>
            <p:cNvSpPr txBox="1"/>
            <p:nvPr/>
          </p:nvSpPr>
          <p:spPr>
            <a:xfrm>
              <a:off x="4381243" y="3527021"/>
              <a:ext cx="1331567" cy="31854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KPIs form a system with each other</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TextBox 17">
              <a:extLst>
                <a:ext uri="{FF2B5EF4-FFF2-40B4-BE49-F238E27FC236}">
                  <a16:creationId xmlns:a16="http://schemas.microsoft.com/office/drawing/2014/main" id="{84C6EE3F-6CEC-5037-204A-60E3012DCAAE}"/>
                </a:ext>
              </a:extLst>
            </p:cNvPr>
            <p:cNvSpPr txBox="1"/>
            <p:nvPr/>
          </p:nvSpPr>
          <p:spPr>
            <a:xfrm>
              <a:off x="4788103" y="4214386"/>
              <a:ext cx="1014252" cy="1554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Simple</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8E2B45E5-EBCF-EE5E-0B90-D7336774F2D5}"/>
                </a:ext>
              </a:extLst>
            </p:cNvPr>
            <p:cNvSpPr txBox="1"/>
            <p:nvPr/>
          </p:nvSpPr>
          <p:spPr>
            <a:xfrm>
              <a:off x="4788102" y="4423454"/>
              <a:ext cx="1014253" cy="48167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Clear, simple, tangible definitions</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A0E5931D-D71B-1530-A6FA-8A9F45C9C442}"/>
                </a:ext>
              </a:extLst>
            </p:cNvPr>
            <p:cNvSpPr txBox="1"/>
            <p:nvPr/>
          </p:nvSpPr>
          <p:spPr>
            <a:xfrm>
              <a:off x="4750003" y="5466442"/>
              <a:ext cx="1014252" cy="1554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Focus</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5CB7E175-B7A3-C5CF-D5BE-5CBA1E651C9D}"/>
                </a:ext>
              </a:extLst>
            </p:cNvPr>
            <p:cNvSpPr txBox="1"/>
            <p:nvPr/>
          </p:nvSpPr>
          <p:spPr>
            <a:xfrm>
              <a:off x="4563321" y="5675510"/>
              <a:ext cx="1331567" cy="64479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Outputs that are relevant to the success of the company</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0B1AF0E0-5350-63F1-9FA6-4FD4438522C5}"/>
                </a:ext>
              </a:extLst>
            </p:cNvPr>
            <p:cNvSpPr txBox="1"/>
            <p:nvPr/>
          </p:nvSpPr>
          <p:spPr>
            <a:xfrm>
              <a:off x="899880" y="3312342"/>
              <a:ext cx="1014252" cy="1554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Forecaster</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88D88460-CE38-DCCE-E7C3-6BB9E7C69AC5}"/>
                </a:ext>
              </a:extLst>
            </p:cNvPr>
            <p:cNvSpPr txBox="1"/>
            <p:nvPr/>
          </p:nvSpPr>
          <p:spPr>
            <a:xfrm>
              <a:off x="741222" y="3527021"/>
              <a:ext cx="1331567" cy="31854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Balances preventive and confirmatory KPIs</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EBCC06C1-9140-D1C8-74F8-D1363879D3DE}"/>
                </a:ext>
              </a:extLst>
            </p:cNvPr>
            <p:cNvSpPr txBox="1"/>
            <p:nvPr/>
          </p:nvSpPr>
          <p:spPr>
            <a:xfrm>
              <a:off x="662833" y="4214386"/>
              <a:ext cx="1014252" cy="1554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Measurable</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A5D50D4C-7C1B-F494-52EB-004ADDE038B3}"/>
                </a:ext>
              </a:extLst>
            </p:cNvPr>
            <p:cNvSpPr txBox="1"/>
            <p:nvPr/>
          </p:nvSpPr>
          <p:spPr>
            <a:xfrm>
              <a:off x="741222" y="4423454"/>
              <a:ext cx="880785" cy="48167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dirty="0">
                  <a:latin typeface="Open Sans" panose="020B0606030504020204" pitchFamily="34" charset="0"/>
                  <a:ea typeface="Open Sans" panose="020B0606030504020204" pitchFamily="34" charset="0"/>
                  <a:cs typeface="Open Sans" panose="020B0606030504020204" pitchFamily="34" charset="0"/>
                </a:rPr>
                <a:t>Relevant and measurable KPIs</a:t>
              </a:r>
            </a:p>
          </p:txBody>
        </p:sp>
        <p:sp>
          <p:nvSpPr>
            <p:cNvPr id="26" name="TextBox 25">
              <a:extLst>
                <a:ext uri="{FF2B5EF4-FFF2-40B4-BE49-F238E27FC236}">
                  <a16:creationId xmlns:a16="http://schemas.microsoft.com/office/drawing/2014/main" id="{757810E0-226D-6128-620F-523D0470113D}"/>
                </a:ext>
              </a:extLst>
            </p:cNvPr>
            <p:cNvSpPr txBox="1"/>
            <p:nvPr/>
          </p:nvSpPr>
          <p:spPr>
            <a:xfrm>
              <a:off x="511293" y="5472179"/>
              <a:ext cx="982946" cy="1554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Comparable</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13523A8F-2312-7F44-345E-CE9DB94AE8DD}"/>
                </a:ext>
              </a:extLst>
            </p:cNvPr>
            <p:cNvSpPr txBox="1"/>
            <p:nvPr/>
          </p:nvSpPr>
          <p:spPr>
            <a:xfrm>
              <a:off x="564582" y="5661636"/>
              <a:ext cx="876369" cy="48167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Provides possibility to compare</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8" name="TextBox 25">
            <a:extLst>
              <a:ext uri="{FF2B5EF4-FFF2-40B4-BE49-F238E27FC236}">
                <a16:creationId xmlns:a16="http://schemas.microsoft.com/office/drawing/2014/main" id="{AF96F1D8-0B9B-F7DD-C9FB-7A287DB1A8CF}"/>
              </a:ext>
            </a:extLst>
          </p:cNvPr>
          <p:cNvSpPr txBox="1"/>
          <p:nvPr/>
        </p:nvSpPr>
        <p:spPr>
          <a:xfrm>
            <a:off x="612288" y="2072398"/>
            <a:ext cx="5139522" cy="4001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latin typeface="Open Sans" panose="020B0606030504020204" pitchFamily="34" charset="0"/>
                <a:ea typeface="Open Sans" panose="020B0606030504020204" pitchFamily="34" charset="0"/>
                <a:cs typeface="Open Sans" panose="020B0606030504020204" pitchFamily="34" charset="0"/>
              </a:rPr>
              <a:t>There are </a:t>
            </a:r>
            <a:r>
              <a:rPr lang="en-US" sz="1000" b="1" dirty="0">
                <a:latin typeface="Open Sans" panose="020B0606030504020204" pitchFamily="34" charset="0"/>
                <a:ea typeface="Open Sans" panose="020B0606030504020204" pitchFamily="34" charset="0"/>
                <a:cs typeface="Open Sans" panose="020B0606030504020204" pitchFamily="34" charset="0"/>
              </a:rPr>
              <a:t>7 main principles </a:t>
            </a:r>
            <a:r>
              <a:rPr lang="en-US" sz="1000" dirty="0">
                <a:latin typeface="Open Sans" panose="020B0606030504020204" pitchFamily="34" charset="0"/>
                <a:ea typeface="Open Sans" panose="020B0606030504020204" pitchFamily="34" charset="0"/>
                <a:cs typeface="Open Sans" panose="020B0606030504020204" pitchFamily="34" charset="0"/>
              </a:rPr>
              <a:t>that need to be considered when formulating the key performance indicators.</a:t>
            </a:r>
          </a:p>
        </p:txBody>
      </p:sp>
      <p:sp>
        <p:nvSpPr>
          <p:cNvPr id="29" name="TextBox 28">
            <a:extLst>
              <a:ext uri="{FF2B5EF4-FFF2-40B4-BE49-F238E27FC236}">
                <a16:creationId xmlns:a16="http://schemas.microsoft.com/office/drawing/2014/main" id="{86CC1248-8E11-12AF-5FC3-0030A1EF02D8}"/>
              </a:ext>
            </a:extLst>
          </p:cNvPr>
          <p:cNvSpPr txBox="1"/>
          <p:nvPr/>
        </p:nvSpPr>
        <p:spPr>
          <a:xfrm>
            <a:off x="6718125" y="1712903"/>
            <a:ext cx="3159298" cy="155427"/>
          </a:xfrm>
          <a:prstGeom prst="rect">
            <a:avLst/>
          </a:prstGeom>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defPPr>
              <a:defRPr lang="en-US"/>
            </a:defPPr>
            <a:lvl1pPr>
              <a:lnSpc>
                <a:spcPct val="106000"/>
              </a:lnSpc>
              <a:buFont typeface="Wingdings 2" pitchFamily="18" charset="2"/>
              <a:buNone/>
              <a:defRPr sz="10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Enablers of success</a:t>
            </a:r>
          </a:p>
        </p:txBody>
      </p:sp>
      <p:grpSp>
        <p:nvGrpSpPr>
          <p:cNvPr id="30" name="Group 29">
            <a:extLst>
              <a:ext uri="{FF2B5EF4-FFF2-40B4-BE49-F238E27FC236}">
                <a16:creationId xmlns:a16="http://schemas.microsoft.com/office/drawing/2014/main" id="{5BE011C0-2BEF-FEC5-1C04-16D249C8D747}"/>
              </a:ext>
            </a:extLst>
          </p:cNvPr>
          <p:cNvGrpSpPr/>
          <p:nvPr/>
        </p:nvGrpSpPr>
        <p:grpSpPr>
          <a:xfrm>
            <a:off x="6285255" y="1649981"/>
            <a:ext cx="403200" cy="403200"/>
            <a:chOff x="12192000" y="482914"/>
            <a:chExt cx="403200" cy="403200"/>
          </a:xfrm>
          <a:solidFill>
            <a:srgbClr val="9DD4CF"/>
          </a:solidFill>
        </p:grpSpPr>
        <p:sp>
          <p:nvSpPr>
            <p:cNvPr id="31" name="Oval 30">
              <a:extLst>
                <a:ext uri="{FF2B5EF4-FFF2-40B4-BE49-F238E27FC236}">
                  <a16:creationId xmlns:a16="http://schemas.microsoft.com/office/drawing/2014/main" id="{20FBE348-2EF2-3DC1-BB9A-BB95AE170CBD}"/>
                </a:ext>
              </a:extLst>
            </p:cNvPr>
            <p:cNvSpPr/>
            <p:nvPr/>
          </p:nvSpPr>
          <p:spPr bwMode="gray">
            <a:xfrm>
              <a:off x="12192000" y="482914"/>
              <a:ext cx="402336" cy="402336"/>
            </a:xfrm>
            <a:prstGeom prst="ellipse">
              <a:avLst/>
            </a:prstGeom>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highlight>
                  <a:srgbClr val="9DD4CF"/>
                </a:highlight>
                <a:latin typeface="Open Sans" panose="020B0606030504020204" pitchFamily="34" charset="0"/>
                <a:ea typeface="Open Sans" panose="020B0606030504020204" pitchFamily="34" charset="0"/>
                <a:cs typeface="Open Sans" panose="020B0606030504020204" pitchFamily="34" charset="0"/>
              </a:endParaRPr>
            </a:p>
          </p:txBody>
        </p:sp>
        <p:grpSp>
          <p:nvGrpSpPr>
            <p:cNvPr id="32" name="Group 31">
              <a:extLst>
                <a:ext uri="{FF2B5EF4-FFF2-40B4-BE49-F238E27FC236}">
                  <a16:creationId xmlns:a16="http://schemas.microsoft.com/office/drawing/2014/main" id="{285AE7AA-7BC0-CDCF-E927-B749C7D5836F}"/>
                </a:ext>
              </a:extLst>
            </p:cNvPr>
            <p:cNvGrpSpPr>
              <a:grpSpLocks noChangeAspect="1"/>
            </p:cNvGrpSpPr>
            <p:nvPr/>
          </p:nvGrpSpPr>
          <p:grpSpPr>
            <a:xfrm>
              <a:off x="12192000" y="482914"/>
              <a:ext cx="403200" cy="403200"/>
              <a:chOff x="7588251" y="3340100"/>
              <a:chExt cx="520700" cy="520700"/>
            </a:xfrm>
            <a:grpFill/>
          </p:grpSpPr>
          <p:sp>
            <p:nvSpPr>
              <p:cNvPr id="33" name="Freeform 70">
                <a:extLst>
                  <a:ext uri="{FF2B5EF4-FFF2-40B4-BE49-F238E27FC236}">
                    <a16:creationId xmlns:a16="http://schemas.microsoft.com/office/drawing/2014/main" id="{23BF4526-0AA8-E6A2-D14B-1884184337F0}"/>
                  </a:ext>
                </a:extLst>
              </p:cNvPr>
              <p:cNvSpPr>
                <a:spLocks noEditPoints="1"/>
              </p:cNvSpPr>
              <p:nvPr/>
            </p:nvSpPr>
            <p:spPr bwMode="auto">
              <a:xfrm>
                <a:off x="7588251" y="3340100"/>
                <a:ext cx="520700" cy="52070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US" sz="1000" dirty="0">
                  <a:solidFill>
                    <a:schemeClr val="bg1"/>
                  </a:solidFill>
                  <a:highlight>
                    <a:srgbClr val="9DD4CF"/>
                  </a:highlight>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378">
                <a:extLst>
                  <a:ext uri="{FF2B5EF4-FFF2-40B4-BE49-F238E27FC236}">
                    <a16:creationId xmlns:a16="http://schemas.microsoft.com/office/drawing/2014/main" id="{0324AF2E-990E-8078-1D0D-BDC076929202}"/>
                  </a:ext>
                </a:extLst>
              </p:cNvPr>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US" sz="1000" dirty="0">
                  <a:solidFill>
                    <a:schemeClr val="bg1"/>
                  </a:solidFill>
                  <a:highlight>
                    <a:srgbClr val="9DD4CF"/>
                  </a:highlight>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379">
                <a:extLst>
                  <a:ext uri="{FF2B5EF4-FFF2-40B4-BE49-F238E27FC236}">
                    <a16:creationId xmlns:a16="http://schemas.microsoft.com/office/drawing/2014/main" id="{5E962351-7535-1507-A977-543AB8702540}"/>
                  </a:ext>
                </a:extLst>
              </p:cNvPr>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US" sz="1000" dirty="0">
                  <a:solidFill>
                    <a:schemeClr val="bg1"/>
                  </a:solidFill>
                  <a:highlight>
                    <a:srgbClr val="9DD4CF"/>
                  </a:highlight>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380">
                <a:extLst>
                  <a:ext uri="{FF2B5EF4-FFF2-40B4-BE49-F238E27FC236}">
                    <a16:creationId xmlns:a16="http://schemas.microsoft.com/office/drawing/2014/main" id="{A91C12B6-5633-F3CF-580B-827370833613}"/>
                  </a:ext>
                </a:extLst>
              </p:cNvPr>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US" sz="1000" dirty="0">
                  <a:solidFill>
                    <a:schemeClr val="bg1"/>
                  </a:solidFill>
                  <a:highlight>
                    <a:srgbClr val="9DD4CF"/>
                  </a:highlight>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381">
                <a:extLst>
                  <a:ext uri="{FF2B5EF4-FFF2-40B4-BE49-F238E27FC236}">
                    <a16:creationId xmlns:a16="http://schemas.microsoft.com/office/drawing/2014/main" id="{C7F5D8E4-C735-6B46-8865-804F5814D4C3}"/>
                  </a:ext>
                </a:extLst>
              </p:cNvPr>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US" sz="1000" dirty="0">
                  <a:solidFill>
                    <a:schemeClr val="bg1"/>
                  </a:solidFill>
                  <a:highlight>
                    <a:srgbClr val="9DD4CF"/>
                  </a:highlight>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382">
                <a:extLst>
                  <a:ext uri="{FF2B5EF4-FFF2-40B4-BE49-F238E27FC236}">
                    <a16:creationId xmlns:a16="http://schemas.microsoft.com/office/drawing/2014/main" id="{E6DFE601-BBC0-B331-4750-19291EB58E8A}"/>
                  </a:ext>
                </a:extLst>
              </p:cNvPr>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US" sz="1000" dirty="0">
                  <a:solidFill>
                    <a:schemeClr val="bg1"/>
                  </a:solidFill>
                  <a:highlight>
                    <a:srgbClr val="9DD4CF"/>
                  </a:highlight>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383">
                <a:extLst>
                  <a:ext uri="{FF2B5EF4-FFF2-40B4-BE49-F238E27FC236}">
                    <a16:creationId xmlns:a16="http://schemas.microsoft.com/office/drawing/2014/main" id="{309FBEA3-05BC-AE66-9301-EAA8983919CB}"/>
                  </a:ext>
                </a:extLst>
              </p:cNvPr>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US" sz="1000" dirty="0">
                  <a:solidFill>
                    <a:schemeClr val="bg1"/>
                  </a:solidFill>
                  <a:highlight>
                    <a:srgbClr val="9DD4CF"/>
                  </a:highlight>
                  <a:latin typeface="Open Sans" panose="020B0606030504020204" pitchFamily="34" charset="0"/>
                  <a:ea typeface="Open Sans" panose="020B0606030504020204" pitchFamily="34" charset="0"/>
                  <a:cs typeface="Open Sans" panose="020B0606030504020204" pitchFamily="34" charset="0"/>
                </a:endParaRPr>
              </a:p>
            </p:txBody>
          </p:sp>
        </p:grpSp>
      </p:grpSp>
      <p:pic>
        <p:nvPicPr>
          <p:cNvPr id="40" name="Picture 39">
            <a:extLst>
              <a:ext uri="{FF2B5EF4-FFF2-40B4-BE49-F238E27FC236}">
                <a16:creationId xmlns:a16="http://schemas.microsoft.com/office/drawing/2014/main" id="{D02CA236-BAF4-E744-4FA6-30B8F7B7DD35}"/>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468408" y="2960870"/>
            <a:ext cx="1751631" cy="1301486"/>
          </a:xfrm>
          <a:prstGeom prst="rect">
            <a:avLst/>
          </a:prstGeom>
          <a:effectLst>
            <a:outerShdw blurRad="50800" dist="38100" dir="2700000" algn="tl" rotWithShape="0">
              <a:prstClr val="black">
                <a:alpha val="40000"/>
              </a:prstClr>
            </a:outerShdw>
          </a:effectLst>
        </p:spPr>
      </p:pic>
      <p:sp>
        <p:nvSpPr>
          <p:cNvPr id="41" name="Rectangle 40">
            <a:extLst>
              <a:ext uri="{FF2B5EF4-FFF2-40B4-BE49-F238E27FC236}">
                <a16:creationId xmlns:a16="http://schemas.microsoft.com/office/drawing/2014/main" id="{86BB24F6-FE1C-731D-14AF-3509A85684B7}"/>
              </a:ext>
            </a:extLst>
          </p:cNvPr>
          <p:cNvSpPr>
            <a:spLocks noChangeAspect="1"/>
          </p:cNvSpPr>
          <p:nvPr/>
        </p:nvSpPr>
        <p:spPr bwMode="gray">
          <a:xfrm rot="1773893">
            <a:off x="10552023" y="3054693"/>
            <a:ext cx="981542" cy="173076"/>
          </a:xfrm>
          <a:prstGeom prst="rect">
            <a:avLst/>
          </a:prstGeom>
          <a:solidFill>
            <a:schemeClr val="bg1">
              <a:lumMod val="85000"/>
              <a:alpha val="77000"/>
            </a:schemeClr>
          </a:solidFill>
          <a:ln w="3175" algn="ctr">
            <a:solidFill>
              <a:schemeClr val="tx1">
                <a:lumMod val="65000"/>
                <a:lumOff val="35000"/>
              </a:schemeClr>
            </a:solid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000" b="1">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EXAMPLE</a:t>
            </a:r>
            <a:endParaRPr lang="en-US" sz="1000" b="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2" name="Picture 41">
            <a:extLst>
              <a:ext uri="{FF2B5EF4-FFF2-40B4-BE49-F238E27FC236}">
                <a16:creationId xmlns:a16="http://schemas.microsoft.com/office/drawing/2014/main" id="{C476DD49-DE69-572B-7A55-7A5EF10667BE}"/>
              </a:ext>
            </a:extLst>
          </p:cNvPr>
          <p:cNvPicPr>
            <a:picLocks noChangeAspect="1"/>
          </p:cNvPicPr>
          <p:nvPr/>
        </p:nvPicPr>
        <p:blipFill>
          <a:blip r:embed="rId7"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464733" y="3266299"/>
            <a:ext cx="2690996" cy="996057"/>
          </a:xfrm>
          <a:prstGeom prst="rect">
            <a:avLst/>
          </a:prstGeom>
          <a:effectLst>
            <a:outerShdw blurRad="50800" dist="38100" dir="2700000" algn="tl" rotWithShape="0">
              <a:prstClr val="black">
                <a:alpha val="40000"/>
              </a:prstClr>
            </a:outerShdw>
          </a:effectLst>
        </p:spPr>
      </p:pic>
      <p:sp>
        <p:nvSpPr>
          <p:cNvPr id="43" name="Rectangle 42">
            <a:extLst>
              <a:ext uri="{FF2B5EF4-FFF2-40B4-BE49-F238E27FC236}">
                <a16:creationId xmlns:a16="http://schemas.microsoft.com/office/drawing/2014/main" id="{C2479715-B5D5-98EA-0C93-75E62F930EAE}"/>
              </a:ext>
            </a:extLst>
          </p:cNvPr>
          <p:cNvSpPr>
            <a:spLocks noChangeAspect="1"/>
          </p:cNvSpPr>
          <p:nvPr/>
        </p:nvSpPr>
        <p:spPr bwMode="gray">
          <a:xfrm rot="1773893">
            <a:off x="8195389" y="3058417"/>
            <a:ext cx="981542" cy="173076"/>
          </a:xfrm>
          <a:prstGeom prst="rect">
            <a:avLst/>
          </a:prstGeom>
          <a:solidFill>
            <a:schemeClr val="bg1">
              <a:lumMod val="85000"/>
              <a:alpha val="77000"/>
            </a:schemeClr>
          </a:solidFill>
          <a:ln w="3175" algn="ctr">
            <a:solidFill>
              <a:schemeClr val="tx1">
                <a:lumMod val="65000"/>
                <a:lumOff val="35000"/>
              </a:schemeClr>
            </a:solid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000" b="1">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EXAMPLE</a:t>
            </a:r>
            <a:endParaRPr lang="en-US" sz="1000" b="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1FBD24A7-A079-5E81-652F-B915EA0DA453}"/>
              </a:ext>
            </a:extLst>
          </p:cNvPr>
          <p:cNvSpPr/>
          <p:nvPr/>
        </p:nvSpPr>
        <p:spPr bwMode="gray">
          <a:xfrm>
            <a:off x="6547328" y="2201107"/>
            <a:ext cx="2608401" cy="673658"/>
          </a:xfrm>
          <a:prstGeom prst="rect">
            <a:avLst/>
          </a:prstGeom>
          <a:noFill/>
          <a:ln w="19050" algn="ctr">
            <a:noFill/>
            <a:miter lim="800000"/>
            <a:headEnd/>
            <a:tailEnd/>
          </a:ln>
        </p:spPr>
        <p:txBody>
          <a:bodyPr wrap="square" lIns="0" tIns="88900" rIns="88900" bIns="88900" rtlCol="0" anchor="ctr"/>
          <a:lstStyle/>
          <a:p>
            <a:pPr>
              <a:lnSpc>
                <a:spcPct val="106000"/>
              </a:lnSpc>
              <a:buFont typeface="Wingdings 2" pitchFamily="18" charset="2"/>
              <a:buNone/>
            </a:pPr>
            <a:r>
              <a:rPr lang="en-US" sz="1000" b="1" dirty="0">
                <a:latin typeface="Open Sans" panose="020B0606030504020204" pitchFamily="34" charset="0"/>
                <a:ea typeface="Open Sans" panose="020B0606030504020204" pitchFamily="34" charset="0"/>
                <a:cs typeface="Open Sans" panose="020B0606030504020204" pitchFamily="34" charset="0"/>
              </a:rPr>
              <a:t>Enterprise value map</a:t>
            </a:r>
          </a:p>
          <a:p>
            <a:pPr>
              <a:lnSpc>
                <a:spcPct val="106000"/>
              </a:lnSpc>
              <a:buFont typeface="Wingdings 2" pitchFamily="18" charset="2"/>
              <a:buNone/>
            </a:pPr>
            <a:r>
              <a:rPr lang="en-US" sz="1000" dirty="0">
                <a:latin typeface="Open Sans" panose="020B0606030504020204" pitchFamily="34" charset="0"/>
                <a:ea typeface="Open Sans" panose="020B0606030504020204" pitchFamily="34" charset="0"/>
                <a:cs typeface="Open Sans" panose="020B0606030504020204" pitchFamily="34" charset="0"/>
              </a:rPr>
              <a:t>Using the Deloitte Enterprise Value Map helps evaluating business goals and define KPI focus areas.</a:t>
            </a:r>
          </a:p>
          <a:p>
            <a:pPr>
              <a:lnSpc>
                <a:spcPct val="106000"/>
              </a:lnSpc>
              <a:buFont typeface="Wingdings 2" pitchFamily="18" charset="2"/>
              <a:buNone/>
            </a:pP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CC729EA7-0C39-8E16-AAD8-62FA30C94D5C}"/>
              </a:ext>
            </a:extLst>
          </p:cNvPr>
          <p:cNvSpPr/>
          <p:nvPr/>
        </p:nvSpPr>
        <p:spPr bwMode="gray">
          <a:xfrm>
            <a:off x="9226992" y="2080626"/>
            <a:ext cx="2472342" cy="673658"/>
          </a:xfrm>
          <a:prstGeom prst="rect">
            <a:avLst/>
          </a:prstGeom>
          <a:noFill/>
          <a:ln w="19050" algn="ctr">
            <a:noFill/>
            <a:miter lim="800000"/>
            <a:headEnd/>
            <a:tailEnd/>
          </a:ln>
        </p:spPr>
        <p:txBody>
          <a:bodyPr wrap="square" lIns="0" tIns="88900" rIns="88900" bIns="88900" rtlCol="0" anchor="ctr"/>
          <a:lstStyle/>
          <a:p>
            <a:pP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Balanced scorecard</a:t>
            </a:r>
          </a:p>
          <a:p>
            <a:pP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The scorecard takes a broad and holistic view of the performance and creates a balance across four key dimensions.</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a:extLst>
              <a:ext uri="{FF2B5EF4-FFF2-40B4-BE49-F238E27FC236}">
                <a16:creationId xmlns:a16="http://schemas.microsoft.com/office/drawing/2014/main" id="{F3B108BD-CC22-E74C-D48E-1F4382F1F861}"/>
              </a:ext>
            </a:extLst>
          </p:cNvPr>
          <p:cNvSpPr/>
          <p:nvPr/>
        </p:nvSpPr>
        <p:spPr bwMode="gray">
          <a:xfrm>
            <a:off x="6568275" y="4530872"/>
            <a:ext cx="2608401" cy="673658"/>
          </a:xfrm>
          <a:prstGeom prst="rect">
            <a:avLst/>
          </a:prstGeom>
          <a:noFill/>
          <a:ln w="19050" algn="ctr">
            <a:noFill/>
            <a:miter lim="800000"/>
            <a:headEnd/>
            <a:tailEnd/>
          </a:ln>
        </p:spPr>
        <p:txBody>
          <a:bodyPr wrap="square" lIns="0" tIns="88900" rIns="88900" bIns="88900" rtlCol="0" anchor="ctr"/>
          <a:lstStyle/>
          <a:p>
            <a:pP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Governance</a:t>
            </a:r>
          </a:p>
          <a:p>
            <a:pP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A well-established governance provides a framework for maintaining KPIs, tracking the target values and reporting.</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a:extLst>
              <a:ext uri="{FF2B5EF4-FFF2-40B4-BE49-F238E27FC236}">
                <a16:creationId xmlns:a16="http://schemas.microsoft.com/office/drawing/2014/main" id="{3497640F-B572-2F64-97EC-9489012499B8}"/>
              </a:ext>
            </a:extLst>
          </p:cNvPr>
          <p:cNvSpPr/>
          <p:nvPr/>
        </p:nvSpPr>
        <p:spPr bwMode="gray">
          <a:xfrm>
            <a:off x="9226992" y="4530872"/>
            <a:ext cx="2472342" cy="673658"/>
          </a:xfrm>
          <a:prstGeom prst="rect">
            <a:avLst/>
          </a:prstGeom>
          <a:noFill/>
          <a:ln w="19050" algn="ctr">
            <a:noFill/>
            <a:miter lim="800000"/>
            <a:headEnd/>
            <a:tailEnd/>
          </a:ln>
        </p:spPr>
        <p:txBody>
          <a:bodyPr wrap="square" lIns="0" tIns="88900" rIns="88900" bIns="88900" rtlCol="0" anchor="ctr"/>
          <a:lstStyle/>
          <a:p>
            <a:pPr>
              <a:lnSpc>
                <a:spcPct val="106000"/>
              </a:lnSpc>
              <a:buFont typeface="Wingdings 2" pitchFamily="18" charset="2"/>
              <a:buNone/>
            </a:pPr>
            <a:r>
              <a:rPr lang="en-US" sz="1000" b="1">
                <a:latin typeface="Open Sans" panose="020B0606030504020204" pitchFamily="34" charset="0"/>
                <a:ea typeface="Open Sans" panose="020B0606030504020204" pitchFamily="34" charset="0"/>
                <a:cs typeface="Open Sans" panose="020B0606030504020204" pitchFamily="34" charset="0"/>
              </a:rPr>
              <a:t>KPI cards and dashboards</a:t>
            </a:r>
          </a:p>
          <a:p>
            <a:pPr>
              <a:lnSpc>
                <a:spcPct val="106000"/>
              </a:lnSpc>
              <a:buFont typeface="Wingdings 2" pitchFamily="18" charset="2"/>
              <a:buNone/>
            </a:pPr>
            <a:r>
              <a:rPr lang="en-US" sz="1000">
                <a:latin typeface="Open Sans" panose="020B0606030504020204" pitchFamily="34" charset="0"/>
                <a:ea typeface="Open Sans" panose="020B0606030504020204" pitchFamily="34" charset="0"/>
                <a:cs typeface="Open Sans" panose="020B0606030504020204" pitchFamily="34" charset="0"/>
              </a:rPr>
              <a:t>The tool to keep track of KPIs and ensures that the right information is seen at all levels through the dashboards.</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pic>
        <p:nvPicPr>
          <p:cNvPr id="48" name="Picture 47">
            <a:extLst>
              <a:ext uri="{FF2B5EF4-FFF2-40B4-BE49-F238E27FC236}">
                <a16:creationId xmlns:a16="http://schemas.microsoft.com/office/drawing/2014/main" id="{01922D79-6A91-75B0-21AE-77A41D07FEC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388398" y="5371200"/>
            <a:ext cx="1329341" cy="721642"/>
          </a:xfrm>
          <a:prstGeom prst="rect">
            <a:avLst/>
          </a:prstGeom>
          <a:solidFill>
            <a:schemeClr val="bg1">
              <a:lumMod val="85000"/>
              <a:alpha val="77000"/>
            </a:schemeClr>
          </a:solidFill>
          <a:ln w="3175" algn="ctr">
            <a:solidFill>
              <a:schemeClr val="tx1">
                <a:lumMod val="65000"/>
                <a:lumOff val="35000"/>
              </a:schemeClr>
            </a:solidFill>
            <a:prstDash val="dash"/>
            <a:miter lim="800000"/>
            <a:headEnd/>
            <a:tailEnd/>
          </a:ln>
          <a:effectLst>
            <a:outerShdw blurRad="50800" dist="38100" dir="2700000" algn="tl" rotWithShape="0">
              <a:prstClr val="black">
                <a:alpha val="40000"/>
              </a:prstClr>
            </a:outerShdw>
          </a:effectLst>
        </p:spPr>
      </p:pic>
      <p:pic>
        <p:nvPicPr>
          <p:cNvPr id="49" name="Picture 2" descr="an example of a Marketing Strategic Report">
            <a:extLst>
              <a:ext uri="{FF2B5EF4-FFF2-40B4-BE49-F238E27FC236}">
                <a16:creationId xmlns:a16="http://schemas.microsoft.com/office/drawing/2014/main" id="{10F20FD1-F733-762A-4099-C15ADF859B08}"/>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129201" y="5748192"/>
            <a:ext cx="1143675" cy="739576"/>
          </a:xfrm>
          <a:prstGeom prst="rect">
            <a:avLst/>
          </a:prstGeom>
          <a:solidFill>
            <a:schemeClr val="bg1">
              <a:lumMod val="85000"/>
              <a:alpha val="77000"/>
            </a:schemeClr>
          </a:solidFill>
          <a:ln w="3175" algn="ctr">
            <a:solidFill>
              <a:schemeClr val="tx1">
                <a:lumMod val="65000"/>
                <a:lumOff val="35000"/>
              </a:schemeClr>
            </a:solidFill>
            <a:prstDash val="dash"/>
            <a:miter lim="800000"/>
            <a:headEnd/>
            <a:tailEnd/>
          </a:ln>
          <a:effectLst>
            <a:outerShdw blurRad="50800" dist="38100" dir="2700000" algn="tl" rotWithShape="0">
              <a:prstClr val="black">
                <a:alpha val="40000"/>
              </a:prstClr>
            </a:outerShdw>
          </a:effectLst>
        </p:spPr>
      </p:pic>
      <p:sp>
        <p:nvSpPr>
          <p:cNvPr id="50" name="Rectangle 49">
            <a:extLst>
              <a:ext uri="{FF2B5EF4-FFF2-40B4-BE49-F238E27FC236}">
                <a16:creationId xmlns:a16="http://schemas.microsoft.com/office/drawing/2014/main" id="{872676B5-9560-750E-5C8B-97AC5230A544}"/>
              </a:ext>
            </a:extLst>
          </p:cNvPr>
          <p:cNvSpPr>
            <a:spLocks noChangeAspect="1"/>
          </p:cNvSpPr>
          <p:nvPr/>
        </p:nvSpPr>
        <p:spPr bwMode="gray">
          <a:xfrm rot="1773893">
            <a:off x="10552021" y="5547350"/>
            <a:ext cx="981542" cy="173076"/>
          </a:xfrm>
          <a:prstGeom prst="rect">
            <a:avLst/>
          </a:prstGeom>
          <a:solidFill>
            <a:schemeClr val="bg1">
              <a:lumMod val="85000"/>
              <a:alpha val="77000"/>
            </a:schemeClr>
          </a:solidFill>
          <a:ln w="3175" algn="ctr">
            <a:solidFill>
              <a:schemeClr val="tx1">
                <a:lumMod val="65000"/>
                <a:lumOff val="35000"/>
              </a:schemeClr>
            </a:solid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000" b="1">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EXAMPLE</a:t>
            </a:r>
            <a:endParaRPr lang="en-US" sz="1000" b="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1" name="Picture 50">
            <a:extLst>
              <a:ext uri="{FF2B5EF4-FFF2-40B4-BE49-F238E27FC236}">
                <a16:creationId xmlns:a16="http://schemas.microsoft.com/office/drawing/2014/main" id="{C6DDA016-67C7-9E6E-F7CA-81AA467C551E}"/>
              </a:ext>
            </a:extLst>
          </p:cNvPr>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40487" y="5439387"/>
            <a:ext cx="2503201" cy="923184"/>
          </a:xfrm>
          <a:prstGeom prst="rect">
            <a:avLst/>
          </a:prstGeom>
        </p:spPr>
      </p:pic>
      <p:sp>
        <p:nvSpPr>
          <p:cNvPr id="52" name="Rectangle 51">
            <a:extLst>
              <a:ext uri="{FF2B5EF4-FFF2-40B4-BE49-F238E27FC236}">
                <a16:creationId xmlns:a16="http://schemas.microsoft.com/office/drawing/2014/main" id="{895C5428-9C36-1385-1BBD-DEEFC63D7648}"/>
              </a:ext>
            </a:extLst>
          </p:cNvPr>
          <p:cNvSpPr>
            <a:spLocks noChangeAspect="1"/>
          </p:cNvSpPr>
          <p:nvPr/>
        </p:nvSpPr>
        <p:spPr bwMode="gray">
          <a:xfrm rot="1773893">
            <a:off x="8195387" y="5551074"/>
            <a:ext cx="981542" cy="173076"/>
          </a:xfrm>
          <a:prstGeom prst="rect">
            <a:avLst/>
          </a:prstGeom>
          <a:solidFill>
            <a:schemeClr val="bg1">
              <a:lumMod val="85000"/>
              <a:alpha val="77000"/>
            </a:schemeClr>
          </a:solidFill>
          <a:ln w="3175" algn="ctr">
            <a:solidFill>
              <a:schemeClr val="tx1">
                <a:lumMod val="65000"/>
                <a:lumOff val="35000"/>
              </a:schemeClr>
            </a:solidFill>
            <a:prstDash val="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000" b="1">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EXAMPLE</a:t>
            </a:r>
            <a:endParaRPr lang="en-US" sz="1000" b="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3" name="Straight Connector 52">
            <a:extLst>
              <a:ext uri="{FF2B5EF4-FFF2-40B4-BE49-F238E27FC236}">
                <a16:creationId xmlns:a16="http://schemas.microsoft.com/office/drawing/2014/main" id="{E609A8B0-3A73-FE5F-63D8-C6F7EE708186}"/>
              </a:ext>
            </a:extLst>
          </p:cNvPr>
          <p:cNvCxnSpPr/>
          <p:nvPr/>
        </p:nvCxnSpPr>
        <p:spPr>
          <a:xfrm flipH="1">
            <a:off x="6096000" y="1693255"/>
            <a:ext cx="6095" cy="4751481"/>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248DC61-509C-3619-ADBF-716CE6E7ED18}"/>
              </a:ext>
            </a:extLst>
          </p:cNvPr>
          <p:cNvCxnSpPr>
            <a:cxnSpLocks/>
          </p:cNvCxnSpPr>
          <p:nvPr/>
        </p:nvCxnSpPr>
        <p:spPr>
          <a:xfrm flipH="1">
            <a:off x="6680595" y="1856693"/>
            <a:ext cx="5337804" cy="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DF8A13E-DD0D-7EAC-7DC6-A3FC5423D9CD}"/>
              </a:ext>
            </a:extLst>
          </p:cNvPr>
          <p:cNvCxnSpPr>
            <a:cxnSpLocks/>
          </p:cNvCxnSpPr>
          <p:nvPr/>
        </p:nvCxnSpPr>
        <p:spPr>
          <a:xfrm flipH="1" flipV="1">
            <a:off x="6720938" y="1877615"/>
            <a:ext cx="5015144" cy="10279"/>
          </a:xfrm>
          <a:prstGeom prst="line">
            <a:avLst/>
          </a:prstGeom>
          <a:ln/>
        </p:spPr>
        <p:style>
          <a:lnRef idx="1">
            <a:schemeClr val="accent3"/>
          </a:lnRef>
          <a:fillRef idx="2">
            <a:schemeClr val="accent3"/>
          </a:fillRef>
          <a:effectRef idx="1">
            <a:schemeClr val="accent3"/>
          </a:effectRef>
          <a:fontRef idx="minor">
            <a:schemeClr val="dk1"/>
          </a:fontRef>
        </p:style>
      </p:cxnSp>
      <p:pic>
        <p:nvPicPr>
          <p:cNvPr id="57" name="Graphic 56" descr="Bullseye with solid fill">
            <a:extLst>
              <a:ext uri="{FF2B5EF4-FFF2-40B4-BE49-F238E27FC236}">
                <a16:creationId xmlns:a16="http://schemas.microsoft.com/office/drawing/2014/main" id="{35DD068C-6C28-3772-ECE2-4A9A58F5CBD3}"/>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96572" y="1706940"/>
            <a:ext cx="325470" cy="325470"/>
          </a:xfrm>
          <a:prstGeom prst="rect">
            <a:avLst/>
          </a:prstGeom>
        </p:spPr>
      </p:pic>
    </p:spTree>
    <p:extLst>
      <p:ext uri="{BB962C8B-B14F-4D97-AF65-F5344CB8AC3E}">
        <p14:creationId xmlns:p14="http://schemas.microsoft.com/office/powerpoint/2010/main" val="2742467406"/>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 name="think-cell data - do not delete" hidden="1">
            <a:extLst>
              <a:ext uri="{FF2B5EF4-FFF2-40B4-BE49-F238E27FC236}">
                <a16:creationId xmlns:a16="http://schemas.microsoft.com/office/drawing/2014/main" id="{91EAC9E5-C70C-AAF7-543B-DC0496036889}"/>
              </a:ext>
            </a:extLst>
          </p:cNvPr>
          <p:cNvGraphicFramePr>
            <a:graphicFrameLocks noChangeAspect="1"/>
          </p:cNvGraphicFramePr>
          <p:nvPr>
            <p:custDataLst>
              <p:tags r:id="rId1"/>
            </p:custDataLst>
            <p:extLst>
              <p:ext uri="{D42A27DB-BD31-4B8C-83A1-F6EECF244321}">
                <p14:modId xmlns:p14="http://schemas.microsoft.com/office/powerpoint/2010/main" val="3817756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4" name="think-cell data - do not delete" hidden="1">
                        <a:extLst>
                          <a:ext uri="{FF2B5EF4-FFF2-40B4-BE49-F238E27FC236}">
                            <a16:creationId xmlns:a16="http://schemas.microsoft.com/office/drawing/2014/main" id="{91EAC9E5-C70C-AAF7-543B-DC04960368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C41BFC2-A7EC-D112-89A8-493A6354BBCE}"/>
              </a:ext>
            </a:extLst>
          </p:cNvPr>
          <p:cNvSpPr>
            <a:spLocks noGrp="1"/>
          </p:cNvSpPr>
          <p:nvPr>
            <p:ph type="body" sz="quarter" idx="22"/>
          </p:nvPr>
        </p:nvSpPr>
        <p:spPr/>
        <p:txBody>
          <a:bodyPr/>
          <a:lstStyle/>
          <a:p>
            <a:r>
              <a:rPr lang="en-US" dirty="0"/>
              <a:t>The three consecutive phases of our methodology</a:t>
            </a:r>
          </a:p>
        </p:txBody>
      </p:sp>
      <p:sp>
        <p:nvSpPr>
          <p:cNvPr id="3" name="Title 2">
            <a:extLst>
              <a:ext uri="{FF2B5EF4-FFF2-40B4-BE49-F238E27FC236}">
                <a16:creationId xmlns:a16="http://schemas.microsoft.com/office/drawing/2014/main" id="{AF169529-E21B-346C-EC30-BD392EC8BC8B}"/>
              </a:ext>
            </a:extLst>
          </p:cNvPr>
          <p:cNvSpPr>
            <a:spLocks noGrp="1"/>
          </p:cNvSpPr>
          <p:nvPr>
            <p:ph type="title"/>
          </p:nvPr>
        </p:nvSpPr>
        <p:spPr>
          <a:xfrm>
            <a:off x="463295" y="417911"/>
            <a:ext cx="11277600" cy="334099"/>
          </a:xfrm>
        </p:spPr>
        <p:txBody>
          <a:bodyPr vert="horz"/>
          <a:lstStyle/>
          <a:p>
            <a:r>
              <a:rPr lang="en-US" dirty="0">
                <a:latin typeface="Open Sans Light"/>
                <a:ea typeface="Open Sans Light"/>
                <a:cs typeface="Open Sans Light"/>
              </a:rPr>
              <a:t>Business performance measurement and improvement</a:t>
            </a:r>
            <a:endParaRPr lang="en-GB" dirty="0">
              <a:latin typeface="Open Sans Light"/>
              <a:ea typeface="Open Sans Light"/>
              <a:cs typeface="Open Sans Light"/>
            </a:endParaRPr>
          </a:p>
        </p:txBody>
      </p:sp>
      <p:sp>
        <p:nvSpPr>
          <p:cNvPr id="40" name="Rectangle 39">
            <a:extLst>
              <a:ext uri="{FF2B5EF4-FFF2-40B4-BE49-F238E27FC236}">
                <a16:creationId xmlns:a16="http://schemas.microsoft.com/office/drawing/2014/main" id="{A805004F-A19A-080E-A537-4B377C5FF88A}"/>
              </a:ext>
            </a:extLst>
          </p:cNvPr>
          <p:cNvSpPr/>
          <p:nvPr/>
        </p:nvSpPr>
        <p:spPr>
          <a:xfrm>
            <a:off x="9405874" y="1877434"/>
            <a:ext cx="1999619" cy="3244008"/>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5720" rIns="0" bIns="0" rtlCol="0" anchor="t"/>
          <a:lstStyle/>
          <a:p>
            <a:pPr>
              <a:spcAft>
                <a:spcPts val="500"/>
              </a:spcAft>
              <a:defRPr/>
            </a:pPr>
            <a:endParaRPr lang="en-GB" sz="1050">
              <a:solidFill>
                <a:srgbClr val="000000"/>
              </a:solidFill>
            </a:endParaRPr>
          </a:p>
        </p:txBody>
      </p:sp>
      <p:sp>
        <p:nvSpPr>
          <p:cNvPr id="43" name="Rectangle 42">
            <a:extLst>
              <a:ext uri="{FF2B5EF4-FFF2-40B4-BE49-F238E27FC236}">
                <a16:creationId xmlns:a16="http://schemas.microsoft.com/office/drawing/2014/main" id="{CE0C85D2-8C98-610F-E12C-3140B2AA89D1}"/>
              </a:ext>
            </a:extLst>
          </p:cNvPr>
          <p:cNvSpPr/>
          <p:nvPr/>
        </p:nvSpPr>
        <p:spPr>
          <a:xfrm>
            <a:off x="4974616" y="1877648"/>
            <a:ext cx="4141104" cy="3244008"/>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5720" rIns="0" bIns="0" rtlCol="0" anchor="t"/>
          <a:lstStyle/>
          <a:p>
            <a:pPr marR="0" lvl="0" algn="l" defTabSz="914400" eaLnBrk="1" fontAlgn="auto" latinLnBrk="0" hangingPunct="1">
              <a:lnSpc>
                <a:spcPct val="100000"/>
              </a:lnSpc>
              <a:spcBef>
                <a:spcPts val="0"/>
              </a:spcBef>
              <a:spcAft>
                <a:spcPts val="500"/>
              </a:spcAft>
              <a:buClrTx/>
              <a:buSzTx/>
              <a:tabLst/>
              <a:defRPr/>
            </a:pPr>
            <a:endParaRPr lang="en-GB" sz="1050">
              <a:solidFill>
                <a:schemeClr val="tx1"/>
              </a:solidFill>
            </a:endParaRPr>
          </a:p>
        </p:txBody>
      </p:sp>
      <p:sp>
        <p:nvSpPr>
          <p:cNvPr id="44" name="Rectangle 43">
            <a:extLst>
              <a:ext uri="{FF2B5EF4-FFF2-40B4-BE49-F238E27FC236}">
                <a16:creationId xmlns:a16="http://schemas.microsoft.com/office/drawing/2014/main" id="{6FC9359E-F439-2837-C448-D21CB1CC52A3}"/>
              </a:ext>
            </a:extLst>
          </p:cNvPr>
          <p:cNvSpPr/>
          <p:nvPr/>
        </p:nvSpPr>
        <p:spPr>
          <a:xfrm>
            <a:off x="1653737" y="1882304"/>
            <a:ext cx="3033077" cy="3237659"/>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5720" rIns="0" bIns="0" rtlCol="0" anchor="t"/>
          <a:lstStyle/>
          <a:p>
            <a:pPr>
              <a:spcAft>
                <a:spcPts val="500"/>
              </a:spcAft>
              <a:tabLst>
                <a:tab pos="1485900" algn="l"/>
              </a:tabLst>
              <a:defRPr/>
            </a:pPr>
            <a:endParaRPr lang="en-GB" sz="1050">
              <a:solidFill>
                <a:schemeClr val="tx1"/>
              </a:solidFill>
            </a:endParaRPr>
          </a:p>
        </p:txBody>
      </p:sp>
      <p:cxnSp>
        <p:nvCxnSpPr>
          <p:cNvPr id="45" name="Straight Arrow Connector 44">
            <a:extLst>
              <a:ext uri="{FF2B5EF4-FFF2-40B4-BE49-F238E27FC236}">
                <a16:creationId xmlns:a16="http://schemas.microsoft.com/office/drawing/2014/main" id="{EEE53A49-6AAA-8609-2CD4-F36A7F419CB6}"/>
              </a:ext>
            </a:extLst>
          </p:cNvPr>
          <p:cNvCxnSpPr>
            <a:cxnSpLocks/>
          </p:cNvCxnSpPr>
          <p:nvPr/>
        </p:nvCxnSpPr>
        <p:spPr>
          <a:xfrm>
            <a:off x="1776212" y="1736558"/>
            <a:ext cx="9629281" cy="0"/>
          </a:xfrm>
          <a:prstGeom prst="straightConnector1">
            <a:avLst/>
          </a:prstGeom>
          <a:ln w="1905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74400529-CF8C-C278-D97D-A0D4016AD8EA}"/>
              </a:ext>
            </a:extLst>
          </p:cNvPr>
          <p:cNvSpPr/>
          <p:nvPr/>
        </p:nvSpPr>
        <p:spPr>
          <a:xfrm>
            <a:off x="4735620" y="1507958"/>
            <a:ext cx="457200" cy="457200"/>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u="none" strike="noStrike" kern="1200" cap="none" spc="0" normalizeH="0" baseline="0" dirty="0">
              <a:ln>
                <a:noFill/>
              </a:ln>
              <a:solidFill>
                <a:srgbClr val="000000"/>
              </a:solidFill>
              <a:effectLst/>
              <a:uLnTx/>
              <a:uFillTx/>
              <a:latin typeface="Open Sans SemiBold" panose="020B0606030504020204" pitchFamily="34" charset="0"/>
              <a:ea typeface="+mn-ea"/>
              <a:cs typeface="+mn-cs"/>
            </a:endParaRPr>
          </a:p>
        </p:txBody>
      </p:sp>
      <p:sp>
        <p:nvSpPr>
          <p:cNvPr id="47" name="Oval 46">
            <a:extLst>
              <a:ext uri="{FF2B5EF4-FFF2-40B4-BE49-F238E27FC236}">
                <a16:creationId xmlns:a16="http://schemas.microsoft.com/office/drawing/2014/main" id="{A9650139-859D-E730-B9BA-6276F635E3B4}"/>
              </a:ext>
            </a:extLst>
          </p:cNvPr>
          <p:cNvSpPr/>
          <p:nvPr/>
        </p:nvSpPr>
        <p:spPr>
          <a:xfrm>
            <a:off x="9175381" y="1507958"/>
            <a:ext cx="457200" cy="457200"/>
          </a:xfrm>
          <a:prstGeom prst="ellipse">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u="none" strike="noStrike" kern="1200" cap="none" spc="0" normalizeH="0" baseline="0" dirty="0">
              <a:ln>
                <a:noFill/>
              </a:ln>
              <a:solidFill>
                <a:srgbClr val="000000"/>
              </a:solidFill>
              <a:effectLst/>
              <a:uLnTx/>
              <a:uFillTx/>
              <a:latin typeface="Open Sans SemiBold" panose="020B0606030504020204" pitchFamily="34" charset="0"/>
              <a:ea typeface="+mn-ea"/>
              <a:cs typeface="+mn-cs"/>
            </a:endParaRPr>
          </a:p>
        </p:txBody>
      </p:sp>
      <p:sp>
        <p:nvSpPr>
          <p:cNvPr id="48" name="Oval 47">
            <a:extLst>
              <a:ext uri="{FF2B5EF4-FFF2-40B4-BE49-F238E27FC236}">
                <a16:creationId xmlns:a16="http://schemas.microsoft.com/office/drawing/2014/main" id="{9FFE7285-1377-9B96-AA2A-B69082700125}"/>
              </a:ext>
            </a:extLst>
          </p:cNvPr>
          <p:cNvSpPr/>
          <p:nvPr/>
        </p:nvSpPr>
        <p:spPr>
          <a:xfrm>
            <a:off x="1319012" y="1507958"/>
            <a:ext cx="457200" cy="457200"/>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u="none" strike="noStrike" kern="1200" cap="none" spc="0" normalizeH="0" baseline="0" dirty="0">
              <a:ln>
                <a:noFill/>
              </a:ln>
              <a:solidFill>
                <a:srgbClr val="000000"/>
              </a:solidFill>
              <a:effectLst/>
              <a:uLnTx/>
              <a:uFillTx/>
              <a:latin typeface="Open Sans SemiBold" panose="020B0606030504020204" pitchFamily="34" charset="0"/>
              <a:ea typeface="+mn-ea"/>
              <a:cs typeface="+mn-cs"/>
            </a:endParaRPr>
          </a:p>
        </p:txBody>
      </p:sp>
      <p:sp>
        <p:nvSpPr>
          <p:cNvPr id="49" name="Rectangle 48">
            <a:extLst>
              <a:ext uri="{FF2B5EF4-FFF2-40B4-BE49-F238E27FC236}">
                <a16:creationId xmlns:a16="http://schemas.microsoft.com/office/drawing/2014/main" id="{798A6741-B3D1-0C1C-9409-9DDB4A1605FF}"/>
              </a:ext>
            </a:extLst>
          </p:cNvPr>
          <p:cNvSpPr/>
          <p:nvPr/>
        </p:nvSpPr>
        <p:spPr>
          <a:xfrm>
            <a:off x="4974616" y="5436373"/>
            <a:ext cx="4141104" cy="941881"/>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5720" rIns="0" bIns="0" rtlCol="0" anchor="t"/>
          <a:lstStyle/>
          <a:p>
            <a:pPr marR="0" lvl="0" algn="l" defTabSz="914400" eaLnBrk="1" fontAlgn="auto" latinLnBrk="0" hangingPunct="1">
              <a:lnSpc>
                <a:spcPct val="100000"/>
              </a:lnSpc>
              <a:spcBef>
                <a:spcPts val="0"/>
              </a:spcBef>
              <a:spcAft>
                <a:spcPts val="500"/>
              </a:spcAft>
              <a:buClrTx/>
              <a:buSzTx/>
              <a:tabLst/>
              <a:defRPr/>
            </a:pPr>
            <a:endParaRPr lang="en-GB" sz="1050">
              <a:solidFill>
                <a:schemeClr val="tx1"/>
              </a:solidFill>
            </a:endParaRPr>
          </a:p>
        </p:txBody>
      </p:sp>
      <p:sp>
        <p:nvSpPr>
          <p:cNvPr id="50" name="Rectangle 49">
            <a:extLst>
              <a:ext uri="{FF2B5EF4-FFF2-40B4-BE49-F238E27FC236}">
                <a16:creationId xmlns:a16="http://schemas.microsoft.com/office/drawing/2014/main" id="{0623FD6C-CD09-EA96-9CBE-EAB01F0651B5}"/>
              </a:ext>
            </a:extLst>
          </p:cNvPr>
          <p:cNvSpPr/>
          <p:nvPr/>
        </p:nvSpPr>
        <p:spPr>
          <a:xfrm>
            <a:off x="5052714" y="2289803"/>
            <a:ext cx="4012765" cy="2985433"/>
          </a:xfrm>
          <a:prstGeom prst="rect">
            <a:avLst/>
          </a:prstGeom>
        </p:spPr>
        <p:txBody>
          <a:bodyPr wrap="square" lIns="0" rIns="0" anchor="t">
            <a:spAutoFit/>
          </a:bodyPr>
          <a:lstStyle/>
          <a:p>
            <a:pPr marL="228600" indent="-228600" defTabSz="914180" fontAlgn="base">
              <a:spcBef>
                <a:spcPts val="300"/>
              </a:spcBef>
              <a:spcAft>
                <a:spcPct val="0"/>
              </a:spcAft>
              <a:buFont typeface="+mj-lt"/>
              <a:buAutoNum type="arabicPeriod"/>
              <a:defRPr/>
            </a:pPr>
            <a:r>
              <a:rPr kumimoji="0" lang="en-GB" sz="1050" u="none" strike="noStrike" kern="1200" cap="none" spc="0" normalizeH="0" baseline="0" dirty="0">
                <a:ln>
                  <a:noFill/>
                </a:ln>
                <a:effectLst/>
                <a:uLnTx/>
                <a:uFillTx/>
                <a:cs typeface="Open Sans SemiBold" panose="020B0606030504020204" pitchFamily="34" charset="0"/>
              </a:rPr>
              <a:t>Define Balanced Scorecard</a:t>
            </a:r>
            <a:r>
              <a:rPr kumimoji="0" lang="en-GB" sz="1050" u="none" strike="noStrike" kern="1200" cap="none" spc="0" normalizeH="0" dirty="0">
                <a:ln>
                  <a:noFill/>
                </a:ln>
                <a:effectLst/>
                <a:uLnTx/>
                <a:uFillTx/>
                <a:cs typeface="Open Sans SemiBold" panose="020B0606030504020204" pitchFamily="34" charset="0"/>
              </a:rPr>
              <a:t> (BSC)</a:t>
            </a:r>
            <a:r>
              <a:rPr kumimoji="0" lang="en-GB" sz="1050" u="none" strike="noStrike" kern="1200" cap="none" spc="0" normalizeH="0" baseline="0" dirty="0">
                <a:ln>
                  <a:noFill/>
                </a:ln>
                <a:effectLst/>
                <a:uLnTx/>
                <a:uFillTx/>
                <a:cs typeface="Open Sans SemiBold" panose="020B0606030504020204" pitchFamily="34" charset="0"/>
              </a:rPr>
              <a:t> framework (key areas and strategic objectives)</a:t>
            </a:r>
          </a:p>
          <a:p>
            <a:pPr marL="228600" indent="-228600" defTabSz="914180" fontAlgn="base">
              <a:spcBef>
                <a:spcPts val="300"/>
              </a:spcBef>
              <a:spcAft>
                <a:spcPct val="0"/>
              </a:spcAft>
              <a:buFont typeface="+mj-lt"/>
              <a:buAutoNum type="arabicPeriod"/>
              <a:defRPr/>
            </a:pPr>
            <a:r>
              <a:rPr kumimoji="0" lang="en-GB" sz="1050" u="none" strike="noStrike" kern="1200" cap="none" spc="0" normalizeH="0" baseline="0" dirty="0">
                <a:ln>
                  <a:noFill/>
                </a:ln>
                <a:effectLst/>
                <a:uLnTx/>
                <a:uFillTx/>
                <a:cs typeface="Open Sans SemiBold" panose="020B0606030504020204" pitchFamily="34" charset="0"/>
              </a:rPr>
              <a:t>Develop KPI longlist for each function based on Deloitte’s enterprise</a:t>
            </a:r>
            <a:r>
              <a:rPr kumimoji="0" lang="en-GB" sz="1050" u="none" strike="noStrike" kern="1200" cap="none" spc="0" normalizeH="0" dirty="0">
                <a:ln>
                  <a:noFill/>
                </a:ln>
                <a:effectLst/>
                <a:uLnTx/>
                <a:uFillTx/>
                <a:cs typeface="Open Sans SemiBold" panose="020B0606030504020204" pitchFamily="34" charset="0"/>
              </a:rPr>
              <a:t> </a:t>
            </a:r>
            <a:r>
              <a:rPr kumimoji="0" lang="en-GB" sz="1050" u="none" strike="noStrike" kern="1200" cap="none" spc="0" normalizeH="0" baseline="0" dirty="0">
                <a:ln>
                  <a:noFill/>
                </a:ln>
                <a:effectLst/>
                <a:uLnTx/>
                <a:uFillTx/>
                <a:cs typeface="Open Sans SemiBold" panose="020B0606030504020204" pitchFamily="34" charset="0"/>
              </a:rPr>
              <a:t>value map</a:t>
            </a:r>
          </a:p>
          <a:p>
            <a:pPr marL="228600" indent="-228600" defTabSz="914180" fontAlgn="base">
              <a:spcBef>
                <a:spcPts val="300"/>
              </a:spcBef>
              <a:spcAft>
                <a:spcPct val="0"/>
              </a:spcAft>
              <a:buFont typeface="+mj-lt"/>
              <a:buAutoNum type="arabicPeriod"/>
              <a:defRPr/>
            </a:pPr>
            <a:r>
              <a:rPr lang="en-GB" sz="1050" dirty="0">
                <a:cs typeface="Open Sans SemiBold" panose="020B0606030504020204" pitchFamily="34" charset="0"/>
              </a:rPr>
              <a:t>Prioritize</a:t>
            </a:r>
            <a:r>
              <a:rPr lang="en-GB" sz="1050" dirty="0">
                <a:solidFill>
                  <a:srgbClr val="FF0000"/>
                </a:solidFill>
                <a:cs typeface="Open Sans SemiBold" panose="020B0606030504020204" pitchFamily="34" charset="0"/>
              </a:rPr>
              <a:t> </a:t>
            </a:r>
            <a:r>
              <a:rPr lang="en-GB" sz="1050" dirty="0">
                <a:cs typeface="Open Sans SemiBold" panose="020B0606030504020204" pitchFamily="34" charset="0"/>
              </a:rPr>
              <a:t>(based on their contribution to the strategic objectives and measurement complexity) KPIs and c</a:t>
            </a:r>
            <a:r>
              <a:rPr kumimoji="0" lang="en-GB" sz="1050" u="none" strike="noStrike" kern="1200" cap="none" spc="0" normalizeH="0" baseline="0" dirty="0">
                <a:ln>
                  <a:noFill/>
                </a:ln>
                <a:effectLst/>
                <a:uLnTx/>
                <a:uFillTx/>
                <a:cs typeface="Open Sans SemiBold" panose="020B0606030504020204" pitchFamily="34" charset="0"/>
              </a:rPr>
              <a:t>reate personalized KPI shortlists for each function² </a:t>
            </a:r>
            <a:r>
              <a:rPr lang="en-GB" sz="1050" dirty="0">
                <a:cs typeface="Open Sans SemiBold" panose="020B0606030504020204" pitchFamily="34" charset="0"/>
              </a:rPr>
              <a:t>through interviews and workshops</a:t>
            </a:r>
          </a:p>
          <a:p>
            <a:pPr marL="228600" indent="-228600" defTabSz="914180" fontAlgn="base">
              <a:spcBef>
                <a:spcPts val="300"/>
              </a:spcBef>
              <a:spcAft>
                <a:spcPct val="0"/>
              </a:spcAft>
              <a:buFont typeface="+mj-lt"/>
              <a:buAutoNum type="arabicPeriod"/>
              <a:defRPr/>
            </a:pPr>
            <a:r>
              <a:rPr lang="en-GB" sz="1050" dirty="0">
                <a:cs typeface="Open Sans SemiBold" panose="020B0606030504020204" pitchFamily="34" charset="0"/>
              </a:rPr>
              <a:t>Develop KPI cards (KPI definition, measurement method and governance)</a:t>
            </a:r>
            <a:r>
              <a:rPr lang="en-GB" sz="1050" baseline="30000" dirty="0">
                <a:cs typeface="Open Sans SemiBold" panose="020B0606030504020204" pitchFamily="34" charset="0"/>
              </a:rPr>
              <a:t>3</a:t>
            </a:r>
          </a:p>
          <a:p>
            <a:pPr marL="228600" indent="-228600" defTabSz="914180" fontAlgn="base">
              <a:spcBef>
                <a:spcPts val="300"/>
              </a:spcBef>
              <a:spcAft>
                <a:spcPct val="0"/>
              </a:spcAft>
              <a:buFont typeface="+mj-lt"/>
              <a:buAutoNum type="arabicPeriod"/>
              <a:defRPr/>
            </a:pPr>
            <a:r>
              <a:rPr kumimoji="0" lang="en-GB" sz="1050" u="none" strike="noStrike" kern="1200" cap="none" spc="0" normalizeH="0" baseline="0" dirty="0">
                <a:ln>
                  <a:noFill/>
                </a:ln>
                <a:effectLst/>
                <a:uLnTx/>
                <a:uFillTx/>
                <a:cs typeface="Open Sans SemiBold" panose="020B0606030504020204" pitchFamily="34" charset="0"/>
              </a:rPr>
              <a:t>Validation of KPI cards</a:t>
            </a:r>
          </a:p>
          <a:p>
            <a:pPr marL="228600" indent="-228600" defTabSz="914180" fontAlgn="base">
              <a:spcBef>
                <a:spcPts val="300"/>
              </a:spcBef>
              <a:spcAft>
                <a:spcPct val="0"/>
              </a:spcAft>
              <a:buFont typeface="+mj-lt"/>
              <a:buAutoNum type="arabicPeriod"/>
              <a:defRPr/>
            </a:pPr>
            <a:r>
              <a:rPr lang="en-GB" sz="1050" dirty="0">
                <a:cs typeface="Open Sans SemiBold" panose="020B0606030504020204" pitchFamily="34" charset="0"/>
              </a:rPr>
              <a:t>Define reporting structure and output through management workshop</a:t>
            </a:r>
          </a:p>
          <a:p>
            <a:pPr marL="228600" indent="-228600" defTabSz="914180" fontAlgn="base">
              <a:spcBef>
                <a:spcPts val="300"/>
              </a:spcBef>
              <a:spcAft>
                <a:spcPct val="0"/>
              </a:spcAft>
              <a:buFont typeface="+mj-lt"/>
              <a:buAutoNum type="arabicPeriod"/>
              <a:defRPr/>
            </a:pPr>
            <a:r>
              <a:rPr lang="en-GB" sz="1050" dirty="0">
                <a:cs typeface="Open Sans SemiBold" panose="020B0606030504020204" pitchFamily="34" charset="0"/>
              </a:rPr>
              <a:t>Create initial framework for KPI dashboard</a:t>
            </a:r>
          </a:p>
          <a:p>
            <a:pPr marL="228600" indent="-228600" defTabSz="914180" fontAlgn="base">
              <a:spcBef>
                <a:spcPts val="300"/>
              </a:spcBef>
              <a:spcAft>
                <a:spcPct val="0"/>
              </a:spcAft>
              <a:buFont typeface="+mj-lt"/>
              <a:buAutoNum type="arabicPeriod"/>
              <a:defRPr/>
            </a:pPr>
            <a:r>
              <a:rPr lang="en-GB" sz="1050" dirty="0">
                <a:cs typeface="Open Sans SemiBold" panose="020B0606030504020204" pitchFamily="34" charset="0"/>
              </a:rPr>
              <a:t>Define detailed KPI governance model for performance management (roles, premising system indication) </a:t>
            </a:r>
          </a:p>
          <a:p>
            <a:pPr defTabSz="914180" fontAlgn="base">
              <a:spcBef>
                <a:spcPts val="300"/>
              </a:spcBef>
              <a:spcAft>
                <a:spcPct val="0"/>
              </a:spcAft>
              <a:defRPr/>
            </a:pPr>
            <a:endParaRPr kumimoji="0" lang="en-GB" sz="1050" u="none" strike="noStrike" kern="1200" cap="none" spc="0" normalizeH="0" baseline="0" dirty="0">
              <a:ln>
                <a:noFill/>
              </a:ln>
              <a:effectLst/>
              <a:uLnTx/>
              <a:uFillTx/>
              <a:cs typeface="Open Sans SemiBold" panose="020B0606030504020204" pitchFamily="34" charset="0"/>
            </a:endParaRPr>
          </a:p>
        </p:txBody>
      </p:sp>
      <p:sp>
        <p:nvSpPr>
          <p:cNvPr id="51" name="Rectangle 50">
            <a:extLst>
              <a:ext uri="{FF2B5EF4-FFF2-40B4-BE49-F238E27FC236}">
                <a16:creationId xmlns:a16="http://schemas.microsoft.com/office/drawing/2014/main" id="{E46D8C41-F06F-63BE-57ED-3E3127227496}"/>
              </a:ext>
            </a:extLst>
          </p:cNvPr>
          <p:cNvSpPr/>
          <p:nvPr/>
        </p:nvSpPr>
        <p:spPr>
          <a:xfrm>
            <a:off x="5116627" y="1877649"/>
            <a:ext cx="3875416" cy="261610"/>
          </a:xfrm>
          <a:prstGeom prst="rect">
            <a:avLst/>
          </a:prstGeom>
        </p:spPr>
        <p:txBody>
          <a:bodyPr wrap="square" lIns="0" rIns="0" anchor="t">
            <a:spAutoFit/>
          </a:bodyPr>
          <a:lstStyle/>
          <a:p>
            <a:pPr lvl="0" defTabSz="914180" fontAlgn="base">
              <a:spcBef>
                <a:spcPct val="0"/>
              </a:spcBef>
              <a:spcAft>
                <a:spcPct val="0"/>
              </a:spcAft>
              <a:defRPr/>
            </a:pPr>
            <a:r>
              <a:rPr lang="en-GB" sz="1050" b="1" dirty="0">
                <a:cs typeface="Open Sans SemiBold" panose="020B0606030504020204" pitchFamily="34" charset="0"/>
              </a:rPr>
              <a:t>KPI system design</a:t>
            </a:r>
          </a:p>
        </p:txBody>
      </p:sp>
      <p:sp>
        <p:nvSpPr>
          <p:cNvPr id="52" name="Oval 51">
            <a:extLst>
              <a:ext uri="{FF2B5EF4-FFF2-40B4-BE49-F238E27FC236}">
                <a16:creationId xmlns:a16="http://schemas.microsoft.com/office/drawing/2014/main" id="{F4CF527E-7A56-612B-D1F2-228ECFC16C16}"/>
              </a:ext>
            </a:extLst>
          </p:cNvPr>
          <p:cNvSpPr/>
          <p:nvPr/>
        </p:nvSpPr>
        <p:spPr>
          <a:xfrm>
            <a:off x="4754322" y="5202084"/>
            <a:ext cx="457200" cy="45720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a:ln>
                  <a:noFill/>
                </a:ln>
                <a:solidFill>
                  <a:srgbClr val="000000"/>
                </a:solidFill>
                <a:effectLst/>
                <a:uLnTx/>
                <a:uFillTx/>
                <a:ea typeface="+mn-ea"/>
                <a:cs typeface="+mn-cs"/>
              </a:rPr>
              <a:t>2</a:t>
            </a:r>
          </a:p>
        </p:txBody>
      </p:sp>
      <p:sp>
        <p:nvSpPr>
          <p:cNvPr id="53" name="Freeform 29">
            <a:extLst>
              <a:ext uri="{FF2B5EF4-FFF2-40B4-BE49-F238E27FC236}">
                <a16:creationId xmlns:a16="http://schemas.microsoft.com/office/drawing/2014/main" id="{A2D1507C-589E-5549-BE13-C43DA8FF9253}"/>
              </a:ext>
            </a:extLst>
          </p:cNvPr>
          <p:cNvSpPr>
            <a:spLocks noEditPoints="1"/>
          </p:cNvSpPr>
          <p:nvPr/>
        </p:nvSpPr>
        <p:spPr bwMode="auto">
          <a:xfrm>
            <a:off x="4821337" y="1598140"/>
            <a:ext cx="285766" cy="276836"/>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srgbClr val="000000"/>
              </a:solidFill>
              <a:effectLst/>
              <a:uLnTx/>
              <a:uFillTx/>
              <a:latin typeface="Open Sans"/>
              <a:ea typeface="+mn-ea"/>
              <a:cs typeface="+mn-cs"/>
            </a:endParaRPr>
          </a:p>
        </p:txBody>
      </p:sp>
      <p:sp>
        <p:nvSpPr>
          <p:cNvPr id="54" name="Rectangle 53">
            <a:extLst>
              <a:ext uri="{FF2B5EF4-FFF2-40B4-BE49-F238E27FC236}">
                <a16:creationId xmlns:a16="http://schemas.microsoft.com/office/drawing/2014/main" id="{01D3BF32-DF89-7FA1-41FD-97E2C9695AC1}"/>
              </a:ext>
            </a:extLst>
          </p:cNvPr>
          <p:cNvSpPr/>
          <p:nvPr/>
        </p:nvSpPr>
        <p:spPr>
          <a:xfrm>
            <a:off x="9405874" y="5436372"/>
            <a:ext cx="1999619" cy="941883"/>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5720" rIns="0" bIns="0" rtlCol="0" anchor="t"/>
          <a:lstStyle/>
          <a:p>
            <a:pPr>
              <a:spcAft>
                <a:spcPts val="500"/>
              </a:spcAft>
              <a:defRPr/>
            </a:pPr>
            <a:endParaRPr lang="en-GB" sz="1050">
              <a:solidFill>
                <a:srgbClr val="000000"/>
              </a:solidFill>
            </a:endParaRPr>
          </a:p>
        </p:txBody>
      </p:sp>
      <p:sp>
        <p:nvSpPr>
          <p:cNvPr id="55" name="Rectangle 54">
            <a:extLst>
              <a:ext uri="{FF2B5EF4-FFF2-40B4-BE49-F238E27FC236}">
                <a16:creationId xmlns:a16="http://schemas.microsoft.com/office/drawing/2014/main" id="{C669D608-EB88-13CC-F13A-859952C117D4}"/>
              </a:ext>
            </a:extLst>
          </p:cNvPr>
          <p:cNvSpPr/>
          <p:nvPr/>
        </p:nvSpPr>
        <p:spPr>
          <a:xfrm>
            <a:off x="9482294" y="2289803"/>
            <a:ext cx="1777230" cy="2308324"/>
          </a:xfrm>
          <a:prstGeom prst="rect">
            <a:avLst/>
          </a:prstGeom>
        </p:spPr>
        <p:txBody>
          <a:bodyPr wrap="square" lIns="0" rIns="0" anchor="t">
            <a:spAutoFit/>
          </a:bodyPr>
          <a:lstStyle/>
          <a:p>
            <a:pPr marL="228600" marR="0" lvl="0" indent="-228600" algn="l" defTabSz="914180" eaLnBrk="1" fontAlgn="base" latinLnBrk="0" hangingPunct="1">
              <a:lnSpc>
                <a:spcPct val="100000"/>
              </a:lnSpc>
              <a:spcBef>
                <a:spcPts val="300"/>
              </a:spcBef>
              <a:spcAft>
                <a:spcPct val="0"/>
              </a:spcAft>
              <a:buClrTx/>
              <a:buSzTx/>
              <a:buFont typeface="+mj-lt"/>
              <a:buAutoNum type="arabicPeriod"/>
              <a:tabLst/>
              <a:defRPr/>
            </a:pPr>
            <a:r>
              <a:rPr kumimoji="0" lang="en-GB" sz="1050" u="none" strike="noStrike" kern="1200" cap="none" spc="0" normalizeH="0" baseline="0" dirty="0">
                <a:ln>
                  <a:noFill/>
                </a:ln>
                <a:effectLst/>
                <a:uLnTx/>
                <a:uFillTx/>
                <a:cs typeface="Open Sans SemiBold" panose="020B0606030504020204" pitchFamily="34" charset="0"/>
              </a:rPr>
              <a:t>Define implementation sprints for 202</a:t>
            </a:r>
            <a:r>
              <a:rPr kumimoji="0" lang="hu-HU" sz="1050" u="none" strike="noStrike" kern="1200" cap="none" spc="0" normalizeH="0" baseline="0" dirty="0">
                <a:ln>
                  <a:noFill/>
                </a:ln>
                <a:effectLst/>
                <a:uLnTx/>
                <a:uFillTx/>
                <a:cs typeface="Open Sans SemiBold" panose="020B0606030504020204" pitchFamily="34" charset="0"/>
              </a:rPr>
              <a:t>2</a:t>
            </a:r>
            <a:r>
              <a:rPr kumimoji="0" lang="en-GB" sz="1050" u="none" strike="noStrike" kern="1200" cap="none" spc="0" normalizeH="0" baseline="0" dirty="0">
                <a:ln>
                  <a:noFill/>
                </a:ln>
                <a:effectLst/>
                <a:uLnTx/>
                <a:uFillTx/>
                <a:cs typeface="Open Sans SemiBold" panose="020B0606030504020204" pitchFamily="34" charset="0"/>
              </a:rPr>
              <a:t> in line</a:t>
            </a:r>
            <a:r>
              <a:rPr kumimoji="0" lang="en-GB" sz="1050" u="none" strike="noStrike" kern="1200" cap="none" spc="0" normalizeH="0" dirty="0">
                <a:ln>
                  <a:noFill/>
                </a:ln>
                <a:effectLst/>
                <a:uLnTx/>
                <a:uFillTx/>
                <a:cs typeface="Open Sans SemiBold" panose="020B0606030504020204" pitchFamily="34" charset="0"/>
              </a:rPr>
              <a:t> with pre-defined priorities</a:t>
            </a:r>
            <a:endParaRPr kumimoji="0" lang="en-GB" sz="1050" u="none" strike="noStrike" kern="1200" cap="none" spc="0" normalizeH="0" baseline="0" dirty="0">
              <a:ln>
                <a:noFill/>
              </a:ln>
              <a:effectLst/>
              <a:uLnTx/>
              <a:uFillTx/>
              <a:cs typeface="Open Sans SemiBold" panose="020B0606030504020204" pitchFamily="34" charset="0"/>
            </a:endParaRPr>
          </a:p>
          <a:p>
            <a:pPr marL="228600" marR="0" lvl="0" indent="-228600" algn="l" defTabSz="914180" eaLnBrk="1" fontAlgn="base" latinLnBrk="0" hangingPunct="1">
              <a:lnSpc>
                <a:spcPct val="100000"/>
              </a:lnSpc>
              <a:spcBef>
                <a:spcPts val="300"/>
              </a:spcBef>
              <a:spcAft>
                <a:spcPct val="0"/>
              </a:spcAft>
              <a:buClrTx/>
              <a:buSzTx/>
              <a:buFont typeface="+mj-lt"/>
              <a:buAutoNum type="arabicPeriod"/>
              <a:tabLst/>
              <a:defRPr/>
            </a:pPr>
            <a:r>
              <a:rPr lang="en-GB" sz="1050" dirty="0">
                <a:cs typeface="Open Sans SemiBold" panose="020B0606030504020204" pitchFamily="34" charset="0"/>
              </a:rPr>
              <a:t>Evaluate implementation concept through </a:t>
            </a:r>
            <a:r>
              <a:rPr lang="en-GB" sz="1050" dirty="0">
                <a:solidFill>
                  <a:prstClr val="black"/>
                </a:solidFill>
                <a:cs typeface="Open Sans SemiBold" panose="020B0606030504020204" pitchFamily="34" charset="0"/>
              </a:rPr>
              <a:t>management workshop</a:t>
            </a:r>
          </a:p>
          <a:p>
            <a:pPr marL="228600" marR="0" lvl="0" indent="-228600" algn="l" defTabSz="914180" eaLnBrk="1" fontAlgn="base" latinLnBrk="0" hangingPunct="1">
              <a:lnSpc>
                <a:spcPct val="100000"/>
              </a:lnSpc>
              <a:spcBef>
                <a:spcPts val="300"/>
              </a:spcBef>
              <a:spcAft>
                <a:spcPct val="0"/>
              </a:spcAft>
              <a:buClrTx/>
              <a:buSzTx/>
              <a:buFont typeface="+mj-lt"/>
              <a:buAutoNum type="arabicPeriod"/>
              <a:tabLst/>
              <a:defRPr/>
            </a:pPr>
            <a:r>
              <a:rPr kumimoji="0" lang="en-GB" sz="1050" u="none" strike="noStrike" kern="1200" cap="none" spc="0" normalizeH="0" baseline="0" dirty="0">
                <a:ln>
                  <a:noFill/>
                </a:ln>
                <a:effectLst/>
                <a:uLnTx/>
                <a:uFillTx/>
                <a:cs typeface="Open Sans SemiBold" panose="020B0606030504020204" pitchFamily="34" charset="0"/>
              </a:rPr>
              <a:t>Define </a:t>
            </a:r>
            <a:r>
              <a:rPr lang="en-GB" sz="1050" dirty="0">
                <a:cs typeface="Open Sans SemiBold" panose="020B0606030504020204" pitchFamily="34" charset="0"/>
              </a:rPr>
              <a:t>a detailed sprint-based implementation roadmap for 202</a:t>
            </a:r>
            <a:r>
              <a:rPr lang="hu-HU" sz="1050" dirty="0">
                <a:cs typeface="Open Sans SemiBold" panose="020B0606030504020204" pitchFamily="34" charset="0"/>
              </a:rPr>
              <a:t>2</a:t>
            </a:r>
            <a:r>
              <a:rPr lang="en-GB" sz="1050" dirty="0">
                <a:cs typeface="Open Sans SemiBold" panose="020B0606030504020204" pitchFamily="34" charset="0"/>
              </a:rPr>
              <a:t> including </a:t>
            </a:r>
            <a:r>
              <a:rPr lang="en-GB" sz="1050" dirty="0"/>
              <a:t>actions and pre-requisites, RACI and implementation timeline</a:t>
            </a:r>
            <a:endParaRPr kumimoji="0" lang="en-GB" sz="1050" u="none" strike="noStrike" kern="1200" cap="none" spc="0" normalizeH="0" baseline="0" dirty="0">
              <a:ln>
                <a:noFill/>
              </a:ln>
              <a:effectLst/>
              <a:uLnTx/>
              <a:uFillTx/>
              <a:cs typeface="Open Sans SemiBold" panose="020B0606030504020204" pitchFamily="34" charset="0"/>
            </a:endParaRPr>
          </a:p>
          <a:p>
            <a:pPr marR="0" lvl="0" algn="l" defTabSz="914180" eaLnBrk="1" fontAlgn="base" latinLnBrk="0" hangingPunct="1">
              <a:lnSpc>
                <a:spcPct val="100000"/>
              </a:lnSpc>
              <a:spcBef>
                <a:spcPts val="300"/>
              </a:spcBef>
              <a:spcAft>
                <a:spcPct val="0"/>
              </a:spcAft>
              <a:buClrTx/>
              <a:buSzTx/>
              <a:tabLst/>
              <a:defRPr/>
            </a:pPr>
            <a:endParaRPr kumimoji="0" lang="en-GB" sz="1050" u="none" strike="noStrike" kern="1200" cap="none" spc="0" normalizeH="0" baseline="0" dirty="0">
              <a:ln>
                <a:noFill/>
              </a:ln>
              <a:solidFill>
                <a:prstClr val="black"/>
              </a:solidFill>
              <a:effectLst/>
              <a:uLnTx/>
              <a:uFillTx/>
              <a:cs typeface="Open Sans SemiBold" panose="020B0606030504020204" pitchFamily="34" charset="0"/>
            </a:endParaRPr>
          </a:p>
        </p:txBody>
      </p:sp>
      <p:sp>
        <p:nvSpPr>
          <p:cNvPr id="56" name="Rectangle 55">
            <a:extLst>
              <a:ext uri="{FF2B5EF4-FFF2-40B4-BE49-F238E27FC236}">
                <a16:creationId xmlns:a16="http://schemas.microsoft.com/office/drawing/2014/main" id="{2BF25BF0-986F-D502-638F-88A9A6E02F47}"/>
              </a:ext>
            </a:extLst>
          </p:cNvPr>
          <p:cNvSpPr/>
          <p:nvPr/>
        </p:nvSpPr>
        <p:spPr>
          <a:xfrm>
            <a:off x="9598164" y="1877649"/>
            <a:ext cx="1546972" cy="253916"/>
          </a:xfrm>
          <a:prstGeom prst="rect">
            <a:avLst/>
          </a:prstGeom>
        </p:spPr>
        <p:txBody>
          <a:bodyPr wrap="square" lIns="0" rIns="0" anchor="t">
            <a:spAutoFit/>
          </a:bodyPr>
          <a:lstStyle/>
          <a:p>
            <a:pPr marL="0" marR="0" lvl="0" indent="0" algn="l" defTabSz="914180" eaLnBrk="1" fontAlgn="base" latinLnBrk="0" hangingPunct="1">
              <a:lnSpc>
                <a:spcPct val="100000"/>
              </a:lnSpc>
              <a:spcBef>
                <a:spcPct val="0"/>
              </a:spcBef>
              <a:spcAft>
                <a:spcPct val="0"/>
              </a:spcAft>
              <a:buClrTx/>
              <a:buSzTx/>
              <a:buFontTx/>
              <a:buNone/>
              <a:tabLst/>
              <a:defRPr/>
            </a:pPr>
            <a:r>
              <a:rPr kumimoji="0" lang="en-GB" sz="1050" b="1" u="none" strike="noStrike" kern="1200" cap="none" spc="0" normalizeH="0" baseline="0" dirty="0">
                <a:ln>
                  <a:noFill/>
                </a:ln>
                <a:solidFill>
                  <a:prstClr val="black"/>
                </a:solidFill>
                <a:effectLst/>
                <a:uLnTx/>
                <a:uFillTx/>
                <a:ea typeface="+mn-ea"/>
                <a:cs typeface="Open Sans SemiBold" panose="020B0606030504020204" pitchFamily="34" charset="0"/>
              </a:rPr>
              <a:t>Implementation planning</a:t>
            </a:r>
          </a:p>
        </p:txBody>
      </p:sp>
      <p:sp>
        <p:nvSpPr>
          <p:cNvPr id="57" name="Oval 56">
            <a:extLst>
              <a:ext uri="{FF2B5EF4-FFF2-40B4-BE49-F238E27FC236}">
                <a16:creationId xmlns:a16="http://schemas.microsoft.com/office/drawing/2014/main" id="{F8B1526B-417C-E592-F15E-82CD6964AB48}"/>
              </a:ext>
            </a:extLst>
          </p:cNvPr>
          <p:cNvSpPr/>
          <p:nvPr/>
        </p:nvSpPr>
        <p:spPr>
          <a:xfrm>
            <a:off x="9191787" y="5202084"/>
            <a:ext cx="457200" cy="457200"/>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a:ln>
                  <a:noFill/>
                </a:ln>
                <a:solidFill>
                  <a:srgbClr val="000000"/>
                </a:solidFill>
                <a:effectLst/>
                <a:uLnTx/>
                <a:uFillTx/>
                <a:ea typeface="+mn-ea"/>
                <a:cs typeface="+mn-cs"/>
              </a:rPr>
              <a:t>3</a:t>
            </a:r>
          </a:p>
        </p:txBody>
      </p:sp>
      <p:sp>
        <p:nvSpPr>
          <p:cNvPr id="58" name="Freeform 809">
            <a:extLst>
              <a:ext uri="{FF2B5EF4-FFF2-40B4-BE49-F238E27FC236}">
                <a16:creationId xmlns:a16="http://schemas.microsoft.com/office/drawing/2014/main" id="{CA798B86-8547-8374-E169-9A74C6DD932F}"/>
              </a:ext>
            </a:extLst>
          </p:cNvPr>
          <p:cNvSpPr>
            <a:spLocks noEditPoints="1"/>
          </p:cNvSpPr>
          <p:nvPr/>
        </p:nvSpPr>
        <p:spPr bwMode="auto">
          <a:xfrm>
            <a:off x="9280631" y="1603824"/>
            <a:ext cx="246701" cy="265471"/>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srgbClr val="000000"/>
              </a:solidFill>
              <a:effectLst/>
              <a:uLnTx/>
              <a:uFillTx/>
              <a:latin typeface="Open Sans"/>
              <a:ea typeface="+mn-ea"/>
              <a:cs typeface="+mn-cs"/>
            </a:endParaRPr>
          </a:p>
        </p:txBody>
      </p:sp>
      <p:sp>
        <p:nvSpPr>
          <p:cNvPr id="59" name="Rectangle 58">
            <a:extLst>
              <a:ext uri="{FF2B5EF4-FFF2-40B4-BE49-F238E27FC236}">
                <a16:creationId xmlns:a16="http://schemas.microsoft.com/office/drawing/2014/main" id="{0652657F-A63C-8DD2-807D-5EC5DF5D1514}"/>
              </a:ext>
            </a:extLst>
          </p:cNvPr>
          <p:cNvSpPr/>
          <p:nvPr/>
        </p:nvSpPr>
        <p:spPr>
          <a:xfrm>
            <a:off x="1653737" y="5452409"/>
            <a:ext cx="3033077" cy="93195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5720" rIns="0" bIns="0" rtlCol="0" anchor="t"/>
          <a:lstStyle/>
          <a:p>
            <a:pPr>
              <a:spcAft>
                <a:spcPts val="500"/>
              </a:spcAft>
              <a:tabLst>
                <a:tab pos="1485900" algn="l"/>
              </a:tabLst>
              <a:defRPr/>
            </a:pPr>
            <a:endParaRPr lang="en-GB" sz="1050">
              <a:solidFill>
                <a:schemeClr val="tx1"/>
              </a:solidFill>
            </a:endParaRPr>
          </a:p>
        </p:txBody>
      </p:sp>
      <p:sp>
        <p:nvSpPr>
          <p:cNvPr id="60" name="Oval 59">
            <a:extLst>
              <a:ext uri="{FF2B5EF4-FFF2-40B4-BE49-F238E27FC236}">
                <a16:creationId xmlns:a16="http://schemas.microsoft.com/office/drawing/2014/main" id="{C96847FC-180F-973A-54BE-88312B2DCCCC}"/>
              </a:ext>
            </a:extLst>
          </p:cNvPr>
          <p:cNvSpPr/>
          <p:nvPr/>
        </p:nvSpPr>
        <p:spPr>
          <a:xfrm>
            <a:off x="1319012" y="5202084"/>
            <a:ext cx="457200" cy="4572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50">
                <a:solidFill>
                  <a:srgbClr val="000000"/>
                </a:solidFill>
              </a:rPr>
              <a:t>1</a:t>
            </a:r>
            <a:endParaRPr kumimoji="0" lang="en-GB" sz="1050" b="0" i="0" u="none" strike="noStrike" kern="1200" cap="none" spc="0" normalizeH="0" baseline="0">
              <a:ln>
                <a:noFill/>
              </a:ln>
              <a:solidFill>
                <a:srgbClr val="000000"/>
              </a:solidFill>
              <a:effectLst/>
              <a:uLnTx/>
              <a:uFillTx/>
            </a:endParaRPr>
          </a:p>
        </p:txBody>
      </p:sp>
      <p:sp>
        <p:nvSpPr>
          <p:cNvPr id="61" name="Rectangle 60">
            <a:extLst>
              <a:ext uri="{FF2B5EF4-FFF2-40B4-BE49-F238E27FC236}">
                <a16:creationId xmlns:a16="http://schemas.microsoft.com/office/drawing/2014/main" id="{319B909B-FC84-754B-AF78-D181552E0C10}"/>
              </a:ext>
            </a:extLst>
          </p:cNvPr>
          <p:cNvSpPr/>
          <p:nvPr/>
        </p:nvSpPr>
        <p:spPr>
          <a:xfrm>
            <a:off x="1719732" y="2289803"/>
            <a:ext cx="2902509" cy="2669962"/>
          </a:xfrm>
          <a:prstGeom prst="rect">
            <a:avLst/>
          </a:prstGeom>
        </p:spPr>
        <p:txBody>
          <a:bodyPr wrap="square" lIns="0" rIns="0" anchor="t">
            <a:spAutoFit/>
          </a:bodyPr>
          <a:lstStyle/>
          <a:p>
            <a:pPr marL="228600" marR="0" lvl="0" indent="-228600" algn="l" defTabSz="914180" eaLnBrk="1" fontAlgn="base" latinLnBrk="0" hangingPunct="1">
              <a:lnSpc>
                <a:spcPct val="100000"/>
              </a:lnSpc>
              <a:spcBef>
                <a:spcPts val="300"/>
              </a:spcBef>
              <a:spcAft>
                <a:spcPct val="0"/>
              </a:spcAft>
              <a:buClrTx/>
              <a:buSzTx/>
              <a:buFont typeface="+mj-lt"/>
              <a:buAutoNum type="arabicPeriod"/>
              <a:tabLst/>
              <a:defRPr/>
            </a:pPr>
            <a:r>
              <a:rPr kumimoji="0" lang="en-GB" sz="1050" u="none" strike="noStrike" kern="1200" cap="none" spc="0" normalizeH="0" baseline="0" dirty="0">
                <a:ln>
                  <a:noFill/>
                </a:ln>
                <a:effectLst/>
                <a:uLnTx/>
                <a:uFillTx/>
                <a:ea typeface="+mn-ea"/>
                <a:cs typeface="Open Sans SemiBold" panose="020B0606030504020204" pitchFamily="34" charset="0"/>
              </a:rPr>
              <a:t>Gain understanding on management aspirations </a:t>
            </a:r>
            <a:r>
              <a:rPr lang="en-GB" sz="1050" dirty="0">
                <a:cs typeface="Open Sans SemiBold" panose="020B0606030504020204" pitchFamily="34" charset="0"/>
              </a:rPr>
              <a:t>and</a:t>
            </a:r>
            <a:r>
              <a:rPr kumimoji="0" lang="en-GB" sz="1050" u="none" strike="noStrike" kern="1200" cap="none" spc="0" normalizeH="0" baseline="0" dirty="0">
                <a:ln>
                  <a:noFill/>
                </a:ln>
                <a:effectLst/>
                <a:uLnTx/>
                <a:uFillTx/>
                <a:ea typeface="+mn-ea"/>
                <a:cs typeface="Open Sans SemiBold" panose="020B0606030504020204" pitchFamily="34" charset="0"/>
              </a:rPr>
              <a:t> operations </a:t>
            </a:r>
          </a:p>
          <a:p>
            <a:pPr marL="228600" indent="-228600" defTabSz="914180" fontAlgn="base">
              <a:spcBef>
                <a:spcPts val="300"/>
              </a:spcBef>
              <a:spcAft>
                <a:spcPct val="0"/>
              </a:spcAft>
              <a:buFont typeface="+mj-lt"/>
              <a:buAutoNum type="arabicPeriod"/>
              <a:defRPr/>
            </a:pPr>
            <a:r>
              <a:rPr lang="en-GB" sz="1050" dirty="0">
                <a:cs typeface="Open Sans SemiBold" panose="020B0606030504020204" pitchFamily="34" charset="0"/>
              </a:rPr>
              <a:t>Understand the current strategic objectives along the 4 dimensions of the BSC through info-request and management workshop</a:t>
            </a:r>
            <a:endParaRPr kumimoji="0" lang="en-GB" sz="1050" u="none" strike="noStrike" kern="1200" cap="none" spc="0" normalizeH="0" baseline="0" dirty="0">
              <a:ln>
                <a:noFill/>
              </a:ln>
              <a:effectLst/>
              <a:uLnTx/>
              <a:uFillTx/>
              <a:ea typeface="+mn-ea"/>
              <a:cs typeface="Open Sans SemiBold" panose="020B0606030504020204" pitchFamily="34" charset="0"/>
            </a:endParaRPr>
          </a:p>
          <a:p>
            <a:pPr marL="228600" marR="0" lvl="0" indent="-228600" algn="l" defTabSz="914180" eaLnBrk="1" fontAlgn="base" latinLnBrk="0" hangingPunct="1">
              <a:lnSpc>
                <a:spcPct val="100000"/>
              </a:lnSpc>
              <a:spcBef>
                <a:spcPts val="300"/>
              </a:spcBef>
              <a:spcAft>
                <a:spcPct val="0"/>
              </a:spcAft>
              <a:buClrTx/>
              <a:buSzTx/>
              <a:buFont typeface="+mj-lt"/>
              <a:buAutoNum type="arabicPeriod"/>
              <a:tabLst/>
              <a:defRPr/>
            </a:pPr>
            <a:r>
              <a:rPr kumimoji="0" lang="en-GB" sz="1050" u="none" strike="noStrike" kern="1200" cap="none" spc="0" normalizeH="0" baseline="0" dirty="0">
                <a:ln>
                  <a:noFill/>
                </a:ln>
                <a:effectLst/>
                <a:uLnTx/>
                <a:uFillTx/>
                <a:ea typeface="+mn-ea"/>
                <a:cs typeface="Open Sans SemiBold" panose="020B0606030504020204" pitchFamily="34" charset="0"/>
              </a:rPr>
              <a:t>Set a vision (expectations and goals) for developing the KPI system as well as creating a value proposition for the global performance management concept</a:t>
            </a:r>
            <a:r>
              <a:rPr lang="en-GB" sz="1050" dirty="0">
                <a:cs typeface="Open Sans SemiBold" panose="020B0606030504020204" pitchFamily="34" charset="0"/>
              </a:rPr>
              <a:t> via management workshops</a:t>
            </a:r>
          </a:p>
          <a:p>
            <a:pPr marL="228600" marR="0" lvl="0" indent="-228600" algn="l" defTabSz="914180" eaLnBrk="1" fontAlgn="base" latinLnBrk="0" hangingPunct="1">
              <a:lnSpc>
                <a:spcPct val="100000"/>
              </a:lnSpc>
              <a:spcBef>
                <a:spcPts val="300"/>
              </a:spcBef>
              <a:spcAft>
                <a:spcPct val="0"/>
              </a:spcAft>
              <a:buClrTx/>
              <a:buSzTx/>
              <a:buFont typeface="+mj-lt"/>
              <a:buAutoNum type="arabicPeriod"/>
              <a:tabLst/>
              <a:defRPr/>
            </a:pPr>
            <a:r>
              <a:rPr lang="en-GB" sz="1050" dirty="0">
                <a:cs typeface="Open Sans SemiBold" panose="020B0606030504020204" pitchFamily="34" charset="0"/>
              </a:rPr>
              <a:t>Detailed as-is analysis of current KPI system: stakeholders, current indicators and measurements, roles, responsibilities, processes, reports, reporting structure, premise system etc.</a:t>
            </a:r>
          </a:p>
          <a:p>
            <a:pPr marL="0" marR="0" lvl="0" indent="0" algn="l" defTabSz="914180" eaLnBrk="1" fontAlgn="base" latinLnBrk="0" hangingPunct="1">
              <a:lnSpc>
                <a:spcPct val="100000"/>
              </a:lnSpc>
              <a:spcBef>
                <a:spcPts val="300"/>
              </a:spcBef>
              <a:spcAft>
                <a:spcPct val="0"/>
              </a:spcAft>
              <a:buClrTx/>
              <a:buSzTx/>
              <a:buFontTx/>
              <a:buNone/>
              <a:tabLst/>
              <a:defRPr/>
            </a:pPr>
            <a:endParaRPr kumimoji="0" lang="en-GB" sz="1050" u="none" strike="noStrike" kern="1200" cap="none" spc="0" normalizeH="0" baseline="0" dirty="0">
              <a:ln>
                <a:noFill/>
              </a:ln>
              <a:effectLst/>
              <a:uLnTx/>
              <a:uFillTx/>
              <a:ea typeface="+mn-ea"/>
              <a:cs typeface="Open Sans SemiBold" panose="020B0606030504020204" pitchFamily="34" charset="0"/>
            </a:endParaRPr>
          </a:p>
        </p:txBody>
      </p:sp>
      <p:sp>
        <p:nvSpPr>
          <p:cNvPr id="62" name="Rectangle 61">
            <a:extLst>
              <a:ext uri="{FF2B5EF4-FFF2-40B4-BE49-F238E27FC236}">
                <a16:creationId xmlns:a16="http://schemas.microsoft.com/office/drawing/2014/main" id="{0EEDD152-6DC4-AEE0-AF4C-B6E6EDCC2243}"/>
              </a:ext>
            </a:extLst>
          </p:cNvPr>
          <p:cNvSpPr/>
          <p:nvPr/>
        </p:nvSpPr>
        <p:spPr>
          <a:xfrm>
            <a:off x="1762443" y="1877649"/>
            <a:ext cx="2971040" cy="415498"/>
          </a:xfrm>
          <a:prstGeom prst="rect">
            <a:avLst/>
          </a:prstGeom>
        </p:spPr>
        <p:txBody>
          <a:bodyPr wrap="square" lIns="0" rIns="0" anchor="t">
            <a:spAutoFit/>
          </a:bodyPr>
          <a:lstStyle/>
          <a:p>
            <a:pPr marL="0" marR="0" lvl="0" indent="0" algn="l" defTabSz="914180" eaLnBrk="1" fontAlgn="base" latinLnBrk="0" hangingPunct="1">
              <a:lnSpc>
                <a:spcPct val="100000"/>
              </a:lnSpc>
              <a:spcBef>
                <a:spcPct val="0"/>
              </a:spcBef>
              <a:spcAft>
                <a:spcPct val="0"/>
              </a:spcAft>
              <a:buClrTx/>
              <a:buSzTx/>
              <a:buFontTx/>
              <a:buNone/>
              <a:tabLst/>
              <a:defRPr/>
            </a:pPr>
            <a:r>
              <a:rPr kumimoji="0" lang="en-GB" sz="1050" b="1" u="none" strike="noStrike" kern="1200" cap="none" spc="0" normalizeH="0" baseline="0" dirty="0">
                <a:ln>
                  <a:noFill/>
                </a:ln>
                <a:solidFill>
                  <a:prstClr val="black"/>
                </a:solidFill>
                <a:effectLst/>
                <a:uLnTx/>
                <a:uFillTx/>
                <a:cs typeface="Open Sans SemiBold" panose="020B0606030504020204" pitchFamily="34" charset="0"/>
              </a:rPr>
              <a:t>KPI system vision and As-Is</a:t>
            </a:r>
            <a:r>
              <a:rPr lang="en-GB" sz="1050" b="1" dirty="0">
                <a:solidFill>
                  <a:prstClr val="black"/>
                </a:solidFill>
                <a:cs typeface="Open Sans SemiBold" panose="020B0606030504020204" pitchFamily="34" charset="0"/>
              </a:rPr>
              <a:t> analysis</a:t>
            </a:r>
            <a:r>
              <a:rPr kumimoji="0" lang="en-GB" sz="1050" b="1" u="none" strike="noStrike" kern="1200" cap="none" spc="0" normalizeH="0" baseline="0" dirty="0">
                <a:ln>
                  <a:noFill/>
                </a:ln>
                <a:solidFill>
                  <a:prstClr val="black"/>
                </a:solidFill>
                <a:effectLst/>
                <a:uLnTx/>
                <a:uFillTx/>
                <a:cs typeface="Open Sans SemiBold" panose="020B0606030504020204" pitchFamily="34" charset="0"/>
              </a:rPr>
              <a:t>, definition of objectives</a:t>
            </a:r>
            <a:r>
              <a:rPr lang="en-GB" sz="1050" b="1" dirty="0">
                <a:solidFill>
                  <a:prstClr val="black"/>
                </a:solidFill>
                <a:cs typeface="Open Sans SemiBold" panose="020B0606030504020204" pitchFamily="34" charset="0"/>
              </a:rPr>
              <a:t> and </a:t>
            </a:r>
            <a:r>
              <a:rPr kumimoji="0" lang="en-GB" sz="1050" b="1" u="none" strike="noStrike" kern="1200" cap="none" spc="0" normalizeH="0" baseline="0" dirty="0">
                <a:ln>
                  <a:noFill/>
                </a:ln>
                <a:solidFill>
                  <a:prstClr val="black"/>
                </a:solidFill>
                <a:effectLst/>
                <a:uLnTx/>
                <a:uFillTx/>
                <a:cs typeface="Open Sans SemiBold" panose="020B0606030504020204" pitchFamily="34" charset="0"/>
              </a:rPr>
              <a:t>operating principles</a:t>
            </a:r>
          </a:p>
        </p:txBody>
      </p:sp>
      <p:sp>
        <p:nvSpPr>
          <p:cNvPr id="63" name="Freeform 78">
            <a:extLst>
              <a:ext uri="{FF2B5EF4-FFF2-40B4-BE49-F238E27FC236}">
                <a16:creationId xmlns:a16="http://schemas.microsoft.com/office/drawing/2014/main" id="{1D23C12F-8761-283E-30F0-E92EDAE7022D}"/>
              </a:ext>
            </a:extLst>
          </p:cNvPr>
          <p:cNvSpPr>
            <a:spLocks noEditPoints="1"/>
          </p:cNvSpPr>
          <p:nvPr/>
        </p:nvSpPr>
        <p:spPr bwMode="auto">
          <a:xfrm>
            <a:off x="1408366" y="1618997"/>
            <a:ext cx="285766" cy="228537"/>
          </a:xfrm>
          <a:custGeom>
            <a:avLst/>
            <a:gdLst>
              <a:gd name="T0" fmla="*/ 309 w 320"/>
              <a:gd name="T1" fmla="*/ 0 h 256"/>
              <a:gd name="T2" fmla="*/ 10 w 320"/>
              <a:gd name="T3" fmla="*/ 0 h 256"/>
              <a:gd name="T4" fmla="*/ 0 w 320"/>
              <a:gd name="T5" fmla="*/ 11 h 256"/>
              <a:gd name="T6" fmla="*/ 0 w 320"/>
              <a:gd name="T7" fmla="*/ 54 h 256"/>
              <a:gd name="T8" fmla="*/ 10 w 320"/>
              <a:gd name="T9" fmla="*/ 64 h 256"/>
              <a:gd name="T10" fmla="*/ 21 w 320"/>
              <a:gd name="T11" fmla="*/ 64 h 256"/>
              <a:gd name="T12" fmla="*/ 21 w 320"/>
              <a:gd name="T13" fmla="*/ 246 h 256"/>
              <a:gd name="T14" fmla="*/ 32 w 320"/>
              <a:gd name="T15" fmla="*/ 256 h 256"/>
              <a:gd name="T16" fmla="*/ 288 w 320"/>
              <a:gd name="T17" fmla="*/ 256 h 256"/>
              <a:gd name="T18" fmla="*/ 298 w 320"/>
              <a:gd name="T19" fmla="*/ 246 h 256"/>
              <a:gd name="T20" fmla="*/ 298 w 320"/>
              <a:gd name="T21" fmla="*/ 64 h 256"/>
              <a:gd name="T22" fmla="*/ 309 w 320"/>
              <a:gd name="T23" fmla="*/ 64 h 256"/>
              <a:gd name="T24" fmla="*/ 320 w 320"/>
              <a:gd name="T25" fmla="*/ 54 h 256"/>
              <a:gd name="T26" fmla="*/ 320 w 320"/>
              <a:gd name="T27" fmla="*/ 11 h 256"/>
              <a:gd name="T28" fmla="*/ 309 w 320"/>
              <a:gd name="T29" fmla="*/ 0 h 256"/>
              <a:gd name="T30" fmla="*/ 277 w 320"/>
              <a:gd name="T31" fmla="*/ 235 h 256"/>
              <a:gd name="T32" fmla="*/ 42 w 320"/>
              <a:gd name="T33" fmla="*/ 235 h 256"/>
              <a:gd name="T34" fmla="*/ 42 w 320"/>
              <a:gd name="T35" fmla="*/ 64 h 256"/>
              <a:gd name="T36" fmla="*/ 277 w 320"/>
              <a:gd name="T37" fmla="*/ 64 h 256"/>
              <a:gd name="T38" fmla="*/ 277 w 320"/>
              <a:gd name="T39" fmla="*/ 235 h 256"/>
              <a:gd name="T40" fmla="*/ 298 w 320"/>
              <a:gd name="T41" fmla="*/ 43 h 256"/>
              <a:gd name="T42" fmla="*/ 21 w 320"/>
              <a:gd name="T43" fmla="*/ 43 h 256"/>
              <a:gd name="T44" fmla="*/ 21 w 320"/>
              <a:gd name="T45" fmla="*/ 22 h 256"/>
              <a:gd name="T46" fmla="*/ 298 w 320"/>
              <a:gd name="T47" fmla="*/ 22 h 256"/>
              <a:gd name="T48" fmla="*/ 298 w 320"/>
              <a:gd name="T49" fmla="*/ 43 h 256"/>
              <a:gd name="T50" fmla="*/ 117 w 320"/>
              <a:gd name="T51" fmla="*/ 107 h 256"/>
              <a:gd name="T52" fmla="*/ 128 w 320"/>
              <a:gd name="T53" fmla="*/ 96 h 256"/>
              <a:gd name="T54" fmla="*/ 192 w 320"/>
              <a:gd name="T55" fmla="*/ 96 h 256"/>
              <a:gd name="T56" fmla="*/ 202 w 320"/>
              <a:gd name="T57" fmla="*/ 107 h 256"/>
              <a:gd name="T58" fmla="*/ 192 w 320"/>
              <a:gd name="T59" fmla="*/ 118 h 256"/>
              <a:gd name="T60" fmla="*/ 128 w 320"/>
              <a:gd name="T61" fmla="*/ 118 h 256"/>
              <a:gd name="T62" fmla="*/ 117 w 320"/>
              <a:gd name="T63" fmla="*/ 10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256">
                <a:moveTo>
                  <a:pt x="309" y="0"/>
                </a:moveTo>
                <a:cubicBezTo>
                  <a:pt x="10" y="0"/>
                  <a:pt x="10" y="0"/>
                  <a:pt x="10" y="0"/>
                </a:cubicBezTo>
                <a:cubicBezTo>
                  <a:pt x="4" y="0"/>
                  <a:pt x="0" y="5"/>
                  <a:pt x="0" y="11"/>
                </a:cubicBezTo>
                <a:cubicBezTo>
                  <a:pt x="0" y="54"/>
                  <a:pt x="0" y="54"/>
                  <a:pt x="0" y="54"/>
                </a:cubicBezTo>
                <a:cubicBezTo>
                  <a:pt x="0" y="60"/>
                  <a:pt x="4" y="64"/>
                  <a:pt x="10" y="64"/>
                </a:cubicBezTo>
                <a:cubicBezTo>
                  <a:pt x="21" y="64"/>
                  <a:pt x="21" y="64"/>
                  <a:pt x="21" y="64"/>
                </a:cubicBezTo>
                <a:cubicBezTo>
                  <a:pt x="21" y="246"/>
                  <a:pt x="21" y="246"/>
                  <a:pt x="21" y="246"/>
                </a:cubicBezTo>
                <a:cubicBezTo>
                  <a:pt x="21" y="252"/>
                  <a:pt x="26" y="256"/>
                  <a:pt x="32" y="256"/>
                </a:cubicBezTo>
                <a:cubicBezTo>
                  <a:pt x="288" y="256"/>
                  <a:pt x="288" y="256"/>
                  <a:pt x="288" y="256"/>
                </a:cubicBezTo>
                <a:cubicBezTo>
                  <a:pt x="294" y="256"/>
                  <a:pt x="298" y="252"/>
                  <a:pt x="298" y="246"/>
                </a:cubicBezTo>
                <a:cubicBezTo>
                  <a:pt x="298" y="64"/>
                  <a:pt x="298" y="64"/>
                  <a:pt x="298" y="64"/>
                </a:cubicBezTo>
                <a:cubicBezTo>
                  <a:pt x="309" y="64"/>
                  <a:pt x="309" y="64"/>
                  <a:pt x="309" y="64"/>
                </a:cubicBezTo>
                <a:cubicBezTo>
                  <a:pt x="315" y="64"/>
                  <a:pt x="320" y="60"/>
                  <a:pt x="320" y="54"/>
                </a:cubicBezTo>
                <a:cubicBezTo>
                  <a:pt x="320" y="11"/>
                  <a:pt x="320" y="11"/>
                  <a:pt x="320" y="11"/>
                </a:cubicBezTo>
                <a:cubicBezTo>
                  <a:pt x="320" y="5"/>
                  <a:pt x="315" y="0"/>
                  <a:pt x="309" y="0"/>
                </a:cubicBezTo>
                <a:close/>
                <a:moveTo>
                  <a:pt x="277" y="235"/>
                </a:moveTo>
                <a:cubicBezTo>
                  <a:pt x="42" y="235"/>
                  <a:pt x="42" y="235"/>
                  <a:pt x="42" y="235"/>
                </a:cubicBezTo>
                <a:cubicBezTo>
                  <a:pt x="42" y="64"/>
                  <a:pt x="42" y="64"/>
                  <a:pt x="42" y="64"/>
                </a:cubicBezTo>
                <a:cubicBezTo>
                  <a:pt x="277" y="64"/>
                  <a:pt x="277" y="64"/>
                  <a:pt x="277" y="64"/>
                </a:cubicBezTo>
                <a:lnTo>
                  <a:pt x="277" y="235"/>
                </a:lnTo>
                <a:close/>
                <a:moveTo>
                  <a:pt x="298" y="43"/>
                </a:moveTo>
                <a:cubicBezTo>
                  <a:pt x="21" y="43"/>
                  <a:pt x="21" y="43"/>
                  <a:pt x="21" y="43"/>
                </a:cubicBezTo>
                <a:cubicBezTo>
                  <a:pt x="21" y="22"/>
                  <a:pt x="21" y="22"/>
                  <a:pt x="21" y="22"/>
                </a:cubicBezTo>
                <a:cubicBezTo>
                  <a:pt x="298" y="22"/>
                  <a:pt x="298" y="22"/>
                  <a:pt x="298" y="22"/>
                </a:cubicBezTo>
                <a:lnTo>
                  <a:pt x="298" y="43"/>
                </a:lnTo>
                <a:close/>
                <a:moveTo>
                  <a:pt x="117" y="107"/>
                </a:moveTo>
                <a:cubicBezTo>
                  <a:pt x="117" y="101"/>
                  <a:pt x="122" y="96"/>
                  <a:pt x="128" y="96"/>
                </a:cubicBezTo>
                <a:cubicBezTo>
                  <a:pt x="192" y="96"/>
                  <a:pt x="192" y="96"/>
                  <a:pt x="192" y="96"/>
                </a:cubicBezTo>
                <a:cubicBezTo>
                  <a:pt x="198" y="96"/>
                  <a:pt x="202" y="101"/>
                  <a:pt x="202" y="107"/>
                </a:cubicBezTo>
                <a:cubicBezTo>
                  <a:pt x="202" y="113"/>
                  <a:pt x="198" y="118"/>
                  <a:pt x="192" y="118"/>
                </a:cubicBezTo>
                <a:cubicBezTo>
                  <a:pt x="128" y="118"/>
                  <a:pt x="128" y="118"/>
                  <a:pt x="128" y="118"/>
                </a:cubicBezTo>
                <a:cubicBezTo>
                  <a:pt x="122" y="118"/>
                  <a:pt x="117" y="113"/>
                  <a:pt x="117" y="107"/>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srgbClr val="000000"/>
              </a:solidFill>
              <a:effectLst/>
              <a:uLnTx/>
              <a:uFillTx/>
              <a:latin typeface="Open Sans"/>
              <a:ea typeface="+mn-ea"/>
              <a:cs typeface="+mn-cs"/>
            </a:endParaRPr>
          </a:p>
        </p:txBody>
      </p:sp>
      <p:sp>
        <p:nvSpPr>
          <p:cNvPr id="64" name="Rectangle 63">
            <a:extLst>
              <a:ext uri="{FF2B5EF4-FFF2-40B4-BE49-F238E27FC236}">
                <a16:creationId xmlns:a16="http://schemas.microsoft.com/office/drawing/2014/main" id="{7C3C521A-C0F1-BCC4-4C52-06515AB2FE64}"/>
              </a:ext>
            </a:extLst>
          </p:cNvPr>
          <p:cNvSpPr/>
          <p:nvPr/>
        </p:nvSpPr>
        <p:spPr>
          <a:xfrm>
            <a:off x="421800" y="1582678"/>
            <a:ext cx="790217" cy="276999"/>
          </a:xfrm>
          <a:prstGeom prst="rect">
            <a:avLst/>
          </a:prstGeom>
        </p:spPr>
        <p:txBody>
          <a:bodyPr wrap="square" lIns="0" rIns="0" anchor="t">
            <a:spAutoFit/>
          </a:bodyPr>
          <a:lstStyle/>
          <a:p>
            <a:pPr marL="0" marR="0" lvl="0" indent="0" algn="l" defTabSz="914180" eaLnBrk="1" fontAlgn="base" latinLnBrk="0" hangingPunct="1">
              <a:lnSpc>
                <a:spcPct val="100000"/>
              </a:lnSpc>
              <a:spcBef>
                <a:spcPct val="0"/>
              </a:spcBef>
              <a:spcAft>
                <a:spcPct val="0"/>
              </a:spcAft>
              <a:buClrTx/>
              <a:buSzTx/>
              <a:buFontTx/>
              <a:buNone/>
              <a:tabLst/>
              <a:defRPr/>
            </a:pPr>
            <a:r>
              <a:rPr kumimoji="0" lang="en-GB" sz="1200" b="1" u="none" strike="noStrike" kern="1200" cap="none" spc="0" normalizeH="0" baseline="0" dirty="0">
                <a:ln>
                  <a:noFill/>
                </a:ln>
                <a:solidFill>
                  <a:schemeClr val="accent3"/>
                </a:solidFill>
                <a:effectLst/>
                <a:uLnTx/>
                <a:uFillTx/>
                <a:ea typeface="+mn-ea"/>
                <a:cs typeface="Open Sans SemiBold" panose="020B0606030504020204" pitchFamily="34" charset="0"/>
              </a:rPr>
              <a:t>Tasks</a:t>
            </a:r>
          </a:p>
        </p:txBody>
      </p:sp>
      <p:sp>
        <p:nvSpPr>
          <p:cNvPr id="65" name="Rectangle 64">
            <a:extLst>
              <a:ext uri="{FF2B5EF4-FFF2-40B4-BE49-F238E27FC236}">
                <a16:creationId xmlns:a16="http://schemas.microsoft.com/office/drawing/2014/main" id="{5F383402-4811-AC85-5CF7-E6DC0284DE65}"/>
              </a:ext>
            </a:extLst>
          </p:cNvPr>
          <p:cNvSpPr/>
          <p:nvPr/>
        </p:nvSpPr>
        <p:spPr>
          <a:xfrm>
            <a:off x="421800" y="5277243"/>
            <a:ext cx="790217" cy="276999"/>
          </a:xfrm>
          <a:prstGeom prst="rect">
            <a:avLst/>
          </a:prstGeom>
        </p:spPr>
        <p:txBody>
          <a:bodyPr wrap="square" lIns="0" rIns="0" anchor="t">
            <a:spAutoFit/>
          </a:bodyPr>
          <a:lstStyle/>
          <a:p>
            <a:pPr marL="0" marR="0" lvl="0" indent="0" algn="l" defTabSz="914180" eaLnBrk="1" fontAlgn="base" latinLnBrk="0" hangingPunct="1">
              <a:lnSpc>
                <a:spcPct val="100000"/>
              </a:lnSpc>
              <a:spcBef>
                <a:spcPct val="0"/>
              </a:spcBef>
              <a:spcAft>
                <a:spcPct val="0"/>
              </a:spcAft>
              <a:buClrTx/>
              <a:buSzTx/>
              <a:buFontTx/>
              <a:buNone/>
              <a:tabLst/>
              <a:defRPr/>
            </a:pPr>
            <a:r>
              <a:rPr kumimoji="0" lang="en-GB" sz="1200" b="1" u="none" strike="noStrike" kern="1200" cap="none" spc="0" normalizeH="0" baseline="0" dirty="0">
                <a:ln>
                  <a:noFill/>
                </a:ln>
                <a:solidFill>
                  <a:schemeClr val="accent3"/>
                </a:solidFill>
                <a:effectLst/>
                <a:uLnTx/>
                <a:uFillTx/>
                <a:ea typeface="+mn-ea"/>
                <a:cs typeface="Open Sans SemiBold" panose="020B0606030504020204" pitchFamily="34" charset="0"/>
              </a:rPr>
              <a:t>Deliverables</a:t>
            </a:r>
          </a:p>
        </p:txBody>
      </p:sp>
      <p:sp>
        <p:nvSpPr>
          <p:cNvPr id="66" name="Rectangle 65">
            <a:extLst>
              <a:ext uri="{FF2B5EF4-FFF2-40B4-BE49-F238E27FC236}">
                <a16:creationId xmlns:a16="http://schemas.microsoft.com/office/drawing/2014/main" id="{EEF93937-967D-358C-75CB-F3A3D06B0E6D}"/>
              </a:ext>
            </a:extLst>
          </p:cNvPr>
          <p:cNvSpPr/>
          <p:nvPr/>
        </p:nvSpPr>
        <p:spPr>
          <a:xfrm>
            <a:off x="1776212" y="5469633"/>
            <a:ext cx="2898705" cy="705321"/>
          </a:xfrm>
          <a:prstGeom prst="rect">
            <a:avLst/>
          </a:prstGeom>
        </p:spPr>
        <p:txBody>
          <a:bodyPr wrap="square" lIns="0" rIns="0" anchor="t">
            <a:spAutoFit/>
          </a:bodyPr>
          <a:lstStyle/>
          <a:p>
            <a:pPr marL="171450" indent="-171450">
              <a:spcAft>
                <a:spcPts val="500"/>
              </a:spcAft>
              <a:buFont typeface="Arial" panose="020B0604020202020204" pitchFamily="34" charset="0"/>
              <a:buChar char="•"/>
              <a:tabLst>
                <a:tab pos="1485900" algn="l"/>
              </a:tabLst>
              <a:defRPr/>
            </a:pPr>
            <a:r>
              <a:rPr lang="en-GB" sz="1050">
                <a:solidFill>
                  <a:schemeClr val="tx1"/>
                </a:solidFill>
              </a:rPr>
              <a:t>To-be aspirations and principles</a:t>
            </a:r>
          </a:p>
          <a:p>
            <a:pPr marL="171450" indent="-171450">
              <a:spcAft>
                <a:spcPts val="500"/>
              </a:spcAft>
              <a:buFont typeface="Arial" panose="020B0604020202020204" pitchFamily="34" charset="0"/>
              <a:buChar char="•"/>
              <a:tabLst>
                <a:tab pos="1485900" algn="l"/>
              </a:tabLst>
              <a:defRPr/>
            </a:pPr>
            <a:r>
              <a:rPr lang="en-GB" sz="1050">
                <a:solidFill>
                  <a:schemeClr val="tx1"/>
                </a:solidFill>
              </a:rPr>
              <a:t>Summary of strategic objectives </a:t>
            </a:r>
          </a:p>
          <a:p>
            <a:pPr marL="171450" indent="-171450">
              <a:spcAft>
                <a:spcPts val="500"/>
              </a:spcAft>
              <a:buFont typeface="Arial" panose="020B0604020202020204" pitchFamily="34" charset="0"/>
              <a:buChar char="•"/>
              <a:tabLst>
                <a:tab pos="1485900" algn="l"/>
              </a:tabLst>
              <a:defRPr/>
            </a:pPr>
            <a:r>
              <a:rPr lang="en-GB" sz="1050">
                <a:solidFill>
                  <a:schemeClr val="tx1"/>
                </a:solidFill>
              </a:rPr>
              <a:t>As-Is assessment report</a:t>
            </a:r>
          </a:p>
        </p:txBody>
      </p:sp>
      <p:sp>
        <p:nvSpPr>
          <p:cNvPr id="67" name="Rectangle 66">
            <a:extLst>
              <a:ext uri="{FF2B5EF4-FFF2-40B4-BE49-F238E27FC236}">
                <a16:creationId xmlns:a16="http://schemas.microsoft.com/office/drawing/2014/main" id="{313CC886-4935-2B5F-10A1-B2A49E5EE460}"/>
              </a:ext>
            </a:extLst>
          </p:cNvPr>
          <p:cNvSpPr/>
          <p:nvPr/>
        </p:nvSpPr>
        <p:spPr>
          <a:xfrm>
            <a:off x="5279030" y="5452408"/>
            <a:ext cx="3836689" cy="866904"/>
          </a:xfrm>
          <a:prstGeom prst="rect">
            <a:avLst/>
          </a:prstGeom>
        </p:spPr>
        <p:txBody>
          <a:bodyPr wrap="square" lIns="0" rIns="0" anchor="t">
            <a:spAutoFit/>
          </a:bodyPr>
          <a:lstStyle/>
          <a:p>
            <a:pPr marL="171450" marR="0" lvl="0" indent="-171450" algn="l" defTabSz="914400" eaLnBrk="1" fontAlgn="auto" latinLnBrk="0" hangingPunct="1">
              <a:lnSpc>
                <a:spcPct val="100000"/>
              </a:lnSpc>
              <a:spcBef>
                <a:spcPts val="0"/>
              </a:spcBef>
              <a:spcAft>
                <a:spcPts val="500"/>
              </a:spcAft>
              <a:buClrTx/>
              <a:buSzTx/>
              <a:buFont typeface="Arial" panose="020B0604020202020204" pitchFamily="34" charset="0"/>
              <a:buChar char="•"/>
              <a:tabLst/>
              <a:defRPr/>
            </a:pPr>
            <a:r>
              <a:rPr lang="en-GB" sz="1050">
                <a:solidFill>
                  <a:schemeClr val="tx1"/>
                </a:solidFill>
              </a:rPr>
              <a:t>Detailed BSC catalogue with detailed KPI catalogue for each </a:t>
            </a:r>
            <a:r>
              <a:rPr lang="en-GB" sz="1050"/>
              <a:t>function</a:t>
            </a:r>
          </a:p>
          <a:p>
            <a:pPr marL="171450" marR="0" lvl="0" indent="-171450" algn="l" defTabSz="914400" eaLnBrk="1" fontAlgn="auto" latinLnBrk="0" hangingPunct="1">
              <a:lnSpc>
                <a:spcPct val="100000"/>
              </a:lnSpc>
              <a:spcBef>
                <a:spcPts val="0"/>
              </a:spcBef>
              <a:spcAft>
                <a:spcPts val="500"/>
              </a:spcAft>
              <a:buClrTx/>
              <a:buSzTx/>
              <a:buFont typeface="Arial" panose="020B0604020202020204" pitchFamily="34" charset="0"/>
              <a:buChar char="•"/>
              <a:tabLst/>
              <a:defRPr/>
            </a:pPr>
            <a:r>
              <a:rPr lang="en-GB" sz="1050">
                <a:solidFill>
                  <a:schemeClr val="tx1"/>
                </a:solidFill>
              </a:rPr>
              <a:t>Report dictionary</a:t>
            </a:r>
          </a:p>
          <a:p>
            <a:pPr marL="171450" lvl="0" indent="-171450">
              <a:spcAft>
                <a:spcPts val="500"/>
              </a:spcAft>
              <a:buFont typeface="Arial" panose="020B0604020202020204" pitchFamily="34" charset="0"/>
              <a:buChar char="•"/>
              <a:defRPr/>
            </a:pPr>
            <a:r>
              <a:rPr lang="en-GB" sz="1050"/>
              <a:t>KPI governance framework</a:t>
            </a:r>
          </a:p>
        </p:txBody>
      </p:sp>
      <p:sp>
        <p:nvSpPr>
          <p:cNvPr id="68" name="Rectangle 67">
            <a:extLst>
              <a:ext uri="{FF2B5EF4-FFF2-40B4-BE49-F238E27FC236}">
                <a16:creationId xmlns:a16="http://schemas.microsoft.com/office/drawing/2014/main" id="{7FD558D8-2ECE-7B52-C9D8-0374065B5DBA}"/>
              </a:ext>
            </a:extLst>
          </p:cNvPr>
          <p:cNvSpPr/>
          <p:nvPr/>
        </p:nvSpPr>
        <p:spPr>
          <a:xfrm>
            <a:off x="9725054" y="5452408"/>
            <a:ext cx="1680439" cy="415498"/>
          </a:xfrm>
          <a:prstGeom prst="rect">
            <a:avLst/>
          </a:prstGeom>
        </p:spPr>
        <p:txBody>
          <a:bodyPr wrap="square" lIns="0" rIns="0" anchor="t">
            <a:spAutoFit/>
          </a:bodyPr>
          <a:lstStyle/>
          <a:p>
            <a:pPr marL="171450" indent="-171450">
              <a:spcAft>
                <a:spcPts val="500"/>
              </a:spcAft>
              <a:buFont typeface="Arial" panose="020B0604020202020204" pitchFamily="34" charset="0"/>
              <a:buChar char="•"/>
              <a:defRPr/>
            </a:pPr>
            <a:r>
              <a:rPr lang="en-GB" sz="1050"/>
              <a:t>Detailed implementation roadmap</a:t>
            </a:r>
            <a:endParaRPr lang="en-GB" sz="1050" strike="sngStrike"/>
          </a:p>
        </p:txBody>
      </p:sp>
      <p:sp>
        <p:nvSpPr>
          <p:cNvPr id="69" name="Rectangle 68">
            <a:extLst>
              <a:ext uri="{FF2B5EF4-FFF2-40B4-BE49-F238E27FC236}">
                <a16:creationId xmlns:a16="http://schemas.microsoft.com/office/drawing/2014/main" id="{36FBF50E-04C3-4368-CBE2-715734A21AF4}"/>
              </a:ext>
            </a:extLst>
          </p:cNvPr>
          <p:cNvSpPr/>
          <p:nvPr/>
        </p:nvSpPr>
        <p:spPr>
          <a:xfrm>
            <a:off x="1809644" y="1494557"/>
            <a:ext cx="822661" cy="253916"/>
          </a:xfrm>
          <a:prstGeom prst="rect">
            <a:avLst/>
          </a:prstGeom>
        </p:spPr>
        <p:txBody>
          <a:bodyPr wrap="none">
            <a:spAutoFit/>
          </a:bodyPr>
          <a:lstStyle/>
          <a:p>
            <a:r>
              <a:rPr lang="en-GB" sz="1050" b="1" dirty="0">
                <a:solidFill>
                  <a:schemeClr val="accent1"/>
                </a:solidFill>
                <a:cs typeface="Open Sans SemiBold" panose="020B0606030504020204" pitchFamily="34" charset="0"/>
              </a:rPr>
              <a:t>DISCOVERY</a:t>
            </a:r>
            <a:endParaRPr lang="en-GB" sz="1050">
              <a:solidFill>
                <a:schemeClr val="accent1"/>
              </a:solidFill>
            </a:endParaRPr>
          </a:p>
        </p:txBody>
      </p:sp>
      <p:sp>
        <p:nvSpPr>
          <p:cNvPr id="70" name="Rectangle 69">
            <a:extLst>
              <a:ext uri="{FF2B5EF4-FFF2-40B4-BE49-F238E27FC236}">
                <a16:creationId xmlns:a16="http://schemas.microsoft.com/office/drawing/2014/main" id="{DDD621D4-2D39-1895-835F-B18B04D19247}"/>
              </a:ext>
            </a:extLst>
          </p:cNvPr>
          <p:cNvSpPr/>
          <p:nvPr/>
        </p:nvSpPr>
        <p:spPr>
          <a:xfrm>
            <a:off x="5266232" y="1494557"/>
            <a:ext cx="609462" cy="253916"/>
          </a:xfrm>
          <a:prstGeom prst="rect">
            <a:avLst/>
          </a:prstGeom>
        </p:spPr>
        <p:txBody>
          <a:bodyPr wrap="none">
            <a:spAutoFit/>
          </a:bodyPr>
          <a:lstStyle/>
          <a:p>
            <a:r>
              <a:rPr lang="en-GB" sz="1050" b="1" dirty="0">
                <a:solidFill>
                  <a:schemeClr val="accent2"/>
                </a:solidFill>
                <a:cs typeface="Open Sans SemiBold" panose="020B0606030504020204" pitchFamily="34" charset="0"/>
              </a:rPr>
              <a:t>DESIGN</a:t>
            </a:r>
            <a:endParaRPr lang="en-GB" sz="1050">
              <a:solidFill>
                <a:schemeClr val="accent2"/>
              </a:solidFill>
            </a:endParaRPr>
          </a:p>
        </p:txBody>
      </p:sp>
      <p:sp>
        <p:nvSpPr>
          <p:cNvPr id="71" name="Rectangle 70">
            <a:extLst>
              <a:ext uri="{FF2B5EF4-FFF2-40B4-BE49-F238E27FC236}">
                <a16:creationId xmlns:a16="http://schemas.microsoft.com/office/drawing/2014/main" id="{B8FBF6E8-6CAF-E160-0791-F385C6A3CAC5}"/>
              </a:ext>
            </a:extLst>
          </p:cNvPr>
          <p:cNvSpPr/>
          <p:nvPr/>
        </p:nvSpPr>
        <p:spPr>
          <a:xfrm>
            <a:off x="9692117" y="1494557"/>
            <a:ext cx="788999" cy="253916"/>
          </a:xfrm>
          <a:prstGeom prst="rect">
            <a:avLst/>
          </a:prstGeom>
        </p:spPr>
        <p:txBody>
          <a:bodyPr wrap="none">
            <a:spAutoFit/>
          </a:bodyPr>
          <a:lstStyle/>
          <a:p>
            <a:r>
              <a:rPr lang="en-GB" sz="1050" b="1" dirty="0">
                <a:solidFill>
                  <a:schemeClr val="accent3"/>
                </a:solidFill>
                <a:cs typeface="Open Sans SemiBold" panose="020B0606030504020204" pitchFamily="34" charset="0"/>
              </a:rPr>
              <a:t>ROADMAP</a:t>
            </a:r>
            <a:endParaRPr lang="en-GB" sz="1050">
              <a:solidFill>
                <a:schemeClr val="accent3"/>
              </a:solidFill>
            </a:endParaRPr>
          </a:p>
        </p:txBody>
      </p:sp>
    </p:spTree>
    <p:extLst>
      <p:ext uri="{BB962C8B-B14F-4D97-AF65-F5344CB8AC3E}">
        <p14:creationId xmlns:p14="http://schemas.microsoft.com/office/powerpoint/2010/main" val="1838820462"/>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DF09AAC8-716E-D696-D308-239F1F8C9B7C}"/>
              </a:ext>
            </a:extLst>
          </p:cNvPr>
          <p:cNvGraphicFramePr>
            <a:graphicFrameLocks noChangeAspect="1"/>
          </p:cNvGraphicFramePr>
          <p:nvPr>
            <p:custDataLst>
              <p:tags r:id="rId1"/>
            </p:custDataLst>
            <p:extLst>
              <p:ext uri="{D42A27DB-BD31-4B8C-83A1-F6EECF244321}">
                <p14:modId xmlns:p14="http://schemas.microsoft.com/office/powerpoint/2010/main" val="87311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1" name="think-cell data - do not delete" hidden="1">
                        <a:extLst>
                          <a:ext uri="{FF2B5EF4-FFF2-40B4-BE49-F238E27FC236}">
                            <a16:creationId xmlns:a16="http://schemas.microsoft.com/office/drawing/2014/main" id="{DF09AAC8-716E-D696-D308-239F1F8C9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6C6F116-607F-B8FC-EE13-1CD501D0391C}"/>
              </a:ext>
            </a:extLst>
          </p:cNvPr>
          <p:cNvSpPr>
            <a:spLocks noGrp="1"/>
          </p:cNvSpPr>
          <p:nvPr>
            <p:ph type="body" sz="quarter" idx="22"/>
          </p:nvPr>
        </p:nvSpPr>
        <p:spPr/>
        <p:txBody>
          <a:bodyPr vert="horz" lIns="0" tIns="0" rIns="0" bIns="0" rtlCol="0" anchor="t">
            <a:noAutofit/>
          </a:bodyPr>
          <a:lstStyle/>
          <a:p>
            <a:r>
              <a:rPr lang="en-GB" dirty="0">
                <a:latin typeface="Open Sans"/>
                <a:ea typeface="Open Sans"/>
                <a:cs typeface="Open Sans"/>
              </a:rPr>
              <a:t>The performance scorecard supports performance measurement across four main dimensions linked to the strategic aspirations of the organization and will be used to create a long list of performance metrics</a:t>
            </a:r>
          </a:p>
        </p:txBody>
      </p:sp>
      <p:sp>
        <p:nvSpPr>
          <p:cNvPr id="3" name="Title 2">
            <a:extLst>
              <a:ext uri="{FF2B5EF4-FFF2-40B4-BE49-F238E27FC236}">
                <a16:creationId xmlns:a16="http://schemas.microsoft.com/office/drawing/2014/main" id="{3A10D2DE-7D0E-9FBF-A28A-EBAF45E5CBF0}"/>
              </a:ext>
            </a:extLst>
          </p:cNvPr>
          <p:cNvSpPr>
            <a:spLocks noGrp="1"/>
          </p:cNvSpPr>
          <p:nvPr>
            <p:ph type="title"/>
          </p:nvPr>
        </p:nvSpPr>
        <p:spPr>
          <a:xfrm>
            <a:off x="463295" y="417911"/>
            <a:ext cx="9670796" cy="334099"/>
          </a:xfrm>
        </p:spPr>
        <p:txBody>
          <a:bodyPr vert="horz"/>
          <a:lstStyle/>
          <a:p>
            <a:r>
              <a:rPr lang="en-GB" dirty="0">
                <a:latin typeface="Open Sans Light"/>
                <a:ea typeface="Open Sans Light"/>
                <a:cs typeface="Open Sans Light"/>
              </a:rPr>
              <a:t>How to create a comprehensive KPI long list?</a:t>
            </a:r>
            <a:endParaRPr lang="en-US" dirty="0">
              <a:latin typeface="Open Sans Light"/>
              <a:ea typeface="Open Sans Light"/>
              <a:cs typeface="Open Sans Light"/>
            </a:endParaRPr>
          </a:p>
        </p:txBody>
      </p:sp>
      <p:sp>
        <p:nvSpPr>
          <p:cNvPr id="4" name="Rectangle 3">
            <a:extLst>
              <a:ext uri="{FF2B5EF4-FFF2-40B4-BE49-F238E27FC236}">
                <a16:creationId xmlns:a16="http://schemas.microsoft.com/office/drawing/2014/main" id="{08743730-8683-0CFB-ABB5-75648EA2D6B8}"/>
              </a:ext>
            </a:extLst>
          </p:cNvPr>
          <p:cNvSpPr/>
          <p:nvPr/>
        </p:nvSpPr>
        <p:spPr bwMode="gray">
          <a:xfrm>
            <a:off x="5330678" y="1787706"/>
            <a:ext cx="6361124" cy="4704334"/>
          </a:xfrm>
          <a:prstGeom prst="rect">
            <a:avLst/>
          </a:prstGeom>
          <a:no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06000"/>
              </a:lnSpc>
              <a:buFont typeface="Wingdings 2" pitchFamily="18" charset="2"/>
              <a:buNone/>
            </a:pPr>
            <a:r>
              <a:rPr lang="en-GB"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he balanced scorecard allows managers to look at the business from four important perspectives, giving senior managers answers to the key questions across each perspective:</a:t>
            </a:r>
          </a:p>
        </p:txBody>
      </p:sp>
      <p:sp>
        <p:nvSpPr>
          <p:cNvPr id="5" name="Rectangle 4">
            <a:extLst>
              <a:ext uri="{FF2B5EF4-FFF2-40B4-BE49-F238E27FC236}">
                <a16:creationId xmlns:a16="http://schemas.microsoft.com/office/drawing/2014/main" id="{5761C96A-D4F3-F50F-F90F-B65395122A34}"/>
              </a:ext>
            </a:extLst>
          </p:cNvPr>
          <p:cNvSpPr/>
          <p:nvPr/>
        </p:nvSpPr>
        <p:spPr bwMode="gray">
          <a:xfrm>
            <a:off x="500198" y="1807133"/>
            <a:ext cx="4679675" cy="4685242"/>
          </a:xfrm>
          <a:prstGeom prst="rect">
            <a:avLst/>
          </a:prstGeom>
          <a:no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06000"/>
              </a:lnSpc>
              <a:buFont typeface="Wingdings 2" pitchFamily="18" charset="2"/>
              <a:buNone/>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28600" indent="-228600">
              <a:lnSpc>
                <a:spcPct val="106000"/>
              </a:lnSpc>
              <a:buFont typeface="+mj-lt"/>
              <a:buAutoNum type="arabicPeriod"/>
            </a:pPr>
            <a:endParaRPr lang="en-GB"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 name="Straight Connector 5">
            <a:extLst>
              <a:ext uri="{FF2B5EF4-FFF2-40B4-BE49-F238E27FC236}">
                <a16:creationId xmlns:a16="http://schemas.microsoft.com/office/drawing/2014/main" id="{C89F8E48-78AD-4627-0767-41CF74DC052E}"/>
              </a:ext>
            </a:extLst>
          </p:cNvPr>
          <p:cNvCxnSpPr/>
          <p:nvPr/>
        </p:nvCxnSpPr>
        <p:spPr>
          <a:xfrm>
            <a:off x="500199" y="1760201"/>
            <a:ext cx="467967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8B019F85-5728-1E70-537E-7DB85E71F54B}"/>
              </a:ext>
            </a:extLst>
          </p:cNvPr>
          <p:cNvSpPr/>
          <p:nvPr/>
        </p:nvSpPr>
        <p:spPr bwMode="gray">
          <a:xfrm>
            <a:off x="500199" y="1581442"/>
            <a:ext cx="1742198" cy="131178"/>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dirty="0">
                <a:latin typeface="Open Sans" panose="020B0606030504020204" pitchFamily="34" charset="0"/>
                <a:ea typeface="Open Sans" panose="020B0606030504020204" pitchFamily="34" charset="0"/>
                <a:cs typeface="Open Sans" panose="020B0606030504020204" pitchFamily="34" charset="0"/>
              </a:rPr>
              <a:t>Methodology</a:t>
            </a:r>
          </a:p>
        </p:txBody>
      </p:sp>
      <p:cxnSp>
        <p:nvCxnSpPr>
          <p:cNvPr id="8" name="Straight Connector 7">
            <a:extLst>
              <a:ext uri="{FF2B5EF4-FFF2-40B4-BE49-F238E27FC236}">
                <a16:creationId xmlns:a16="http://schemas.microsoft.com/office/drawing/2014/main" id="{6D4F85AB-4C5C-113D-6071-090966B1BFD1}"/>
              </a:ext>
            </a:extLst>
          </p:cNvPr>
          <p:cNvCxnSpPr/>
          <p:nvPr/>
        </p:nvCxnSpPr>
        <p:spPr>
          <a:xfrm>
            <a:off x="5292548" y="1760201"/>
            <a:ext cx="6408878"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5B972A4-719F-3CF2-329D-959FF368431A}"/>
              </a:ext>
            </a:extLst>
          </p:cNvPr>
          <p:cNvSpPr/>
          <p:nvPr/>
        </p:nvSpPr>
        <p:spPr bwMode="gray">
          <a:xfrm>
            <a:off x="5220447" y="1590556"/>
            <a:ext cx="3161665" cy="1038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latin typeface="Open Sans" panose="020B0606030504020204" pitchFamily="34" charset="0"/>
                <a:ea typeface="Open Sans" panose="020B0606030504020204" pitchFamily="34" charset="0"/>
                <a:cs typeface="Open Sans" panose="020B0606030504020204" pitchFamily="34" charset="0"/>
              </a:rPr>
              <a:t>Output</a:t>
            </a:r>
          </a:p>
        </p:txBody>
      </p:sp>
      <p:sp>
        <p:nvSpPr>
          <p:cNvPr id="10" name="Rectangle 9">
            <a:extLst>
              <a:ext uri="{FF2B5EF4-FFF2-40B4-BE49-F238E27FC236}">
                <a16:creationId xmlns:a16="http://schemas.microsoft.com/office/drawing/2014/main" id="{788A413D-6E79-ACFB-F500-4B1D718AADBC}"/>
              </a:ext>
            </a:extLst>
          </p:cNvPr>
          <p:cNvSpPr/>
          <p:nvPr/>
        </p:nvSpPr>
        <p:spPr bwMode="gray">
          <a:xfrm>
            <a:off x="5330678" y="2240018"/>
            <a:ext cx="6018983" cy="566218"/>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000" dirty="0">
                <a:latin typeface="Open Sans" panose="020B0606030504020204" pitchFamily="34" charset="0"/>
                <a:ea typeface="Open Sans" panose="020B0606030504020204" pitchFamily="34" charset="0"/>
                <a:cs typeface="Open Sans" panose="020B0606030504020204" pitchFamily="34" charset="0"/>
              </a:rPr>
              <a:t>The performance scorecard takes a broad and holistic view of organizational performance of across four key dimensions and links strategic aspirations with measures:</a:t>
            </a:r>
          </a:p>
        </p:txBody>
      </p:sp>
      <p:sp>
        <p:nvSpPr>
          <p:cNvPr id="11" name="Rectangle 10">
            <a:extLst>
              <a:ext uri="{FF2B5EF4-FFF2-40B4-BE49-F238E27FC236}">
                <a16:creationId xmlns:a16="http://schemas.microsoft.com/office/drawing/2014/main" id="{69777CAA-3662-CCEB-A74E-3618A37D3B7A}"/>
              </a:ext>
            </a:extLst>
          </p:cNvPr>
          <p:cNvSpPr/>
          <p:nvPr/>
        </p:nvSpPr>
        <p:spPr bwMode="gray">
          <a:xfrm>
            <a:off x="963814" y="4158623"/>
            <a:ext cx="4195964" cy="2275961"/>
          </a:xfrm>
          <a:prstGeom prst="rect">
            <a:avLst/>
          </a:prstGeom>
          <a:noFill/>
          <a:ln w="19050" algn="ctr">
            <a:noFill/>
            <a:miter lim="800000"/>
            <a:headEnd/>
            <a:tailEnd/>
          </a:ln>
        </p:spPr>
        <p:txBody>
          <a:bodyPr wrap="square" lIns="88900" tIns="88900" rIns="88900" bIns="88900" rtlCol="0" anchor="t"/>
          <a:lstStyle/>
          <a:p>
            <a:pPr>
              <a:lnSpc>
                <a:spcPct val="106000"/>
              </a:lnSpc>
              <a:spcAft>
                <a:spcPts val="300"/>
              </a:spcAft>
            </a:pPr>
            <a:r>
              <a:rPr lang="en-GB" sz="1000" b="1" dirty="0">
                <a:latin typeface="Open Sans"/>
                <a:ea typeface="Open Sans"/>
                <a:cs typeface="Open Sans"/>
              </a:rPr>
              <a:t>Confirm scorecard categories</a:t>
            </a:r>
            <a:r>
              <a:rPr lang="en-GB" sz="1000" dirty="0">
                <a:latin typeface="Open Sans"/>
                <a:ea typeface="Open Sans"/>
                <a:cs typeface="Open Sans"/>
              </a:rPr>
              <a:t>: Ensure that the proposed performance scorecard categories are appropriate areas of focus for the organization.</a:t>
            </a:r>
            <a:endParaRPr lang="en-GB" sz="100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p>
            <a:pPr>
              <a:lnSpc>
                <a:spcPct val="106000"/>
              </a:lnSpc>
              <a:spcAft>
                <a:spcPts val="300"/>
              </a:spcAft>
              <a:buFont typeface="Wingdings 2" pitchFamily="18" charset="2"/>
              <a:buNone/>
            </a:pPr>
            <a:r>
              <a:rPr lang="en-GB" sz="1000" b="1" dirty="0">
                <a:latin typeface="Open Sans" panose="020B0606030504020204" pitchFamily="34" charset="0"/>
                <a:ea typeface="Open Sans" panose="020B0606030504020204" pitchFamily="34" charset="0"/>
                <a:cs typeface="Open Sans" panose="020B0606030504020204" pitchFamily="34" charset="0"/>
              </a:rPr>
              <a:t>Agree performance metrics</a:t>
            </a:r>
            <a:r>
              <a:rPr lang="en-GB" sz="1000" dirty="0">
                <a:latin typeface="Open Sans" panose="020B0606030504020204" pitchFamily="34" charset="0"/>
                <a:ea typeface="Open Sans" panose="020B0606030504020204" pitchFamily="34" charset="0"/>
                <a:cs typeface="Open Sans" panose="020B0606030504020204" pitchFamily="34" charset="0"/>
              </a:rPr>
              <a:t>: Agree the identified performance metrics for each of the four performance scorecard categories, as well as their reporting frequency, the target performance levels and collecting / tracking method. </a:t>
            </a:r>
          </a:p>
          <a:p>
            <a:pPr>
              <a:lnSpc>
                <a:spcPct val="106000"/>
              </a:lnSpc>
              <a:spcAft>
                <a:spcPts val="300"/>
              </a:spcAft>
              <a:buFont typeface="Wingdings 2" pitchFamily="18" charset="2"/>
              <a:buNone/>
            </a:pPr>
            <a:r>
              <a:rPr lang="en-GB" sz="1000" b="1" dirty="0">
                <a:latin typeface="Open Sans" panose="020B0606030504020204" pitchFamily="34" charset="0"/>
                <a:ea typeface="Open Sans" panose="020B0606030504020204" pitchFamily="34" charset="0"/>
                <a:cs typeface="Open Sans" panose="020B0606030504020204" pitchFamily="34" charset="0"/>
              </a:rPr>
              <a:t>Determine measurement process</a:t>
            </a:r>
            <a:r>
              <a:rPr lang="en-GB" sz="1000" dirty="0">
                <a:latin typeface="Open Sans" panose="020B0606030504020204" pitchFamily="34" charset="0"/>
                <a:ea typeface="Open Sans" panose="020B0606030504020204" pitchFamily="34" charset="0"/>
                <a:cs typeface="Open Sans" panose="020B0606030504020204" pitchFamily="34" charset="0"/>
              </a:rPr>
              <a:t>: Agree who has visibility of the performance scorecard results, determine the frequency of discussions and determine approach to baseline activity. </a:t>
            </a:r>
          </a:p>
          <a:p>
            <a:pPr>
              <a:lnSpc>
                <a:spcPct val="106000"/>
              </a:lnSpc>
              <a:spcAft>
                <a:spcPts val="300"/>
              </a:spcAft>
              <a:buFont typeface="Wingdings 2" pitchFamily="18" charset="2"/>
              <a:buNone/>
            </a:pPr>
            <a:r>
              <a:rPr lang="en-GB" sz="1000" b="1" dirty="0">
                <a:latin typeface="Open Sans" panose="020B0606030504020204" pitchFamily="34" charset="0"/>
                <a:ea typeface="Open Sans" panose="020B0606030504020204" pitchFamily="34" charset="0"/>
                <a:cs typeface="Open Sans" panose="020B0606030504020204" pitchFamily="34" charset="0"/>
              </a:rPr>
              <a:t>Link metrics to scorecard</a:t>
            </a:r>
            <a:r>
              <a:rPr lang="en-GB" sz="1000" dirty="0">
                <a:latin typeface="Open Sans" panose="020B0606030504020204" pitchFamily="34" charset="0"/>
                <a:ea typeface="Open Sans" panose="020B0606030504020204" pitchFamily="34" charset="0"/>
                <a:cs typeface="Open Sans" panose="020B0606030504020204" pitchFamily="34" charset="0"/>
              </a:rPr>
              <a:t>: Roll up individual performance metrics to the overall performance scorecard. Validate the final version of the scorecard by top management. </a:t>
            </a:r>
          </a:p>
          <a:p>
            <a:pPr>
              <a:lnSpc>
                <a:spcPct val="106000"/>
              </a:lnSpc>
              <a:spcAft>
                <a:spcPts val="600"/>
              </a:spcAft>
              <a:buFont typeface="Wingdings 2" pitchFamily="18" charset="2"/>
              <a:buNone/>
            </a:pPr>
            <a:endParaRPr lang="en-GB"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Oval 11">
            <a:extLst>
              <a:ext uri="{FF2B5EF4-FFF2-40B4-BE49-F238E27FC236}">
                <a16:creationId xmlns:a16="http://schemas.microsoft.com/office/drawing/2014/main" id="{13C3AE46-4C44-1517-D1A3-3D088CEC315F}"/>
              </a:ext>
            </a:extLst>
          </p:cNvPr>
          <p:cNvSpPr/>
          <p:nvPr/>
        </p:nvSpPr>
        <p:spPr bwMode="gray">
          <a:xfrm>
            <a:off x="551240" y="4133829"/>
            <a:ext cx="309983"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13" name="Oval 12">
            <a:extLst>
              <a:ext uri="{FF2B5EF4-FFF2-40B4-BE49-F238E27FC236}">
                <a16:creationId xmlns:a16="http://schemas.microsoft.com/office/drawing/2014/main" id="{CD71C9DC-EB2B-0B6E-F377-2FCE02109913}"/>
              </a:ext>
            </a:extLst>
          </p:cNvPr>
          <p:cNvSpPr/>
          <p:nvPr/>
        </p:nvSpPr>
        <p:spPr bwMode="gray">
          <a:xfrm>
            <a:off x="551240" y="4749182"/>
            <a:ext cx="309983"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200" b="1">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14" name="Oval 13">
            <a:extLst>
              <a:ext uri="{FF2B5EF4-FFF2-40B4-BE49-F238E27FC236}">
                <a16:creationId xmlns:a16="http://schemas.microsoft.com/office/drawing/2014/main" id="{794A34EE-21E0-F7F0-F1F0-C92852C8C6B7}"/>
              </a:ext>
            </a:extLst>
          </p:cNvPr>
          <p:cNvSpPr/>
          <p:nvPr/>
        </p:nvSpPr>
        <p:spPr bwMode="gray">
          <a:xfrm>
            <a:off x="551240" y="5410764"/>
            <a:ext cx="309983"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200" b="1">
                <a:solidFill>
                  <a:schemeClr val="bg1"/>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15" name="Oval 14">
            <a:extLst>
              <a:ext uri="{FF2B5EF4-FFF2-40B4-BE49-F238E27FC236}">
                <a16:creationId xmlns:a16="http://schemas.microsoft.com/office/drawing/2014/main" id="{C4798CC9-22A7-86E0-E173-59A42A6D3863}"/>
              </a:ext>
            </a:extLst>
          </p:cNvPr>
          <p:cNvSpPr/>
          <p:nvPr/>
        </p:nvSpPr>
        <p:spPr bwMode="gray">
          <a:xfrm>
            <a:off x="551240" y="6021568"/>
            <a:ext cx="309983"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200" b="1">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16" name="Group 15">
            <a:extLst>
              <a:ext uri="{FF2B5EF4-FFF2-40B4-BE49-F238E27FC236}">
                <a16:creationId xmlns:a16="http://schemas.microsoft.com/office/drawing/2014/main" id="{99ED776B-5EE5-9D10-4AC6-CA2C7496A32D}"/>
              </a:ext>
            </a:extLst>
          </p:cNvPr>
          <p:cNvGrpSpPr/>
          <p:nvPr/>
        </p:nvGrpSpPr>
        <p:grpSpPr>
          <a:xfrm>
            <a:off x="5453441" y="5153380"/>
            <a:ext cx="5843210" cy="1281204"/>
            <a:chOff x="5514853" y="4846151"/>
            <a:chExt cx="3612162" cy="1887175"/>
          </a:xfrm>
        </p:grpSpPr>
        <p:sp>
          <p:nvSpPr>
            <p:cNvPr id="17" name="Rectangle 16">
              <a:extLst>
                <a:ext uri="{FF2B5EF4-FFF2-40B4-BE49-F238E27FC236}">
                  <a16:creationId xmlns:a16="http://schemas.microsoft.com/office/drawing/2014/main" id="{499C64DD-EDDA-0F3D-C5E7-CBAF7F16C843}"/>
                </a:ext>
              </a:extLst>
            </p:cNvPr>
            <p:cNvSpPr/>
            <p:nvPr/>
          </p:nvSpPr>
          <p:spPr bwMode="gray">
            <a:xfrm>
              <a:off x="5514853" y="4846151"/>
              <a:ext cx="1787026" cy="280830"/>
            </a:xfrm>
            <a:prstGeom prst="rect">
              <a:avLst/>
            </a:prstGeom>
            <a:solidFill>
              <a:schemeClr val="accent1"/>
            </a:solidFill>
            <a:ln w="19050" algn="ctr">
              <a:noFill/>
              <a:miter lim="800000"/>
              <a:headEnd/>
              <a:tailEnd/>
            </a:ln>
          </p:spPr>
          <p:txBody>
            <a:bodyPr wrap="square" lIns="88900" tIns="88900" rIns="88900" bIns="88900" rtlCol="0" anchor="ctr"/>
            <a:lstStyle/>
            <a:p>
              <a:pPr marL="365760">
                <a:lnSpc>
                  <a:spcPct val="106000"/>
                </a:lnSpc>
                <a:buFont typeface="Wingdings 2" pitchFamily="18" charset="2"/>
                <a:buNone/>
              </a:pPr>
              <a:r>
                <a:rPr lang="en-GB" sz="1000" b="1">
                  <a:solidFill>
                    <a:schemeClr val="bg1"/>
                  </a:solidFill>
                  <a:latin typeface="Open Sans" panose="020B0606030504020204" pitchFamily="34" charset="0"/>
                  <a:ea typeface="Open Sans" panose="020B0606030504020204" pitchFamily="34" charset="0"/>
                  <a:cs typeface="Open Sans" panose="020B0606030504020204" pitchFamily="34" charset="0"/>
                </a:rPr>
                <a:t>Financial</a:t>
              </a:r>
            </a:p>
          </p:txBody>
        </p:sp>
        <p:sp>
          <p:nvSpPr>
            <p:cNvPr id="18" name="Rectangle 17">
              <a:extLst>
                <a:ext uri="{FF2B5EF4-FFF2-40B4-BE49-F238E27FC236}">
                  <a16:creationId xmlns:a16="http://schemas.microsoft.com/office/drawing/2014/main" id="{CF8FF504-0EC7-0EC4-3478-9EA5F2A88C0B}"/>
                </a:ext>
              </a:extLst>
            </p:cNvPr>
            <p:cNvSpPr/>
            <p:nvPr/>
          </p:nvSpPr>
          <p:spPr bwMode="gray">
            <a:xfrm>
              <a:off x="7337436" y="4846151"/>
              <a:ext cx="1787026" cy="280830"/>
            </a:xfrm>
            <a:prstGeom prst="rect">
              <a:avLst/>
            </a:prstGeom>
            <a:solidFill>
              <a:schemeClr val="accent2"/>
            </a:solidFill>
            <a:ln w="19050" algn="ctr">
              <a:noFill/>
              <a:miter lim="800000"/>
              <a:headEnd/>
              <a:tailEnd/>
            </a:ln>
          </p:spPr>
          <p:txBody>
            <a:bodyPr wrap="square" lIns="88900" tIns="88900" rIns="88900" bIns="88900" rtlCol="0" anchor="ctr"/>
            <a:lstStyle/>
            <a:p>
              <a:pPr marL="365760">
                <a:lnSpc>
                  <a:spcPct val="106000"/>
                </a:lnSpc>
                <a:buFont typeface="Wingdings 2" pitchFamily="18" charset="2"/>
                <a:buNone/>
              </a:pPr>
              <a:r>
                <a:rPr lang="en-GB" sz="1000" b="1">
                  <a:solidFill>
                    <a:schemeClr val="bg1"/>
                  </a:solidFill>
                  <a:latin typeface="Open Sans" panose="020B0606030504020204" pitchFamily="34" charset="0"/>
                  <a:ea typeface="Open Sans" panose="020B0606030504020204" pitchFamily="34" charset="0"/>
                  <a:cs typeface="Open Sans" panose="020B0606030504020204" pitchFamily="34" charset="0"/>
                </a:rPr>
                <a:t>Customer</a:t>
              </a:r>
            </a:p>
          </p:txBody>
        </p:sp>
        <p:sp>
          <p:nvSpPr>
            <p:cNvPr id="19" name="Rectangle 18">
              <a:extLst>
                <a:ext uri="{FF2B5EF4-FFF2-40B4-BE49-F238E27FC236}">
                  <a16:creationId xmlns:a16="http://schemas.microsoft.com/office/drawing/2014/main" id="{4CF2E929-00CB-7C58-260E-745106125AB9}"/>
                </a:ext>
              </a:extLst>
            </p:cNvPr>
            <p:cNvSpPr/>
            <p:nvPr/>
          </p:nvSpPr>
          <p:spPr bwMode="gray">
            <a:xfrm>
              <a:off x="5514854" y="5776690"/>
              <a:ext cx="1787026" cy="280830"/>
            </a:xfrm>
            <a:prstGeom prst="rect">
              <a:avLst/>
            </a:prstGeom>
            <a:solidFill>
              <a:schemeClr val="accent4"/>
            </a:solidFill>
            <a:ln w="19050" algn="ctr">
              <a:noFill/>
              <a:miter lim="800000"/>
              <a:headEnd/>
              <a:tailEnd/>
            </a:ln>
          </p:spPr>
          <p:txBody>
            <a:bodyPr wrap="square" lIns="88900" tIns="88900" rIns="88900" bIns="88900" rtlCol="0" anchor="ctr"/>
            <a:lstStyle/>
            <a:p>
              <a:pPr marL="365760">
                <a:lnSpc>
                  <a:spcPct val="106000"/>
                </a:lnSpc>
                <a:buFont typeface="Wingdings 2" pitchFamily="18" charset="2"/>
                <a:buNone/>
              </a:pPr>
              <a:r>
                <a:rPr lang="en-GB" sz="1000" b="1">
                  <a:solidFill>
                    <a:schemeClr val="bg1"/>
                  </a:solidFill>
                  <a:latin typeface="Open Sans" panose="020B0606030504020204" pitchFamily="34" charset="0"/>
                  <a:ea typeface="Open Sans" panose="020B0606030504020204" pitchFamily="34" charset="0"/>
                  <a:cs typeface="Open Sans" panose="020B0606030504020204" pitchFamily="34" charset="0"/>
                </a:rPr>
                <a:t>Internal processes</a:t>
              </a:r>
            </a:p>
          </p:txBody>
        </p:sp>
        <p:sp>
          <p:nvSpPr>
            <p:cNvPr id="20" name="Rectangle 19">
              <a:extLst>
                <a:ext uri="{FF2B5EF4-FFF2-40B4-BE49-F238E27FC236}">
                  <a16:creationId xmlns:a16="http://schemas.microsoft.com/office/drawing/2014/main" id="{6058FF39-6CC9-08C9-D009-DE45A00123A7}"/>
                </a:ext>
              </a:extLst>
            </p:cNvPr>
            <p:cNvSpPr/>
            <p:nvPr/>
          </p:nvSpPr>
          <p:spPr bwMode="gray">
            <a:xfrm>
              <a:off x="7337436" y="5776690"/>
              <a:ext cx="1787026" cy="280830"/>
            </a:xfrm>
            <a:prstGeom prst="rect">
              <a:avLst/>
            </a:prstGeom>
            <a:solidFill>
              <a:schemeClr val="accent6"/>
            </a:solidFill>
            <a:ln w="19050" algn="ctr">
              <a:noFill/>
              <a:miter lim="800000"/>
              <a:headEnd/>
              <a:tailEnd/>
            </a:ln>
          </p:spPr>
          <p:txBody>
            <a:bodyPr wrap="square" lIns="88900" tIns="88900" rIns="88900" bIns="88900" rtlCol="0" anchor="ctr"/>
            <a:lstStyle/>
            <a:p>
              <a:pPr marL="365760">
                <a:lnSpc>
                  <a:spcPct val="106000"/>
                </a:lnSpc>
                <a:buFont typeface="Wingdings 2" pitchFamily="18" charset="2"/>
                <a:buNone/>
              </a:pPr>
              <a:r>
                <a:rPr lang="en-GB" sz="1000" b="1">
                  <a:solidFill>
                    <a:schemeClr val="bg1"/>
                  </a:solidFill>
                  <a:latin typeface="Open Sans" panose="020B0606030504020204" pitchFamily="34" charset="0"/>
                  <a:ea typeface="Open Sans" panose="020B0606030504020204" pitchFamily="34" charset="0"/>
                  <a:cs typeface="Open Sans" panose="020B0606030504020204" pitchFamily="34" charset="0"/>
                </a:rPr>
                <a:t>Capabilities</a:t>
              </a:r>
            </a:p>
          </p:txBody>
        </p:sp>
        <p:sp>
          <p:nvSpPr>
            <p:cNvPr id="21" name="Rectangle 20">
              <a:extLst>
                <a:ext uri="{FF2B5EF4-FFF2-40B4-BE49-F238E27FC236}">
                  <a16:creationId xmlns:a16="http://schemas.microsoft.com/office/drawing/2014/main" id="{603FA7BE-D86F-6290-5294-A6C6282B1D58}"/>
                </a:ext>
              </a:extLst>
            </p:cNvPr>
            <p:cNvSpPr/>
            <p:nvPr/>
          </p:nvSpPr>
          <p:spPr bwMode="gray">
            <a:xfrm>
              <a:off x="7577314" y="5068787"/>
              <a:ext cx="1549701" cy="719969"/>
            </a:xfrm>
            <a:prstGeom prst="rect">
              <a:avLst/>
            </a:prstGeom>
            <a:noFill/>
            <a:ln w="19050" algn="ctr">
              <a:noFill/>
              <a:miter lim="800000"/>
              <a:headEnd/>
              <a:tailEnd/>
            </a:ln>
          </p:spPr>
          <p:txBody>
            <a:bodyPr wrap="square" lIns="88900" tIns="88900" rIns="88900" bIns="88900" rtlCol="0" anchor="t"/>
            <a:lstStyle/>
            <a:p>
              <a:pPr marL="171450" indent="-171450">
                <a:lnSpc>
                  <a:spcPct val="106000"/>
                </a:lnSpc>
                <a:buFont typeface="Arial" panose="020B0604020202020204" pitchFamily="34" charset="0"/>
                <a:buChar char="•"/>
              </a:pPr>
              <a:r>
                <a:rPr lang="en-GB" sz="1000">
                  <a:latin typeface="Open Sans" panose="020B0606030504020204" pitchFamily="34" charset="0"/>
                  <a:ea typeface="Open Sans" panose="020B0606030504020204" pitchFamily="34" charset="0"/>
                  <a:cs typeface="Open Sans" panose="020B0606030504020204" pitchFamily="34" charset="0"/>
                </a:rPr>
                <a:t>How do customers see us?</a:t>
              </a:r>
            </a:p>
          </p:txBody>
        </p:sp>
        <p:sp>
          <p:nvSpPr>
            <p:cNvPr id="22" name="Rectangle 21">
              <a:extLst>
                <a:ext uri="{FF2B5EF4-FFF2-40B4-BE49-F238E27FC236}">
                  <a16:creationId xmlns:a16="http://schemas.microsoft.com/office/drawing/2014/main" id="{9A71ED3C-8CD6-A97B-0C17-AD32EEEB4891}"/>
                </a:ext>
              </a:extLst>
            </p:cNvPr>
            <p:cNvSpPr/>
            <p:nvPr/>
          </p:nvSpPr>
          <p:spPr bwMode="gray">
            <a:xfrm>
              <a:off x="5738602" y="6013357"/>
              <a:ext cx="1563817" cy="719969"/>
            </a:xfrm>
            <a:prstGeom prst="rect">
              <a:avLst/>
            </a:prstGeom>
            <a:noFill/>
            <a:ln w="19050" algn="ctr">
              <a:noFill/>
              <a:miter lim="800000"/>
              <a:headEnd/>
              <a:tailEnd/>
            </a:ln>
          </p:spPr>
          <p:txBody>
            <a:bodyPr wrap="square" lIns="88900" tIns="88900" rIns="88900" bIns="88900" rtlCol="0" anchor="t"/>
            <a:lstStyle/>
            <a:p>
              <a:pPr marL="171450" indent="-171450">
                <a:lnSpc>
                  <a:spcPct val="106000"/>
                </a:lnSpc>
                <a:buFont typeface="Arial" panose="020B0604020202020204" pitchFamily="34" charset="0"/>
                <a:buChar char="•"/>
              </a:pPr>
              <a:r>
                <a:rPr lang="en-GB" sz="1000">
                  <a:latin typeface="Open Sans" panose="020B0606030504020204" pitchFamily="34" charset="0"/>
                  <a:ea typeface="Open Sans" panose="020B0606030504020204" pitchFamily="34" charset="0"/>
                  <a:cs typeface="Open Sans" panose="020B0606030504020204" pitchFamily="34" charset="0"/>
                </a:rPr>
                <a:t>What must we excel at?</a:t>
              </a:r>
            </a:p>
          </p:txBody>
        </p:sp>
        <p:sp>
          <p:nvSpPr>
            <p:cNvPr id="23" name="Rectangle 22">
              <a:extLst>
                <a:ext uri="{FF2B5EF4-FFF2-40B4-BE49-F238E27FC236}">
                  <a16:creationId xmlns:a16="http://schemas.microsoft.com/office/drawing/2014/main" id="{2210EF23-D309-557B-549F-08100B29CB82}"/>
                </a:ext>
              </a:extLst>
            </p:cNvPr>
            <p:cNvSpPr/>
            <p:nvPr/>
          </p:nvSpPr>
          <p:spPr bwMode="gray">
            <a:xfrm>
              <a:off x="7561185" y="6013357"/>
              <a:ext cx="1563816" cy="719969"/>
            </a:xfrm>
            <a:prstGeom prst="rect">
              <a:avLst/>
            </a:prstGeom>
            <a:noFill/>
            <a:ln w="19050" algn="ctr">
              <a:noFill/>
              <a:miter lim="800000"/>
              <a:headEnd/>
              <a:tailEnd/>
            </a:ln>
          </p:spPr>
          <p:txBody>
            <a:bodyPr wrap="square" lIns="88900" tIns="88900" rIns="88900" bIns="88900" rtlCol="0" anchor="t"/>
            <a:lstStyle/>
            <a:p>
              <a:pPr marL="171450" indent="-171450">
                <a:lnSpc>
                  <a:spcPct val="106000"/>
                </a:lnSpc>
                <a:buFont typeface="Arial" panose="020B0604020202020204" pitchFamily="34" charset="0"/>
                <a:buChar char="•"/>
              </a:pPr>
              <a:r>
                <a:rPr lang="en-GB" sz="1000" dirty="0">
                  <a:latin typeface="Open Sans" panose="020B0606030504020204" pitchFamily="34" charset="0"/>
                  <a:ea typeface="Open Sans" panose="020B0606030504020204" pitchFamily="34" charset="0"/>
                  <a:cs typeface="Open Sans" panose="020B0606030504020204" pitchFamily="34" charset="0"/>
                </a:rPr>
                <a:t>How do we continuously improve and create value?</a:t>
              </a:r>
            </a:p>
          </p:txBody>
        </p:sp>
        <p:sp>
          <p:nvSpPr>
            <p:cNvPr id="24" name="Rectangle 23">
              <a:extLst>
                <a:ext uri="{FF2B5EF4-FFF2-40B4-BE49-F238E27FC236}">
                  <a16:creationId xmlns:a16="http://schemas.microsoft.com/office/drawing/2014/main" id="{64C5327F-8360-83CA-91C0-1EDDDC7AFEE4}"/>
                </a:ext>
              </a:extLst>
            </p:cNvPr>
            <p:cNvSpPr/>
            <p:nvPr/>
          </p:nvSpPr>
          <p:spPr bwMode="gray">
            <a:xfrm>
              <a:off x="5738602" y="5068787"/>
              <a:ext cx="1563816" cy="719969"/>
            </a:xfrm>
            <a:prstGeom prst="rect">
              <a:avLst/>
            </a:prstGeom>
            <a:noFill/>
            <a:ln w="19050" algn="ctr">
              <a:noFill/>
              <a:miter lim="800000"/>
              <a:headEnd/>
              <a:tailEnd/>
            </a:ln>
          </p:spPr>
          <p:txBody>
            <a:bodyPr wrap="square" lIns="88900" tIns="88900" rIns="88900" bIns="88900" rtlCol="0" anchor="t"/>
            <a:lstStyle/>
            <a:p>
              <a:pPr marL="171450" indent="-171450">
                <a:lnSpc>
                  <a:spcPct val="106000"/>
                </a:lnSpc>
                <a:buFont typeface="Arial" panose="020B0604020202020204" pitchFamily="34" charset="0"/>
                <a:buChar char="•"/>
              </a:pPr>
              <a:r>
                <a:rPr lang="en-GB" sz="1000" dirty="0">
                  <a:latin typeface="Open Sans" panose="020B0606030504020204" pitchFamily="34" charset="0"/>
                  <a:ea typeface="Open Sans" panose="020B0606030504020204" pitchFamily="34" charset="0"/>
                  <a:cs typeface="Open Sans" panose="020B0606030504020204" pitchFamily="34" charset="0"/>
                </a:rPr>
                <a:t>How do we look to shareholders?</a:t>
              </a:r>
            </a:p>
          </p:txBody>
        </p:sp>
      </p:grpSp>
      <p:sp>
        <p:nvSpPr>
          <p:cNvPr id="25" name="Oval 24">
            <a:extLst>
              <a:ext uri="{FF2B5EF4-FFF2-40B4-BE49-F238E27FC236}">
                <a16:creationId xmlns:a16="http://schemas.microsoft.com/office/drawing/2014/main" id="{D079E1A6-C51C-0198-9A00-F538752C47E5}"/>
              </a:ext>
            </a:extLst>
          </p:cNvPr>
          <p:cNvSpPr/>
          <p:nvPr/>
        </p:nvSpPr>
        <p:spPr bwMode="gray">
          <a:xfrm>
            <a:off x="5557400" y="5126880"/>
            <a:ext cx="228600" cy="2286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pPr>
            <a:r>
              <a:rPr lang="en-GB" sz="1000" b="1">
                <a:latin typeface="Open Sans" panose="020B0606030504020204" pitchFamily="34" charset="0"/>
                <a:ea typeface="Open Sans" panose="020B0606030504020204" pitchFamily="34" charset="0"/>
                <a:cs typeface="Open Sans" panose="020B0606030504020204" pitchFamily="34" charset="0"/>
              </a:rPr>
              <a:t>1</a:t>
            </a:r>
          </a:p>
        </p:txBody>
      </p:sp>
      <p:sp>
        <p:nvSpPr>
          <p:cNvPr id="26" name="Oval 25">
            <a:extLst>
              <a:ext uri="{FF2B5EF4-FFF2-40B4-BE49-F238E27FC236}">
                <a16:creationId xmlns:a16="http://schemas.microsoft.com/office/drawing/2014/main" id="{550D28EA-B21D-B573-6F21-7180EE54552A}"/>
              </a:ext>
            </a:extLst>
          </p:cNvPr>
          <p:cNvSpPr/>
          <p:nvPr/>
        </p:nvSpPr>
        <p:spPr bwMode="gray">
          <a:xfrm>
            <a:off x="8479467" y="5115994"/>
            <a:ext cx="228600" cy="2286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pPr>
            <a:r>
              <a:rPr lang="en-GB" sz="1000" b="1">
                <a:latin typeface="Open Sans" panose="020B0606030504020204" pitchFamily="34" charset="0"/>
                <a:ea typeface="Open Sans" panose="020B0606030504020204" pitchFamily="34" charset="0"/>
                <a:cs typeface="Open Sans" panose="020B0606030504020204" pitchFamily="34" charset="0"/>
              </a:rPr>
              <a:t>2</a:t>
            </a:r>
          </a:p>
        </p:txBody>
      </p:sp>
      <p:sp>
        <p:nvSpPr>
          <p:cNvPr id="27" name="Oval 26">
            <a:extLst>
              <a:ext uri="{FF2B5EF4-FFF2-40B4-BE49-F238E27FC236}">
                <a16:creationId xmlns:a16="http://schemas.microsoft.com/office/drawing/2014/main" id="{6E0587FA-7091-0E96-DD5E-2EC65CA5496A}"/>
              </a:ext>
            </a:extLst>
          </p:cNvPr>
          <p:cNvSpPr/>
          <p:nvPr/>
        </p:nvSpPr>
        <p:spPr bwMode="gray">
          <a:xfrm>
            <a:off x="5555682" y="5736589"/>
            <a:ext cx="228600" cy="2286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pPr>
            <a:r>
              <a:rPr lang="en-GB" sz="1000" b="1">
                <a:latin typeface="Open Sans" panose="020B0606030504020204" pitchFamily="34" charset="0"/>
                <a:ea typeface="Open Sans" panose="020B0606030504020204" pitchFamily="34" charset="0"/>
                <a:cs typeface="Open Sans" panose="020B0606030504020204" pitchFamily="34" charset="0"/>
              </a:rPr>
              <a:t>3</a:t>
            </a:r>
          </a:p>
        </p:txBody>
      </p:sp>
      <p:sp>
        <p:nvSpPr>
          <p:cNvPr id="28" name="Oval 27">
            <a:extLst>
              <a:ext uri="{FF2B5EF4-FFF2-40B4-BE49-F238E27FC236}">
                <a16:creationId xmlns:a16="http://schemas.microsoft.com/office/drawing/2014/main" id="{50096E95-66C5-B07C-0506-740B0AC725E0}"/>
              </a:ext>
            </a:extLst>
          </p:cNvPr>
          <p:cNvSpPr/>
          <p:nvPr/>
        </p:nvSpPr>
        <p:spPr bwMode="gray">
          <a:xfrm>
            <a:off x="8479467" y="5725703"/>
            <a:ext cx="228600" cy="2286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pPr>
            <a:r>
              <a:rPr lang="en-GB" sz="1000" b="1">
                <a:latin typeface="Open Sans" panose="020B0606030504020204" pitchFamily="34" charset="0"/>
                <a:ea typeface="Open Sans" panose="020B0606030504020204" pitchFamily="34" charset="0"/>
                <a:cs typeface="Open Sans" panose="020B0606030504020204" pitchFamily="34" charset="0"/>
              </a:rPr>
              <a:t>4</a:t>
            </a:r>
          </a:p>
        </p:txBody>
      </p:sp>
      <p:sp>
        <p:nvSpPr>
          <p:cNvPr id="29" name="Rectangle 28">
            <a:extLst>
              <a:ext uri="{FF2B5EF4-FFF2-40B4-BE49-F238E27FC236}">
                <a16:creationId xmlns:a16="http://schemas.microsoft.com/office/drawing/2014/main" id="{777F3DC4-499A-75C1-6E85-99B3E3D4C1A0}"/>
              </a:ext>
            </a:extLst>
          </p:cNvPr>
          <p:cNvSpPr/>
          <p:nvPr/>
        </p:nvSpPr>
        <p:spPr bwMode="gray">
          <a:xfrm>
            <a:off x="506795" y="1837220"/>
            <a:ext cx="4624408" cy="37993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00" b="1" dirty="0">
                <a:latin typeface="Open Sans" panose="020B0606030504020204" pitchFamily="34" charset="0"/>
                <a:ea typeface="Open Sans" panose="020B0606030504020204" pitchFamily="34" charset="0"/>
                <a:cs typeface="Open Sans" panose="020B0606030504020204" pitchFamily="34" charset="0"/>
              </a:rPr>
              <a:t>Deloitte Enterprise Value Map </a:t>
            </a:r>
            <a:r>
              <a:rPr lang="en-GB" sz="1000" dirty="0">
                <a:latin typeface="Open Sans" panose="020B0606030504020204" pitchFamily="34" charset="0"/>
                <a:ea typeface="Open Sans" panose="020B0606030504020204" pitchFamily="34" charset="0"/>
                <a:cs typeface="Open Sans" panose="020B0606030504020204" pitchFamily="34" charset="0"/>
              </a:rPr>
              <a:t>is</a:t>
            </a:r>
            <a:r>
              <a:rPr lang="en-GB" sz="1000" dirty="0">
                <a:solidFill>
                  <a:srgbClr val="FF0000"/>
                </a:solidFill>
                <a:latin typeface="Open Sans" panose="020B0606030504020204" pitchFamily="34" charset="0"/>
                <a:ea typeface="Open Sans" panose="020B0606030504020204" pitchFamily="34" charset="0"/>
                <a:cs typeface="Open Sans" panose="020B0606030504020204" pitchFamily="34" charset="0"/>
              </a:rPr>
              <a:t> </a:t>
            </a:r>
            <a:r>
              <a:rPr lang="en-GB" sz="1000" dirty="0">
                <a:latin typeface="Open Sans" panose="020B0606030504020204" pitchFamily="34" charset="0"/>
                <a:ea typeface="Open Sans" panose="020B0606030504020204" pitchFamily="34" charset="0"/>
                <a:cs typeface="Open Sans" panose="020B0606030504020204" pitchFamily="34" charset="0"/>
              </a:rPr>
              <a:t>to be used for identifying the main value drivers and necessary metrics across the scorecard dimensions </a:t>
            </a:r>
          </a:p>
        </p:txBody>
      </p:sp>
      <p:pic>
        <p:nvPicPr>
          <p:cNvPr id="30" name="Picture 29">
            <a:extLst>
              <a:ext uri="{FF2B5EF4-FFF2-40B4-BE49-F238E27FC236}">
                <a16:creationId xmlns:a16="http://schemas.microsoft.com/office/drawing/2014/main" id="{256A38BF-BF12-3A30-6C49-C8D1EE5106B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24168" y="2846990"/>
            <a:ext cx="4710082" cy="2179222"/>
          </a:xfrm>
          <a:prstGeom prst="rect">
            <a:avLst/>
          </a:prstGeom>
        </p:spPr>
      </p:pic>
      <p:sp>
        <p:nvSpPr>
          <p:cNvPr id="31" name="Rectangle 30">
            <a:extLst>
              <a:ext uri="{FF2B5EF4-FFF2-40B4-BE49-F238E27FC236}">
                <a16:creationId xmlns:a16="http://schemas.microsoft.com/office/drawing/2014/main" id="{3E0FAD24-39AB-B9E9-8BC6-30E609A5E689}"/>
              </a:ext>
            </a:extLst>
          </p:cNvPr>
          <p:cNvSpPr/>
          <p:nvPr/>
        </p:nvSpPr>
        <p:spPr bwMode="gray">
          <a:xfrm rot="1858350">
            <a:off x="9316701" y="2927073"/>
            <a:ext cx="889648" cy="256792"/>
          </a:xfrm>
          <a:prstGeom prst="rect">
            <a:avLst/>
          </a:prstGeom>
          <a:solidFill>
            <a:schemeClr val="bg1">
              <a:alpha val="80000"/>
            </a:schemeClr>
          </a:solid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GB" sz="1000" b="1">
                <a:solidFill>
                  <a:srgbClr val="FF0000"/>
                </a:solidFill>
                <a:latin typeface="Open Sans" panose="020B0606030504020204" pitchFamily="34" charset="0"/>
                <a:ea typeface="Open Sans" panose="020B0606030504020204" pitchFamily="34" charset="0"/>
                <a:cs typeface="Open Sans" panose="020B0606030504020204" pitchFamily="34" charset="0"/>
              </a:rPr>
              <a:t>Illustration</a:t>
            </a:r>
          </a:p>
        </p:txBody>
      </p:sp>
      <p:sp>
        <p:nvSpPr>
          <p:cNvPr id="32" name="Rectangular Callout 81">
            <a:extLst>
              <a:ext uri="{FF2B5EF4-FFF2-40B4-BE49-F238E27FC236}">
                <a16:creationId xmlns:a16="http://schemas.microsoft.com/office/drawing/2014/main" id="{D58DAEB3-9E28-5ADF-CBF2-4382E2CBEDF1}"/>
              </a:ext>
            </a:extLst>
          </p:cNvPr>
          <p:cNvSpPr/>
          <p:nvPr/>
        </p:nvSpPr>
        <p:spPr bwMode="gray">
          <a:xfrm>
            <a:off x="10170061" y="2834116"/>
            <a:ext cx="1347024" cy="2172984"/>
          </a:xfrm>
          <a:prstGeom prst="wedgeRectCallout">
            <a:avLst>
              <a:gd name="adj1" fmla="val -70348"/>
              <a:gd name="adj2" fmla="val 5607"/>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00" dirty="0">
                <a:latin typeface="Open Sans" panose="020B0606030504020204" pitchFamily="34" charset="0"/>
                <a:ea typeface="Open Sans" panose="020B0606030504020204" pitchFamily="34" charset="0"/>
                <a:cs typeface="Open Sans" panose="020B0606030504020204" pitchFamily="34" charset="0"/>
              </a:rPr>
              <a:t>For each strategic performance indicator, it is necessary to define a </a:t>
            </a:r>
            <a:r>
              <a:rPr lang="en-GB" sz="1000" b="1" dirty="0">
                <a:latin typeface="Open Sans" panose="020B0606030504020204" pitchFamily="34" charset="0"/>
                <a:ea typeface="Open Sans" panose="020B0606030504020204" pitchFamily="34" charset="0"/>
                <a:cs typeface="Open Sans" panose="020B0606030504020204" pitchFamily="34" charset="0"/>
              </a:rPr>
              <a:t>counterbalancing metric</a:t>
            </a:r>
            <a:r>
              <a:rPr lang="en-GB" sz="1000" dirty="0">
                <a:latin typeface="Open Sans" panose="020B0606030504020204" pitchFamily="34" charset="0"/>
                <a:ea typeface="Open Sans" panose="020B0606030504020204" pitchFamily="34" charset="0"/>
                <a:cs typeface="Open Sans" panose="020B0606030504020204" pitchFamily="34" charset="0"/>
              </a:rPr>
              <a:t>, which specifies which other indicators must not deteriorate while fulfilling a given strategic indicator. </a:t>
            </a:r>
            <a:endParaRPr lang="en-GB" sz="1000" b="1" dirty="0">
              <a:latin typeface="Open Sans" panose="020B0606030504020204" pitchFamily="34" charset="0"/>
              <a:ea typeface="Open Sans" panose="020B0606030504020204" pitchFamily="34" charset="0"/>
              <a:cs typeface="Open Sans" panose="020B0606030504020204" pitchFamily="34" charset="0"/>
            </a:endParaRPr>
          </a:p>
        </p:txBody>
      </p:sp>
      <p:pic>
        <p:nvPicPr>
          <p:cNvPr id="33" name="Picture 32">
            <a:extLst>
              <a:ext uri="{FF2B5EF4-FFF2-40B4-BE49-F238E27FC236}">
                <a16:creationId xmlns:a16="http://schemas.microsoft.com/office/drawing/2014/main" id="{6AFFB605-96EF-DE86-4700-528223C7CF5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05942" y="2229071"/>
            <a:ext cx="3883264" cy="1890960"/>
          </a:xfrm>
          <a:prstGeom prst="rect">
            <a:avLst/>
          </a:prstGeom>
        </p:spPr>
      </p:pic>
      <p:sp>
        <p:nvSpPr>
          <p:cNvPr id="34" name="Rectangle 33">
            <a:extLst>
              <a:ext uri="{FF2B5EF4-FFF2-40B4-BE49-F238E27FC236}">
                <a16:creationId xmlns:a16="http://schemas.microsoft.com/office/drawing/2014/main" id="{54C8FD43-D299-C2F3-8E42-0B1BFA4AC05C}"/>
              </a:ext>
            </a:extLst>
          </p:cNvPr>
          <p:cNvSpPr/>
          <p:nvPr/>
        </p:nvSpPr>
        <p:spPr bwMode="gray">
          <a:xfrm rot="1858350">
            <a:off x="4184972" y="2391329"/>
            <a:ext cx="889648" cy="256792"/>
          </a:xfrm>
          <a:prstGeom prst="rect">
            <a:avLst/>
          </a:prstGeom>
          <a:solidFill>
            <a:schemeClr val="bg1">
              <a:alpha val="80000"/>
            </a:schemeClr>
          </a:solid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GB" sz="1000" b="1">
                <a:solidFill>
                  <a:srgbClr val="FF0000"/>
                </a:solidFill>
                <a:latin typeface="Open Sans" panose="020B0606030504020204" pitchFamily="34" charset="0"/>
                <a:ea typeface="Open Sans" panose="020B0606030504020204" pitchFamily="34" charset="0"/>
                <a:cs typeface="Open Sans" panose="020B0606030504020204" pitchFamily="34" charset="0"/>
              </a:rPr>
              <a:t>Illustration</a:t>
            </a:r>
          </a:p>
        </p:txBody>
      </p:sp>
      <p:sp>
        <p:nvSpPr>
          <p:cNvPr id="35" name="Freeform 4">
            <a:extLst>
              <a:ext uri="{FF2B5EF4-FFF2-40B4-BE49-F238E27FC236}">
                <a16:creationId xmlns:a16="http://schemas.microsoft.com/office/drawing/2014/main" id="{57216971-2DC3-07C2-4800-D03183C96D10}"/>
              </a:ext>
            </a:extLst>
          </p:cNvPr>
          <p:cNvSpPr>
            <a:spLocks/>
          </p:cNvSpPr>
          <p:nvPr/>
        </p:nvSpPr>
        <p:spPr bwMode="auto">
          <a:xfrm rot="5127644" flipH="1" flipV="1">
            <a:off x="532051" y="3504482"/>
            <a:ext cx="507540" cy="296653"/>
          </a:xfrm>
          <a:custGeom>
            <a:avLst/>
            <a:gdLst>
              <a:gd name="T0" fmla="*/ 656 w 657"/>
              <a:gd name="T1" fmla="*/ 282 h 283"/>
              <a:gd name="T2" fmla="*/ 640 w 657"/>
              <a:gd name="T3" fmla="*/ 261 h 283"/>
              <a:gd name="T4" fmla="*/ 624 w 657"/>
              <a:gd name="T5" fmla="*/ 242 h 283"/>
              <a:gd name="T6" fmla="*/ 605 w 657"/>
              <a:gd name="T7" fmla="*/ 224 h 283"/>
              <a:gd name="T8" fmla="*/ 588 w 657"/>
              <a:gd name="T9" fmla="*/ 205 h 283"/>
              <a:gd name="T10" fmla="*/ 570 w 657"/>
              <a:gd name="T11" fmla="*/ 187 h 283"/>
              <a:gd name="T12" fmla="*/ 551 w 657"/>
              <a:gd name="T13" fmla="*/ 171 h 283"/>
              <a:gd name="T14" fmla="*/ 531 w 657"/>
              <a:gd name="T15" fmla="*/ 155 h 283"/>
              <a:gd name="T16" fmla="*/ 511 w 657"/>
              <a:gd name="T17" fmla="*/ 140 h 283"/>
              <a:gd name="T18" fmla="*/ 491 w 657"/>
              <a:gd name="T19" fmla="*/ 125 h 283"/>
              <a:gd name="T20" fmla="*/ 469 w 657"/>
              <a:gd name="T21" fmla="*/ 110 h 283"/>
              <a:gd name="T22" fmla="*/ 447 w 657"/>
              <a:gd name="T23" fmla="*/ 99 h 283"/>
              <a:gd name="T24" fmla="*/ 425 w 657"/>
              <a:gd name="T25" fmla="*/ 85 h 283"/>
              <a:gd name="T26" fmla="*/ 404 w 657"/>
              <a:gd name="T27" fmla="*/ 74 h 283"/>
              <a:gd name="T28" fmla="*/ 381 w 657"/>
              <a:gd name="T29" fmla="*/ 63 h 283"/>
              <a:gd name="T30" fmla="*/ 357 w 657"/>
              <a:gd name="T31" fmla="*/ 54 h 283"/>
              <a:gd name="T32" fmla="*/ 334 w 657"/>
              <a:gd name="T33" fmla="*/ 43 h 283"/>
              <a:gd name="T34" fmla="*/ 310 w 657"/>
              <a:gd name="T35" fmla="*/ 35 h 283"/>
              <a:gd name="T36" fmla="*/ 285 w 657"/>
              <a:gd name="T37" fmla="*/ 28 h 283"/>
              <a:gd name="T38" fmla="*/ 262 w 657"/>
              <a:gd name="T39" fmla="*/ 22 h 283"/>
              <a:gd name="T40" fmla="*/ 238 w 657"/>
              <a:gd name="T41" fmla="*/ 16 h 283"/>
              <a:gd name="T42" fmla="*/ 213 w 657"/>
              <a:gd name="T43" fmla="*/ 11 h 283"/>
              <a:gd name="T44" fmla="*/ 188 w 657"/>
              <a:gd name="T45" fmla="*/ 6 h 283"/>
              <a:gd name="T46" fmla="*/ 162 w 657"/>
              <a:gd name="T47" fmla="*/ 4 h 283"/>
              <a:gd name="T48" fmla="*/ 137 w 657"/>
              <a:gd name="T49" fmla="*/ 2 h 283"/>
              <a:gd name="T50" fmla="*/ 113 w 657"/>
              <a:gd name="T51" fmla="*/ 1 h 283"/>
              <a:gd name="T52" fmla="*/ 87 w 657"/>
              <a:gd name="T53" fmla="*/ 0 h 283"/>
              <a:gd name="T54" fmla="*/ 62 w 657"/>
              <a:gd name="T55" fmla="*/ 1 h 283"/>
              <a:gd name="T56" fmla="*/ 36 w 657"/>
              <a:gd name="T57" fmla="*/ 2 h 283"/>
              <a:gd name="T58" fmla="*/ 12 w 657"/>
              <a:gd name="T59" fmla="*/ 4 h 283"/>
              <a:gd name="T60" fmla="*/ 0 w 657"/>
              <a:gd name="T61" fmla="*/ 6 h 2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7"/>
              <a:gd name="T94" fmla="*/ 0 h 283"/>
              <a:gd name="T95" fmla="*/ 657 w 657"/>
              <a:gd name="T96" fmla="*/ 283 h 28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7" h="283">
                <a:moveTo>
                  <a:pt x="656" y="282"/>
                </a:moveTo>
                <a:lnTo>
                  <a:pt x="640" y="261"/>
                </a:lnTo>
                <a:lnTo>
                  <a:pt x="624" y="242"/>
                </a:lnTo>
                <a:lnTo>
                  <a:pt x="605" y="224"/>
                </a:lnTo>
                <a:lnTo>
                  <a:pt x="588" y="205"/>
                </a:lnTo>
                <a:lnTo>
                  <a:pt x="570" y="187"/>
                </a:lnTo>
                <a:lnTo>
                  <a:pt x="551" y="171"/>
                </a:lnTo>
                <a:lnTo>
                  <a:pt x="531" y="155"/>
                </a:lnTo>
                <a:lnTo>
                  <a:pt x="511" y="140"/>
                </a:lnTo>
                <a:lnTo>
                  <a:pt x="491" y="125"/>
                </a:lnTo>
                <a:lnTo>
                  <a:pt x="469" y="110"/>
                </a:lnTo>
                <a:lnTo>
                  <a:pt x="447" y="99"/>
                </a:lnTo>
                <a:lnTo>
                  <a:pt x="425" y="85"/>
                </a:lnTo>
                <a:lnTo>
                  <a:pt x="404" y="74"/>
                </a:lnTo>
                <a:lnTo>
                  <a:pt x="381" y="63"/>
                </a:lnTo>
                <a:lnTo>
                  <a:pt x="357" y="54"/>
                </a:lnTo>
                <a:lnTo>
                  <a:pt x="334" y="43"/>
                </a:lnTo>
                <a:lnTo>
                  <a:pt x="310" y="35"/>
                </a:lnTo>
                <a:lnTo>
                  <a:pt x="285" y="28"/>
                </a:lnTo>
                <a:lnTo>
                  <a:pt x="262" y="22"/>
                </a:lnTo>
                <a:lnTo>
                  <a:pt x="238" y="16"/>
                </a:lnTo>
                <a:lnTo>
                  <a:pt x="213" y="11"/>
                </a:lnTo>
                <a:lnTo>
                  <a:pt x="188" y="6"/>
                </a:lnTo>
                <a:lnTo>
                  <a:pt x="162" y="4"/>
                </a:lnTo>
                <a:lnTo>
                  <a:pt x="137" y="2"/>
                </a:lnTo>
                <a:lnTo>
                  <a:pt x="113" y="1"/>
                </a:lnTo>
                <a:lnTo>
                  <a:pt x="87" y="0"/>
                </a:lnTo>
                <a:lnTo>
                  <a:pt x="62" y="1"/>
                </a:lnTo>
                <a:lnTo>
                  <a:pt x="36" y="2"/>
                </a:lnTo>
                <a:lnTo>
                  <a:pt x="12" y="4"/>
                </a:lnTo>
                <a:lnTo>
                  <a:pt x="0" y="6"/>
                </a:lnTo>
              </a:path>
            </a:pathLst>
          </a:custGeom>
          <a:noFill/>
          <a:ln w="38100" cap="rnd">
            <a:solidFill>
              <a:srgbClr val="86BC25"/>
            </a:solidFill>
            <a:prstDash val="solid"/>
            <a:round/>
            <a:headEnd type="none"/>
            <a:tailEnd type="triangle"/>
          </a:ln>
        </p:spPr>
        <p:txBody>
          <a:bodyPr/>
          <a:lstStyle/>
          <a:p>
            <a:pPr defTabSz="862004"/>
            <a:endParaRPr lang="en-GB" sz="1368">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6" name="Straight Connector 35">
            <a:extLst>
              <a:ext uri="{FF2B5EF4-FFF2-40B4-BE49-F238E27FC236}">
                <a16:creationId xmlns:a16="http://schemas.microsoft.com/office/drawing/2014/main" id="{8791115D-EB2F-3588-3B60-08A2CC93D4DB}"/>
              </a:ext>
            </a:extLst>
          </p:cNvPr>
          <p:cNvCxnSpPr>
            <a:cxnSpLocks/>
          </p:cNvCxnSpPr>
          <p:nvPr/>
        </p:nvCxnSpPr>
        <p:spPr>
          <a:xfrm>
            <a:off x="918342" y="4178278"/>
            <a:ext cx="0" cy="457200"/>
          </a:xfrm>
          <a:prstGeom prst="line">
            <a:avLst/>
          </a:prstGeom>
          <a:ln w="19050"/>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08EAE2B7-5FE5-2CCC-9BA7-B7FB09997EA3}"/>
              </a:ext>
            </a:extLst>
          </p:cNvPr>
          <p:cNvCxnSpPr>
            <a:cxnSpLocks/>
          </p:cNvCxnSpPr>
          <p:nvPr/>
        </p:nvCxnSpPr>
        <p:spPr>
          <a:xfrm>
            <a:off x="918342" y="4775287"/>
            <a:ext cx="0" cy="548640"/>
          </a:xfrm>
          <a:prstGeom prst="line">
            <a:avLst/>
          </a:prstGeom>
          <a:ln w="19050"/>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500BE647-9B7A-7A31-FDD5-BAD3477CBB34}"/>
              </a:ext>
            </a:extLst>
          </p:cNvPr>
          <p:cNvCxnSpPr>
            <a:cxnSpLocks/>
          </p:cNvCxnSpPr>
          <p:nvPr/>
        </p:nvCxnSpPr>
        <p:spPr>
          <a:xfrm>
            <a:off x="918342" y="5477438"/>
            <a:ext cx="0" cy="457200"/>
          </a:xfrm>
          <a:prstGeom prst="line">
            <a:avLst/>
          </a:prstGeom>
          <a:ln w="19050"/>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EFC75104-3FEE-227B-86E9-D5FB58BEDB57}"/>
              </a:ext>
            </a:extLst>
          </p:cNvPr>
          <p:cNvCxnSpPr>
            <a:cxnSpLocks/>
          </p:cNvCxnSpPr>
          <p:nvPr/>
        </p:nvCxnSpPr>
        <p:spPr>
          <a:xfrm>
            <a:off x="918342" y="6035175"/>
            <a:ext cx="0" cy="457200"/>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8089299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5C3CBA-1F52-D2C0-8F2B-DBB130447CD8}"/>
              </a:ext>
            </a:extLst>
          </p:cNvPr>
          <p:cNvGraphicFramePr>
            <a:graphicFrameLocks noChangeAspect="1"/>
          </p:cNvGraphicFramePr>
          <p:nvPr>
            <p:custDataLst>
              <p:tags r:id="rId1"/>
            </p:custDataLst>
            <p:extLst>
              <p:ext uri="{D42A27DB-BD31-4B8C-83A1-F6EECF244321}">
                <p14:modId xmlns:p14="http://schemas.microsoft.com/office/powerpoint/2010/main" val="4294159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5" name="think-cell data - do not delete" hidden="1">
                        <a:extLst>
                          <a:ext uri="{FF2B5EF4-FFF2-40B4-BE49-F238E27FC236}">
                            <a16:creationId xmlns:a16="http://schemas.microsoft.com/office/drawing/2014/main" id="{025C3CBA-1F52-D2C0-8F2B-DBB130447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E07E27D-625A-B944-E026-9913C263DF53}"/>
              </a:ext>
            </a:extLst>
          </p:cNvPr>
          <p:cNvSpPr>
            <a:spLocks noGrp="1"/>
          </p:cNvSpPr>
          <p:nvPr>
            <p:ph type="body" sz="quarter" idx="22"/>
          </p:nvPr>
        </p:nvSpPr>
        <p:spPr>
          <a:xfrm>
            <a:off x="463295" y="936000"/>
            <a:ext cx="11277600" cy="626913"/>
          </a:xfrm>
        </p:spPr>
        <p:txBody>
          <a:bodyPr vert="horz" lIns="0" tIns="0" rIns="0" bIns="0" rtlCol="0" anchor="t">
            <a:noAutofit/>
          </a:bodyPr>
          <a:lstStyle/>
          <a:p>
            <a:r>
              <a:rPr lang="en-US" dirty="0">
                <a:solidFill>
                  <a:srgbClr val="575757"/>
                </a:solidFill>
                <a:latin typeface="Open Sans Light"/>
                <a:ea typeface="Open Sans Light"/>
                <a:cs typeface="Open Sans Light"/>
              </a:rPr>
              <a:t>Main priorities and managerial directions regarding the </a:t>
            </a:r>
            <a:r>
              <a:rPr lang="hu-HU" dirty="0">
                <a:solidFill>
                  <a:srgbClr val="575757"/>
                </a:solidFill>
                <a:latin typeface="Open Sans Light"/>
                <a:ea typeface="Open Sans Light"/>
                <a:cs typeface="Open Sans Light"/>
              </a:rPr>
              <a:t>business </a:t>
            </a:r>
            <a:r>
              <a:rPr lang="en-US" dirty="0">
                <a:solidFill>
                  <a:srgbClr val="575757"/>
                </a:solidFill>
                <a:latin typeface="Open Sans Light"/>
                <a:ea typeface="Open Sans Light"/>
                <a:cs typeface="Open Sans Light"/>
              </a:rPr>
              <a:t>performance management operation </a:t>
            </a:r>
            <a:r>
              <a:rPr lang="hu-HU" dirty="0" err="1">
                <a:solidFill>
                  <a:srgbClr val="575757"/>
                </a:solidFill>
                <a:latin typeface="Open Sans Light"/>
                <a:ea typeface="Open Sans Light"/>
                <a:cs typeface="Open Sans Light"/>
              </a:rPr>
              <a:t>need</a:t>
            </a:r>
            <a:r>
              <a:rPr lang="hu-HU" dirty="0">
                <a:solidFill>
                  <a:srgbClr val="575757"/>
                </a:solidFill>
                <a:latin typeface="Open Sans Light"/>
                <a:ea typeface="Open Sans Light"/>
                <a:cs typeface="Open Sans Light"/>
              </a:rPr>
              <a:t> </a:t>
            </a:r>
            <a:r>
              <a:rPr lang="hu-HU" dirty="0" err="1">
                <a:solidFill>
                  <a:srgbClr val="575757"/>
                </a:solidFill>
                <a:latin typeface="Open Sans Light"/>
                <a:ea typeface="Open Sans Light"/>
                <a:cs typeface="Open Sans Light"/>
              </a:rPr>
              <a:t>to</a:t>
            </a:r>
            <a:r>
              <a:rPr lang="en-US" dirty="0">
                <a:solidFill>
                  <a:srgbClr val="575757"/>
                </a:solidFill>
                <a:latin typeface="Open Sans Light"/>
                <a:ea typeface="Open Sans Light"/>
                <a:cs typeface="Open Sans Light"/>
              </a:rPr>
              <a:t> be defined via interviews conducted with management</a:t>
            </a:r>
            <a:endParaRPr lang="en-US" dirty="0"/>
          </a:p>
        </p:txBody>
      </p:sp>
      <p:sp>
        <p:nvSpPr>
          <p:cNvPr id="3" name="Title 2">
            <a:extLst>
              <a:ext uri="{FF2B5EF4-FFF2-40B4-BE49-F238E27FC236}">
                <a16:creationId xmlns:a16="http://schemas.microsoft.com/office/drawing/2014/main" id="{013FA1B6-BFBB-8452-EFD2-6DE0689AE78F}"/>
              </a:ext>
            </a:extLst>
          </p:cNvPr>
          <p:cNvSpPr>
            <a:spLocks noGrp="1"/>
          </p:cNvSpPr>
          <p:nvPr>
            <p:ph type="title"/>
          </p:nvPr>
        </p:nvSpPr>
        <p:spPr>
          <a:xfrm>
            <a:off x="463295" y="417911"/>
            <a:ext cx="10302454" cy="334099"/>
          </a:xfrm>
        </p:spPr>
        <p:txBody>
          <a:bodyPr vert="horz"/>
          <a:lstStyle/>
          <a:p>
            <a:r>
              <a:rPr lang="en-GB" dirty="0">
                <a:latin typeface="Open Sans Light"/>
                <a:ea typeface="Open Sans Light"/>
                <a:cs typeface="Open Sans Light"/>
              </a:rPr>
              <a:t>What is </a:t>
            </a:r>
            <a:r>
              <a:rPr lang="hu-HU" dirty="0" err="1">
                <a:latin typeface="Open Sans Light"/>
                <a:ea typeface="Open Sans Light"/>
                <a:cs typeface="Open Sans Light"/>
              </a:rPr>
              <a:t>the</a:t>
            </a:r>
            <a:r>
              <a:rPr lang="hu-HU" dirty="0">
                <a:latin typeface="Open Sans Light"/>
                <a:ea typeface="Open Sans Light"/>
                <a:cs typeface="Open Sans Light"/>
              </a:rPr>
              <a:t> Global Performance Management</a:t>
            </a:r>
            <a:r>
              <a:rPr lang="en-GB" dirty="0">
                <a:latin typeface="Open Sans Light"/>
                <a:ea typeface="Open Sans Light"/>
                <a:cs typeface="Open Sans Light"/>
              </a:rPr>
              <a:t> vision?</a:t>
            </a:r>
            <a:endParaRPr lang="en-US" dirty="0">
              <a:latin typeface="Open Sans Light"/>
              <a:ea typeface="Open Sans Light"/>
              <a:cs typeface="Open Sans Light"/>
            </a:endParaRPr>
          </a:p>
        </p:txBody>
      </p:sp>
      <p:cxnSp>
        <p:nvCxnSpPr>
          <p:cNvPr id="65" name="Straight Connector 64">
            <a:extLst>
              <a:ext uri="{FF2B5EF4-FFF2-40B4-BE49-F238E27FC236}">
                <a16:creationId xmlns:a16="http://schemas.microsoft.com/office/drawing/2014/main" id="{BEE3A175-BCB4-859D-B133-CB265DCB3A17}"/>
              </a:ext>
            </a:extLst>
          </p:cNvPr>
          <p:cNvCxnSpPr/>
          <p:nvPr/>
        </p:nvCxnSpPr>
        <p:spPr>
          <a:xfrm>
            <a:off x="500199" y="1854827"/>
            <a:ext cx="312303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47FCE90F-900E-39E4-2CC3-DD0A39961A9E}"/>
              </a:ext>
            </a:extLst>
          </p:cNvPr>
          <p:cNvSpPr/>
          <p:nvPr/>
        </p:nvSpPr>
        <p:spPr bwMode="gray">
          <a:xfrm>
            <a:off x="500199" y="1669583"/>
            <a:ext cx="1742198" cy="131178"/>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000" b="1" dirty="0">
                <a:latin typeface="Open Sans Regular"/>
                <a:ea typeface="Open Sans Regular"/>
                <a:cs typeface="Open Sans Regular"/>
              </a:rPr>
              <a:t>Methodology</a:t>
            </a:r>
          </a:p>
        </p:txBody>
      </p:sp>
      <p:cxnSp>
        <p:nvCxnSpPr>
          <p:cNvPr id="69" name="Straight Connector 68">
            <a:extLst>
              <a:ext uri="{FF2B5EF4-FFF2-40B4-BE49-F238E27FC236}">
                <a16:creationId xmlns:a16="http://schemas.microsoft.com/office/drawing/2014/main" id="{DBA2504D-22F4-3CBA-D87F-34B6EB426E79}"/>
              </a:ext>
            </a:extLst>
          </p:cNvPr>
          <p:cNvCxnSpPr/>
          <p:nvPr/>
        </p:nvCxnSpPr>
        <p:spPr>
          <a:xfrm>
            <a:off x="3874286" y="1854827"/>
            <a:ext cx="7807485"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328A62E2-E5CE-A5E6-7D8D-55974DB990BC}"/>
              </a:ext>
            </a:extLst>
          </p:cNvPr>
          <p:cNvSpPr/>
          <p:nvPr/>
        </p:nvSpPr>
        <p:spPr bwMode="gray">
          <a:xfrm>
            <a:off x="3907810" y="1678697"/>
            <a:ext cx="3161665" cy="1038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000" b="1" dirty="0">
                <a:latin typeface="Open Sans Regular"/>
                <a:ea typeface="Open Sans Regular"/>
                <a:cs typeface="Open Sans Regular"/>
              </a:rPr>
              <a:t>Output</a:t>
            </a:r>
          </a:p>
        </p:txBody>
      </p:sp>
      <p:sp>
        <p:nvSpPr>
          <p:cNvPr id="73" name="Rectangle 72">
            <a:extLst>
              <a:ext uri="{FF2B5EF4-FFF2-40B4-BE49-F238E27FC236}">
                <a16:creationId xmlns:a16="http://schemas.microsoft.com/office/drawing/2014/main" id="{781CF9E4-6F14-E321-23DF-4DA237094E55}"/>
              </a:ext>
            </a:extLst>
          </p:cNvPr>
          <p:cNvSpPr/>
          <p:nvPr/>
        </p:nvSpPr>
        <p:spPr bwMode="gray">
          <a:xfrm>
            <a:off x="963813" y="4111189"/>
            <a:ext cx="2516809" cy="2358952"/>
          </a:xfrm>
          <a:prstGeom prst="rect">
            <a:avLst/>
          </a:prstGeom>
          <a:noFill/>
          <a:ln w="19050" algn="ctr">
            <a:noFill/>
            <a:miter lim="800000"/>
            <a:headEnd/>
            <a:tailEnd/>
          </a:ln>
        </p:spPr>
        <p:txBody>
          <a:bodyPr wrap="square" lIns="88900" tIns="88900" rIns="88900" bIns="88900" rtlCol="0" anchor="t"/>
          <a:lstStyle/>
          <a:p>
            <a:pPr>
              <a:lnSpc>
                <a:spcPct val="106000"/>
              </a:lnSpc>
              <a:spcAft>
                <a:spcPts val="1800"/>
              </a:spcAft>
              <a:buFont typeface="Wingdings 2" pitchFamily="18" charset="2"/>
              <a:buNone/>
            </a:pPr>
            <a:r>
              <a:rPr lang="en-GB" sz="1000" dirty="0">
                <a:latin typeface="Open Sans Regular"/>
                <a:ea typeface="Open Sans Regular"/>
                <a:cs typeface="Open Sans Regular"/>
              </a:rPr>
              <a:t>As a result of the As-Is analysis, we will compile a preliminary value proposition of the performance management function.</a:t>
            </a:r>
          </a:p>
          <a:p>
            <a:pPr>
              <a:lnSpc>
                <a:spcPct val="106000"/>
              </a:lnSpc>
              <a:spcAft>
                <a:spcPts val="1800"/>
              </a:spcAft>
              <a:buFont typeface="Wingdings 2" pitchFamily="18" charset="2"/>
              <a:buNone/>
            </a:pPr>
            <a:r>
              <a:rPr lang="en-GB" sz="1000" dirty="0">
                <a:latin typeface="Open Sans Regular"/>
                <a:ea typeface="Open Sans Regular"/>
                <a:cs typeface="Open Sans Regular"/>
              </a:rPr>
              <a:t>We will conduct interviews with both executive management and experts.</a:t>
            </a:r>
          </a:p>
          <a:p>
            <a:pPr>
              <a:lnSpc>
                <a:spcPct val="106000"/>
              </a:lnSpc>
              <a:spcAft>
                <a:spcPts val="1800"/>
              </a:spcAft>
              <a:buFont typeface="Wingdings 2" pitchFamily="18" charset="2"/>
              <a:buNone/>
            </a:pPr>
            <a:r>
              <a:rPr lang="en-GB" sz="1000" dirty="0">
                <a:latin typeface="Open Sans Regular"/>
                <a:ea typeface="Open Sans Regular"/>
                <a:cs typeface="Open Sans Regular"/>
              </a:rPr>
              <a:t>We will synthetize the main priorities and considerations discovered during the interviews and finetune the initial value proposition. </a:t>
            </a:r>
          </a:p>
          <a:p>
            <a:pPr>
              <a:lnSpc>
                <a:spcPct val="106000"/>
              </a:lnSpc>
              <a:spcAft>
                <a:spcPts val="1800"/>
              </a:spcAft>
              <a:buFont typeface="Wingdings 2" pitchFamily="18" charset="2"/>
              <a:buNone/>
            </a:pPr>
            <a:endParaRPr lang="en-GB" sz="1000" dirty="0">
              <a:latin typeface="Open Sans Regular"/>
              <a:ea typeface="Open Sans Regular"/>
              <a:cs typeface="Open Sans Regular"/>
            </a:endParaRPr>
          </a:p>
        </p:txBody>
      </p:sp>
      <p:sp>
        <p:nvSpPr>
          <p:cNvPr id="75" name="Oval 74">
            <a:extLst>
              <a:ext uri="{FF2B5EF4-FFF2-40B4-BE49-F238E27FC236}">
                <a16:creationId xmlns:a16="http://schemas.microsoft.com/office/drawing/2014/main" id="{42382949-D1BD-2C96-AD5E-D7B4AC2B9AAC}"/>
              </a:ext>
            </a:extLst>
          </p:cNvPr>
          <p:cNvSpPr/>
          <p:nvPr/>
        </p:nvSpPr>
        <p:spPr bwMode="gray">
          <a:xfrm>
            <a:off x="589340" y="4198878"/>
            <a:ext cx="309983"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000" b="1" dirty="0">
                <a:solidFill>
                  <a:schemeClr val="bg1"/>
                </a:solidFill>
                <a:latin typeface="Open Sans Regular"/>
                <a:ea typeface="Open Sans Regular"/>
                <a:cs typeface="Open Sans Regular"/>
              </a:rPr>
              <a:t>1.</a:t>
            </a:r>
          </a:p>
        </p:txBody>
      </p:sp>
      <p:cxnSp>
        <p:nvCxnSpPr>
          <p:cNvPr id="77" name="Straight Connector 76">
            <a:extLst>
              <a:ext uri="{FF2B5EF4-FFF2-40B4-BE49-F238E27FC236}">
                <a16:creationId xmlns:a16="http://schemas.microsoft.com/office/drawing/2014/main" id="{9A1C79E5-933F-9BDB-B916-744A2306E792}"/>
              </a:ext>
            </a:extLst>
          </p:cNvPr>
          <p:cNvCxnSpPr>
            <a:cxnSpLocks/>
          </p:cNvCxnSpPr>
          <p:nvPr/>
        </p:nvCxnSpPr>
        <p:spPr>
          <a:xfrm>
            <a:off x="985017" y="4198877"/>
            <a:ext cx="0" cy="731520"/>
          </a:xfrm>
          <a:prstGeom prst="line">
            <a:avLst/>
          </a:prstGeom>
          <a:ln w="19050"/>
        </p:spPr>
        <p:style>
          <a:lnRef idx="1">
            <a:schemeClr val="dk1"/>
          </a:lnRef>
          <a:fillRef idx="0">
            <a:schemeClr val="dk1"/>
          </a:fillRef>
          <a:effectRef idx="0">
            <a:schemeClr val="dk1"/>
          </a:effectRef>
          <a:fontRef idx="minor">
            <a:schemeClr val="tx1"/>
          </a:fontRef>
        </p:style>
      </p:cxnSp>
      <p:sp>
        <p:nvSpPr>
          <p:cNvPr id="79" name="Oval 78">
            <a:extLst>
              <a:ext uri="{FF2B5EF4-FFF2-40B4-BE49-F238E27FC236}">
                <a16:creationId xmlns:a16="http://schemas.microsoft.com/office/drawing/2014/main" id="{7BA94F21-F9BA-7C2D-4A15-7D8A68AE9804}"/>
              </a:ext>
            </a:extLst>
          </p:cNvPr>
          <p:cNvSpPr/>
          <p:nvPr/>
        </p:nvSpPr>
        <p:spPr bwMode="gray">
          <a:xfrm>
            <a:off x="589340" y="5131732"/>
            <a:ext cx="309983"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000" b="1" dirty="0">
                <a:solidFill>
                  <a:schemeClr val="bg1"/>
                </a:solidFill>
                <a:latin typeface="Open Sans Regular"/>
                <a:ea typeface="Open Sans Regular"/>
                <a:cs typeface="Open Sans Regular"/>
              </a:rPr>
              <a:t>2.</a:t>
            </a:r>
          </a:p>
        </p:txBody>
      </p:sp>
      <p:cxnSp>
        <p:nvCxnSpPr>
          <p:cNvPr id="81" name="Straight Connector 80">
            <a:extLst>
              <a:ext uri="{FF2B5EF4-FFF2-40B4-BE49-F238E27FC236}">
                <a16:creationId xmlns:a16="http://schemas.microsoft.com/office/drawing/2014/main" id="{316E52BA-1C56-590B-541B-4243A05D2DC2}"/>
              </a:ext>
            </a:extLst>
          </p:cNvPr>
          <p:cNvCxnSpPr>
            <a:cxnSpLocks/>
          </p:cNvCxnSpPr>
          <p:nvPr/>
        </p:nvCxnSpPr>
        <p:spPr>
          <a:xfrm>
            <a:off x="985017" y="5058075"/>
            <a:ext cx="0" cy="457200"/>
          </a:xfrm>
          <a:prstGeom prst="line">
            <a:avLst/>
          </a:prstGeom>
          <a:ln w="19050"/>
        </p:spPr>
        <p:style>
          <a:lnRef idx="1">
            <a:schemeClr val="dk1"/>
          </a:lnRef>
          <a:fillRef idx="0">
            <a:schemeClr val="dk1"/>
          </a:fillRef>
          <a:effectRef idx="0">
            <a:schemeClr val="dk1"/>
          </a:effectRef>
          <a:fontRef idx="minor">
            <a:schemeClr val="tx1"/>
          </a:fontRef>
        </p:style>
      </p:cxnSp>
      <p:sp>
        <p:nvSpPr>
          <p:cNvPr id="83" name="Oval 82">
            <a:extLst>
              <a:ext uri="{FF2B5EF4-FFF2-40B4-BE49-F238E27FC236}">
                <a16:creationId xmlns:a16="http://schemas.microsoft.com/office/drawing/2014/main" id="{BF0B42C7-7164-5DC7-FB49-C6648E08B757}"/>
              </a:ext>
            </a:extLst>
          </p:cNvPr>
          <p:cNvSpPr/>
          <p:nvPr/>
        </p:nvSpPr>
        <p:spPr bwMode="gray">
          <a:xfrm>
            <a:off x="589340" y="5728753"/>
            <a:ext cx="309983"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000" b="1" dirty="0">
                <a:solidFill>
                  <a:schemeClr val="bg1"/>
                </a:solidFill>
                <a:latin typeface="Open Sans Regular"/>
                <a:ea typeface="Open Sans Regular"/>
                <a:cs typeface="Open Sans Regular"/>
              </a:rPr>
              <a:t>3.</a:t>
            </a:r>
          </a:p>
        </p:txBody>
      </p:sp>
      <p:cxnSp>
        <p:nvCxnSpPr>
          <p:cNvPr id="85" name="Straight Connector 84">
            <a:extLst>
              <a:ext uri="{FF2B5EF4-FFF2-40B4-BE49-F238E27FC236}">
                <a16:creationId xmlns:a16="http://schemas.microsoft.com/office/drawing/2014/main" id="{83506498-02B9-CFF7-1595-792E40F75945}"/>
              </a:ext>
            </a:extLst>
          </p:cNvPr>
          <p:cNvCxnSpPr>
            <a:cxnSpLocks/>
          </p:cNvCxnSpPr>
          <p:nvPr/>
        </p:nvCxnSpPr>
        <p:spPr>
          <a:xfrm>
            <a:off x="985017" y="5638515"/>
            <a:ext cx="0" cy="822960"/>
          </a:xfrm>
          <a:prstGeom prst="line">
            <a:avLst/>
          </a:prstGeom>
          <a:ln w="19050"/>
        </p:spPr>
        <p:style>
          <a:lnRef idx="1">
            <a:schemeClr val="dk1"/>
          </a:lnRef>
          <a:fillRef idx="0">
            <a:schemeClr val="dk1"/>
          </a:fillRef>
          <a:effectRef idx="0">
            <a:schemeClr val="dk1"/>
          </a:effectRef>
          <a:fontRef idx="minor">
            <a:schemeClr val="tx1"/>
          </a:fontRef>
        </p:style>
      </p:cxnSp>
      <p:sp>
        <p:nvSpPr>
          <p:cNvPr id="87" name="Freeform 4">
            <a:extLst>
              <a:ext uri="{FF2B5EF4-FFF2-40B4-BE49-F238E27FC236}">
                <a16:creationId xmlns:a16="http://schemas.microsoft.com/office/drawing/2014/main" id="{50DEBC44-6E9B-D9F2-5F35-6307C15EF3EB}"/>
              </a:ext>
            </a:extLst>
          </p:cNvPr>
          <p:cNvSpPr>
            <a:spLocks/>
          </p:cNvSpPr>
          <p:nvPr/>
        </p:nvSpPr>
        <p:spPr bwMode="auto">
          <a:xfrm rot="5127644" flipH="1" flipV="1">
            <a:off x="747477" y="3450576"/>
            <a:ext cx="507540" cy="296653"/>
          </a:xfrm>
          <a:custGeom>
            <a:avLst/>
            <a:gdLst>
              <a:gd name="T0" fmla="*/ 656 w 657"/>
              <a:gd name="T1" fmla="*/ 282 h 283"/>
              <a:gd name="T2" fmla="*/ 640 w 657"/>
              <a:gd name="T3" fmla="*/ 261 h 283"/>
              <a:gd name="T4" fmla="*/ 624 w 657"/>
              <a:gd name="T5" fmla="*/ 242 h 283"/>
              <a:gd name="T6" fmla="*/ 605 w 657"/>
              <a:gd name="T7" fmla="*/ 224 h 283"/>
              <a:gd name="T8" fmla="*/ 588 w 657"/>
              <a:gd name="T9" fmla="*/ 205 h 283"/>
              <a:gd name="T10" fmla="*/ 570 w 657"/>
              <a:gd name="T11" fmla="*/ 187 h 283"/>
              <a:gd name="T12" fmla="*/ 551 w 657"/>
              <a:gd name="T13" fmla="*/ 171 h 283"/>
              <a:gd name="T14" fmla="*/ 531 w 657"/>
              <a:gd name="T15" fmla="*/ 155 h 283"/>
              <a:gd name="T16" fmla="*/ 511 w 657"/>
              <a:gd name="T17" fmla="*/ 140 h 283"/>
              <a:gd name="T18" fmla="*/ 491 w 657"/>
              <a:gd name="T19" fmla="*/ 125 h 283"/>
              <a:gd name="T20" fmla="*/ 469 w 657"/>
              <a:gd name="T21" fmla="*/ 110 h 283"/>
              <a:gd name="T22" fmla="*/ 447 w 657"/>
              <a:gd name="T23" fmla="*/ 99 h 283"/>
              <a:gd name="T24" fmla="*/ 425 w 657"/>
              <a:gd name="T25" fmla="*/ 85 h 283"/>
              <a:gd name="T26" fmla="*/ 404 w 657"/>
              <a:gd name="T27" fmla="*/ 74 h 283"/>
              <a:gd name="T28" fmla="*/ 381 w 657"/>
              <a:gd name="T29" fmla="*/ 63 h 283"/>
              <a:gd name="T30" fmla="*/ 357 w 657"/>
              <a:gd name="T31" fmla="*/ 54 h 283"/>
              <a:gd name="T32" fmla="*/ 334 w 657"/>
              <a:gd name="T33" fmla="*/ 43 h 283"/>
              <a:gd name="T34" fmla="*/ 310 w 657"/>
              <a:gd name="T35" fmla="*/ 35 h 283"/>
              <a:gd name="T36" fmla="*/ 285 w 657"/>
              <a:gd name="T37" fmla="*/ 28 h 283"/>
              <a:gd name="T38" fmla="*/ 262 w 657"/>
              <a:gd name="T39" fmla="*/ 22 h 283"/>
              <a:gd name="T40" fmla="*/ 238 w 657"/>
              <a:gd name="T41" fmla="*/ 16 h 283"/>
              <a:gd name="T42" fmla="*/ 213 w 657"/>
              <a:gd name="T43" fmla="*/ 11 h 283"/>
              <a:gd name="T44" fmla="*/ 188 w 657"/>
              <a:gd name="T45" fmla="*/ 6 h 283"/>
              <a:gd name="T46" fmla="*/ 162 w 657"/>
              <a:gd name="T47" fmla="*/ 4 h 283"/>
              <a:gd name="T48" fmla="*/ 137 w 657"/>
              <a:gd name="T49" fmla="*/ 2 h 283"/>
              <a:gd name="T50" fmla="*/ 113 w 657"/>
              <a:gd name="T51" fmla="*/ 1 h 283"/>
              <a:gd name="T52" fmla="*/ 87 w 657"/>
              <a:gd name="T53" fmla="*/ 0 h 283"/>
              <a:gd name="T54" fmla="*/ 62 w 657"/>
              <a:gd name="T55" fmla="*/ 1 h 283"/>
              <a:gd name="T56" fmla="*/ 36 w 657"/>
              <a:gd name="T57" fmla="*/ 2 h 283"/>
              <a:gd name="T58" fmla="*/ 12 w 657"/>
              <a:gd name="T59" fmla="*/ 4 h 283"/>
              <a:gd name="T60" fmla="*/ 0 w 657"/>
              <a:gd name="T61" fmla="*/ 6 h 2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7"/>
              <a:gd name="T94" fmla="*/ 0 h 283"/>
              <a:gd name="T95" fmla="*/ 657 w 657"/>
              <a:gd name="T96" fmla="*/ 283 h 28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7" h="283">
                <a:moveTo>
                  <a:pt x="656" y="282"/>
                </a:moveTo>
                <a:lnTo>
                  <a:pt x="640" y="261"/>
                </a:lnTo>
                <a:lnTo>
                  <a:pt x="624" y="242"/>
                </a:lnTo>
                <a:lnTo>
                  <a:pt x="605" y="224"/>
                </a:lnTo>
                <a:lnTo>
                  <a:pt x="588" y="205"/>
                </a:lnTo>
                <a:lnTo>
                  <a:pt x="570" y="187"/>
                </a:lnTo>
                <a:lnTo>
                  <a:pt x="551" y="171"/>
                </a:lnTo>
                <a:lnTo>
                  <a:pt x="531" y="155"/>
                </a:lnTo>
                <a:lnTo>
                  <a:pt x="511" y="140"/>
                </a:lnTo>
                <a:lnTo>
                  <a:pt x="491" y="125"/>
                </a:lnTo>
                <a:lnTo>
                  <a:pt x="469" y="110"/>
                </a:lnTo>
                <a:lnTo>
                  <a:pt x="447" y="99"/>
                </a:lnTo>
                <a:lnTo>
                  <a:pt x="425" y="85"/>
                </a:lnTo>
                <a:lnTo>
                  <a:pt x="404" y="74"/>
                </a:lnTo>
                <a:lnTo>
                  <a:pt x="381" y="63"/>
                </a:lnTo>
                <a:lnTo>
                  <a:pt x="357" y="54"/>
                </a:lnTo>
                <a:lnTo>
                  <a:pt x="334" y="43"/>
                </a:lnTo>
                <a:lnTo>
                  <a:pt x="310" y="35"/>
                </a:lnTo>
                <a:lnTo>
                  <a:pt x="285" y="28"/>
                </a:lnTo>
                <a:lnTo>
                  <a:pt x="262" y="22"/>
                </a:lnTo>
                <a:lnTo>
                  <a:pt x="238" y="16"/>
                </a:lnTo>
                <a:lnTo>
                  <a:pt x="213" y="11"/>
                </a:lnTo>
                <a:lnTo>
                  <a:pt x="188" y="6"/>
                </a:lnTo>
                <a:lnTo>
                  <a:pt x="162" y="4"/>
                </a:lnTo>
                <a:lnTo>
                  <a:pt x="137" y="2"/>
                </a:lnTo>
                <a:lnTo>
                  <a:pt x="113" y="1"/>
                </a:lnTo>
                <a:lnTo>
                  <a:pt x="87" y="0"/>
                </a:lnTo>
                <a:lnTo>
                  <a:pt x="62" y="1"/>
                </a:lnTo>
                <a:lnTo>
                  <a:pt x="36" y="2"/>
                </a:lnTo>
                <a:lnTo>
                  <a:pt x="12" y="4"/>
                </a:lnTo>
                <a:lnTo>
                  <a:pt x="0" y="6"/>
                </a:lnTo>
              </a:path>
            </a:pathLst>
          </a:custGeom>
          <a:noFill/>
          <a:ln w="38100" cap="rnd">
            <a:solidFill>
              <a:srgbClr val="86BC25"/>
            </a:solidFill>
            <a:prstDash val="solid"/>
            <a:round/>
            <a:headEnd type="none"/>
            <a:tailEnd type="triangle"/>
          </a:ln>
        </p:spPr>
        <p:txBody>
          <a:bodyPr/>
          <a:lstStyle/>
          <a:p>
            <a:pPr defTabSz="862004"/>
            <a:endParaRPr lang="en-GB" sz="1000" dirty="0">
              <a:solidFill>
                <a:srgbClr val="000000"/>
              </a:solidFill>
              <a:latin typeface="Open Sans Regular"/>
              <a:ea typeface="Open Sans Regular"/>
              <a:cs typeface="Open Sans Regular"/>
            </a:endParaRPr>
          </a:p>
        </p:txBody>
      </p:sp>
      <p:pic>
        <p:nvPicPr>
          <p:cNvPr id="89" name="Picture 88" descr="A screenshot of a computer&#10;&#10;Description automatically generated">
            <a:extLst>
              <a:ext uri="{FF2B5EF4-FFF2-40B4-BE49-F238E27FC236}">
                <a16:creationId xmlns:a16="http://schemas.microsoft.com/office/drawing/2014/main" id="{8E6A11B9-91C8-AFBF-58A8-8CF63D6B931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69183" y="2971864"/>
            <a:ext cx="1430270" cy="800693"/>
          </a:xfrm>
          <a:prstGeom prst="rect">
            <a:avLst/>
          </a:prstGeom>
          <a:ln>
            <a:solidFill>
              <a:schemeClr val="tx1"/>
            </a:solidFill>
          </a:ln>
          <a:effectLst>
            <a:outerShdw blurRad="50800" dist="38100" dir="2700000" algn="tl" rotWithShape="0">
              <a:prstClr val="black">
                <a:alpha val="40000"/>
              </a:prstClr>
            </a:outerShdw>
          </a:effectLst>
        </p:spPr>
      </p:pic>
      <p:sp>
        <p:nvSpPr>
          <p:cNvPr id="91" name="Rectangle 90">
            <a:extLst>
              <a:ext uri="{FF2B5EF4-FFF2-40B4-BE49-F238E27FC236}">
                <a16:creationId xmlns:a16="http://schemas.microsoft.com/office/drawing/2014/main" id="{FE6D5D06-3437-2DEA-3FE0-F3A415A0E6C1}"/>
              </a:ext>
            </a:extLst>
          </p:cNvPr>
          <p:cNvSpPr/>
          <p:nvPr/>
        </p:nvSpPr>
        <p:spPr bwMode="gray">
          <a:xfrm>
            <a:off x="728799" y="2010854"/>
            <a:ext cx="2614476" cy="77602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00" b="1" dirty="0">
                <a:latin typeface="Open Sans Regular"/>
                <a:ea typeface="Open Sans Regular"/>
                <a:cs typeface="Open Sans Regular"/>
              </a:rPr>
              <a:t>As-Is analysis </a:t>
            </a:r>
            <a:r>
              <a:rPr lang="en-GB" sz="1000" dirty="0">
                <a:latin typeface="Open Sans Regular"/>
                <a:ea typeface="Open Sans Regular"/>
                <a:cs typeface="Open Sans Regular"/>
              </a:rPr>
              <a:t>(review of strategic aspirations, understanding of the product portfolio, the main steps of the production process and the currently used KPIs)</a:t>
            </a:r>
          </a:p>
        </p:txBody>
      </p:sp>
      <p:grpSp>
        <p:nvGrpSpPr>
          <p:cNvPr id="100" name="Group 99">
            <a:extLst>
              <a:ext uri="{FF2B5EF4-FFF2-40B4-BE49-F238E27FC236}">
                <a16:creationId xmlns:a16="http://schemas.microsoft.com/office/drawing/2014/main" id="{76EB7914-EC07-6653-FA6E-DEE61CC785B1}"/>
              </a:ext>
            </a:extLst>
          </p:cNvPr>
          <p:cNvGrpSpPr/>
          <p:nvPr/>
        </p:nvGrpSpPr>
        <p:grpSpPr>
          <a:xfrm>
            <a:off x="4042744" y="2412464"/>
            <a:ext cx="2360204" cy="3930579"/>
            <a:chOff x="4042744" y="2215523"/>
            <a:chExt cx="2360204" cy="3930579"/>
          </a:xfrm>
        </p:grpSpPr>
        <p:sp>
          <p:nvSpPr>
            <p:cNvPr id="95" name="Rectangle 94">
              <a:extLst>
                <a:ext uri="{FF2B5EF4-FFF2-40B4-BE49-F238E27FC236}">
                  <a16:creationId xmlns:a16="http://schemas.microsoft.com/office/drawing/2014/main" id="{C3374155-F71C-F004-C5CE-09FBCC1B928D}"/>
                </a:ext>
              </a:extLst>
            </p:cNvPr>
            <p:cNvSpPr>
              <a:spLocks/>
            </p:cNvSpPr>
            <p:nvPr/>
          </p:nvSpPr>
          <p:spPr>
            <a:xfrm>
              <a:off x="4103187" y="2313413"/>
              <a:ext cx="2235341" cy="3734800"/>
            </a:xfrm>
            <a:prstGeom prst="rect">
              <a:avLst/>
            </a:prstGeom>
            <a:noFill/>
            <a:ln w="3175">
              <a:noFill/>
            </a:ln>
          </p:spPr>
          <p:txBody>
            <a:bodyPr wrap="square" lIns="72000" tIns="108000" rIns="72000">
              <a:noAutofit/>
            </a:bodyPr>
            <a:lstStyle/>
            <a:p>
              <a:pPr lvl="0" algn="ctr">
                <a:defRPr/>
              </a:pPr>
              <a:endParaRPr lang="en-GB" sz="1000" b="1" dirty="0">
                <a:latin typeface="Open Sans Regular"/>
                <a:ea typeface="Open Sans Regular"/>
                <a:cs typeface="Open Sans Regular"/>
              </a:endParaRPr>
            </a:p>
            <a:p>
              <a:pPr lvl="0" algn="ctr">
                <a:spcAft>
                  <a:spcPts val="1200"/>
                </a:spcAft>
                <a:defRPr/>
              </a:pPr>
              <a:r>
                <a:rPr lang="en-GB" sz="1000" b="1" dirty="0">
                  <a:latin typeface="Open Sans Regular"/>
                  <a:ea typeface="Open Sans Regular"/>
                  <a:cs typeface="Open Sans Regular"/>
                </a:rPr>
                <a:t>WHO ARE WE?</a:t>
              </a:r>
              <a:br>
                <a:rPr lang="en-GB" sz="1000" b="1" i="1" dirty="0">
                  <a:latin typeface="Open Sans Regular"/>
                  <a:ea typeface="Open Sans Regular"/>
                  <a:cs typeface="Open Sans Regular"/>
                </a:rPr>
              </a:br>
              <a:endParaRPr lang="en-GB" sz="1000" b="1" i="1" dirty="0">
                <a:latin typeface="Open Sans Regular"/>
                <a:ea typeface="Open Sans Regular"/>
                <a:cs typeface="Open Sans Regular"/>
              </a:endParaRPr>
            </a:p>
            <a:p>
              <a:pPr marL="171450" indent="-171450">
                <a:buFont typeface="Arial" panose="020B0604020202020204" pitchFamily="34" charset="0"/>
                <a:buChar char="•"/>
              </a:pPr>
              <a:r>
                <a:rPr lang="en-GB" sz="1000" dirty="0">
                  <a:latin typeface="Open Sans Regular"/>
                  <a:ea typeface="Open Sans Regular"/>
                  <a:cs typeface="Open Sans Regular"/>
                </a:rPr>
                <a:t>We are </a:t>
              </a:r>
              <a:r>
                <a:rPr lang="en-GB" sz="1000" b="1" dirty="0">
                  <a:latin typeface="Open Sans Regular"/>
                  <a:ea typeface="Open Sans Regular"/>
                  <a:cs typeface="Open Sans Regular"/>
                </a:rPr>
                <a:t>acknowledged Business Partner </a:t>
              </a:r>
              <a:r>
                <a:rPr lang="en-GB" sz="1000" dirty="0">
                  <a:latin typeface="Open Sans Regular"/>
                  <a:ea typeface="Open Sans Regular"/>
                  <a:cs typeface="Open Sans Regular"/>
                </a:rPr>
                <a:t>for continuous </a:t>
              </a:r>
              <a:r>
                <a:rPr lang="en-GB" sz="1000" b="1" dirty="0">
                  <a:latin typeface="Open Sans Regular"/>
                  <a:ea typeface="Open Sans Regular"/>
                  <a:cs typeface="Open Sans Regular"/>
                </a:rPr>
                <a:t>optimization</a:t>
              </a:r>
              <a:r>
                <a:rPr lang="en-GB" sz="1000" dirty="0">
                  <a:latin typeface="Open Sans Regular"/>
                  <a:ea typeface="Open Sans Regular"/>
                  <a:cs typeface="Open Sans Regular"/>
                </a:rPr>
                <a:t>, </a:t>
              </a:r>
              <a:r>
                <a:rPr lang="en-GB" sz="1000" b="1" dirty="0">
                  <a:latin typeface="Open Sans Regular"/>
                  <a:ea typeface="Open Sans Regular"/>
                  <a:cs typeface="Open Sans Regular"/>
                </a:rPr>
                <a:t>standardization</a:t>
              </a:r>
              <a:r>
                <a:rPr lang="en-GB" sz="1000" dirty="0">
                  <a:latin typeface="Open Sans Regular"/>
                  <a:ea typeface="Open Sans Regular"/>
                  <a:cs typeface="Open Sans Regular"/>
                </a:rPr>
                <a:t> and </a:t>
              </a:r>
              <a:r>
                <a:rPr lang="en-GB" sz="1000" b="1" dirty="0">
                  <a:latin typeface="Open Sans Regular"/>
                  <a:ea typeface="Open Sans Regular"/>
                  <a:cs typeface="Open Sans Regular"/>
                </a:rPr>
                <a:t>professionalization</a:t>
              </a:r>
              <a:r>
                <a:rPr lang="en-GB" sz="1000" dirty="0">
                  <a:latin typeface="Open Sans Regular"/>
                  <a:ea typeface="Open Sans Regular"/>
                  <a:cs typeface="Open Sans Regular"/>
                </a:rPr>
                <a:t> of end-to-end performance management</a:t>
              </a:r>
            </a:p>
            <a:p>
              <a:pPr marL="171450" indent="-171450">
                <a:buFont typeface="Arial" panose="020B0604020202020204" pitchFamily="34" charset="0"/>
                <a:buChar char="•"/>
              </a:pPr>
              <a:endParaRPr lang="en-GB" sz="1000" dirty="0">
                <a:latin typeface="Open Sans Regular"/>
                <a:ea typeface="Open Sans Regular"/>
                <a:cs typeface="Open Sans Regular"/>
              </a:endParaRPr>
            </a:p>
            <a:p>
              <a:pPr marL="171450" indent="-171450">
                <a:buFont typeface="Arial" panose="020B0604020202020204" pitchFamily="34" charset="0"/>
                <a:buChar char="•"/>
              </a:pPr>
              <a:r>
                <a:rPr lang="en-GB" sz="1000" dirty="0">
                  <a:latin typeface="Open Sans Regular"/>
                  <a:ea typeface="Open Sans Regular"/>
                  <a:cs typeface="Open Sans Regular"/>
                </a:rPr>
                <a:t>Therefore, we ensure </a:t>
              </a:r>
              <a:r>
                <a:rPr lang="en-GB" sz="1000" b="1" dirty="0">
                  <a:latin typeface="Open Sans Regular"/>
                  <a:ea typeface="Open Sans Regular"/>
                  <a:cs typeface="Open Sans Regular"/>
                </a:rPr>
                <a:t>high-quality</a:t>
              </a:r>
              <a:r>
                <a:rPr lang="en-GB" sz="1000" dirty="0">
                  <a:latin typeface="Open Sans Regular"/>
                  <a:ea typeface="Open Sans Regular"/>
                  <a:cs typeface="Open Sans Regular"/>
                </a:rPr>
                <a:t> and </a:t>
              </a:r>
              <a:r>
                <a:rPr lang="en-GB" sz="1000" b="1" dirty="0">
                  <a:latin typeface="Open Sans Regular"/>
                  <a:ea typeface="Open Sans Regular"/>
                  <a:cs typeface="Open Sans Regular"/>
                </a:rPr>
                <a:t>unambiguous</a:t>
              </a:r>
              <a:r>
                <a:rPr lang="en-GB" sz="1000" dirty="0">
                  <a:latin typeface="Open Sans Regular"/>
                  <a:ea typeface="Open Sans Regular"/>
                  <a:cs typeface="Open Sans Regular"/>
                </a:rPr>
                <a:t> </a:t>
              </a:r>
              <a:r>
                <a:rPr lang="en-GB" sz="1000" b="1" dirty="0">
                  <a:latin typeface="Open Sans Regular"/>
                  <a:ea typeface="Open Sans Regular"/>
                  <a:cs typeface="Open Sans Regular"/>
                </a:rPr>
                <a:t>information</a:t>
              </a:r>
              <a:r>
                <a:rPr lang="en-GB" sz="1000" dirty="0">
                  <a:latin typeface="Open Sans Regular"/>
                  <a:ea typeface="Open Sans Regular"/>
                  <a:cs typeface="Open Sans Regular"/>
                </a:rPr>
                <a:t> as fundamental source for </a:t>
              </a:r>
              <a:r>
                <a:rPr lang="en-GB" sz="1000" b="1" dirty="0">
                  <a:latin typeface="Open Sans Regular"/>
                  <a:ea typeface="Open Sans Regular"/>
                  <a:cs typeface="Open Sans Regular"/>
                </a:rPr>
                <a:t>relevant and future-oriented decisions</a:t>
              </a:r>
              <a:endParaRPr kumimoji="0" lang="en-GB" sz="1000" b="1" u="none" strike="noStrike" kern="1200" cap="none" spc="0" normalizeH="0" baseline="0" dirty="0">
                <a:ln>
                  <a:noFill/>
                </a:ln>
                <a:effectLst/>
                <a:uLnTx/>
                <a:uFillTx/>
                <a:latin typeface="Open Sans Regular"/>
                <a:ea typeface="Open Sans Regular"/>
                <a:cs typeface="Open Sans Regular"/>
              </a:endParaRPr>
            </a:p>
          </p:txBody>
        </p:sp>
        <p:sp>
          <p:nvSpPr>
            <p:cNvPr id="96" name="Rectangle 95">
              <a:extLst>
                <a:ext uri="{FF2B5EF4-FFF2-40B4-BE49-F238E27FC236}">
                  <a16:creationId xmlns:a16="http://schemas.microsoft.com/office/drawing/2014/main" id="{4D11F949-270E-F425-ED6C-254B8E74F56B}"/>
                </a:ext>
              </a:extLst>
            </p:cNvPr>
            <p:cNvSpPr>
              <a:spLocks/>
            </p:cNvSpPr>
            <p:nvPr/>
          </p:nvSpPr>
          <p:spPr>
            <a:xfrm>
              <a:off x="4042744" y="2215523"/>
              <a:ext cx="2360204" cy="3930579"/>
            </a:xfrm>
            <a:prstGeom prst="rect">
              <a:avLst/>
            </a:prstGeom>
            <a:noFill/>
            <a:ln w="31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bg1">
                      <a:lumMod val="100000"/>
                    </a:schemeClr>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chemeClr val="tx1"/>
                </a:solidFill>
                <a:latin typeface="Open Sans Regular"/>
                <a:ea typeface="Open Sans Regular"/>
                <a:cs typeface="Open Sans Regular"/>
              </a:endParaRPr>
            </a:p>
          </p:txBody>
        </p:sp>
        <p:grpSp>
          <p:nvGrpSpPr>
            <p:cNvPr id="97" name="Group 423">
              <a:extLst>
                <a:ext uri="{FF2B5EF4-FFF2-40B4-BE49-F238E27FC236}">
                  <a16:creationId xmlns:a16="http://schemas.microsoft.com/office/drawing/2014/main" id="{FCCDEF5B-0663-B5B5-ABE4-B0EBD883BC5B}"/>
                </a:ext>
              </a:extLst>
            </p:cNvPr>
            <p:cNvGrpSpPr>
              <a:grpSpLocks noChangeAspect="1"/>
            </p:cNvGrpSpPr>
            <p:nvPr/>
          </p:nvGrpSpPr>
          <p:grpSpPr bwMode="gray">
            <a:xfrm>
              <a:off x="4244973" y="2482707"/>
              <a:ext cx="305237" cy="274320"/>
              <a:chOff x="4285" y="1550"/>
              <a:chExt cx="340" cy="340"/>
            </a:xfrm>
            <a:solidFill>
              <a:schemeClr val="accent2"/>
            </a:solidFill>
          </p:grpSpPr>
          <p:sp>
            <p:nvSpPr>
              <p:cNvPr id="98" name="Freeform 424">
                <a:extLst>
                  <a:ext uri="{FF2B5EF4-FFF2-40B4-BE49-F238E27FC236}">
                    <a16:creationId xmlns:a16="http://schemas.microsoft.com/office/drawing/2014/main" id="{7308E68A-B0B2-8984-E1B9-4B1F26F56303}"/>
                  </a:ext>
                </a:extLst>
              </p:cNvPr>
              <p:cNvSpPr>
                <a:spLocks noEditPoints="1"/>
              </p:cNvSpPr>
              <p:nvPr/>
            </p:nvSpPr>
            <p:spPr bwMode="gray">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sp>
            <p:nvSpPr>
              <p:cNvPr id="99" name="Freeform 425">
                <a:extLst>
                  <a:ext uri="{FF2B5EF4-FFF2-40B4-BE49-F238E27FC236}">
                    <a16:creationId xmlns:a16="http://schemas.microsoft.com/office/drawing/2014/main" id="{60D84B18-C8B1-B73C-3F0D-5E4EBFAE2CE8}"/>
                  </a:ext>
                </a:extLst>
              </p:cNvPr>
              <p:cNvSpPr>
                <a:spLocks noEditPoints="1"/>
              </p:cNvSpPr>
              <p:nvPr/>
            </p:nvSpPr>
            <p:spPr bwMode="gray">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grpSp>
      </p:grpSp>
      <p:grpSp>
        <p:nvGrpSpPr>
          <p:cNvPr id="112" name="Group 111">
            <a:extLst>
              <a:ext uri="{FF2B5EF4-FFF2-40B4-BE49-F238E27FC236}">
                <a16:creationId xmlns:a16="http://schemas.microsoft.com/office/drawing/2014/main" id="{615F2DDD-D4B9-BA70-FD44-F596E1756F1F}"/>
              </a:ext>
            </a:extLst>
          </p:cNvPr>
          <p:cNvGrpSpPr/>
          <p:nvPr/>
        </p:nvGrpSpPr>
        <p:grpSpPr>
          <a:xfrm>
            <a:off x="6623574" y="2412464"/>
            <a:ext cx="2360204" cy="3930579"/>
            <a:chOff x="6649880" y="2215523"/>
            <a:chExt cx="2360204" cy="3930579"/>
          </a:xfrm>
        </p:grpSpPr>
        <p:sp>
          <p:nvSpPr>
            <p:cNvPr id="102" name="Rectangle 101">
              <a:extLst>
                <a:ext uri="{FF2B5EF4-FFF2-40B4-BE49-F238E27FC236}">
                  <a16:creationId xmlns:a16="http://schemas.microsoft.com/office/drawing/2014/main" id="{BA33D4F7-BE1F-28E0-F232-A97BF78001E6}"/>
                </a:ext>
              </a:extLst>
            </p:cNvPr>
            <p:cNvSpPr>
              <a:spLocks/>
            </p:cNvSpPr>
            <p:nvPr/>
          </p:nvSpPr>
          <p:spPr>
            <a:xfrm>
              <a:off x="6710323" y="2313413"/>
              <a:ext cx="2235341" cy="3734800"/>
            </a:xfrm>
            <a:prstGeom prst="rect">
              <a:avLst/>
            </a:prstGeom>
            <a:noFill/>
            <a:ln w="3175">
              <a:noFill/>
            </a:ln>
          </p:spPr>
          <p:txBody>
            <a:bodyPr wrap="square" lIns="72000" tIns="108000" rIns="72000">
              <a:noAutofit/>
            </a:bodyPr>
            <a:lstStyle/>
            <a:p>
              <a:pPr algn="ctr"/>
              <a:endParaRPr lang="en-GB" sz="1000" b="1" dirty="0">
                <a:latin typeface="Open Sans Regular"/>
                <a:ea typeface="Open Sans Regular"/>
                <a:cs typeface="Open Sans Regular"/>
              </a:endParaRPr>
            </a:p>
            <a:p>
              <a:pPr algn="ctr">
                <a:spcAft>
                  <a:spcPts val="1200"/>
                </a:spcAft>
              </a:pPr>
              <a:r>
                <a:rPr lang="en-GB" sz="1000" b="1" dirty="0">
                  <a:latin typeface="Open Sans Regular"/>
                  <a:ea typeface="Open Sans Regular"/>
                  <a:cs typeface="Open Sans Regular"/>
                </a:rPr>
                <a:t>WHAT DO WE DO?</a:t>
              </a:r>
              <a:br>
                <a:rPr lang="en-GB" sz="1000" b="1" dirty="0">
                  <a:latin typeface="Open Sans Regular"/>
                  <a:ea typeface="Open Sans Regular"/>
                  <a:cs typeface="Open Sans Regular"/>
                </a:rPr>
              </a:br>
              <a:endParaRPr lang="en-GB" sz="1000" b="1" dirty="0">
                <a:latin typeface="Open Sans Regular"/>
                <a:ea typeface="Open Sans Regular"/>
                <a:cs typeface="Open Sans Regular"/>
              </a:endParaRP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Governance</a:t>
              </a:r>
              <a:br>
                <a:rPr lang="en-GB" sz="1000" dirty="0">
                  <a:latin typeface="Open Sans Regular"/>
                  <a:ea typeface="Open Sans Regular"/>
                  <a:cs typeface="Open Sans Regular"/>
                </a:rPr>
              </a:br>
              <a:r>
                <a:rPr lang="en-GB" sz="1000" dirty="0">
                  <a:latin typeface="Open Sans Regular"/>
                  <a:ea typeface="Open Sans Regular"/>
                  <a:cs typeface="Open Sans Regular"/>
                </a:rPr>
                <a:t>Provision of company-wide structures, standards and formats for reports and KPIs</a:t>
              </a: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Enablement</a:t>
              </a:r>
              <a:br>
                <a:rPr lang="en-GB" sz="1000" dirty="0">
                  <a:latin typeface="Open Sans Regular"/>
                  <a:ea typeface="Open Sans Regular"/>
                  <a:cs typeface="Open Sans Regular"/>
                </a:rPr>
              </a:br>
              <a:r>
                <a:rPr lang="en-GB" sz="1000" dirty="0">
                  <a:latin typeface="Open Sans Regular"/>
                  <a:ea typeface="Open Sans Regular"/>
                  <a:cs typeface="Open Sans Regular"/>
                </a:rPr>
                <a:t>Pooling of reporting expertise as well as sharing and developing knowledge</a:t>
              </a: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Business Partnering</a:t>
              </a:r>
              <a:br>
                <a:rPr lang="en-GB" sz="1000" dirty="0">
                  <a:latin typeface="Open Sans Regular"/>
                  <a:ea typeface="Open Sans Regular"/>
                  <a:cs typeface="Open Sans Regular"/>
                </a:rPr>
              </a:br>
              <a:r>
                <a:rPr lang="en-GB" sz="1000" dirty="0">
                  <a:latin typeface="Open Sans Regular"/>
                  <a:ea typeface="Open Sans Regular"/>
                  <a:cs typeface="Open Sans Regular"/>
                </a:rPr>
                <a:t>Consulting and support from requirements to implementation</a:t>
              </a: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Production &amp; Distribution</a:t>
              </a:r>
              <a:br>
                <a:rPr lang="en-GB" sz="1000" dirty="0">
                  <a:latin typeface="Open Sans Regular"/>
                  <a:ea typeface="Open Sans Regular"/>
                  <a:cs typeface="Open Sans Regular"/>
                </a:rPr>
              </a:br>
              <a:r>
                <a:rPr lang="en-GB" sz="1000" dirty="0">
                  <a:latin typeface="Open Sans Regular"/>
                  <a:ea typeface="Open Sans Regular"/>
                  <a:cs typeface="Open Sans Regular"/>
                </a:rPr>
                <a:t>Provision of certified data sources and self-service reports</a:t>
              </a:r>
            </a:p>
          </p:txBody>
        </p:sp>
        <p:sp>
          <p:nvSpPr>
            <p:cNvPr id="103" name="Rectangle 102">
              <a:extLst>
                <a:ext uri="{FF2B5EF4-FFF2-40B4-BE49-F238E27FC236}">
                  <a16:creationId xmlns:a16="http://schemas.microsoft.com/office/drawing/2014/main" id="{6BCB6015-FDE0-9A19-B4C3-47EDD132D987}"/>
                </a:ext>
              </a:extLst>
            </p:cNvPr>
            <p:cNvSpPr>
              <a:spLocks/>
            </p:cNvSpPr>
            <p:nvPr/>
          </p:nvSpPr>
          <p:spPr>
            <a:xfrm>
              <a:off x="6649880" y="2215523"/>
              <a:ext cx="2360204" cy="3930579"/>
            </a:xfrm>
            <a:prstGeom prst="rect">
              <a:avLst/>
            </a:prstGeom>
            <a:noFill/>
            <a:ln w="31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bg1">
                      <a:lumMod val="100000"/>
                    </a:schemeClr>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chemeClr val="tx1"/>
                </a:solidFill>
                <a:latin typeface="Open Sans Regular"/>
                <a:ea typeface="Open Sans Regular"/>
                <a:cs typeface="Open Sans Regular"/>
              </a:endParaRPr>
            </a:p>
          </p:txBody>
        </p:sp>
        <p:grpSp>
          <p:nvGrpSpPr>
            <p:cNvPr id="104" name="Group 795">
              <a:extLst>
                <a:ext uri="{FF2B5EF4-FFF2-40B4-BE49-F238E27FC236}">
                  <a16:creationId xmlns:a16="http://schemas.microsoft.com/office/drawing/2014/main" id="{940C7825-12E1-DA32-203E-DFD45D4FB2EF}"/>
                </a:ext>
              </a:extLst>
            </p:cNvPr>
            <p:cNvGrpSpPr>
              <a:grpSpLocks noChangeAspect="1"/>
            </p:cNvGrpSpPr>
            <p:nvPr/>
          </p:nvGrpSpPr>
          <p:grpSpPr bwMode="gray">
            <a:xfrm>
              <a:off x="6814428" y="2482698"/>
              <a:ext cx="276861" cy="248820"/>
              <a:chOff x="7361" y="3009"/>
              <a:chExt cx="340" cy="340"/>
            </a:xfrm>
            <a:solidFill>
              <a:schemeClr val="accent2"/>
            </a:solidFill>
          </p:grpSpPr>
          <p:sp>
            <p:nvSpPr>
              <p:cNvPr id="105" name="Freeform 796">
                <a:extLst>
                  <a:ext uri="{FF2B5EF4-FFF2-40B4-BE49-F238E27FC236}">
                    <a16:creationId xmlns:a16="http://schemas.microsoft.com/office/drawing/2014/main" id="{7446A8E5-19E4-0916-FC95-56D08A125D71}"/>
                  </a:ext>
                </a:extLst>
              </p:cNvPr>
              <p:cNvSpPr>
                <a:spLocks noEditPoints="1"/>
              </p:cNvSpPr>
              <p:nvPr/>
            </p:nvSpPr>
            <p:spPr bwMode="gray">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sp>
            <p:nvSpPr>
              <p:cNvPr id="106" name="Freeform 797">
                <a:extLst>
                  <a:ext uri="{FF2B5EF4-FFF2-40B4-BE49-F238E27FC236}">
                    <a16:creationId xmlns:a16="http://schemas.microsoft.com/office/drawing/2014/main" id="{3BE22D13-FBD4-AD35-0991-91AAA165B550}"/>
                  </a:ext>
                </a:extLst>
              </p:cNvPr>
              <p:cNvSpPr>
                <a:spLocks noEditPoints="1"/>
              </p:cNvSpPr>
              <p:nvPr/>
            </p:nvSpPr>
            <p:spPr bwMode="gray">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sp>
            <p:nvSpPr>
              <p:cNvPr id="107" name="Freeform 798">
                <a:extLst>
                  <a:ext uri="{FF2B5EF4-FFF2-40B4-BE49-F238E27FC236}">
                    <a16:creationId xmlns:a16="http://schemas.microsoft.com/office/drawing/2014/main" id="{B22DC7EE-3A04-6466-E331-2EC918878CB8}"/>
                  </a:ext>
                </a:extLst>
              </p:cNvPr>
              <p:cNvSpPr>
                <a:spLocks noEditPoints="1"/>
              </p:cNvSpPr>
              <p:nvPr/>
            </p:nvSpPr>
            <p:spPr bwMode="gray">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sp>
            <p:nvSpPr>
              <p:cNvPr id="108" name="Freeform 799">
                <a:extLst>
                  <a:ext uri="{FF2B5EF4-FFF2-40B4-BE49-F238E27FC236}">
                    <a16:creationId xmlns:a16="http://schemas.microsoft.com/office/drawing/2014/main" id="{8FBC96B3-5A57-25C9-4126-388FEF28DCCF}"/>
                  </a:ext>
                </a:extLst>
              </p:cNvPr>
              <p:cNvSpPr>
                <a:spLocks noEditPoints="1"/>
              </p:cNvSpPr>
              <p:nvPr/>
            </p:nvSpPr>
            <p:spPr bwMode="gray">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sp>
            <p:nvSpPr>
              <p:cNvPr id="109" name="Freeform 800">
                <a:extLst>
                  <a:ext uri="{FF2B5EF4-FFF2-40B4-BE49-F238E27FC236}">
                    <a16:creationId xmlns:a16="http://schemas.microsoft.com/office/drawing/2014/main" id="{BF65F9FE-25B0-ED47-C72D-9064CE32D35F}"/>
                  </a:ext>
                </a:extLst>
              </p:cNvPr>
              <p:cNvSpPr>
                <a:spLocks noEditPoints="1"/>
              </p:cNvSpPr>
              <p:nvPr/>
            </p:nvSpPr>
            <p:spPr bwMode="gray">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sp>
            <p:nvSpPr>
              <p:cNvPr id="110" name="Freeform 801">
                <a:extLst>
                  <a:ext uri="{FF2B5EF4-FFF2-40B4-BE49-F238E27FC236}">
                    <a16:creationId xmlns:a16="http://schemas.microsoft.com/office/drawing/2014/main" id="{E1647B1B-674D-1521-EB53-13464256A90D}"/>
                  </a:ext>
                </a:extLst>
              </p:cNvPr>
              <p:cNvSpPr>
                <a:spLocks noEditPoints="1"/>
              </p:cNvSpPr>
              <p:nvPr/>
            </p:nvSpPr>
            <p:spPr bwMode="gray">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sp>
            <p:nvSpPr>
              <p:cNvPr id="111" name="Freeform 802">
                <a:extLst>
                  <a:ext uri="{FF2B5EF4-FFF2-40B4-BE49-F238E27FC236}">
                    <a16:creationId xmlns:a16="http://schemas.microsoft.com/office/drawing/2014/main" id="{81521156-BF3E-44B6-F379-4B69D6AAED40}"/>
                  </a:ext>
                </a:extLst>
              </p:cNvPr>
              <p:cNvSpPr>
                <a:spLocks noEditPoints="1"/>
              </p:cNvSpPr>
              <p:nvPr/>
            </p:nvSpPr>
            <p:spPr bwMode="gray">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grpSp>
      </p:grpSp>
      <p:grpSp>
        <p:nvGrpSpPr>
          <p:cNvPr id="119" name="Group 118">
            <a:extLst>
              <a:ext uri="{FF2B5EF4-FFF2-40B4-BE49-F238E27FC236}">
                <a16:creationId xmlns:a16="http://schemas.microsoft.com/office/drawing/2014/main" id="{D377DECC-2FC1-9332-D3D8-2C3C02CB8798}"/>
              </a:ext>
            </a:extLst>
          </p:cNvPr>
          <p:cNvGrpSpPr/>
          <p:nvPr/>
        </p:nvGrpSpPr>
        <p:grpSpPr>
          <a:xfrm>
            <a:off x="9204405" y="2412464"/>
            <a:ext cx="2360204" cy="3930579"/>
            <a:chOff x="9204405" y="2215523"/>
            <a:chExt cx="2360204" cy="3930579"/>
          </a:xfrm>
        </p:grpSpPr>
        <p:sp>
          <p:nvSpPr>
            <p:cNvPr id="114" name="Rectangle 113">
              <a:extLst>
                <a:ext uri="{FF2B5EF4-FFF2-40B4-BE49-F238E27FC236}">
                  <a16:creationId xmlns:a16="http://schemas.microsoft.com/office/drawing/2014/main" id="{1FF170FD-6577-9C83-C227-F42EC823FD3D}"/>
                </a:ext>
              </a:extLst>
            </p:cNvPr>
            <p:cNvSpPr>
              <a:spLocks/>
            </p:cNvSpPr>
            <p:nvPr/>
          </p:nvSpPr>
          <p:spPr>
            <a:xfrm>
              <a:off x="9264848" y="2313413"/>
              <a:ext cx="2235341" cy="3734800"/>
            </a:xfrm>
            <a:prstGeom prst="rect">
              <a:avLst/>
            </a:prstGeom>
            <a:noFill/>
            <a:ln w="3175">
              <a:noFill/>
            </a:ln>
          </p:spPr>
          <p:txBody>
            <a:bodyPr wrap="square" lIns="72000" tIns="108000" rIns="72000">
              <a:noAutofit/>
            </a:bodyPr>
            <a:lstStyle/>
            <a:p>
              <a:pPr algn="ctr"/>
              <a:endParaRPr lang="en-GB" sz="1000" b="1" dirty="0">
                <a:latin typeface="Open Sans Regular"/>
                <a:ea typeface="Open Sans Regular"/>
                <a:cs typeface="Open Sans Regular"/>
              </a:endParaRPr>
            </a:p>
            <a:p>
              <a:pPr algn="ctr"/>
              <a:r>
                <a:rPr lang="en-GB" sz="1000" b="1" dirty="0">
                  <a:latin typeface="Open Sans Regular"/>
                  <a:ea typeface="Open Sans Regular"/>
                  <a:cs typeface="Open Sans Regular"/>
                </a:rPr>
                <a:t>WHAT ADDED VALUE </a:t>
              </a:r>
              <a:br>
                <a:rPr lang="en-GB" sz="1000" b="1" dirty="0">
                  <a:latin typeface="Open Sans Regular"/>
                  <a:ea typeface="Open Sans Regular"/>
                  <a:cs typeface="Open Sans Regular"/>
                </a:rPr>
              </a:br>
              <a:r>
                <a:rPr lang="en-GB" sz="1000" b="1" dirty="0">
                  <a:latin typeface="Open Sans Regular"/>
                  <a:ea typeface="Open Sans Regular"/>
                  <a:cs typeface="Open Sans Regular"/>
                </a:rPr>
                <a:t>DO WE CREATE?</a:t>
              </a:r>
            </a:p>
            <a:p>
              <a:pPr algn="ctr"/>
              <a:endParaRPr lang="en-GB" sz="1000" b="1" dirty="0">
                <a:solidFill>
                  <a:schemeClr val="tx2"/>
                </a:solidFill>
                <a:latin typeface="Open Sans Regular"/>
                <a:ea typeface="Open Sans Regular"/>
                <a:cs typeface="Open Sans Regular"/>
              </a:endParaRP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Improved decision-making </a:t>
              </a:r>
              <a:r>
                <a:rPr lang="en-GB" sz="1000" dirty="0">
                  <a:latin typeface="Open Sans Regular"/>
                  <a:ea typeface="Open Sans Regular"/>
                  <a:cs typeface="Open Sans Regular"/>
                </a:rPr>
                <a:t>through</a:t>
              </a:r>
              <a:r>
                <a:rPr lang="en-GB" sz="1000" b="1" dirty="0">
                  <a:latin typeface="Open Sans Regular"/>
                  <a:ea typeface="Open Sans Regular"/>
                  <a:cs typeface="Open Sans Regular"/>
                </a:rPr>
                <a:t> standardized reporting </a:t>
              </a:r>
              <a:r>
                <a:rPr lang="en-GB" sz="1000" dirty="0">
                  <a:latin typeface="Open Sans Regular"/>
                  <a:ea typeface="Open Sans Regular"/>
                  <a:cs typeface="Open Sans Regular"/>
                </a:rPr>
                <a:t>and</a:t>
              </a:r>
              <a:r>
                <a:rPr lang="en-GB" sz="1000" b="1" dirty="0">
                  <a:latin typeface="Open Sans Regular"/>
                  <a:ea typeface="Open Sans Regular"/>
                  <a:cs typeface="Open Sans Regular"/>
                </a:rPr>
                <a:t> company-wide governance</a:t>
              </a: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Modernization </a:t>
              </a:r>
              <a:r>
                <a:rPr lang="en-GB" sz="1000" dirty="0">
                  <a:latin typeface="Open Sans Regular"/>
                  <a:ea typeface="Open Sans Regular"/>
                  <a:cs typeface="Open Sans Regular"/>
                </a:rPr>
                <a:t>and </a:t>
              </a:r>
              <a:r>
                <a:rPr lang="en-GB" sz="1000" b="1" dirty="0">
                  <a:latin typeface="Open Sans Regular"/>
                  <a:ea typeface="Open Sans Regular"/>
                  <a:cs typeface="Open Sans Regular"/>
                </a:rPr>
                <a:t>automation</a:t>
              </a:r>
              <a:r>
                <a:rPr lang="en-GB" sz="1000" dirty="0">
                  <a:latin typeface="Open Sans Regular"/>
                  <a:ea typeface="Open Sans Regular"/>
                  <a:cs typeface="Open Sans Regular"/>
                </a:rPr>
                <a:t> of reporting landscape</a:t>
              </a:r>
            </a:p>
            <a:p>
              <a:pPr marL="285750" indent="-285750">
                <a:spcAft>
                  <a:spcPts val="600"/>
                </a:spcAft>
                <a:buFont typeface="Arial" panose="020B0604020202020204" pitchFamily="34" charset="0"/>
                <a:buChar char="•"/>
              </a:pPr>
              <a:r>
                <a:rPr lang="en-GB" sz="1000" dirty="0">
                  <a:latin typeface="Open Sans Regular"/>
                  <a:ea typeface="Open Sans Regular"/>
                  <a:cs typeface="Open Sans Regular"/>
                </a:rPr>
                <a:t>Ensure </a:t>
              </a:r>
              <a:r>
                <a:rPr lang="en-GB" sz="1000" b="1" dirty="0">
                  <a:latin typeface="Open Sans Regular"/>
                  <a:ea typeface="Open Sans Regular"/>
                  <a:cs typeface="Open Sans Regular"/>
                </a:rPr>
                <a:t>certified data sources </a:t>
              </a:r>
              <a:r>
                <a:rPr lang="en-GB" sz="1000" dirty="0">
                  <a:latin typeface="Open Sans Regular"/>
                  <a:ea typeface="Open Sans Regular"/>
                  <a:cs typeface="Open Sans Regular"/>
                </a:rPr>
                <a:t>and their </a:t>
              </a:r>
              <a:r>
                <a:rPr lang="en-GB" sz="1000" b="1" dirty="0">
                  <a:latin typeface="Open Sans Regular"/>
                  <a:ea typeface="Open Sans Regular"/>
                  <a:cs typeface="Open Sans Regular"/>
                </a:rPr>
                <a:t>integrity</a:t>
              </a: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Training</a:t>
              </a:r>
              <a:r>
                <a:rPr lang="en-GB" sz="1000" dirty="0">
                  <a:latin typeface="Open Sans Regular"/>
                  <a:ea typeface="Open Sans Regular"/>
                  <a:cs typeface="Open Sans Regular"/>
                </a:rPr>
                <a:t> and </a:t>
              </a:r>
              <a:r>
                <a:rPr lang="en-GB" sz="1000" b="1" dirty="0">
                  <a:latin typeface="Open Sans Regular"/>
                  <a:ea typeface="Open Sans Regular"/>
                  <a:cs typeface="Open Sans Regular"/>
                </a:rPr>
                <a:t>enablement</a:t>
              </a:r>
              <a:r>
                <a:rPr lang="en-GB" sz="1000" dirty="0">
                  <a:latin typeface="Open Sans Regular"/>
                  <a:ea typeface="Open Sans Regular"/>
                  <a:cs typeface="Open Sans Regular"/>
                </a:rPr>
                <a:t> of the organization and its employees regarding reporting topics</a:t>
              </a: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Mediation </a:t>
              </a:r>
              <a:r>
                <a:rPr lang="en-GB" sz="1000" dirty="0">
                  <a:latin typeface="Open Sans Regular"/>
                  <a:ea typeface="Open Sans Regular"/>
                  <a:cs typeface="Open Sans Regular"/>
                </a:rPr>
                <a:t>between</a:t>
              </a:r>
              <a:r>
                <a:rPr lang="en-GB" sz="1000" b="1" dirty="0">
                  <a:latin typeface="Open Sans Regular"/>
                  <a:ea typeface="Open Sans Regular"/>
                  <a:cs typeface="Open Sans Regular"/>
                </a:rPr>
                <a:t> IT </a:t>
              </a:r>
              <a:r>
                <a:rPr lang="en-GB" sz="1000" dirty="0">
                  <a:latin typeface="Open Sans Regular"/>
                  <a:ea typeface="Open Sans Regular"/>
                  <a:cs typeface="Open Sans Regular"/>
                </a:rPr>
                <a:t>and </a:t>
              </a:r>
              <a:r>
                <a:rPr lang="en-GB" sz="1000" b="1" dirty="0">
                  <a:latin typeface="Open Sans Regular"/>
                  <a:ea typeface="Open Sans Regular"/>
                  <a:cs typeface="Open Sans Regular"/>
                </a:rPr>
                <a:t>business departments</a:t>
              </a:r>
            </a:p>
            <a:p>
              <a:pPr marL="285750" indent="-285750">
                <a:spcAft>
                  <a:spcPts val="600"/>
                </a:spcAft>
                <a:buFont typeface="Arial" panose="020B0604020202020204" pitchFamily="34" charset="0"/>
                <a:buChar char="•"/>
              </a:pPr>
              <a:r>
                <a:rPr lang="en-GB" sz="1000" b="1" dirty="0">
                  <a:latin typeface="Open Sans Regular"/>
                  <a:ea typeface="Open Sans Regular"/>
                  <a:cs typeface="Open Sans Regular"/>
                </a:rPr>
                <a:t>Single-Point-of-Contact </a:t>
              </a:r>
              <a:r>
                <a:rPr lang="en-GB" sz="1000" dirty="0">
                  <a:latin typeface="Open Sans Regular"/>
                  <a:ea typeface="Open Sans Regular"/>
                  <a:cs typeface="Open Sans Regular"/>
                </a:rPr>
                <a:t>for reporting-related topics</a:t>
              </a:r>
            </a:p>
          </p:txBody>
        </p:sp>
        <p:sp>
          <p:nvSpPr>
            <p:cNvPr id="115" name="Rectangle 114">
              <a:extLst>
                <a:ext uri="{FF2B5EF4-FFF2-40B4-BE49-F238E27FC236}">
                  <a16:creationId xmlns:a16="http://schemas.microsoft.com/office/drawing/2014/main" id="{D4A94481-3209-F9FF-60B6-2CB0DAA9D346}"/>
                </a:ext>
              </a:extLst>
            </p:cNvPr>
            <p:cNvSpPr>
              <a:spLocks/>
            </p:cNvSpPr>
            <p:nvPr/>
          </p:nvSpPr>
          <p:spPr>
            <a:xfrm>
              <a:off x="9204405" y="2215523"/>
              <a:ext cx="2360204" cy="3930579"/>
            </a:xfrm>
            <a:prstGeom prst="rect">
              <a:avLst/>
            </a:prstGeom>
            <a:noFill/>
            <a:ln w="31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bg1">
                      <a:lumMod val="100000"/>
                    </a:schemeClr>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chemeClr val="tx1"/>
                </a:solidFill>
                <a:latin typeface="Open Sans Regular"/>
                <a:ea typeface="Open Sans Regular"/>
                <a:cs typeface="Open Sans Regular"/>
              </a:endParaRPr>
            </a:p>
          </p:txBody>
        </p:sp>
        <p:grpSp>
          <p:nvGrpSpPr>
            <p:cNvPr id="116" name="Group 367">
              <a:extLst>
                <a:ext uri="{FF2B5EF4-FFF2-40B4-BE49-F238E27FC236}">
                  <a16:creationId xmlns:a16="http://schemas.microsoft.com/office/drawing/2014/main" id="{5BAD5388-3463-8F80-7D5D-2BE8C86D4E65}"/>
                </a:ext>
              </a:extLst>
            </p:cNvPr>
            <p:cNvGrpSpPr>
              <a:grpSpLocks noChangeAspect="1"/>
            </p:cNvGrpSpPr>
            <p:nvPr/>
          </p:nvGrpSpPr>
          <p:grpSpPr bwMode="gray">
            <a:xfrm>
              <a:off x="9340685" y="2482713"/>
              <a:ext cx="276864" cy="248822"/>
              <a:chOff x="4383" y="2091"/>
              <a:chExt cx="340" cy="341"/>
            </a:xfrm>
            <a:solidFill>
              <a:schemeClr val="accent2"/>
            </a:solidFill>
          </p:grpSpPr>
          <p:sp>
            <p:nvSpPr>
              <p:cNvPr id="117" name="Freeform 262">
                <a:extLst>
                  <a:ext uri="{FF2B5EF4-FFF2-40B4-BE49-F238E27FC236}">
                    <a16:creationId xmlns:a16="http://schemas.microsoft.com/office/drawing/2014/main" id="{29F89C54-3702-D225-7843-E5DA6621F4B9}"/>
                  </a:ext>
                </a:extLst>
              </p:cNvPr>
              <p:cNvSpPr>
                <a:spLocks noEditPoints="1"/>
              </p:cNvSpPr>
              <p:nvPr/>
            </p:nvSpPr>
            <p:spPr bwMode="gray">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sp>
            <p:nvSpPr>
              <p:cNvPr id="118" name="Freeform 263">
                <a:extLst>
                  <a:ext uri="{FF2B5EF4-FFF2-40B4-BE49-F238E27FC236}">
                    <a16:creationId xmlns:a16="http://schemas.microsoft.com/office/drawing/2014/main" id="{C9BB4094-06C4-1DFD-2ED2-32AA21357F51}"/>
                  </a:ext>
                </a:extLst>
              </p:cNvPr>
              <p:cNvSpPr>
                <a:spLocks noEditPoints="1"/>
              </p:cNvSpPr>
              <p:nvPr/>
            </p:nvSpPr>
            <p:spPr bwMode="gray">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sz="1000" dirty="0">
                  <a:solidFill>
                    <a:prstClr val="black"/>
                  </a:solidFill>
                  <a:latin typeface="Open Sans Regular"/>
                  <a:ea typeface="Open Sans Regular"/>
                  <a:cs typeface="Open Sans Regular"/>
                </a:endParaRPr>
              </a:p>
            </p:txBody>
          </p:sp>
        </p:grpSp>
      </p:grpSp>
      <p:sp>
        <p:nvSpPr>
          <p:cNvPr id="121" name="Rectangle 120">
            <a:extLst>
              <a:ext uri="{FF2B5EF4-FFF2-40B4-BE49-F238E27FC236}">
                <a16:creationId xmlns:a16="http://schemas.microsoft.com/office/drawing/2014/main" id="{1F6F0433-EB3D-D42F-344D-3E3E70A1650D}"/>
              </a:ext>
            </a:extLst>
          </p:cNvPr>
          <p:cNvSpPr/>
          <p:nvPr/>
        </p:nvSpPr>
        <p:spPr bwMode="gray">
          <a:xfrm rot="1858350">
            <a:off x="10678026" y="2363659"/>
            <a:ext cx="955549" cy="215157"/>
          </a:xfrm>
          <a:prstGeom prst="rect">
            <a:avLst/>
          </a:prstGeom>
          <a:solidFill>
            <a:schemeClr val="bg1">
              <a:alpha val="80000"/>
            </a:schemeClr>
          </a:solidFill>
          <a:ln w="19050" algn="ctr">
            <a:solidFill>
              <a:srgbClr val="FF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GB" sz="1000" b="1" dirty="0">
                <a:solidFill>
                  <a:srgbClr val="FF0000"/>
                </a:solidFill>
                <a:latin typeface="Open Sans Regular"/>
                <a:ea typeface="Open Sans Regular"/>
                <a:cs typeface="Open Sans Regular"/>
              </a:rPr>
              <a:t>Illustration</a:t>
            </a:r>
          </a:p>
        </p:txBody>
      </p:sp>
      <p:sp>
        <p:nvSpPr>
          <p:cNvPr id="122" name="TextBox 121">
            <a:extLst>
              <a:ext uri="{FF2B5EF4-FFF2-40B4-BE49-F238E27FC236}">
                <a16:creationId xmlns:a16="http://schemas.microsoft.com/office/drawing/2014/main" id="{DB5435EE-57B1-0D43-C9F7-44F59A35F3BC}"/>
              </a:ext>
            </a:extLst>
          </p:cNvPr>
          <p:cNvSpPr txBox="1"/>
          <p:nvPr/>
        </p:nvSpPr>
        <p:spPr>
          <a:xfrm>
            <a:off x="4042611" y="1886953"/>
            <a:ext cx="7445541"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GB" sz="1000" b="1">
                <a:latin typeface="Open Sans Regular"/>
              </a:rPr>
              <a:t>The value proposition will encapsulate the most important strategic considerations for the function, including the value statement to the wider group and a high level overview of its main activities.</a:t>
            </a:r>
            <a:endParaRPr lang="en-US"/>
          </a:p>
        </p:txBody>
      </p:sp>
    </p:spTree>
    <p:extLst>
      <p:ext uri="{BB962C8B-B14F-4D97-AF65-F5344CB8AC3E}">
        <p14:creationId xmlns:p14="http://schemas.microsoft.com/office/powerpoint/2010/main" val="31979093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B84DDE9-1FAD-DC4C-D90D-0E1CDC00E079}"/>
              </a:ext>
            </a:extLst>
          </p:cNvPr>
          <p:cNvGraphicFramePr>
            <a:graphicFrameLocks noChangeAspect="1"/>
          </p:cNvGraphicFramePr>
          <p:nvPr>
            <p:custDataLst>
              <p:tags r:id="rId1"/>
            </p:custDataLst>
            <p:extLst>
              <p:ext uri="{D42A27DB-BD31-4B8C-83A1-F6EECF244321}">
                <p14:modId xmlns:p14="http://schemas.microsoft.com/office/powerpoint/2010/main" val="3497452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9B84DDE9-1FAD-DC4C-D90D-0E1CDC00E0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0419FC05-DB5F-6D73-597D-D429F3992FF6}"/>
              </a:ext>
            </a:extLst>
          </p:cNvPr>
          <p:cNvCxnSpPr>
            <a:cxnSpLocks/>
          </p:cNvCxnSpPr>
          <p:nvPr/>
        </p:nvCxnSpPr>
        <p:spPr>
          <a:xfrm flipH="1">
            <a:off x="463295" y="1709330"/>
            <a:ext cx="11268000"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8014F268-D480-79E6-B5FA-1BAD03870EE6}"/>
              </a:ext>
            </a:extLst>
          </p:cNvPr>
          <p:cNvSpPr>
            <a:spLocks noGrp="1"/>
          </p:cNvSpPr>
          <p:nvPr>
            <p:ph type="title"/>
          </p:nvPr>
        </p:nvSpPr>
        <p:spPr/>
        <p:txBody>
          <a:bodyPr vert="horz"/>
          <a:lstStyle/>
          <a:p>
            <a:r>
              <a:rPr lang="en-US" sz="2800" spc="-75" dirty="0"/>
              <a:t>Deloitte Hungary is focusing on improving HR processes and operations in its current project with UNHCR Budapest</a:t>
            </a:r>
            <a:endParaRPr lang="en-US" dirty="0"/>
          </a:p>
        </p:txBody>
      </p:sp>
      <p:sp>
        <p:nvSpPr>
          <p:cNvPr id="7" name="TextBox 6">
            <a:extLst>
              <a:ext uri="{FF2B5EF4-FFF2-40B4-BE49-F238E27FC236}">
                <a16:creationId xmlns:a16="http://schemas.microsoft.com/office/drawing/2014/main" id="{47F8E85D-AD3B-4EC1-AF44-826CD304CDD5}"/>
              </a:ext>
            </a:extLst>
          </p:cNvPr>
          <p:cNvSpPr txBox="1"/>
          <p:nvPr/>
        </p:nvSpPr>
        <p:spPr>
          <a:xfrm>
            <a:off x="1709791" y="1993697"/>
            <a:ext cx="4612558" cy="215444"/>
          </a:xfrm>
          <a:prstGeom prst="rect">
            <a:avLst/>
          </a:prstGeom>
          <a:noFill/>
        </p:spPr>
        <p:txBody>
          <a:bodyPr wrap="square" lIns="0" tIns="0" rIns="0" bIns="0" rtlCol="0">
            <a:spAutoFit/>
          </a:bodyPr>
          <a:lstStyle/>
          <a:p>
            <a:pPr marL="0" marR="0" lvl="0" indent="0" defTabSz="1219170" eaLnBrk="1" fontAlgn="auto" latinLnBrk="0" hangingPunct="1">
              <a:lnSpc>
                <a:spcPct val="100000"/>
              </a:lnSpc>
              <a:spcBef>
                <a:spcPts val="600"/>
              </a:spcBef>
              <a:spcAft>
                <a:spcPts val="0"/>
              </a:spcAft>
              <a:buClrTx/>
              <a:buSzPct val="100000"/>
              <a:buFontTx/>
              <a:buNone/>
              <a:tabLst/>
              <a:defRPr/>
            </a:pPr>
            <a:r>
              <a:rPr kumimoji="0" lang="en-US" sz="1400" i="0" u="none" strike="noStrike" kern="1200" cap="none" spc="-75" normalizeH="0" baseline="0" dirty="0">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2023</a:t>
            </a:r>
            <a:r>
              <a:rPr kumimoji="0" lang="en-US" sz="1400" i="0" u="none" strike="noStrike" kern="1200" cap="none" spc="-75" normalizeH="0" baseline="0" dirty="0">
                <a:ln>
                  <a:noFill/>
                </a:ln>
                <a:solidFill>
                  <a:srgbClr val="00B0F2"/>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 </a:t>
            </a:r>
            <a:r>
              <a:rPr kumimoji="0" lang="en-US" sz="1400" i="0" u="none" strike="noStrike" kern="1200" cap="none" spc="-75" normalizeH="0" baseline="0" dirty="0">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Efficiency improvement of HRSS function</a:t>
            </a:r>
          </a:p>
        </p:txBody>
      </p:sp>
      <p:sp>
        <p:nvSpPr>
          <p:cNvPr id="18" name="Rectangle 17">
            <a:extLst>
              <a:ext uri="{FF2B5EF4-FFF2-40B4-BE49-F238E27FC236}">
                <a16:creationId xmlns:a16="http://schemas.microsoft.com/office/drawing/2014/main" id="{3FB6FA31-F7F3-1DF5-A2DE-9BEBE72769F3}"/>
              </a:ext>
            </a:extLst>
          </p:cNvPr>
          <p:cNvSpPr/>
          <p:nvPr/>
        </p:nvSpPr>
        <p:spPr>
          <a:xfrm>
            <a:off x="1709791" y="2236994"/>
            <a:ext cx="4835990" cy="4356577"/>
          </a:xfrm>
          <a:prstGeom prst="rect">
            <a:avLst/>
          </a:prstGeom>
        </p:spPr>
        <p:txBody>
          <a:bodyPr wrap="square">
            <a:spAutoFit/>
          </a:bodyPr>
          <a:lstStyle/>
          <a:p>
            <a:pPr algn="just"/>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ituation</a:t>
            </a:r>
          </a:p>
          <a:p>
            <a:pPr algn="just"/>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Enhance the HR process and operational efficiency of the Budapest-based HRSS function to better serve the growing UNHCR organization, strengthen the center's attraction and retention capabilities. The scope includes two main objectives: defining efficiency improvement opportunities for HR administrative and payroll processes, reviewing and enhancing the operating model of the HRSS organization.</a:t>
            </a:r>
          </a:p>
          <a:p>
            <a:pPr algn="just"/>
            <a:endPar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pproach</a:t>
            </a:r>
          </a:p>
          <a:p>
            <a:pPr marL="140494" marR="3810" indent="-128588" defTabSz="914378">
              <a:lnSpc>
                <a:spcPct val="111300"/>
              </a:lnSpc>
              <a:spcAft>
                <a:spcPts val="300"/>
              </a:spcAft>
              <a:buClrTx/>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he project is delivered in three main phases and in two parallel streams for process efficiency and operating model improvement.</a:t>
            </a:r>
          </a:p>
          <a:p>
            <a:pPr marL="140494" marR="3810" indent="-128588" defTabSz="914378">
              <a:lnSpc>
                <a:spcPct val="111300"/>
              </a:lnSpc>
              <a:spcAft>
                <a:spcPts val="300"/>
              </a:spcAft>
              <a:buClrTx/>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Process efficiency: Based on a conducted as-is assessment, a high-level process taxonomy was developed. 9 processes were selected (related to HR and payroll functions) for defining improvement recommendations and calculating their impact.</a:t>
            </a:r>
          </a:p>
          <a:p>
            <a:pPr marL="140494" marR="3810" indent="-128588" defTabSz="914378">
              <a:lnSpc>
                <a:spcPct val="111300"/>
              </a:lnSpc>
              <a:spcAft>
                <a:spcPts val="300"/>
              </a:spcAft>
              <a:buClrTx/>
              <a:buFont typeface="Arial" panose="020B0604020202020204" pitchFamily="34" charset="0"/>
              <a:buChar char="•"/>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Operating model enhancement: During the as-is diagnosis, 7 key focus areas were identified, and 5 of them were selected for defining improvement opportunities.</a:t>
            </a:r>
            <a:b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br>
            <a:endPar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11906" marR="3810" defTabSz="914378">
              <a:lnSpc>
                <a:spcPct val="111300"/>
              </a:lnSpc>
              <a:spcAft>
                <a:spcPts val="300"/>
              </a:spcAft>
              <a:buClrTx/>
              <a:defRPr/>
            </a:pPr>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Impact</a:t>
            </a:r>
          </a:p>
          <a:p>
            <a:pPr marL="171450" marR="0" lvl="3" indent="-171450" algn="l" defTabSz="91440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Increasing process efficiency reduces process complexity and lead times and enables employees to perform mainly high value-added tasks.</a:t>
            </a:r>
          </a:p>
          <a:p>
            <a:pPr marL="171450" marR="0" lvl="3" indent="-171450" algn="l" defTabSz="91440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Redesigned HRSS operating model leads to more transparent lines of responsibility, more effective collaboration and support the achievement of organizational goals.</a:t>
            </a:r>
            <a:endParaRPr kumimoji="0" lang="en-US" sz="100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Picture 3">
            <a:extLst>
              <a:ext uri="{FF2B5EF4-FFF2-40B4-BE49-F238E27FC236}">
                <a16:creationId xmlns:a16="http://schemas.microsoft.com/office/drawing/2014/main" id="{1930FA43-B285-8B1B-7F48-365FBD23079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42482" y="2742963"/>
            <a:ext cx="2222044" cy="517674"/>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0DE57E8E-247A-FA5F-8760-3F49BAFAA7C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42482" y="3620116"/>
            <a:ext cx="2222044" cy="60664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E92A4DAF-043E-2C2A-FB83-40AEB83F3B7F}"/>
              </a:ext>
            </a:extLst>
          </p:cNvPr>
          <p:cNvSpPr txBox="1"/>
          <p:nvPr/>
        </p:nvSpPr>
        <p:spPr>
          <a:xfrm>
            <a:off x="6779872" y="2583444"/>
            <a:ext cx="2560575" cy="161583"/>
          </a:xfrm>
          <a:prstGeom prst="rect">
            <a:avLst/>
          </a:prstGeom>
          <a:noFill/>
        </p:spPr>
        <p:txBody>
          <a:bodyPr wrap="square" lIns="0" tIns="0" rIns="0" bIns="0" rtlCol="0">
            <a:spAutoFit/>
          </a:bodyPr>
          <a:lstStyle>
            <a:defPPr>
              <a:defRPr lang="en-US"/>
            </a:defPPr>
            <a:lvl1pPr>
              <a:spcBef>
                <a:spcPts val="600"/>
              </a:spcBef>
              <a:spcAft>
                <a:spcPts val="300"/>
              </a:spcAft>
              <a:buSzPct val="100000"/>
              <a:defRPr sz="1050" b="1" cap="small" spc="3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b="0" dirty="0">
                <a:solidFill>
                  <a:schemeClr val="tx1"/>
                </a:solidFill>
              </a:rPr>
              <a:t>As-Is &amp; To-Be process taxonomy</a:t>
            </a:r>
          </a:p>
        </p:txBody>
      </p:sp>
      <p:sp>
        <p:nvSpPr>
          <p:cNvPr id="11" name="TextBox 10">
            <a:extLst>
              <a:ext uri="{FF2B5EF4-FFF2-40B4-BE49-F238E27FC236}">
                <a16:creationId xmlns:a16="http://schemas.microsoft.com/office/drawing/2014/main" id="{6E5D3B57-52BF-2487-7731-B14295D2AAB9}"/>
              </a:ext>
            </a:extLst>
          </p:cNvPr>
          <p:cNvSpPr txBox="1"/>
          <p:nvPr/>
        </p:nvSpPr>
        <p:spPr>
          <a:xfrm>
            <a:off x="6779872" y="3443792"/>
            <a:ext cx="2560575" cy="161583"/>
          </a:xfrm>
          <a:prstGeom prst="rect">
            <a:avLst/>
          </a:prstGeom>
          <a:noFill/>
        </p:spPr>
        <p:txBody>
          <a:bodyPr wrap="square" lIns="0" tIns="0" rIns="0" bIns="0" rtlCol="0">
            <a:spAutoFit/>
          </a:bodyPr>
          <a:lstStyle/>
          <a:p>
            <a:pPr>
              <a:spcBef>
                <a:spcPts val="600"/>
              </a:spcBef>
              <a:spcAft>
                <a:spcPts val="300"/>
              </a:spcAft>
              <a:buSzPct val="100000"/>
              <a:defRPr/>
            </a:pPr>
            <a:r>
              <a:rPr lang="en-US" sz="1050" cap="small" spc="30" dirty="0">
                <a:latin typeface="Open Sans Light" panose="020B0306030504020204" pitchFamily="34" charset="0"/>
                <a:ea typeface="Open Sans Light" panose="020B0306030504020204" pitchFamily="34" charset="0"/>
                <a:cs typeface="Open Sans Light" panose="020B0306030504020204" pitchFamily="34" charset="0"/>
              </a:rPr>
              <a:t>efficiency &amp; capacity gain calculation</a:t>
            </a:r>
          </a:p>
        </p:txBody>
      </p:sp>
      <p:sp>
        <p:nvSpPr>
          <p:cNvPr id="12" name="TextBox 11">
            <a:extLst>
              <a:ext uri="{FF2B5EF4-FFF2-40B4-BE49-F238E27FC236}">
                <a16:creationId xmlns:a16="http://schemas.microsoft.com/office/drawing/2014/main" id="{BDE92D8D-0D2F-BC95-B106-F9D0A3309B49}"/>
              </a:ext>
            </a:extLst>
          </p:cNvPr>
          <p:cNvSpPr txBox="1"/>
          <p:nvPr/>
        </p:nvSpPr>
        <p:spPr>
          <a:xfrm>
            <a:off x="7773220" y="4689632"/>
            <a:ext cx="2998042" cy="161583"/>
          </a:xfrm>
          <a:prstGeom prst="rect">
            <a:avLst/>
          </a:prstGeom>
          <a:noFill/>
        </p:spPr>
        <p:txBody>
          <a:bodyPr wrap="square" lIns="0" tIns="0" rIns="0" bIns="0" rtlCol="0">
            <a:spAutoFit/>
          </a:bodyPr>
          <a:lstStyle>
            <a:defPPr>
              <a:defRPr lang="en-US"/>
            </a:defPPr>
            <a:lvl1pPr>
              <a:spcBef>
                <a:spcPts val="600"/>
              </a:spcBef>
              <a:spcAft>
                <a:spcPts val="300"/>
              </a:spcAft>
              <a:buSzPct val="100000"/>
              <a:defRPr sz="1050" b="1" cap="small" spc="3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b="0" dirty="0">
                <a:solidFill>
                  <a:schemeClr val="tx1"/>
                </a:solidFill>
              </a:rPr>
              <a:t>Improvement work packages</a:t>
            </a:r>
          </a:p>
        </p:txBody>
      </p:sp>
      <p:sp>
        <p:nvSpPr>
          <p:cNvPr id="13" name="Rectangle: Rounded Corners 70">
            <a:extLst>
              <a:ext uri="{FF2B5EF4-FFF2-40B4-BE49-F238E27FC236}">
                <a16:creationId xmlns:a16="http://schemas.microsoft.com/office/drawing/2014/main" id="{C2B048D2-8EB3-6F7E-C0B4-0AA4BB917E1F}"/>
              </a:ext>
            </a:extLst>
          </p:cNvPr>
          <p:cNvSpPr>
            <a:spLocks/>
          </p:cNvSpPr>
          <p:nvPr/>
        </p:nvSpPr>
        <p:spPr bwMode="gray">
          <a:xfrm>
            <a:off x="6542380" y="2105025"/>
            <a:ext cx="2610043" cy="208992"/>
          </a:xfrm>
          <a:prstGeom prst="roundRect">
            <a:avLst/>
          </a:prstGeom>
          <a:solidFill>
            <a:srgbClr val="D9F1FF"/>
          </a:solidFill>
          <a:ln w="19050" algn="ctr">
            <a:noFill/>
            <a:miter lim="800000"/>
            <a:headEnd/>
            <a:tailEnd/>
          </a:ln>
          <a:effectLst>
            <a:outerShdw blurRad="50800" dist="38100" dir="2700000" algn="tl" rotWithShape="0">
              <a:prstClr val="black">
                <a:alpha val="40000"/>
              </a:prstClr>
            </a:outerShdw>
          </a:effectLst>
        </p:spPr>
        <p:txBody>
          <a:bodyPr wrap="square" lIns="72000" tIns="0" rIns="0" bIns="0" rtlCol="0" anchor="ctr"/>
          <a:lstStyle/>
          <a:p>
            <a:pPr marL="0" marR="0" lvl="0" indent="0" algn="l" defTabSz="266700" eaLnBrk="1" fontAlgn="auto" latinLnBrk="0" hangingPunct="1">
              <a:lnSpc>
                <a:spcPct val="100000"/>
              </a:lnSpc>
              <a:spcBef>
                <a:spcPts val="0"/>
              </a:spcBef>
              <a:spcAft>
                <a:spcPts val="300"/>
              </a:spcAft>
              <a:buClrTx/>
              <a:buSzTx/>
              <a:buFontTx/>
              <a:buNone/>
              <a:tabLst/>
              <a:defRPr/>
            </a:pPr>
            <a:r>
              <a:rPr lang="en-US" sz="1200" b="1" cap="small" spc="30" dirty="0">
                <a:solidFill>
                  <a:srgbClr val="00B0F2"/>
                </a:solidFill>
                <a:latin typeface="Open Sans" panose="020B0606030504020204" pitchFamily="34" charset="0"/>
                <a:ea typeface="Open Sans" panose="020B0606030504020204" pitchFamily="34" charset="0"/>
                <a:cs typeface="Open Sans" panose="020B0606030504020204" pitchFamily="34" charset="0"/>
              </a:rPr>
              <a:t>Process efficiency improvement</a:t>
            </a:r>
            <a:endParaRPr kumimoji="0" lang="en-US" sz="1200" b="1" i="0" u="none" strike="noStrike" kern="1200" cap="small" spc="3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Rounded Corners 70">
            <a:extLst>
              <a:ext uri="{FF2B5EF4-FFF2-40B4-BE49-F238E27FC236}">
                <a16:creationId xmlns:a16="http://schemas.microsoft.com/office/drawing/2014/main" id="{E2A63ED1-6ECB-4952-3006-7CC1D9477E90}"/>
              </a:ext>
            </a:extLst>
          </p:cNvPr>
          <p:cNvSpPr>
            <a:spLocks/>
          </p:cNvSpPr>
          <p:nvPr/>
        </p:nvSpPr>
        <p:spPr bwMode="gray">
          <a:xfrm>
            <a:off x="9340913" y="2105025"/>
            <a:ext cx="2609314" cy="208992"/>
          </a:xfrm>
          <a:prstGeom prst="roundRect">
            <a:avLst/>
          </a:prstGeom>
          <a:solidFill>
            <a:srgbClr val="D9F1FF"/>
          </a:solidFill>
          <a:ln w="19050" algn="ctr">
            <a:noFill/>
            <a:miter lim="800000"/>
            <a:headEnd/>
            <a:tailEnd/>
          </a:ln>
        </p:spPr>
        <p:txBody>
          <a:bodyPr wrap="square" lIns="72000" tIns="0" rIns="0" bIns="0" rtlCol="0" anchor="ctr"/>
          <a:lstStyle/>
          <a:p>
            <a:pPr marL="0" marR="0" lvl="0" indent="0" algn="l" defTabSz="266700" eaLnBrk="1" fontAlgn="auto" latinLnBrk="0" hangingPunct="1">
              <a:lnSpc>
                <a:spcPct val="100000"/>
              </a:lnSpc>
              <a:spcBef>
                <a:spcPts val="0"/>
              </a:spcBef>
              <a:spcAft>
                <a:spcPts val="300"/>
              </a:spcAft>
              <a:buClrTx/>
              <a:buSzTx/>
              <a:buFontTx/>
              <a:buNone/>
              <a:tabLst/>
              <a:defRPr/>
            </a:pPr>
            <a:r>
              <a:rPr lang="en-US" sz="1200" b="1" cap="small" spc="30" dirty="0">
                <a:solidFill>
                  <a:srgbClr val="00B0F2"/>
                </a:solidFill>
                <a:latin typeface="Open Sans" panose="020B0606030504020204" pitchFamily="34" charset="0"/>
                <a:ea typeface="Open Sans" panose="020B0606030504020204" pitchFamily="34" charset="0"/>
                <a:cs typeface="Open Sans" panose="020B0606030504020204" pitchFamily="34" charset="0"/>
              </a:rPr>
              <a:t>Operating model improvement</a:t>
            </a:r>
            <a:endParaRPr kumimoji="0" lang="en-US" sz="1200" b="1" i="0" u="none" strike="noStrike" kern="1200" cap="small" spc="30" normalizeH="0" baseline="0" dirty="0">
              <a:ln>
                <a:noFill/>
              </a:ln>
              <a:solidFill>
                <a:srgbClr val="00B0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Isosceles Triangle 14">
            <a:extLst>
              <a:ext uri="{FF2B5EF4-FFF2-40B4-BE49-F238E27FC236}">
                <a16:creationId xmlns:a16="http://schemas.microsoft.com/office/drawing/2014/main" id="{24A33A20-6B00-2D23-94BE-2F5DF1D37528}"/>
              </a:ext>
            </a:extLst>
          </p:cNvPr>
          <p:cNvSpPr/>
          <p:nvPr/>
        </p:nvSpPr>
        <p:spPr bwMode="gray">
          <a:xfrm flipV="1">
            <a:off x="8503016" y="4412597"/>
            <a:ext cx="1538451" cy="183288"/>
          </a:xfrm>
          <a:prstGeom prst="triangle">
            <a:avLst/>
          </a:prstGeom>
          <a:solidFill>
            <a:srgbClr val="D9F1FF"/>
          </a:solidFill>
          <a:ln w="19050" algn="ctr">
            <a:noFill/>
            <a:miter lim="800000"/>
            <a:headEnd/>
            <a:tailEnd/>
          </a:ln>
        </p:spPr>
        <p:txBody>
          <a:bodyPr wrap="square" lIns="72000" tIns="0" rIns="0" bIns="0" rtlCol="0" anchor="ctr"/>
          <a:lstStyle/>
          <a:p>
            <a:pPr>
              <a:spcAft>
                <a:spcPts val="300"/>
              </a:spcAft>
            </a:pPr>
            <a:endParaRPr lang="en-US" sz="1400" b="1" cap="small" spc="3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C7919B10-7287-A992-E6B5-4CF6F196F1D2}"/>
              </a:ext>
            </a:extLst>
          </p:cNvPr>
          <p:cNvSpPr txBox="1"/>
          <p:nvPr/>
        </p:nvSpPr>
        <p:spPr>
          <a:xfrm>
            <a:off x="9565628" y="2583444"/>
            <a:ext cx="2433403" cy="161583"/>
          </a:xfrm>
          <a:prstGeom prst="rect">
            <a:avLst/>
          </a:prstGeom>
          <a:noFill/>
        </p:spPr>
        <p:txBody>
          <a:bodyPr wrap="square" lIns="0" tIns="0" rIns="0" bIns="0" rtlCol="0">
            <a:spAutoFit/>
          </a:bodyPr>
          <a:lstStyle>
            <a:defPPr>
              <a:defRPr lang="en-US"/>
            </a:defPPr>
            <a:lvl1pPr>
              <a:spcBef>
                <a:spcPts val="600"/>
              </a:spcBef>
              <a:spcAft>
                <a:spcPts val="300"/>
              </a:spcAft>
              <a:buSzPct val="100000"/>
              <a:defRPr sz="1050" b="1" cap="small" spc="3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b="0" dirty="0">
                <a:solidFill>
                  <a:schemeClr val="tx1"/>
                </a:solidFill>
              </a:rPr>
              <a:t>Pain points/inefficiencies analysis</a:t>
            </a:r>
          </a:p>
        </p:txBody>
      </p:sp>
      <p:pic>
        <p:nvPicPr>
          <p:cNvPr id="20" name="Picture 19">
            <a:extLst>
              <a:ext uri="{FF2B5EF4-FFF2-40B4-BE49-F238E27FC236}">
                <a16:creationId xmlns:a16="http://schemas.microsoft.com/office/drawing/2014/main" id="{2A76B6D9-2208-3B94-5CC6-2439B228B5C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250766" y="2745413"/>
            <a:ext cx="919856" cy="517419"/>
          </a:xfrm>
          <a:prstGeom prst="rect">
            <a:avLst/>
          </a:prstGeom>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205FB4C2-F496-5554-2932-333143F3B095}"/>
              </a:ext>
            </a:extLst>
          </p:cNvPr>
          <p:cNvSpPr txBox="1"/>
          <p:nvPr/>
        </p:nvSpPr>
        <p:spPr>
          <a:xfrm>
            <a:off x="9565628" y="3443792"/>
            <a:ext cx="2433403" cy="161583"/>
          </a:xfrm>
          <a:prstGeom prst="rect">
            <a:avLst/>
          </a:prstGeom>
          <a:noFill/>
        </p:spPr>
        <p:txBody>
          <a:bodyPr wrap="square" lIns="0" tIns="0" rIns="0" bIns="0" rtlCol="0">
            <a:spAutoFit/>
          </a:bodyPr>
          <a:lstStyle>
            <a:defPPr>
              <a:defRPr lang="en-US"/>
            </a:defPPr>
            <a:lvl1pPr>
              <a:spcBef>
                <a:spcPts val="600"/>
              </a:spcBef>
              <a:spcAft>
                <a:spcPts val="300"/>
              </a:spcAft>
              <a:buSzPct val="100000"/>
              <a:defRPr sz="1050" b="1" cap="small" spc="3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b="0" dirty="0">
                <a:solidFill>
                  <a:schemeClr val="tx1"/>
                </a:solidFill>
              </a:rPr>
              <a:t>Redesigned HRSS operating model</a:t>
            </a:r>
          </a:p>
        </p:txBody>
      </p:sp>
      <p:pic>
        <p:nvPicPr>
          <p:cNvPr id="22" name="Picture 21">
            <a:extLst>
              <a:ext uri="{FF2B5EF4-FFF2-40B4-BE49-F238E27FC236}">
                <a16:creationId xmlns:a16="http://schemas.microsoft.com/office/drawing/2014/main" id="{3FA3A1CC-F0C1-AE0A-3A11-A1DD8D5F307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15188" y="3619487"/>
            <a:ext cx="1048653" cy="571383"/>
          </a:xfrm>
          <a:prstGeom prst="rect">
            <a:avLst/>
          </a:prstGeom>
          <a:solidFill>
            <a:schemeClr val="bg1"/>
          </a:solidFill>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E22A70CB-32F4-4C62-AED9-1B42BA95EFD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753571" y="3619487"/>
            <a:ext cx="1113353" cy="571383"/>
          </a:xfrm>
          <a:prstGeom prst="rect">
            <a:avLst/>
          </a:prstGeom>
          <a:solidFill>
            <a:schemeClr val="bg1"/>
          </a:solidFill>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FB601663-7C1F-12CF-8A04-BDBE2D5E0FA8}"/>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078030" y="4920716"/>
            <a:ext cx="1129923" cy="634870"/>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AD705123-BE5F-1658-C47B-758C50B03FB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340447" y="4920716"/>
            <a:ext cx="1127049" cy="634870"/>
          </a:xfrm>
          <a:prstGeom prst="rect">
            <a:avLst/>
          </a:prstGeom>
          <a:effectLst>
            <a:outerShdw blurRad="50800" dist="38100" dir="2700000" algn="tl" rotWithShape="0">
              <a:prstClr val="black">
                <a:alpha val="40000"/>
              </a:prstClr>
            </a:outerShdw>
          </a:effectLst>
        </p:spPr>
      </p:pic>
      <p:grpSp>
        <p:nvGrpSpPr>
          <p:cNvPr id="26" name="Graphic 4">
            <a:extLst>
              <a:ext uri="{FF2B5EF4-FFF2-40B4-BE49-F238E27FC236}">
                <a16:creationId xmlns:a16="http://schemas.microsoft.com/office/drawing/2014/main" id="{77ACDF23-3BF5-D5E3-7D70-DA492E7A5872}"/>
              </a:ext>
            </a:extLst>
          </p:cNvPr>
          <p:cNvGrpSpPr>
            <a:grpSpLocks noChangeAspect="1"/>
          </p:cNvGrpSpPr>
          <p:nvPr/>
        </p:nvGrpSpPr>
        <p:grpSpPr>
          <a:xfrm>
            <a:off x="6577078" y="2575430"/>
            <a:ext cx="158705" cy="158578"/>
            <a:chOff x="905454" y="1403361"/>
            <a:chExt cx="362309" cy="361971"/>
          </a:xfrm>
          <a:solidFill>
            <a:srgbClr val="00B0F2"/>
          </a:solidFill>
        </p:grpSpPr>
        <p:sp>
          <p:nvSpPr>
            <p:cNvPr id="27" name="Graphic 4">
              <a:extLst>
                <a:ext uri="{FF2B5EF4-FFF2-40B4-BE49-F238E27FC236}">
                  <a16:creationId xmlns:a16="http://schemas.microsoft.com/office/drawing/2014/main" id="{D1F14F4E-FC1C-F750-C912-3212DCF3CB8C}"/>
                </a:ext>
              </a:extLst>
            </p:cNvPr>
            <p:cNvSpPr/>
            <p:nvPr/>
          </p:nvSpPr>
          <p:spPr>
            <a:xfrm>
              <a:off x="1077343" y="1665743"/>
              <a:ext cx="17891" cy="17875"/>
            </a:xfrm>
            <a:custGeom>
              <a:avLst/>
              <a:gdLst>
                <a:gd name="connsiteX0" fmla="*/ 17892 w 17891"/>
                <a:gd name="connsiteY0" fmla="*/ 8938 h 17875"/>
                <a:gd name="connsiteX1" fmla="*/ 8946 w 17891"/>
                <a:gd name="connsiteY1" fmla="*/ 17875 h 17875"/>
                <a:gd name="connsiteX2" fmla="*/ 0 w 17891"/>
                <a:gd name="connsiteY2" fmla="*/ 8938 h 17875"/>
                <a:gd name="connsiteX3" fmla="*/ 8946 w 17891"/>
                <a:gd name="connsiteY3" fmla="*/ 0 h 17875"/>
                <a:gd name="connsiteX4" fmla="*/ 17892 w 17891"/>
                <a:gd name="connsiteY4" fmla="*/ 8938 h 17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1" h="17875">
                  <a:moveTo>
                    <a:pt x="17892" y="8938"/>
                  </a:moveTo>
                  <a:cubicBezTo>
                    <a:pt x="17892" y="13874"/>
                    <a:pt x="13887" y="17875"/>
                    <a:pt x="8946" y="17875"/>
                  </a:cubicBezTo>
                  <a:cubicBezTo>
                    <a:pt x="4005" y="17875"/>
                    <a:pt x="0" y="13874"/>
                    <a:pt x="0" y="8938"/>
                  </a:cubicBezTo>
                  <a:cubicBezTo>
                    <a:pt x="0" y="4002"/>
                    <a:pt x="4005" y="0"/>
                    <a:pt x="8946" y="0"/>
                  </a:cubicBezTo>
                  <a:cubicBezTo>
                    <a:pt x="13887" y="0"/>
                    <a:pt x="17892" y="4002"/>
                    <a:pt x="17892" y="8938"/>
                  </a:cubicBezTo>
                  <a:close/>
                </a:path>
              </a:pathLst>
            </a:custGeom>
            <a:grpFill/>
            <a:ln w="6390"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01E31CEF-416B-076D-3587-B4B6887CADCA}"/>
                </a:ext>
              </a:extLst>
            </p:cNvPr>
            <p:cNvSpPr/>
            <p:nvPr/>
          </p:nvSpPr>
          <p:spPr>
            <a:xfrm>
              <a:off x="1077343" y="1484438"/>
              <a:ext cx="17891" cy="17875"/>
            </a:xfrm>
            <a:custGeom>
              <a:avLst/>
              <a:gdLst>
                <a:gd name="connsiteX0" fmla="*/ 17892 w 17891"/>
                <a:gd name="connsiteY0" fmla="*/ 8938 h 17875"/>
                <a:gd name="connsiteX1" fmla="*/ 8946 w 17891"/>
                <a:gd name="connsiteY1" fmla="*/ 0 h 17875"/>
                <a:gd name="connsiteX2" fmla="*/ 0 w 17891"/>
                <a:gd name="connsiteY2" fmla="*/ 8938 h 17875"/>
                <a:gd name="connsiteX3" fmla="*/ 8946 w 17891"/>
                <a:gd name="connsiteY3" fmla="*/ 17875 h 17875"/>
                <a:gd name="connsiteX4" fmla="*/ 8946 w 17891"/>
                <a:gd name="connsiteY4" fmla="*/ 17875 h 17875"/>
                <a:gd name="connsiteX5" fmla="*/ 17892 w 17891"/>
                <a:gd name="connsiteY5" fmla="*/ 8938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17892" y="8938"/>
                  </a:moveTo>
                  <a:cubicBezTo>
                    <a:pt x="17892" y="3830"/>
                    <a:pt x="14058" y="0"/>
                    <a:pt x="8946" y="0"/>
                  </a:cubicBezTo>
                  <a:cubicBezTo>
                    <a:pt x="3834" y="0"/>
                    <a:pt x="0" y="3830"/>
                    <a:pt x="0" y="8938"/>
                  </a:cubicBezTo>
                  <a:cubicBezTo>
                    <a:pt x="0" y="14045"/>
                    <a:pt x="3834" y="17875"/>
                    <a:pt x="8946" y="17875"/>
                  </a:cubicBezTo>
                  <a:cubicBezTo>
                    <a:pt x="8946" y="17875"/>
                    <a:pt x="8946" y="17875"/>
                    <a:pt x="8946" y="17875"/>
                  </a:cubicBezTo>
                  <a:cubicBezTo>
                    <a:pt x="14058" y="17875"/>
                    <a:pt x="17892" y="14045"/>
                    <a:pt x="17892" y="8938"/>
                  </a:cubicBezTo>
                  <a:close/>
                </a:path>
              </a:pathLst>
            </a:custGeom>
            <a:grpFill/>
            <a:ln w="6390"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050483AE-FCEA-99B9-BAEF-D778232B4636}"/>
                </a:ext>
              </a:extLst>
            </p:cNvPr>
            <p:cNvSpPr/>
            <p:nvPr/>
          </p:nvSpPr>
          <p:spPr>
            <a:xfrm>
              <a:off x="1017277" y="1484438"/>
              <a:ext cx="17891" cy="17875"/>
            </a:xfrm>
            <a:custGeom>
              <a:avLst/>
              <a:gdLst>
                <a:gd name="connsiteX0" fmla="*/ 8946 w 17891"/>
                <a:gd name="connsiteY0" fmla="*/ 17875 h 17875"/>
                <a:gd name="connsiteX1" fmla="*/ 17892 w 17891"/>
                <a:gd name="connsiteY1" fmla="*/ 8938 h 17875"/>
                <a:gd name="connsiteX2" fmla="*/ 8946 w 17891"/>
                <a:gd name="connsiteY2" fmla="*/ 0 h 17875"/>
                <a:gd name="connsiteX3" fmla="*/ 0 w 17891"/>
                <a:gd name="connsiteY3" fmla="*/ 8938 h 17875"/>
                <a:gd name="connsiteX4" fmla="*/ 0 w 17891"/>
                <a:gd name="connsiteY4" fmla="*/ 8938 h 17875"/>
                <a:gd name="connsiteX5" fmla="*/ 8946 w 17891"/>
                <a:gd name="connsiteY5" fmla="*/ 1787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8946" y="17875"/>
                  </a:moveTo>
                  <a:cubicBezTo>
                    <a:pt x="14058" y="17875"/>
                    <a:pt x="17892" y="14045"/>
                    <a:pt x="17892" y="8938"/>
                  </a:cubicBezTo>
                  <a:cubicBezTo>
                    <a:pt x="17892" y="3830"/>
                    <a:pt x="14058" y="0"/>
                    <a:pt x="8946" y="0"/>
                  </a:cubicBezTo>
                  <a:cubicBezTo>
                    <a:pt x="3834" y="0"/>
                    <a:pt x="0" y="3830"/>
                    <a:pt x="0" y="8938"/>
                  </a:cubicBezTo>
                  <a:cubicBezTo>
                    <a:pt x="0" y="8938"/>
                    <a:pt x="0" y="8938"/>
                    <a:pt x="0" y="8938"/>
                  </a:cubicBezTo>
                  <a:cubicBezTo>
                    <a:pt x="0" y="14045"/>
                    <a:pt x="3834" y="17875"/>
                    <a:pt x="8946" y="17875"/>
                  </a:cubicBezTo>
                  <a:close/>
                </a:path>
              </a:pathLst>
            </a:custGeom>
            <a:grp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9198B15D-C24C-7650-62D1-0C18035322E5}"/>
                </a:ext>
              </a:extLst>
            </p:cNvPr>
            <p:cNvSpPr/>
            <p:nvPr/>
          </p:nvSpPr>
          <p:spPr>
            <a:xfrm>
              <a:off x="905454" y="1403361"/>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241540 w 362309"/>
                <a:gd name="connsiteY6" fmla="*/ 293025 h 361971"/>
                <a:gd name="connsiteX7" fmla="*/ 219814 w 362309"/>
                <a:gd name="connsiteY7" fmla="*/ 271319 h 361971"/>
                <a:gd name="connsiteX8" fmla="*/ 235150 w 362309"/>
                <a:gd name="connsiteY8" fmla="*/ 250891 h 361971"/>
                <a:gd name="connsiteX9" fmla="*/ 235150 w 362309"/>
                <a:gd name="connsiteY9" fmla="*/ 203011 h 361971"/>
                <a:gd name="connsiteX10" fmla="*/ 220453 w 362309"/>
                <a:gd name="connsiteY10" fmla="*/ 186412 h 361971"/>
                <a:gd name="connsiteX11" fmla="*/ 218536 w 362309"/>
                <a:gd name="connsiteY11" fmla="*/ 186412 h 361971"/>
                <a:gd name="connsiteX12" fmla="*/ 187225 w 362309"/>
                <a:gd name="connsiteY12" fmla="*/ 186412 h 361971"/>
                <a:gd name="connsiteX13" fmla="*/ 187225 w 362309"/>
                <a:gd name="connsiteY13" fmla="*/ 250252 h 361971"/>
                <a:gd name="connsiteX14" fmla="*/ 201283 w 362309"/>
                <a:gd name="connsiteY14" fmla="*/ 277065 h 361971"/>
                <a:gd name="connsiteX15" fmla="*/ 174445 w 362309"/>
                <a:gd name="connsiteY15" fmla="*/ 291110 h 361971"/>
                <a:gd name="connsiteX16" fmla="*/ 160387 w 362309"/>
                <a:gd name="connsiteY16" fmla="*/ 264297 h 361971"/>
                <a:gd name="connsiteX17" fmla="*/ 174445 w 362309"/>
                <a:gd name="connsiteY17" fmla="*/ 250252 h 361971"/>
                <a:gd name="connsiteX18" fmla="*/ 174445 w 362309"/>
                <a:gd name="connsiteY18" fmla="*/ 186412 h 361971"/>
                <a:gd name="connsiteX19" fmla="*/ 143135 w 362309"/>
                <a:gd name="connsiteY19" fmla="*/ 186412 h 361971"/>
                <a:gd name="connsiteX20" fmla="*/ 113741 w 362309"/>
                <a:gd name="connsiteY20" fmla="*/ 158961 h 361971"/>
                <a:gd name="connsiteX21" fmla="*/ 113741 w 362309"/>
                <a:gd name="connsiteY21" fmla="*/ 157046 h 361971"/>
                <a:gd name="connsiteX22" fmla="*/ 113741 w 362309"/>
                <a:gd name="connsiteY22" fmla="*/ 109166 h 361971"/>
                <a:gd name="connsiteX23" fmla="*/ 99683 w 362309"/>
                <a:gd name="connsiteY23" fmla="*/ 82353 h 361971"/>
                <a:gd name="connsiteX24" fmla="*/ 126521 w 362309"/>
                <a:gd name="connsiteY24" fmla="*/ 68309 h 361971"/>
                <a:gd name="connsiteX25" fmla="*/ 140579 w 362309"/>
                <a:gd name="connsiteY25" fmla="*/ 95121 h 361971"/>
                <a:gd name="connsiteX26" fmla="*/ 126521 w 362309"/>
                <a:gd name="connsiteY26" fmla="*/ 109166 h 361971"/>
                <a:gd name="connsiteX27" fmla="*/ 126521 w 362309"/>
                <a:gd name="connsiteY27" fmla="*/ 157046 h 361971"/>
                <a:gd name="connsiteX28" fmla="*/ 141218 w 362309"/>
                <a:gd name="connsiteY28" fmla="*/ 173644 h 361971"/>
                <a:gd name="connsiteX29" fmla="*/ 142496 w 362309"/>
                <a:gd name="connsiteY29" fmla="*/ 173644 h 361971"/>
                <a:gd name="connsiteX30" fmla="*/ 173806 w 362309"/>
                <a:gd name="connsiteY30" fmla="*/ 173644 h 361971"/>
                <a:gd name="connsiteX31" fmla="*/ 173806 w 362309"/>
                <a:gd name="connsiteY31" fmla="*/ 111720 h 361971"/>
                <a:gd name="connsiteX32" fmla="*/ 174445 w 362309"/>
                <a:gd name="connsiteY32" fmla="*/ 109804 h 361971"/>
                <a:gd name="connsiteX33" fmla="*/ 159748 w 362309"/>
                <a:gd name="connsiteY33" fmla="*/ 82992 h 361971"/>
                <a:gd name="connsiteX34" fmla="*/ 186586 w 362309"/>
                <a:gd name="connsiteY34" fmla="*/ 68309 h 361971"/>
                <a:gd name="connsiteX35" fmla="*/ 201283 w 362309"/>
                <a:gd name="connsiteY35" fmla="*/ 95121 h 361971"/>
                <a:gd name="connsiteX36" fmla="*/ 186586 w 362309"/>
                <a:gd name="connsiteY36" fmla="*/ 109804 h 361971"/>
                <a:gd name="connsiteX37" fmla="*/ 187225 w 362309"/>
                <a:gd name="connsiteY37" fmla="*/ 111720 h 361971"/>
                <a:gd name="connsiteX38" fmla="*/ 187225 w 362309"/>
                <a:gd name="connsiteY38" fmla="*/ 173644 h 361971"/>
                <a:gd name="connsiteX39" fmla="*/ 219175 w 362309"/>
                <a:gd name="connsiteY39" fmla="*/ 173644 h 361971"/>
                <a:gd name="connsiteX40" fmla="*/ 248569 w 362309"/>
                <a:gd name="connsiteY40" fmla="*/ 201095 h 361971"/>
                <a:gd name="connsiteX41" fmla="*/ 248569 w 362309"/>
                <a:gd name="connsiteY41" fmla="*/ 203011 h 361971"/>
                <a:gd name="connsiteX42" fmla="*/ 248569 w 362309"/>
                <a:gd name="connsiteY42" fmla="*/ 250891 h 361971"/>
                <a:gd name="connsiteX43" fmla="*/ 262626 w 362309"/>
                <a:gd name="connsiteY43" fmla="*/ 277703 h 361971"/>
                <a:gd name="connsiteX44" fmla="*/ 241540 w 362309"/>
                <a:gd name="connsiteY44" fmla="*/ 293025 h 361971"/>
                <a:gd name="connsiteX45" fmla="*/ 241540 w 362309"/>
                <a:gd name="connsiteY45" fmla="*/ 29302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241540" y="293025"/>
                  </a:moveTo>
                  <a:cubicBezTo>
                    <a:pt x="229399" y="293025"/>
                    <a:pt x="219814" y="283449"/>
                    <a:pt x="219814" y="271319"/>
                  </a:cubicBezTo>
                  <a:cubicBezTo>
                    <a:pt x="219814" y="261743"/>
                    <a:pt x="226204" y="253444"/>
                    <a:pt x="235150" y="250891"/>
                  </a:cubicBezTo>
                  <a:lnTo>
                    <a:pt x="235150" y="203011"/>
                  </a:lnTo>
                  <a:cubicBezTo>
                    <a:pt x="235789" y="194711"/>
                    <a:pt x="228760" y="187051"/>
                    <a:pt x="220453" y="186412"/>
                  </a:cubicBezTo>
                  <a:cubicBezTo>
                    <a:pt x="219814" y="186412"/>
                    <a:pt x="219175" y="186412"/>
                    <a:pt x="218536" y="186412"/>
                  </a:cubicBezTo>
                  <a:lnTo>
                    <a:pt x="187225" y="186412"/>
                  </a:lnTo>
                  <a:lnTo>
                    <a:pt x="187225" y="250252"/>
                  </a:lnTo>
                  <a:cubicBezTo>
                    <a:pt x="198727" y="254083"/>
                    <a:pt x="205117" y="265574"/>
                    <a:pt x="201283" y="277065"/>
                  </a:cubicBezTo>
                  <a:cubicBezTo>
                    <a:pt x="197449" y="288556"/>
                    <a:pt x="185947" y="294940"/>
                    <a:pt x="174445" y="291110"/>
                  </a:cubicBezTo>
                  <a:cubicBezTo>
                    <a:pt x="162943" y="287279"/>
                    <a:pt x="156553" y="275788"/>
                    <a:pt x="160387" y="264297"/>
                  </a:cubicBezTo>
                  <a:cubicBezTo>
                    <a:pt x="162304" y="257275"/>
                    <a:pt x="168055" y="252167"/>
                    <a:pt x="174445" y="250252"/>
                  </a:cubicBezTo>
                  <a:lnTo>
                    <a:pt x="174445" y="186412"/>
                  </a:lnTo>
                  <a:lnTo>
                    <a:pt x="143135" y="186412"/>
                  </a:lnTo>
                  <a:cubicBezTo>
                    <a:pt x="127799" y="187051"/>
                    <a:pt x="114380" y="174283"/>
                    <a:pt x="113741" y="158961"/>
                  </a:cubicBezTo>
                  <a:cubicBezTo>
                    <a:pt x="113741" y="158323"/>
                    <a:pt x="113741" y="157684"/>
                    <a:pt x="113741" y="157046"/>
                  </a:cubicBezTo>
                  <a:lnTo>
                    <a:pt x="113741" y="109166"/>
                  </a:lnTo>
                  <a:cubicBezTo>
                    <a:pt x="102239" y="105336"/>
                    <a:pt x="95849" y="93845"/>
                    <a:pt x="99683" y="82353"/>
                  </a:cubicBezTo>
                  <a:cubicBezTo>
                    <a:pt x="103517" y="70862"/>
                    <a:pt x="115019" y="64478"/>
                    <a:pt x="126521" y="68309"/>
                  </a:cubicBezTo>
                  <a:cubicBezTo>
                    <a:pt x="138023" y="72139"/>
                    <a:pt x="144413" y="83630"/>
                    <a:pt x="140579" y="95121"/>
                  </a:cubicBezTo>
                  <a:cubicBezTo>
                    <a:pt x="138662" y="102144"/>
                    <a:pt x="132911" y="107251"/>
                    <a:pt x="126521" y="109166"/>
                  </a:cubicBezTo>
                  <a:lnTo>
                    <a:pt x="126521" y="157046"/>
                  </a:lnTo>
                  <a:cubicBezTo>
                    <a:pt x="125882" y="165345"/>
                    <a:pt x="132911" y="173006"/>
                    <a:pt x="141218" y="173644"/>
                  </a:cubicBezTo>
                  <a:cubicBezTo>
                    <a:pt x="141857" y="173644"/>
                    <a:pt x="142496" y="173644"/>
                    <a:pt x="142496" y="173644"/>
                  </a:cubicBezTo>
                  <a:lnTo>
                    <a:pt x="173806" y="173644"/>
                  </a:lnTo>
                  <a:lnTo>
                    <a:pt x="173806" y="111720"/>
                  </a:lnTo>
                  <a:cubicBezTo>
                    <a:pt x="173806" y="111081"/>
                    <a:pt x="173806" y="110443"/>
                    <a:pt x="174445" y="109804"/>
                  </a:cubicBezTo>
                  <a:cubicBezTo>
                    <a:pt x="162943" y="106612"/>
                    <a:pt x="156553" y="94483"/>
                    <a:pt x="159748" y="82992"/>
                  </a:cubicBezTo>
                  <a:cubicBezTo>
                    <a:pt x="162943" y="71501"/>
                    <a:pt x="175084" y="65117"/>
                    <a:pt x="186586" y="68309"/>
                  </a:cubicBezTo>
                  <a:cubicBezTo>
                    <a:pt x="198088" y="71501"/>
                    <a:pt x="204478" y="83630"/>
                    <a:pt x="201283" y="95121"/>
                  </a:cubicBezTo>
                  <a:cubicBezTo>
                    <a:pt x="199366" y="102144"/>
                    <a:pt x="193615" y="107889"/>
                    <a:pt x="186586" y="109804"/>
                  </a:cubicBezTo>
                  <a:cubicBezTo>
                    <a:pt x="186586" y="110443"/>
                    <a:pt x="187225" y="111081"/>
                    <a:pt x="187225" y="111720"/>
                  </a:cubicBezTo>
                  <a:lnTo>
                    <a:pt x="187225" y="173644"/>
                  </a:lnTo>
                  <a:lnTo>
                    <a:pt x="219175" y="173644"/>
                  </a:lnTo>
                  <a:cubicBezTo>
                    <a:pt x="234511" y="173006"/>
                    <a:pt x="247930" y="185135"/>
                    <a:pt x="248569" y="201095"/>
                  </a:cubicBezTo>
                  <a:cubicBezTo>
                    <a:pt x="248569" y="201734"/>
                    <a:pt x="248569" y="202372"/>
                    <a:pt x="248569" y="203011"/>
                  </a:cubicBezTo>
                  <a:lnTo>
                    <a:pt x="248569" y="250891"/>
                  </a:lnTo>
                  <a:cubicBezTo>
                    <a:pt x="260070" y="254083"/>
                    <a:pt x="266460" y="266212"/>
                    <a:pt x="262626" y="277703"/>
                  </a:cubicBezTo>
                  <a:cubicBezTo>
                    <a:pt x="259431" y="287279"/>
                    <a:pt x="251125" y="293663"/>
                    <a:pt x="241540" y="293025"/>
                  </a:cubicBezTo>
                  <a:lnTo>
                    <a:pt x="241540" y="293025"/>
                  </a:lnTo>
                  <a:close/>
                </a:path>
              </a:pathLst>
            </a:custGeom>
            <a:grp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4DFACB59-8EDD-2DB4-11F6-19A6BD246DC4}"/>
                </a:ext>
              </a:extLst>
            </p:cNvPr>
            <p:cNvSpPr/>
            <p:nvPr/>
          </p:nvSpPr>
          <p:spPr>
            <a:xfrm>
              <a:off x="1138047" y="1665743"/>
              <a:ext cx="17891" cy="17875"/>
            </a:xfrm>
            <a:custGeom>
              <a:avLst/>
              <a:gdLst>
                <a:gd name="connsiteX0" fmla="*/ 17892 w 17891"/>
                <a:gd name="connsiteY0" fmla="*/ 8938 h 17875"/>
                <a:gd name="connsiteX1" fmla="*/ 8946 w 17891"/>
                <a:gd name="connsiteY1" fmla="*/ 17875 h 17875"/>
                <a:gd name="connsiteX2" fmla="*/ 0 w 17891"/>
                <a:gd name="connsiteY2" fmla="*/ 8938 h 17875"/>
                <a:gd name="connsiteX3" fmla="*/ 8946 w 17891"/>
                <a:gd name="connsiteY3" fmla="*/ 0 h 17875"/>
                <a:gd name="connsiteX4" fmla="*/ 17892 w 17891"/>
                <a:gd name="connsiteY4" fmla="*/ 8938 h 17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1" h="17875">
                  <a:moveTo>
                    <a:pt x="17892" y="8938"/>
                  </a:moveTo>
                  <a:cubicBezTo>
                    <a:pt x="17892" y="13874"/>
                    <a:pt x="13887" y="17875"/>
                    <a:pt x="8946" y="17875"/>
                  </a:cubicBezTo>
                  <a:cubicBezTo>
                    <a:pt x="4005" y="17875"/>
                    <a:pt x="0" y="13874"/>
                    <a:pt x="0" y="8938"/>
                  </a:cubicBezTo>
                  <a:cubicBezTo>
                    <a:pt x="0" y="4002"/>
                    <a:pt x="4005" y="0"/>
                    <a:pt x="8946" y="0"/>
                  </a:cubicBezTo>
                  <a:cubicBezTo>
                    <a:pt x="13887" y="0"/>
                    <a:pt x="17892" y="4002"/>
                    <a:pt x="17892" y="8938"/>
                  </a:cubicBezTo>
                  <a:close/>
                </a:path>
              </a:pathLst>
            </a:custGeom>
            <a:grpFill/>
            <a:ln w="6390" cap="flat">
              <a:noFill/>
              <a:prstDash val="solid"/>
              <a:miter/>
            </a:ln>
          </p:spPr>
          <p:txBody>
            <a:bodyPr rtlCol="0" anchor="ctr"/>
            <a:lstStyle/>
            <a:p>
              <a:endParaRPr lang="en-US"/>
            </a:p>
          </p:txBody>
        </p:sp>
      </p:grpSp>
      <p:grpSp>
        <p:nvGrpSpPr>
          <p:cNvPr id="32" name="Graphic 4">
            <a:extLst>
              <a:ext uri="{FF2B5EF4-FFF2-40B4-BE49-F238E27FC236}">
                <a16:creationId xmlns:a16="http://schemas.microsoft.com/office/drawing/2014/main" id="{F4189C93-C65F-9753-F0C4-587E71089055}"/>
              </a:ext>
            </a:extLst>
          </p:cNvPr>
          <p:cNvGrpSpPr>
            <a:grpSpLocks noChangeAspect="1"/>
          </p:cNvGrpSpPr>
          <p:nvPr/>
        </p:nvGrpSpPr>
        <p:grpSpPr>
          <a:xfrm>
            <a:off x="6580888" y="3434895"/>
            <a:ext cx="158717" cy="158717"/>
            <a:chOff x="905454" y="3339623"/>
            <a:chExt cx="361670" cy="361333"/>
          </a:xfrm>
          <a:solidFill>
            <a:srgbClr val="00B0F2"/>
          </a:solidFill>
        </p:grpSpPr>
        <p:sp>
          <p:nvSpPr>
            <p:cNvPr id="33" name="Graphic 4">
              <a:extLst>
                <a:ext uri="{FF2B5EF4-FFF2-40B4-BE49-F238E27FC236}">
                  <a16:creationId xmlns:a16="http://schemas.microsoft.com/office/drawing/2014/main" id="{C7A98963-39A0-5A94-096B-0EFF6284A806}"/>
                </a:ext>
              </a:extLst>
            </p:cNvPr>
            <p:cNvSpPr/>
            <p:nvPr/>
          </p:nvSpPr>
          <p:spPr>
            <a:xfrm>
              <a:off x="905454"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58792 w 361670"/>
                <a:gd name="connsiteY5" fmla="*/ 280895 h 361333"/>
                <a:gd name="connsiteX6" fmla="*/ 252403 w 361670"/>
                <a:gd name="connsiteY6" fmla="*/ 287279 h 361333"/>
                <a:gd name="connsiteX7" fmla="*/ 109907 w 361670"/>
                <a:gd name="connsiteY7" fmla="*/ 287279 h 361333"/>
                <a:gd name="connsiteX8" fmla="*/ 103517 w 361670"/>
                <a:gd name="connsiteY8" fmla="*/ 280895 h 361333"/>
                <a:gd name="connsiteX9" fmla="*/ 103517 w 361670"/>
                <a:gd name="connsiteY9" fmla="*/ 81715 h 361333"/>
                <a:gd name="connsiteX10" fmla="*/ 109907 w 361670"/>
                <a:gd name="connsiteY10" fmla="*/ 75331 h 361333"/>
                <a:gd name="connsiteX11" fmla="*/ 252403 w 361670"/>
                <a:gd name="connsiteY11" fmla="*/ 75331 h 361333"/>
                <a:gd name="connsiteX12" fmla="*/ 258792 w 361670"/>
                <a:gd name="connsiteY12" fmla="*/ 81715 h 361333"/>
                <a:gd name="connsiteX13" fmla="*/ 258792 w 361670"/>
                <a:gd name="connsiteY13" fmla="*/ 280895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1157" y="0"/>
                    <a:pt x="180835" y="0"/>
                  </a:cubicBezTo>
                  <a:close/>
                  <a:moveTo>
                    <a:pt x="258792" y="280895"/>
                  </a:moveTo>
                  <a:cubicBezTo>
                    <a:pt x="258792" y="284725"/>
                    <a:pt x="256237" y="287279"/>
                    <a:pt x="252403" y="287279"/>
                  </a:cubicBezTo>
                  <a:lnTo>
                    <a:pt x="109907" y="287279"/>
                  </a:lnTo>
                  <a:cubicBezTo>
                    <a:pt x="106073" y="287279"/>
                    <a:pt x="103517" y="284725"/>
                    <a:pt x="103517" y="280895"/>
                  </a:cubicBezTo>
                  <a:lnTo>
                    <a:pt x="103517" y="81715"/>
                  </a:lnTo>
                  <a:cubicBezTo>
                    <a:pt x="103517" y="77885"/>
                    <a:pt x="106073" y="75331"/>
                    <a:pt x="109907" y="75331"/>
                  </a:cubicBezTo>
                  <a:lnTo>
                    <a:pt x="252403" y="75331"/>
                  </a:lnTo>
                  <a:cubicBezTo>
                    <a:pt x="256237" y="75331"/>
                    <a:pt x="258792" y="77885"/>
                    <a:pt x="258792" y="81715"/>
                  </a:cubicBezTo>
                  <a:lnTo>
                    <a:pt x="258792" y="280895"/>
                  </a:lnTo>
                  <a:close/>
                </a:path>
              </a:pathLst>
            </a:custGeom>
            <a:grpFill/>
            <a:ln w="6390"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16E50414-1C30-B674-05F9-DEB1FE12E174}"/>
                </a:ext>
              </a:extLst>
            </p:cNvPr>
            <p:cNvSpPr/>
            <p:nvPr/>
          </p:nvSpPr>
          <p:spPr>
            <a:xfrm>
              <a:off x="1021750" y="3427722"/>
              <a:ext cx="129715" cy="186412"/>
            </a:xfrm>
            <a:custGeom>
              <a:avLst/>
              <a:gdLst>
                <a:gd name="connsiteX0" fmla="*/ 0 w 129715"/>
                <a:gd name="connsiteY0" fmla="*/ 186412 h 186412"/>
                <a:gd name="connsiteX1" fmla="*/ 129716 w 129715"/>
                <a:gd name="connsiteY1" fmla="*/ 186412 h 186412"/>
                <a:gd name="connsiteX2" fmla="*/ 129716 w 129715"/>
                <a:gd name="connsiteY2" fmla="*/ 0 h 186412"/>
                <a:gd name="connsiteX3" fmla="*/ 0 w 129715"/>
                <a:gd name="connsiteY3" fmla="*/ 0 h 186412"/>
                <a:gd name="connsiteX4" fmla="*/ 0 w 129715"/>
                <a:gd name="connsiteY4" fmla="*/ 186412 h 186412"/>
                <a:gd name="connsiteX5" fmla="*/ 50481 w 129715"/>
                <a:gd name="connsiteY5" fmla="*/ 171091 h 186412"/>
                <a:gd name="connsiteX6" fmla="*/ 43452 w 129715"/>
                <a:gd name="connsiteY6" fmla="*/ 164068 h 186412"/>
                <a:gd name="connsiteX7" fmla="*/ 50481 w 129715"/>
                <a:gd name="connsiteY7" fmla="*/ 157046 h 186412"/>
                <a:gd name="connsiteX8" fmla="*/ 57509 w 129715"/>
                <a:gd name="connsiteY8" fmla="*/ 164068 h 186412"/>
                <a:gd name="connsiteX9" fmla="*/ 50481 w 129715"/>
                <a:gd name="connsiteY9" fmla="*/ 171091 h 186412"/>
                <a:gd name="connsiteX10" fmla="*/ 50481 w 129715"/>
                <a:gd name="connsiteY10" fmla="*/ 143001 h 186412"/>
                <a:gd name="connsiteX11" fmla="*/ 43452 w 129715"/>
                <a:gd name="connsiteY11" fmla="*/ 135979 h 186412"/>
                <a:gd name="connsiteX12" fmla="*/ 50481 w 129715"/>
                <a:gd name="connsiteY12" fmla="*/ 128957 h 186412"/>
                <a:gd name="connsiteX13" fmla="*/ 57509 w 129715"/>
                <a:gd name="connsiteY13" fmla="*/ 135979 h 186412"/>
                <a:gd name="connsiteX14" fmla="*/ 50481 w 129715"/>
                <a:gd name="connsiteY14" fmla="*/ 143001 h 186412"/>
                <a:gd name="connsiteX15" fmla="*/ 50481 w 129715"/>
                <a:gd name="connsiteY15" fmla="*/ 114273 h 186412"/>
                <a:gd name="connsiteX16" fmla="*/ 43452 w 129715"/>
                <a:gd name="connsiteY16" fmla="*/ 107251 h 186412"/>
                <a:gd name="connsiteX17" fmla="*/ 50481 w 129715"/>
                <a:gd name="connsiteY17" fmla="*/ 100229 h 186412"/>
                <a:gd name="connsiteX18" fmla="*/ 57509 w 129715"/>
                <a:gd name="connsiteY18" fmla="*/ 107251 h 186412"/>
                <a:gd name="connsiteX19" fmla="*/ 50481 w 129715"/>
                <a:gd name="connsiteY19" fmla="*/ 114273 h 186412"/>
                <a:gd name="connsiteX20" fmla="*/ 50481 w 129715"/>
                <a:gd name="connsiteY20" fmla="*/ 86184 h 186412"/>
                <a:gd name="connsiteX21" fmla="*/ 43452 w 129715"/>
                <a:gd name="connsiteY21" fmla="*/ 79162 h 186412"/>
                <a:gd name="connsiteX22" fmla="*/ 50481 w 129715"/>
                <a:gd name="connsiteY22" fmla="*/ 72139 h 186412"/>
                <a:gd name="connsiteX23" fmla="*/ 57509 w 129715"/>
                <a:gd name="connsiteY23" fmla="*/ 79162 h 186412"/>
                <a:gd name="connsiteX24" fmla="*/ 50481 w 129715"/>
                <a:gd name="connsiteY24" fmla="*/ 86184 h 186412"/>
                <a:gd name="connsiteX25" fmla="*/ 79235 w 129715"/>
                <a:gd name="connsiteY25" fmla="*/ 171091 h 186412"/>
                <a:gd name="connsiteX26" fmla="*/ 72206 w 129715"/>
                <a:gd name="connsiteY26" fmla="*/ 164068 h 186412"/>
                <a:gd name="connsiteX27" fmla="*/ 79235 w 129715"/>
                <a:gd name="connsiteY27" fmla="*/ 157046 h 186412"/>
                <a:gd name="connsiteX28" fmla="*/ 86264 w 129715"/>
                <a:gd name="connsiteY28" fmla="*/ 164068 h 186412"/>
                <a:gd name="connsiteX29" fmla="*/ 79235 w 129715"/>
                <a:gd name="connsiteY29" fmla="*/ 171091 h 186412"/>
                <a:gd name="connsiteX30" fmla="*/ 79235 w 129715"/>
                <a:gd name="connsiteY30" fmla="*/ 143001 h 186412"/>
                <a:gd name="connsiteX31" fmla="*/ 72206 w 129715"/>
                <a:gd name="connsiteY31" fmla="*/ 135979 h 186412"/>
                <a:gd name="connsiteX32" fmla="*/ 79235 w 129715"/>
                <a:gd name="connsiteY32" fmla="*/ 128957 h 186412"/>
                <a:gd name="connsiteX33" fmla="*/ 86264 w 129715"/>
                <a:gd name="connsiteY33" fmla="*/ 135979 h 186412"/>
                <a:gd name="connsiteX34" fmla="*/ 79235 w 129715"/>
                <a:gd name="connsiteY34" fmla="*/ 143001 h 186412"/>
                <a:gd name="connsiteX35" fmla="*/ 79235 w 129715"/>
                <a:gd name="connsiteY35" fmla="*/ 114273 h 186412"/>
                <a:gd name="connsiteX36" fmla="*/ 72206 w 129715"/>
                <a:gd name="connsiteY36" fmla="*/ 107251 h 186412"/>
                <a:gd name="connsiteX37" fmla="*/ 79235 w 129715"/>
                <a:gd name="connsiteY37" fmla="*/ 100229 h 186412"/>
                <a:gd name="connsiteX38" fmla="*/ 86264 w 129715"/>
                <a:gd name="connsiteY38" fmla="*/ 107251 h 186412"/>
                <a:gd name="connsiteX39" fmla="*/ 79235 w 129715"/>
                <a:gd name="connsiteY39" fmla="*/ 114273 h 186412"/>
                <a:gd name="connsiteX40" fmla="*/ 79235 w 129715"/>
                <a:gd name="connsiteY40" fmla="*/ 86184 h 186412"/>
                <a:gd name="connsiteX41" fmla="*/ 72206 w 129715"/>
                <a:gd name="connsiteY41" fmla="*/ 79162 h 186412"/>
                <a:gd name="connsiteX42" fmla="*/ 79235 w 129715"/>
                <a:gd name="connsiteY42" fmla="*/ 72139 h 186412"/>
                <a:gd name="connsiteX43" fmla="*/ 86264 w 129715"/>
                <a:gd name="connsiteY43" fmla="*/ 79162 h 186412"/>
                <a:gd name="connsiteX44" fmla="*/ 79235 w 129715"/>
                <a:gd name="connsiteY44" fmla="*/ 86184 h 186412"/>
                <a:gd name="connsiteX45" fmla="*/ 113741 w 129715"/>
                <a:gd name="connsiteY45" fmla="*/ 165345 h 186412"/>
                <a:gd name="connsiteX46" fmla="*/ 107351 w 129715"/>
                <a:gd name="connsiteY46" fmla="*/ 171729 h 186412"/>
                <a:gd name="connsiteX47" fmla="*/ 100961 w 129715"/>
                <a:gd name="connsiteY47" fmla="*/ 165345 h 186412"/>
                <a:gd name="connsiteX48" fmla="*/ 100961 w 129715"/>
                <a:gd name="connsiteY48" fmla="*/ 134702 h 186412"/>
                <a:gd name="connsiteX49" fmla="*/ 107351 w 129715"/>
                <a:gd name="connsiteY49" fmla="*/ 128318 h 186412"/>
                <a:gd name="connsiteX50" fmla="*/ 113741 w 129715"/>
                <a:gd name="connsiteY50" fmla="*/ 134702 h 186412"/>
                <a:gd name="connsiteX51" fmla="*/ 113741 w 129715"/>
                <a:gd name="connsiteY51" fmla="*/ 165345 h 186412"/>
                <a:gd name="connsiteX52" fmla="*/ 107351 w 129715"/>
                <a:gd name="connsiteY52" fmla="*/ 114273 h 186412"/>
                <a:gd name="connsiteX53" fmla="*/ 100322 w 129715"/>
                <a:gd name="connsiteY53" fmla="*/ 107251 h 186412"/>
                <a:gd name="connsiteX54" fmla="*/ 107351 w 129715"/>
                <a:gd name="connsiteY54" fmla="*/ 100229 h 186412"/>
                <a:gd name="connsiteX55" fmla="*/ 114380 w 129715"/>
                <a:gd name="connsiteY55" fmla="*/ 107251 h 186412"/>
                <a:gd name="connsiteX56" fmla="*/ 107351 w 129715"/>
                <a:gd name="connsiteY56" fmla="*/ 114273 h 186412"/>
                <a:gd name="connsiteX57" fmla="*/ 107351 w 129715"/>
                <a:gd name="connsiteY57" fmla="*/ 86184 h 186412"/>
                <a:gd name="connsiteX58" fmla="*/ 100322 w 129715"/>
                <a:gd name="connsiteY58" fmla="*/ 79162 h 186412"/>
                <a:gd name="connsiteX59" fmla="*/ 107351 w 129715"/>
                <a:gd name="connsiteY59" fmla="*/ 72139 h 186412"/>
                <a:gd name="connsiteX60" fmla="*/ 114380 w 129715"/>
                <a:gd name="connsiteY60" fmla="*/ 79162 h 186412"/>
                <a:gd name="connsiteX61" fmla="*/ 107351 w 129715"/>
                <a:gd name="connsiteY61" fmla="*/ 86184 h 186412"/>
                <a:gd name="connsiteX62" fmla="*/ 15975 w 129715"/>
                <a:gd name="connsiteY62" fmla="*/ 21706 h 186412"/>
                <a:gd name="connsiteX63" fmla="*/ 22365 w 129715"/>
                <a:gd name="connsiteY63" fmla="*/ 15322 h 186412"/>
                <a:gd name="connsiteX64" fmla="*/ 107990 w 129715"/>
                <a:gd name="connsiteY64" fmla="*/ 15322 h 186412"/>
                <a:gd name="connsiteX65" fmla="*/ 114380 w 129715"/>
                <a:gd name="connsiteY65" fmla="*/ 21706 h 186412"/>
                <a:gd name="connsiteX66" fmla="*/ 114380 w 129715"/>
                <a:gd name="connsiteY66" fmla="*/ 50434 h 186412"/>
                <a:gd name="connsiteX67" fmla="*/ 107990 w 129715"/>
                <a:gd name="connsiteY67" fmla="*/ 56818 h 186412"/>
                <a:gd name="connsiteX68" fmla="*/ 22365 w 129715"/>
                <a:gd name="connsiteY68" fmla="*/ 56818 h 186412"/>
                <a:gd name="connsiteX69" fmla="*/ 15975 w 129715"/>
                <a:gd name="connsiteY69" fmla="*/ 50434 h 186412"/>
                <a:gd name="connsiteX70" fmla="*/ 15975 w 129715"/>
                <a:gd name="connsiteY70" fmla="*/ 21706 h 186412"/>
                <a:gd name="connsiteX71" fmla="*/ 21726 w 129715"/>
                <a:gd name="connsiteY71" fmla="*/ 71501 h 186412"/>
                <a:gd name="connsiteX72" fmla="*/ 28755 w 129715"/>
                <a:gd name="connsiteY72" fmla="*/ 78523 h 186412"/>
                <a:gd name="connsiteX73" fmla="*/ 21726 w 129715"/>
                <a:gd name="connsiteY73" fmla="*/ 85546 h 186412"/>
                <a:gd name="connsiteX74" fmla="*/ 14697 w 129715"/>
                <a:gd name="connsiteY74" fmla="*/ 78523 h 186412"/>
                <a:gd name="connsiteX75" fmla="*/ 21726 w 129715"/>
                <a:gd name="connsiteY75" fmla="*/ 71501 h 186412"/>
                <a:gd name="connsiteX76" fmla="*/ 21726 w 129715"/>
                <a:gd name="connsiteY76" fmla="*/ 100229 h 186412"/>
                <a:gd name="connsiteX77" fmla="*/ 28755 w 129715"/>
                <a:gd name="connsiteY77" fmla="*/ 107251 h 186412"/>
                <a:gd name="connsiteX78" fmla="*/ 21726 w 129715"/>
                <a:gd name="connsiteY78" fmla="*/ 114273 h 186412"/>
                <a:gd name="connsiteX79" fmla="*/ 14697 w 129715"/>
                <a:gd name="connsiteY79" fmla="*/ 107251 h 186412"/>
                <a:gd name="connsiteX80" fmla="*/ 21726 w 129715"/>
                <a:gd name="connsiteY80" fmla="*/ 100229 h 186412"/>
                <a:gd name="connsiteX81" fmla="*/ 21726 w 129715"/>
                <a:gd name="connsiteY81" fmla="*/ 128318 h 186412"/>
                <a:gd name="connsiteX82" fmla="*/ 28755 w 129715"/>
                <a:gd name="connsiteY82" fmla="*/ 135341 h 186412"/>
                <a:gd name="connsiteX83" fmla="*/ 21726 w 129715"/>
                <a:gd name="connsiteY83" fmla="*/ 142363 h 186412"/>
                <a:gd name="connsiteX84" fmla="*/ 14697 w 129715"/>
                <a:gd name="connsiteY84" fmla="*/ 135341 h 186412"/>
                <a:gd name="connsiteX85" fmla="*/ 21726 w 129715"/>
                <a:gd name="connsiteY85" fmla="*/ 128318 h 186412"/>
                <a:gd name="connsiteX86" fmla="*/ 21726 w 129715"/>
                <a:gd name="connsiteY86" fmla="*/ 157046 h 186412"/>
                <a:gd name="connsiteX87" fmla="*/ 28755 w 129715"/>
                <a:gd name="connsiteY87" fmla="*/ 164068 h 186412"/>
                <a:gd name="connsiteX88" fmla="*/ 21726 w 129715"/>
                <a:gd name="connsiteY88" fmla="*/ 171091 h 186412"/>
                <a:gd name="connsiteX89" fmla="*/ 14697 w 129715"/>
                <a:gd name="connsiteY89" fmla="*/ 164068 h 186412"/>
                <a:gd name="connsiteX90" fmla="*/ 21726 w 129715"/>
                <a:gd name="connsiteY90" fmla="*/ 157046 h 18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29715" h="186412">
                  <a:moveTo>
                    <a:pt x="0" y="186412"/>
                  </a:moveTo>
                  <a:lnTo>
                    <a:pt x="129716" y="186412"/>
                  </a:lnTo>
                  <a:lnTo>
                    <a:pt x="129716" y="0"/>
                  </a:lnTo>
                  <a:lnTo>
                    <a:pt x="0" y="0"/>
                  </a:lnTo>
                  <a:lnTo>
                    <a:pt x="0" y="186412"/>
                  </a:lnTo>
                  <a:close/>
                  <a:moveTo>
                    <a:pt x="50481" y="171091"/>
                  </a:moveTo>
                  <a:cubicBezTo>
                    <a:pt x="46647" y="171091"/>
                    <a:pt x="43452" y="167899"/>
                    <a:pt x="43452" y="164068"/>
                  </a:cubicBezTo>
                  <a:cubicBezTo>
                    <a:pt x="43452" y="160238"/>
                    <a:pt x="46647" y="157046"/>
                    <a:pt x="50481" y="157046"/>
                  </a:cubicBezTo>
                  <a:cubicBezTo>
                    <a:pt x="54314" y="157046"/>
                    <a:pt x="57509" y="160238"/>
                    <a:pt x="57509" y="164068"/>
                  </a:cubicBezTo>
                  <a:cubicBezTo>
                    <a:pt x="57509" y="167899"/>
                    <a:pt x="54314" y="171091"/>
                    <a:pt x="50481" y="171091"/>
                  </a:cubicBezTo>
                  <a:close/>
                  <a:moveTo>
                    <a:pt x="50481" y="143001"/>
                  </a:moveTo>
                  <a:cubicBezTo>
                    <a:pt x="46647" y="143001"/>
                    <a:pt x="43452" y="139809"/>
                    <a:pt x="43452" y="135979"/>
                  </a:cubicBezTo>
                  <a:cubicBezTo>
                    <a:pt x="43452" y="132149"/>
                    <a:pt x="46647" y="128957"/>
                    <a:pt x="50481" y="128957"/>
                  </a:cubicBezTo>
                  <a:cubicBezTo>
                    <a:pt x="54314" y="128957"/>
                    <a:pt x="57509" y="132149"/>
                    <a:pt x="57509" y="135979"/>
                  </a:cubicBezTo>
                  <a:cubicBezTo>
                    <a:pt x="57509" y="139809"/>
                    <a:pt x="54314" y="143001"/>
                    <a:pt x="50481" y="143001"/>
                  </a:cubicBezTo>
                  <a:close/>
                  <a:moveTo>
                    <a:pt x="50481" y="114273"/>
                  </a:moveTo>
                  <a:cubicBezTo>
                    <a:pt x="46647" y="114273"/>
                    <a:pt x="43452" y="111081"/>
                    <a:pt x="43452" y="107251"/>
                  </a:cubicBezTo>
                  <a:cubicBezTo>
                    <a:pt x="43452" y="103421"/>
                    <a:pt x="46647" y="100229"/>
                    <a:pt x="50481" y="100229"/>
                  </a:cubicBezTo>
                  <a:cubicBezTo>
                    <a:pt x="54314" y="100229"/>
                    <a:pt x="57509" y="103421"/>
                    <a:pt x="57509" y="107251"/>
                  </a:cubicBezTo>
                  <a:cubicBezTo>
                    <a:pt x="57509" y="111081"/>
                    <a:pt x="54314" y="114273"/>
                    <a:pt x="50481" y="114273"/>
                  </a:cubicBezTo>
                  <a:close/>
                  <a:moveTo>
                    <a:pt x="50481" y="86184"/>
                  </a:moveTo>
                  <a:cubicBezTo>
                    <a:pt x="46647" y="86184"/>
                    <a:pt x="43452" y="82992"/>
                    <a:pt x="43452" y="79162"/>
                  </a:cubicBezTo>
                  <a:cubicBezTo>
                    <a:pt x="43452" y="75331"/>
                    <a:pt x="46647" y="72139"/>
                    <a:pt x="50481" y="72139"/>
                  </a:cubicBezTo>
                  <a:cubicBezTo>
                    <a:pt x="54314" y="72139"/>
                    <a:pt x="57509" y="75331"/>
                    <a:pt x="57509" y="79162"/>
                  </a:cubicBezTo>
                  <a:cubicBezTo>
                    <a:pt x="57509" y="82992"/>
                    <a:pt x="54314" y="86184"/>
                    <a:pt x="50481" y="86184"/>
                  </a:cubicBezTo>
                  <a:close/>
                  <a:moveTo>
                    <a:pt x="79235" y="171091"/>
                  </a:moveTo>
                  <a:cubicBezTo>
                    <a:pt x="75401" y="171091"/>
                    <a:pt x="72206" y="167899"/>
                    <a:pt x="72206" y="164068"/>
                  </a:cubicBezTo>
                  <a:cubicBezTo>
                    <a:pt x="72206" y="160238"/>
                    <a:pt x="75401" y="157046"/>
                    <a:pt x="79235" y="157046"/>
                  </a:cubicBezTo>
                  <a:cubicBezTo>
                    <a:pt x="83069" y="157046"/>
                    <a:pt x="86264" y="160238"/>
                    <a:pt x="86264" y="164068"/>
                  </a:cubicBezTo>
                  <a:cubicBezTo>
                    <a:pt x="86264" y="167899"/>
                    <a:pt x="83069" y="171091"/>
                    <a:pt x="79235" y="171091"/>
                  </a:cubicBezTo>
                  <a:close/>
                  <a:moveTo>
                    <a:pt x="79235" y="143001"/>
                  </a:moveTo>
                  <a:cubicBezTo>
                    <a:pt x="75401" y="143001"/>
                    <a:pt x="72206" y="139809"/>
                    <a:pt x="72206" y="135979"/>
                  </a:cubicBezTo>
                  <a:cubicBezTo>
                    <a:pt x="72206" y="132149"/>
                    <a:pt x="75401" y="128957"/>
                    <a:pt x="79235" y="128957"/>
                  </a:cubicBezTo>
                  <a:cubicBezTo>
                    <a:pt x="83069" y="128957"/>
                    <a:pt x="86264" y="132149"/>
                    <a:pt x="86264" y="135979"/>
                  </a:cubicBezTo>
                  <a:cubicBezTo>
                    <a:pt x="86264" y="139809"/>
                    <a:pt x="83069" y="143001"/>
                    <a:pt x="79235" y="143001"/>
                  </a:cubicBezTo>
                  <a:close/>
                  <a:moveTo>
                    <a:pt x="79235" y="114273"/>
                  </a:moveTo>
                  <a:cubicBezTo>
                    <a:pt x="75401" y="114273"/>
                    <a:pt x="72206" y="111081"/>
                    <a:pt x="72206" y="107251"/>
                  </a:cubicBezTo>
                  <a:cubicBezTo>
                    <a:pt x="72206" y="103421"/>
                    <a:pt x="75401" y="100229"/>
                    <a:pt x="79235" y="100229"/>
                  </a:cubicBezTo>
                  <a:cubicBezTo>
                    <a:pt x="83069" y="100229"/>
                    <a:pt x="86264" y="103421"/>
                    <a:pt x="86264" y="107251"/>
                  </a:cubicBezTo>
                  <a:cubicBezTo>
                    <a:pt x="86264" y="111081"/>
                    <a:pt x="83069" y="114273"/>
                    <a:pt x="79235" y="114273"/>
                  </a:cubicBezTo>
                  <a:close/>
                  <a:moveTo>
                    <a:pt x="79235" y="86184"/>
                  </a:moveTo>
                  <a:cubicBezTo>
                    <a:pt x="75401" y="86184"/>
                    <a:pt x="72206" y="82992"/>
                    <a:pt x="72206" y="79162"/>
                  </a:cubicBezTo>
                  <a:cubicBezTo>
                    <a:pt x="72206" y="75331"/>
                    <a:pt x="75401" y="72139"/>
                    <a:pt x="79235" y="72139"/>
                  </a:cubicBezTo>
                  <a:cubicBezTo>
                    <a:pt x="83069" y="72139"/>
                    <a:pt x="86264" y="75331"/>
                    <a:pt x="86264" y="79162"/>
                  </a:cubicBezTo>
                  <a:cubicBezTo>
                    <a:pt x="86264" y="82992"/>
                    <a:pt x="83069" y="86184"/>
                    <a:pt x="79235" y="86184"/>
                  </a:cubicBezTo>
                  <a:close/>
                  <a:moveTo>
                    <a:pt x="113741" y="165345"/>
                  </a:moveTo>
                  <a:cubicBezTo>
                    <a:pt x="113741" y="169176"/>
                    <a:pt x="111185" y="171729"/>
                    <a:pt x="107351" y="171729"/>
                  </a:cubicBezTo>
                  <a:cubicBezTo>
                    <a:pt x="103517" y="171729"/>
                    <a:pt x="100961" y="169176"/>
                    <a:pt x="100961" y="165345"/>
                  </a:cubicBezTo>
                  <a:lnTo>
                    <a:pt x="100961" y="134702"/>
                  </a:lnTo>
                  <a:cubicBezTo>
                    <a:pt x="100961" y="130872"/>
                    <a:pt x="103517" y="128318"/>
                    <a:pt x="107351" y="128318"/>
                  </a:cubicBezTo>
                  <a:cubicBezTo>
                    <a:pt x="111185" y="128318"/>
                    <a:pt x="113741" y="130872"/>
                    <a:pt x="113741" y="134702"/>
                  </a:cubicBezTo>
                  <a:lnTo>
                    <a:pt x="113741" y="165345"/>
                  </a:lnTo>
                  <a:close/>
                  <a:moveTo>
                    <a:pt x="107351" y="114273"/>
                  </a:moveTo>
                  <a:cubicBezTo>
                    <a:pt x="103517" y="114273"/>
                    <a:pt x="100322" y="111081"/>
                    <a:pt x="100322" y="107251"/>
                  </a:cubicBezTo>
                  <a:cubicBezTo>
                    <a:pt x="100322" y="103421"/>
                    <a:pt x="103517" y="100229"/>
                    <a:pt x="107351" y="100229"/>
                  </a:cubicBezTo>
                  <a:cubicBezTo>
                    <a:pt x="111185" y="100229"/>
                    <a:pt x="114380" y="103421"/>
                    <a:pt x="114380" y="107251"/>
                  </a:cubicBezTo>
                  <a:cubicBezTo>
                    <a:pt x="114380" y="111081"/>
                    <a:pt x="111185" y="114273"/>
                    <a:pt x="107351" y="114273"/>
                  </a:cubicBezTo>
                  <a:close/>
                  <a:moveTo>
                    <a:pt x="107351" y="86184"/>
                  </a:moveTo>
                  <a:cubicBezTo>
                    <a:pt x="103517" y="86184"/>
                    <a:pt x="100322" y="82992"/>
                    <a:pt x="100322" y="79162"/>
                  </a:cubicBezTo>
                  <a:cubicBezTo>
                    <a:pt x="100322" y="75331"/>
                    <a:pt x="103517" y="72139"/>
                    <a:pt x="107351" y="72139"/>
                  </a:cubicBezTo>
                  <a:cubicBezTo>
                    <a:pt x="111185" y="72139"/>
                    <a:pt x="114380" y="75331"/>
                    <a:pt x="114380" y="79162"/>
                  </a:cubicBezTo>
                  <a:cubicBezTo>
                    <a:pt x="114380" y="82992"/>
                    <a:pt x="111185" y="86184"/>
                    <a:pt x="107351" y="86184"/>
                  </a:cubicBezTo>
                  <a:close/>
                  <a:moveTo>
                    <a:pt x="15975" y="21706"/>
                  </a:moveTo>
                  <a:cubicBezTo>
                    <a:pt x="15975" y="17875"/>
                    <a:pt x="18531" y="15322"/>
                    <a:pt x="22365" y="15322"/>
                  </a:cubicBezTo>
                  <a:lnTo>
                    <a:pt x="107990" y="15322"/>
                  </a:lnTo>
                  <a:cubicBezTo>
                    <a:pt x="111824" y="15322"/>
                    <a:pt x="114380" y="17875"/>
                    <a:pt x="114380" y="21706"/>
                  </a:cubicBezTo>
                  <a:lnTo>
                    <a:pt x="114380" y="50434"/>
                  </a:lnTo>
                  <a:cubicBezTo>
                    <a:pt x="114380" y="54264"/>
                    <a:pt x="111824" y="56818"/>
                    <a:pt x="107990" y="56818"/>
                  </a:cubicBezTo>
                  <a:lnTo>
                    <a:pt x="22365" y="56818"/>
                  </a:lnTo>
                  <a:cubicBezTo>
                    <a:pt x="18531" y="56818"/>
                    <a:pt x="15975" y="54264"/>
                    <a:pt x="15975" y="50434"/>
                  </a:cubicBezTo>
                  <a:lnTo>
                    <a:pt x="15975" y="21706"/>
                  </a:lnTo>
                  <a:close/>
                  <a:moveTo>
                    <a:pt x="21726" y="71501"/>
                  </a:moveTo>
                  <a:cubicBezTo>
                    <a:pt x="25560" y="71501"/>
                    <a:pt x="28755" y="74693"/>
                    <a:pt x="28755" y="78523"/>
                  </a:cubicBezTo>
                  <a:cubicBezTo>
                    <a:pt x="28755" y="82354"/>
                    <a:pt x="25560" y="85546"/>
                    <a:pt x="21726" y="85546"/>
                  </a:cubicBezTo>
                  <a:cubicBezTo>
                    <a:pt x="17892" y="85546"/>
                    <a:pt x="14697" y="82354"/>
                    <a:pt x="14697" y="78523"/>
                  </a:cubicBezTo>
                  <a:cubicBezTo>
                    <a:pt x="14697" y="74693"/>
                    <a:pt x="17892" y="71501"/>
                    <a:pt x="21726" y="71501"/>
                  </a:cubicBezTo>
                  <a:close/>
                  <a:moveTo>
                    <a:pt x="21726" y="100229"/>
                  </a:moveTo>
                  <a:cubicBezTo>
                    <a:pt x="25560" y="100229"/>
                    <a:pt x="28755" y="103421"/>
                    <a:pt x="28755" y="107251"/>
                  </a:cubicBezTo>
                  <a:cubicBezTo>
                    <a:pt x="28755" y="111081"/>
                    <a:pt x="25560" y="114273"/>
                    <a:pt x="21726" y="114273"/>
                  </a:cubicBezTo>
                  <a:cubicBezTo>
                    <a:pt x="17892" y="114273"/>
                    <a:pt x="14697" y="111081"/>
                    <a:pt x="14697" y="107251"/>
                  </a:cubicBezTo>
                  <a:cubicBezTo>
                    <a:pt x="14697" y="103421"/>
                    <a:pt x="17892" y="100229"/>
                    <a:pt x="21726" y="100229"/>
                  </a:cubicBezTo>
                  <a:close/>
                  <a:moveTo>
                    <a:pt x="21726" y="128318"/>
                  </a:moveTo>
                  <a:cubicBezTo>
                    <a:pt x="25560" y="128318"/>
                    <a:pt x="28755" y="131510"/>
                    <a:pt x="28755" y="135341"/>
                  </a:cubicBezTo>
                  <a:cubicBezTo>
                    <a:pt x="28755" y="139171"/>
                    <a:pt x="25560" y="142363"/>
                    <a:pt x="21726" y="142363"/>
                  </a:cubicBezTo>
                  <a:cubicBezTo>
                    <a:pt x="17892" y="142363"/>
                    <a:pt x="14697" y="139171"/>
                    <a:pt x="14697" y="135341"/>
                  </a:cubicBezTo>
                  <a:cubicBezTo>
                    <a:pt x="14697" y="131510"/>
                    <a:pt x="17892" y="128318"/>
                    <a:pt x="21726" y="128318"/>
                  </a:cubicBezTo>
                  <a:close/>
                  <a:moveTo>
                    <a:pt x="21726" y="157046"/>
                  </a:moveTo>
                  <a:cubicBezTo>
                    <a:pt x="25560" y="157046"/>
                    <a:pt x="28755" y="160238"/>
                    <a:pt x="28755" y="164068"/>
                  </a:cubicBezTo>
                  <a:cubicBezTo>
                    <a:pt x="28755" y="167899"/>
                    <a:pt x="25560" y="171091"/>
                    <a:pt x="21726" y="171091"/>
                  </a:cubicBezTo>
                  <a:cubicBezTo>
                    <a:pt x="17892" y="171091"/>
                    <a:pt x="14697" y="167899"/>
                    <a:pt x="14697" y="164068"/>
                  </a:cubicBezTo>
                  <a:cubicBezTo>
                    <a:pt x="14697" y="160238"/>
                    <a:pt x="17892" y="157046"/>
                    <a:pt x="21726" y="157046"/>
                  </a:cubicBez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ABBE244E-402B-2A13-02EA-71382059B71B}"/>
                </a:ext>
              </a:extLst>
            </p:cNvPr>
            <p:cNvSpPr/>
            <p:nvPr/>
          </p:nvSpPr>
          <p:spPr>
            <a:xfrm>
              <a:off x="1050505" y="3455812"/>
              <a:ext cx="72845" cy="15959"/>
            </a:xfrm>
            <a:custGeom>
              <a:avLst/>
              <a:gdLst>
                <a:gd name="connsiteX0" fmla="*/ 0 w 72845"/>
                <a:gd name="connsiteY0" fmla="*/ 0 h 15959"/>
                <a:gd name="connsiteX1" fmla="*/ 72845 w 72845"/>
                <a:gd name="connsiteY1" fmla="*/ 0 h 15959"/>
                <a:gd name="connsiteX2" fmla="*/ 72845 w 72845"/>
                <a:gd name="connsiteY2" fmla="*/ 15960 h 15959"/>
                <a:gd name="connsiteX3" fmla="*/ 0 w 72845"/>
                <a:gd name="connsiteY3" fmla="*/ 15960 h 15959"/>
              </a:gdLst>
              <a:ahLst/>
              <a:cxnLst>
                <a:cxn ang="0">
                  <a:pos x="connsiteX0" y="connsiteY0"/>
                </a:cxn>
                <a:cxn ang="0">
                  <a:pos x="connsiteX1" y="connsiteY1"/>
                </a:cxn>
                <a:cxn ang="0">
                  <a:pos x="connsiteX2" y="connsiteY2"/>
                </a:cxn>
                <a:cxn ang="0">
                  <a:pos x="connsiteX3" y="connsiteY3"/>
                </a:cxn>
              </a:cxnLst>
              <a:rect l="l" t="t" r="r" b="b"/>
              <a:pathLst>
                <a:path w="72845" h="15959">
                  <a:moveTo>
                    <a:pt x="0" y="0"/>
                  </a:moveTo>
                  <a:lnTo>
                    <a:pt x="72845" y="0"/>
                  </a:lnTo>
                  <a:lnTo>
                    <a:pt x="72845" y="15960"/>
                  </a:lnTo>
                  <a:lnTo>
                    <a:pt x="0" y="15960"/>
                  </a:lnTo>
                  <a:close/>
                </a:path>
              </a:pathLst>
            </a:custGeom>
            <a:grpFill/>
            <a:ln w="6390" cap="flat">
              <a:noFill/>
              <a:prstDash val="solid"/>
              <a:miter/>
            </a:ln>
          </p:spPr>
          <p:txBody>
            <a:bodyPr rtlCol="0" anchor="ctr"/>
            <a:lstStyle/>
            <a:p>
              <a:endParaRPr lang="en-US"/>
            </a:p>
          </p:txBody>
        </p:sp>
      </p:grpSp>
      <p:grpSp>
        <p:nvGrpSpPr>
          <p:cNvPr id="36" name="Graphic 1100">
            <a:extLst>
              <a:ext uri="{FF2B5EF4-FFF2-40B4-BE49-F238E27FC236}">
                <a16:creationId xmlns:a16="http://schemas.microsoft.com/office/drawing/2014/main" id="{A54F0BC0-20D1-0D1A-C0F7-12D5B7BCF748}"/>
              </a:ext>
            </a:extLst>
          </p:cNvPr>
          <p:cNvGrpSpPr>
            <a:grpSpLocks noChangeAspect="1"/>
          </p:cNvGrpSpPr>
          <p:nvPr/>
        </p:nvGrpSpPr>
        <p:grpSpPr>
          <a:xfrm>
            <a:off x="9361520" y="2575351"/>
            <a:ext cx="158714" cy="158720"/>
            <a:chOff x="5099808" y="3828162"/>
            <a:chExt cx="362309" cy="361971"/>
          </a:xfrm>
          <a:solidFill>
            <a:srgbClr val="00B0F2"/>
          </a:solidFill>
        </p:grpSpPr>
        <p:sp>
          <p:nvSpPr>
            <p:cNvPr id="37" name="Graphic 1100">
              <a:extLst>
                <a:ext uri="{FF2B5EF4-FFF2-40B4-BE49-F238E27FC236}">
                  <a16:creationId xmlns:a16="http://schemas.microsoft.com/office/drawing/2014/main" id="{2D4FFD38-E1E8-70F4-D682-57635A2C0313}"/>
                </a:ext>
              </a:extLst>
            </p:cNvPr>
            <p:cNvSpPr/>
            <p:nvPr/>
          </p:nvSpPr>
          <p:spPr>
            <a:xfrm>
              <a:off x="5251889" y="3983931"/>
              <a:ext cx="53675" cy="53625"/>
            </a:xfrm>
            <a:custGeom>
              <a:avLst/>
              <a:gdLst>
                <a:gd name="connsiteX0" fmla="*/ 26837 w 53675"/>
                <a:gd name="connsiteY0" fmla="*/ 53626 h 53625"/>
                <a:gd name="connsiteX1" fmla="*/ 53675 w 53675"/>
                <a:gd name="connsiteY1" fmla="*/ 26813 h 53625"/>
                <a:gd name="connsiteX2" fmla="*/ 26837 w 53675"/>
                <a:gd name="connsiteY2" fmla="*/ 0 h 53625"/>
                <a:gd name="connsiteX3" fmla="*/ 0 w 53675"/>
                <a:gd name="connsiteY3" fmla="*/ 26813 h 53625"/>
                <a:gd name="connsiteX4" fmla="*/ 7668 w 53675"/>
                <a:gd name="connsiteY4" fmla="*/ 45965 h 53625"/>
                <a:gd name="connsiteX5" fmla="*/ 26837 w 53675"/>
                <a:gd name="connsiteY5" fmla="*/ 53626 h 5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75" h="53625">
                  <a:moveTo>
                    <a:pt x="26837" y="53626"/>
                  </a:moveTo>
                  <a:cubicBezTo>
                    <a:pt x="41535" y="53626"/>
                    <a:pt x="53675" y="41496"/>
                    <a:pt x="53675" y="26813"/>
                  </a:cubicBezTo>
                  <a:cubicBezTo>
                    <a:pt x="53675" y="12130"/>
                    <a:pt x="41535" y="0"/>
                    <a:pt x="26837" y="0"/>
                  </a:cubicBezTo>
                  <a:cubicBezTo>
                    <a:pt x="12141" y="0"/>
                    <a:pt x="0" y="12130"/>
                    <a:pt x="0" y="26813"/>
                  </a:cubicBezTo>
                  <a:cubicBezTo>
                    <a:pt x="0" y="33835"/>
                    <a:pt x="2556" y="40858"/>
                    <a:pt x="7668" y="45965"/>
                  </a:cubicBezTo>
                  <a:cubicBezTo>
                    <a:pt x="13419" y="51072"/>
                    <a:pt x="19809" y="53626"/>
                    <a:pt x="26837" y="53626"/>
                  </a:cubicBezTo>
                  <a:close/>
                </a:path>
              </a:pathLst>
            </a:custGeom>
            <a:grpFill/>
            <a:ln w="6390" cap="flat">
              <a:noFill/>
              <a:prstDash val="solid"/>
              <a:miter/>
            </a:ln>
          </p:spPr>
          <p:txBody>
            <a:bodyPr rtlCol="0" anchor="ctr"/>
            <a:lstStyle/>
            <a:p>
              <a:endParaRPr lang="en-US"/>
            </a:p>
          </p:txBody>
        </p:sp>
        <p:sp>
          <p:nvSpPr>
            <p:cNvPr id="38" name="Graphic 1100">
              <a:extLst>
                <a:ext uri="{FF2B5EF4-FFF2-40B4-BE49-F238E27FC236}">
                  <a16:creationId xmlns:a16="http://schemas.microsoft.com/office/drawing/2014/main" id="{C2B164CA-36AA-961E-7F6B-90750FD47E01}"/>
                </a:ext>
              </a:extLst>
            </p:cNvPr>
            <p:cNvSpPr/>
            <p:nvPr/>
          </p:nvSpPr>
          <p:spPr>
            <a:xfrm>
              <a:off x="5322178" y="3921368"/>
              <a:ext cx="21086" cy="21705"/>
            </a:xfrm>
            <a:custGeom>
              <a:avLst/>
              <a:gdLst>
                <a:gd name="connsiteX0" fmla="*/ 0 w 21086"/>
                <a:gd name="connsiteY0" fmla="*/ 0 h 21705"/>
                <a:gd name="connsiteX1" fmla="*/ 0 w 21086"/>
                <a:gd name="connsiteY1" fmla="*/ 21706 h 21705"/>
                <a:gd name="connsiteX2" fmla="*/ 21087 w 21086"/>
                <a:gd name="connsiteY2" fmla="*/ 21706 h 21705"/>
              </a:gdLst>
              <a:ahLst/>
              <a:cxnLst>
                <a:cxn ang="0">
                  <a:pos x="connsiteX0" y="connsiteY0"/>
                </a:cxn>
                <a:cxn ang="0">
                  <a:pos x="connsiteX1" y="connsiteY1"/>
                </a:cxn>
                <a:cxn ang="0">
                  <a:pos x="connsiteX2" y="connsiteY2"/>
                </a:cxn>
              </a:cxnLst>
              <a:rect l="l" t="t" r="r" b="b"/>
              <a:pathLst>
                <a:path w="21086" h="21705">
                  <a:moveTo>
                    <a:pt x="0" y="0"/>
                  </a:moveTo>
                  <a:lnTo>
                    <a:pt x="0" y="21706"/>
                  </a:lnTo>
                  <a:lnTo>
                    <a:pt x="21087" y="21706"/>
                  </a:lnTo>
                  <a:close/>
                </a:path>
              </a:pathLst>
            </a:custGeom>
            <a:grpFill/>
            <a:ln w="6390" cap="flat">
              <a:noFill/>
              <a:prstDash val="solid"/>
              <a:miter/>
            </a:ln>
          </p:spPr>
          <p:txBody>
            <a:bodyPr rtlCol="0" anchor="ctr"/>
            <a:lstStyle/>
            <a:p>
              <a:endParaRPr lang="en-US"/>
            </a:p>
          </p:txBody>
        </p:sp>
        <p:sp>
          <p:nvSpPr>
            <p:cNvPr id="39" name="Graphic 1100">
              <a:extLst>
                <a:ext uri="{FF2B5EF4-FFF2-40B4-BE49-F238E27FC236}">
                  <a16:creationId xmlns:a16="http://schemas.microsoft.com/office/drawing/2014/main" id="{17986B9D-8489-2B3D-02BB-9CCE9D2FF31F}"/>
                </a:ext>
              </a:extLst>
            </p:cNvPr>
            <p:cNvSpPr/>
            <p:nvPr/>
          </p:nvSpPr>
          <p:spPr>
            <a:xfrm>
              <a:off x="5212271" y="4056070"/>
              <a:ext cx="21086" cy="21067"/>
            </a:xfrm>
            <a:custGeom>
              <a:avLst/>
              <a:gdLst>
                <a:gd name="connsiteX0" fmla="*/ 21087 w 21086"/>
                <a:gd name="connsiteY0" fmla="*/ 1916 h 21067"/>
                <a:gd name="connsiteX1" fmla="*/ 20448 w 21086"/>
                <a:gd name="connsiteY1" fmla="*/ 639 h 21067"/>
                <a:gd name="connsiteX2" fmla="*/ 20448 w 21086"/>
                <a:gd name="connsiteY2" fmla="*/ 639 h 21067"/>
                <a:gd name="connsiteX3" fmla="*/ 20448 w 21086"/>
                <a:gd name="connsiteY3" fmla="*/ 639 h 21067"/>
                <a:gd name="connsiteX4" fmla="*/ 19809 w 21086"/>
                <a:gd name="connsiteY4" fmla="*/ 0 h 21067"/>
                <a:gd name="connsiteX5" fmla="*/ 0 w 21086"/>
                <a:gd name="connsiteY5" fmla="*/ 19791 h 21067"/>
                <a:gd name="connsiteX6" fmla="*/ 1917 w 21086"/>
                <a:gd name="connsiteY6" fmla="*/ 21067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86" h="21067">
                  <a:moveTo>
                    <a:pt x="21087" y="1916"/>
                  </a:moveTo>
                  <a:lnTo>
                    <a:pt x="20448" y="639"/>
                  </a:lnTo>
                  <a:lnTo>
                    <a:pt x="20448" y="639"/>
                  </a:lnTo>
                  <a:lnTo>
                    <a:pt x="20448" y="639"/>
                  </a:lnTo>
                  <a:lnTo>
                    <a:pt x="19809" y="0"/>
                  </a:lnTo>
                  <a:lnTo>
                    <a:pt x="0" y="19791"/>
                  </a:lnTo>
                  <a:lnTo>
                    <a:pt x="1917" y="21067"/>
                  </a:lnTo>
                  <a:close/>
                </a:path>
              </a:pathLst>
            </a:custGeom>
            <a:grpFill/>
            <a:ln w="6390" cap="flat">
              <a:noFill/>
              <a:prstDash val="solid"/>
              <a:miter/>
            </a:ln>
          </p:spPr>
          <p:txBody>
            <a:bodyPr rtlCol="0" anchor="ctr"/>
            <a:lstStyle/>
            <a:p>
              <a:endParaRPr lang="en-US"/>
            </a:p>
          </p:txBody>
        </p:sp>
        <p:sp>
          <p:nvSpPr>
            <p:cNvPr id="40" name="Graphic 1100">
              <a:extLst>
                <a:ext uri="{FF2B5EF4-FFF2-40B4-BE49-F238E27FC236}">
                  <a16:creationId xmlns:a16="http://schemas.microsoft.com/office/drawing/2014/main" id="{C81493B9-14F1-3C3E-58FB-FFFEDAE0DCD0}"/>
                </a:ext>
              </a:extLst>
            </p:cNvPr>
            <p:cNvSpPr/>
            <p:nvPr/>
          </p:nvSpPr>
          <p:spPr>
            <a:xfrm>
              <a:off x="5099808" y="3828162"/>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99044 w 362309"/>
                <a:gd name="connsiteY6" fmla="*/ 243230 h 361971"/>
                <a:gd name="connsiteX7" fmla="*/ 127799 w 362309"/>
                <a:gd name="connsiteY7" fmla="*/ 214502 h 361971"/>
                <a:gd name="connsiteX8" fmla="*/ 132272 w 362309"/>
                <a:gd name="connsiteY8" fmla="*/ 212587 h 361971"/>
                <a:gd name="connsiteX9" fmla="*/ 136745 w 362309"/>
                <a:gd name="connsiteY9" fmla="*/ 214502 h 361971"/>
                <a:gd name="connsiteX10" fmla="*/ 137384 w 362309"/>
                <a:gd name="connsiteY10" fmla="*/ 215140 h 361971"/>
                <a:gd name="connsiteX11" fmla="*/ 146969 w 362309"/>
                <a:gd name="connsiteY11" fmla="*/ 205564 h 361971"/>
                <a:gd name="connsiteX12" fmla="*/ 151442 w 362309"/>
                <a:gd name="connsiteY12" fmla="*/ 155131 h 361971"/>
                <a:gd name="connsiteX13" fmla="*/ 207034 w 362309"/>
                <a:gd name="connsiteY13" fmla="*/ 156408 h 361971"/>
                <a:gd name="connsiteX14" fmla="*/ 207034 w 362309"/>
                <a:gd name="connsiteY14" fmla="*/ 210671 h 361971"/>
                <a:gd name="connsiteX15" fmla="*/ 156553 w 362309"/>
                <a:gd name="connsiteY15" fmla="*/ 215140 h 361971"/>
                <a:gd name="connsiteX16" fmla="*/ 146969 w 362309"/>
                <a:gd name="connsiteY16" fmla="*/ 224716 h 361971"/>
                <a:gd name="connsiteX17" fmla="*/ 147608 w 362309"/>
                <a:gd name="connsiteY17" fmla="*/ 225355 h 361971"/>
                <a:gd name="connsiteX18" fmla="*/ 147608 w 362309"/>
                <a:gd name="connsiteY18" fmla="*/ 234292 h 361971"/>
                <a:gd name="connsiteX19" fmla="*/ 118853 w 362309"/>
                <a:gd name="connsiteY19" fmla="*/ 263020 h 361971"/>
                <a:gd name="connsiteX20" fmla="*/ 114380 w 362309"/>
                <a:gd name="connsiteY20" fmla="*/ 264935 h 361971"/>
                <a:gd name="connsiteX21" fmla="*/ 109907 w 362309"/>
                <a:gd name="connsiteY21" fmla="*/ 263020 h 361971"/>
                <a:gd name="connsiteX22" fmla="*/ 99044 w 362309"/>
                <a:gd name="connsiteY22" fmla="*/ 252167 h 361971"/>
                <a:gd name="connsiteX23" fmla="*/ 99044 w 362309"/>
                <a:gd name="connsiteY23" fmla="*/ 243230 h 361971"/>
                <a:gd name="connsiteX24" fmla="*/ 99044 w 362309"/>
                <a:gd name="connsiteY24" fmla="*/ 243230 h 361971"/>
                <a:gd name="connsiteX25" fmla="*/ 265822 w 362309"/>
                <a:gd name="connsiteY25" fmla="*/ 284087 h 361971"/>
                <a:gd name="connsiteX26" fmla="*/ 259432 w 362309"/>
                <a:gd name="connsiteY26" fmla="*/ 290471 h 361971"/>
                <a:gd name="connsiteX27" fmla="*/ 111824 w 362309"/>
                <a:gd name="connsiteY27" fmla="*/ 290471 h 361971"/>
                <a:gd name="connsiteX28" fmla="*/ 105434 w 362309"/>
                <a:gd name="connsiteY28" fmla="*/ 284087 h 361971"/>
                <a:gd name="connsiteX29" fmla="*/ 105434 w 362309"/>
                <a:gd name="connsiteY29" fmla="*/ 278980 h 361971"/>
                <a:gd name="connsiteX30" fmla="*/ 111185 w 362309"/>
                <a:gd name="connsiteY30" fmla="*/ 271958 h 361971"/>
                <a:gd name="connsiteX31" fmla="*/ 118214 w 362309"/>
                <a:gd name="connsiteY31" fmla="*/ 277703 h 361971"/>
                <a:gd name="connsiteX32" fmla="*/ 253681 w 362309"/>
                <a:gd name="connsiteY32" fmla="*/ 277703 h 361971"/>
                <a:gd name="connsiteX33" fmla="*/ 253681 w 362309"/>
                <a:gd name="connsiteY33" fmla="*/ 127680 h 361971"/>
                <a:gd name="connsiteX34" fmla="*/ 216619 w 362309"/>
                <a:gd name="connsiteY34" fmla="*/ 127680 h 361971"/>
                <a:gd name="connsiteX35" fmla="*/ 210229 w 362309"/>
                <a:gd name="connsiteY35" fmla="*/ 121296 h 361971"/>
                <a:gd name="connsiteX36" fmla="*/ 210229 w 362309"/>
                <a:gd name="connsiteY36" fmla="*/ 84268 h 361971"/>
                <a:gd name="connsiteX37" fmla="*/ 118214 w 362309"/>
                <a:gd name="connsiteY37" fmla="*/ 84268 h 361971"/>
                <a:gd name="connsiteX38" fmla="*/ 118214 w 362309"/>
                <a:gd name="connsiteY38" fmla="*/ 211948 h 361971"/>
                <a:gd name="connsiteX39" fmla="*/ 111824 w 362309"/>
                <a:gd name="connsiteY39" fmla="*/ 218332 h 361971"/>
                <a:gd name="connsiteX40" fmla="*/ 105434 w 362309"/>
                <a:gd name="connsiteY40" fmla="*/ 211948 h 361971"/>
                <a:gd name="connsiteX41" fmla="*/ 105434 w 362309"/>
                <a:gd name="connsiteY41" fmla="*/ 77884 h 361971"/>
                <a:gd name="connsiteX42" fmla="*/ 111824 w 362309"/>
                <a:gd name="connsiteY42" fmla="*/ 71500 h 361971"/>
                <a:gd name="connsiteX43" fmla="*/ 216619 w 362309"/>
                <a:gd name="connsiteY43" fmla="*/ 71500 h 361971"/>
                <a:gd name="connsiteX44" fmla="*/ 218536 w 362309"/>
                <a:gd name="connsiteY44" fmla="*/ 72139 h 361971"/>
                <a:gd name="connsiteX45" fmla="*/ 220453 w 362309"/>
                <a:gd name="connsiteY45" fmla="*/ 73416 h 361971"/>
                <a:gd name="connsiteX46" fmla="*/ 263905 w 362309"/>
                <a:gd name="connsiteY46" fmla="*/ 116827 h 361971"/>
                <a:gd name="connsiteX47" fmla="*/ 265822 w 362309"/>
                <a:gd name="connsiteY47" fmla="*/ 121296 h 361971"/>
                <a:gd name="connsiteX48" fmla="*/ 265822 w 362309"/>
                <a:gd name="connsiteY48" fmla="*/ 28408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62309" h="361971">
                  <a:moveTo>
                    <a:pt x="181474" y="0"/>
                  </a:moveTo>
                  <a:cubicBezTo>
                    <a:pt x="81152" y="0"/>
                    <a:pt x="0" y="81076"/>
                    <a:pt x="0" y="180667"/>
                  </a:cubicBezTo>
                  <a:cubicBezTo>
                    <a:pt x="0" y="280257"/>
                    <a:pt x="81152" y="361971"/>
                    <a:pt x="180836" y="361971"/>
                  </a:cubicBezTo>
                  <a:cubicBezTo>
                    <a:pt x="280518" y="361971"/>
                    <a:pt x="362310" y="280895"/>
                    <a:pt x="362310" y="181305"/>
                  </a:cubicBezTo>
                  <a:lnTo>
                    <a:pt x="362310" y="181305"/>
                  </a:lnTo>
                  <a:cubicBezTo>
                    <a:pt x="362310" y="81076"/>
                    <a:pt x="281157" y="0"/>
                    <a:pt x="181474" y="0"/>
                  </a:cubicBezTo>
                  <a:close/>
                  <a:moveTo>
                    <a:pt x="99044" y="243230"/>
                  </a:moveTo>
                  <a:lnTo>
                    <a:pt x="127799" y="214502"/>
                  </a:lnTo>
                  <a:cubicBezTo>
                    <a:pt x="129077" y="213225"/>
                    <a:pt x="130355" y="212587"/>
                    <a:pt x="132272" y="212587"/>
                  </a:cubicBezTo>
                  <a:cubicBezTo>
                    <a:pt x="134189" y="212587"/>
                    <a:pt x="135467" y="213225"/>
                    <a:pt x="136745" y="214502"/>
                  </a:cubicBezTo>
                  <a:lnTo>
                    <a:pt x="137384" y="215140"/>
                  </a:lnTo>
                  <a:lnTo>
                    <a:pt x="146969" y="205564"/>
                  </a:lnTo>
                  <a:cubicBezTo>
                    <a:pt x="135467" y="190243"/>
                    <a:pt x="137384" y="168537"/>
                    <a:pt x="151442" y="155131"/>
                  </a:cubicBezTo>
                  <a:cubicBezTo>
                    <a:pt x="167416" y="139809"/>
                    <a:pt x="191698" y="140448"/>
                    <a:pt x="207034" y="156408"/>
                  </a:cubicBezTo>
                  <a:cubicBezTo>
                    <a:pt x="221731" y="171729"/>
                    <a:pt x="221731" y="195988"/>
                    <a:pt x="207034" y="210671"/>
                  </a:cubicBezTo>
                  <a:cubicBezTo>
                    <a:pt x="193615" y="224078"/>
                    <a:pt x="171889" y="225993"/>
                    <a:pt x="156553" y="215140"/>
                  </a:cubicBezTo>
                  <a:lnTo>
                    <a:pt x="146969" y="224716"/>
                  </a:lnTo>
                  <a:lnTo>
                    <a:pt x="147608" y="225355"/>
                  </a:lnTo>
                  <a:cubicBezTo>
                    <a:pt x="150164" y="227908"/>
                    <a:pt x="150164" y="231738"/>
                    <a:pt x="147608" y="234292"/>
                  </a:cubicBezTo>
                  <a:lnTo>
                    <a:pt x="118853" y="263020"/>
                  </a:lnTo>
                  <a:cubicBezTo>
                    <a:pt x="117575" y="264297"/>
                    <a:pt x="116297" y="264935"/>
                    <a:pt x="114380" y="264935"/>
                  </a:cubicBezTo>
                  <a:cubicBezTo>
                    <a:pt x="112463" y="264935"/>
                    <a:pt x="111185" y="264297"/>
                    <a:pt x="109907" y="263020"/>
                  </a:cubicBezTo>
                  <a:lnTo>
                    <a:pt x="99044" y="252167"/>
                  </a:lnTo>
                  <a:cubicBezTo>
                    <a:pt x="96488" y="249614"/>
                    <a:pt x="96488" y="245783"/>
                    <a:pt x="99044" y="243230"/>
                  </a:cubicBezTo>
                  <a:cubicBezTo>
                    <a:pt x="99044" y="243230"/>
                    <a:pt x="99044" y="242591"/>
                    <a:pt x="99044" y="243230"/>
                  </a:cubicBezTo>
                  <a:close/>
                  <a:moveTo>
                    <a:pt x="265822" y="284087"/>
                  </a:moveTo>
                  <a:cubicBezTo>
                    <a:pt x="265822" y="287917"/>
                    <a:pt x="263266" y="290471"/>
                    <a:pt x="259432" y="290471"/>
                  </a:cubicBezTo>
                  <a:lnTo>
                    <a:pt x="111824" y="290471"/>
                  </a:lnTo>
                  <a:cubicBezTo>
                    <a:pt x="107990" y="290471"/>
                    <a:pt x="105434" y="287917"/>
                    <a:pt x="105434" y="284087"/>
                  </a:cubicBezTo>
                  <a:lnTo>
                    <a:pt x="105434" y="278980"/>
                  </a:lnTo>
                  <a:cubicBezTo>
                    <a:pt x="105434" y="275149"/>
                    <a:pt x="107990" y="272596"/>
                    <a:pt x="111185" y="271958"/>
                  </a:cubicBezTo>
                  <a:cubicBezTo>
                    <a:pt x="115019" y="271958"/>
                    <a:pt x="117575" y="274511"/>
                    <a:pt x="118214" y="277703"/>
                  </a:cubicBezTo>
                  <a:lnTo>
                    <a:pt x="253681" y="277703"/>
                  </a:lnTo>
                  <a:lnTo>
                    <a:pt x="253681" y="127680"/>
                  </a:lnTo>
                  <a:lnTo>
                    <a:pt x="216619" y="127680"/>
                  </a:lnTo>
                  <a:cubicBezTo>
                    <a:pt x="212785" y="127680"/>
                    <a:pt x="210229" y="125126"/>
                    <a:pt x="210229" y="121296"/>
                  </a:cubicBezTo>
                  <a:lnTo>
                    <a:pt x="210229" y="84268"/>
                  </a:lnTo>
                  <a:lnTo>
                    <a:pt x="118214" y="84268"/>
                  </a:lnTo>
                  <a:lnTo>
                    <a:pt x="118214" y="211948"/>
                  </a:lnTo>
                  <a:cubicBezTo>
                    <a:pt x="118214" y="215779"/>
                    <a:pt x="115658" y="218332"/>
                    <a:pt x="111824" y="218332"/>
                  </a:cubicBezTo>
                  <a:cubicBezTo>
                    <a:pt x="107990" y="218332"/>
                    <a:pt x="105434" y="215779"/>
                    <a:pt x="105434" y="211948"/>
                  </a:cubicBezTo>
                  <a:lnTo>
                    <a:pt x="105434" y="77884"/>
                  </a:lnTo>
                  <a:cubicBezTo>
                    <a:pt x="105434" y="74054"/>
                    <a:pt x="107990" y="71500"/>
                    <a:pt x="111824" y="71500"/>
                  </a:cubicBezTo>
                  <a:lnTo>
                    <a:pt x="216619" y="71500"/>
                  </a:lnTo>
                  <a:cubicBezTo>
                    <a:pt x="217258" y="71500"/>
                    <a:pt x="217897" y="71500"/>
                    <a:pt x="218536" y="72139"/>
                  </a:cubicBezTo>
                  <a:cubicBezTo>
                    <a:pt x="219175" y="72777"/>
                    <a:pt x="219814" y="72777"/>
                    <a:pt x="220453" y="73416"/>
                  </a:cubicBezTo>
                  <a:lnTo>
                    <a:pt x="263905" y="116827"/>
                  </a:lnTo>
                  <a:cubicBezTo>
                    <a:pt x="265182" y="118104"/>
                    <a:pt x="265822" y="119380"/>
                    <a:pt x="265822" y="121296"/>
                  </a:cubicBezTo>
                  <a:lnTo>
                    <a:pt x="265822" y="284087"/>
                  </a:lnTo>
                  <a:close/>
                </a:path>
              </a:pathLst>
            </a:custGeom>
            <a:grpFill/>
            <a:ln w="6390" cap="flat">
              <a:noFill/>
              <a:prstDash val="solid"/>
              <a:miter/>
            </a:ln>
          </p:spPr>
          <p:txBody>
            <a:bodyPr rtlCol="0" anchor="ctr"/>
            <a:lstStyle/>
            <a:p>
              <a:endParaRPr lang="en-US"/>
            </a:p>
          </p:txBody>
        </p:sp>
      </p:grpSp>
      <p:grpSp>
        <p:nvGrpSpPr>
          <p:cNvPr id="41" name="Graphic 4">
            <a:extLst>
              <a:ext uri="{FF2B5EF4-FFF2-40B4-BE49-F238E27FC236}">
                <a16:creationId xmlns:a16="http://schemas.microsoft.com/office/drawing/2014/main" id="{895C384B-3702-FDB9-DC77-34163858B017}"/>
              </a:ext>
            </a:extLst>
          </p:cNvPr>
          <p:cNvGrpSpPr>
            <a:grpSpLocks noChangeAspect="1"/>
          </p:cNvGrpSpPr>
          <p:nvPr/>
        </p:nvGrpSpPr>
        <p:grpSpPr>
          <a:xfrm>
            <a:off x="9361563" y="3434154"/>
            <a:ext cx="158717" cy="158570"/>
            <a:chOff x="4045469" y="3824168"/>
            <a:chExt cx="362309" cy="361971"/>
          </a:xfrm>
          <a:solidFill>
            <a:srgbClr val="00B0F2"/>
          </a:solidFill>
        </p:grpSpPr>
        <p:sp>
          <p:nvSpPr>
            <p:cNvPr id="42" name="Graphic 4">
              <a:extLst>
                <a:ext uri="{FF2B5EF4-FFF2-40B4-BE49-F238E27FC236}">
                  <a16:creationId xmlns:a16="http://schemas.microsoft.com/office/drawing/2014/main" id="{F059C908-9CD0-52AD-52DA-19F010CF6AB9}"/>
                </a:ext>
              </a:extLst>
            </p:cNvPr>
            <p:cNvSpPr/>
            <p:nvPr/>
          </p:nvSpPr>
          <p:spPr>
            <a:xfrm>
              <a:off x="4045469" y="3824168"/>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292659 w 362309"/>
                <a:gd name="connsiteY6" fmla="*/ 266850 h 361971"/>
                <a:gd name="connsiteX7" fmla="*/ 286270 w 362309"/>
                <a:gd name="connsiteY7" fmla="*/ 273234 h 361971"/>
                <a:gd name="connsiteX8" fmla="*/ 241540 w 362309"/>
                <a:gd name="connsiteY8" fmla="*/ 273234 h 361971"/>
                <a:gd name="connsiteX9" fmla="*/ 235150 w 362309"/>
                <a:gd name="connsiteY9" fmla="*/ 266850 h 361971"/>
                <a:gd name="connsiteX10" fmla="*/ 235150 w 362309"/>
                <a:gd name="connsiteY10" fmla="*/ 236846 h 361971"/>
                <a:gd name="connsiteX11" fmla="*/ 241540 w 362309"/>
                <a:gd name="connsiteY11" fmla="*/ 230462 h 361971"/>
                <a:gd name="connsiteX12" fmla="*/ 257515 w 362309"/>
                <a:gd name="connsiteY12" fmla="*/ 230462 h 361971"/>
                <a:gd name="connsiteX13" fmla="*/ 257515 w 362309"/>
                <a:gd name="connsiteY13" fmla="*/ 190881 h 361971"/>
                <a:gd name="connsiteX14" fmla="*/ 187864 w 362309"/>
                <a:gd name="connsiteY14" fmla="*/ 190881 h 361971"/>
                <a:gd name="connsiteX15" fmla="*/ 187864 w 362309"/>
                <a:gd name="connsiteY15" fmla="*/ 230462 h 361971"/>
                <a:gd name="connsiteX16" fmla="*/ 203839 w 362309"/>
                <a:gd name="connsiteY16" fmla="*/ 230462 h 361971"/>
                <a:gd name="connsiteX17" fmla="*/ 210229 w 362309"/>
                <a:gd name="connsiteY17" fmla="*/ 236846 h 361971"/>
                <a:gd name="connsiteX18" fmla="*/ 210229 w 362309"/>
                <a:gd name="connsiteY18" fmla="*/ 266850 h 361971"/>
                <a:gd name="connsiteX19" fmla="*/ 203839 w 362309"/>
                <a:gd name="connsiteY19" fmla="*/ 273234 h 361971"/>
                <a:gd name="connsiteX20" fmla="*/ 159110 w 362309"/>
                <a:gd name="connsiteY20" fmla="*/ 273234 h 361971"/>
                <a:gd name="connsiteX21" fmla="*/ 152720 w 362309"/>
                <a:gd name="connsiteY21" fmla="*/ 266850 h 361971"/>
                <a:gd name="connsiteX22" fmla="*/ 152720 w 362309"/>
                <a:gd name="connsiteY22" fmla="*/ 236846 h 361971"/>
                <a:gd name="connsiteX23" fmla="*/ 159110 w 362309"/>
                <a:gd name="connsiteY23" fmla="*/ 230462 h 361971"/>
                <a:gd name="connsiteX24" fmla="*/ 175084 w 362309"/>
                <a:gd name="connsiteY24" fmla="*/ 230462 h 361971"/>
                <a:gd name="connsiteX25" fmla="*/ 175084 w 362309"/>
                <a:gd name="connsiteY25" fmla="*/ 190881 h 361971"/>
                <a:gd name="connsiteX26" fmla="*/ 105434 w 362309"/>
                <a:gd name="connsiteY26" fmla="*/ 190881 h 361971"/>
                <a:gd name="connsiteX27" fmla="*/ 105434 w 362309"/>
                <a:gd name="connsiteY27" fmla="*/ 230462 h 361971"/>
                <a:gd name="connsiteX28" fmla="*/ 121409 w 362309"/>
                <a:gd name="connsiteY28" fmla="*/ 230462 h 361971"/>
                <a:gd name="connsiteX29" fmla="*/ 127799 w 362309"/>
                <a:gd name="connsiteY29" fmla="*/ 236846 h 361971"/>
                <a:gd name="connsiteX30" fmla="*/ 127799 w 362309"/>
                <a:gd name="connsiteY30" fmla="*/ 266850 h 361971"/>
                <a:gd name="connsiteX31" fmla="*/ 121409 w 362309"/>
                <a:gd name="connsiteY31" fmla="*/ 273234 h 361971"/>
                <a:gd name="connsiteX32" fmla="*/ 76679 w 362309"/>
                <a:gd name="connsiteY32" fmla="*/ 273234 h 361971"/>
                <a:gd name="connsiteX33" fmla="*/ 70289 w 362309"/>
                <a:gd name="connsiteY33" fmla="*/ 266850 h 361971"/>
                <a:gd name="connsiteX34" fmla="*/ 70289 w 362309"/>
                <a:gd name="connsiteY34" fmla="*/ 236846 h 361971"/>
                <a:gd name="connsiteX35" fmla="*/ 76679 w 362309"/>
                <a:gd name="connsiteY35" fmla="*/ 230462 h 361971"/>
                <a:gd name="connsiteX36" fmla="*/ 92654 w 362309"/>
                <a:gd name="connsiteY36" fmla="*/ 230462 h 361971"/>
                <a:gd name="connsiteX37" fmla="*/ 92654 w 362309"/>
                <a:gd name="connsiteY37" fmla="*/ 184497 h 361971"/>
                <a:gd name="connsiteX38" fmla="*/ 99044 w 362309"/>
                <a:gd name="connsiteY38" fmla="*/ 178113 h 361971"/>
                <a:gd name="connsiteX39" fmla="*/ 175084 w 362309"/>
                <a:gd name="connsiteY39" fmla="*/ 178113 h 361971"/>
                <a:gd name="connsiteX40" fmla="*/ 175084 w 362309"/>
                <a:gd name="connsiteY40" fmla="*/ 138532 h 361971"/>
                <a:gd name="connsiteX41" fmla="*/ 159110 w 362309"/>
                <a:gd name="connsiteY41" fmla="*/ 138532 h 361971"/>
                <a:gd name="connsiteX42" fmla="*/ 152720 w 362309"/>
                <a:gd name="connsiteY42" fmla="*/ 132148 h 361971"/>
                <a:gd name="connsiteX43" fmla="*/ 152720 w 362309"/>
                <a:gd name="connsiteY43" fmla="*/ 95121 h 361971"/>
                <a:gd name="connsiteX44" fmla="*/ 159110 w 362309"/>
                <a:gd name="connsiteY44" fmla="*/ 88737 h 361971"/>
                <a:gd name="connsiteX45" fmla="*/ 203839 w 362309"/>
                <a:gd name="connsiteY45" fmla="*/ 88737 h 361971"/>
                <a:gd name="connsiteX46" fmla="*/ 210229 w 362309"/>
                <a:gd name="connsiteY46" fmla="*/ 95121 h 361971"/>
                <a:gd name="connsiteX47" fmla="*/ 210229 w 362309"/>
                <a:gd name="connsiteY47" fmla="*/ 132148 h 361971"/>
                <a:gd name="connsiteX48" fmla="*/ 203839 w 362309"/>
                <a:gd name="connsiteY48" fmla="*/ 138532 h 361971"/>
                <a:gd name="connsiteX49" fmla="*/ 187864 w 362309"/>
                <a:gd name="connsiteY49" fmla="*/ 138532 h 361971"/>
                <a:gd name="connsiteX50" fmla="*/ 187864 w 362309"/>
                <a:gd name="connsiteY50" fmla="*/ 178113 h 361971"/>
                <a:gd name="connsiteX51" fmla="*/ 263905 w 362309"/>
                <a:gd name="connsiteY51" fmla="*/ 178113 h 361971"/>
                <a:gd name="connsiteX52" fmla="*/ 270295 w 362309"/>
                <a:gd name="connsiteY52" fmla="*/ 184497 h 361971"/>
                <a:gd name="connsiteX53" fmla="*/ 270295 w 362309"/>
                <a:gd name="connsiteY53" fmla="*/ 230462 h 361971"/>
                <a:gd name="connsiteX54" fmla="*/ 286270 w 362309"/>
                <a:gd name="connsiteY54" fmla="*/ 230462 h 361971"/>
                <a:gd name="connsiteX55" fmla="*/ 292659 w 362309"/>
                <a:gd name="connsiteY55" fmla="*/ 236846 h 361971"/>
                <a:gd name="connsiteX56" fmla="*/ 292659 w 362309"/>
                <a:gd name="connsiteY56" fmla="*/ 26685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2309" h="361971">
                  <a:moveTo>
                    <a:pt x="181474" y="0"/>
                  </a:moveTo>
                  <a:cubicBezTo>
                    <a:pt x="81152" y="0"/>
                    <a:pt x="0" y="81076"/>
                    <a:pt x="0" y="180667"/>
                  </a:cubicBezTo>
                  <a:cubicBezTo>
                    <a:pt x="0" y="280257"/>
                    <a:pt x="81152" y="361971"/>
                    <a:pt x="180836" y="361971"/>
                  </a:cubicBezTo>
                  <a:cubicBezTo>
                    <a:pt x="280518" y="361971"/>
                    <a:pt x="362310" y="280895"/>
                    <a:pt x="362310" y="181305"/>
                  </a:cubicBezTo>
                  <a:lnTo>
                    <a:pt x="362310" y="181305"/>
                  </a:lnTo>
                  <a:cubicBezTo>
                    <a:pt x="362310" y="81076"/>
                    <a:pt x="281796" y="0"/>
                    <a:pt x="181474" y="0"/>
                  </a:cubicBezTo>
                  <a:close/>
                  <a:moveTo>
                    <a:pt x="292659" y="266850"/>
                  </a:moveTo>
                  <a:cubicBezTo>
                    <a:pt x="292659" y="270681"/>
                    <a:pt x="290103" y="273234"/>
                    <a:pt x="286270" y="273234"/>
                  </a:cubicBezTo>
                  <a:lnTo>
                    <a:pt x="241540" y="273234"/>
                  </a:lnTo>
                  <a:cubicBezTo>
                    <a:pt x="237706" y="273234"/>
                    <a:pt x="235150" y="270681"/>
                    <a:pt x="235150" y="266850"/>
                  </a:cubicBezTo>
                  <a:lnTo>
                    <a:pt x="235150" y="236846"/>
                  </a:lnTo>
                  <a:cubicBezTo>
                    <a:pt x="235150" y="233015"/>
                    <a:pt x="237706" y="230462"/>
                    <a:pt x="241540" y="230462"/>
                  </a:cubicBezTo>
                  <a:lnTo>
                    <a:pt x="257515" y="230462"/>
                  </a:lnTo>
                  <a:lnTo>
                    <a:pt x="257515" y="190881"/>
                  </a:lnTo>
                  <a:lnTo>
                    <a:pt x="187864" y="190881"/>
                  </a:lnTo>
                  <a:lnTo>
                    <a:pt x="187864" y="230462"/>
                  </a:lnTo>
                  <a:lnTo>
                    <a:pt x="203839" y="230462"/>
                  </a:lnTo>
                  <a:cubicBezTo>
                    <a:pt x="207673" y="230462"/>
                    <a:pt x="210229" y="233015"/>
                    <a:pt x="210229" y="236846"/>
                  </a:cubicBezTo>
                  <a:lnTo>
                    <a:pt x="210229" y="266850"/>
                  </a:lnTo>
                  <a:cubicBezTo>
                    <a:pt x="210229" y="270681"/>
                    <a:pt x="207673" y="273234"/>
                    <a:pt x="203839" y="273234"/>
                  </a:cubicBezTo>
                  <a:lnTo>
                    <a:pt x="159110" y="273234"/>
                  </a:lnTo>
                  <a:cubicBezTo>
                    <a:pt x="155276" y="273234"/>
                    <a:pt x="152720" y="270681"/>
                    <a:pt x="152720" y="266850"/>
                  </a:cubicBezTo>
                  <a:lnTo>
                    <a:pt x="152720" y="236846"/>
                  </a:lnTo>
                  <a:cubicBezTo>
                    <a:pt x="152720" y="233015"/>
                    <a:pt x="155276" y="230462"/>
                    <a:pt x="159110" y="230462"/>
                  </a:cubicBezTo>
                  <a:lnTo>
                    <a:pt x="175084" y="230462"/>
                  </a:lnTo>
                  <a:lnTo>
                    <a:pt x="175084" y="190881"/>
                  </a:lnTo>
                  <a:lnTo>
                    <a:pt x="105434" y="190881"/>
                  </a:lnTo>
                  <a:lnTo>
                    <a:pt x="105434" y="230462"/>
                  </a:lnTo>
                  <a:lnTo>
                    <a:pt x="121409" y="230462"/>
                  </a:lnTo>
                  <a:cubicBezTo>
                    <a:pt x="125243" y="230462"/>
                    <a:pt x="127799" y="233015"/>
                    <a:pt x="127799" y="236846"/>
                  </a:cubicBezTo>
                  <a:lnTo>
                    <a:pt x="127799" y="266850"/>
                  </a:lnTo>
                  <a:cubicBezTo>
                    <a:pt x="127799" y="270681"/>
                    <a:pt x="125243" y="273234"/>
                    <a:pt x="121409" y="273234"/>
                  </a:cubicBezTo>
                  <a:lnTo>
                    <a:pt x="76679" y="273234"/>
                  </a:lnTo>
                  <a:cubicBezTo>
                    <a:pt x="72845" y="273234"/>
                    <a:pt x="70289" y="270681"/>
                    <a:pt x="70289" y="266850"/>
                  </a:cubicBezTo>
                  <a:lnTo>
                    <a:pt x="70289" y="236846"/>
                  </a:lnTo>
                  <a:cubicBezTo>
                    <a:pt x="70289" y="233015"/>
                    <a:pt x="72845" y="230462"/>
                    <a:pt x="76679" y="230462"/>
                  </a:cubicBezTo>
                  <a:lnTo>
                    <a:pt x="92654" y="230462"/>
                  </a:lnTo>
                  <a:lnTo>
                    <a:pt x="92654" y="184497"/>
                  </a:lnTo>
                  <a:cubicBezTo>
                    <a:pt x="92654" y="180667"/>
                    <a:pt x="95210" y="178113"/>
                    <a:pt x="99044" y="178113"/>
                  </a:cubicBezTo>
                  <a:lnTo>
                    <a:pt x="175084" y="178113"/>
                  </a:lnTo>
                  <a:lnTo>
                    <a:pt x="175084" y="138532"/>
                  </a:lnTo>
                  <a:lnTo>
                    <a:pt x="159110" y="138532"/>
                  </a:lnTo>
                  <a:cubicBezTo>
                    <a:pt x="155276" y="138532"/>
                    <a:pt x="152720" y="135979"/>
                    <a:pt x="152720" y="132148"/>
                  </a:cubicBezTo>
                  <a:lnTo>
                    <a:pt x="152720" y="95121"/>
                  </a:lnTo>
                  <a:cubicBezTo>
                    <a:pt x="152720" y="91291"/>
                    <a:pt x="155276" y="88737"/>
                    <a:pt x="159110" y="88737"/>
                  </a:cubicBezTo>
                  <a:lnTo>
                    <a:pt x="203839" y="88737"/>
                  </a:lnTo>
                  <a:cubicBezTo>
                    <a:pt x="207673" y="88737"/>
                    <a:pt x="210229" y="91291"/>
                    <a:pt x="210229" y="95121"/>
                  </a:cubicBezTo>
                  <a:lnTo>
                    <a:pt x="210229" y="132148"/>
                  </a:lnTo>
                  <a:cubicBezTo>
                    <a:pt x="210229" y="135979"/>
                    <a:pt x="207673" y="138532"/>
                    <a:pt x="203839" y="138532"/>
                  </a:cubicBezTo>
                  <a:lnTo>
                    <a:pt x="187864" y="138532"/>
                  </a:lnTo>
                  <a:lnTo>
                    <a:pt x="187864" y="178113"/>
                  </a:lnTo>
                  <a:lnTo>
                    <a:pt x="263905" y="178113"/>
                  </a:lnTo>
                  <a:cubicBezTo>
                    <a:pt x="267739" y="178113"/>
                    <a:pt x="270295" y="180667"/>
                    <a:pt x="270295" y="184497"/>
                  </a:cubicBezTo>
                  <a:lnTo>
                    <a:pt x="270295" y="230462"/>
                  </a:lnTo>
                  <a:lnTo>
                    <a:pt x="286270" y="230462"/>
                  </a:lnTo>
                  <a:cubicBezTo>
                    <a:pt x="290103" y="230462"/>
                    <a:pt x="292659" y="233015"/>
                    <a:pt x="292659" y="236846"/>
                  </a:cubicBezTo>
                  <a:lnTo>
                    <a:pt x="292659" y="266850"/>
                  </a:lnTo>
                  <a:close/>
                </a:path>
              </a:pathLst>
            </a:custGeom>
            <a:grpFill/>
            <a:ln w="6390"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6BB04B96-86BF-F7D2-3A39-77CF51C9EF6D}"/>
                </a:ext>
              </a:extLst>
            </p:cNvPr>
            <p:cNvSpPr/>
            <p:nvPr/>
          </p:nvSpPr>
          <p:spPr>
            <a:xfrm>
              <a:off x="421096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005219BC-F59B-066D-1B9F-8FA57E7B1561}"/>
                </a:ext>
              </a:extLst>
            </p:cNvPr>
            <p:cNvSpPr/>
            <p:nvPr/>
          </p:nvSpPr>
          <p:spPr>
            <a:xfrm>
              <a:off x="4210968" y="3925673"/>
              <a:ext cx="31949" cy="24897"/>
            </a:xfrm>
            <a:custGeom>
              <a:avLst/>
              <a:gdLst>
                <a:gd name="connsiteX0" fmla="*/ 0 w 31949"/>
                <a:gd name="connsiteY0" fmla="*/ 0 h 24897"/>
                <a:gd name="connsiteX1" fmla="*/ 31950 w 31949"/>
                <a:gd name="connsiteY1" fmla="*/ 0 h 24897"/>
                <a:gd name="connsiteX2" fmla="*/ 31950 w 31949"/>
                <a:gd name="connsiteY2" fmla="*/ 24898 h 24897"/>
                <a:gd name="connsiteX3" fmla="*/ 0 w 31949"/>
                <a:gd name="connsiteY3" fmla="*/ 24898 h 24897"/>
              </a:gdLst>
              <a:ahLst/>
              <a:cxnLst>
                <a:cxn ang="0">
                  <a:pos x="connsiteX0" y="connsiteY0"/>
                </a:cxn>
                <a:cxn ang="0">
                  <a:pos x="connsiteX1" y="connsiteY1"/>
                </a:cxn>
                <a:cxn ang="0">
                  <a:pos x="connsiteX2" y="connsiteY2"/>
                </a:cxn>
                <a:cxn ang="0">
                  <a:pos x="connsiteX3" y="connsiteY3"/>
                </a:cxn>
              </a:cxnLst>
              <a:rect l="l" t="t" r="r" b="b"/>
              <a:pathLst>
                <a:path w="31949" h="24897">
                  <a:moveTo>
                    <a:pt x="0" y="0"/>
                  </a:moveTo>
                  <a:lnTo>
                    <a:pt x="31950" y="0"/>
                  </a:lnTo>
                  <a:lnTo>
                    <a:pt x="31950" y="24898"/>
                  </a:lnTo>
                  <a:lnTo>
                    <a:pt x="0" y="24898"/>
                  </a:lnTo>
                  <a:close/>
                </a:path>
              </a:pathLst>
            </a:custGeom>
            <a:grpFill/>
            <a:ln w="6390" cap="flat">
              <a:noFill/>
              <a:prstDash val="solid"/>
              <a:miter/>
            </a:ln>
          </p:spPr>
          <p:txBody>
            <a:bodyPr rtlCol="0" anchor="ctr"/>
            <a:lstStyle/>
            <a:p>
              <a:endParaRPr lang="en-US"/>
            </a:p>
          </p:txBody>
        </p:sp>
        <p:sp>
          <p:nvSpPr>
            <p:cNvPr id="45" name="Graphic 4">
              <a:extLst>
                <a:ext uri="{FF2B5EF4-FFF2-40B4-BE49-F238E27FC236}">
                  <a16:creationId xmlns:a16="http://schemas.microsoft.com/office/drawing/2014/main" id="{172E07F3-77F6-DC1C-F338-1FAA9DF6403D}"/>
                </a:ext>
              </a:extLst>
            </p:cNvPr>
            <p:cNvSpPr/>
            <p:nvPr/>
          </p:nvSpPr>
          <p:spPr>
            <a:xfrm>
              <a:off x="412853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E3BCB596-00BE-679A-7230-6C065E8D8381}"/>
                </a:ext>
              </a:extLst>
            </p:cNvPr>
            <p:cNvSpPr/>
            <p:nvPr/>
          </p:nvSpPr>
          <p:spPr>
            <a:xfrm>
              <a:off x="4293398" y="4067397"/>
              <a:ext cx="31949" cy="17236"/>
            </a:xfrm>
            <a:custGeom>
              <a:avLst/>
              <a:gdLst>
                <a:gd name="connsiteX0" fmla="*/ 0 w 31949"/>
                <a:gd name="connsiteY0" fmla="*/ 0 h 17236"/>
                <a:gd name="connsiteX1" fmla="*/ 31950 w 31949"/>
                <a:gd name="connsiteY1" fmla="*/ 0 h 17236"/>
                <a:gd name="connsiteX2" fmla="*/ 31950 w 31949"/>
                <a:gd name="connsiteY2" fmla="*/ 17237 h 17236"/>
                <a:gd name="connsiteX3" fmla="*/ 0 w 31949"/>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1949" h="17236">
                  <a:moveTo>
                    <a:pt x="0" y="0"/>
                  </a:moveTo>
                  <a:lnTo>
                    <a:pt x="31950" y="0"/>
                  </a:lnTo>
                  <a:lnTo>
                    <a:pt x="31950" y="17237"/>
                  </a:lnTo>
                  <a:lnTo>
                    <a:pt x="0" y="17237"/>
                  </a:lnTo>
                  <a:close/>
                </a:path>
              </a:pathLst>
            </a:custGeom>
            <a:grpFill/>
            <a:ln w="6390" cap="flat">
              <a:noFill/>
              <a:prstDash val="solid"/>
              <a:miter/>
            </a:ln>
          </p:spPr>
          <p:txBody>
            <a:bodyPr rtlCol="0" anchor="ctr"/>
            <a:lstStyle/>
            <a:p>
              <a:endParaRPr lang="en-US"/>
            </a:p>
          </p:txBody>
        </p:sp>
      </p:grpSp>
      <p:grpSp>
        <p:nvGrpSpPr>
          <p:cNvPr id="47" name="Graphic 4">
            <a:extLst>
              <a:ext uri="{FF2B5EF4-FFF2-40B4-BE49-F238E27FC236}">
                <a16:creationId xmlns:a16="http://schemas.microsoft.com/office/drawing/2014/main" id="{39A55A1F-0484-165A-BB7A-AABB18E0DD63}"/>
              </a:ext>
            </a:extLst>
          </p:cNvPr>
          <p:cNvGrpSpPr>
            <a:grpSpLocks noChangeAspect="1"/>
          </p:cNvGrpSpPr>
          <p:nvPr/>
        </p:nvGrpSpPr>
        <p:grpSpPr>
          <a:xfrm>
            <a:off x="8311091" y="4681505"/>
            <a:ext cx="158585" cy="158716"/>
            <a:chOff x="905454" y="1885990"/>
            <a:chExt cx="362309" cy="362610"/>
          </a:xfrm>
          <a:solidFill>
            <a:srgbClr val="00B0F2"/>
          </a:solidFill>
        </p:grpSpPr>
        <p:sp>
          <p:nvSpPr>
            <p:cNvPr id="48" name="Graphic 4">
              <a:extLst>
                <a:ext uri="{FF2B5EF4-FFF2-40B4-BE49-F238E27FC236}">
                  <a16:creationId xmlns:a16="http://schemas.microsoft.com/office/drawing/2014/main" id="{2C6B47E3-DCF9-0EC0-C198-2BAA44BA8E6E}"/>
                </a:ext>
              </a:extLst>
            </p:cNvPr>
            <p:cNvSpPr/>
            <p:nvPr/>
          </p:nvSpPr>
          <p:spPr>
            <a:xfrm>
              <a:off x="991079" y="1992603"/>
              <a:ext cx="191059" cy="16598"/>
            </a:xfrm>
            <a:custGeom>
              <a:avLst/>
              <a:gdLst>
                <a:gd name="connsiteX0" fmla="*/ 0 w 191059"/>
                <a:gd name="connsiteY0" fmla="*/ 16598 h 16598"/>
                <a:gd name="connsiteX1" fmla="*/ 7668 w 191059"/>
                <a:gd name="connsiteY1" fmla="*/ 16598 h 16598"/>
                <a:gd name="connsiteX2" fmla="*/ 182752 w 191059"/>
                <a:gd name="connsiteY2" fmla="*/ 16598 h 16598"/>
                <a:gd name="connsiteX3" fmla="*/ 191059 w 191059"/>
                <a:gd name="connsiteY3" fmla="*/ 16598 h 16598"/>
                <a:gd name="connsiteX4" fmla="*/ 191059 w 191059"/>
                <a:gd name="connsiteY4" fmla="*/ 0 h 16598"/>
                <a:gd name="connsiteX5" fmla="*/ 0 w 191059"/>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059" h="16598">
                  <a:moveTo>
                    <a:pt x="0" y="16598"/>
                  </a:moveTo>
                  <a:lnTo>
                    <a:pt x="7668" y="16598"/>
                  </a:lnTo>
                  <a:lnTo>
                    <a:pt x="182752" y="16598"/>
                  </a:lnTo>
                  <a:lnTo>
                    <a:pt x="191059" y="16598"/>
                  </a:lnTo>
                  <a:lnTo>
                    <a:pt x="191059" y="0"/>
                  </a:lnTo>
                  <a:lnTo>
                    <a:pt x="0" y="0"/>
                  </a:lnTo>
                  <a:close/>
                </a:path>
              </a:pathLst>
            </a:custGeom>
            <a:grpFill/>
            <a:ln w="6390" cap="flat">
              <a:noFill/>
              <a:prstDash val="solid"/>
              <a:miter/>
            </a:ln>
          </p:spPr>
          <p:txBody>
            <a:bodyPr rtlCol="0" anchor="ctr"/>
            <a:lstStyle/>
            <a:p>
              <a:endParaRPr lang="en-US"/>
            </a:p>
          </p:txBody>
        </p:sp>
        <p:sp>
          <p:nvSpPr>
            <p:cNvPr id="49" name="Graphic 4">
              <a:extLst>
                <a:ext uri="{FF2B5EF4-FFF2-40B4-BE49-F238E27FC236}">
                  <a16:creationId xmlns:a16="http://schemas.microsoft.com/office/drawing/2014/main" id="{F09908ED-DE0D-1095-AAF9-3B5EF21F628A}"/>
                </a:ext>
              </a:extLst>
            </p:cNvPr>
            <p:cNvSpPr/>
            <p:nvPr/>
          </p:nvSpPr>
          <p:spPr>
            <a:xfrm>
              <a:off x="1005137" y="2021969"/>
              <a:ext cx="162304" cy="118103"/>
            </a:xfrm>
            <a:custGeom>
              <a:avLst/>
              <a:gdLst>
                <a:gd name="connsiteX0" fmla="*/ 0 w 162304"/>
                <a:gd name="connsiteY0" fmla="*/ 118104 h 118103"/>
                <a:gd name="connsiteX1" fmla="*/ 162304 w 162304"/>
                <a:gd name="connsiteY1" fmla="*/ 118104 h 118103"/>
                <a:gd name="connsiteX2" fmla="*/ 162304 w 162304"/>
                <a:gd name="connsiteY2" fmla="*/ 0 h 118103"/>
                <a:gd name="connsiteX3" fmla="*/ 0 w 162304"/>
                <a:gd name="connsiteY3" fmla="*/ 0 h 118103"/>
                <a:gd name="connsiteX4" fmla="*/ 0 w 162304"/>
                <a:gd name="connsiteY4" fmla="*/ 118104 h 118103"/>
                <a:gd name="connsiteX5" fmla="*/ 59426 w 162304"/>
                <a:gd name="connsiteY5" fmla="*/ 23621 h 118103"/>
                <a:gd name="connsiteX6" fmla="*/ 103517 w 162304"/>
                <a:gd name="connsiteY6" fmla="*/ 23621 h 118103"/>
                <a:gd name="connsiteX7" fmla="*/ 109907 w 162304"/>
                <a:gd name="connsiteY7" fmla="*/ 30005 h 118103"/>
                <a:gd name="connsiteX8" fmla="*/ 103517 w 162304"/>
                <a:gd name="connsiteY8" fmla="*/ 36389 h 118103"/>
                <a:gd name="connsiteX9" fmla="*/ 59426 w 162304"/>
                <a:gd name="connsiteY9" fmla="*/ 36389 h 118103"/>
                <a:gd name="connsiteX10" fmla="*/ 53036 w 162304"/>
                <a:gd name="connsiteY10" fmla="*/ 30005 h 118103"/>
                <a:gd name="connsiteX11" fmla="*/ 59426 w 162304"/>
                <a:gd name="connsiteY11" fmla="*/ 23621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04" h="118103">
                  <a:moveTo>
                    <a:pt x="0" y="118104"/>
                  </a:moveTo>
                  <a:lnTo>
                    <a:pt x="162304" y="118104"/>
                  </a:lnTo>
                  <a:lnTo>
                    <a:pt x="162304" y="0"/>
                  </a:lnTo>
                  <a:lnTo>
                    <a:pt x="0" y="0"/>
                  </a:lnTo>
                  <a:lnTo>
                    <a:pt x="0" y="118104"/>
                  </a:lnTo>
                  <a:close/>
                  <a:moveTo>
                    <a:pt x="59426" y="23621"/>
                  </a:moveTo>
                  <a:lnTo>
                    <a:pt x="103517" y="23621"/>
                  </a:lnTo>
                  <a:cubicBezTo>
                    <a:pt x="107351" y="23621"/>
                    <a:pt x="109907" y="26174"/>
                    <a:pt x="109907" y="30005"/>
                  </a:cubicBezTo>
                  <a:cubicBezTo>
                    <a:pt x="109907" y="33835"/>
                    <a:pt x="107351" y="36389"/>
                    <a:pt x="103517" y="36389"/>
                  </a:cubicBezTo>
                  <a:lnTo>
                    <a:pt x="59426" y="36389"/>
                  </a:lnTo>
                  <a:cubicBezTo>
                    <a:pt x="55592" y="36389"/>
                    <a:pt x="53036" y="33835"/>
                    <a:pt x="53036" y="30005"/>
                  </a:cubicBezTo>
                  <a:cubicBezTo>
                    <a:pt x="53036" y="26174"/>
                    <a:pt x="56231" y="23621"/>
                    <a:pt x="59426" y="23621"/>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72716361-FA73-7B48-021E-5E8016D04276}"/>
                </a:ext>
              </a:extLst>
            </p:cNvPr>
            <p:cNvSpPr/>
            <p:nvPr/>
          </p:nvSpPr>
          <p:spPr>
            <a:xfrm>
              <a:off x="905454" y="1885990"/>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289464 w 362309"/>
                <a:gd name="connsiteY6" fmla="*/ 129595 h 362610"/>
                <a:gd name="connsiteX7" fmla="*/ 283074 w 362309"/>
                <a:gd name="connsiteY7" fmla="*/ 135979 h 362610"/>
                <a:gd name="connsiteX8" fmla="*/ 274767 w 362309"/>
                <a:gd name="connsiteY8" fmla="*/ 135979 h 362610"/>
                <a:gd name="connsiteX9" fmla="*/ 274767 w 362309"/>
                <a:gd name="connsiteY9" fmla="*/ 260467 h 362610"/>
                <a:gd name="connsiteX10" fmla="*/ 268377 w 362309"/>
                <a:gd name="connsiteY10" fmla="*/ 266851 h 362610"/>
                <a:gd name="connsiteX11" fmla="*/ 93293 w 362309"/>
                <a:gd name="connsiteY11" fmla="*/ 266851 h 362610"/>
                <a:gd name="connsiteX12" fmla="*/ 86903 w 362309"/>
                <a:gd name="connsiteY12" fmla="*/ 260467 h 362610"/>
                <a:gd name="connsiteX13" fmla="*/ 86903 w 362309"/>
                <a:gd name="connsiteY13" fmla="*/ 135979 h 362610"/>
                <a:gd name="connsiteX14" fmla="*/ 78596 w 362309"/>
                <a:gd name="connsiteY14" fmla="*/ 135979 h 362610"/>
                <a:gd name="connsiteX15" fmla="*/ 72206 w 362309"/>
                <a:gd name="connsiteY15" fmla="*/ 129595 h 362610"/>
                <a:gd name="connsiteX16" fmla="*/ 72206 w 362309"/>
                <a:gd name="connsiteY16" fmla="*/ 100229 h 362610"/>
                <a:gd name="connsiteX17" fmla="*/ 78596 w 362309"/>
                <a:gd name="connsiteY17" fmla="*/ 93845 h 362610"/>
                <a:gd name="connsiteX18" fmla="*/ 283074 w 362309"/>
                <a:gd name="connsiteY18" fmla="*/ 93845 h 362610"/>
                <a:gd name="connsiteX19" fmla="*/ 289464 w 362309"/>
                <a:gd name="connsiteY19" fmla="*/ 100229 h 362610"/>
                <a:gd name="connsiteX20" fmla="*/ 289464 w 362309"/>
                <a:gd name="connsiteY20" fmla="*/ 129595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80438"/>
                    <a:pt x="281157" y="0"/>
                    <a:pt x="180835" y="0"/>
                  </a:cubicBezTo>
                  <a:cubicBezTo>
                    <a:pt x="180835" y="0"/>
                    <a:pt x="180835" y="0"/>
                    <a:pt x="180835" y="0"/>
                  </a:cubicBezTo>
                  <a:close/>
                  <a:moveTo>
                    <a:pt x="289464" y="129595"/>
                  </a:moveTo>
                  <a:cubicBezTo>
                    <a:pt x="289464" y="133425"/>
                    <a:pt x="286908" y="135979"/>
                    <a:pt x="283074" y="135979"/>
                  </a:cubicBezTo>
                  <a:lnTo>
                    <a:pt x="274767" y="135979"/>
                  </a:lnTo>
                  <a:lnTo>
                    <a:pt x="274767" y="260467"/>
                  </a:lnTo>
                  <a:cubicBezTo>
                    <a:pt x="274767" y="264297"/>
                    <a:pt x="272211" y="266851"/>
                    <a:pt x="268377" y="266851"/>
                  </a:cubicBezTo>
                  <a:lnTo>
                    <a:pt x="93293" y="266851"/>
                  </a:lnTo>
                  <a:cubicBezTo>
                    <a:pt x="89459" y="266851"/>
                    <a:pt x="86903" y="264297"/>
                    <a:pt x="86903" y="260467"/>
                  </a:cubicBezTo>
                  <a:lnTo>
                    <a:pt x="86903" y="135979"/>
                  </a:lnTo>
                  <a:lnTo>
                    <a:pt x="78596" y="135979"/>
                  </a:lnTo>
                  <a:cubicBezTo>
                    <a:pt x="74762" y="135979"/>
                    <a:pt x="72206" y="133425"/>
                    <a:pt x="72206" y="129595"/>
                  </a:cubicBezTo>
                  <a:lnTo>
                    <a:pt x="72206" y="100229"/>
                  </a:lnTo>
                  <a:cubicBezTo>
                    <a:pt x="72206" y="96398"/>
                    <a:pt x="74762" y="93845"/>
                    <a:pt x="78596" y="93845"/>
                  </a:cubicBezTo>
                  <a:lnTo>
                    <a:pt x="283074" y="93845"/>
                  </a:lnTo>
                  <a:cubicBezTo>
                    <a:pt x="286908" y="93845"/>
                    <a:pt x="289464" y="96398"/>
                    <a:pt x="289464" y="100229"/>
                  </a:cubicBezTo>
                  <a:lnTo>
                    <a:pt x="289464" y="129595"/>
                  </a:lnTo>
                  <a:close/>
                </a:path>
              </a:pathLst>
            </a:custGeom>
            <a:grpFill/>
            <a:ln w="6390" cap="flat">
              <a:noFill/>
              <a:prstDash val="solid"/>
              <a:miter/>
            </a:ln>
          </p:spPr>
          <p:txBody>
            <a:bodyPr rtlCol="0" anchor="ctr"/>
            <a:lstStyle/>
            <a:p>
              <a:endParaRPr lang="en-US"/>
            </a:p>
          </p:txBody>
        </p:sp>
      </p:grpSp>
      <p:sp>
        <p:nvSpPr>
          <p:cNvPr id="6" name="Oval 5">
            <a:extLst>
              <a:ext uri="{FF2B5EF4-FFF2-40B4-BE49-F238E27FC236}">
                <a16:creationId xmlns:a16="http://schemas.microsoft.com/office/drawing/2014/main" id="{B8407B33-7D56-BBBB-79F4-0B39A0F4040D}"/>
              </a:ext>
            </a:extLst>
          </p:cNvPr>
          <p:cNvSpPr/>
          <p:nvPr/>
        </p:nvSpPr>
        <p:spPr>
          <a:xfrm>
            <a:off x="755260" y="1595030"/>
            <a:ext cx="228600" cy="228600"/>
          </a:xfrm>
          <a:prstGeom prst="ellipse">
            <a:avLst/>
          </a:prstGeom>
          <a:solidFill>
            <a:srgbClr val="00B0F2"/>
          </a:solidFill>
          <a:ln w="25400" cap="flat" cmpd="sng" algn="ctr">
            <a:noFill/>
            <a:prstDash val="solid"/>
          </a:ln>
          <a:effectLst>
            <a:glow rad="139700">
              <a:schemeClr val="accent1">
                <a:satMod val="175000"/>
                <a:alpha val="40000"/>
              </a:scheme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9" name="Flowchart: Connector 18">
            <a:extLst>
              <a:ext uri="{FF2B5EF4-FFF2-40B4-BE49-F238E27FC236}">
                <a16:creationId xmlns:a16="http://schemas.microsoft.com/office/drawing/2014/main" id="{E0782CB2-F29A-2045-6675-D386D6C8A9FD}"/>
              </a:ext>
            </a:extLst>
          </p:cNvPr>
          <p:cNvSpPr>
            <a:spLocks/>
          </p:cNvSpPr>
          <p:nvPr/>
        </p:nvSpPr>
        <p:spPr bwMode="gray">
          <a:xfrm>
            <a:off x="-618646" y="1188357"/>
            <a:ext cx="2286000" cy="2288604"/>
          </a:xfrm>
          <a:prstGeom prst="flowChartConnector">
            <a:avLst/>
          </a:prstGeom>
          <a:solidFill>
            <a:srgbClr val="00B0F2">
              <a:alpha val="24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nvGrpSpPr>
          <p:cNvPr id="51" name="Group 50">
            <a:extLst>
              <a:ext uri="{FF2B5EF4-FFF2-40B4-BE49-F238E27FC236}">
                <a16:creationId xmlns:a16="http://schemas.microsoft.com/office/drawing/2014/main" id="{DEE3C0D3-8D38-026D-B750-862610A8A5A8}"/>
              </a:ext>
            </a:extLst>
          </p:cNvPr>
          <p:cNvGrpSpPr/>
          <p:nvPr/>
        </p:nvGrpSpPr>
        <p:grpSpPr>
          <a:xfrm>
            <a:off x="231917" y="2001982"/>
            <a:ext cx="1244714" cy="1340640"/>
            <a:chOff x="313485" y="4509531"/>
            <a:chExt cx="1058295" cy="1139858"/>
          </a:xfrm>
        </p:grpSpPr>
        <p:sp>
          <p:nvSpPr>
            <p:cNvPr id="52" name="Freeform: Shape 51">
              <a:extLst>
                <a:ext uri="{FF2B5EF4-FFF2-40B4-BE49-F238E27FC236}">
                  <a16:creationId xmlns:a16="http://schemas.microsoft.com/office/drawing/2014/main" id="{9B9DC348-A715-7B12-3899-30D8CAFFF6D7}"/>
                </a:ext>
              </a:extLst>
            </p:cNvPr>
            <p:cNvSpPr/>
            <p:nvPr/>
          </p:nvSpPr>
          <p:spPr bwMode="gray">
            <a:xfrm>
              <a:off x="313485" y="4682039"/>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dirty="0"/>
            </a:p>
          </p:txBody>
        </p:sp>
        <p:cxnSp>
          <p:nvCxnSpPr>
            <p:cNvPr id="53" name="Straight Connector 52">
              <a:extLst>
                <a:ext uri="{FF2B5EF4-FFF2-40B4-BE49-F238E27FC236}">
                  <a16:creationId xmlns:a16="http://schemas.microsoft.com/office/drawing/2014/main" id="{0FA46B47-C4C5-5CCC-CAFA-0E1E0CDA7DA1}"/>
                </a:ext>
              </a:extLst>
            </p:cNvPr>
            <p:cNvCxnSpPr/>
            <p:nvPr/>
          </p:nvCxnSpPr>
          <p:spPr>
            <a:xfrm flipV="1">
              <a:off x="791851" y="4509531"/>
              <a:ext cx="0" cy="5053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337DFB2B-AC41-D5C1-01BD-4B475000B308}"/>
                </a:ext>
              </a:extLst>
            </p:cNvPr>
            <p:cNvSpPr/>
            <p:nvPr/>
          </p:nvSpPr>
          <p:spPr bwMode="gray">
            <a:xfrm>
              <a:off x="742123" y="4981282"/>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55" name="Rectangle 54">
              <a:extLst>
                <a:ext uri="{FF2B5EF4-FFF2-40B4-BE49-F238E27FC236}">
                  <a16:creationId xmlns:a16="http://schemas.microsoft.com/office/drawing/2014/main" id="{824D4703-DA99-F0A7-D5B6-A8BBD4C96EEA}"/>
                </a:ext>
              </a:extLst>
            </p:cNvPr>
            <p:cNvSpPr/>
            <p:nvPr/>
          </p:nvSpPr>
          <p:spPr>
            <a:xfrm>
              <a:off x="465774" y="5074944"/>
              <a:ext cx="906006" cy="15700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a:t>
              </a:r>
              <a:r>
                <a:rPr lang="en-US" sz="600" i="1" spc="300" dirty="0">
                  <a:latin typeface="Open Sans"/>
                </a:rPr>
                <a:t>T</a:t>
              </a:r>
              <a:endParaRPr kumimoji="0" lang="en-US" sz="600" i="1" u="none" strike="noStrike" kern="1200" cap="none" spc="300" normalizeH="0" baseline="0" dirty="0">
                <a:ln>
                  <a:noFill/>
                </a:ln>
                <a:effectLst/>
                <a:uLnTx/>
                <a:uFillTx/>
                <a:latin typeface="Open Sans"/>
              </a:endParaRPr>
            </a:p>
          </p:txBody>
        </p:sp>
        <p:pic>
          <p:nvPicPr>
            <p:cNvPr id="56" name="Picture 4" descr="Hungary Large Flag | Gallery Yopriceville - High-Quality Free Images ...">
              <a:extLst>
                <a:ext uri="{FF2B5EF4-FFF2-40B4-BE49-F238E27FC236}">
                  <a16:creationId xmlns:a16="http://schemas.microsoft.com/office/drawing/2014/main" id="{FCDDE8EE-100C-2FD7-70D1-9075EF9F1572}"/>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89759" y="451244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64579133"/>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4583333-FA8A-FD9F-6F68-BB2E1FB5E2C1}"/>
              </a:ext>
            </a:extLst>
          </p:cNvPr>
          <p:cNvGraphicFramePr>
            <a:graphicFrameLocks noChangeAspect="1"/>
          </p:cNvGraphicFramePr>
          <p:nvPr>
            <p:custDataLst>
              <p:tags r:id="rId1"/>
            </p:custDataLst>
            <p:extLst>
              <p:ext uri="{D42A27DB-BD31-4B8C-83A1-F6EECF244321}">
                <p14:modId xmlns:p14="http://schemas.microsoft.com/office/powerpoint/2010/main" val="1271303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6" name="think-cell data - do not delete" hidden="1">
                        <a:extLst>
                          <a:ext uri="{FF2B5EF4-FFF2-40B4-BE49-F238E27FC236}">
                            <a16:creationId xmlns:a16="http://schemas.microsoft.com/office/drawing/2014/main" id="{D4583333-FA8A-FD9F-6F68-BB2E1FB5E2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A7C4A86-A109-363E-D4D5-1CDD28E1D013}"/>
              </a:ext>
            </a:extLst>
          </p:cNvPr>
          <p:cNvSpPr>
            <a:spLocks noGrp="1"/>
          </p:cNvSpPr>
          <p:nvPr>
            <p:ph type="body" sz="quarter" idx="22"/>
          </p:nvPr>
        </p:nvSpPr>
        <p:spPr/>
        <p:txBody>
          <a:bodyPr vert="horz" lIns="0" tIns="0" rIns="0" bIns="0" rtlCol="0" anchor="t">
            <a:noAutofit/>
          </a:bodyPr>
          <a:lstStyle/>
          <a:p>
            <a:r>
              <a:rPr lang="en-GB" dirty="0">
                <a:solidFill>
                  <a:srgbClr val="575757"/>
                </a:solidFill>
                <a:latin typeface="Open Sans Light"/>
                <a:ea typeface="Open Sans Light"/>
                <a:cs typeface="Open Sans Light"/>
              </a:rPr>
              <a:t>The long list will be prioritized in order to </a:t>
            </a:r>
            <a:r>
              <a:rPr lang="en-GB" dirty="0">
                <a:solidFill>
                  <a:schemeClr val="tx1"/>
                </a:solidFill>
                <a:latin typeface="Open Sans Light"/>
                <a:ea typeface="Open Sans Light"/>
                <a:cs typeface="Open Sans Light"/>
              </a:rPr>
              <a:t>identify the metrics which are high in business </a:t>
            </a:r>
            <a:r>
              <a:rPr lang="en-GB" dirty="0">
                <a:solidFill>
                  <a:srgbClr val="575757"/>
                </a:solidFill>
                <a:latin typeface="Open Sans Light"/>
                <a:ea typeface="Open Sans Light"/>
                <a:cs typeface="Open Sans Light"/>
              </a:rPr>
              <a:t>relevance and low in complexity</a:t>
            </a:r>
            <a:endParaRPr lang="en-US" dirty="0"/>
          </a:p>
        </p:txBody>
      </p:sp>
      <p:sp>
        <p:nvSpPr>
          <p:cNvPr id="3" name="Title 2">
            <a:extLst>
              <a:ext uri="{FF2B5EF4-FFF2-40B4-BE49-F238E27FC236}">
                <a16:creationId xmlns:a16="http://schemas.microsoft.com/office/drawing/2014/main" id="{510D4F91-6991-8676-641F-4EED95A466E2}"/>
              </a:ext>
            </a:extLst>
          </p:cNvPr>
          <p:cNvSpPr>
            <a:spLocks noGrp="1"/>
          </p:cNvSpPr>
          <p:nvPr>
            <p:ph type="title"/>
          </p:nvPr>
        </p:nvSpPr>
        <p:spPr/>
        <p:txBody>
          <a:bodyPr vert="horz"/>
          <a:lstStyle/>
          <a:p>
            <a:r>
              <a:rPr lang="en-GB" dirty="0">
                <a:latin typeface="Open Sans Light"/>
                <a:ea typeface="Open Sans Light"/>
                <a:cs typeface="Open Sans Light"/>
              </a:rPr>
              <a:t>How to create a fitting KPI short list?</a:t>
            </a:r>
            <a:endParaRPr lang="en-US" dirty="0"/>
          </a:p>
        </p:txBody>
      </p:sp>
      <p:cxnSp>
        <p:nvCxnSpPr>
          <p:cNvPr id="5" name="Straight Connector 4">
            <a:extLst>
              <a:ext uri="{FF2B5EF4-FFF2-40B4-BE49-F238E27FC236}">
                <a16:creationId xmlns:a16="http://schemas.microsoft.com/office/drawing/2014/main" id="{BAC15F25-95E2-B8CF-6CBC-B3033387AFF5}"/>
              </a:ext>
            </a:extLst>
          </p:cNvPr>
          <p:cNvCxnSpPr/>
          <p:nvPr/>
        </p:nvCxnSpPr>
        <p:spPr>
          <a:xfrm>
            <a:off x="500199" y="1854827"/>
            <a:ext cx="312303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8F534E33-A835-67A6-9D3C-3D878DA10ECD}"/>
              </a:ext>
            </a:extLst>
          </p:cNvPr>
          <p:cNvSpPr/>
          <p:nvPr/>
        </p:nvSpPr>
        <p:spPr bwMode="gray">
          <a:xfrm>
            <a:off x="500199" y="1669583"/>
            <a:ext cx="1742198" cy="131178"/>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000" b="1" dirty="0">
                <a:latin typeface="Open Sans Regular"/>
                <a:ea typeface="Open Sans Regular"/>
                <a:cs typeface="Open Sans Regular"/>
              </a:rPr>
              <a:t>Methodology</a:t>
            </a:r>
          </a:p>
        </p:txBody>
      </p:sp>
      <p:cxnSp>
        <p:nvCxnSpPr>
          <p:cNvPr id="9" name="Straight Connector 8">
            <a:extLst>
              <a:ext uri="{FF2B5EF4-FFF2-40B4-BE49-F238E27FC236}">
                <a16:creationId xmlns:a16="http://schemas.microsoft.com/office/drawing/2014/main" id="{190CB638-9DE7-C2A9-9201-42C4E592229F}"/>
              </a:ext>
            </a:extLst>
          </p:cNvPr>
          <p:cNvCxnSpPr/>
          <p:nvPr/>
        </p:nvCxnSpPr>
        <p:spPr>
          <a:xfrm>
            <a:off x="3874286" y="1854827"/>
            <a:ext cx="7807485"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4C5B249-18A7-7E2C-BF72-A88E4F68D13B}"/>
              </a:ext>
            </a:extLst>
          </p:cNvPr>
          <p:cNvSpPr/>
          <p:nvPr/>
        </p:nvSpPr>
        <p:spPr bwMode="gray">
          <a:xfrm>
            <a:off x="3907810" y="1678697"/>
            <a:ext cx="3161665" cy="1038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000" b="1" dirty="0">
                <a:latin typeface="Open Sans Regular"/>
                <a:ea typeface="Open Sans Regular"/>
                <a:cs typeface="Open Sans Regular"/>
              </a:rPr>
              <a:t>Output</a:t>
            </a:r>
          </a:p>
        </p:txBody>
      </p:sp>
      <p:sp>
        <p:nvSpPr>
          <p:cNvPr id="13" name="Rectangle 12">
            <a:extLst>
              <a:ext uri="{FF2B5EF4-FFF2-40B4-BE49-F238E27FC236}">
                <a16:creationId xmlns:a16="http://schemas.microsoft.com/office/drawing/2014/main" id="{6CF0B2D7-3AAE-B1FF-FC37-1FB4E7EA6233}"/>
              </a:ext>
            </a:extLst>
          </p:cNvPr>
          <p:cNvSpPr/>
          <p:nvPr/>
        </p:nvSpPr>
        <p:spPr bwMode="gray">
          <a:xfrm>
            <a:off x="863551" y="2109845"/>
            <a:ext cx="2895737" cy="2901844"/>
          </a:xfrm>
          <a:prstGeom prst="rect">
            <a:avLst/>
          </a:prstGeom>
          <a:noFill/>
          <a:ln w="19050" algn="ctr">
            <a:noFill/>
            <a:miter lim="800000"/>
            <a:headEnd/>
            <a:tailEnd/>
          </a:ln>
        </p:spPr>
        <p:txBody>
          <a:bodyPr wrap="square" lIns="88900" tIns="88900" rIns="88900" bIns="88900" rtlCol="0" anchor="t"/>
          <a:lstStyle/>
          <a:p>
            <a:pPr>
              <a:lnSpc>
                <a:spcPct val="106000"/>
              </a:lnSpc>
              <a:spcAft>
                <a:spcPts val="1200"/>
              </a:spcAft>
              <a:buFont typeface="Wingdings 2" pitchFamily="18" charset="2"/>
              <a:buNone/>
            </a:pPr>
            <a:r>
              <a:rPr lang="en-GB" sz="1000" dirty="0">
                <a:latin typeface="Open Sans Regular"/>
                <a:ea typeface="Open Sans Regular"/>
                <a:cs typeface="Open Sans Regular"/>
              </a:rPr>
              <a:t>Potential short list elements will be prioritized based on a multi-criterial system including factors measuring both the potential relevance for business performance and the complexity to deliver:</a:t>
            </a:r>
          </a:p>
          <a:p>
            <a:pPr>
              <a:lnSpc>
                <a:spcPct val="106000"/>
              </a:lnSpc>
              <a:buFont typeface="Wingdings 2" pitchFamily="18" charset="2"/>
              <a:buNone/>
            </a:pPr>
            <a:r>
              <a:rPr lang="en-GB" sz="1000" b="1" dirty="0">
                <a:latin typeface="Open Sans Regular"/>
                <a:ea typeface="Open Sans Regular"/>
                <a:cs typeface="Open Sans Regular"/>
              </a:rPr>
              <a:t>KPI relevance</a:t>
            </a:r>
          </a:p>
          <a:p>
            <a:pPr marL="171450" indent="-171450">
              <a:lnSpc>
                <a:spcPct val="106000"/>
              </a:lnSpc>
              <a:buFont typeface="Arial" panose="020B0604020202020204" pitchFamily="34" charset="0"/>
              <a:buChar char="•"/>
            </a:pPr>
            <a:r>
              <a:rPr lang="en-GB" sz="1000" dirty="0">
                <a:latin typeface="Open Sans Regular"/>
                <a:ea typeface="Open Sans Regular"/>
                <a:cs typeface="Open Sans Regular"/>
              </a:rPr>
              <a:t>Fit with strategic aspirations</a:t>
            </a:r>
          </a:p>
          <a:p>
            <a:pPr marL="171450" indent="-171450">
              <a:lnSpc>
                <a:spcPct val="106000"/>
              </a:lnSpc>
              <a:buFont typeface="Arial" panose="020B0604020202020204" pitchFamily="34" charset="0"/>
              <a:buChar char="•"/>
            </a:pPr>
            <a:r>
              <a:rPr lang="en-GB" sz="1000" dirty="0">
                <a:latin typeface="Open Sans Regular"/>
                <a:ea typeface="Open Sans Regular"/>
                <a:cs typeface="Open Sans Regular"/>
              </a:rPr>
              <a:t>Links with other KPIs</a:t>
            </a:r>
          </a:p>
          <a:p>
            <a:pPr marL="171450" indent="-171450">
              <a:lnSpc>
                <a:spcPct val="106000"/>
              </a:lnSpc>
              <a:buFont typeface="Arial" panose="020B0604020202020204" pitchFamily="34" charset="0"/>
              <a:buChar char="•"/>
            </a:pPr>
            <a:r>
              <a:rPr lang="en-GB" sz="1000" dirty="0">
                <a:latin typeface="Open Sans Regular"/>
                <a:ea typeface="Open Sans Regular"/>
                <a:cs typeface="Open Sans Regular"/>
              </a:rPr>
              <a:t>Links with incentive system</a:t>
            </a:r>
          </a:p>
          <a:p>
            <a:pPr>
              <a:lnSpc>
                <a:spcPct val="106000"/>
              </a:lnSpc>
              <a:buFont typeface="Wingdings 2" pitchFamily="18" charset="2"/>
              <a:buNone/>
            </a:pPr>
            <a:endParaRPr lang="en-GB" sz="1000" dirty="0">
              <a:latin typeface="Open Sans Regular"/>
              <a:ea typeface="Open Sans Regular"/>
              <a:cs typeface="Open Sans Regular"/>
            </a:endParaRPr>
          </a:p>
          <a:p>
            <a:pPr>
              <a:lnSpc>
                <a:spcPct val="106000"/>
              </a:lnSpc>
              <a:buFont typeface="Wingdings 2" pitchFamily="18" charset="2"/>
              <a:buNone/>
            </a:pPr>
            <a:r>
              <a:rPr lang="en-GB" sz="1000" b="1" dirty="0">
                <a:latin typeface="Open Sans Regular"/>
                <a:ea typeface="Open Sans Regular"/>
                <a:cs typeface="Open Sans Regular"/>
              </a:rPr>
              <a:t>KPI complexity </a:t>
            </a:r>
          </a:p>
          <a:p>
            <a:pPr marL="171450" indent="-171450">
              <a:lnSpc>
                <a:spcPct val="106000"/>
              </a:lnSpc>
              <a:buFont typeface="Arial" panose="020B0604020202020204" pitchFamily="34" charset="0"/>
              <a:buChar char="•"/>
            </a:pPr>
            <a:r>
              <a:rPr lang="en-GB" sz="1000" dirty="0">
                <a:latin typeface="Open Sans Regular"/>
                <a:ea typeface="Open Sans Regular"/>
                <a:cs typeface="Open Sans Regular"/>
              </a:rPr>
              <a:t>Investment requirements of dashboard delivery (i.e. availability of data without additional integration effort?)</a:t>
            </a:r>
          </a:p>
          <a:p>
            <a:pPr marL="171450" indent="-171450">
              <a:lnSpc>
                <a:spcPct val="106000"/>
              </a:lnSpc>
              <a:buFont typeface="Arial" panose="020B0604020202020204" pitchFamily="34" charset="0"/>
              <a:buChar char="•"/>
            </a:pPr>
            <a:r>
              <a:rPr lang="en-GB" sz="1000" dirty="0">
                <a:latin typeface="Open Sans Regular"/>
                <a:ea typeface="Open Sans Regular"/>
                <a:cs typeface="Open Sans Regular"/>
              </a:rPr>
              <a:t>Expected time of technical delivery of KPI dashboard</a:t>
            </a:r>
          </a:p>
          <a:p>
            <a:pPr>
              <a:lnSpc>
                <a:spcPct val="106000"/>
              </a:lnSpc>
              <a:buFont typeface="Wingdings 2" pitchFamily="18" charset="2"/>
              <a:buNone/>
            </a:pPr>
            <a:endParaRPr lang="en-GB" sz="1000" dirty="0">
              <a:latin typeface="Open Sans Regular"/>
              <a:ea typeface="Open Sans Regular"/>
              <a:cs typeface="Open Sans Regular"/>
            </a:endParaRPr>
          </a:p>
          <a:p>
            <a:pPr>
              <a:lnSpc>
                <a:spcPct val="106000"/>
              </a:lnSpc>
              <a:buFont typeface="Wingdings 2" pitchFamily="18" charset="2"/>
              <a:buNone/>
            </a:pPr>
            <a:endParaRPr lang="en-GB" sz="1000" dirty="0">
              <a:latin typeface="Open Sans Regular"/>
              <a:ea typeface="Open Sans Regular"/>
              <a:cs typeface="Open Sans Regular"/>
            </a:endParaRPr>
          </a:p>
          <a:p>
            <a:pPr>
              <a:lnSpc>
                <a:spcPct val="106000"/>
              </a:lnSpc>
              <a:spcAft>
                <a:spcPts val="1200"/>
              </a:spcAft>
              <a:buFont typeface="Wingdings 2" pitchFamily="18" charset="2"/>
              <a:buNone/>
            </a:pPr>
            <a:r>
              <a:rPr lang="en-GB" sz="1000" dirty="0">
                <a:latin typeface="Open Sans Regular"/>
                <a:ea typeface="Open Sans Regular"/>
                <a:cs typeface="Open Sans Regular"/>
              </a:rPr>
              <a:t>The output of the prioritization exercise and the final version of the KPI short list will be validated by top management. </a:t>
            </a:r>
          </a:p>
          <a:p>
            <a:pPr>
              <a:lnSpc>
                <a:spcPct val="106000"/>
              </a:lnSpc>
              <a:buFont typeface="Wingdings 2" pitchFamily="18" charset="2"/>
              <a:buNone/>
            </a:pPr>
            <a:endParaRPr lang="en-GB" sz="1000" dirty="0">
              <a:latin typeface="Open Sans Regular"/>
              <a:ea typeface="Open Sans Regular"/>
              <a:cs typeface="Open Sans Regular"/>
            </a:endParaRPr>
          </a:p>
        </p:txBody>
      </p:sp>
      <p:sp>
        <p:nvSpPr>
          <p:cNvPr id="15" name="Oval 14">
            <a:extLst>
              <a:ext uri="{FF2B5EF4-FFF2-40B4-BE49-F238E27FC236}">
                <a16:creationId xmlns:a16="http://schemas.microsoft.com/office/drawing/2014/main" id="{586C8EC6-BDD6-34A6-399E-F12C9FFF84BB}"/>
              </a:ext>
            </a:extLst>
          </p:cNvPr>
          <p:cNvSpPr/>
          <p:nvPr/>
        </p:nvSpPr>
        <p:spPr bwMode="gray">
          <a:xfrm>
            <a:off x="489077" y="2168959"/>
            <a:ext cx="269878"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000" b="1">
                <a:solidFill>
                  <a:schemeClr val="bg1"/>
                </a:solidFill>
                <a:latin typeface="Open Sans Regular"/>
                <a:ea typeface="Open Sans Regular"/>
                <a:cs typeface="Open Sans Regular"/>
              </a:rPr>
              <a:t>1.</a:t>
            </a:r>
          </a:p>
        </p:txBody>
      </p:sp>
      <p:cxnSp>
        <p:nvCxnSpPr>
          <p:cNvPr id="17" name="Straight Connector 16">
            <a:extLst>
              <a:ext uri="{FF2B5EF4-FFF2-40B4-BE49-F238E27FC236}">
                <a16:creationId xmlns:a16="http://schemas.microsoft.com/office/drawing/2014/main" id="{AF548B79-4225-E752-84CE-68EC0F3136B1}"/>
              </a:ext>
            </a:extLst>
          </p:cNvPr>
          <p:cNvCxnSpPr>
            <a:cxnSpLocks/>
          </p:cNvCxnSpPr>
          <p:nvPr/>
        </p:nvCxnSpPr>
        <p:spPr>
          <a:xfrm>
            <a:off x="884754" y="2178483"/>
            <a:ext cx="0" cy="2560320"/>
          </a:xfrm>
          <a:prstGeom prst="line">
            <a:avLst/>
          </a:prstGeom>
          <a:ln w="19050"/>
        </p:spPr>
        <p:style>
          <a:lnRef idx="1">
            <a:schemeClr val="dk1"/>
          </a:lnRef>
          <a:fillRef idx="0">
            <a:schemeClr val="dk1"/>
          </a:fillRef>
          <a:effectRef idx="0">
            <a:schemeClr val="dk1"/>
          </a:effectRef>
          <a:fontRef idx="minor">
            <a:schemeClr val="tx1"/>
          </a:fontRef>
        </p:style>
      </p:cxnSp>
      <p:sp>
        <p:nvSpPr>
          <p:cNvPr id="19" name="Oval 18">
            <a:extLst>
              <a:ext uri="{FF2B5EF4-FFF2-40B4-BE49-F238E27FC236}">
                <a16:creationId xmlns:a16="http://schemas.microsoft.com/office/drawing/2014/main" id="{B3229B84-AAA1-C82C-07D4-AD248ADD02D8}"/>
              </a:ext>
            </a:extLst>
          </p:cNvPr>
          <p:cNvSpPr/>
          <p:nvPr/>
        </p:nvSpPr>
        <p:spPr bwMode="gray">
          <a:xfrm>
            <a:off x="489077" y="5286499"/>
            <a:ext cx="269878" cy="309983"/>
          </a:xfrm>
          <a:prstGeom prst="ellipse">
            <a:avLst/>
          </a:prstGeom>
          <a:solidFill>
            <a:schemeClr val="accent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GB" sz="1000" b="1">
                <a:solidFill>
                  <a:schemeClr val="bg1"/>
                </a:solidFill>
                <a:latin typeface="Open Sans Regular"/>
                <a:ea typeface="Open Sans Regular"/>
                <a:cs typeface="Open Sans Regular"/>
              </a:rPr>
              <a:t>2.</a:t>
            </a:r>
          </a:p>
        </p:txBody>
      </p:sp>
      <p:cxnSp>
        <p:nvCxnSpPr>
          <p:cNvPr id="21" name="Straight Connector 20">
            <a:extLst>
              <a:ext uri="{FF2B5EF4-FFF2-40B4-BE49-F238E27FC236}">
                <a16:creationId xmlns:a16="http://schemas.microsoft.com/office/drawing/2014/main" id="{F70A062E-CECB-BB63-63F7-E90386C4C315}"/>
              </a:ext>
            </a:extLst>
          </p:cNvPr>
          <p:cNvCxnSpPr>
            <a:cxnSpLocks/>
          </p:cNvCxnSpPr>
          <p:nvPr/>
        </p:nvCxnSpPr>
        <p:spPr>
          <a:xfrm>
            <a:off x="884754" y="5214847"/>
            <a:ext cx="0" cy="731520"/>
          </a:xfrm>
          <a:prstGeom prst="line">
            <a:avLst/>
          </a:prstGeom>
          <a:ln w="19050"/>
        </p:spPr>
        <p:style>
          <a:lnRef idx="1">
            <a:schemeClr val="dk1"/>
          </a:lnRef>
          <a:fillRef idx="0">
            <a:schemeClr val="dk1"/>
          </a:fillRef>
          <a:effectRef idx="0">
            <a:schemeClr val="dk1"/>
          </a:effectRef>
          <a:fontRef idx="minor">
            <a:schemeClr val="tx1"/>
          </a:fontRef>
        </p:style>
      </p:cxnSp>
      <p:sp>
        <p:nvSpPr>
          <p:cNvPr id="23" name="Freeform 79">
            <a:extLst>
              <a:ext uri="{FF2B5EF4-FFF2-40B4-BE49-F238E27FC236}">
                <a16:creationId xmlns:a16="http://schemas.microsoft.com/office/drawing/2014/main" id="{36793607-DED8-83CE-E9F9-869F397D02A4}"/>
              </a:ext>
            </a:extLst>
          </p:cNvPr>
          <p:cNvSpPr/>
          <p:nvPr/>
        </p:nvSpPr>
        <p:spPr bwMode="gray">
          <a:xfrm>
            <a:off x="5380958" y="4752648"/>
            <a:ext cx="5729001" cy="280107"/>
          </a:xfrm>
          <a:custGeom>
            <a:avLst/>
            <a:gdLst>
              <a:gd name="connsiteX0" fmla="*/ 0 w 8449733"/>
              <a:gd name="connsiteY0" fmla="*/ 270934 h 270934"/>
              <a:gd name="connsiteX1" fmla="*/ 8449733 w 8449733"/>
              <a:gd name="connsiteY1" fmla="*/ 270934 h 270934"/>
              <a:gd name="connsiteX2" fmla="*/ 6316133 w 8449733"/>
              <a:gd name="connsiteY2" fmla="*/ 0 h 270934"/>
              <a:gd name="connsiteX3" fmla="*/ 2192866 w 8449733"/>
              <a:gd name="connsiteY3" fmla="*/ 0 h 270934"/>
              <a:gd name="connsiteX4" fmla="*/ 0 w 8449733"/>
              <a:gd name="connsiteY4" fmla="*/ 270934 h 270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9733" h="270934">
                <a:moveTo>
                  <a:pt x="0" y="270934"/>
                </a:moveTo>
                <a:lnTo>
                  <a:pt x="8449733" y="270934"/>
                </a:lnTo>
                <a:lnTo>
                  <a:pt x="6316133" y="0"/>
                </a:lnTo>
                <a:lnTo>
                  <a:pt x="2192866" y="0"/>
                </a:lnTo>
                <a:lnTo>
                  <a:pt x="0" y="270934"/>
                </a:lnTo>
                <a:close/>
              </a:path>
            </a:pathLst>
          </a:custGeom>
          <a:gradFill>
            <a:gsLst>
              <a:gs pos="0">
                <a:srgbClr val="D0D0CE">
                  <a:alpha val="18000"/>
                </a:srgbClr>
              </a:gs>
              <a:gs pos="68000">
                <a:schemeClr val="bg2">
                  <a:alpha val="55000"/>
                </a:schemeClr>
              </a:gs>
              <a:gs pos="52000">
                <a:schemeClr val="bg2">
                  <a:alpha val="49000"/>
                </a:schemeClr>
              </a:gs>
              <a:gs pos="100000">
                <a:schemeClr val="bg2">
                  <a:alpha val="70000"/>
                </a:schemeClr>
              </a:gs>
            </a:gsLst>
            <a:lin ang="162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00" b="1">
              <a:solidFill>
                <a:schemeClr val="bg1"/>
              </a:solidFill>
              <a:latin typeface="Open Sans Regular"/>
              <a:ea typeface="Open Sans Regular"/>
              <a:cs typeface="Open Sans Regular"/>
            </a:endParaRPr>
          </a:p>
        </p:txBody>
      </p:sp>
      <p:sp>
        <p:nvSpPr>
          <p:cNvPr id="25" name="Freeform 880">
            <a:extLst>
              <a:ext uri="{FF2B5EF4-FFF2-40B4-BE49-F238E27FC236}">
                <a16:creationId xmlns:a16="http://schemas.microsoft.com/office/drawing/2014/main" id="{5C546B94-37CC-6E6C-BECE-4B00E8C66FDB}"/>
              </a:ext>
            </a:extLst>
          </p:cNvPr>
          <p:cNvSpPr>
            <a:spLocks noEditPoints="1"/>
          </p:cNvSpPr>
          <p:nvPr/>
        </p:nvSpPr>
        <p:spPr bwMode="auto">
          <a:xfrm>
            <a:off x="4766460" y="5155601"/>
            <a:ext cx="274320" cy="27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GB" sz="1000" b="1">
                <a:latin typeface="Open Sans Regular"/>
                <a:ea typeface="Open Sans Regular"/>
                <a:cs typeface="Open Sans Regular"/>
              </a:rPr>
              <a:t>A</a:t>
            </a:r>
          </a:p>
        </p:txBody>
      </p:sp>
      <p:sp>
        <p:nvSpPr>
          <p:cNvPr id="27" name="Rectangle 26">
            <a:extLst>
              <a:ext uri="{FF2B5EF4-FFF2-40B4-BE49-F238E27FC236}">
                <a16:creationId xmlns:a16="http://schemas.microsoft.com/office/drawing/2014/main" id="{9BC5F096-2793-8691-E2A8-4837E9599113}"/>
              </a:ext>
            </a:extLst>
          </p:cNvPr>
          <p:cNvSpPr/>
          <p:nvPr/>
        </p:nvSpPr>
        <p:spPr bwMode="gray">
          <a:xfrm>
            <a:off x="5043112" y="5202216"/>
            <a:ext cx="2926080" cy="446192"/>
          </a:xfrm>
          <a:prstGeom prst="rect">
            <a:avLst/>
          </a:prstGeom>
          <a:noFill/>
          <a:ln w="19050" algn="ctr">
            <a:noFill/>
            <a:miter lim="800000"/>
            <a:headEnd/>
            <a:tailEnd/>
          </a:ln>
        </p:spPr>
        <p:txBody>
          <a:bodyPr wrap="square" lIns="88900" tIns="88900" rIns="88900" bIns="88900" rtlCol="0" anchor="ctr"/>
          <a:lstStyle/>
          <a:p>
            <a:pPr>
              <a:lnSpc>
                <a:spcPct val="106000"/>
              </a:lnSpc>
              <a:spcAft>
                <a:spcPts val="1200"/>
              </a:spcAft>
              <a:buFont typeface="Wingdings 2" pitchFamily="18" charset="2"/>
              <a:buNone/>
            </a:pPr>
            <a:r>
              <a:rPr lang="en-GB" sz="1000" b="1">
                <a:latin typeface="Open Sans Regular"/>
                <a:ea typeface="Open Sans Regular"/>
                <a:cs typeface="Open Sans Regular"/>
              </a:rPr>
              <a:t>High relevance – low complexity</a:t>
            </a:r>
            <a:r>
              <a:rPr lang="en-GB" sz="1000">
                <a:latin typeface="Open Sans Regular"/>
                <a:ea typeface="Open Sans Regular"/>
                <a:cs typeface="Open Sans Regular"/>
              </a:rPr>
              <a:t>: metrics to be shortlisted for PowerBI dashboard implementation (2022 Q2)</a:t>
            </a:r>
          </a:p>
        </p:txBody>
      </p:sp>
      <p:sp>
        <p:nvSpPr>
          <p:cNvPr id="29" name="Rectangle 28">
            <a:extLst>
              <a:ext uri="{FF2B5EF4-FFF2-40B4-BE49-F238E27FC236}">
                <a16:creationId xmlns:a16="http://schemas.microsoft.com/office/drawing/2014/main" id="{AAD29252-354E-7289-CD8A-F5EC04ECA059}"/>
              </a:ext>
            </a:extLst>
          </p:cNvPr>
          <p:cNvSpPr/>
          <p:nvPr/>
        </p:nvSpPr>
        <p:spPr>
          <a:xfrm>
            <a:off x="5557275" y="2206790"/>
            <a:ext cx="5339897" cy="2623460"/>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Open Sans Regular"/>
              <a:ea typeface="Open Sans Regular"/>
              <a:cs typeface="Open Sans Regular"/>
            </a:endParaRPr>
          </a:p>
        </p:txBody>
      </p:sp>
      <p:sp>
        <p:nvSpPr>
          <p:cNvPr id="31" name="Rectangle 30">
            <a:extLst>
              <a:ext uri="{FF2B5EF4-FFF2-40B4-BE49-F238E27FC236}">
                <a16:creationId xmlns:a16="http://schemas.microsoft.com/office/drawing/2014/main" id="{6B18FEC2-B304-77A8-6C90-F8F602A7A807}"/>
              </a:ext>
            </a:extLst>
          </p:cNvPr>
          <p:cNvSpPr/>
          <p:nvPr/>
        </p:nvSpPr>
        <p:spPr>
          <a:xfrm>
            <a:off x="7368236" y="2477716"/>
            <a:ext cx="2584195" cy="1393878"/>
          </a:xfrm>
          <a:prstGeom prst="rect">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Open Sans Regular"/>
              <a:ea typeface="Open Sans Regular"/>
              <a:cs typeface="Open Sans Regular"/>
            </a:endParaRPr>
          </a:p>
        </p:txBody>
      </p:sp>
      <p:sp>
        <p:nvSpPr>
          <p:cNvPr id="33" name="Rectangle 24">
            <a:extLst>
              <a:ext uri="{FF2B5EF4-FFF2-40B4-BE49-F238E27FC236}">
                <a16:creationId xmlns:a16="http://schemas.microsoft.com/office/drawing/2014/main" id="{BD3F1619-10D8-3555-F66A-7D08EEAD057F}"/>
              </a:ext>
            </a:extLst>
          </p:cNvPr>
          <p:cNvSpPr>
            <a:spLocks noChangeArrowheads="1"/>
          </p:cNvSpPr>
          <p:nvPr/>
        </p:nvSpPr>
        <p:spPr bwMode="gray">
          <a:xfrm>
            <a:off x="6828527" y="4375848"/>
            <a:ext cx="1680534" cy="307777"/>
          </a:xfrm>
          <a:prstGeom prst="rect">
            <a:avLst/>
          </a:prstGeom>
          <a:noFill/>
          <a:ln w="9525" algn="ctr">
            <a:noFill/>
            <a:miter lim="800000"/>
            <a:headEnd/>
            <a:tailEnd/>
          </a:ln>
          <a:effectLst/>
        </p:spPr>
        <p:txBody>
          <a:bodyPr wrap="square" lIns="39683" tIns="0" rIns="0" bIns="0" anchor="b">
            <a:spAutoFit/>
          </a:bodyPr>
          <a:lstStyle/>
          <a:p>
            <a:pPr defTabSz="839953" eaLnBrk="0" hangingPunct="0">
              <a:spcAft>
                <a:spcPts val="331"/>
              </a:spcAft>
            </a:pPr>
            <a:r>
              <a:rPr lang="en-GB" sz="1000">
                <a:latin typeface="Open Sans Regular"/>
                <a:ea typeface="Open Sans Regular"/>
                <a:cs typeface="Open Sans Regular"/>
              </a:rPr>
              <a:t>Investment requirements of dashboard delivery</a:t>
            </a:r>
            <a:endParaRPr lang="en-GB" sz="1000">
              <a:solidFill>
                <a:schemeClr val="bg2"/>
              </a:solidFill>
              <a:latin typeface="Open Sans Regular"/>
              <a:ea typeface="Open Sans Regular"/>
              <a:cs typeface="Open Sans Regular"/>
            </a:endParaRPr>
          </a:p>
        </p:txBody>
      </p:sp>
      <p:sp>
        <p:nvSpPr>
          <p:cNvPr id="35" name="Oval 34">
            <a:extLst>
              <a:ext uri="{FF2B5EF4-FFF2-40B4-BE49-F238E27FC236}">
                <a16:creationId xmlns:a16="http://schemas.microsoft.com/office/drawing/2014/main" id="{34E075DC-758D-58B3-F7F4-AC83987932C3}"/>
              </a:ext>
            </a:extLst>
          </p:cNvPr>
          <p:cNvSpPr/>
          <p:nvPr/>
        </p:nvSpPr>
        <p:spPr>
          <a:xfrm>
            <a:off x="6601999" y="4453685"/>
            <a:ext cx="182880" cy="182880"/>
          </a:xfrm>
          <a:prstGeom prst="ellipse">
            <a:avLst/>
          </a:prstGeom>
          <a:noFill/>
          <a:ln w="19050">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Open Sans Regular"/>
                <a:ea typeface="Open Sans Regular"/>
                <a:cs typeface="Open Sans Regular"/>
              </a:rPr>
              <a:t>1</a:t>
            </a:r>
          </a:p>
        </p:txBody>
      </p:sp>
      <p:sp>
        <p:nvSpPr>
          <p:cNvPr id="37" name="Rectangle 24">
            <a:extLst>
              <a:ext uri="{FF2B5EF4-FFF2-40B4-BE49-F238E27FC236}">
                <a16:creationId xmlns:a16="http://schemas.microsoft.com/office/drawing/2014/main" id="{72E35024-2FBB-FDDF-A734-6E88BCCB39A8}"/>
              </a:ext>
            </a:extLst>
          </p:cNvPr>
          <p:cNvSpPr>
            <a:spLocks noChangeArrowheads="1"/>
          </p:cNvSpPr>
          <p:nvPr/>
        </p:nvSpPr>
        <p:spPr bwMode="gray">
          <a:xfrm>
            <a:off x="8762125" y="4373411"/>
            <a:ext cx="1815819" cy="318549"/>
          </a:xfrm>
          <a:prstGeom prst="rect">
            <a:avLst/>
          </a:prstGeom>
          <a:noFill/>
          <a:ln w="9525" algn="ctr">
            <a:noFill/>
            <a:miter lim="800000"/>
            <a:headEnd/>
            <a:tailEnd/>
          </a:ln>
          <a:effectLst/>
        </p:spPr>
        <p:txBody>
          <a:bodyPr wrap="square" lIns="39683" tIns="0" rIns="0" bIns="0" anchor="b">
            <a:spAutoFit/>
          </a:bodyPr>
          <a:lstStyle/>
          <a:p>
            <a:pPr>
              <a:lnSpc>
                <a:spcPct val="106000"/>
              </a:lnSpc>
            </a:pPr>
            <a:r>
              <a:rPr lang="en-GB" sz="1000">
                <a:latin typeface="Open Sans Regular"/>
                <a:ea typeface="Open Sans Regular"/>
                <a:cs typeface="Open Sans Regular"/>
              </a:rPr>
              <a:t>Expected time of technical delivery of KPI dashboard</a:t>
            </a:r>
          </a:p>
        </p:txBody>
      </p:sp>
      <p:sp>
        <p:nvSpPr>
          <p:cNvPr id="39" name="Oval 38">
            <a:extLst>
              <a:ext uri="{FF2B5EF4-FFF2-40B4-BE49-F238E27FC236}">
                <a16:creationId xmlns:a16="http://schemas.microsoft.com/office/drawing/2014/main" id="{4FD0E5A8-517E-22FF-0247-B5B246AFFF5A}"/>
              </a:ext>
            </a:extLst>
          </p:cNvPr>
          <p:cNvSpPr/>
          <p:nvPr/>
        </p:nvSpPr>
        <p:spPr>
          <a:xfrm>
            <a:off x="8514822" y="4453685"/>
            <a:ext cx="182880" cy="182880"/>
          </a:xfrm>
          <a:prstGeom prst="ellipse">
            <a:avLst/>
          </a:prstGeom>
          <a:noFill/>
          <a:ln w="19050">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Open Sans Regular"/>
                <a:ea typeface="Open Sans Regular"/>
                <a:cs typeface="Open Sans Regular"/>
              </a:rPr>
              <a:t>2</a:t>
            </a:r>
          </a:p>
        </p:txBody>
      </p:sp>
      <p:sp>
        <p:nvSpPr>
          <p:cNvPr id="41" name="Right Brace 40">
            <a:extLst>
              <a:ext uri="{FF2B5EF4-FFF2-40B4-BE49-F238E27FC236}">
                <a16:creationId xmlns:a16="http://schemas.microsoft.com/office/drawing/2014/main" id="{1F8B38FA-17B8-C8F9-959F-F7BED718C060}"/>
              </a:ext>
            </a:extLst>
          </p:cNvPr>
          <p:cNvSpPr/>
          <p:nvPr/>
        </p:nvSpPr>
        <p:spPr>
          <a:xfrm rot="16200000">
            <a:off x="8491315" y="2239791"/>
            <a:ext cx="182888" cy="4201663"/>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00">
              <a:latin typeface="Open Sans Regular"/>
              <a:ea typeface="Open Sans Regular"/>
              <a:cs typeface="Open Sans Regular"/>
            </a:endParaRPr>
          </a:p>
        </p:txBody>
      </p:sp>
      <p:sp>
        <p:nvSpPr>
          <p:cNvPr id="43" name="Rectangle 24">
            <a:extLst>
              <a:ext uri="{FF2B5EF4-FFF2-40B4-BE49-F238E27FC236}">
                <a16:creationId xmlns:a16="http://schemas.microsoft.com/office/drawing/2014/main" id="{D0761A29-B390-4A4B-232A-7E278780A4A3}"/>
              </a:ext>
            </a:extLst>
          </p:cNvPr>
          <p:cNvSpPr>
            <a:spLocks noChangeArrowheads="1"/>
          </p:cNvSpPr>
          <p:nvPr/>
        </p:nvSpPr>
        <p:spPr bwMode="gray">
          <a:xfrm>
            <a:off x="7041337" y="4065554"/>
            <a:ext cx="3241245" cy="153888"/>
          </a:xfrm>
          <a:prstGeom prst="rect">
            <a:avLst/>
          </a:prstGeom>
          <a:noFill/>
          <a:ln w="9525" algn="ctr">
            <a:noFill/>
            <a:miter lim="800000"/>
            <a:headEnd/>
            <a:tailEnd/>
          </a:ln>
          <a:effectLst/>
        </p:spPr>
        <p:txBody>
          <a:bodyPr wrap="square" lIns="39683" tIns="0" rIns="0" bIns="0" anchor="b">
            <a:spAutoFit/>
          </a:bodyPr>
          <a:lstStyle/>
          <a:p>
            <a:pPr algn="ctr" defTabSz="839953" eaLnBrk="0" hangingPunct="0">
              <a:spcAft>
                <a:spcPts val="331"/>
              </a:spcAft>
            </a:pPr>
            <a:r>
              <a:rPr lang="en-GB" sz="1000" b="1">
                <a:solidFill>
                  <a:schemeClr val="bg2"/>
                </a:solidFill>
                <a:latin typeface="Open Sans Regular"/>
                <a:ea typeface="Open Sans Regular"/>
                <a:cs typeface="Open Sans Regular"/>
              </a:rPr>
              <a:t>KPI complexity</a:t>
            </a:r>
          </a:p>
        </p:txBody>
      </p:sp>
      <p:sp>
        <p:nvSpPr>
          <p:cNvPr id="45" name="Rectangle 24">
            <a:extLst>
              <a:ext uri="{FF2B5EF4-FFF2-40B4-BE49-F238E27FC236}">
                <a16:creationId xmlns:a16="http://schemas.microsoft.com/office/drawing/2014/main" id="{8D54410C-FFB7-7618-9B0B-077D487A9607}"/>
              </a:ext>
            </a:extLst>
          </p:cNvPr>
          <p:cNvSpPr>
            <a:spLocks noChangeArrowheads="1"/>
          </p:cNvSpPr>
          <p:nvPr/>
        </p:nvSpPr>
        <p:spPr bwMode="gray">
          <a:xfrm>
            <a:off x="5901968" y="2517749"/>
            <a:ext cx="756786" cy="461665"/>
          </a:xfrm>
          <a:prstGeom prst="rect">
            <a:avLst/>
          </a:prstGeom>
          <a:noFill/>
          <a:ln w="9525" algn="ctr">
            <a:noFill/>
            <a:miter lim="800000"/>
            <a:headEnd/>
            <a:tailEnd/>
          </a:ln>
          <a:effectLst/>
        </p:spPr>
        <p:txBody>
          <a:bodyPr wrap="square" lIns="39683" tIns="0" rIns="0" bIns="0" anchor="b">
            <a:spAutoFit/>
          </a:bodyPr>
          <a:lstStyle/>
          <a:p>
            <a:pPr defTabSz="839953" eaLnBrk="0" hangingPunct="0">
              <a:spcAft>
                <a:spcPts val="331"/>
              </a:spcAft>
            </a:pPr>
            <a:r>
              <a:rPr lang="en-GB" sz="1000">
                <a:solidFill>
                  <a:schemeClr val="bg2"/>
                </a:solidFill>
                <a:latin typeface="Open Sans Regular"/>
                <a:ea typeface="Open Sans Regular"/>
                <a:cs typeface="Open Sans Regular"/>
              </a:rPr>
              <a:t>Fit with strategic aspirations</a:t>
            </a:r>
          </a:p>
        </p:txBody>
      </p:sp>
      <p:sp>
        <p:nvSpPr>
          <p:cNvPr id="47" name="Oval 46">
            <a:extLst>
              <a:ext uri="{FF2B5EF4-FFF2-40B4-BE49-F238E27FC236}">
                <a16:creationId xmlns:a16="http://schemas.microsoft.com/office/drawing/2014/main" id="{EF4973CA-6A4E-9A3C-FF3E-EA42B3D84D59}"/>
              </a:ext>
            </a:extLst>
          </p:cNvPr>
          <p:cNvSpPr/>
          <p:nvPr/>
        </p:nvSpPr>
        <p:spPr>
          <a:xfrm>
            <a:off x="5702988" y="2693365"/>
            <a:ext cx="182880" cy="182880"/>
          </a:xfrm>
          <a:prstGeom prst="ellipse">
            <a:avLst/>
          </a:prstGeom>
          <a:noFill/>
          <a:ln w="19050">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Open Sans Regular"/>
                <a:ea typeface="Open Sans Regular"/>
                <a:cs typeface="Open Sans Regular"/>
              </a:rPr>
              <a:t>1</a:t>
            </a:r>
          </a:p>
        </p:txBody>
      </p:sp>
      <p:sp>
        <p:nvSpPr>
          <p:cNvPr id="49" name="Rectangle 24">
            <a:extLst>
              <a:ext uri="{FF2B5EF4-FFF2-40B4-BE49-F238E27FC236}">
                <a16:creationId xmlns:a16="http://schemas.microsoft.com/office/drawing/2014/main" id="{A5A7C02C-1CE9-1BA4-CA18-D57735445C89}"/>
              </a:ext>
            </a:extLst>
          </p:cNvPr>
          <p:cNvSpPr>
            <a:spLocks noChangeArrowheads="1"/>
          </p:cNvSpPr>
          <p:nvPr/>
        </p:nvSpPr>
        <p:spPr bwMode="gray">
          <a:xfrm>
            <a:off x="5901967" y="3039835"/>
            <a:ext cx="713226" cy="307777"/>
          </a:xfrm>
          <a:prstGeom prst="rect">
            <a:avLst/>
          </a:prstGeom>
          <a:noFill/>
          <a:ln w="9525" algn="ctr">
            <a:noFill/>
            <a:miter lim="800000"/>
            <a:headEnd/>
            <a:tailEnd/>
          </a:ln>
          <a:effectLst/>
        </p:spPr>
        <p:txBody>
          <a:bodyPr wrap="square" lIns="39683" tIns="0" rIns="0" bIns="0" anchor="b">
            <a:spAutoFit/>
          </a:bodyPr>
          <a:lstStyle/>
          <a:p>
            <a:pPr defTabSz="839953" eaLnBrk="0" hangingPunct="0">
              <a:spcAft>
                <a:spcPts val="331"/>
              </a:spcAft>
            </a:pPr>
            <a:r>
              <a:rPr lang="en-GB" sz="1000">
                <a:solidFill>
                  <a:schemeClr val="bg2"/>
                </a:solidFill>
                <a:latin typeface="Open Sans Regular"/>
                <a:ea typeface="Open Sans Regular"/>
                <a:cs typeface="Open Sans Regular"/>
              </a:rPr>
              <a:t>Links with other KPIs</a:t>
            </a:r>
          </a:p>
        </p:txBody>
      </p:sp>
      <p:sp>
        <p:nvSpPr>
          <p:cNvPr id="51" name="Oval 50">
            <a:extLst>
              <a:ext uri="{FF2B5EF4-FFF2-40B4-BE49-F238E27FC236}">
                <a16:creationId xmlns:a16="http://schemas.microsoft.com/office/drawing/2014/main" id="{1BD0C06B-E549-03FC-4DC6-96897FCA5357}"/>
              </a:ext>
            </a:extLst>
          </p:cNvPr>
          <p:cNvSpPr/>
          <p:nvPr/>
        </p:nvSpPr>
        <p:spPr>
          <a:xfrm>
            <a:off x="5702988" y="3117672"/>
            <a:ext cx="182880" cy="182880"/>
          </a:xfrm>
          <a:prstGeom prst="ellipse">
            <a:avLst/>
          </a:prstGeom>
          <a:noFill/>
          <a:ln w="19050">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Open Sans Regular"/>
                <a:ea typeface="Open Sans Regular"/>
                <a:cs typeface="Open Sans Regular"/>
              </a:rPr>
              <a:t>2</a:t>
            </a:r>
          </a:p>
        </p:txBody>
      </p:sp>
      <p:sp>
        <p:nvSpPr>
          <p:cNvPr id="53" name="Oval 52">
            <a:extLst>
              <a:ext uri="{FF2B5EF4-FFF2-40B4-BE49-F238E27FC236}">
                <a16:creationId xmlns:a16="http://schemas.microsoft.com/office/drawing/2014/main" id="{6E051AA2-8AE4-8B83-011E-6F403ABF58F5}"/>
              </a:ext>
            </a:extLst>
          </p:cNvPr>
          <p:cNvSpPr/>
          <p:nvPr/>
        </p:nvSpPr>
        <p:spPr>
          <a:xfrm>
            <a:off x="5702988" y="3497369"/>
            <a:ext cx="182880" cy="182880"/>
          </a:xfrm>
          <a:prstGeom prst="ellipse">
            <a:avLst/>
          </a:prstGeom>
          <a:noFill/>
          <a:ln w="19050">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Open Sans Regular"/>
                <a:ea typeface="Open Sans Regular"/>
                <a:cs typeface="Open Sans Regular"/>
              </a:rPr>
              <a:t>3</a:t>
            </a:r>
          </a:p>
        </p:txBody>
      </p:sp>
      <p:sp>
        <p:nvSpPr>
          <p:cNvPr id="55" name="Rectangle 24">
            <a:extLst>
              <a:ext uri="{FF2B5EF4-FFF2-40B4-BE49-F238E27FC236}">
                <a16:creationId xmlns:a16="http://schemas.microsoft.com/office/drawing/2014/main" id="{7F120CAA-30AC-8B20-DDD5-32777233B762}"/>
              </a:ext>
            </a:extLst>
          </p:cNvPr>
          <p:cNvSpPr>
            <a:spLocks noChangeArrowheads="1"/>
          </p:cNvSpPr>
          <p:nvPr/>
        </p:nvSpPr>
        <p:spPr bwMode="gray">
          <a:xfrm>
            <a:off x="5901968" y="3265873"/>
            <a:ext cx="882336" cy="461665"/>
          </a:xfrm>
          <a:prstGeom prst="rect">
            <a:avLst/>
          </a:prstGeom>
          <a:noFill/>
          <a:ln w="9525" algn="ctr">
            <a:noFill/>
            <a:miter lim="800000"/>
            <a:headEnd/>
            <a:tailEnd/>
          </a:ln>
          <a:effectLst/>
        </p:spPr>
        <p:txBody>
          <a:bodyPr wrap="square" lIns="39683" tIns="0" rIns="0" bIns="0" anchor="b">
            <a:spAutoFit/>
          </a:bodyPr>
          <a:lstStyle/>
          <a:p>
            <a:pPr defTabSz="839953" eaLnBrk="0" hangingPunct="0">
              <a:spcAft>
                <a:spcPts val="331"/>
              </a:spcAft>
            </a:pPr>
            <a:r>
              <a:rPr lang="en-GB" sz="1000">
                <a:solidFill>
                  <a:schemeClr val="bg2"/>
                </a:solidFill>
                <a:latin typeface="Open Sans Regular"/>
                <a:ea typeface="Open Sans Regular"/>
                <a:cs typeface="Open Sans Regular"/>
              </a:rPr>
              <a:t>Links with incentive system</a:t>
            </a:r>
          </a:p>
        </p:txBody>
      </p:sp>
      <p:sp>
        <p:nvSpPr>
          <p:cNvPr id="57" name="Right Brace 56">
            <a:extLst>
              <a:ext uri="{FF2B5EF4-FFF2-40B4-BE49-F238E27FC236}">
                <a16:creationId xmlns:a16="http://schemas.microsoft.com/office/drawing/2014/main" id="{29DA40C1-D425-AE81-8919-0A86871D3D82}"/>
              </a:ext>
            </a:extLst>
          </p:cNvPr>
          <p:cNvSpPr/>
          <p:nvPr/>
        </p:nvSpPr>
        <p:spPr>
          <a:xfrm>
            <a:off x="6720030" y="2578558"/>
            <a:ext cx="219391" cy="1187123"/>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00">
              <a:latin typeface="Open Sans Regular"/>
              <a:ea typeface="Open Sans Regular"/>
              <a:cs typeface="Open Sans Regular"/>
            </a:endParaRPr>
          </a:p>
        </p:txBody>
      </p:sp>
      <p:sp>
        <p:nvSpPr>
          <p:cNvPr id="59" name="Rectangle 24">
            <a:extLst>
              <a:ext uri="{FF2B5EF4-FFF2-40B4-BE49-F238E27FC236}">
                <a16:creationId xmlns:a16="http://schemas.microsoft.com/office/drawing/2014/main" id="{F67C17C7-9D40-E629-E882-80DF2AD15F25}"/>
              </a:ext>
            </a:extLst>
          </p:cNvPr>
          <p:cNvSpPr>
            <a:spLocks noChangeArrowheads="1"/>
          </p:cNvSpPr>
          <p:nvPr/>
        </p:nvSpPr>
        <p:spPr bwMode="gray">
          <a:xfrm rot="16200000">
            <a:off x="6676892" y="3079828"/>
            <a:ext cx="801501" cy="153888"/>
          </a:xfrm>
          <a:prstGeom prst="rect">
            <a:avLst/>
          </a:prstGeom>
          <a:noFill/>
          <a:ln w="9525" algn="ctr">
            <a:noFill/>
            <a:miter lim="800000"/>
            <a:headEnd/>
            <a:tailEnd/>
          </a:ln>
          <a:effectLst/>
        </p:spPr>
        <p:txBody>
          <a:bodyPr wrap="none" lIns="0" tIns="0" rIns="0" bIns="0" anchor="b">
            <a:spAutoFit/>
          </a:bodyPr>
          <a:lstStyle/>
          <a:p>
            <a:pPr algn="ctr" defTabSz="839953" eaLnBrk="0" hangingPunct="0">
              <a:spcAft>
                <a:spcPts val="331"/>
              </a:spcAft>
            </a:pPr>
            <a:r>
              <a:rPr lang="en-GB" sz="1000" b="1">
                <a:solidFill>
                  <a:schemeClr val="bg2"/>
                </a:solidFill>
                <a:latin typeface="Open Sans Regular"/>
                <a:ea typeface="Open Sans Regular"/>
                <a:cs typeface="Open Sans Regular"/>
              </a:rPr>
              <a:t>KPI relevance</a:t>
            </a:r>
          </a:p>
        </p:txBody>
      </p:sp>
      <p:sp>
        <p:nvSpPr>
          <p:cNvPr id="61" name="Rectangle 14">
            <a:extLst>
              <a:ext uri="{FF2B5EF4-FFF2-40B4-BE49-F238E27FC236}">
                <a16:creationId xmlns:a16="http://schemas.microsoft.com/office/drawing/2014/main" id="{CEAC0D5D-3F56-3F02-6A60-3FDC7DE872E7}"/>
              </a:ext>
            </a:extLst>
          </p:cNvPr>
          <p:cNvSpPr>
            <a:spLocks noChangeArrowheads="1"/>
          </p:cNvSpPr>
          <p:nvPr/>
        </p:nvSpPr>
        <p:spPr bwMode="gray">
          <a:xfrm>
            <a:off x="7379591" y="2509164"/>
            <a:ext cx="1274212" cy="656923"/>
          </a:xfrm>
          <a:prstGeom prst="rect">
            <a:avLst/>
          </a:prstGeom>
          <a:solidFill>
            <a:schemeClr val="bg1">
              <a:lumMod val="95000"/>
            </a:schemeClr>
          </a:solidFill>
          <a:ln w="12700">
            <a:solidFill>
              <a:schemeClr val="bg1"/>
            </a:solidFill>
            <a:miter lim="800000"/>
            <a:headEnd/>
            <a:tailEnd/>
          </a:ln>
        </p:spPr>
        <p:txBody>
          <a:bodyPr wrap="none" lIns="39683" tIns="39683" rIns="39683" bIns="39683" anchor="ctr"/>
          <a:lstStyle/>
          <a:p>
            <a:pPr algn="ctr">
              <a:defRPr/>
            </a:pPr>
            <a:endParaRPr lang="en-GB" sz="1000">
              <a:solidFill>
                <a:schemeClr val="bg2"/>
              </a:solidFill>
              <a:latin typeface="Open Sans Regular"/>
              <a:ea typeface="Open Sans Regular"/>
              <a:cs typeface="Open Sans Regular"/>
            </a:endParaRPr>
          </a:p>
        </p:txBody>
      </p:sp>
      <p:sp>
        <p:nvSpPr>
          <p:cNvPr id="63" name="Rectangle 15">
            <a:extLst>
              <a:ext uri="{FF2B5EF4-FFF2-40B4-BE49-F238E27FC236}">
                <a16:creationId xmlns:a16="http://schemas.microsoft.com/office/drawing/2014/main" id="{B26A8E35-E29D-5475-272F-6E7ECE27834D}"/>
              </a:ext>
            </a:extLst>
          </p:cNvPr>
          <p:cNvSpPr>
            <a:spLocks noChangeArrowheads="1"/>
          </p:cNvSpPr>
          <p:nvPr/>
        </p:nvSpPr>
        <p:spPr bwMode="gray">
          <a:xfrm>
            <a:off x="8668920" y="2509164"/>
            <a:ext cx="1274212" cy="656923"/>
          </a:xfrm>
          <a:prstGeom prst="rect">
            <a:avLst/>
          </a:prstGeom>
          <a:solidFill>
            <a:schemeClr val="accent1">
              <a:lumMod val="20000"/>
              <a:lumOff val="80000"/>
            </a:schemeClr>
          </a:solidFill>
          <a:ln w="12700">
            <a:solidFill>
              <a:schemeClr val="bg1"/>
            </a:solidFill>
            <a:miter lim="800000"/>
            <a:headEnd/>
            <a:tailEnd/>
          </a:ln>
        </p:spPr>
        <p:txBody>
          <a:bodyPr wrap="none" lIns="39683" tIns="39683" rIns="39683" bIns="39683" anchor="ctr"/>
          <a:lstStyle/>
          <a:p>
            <a:pPr algn="ctr"/>
            <a:endParaRPr lang="en-GB" sz="1000">
              <a:solidFill>
                <a:schemeClr val="bg2"/>
              </a:solidFill>
              <a:latin typeface="Open Sans Regular"/>
              <a:ea typeface="Open Sans Regular"/>
              <a:cs typeface="Open Sans Regular"/>
            </a:endParaRPr>
          </a:p>
        </p:txBody>
      </p:sp>
      <p:sp>
        <p:nvSpPr>
          <p:cNvPr id="65" name="Rectangle 17">
            <a:extLst>
              <a:ext uri="{FF2B5EF4-FFF2-40B4-BE49-F238E27FC236}">
                <a16:creationId xmlns:a16="http://schemas.microsoft.com/office/drawing/2014/main" id="{86B6DE7F-5BE7-BDFA-390E-B8CA1AB1CCAB}"/>
              </a:ext>
            </a:extLst>
          </p:cNvPr>
          <p:cNvSpPr>
            <a:spLocks noChangeArrowheads="1"/>
          </p:cNvSpPr>
          <p:nvPr/>
        </p:nvSpPr>
        <p:spPr bwMode="gray">
          <a:xfrm>
            <a:off x="7379591" y="3181960"/>
            <a:ext cx="1274212" cy="656923"/>
          </a:xfrm>
          <a:prstGeom prst="rect">
            <a:avLst/>
          </a:prstGeom>
          <a:solidFill>
            <a:schemeClr val="bg1">
              <a:lumMod val="95000"/>
            </a:schemeClr>
          </a:solidFill>
          <a:ln w="12700">
            <a:solidFill>
              <a:schemeClr val="bg1"/>
            </a:solidFill>
            <a:miter lim="800000"/>
            <a:headEnd/>
            <a:tailEnd/>
          </a:ln>
        </p:spPr>
        <p:txBody>
          <a:bodyPr wrap="none" lIns="39683" tIns="39683" rIns="39683" bIns="39683" anchor="ctr"/>
          <a:lstStyle/>
          <a:p>
            <a:pPr algn="ctr">
              <a:defRPr/>
            </a:pPr>
            <a:endParaRPr lang="en-GB" sz="1000">
              <a:solidFill>
                <a:schemeClr val="bg2"/>
              </a:solidFill>
              <a:latin typeface="Open Sans Regular"/>
              <a:ea typeface="Open Sans Regular"/>
              <a:cs typeface="Open Sans Regular"/>
            </a:endParaRPr>
          </a:p>
        </p:txBody>
      </p:sp>
      <p:sp>
        <p:nvSpPr>
          <p:cNvPr id="67" name="Rectangle 18">
            <a:extLst>
              <a:ext uri="{FF2B5EF4-FFF2-40B4-BE49-F238E27FC236}">
                <a16:creationId xmlns:a16="http://schemas.microsoft.com/office/drawing/2014/main" id="{CDB2FA3A-EDA9-B4F1-FA5F-06BA89F9CD6F}"/>
              </a:ext>
            </a:extLst>
          </p:cNvPr>
          <p:cNvSpPr>
            <a:spLocks noChangeArrowheads="1"/>
          </p:cNvSpPr>
          <p:nvPr/>
        </p:nvSpPr>
        <p:spPr bwMode="gray">
          <a:xfrm>
            <a:off x="8668920" y="3181960"/>
            <a:ext cx="1274212" cy="656923"/>
          </a:xfrm>
          <a:prstGeom prst="rect">
            <a:avLst/>
          </a:prstGeom>
          <a:solidFill>
            <a:schemeClr val="bg1">
              <a:lumMod val="95000"/>
            </a:schemeClr>
          </a:solidFill>
          <a:ln w="12700">
            <a:solidFill>
              <a:schemeClr val="bg1"/>
            </a:solidFill>
            <a:miter lim="800000"/>
            <a:headEnd/>
            <a:tailEnd/>
          </a:ln>
        </p:spPr>
        <p:txBody>
          <a:bodyPr wrap="none" lIns="39683" tIns="39683" rIns="39683" bIns="39683" anchor="ctr"/>
          <a:lstStyle/>
          <a:p>
            <a:pPr algn="ctr">
              <a:defRPr/>
            </a:pPr>
            <a:endParaRPr lang="en-GB" sz="1000">
              <a:solidFill>
                <a:schemeClr val="bg2"/>
              </a:solidFill>
              <a:latin typeface="Open Sans Regular"/>
              <a:ea typeface="Open Sans Regular"/>
              <a:cs typeface="Open Sans Regular"/>
            </a:endParaRPr>
          </a:p>
        </p:txBody>
      </p:sp>
      <p:sp>
        <p:nvSpPr>
          <p:cNvPr id="69" name="Rectangle 10">
            <a:extLst>
              <a:ext uri="{FF2B5EF4-FFF2-40B4-BE49-F238E27FC236}">
                <a16:creationId xmlns:a16="http://schemas.microsoft.com/office/drawing/2014/main" id="{8AE719A9-1E4A-5319-7AA5-9E78BED6A075}"/>
              </a:ext>
            </a:extLst>
          </p:cNvPr>
          <p:cNvSpPr>
            <a:spLocks noChangeArrowheads="1"/>
          </p:cNvSpPr>
          <p:nvPr/>
        </p:nvSpPr>
        <p:spPr bwMode="gray">
          <a:xfrm>
            <a:off x="7885188" y="3915884"/>
            <a:ext cx="275718" cy="153888"/>
          </a:xfrm>
          <a:prstGeom prst="rect">
            <a:avLst/>
          </a:prstGeom>
          <a:noFill/>
          <a:ln w="9525">
            <a:noFill/>
            <a:miter lim="800000"/>
            <a:headEnd/>
            <a:tailEnd/>
          </a:ln>
          <a:effectLst/>
        </p:spPr>
        <p:txBody>
          <a:bodyPr wrap="none" lIns="0" tIns="0" rIns="0" bIns="0">
            <a:spAutoFit/>
          </a:bodyPr>
          <a:lstStyle/>
          <a:p>
            <a:pPr algn="ctr" defTabSz="839953" eaLnBrk="0" hangingPunct="0"/>
            <a:r>
              <a:rPr lang="en-GB" sz="1000">
                <a:latin typeface="Open Sans Regular"/>
                <a:ea typeface="Open Sans Regular"/>
                <a:cs typeface="Open Sans Regular"/>
              </a:rPr>
              <a:t>High</a:t>
            </a:r>
          </a:p>
        </p:txBody>
      </p:sp>
      <p:sp>
        <p:nvSpPr>
          <p:cNvPr id="71" name="Rectangle 8">
            <a:extLst>
              <a:ext uri="{FF2B5EF4-FFF2-40B4-BE49-F238E27FC236}">
                <a16:creationId xmlns:a16="http://schemas.microsoft.com/office/drawing/2014/main" id="{FBCB6AA1-A27F-89C4-A425-6120E9DD9A20}"/>
              </a:ext>
            </a:extLst>
          </p:cNvPr>
          <p:cNvSpPr>
            <a:spLocks noChangeArrowheads="1"/>
          </p:cNvSpPr>
          <p:nvPr/>
        </p:nvSpPr>
        <p:spPr bwMode="gray">
          <a:xfrm rot="16200000">
            <a:off x="7108091" y="3433478"/>
            <a:ext cx="243656" cy="153888"/>
          </a:xfrm>
          <a:prstGeom prst="rect">
            <a:avLst/>
          </a:prstGeom>
          <a:noFill/>
          <a:ln w="9525">
            <a:noFill/>
            <a:miter lim="800000"/>
            <a:headEnd/>
            <a:tailEnd/>
          </a:ln>
          <a:effectLst/>
        </p:spPr>
        <p:txBody>
          <a:bodyPr wrap="none" lIns="0" tIns="0" rIns="0" bIns="0" anchor="b">
            <a:spAutoFit/>
          </a:bodyPr>
          <a:lstStyle/>
          <a:p>
            <a:pPr algn="ctr" defTabSz="839953" eaLnBrk="0" hangingPunct="0"/>
            <a:r>
              <a:rPr lang="en-GB" sz="1000">
                <a:latin typeface="Open Sans Regular"/>
                <a:ea typeface="Open Sans Regular"/>
                <a:cs typeface="Open Sans Regular"/>
              </a:rPr>
              <a:t>Low</a:t>
            </a:r>
          </a:p>
        </p:txBody>
      </p:sp>
      <p:sp>
        <p:nvSpPr>
          <p:cNvPr id="73" name="Rectangle 6">
            <a:extLst>
              <a:ext uri="{FF2B5EF4-FFF2-40B4-BE49-F238E27FC236}">
                <a16:creationId xmlns:a16="http://schemas.microsoft.com/office/drawing/2014/main" id="{78549444-6C82-2D0B-1AAD-952323B2CA5E}"/>
              </a:ext>
            </a:extLst>
          </p:cNvPr>
          <p:cNvSpPr>
            <a:spLocks noChangeArrowheads="1"/>
          </p:cNvSpPr>
          <p:nvPr/>
        </p:nvSpPr>
        <p:spPr bwMode="gray">
          <a:xfrm rot="16200000">
            <a:off x="7092061" y="2760681"/>
            <a:ext cx="275718" cy="153888"/>
          </a:xfrm>
          <a:prstGeom prst="rect">
            <a:avLst/>
          </a:prstGeom>
          <a:noFill/>
          <a:ln w="9525">
            <a:noFill/>
            <a:miter lim="800000"/>
            <a:headEnd/>
            <a:tailEnd/>
          </a:ln>
          <a:effectLst/>
        </p:spPr>
        <p:txBody>
          <a:bodyPr wrap="none" lIns="0" tIns="0" rIns="0" bIns="0" anchor="b">
            <a:spAutoFit/>
          </a:bodyPr>
          <a:lstStyle/>
          <a:p>
            <a:pPr algn="ctr" defTabSz="839953" eaLnBrk="0" hangingPunct="0"/>
            <a:r>
              <a:rPr lang="en-GB" sz="1000">
                <a:latin typeface="Open Sans Regular"/>
                <a:ea typeface="Open Sans Regular"/>
                <a:cs typeface="Open Sans Regular"/>
              </a:rPr>
              <a:t>High</a:t>
            </a:r>
          </a:p>
        </p:txBody>
      </p:sp>
      <p:sp>
        <p:nvSpPr>
          <p:cNvPr id="75" name="Rectangle 10">
            <a:extLst>
              <a:ext uri="{FF2B5EF4-FFF2-40B4-BE49-F238E27FC236}">
                <a16:creationId xmlns:a16="http://schemas.microsoft.com/office/drawing/2014/main" id="{DC2FBE82-EB1F-92B4-389A-D7468A5FD886}"/>
              </a:ext>
            </a:extLst>
          </p:cNvPr>
          <p:cNvSpPr>
            <a:spLocks noChangeArrowheads="1"/>
          </p:cNvSpPr>
          <p:nvPr/>
        </p:nvSpPr>
        <p:spPr bwMode="gray">
          <a:xfrm>
            <a:off x="9190552" y="3915884"/>
            <a:ext cx="243656" cy="153888"/>
          </a:xfrm>
          <a:prstGeom prst="rect">
            <a:avLst/>
          </a:prstGeom>
          <a:noFill/>
          <a:ln w="9525">
            <a:noFill/>
            <a:miter lim="800000"/>
            <a:headEnd/>
            <a:tailEnd/>
          </a:ln>
          <a:effectLst/>
        </p:spPr>
        <p:txBody>
          <a:bodyPr wrap="none" lIns="0" tIns="0" rIns="0" bIns="0">
            <a:spAutoFit/>
          </a:bodyPr>
          <a:lstStyle/>
          <a:p>
            <a:pPr algn="ctr" defTabSz="839953" eaLnBrk="0" hangingPunct="0"/>
            <a:r>
              <a:rPr lang="en-GB" sz="1000">
                <a:latin typeface="Open Sans Regular"/>
                <a:ea typeface="Open Sans Regular"/>
                <a:cs typeface="Open Sans Regular"/>
              </a:rPr>
              <a:t>Low</a:t>
            </a:r>
          </a:p>
        </p:txBody>
      </p:sp>
      <p:sp>
        <p:nvSpPr>
          <p:cNvPr id="77" name="Freeform 880">
            <a:extLst>
              <a:ext uri="{FF2B5EF4-FFF2-40B4-BE49-F238E27FC236}">
                <a16:creationId xmlns:a16="http://schemas.microsoft.com/office/drawing/2014/main" id="{2B779C0B-A8BC-BA9F-48D1-FD3CDD4C43D2}"/>
              </a:ext>
            </a:extLst>
          </p:cNvPr>
          <p:cNvSpPr>
            <a:spLocks noEditPoints="1"/>
          </p:cNvSpPr>
          <p:nvPr/>
        </p:nvSpPr>
        <p:spPr bwMode="auto">
          <a:xfrm>
            <a:off x="7462577" y="2567982"/>
            <a:ext cx="274320" cy="27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GB" sz="1000" b="1">
                <a:latin typeface="Open Sans Regular"/>
                <a:ea typeface="Open Sans Regular"/>
                <a:cs typeface="Open Sans Regular"/>
              </a:rPr>
              <a:t>B</a:t>
            </a:r>
          </a:p>
        </p:txBody>
      </p:sp>
      <p:sp>
        <p:nvSpPr>
          <p:cNvPr id="79" name="Freeform 880">
            <a:extLst>
              <a:ext uri="{FF2B5EF4-FFF2-40B4-BE49-F238E27FC236}">
                <a16:creationId xmlns:a16="http://schemas.microsoft.com/office/drawing/2014/main" id="{394371BE-9A7C-14F1-9564-84E4AAFAE671}"/>
              </a:ext>
            </a:extLst>
          </p:cNvPr>
          <p:cNvSpPr>
            <a:spLocks noEditPoints="1"/>
          </p:cNvSpPr>
          <p:nvPr/>
        </p:nvSpPr>
        <p:spPr bwMode="auto">
          <a:xfrm>
            <a:off x="7461651" y="3222386"/>
            <a:ext cx="274320" cy="27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GB" sz="1000" b="1">
                <a:latin typeface="Open Sans Regular"/>
                <a:ea typeface="Open Sans Regular"/>
                <a:cs typeface="Open Sans Regular"/>
              </a:rPr>
              <a:t>D</a:t>
            </a:r>
          </a:p>
        </p:txBody>
      </p:sp>
      <p:sp>
        <p:nvSpPr>
          <p:cNvPr id="81" name="Freeform 880">
            <a:extLst>
              <a:ext uri="{FF2B5EF4-FFF2-40B4-BE49-F238E27FC236}">
                <a16:creationId xmlns:a16="http://schemas.microsoft.com/office/drawing/2014/main" id="{D028D900-C6B9-21BF-860E-97622FFD083D}"/>
              </a:ext>
            </a:extLst>
          </p:cNvPr>
          <p:cNvSpPr>
            <a:spLocks noEditPoints="1"/>
          </p:cNvSpPr>
          <p:nvPr/>
        </p:nvSpPr>
        <p:spPr bwMode="auto">
          <a:xfrm>
            <a:off x="8739562" y="2567982"/>
            <a:ext cx="274320" cy="27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GB" sz="1000" b="1">
                <a:latin typeface="Open Sans Regular"/>
                <a:ea typeface="Open Sans Regular"/>
                <a:cs typeface="Open Sans Regular"/>
              </a:rPr>
              <a:t>A</a:t>
            </a:r>
          </a:p>
        </p:txBody>
      </p:sp>
      <p:sp>
        <p:nvSpPr>
          <p:cNvPr id="83" name="Freeform 880">
            <a:extLst>
              <a:ext uri="{FF2B5EF4-FFF2-40B4-BE49-F238E27FC236}">
                <a16:creationId xmlns:a16="http://schemas.microsoft.com/office/drawing/2014/main" id="{43BC834B-6EE5-CC6F-A679-A1A5329C4FE3}"/>
              </a:ext>
            </a:extLst>
          </p:cNvPr>
          <p:cNvSpPr>
            <a:spLocks noEditPoints="1"/>
          </p:cNvSpPr>
          <p:nvPr/>
        </p:nvSpPr>
        <p:spPr bwMode="auto">
          <a:xfrm>
            <a:off x="8739561" y="3222386"/>
            <a:ext cx="274320" cy="27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GB" sz="1000" b="1">
                <a:latin typeface="Open Sans Regular"/>
                <a:ea typeface="Open Sans Regular"/>
                <a:cs typeface="Open Sans Regular"/>
              </a:rPr>
              <a:t>C</a:t>
            </a:r>
          </a:p>
        </p:txBody>
      </p:sp>
      <p:sp>
        <p:nvSpPr>
          <p:cNvPr id="85" name="TextBox 84">
            <a:extLst>
              <a:ext uri="{FF2B5EF4-FFF2-40B4-BE49-F238E27FC236}">
                <a16:creationId xmlns:a16="http://schemas.microsoft.com/office/drawing/2014/main" id="{0156DEE6-8278-1FF4-E735-D57DCC1F5373}"/>
              </a:ext>
            </a:extLst>
          </p:cNvPr>
          <p:cNvSpPr txBox="1"/>
          <p:nvPr/>
        </p:nvSpPr>
        <p:spPr>
          <a:xfrm>
            <a:off x="5582164" y="2187043"/>
            <a:ext cx="2215671" cy="246221"/>
          </a:xfrm>
          <a:prstGeom prst="rect">
            <a:avLst/>
          </a:prstGeom>
          <a:noFill/>
        </p:spPr>
        <p:txBody>
          <a:bodyPr wrap="none" rtlCol="0">
            <a:spAutoFit/>
          </a:bodyPr>
          <a:lstStyle/>
          <a:p>
            <a:r>
              <a:rPr lang="en-GB" sz="1000" b="1">
                <a:latin typeface="Open Sans Regular"/>
                <a:ea typeface="Open Sans Regular"/>
                <a:cs typeface="Open Sans Regular"/>
              </a:rPr>
              <a:t>KPI relevance &amp; complexity matrix</a:t>
            </a:r>
          </a:p>
        </p:txBody>
      </p:sp>
      <p:sp>
        <p:nvSpPr>
          <p:cNvPr id="87" name="Oval 86">
            <a:extLst>
              <a:ext uri="{FF2B5EF4-FFF2-40B4-BE49-F238E27FC236}">
                <a16:creationId xmlns:a16="http://schemas.microsoft.com/office/drawing/2014/main" id="{193FF57A-3345-154F-BE10-02829C8DD248}"/>
              </a:ext>
            </a:extLst>
          </p:cNvPr>
          <p:cNvSpPr/>
          <p:nvPr/>
        </p:nvSpPr>
        <p:spPr>
          <a:xfrm>
            <a:off x="9514719" y="2672772"/>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Open Sans Regular"/>
              <a:ea typeface="Open Sans Regular"/>
              <a:cs typeface="Open Sans Regular"/>
            </a:endParaRPr>
          </a:p>
        </p:txBody>
      </p:sp>
      <p:sp>
        <p:nvSpPr>
          <p:cNvPr id="89" name="Oval 88">
            <a:extLst>
              <a:ext uri="{FF2B5EF4-FFF2-40B4-BE49-F238E27FC236}">
                <a16:creationId xmlns:a16="http://schemas.microsoft.com/office/drawing/2014/main" id="{81886DFE-CCD4-DB0E-F383-11BF34FA091B}"/>
              </a:ext>
            </a:extLst>
          </p:cNvPr>
          <p:cNvSpPr/>
          <p:nvPr/>
        </p:nvSpPr>
        <p:spPr>
          <a:xfrm>
            <a:off x="9338654" y="3237962"/>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Open Sans Regular"/>
              <a:ea typeface="Open Sans Regular"/>
              <a:cs typeface="Open Sans Regular"/>
            </a:endParaRPr>
          </a:p>
        </p:txBody>
      </p:sp>
      <p:sp>
        <p:nvSpPr>
          <p:cNvPr id="91" name="Oval 90">
            <a:extLst>
              <a:ext uri="{FF2B5EF4-FFF2-40B4-BE49-F238E27FC236}">
                <a16:creationId xmlns:a16="http://schemas.microsoft.com/office/drawing/2014/main" id="{EE90DFFE-B310-BD88-2F17-AB9A40C59829}"/>
              </a:ext>
            </a:extLst>
          </p:cNvPr>
          <p:cNvSpPr/>
          <p:nvPr/>
        </p:nvSpPr>
        <p:spPr>
          <a:xfrm>
            <a:off x="8185957" y="3593723"/>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Open Sans Regular"/>
              <a:ea typeface="Open Sans Regular"/>
              <a:cs typeface="Open Sans Regular"/>
            </a:endParaRPr>
          </a:p>
        </p:txBody>
      </p:sp>
      <p:sp>
        <p:nvSpPr>
          <p:cNvPr id="93" name="Oval 92">
            <a:extLst>
              <a:ext uri="{FF2B5EF4-FFF2-40B4-BE49-F238E27FC236}">
                <a16:creationId xmlns:a16="http://schemas.microsoft.com/office/drawing/2014/main" id="{D0207C28-E8C4-52AD-3963-797A87B50994}"/>
              </a:ext>
            </a:extLst>
          </p:cNvPr>
          <p:cNvSpPr/>
          <p:nvPr/>
        </p:nvSpPr>
        <p:spPr>
          <a:xfrm>
            <a:off x="8730133" y="2932614"/>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Open Sans Regular"/>
              <a:ea typeface="Open Sans Regular"/>
              <a:cs typeface="Open Sans Regular"/>
            </a:endParaRPr>
          </a:p>
        </p:txBody>
      </p:sp>
      <p:sp>
        <p:nvSpPr>
          <p:cNvPr id="95" name="Rectangle 94">
            <a:extLst>
              <a:ext uri="{FF2B5EF4-FFF2-40B4-BE49-F238E27FC236}">
                <a16:creationId xmlns:a16="http://schemas.microsoft.com/office/drawing/2014/main" id="{AE8AC754-F5C6-FC83-76AD-BCD4231022B4}"/>
              </a:ext>
            </a:extLst>
          </p:cNvPr>
          <p:cNvSpPr/>
          <p:nvPr/>
        </p:nvSpPr>
        <p:spPr bwMode="gray">
          <a:xfrm>
            <a:off x="5043112" y="5917661"/>
            <a:ext cx="2926080" cy="446192"/>
          </a:xfrm>
          <a:prstGeom prst="rect">
            <a:avLst/>
          </a:prstGeom>
          <a:noFill/>
          <a:ln w="19050" algn="ctr">
            <a:noFill/>
            <a:miter lim="800000"/>
            <a:headEnd/>
            <a:tailEnd/>
          </a:ln>
        </p:spPr>
        <p:txBody>
          <a:bodyPr wrap="square" lIns="88900" tIns="88900" rIns="88900" bIns="88900" rtlCol="0" anchor="ctr"/>
          <a:lstStyle/>
          <a:p>
            <a:pPr>
              <a:lnSpc>
                <a:spcPct val="106000"/>
              </a:lnSpc>
              <a:spcAft>
                <a:spcPts val="1200"/>
              </a:spcAft>
              <a:buFont typeface="Wingdings 2" pitchFamily="18" charset="2"/>
              <a:buNone/>
            </a:pPr>
            <a:r>
              <a:rPr lang="en-GB" sz="1000" b="1">
                <a:latin typeface="Open Sans Regular"/>
                <a:ea typeface="Open Sans Regular"/>
                <a:cs typeface="Open Sans Regular"/>
              </a:rPr>
              <a:t>High relevance – high complexity</a:t>
            </a:r>
            <a:r>
              <a:rPr lang="en-GB" sz="1000">
                <a:latin typeface="Open Sans Regular"/>
                <a:ea typeface="Open Sans Regular"/>
                <a:cs typeface="Open Sans Regular"/>
              </a:rPr>
              <a:t>: related reports to be de-prioritized for implementation (2022 Q3)</a:t>
            </a:r>
          </a:p>
        </p:txBody>
      </p:sp>
      <p:sp>
        <p:nvSpPr>
          <p:cNvPr id="97" name="Rectangle 96">
            <a:extLst>
              <a:ext uri="{FF2B5EF4-FFF2-40B4-BE49-F238E27FC236}">
                <a16:creationId xmlns:a16="http://schemas.microsoft.com/office/drawing/2014/main" id="{9B30CB9D-67FF-6C3D-2370-B293F282580A}"/>
              </a:ext>
            </a:extLst>
          </p:cNvPr>
          <p:cNvSpPr/>
          <p:nvPr/>
        </p:nvSpPr>
        <p:spPr bwMode="gray">
          <a:xfrm>
            <a:off x="8567443" y="5212903"/>
            <a:ext cx="2926080" cy="446192"/>
          </a:xfrm>
          <a:prstGeom prst="rect">
            <a:avLst/>
          </a:prstGeom>
          <a:noFill/>
          <a:ln w="19050" algn="ctr">
            <a:noFill/>
            <a:miter lim="800000"/>
            <a:headEnd/>
            <a:tailEnd/>
          </a:ln>
        </p:spPr>
        <p:txBody>
          <a:bodyPr wrap="square" lIns="88900" tIns="88900" rIns="88900" bIns="88900" rtlCol="0" anchor="ctr"/>
          <a:lstStyle/>
          <a:p>
            <a:pPr>
              <a:lnSpc>
                <a:spcPct val="106000"/>
              </a:lnSpc>
              <a:spcAft>
                <a:spcPts val="1200"/>
              </a:spcAft>
              <a:buFont typeface="Wingdings 2" pitchFamily="18" charset="2"/>
              <a:buNone/>
            </a:pPr>
            <a:r>
              <a:rPr lang="en-GB" sz="1000" b="1">
                <a:latin typeface="Open Sans Regular"/>
                <a:ea typeface="Open Sans Regular"/>
                <a:cs typeface="Open Sans Regular"/>
              </a:rPr>
              <a:t>High relevance – low complexity</a:t>
            </a:r>
            <a:r>
              <a:rPr lang="en-GB" sz="1000">
                <a:latin typeface="Open Sans Regular"/>
                <a:ea typeface="Open Sans Regular"/>
                <a:cs typeface="Open Sans Regular"/>
              </a:rPr>
              <a:t>: related reports to be de-prioritized for implementation (2022 Q3)</a:t>
            </a:r>
          </a:p>
        </p:txBody>
      </p:sp>
      <p:sp>
        <p:nvSpPr>
          <p:cNvPr id="99" name="Freeform 880">
            <a:extLst>
              <a:ext uri="{FF2B5EF4-FFF2-40B4-BE49-F238E27FC236}">
                <a16:creationId xmlns:a16="http://schemas.microsoft.com/office/drawing/2014/main" id="{E0707588-7832-3FE1-2E12-440781115EE3}"/>
              </a:ext>
            </a:extLst>
          </p:cNvPr>
          <p:cNvSpPr>
            <a:spLocks noEditPoints="1"/>
          </p:cNvSpPr>
          <p:nvPr/>
        </p:nvSpPr>
        <p:spPr bwMode="auto">
          <a:xfrm>
            <a:off x="4766460" y="5857192"/>
            <a:ext cx="274320" cy="27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GB" sz="1000" b="1">
                <a:latin typeface="Open Sans Regular"/>
                <a:ea typeface="Open Sans Regular"/>
                <a:cs typeface="Open Sans Regular"/>
              </a:rPr>
              <a:t>B</a:t>
            </a:r>
          </a:p>
        </p:txBody>
      </p:sp>
      <p:sp>
        <p:nvSpPr>
          <p:cNvPr id="101" name="Freeform 880">
            <a:extLst>
              <a:ext uri="{FF2B5EF4-FFF2-40B4-BE49-F238E27FC236}">
                <a16:creationId xmlns:a16="http://schemas.microsoft.com/office/drawing/2014/main" id="{E8B8C722-AB1E-5D39-ADFC-E00DC34C30B0}"/>
              </a:ext>
            </a:extLst>
          </p:cNvPr>
          <p:cNvSpPr>
            <a:spLocks noEditPoints="1"/>
          </p:cNvSpPr>
          <p:nvPr/>
        </p:nvSpPr>
        <p:spPr bwMode="auto">
          <a:xfrm>
            <a:off x="8319541" y="5197515"/>
            <a:ext cx="274320" cy="27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GB" sz="1000" b="1">
                <a:latin typeface="Open Sans Regular"/>
                <a:ea typeface="Open Sans Regular"/>
                <a:cs typeface="Open Sans Regular"/>
              </a:rPr>
              <a:t>C</a:t>
            </a:r>
          </a:p>
        </p:txBody>
      </p:sp>
      <p:sp>
        <p:nvSpPr>
          <p:cNvPr id="103" name="Freeform 880">
            <a:extLst>
              <a:ext uri="{FF2B5EF4-FFF2-40B4-BE49-F238E27FC236}">
                <a16:creationId xmlns:a16="http://schemas.microsoft.com/office/drawing/2014/main" id="{8BC4A397-6D00-E992-0CB1-7B94EABCD3BB}"/>
              </a:ext>
            </a:extLst>
          </p:cNvPr>
          <p:cNvSpPr>
            <a:spLocks noEditPoints="1"/>
          </p:cNvSpPr>
          <p:nvPr/>
        </p:nvSpPr>
        <p:spPr bwMode="auto">
          <a:xfrm>
            <a:off x="8319541" y="5850767"/>
            <a:ext cx="274320" cy="27618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GB" sz="1000" b="1">
                <a:latin typeface="Open Sans Regular"/>
                <a:ea typeface="Open Sans Regular"/>
                <a:cs typeface="Open Sans Regular"/>
              </a:rPr>
              <a:t>D</a:t>
            </a:r>
          </a:p>
        </p:txBody>
      </p:sp>
      <p:sp>
        <p:nvSpPr>
          <p:cNvPr id="105" name="Rectangle 104">
            <a:extLst>
              <a:ext uri="{FF2B5EF4-FFF2-40B4-BE49-F238E27FC236}">
                <a16:creationId xmlns:a16="http://schemas.microsoft.com/office/drawing/2014/main" id="{064C9C3E-12ED-B557-015D-7E95C1A38DB4}"/>
              </a:ext>
            </a:extLst>
          </p:cNvPr>
          <p:cNvSpPr/>
          <p:nvPr/>
        </p:nvSpPr>
        <p:spPr bwMode="gray">
          <a:xfrm>
            <a:off x="8567443" y="5864918"/>
            <a:ext cx="2926080" cy="446192"/>
          </a:xfrm>
          <a:prstGeom prst="rect">
            <a:avLst/>
          </a:prstGeom>
          <a:noFill/>
          <a:ln w="19050" algn="ctr">
            <a:noFill/>
            <a:miter lim="800000"/>
            <a:headEnd/>
            <a:tailEnd/>
          </a:ln>
        </p:spPr>
        <p:txBody>
          <a:bodyPr wrap="square" lIns="88900" tIns="88900" rIns="88900" bIns="88900" rtlCol="0" anchor="ctr"/>
          <a:lstStyle/>
          <a:p>
            <a:pPr>
              <a:lnSpc>
                <a:spcPct val="106000"/>
              </a:lnSpc>
              <a:spcAft>
                <a:spcPts val="1200"/>
              </a:spcAft>
              <a:buFont typeface="Wingdings 2" pitchFamily="18" charset="2"/>
              <a:buNone/>
            </a:pPr>
            <a:r>
              <a:rPr lang="en-GB" sz="1000" b="1">
                <a:latin typeface="Open Sans Regular"/>
                <a:ea typeface="Open Sans Regular"/>
                <a:cs typeface="Open Sans Regular"/>
              </a:rPr>
              <a:t>High relevance – low complexity</a:t>
            </a:r>
            <a:r>
              <a:rPr lang="en-GB" sz="1000">
                <a:latin typeface="Open Sans Regular"/>
                <a:ea typeface="Open Sans Regular"/>
                <a:cs typeface="Open Sans Regular"/>
              </a:rPr>
              <a:t>: related reports to be de-prioritized for implementation (2022 Q4)</a:t>
            </a:r>
          </a:p>
        </p:txBody>
      </p:sp>
      <p:sp>
        <p:nvSpPr>
          <p:cNvPr id="106" name="TextBox 105">
            <a:extLst>
              <a:ext uri="{FF2B5EF4-FFF2-40B4-BE49-F238E27FC236}">
                <a16:creationId xmlns:a16="http://schemas.microsoft.com/office/drawing/2014/main" id="{B046F350-F8DF-6BD1-CEDF-EB08EC4EA175}"/>
              </a:ext>
            </a:extLst>
          </p:cNvPr>
          <p:cNvSpPr txBox="1"/>
          <p:nvPr/>
        </p:nvSpPr>
        <p:spPr>
          <a:xfrm>
            <a:off x="4012532" y="1937084"/>
            <a:ext cx="7696199"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buFont typeface="Arial"/>
            </a:pPr>
            <a:r>
              <a:rPr lang="en-GB" sz="1000" b="1">
                <a:latin typeface="Open Sans Regular"/>
                <a:ea typeface="Open Sans Regular"/>
                <a:cs typeface="Open Sans Regular"/>
              </a:rPr>
              <a:t>The KPI relevance &amp; complexity matrix outlines the list of performance metrics which can be shortlisted for PowerBI dashboard delivery:</a:t>
            </a:r>
            <a:endParaRPr lang="en-US" sz="1000">
              <a:latin typeface="Open Sans Regular"/>
              <a:ea typeface="Open Sans Regular"/>
              <a:cs typeface="Open Sans Regular"/>
            </a:endParaRPr>
          </a:p>
        </p:txBody>
      </p:sp>
    </p:spTree>
    <p:extLst>
      <p:ext uri="{BB962C8B-B14F-4D97-AF65-F5344CB8AC3E}">
        <p14:creationId xmlns:p14="http://schemas.microsoft.com/office/powerpoint/2010/main" val="1508658164"/>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1" y="2997200"/>
            <a:ext cx="7477761" cy="863600"/>
            <a:chOff x="-1" y="2997200"/>
            <a:chExt cx="7477761" cy="863600"/>
          </a:xfrm>
          <a:solidFill>
            <a:srgbClr val="62B5E5"/>
          </a:solidFill>
          <a:effectLst>
            <a:outerShdw blurRad="50800" dist="38100" dir="5400000" algn="t" rotWithShape="0">
              <a:prstClr val="black">
                <a:alpha val="40000"/>
              </a:prstClr>
            </a:outerShdw>
          </a:effectLst>
        </p:grpSpPr>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a:extLst>
                <a:ext uri="{FF2B5EF4-FFF2-40B4-BE49-F238E27FC236}">
                  <a16:creationId xmlns:a16="http://schemas.microsoft.com/office/drawing/2014/main" id="{3D401599-9D06-8EE4-4868-D91498BE40B4}"/>
                </a:ext>
              </a:extLst>
            </p:cNvPr>
            <p:cNvSpPr/>
            <p:nvPr/>
          </p:nvSpPr>
          <p:spPr bwMode="gray">
            <a:xfrm>
              <a:off x="-1" y="2997200"/>
              <a:ext cx="7182853"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9 </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ment of innovation strategies</a:t>
              </a:r>
              <a:endPar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82015310"/>
      </p:ext>
    </p:extLst>
  </p:cSld>
  <p:clrMapOvr>
    <a:masterClrMapping/>
  </p:clrMapOvr>
  <p:extLst>
    <p:ext uri="{6950BFC3-D8DA-4A85-94F7-54DA5524770B}">
      <p188:commentRel xmlns:p188="http://schemas.microsoft.com/office/powerpoint/2018/8/main" r:id="rId3"/>
    </p:ext>
  </p:extLs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8" name="Rectangle 7"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6" name="Text Placeholder 4"/>
          <p:cNvSpPr>
            <a:spLocks noGrp="1"/>
          </p:cNvSpPr>
          <p:nvPr>
            <p:ph type="body" sz="quarter" idx="22"/>
          </p:nvPr>
        </p:nvSpPr>
        <p:spPr/>
        <p:txBody>
          <a:bodyPr/>
          <a:lstStyle/>
          <a:p>
            <a:r>
              <a:rPr lang="en-US" dirty="0"/>
              <a:t>Innovation transformation should be implemented along three pillars in order to have organizational and operational conditions in place by the roll-out</a:t>
            </a:r>
          </a:p>
        </p:txBody>
      </p:sp>
      <p:sp>
        <p:nvSpPr>
          <p:cNvPr id="7" name="Title 3"/>
          <p:cNvSpPr>
            <a:spLocks noGrp="1"/>
          </p:cNvSpPr>
          <p:nvPr>
            <p:ph type="title"/>
          </p:nvPr>
        </p:nvSpPr>
        <p:spPr>
          <a:xfrm>
            <a:off x="463294" y="417911"/>
            <a:ext cx="12868241" cy="334099"/>
          </a:xfrm>
        </p:spPr>
        <p:txBody>
          <a:bodyPr vert="horz"/>
          <a:lstStyle/>
          <a:p>
            <a:r>
              <a:rPr lang="en-US" dirty="0"/>
              <a:t>The cornerstones of the innovation</a:t>
            </a:r>
          </a:p>
        </p:txBody>
      </p:sp>
      <p:grpSp>
        <p:nvGrpSpPr>
          <p:cNvPr id="47" name="Group 46">
            <a:extLst>
              <a:ext uri="{FF2B5EF4-FFF2-40B4-BE49-F238E27FC236}">
                <a16:creationId xmlns:a16="http://schemas.microsoft.com/office/drawing/2014/main" id="{5BD72106-B97C-3538-ABC6-8670CF581E30}"/>
              </a:ext>
            </a:extLst>
          </p:cNvPr>
          <p:cNvGrpSpPr/>
          <p:nvPr/>
        </p:nvGrpSpPr>
        <p:grpSpPr>
          <a:xfrm>
            <a:off x="7162542" y="4328283"/>
            <a:ext cx="3060947" cy="2154240"/>
            <a:chOff x="5022491" y="2485614"/>
            <a:chExt cx="3377722" cy="3053741"/>
          </a:xfrm>
        </p:grpSpPr>
        <p:sp>
          <p:nvSpPr>
            <p:cNvPr id="10" name="Freeform 130">
              <a:extLst>
                <a:ext uri="{FF2B5EF4-FFF2-40B4-BE49-F238E27FC236}">
                  <a16:creationId xmlns:a16="http://schemas.microsoft.com/office/drawing/2014/main" id="{18251FC0-F5FF-4C3C-89CC-B63A83765DB0}"/>
                </a:ext>
              </a:extLst>
            </p:cNvPr>
            <p:cNvSpPr>
              <a:spLocks/>
            </p:cNvSpPr>
            <p:nvPr/>
          </p:nvSpPr>
          <p:spPr bwMode="auto">
            <a:xfrm>
              <a:off x="6375455" y="2485614"/>
              <a:ext cx="1069994" cy="2940366"/>
            </a:xfrm>
            <a:custGeom>
              <a:avLst/>
              <a:gdLst/>
              <a:ahLst/>
              <a:cxnLst>
                <a:cxn ang="0">
                  <a:pos x="74" y="0"/>
                </a:cxn>
                <a:cxn ang="0">
                  <a:pos x="0" y="19"/>
                </a:cxn>
                <a:cxn ang="0">
                  <a:pos x="181" y="451"/>
                </a:cxn>
                <a:cxn ang="0">
                  <a:pos x="0" y="884"/>
                </a:cxn>
                <a:cxn ang="0">
                  <a:pos x="74" y="903"/>
                </a:cxn>
                <a:cxn ang="0">
                  <a:pos x="328" y="451"/>
                </a:cxn>
                <a:cxn ang="0">
                  <a:pos x="74" y="0"/>
                </a:cxn>
              </a:cxnLst>
              <a:rect l="0" t="0" r="r" b="b"/>
              <a:pathLst>
                <a:path w="328" h="903">
                  <a:moveTo>
                    <a:pt x="74" y="0"/>
                  </a:moveTo>
                  <a:cubicBezTo>
                    <a:pt x="48" y="0"/>
                    <a:pt x="23" y="7"/>
                    <a:pt x="0" y="19"/>
                  </a:cubicBezTo>
                  <a:cubicBezTo>
                    <a:pt x="105" y="75"/>
                    <a:pt x="181" y="248"/>
                    <a:pt x="181" y="451"/>
                  </a:cubicBezTo>
                  <a:cubicBezTo>
                    <a:pt x="181" y="655"/>
                    <a:pt x="105" y="827"/>
                    <a:pt x="0" y="884"/>
                  </a:cubicBezTo>
                  <a:cubicBezTo>
                    <a:pt x="23" y="896"/>
                    <a:pt x="48" y="903"/>
                    <a:pt x="74" y="903"/>
                  </a:cubicBezTo>
                  <a:cubicBezTo>
                    <a:pt x="214" y="903"/>
                    <a:pt x="328" y="701"/>
                    <a:pt x="328" y="451"/>
                  </a:cubicBezTo>
                  <a:cubicBezTo>
                    <a:pt x="328" y="202"/>
                    <a:pt x="214" y="0"/>
                    <a:pt x="74" y="0"/>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grpSp>
          <p:nvGrpSpPr>
            <p:cNvPr id="46" name="Group 45">
              <a:extLst>
                <a:ext uri="{FF2B5EF4-FFF2-40B4-BE49-F238E27FC236}">
                  <a16:creationId xmlns:a16="http://schemas.microsoft.com/office/drawing/2014/main" id="{D1F0434B-8D2C-FFCC-8CF6-8ED0BC662358}"/>
                </a:ext>
              </a:extLst>
            </p:cNvPr>
            <p:cNvGrpSpPr/>
            <p:nvPr/>
          </p:nvGrpSpPr>
          <p:grpSpPr>
            <a:xfrm>
              <a:off x="5022491" y="2485614"/>
              <a:ext cx="3377722" cy="3053741"/>
              <a:chOff x="5022491" y="2485614"/>
              <a:chExt cx="3377722" cy="3053741"/>
            </a:xfrm>
          </p:grpSpPr>
          <p:sp>
            <p:nvSpPr>
              <p:cNvPr id="9" name="Freeform 129">
                <a:extLst>
                  <a:ext uri="{FF2B5EF4-FFF2-40B4-BE49-F238E27FC236}">
                    <a16:creationId xmlns:a16="http://schemas.microsoft.com/office/drawing/2014/main" id="{EE5DE170-2AE0-44FF-81CC-9F9A005D24BB}"/>
                  </a:ext>
                </a:extLst>
              </p:cNvPr>
              <p:cNvSpPr>
                <a:spLocks/>
              </p:cNvSpPr>
              <p:nvPr/>
            </p:nvSpPr>
            <p:spPr bwMode="auto">
              <a:xfrm>
                <a:off x="5388880" y="3723184"/>
                <a:ext cx="2726903" cy="1770542"/>
              </a:xfrm>
              <a:custGeom>
                <a:avLst/>
                <a:gdLst/>
                <a:ahLst/>
                <a:cxnLst>
                  <a:cxn ang="0">
                    <a:pos x="833" y="282"/>
                  </a:cxn>
                  <a:cxn ang="0">
                    <a:pos x="382" y="311"/>
                  </a:cxn>
                  <a:cxn ang="0">
                    <a:pos x="138" y="0"/>
                  </a:cxn>
                  <a:cxn ang="0">
                    <a:pos x="1" y="81"/>
                  </a:cxn>
                  <a:cxn ang="0">
                    <a:pos x="331" y="456"/>
                  </a:cxn>
                  <a:cxn ang="0">
                    <a:pos x="825" y="361"/>
                  </a:cxn>
                  <a:cxn ang="0">
                    <a:pos x="833" y="282"/>
                  </a:cxn>
                </a:cxnLst>
                <a:rect l="0" t="0" r="r" b="b"/>
                <a:pathLst>
                  <a:path w="836" h="542">
                    <a:moveTo>
                      <a:pt x="833" y="282"/>
                    </a:moveTo>
                    <a:cubicBezTo>
                      <a:pt x="746" y="366"/>
                      <a:pt x="570" y="366"/>
                      <a:pt x="382" y="311"/>
                    </a:cubicBezTo>
                    <a:cubicBezTo>
                      <a:pt x="216" y="263"/>
                      <a:pt x="144" y="103"/>
                      <a:pt x="138" y="0"/>
                    </a:cubicBezTo>
                    <a:cubicBezTo>
                      <a:pt x="119" y="19"/>
                      <a:pt x="0" y="54"/>
                      <a:pt x="1" y="81"/>
                    </a:cubicBezTo>
                    <a:cubicBezTo>
                      <a:pt x="2" y="138"/>
                      <a:pt x="107" y="371"/>
                      <a:pt x="331" y="456"/>
                    </a:cubicBezTo>
                    <a:cubicBezTo>
                      <a:pt x="556" y="542"/>
                      <a:pt x="777" y="499"/>
                      <a:pt x="825" y="361"/>
                    </a:cubicBezTo>
                    <a:cubicBezTo>
                      <a:pt x="834" y="336"/>
                      <a:pt x="836" y="309"/>
                      <a:pt x="833" y="282"/>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11" name="Freeform 131">
                <a:extLst>
                  <a:ext uri="{FF2B5EF4-FFF2-40B4-BE49-F238E27FC236}">
                    <a16:creationId xmlns:a16="http://schemas.microsoft.com/office/drawing/2014/main" id="{91606FAD-817F-4C3D-AB33-D163C208C3D7}"/>
                  </a:ext>
                </a:extLst>
              </p:cNvPr>
              <p:cNvSpPr>
                <a:spLocks/>
              </p:cNvSpPr>
              <p:nvPr/>
            </p:nvSpPr>
            <p:spPr bwMode="auto">
              <a:xfrm>
                <a:off x="5022491" y="2912668"/>
                <a:ext cx="2794624" cy="1960244"/>
              </a:xfrm>
              <a:custGeom>
                <a:avLst/>
                <a:gdLst/>
                <a:ahLst/>
                <a:cxnLst>
                  <a:cxn ang="0">
                    <a:pos x="60" y="541"/>
                  </a:cxn>
                  <a:cxn ang="0">
                    <a:pos x="109" y="602"/>
                  </a:cxn>
                  <a:cxn ang="0">
                    <a:pos x="405" y="246"/>
                  </a:cxn>
                  <a:cxn ang="0">
                    <a:pos x="857" y="231"/>
                  </a:cxn>
                  <a:cxn ang="0">
                    <a:pos x="842" y="153"/>
                  </a:cxn>
                  <a:cxn ang="0">
                    <a:pos x="342" y="107"/>
                  </a:cxn>
                  <a:cxn ang="0">
                    <a:pos x="60" y="541"/>
                  </a:cxn>
                </a:cxnLst>
                <a:rect l="0" t="0" r="r" b="b"/>
                <a:pathLst>
                  <a:path w="858" h="602">
                    <a:moveTo>
                      <a:pt x="60" y="541"/>
                    </a:moveTo>
                    <a:cubicBezTo>
                      <a:pt x="71" y="565"/>
                      <a:pt x="88" y="586"/>
                      <a:pt x="109" y="602"/>
                    </a:cubicBezTo>
                    <a:cubicBezTo>
                      <a:pt x="112" y="480"/>
                      <a:pt x="229" y="334"/>
                      <a:pt x="405" y="246"/>
                    </a:cubicBezTo>
                    <a:cubicBezTo>
                      <a:pt x="581" y="159"/>
                      <a:pt x="763" y="156"/>
                      <a:pt x="857" y="231"/>
                    </a:cubicBezTo>
                    <a:cubicBezTo>
                      <a:pt x="858" y="203"/>
                      <a:pt x="853" y="177"/>
                      <a:pt x="842" y="153"/>
                    </a:cubicBezTo>
                    <a:cubicBezTo>
                      <a:pt x="781" y="20"/>
                      <a:pt x="557" y="0"/>
                      <a:pt x="342" y="107"/>
                    </a:cubicBezTo>
                    <a:cubicBezTo>
                      <a:pt x="126" y="214"/>
                      <a:pt x="0" y="408"/>
                      <a:pt x="60" y="541"/>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12" name="Freeform 132">
                <a:extLst>
                  <a:ext uri="{FF2B5EF4-FFF2-40B4-BE49-F238E27FC236}">
                    <a16:creationId xmlns:a16="http://schemas.microsoft.com/office/drawing/2014/main" id="{6B0A23ED-816B-44C3-8525-459E475813A2}"/>
                  </a:ext>
                </a:extLst>
              </p:cNvPr>
              <p:cNvSpPr>
                <a:spLocks/>
              </p:cNvSpPr>
              <p:nvPr/>
            </p:nvSpPr>
            <p:spPr bwMode="auto">
              <a:xfrm>
                <a:off x="5178587" y="4396631"/>
                <a:ext cx="2483107" cy="1142724"/>
              </a:xfrm>
              <a:custGeom>
                <a:avLst/>
                <a:gdLst/>
                <a:ahLst/>
                <a:cxnLst>
                  <a:cxn ang="0">
                    <a:pos x="762" y="0"/>
                  </a:cxn>
                  <a:cxn ang="0">
                    <a:pos x="546" y="12"/>
                  </a:cxn>
                  <a:cxn ang="0">
                    <a:pos x="582" y="58"/>
                  </a:cxn>
                  <a:cxn ang="0">
                    <a:pos x="501" y="105"/>
                  </a:cxn>
                  <a:cxn ang="0">
                    <a:pos x="49" y="120"/>
                  </a:cxn>
                  <a:cxn ang="0">
                    <a:pos x="0" y="57"/>
                  </a:cxn>
                  <a:cxn ang="0">
                    <a:pos x="64" y="198"/>
                  </a:cxn>
                  <a:cxn ang="0">
                    <a:pos x="564" y="244"/>
                  </a:cxn>
                  <a:cxn ang="0">
                    <a:pos x="675" y="176"/>
                  </a:cxn>
                  <a:cxn ang="0">
                    <a:pos x="709" y="220"/>
                  </a:cxn>
                  <a:cxn ang="0">
                    <a:pos x="762" y="0"/>
                  </a:cxn>
                </a:cxnLst>
                <a:rect l="0" t="0" r="r" b="b"/>
                <a:pathLst>
                  <a:path w="762" h="351">
                    <a:moveTo>
                      <a:pt x="762" y="0"/>
                    </a:moveTo>
                    <a:cubicBezTo>
                      <a:pt x="546" y="12"/>
                      <a:pt x="546" y="12"/>
                      <a:pt x="546" y="12"/>
                    </a:cubicBezTo>
                    <a:cubicBezTo>
                      <a:pt x="582" y="58"/>
                      <a:pt x="582" y="58"/>
                      <a:pt x="582" y="58"/>
                    </a:cubicBezTo>
                    <a:cubicBezTo>
                      <a:pt x="556" y="75"/>
                      <a:pt x="529" y="91"/>
                      <a:pt x="501" y="105"/>
                    </a:cubicBezTo>
                    <a:cubicBezTo>
                      <a:pt x="324" y="192"/>
                      <a:pt x="142" y="195"/>
                      <a:pt x="49" y="120"/>
                    </a:cubicBezTo>
                    <a:cubicBezTo>
                      <a:pt x="13" y="87"/>
                      <a:pt x="0" y="57"/>
                      <a:pt x="0" y="57"/>
                    </a:cubicBezTo>
                    <a:cubicBezTo>
                      <a:pt x="0" y="57"/>
                      <a:pt x="57" y="184"/>
                      <a:pt x="64" y="198"/>
                    </a:cubicBezTo>
                    <a:cubicBezTo>
                      <a:pt x="124" y="331"/>
                      <a:pt x="348" y="351"/>
                      <a:pt x="564" y="244"/>
                    </a:cubicBezTo>
                    <a:cubicBezTo>
                      <a:pt x="604" y="224"/>
                      <a:pt x="641" y="201"/>
                      <a:pt x="675" y="176"/>
                    </a:cubicBezTo>
                    <a:cubicBezTo>
                      <a:pt x="709" y="220"/>
                      <a:pt x="709" y="220"/>
                      <a:pt x="709" y="220"/>
                    </a:cubicBezTo>
                    <a:lnTo>
                      <a:pt x="762" y="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13" name="Freeform 133">
                <a:extLst>
                  <a:ext uri="{FF2B5EF4-FFF2-40B4-BE49-F238E27FC236}">
                    <a16:creationId xmlns:a16="http://schemas.microsoft.com/office/drawing/2014/main" id="{F595D447-2F21-4F90-90A6-6E6FF6FEA257}"/>
                  </a:ext>
                </a:extLst>
              </p:cNvPr>
              <p:cNvSpPr>
                <a:spLocks/>
              </p:cNvSpPr>
              <p:nvPr/>
            </p:nvSpPr>
            <p:spPr bwMode="auto">
              <a:xfrm>
                <a:off x="6210564" y="2815331"/>
                <a:ext cx="2189649" cy="2091228"/>
              </a:xfrm>
              <a:custGeom>
                <a:avLst/>
                <a:gdLst/>
                <a:ahLst/>
                <a:cxnLst>
                  <a:cxn ang="0">
                    <a:pos x="305" y="91"/>
                  </a:cxn>
                  <a:cxn ang="0">
                    <a:pos x="181" y="57"/>
                  </a:cxn>
                  <a:cxn ang="0">
                    <a:pos x="187" y="0"/>
                  </a:cxn>
                  <a:cxn ang="0">
                    <a:pos x="0" y="114"/>
                  </a:cxn>
                  <a:cxn ang="0">
                    <a:pos x="160" y="267"/>
                  </a:cxn>
                  <a:cxn ang="0">
                    <a:pos x="166" y="209"/>
                  </a:cxn>
                  <a:cxn ang="0">
                    <a:pos x="255" y="236"/>
                  </a:cxn>
                  <a:cxn ang="0">
                    <a:pos x="582" y="561"/>
                  </a:cxn>
                  <a:cxn ang="0">
                    <a:pos x="573" y="642"/>
                  </a:cxn>
                  <a:cxn ang="0">
                    <a:pos x="625" y="496"/>
                  </a:cxn>
                  <a:cxn ang="0">
                    <a:pos x="305" y="91"/>
                  </a:cxn>
                </a:cxnLst>
                <a:rect l="0" t="0" r="r" b="b"/>
                <a:pathLst>
                  <a:path w="673" h="642">
                    <a:moveTo>
                      <a:pt x="305" y="91"/>
                    </a:moveTo>
                    <a:cubicBezTo>
                      <a:pt x="264" y="75"/>
                      <a:pt x="222" y="64"/>
                      <a:pt x="181" y="57"/>
                    </a:cubicBezTo>
                    <a:cubicBezTo>
                      <a:pt x="187" y="0"/>
                      <a:pt x="187" y="0"/>
                      <a:pt x="187" y="0"/>
                    </a:cubicBezTo>
                    <a:cubicBezTo>
                      <a:pt x="0" y="114"/>
                      <a:pt x="0" y="114"/>
                      <a:pt x="0" y="114"/>
                    </a:cubicBezTo>
                    <a:cubicBezTo>
                      <a:pt x="160" y="267"/>
                      <a:pt x="160" y="267"/>
                      <a:pt x="160" y="267"/>
                    </a:cubicBezTo>
                    <a:cubicBezTo>
                      <a:pt x="166" y="209"/>
                      <a:pt x="166" y="209"/>
                      <a:pt x="166" y="209"/>
                    </a:cubicBezTo>
                    <a:cubicBezTo>
                      <a:pt x="195" y="215"/>
                      <a:pt x="225" y="224"/>
                      <a:pt x="255" y="236"/>
                    </a:cubicBezTo>
                    <a:cubicBezTo>
                      <a:pt x="438" y="306"/>
                      <a:pt x="567" y="439"/>
                      <a:pt x="582" y="561"/>
                    </a:cubicBezTo>
                    <a:cubicBezTo>
                      <a:pt x="584" y="611"/>
                      <a:pt x="573" y="642"/>
                      <a:pt x="573" y="642"/>
                    </a:cubicBezTo>
                    <a:cubicBezTo>
                      <a:pt x="573" y="642"/>
                      <a:pt x="619" y="510"/>
                      <a:pt x="625" y="496"/>
                    </a:cubicBezTo>
                    <a:cubicBezTo>
                      <a:pt x="673" y="358"/>
                      <a:pt x="530" y="177"/>
                      <a:pt x="305" y="9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14" name="Freeform 134">
                <a:extLst>
                  <a:ext uri="{FF2B5EF4-FFF2-40B4-BE49-F238E27FC236}">
                    <a16:creationId xmlns:a16="http://schemas.microsoft.com/office/drawing/2014/main" id="{D273C682-E079-4BA0-8A8E-CB34DA754DAD}"/>
                  </a:ext>
                </a:extLst>
              </p:cNvPr>
              <p:cNvSpPr>
                <a:spLocks/>
              </p:cNvSpPr>
              <p:nvPr/>
            </p:nvSpPr>
            <p:spPr bwMode="auto">
              <a:xfrm>
                <a:off x="5263656" y="2485614"/>
                <a:ext cx="1453746" cy="2420945"/>
              </a:xfrm>
              <a:custGeom>
                <a:avLst/>
                <a:gdLst/>
                <a:ahLst/>
                <a:cxnLst>
                  <a:cxn ang="0">
                    <a:pos x="296" y="0"/>
                  </a:cxn>
                  <a:cxn ang="0">
                    <a:pos x="41" y="451"/>
                  </a:cxn>
                  <a:cxn ang="0">
                    <a:pos x="53" y="585"/>
                  </a:cxn>
                  <a:cxn ang="0">
                    <a:pos x="0" y="599"/>
                  </a:cxn>
                  <a:cxn ang="0">
                    <a:pos x="167" y="743"/>
                  </a:cxn>
                  <a:cxn ang="0">
                    <a:pos x="250" y="534"/>
                  </a:cxn>
                  <a:cxn ang="0">
                    <a:pos x="195" y="548"/>
                  </a:cxn>
                  <a:cxn ang="0">
                    <a:pos x="189" y="451"/>
                  </a:cxn>
                  <a:cxn ang="0">
                    <a:pos x="370" y="19"/>
                  </a:cxn>
                  <a:cxn ang="0">
                    <a:pos x="446" y="0"/>
                  </a:cxn>
                  <a:cxn ang="0">
                    <a:pos x="296" y="0"/>
                  </a:cxn>
                </a:cxnLst>
                <a:rect l="0" t="0" r="r" b="b"/>
                <a:pathLst>
                  <a:path w="446" h="743">
                    <a:moveTo>
                      <a:pt x="296" y="0"/>
                    </a:moveTo>
                    <a:cubicBezTo>
                      <a:pt x="155" y="0"/>
                      <a:pt x="41" y="202"/>
                      <a:pt x="41" y="451"/>
                    </a:cubicBezTo>
                    <a:cubicBezTo>
                      <a:pt x="41" y="498"/>
                      <a:pt x="45" y="543"/>
                      <a:pt x="53" y="585"/>
                    </a:cubicBezTo>
                    <a:cubicBezTo>
                      <a:pt x="0" y="599"/>
                      <a:pt x="0" y="599"/>
                      <a:pt x="0" y="599"/>
                    </a:cubicBezTo>
                    <a:cubicBezTo>
                      <a:pt x="167" y="743"/>
                      <a:pt x="167" y="743"/>
                      <a:pt x="167" y="743"/>
                    </a:cubicBezTo>
                    <a:cubicBezTo>
                      <a:pt x="250" y="534"/>
                      <a:pt x="250" y="534"/>
                      <a:pt x="250" y="534"/>
                    </a:cubicBezTo>
                    <a:cubicBezTo>
                      <a:pt x="195" y="548"/>
                      <a:pt x="195" y="548"/>
                      <a:pt x="195" y="548"/>
                    </a:cubicBezTo>
                    <a:cubicBezTo>
                      <a:pt x="191" y="517"/>
                      <a:pt x="189" y="485"/>
                      <a:pt x="189" y="451"/>
                    </a:cubicBezTo>
                    <a:cubicBezTo>
                      <a:pt x="189" y="248"/>
                      <a:pt x="265" y="75"/>
                      <a:pt x="370" y="19"/>
                    </a:cubicBezTo>
                    <a:cubicBezTo>
                      <a:pt x="414" y="0"/>
                      <a:pt x="446" y="0"/>
                      <a:pt x="446" y="0"/>
                    </a:cubicBezTo>
                    <a:cubicBezTo>
                      <a:pt x="446" y="0"/>
                      <a:pt x="311" y="0"/>
                      <a:pt x="296" y="0"/>
                    </a:cubicBezTo>
                    <a:close/>
                  </a:path>
                </a:pathLst>
              </a:custGeom>
              <a:solidFill>
                <a:srgbClr val="62B5E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15" name="Oval 14">
                <a:extLst>
                  <a:ext uri="{FF2B5EF4-FFF2-40B4-BE49-F238E27FC236}">
                    <a16:creationId xmlns:a16="http://schemas.microsoft.com/office/drawing/2014/main" id="{AAAB664E-54C9-4653-A3BB-FD7E9CB92AAB}"/>
                  </a:ext>
                </a:extLst>
              </p:cNvPr>
              <p:cNvSpPr/>
              <p:nvPr/>
            </p:nvSpPr>
            <p:spPr bwMode="auto">
              <a:xfrm>
                <a:off x="5546451" y="4115095"/>
                <a:ext cx="352074" cy="352225"/>
              </a:xfrm>
              <a:prstGeom prst="ellipse">
                <a:avLst/>
              </a:prstGeom>
              <a:solidFill>
                <a:srgbClr val="62B5E5"/>
              </a:solidFill>
              <a:ln w="12700">
                <a:noFill/>
                <a:round/>
                <a:headEnd/>
                <a:tailEnd/>
              </a:ln>
            </p:spPr>
            <p:txBody>
              <a:bodyPr vert="horz" wrap="none" lIns="91440" tIns="45720" rIns="91440" bIns="45720" numCol="1" rtlCol="0" anchor="ctr" anchorCtr="1"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Body)"/>
                  </a:rPr>
                  <a:t>01</a:t>
                </a:r>
              </a:p>
            </p:txBody>
          </p:sp>
          <p:sp>
            <p:nvSpPr>
              <p:cNvPr id="16" name="Oval 15">
                <a:extLst>
                  <a:ext uri="{FF2B5EF4-FFF2-40B4-BE49-F238E27FC236}">
                    <a16:creationId xmlns:a16="http://schemas.microsoft.com/office/drawing/2014/main" id="{E472762A-2B24-4C71-8F90-17F71D21A825}"/>
                  </a:ext>
                </a:extLst>
              </p:cNvPr>
              <p:cNvSpPr/>
              <p:nvPr/>
            </p:nvSpPr>
            <p:spPr bwMode="auto">
              <a:xfrm>
                <a:off x="6466761" y="3054079"/>
                <a:ext cx="352074" cy="352225"/>
              </a:xfrm>
              <a:prstGeom prst="ellipse">
                <a:avLst/>
              </a:prstGeom>
              <a:solidFill>
                <a:schemeClr val="accent1"/>
              </a:solidFill>
              <a:ln w="12700">
                <a:noFill/>
                <a:round/>
                <a:headEnd/>
                <a:tailEnd/>
              </a:ln>
            </p:spPr>
            <p:txBody>
              <a:bodyPr vert="horz" wrap="none" lIns="91440" tIns="45720" rIns="91440" bIns="45720" numCol="1" rtlCol="0" anchor="ctr" anchorCtr="1"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Body)"/>
                  </a:rPr>
                  <a:t>02</a:t>
                </a:r>
              </a:p>
            </p:txBody>
          </p:sp>
          <p:sp>
            <p:nvSpPr>
              <p:cNvPr id="17" name="Oval 16">
                <a:extLst>
                  <a:ext uri="{FF2B5EF4-FFF2-40B4-BE49-F238E27FC236}">
                    <a16:creationId xmlns:a16="http://schemas.microsoft.com/office/drawing/2014/main" id="{E7417BBA-C004-43EE-90FD-5E56CC3993DD}"/>
                  </a:ext>
                </a:extLst>
              </p:cNvPr>
              <p:cNvSpPr/>
              <p:nvPr/>
            </p:nvSpPr>
            <p:spPr bwMode="auto">
              <a:xfrm>
                <a:off x="7171381" y="4477124"/>
                <a:ext cx="352074" cy="352225"/>
              </a:xfrm>
              <a:prstGeom prst="ellipse">
                <a:avLst/>
              </a:prstGeom>
              <a:solidFill>
                <a:schemeClr val="accent3"/>
              </a:solidFill>
              <a:ln w="12700">
                <a:noFill/>
                <a:round/>
                <a:headEnd/>
                <a:tailEnd/>
              </a:ln>
            </p:spPr>
            <p:txBody>
              <a:bodyPr vert="horz" wrap="none" lIns="91440" tIns="45720" rIns="91440" bIns="45720" numCol="1" rtlCol="0" anchor="ctr" anchorCtr="1"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Body)"/>
                  </a:rPr>
                  <a:t>03</a:t>
                </a:r>
              </a:p>
            </p:txBody>
          </p:sp>
        </p:grpSp>
      </p:grpSp>
      <p:sp>
        <p:nvSpPr>
          <p:cNvPr id="18" name="Rectangle 17">
            <a:extLst>
              <a:ext uri="{FF2B5EF4-FFF2-40B4-BE49-F238E27FC236}">
                <a16:creationId xmlns:a16="http://schemas.microsoft.com/office/drawing/2014/main" id="{DAF44B22-102C-4675-A4DA-AAC9EAAC5E11}"/>
              </a:ext>
            </a:extLst>
          </p:cNvPr>
          <p:cNvSpPr/>
          <p:nvPr/>
        </p:nvSpPr>
        <p:spPr>
          <a:xfrm>
            <a:off x="1219378" y="4512484"/>
            <a:ext cx="3913731" cy="1958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Body)"/>
              </a:rPr>
              <a:t>Transparent, external and internal communication </a:t>
            </a:r>
            <a:r>
              <a:rPr kumimoji="0" lang="en-US" sz="1000" b="0" i="0" u="none" strike="noStrike" kern="1200" cap="none" spc="0" normalizeH="0" baseline="0" noProof="0" dirty="0">
                <a:ln>
                  <a:noFill/>
                </a:ln>
                <a:solidFill>
                  <a:srgbClr val="000000"/>
                </a:solidFill>
                <a:effectLst/>
                <a:uLnTx/>
                <a:uFillTx/>
                <a:latin typeface="Open Sans (Body)"/>
              </a:rPr>
              <a:t>of innovation strategic ambitions and changes implied by the governance model, as well as the continuation </a:t>
            </a:r>
            <a:r>
              <a:rPr kumimoji="0" lang="en-US" sz="1000" b="1" i="0" u="none" strike="noStrike" kern="1200" cap="none" spc="0" normalizeH="0" baseline="0" noProof="0" dirty="0">
                <a:ln>
                  <a:noFill/>
                </a:ln>
                <a:solidFill>
                  <a:srgbClr val="000000"/>
                </a:solidFill>
                <a:effectLst/>
                <a:uLnTx/>
                <a:uFillTx/>
                <a:latin typeface="Open Sans (Body)"/>
              </a:rPr>
              <a:t>of change management</a:t>
            </a:r>
            <a:r>
              <a:rPr kumimoji="0" lang="en-US" sz="1000" b="0" i="0" u="none" strike="noStrike" kern="1200" cap="none" spc="0" normalizeH="0" baseline="0" noProof="0" dirty="0">
                <a:ln>
                  <a:noFill/>
                </a:ln>
                <a:solidFill>
                  <a:srgbClr val="000000"/>
                </a:solidFill>
                <a:effectLst/>
                <a:uLnTx/>
                <a:uFillTx/>
                <a:latin typeface="Open Sans (Body)"/>
              </a:rPr>
              <a:t> activities at </a:t>
            </a:r>
            <a:r>
              <a:rPr kumimoji="0" lang="en-US" sz="1000" b="1" i="0" u="none" strike="noStrike" kern="1200" cap="none" spc="0" normalizeH="0" baseline="0" noProof="0" dirty="0">
                <a:ln>
                  <a:noFill/>
                </a:ln>
                <a:solidFill>
                  <a:srgbClr val="000000"/>
                </a:solidFill>
                <a:effectLst/>
                <a:uLnTx/>
                <a:uFillTx/>
                <a:latin typeface="Open Sans (Body)"/>
              </a:rPr>
              <a:t>all levels </a:t>
            </a:r>
            <a:r>
              <a:rPr kumimoji="0" lang="en-US" sz="1000" b="0" i="0" u="none" strike="noStrike" kern="1200" cap="none" spc="0" normalizeH="0" baseline="0" noProof="0" dirty="0">
                <a:ln>
                  <a:noFill/>
                </a:ln>
                <a:solidFill>
                  <a:srgbClr val="000000"/>
                </a:solidFill>
                <a:effectLst/>
                <a:uLnTx/>
                <a:uFillTx/>
                <a:latin typeface="Open Sans (Body)"/>
              </a:rPr>
              <a:t>of the organization.</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Review of innovation strategy</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Development and implementation of the change management plan</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External and internal communication</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Revision of the definition of innovation</a:t>
            </a:r>
          </a:p>
        </p:txBody>
      </p:sp>
      <p:cxnSp>
        <p:nvCxnSpPr>
          <p:cNvPr id="19" name="Straight Connector 18">
            <a:extLst>
              <a:ext uri="{FF2B5EF4-FFF2-40B4-BE49-F238E27FC236}">
                <a16:creationId xmlns:a16="http://schemas.microsoft.com/office/drawing/2014/main" id="{24844A40-D761-4E6C-9CF8-864E823CC2A7}"/>
              </a:ext>
            </a:extLst>
          </p:cNvPr>
          <p:cNvCxnSpPr/>
          <p:nvPr/>
        </p:nvCxnSpPr>
        <p:spPr>
          <a:xfrm>
            <a:off x="1219379" y="4515349"/>
            <a:ext cx="292608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ADE9D7E-FCC9-4520-AD93-BF937DF0887A}"/>
              </a:ext>
            </a:extLst>
          </p:cNvPr>
          <p:cNvSpPr/>
          <p:nvPr/>
        </p:nvSpPr>
        <p:spPr>
          <a:xfrm>
            <a:off x="1148259" y="4148612"/>
            <a:ext cx="3269930"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Body)"/>
              </a:rPr>
              <a:t>Go innovative</a:t>
            </a:r>
          </a:p>
        </p:txBody>
      </p:sp>
      <p:sp>
        <p:nvSpPr>
          <p:cNvPr id="21" name="Rectangle 20">
            <a:extLst>
              <a:ext uri="{FF2B5EF4-FFF2-40B4-BE49-F238E27FC236}">
                <a16:creationId xmlns:a16="http://schemas.microsoft.com/office/drawing/2014/main" id="{B0894BFA-0E0A-4334-A237-CF42F40DAE84}"/>
              </a:ext>
            </a:extLst>
          </p:cNvPr>
          <p:cNvSpPr/>
          <p:nvPr/>
        </p:nvSpPr>
        <p:spPr>
          <a:xfrm>
            <a:off x="496386" y="4753164"/>
            <a:ext cx="788975"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accent3"/>
                </a:solidFill>
                <a:effectLst/>
                <a:uLnTx/>
                <a:uFillTx/>
                <a:latin typeface="Open Sans (Body)"/>
              </a:rPr>
              <a:t>03</a:t>
            </a:r>
          </a:p>
        </p:txBody>
      </p:sp>
      <p:sp>
        <p:nvSpPr>
          <p:cNvPr id="22" name="Rectangle 21">
            <a:extLst>
              <a:ext uri="{FF2B5EF4-FFF2-40B4-BE49-F238E27FC236}">
                <a16:creationId xmlns:a16="http://schemas.microsoft.com/office/drawing/2014/main" id="{92F25FC4-0AA9-4FF3-8AEB-FEFDBD54B6E8}"/>
              </a:ext>
            </a:extLst>
          </p:cNvPr>
          <p:cNvSpPr/>
          <p:nvPr/>
        </p:nvSpPr>
        <p:spPr>
          <a:xfrm>
            <a:off x="6223326" y="1983937"/>
            <a:ext cx="4978074" cy="2095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Body)"/>
              </a:rPr>
              <a:t>The </a:t>
            </a:r>
            <a:r>
              <a:rPr kumimoji="0" lang="en-US" sz="1000" b="1" i="0" u="none" strike="noStrike" kern="1200" cap="none" spc="0" normalizeH="0" baseline="0" noProof="0" dirty="0">
                <a:ln>
                  <a:noFill/>
                </a:ln>
                <a:solidFill>
                  <a:srgbClr val="000000"/>
                </a:solidFill>
                <a:effectLst/>
                <a:uLnTx/>
                <a:uFillTx/>
                <a:latin typeface="Open Sans (Body)"/>
              </a:rPr>
              <a:t>operation model</a:t>
            </a:r>
            <a:r>
              <a:rPr kumimoji="0" lang="en-US" sz="1000" b="0" i="0" u="none" strike="noStrike" kern="1200" cap="none" spc="0" normalizeH="0" baseline="0" noProof="0" dirty="0">
                <a:ln>
                  <a:noFill/>
                </a:ln>
                <a:solidFill>
                  <a:srgbClr val="000000"/>
                </a:solidFill>
                <a:effectLst/>
                <a:uLnTx/>
                <a:uFillTx/>
                <a:latin typeface="Open Sans (Body)"/>
              </a:rPr>
              <a:t> </a:t>
            </a:r>
            <a:r>
              <a:rPr kumimoji="0" lang="en-US" sz="1000" b="1" i="0" u="none" strike="noStrike" kern="1200" cap="none" spc="0" normalizeH="0" baseline="0" noProof="0" dirty="0">
                <a:ln>
                  <a:noFill/>
                </a:ln>
                <a:solidFill>
                  <a:srgbClr val="000000"/>
                </a:solidFill>
                <a:effectLst/>
                <a:uLnTx/>
                <a:uFillTx/>
                <a:latin typeface="Open Sans (Body)"/>
              </a:rPr>
              <a:t>framework</a:t>
            </a:r>
            <a:r>
              <a:rPr kumimoji="0" lang="en-US" sz="1000" b="0" i="0" u="none" strike="noStrike" kern="1200" cap="none" spc="0" normalizeH="0" baseline="0" noProof="0" dirty="0">
                <a:ln>
                  <a:noFill/>
                </a:ln>
                <a:solidFill>
                  <a:srgbClr val="000000"/>
                </a:solidFill>
                <a:effectLst/>
                <a:uLnTx/>
                <a:uFillTx/>
                <a:latin typeface="Open Sans (Body)"/>
              </a:rPr>
              <a:t> (including processes, roles, policies, etc.) needed to bring the governance model </a:t>
            </a:r>
            <a:r>
              <a:rPr kumimoji="0" lang="en-US" sz="1000" b="1" i="0" u="none" strike="noStrike" kern="1200" cap="none" spc="0" normalizeH="0" baseline="0" noProof="0" dirty="0">
                <a:ln>
                  <a:noFill/>
                </a:ln>
                <a:solidFill>
                  <a:srgbClr val="000000"/>
                </a:solidFill>
                <a:effectLst/>
                <a:uLnTx/>
                <a:uFillTx/>
                <a:latin typeface="Open Sans (Body)"/>
              </a:rPr>
              <a:t>available.</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Development of service frameworks for external / internal customers</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Recalculation of FTE, definition of headcount and </a:t>
            </a:r>
            <a:r>
              <a:rPr kumimoji="0" lang="hu-HU" sz="1000" b="0" i="0" u="none" strike="noStrike" kern="1200" cap="none" spc="0" normalizeH="0" baseline="0" noProof="0" dirty="0">
                <a:ln>
                  <a:noFill/>
                </a:ln>
                <a:solidFill>
                  <a:srgbClr val="000000"/>
                </a:solidFill>
                <a:effectLst/>
                <a:uLnTx/>
                <a:uFillTx/>
                <a:latin typeface="Open Sans (Body)"/>
              </a:rPr>
              <a:t>roles</a:t>
            </a:r>
            <a:endParaRPr kumimoji="0" lang="en-US" sz="1000" b="0" i="0" u="none" strike="noStrike" kern="1200" cap="none" spc="0" normalizeH="0" baseline="0" noProof="0" dirty="0">
              <a:ln>
                <a:noFill/>
              </a:ln>
              <a:solidFill>
                <a:srgbClr val="000000"/>
              </a:solidFill>
              <a:effectLst/>
              <a:uLnTx/>
              <a:uFillTx/>
              <a:latin typeface="Open Sans (Body)"/>
            </a:endParaRP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Creation of a detailed process description</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Preparation of stage-gate system guides</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Setting-up an innovation risk management system</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Development of project </a:t>
            </a:r>
            <a:r>
              <a:rPr kumimoji="0" lang="en-US" sz="1000" b="0" i="0" u="none" strike="noStrike" kern="1200" cap="none" spc="0" normalizeH="0" baseline="0" noProof="0" dirty="0" err="1">
                <a:ln>
                  <a:noFill/>
                </a:ln>
                <a:solidFill>
                  <a:srgbClr val="000000"/>
                </a:solidFill>
                <a:effectLst/>
                <a:uLnTx/>
                <a:uFillTx/>
                <a:latin typeface="Open Sans (Body)"/>
              </a:rPr>
              <a:t>priorization</a:t>
            </a:r>
            <a:r>
              <a:rPr kumimoji="0" lang="en-US" sz="1000" b="0" i="0" u="none" strike="noStrike" kern="1200" cap="none" spc="0" normalizeH="0" baseline="0" noProof="0" dirty="0">
                <a:ln>
                  <a:noFill/>
                </a:ln>
                <a:solidFill>
                  <a:srgbClr val="000000"/>
                </a:solidFill>
                <a:effectLst/>
                <a:uLnTx/>
                <a:uFillTx/>
                <a:latin typeface="Open Sans (Body)"/>
              </a:rPr>
              <a:t> methodology</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Identification and amendment of relevant policies</a:t>
            </a:r>
          </a:p>
          <a:p>
            <a:pPr marL="28575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Selection of applied technologies </a:t>
            </a:r>
          </a:p>
        </p:txBody>
      </p:sp>
      <p:cxnSp>
        <p:nvCxnSpPr>
          <p:cNvPr id="23" name="Straight Connector 22">
            <a:extLst>
              <a:ext uri="{FF2B5EF4-FFF2-40B4-BE49-F238E27FC236}">
                <a16:creationId xmlns:a16="http://schemas.microsoft.com/office/drawing/2014/main" id="{072B7EA8-821F-4CCE-824D-5C4C96E5F011}"/>
              </a:ext>
            </a:extLst>
          </p:cNvPr>
          <p:cNvCxnSpPr/>
          <p:nvPr/>
        </p:nvCxnSpPr>
        <p:spPr>
          <a:xfrm>
            <a:off x="6223327" y="1983936"/>
            <a:ext cx="2978724" cy="2864"/>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2F93926-EF49-449D-AAAC-92B6F8798C0E}"/>
              </a:ext>
            </a:extLst>
          </p:cNvPr>
          <p:cNvSpPr/>
          <p:nvPr/>
        </p:nvSpPr>
        <p:spPr>
          <a:xfrm>
            <a:off x="6256960" y="1582514"/>
            <a:ext cx="3019377"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Body)"/>
              </a:rPr>
              <a:t>Core innovative</a:t>
            </a:r>
          </a:p>
        </p:txBody>
      </p:sp>
      <p:sp>
        <p:nvSpPr>
          <p:cNvPr id="25" name="Rectangle 24">
            <a:extLst>
              <a:ext uri="{FF2B5EF4-FFF2-40B4-BE49-F238E27FC236}">
                <a16:creationId xmlns:a16="http://schemas.microsoft.com/office/drawing/2014/main" id="{94A04D84-80A9-445B-AB9D-6ABB4F6F6803}"/>
              </a:ext>
            </a:extLst>
          </p:cNvPr>
          <p:cNvSpPr/>
          <p:nvPr/>
        </p:nvSpPr>
        <p:spPr>
          <a:xfrm>
            <a:off x="5500334" y="2221751"/>
            <a:ext cx="788975"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accent1"/>
                </a:solidFill>
                <a:effectLst/>
                <a:uLnTx/>
                <a:uFillTx/>
                <a:latin typeface="Open Sans (Body)"/>
              </a:rPr>
              <a:t>02</a:t>
            </a:r>
          </a:p>
        </p:txBody>
      </p:sp>
      <p:sp>
        <p:nvSpPr>
          <p:cNvPr id="26" name="Rectangle 25">
            <a:extLst>
              <a:ext uri="{FF2B5EF4-FFF2-40B4-BE49-F238E27FC236}">
                <a16:creationId xmlns:a16="http://schemas.microsoft.com/office/drawing/2014/main" id="{0A7C6F9B-B870-4802-8EB8-C0FCF3378C8D}"/>
              </a:ext>
            </a:extLst>
          </p:cNvPr>
          <p:cNvSpPr/>
          <p:nvPr/>
        </p:nvSpPr>
        <p:spPr>
          <a:xfrm>
            <a:off x="1199023" y="1983936"/>
            <a:ext cx="3913304" cy="20953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Body)"/>
              </a:rPr>
              <a:t>Creating the basic conditions for sustainable innovation within GBS through </a:t>
            </a:r>
            <a:r>
              <a:rPr kumimoji="0" lang="en-US" sz="1000" b="1" i="0" u="none" strike="noStrike" kern="1200" cap="none" spc="0" normalizeH="0" baseline="0" noProof="0" dirty="0">
                <a:ln>
                  <a:noFill/>
                </a:ln>
                <a:solidFill>
                  <a:srgbClr val="000000"/>
                </a:solidFill>
                <a:effectLst/>
                <a:uLnTx/>
                <a:uFillTx/>
                <a:latin typeface="Open Sans (Body)"/>
              </a:rPr>
              <a:t>leadership involvement </a:t>
            </a:r>
            <a:r>
              <a:rPr kumimoji="0" lang="en-US" sz="1000" b="0" i="0" u="none" strike="noStrike" kern="1200" cap="none" spc="0" normalizeH="0" baseline="0" noProof="0" dirty="0">
                <a:ln>
                  <a:noFill/>
                </a:ln>
                <a:solidFill>
                  <a:srgbClr val="000000"/>
                </a:solidFill>
                <a:effectLst/>
                <a:uLnTx/>
                <a:uFillTx/>
                <a:latin typeface="Open Sans (Body)"/>
              </a:rPr>
              <a:t>and establishing </a:t>
            </a:r>
            <a:r>
              <a:rPr kumimoji="0" lang="en-US" sz="1000" b="1" i="0" u="none" strike="noStrike" kern="1200" cap="none" spc="0" normalizeH="0" baseline="0" noProof="0" dirty="0">
                <a:ln>
                  <a:noFill/>
                </a:ln>
                <a:solidFill>
                  <a:srgbClr val="000000"/>
                </a:solidFill>
                <a:effectLst/>
                <a:uLnTx/>
                <a:uFillTx/>
                <a:latin typeface="Open Sans (Body)"/>
              </a:rPr>
              <a:t>employee engagement.</a:t>
            </a:r>
          </a:p>
          <a:p>
            <a:pPr marL="228600" marR="0" lvl="0" indent="-17145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Examining the innovation maturity level of GBSs</a:t>
            </a:r>
          </a:p>
          <a:p>
            <a:pPr marL="228600" marR="0" lvl="0" indent="-17145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Incorporating innovation pressure into the management prerequisite approach</a:t>
            </a:r>
          </a:p>
          <a:p>
            <a:pPr marL="228600" marR="0" lvl="0" indent="-17145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Development of a performance management and motivation approach</a:t>
            </a:r>
          </a:p>
          <a:p>
            <a:pPr marL="228600" marR="0" lvl="0" indent="-17145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Open Sans (Body)"/>
              </a:rPr>
              <a:t>Piloting operation and  fine-tuning measurement</a:t>
            </a:r>
            <a:endParaRPr kumimoji="0" lang="en-US" sz="1000" b="0" i="1" u="none" strike="noStrike" kern="1200" cap="none" spc="0" normalizeH="0" baseline="0" noProof="0" dirty="0">
              <a:ln>
                <a:noFill/>
              </a:ln>
              <a:solidFill>
                <a:srgbClr val="000000"/>
              </a:solidFill>
              <a:effectLst/>
              <a:uLnTx/>
              <a:uFillTx/>
              <a:latin typeface="Open Sans (Body)"/>
            </a:endParaRPr>
          </a:p>
        </p:txBody>
      </p:sp>
      <p:cxnSp>
        <p:nvCxnSpPr>
          <p:cNvPr id="27" name="Straight Connector 26">
            <a:extLst>
              <a:ext uri="{FF2B5EF4-FFF2-40B4-BE49-F238E27FC236}">
                <a16:creationId xmlns:a16="http://schemas.microsoft.com/office/drawing/2014/main" id="{B278DAE3-4942-4DE6-95FA-BFF822C07B48}"/>
              </a:ext>
            </a:extLst>
          </p:cNvPr>
          <p:cNvCxnSpPr/>
          <p:nvPr/>
        </p:nvCxnSpPr>
        <p:spPr>
          <a:xfrm>
            <a:off x="1199024" y="1986801"/>
            <a:ext cx="2926080"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9B3E6017-9562-4CAB-A0FD-D4B6ED5E88F9}"/>
              </a:ext>
            </a:extLst>
          </p:cNvPr>
          <p:cNvSpPr/>
          <p:nvPr/>
        </p:nvSpPr>
        <p:spPr>
          <a:xfrm>
            <a:off x="1199024" y="1609679"/>
            <a:ext cx="2926080"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Body)"/>
              </a:rPr>
              <a:t>Be innovative</a:t>
            </a:r>
          </a:p>
        </p:txBody>
      </p:sp>
      <p:sp>
        <p:nvSpPr>
          <p:cNvPr id="29" name="Rectangle 28">
            <a:extLst>
              <a:ext uri="{FF2B5EF4-FFF2-40B4-BE49-F238E27FC236}">
                <a16:creationId xmlns:a16="http://schemas.microsoft.com/office/drawing/2014/main" id="{0C2C7ECA-7DD0-45AD-BCB3-6F70FC832FF3}"/>
              </a:ext>
            </a:extLst>
          </p:cNvPr>
          <p:cNvSpPr/>
          <p:nvPr/>
        </p:nvSpPr>
        <p:spPr>
          <a:xfrm>
            <a:off x="476031" y="2224616"/>
            <a:ext cx="788975"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62B5E5"/>
                </a:solidFill>
                <a:effectLst/>
                <a:uLnTx/>
                <a:uFillTx/>
                <a:latin typeface="Open Sans (Body)"/>
              </a:rPr>
              <a:t>01</a:t>
            </a:r>
          </a:p>
        </p:txBody>
      </p:sp>
      <p:sp>
        <p:nvSpPr>
          <p:cNvPr id="30" name="Freeform 20">
            <a:extLst>
              <a:ext uri="{FF2B5EF4-FFF2-40B4-BE49-F238E27FC236}">
                <a16:creationId xmlns:a16="http://schemas.microsoft.com/office/drawing/2014/main" id="{D5C7FD50-ADCA-407E-9E7E-ACD7942B8C68}"/>
              </a:ext>
            </a:extLst>
          </p:cNvPr>
          <p:cNvSpPr>
            <a:spLocks noEditPoints="1"/>
          </p:cNvSpPr>
          <p:nvPr/>
        </p:nvSpPr>
        <p:spPr bwMode="auto">
          <a:xfrm>
            <a:off x="5646897" y="1549760"/>
            <a:ext cx="457200" cy="455810"/>
          </a:xfrm>
          <a:custGeom>
            <a:avLst/>
            <a:gdLst>
              <a:gd name="T0" fmla="*/ 312 w 658"/>
              <a:gd name="T1" fmla="*/ 657 h 657"/>
              <a:gd name="T2" fmla="*/ 264 w 658"/>
              <a:gd name="T3" fmla="*/ 650 h 657"/>
              <a:gd name="T4" fmla="*/ 202 w 658"/>
              <a:gd name="T5" fmla="*/ 631 h 657"/>
              <a:gd name="T6" fmla="*/ 120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1 w 658"/>
              <a:gd name="T21" fmla="*/ 172 h 657"/>
              <a:gd name="T22" fmla="*/ 97 w 658"/>
              <a:gd name="T23" fmla="*/ 97 h 657"/>
              <a:gd name="T24" fmla="*/ 172 w 658"/>
              <a:gd name="T25" fmla="*/ 39 h 657"/>
              <a:gd name="T26" fmla="*/ 247 w 658"/>
              <a:gd name="T27" fmla="*/ 11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1 w 658"/>
              <a:gd name="T41" fmla="*/ 200 h 657"/>
              <a:gd name="T42" fmla="*/ 652 w 658"/>
              <a:gd name="T43" fmla="*/ 262 h 657"/>
              <a:gd name="T44" fmla="*/ 657 w 658"/>
              <a:gd name="T45" fmla="*/ 312 h 657"/>
              <a:gd name="T46" fmla="*/ 657 w 658"/>
              <a:gd name="T47" fmla="*/ 345 h 657"/>
              <a:gd name="T48" fmla="*/ 652 w 658"/>
              <a:gd name="T49" fmla="*/ 395 h 657"/>
              <a:gd name="T50" fmla="*/ 631 w 658"/>
              <a:gd name="T51" fmla="*/ 457 h 657"/>
              <a:gd name="T52" fmla="*/ 583 w 658"/>
              <a:gd name="T53" fmla="*/ 537 h 657"/>
              <a:gd name="T54" fmla="*/ 513 w 658"/>
              <a:gd name="T55" fmla="*/ 600 h 657"/>
              <a:gd name="T56" fmla="*/ 427 w 658"/>
              <a:gd name="T57" fmla="*/ 642 h 657"/>
              <a:gd name="T58" fmla="*/ 379 w 658"/>
              <a:gd name="T59" fmla="*/ 654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1 w 658"/>
              <a:gd name="T71" fmla="*/ 215 h 657"/>
              <a:gd name="T72" fmla="*/ 39 w 658"/>
              <a:gd name="T73" fmla="*/ 298 h 657"/>
              <a:gd name="T74" fmla="*/ 39 w 658"/>
              <a:gd name="T75" fmla="*/ 359 h 657"/>
              <a:gd name="T76" fmla="*/ 61 w 658"/>
              <a:gd name="T77" fmla="*/ 442 h 657"/>
              <a:gd name="T78" fmla="*/ 105 w 658"/>
              <a:gd name="T79" fmla="*/ 513 h 657"/>
              <a:gd name="T80" fmla="*/ 167 w 658"/>
              <a:gd name="T81" fmla="*/ 569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4 w 658"/>
              <a:gd name="T95" fmla="*/ 387 h 657"/>
              <a:gd name="T96" fmla="*/ 621 w 658"/>
              <a:gd name="T97" fmla="*/ 329 h 657"/>
              <a:gd name="T98" fmla="*/ 607 w 658"/>
              <a:gd name="T99" fmla="*/ 242 h 657"/>
              <a:gd name="T100" fmla="*/ 571 w 658"/>
              <a:gd name="T101" fmla="*/ 165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5"/>
                </a:lnTo>
                <a:lnTo>
                  <a:pt x="280" y="654"/>
                </a:lnTo>
                <a:lnTo>
                  <a:pt x="264" y="650"/>
                </a:lnTo>
                <a:lnTo>
                  <a:pt x="247" y="647"/>
                </a:lnTo>
                <a:lnTo>
                  <a:pt x="231" y="642"/>
                </a:lnTo>
                <a:lnTo>
                  <a:pt x="202" y="631"/>
                </a:lnTo>
                <a:lnTo>
                  <a:pt x="172" y="618"/>
                </a:lnTo>
                <a:lnTo>
                  <a:pt x="145" y="600"/>
                </a:lnTo>
                <a:lnTo>
                  <a:pt x="120"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6"/>
                </a:lnTo>
                <a:lnTo>
                  <a:pt x="4" y="278"/>
                </a:lnTo>
                <a:lnTo>
                  <a:pt x="7" y="262"/>
                </a:lnTo>
                <a:lnTo>
                  <a:pt x="11" y="246"/>
                </a:lnTo>
                <a:lnTo>
                  <a:pt x="15" y="231"/>
                </a:lnTo>
                <a:lnTo>
                  <a:pt x="27" y="200"/>
                </a:lnTo>
                <a:lnTo>
                  <a:pt x="41" y="172"/>
                </a:lnTo>
                <a:lnTo>
                  <a:pt x="57" y="145"/>
                </a:lnTo>
                <a:lnTo>
                  <a:pt x="76" y="120"/>
                </a:lnTo>
                <a:lnTo>
                  <a:pt x="97" y="97"/>
                </a:lnTo>
                <a:lnTo>
                  <a:pt x="120" y="75"/>
                </a:lnTo>
                <a:lnTo>
                  <a:pt x="145" y="57"/>
                </a:lnTo>
                <a:lnTo>
                  <a:pt x="172" y="39"/>
                </a:lnTo>
                <a:lnTo>
                  <a:pt x="202" y="26"/>
                </a:lnTo>
                <a:lnTo>
                  <a:pt x="231" y="15"/>
                </a:lnTo>
                <a:lnTo>
                  <a:pt x="247" y="11"/>
                </a:lnTo>
                <a:lnTo>
                  <a:pt x="264" y="7"/>
                </a:lnTo>
                <a:lnTo>
                  <a:pt x="280" y="4"/>
                </a:lnTo>
                <a:lnTo>
                  <a:pt x="296" y="2"/>
                </a:lnTo>
                <a:lnTo>
                  <a:pt x="312" y="0"/>
                </a:lnTo>
                <a:lnTo>
                  <a:pt x="329" y="0"/>
                </a:lnTo>
                <a:lnTo>
                  <a:pt x="329" y="0"/>
                </a:lnTo>
                <a:lnTo>
                  <a:pt x="347" y="0"/>
                </a:lnTo>
                <a:lnTo>
                  <a:pt x="363" y="2"/>
                </a:lnTo>
                <a:lnTo>
                  <a:pt x="379" y="4"/>
                </a:lnTo>
                <a:lnTo>
                  <a:pt x="395" y="7"/>
                </a:lnTo>
                <a:lnTo>
                  <a:pt x="411" y="11"/>
                </a:lnTo>
                <a:lnTo>
                  <a:pt x="427" y="15"/>
                </a:lnTo>
                <a:lnTo>
                  <a:pt x="457" y="26"/>
                </a:lnTo>
                <a:lnTo>
                  <a:pt x="486" y="39"/>
                </a:lnTo>
                <a:lnTo>
                  <a:pt x="513" y="57"/>
                </a:lnTo>
                <a:lnTo>
                  <a:pt x="539" y="75"/>
                </a:lnTo>
                <a:lnTo>
                  <a:pt x="562" y="97"/>
                </a:lnTo>
                <a:lnTo>
                  <a:pt x="583" y="120"/>
                </a:lnTo>
                <a:lnTo>
                  <a:pt x="602" y="145"/>
                </a:lnTo>
                <a:lnTo>
                  <a:pt x="618" y="172"/>
                </a:lnTo>
                <a:lnTo>
                  <a:pt x="631" y="200"/>
                </a:lnTo>
                <a:lnTo>
                  <a:pt x="643" y="231"/>
                </a:lnTo>
                <a:lnTo>
                  <a:pt x="647" y="246"/>
                </a:lnTo>
                <a:lnTo>
                  <a:pt x="652" y="262"/>
                </a:lnTo>
                <a:lnTo>
                  <a:pt x="654" y="278"/>
                </a:lnTo>
                <a:lnTo>
                  <a:pt x="656" y="296"/>
                </a:lnTo>
                <a:lnTo>
                  <a:pt x="657" y="312"/>
                </a:lnTo>
                <a:lnTo>
                  <a:pt x="658" y="329"/>
                </a:lnTo>
                <a:lnTo>
                  <a:pt x="658" y="329"/>
                </a:lnTo>
                <a:lnTo>
                  <a:pt x="657" y="345"/>
                </a:lnTo>
                <a:lnTo>
                  <a:pt x="656" y="363"/>
                </a:lnTo>
                <a:lnTo>
                  <a:pt x="654" y="379"/>
                </a:lnTo>
                <a:lnTo>
                  <a:pt x="652" y="395"/>
                </a:lnTo>
                <a:lnTo>
                  <a:pt x="647" y="411"/>
                </a:lnTo>
                <a:lnTo>
                  <a:pt x="643" y="426"/>
                </a:lnTo>
                <a:lnTo>
                  <a:pt x="631"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5" y="650"/>
                </a:lnTo>
                <a:lnTo>
                  <a:pt x="379" y="654"/>
                </a:lnTo>
                <a:lnTo>
                  <a:pt x="363" y="655"/>
                </a:lnTo>
                <a:lnTo>
                  <a:pt x="347" y="657"/>
                </a:lnTo>
                <a:lnTo>
                  <a:pt x="329" y="657"/>
                </a:lnTo>
                <a:lnTo>
                  <a:pt x="329" y="657"/>
                </a:lnTo>
                <a:close/>
                <a:moveTo>
                  <a:pt x="329" y="38"/>
                </a:moveTo>
                <a:lnTo>
                  <a:pt x="329" y="38"/>
                </a:lnTo>
                <a:lnTo>
                  <a:pt x="300" y="39"/>
                </a:lnTo>
                <a:lnTo>
                  <a:pt x="270" y="43"/>
                </a:lnTo>
                <a:lnTo>
                  <a:pt x="243" y="51"/>
                </a:lnTo>
                <a:lnTo>
                  <a:pt x="217" y="61"/>
                </a:lnTo>
                <a:lnTo>
                  <a:pt x="191" y="73"/>
                </a:lnTo>
                <a:lnTo>
                  <a:pt x="167" y="87"/>
                </a:lnTo>
                <a:lnTo>
                  <a:pt x="144" y="104"/>
                </a:lnTo>
                <a:lnTo>
                  <a:pt x="124" y="122"/>
                </a:lnTo>
                <a:lnTo>
                  <a:pt x="105" y="144"/>
                </a:lnTo>
                <a:lnTo>
                  <a:pt x="88" y="165"/>
                </a:lnTo>
                <a:lnTo>
                  <a:pt x="73" y="190"/>
                </a:lnTo>
                <a:lnTo>
                  <a:pt x="61" y="215"/>
                </a:lnTo>
                <a:lnTo>
                  <a:pt x="51" y="242"/>
                </a:lnTo>
                <a:lnTo>
                  <a:pt x="45" y="270"/>
                </a:lnTo>
                <a:lnTo>
                  <a:pt x="39" y="298"/>
                </a:lnTo>
                <a:lnTo>
                  <a:pt x="38" y="329"/>
                </a:lnTo>
                <a:lnTo>
                  <a:pt x="38" y="329"/>
                </a:lnTo>
                <a:lnTo>
                  <a:pt x="39" y="359"/>
                </a:lnTo>
                <a:lnTo>
                  <a:pt x="45" y="387"/>
                </a:lnTo>
                <a:lnTo>
                  <a:pt x="51" y="415"/>
                </a:lnTo>
                <a:lnTo>
                  <a:pt x="61" y="442"/>
                </a:lnTo>
                <a:lnTo>
                  <a:pt x="73" y="467"/>
                </a:lnTo>
                <a:lnTo>
                  <a:pt x="88" y="492"/>
                </a:lnTo>
                <a:lnTo>
                  <a:pt x="105" y="513"/>
                </a:lnTo>
                <a:lnTo>
                  <a:pt x="124" y="535"/>
                </a:lnTo>
                <a:lnTo>
                  <a:pt x="144" y="553"/>
                </a:lnTo>
                <a:lnTo>
                  <a:pt x="167" y="569"/>
                </a:lnTo>
                <a:lnTo>
                  <a:pt x="191" y="584"/>
                </a:lnTo>
                <a:lnTo>
                  <a:pt x="217" y="596"/>
                </a:lnTo>
                <a:lnTo>
                  <a:pt x="243" y="607"/>
                </a:lnTo>
                <a:lnTo>
                  <a:pt x="270" y="614"/>
                </a:lnTo>
                <a:lnTo>
                  <a:pt x="300" y="618"/>
                </a:lnTo>
                <a:lnTo>
                  <a:pt x="329" y="619"/>
                </a:lnTo>
                <a:lnTo>
                  <a:pt x="329" y="619"/>
                </a:lnTo>
                <a:lnTo>
                  <a:pt x="359" y="618"/>
                </a:lnTo>
                <a:lnTo>
                  <a:pt x="388" y="614"/>
                </a:lnTo>
                <a:lnTo>
                  <a:pt x="415" y="607"/>
                </a:lnTo>
                <a:lnTo>
                  <a:pt x="442" y="596"/>
                </a:lnTo>
                <a:lnTo>
                  <a:pt x="468" y="584"/>
                </a:lnTo>
                <a:lnTo>
                  <a:pt x="492" y="569"/>
                </a:lnTo>
                <a:lnTo>
                  <a:pt x="515" y="553"/>
                </a:lnTo>
                <a:lnTo>
                  <a:pt x="535" y="535"/>
                </a:lnTo>
                <a:lnTo>
                  <a:pt x="554" y="513"/>
                </a:lnTo>
                <a:lnTo>
                  <a:pt x="571" y="492"/>
                </a:lnTo>
                <a:lnTo>
                  <a:pt x="586" y="467"/>
                </a:lnTo>
                <a:lnTo>
                  <a:pt x="598" y="442"/>
                </a:lnTo>
                <a:lnTo>
                  <a:pt x="607" y="415"/>
                </a:lnTo>
                <a:lnTo>
                  <a:pt x="614" y="387"/>
                </a:lnTo>
                <a:lnTo>
                  <a:pt x="619" y="359"/>
                </a:lnTo>
                <a:lnTo>
                  <a:pt x="621" y="329"/>
                </a:lnTo>
                <a:lnTo>
                  <a:pt x="621" y="329"/>
                </a:lnTo>
                <a:lnTo>
                  <a:pt x="619" y="298"/>
                </a:lnTo>
                <a:lnTo>
                  <a:pt x="614" y="270"/>
                </a:lnTo>
                <a:lnTo>
                  <a:pt x="607" y="242"/>
                </a:lnTo>
                <a:lnTo>
                  <a:pt x="598" y="215"/>
                </a:lnTo>
                <a:lnTo>
                  <a:pt x="586" y="190"/>
                </a:lnTo>
                <a:lnTo>
                  <a:pt x="571" y="165"/>
                </a:lnTo>
                <a:lnTo>
                  <a:pt x="554" y="144"/>
                </a:lnTo>
                <a:lnTo>
                  <a:pt x="535" y="122"/>
                </a:lnTo>
                <a:lnTo>
                  <a:pt x="515" y="104"/>
                </a:lnTo>
                <a:lnTo>
                  <a:pt x="492" y="87"/>
                </a:lnTo>
                <a:lnTo>
                  <a:pt x="468" y="73"/>
                </a:lnTo>
                <a:lnTo>
                  <a:pt x="442" y="61"/>
                </a:lnTo>
                <a:lnTo>
                  <a:pt x="415" y="51"/>
                </a:lnTo>
                <a:lnTo>
                  <a:pt x="388" y="43"/>
                </a:lnTo>
                <a:lnTo>
                  <a:pt x="359" y="39"/>
                </a:lnTo>
                <a:lnTo>
                  <a:pt x="329" y="38"/>
                </a:lnTo>
                <a:lnTo>
                  <a:pt x="329" y="38"/>
                </a:lnTo>
                <a:close/>
              </a:path>
            </a:pathLst>
          </a:custGeom>
          <a:solidFill>
            <a:schemeClr val="accent4"/>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1" name="Freeform 137">
            <a:extLst>
              <a:ext uri="{FF2B5EF4-FFF2-40B4-BE49-F238E27FC236}">
                <a16:creationId xmlns:a16="http://schemas.microsoft.com/office/drawing/2014/main" id="{08D64C65-049A-40AE-B9D9-16F75431E26E}"/>
              </a:ext>
            </a:extLst>
          </p:cNvPr>
          <p:cNvSpPr>
            <a:spLocks/>
          </p:cNvSpPr>
          <p:nvPr/>
        </p:nvSpPr>
        <p:spPr bwMode="auto">
          <a:xfrm>
            <a:off x="5885919" y="1844369"/>
            <a:ext cx="66704" cy="43080"/>
          </a:xfrm>
          <a:custGeom>
            <a:avLst/>
            <a:gdLst>
              <a:gd name="T0" fmla="*/ 83 w 95"/>
              <a:gd name="T1" fmla="*/ 39 h 64"/>
              <a:gd name="T2" fmla="*/ 50 w 95"/>
              <a:gd name="T3" fmla="*/ 39 h 64"/>
              <a:gd name="T4" fmla="*/ 23 w 95"/>
              <a:gd name="T5" fmla="*/ 4 h 64"/>
              <a:gd name="T6" fmla="*/ 23 w 95"/>
              <a:gd name="T7" fmla="*/ 4 h 64"/>
              <a:gd name="T8" fmla="*/ 19 w 95"/>
              <a:gd name="T9" fmla="*/ 2 h 64"/>
              <a:gd name="T10" fmla="*/ 14 w 95"/>
              <a:gd name="T11" fmla="*/ 0 h 64"/>
              <a:gd name="T12" fmla="*/ 9 w 95"/>
              <a:gd name="T13" fmla="*/ 0 h 64"/>
              <a:gd name="T14" fmla="*/ 4 w 95"/>
              <a:gd name="T15" fmla="*/ 3 h 64"/>
              <a:gd name="T16" fmla="*/ 4 w 95"/>
              <a:gd name="T17" fmla="*/ 3 h 64"/>
              <a:gd name="T18" fmla="*/ 1 w 95"/>
              <a:gd name="T19" fmla="*/ 7 h 64"/>
              <a:gd name="T20" fmla="*/ 0 w 95"/>
              <a:gd name="T21" fmla="*/ 11 h 64"/>
              <a:gd name="T22" fmla="*/ 0 w 95"/>
              <a:gd name="T23" fmla="*/ 17 h 64"/>
              <a:gd name="T24" fmla="*/ 3 w 95"/>
              <a:gd name="T25" fmla="*/ 21 h 64"/>
              <a:gd name="T26" fmla="*/ 34 w 95"/>
              <a:gd name="T27" fmla="*/ 60 h 64"/>
              <a:gd name="T28" fmla="*/ 34 w 95"/>
              <a:gd name="T29" fmla="*/ 60 h 64"/>
              <a:gd name="T30" fmla="*/ 39 w 95"/>
              <a:gd name="T31" fmla="*/ 64 h 64"/>
              <a:gd name="T32" fmla="*/ 44 w 95"/>
              <a:gd name="T33" fmla="*/ 64 h 64"/>
              <a:gd name="T34" fmla="*/ 83 w 95"/>
              <a:gd name="T35" fmla="*/ 64 h 64"/>
              <a:gd name="T36" fmla="*/ 83 w 95"/>
              <a:gd name="T37" fmla="*/ 64 h 64"/>
              <a:gd name="T38" fmla="*/ 87 w 95"/>
              <a:gd name="T39" fmla="*/ 64 h 64"/>
              <a:gd name="T40" fmla="*/ 91 w 95"/>
              <a:gd name="T41" fmla="*/ 61 h 64"/>
              <a:gd name="T42" fmla="*/ 94 w 95"/>
              <a:gd name="T43" fmla="*/ 57 h 64"/>
              <a:gd name="T44" fmla="*/ 95 w 95"/>
              <a:gd name="T45" fmla="*/ 51 h 64"/>
              <a:gd name="T46" fmla="*/ 95 w 95"/>
              <a:gd name="T47" fmla="*/ 51 h 64"/>
              <a:gd name="T48" fmla="*/ 94 w 95"/>
              <a:gd name="T49" fmla="*/ 47 h 64"/>
              <a:gd name="T50" fmla="*/ 91 w 95"/>
              <a:gd name="T51" fmla="*/ 43 h 64"/>
              <a:gd name="T52" fmla="*/ 87 w 95"/>
              <a:gd name="T53" fmla="*/ 41 h 64"/>
              <a:gd name="T54" fmla="*/ 83 w 95"/>
              <a:gd name="T55" fmla="*/ 39 h 64"/>
              <a:gd name="T56" fmla="*/ 83 w 95"/>
              <a:gd name="T57" fmla="*/ 3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64">
                <a:moveTo>
                  <a:pt x="83" y="39"/>
                </a:moveTo>
                <a:lnTo>
                  <a:pt x="50" y="39"/>
                </a:lnTo>
                <a:lnTo>
                  <a:pt x="23" y="4"/>
                </a:lnTo>
                <a:lnTo>
                  <a:pt x="23" y="4"/>
                </a:lnTo>
                <a:lnTo>
                  <a:pt x="19" y="2"/>
                </a:lnTo>
                <a:lnTo>
                  <a:pt x="14" y="0"/>
                </a:lnTo>
                <a:lnTo>
                  <a:pt x="9" y="0"/>
                </a:lnTo>
                <a:lnTo>
                  <a:pt x="4" y="3"/>
                </a:lnTo>
                <a:lnTo>
                  <a:pt x="4" y="3"/>
                </a:lnTo>
                <a:lnTo>
                  <a:pt x="1" y="7"/>
                </a:lnTo>
                <a:lnTo>
                  <a:pt x="0" y="11"/>
                </a:lnTo>
                <a:lnTo>
                  <a:pt x="0" y="17"/>
                </a:lnTo>
                <a:lnTo>
                  <a:pt x="3" y="21"/>
                </a:lnTo>
                <a:lnTo>
                  <a:pt x="34" y="60"/>
                </a:lnTo>
                <a:lnTo>
                  <a:pt x="34" y="60"/>
                </a:lnTo>
                <a:lnTo>
                  <a:pt x="39" y="64"/>
                </a:lnTo>
                <a:lnTo>
                  <a:pt x="44" y="64"/>
                </a:lnTo>
                <a:lnTo>
                  <a:pt x="83" y="64"/>
                </a:lnTo>
                <a:lnTo>
                  <a:pt x="83" y="64"/>
                </a:lnTo>
                <a:lnTo>
                  <a:pt x="87" y="64"/>
                </a:lnTo>
                <a:lnTo>
                  <a:pt x="91" y="61"/>
                </a:lnTo>
                <a:lnTo>
                  <a:pt x="94" y="57"/>
                </a:lnTo>
                <a:lnTo>
                  <a:pt x="95" y="51"/>
                </a:lnTo>
                <a:lnTo>
                  <a:pt x="95" y="51"/>
                </a:lnTo>
                <a:lnTo>
                  <a:pt x="94" y="47"/>
                </a:lnTo>
                <a:lnTo>
                  <a:pt x="91" y="43"/>
                </a:lnTo>
                <a:lnTo>
                  <a:pt x="87" y="41"/>
                </a:lnTo>
                <a:lnTo>
                  <a:pt x="83" y="39"/>
                </a:lnTo>
                <a:lnTo>
                  <a:pt x="83"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2" name="Freeform 138">
            <a:extLst>
              <a:ext uri="{FF2B5EF4-FFF2-40B4-BE49-F238E27FC236}">
                <a16:creationId xmlns:a16="http://schemas.microsoft.com/office/drawing/2014/main" id="{934165B6-4E75-48CD-918A-A8BA14A3C01A}"/>
              </a:ext>
            </a:extLst>
          </p:cNvPr>
          <p:cNvSpPr>
            <a:spLocks/>
          </p:cNvSpPr>
          <p:nvPr/>
        </p:nvSpPr>
        <p:spPr bwMode="auto">
          <a:xfrm>
            <a:off x="5799760" y="1667881"/>
            <a:ext cx="152863" cy="145915"/>
          </a:xfrm>
          <a:custGeom>
            <a:avLst/>
            <a:gdLst>
              <a:gd name="T0" fmla="*/ 12 w 220"/>
              <a:gd name="T1" fmla="*/ 172 h 210"/>
              <a:gd name="T2" fmla="*/ 46 w 220"/>
              <a:gd name="T3" fmla="*/ 172 h 210"/>
              <a:gd name="T4" fmla="*/ 73 w 220"/>
              <a:gd name="T5" fmla="*/ 205 h 210"/>
              <a:gd name="T6" fmla="*/ 73 w 220"/>
              <a:gd name="T7" fmla="*/ 205 h 210"/>
              <a:gd name="T8" fmla="*/ 78 w 220"/>
              <a:gd name="T9" fmla="*/ 209 h 210"/>
              <a:gd name="T10" fmla="*/ 83 w 220"/>
              <a:gd name="T11" fmla="*/ 210 h 210"/>
              <a:gd name="T12" fmla="*/ 83 w 220"/>
              <a:gd name="T13" fmla="*/ 210 h 210"/>
              <a:gd name="T14" fmla="*/ 87 w 220"/>
              <a:gd name="T15" fmla="*/ 209 h 210"/>
              <a:gd name="T16" fmla="*/ 92 w 220"/>
              <a:gd name="T17" fmla="*/ 208 h 210"/>
              <a:gd name="T18" fmla="*/ 92 w 220"/>
              <a:gd name="T19" fmla="*/ 208 h 210"/>
              <a:gd name="T20" fmla="*/ 94 w 220"/>
              <a:gd name="T21" fmla="*/ 204 h 210"/>
              <a:gd name="T22" fmla="*/ 96 w 220"/>
              <a:gd name="T23" fmla="*/ 198 h 210"/>
              <a:gd name="T24" fmla="*/ 96 w 220"/>
              <a:gd name="T25" fmla="*/ 198 h 210"/>
              <a:gd name="T26" fmla="*/ 96 w 220"/>
              <a:gd name="T27" fmla="*/ 194 h 210"/>
              <a:gd name="T28" fmla="*/ 93 w 220"/>
              <a:gd name="T29" fmla="*/ 190 h 210"/>
              <a:gd name="T30" fmla="*/ 67 w 220"/>
              <a:gd name="T31" fmla="*/ 158 h 210"/>
              <a:gd name="T32" fmla="*/ 175 w 220"/>
              <a:gd name="T33" fmla="*/ 25 h 210"/>
              <a:gd name="T34" fmla="*/ 208 w 220"/>
              <a:gd name="T35" fmla="*/ 25 h 210"/>
              <a:gd name="T36" fmla="*/ 208 w 220"/>
              <a:gd name="T37" fmla="*/ 25 h 210"/>
              <a:gd name="T38" fmla="*/ 212 w 220"/>
              <a:gd name="T39" fmla="*/ 24 h 210"/>
              <a:gd name="T40" fmla="*/ 216 w 220"/>
              <a:gd name="T41" fmla="*/ 21 h 210"/>
              <a:gd name="T42" fmla="*/ 219 w 220"/>
              <a:gd name="T43" fmla="*/ 17 h 210"/>
              <a:gd name="T44" fmla="*/ 220 w 220"/>
              <a:gd name="T45" fmla="*/ 12 h 210"/>
              <a:gd name="T46" fmla="*/ 220 w 220"/>
              <a:gd name="T47" fmla="*/ 12 h 210"/>
              <a:gd name="T48" fmla="*/ 219 w 220"/>
              <a:gd name="T49" fmla="*/ 8 h 210"/>
              <a:gd name="T50" fmla="*/ 216 w 220"/>
              <a:gd name="T51" fmla="*/ 4 h 210"/>
              <a:gd name="T52" fmla="*/ 212 w 220"/>
              <a:gd name="T53" fmla="*/ 1 h 210"/>
              <a:gd name="T54" fmla="*/ 208 w 220"/>
              <a:gd name="T55" fmla="*/ 0 h 210"/>
              <a:gd name="T56" fmla="*/ 169 w 220"/>
              <a:gd name="T57" fmla="*/ 0 h 210"/>
              <a:gd name="T58" fmla="*/ 169 w 220"/>
              <a:gd name="T59" fmla="*/ 0 h 210"/>
              <a:gd name="T60" fmla="*/ 164 w 220"/>
              <a:gd name="T61" fmla="*/ 1 h 210"/>
              <a:gd name="T62" fmla="*/ 159 w 220"/>
              <a:gd name="T63" fmla="*/ 5 h 210"/>
              <a:gd name="T64" fmla="*/ 46 w 220"/>
              <a:gd name="T65" fmla="*/ 146 h 210"/>
              <a:gd name="T66" fmla="*/ 12 w 220"/>
              <a:gd name="T67" fmla="*/ 146 h 210"/>
              <a:gd name="T68" fmla="*/ 12 w 220"/>
              <a:gd name="T69" fmla="*/ 146 h 210"/>
              <a:gd name="T70" fmla="*/ 8 w 220"/>
              <a:gd name="T71" fmla="*/ 147 h 210"/>
              <a:gd name="T72" fmla="*/ 4 w 220"/>
              <a:gd name="T73" fmla="*/ 150 h 210"/>
              <a:gd name="T74" fmla="*/ 2 w 220"/>
              <a:gd name="T75" fmla="*/ 154 h 210"/>
              <a:gd name="T76" fmla="*/ 0 w 220"/>
              <a:gd name="T77" fmla="*/ 158 h 210"/>
              <a:gd name="T78" fmla="*/ 0 w 220"/>
              <a:gd name="T79" fmla="*/ 158 h 210"/>
              <a:gd name="T80" fmla="*/ 2 w 220"/>
              <a:gd name="T81" fmla="*/ 163 h 210"/>
              <a:gd name="T82" fmla="*/ 4 w 220"/>
              <a:gd name="T83" fmla="*/ 168 h 210"/>
              <a:gd name="T84" fmla="*/ 8 w 220"/>
              <a:gd name="T85" fmla="*/ 170 h 210"/>
              <a:gd name="T86" fmla="*/ 12 w 220"/>
              <a:gd name="T87" fmla="*/ 172 h 210"/>
              <a:gd name="T88" fmla="*/ 12 w 220"/>
              <a:gd name="T89" fmla="*/ 17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0" h="210">
                <a:moveTo>
                  <a:pt x="12" y="172"/>
                </a:moveTo>
                <a:lnTo>
                  <a:pt x="46" y="172"/>
                </a:lnTo>
                <a:lnTo>
                  <a:pt x="73" y="205"/>
                </a:lnTo>
                <a:lnTo>
                  <a:pt x="73" y="205"/>
                </a:lnTo>
                <a:lnTo>
                  <a:pt x="78" y="209"/>
                </a:lnTo>
                <a:lnTo>
                  <a:pt x="83" y="210"/>
                </a:lnTo>
                <a:lnTo>
                  <a:pt x="83" y="210"/>
                </a:lnTo>
                <a:lnTo>
                  <a:pt x="87" y="209"/>
                </a:lnTo>
                <a:lnTo>
                  <a:pt x="92" y="208"/>
                </a:lnTo>
                <a:lnTo>
                  <a:pt x="92" y="208"/>
                </a:lnTo>
                <a:lnTo>
                  <a:pt x="94" y="204"/>
                </a:lnTo>
                <a:lnTo>
                  <a:pt x="96" y="198"/>
                </a:lnTo>
                <a:lnTo>
                  <a:pt x="96" y="198"/>
                </a:lnTo>
                <a:lnTo>
                  <a:pt x="96" y="194"/>
                </a:lnTo>
                <a:lnTo>
                  <a:pt x="93" y="190"/>
                </a:lnTo>
                <a:lnTo>
                  <a:pt x="67" y="158"/>
                </a:lnTo>
                <a:lnTo>
                  <a:pt x="175" y="25"/>
                </a:lnTo>
                <a:lnTo>
                  <a:pt x="208" y="25"/>
                </a:lnTo>
                <a:lnTo>
                  <a:pt x="208" y="25"/>
                </a:lnTo>
                <a:lnTo>
                  <a:pt x="212" y="24"/>
                </a:lnTo>
                <a:lnTo>
                  <a:pt x="216" y="21"/>
                </a:lnTo>
                <a:lnTo>
                  <a:pt x="219" y="17"/>
                </a:lnTo>
                <a:lnTo>
                  <a:pt x="220" y="12"/>
                </a:lnTo>
                <a:lnTo>
                  <a:pt x="220" y="12"/>
                </a:lnTo>
                <a:lnTo>
                  <a:pt x="219" y="8"/>
                </a:lnTo>
                <a:lnTo>
                  <a:pt x="216" y="4"/>
                </a:lnTo>
                <a:lnTo>
                  <a:pt x="212" y="1"/>
                </a:lnTo>
                <a:lnTo>
                  <a:pt x="208" y="0"/>
                </a:lnTo>
                <a:lnTo>
                  <a:pt x="169" y="0"/>
                </a:lnTo>
                <a:lnTo>
                  <a:pt x="169" y="0"/>
                </a:lnTo>
                <a:lnTo>
                  <a:pt x="164" y="1"/>
                </a:lnTo>
                <a:lnTo>
                  <a:pt x="159" y="5"/>
                </a:lnTo>
                <a:lnTo>
                  <a:pt x="46" y="146"/>
                </a:lnTo>
                <a:lnTo>
                  <a:pt x="12" y="146"/>
                </a:lnTo>
                <a:lnTo>
                  <a:pt x="12" y="146"/>
                </a:lnTo>
                <a:lnTo>
                  <a:pt x="8" y="147"/>
                </a:lnTo>
                <a:lnTo>
                  <a:pt x="4" y="150"/>
                </a:lnTo>
                <a:lnTo>
                  <a:pt x="2" y="154"/>
                </a:lnTo>
                <a:lnTo>
                  <a:pt x="0" y="158"/>
                </a:lnTo>
                <a:lnTo>
                  <a:pt x="0" y="158"/>
                </a:lnTo>
                <a:lnTo>
                  <a:pt x="2" y="163"/>
                </a:lnTo>
                <a:lnTo>
                  <a:pt x="4" y="168"/>
                </a:lnTo>
                <a:lnTo>
                  <a:pt x="8" y="170"/>
                </a:lnTo>
                <a:lnTo>
                  <a:pt x="12" y="172"/>
                </a:lnTo>
                <a:lnTo>
                  <a:pt x="12" y="1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3" name="Freeform 139">
            <a:extLst>
              <a:ext uri="{FF2B5EF4-FFF2-40B4-BE49-F238E27FC236}">
                <a16:creationId xmlns:a16="http://schemas.microsoft.com/office/drawing/2014/main" id="{05A4AF9A-0222-4D3B-833E-70919A106EE8}"/>
              </a:ext>
            </a:extLst>
          </p:cNvPr>
          <p:cNvSpPr>
            <a:spLocks/>
          </p:cNvSpPr>
          <p:nvPr/>
        </p:nvSpPr>
        <p:spPr bwMode="auto">
          <a:xfrm>
            <a:off x="5799760" y="1667881"/>
            <a:ext cx="65315" cy="44469"/>
          </a:xfrm>
          <a:custGeom>
            <a:avLst/>
            <a:gdLst>
              <a:gd name="T0" fmla="*/ 12 w 96"/>
              <a:gd name="T1" fmla="*/ 25 h 64"/>
              <a:gd name="T2" fmla="*/ 46 w 96"/>
              <a:gd name="T3" fmla="*/ 25 h 64"/>
              <a:gd name="T4" fmla="*/ 73 w 96"/>
              <a:gd name="T5" fmla="*/ 59 h 64"/>
              <a:gd name="T6" fmla="*/ 73 w 96"/>
              <a:gd name="T7" fmla="*/ 59 h 64"/>
              <a:gd name="T8" fmla="*/ 78 w 96"/>
              <a:gd name="T9" fmla="*/ 63 h 64"/>
              <a:gd name="T10" fmla="*/ 83 w 96"/>
              <a:gd name="T11" fmla="*/ 64 h 64"/>
              <a:gd name="T12" fmla="*/ 83 w 96"/>
              <a:gd name="T13" fmla="*/ 64 h 64"/>
              <a:gd name="T14" fmla="*/ 87 w 96"/>
              <a:gd name="T15" fmla="*/ 63 h 64"/>
              <a:gd name="T16" fmla="*/ 92 w 96"/>
              <a:gd name="T17" fmla="*/ 61 h 64"/>
              <a:gd name="T18" fmla="*/ 92 w 96"/>
              <a:gd name="T19" fmla="*/ 61 h 64"/>
              <a:gd name="T20" fmla="*/ 94 w 96"/>
              <a:gd name="T21" fmla="*/ 57 h 64"/>
              <a:gd name="T22" fmla="*/ 96 w 96"/>
              <a:gd name="T23" fmla="*/ 53 h 64"/>
              <a:gd name="T24" fmla="*/ 96 w 96"/>
              <a:gd name="T25" fmla="*/ 53 h 64"/>
              <a:gd name="T26" fmla="*/ 96 w 96"/>
              <a:gd name="T27" fmla="*/ 48 h 64"/>
              <a:gd name="T28" fmla="*/ 93 w 96"/>
              <a:gd name="T29" fmla="*/ 44 h 64"/>
              <a:gd name="T30" fmla="*/ 62 w 96"/>
              <a:gd name="T31" fmla="*/ 5 h 64"/>
              <a:gd name="T32" fmla="*/ 62 w 96"/>
              <a:gd name="T33" fmla="*/ 5 h 64"/>
              <a:gd name="T34" fmla="*/ 57 w 96"/>
              <a:gd name="T35" fmla="*/ 1 h 64"/>
              <a:gd name="T36" fmla="*/ 51 w 96"/>
              <a:gd name="T37" fmla="*/ 0 h 64"/>
              <a:gd name="T38" fmla="*/ 12 w 96"/>
              <a:gd name="T39" fmla="*/ 0 h 64"/>
              <a:gd name="T40" fmla="*/ 12 w 96"/>
              <a:gd name="T41" fmla="*/ 0 h 64"/>
              <a:gd name="T42" fmla="*/ 8 w 96"/>
              <a:gd name="T43" fmla="*/ 1 h 64"/>
              <a:gd name="T44" fmla="*/ 4 w 96"/>
              <a:gd name="T45" fmla="*/ 4 h 64"/>
              <a:gd name="T46" fmla="*/ 2 w 96"/>
              <a:gd name="T47" fmla="*/ 8 h 64"/>
              <a:gd name="T48" fmla="*/ 0 w 96"/>
              <a:gd name="T49" fmla="*/ 12 h 64"/>
              <a:gd name="T50" fmla="*/ 0 w 96"/>
              <a:gd name="T51" fmla="*/ 12 h 64"/>
              <a:gd name="T52" fmla="*/ 2 w 96"/>
              <a:gd name="T53" fmla="*/ 17 h 64"/>
              <a:gd name="T54" fmla="*/ 4 w 96"/>
              <a:gd name="T55" fmla="*/ 21 h 64"/>
              <a:gd name="T56" fmla="*/ 8 w 96"/>
              <a:gd name="T57" fmla="*/ 24 h 64"/>
              <a:gd name="T58" fmla="*/ 12 w 96"/>
              <a:gd name="T59" fmla="*/ 25 h 64"/>
              <a:gd name="T60" fmla="*/ 12 w 96"/>
              <a:gd name="T61" fmla="*/ 2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12" y="25"/>
                </a:moveTo>
                <a:lnTo>
                  <a:pt x="46" y="25"/>
                </a:lnTo>
                <a:lnTo>
                  <a:pt x="73" y="59"/>
                </a:lnTo>
                <a:lnTo>
                  <a:pt x="73" y="59"/>
                </a:lnTo>
                <a:lnTo>
                  <a:pt x="78" y="63"/>
                </a:lnTo>
                <a:lnTo>
                  <a:pt x="83" y="64"/>
                </a:lnTo>
                <a:lnTo>
                  <a:pt x="83" y="64"/>
                </a:lnTo>
                <a:lnTo>
                  <a:pt x="87" y="63"/>
                </a:lnTo>
                <a:lnTo>
                  <a:pt x="92" y="61"/>
                </a:lnTo>
                <a:lnTo>
                  <a:pt x="92" y="61"/>
                </a:lnTo>
                <a:lnTo>
                  <a:pt x="94" y="57"/>
                </a:lnTo>
                <a:lnTo>
                  <a:pt x="96" y="53"/>
                </a:lnTo>
                <a:lnTo>
                  <a:pt x="96" y="53"/>
                </a:lnTo>
                <a:lnTo>
                  <a:pt x="96" y="48"/>
                </a:lnTo>
                <a:lnTo>
                  <a:pt x="93" y="44"/>
                </a:lnTo>
                <a:lnTo>
                  <a:pt x="62" y="5"/>
                </a:lnTo>
                <a:lnTo>
                  <a:pt x="62" y="5"/>
                </a:lnTo>
                <a:lnTo>
                  <a:pt x="57" y="1"/>
                </a:lnTo>
                <a:lnTo>
                  <a:pt x="51" y="0"/>
                </a:lnTo>
                <a:lnTo>
                  <a:pt x="12" y="0"/>
                </a:lnTo>
                <a:lnTo>
                  <a:pt x="12" y="0"/>
                </a:lnTo>
                <a:lnTo>
                  <a:pt x="8" y="1"/>
                </a:lnTo>
                <a:lnTo>
                  <a:pt x="4" y="4"/>
                </a:lnTo>
                <a:lnTo>
                  <a:pt x="2" y="8"/>
                </a:lnTo>
                <a:lnTo>
                  <a:pt x="0" y="12"/>
                </a:lnTo>
                <a:lnTo>
                  <a:pt x="0" y="12"/>
                </a:lnTo>
                <a:lnTo>
                  <a:pt x="2" y="17"/>
                </a:lnTo>
                <a:lnTo>
                  <a:pt x="4" y="21"/>
                </a:lnTo>
                <a:lnTo>
                  <a:pt x="8" y="24"/>
                </a:lnTo>
                <a:lnTo>
                  <a:pt x="12" y="25"/>
                </a:lnTo>
                <a:lnTo>
                  <a:pt x="12"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4" name="Freeform 140">
            <a:extLst>
              <a:ext uri="{FF2B5EF4-FFF2-40B4-BE49-F238E27FC236}">
                <a16:creationId xmlns:a16="http://schemas.microsoft.com/office/drawing/2014/main" id="{E9D1A387-AEC9-43EC-A8FD-D05E988ED01E}"/>
              </a:ext>
            </a:extLst>
          </p:cNvPr>
          <p:cNvSpPr>
            <a:spLocks/>
          </p:cNvSpPr>
          <p:nvPr/>
        </p:nvSpPr>
        <p:spPr bwMode="auto">
          <a:xfrm>
            <a:off x="5799760" y="1742923"/>
            <a:ext cx="152863" cy="144525"/>
          </a:xfrm>
          <a:custGeom>
            <a:avLst/>
            <a:gdLst>
              <a:gd name="T0" fmla="*/ 208 w 220"/>
              <a:gd name="T1" fmla="*/ 39 h 210"/>
              <a:gd name="T2" fmla="*/ 175 w 220"/>
              <a:gd name="T3" fmla="*/ 39 h 210"/>
              <a:gd name="T4" fmla="*/ 148 w 220"/>
              <a:gd name="T5" fmla="*/ 4 h 210"/>
              <a:gd name="T6" fmla="*/ 148 w 220"/>
              <a:gd name="T7" fmla="*/ 4 h 210"/>
              <a:gd name="T8" fmla="*/ 144 w 220"/>
              <a:gd name="T9" fmla="*/ 1 h 210"/>
              <a:gd name="T10" fmla="*/ 139 w 220"/>
              <a:gd name="T11" fmla="*/ 0 h 210"/>
              <a:gd name="T12" fmla="*/ 134 w 220"/>
              <a:gd name="T13" fmla="*/ 0 h 210"/>
              <a:gd name="T14" fmla="*/ 129 w 220"/>
              <a:gd name="T15" fmla="*/ 3 h 210"/>
              <a:gd name="T16" fmla="*/ 129 w 220"/>
              <a:gd name="T17" fmla="*/ 3 h 210"/>
              <a:gd name="T18" fmla="*/ 126 w 220"/>
              <a:gd name="T19" fmla="*/ 7 h 210"/>
              <a:gd name="T20" fmla="*/ 125 w 220"/>
              <a:gd name="T21" fmla="*/ 11 h 210"/>
              <a:gd name="T22" fmla="*/ 125 w 220"/>
              <a:gd name="T23" fmla="*/ 11 h 210"/>
              <a:gd name="T24" fmla="*/ 125 w 220"/>
              <a:gd name="T25" fmla="*/ 16 h 210"/>
              <a:gd name="T26" fmla="*/ 128 w 220"/>
              <a:gd name="T27" fmla="*/ 20 h 210"/>
              <a:gd name="T28" fmla="*/ 153 w 220"/>
              <a:gd name="T29" fmla="*/ 51 h 210"/>
              <a:gd name="T30" fmla="*/ 46 w 220"/>
              <a:gd name="T31" fmla="*/ 185 h 210"/>
              <a:gd name="T32" fmla="*/ 12 w 220"/>
              <a:gd name="T33" fmla="*/ 185 h 210"/>
              <a:gd name="T34" fmla="*/ 12 w 220"/>
              <a:gd name="T35" fmla="*/ 185 h 210"/>
              <a:gd name="T36" fmla="*/ 8 w 220"/>
              <a:gd name="T37" fmla="*/ 187 h 210"/>
              <a:gd name="T38" fmla="*/ 4 w 220"/>
              <a:gd name="T39" fmla="*/ 189 h 210"/>
              <a:gd name="T40" fmla="*/ 2 w 220"/>
              <a:gd name="T41" fmla="*/ 193 h 210"/>
              <a:gd name="T42" fmla="*/ 0 w 220"/>
              <a:gd name="T43" fmla="*/ 197 h 210"/>
              <a:gd name="T44" fmla="*/ 0 w 220"/>
              <a:gd name="T45" fmla="*/ 197 h 210"/>
              <a:gd name="T46" fmla="*/ 2 w 220"/>
              <a:gd name="T47" fmla="*/ 203 h 210"/>
              <a:gd name="T48" fmla="*/ 4 w 220"/>
              <a:gd name="T49" fmla="*/ 207 h 210"/>
              <a:gd name="T50" fmla="*/ 8 w 220"/>
              <a:gd name="T51" fmla="*/ 210 h 210"/>
              <a:gd name="T52" fmla="*/ 12 w 220"/>
              <a:gd name="T53" fmla="*/ 210 h 210"/>
              <a:gd name="T54" fmla="*/ 51 w 220"/>
              <a:gd name="T55" fmla="*/ 210 h 210"/>
              <a:gd name="T56" fmla="*/ 51 w 220"/>
              <a:gd name="T57" fmla="*/ 210 h 210"/>
              <a:gd name="T58" fmla="*/ 57 w 220"/>
              <a:gd name="T59" fmla="*/ 210 h 210"/>
              <a:gd name="T60" fmla="*/ 62 w 220"/>
              <a:gd name="T61" fmla="*/ 206 h 210"/>
              <a:gd name="T62" fmla="*/ 175 w 220"/>
              <a:gd name="T63" fmla="*/ 65 h 210"/>
              <a:gd name="T64" fmla="*/ 208 w 220"/>
              <a:gd name="T65" fmla="*/ 65 h 210"/>
              <a:gd name="T66" fmla="*/ 208 w 220"/>
              <a:gd name="T67" fmla="*/ 65 h 210"/>
              <a:gd name="T68" fmla="*/ 212 w 220"/>
              <a:gd name="T69" fmla="*/ 63 h 210"/>
              <a:gd name="T70" fmla="*/ 216 w 220"/>
              <a:gd name="T71" fmla="*/ 61 h 210"/>
              <a:gd name="T72" fmla="*/ 219 w 220"/>
              <a:gd name="T73" fmla="*/ 56 h 210"/>
              <a:gd name="T74" fmla="*/ 220 w 220"/>
              <a:gd name="T75" fmla="*/ 51 h 210"/>
              <a:gd name="T76" fmla="*/ 220 w 220"/>
              <a:gd name="T77" fmla="*/ 51 h 210"/>
              <a:gd name="T78" fmla="*/ 219 w 220"/>
              <a:gd name="T79" fmla="*/ 47 h 210"/>
              <a:gd name="T80" fmla="*/ 216 w 220"/>
              <a:gd name="T81" fmla="*/ 43 h 210"/>
              <a:gd name="T82" fmla="*/ 212 w 220"/>
              <a:gd name="T83" fmla="*/ 40 h 210"/>
              <a:gd name="T84" fmla="*/ 208 w 220"/>
              <a:gd name="T85" fmla="*/ 39 h 210"/>
              <a:gd name="T86" fmla="*/ 208 w 220"/>
              <a:gd name="T87" fmla="*/ 3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0" h="210">
                <a:moveTo>
                  <a:pt x="208" y="39"/>
                </a:moveTo>
                <a:lnTo>
                  <a:pt x="175" y="39"/>
                </a:lnTo>
                <a:lnTo>
                  <a:pt x="148" y="4"/>
                </a:lnTo>
                <a:lnTo>
                  <a:pt x="148" y="4"/>
                </a:lnTo>
                <a:lnTo>
                  <a:pt x="144" y="1"/>
                </a:lnTo>
                <a:lnTo>
                  <a:pt x="139" y="0"/>
                </a:lnTo>
                <a:lnTo>
                  <a:pt x="134" y="0"/>
                </a:lnTo>
                <a:lnTo>
                  <a:pt x="129" y="3"/>
                </a:lnTo>
                <a:lnTo>
                  <a:pt x="129" y="3"/>
                </a:lnTo>
                <a:lnTo>
                  <a:pt x="126" y="7"/>
                </a:lnTo>
                <a:lnTo>
                  <a:pt x="125" y="11"/>
                </a:lnTo>
                <a:lnTo>
                  <a:pt x="125" y="11"/>
                </a:lnTo>
                <a:lnTo>
                  <a:pt x="125" y="16"/>
                </a:lnTo>
                <a:lnTo>
                  <a:pt x="128" y="20"/>
                </a:lnTo>
                <a:lnTo>
                  <a:pt x="153" y="51"/>
                </a:lnTo>
                <a:lnTo>
                  <a:pt x="46" y="185"/>
                </a:lnTo>
                <a:lnTo>
                  <a:pt x="12" y="185"/>
                </a:lnTo>
                <a:lnTo>
                  <a:pt x="12" y="185"/>
                </a:lnTo>
                <a:lnTo>
                  <a:pt x="8" y="187"/>
                </a:lnTo>
                <a:lnTo>
                  <a:pt x="4" y="189"/>
                </a:lnTo>
                <a:lnTo>
                  <a:pt x="2" y="193"/>
                </a:lnTo>
                <a:lnTo>
                  <a:pt x="0" y="197"/>
                </a:lnTo>
                <a:lnTo>
                  <a:pt x="0" y="197"/>
                </a:lnTo>
                <a:lnTo>
                  <a:pt x="2" y="203"/>
                </a:lnTo>
                <a:lnTo>
                  <a:pt x="4" y="207"/>
                </a:lnTo>
                <a:lnTo>
                  <a:pt x="8" y="210"/>
                </a:lnTo>
                <a:lnTo>
                  <a:pt x="12" y="210"/>
                </a:lnTo>
                <a:lnTo>
                  <a:pt x="51" y="210"/>
                </a:lnTo>
                <a:lnTo>
                  <a:pt x="51" y="210"/>
                </a:lnTo>
                <a:lnTo>
                  <a:pt x="57" y="210"/>
                </a:lnTo>
                <a:lnTo>
                  <a:pt x="62" y="206"/>
                </a:lnTo>
                <a:lnTo>
                  <a:pt x="175" y="65"/>
                </a:lnTo>
                <a:lnTo>
                  <a:pt x="208" y="65"/>
                </a:lnTo>
                <a:lnTo>
                  <a:pt x="208" y="65"/>
                </a:lnTo>
                <a:lnTo>
                  <a:pt x="212" y="63"/>
                </a:lnTo>
                <a:lnTo>
                  <a:pt x="216" y="61"/>
                </a:lnTo>
                <a:lnTo>
                  <a:pt x="219" y="56"/>
                </a:lnTo>
                <a:lnTo>
                  <a:pt x="220" y="51"/>
                </a:lnTo>
                <a:lnTo>
                  <a:pt x="220" y="51"/>
                </a:lnTo>
                <a:lnTo>
                  <a:pt x="219" y="47"/>
                </a:lnTo>
                <a:lnTo>
                  <a:pt x="216" y="43"/>
                </a:lnTo>
                <a:lnTo>
                  <a:pt x="212" y="40"/>
                </a:lnTo>
                <a:lnTo>
                  <a:pt x="208" y="39"/>
                </a:lnTo>
                <a:lnTo>
                  <a:pt x="208"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5" name="Freeform 45">
            <a:extLst>
              <a:ext uri="{FF2B5EF4-FFF2-40B4-BE49-F238E27FC236}">
                <a16:creationId xmlns:a16="http://schemas.microsoft.com/office/drawing/2014/main" id="{C46FB4C2-A7EB-44DF-9F22-67D6B7B3CE38}"/>
              </a:ext>
            </a:extLst>
          </p:cNvPr>
          <p:cNvSpPr>
            <a:spLocks noEditPoints="1"/>
          </p:cNvSpPr>
          <p:nvPr/>
        </p:nvSpPr>
        <p:spPr bwMode="auto">
          <a:xfrm>
            <a:off x="648334" y="4079335"/>
            <a:ext cx="457200" cy="458594"/>
          </a:xfrm>
          <a:custGeom>
            <a:avLst/>
            <a:gdLst>
              <a:gd name="T0" fmla="*/ 312 w 657"/>
              <a:gd name="T1" fmla="*/ 657 h 657"/>
              <a:gd name="T2" fmla="*/ 262 w 657"/>
              <a:gd name="T3" fmla="*/ 651 h 657"/>
              <a:gd name="T4" fmla="*/ 201 w 657"/>
              <a:gd name="T5" fmla="*/ 631 h 657"/>
              <a:gd name="T6" fmla="*/ 120 w 657"/>
              <a:gd name="T7" fmla="*/ 583 h 657"/>
              <a:gd name="T8" fmla="*/ 57 w 657"/>
              <a:gd name="T9" fmla="*/ 512 h 657"/>
              <a:gd name="T10" fmla="*/ 15 w 657"/>
              <a:gd name="T11" fmla="*/ 426 h 657"/>
              <a:gd name="T12" fmla="*/ 4 w 657"/>
              <a:gd name="T13" fmla="*/ 379 h 657"/>
              <a:gd name="T14" fmla="*/ 0 w 657"/>
              <a:gd name="T15" fmla="*/ 329 h 657"/>
              <a:gd name="T16" fmla="*/ 2 w 657"/>
              <a:gd name="T17" fmla="*/ 295 h 657"/>
              <a:gd name="T18" fmla="*/ 11 w 657"/>
              <a:gd name="T19" fmla="*/ 247 h 657"/>
              <a:gd name="T20" fmla="*/ 39 w 657"/>
              <a:gd name="T21" fmla="*/ 172 h 657"/>
              <a:gd name="T22" fmla="*/ 97 w 657"/>
              <a:gd name="T23" fmla="*/ 97 h 657"/>
              <a:gd name="T24" fmla="*/ 172 w 657"/>
              <a:gd name="T25" fmla="*/ 40 h 657"/>
              <a:gd name="T26" fmla="*/ 246 w 657"/>
              <a:gd name="T27" fmla="*/ 11 h 657"/>
              <a:gd name="T28" fmla="*/ 296 w 657"/>
              <a:gd name="T29" fmla="*/ 1 h 657"/>
              <a:gd name="T30" fmla="*/ 330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1 h 657"/>
              <a:gd name="T42" fmla="*/ 651 w 657"/>
              <a:gd name="T43" fmla="*/ 262 h 657"/>
              <a:gd name="T44" fmla="*/ 657 w 657"/>
              <a:gd name="T45" fmla="*/ 311 h 657"/>
              <a:gd name="T46" fmla="*/ 657 w 657"/>
              <a:gd name="T47" fmla="*/ 345 h 657"/>
              <a:gd name="T48" fmla="*/ 651 w 657"/>
              <a:gd name="T49" fmla="*/ 395 h 657"/>
              <a:gd name="T50" fmla="*/ 632 w 657"/>
              <a:gd name="T51" fmla="*/ 457 h 657"/>
              <a:gd name="T52" fmla="*/ 582 w 657"/>
              <a:gd name="T53" fmla="*/ 537 h 657"/>
              <a:gd name="T54" fmla="*/ 512 w 657"/>
              <a:gd name="T55" fmla="*/ 602 h 657"/>
              <a:gd name="T56" fmla="*/ 426 w 657"/>
              <a:gd name="T57" fmla="*/ 642 h 657"/>
              <a:gd name="T58" fmla="*/ 379 w 657"/>
              <a:gd name="T59" fmla="*/ 654 h 657"/>
              <a:gd name="T60" fmla="*/ 330 w 657"/>
              <a:gd name="T61" fmla="*/ 657 h 657"/>
              <a:gd name="T62" fmla="*/ 330 w 657"/>
              <a:gd name="T63" fmla="*/ 37 h 657"/>
              <a:gd name="T64" fmla="*/ 242 w 657"/>
              <a:gd name="T65" fmla="*/ 51 h 657"/>
              <a:gd name="T66" fmla="*/ 166 w 657"/>
              <a:gd name="T67" fmla="*/ 87 h 657"/>
              <a:gd name="T68" fmla="*/ 104 w 657"/>
              <a:gd name="T69" fmla="*/ 144 h 657"/>
              <a:gd name="T70" fmla="*/ 61 w 657"/>
              <a:gd name="T71" fmla="*/ 215 h 657"/>
              <a:gd name="T72" fmla="*/ 39 w 657"/>
              <a:gd name="T73" fmla="*/ 299 h 657"/>
              <a:gd name="T74" fmla="*/ 39 w 657"/>
              <a:gd name="T75" fmla="*/ 358 h 657"/>
              <a:gd name="T76" fmla="*/ 61 w 657"/>
              <a:gd name="T77" fmla="*/ 442 h 657"/>
              <a:gd name="T78" fmla="*/ 104 w 657"/>
              <a:gd name="T79" fmla="*/ 514 h 657"/>
              <a:gd name="T80" fmla="*/ 166 w 657"/>
              <a:gd name="T81" fmla="*/ 569 h 657"/>
              <a:gd name="T82" fmla="*/ 242 w 657"/>
              <a:gd name="T83" fmla="*/ 607 h 657"/>
              <a:gd name="T84" fmla="*/ 330 w 657"/>
              <a:gd name="T85" fmla="*/ 619 h 657"/>
              <a:gd name="T86" fmla="*/ 387 w 657"/>
              <a:gd name="T87" fmla="*/ 614 h 657"/>
              <a:gd name="T88" fmla="*/ 468 w 657"/>
              <a:gd name="T89" fmla="*/ 584 h 657"/>
              <a:gd name="T90" fmla="*/ 535 w 657"/>
              <a:gd name="T91" fmla="*/ 534 h 657"/>
              <a:gd name="T92" fmla="*/ 585 w 657"/>
              <a:gd name="T93" fmla="*/ 467 h 657"/>
              <a:gd name="T94" fmla="*/ 614 w 657"/>
              <a:gd name="T95" fmla="*/ 387 h 657"/>
              <a:gd name="T96" fmla="*/ 620 w 657"/>
              <a:gd name="T97" fmla="*/ 329 h 657"/>
              <a:gd name="T98" fmla="*/ 608 w 657"/>
              <a:gd name="T99" fmla="*/ 242 h 657"/>
              <a:gd name="T100" fmla="*/ 570 w 657"/>
              <a:gd name="T101" fmla="*/ 166 h 657"/>
              <a:gd name="T102" fmla="*/ 514 w 657"/>
              <a:gd name="T103" fmla="*/ 105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30" y="657"/>
                </a:moveTo>
                <a:lnTo>
                  <a:pt x="330" y="657"/>
                </a:lnTo>
                <a:lnTo>
                  <a:pt x="312" y="657"/>
                </a:lnTo>
                <a:lnTo>
                  <a:pt x="296" y="655"/>
                </a:lnTo>
                <a:lnTo>
                  <a:pt x="279" y="654"/>
                </a:lnTo>
                <a:lnTo>
                  <a:pt x="262" y="651"/>
                </a:lnTo>
                <a:lnTo>
                  <a:pt x="246" y="647"/>
                </a:lnTo>
                <a:lnTo>
                  <a:pt x="231" y="642"/>
                </a:lnTo>
                <a:lnTo>
                  <a:pt x="201" y="631"/>
                </a:lnTo>
                <a:lnTo>
                  <a:pt x="172" y="618"/>
                </a:lnTo>
                <a:lnTo>
                  <a:pt x="146" y="602"/>
                </a:lnTo>
                <a:lnTo>
                  <a:pt x="120" y="583"/>
                </a:lnTo>
                <a:lnTo>
                  <a:pt x="97" y="561"/>
                </a:lnTo>
                <a:lnTo>
                  <a:pt x="76" y="537"/>
                </a:lnTo>
                <a:lnTo>
                  <a:pt x="57" y="512"/>
                </a:lnTo>
                <a:lnTo>
                  <a:pt x="39" y="485"/>
                </a:lnTo>
                <a:lnTo>
                  <a:pt x="26" y="457"/>
                </a:lnTo>
                <a:lnTo>
                  <a:pt x="15" y="426"/>
                </a:lnTo>
                <a:lnTo>
                  <a:pt x="11" y="411"/>
                </a:lnTo>
                <a:lnTo>
                  <a:pt x="7" y="395"/>
                </a:lnTo>
                <a:lnTo>
                  <a:pt x="4" y="379"/>
                </a:lnTo>
                <a:lnTo>
                  <a:pt x="2" y="362"/>
                </a:lnTo>
                <a:lnTo>
                  <a:pt x="0" y="345"/>
                </a:lnTo>
                <a:lnTo>
                  <a:pt x="0" y="329"/>
                </a:lnTo>
                <a:lnTo>
                  <a:pt x="0" y="329"/>
                </a:lnTo>
                <a:lnTo>
                  <a:pt x="0" y="311"/>
                </a:lnTo>
                <a:lnTo>
                  <a:pt x="2" y="295"/>
                </a:lnTo>
                <a:lnTo>
                  <a:pt x="4" y="279"/>
                </a:lnTo>
                <a:lnTo>
                  <a:pt x="7" y="262"/>
                </a:lnTo>
                <a:lnTo>
                  <a:pt x="11" y="247"/>
                </a:lnTo>
                <a:lnTo>
                  <a:pt x="15" y="231"/>
                </a:lnTo>
                <a:lnTo>
                  <a:pt x="26" y="201"/>
                </a:lnTo>
                <a:lnTo>
                  <a:pt x="39" y="172"/>
                </a:lnTo>
                <a:lnTo>
                  <a:pt x="57" y="145"/>
                </a:lnTo>
                <a:lnTo>
                  <a:pt x="76" y="119"/>
                </a:lnTo>
                <a:lnTo>
                  <a:pt x="97" y="97"/>
                </a:lnTo>
                <a:lnTo>
                  <a:pt x="120" y="75"/>
                </a:lnTo>
                <a:lnTo>
                  <a:pt x="146" y="56"/>
                </a:lnTo>
                <a:lnTo>
                  <a:pt x="172" y="40"/>
                </a:lnTo>
                <a:lnTo>
                  <a:pt x="201" y="25"/>
                </a:lnTo>
                <a:lnTo>
                  <a:pt x="231" y="15"/>
                </a:lnTo>
                <a:lnTo>
                  <a:pt x="246" y="11"/>
                </a:lnTo>
                <a:lnTo>
                  <a:pt x="262" y="7"/>
                </a:lnTo>
                <a:lnTo>
                  <a:pt x="279" y="4"/>
                </a:lnTo>
                <a:lnTo>
                  <a:pt x="296" y="1"/>
                </a:lnTo>
                <a:lnTo>
                  <a:pt x="312" y="0"/>
                </a:lnTo>
                <a:lnTo>
                  <a:pt x="330" y="0"/>
                </a:lnTo>
                <a:lnTo>
                  <a:pt x="330" y="0"/>
                </a:lnTo>
                <a:lnTo>
                  <a:pt x="346" y="0"/>
                </a:lnTo>
                <a:lnTo>
                  <a:pt x="363" y="1"/>
                </a:lnTo>
                <a:lnTo>
                  <a:pt x="379" y="4"/>
                </a:lnTo>
                <a:lnTo>
                  <a:pt x="395" y="7"/>
                </a:lnTo>
                <a:lnTo>
                  <a:pt x="411" y="11"/>
                </a:lnTo>
                <a:lnTo>
                  <a:pt x="426" y="15"/>
                </a:lnTo>
                <a:lnTo>
                  <a:pt x="457" y="25"/>
                </a:lnTo>
                <a:lnTo>
                  <a:pt x="485" y="40"/>
                </a:lnTo>
                <a:lnTo>
                  <a:pt x="512" y="56"/>
                </a:lnTo>
                <a:lnTo>
                  <a:pt x="538" y="75"/>
                </a:lnTo>
                <a:lnTo>
                  <a:pt x="562" y="97"/>
                </a:lnTo>
                <a:lnTo>
                  <a:pt x="582" y="119"/>
                </a:lnTo>
                <a:lnTo>
                  <a:pt x="601" y="145"/>
                </a:lnTo>
                <a:lnTo>
                  <a:pt x="618" y="172"/>
                </a:lnTo>
                <a:lnTo>
                  <a:pt x="632" y="201"/>
                </a:lnTo>
                <a:lnTo>
                  <a:pt x="643" y="231"/>
                </a:lnTo>
                <a:lnTo>
                  <a:pt x="648" y="247"/>
                </a:lnTo>
                <a:lnTo>
                  <a:pt x="651" y="262"/>
                </a:lnTo>
                <a:lnTo>
                  <a:pt x="655" y="279"/>
                </a:lnTo>
                <a:lnTo>
                  <a:pt x="656" y="295"/>
                </a:lnTo>
                <a:lnTo>
                  <a:pt x="657" y="311"/>
                </a:lnTo>
                <a:lnTo>
                  <a:pt x="657" y="329"/>
                </a:lnTo>
                <a:lnTo>
                  <a:pt x="657" y="329"/>
                </a:lnTo>
                <a:lnTo>
                  <a:pt x="657" y="345"/>
                </a:lnTo>
                <a:lnTo>
                  <a:pt x="656" y="362"/>
                </a:lnTo>
                <a:lnTo>
                  <a:pt x="655" y="379"/>
                </a:lnTo>
                <a:lnTo>
                  <a:pt x="651" y="395"/>
                </a:lnTo>
                <a:lnTo>
                  <a:pt x="648" y="411"/>
                </a:lnTo>
                <a:lnTo>
                  <a:pt x="643" y="426"/>
                </a:lnTo>
                <a:lnTo>
                  <a:pt x="632" y="457"/>
                </a:lnTo>
                <a:lnTo>
                  <a:pt x="618" y="485"/>
                </a:lnTo>
                <a:lnTo>
                  <a:pt x="601" y="512"/>
                </a:lnTo>
                <a:lnTo>
                  <a:pt x="582" y="537"/>
                </a:lnTo>
                <a:lnTo>
                  <a:pt x="562" y="561"/>
                </a:lnTo>
                <a:lnTo>
                  <a:pt x="538" y="583"/>
                </a:lnTo>
                <a:lnTo>
                  <a:pt x="512" y="602"/>
                </a:lnTo>
                <a:lnTo>
                  <a:pt x="485" y="618"/>
                </a:lnTo>
                <a:lnTo>
                  <a:pt x="457" y="631"/>
                </a:lnTo>
                <a:lnTo>
                  <a:pt x="426" y="642"/>
                </a:lnTo>
                <a:lnTo>
                  <a:pt x="411" y="647"/>
                </a:lnTo>
                <a:lnTo>
                  <a:pt x="395" y="651"/>
                </a:lnTo>
                <a:lnTo>
                  <a:pt x="379" y="654"/>
                </a:lnTo>
                <a:lnTo>
                  <a:pt x="363" y="655"/>
                </a:lnTo>
                <a:lnTo>
                  <a:pt x="346" y="657"/>
                </a:lnTo>
                <a:lnTo>
                  <a:pt x="330" y="657"/>
                </a:lnTo>
                <a:lnTo>
                  <a:pt x="330" y="657"/>
                </a:lnTo>
                <a:close/>
                <a:moveTo>
                  <a:pt x="330" y="37"/>
                </a:moveTo>
                <a:lnTo>
                  <a:pt x="330" y="37"/>
                </a:lnTo>
                <a:lnTo>
                  <a:pt x="299" y="39"/>
                </a:lnTo>
                <a:lnTo>
                  <a:pt x="270" y="43"/>
                </a:lnTo>
                <a:lnTo>
                  <a:pt x="242" y="51"/>
                </a:lnTo>
                <a:lnTo>
                  <a:pt x="215" y="60"/>
                </a:lnTo>
                <a:lnTo>
                  <a:pt x="190" y="72"/>
                </a:lnTo>
                <a:lnTo>
                  <a:pt x="166" y="87"/>
                </a:lnTo>
                <a:lnTo>
                  <a:pt x="144" y="105"/>
                </a:lnTo>
                <a:lnTo>
                  <a:pt x="123" y="123"/>
                </a:lnTo>
                <a:lnTo>
                  <a:pt x="104" y="144"/>
                </a:lnTo>
                <a:lnTo>
                  <a:pt x="88" y="166"/>
                </a:lnTo>
                <a:lnTo>
                  <a:pt x="73" y="189"/>
                </a:lnTo>
                <a:lnTo>
                  <a:pt x="61" y="215"/>
                </a:lnTo>
                <a:lnTo>
                  <a:pt x="52" y="242"/>
                </a:lnTo>
                <a:lnTo>
                  <a:pt x="43" y="270"/>
                </a:lnTo>
                <a:lnTo>
                  <a:pt x="39" y="299"/>
                </a:lnTo>
                <a:lnTo>
                  <a:pt x="38" y="329"/>
                </a:lnTo>
                <a:lnTo>
                  <a:pt x="38" y="329"/>
                </a:lnTo>
                <a:lnTo>
                  <a:pt x="39" y="358"/>
                </a:lnTo>
                <a:lnTo>
                  <a:pt x="43" y="387"/>
                </a:lnTo>
                <a:lnTo>
                  <a:pt x="52" y="415"/>
                </a:lnTo>
                <a:lnTo>
                  <a:pt x="61" y="442"/>
                </a:lnTo>
                <a:lnTo>
                  <a:pt x="73" y="467"/>
                </a:lnTo>
                <a:lnTo>
                  <a:pt x="88" y="491"/>
                </a:lnTo>
                <a:lnTo>
                  <a:pt x="104" y="514"/>
                </a:lnTo>
                <a:lnTo>
                  <a:pt x="123" y="534"/>
                </a:lnTo>
                <a:lnTo>
                  <a:pt x="144" y="553"/>
                </a:lnTo>
                <a:lnTo>
                  <a:pt x="166" y="569"/>
                </a:lnTo>
                <a:lnTo>
                  <a:pt x="190" y="584"/>
                </a:lnTo>
                <a:lnTo>
                  <a:pt x="215" y="596"/>
                </a:lnTo>
                <a:lnTo>
                  <a:pt x="242" y="607"/>
                </a:lnTo>
                <a:lnTo>
                  <a:pt x="270" y="614"/>
                </a:lnTo>
                <a:lnTo>
                  <a:pt x="299" y="618"/>
                </a:lnTo>
                <a:lnTo>
                  <a:pt x="330" y="619"/>
                </a:lnTo>
                <a:lnTo>
                  <a:pt x="330" y="619"/>
                </a:lnTo>
                <a:lnTo>
                  <a:pt x="359" y="618"/>
                </a:lnTo>
                <a:lnTo>
                  <a:pt x="387" y="614"/>
                </a:lnTo>
                <a:lnTo>
                  <a:pt x="416" y="607"/>
                </a:lnTo>
                <a:lnTo>
                  <a:pt x="442" y="596"/>
                </a:lnTo>
                <a:lnTo>
                  <a:pt x="468" y="584"/>
                </a:lnTo>
                <a:lnTo>
                  <a:pt x="492" y="569"/>
                </a:lnTo>
                <a:lnTo>
                  <a:pt x="514" y="553"/>
                </a:lnTo>
                <a:lnTo>
                  <a:pt x="535" y="534"/>
                </a:lnTo>
                <a:lnTo>
                  <a:pt x="554" y="514"/>
                </a:lnTo>
                <a:lnTo>
                  <a:pt x="570" y="491"/>
                </a:lnTo>
                <a:lnTo>
                  <a:pt x="585" y="467"/>
                </a:lnTo>
                <a:lnTo>
                  <a:pt x="597" y="442"/>
                </a:lnTo>
                <a:lnTo>
                  <a:pt x="608" y="415"/>
                </a:lnTo>
                <a:lnTo>
                  <a:pt x="614" y="387"/>
                </a:lnTo>
                <a:lnTo>
                  <a:pt x="618" y="358"/>
                </a:lnTo>
                <a:lnTo>
                  <a:pt x="620" y="329"/>
                </a:lnTo>
                <a:lnTo>
                  <a:pt x="620" y="329"/>
                </a:lnTo>
                <a:lnTo>
                  <a:pt x="618" y="299"/>
                </a:lnTo>
                <a:lnTo>
                  <a:pt x="614" y="270"/>
                </a:lnTo>
                <a:lnTo>
                  <a:pt x="608" y="242"/>
                </a:lnTo>
                <a:lnTo>
                  <a:pt x="597" y="215"/>
                </a:lnTo>
                <a:lnTo>
                  <a:pt x="585" y="189"/>
                </a:lnTo>
                <a:lnTo>
                  <a:pt x="570" y="166"/>
                </a:lnTo>
                <a:lnTo>
                  <a:pt x="554" y="144"/>
                </a:lnTo>
                <a:lnTo>
                  <a:pt x="535" y="123"/>
                </a:lnTo>
                <a:lnTo>
                  <a:pt x="514" y="105"/>
                </a:lnTo>
                <a:lnTo>
                  <a:pt x="492" y="87"/>
                </a:lnTo>
                <a:lnTo>
                  <a:pt x="468" y="72"/>
                </a:lnTo>
                <a:lnTo>
                  <a:pt x="442" y="60"/>
                </a:lnTo>
                <a:lnTo>
                  <a:pt x="416" y="51"/>
                </a:lnTo>
                <a:lnTo>
                  <a:pt x="387" y="43"/>
                </a:lnTo>
                <a:lnTo>
                  <a:pt x="359" y="39"/>
                </a:lnTo>
                <a:lnTo>
                  <a:pt x="330" y="37"/>
                </a:lnTo>
                <a:lnTo>
                  <a:pt x="330" y="37"/>
                </a:lnTo>
                <a:close/>
              </a:path>
            </a:pathLst>
          </a:cu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6" name="Freeform 213">
            <a:extLst>
              <a:ext uri="{FF2B5EF4-FFF2-40B4-BE49-F238E27FC236}">
                <a16:creationId xmlns:a16="http://schemas.microsoft.com/office/drawing/2014/main" id="{5A88707B-084A-418C-AF41-66F583D3E8FE}"/>
              </a:ext>
            </a:extLst>
          </p:cNvPr>
          <p:cNvSpPr>
            <a:spLocks/>
          </p:cNvSpPr>
          <p:nvPr/>
        </p:nvSpPr>
        <p:spPr bwMode="auto">
          <a:xfrm>
            <a:off x="757058" y="4367873"/>
            <a:ext cx="234176" cy="22302"/>
          </a:xfrm>
          <a:custGeom>
            <a:avLst/>
            <a:gdLst>
              <a:gd name="T0" fmla="*/ 331 w 336"/>
              <a:gd name="T1" fmla="*/ 0 h 32"/>
              <a:gd name="T2" fmla="*/ 6 w 336"/>
              <a:gd name="T3" fmla="*/ 0 h 32"/>
              <a:gd name="T4" fmla="*/ 6 w 336"/>
              <a:gd name="T5" fmla="*/ 0 h 32"/>
              <a:gd name="T6" fmla="*/ 3 w 336"/>
              <a:gd name="T7" fmla="*/ 0 h 32"/>
              <a:gd name="T8" fmla="*/ 2 w 336"/>
              <a:gd name="T9" fmla="*/ 1 h 32"/>
              <a:gd name="T10" fmla="*/ 0 w 336"/>
              <a:gd name="T11" fmla="*/ 2 h 32"/>
              <a:gd name="T12" fmla="*/ 0 w 336"/>
              <a:gd name="T13" fmla="*/ 5 h 32"/>
              <a:gd name="T14" fmla="*/ 0 w 336"/>
              <a:gd name="T15" fmla="*/ 10 h 32"/>
              <a:gd name="T16" fmla="*/ 0 w 336"/>
              <a:gd name="T17" fmla="*/ 10 h 32"/>
              <a:gd name="T18" fmla="*/ 0 w 336"/>
              <a:gd name="T19" fmla="*/ 14 h 32"/>
              <a:gd name="T20" fmla="*/ 2 w 336"/>
              <a:gd name="T21" fmla="*/ 18 h 32"/>
              <a:gd name="T22" fmla="*/ 3 w 336"/>
              <a:gd name="T23" fmla="*/ 22 h 32"/>
              <a:gd name="T24" fmla="*/ 6 w 336"/>
              <a:gd name="T25" fmla="*/ 25 h 32"/>
              <a:gd name="T26" fmla="*/ 10 w 336"/>
              <a:gd name="T27" fmla="*/ 28 h 32"/>
              <a:gd name="T28" fmla="*/ 12 w 336"/>
              <a:gd name="T29" fmla="*/ 30 h 32"/>
              <a:gd name="T30" fmla="*/ 16 w 336"/>
              <a:gd name="T31" fmla="*/ 32 h 32"/>
              <a:gd name="T32" fmla="*/ 22 w 336"/>
              <a:gd name="T33" fmla="*/ 32 h 32"/>
              <a:gd name="T34" fmla="*/ 313 w 336"/>
              <a:gd name="T35" fmla="*/ 32 h 32"/>
              <a:gd name="T36" fmla="*/ 313 w 336"/>
              <a:gd name="T37" fmla="*/ 32 h 32"/>
              <a:gd name="T38" fmla="*/ 319 w 336"/>
              <a:gd name="T39" fmla="*/ 32 h 32"/>
              <a:gd name="T40" fmla="*/ 323 w 336"/>
              <a:gd name="T41" fmla="*/ 30 h 32"/>
              <a:gd name="T42" fmla="*/ 325 w 336"/>
              <a:gd name="T43" fmla="*/ 28 h 32"/>
              <a:gd name="T44" fmla="*/ 329 w 336"/>
              <a:gd name="T45" fmla="*/ 25 h 32"/>
              <a:gd name="T46" fmla="*/ 332 w 336"/>
              <a:gd name="T47" fmla="*/ 22 h 32"/>
              <a:gd name="T48" fmla="*/ 333 w 336"/>
              <a:gd name="T49" fmla="*/ 18 h 32"/>
              <a:gd name="T50" fmla="*/ 335 w 336"/>
              <a:gd name="T51" fmla="*/ 14 h 32"/>
              <a:gd name="T52" fmla="*/ 336 w 336"/>
              <a:gd name="T53" fmla="*/ 10 h 32"/>
              <a:gd name="T54" fmla="*/ 336 w 336"/>
              <a:gd name="T55" fmla="*/ 5 h 32"/>
              <a:gd name="T56" fmla="*/ 336 w 336"/>
              <a:gd name="T57" fmla="*/ 5 h 32"/>
              <a:gd name="T58" fmla="*/ 335 w 336"/>
              <a:gd name="T59" fmla="*/ 2 h 32"/>
              <a:gd name="T60" fmla="*/ 333 w 336"/>
              <a:gd name="T61" fmla="*/ 1 h 32"/>
              <a:gd name="T62" fmla="*/ 332 w 336"/>
              <a:gd name="T63" fmla="*/ 0 h 32"/>
              <a:gd name="T64" fmla="*/ 331 w 336"/>
              <a:gd name="T65" fmla="*/ 0 h 32"/>
              <a:gd name="T66" fmla="*/ 331 w 336"/>
              <a:gd name="T6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6" h="32">
                <a:moveTo>
                  <a:pt x="331" y="0"/>
                </a:moveTo>
                <a:lnTo>
                  <a:pt x="6" y="0"/>
                </a:lnTo>
                <a:lnTo>
                  <a:pt x="6" y="0"/>
                </a:lnTo>
                <a:lnTo>
                  <a:pt x="3" y="0"/>
                </a:lnTo>
                <a:lnTo>
                  <a:pt x="2" y="1"/>
                </a:lnTo>
                <a:lnTo>
                  <a:pt x="0" y="2"/>
                </a:lnTo>
                <a:lnTo>
                  <a:pt x="0" y="5"/>
                </a:lnTo>
                <a:lnTo>
                  <a:pt x="0" y="10"/>
                </a:lnTo>
                <a:lnTo>
                  <a:pt x="0" y="10"/>
                </a:lnTo>
                <a:lnTo>
                  <a:pt x="0" y="14"/>
                </a:lnTo>
                <a:lnTo>
                  <a:pt x="2" y="18"/>
                </a:lnTo>
                <a:lnTo>
                  <a:pt x="3" y="22"/>
                </a:lnTo>
                <a:lnTo>
                  <a:pt x="6" y="25"/>
                </a:lnTo>
                <a:lnTo>
                  <a:pt x="10" y="28"/>
                </a:lnTo>
                <a:lnTo>
                  <a:pt x="12" y="30"/>
                </a:lnTo>
                <a:lnTo>
                  <a:pt x="16" y="32"/>
                </a:lnTo>
                <a:lnTo>
                  <a:pt x="22" y="32"/>
                </a:lnTo>
                <a:lnTo>
                  <a:pt x="313" y="32"/>
                </a:lnTo>
                <a:lnTo>
                  <a:pt x="313" y="32"/>
                </a:lnTo>
                <a:lnTo>
                  <a:pt x="319" y="32"/>
                </a:lnTo>
                <a:lnTo>
                  <a:pt x="323" y="30"/>
                </a:lnTo>
                <a:lnTo>
                  <a:pt x="325" y="28"/>
                </a:lnTo>
                <a:lnTo>
                  <a:pt x="329" y="25"/>
                </a:lnTo>
                <a:lnTo>
                  <a:pt x="332" y="22"/>
                </a:lnTo>
                <a:lnTo>
                  <a:pt x="333" y="18"/>
                </a:lnTo>
                <a:lnTo>
                  <a:pt x="335" y="14"/>
                </a:lnTo>
                <a:lnTo>
                  <a:pt x="336" y="10"/>
                </a:lnTo>
                <a:lnTo>
                  <a:pt x="336" y="5"/>
                </a:lnTo>
                <a:lnTo>
                  <a:pt x="336" y="5"/>
                </a:lnTo>
                <a:lnTo>
                  <a:pt x="335" y="2"/>
                </a:lnTo>
                <a:lnTo>
                  <a:pt x="333" y="1"/>
                </a:lnTo>
                <a:lnTo>
                  <a:pt x="332" y="0"/>
                </a:lnTo>
                <a:lnTo>
                  <a:pt x="331" y="0"/>
                </a:lnTo>
                <a:lnTo>
                  <a:pt x="3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7" name="Freeform 214">
            <a:extLst>
              <a:ext uri="{FF2B5EF4-FFF2-40B4-BE49-F238E27FC236}">
                <a16:creationId xmlns:a16="http://schemas.microsoft.com/office/drawing/2014/main" id="{D1CFBD37-94BC-4A6F-A4BE-A96216858C8D}"/>
              </a:ext>
            </a:extLst>
          </p:cNvPr>
          <p:cNvSpPr>
            <a:spLocks/>
          </p:cNvSpPr>
          <p:nvPr/>
        </p:nvSpPr>
        <p:spPr bwMode="auto">
          <a:xfrm>
            <a:off x="775179" y="4228483"/>
            <a:ext cx="195146" cy="125451"/>
          </a:xfrm>
          <a:custGeom>
            <a:avLst/>
            <a:gdLst>
              <a:gd name="T0" fmla="*/ 22 w 281"/>
              <a:gd name="T1" fmla="*/ 33 h 179"/>
              <a:gd name="T2" fmla="*/ 22 w 281"/>
              <a:gd name="T3" fmla="*/ 33 h 179"/>
              <a:gd name="T4" fmla="*/ 23 w 281"/>
              <a:gd name="T5" fmla="*/ 29 h 179"/>
              <a:gd name="T6" fmla="*/ 24 w 281"/>
              <a:gd name="T7" fmla="*/ 25 h 179"/>
              <a:gd name="T8" fmla="*/ 28 w 281"/>
              <a:gd name="T9" fmla="*/ 22 h 179"/>
              <a:gd name="T10" fmla="*/ 32 w 281"/>
              <a:gd name="T11" fmla="*/ 22 h 179"/>
              <a:gd name="T12" fmla="*/ 249 w 281"/>
              <a:gd name="T13" fmla="*/ 22 h 179"/>
              <a:gd name="T14" fmla="*/ 249 w 281"/>
              <a:gd name="T15" fmla="*/ 22 h 179"/>
              <a:gd name="T16" fmla="*/ 253 w 281"/>
              <a:gd name="T17" fmla="*/ 22 h 179"/>
              <a:gd name="T18" fmla="*/ 257 w 281"/>
              <a:gd name="T19" fmla="*/ 25 h 179"/>
              <a:gd name="T20" fmla="*/ 259 w 281"/>
              <a:gd name="T21" fmla="*/ 29 h 179"/>
              <a:gd name="T22" fmla="*/ 259 w 281"/>
              <a:gd name="T23" fmla="*/ 33 h 179"/>
              <a:gd name="T24" fmla="*/ 259 w 281"/>
              <a:gd name="T25" fmla="*/ 179 h 179"/>
              <a:gd name="T26" fmla="*/ 281 w 281"/>
              <a:gd name="T27" fmla="*/ 179 h 179"/>
              <a:gd name="T28" fmla="*/ 281 w 281"/>
              <a:gd name="T29" fmla="*/ 33 h 179"/>
              <a:gd name="T30" fmla="*/ 281 w 281"/>
              <a:gd name="T31" fmla="*/ 33 h 179"/>
              <a:gd name="T32" fmla="*/ 281 w 281"/>
              <a:gd name="T33" fmla="*/ 26 h 179"/>
              <a:gd name="T34" fmla="*/ 280 w 281"/>
              <a:gd name="T35" fmla="*/ 19 h 179"/>
              <a:gd name="T36" fmla="*/ 275 w 281"/>
              <a:gd name="T37" fmla="*/ 14 h 179"/>
              <a:gd name="T38" fmla="*/ 271 w 281"/>
              <a:gd name="T39" fmla="*/ 10 h 179"/>
              <a:gd name="T40" fmla="*/ 267 w 281"/>
              <a:gd name="T41" fmla="*/ 6 h 179"/>
              <a:gd name="T42" fmla="*/ 262 w 281"/>
              <a:gd name="T43" fmla="*/ 3 h 179"/>
              <a:gd name="T44" fmla="*/ 255 w 281"/>
              <a:gd name="T45" fmla="*/ 0 h 179"/>
              <a:gd name="T46" fmla="*/ 249 w 281"/>
              <a:gd name="T47" fmla="*/ 0 h 179"/>
              <a:gd name="T48" fmla="*/ 32 w 281"/>
              <a:gd name="T49" fmla="*/ 0 h 179"/>
              <a:gd name="T50" fmla="*/ 32 w 281"/>
              <a:gd name="T51" fmla="*/ 0 h 179"/>
              <a:gd name="T52" fmla="*/ 26 w 281"/>
              <a:gd name="T53" fmla="*/ 0 h 179"/>
              <a:gd name="T54" fmla="*/ 20 w 281"/>
              <a:gd name="T55" fmla="*/ 3 h 179"/>
              <a:gd name="T56" fmla="*/ 14 w 281"/>
              <a:gd name="T57" fmla="*/ 6 h 179"/>
              <a:gd name="T58" fmla="*/ 10 w 281"/>
              <a:gd name="T59" fmla="*/ 10 h 179"/>
              <a:gd name="T60" fmla="*/ 6 w 281"/>
              <a:gd name="T61" fmla="*/ 14 h 179"/>
              <a:gd name="T62" fmla="*/ 3 w 281"/>
              <a:gd name="T63" fmla="*/ 19 h 179"/>
              <a:gd name="T64" fmla="*/ 0 w 281"/>
              <a:gd name="T65" fmla="*/ 26 h 179"/>
              <a:gd name="T66" fmla="*/ 0 w 281"/>
              <a:gd name="T67" fmla="*/ 33 h 179"/>
              <a:gd name="T68" fmla="*/ 0 w 281"/>
              <a:gd name="T69" fmla="*/ 179 h 179"/>
              <a:gd name="T70" fmla="*/ 22 w 281"/>
              <a:gd name="T71" fmla="*/ 179 h 179"/>
              <a:gd name="T72" fmla="*/ 22 w 281"/>
              <a:gd name="T73" fmla="*/ 3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1" h="179">
                <a:moveTo>
                  <a:pt x="22" y="33"/>
                </a:moveTo>
                <a:lnTo>
                  <a:pt x="22" y="33"/>
                </a:lnTo>
                <a:lnTo>
                  <a:pt x="23" y="29"/>
                </a:lnTo>
                <a:lnTo>
                  <a:pt x="24" y="25"/>
                </a:lnTo>
                <a:lnTo>
                  <a:pt x="28" y="22"/>
                </a:lnTo>
                <a:lnTo>
                  <a:pt x="32" y="22"/>
                </a:lnTo>
                <a:lnTo>
                  <a:pt x="249" y="22"/>
                </a:lnTo>
                <a:lnTo>
                  <a:pt x="249" y="22"/>
                </a:lnTo>
                <a:lnTo>
                  <a:pt x="253" y="22"/>
                </a:lnTo>
                <a:lnTo>
                  <a:pt x="257" y="25"/>
                </a:lnTo>
                <a:lnTo>
                  <a:pt x="259" y="29"/>
                </a:lnTo>
                <a:lnTo>
                  <a:pt x="259" y="33"/>
                </a:lnTo>
                <a:lnTo>
                  <a:pt x="259" y="179"/>
                </a:lnTo>
                <a:lnTo>
                  <a:pt x="281" y="179"/>
                </a:lnTo>
                <a:lnTo>
                  <a:pt x="281" y="33"/>
                </a:lnTo>
                <a:lnTo>
                  <a:pt x="281" y="33"/>
                </a:lnTo>
                <a:lnTo>
                  <a:pt x="281" y="26"/>
                </a:lnTo>
                <a:lnTo>
                  <a:pt x="280" y="19"/>
                </a:lnTo>
                <a:lnTo>
                  <a:pt x="275" y="14"/>
                </a:lnTo>
                <a:lnTo>
                  <a:pt x="271" y="10"/>
                </a:lnTo>
                <a:lnTo>
                  <a:pt x="267" y="6"/>
                </a:lnTo>
                <a:lnTo>
                  <a:pt x="262" y="3"/>
                </a:lnTo>
                <a:lnTo>
                  <a:pt x="255" y="0"/>
                </a:lnTo>
                <a:lnTo>
                  <a:pt x="249" y="0"/>
                </a:lnTo>
                <a:lnTo>
                  <a:pt x="32" y="0"/>
                </a:lnTo>
                <a:lnTo>
                  <a:pt x="32" y="0"/>
                </a:lnTo>
                <a:lnTo>
                  <a:pt x="26" y="0"/>
                </a:lnTo>
                <a:lnTo>
                  <a:pt x="20" y="3"/>
                </a:lnTo>
                <a:lnTo>
                  <a:pt x="14" y="6"/>
                </a:lnTo>
                <a:lnTo>
                  <a:pt x="10" y="10"/>
                </a:lnTo>
                <a:lnTo>
                  <a:pt x="6" y="14"/>
                </a:lnTo>
                <a:lnTo>
                  <a:pt x="3" y="19"/>
                </a:lnTo>
                <a:lnTo>
                  <a:pt x="0" y="26"/>
                </a:lnTo>
                <a:lnTo>
                  <a:pt x="0" y="33"/>
                </a:lnTo>
                <a:lnTo>
                  <a:pt x="0" y="179"/>
                </a:lnTo>
                <a:lnTo>
                  <a:pt x="22" y="179"/>
                </a:lnTo>
                <a:lnTo>
                  <a:pt x="22"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8" name="Freeform 215">
            <a:extLst>
              <a:ext uri="{FF2B5EF4-FFF2-40B4-BE49-F238E27FC236}">
                <a16:creationId xmlns:a16="http://schemas.microsoft.com/office/drawing/2014/main" id="{BAE61B33-34C5-417A-84C2-EAEA570F229D}"/>
              </a:ext>
            </a:extLst>
          </p:cNvPr>
          <p:cNvSpPr>
            <a:spLocks/>
          </p:cNvSpPr>
          <p:nvPr/>
        </p:nvSpPr>
        <p:spPr bwMode="auto">
          <a:xfrm>
            <a:off x="862995" y="4261937"/>
            <a:ext cx="22302" cy="83634"/>
          </a:xfrm>
          <a:custGeom>
            <a:avLst/>
            <a:gdLst>
              <a:gd name="T0" fmla="*/ 5 w 32"/>
              <a:gd name="T1" fmla="*/ 0 h 119"/>
              <a:gd name="T2" fmla="*/ 5 w 32"/>
              <a:gd name="T3" fmla="*/ 0 h 119"/>
              <a:gd name="T4" fmla="*/ 3 w 32"/>
              <a:gd name="T5" fmla="*/ 0 h 119"/>
              <a:gd name="T6" fmla="*/ 1 w 32"/>
              <a:gd name="T7" fmla="*/ 1 h 119"/>
              <a:gd name="T8" fmla="*/ 0 w 32"/>
              <a:gd name="T9" fmla="*/ 2 h 119"/>
              <a:gd name="T10" fmla="*/ 0 w 32"/>
              <a:gd name="T11" fmla="*/ 5 h 119"/>
              <a:gd name="T12" fmla="*/ 0 w 32"/>
              <a:gd name="T13" fmla="*/ 114 h 119"/>
              <a:gd name="T14" fmla="*/ 0 w 32"/>
              <a:gd name="T15" fmla="*/ 114 h 119"/>
              <a:gd name="T16" fmla="*/ 0 w 32"/>
              <a:gd name="T17" fmla="*/ 115 h 119"/>
              <a:gd name="T18" fmla="*/ 1 w 32"/>
              <a:gd name="T19" fmla="*/ 117 h 119"/>
              <a:gd name="T20" fmla="*/ 3 w 32"/>
              <a:gd name="T21" fmla="*/ 118 h 119"/>
              <a:gd name="T22" fmla="*/ 5 w 32"/>
              <a:gd name="T23" fmla="*/ 119 h 119"/>
              <a:gd name="T24" fmla="*/ 27 w 32"/>
              <a:gd name="T25" fmla="*/ 119 h 119"/>
              <a:gd name="T26" fmla="*/ 27 w 32"/>
              <a:gd name="T27" fmla="*/ 119 h 119"/>
              <a:gd name="T28" fmla="*/ 28 w 32"/>
              <a:gd name="T29" fmla="*/ 118 h 119"/>
              <a:gd name="T30" fmla="*/ 31 w 32"/>
              <a:gd name="T31" fmla="*/ 117 h 119"/>
              <a:gd name="T32" fmla="*/ 31 w 32"/>
              <a:gd name="T33" fmla="*/ 115 h 119"/>
              <a:gd name="T34" fmla="*/ 32 w 32"/>
              <a:gd name="T35" fmla="*/ 114 h 119"/>
              <a:gd name="T36" fmla="*/ 32 w 32"/>
              <a:gd name="T37" fmla="*/ 5 h 119"/>
              <a:gd name="T38" fmla="*/ 32 w 32"/>
              <a:gd name="T39" fmla="*/ 5 h 119"/>
              <a:gd name="T40" fmla="*/ 31 w 32"/>
              <a:gd name="T41" fmla="*/ 2 h 119"/>
              <a:gd name="T42" fmla="*/ 31 w 32"/>
              <a:gd name="T43" fmla="*/ 1 h 119"/>
              <a:gd name="T44" fmla="*/ 28 w 32"/>
              <a:gd name="T45" fmla="*/ 0 h 119"/>
              <a:gd name="T46" fmla="*/ 27 w 32"/>
              <a:gd name="T47" fmla="*/ 0 h 119"/>
              <a:gd name="T48" fmla="*/ 5 w 32"/>
              <a:gd name="T4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119">
                <a:moveTo>
                  <a:pt x="5" y="0"/>
                </a:moveTo>
                <a:lnTo>
                  <a:pt x="5" y="0"/>
                </a:lnTo>
                <a:lnTo>
                  <a:pt x="3" y="0"/>
                </a:lnTo>
                <a:lnTo>
                  <a:pt x="1" y="1"/>
                </a:lnTo>
                <a:lnTo>
                  <a:pt x="0" y="2"/>
                </a:lnTo>
                <a:lnTo>
                  <a:pt x="0" y="5"/>
                </a:lnTo>
                <a:lnTo>
                  <a:pt x="0" y="114"/>
                </a:lnTo>
                <a:lnTo>
                  <a:pt x="0" y="114"/>
                </a:lnTo>
                <a:lnTo>
                  <a:pt x="0" y="115"/>
                </a:lnTo>
                <a:lnTo>
                  <a:pt x="1" y="117"/>
                </a:lnTo>
                <a:lnTo>
                  <a:pt x="3" y="118"/>
                </a:lnTo>
                <a:lnTo>
                  <a:pt x="5" y="119"/>
                </a:lnTo>
                <a:lnTo>
                  <a:pt x="27" y="119"/>
                </a:lnTo>
                <a:lnTo>
                  <a:pt x="27" y="119"/>
                </a:lnTo>
                <a:lnTo>
                  <a:pt x="28" y="118"/>
                </a:lnTo>
                <a:lnTo>
                  <a:pt x="31" y="117"/>
                </a:lnTo>
                <a:lnTo>
                  <a:pt x="31" y="115"/>
                </a:lnTo>
                <a:lnTo>
                  <a:pt x="32" y="114"/>
                </a:lnTo>
                <a:lnTo>
                  <a:pt x="32" y="5"/>
                </a:lnTo>
                <a:lnTo>
                  <a:pt x="32" y="5"/>
                </a:lnTo>
                <a:lnTo>
                  <a:pt x="31" y="2"/>
                </a:lnTo>
                <a:lnTo>
                  <a:pt x="31" y="1"/>
                </a:lnTo>
                <a:lnTo>
                  <a:pt x="28" y="0"/>
                </a:lnTo>
                <a:lnTo>
                  <a:pt x="27"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39" name="Freeform 216">
            <a:extLst>
              <a:ext uri="{FF2B5EF4-FFF2-40B4-BE49-F238E27FC236}">
                <a16:creationId xmlns:a16="http://schemas.microsoft.com/office/drawing/2014/main" id="{3A6D2AA5-AAA9-444F-94C0-803CF9E1B24E}"/>
              </a:ext>
            </a:extLst>
          </p:cNvPr>
          <p:cNvSpPr>
            <a:spLocks/>
          </p:cNvSpPr>
          <p:nvPr/>
        </p:nvSpPr>
        <p:spPr bwMode="auto">
          <a:xfrm>
            <a:off x="816996" y="4307935"/>
            <a:ext cx="22302" cy="37636"/>
          </a:xfrm>
          <a:custGeom>
            <a:avLst/>
            <a:gdLst>
              <a:gd name="T0" fmla="*/ 6 w 32"/>
              <a:gd name="T1" fmla="*/ 0 h 55"/>
              <a:gd name="T2" fmla="*/ 6 w 32"/>
              <a:gd name="T3" fmla="*/ 0 h 55"/>
              <a:gd name="T4" fmla="*/ 4 w 32"/>
              <a:gd name="T5" fmla="*/ 2 h 55"/>
              <a:gd name="T6" fmla="*/ 2 w 32"/>
              <a:gd name="T7" fmla="*/ 3 h 55"/>
              <a:gd name="T8" fmla="*/ 0 w 32"/>
              <a:gd name="T9" fmla="*/ 4 h 55"/>
              <a:gd name="T10" fmla="*/ 0 w 32"/>
              <a:gd name="T11" fmla="*/ 6 h 55"/>
              <a:gd name="T12" fmla="*/ 0 w 32"/>
              <a:gd name="T13" fmla="*/ 50 h 55"/>
              <a:gd name="T14" fmla="*/ 0 w 32"/>
              <a:gd name="T15" fmla="*/ 50 h 55"/>
              <a:gd name="T16" fmla="*/ 0 w 32"/>
              <a:gd name="T17" fmla="*/ 51 h 55"/>
              <a:gd name="T18" fmla="*/ 2 w 32"/>
              <a:gd name="T19" fmla="*/ 53 h 55"/>
              <a:gd name="T20" fmla="*/ 4 w 32"/>
              <a:gd name="T21" fmla="*/ 54 h 55"/>
              <a:gd name="T22" fmla="*/ 6 w 32"/>
              <a:gd name="T23" fmla="*/ 55 h 55"/>
              <a:gd name="T24" fmla="*/ 27 w 32"/>
              <a:gd name="T25" fmla="*/ 55 h 55"/>
              <a:gd name="T26" fmla="*/ 27 w 32"/>
              <a:gd name="T27" fmla="*/ 55 h 55"/>
              <a:gd name="T28" fmla="*/ 30 w 32"/>
              <a:gd name="T29" fmla="*/ 54 h 55"/>
              <a:gd name="T30" fmla="*/ 31 w 32"/>
              <a:gd name="T31" fmla="*/ 53 h 55"/>
              <a:gd name="T32" fmla="*/ 32 w 32"/>
              <a:gd name="T33" fmla="*/ 51 h 55"/>
              <a:gd name="T34" fmla="*/ 32 w 32"/>
              <a:gd name="T35" fmla="*/ 50 h 55"/>
              <a:gd name="T36" fmla="*/ 32 w 32"/>
              <a:gd name="T37" fmla="*/ 6 h 55"/>
              <a:gd name="T38" fmla="*/ 32 w 32"/>
              <a:gd name="T39" fmla="*/ 6 h 55"/>
              <a:gd name="T40" fmla="*/ 32 w 32"/>
              <a:gd name="T41" fmla="*/ 4 h 55"/>
              <a:gd name="T42" fmla="*/ 31 w 32"/>
              <a:gd name="T43" fmla="*/ 3 h 55"/>
              <a:gd name="T44" fmla="*/ 30 w 32"/>
              <a:gd name="T45" fmla="*/ 2 h 55"/>
              <a:gd name="T46" fmla="*/ 27 w 32"/>
              <a:gd name="T47" fmla="*/ 0 h 55"/>
              <a:gd name="T48" fmla="*/ 6 w 32"/>
              <a:gd name="T49"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55">
                <a:moveTo>
                  <a:pt x="6" y="0"/>
                </a:moveTo>
                <a:lnTo>
                  <a:pt x="6" y="0"/>
                </a:lnTo>
                <a:lnTo>
                  <a:pt x="4" y="2"/>
                </a:lnTo>
                <a:lnTo>
                  <a:pt x="2" y="3"/>
                </a:lnTo>
                <a:lnTo>
                  <a:pt x="0" y="4"/>
                </a:lnTo>
                <a:lnTo>
                  <a:pt x="0" y="6"/>
                </a:lnTo>
                <a:lnTo>
                  <a:pt x="0" y="50"/>
                </a:lnTo>
                <a:lnTo>
                  <a:pt x="0" y="50"/>
                </a:lnTo>
                <a:lnTo>
                  <a:pt x="0" y="51"/>
                </a:lnTo>
                <a:lnTo>
                  <a:pt x="2" y="53"/>
                </a:lnTo>
                <a:lnTo>
                  <a:pt x="4" y="54"/>
                </a:lnTo>
                <a:lnTo>
                  <a:pt x="6" y="55"/>
                </a:lnTo>
                <a:lnTo>
                  <a:pt x="27" y="55"/>
                </a:lnTo>
                <a:lnTo>
                  <a:pt x="27" y="55"/>
                </a:lnTo>
                <a:lnTo>
                  <a:pt x="30" y="54"/>
                </a:lnTo>
                <a:lnTo>
                  <a:pt x="31" y="53"/>
                </a:lnTo>
                <a:lnTo>
                  <a:pt x="32" y="51"/>
                </a:lnTo>
                <a:lnTo>
                  <a:pt x="32" y="50"/>
                </a:lnTo>
                <a:lnTo>
                  <a:pt x="32" y="6"/>
                </a:lnTo>
                <a:lnTo>
                  <a:pt x="32" y="6"/>
                </a:lnTo>
                <a:lnTo>
                  <a:pt x="32" y="4"/>
                </a:lnTo>
                <a:lnTo>
                  <a:pt x="31" y="3"/>
                </a:lnTo>
                <a:lnTo>
                  <a:pt x="30" y="2"/>
                </a:lnTo>
                <a:lnTo>
                  <a:pt x="27"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40" name="Freeform 217">
            <a:extLst>
              <a:ext uri="{FF2B5EF4-FFF2-40B4-BE49-F238E27FC236}">
                <a16:creationId xmlns:a16="http://schemas.microsoft.com/office/drawing/2014/main" id="{28A7327B-C669-446A-B85E-411C335D42E7}"/>
              </a:ext>
            </a:extLst>
          </p:cNvPr>
          <p:cNvSpPr>
            <a:spLocks/>
          </p:cNvSpPr>
          <p:nvPr/>
        </p:nvSpPr>
        <p:spPr bwMode="auto">
          <a:xfrm>
            <a:off x="907600" y="4292602"/>
            <a:ext cx="22302" cy="52968"/>
          </a:xfrm>
          <a:custGeom>
            <a:avLst/>
            <a:gdLst>
              <a:gd name="T0" fmla="*/ 5 w 32"/>
              <a:gd name="T1" fmla="*/ 0 h 76"/>
              <a:gd name="T2" fmla="*/ 5 w 32"/>
              <a:gd name="T3" fmla="*/ 0 h 76"/>
              <a:gd name="T4" fmla="*/ 2 w 32"/>
              <a:gd name="T5" fmla="*/ 1 h 76"/>
              <a:gd name="T6" fmla="*/ 1 w 32"/>
              <a:gd name="T7" fmla="*/ 1 h 76"/>
              <a:gd name="T8" fmla="*/ 0 w 32"/>
              <a:gd name="T9" fmla="*/ 4 h 76"/>
              <a:gd name="T10" fmla="*/ 0 w 32"/>
              <a:gd name="T11" fmla="*/ 5 h 76"/>
              <a:gd name="T12" fmla="*/ 0 w 32"/>
              <a:gd name="T13" fmla="*/ 71 h 76"/>
              <a:gd name="T14" fmla="*/ 0 w 32"/>
              <a:gd name="T15" fmla="*/ 71 h 76"/>
              <a:gd name="T16" fmla="*/ 0 w 32"/>
              <a:gd name="T17" fmla="*/ 72 h 76"/>
              <a:gd name="T18" fmla="*/ 1 w 32"/>
              <a:gd name="T19" fmla="*/ 74 h 76"/>
              <a:gd name="T20" fmla="*/ 2 w 32"/>
              <a:gd name="T21" fmla="*/ 75 h 76"/>
              <a:gd name="T22" fmla="*/ 5 w 32"/>
              <a:gd name="T23" fmla="*/ 76 h 76"/>
              <a:gd name="T24" fmla="*/ 26 w 32"/>
              <a:gd name="T25" fmla="*/ 76 h 76"/>
              <a:gd name="T26" fmla="*/ 26 w 32"/>
              <a:gd name="T27" fmla="*/ 76 h 76"/>
              <a:gd name="T28" fmla="*/ 29 w 32"/>
              <a:gd name="T29" fmla="*/ 75 h 76"/>
              <a:gd name="T30" fmla="*/ 30 w 32"/>
              <a:gd name="T31" fmla="*/ 74 h 76"/>
              <a:gd name="T32" fmla="*/ 32 w 32"/>
              <a:gd name="T33" fmla="*/ 72 h 76"/>
              <a:gd name="T34" fmla="*/ 32 w 32"/>
              <a:gd name="T35" fmla="*/ 71 h 76"/>
              <a:gd name="T36" fmla="*/ 32 w 32"/>
              <a:gd name="T37" fmla="*/ 5 h 76"/>
              <a:gd name="T38" fmla="*/ 32 w 32"/>
              <a:gd name="T39" fmla="*/ 5 h 76"/>
              <a:gd name="T40" fmla="*/ 32 w 32"/>
              <a:gd name="T41" fmla="*/ 4 h 76"/>
              <a:gd name="T42" fmla="*/ 30 w 32"/>
              <a:gd name="T43" fmla="*/ 1 h 76"/>
              <a:gd name="T44" fmla="*/ 29 w 32"/>
              <a:gd name="T45" fmla="*/ 1 h 76"/>
              <a:gd name="T46" fmla="*/ 26 w 32"/>
              <a:gd name="T47" fmla="*/ 0 h 76"/>
              <a:gd name="T48" fmla="*/ 5 w 32"/>
              <a:gd name="T4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76">
                <a:moveTo>
                  <a:pt x="5" y="0"/>
                </a:moveTo>
                <a:lnTo>
                  <a:pt x="5" y="0"/>
                </a:lnTo>
                <a:lnTo>
                  <a:pt x="2" y="1"/>
                </a:lnTo>
                <a:lnTo>
                  <a:pt x="1" y="1"/>
                </a:lnTo>
                <a:lnTo>
                  <a:pt x="0" y="4"/>
                </a:lnTo>
                <a:lnTo>
                  <a:pt x="0" y="5"/>
                </a:lnTo>
                <a:lnTo>
                  <a:pt x="0" y="71"/>
                </a:lnTo>
                <a:lnTo>
                  <a:pt x="0" y="71"/>
                </a:lnTo>
                <a:lnTo>
                  <a:pt x="0" y="72"/>
                </a:lnTo>
                <a:lnTo>
                  <a:pt x="1" y="74"/>
                </a:lnTo>
                <a:lnTo>
                  <a:pt x="2" y="75"/>
                </a:lnTo>
                <a:lnTo>
                  <a:pt x="5" y="76"/>
                </a:lnTo>
                <a:lnTo>
                  <a:pt x="26" y="76"/>
                </a:lnTo>
                <a:lnTo>
                  <a:pt x="26" y="76"/>
                </a:lnTo>
                <a:lnTo>
                  <a:pt x="29" y="75"/>
                </a:lnTo>
                <a:lnTo>
                  <a:pt x="30" y="74"/>
                </a:lnTo>
                <a:lnTo>
                  <a:pt x="32" y="72"/>
                </a:lnTo>
                <a:lnTo>
                  <a:pt x="32" y="71"/>
                </a:lnTo>
                <a:lnTo>
                  <a:pt x="32" y="5"/>
                </a:lnTo>
                <a:lnTo>
                  <a:pt x="32" y="5"/>
                </a:lnTo>
                <a:lnTo>
                  <a:pt x="32" y="4"/>
                </a:lnTo>
                <a:lnTo>
                  <a:pt x="30" y="1"/>
                </a:lnTo>
                <a:lnTo>
                  <a:pt x="29" y="1"/>
                </a:lnTo>
                <a:lnTo>
                  <a:pt x="26"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41" name="Freeform 45">
            <a:extLst>
              <a:ext uri="{FF2B5EF4-FFF2-40B4-BE49-F238E27FC236}">
                <a16:creationId xmlns:a16="http://schemas.microsoft.com/office/drawing/2014/main" id="{F19F24E2-C99E-43BD-9859-E26D5CCE7663}"/>
              </a:ext>
            </a:extLst>
          </p:cNvPr>
          <p:cNvSpPr>
            <a:spLocks noEditPoints="1"/>
          </p:cNvSpPr>
          <p:nvPr/>
        </p:nvSpPr>
        <p:spPr bwMode="auto">
          <a:xfrm>
            <a:off x="663371" y="1551860"/>
            <a:ext cx="457200" cy="457200"/>
          </a:xfrm>
          <a:custGeom>
            <a:avLst/>
            <a:gdLst>
              <a:gd name="T0" fmla="*/ 312 w 657"/>
              <a:gd name="T1" fmla="*/ 658 h 658"/>
              <a:gd name="T2" fmla="*/ 262 w 657"/>
              <a:gd name="T3" fmla="*/ 651 h 658"/>
              <a:gd name="T4" fmla="*/ 200 w 657"/>
              <a:gd name="T5" fmla="*/ 632 h 658"/>
              <a:gd name="T6" fmla="*/ 119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39 w 657"/>
              <a:gd name="T21" fmla="*/ 173 h 658"/>
              <a:gd name="T22" fmla="*/ 97 w 657"/>
              <a:gd name="T23" fmla="*/ 96 h 658"/>
              <a:gd name="T24" fmla="*/ 172 w 657"/>
              <a:gd name="T25" fmla="*/ 40 h 658"/>
              <a:gd name="T26" fmla="*/ 247 w 657"/>
              <a:gd name="T27" fmla="*/ 10 h 658"/>
              <a:gd name="T28" fmla="*/ 295 w 657"/>
              <a:gd name="T29" fmla="*/ 2 h 658"/>
              <a:gd name="T30" fmla="*/ 329 w 657"/>
              <a:gd name="T31" fmla="*/ 0 h 658"/>
              <a:gd name="T32" fmla="*/ 379 w 657"/>
              <a:gd name="T33" fmla="*/ 4 h 658"/>
              <a:gd name="T34" fmla="*/ 426 w 657"/>
              <a:gd name="T35" fmla="*/ 14 h 658"/>
              <a:gd name="T36" fmla="*/ 512 w 657"/>
              <a:gd name="T37" fmla="*/ 56 h 658"/>
              <a:gd name="T38" fmla="*/ 582 w 657"/>
              <a:gd name="T39" fmla="*/ 120 h 658"/>
              <a:gd name="T40" fmla="*/ 631 w 657"/>
              <a:gd name="T41" fmla="*/ 201 h 658"/>
              <a:gd name="T42" fmla="*/ 650 w 657"/>
              <a:gd name="T43" fmla="*/ 263 h 658"/>
              <a:gd name="T44" fmla="*/ 657 w 657"/>
              <a:gd name="T45" fmla="*/ 313 h 658"/>
              <a:gd name="T46" fmla="*/ 657 w 657"/>
              <a:gd name="T47" fmla="*/ 346 h 658"/>
              <a:gd name="T48" fmla="*/ 650 w 657"/>
              <a:gd name="T49" fmla="*/ 395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6 w 657"/>
              <a:gd name="T67" fmla="*/ 88 h 658"/>
              <a:gd name="T68" fmla="*/ 103 w 657"/>
              <a:gd name="T69" fmla="*/ 143 h 658"/>
              <a:gd name="T70" fmla="*/ 60 w 657"/>
              <a:gd name="T71" fmla="*/ 216 h 658"/>
              <a:gd name="T72" fmla="*/ 39 w 657"/>
              <a:gd name="T73" fmla="*/ 299 h 658"/>
              <a:gd name="T74" fmla="*/ 39 w 657"/>
              <a:gd name="T75" fmla="*/ 358 h 658"/>
              <a:gd name="T76" fmla="*/ 60 w 657"/>
              <a:gd name="T77" fmla="*/ 443 h 658"/>
              <a:gd name="T78" fmla="*/ 103 w 657"/>
              <a:gd name="T79" fmla="*/ 514 h 658"/>
              <a:gd name="T80" fmla="*/ 166 w 657"/>
              <a:gd name="T81" fmla="*/ 571 h 658"/>
              <a:gd name="T82" fmla="*/ 242 w 657"/>
              <a:gd name="T83" fmla="*/ 607 h 658"/>
              <a:gd name="T84" fmla="*/ 329 w 657"/>
              <a:gd name="T85" fmla="*/ 620 h 658"/>
              <a:gd name="T86" fmla="*/ 387 w 657"/>
              <a:gd name="T87" fmla="*/ 615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1 h 658"/>
              <a:gd name="T106" fmla="*/ 359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4"/>
                </a:lnTo>
                <a:lnTo>
                  <a:pt x="262" y="651"/>
                </a:lnTo>
                <a:lnTo>
                  <a:pt x="247" y="647"/>
                </a:lnTo>
                <a:lnTo>
                  <a:pt x="231" y="643"/>
                </a:lnTo>
                <a:lnTo>
                  <a:pt x="200" y="632"/>
                </a:lnTo>
                <a:lnTo>
                  <a:pt x="172" y="618"/>
                </a:lnTo>
                <a:lnTo>
                  <a:pt x="145" y="601"/>
                </a:lnTo>
                <a:lnTo>
                  <a:pt x="119" y="583"/>
                </a:lnTo>
                <a:lnTo>
                  <a:pt x="97" y="561"/>
                </a:lnTo>
                <a:lnTo>
                  <a:pt x="75" y="538"/>
                </a:lnTo>
                <a:lnTo>
                  <a:pt x="56" y="513"/>
                </a:lnTo>
                <a:lnTo>
                  <a:pt x="39" y="486"/>
                </a:lnTo>
                <a:lnTo>
                  <a:pt x="25" y="456"/>
                </a:lnTo>
                <a:lnTo>
                  <a:pt x="15" y="427"/>
                </a:lnTo>
                <a:lnTo>
                  <a:pt x="11" y="411"/>
                </a:lnTo>
                <a:lnTo>
                  <a:pt x="7" y="395"/>
                </a:lnTo>
                <a:lnTo>
                  <a:pt x="4" y="378"/>
                </a:lnTo>
                <a:lnTo>
                  <a:pt x="1" y="362"/>
                </a:lnTo>
                <a:lnTo>
                  <a:pt x="0" y="346"/>
                </a:lnTo>
                <a:lnTo>
                  <a:pt x="0" y="329"/>
                </a:lnTo>
                <a:lnTo>
                  <a:pt x="0" y="329"/>
                </a:lnTo>
                <a:lnTo>
                  <a:pt x="0" y="313"/>
                </a:lnTo>
                <a:lnTo>
                  <a:pt x="1" y="295"/>
                </a:lnTo>
                <a:lnTo>
                  <a:pt x="4" y="279"/>
                </a:lnTo>
                <a:lnTo>
                  <a:pt x="7" y="263"/>
                </a:lnTo>
                <a:lnTo>
                  <a:pt x="11" y="247"/>
                </a:lnTo>
                <a:lnTo>
                  <a:pt x="15" y="232"/>
                </a:lnTo>
                <a:lnTo>
                  <a:pt x="25" y="201"/>
                </a:lnTo>
                <a:lnTo>
                  <a:pt x="39" y="173"/>
                </a:lnTo>
                <a:lnTo>
                  <a:pt x="56" y="145"/>
                </a:lnTo>
                <a:lnTo>
                  <a:pt x="75" y="120"/>
                </a:lnTo>
                <a:lnTo>
                  <a:pt x="97" y="96"/>
                </a:lnTo>
                <a:lnTo>
                  <a:pt x="119" y="75"/>
                </a:lnTo>
                <a:lnTo>
                  <a:pt x="145" y="56"/>
                </a:lnTo>
                <a:lnTo>
                  <a:pt x="172" y="40"/>
                </a:lnTo>
                <a:lnTo>
                  <a:pt x="200" y="26"/>
                </a:lnTo>
                <a:lnTo>
                  <a:pt x="231" y="14"/>
                </a:lnTo>
                <a:lnTo>
                  <a:pt x="247" y="10"/>
                </a:lnTo>
                <a:lnTo>
                  <a:pt x="262" y="6"/>
                </a:lnTo>
                <a:lnTo>
                  <a:pt x="278" y="4"/>
                </a:lnTo>
                <a:lnTo>
                  <a:pt x="295" y="2"/>
                </a:lnTo>
                <a:lnTo>
                  <a:pt x="312" y="1"/>
                </a:lnTo>
                <a:lnTo>
                  <a:pt x="329" y="0"/>
                </a:lnTo>
                <a:lnTo>
                  <a:pt x="329" y="0"/>
                </a:lnTo>
                <a:lnTo>
                  <a:pt x="345" y="1"/>
                </a:lnTo>
                <a:lnTo>
                  <a:pt x="363" y="2"/>
                </a:lnTo>
                <a:lnTo>
                  <a:pt x="379" y="4"/>
                </a:lnTo>
                <a:lnTo>
                  <a:pt x="395" y="6"/>
                </a:lnTo>
                <a:lnTo>
                  <a:pt x="411" y="10"/>
                </a:lnTo>
                <a:lnTo>
                  <a:pt x="426" y="14"/>
                </a:lnTo>
                <a:lnTo>
                  <a:pt x="457" y="26"/>
                </a:lnTo>
                <a:lnTo>
                  <a:pt x="485" y="40"/>
                </a:lnTo>
                <a:lnTo>
                  <a:pt x="512" y="56"/>
                </a:lnTo>
                <a:lnTo>
                  <a:pt x="537" y="75"/>
                </a:lnTo>
                <a:lnTo>
                  <a:pt x="561" y="96"/>
                </a:lnTo>
                <a:lnTo>
                  <a:pt x="582" y="120"/>
                </a:lnTo>
                <a:lnTo>
                  <a:pt x="602" y="145"/>
                </a:lnTo>
                <a:lnTo>
                  <a:pt x="618" y="173"/>
                </a:lnTo>
                <a:lnTo>
                  <a:pt x="631" y="201"/>
                </a:lnTo>
                <a:lnTo>
                  <a:pt x="642" y="232"/>
                </a:lnTo>
                <a:lnTo>
                  <a:pt x="647" y="247"/>
                </a:lnTo>
                <a:lnTo>
                  <a:pt x="650" y="263"/>
                </a:lnTo>
                <a:lnTo>
                  <a:pt x="654" y="279"/>
                </a:lnTo>
                <a:lnTo>
                  <a:pt x="655" y="295"/>
                </a:lnTo>
                <a:lnTo>
                  <a:pt x="657" y="313"/>
                </a:lnTo>
                <a:lnTo>
                  <a:pt x="657" y="329"/>
                </a:lnTo>
                <a:lnTo>
                  <a:pt x="657" y="329"/>
                </a:lnTo>
                <a:lnTo>
                  <a:pt x="657" y="346"/>
                </a:lnTo>
                <a:lnTo>
                  <a:pt x="655" y="362"/>
                </a:lnTo>
                <a:lnTo>
                  <a:pt x="654" y="378"/>
                </a:lnTo>
                <a:lnTo>
                  <a:pt x="650" y="395"/>
                </a:lnTo>
                <a:lnTo>
                  <a:pt x="647" y="411"/>
                </a:lnTo>
                <a:lnTo>
                  <a:pt x="642" y="427"/>
                </a:lnTo>
                <a:lnTo>
                  <a:pt x="631" y="456"/>
                </a:lnTo>
                <a:lnTo>
                  <a:pt x="618" y="486"/>
                </a:lnTo>
                <a:lnTo>
                  <a:pt x="602" y="513"/>
                </a:lnTo>
                <a:lnTo>
                  <a:pt x="582" y="538"/>
                </a:lnTo>
                <a:lnTo>
                  <a:pt x="561" y="561"/>
                </a:lnTo>
                <a:lnTo>
                  <a:pt x="537" y="583"/>
                </a:lnTo>
                <a:lnTo>
                  <a:pt x="512" y="601"/>
                </a:lnTo>
                <a:lnTo>
                  <a:pt x="485" y="618"/>
                </a:lnTo>
                <a:lnTo>
                  <a:pt x="457" y="632"/>
                </a:lnTo>
                <a:lnTo>
                  <a:pt x="426" y="643"/>
                </a:lnTo>
                <a:lnTo>
                  <a:pt x="411" y="647"/>
                </a:lnTo>
                <a:lnTo>
                  <a:pt x="395" y="651"/>
                </a:lnTo>
                <a:lnTo>
                  <a:pt x="379" y="654"/>
                </a:lnTo>
                <a:lnTo>
                  <a:pt x="363" y="656"/>
                </a:lnTo>
                <a:lnTo>
                  <a:pt x="345" y="658"/>
                </a:lnTo>
                <a:lnTo>
                  <a:pt x="329" y="658"/>
                </a:lnTo>
                <a:lnTo>
                  <a:pt x="329" y="658"/>
                </a:lnTo>
                <a:close/>
                <a:moveTo>
                  <a:pt x="329" y="37"/>
                </a:moveTo>
                <a:lnTo>
                  <a:pt x="329" y="37"/>
                </a:lnTo>
                <a:lnTo>
                  <a:pt x="298" y="40"/>
                </a:lnTo>
                <a:lnTo>
                  <a:pt x="270" y="44"/>
                </a:lnTo>
                <a:lnTo>
                  <a:pt x="242" y="51"/>
                </a:lnTo>
                <a:lnTo>
                  <a:pt x="215" y="61"/>
                </a:lnTo>
                <a:lnTo>
                  <a:pt x="189" y="73"/>
                </a:lnTo>
                <a:lnTo>
                  <a:pt x="166" y="88"/>
                </a:lnTo>
                <a:lnTo>
                  <a:pt x="144" y="104"/>
                </a:lnTo>
                <a:lnTo>
                  <a:pt x="122" y="123"/>
                </a:lnTo>
                <a:lnTo>
                  <a:pt x="103" y="143"/>
                </a:lnTo>
                <a:lnTo>
                  <a:pt x="87" y="166"/>
                </a:lnTo>
                <a:lnTo>
                  <a:pt x="72" y="190"/>
                </a:lnTo>
                <a:lnTo>
                  <a:pt x="60" y="216"/>
                </a:lnTo>
                <a:lnTo>
                  <a:pt x="51" y="243"/>
                </a:lnTo>
                <a:lnTo>
                  <a:pt x="43" y="271"/>
                </a:lnTo>
                <a:lnTo>
                  <a:pt x="39" y="299"/>
                </a:lnTo>
                <a:lnTo>
                  <a:pt x="37" y="329"/>
                </a:lnTo>
                <a:lnTo>
                  <a:pt x="37" y="329"/>
                </a:lnTo>
                <a:lnTo>
                  <a:pt x="39" y="358"/>
                </a:lnTo>
                <a:lnTo>
                  <a:pt x="43" y="388"/>
                </a:lnTo>
                <a:lnTo>
                  <a:pt x="51" y="416"/>
                </a:lnTo>
                <a:lnTo>
                  <a:pt x="60" y="443"/>
                </a:lnTo>
                <a:lnTo>
                  <a:pt x="72" y="467"/>
                </a:lnTo>
                <a:lnTo>
                  <a:pt x="87" y="491"/>
                </a:lnTo>
                <a:lnTo>
                  <a:pt x="103" y="514"/>
                </a:lnTo>
                <a:lnTo>
                  <a:pt x="122" y="534"/>
                </a:lnTo>
                <a:lnTo>
                  <a:pt x="144" y="553"/>
                </a:lnTo>
                <a:lnTo>
                  <a:pt x="166" y="571"/>
                </a:lnTo>
                <a:lnTo>
                  <a:pt x="189" y="585"/>
                </a:lnTo>
                <a:lnTo>
                  <a:pt x="215" y="597"/>
                </a:lnTo>
                <a:lnTo>
                  <a:pt x="242" y="607"/>
                </a:lnTo>
                <a:lnTo>
                  <a:pt x="270" y="615"/>
                </a:lnTo>
                <a:lnTo>
                  <a:pt x="298" y="619"/>
                </a:lnTo>
                <a:lnTo>
                  <a:pt x="329" y="620"/>
                </a:lnTo>
                <a:lnTo>
                  <a:pt x="329" y="620"/>
                </a:lnTo>
                <a:lnTo>
                  <a:pt x="359" y="619"/>
                </a:lnTo>
                <a:lnTo>
                  <a:pt x="387" y="615"/>
                </a:lnTo>
                <a:lnTo>
                  <a:pt x="415" y="607"/>
                </a:lnTo>
                <a:lnTo>
                  <a:pt x="442" y="597"/>
                </a:lnTo>
                <a:lnTo>
                  <a:pt x="467" y="585"/>
                </a:lnTo>
                <a:lnTo>
                  <a:pt x="492" y="571"/>
                </a:lnTo>
                <a:lnTo>
                  <a:pt x="513" y="553"/>
                </a:lnTo>
                <a:lnTo>
                  <a:pt x="535" y="534"/>
                </a:lnTo>
                <a:lnTo>
                  <a:pt x="553" y="514"/>
                </a:lnTo>
                <a:lnTo>
                  <a:pt x="569" y="491"/>
                </a:lnTo>
                <a:lnTo>
                  <a:pt x="584" y="467"/>
                </a:lnTo>
                <a:lnTo>
                  <a:pt x="596" y="443"/>
                </a:lnTo>
                <a:lnTo>
                  <a:pt x="607" y="416"/>
                </a:lnTo>
                <a:lnTo>
                  <a:pt x="614" y="388"/>
                </a:lnTo>
                <a:lnTo>
                  <a:pt x="618" y="358"/>
                </a:lnTo>
                <a:lnTo>
                  <a:pt x="619" y="329"/>
                </a:lnTo>
                <a:lnTo>
                  <a:pt x="619" y="329"/>
                </a:lnTo>
                <a:lnTo>
                  <a:pt x="618" y="299"/>
                </a:lnTo>
                <a:lnTo>
                  <a:pt x="614" y="271"/>
                </a:lnTo>
                <a:lnTo>
                  <a:pt x="607" y="243"/>
                </a:lnTo>
                <a:lnTo>
                  <a:pt x="596" y="216"/>
                </a:lnTo>
                <a:lnTo>
                  <a:pt x="584" y="190"/>
                </a:lnTo>
                <a:lnTo>
                  <a:pt x="569" y="166"/>
                </a:lnTo>
                <a:lnTo>
                  <a:pt x="553" y="143"/>
                </a:lnTo>
                <a:lnTo>
                  <a:pt x="535" y="123"/>
                </a:lnTo>
                <a:lnTo>
                  <a:pt x="513" y="104"/>
                </a:lnTo>
                <a:lnTo>
                  <a:pt x="492" y="88"/>
                </a:lnTo>
                <a:lnTo>
                  <a:pt x="467" y="73"/>
                </a:lnTo>
                <a:lnTo>
                  <a:pt x="442" y="61"/>
                </a:lnTo>
                <a:lnTo>
                  <a:pt x="415" y="51"/>
                </a:lnTo>
                <a:lnTo>
                  <a:pt x="387" y="44"/>
                </a:lnTo>
                <a:lnTo>
                  <a:pt x="359" y="40"/>
                </a:lnTo>
                <a:lnTo>
                  <a:pt x="329" y="37"/>
                </a:lnTo>
                <a:lnTo>
                  <a:pt x="329" y="37"/>
                </a:lnTo>
                <a:close/>
              </a:path>
            </a:pathLst>
          </a:custGeom>
          <a:solidFill>
            <a:schemeClr val="accent2"/>
          </a:solidFill>
          <a:ln w="9525">
            <a:solidFill>
              <a:srgbClr val="62B5E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42" name="Freeform 185">
            <a:extLst>
              <a:ext uri="{FF2B5EF4-FFF2-40B4-BE49-F238E27FC236}">
                <a16:creationId xmlns:a16="http://schemas.microsoft.com/office/drawing/2014/main" id="{0484D8B6-B585-4204-9EB9-5DDD6664B571}"/>
              </a:ext>
            </a:extLst>
          </p:cNvPr>
          <p:cNvSpPr>
            <a:spLocks noEditPoints="1"/>
          </p:cNvSpPr>
          <p:nvPr/>
        </p:nvSpPr>
        <p:spPr bwMode="auto">
          <a:xfrm>
            <a:off x="800947" y="1707502"/>
            <a:ext cx="138966" cy="204281"/>
          </a:xfrm>
          <a:custGeom>
            <a:avLst/>
            <a:gdLst>
              <a:gd name="T0" fmla="*/ 23 w 199"/>
              <a:gd name="T1" fmla="*/ 0 h 294"/>
              <a:gd name="T2" fmla="*/ 19 w 199"/>
              <a:gd name="T3" fmla="*/ 0 h 294"/>
              <a:gd name="T4" fmla="*/ 10 w 199"/>
              <a:gd name="T5" fmla="*/ 4 h 294"/>
              <a:gd name="T6" fmla="*/ 4 w 199"/>
              <a:gd name="T7" fmla="*/ 10 h 294"/>
              <a:gd name="T8" fmla="*/ 0 w 199"/>
              <a:gd name="T9" fmla="*/ 18 h 294"/>
              <a:gd name="T10" fmla="*/ 0 w 199"/>
              <a:gd name="T11" fmla="*/ 270 h 294"/>
              <a:gd name="T12" fmla="*/ 0 w 199"/>
              <a:gd name="T13" fmla="*/ 275 h 294"/>
              <a:gd name="T14" fmla="*/ 4 w 199"/>
              <a:gd name="T15" fmla="*/ 283 h 294"/>
              <a:gd name="T16" fmla="*/ 10 w 199"/>
              <a:gd name="T17" fmla="*/ 290 h 294"/>
              <a:gd name="T18" fmla="*/ 19 w 199"/>
              <a:gd name="T19" fmla="*/ 292 h 294"/>
              <a:gd name="T20" fmla="*/ 175 w 199"/>
              <a:gd name="T21" fmla="*/ 294 h 294"/>
              <a:gd name="T22" fmla="*/ 180 w 199"/>
              <a:gd name="T23" fmla="*/ 292 h 294"/>
              <a:gd name="T24" fmla="*/ 188 w 199"/>
              <a:gd name="T25" fmla="*/ 290 h 294"/>
              <a:gd name="T26" fmla="*/ 195 w 199"/>
              <a:gd name="T27" fmla="*/ 283 h 294"/>
              <a:gd name="T28" fmla="*/ 198 w 199"/>
              <a:gd name="T29" fmla="*/ 275 h 294"/>
              <a:gd name="T30" fmla="*/ 199 w 199"/>
              <a:gd name="T31" fmla="*/ 22 h 294"/>
              <a:gd name="T32" fmla="*/ 198 w 199"/>
              <a:gd name="T33" fmla="*/ 18 h 294"/>
              <a:gd name="T34" fmla="*/ 195 w 199"/>
              <a:gd name="T35" fmla="*/ 10 h 294"/>
              <a:gd name="T36" fmla="*/ 188 w 199"/>
              <a:gd name="T37" fmla="*/ 4 h 294"/>
              <a:gd name="T38" fmla="*/ 180 w 199"/>
              <a:gd name="T39" fmla="*/ 0 h 294"/>
              <a:gd name="T40" fmla="*/ 175 w 199"/>
              <a:gd name="T41" fmla="*/ 0 h 294"/>
              <a:gd name="T42" fmla="*/ 100 w 199"/>
              <a:gd name="T43" fmla="*/ 284 h 294"/>
              <a:gd name="T44" fmla="*/ 89 w 199"/>
              <a:gd name="T45" fmla="*/ 279 h 294"/>
              <a:gd name="T46" fmla="*/ 85 w 199"/>
              <a:gd name="T47" fmla="*/ 270 h 294"/>
              <a:gd name="T48" fmla="*/ 86 w 199"/>
              <a:gd name="T49" fmla="*/ 264 h 294"/>
              <a:gd name="T50" fmla="*/ 94 w 199"/>
              <a:gd name="T51" fmla="*/ 256 h 294"/>
              <a:gd name="T52" fmla="*/ 100 w 199"/>
              <a:gd name="T53" fmla="*/ 255 h 294"/>
              <a:gd name="T54" fmla="*/ 109 w 199"/>
              <a:gd name="T55" fmla="*/ 259 h 294"/>
              <a:gd name="T56" fmla="*/ 113 w 199"/>
              <a:gd name="T57" fmla="*/ 270 h 294"/>
              <a:gd name="T58" fmla="*/ 112 w 199"/>
              <a:gd name="T59" fmla="*/ 275 h 294"/>
              <a:gd name="T60" fmla="*/ 105 w 199"/>
              <a:gd name="T61" fmla="*/ 283 h 294"/>
              <a:gd name="T62" fmla="*/ 100 w 199"/>
              <a:gd name="T63" fmla="*/ 284 h 294"/>
              <a:gd name="T64" fmla="*/ 182 w 199"/>
              <a:gd name="T65" fmla="*/ 232 h 294"/>
              <a:gd name="T66" fmla="*/ 176 w 199"/>
              <a:gd name="T67" fmla="*/ 237 h 294"/>
              <a:gd name="T68" fmla="*/ 22 w 199"/>
              <a:gd name="T69" fmla="*/ 237 h 294"/>
              <a:gd name="T70" fmla="*/ 18 w 199"/>
              <a:gd name="T71" fmla="*/ 232 h 294"/>
              <a:gd name="T72" fmla="*/ 18 w 199"/>
              <a:gd name="T73" fmla="*/ 21 h 294"/>
              <a:gd name="T74" fmla="*/ 22 w 199"/>
              <a:gd name="T75" fmla="*/ 17 h 294"/>
              <a:gd name="T76" fmla="*/ 176 w 199"/>
              <a:gd name="T77" fmla="*/ 17 h 294"/>
              <a:gd name="T78" fmla="*/ 182 w 199"/>
              <a:gd name="T79" fmla="*/ 2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9" h="294">
                <a:moveTo>
                  <a:pt x="175" y="0"/>
                </a:moveTo>
                <a:lnTo>
                  <a:pt x="23" y="0"/>
                </a:lnTo>
                <a:lnTo>
                  <a:pt x="23" y="0"/>
                </a:lnTo>
                <a:lnTo>
                  <a:pt x="19" y="0"/>
                </a:lnTo>
                <a:lnTo>
                  <a:pt x="14" y="1"/>
                </a:lnTo>
                <a:lnTo>
                  <a:pt x="10" y="4"/>
                </a:lnTo>
                <a:lnTo>
                  <a:pt x="7" y="6"/>
                </a:lnTo>
                <a:lnTo>
                  <a:pt x="4" y="10"/>
                </a:lnTo>
                <a:lnTo>
                  <a:pt x="2" y="14"/>
                </a:lnTo>
                <a:lnTo>
                  <a:pt x="0" y="18"/>
                </a:lnTo>
                <a:lnTo>
                  <a:pt x="0" y="22"/>
                </a:lnTo>
                <a:lnTo>
                  <a:pt x="0" y="270"/>
                </a:lnTo>
                <a:lnTo>
                  <a:pt x="0" y="270"/>
                </a:lnTo>
                <a:lnTo>
                  <a:pt x="0" y="275"/>
                </a:lnTo>
                <a:lnTo>
                  <a:pt x="2" y="279"/>
                </a:lnTo>
                <a:lnTo>
                  <a:pt x="4" y="283"/>
                </a:lnTo>
                <a:lnTo>
                  <a:pt x="7" y="286"/>
                </a:lnTo>
                <a:lnTo>
                  <a:pt x="10" y="290"/>
                </a:lnTo>
                <a:lnTo>
                  <a:pt x="14" y="291"/>
                </a:lnTo>
                <a:lnTo>
                  <a:pt x="19" y="292"/>
                </a:lnTo>
                <a:lnTo>
                  <a:pt x="23" y="294"/>
                </a:lnTo>
                <a:lnTo>
                  <a:pt x="175" y="294"/>
                </a:lnTo>
                <a:lnTo>
                  <a:pt x="175" y="294"/>
                </a:lnTo>
                <a:lnTo>
                  <a:pt x="180" y="292"/>
                </a:lnTo>
                <a:lnTo>
                  <a:pt x="184" y="291"/>
                </a:lnTo>
                <a:lnTo>
                  <a:pt x="188" y="290"/>
                </a:lnTo>
                <a:lnTo>
                  <a:pt x="192" y="286"/>
                </a:lnTo>
                <a:lnTo>
                  <a:pt x="195" y="283"/>
                </a:lnTo>
                <a:lnTo>
                  <a:pt x="196" y="279"/>
                </a:lnTo>
                <a:lnTo>
                  <a:pt x="198" y="275"/>
                </a:lnTo>
                <a:lnTo>
                  <a:pt x="199" y="270"/>
                </a:lnTo>
                <a:lnTo>
                  <a:pt x="199" y="22"/>
                </a:lnTo>
                <a:lnTo>
                  <a:pt x="199" y="22"/>
                </a:lnTo>
                <a:lnTo>
                  <a:pt x="198" y="18"/>
                </a:lnTo>
                <a:lnTo>
                  <a:pt x="196" y="14"/>
                </a:lnTo>
                <a:lnTo>
                  <a:pt x="195" y="10"/>
                </a:lnTo>
                <a:lnTo>
                  <a:pt x="192" y="6"/>
                </a:lnTo>
                <a:lnTo>
                  <a:pt x="188" y="4"/>
                </a:lnTo>
                <a:lnTo>
                  <a:pt x="184" y="1"/>
                </a:lnTo>
                <a:lnTo>
                  <a:pt x="180" y="0"/>
                </a:lnTo>
                <a:lnTo>
                  <a:pt x="175" y="0"/>
                </a:lnTo>
                <a:lnTo>
                  <a:pt x="175" y="0"/>
                </a:lnTo>
                <a:close/>
                <a:moveTo>
                  <a:pt x="100" y="284"/>
                </a:moveTo>
                <a:lnTo>
                  <a:pt x="100" y="284"/>
                </a:lnTo>
                <a:lnTo>
                  <a:pt x="94" y="283"/>
                </a:lnTo>
                <a:lnTo>
                  <a:pt x="89" y="279"/>
                </a:lnTo>
                <a:lnTo>
                  <a:pt x="86" y="275"/>
                </a:lnTo>
                <a:lnTo>
                  <a:pt x="85" y="270"/>
                </a:lnTo>
                <a:lnTo>
                  <a:pt x="85" y="270"/>
                </a:lnTo>
                <a:lnTo>
                  <a:pt x="86" y="264"/>
                </a:lnTo>
                <a:lnTo>
                  <a:pt x="89" y="259"/>
                </a:lnTo>
                <a:lnTo>
                  <a:pt x="94" y="256"/>
                </a:lnTo>
                <a:lnTo>
                  <a:pt x="100" y="255"/>
                </a:lnTo>
                <a:lnTo>
                  <a:pt x="100" y="255"/>
                </a:lnTo>
                <a:lnTo>
                  <a:pt x="105" y="256"/>
                </a:lnTo>
                <a:lnTo>
                  <a:pt x="109" y="259"/>
                </a:lnTo>
                <a:lnTo>
                  <a:pt x="112" y="264"/>
                </a:lnTo>
                <a:lnTo>
                  <a:pt x="113" y="270"/>
                </a:lnTo>
                <a:lnTo>
                  <a:pt x="113" y="270"/>
                </a:lnTo>
                <a:lnTo>
                  <a:pt x="112" y="275"/>
                </a:lnTo>
                <a:lnTo>
                  <a:pt x="109" y="279"/>
                </a:lnTo>
                <a:lnTo>
                  <a:pt x="105" y="283"/>
                </a:lnTo>
                <a:lnTo>
                  <a:pt x="100" y="284"/>
                </a:lnTo>
                <a:lnTo>
                  <a:pt x="100" y="284"/>
                </a:lnTo>
                <a:close/>
                <a:moveTo>
                  <a:pt x="182" y="232"/>
                </a:moveTo>
                <a:lnTo>
                  <a:pt x="182" y="232"/>
                </a:lnTo>
                <a:lnTo>
                  <a:pt x="180" y="236"/>
                </a:lnTo>
                <a:lnTo>
                  <a:pt x="176" y="237"/>
                </a:lnTo>
                <a:lnTo>
                  <a:pt x="22" y="237"/>
                </a:lnTo>
                <a:lnTo>
                  <a:pt x="22" y="237"/>
                </a:lnTo>
                <a:lnTo>
                  <a:pt x="19" y="236"/>
                </a:lnTo>
                <a:lnTo>
                  <a:pt x="18" y="232"/>
                </a:lnTo>
                <a:lnTo>
                  <a:pt x="18" y="21"/>
                </a:lnTo>
                <a:lnTo>
                  <a:pt x="18" y="21"/>
                </a:lnTo>
                <a:lnTo>
                  <a:pt x="19" y="18"/>
                </a:lnTo>
                <a:lnTo>
                  <a:pt x="22" y="17"/>
                </a:lnTo>
                <a:lnTo>
                  <a:pt x="176" y="17"/>
                </a:lnTo>
                <a:lnTo>
                  <a:pt x="176" y="17"/>
                </a:lnTo>
                <a:lnTo>
                  <a:pt x="180" y="18"/>
                </a:lnTo>
                <a:lnTo>
                  <a:pt x="182" y="21"/>
                </a:lnTo>
                <a:lnTo>
                  <a:pt x="182"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43" name="Freeform 186">
            <a:extLst>
              <a:ext uri="{FF2B5EF4-FFF2-40B4-BE49-F238E27FC236}">
                <a16:creationId xmlns:a16="http://schemas.microsoft.com/office/drawing/2014/main" id="{1C6CC958-7E5E-466C-B625-B1A37D71F0DD}"/>
              </a:ext>
            </a:extLst>
          </p:cNvPr>
          <p:cNvSpPr>
            <a:spLocks/>
          </p:cNvSpPr>
          <p:nvPr/>
        </p:nvSpPr>
        <p:spPr bwMode="auto">
          <a:xfrm>
            <a:off x="930187" y="1674150"/>
            <a:ext cx="44469" cy="45859"/>
          </a:xfrm>
          <a:custGeom>
            <a:avLst/>
            <a:gdLst>
              <a:gd name="T0" fmla="*/ 8 w 64"/>
              <a:gd name="T1" fmla="*/ 0 h 65"/>
              <a:gd name="T2" fmla="*/ 8 w 64"/>
              <a:gd name="T3" fmla="*/ 0 h 65"/>
              <a:gd name="T4" fmla="*/ 5 w 64"/>
              <a:gd name="T5" fmla="*/ 1 h 65"/>
              <a:gd name="T6" fmla="*/ 1 w 64"/>
              <a:gd name="T7" fmla="*/ 2 h 65"/>
              <a:gd name="T8" fmla="*/ 0 w 64"/>
              <a:gd name="T9" fmla="*/ 5 h 65"/>
              <a:gd name="T10" fmla="*/ 0 w 64"/>
              <a:gd name="T11" fmla="*/ 9 h 65"/>
              <a:gd name="T12" fmla="*/ 0 w 64"/>
              <a:gd name="T13" fmla="*/ 9 h 65"/>
              <a:gd name="T14" fmla="*/ 0 w 64"/>
              <a:gd name="T15" fmla="*/ 12 h 65"/>
              <a:gd name="T16" fmla="*/ 1 w 64"/>
              <a:gd name="T17" fmla="*/ 14 h 65"/>
              <a:gd name="T18" fmla="*/ 5 w 64"/>
              <a:gd name="T19" fmla="*/ 17 h 65"/>
              <a:gd name="T20" fmla="*/ 8 w 64"/>
              <a:gd name="T21" fmla="*/ 17 h 65"/>
              <a:gd name="T22" fmla="*/ 8 w 64"/>
              <a:gd name="T23" fmla="*/ 17 h 65"/>
              <a:gd name="T24" fmla="*/ 16 w 64"/>
              <a:gd name="T25" fmla="*/ 18 h 65"/>
              <a:gd name="T26" fmla="*/ 23 w 64"/>
              <a:gd name="T27" fmla="*/ 21 h 65"/>
              <a:gd name="T28" fmla="*/ 29 w 64"/>
              <a:gd name="T29" fmla="*/ 24 h 65"/>
              <a:gd name="T30" fmla="*/ 35 w 64"/>
              <a:gd name="T31" fmla="*/ 29 h 65"/>
              <a:gd name="T32" fmla="*/ 40 w 64"/>
              <a:gd name="T33" fmla="*/ 34 h 65"/>
              <a:gd name="T34" fmla="*/ 44 w 64"/>
              <a:gd name="T35" fmla="*/ 41 h 65"/>
              <a:gd name="T36" fmla="*/ 45 w 64"/>
              <a:gd name="T37" fmla="*/ 48 h 65"/>
              <a:gd name="T38" fmla="*/ 47 w 64"/>
              <a:gd name="T39" fmla="*/ 56 h 65"/>
              <a:gd name="T40" fmla="*/ 47 w 64"/>
              <a:gd name="T41" fmla="*/ 56 h 65"/>
              <a:gd name="T42" fmla="*/ 47 w 64"/>
              <a:gd name="T43" fmla="*/ 60 h 65"/>
              <a:gd name="T44" fmla="*/ 49 w 64"/>
              <a:gd name="T45" fmla="*/ 63 h 65"/>
              <a:gd name="T46" fmla="*/ 52 w 64"/>
              <a:gd name="T47" fmla="*/ 64 h 65"/>
              <a:gd name="T48" fmla="*/ 55 w 64"/>
              <a:gd name="T49" fmla="*/ 65 h 65"/>
              <a:gd name="T50" fmla="*/ 55 w 64"/>
              <a:gd name="T51" fmla="*/ 65 h 65"/>
              <a:gd name="T52" fmla="*/ 59 w 64"/>
              <a:gd name="T53" fmla="*/ 64 h 65"/>
              <a:gd name="T54" fmla="*/ 62 w 64"/>
              <a:gd name="T55" fmla="*/ 63 h 65"/>
              <a:gd name="T56" fmla="*/ 63 w 64"/>
              <a:gd name="T57" fmla="*/ 60 h 65"/>
              <a:gd name="T58" fmla="*/ 64 w 64"/>
              <a:gd name="T59" fmla="*/ 56 h 65"/>
              <a:gd name="T60" fmla="*/ 64 w 64"/>
              <a:gd name="T61" fmla="*/ 56 h 65"/>
              <a:gd name="T62" fmla="*/ 63 w 64"/>
              <a:gd name="T63" fmla="*/ 45 h 65"/>
              <a:gd name="T64" fmla="*/ 60 w 64"/>
              <a:gd name="T65" fmla="*/ 34 h 65"/>
              <a:gd name="T66" fmla="*/ 55 w 64"/>
              <a:gd name="T67" fmla="*/ 25 h 65"/>
              <a:gd name="T68" fmla="*/ 48 w 64"/>
              <a:gd name="T69" fmla="*/ 17 h 65"/>
              <a:gd name="T70" fmla="*/ 39 w 64"/>
              <a:gd name="T71" fmla="*/ 10 h 65"/>
              <a:gd name="T72" fmla="*/ 29 w 64"/>
              <a:gd name="T73" fmla="*/ 5 h 65"/>
              <a:gd name="T74" fmla="*/ 20 w 64"/>
              <a:gd name="T75" fmla="*/ 1 h 65"/>
              <a:gd name="T76" fmla="*/ 8 w 64"/>
              <a:gd name="T77" fmla="*/ 0 h 65"/>
              <a:gd name="T78" fmla="*/ 8 w 64"/>
              <a:gd name="T7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65">
                <a:moveTo>
                  <a:pt x="8" y="0"/>
                </a:moveTo>
                <a:lnTo>
                  <a:pt x="8" y="0"/>
                </a:lnTo>
                <a:lnTo>
                  <a:pt x="5" y="1"/>
                </a:lnTo>
                <a:lnTo>
                  <a:pt x="1" y="2"/>
                </a:lnTo>
                <a:lnTo>
                  <a:pt x="0" y="5"/>
                </a:lnTo>
                <a:lnTo>
                  <a:pt x="0" y="9"/>
                </a:lnTo>
                <a:lnTo>
                  <a:pt x="0" y="9"/>
                </a:lnTo>
                <a:lnTo>
                  <a:pt x="0" y="12"/>
                </a:lnTo>
                <a:lnTo>
                  <a:pt x="1" y="14"/>
                </a:lnTo>
                <a:lnTo>
                  <a:pt x="5" y="17"/>
                </a:lnTo>
                <a:lnTo>
                  <a:pt x="8" y="17"/>
                </a:lnTo>
                <a:lnTo>
                  <a:pt x="8" y="17"/>
                </a:lnTo>
                <a:lnTo>
                  <a:pt x="16" y="18"/>
                </a:lnTo>
                <a:lnTo>
                  <a:pt x="23" y="21"/>
                </a:lnTo>
                <a:lnTo>
                  <a:pt x="29" y="24"/>
                </a:lnTo>
                <a:lnTo>
                  <a:pt x="35" y="29"/>
                </a:lnTo>
                <a:lnTo>
                  <a:pt x="40" y="34"/>
                </a:lnTo>
                <a:lnTo>
                  <a:pt x="44" y="41"/>
                </a:lnTo>
                <a:lnTo>
                  <a:pt x="45" y="48"/>
                </a:lnTo>
                <a:lnTo>
                  <a:pt x="47" y="56"/>
                </a:lnTo>
                <a:lnTo>
                  <a:pt x="47" y="56"/>
                </a:lnTo>
                <a:lnTo>
                  <a:pt x="47" y="60"/>
                </a:lnTo>
                <a:lnTo>
                  <a:pt x="49" y="63"/>
                </a:lnTo>
                <a:lnTo>
                  <a:pt x="52" y="64"/>
                </a:lnTo>
                <a:lnTo>
                  <a:pt x="55" y="65"/>
                </a:lnTo>
                <a:lnTo>
                  <a:pt x="55" y="65"/>
                </a:lnTo>
                <a:lnTo>
                  <a:pt x="59" y="64"/>
                </a:lnTo>
                <a:lnTo>
                  <a:pt x="62" y="63"/>
                </a:lnTo>
                <a:lnTo>
                  <a:pt x="63" y="60"/>
                </a:lnTo>
                <a:lnTo>
                  <a:pt x="64" y="56"/>
                </a:lnTo>
                <a:lnTo>
                  <a:pt x="64" y="56"/>
                </a:lnTo>
                <a:lnTo>
                  <a:pt x="63" y="45"/>
                </a:lnTo>
                <a:lnTo>
                  <a:pt x="60" y="34"/>
                </a:lnTo>
                <a:lnTo>
                  <a:pt x="55" y="25"/>
                </a:lnTo>
                <a:lnTo>
                  <a:pt x="48" y="17"/>
                </a:lnTo>
                <a:lnTo>
                  <a:pt x="39" y="10"/>
                </a:lnTo>
                <a:lnTo>
                  <a:pt x="29" y="5"/>
                </a:lnTo>
                <a:lnTo>
                  <a:pt x="20"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
        <p:nvSpPr>
          <p:cNvPr id="44" name="Freeform 187">
            <a:extLst>
              <a:ext uri="{FF2B5EF4-FFF2-40B4-BE49-F238E27FC236}">
                <a16:creationId xmlns:a16="http://schemas.microsoft.com/office/drawing/2014/main" id="{14726B13-E18E-4726-84CB-36036C7442D0}"/>
              </a:ext>
            </a:extLst>
          </p:cNvPr>
          <p:cNvSpPr>
            <a:spLocks/>
          </p:cNvSpPr>
          <p:nvPr/>
        </p:nvSpPr>
        <p:spPr bwMode="auto">
          <a:xfrm>
            <a:off x="931576" y="1646357"/>
            <a:ext cx="72263" cy="70873"/>
          </a:xfrm>
          <a:custGeom>
            <a:avLst/>
            <a:gdLst>
              <a:gd name="T0" fmla="*/ 10 w 104"/>
              <a:gd name="T1" fmla="*/ 0 h 102"/>
              <a:gd name="T2" fmla="*/ 10 w 104"/>
              <a:gd name="T3" fmla="*/ 0 h 102"/>
              <a:gd name="T4" fmla="*/ 6 w 104"/>
              <a:gd name="T5" fmla="*/ 0 h 102"/>
              <a:gd name="T6" fmla="*/ 3 w 104"/>
              <a:gd name="T7" fmla="*/ 3 h 102"/>
              <a:gd name="T8" fmla="*/ 2 w 104"/>
              <a:gd name="T9" fmla="*/ 6 h 102"/>
              <a:gd name="T10" fmla="*/ 0 w 104"/>
              <a:gd name="T11" fmla="*/ 8 h 102"/>
              <a:gd name="T12" fmla="*/ 0 w 104"/>
              <a:gd name="T13" fmla="*/ 8 h 102"/>
              <a:gd name="T14" fmla="*/ 2 w 104"/>
              <a:gd name="T15" fmla="*/ 12 h 102"/>
              <a:gd name="T16" fmla="*/ 3 w 104"/>
              <a:gd name="T17" fmla="*/ 15 h 102"/>
              <a:gd name="T18" fmla="*/ 6 w 104"/>
              <a:gd name="T19" fmla="*/ 16 h 102"/>
              <a:gd name="T20" fmla="*/ 10 w 104"/>
              <a:gd name="T21" fmla="*/ 18 h 102"/>
              <a:gd name="T22" fmla="*/ 10 w 104"/>
              <a:gd name="T23" fmla="*/ 18 h 102"/>
              <a:gd name="T24" fmla="*/ 25 w 104"/>
              <a:gd name="T25" fmla="*/ 19 h 102"/>
              <a:gd name="T26" fmla="*/ 39 w 104"/>
              <a:gd name="T27" fmla="*/ 23 h 102"/>
              <a:gd name="T28" fmla="*/ 51 w 104"/>
              <a:gd name="T29" fmla="*/ 30 h 102"/>
              <a:gd name="T30" fmla="*/ 64 w 104"/>
              <a:gd name="T31" fmla="*/ 39 h 102"/>
              <a:gd name="T32" fmla="*/ 73 w 104"/>
              <a:gd name="T33" fmla="*/ 51 h 102"/>
              <a:gd name="T34" fmla="*/ 80 w 104"/>
              <a:gd name="T35" fmla="*/ 65 h 102"/>
              <a:gd name="T36" fmla="*/ 84 w 104"/>
              <a:gd name="T37" fmla="*/ 78 h 102"/>
              <a:gd name="T38" fmla="*/ 86 w 104"/>
              <a:gd name="T39" fmla="*/ 94 h 102"/>
              <a:gd name="T40" fmla="*/ 86 w 104"/>
              <a:gd name="T41" fmla="*/ 94 h 102"/>
              <a:gd name="T42" fmla="*/ 86 w 104"/>
              <a:gd name="T43" fmla="*/ 97 h 102"/>
              <a:gd name="T44" fmla="*/ 88 w 104"/>
              <a:gd name="T45" fmla="*/ 100 h 102"/>
              <a:gd name="T46" fmla="*/ 92 w 104"/>
              <a:gd name="T47" fmla="*/ 102 h 102"/>
              <a:gd name="T48" fmla="*/ 94 w 104"/>
              <a:gd name="T49" fmla="*/ 102 h 102"/>
              <a:gd name="T50" fmla="*/ 94 w 104"/>
              <a:gd name="T51" fmla="*/ 102 h 102"/>
              <a:gd name="T52" fmla="*/ 98 w 104"/>
              <a:gd name="T53" fmla="*/ 102 h 102"/>
              <a:gd name="T54" fmla="*/ 101 w 104"/>
              <a:gd name="T55" fmla="*/ 100 h 102"/>
              <a:gd name="T56" fmla="*/ 102 w 104"/>
              <a:gd name="T57" fmla="*/ 97 h 102"/>
              <a:gd name="T58" fmla="*/ 104 w 104"/>
              <a:gd name="T59" fmla="*/ 94 h 102"/>
              <a:gd name="T60" fmla="*/ 104 w 104"/>
              <a:gd name="T61" fmla="*/ 94 h 102"/>
              <a:gd name="T62" fmla="*/ 102 w 104"/>
              <a:gd name="T63" fmla="*/ 85 h 102"/>
              <a:gd name="T64" fmla="*/ 101 w 104"/>
              <a:gd name="T65" fmla="*/ 75 h 102"/>
              <a:gd name="T66" fmla="*/ 98 w 104"/>
              <a:gd name="T67" fmla="*/ 66 h 102"/>
              <a:gd name="T68" fmla="*/ 96 w 104"/>
              <a:gd name="T69" fmla="*/ 57 h 102"/>
              <a:gd name="T70" fmla="*/ 92 w 104"/>
              <a:gd name="T71" fmla="*/ 49 h 102"/>
              <a:gd name="T72" fmla="*/ 88 w 104"/>
              <a:gd name="T73" fmla="*/ 42 h 102"/>
              <a:gd name="T74" fmla="*/ 82 w 104"/>
              <a:gd name="T75" fmla="*/ 34 h 102"/>
              <a:gd name="T76" fmla="*/ 76 w 104"/>
              <a:gd name="T77" fmla="*/ 27 h 102"/>
              <a:gd name="T78" fmla="*/ 69 w 104"/>
              <a:gd name="T79" fmla="*/ 22 h 102"/>
              <a:gd name="T80" fmla="*/ 62 w 104"/>
              <a:gd name="T81" fmla="*/ 16 h 102"/>
              <a:gd name="T82" fmla="*/ 54 w 104"/>
              <a:gd name="T83" fmla="*/ 11 h 102"/>
              <a:gd name="T84" fmla="*/ 46 w 104"/>
              <a:gd name="T85" fmla="*/ 7 h 102"/>
              <a:gd name="T86" fmla="*/ 37 w 104"/>
              <a:gd name="T87" fmla="*/ 4 h 102"/>
              <a:gd name="T88" fmla="*/ 29 w 104"/>
              <a:gd name="T89" fmla="*/ 2 h 102"/>
              <a:gd name="T90" fmla="*/ 19 w 104"/>
              <a:gd name="T91" fmla="*/ 0 h 102"/>
              <a:gd name="T92" fmla="*/ 10 w 104"/>
              <a:gd name="T93" fmla="*/ 0 h 102"/>
              <a:gd name="T94" fmla="*/ 10 w 104"/>
              <a:gd name="T9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02">
                <a:moveTo>
                  <a:pt x="10" y="0"/>
                </a:moveTo>
                <a:lnTo>
                  <a:pt x="10" y="0"/>
                </a:lnTo>
                <a:lnTo>
                  <a:pt x="6" y="0"/>
                </a:lnTo>
                <a:lnTo>
                  <a:pt x="3" y="3"/>
                </a:lnTo>
                <a:lnTo>
                  <a:pt x="2" y="6"/>
                </a:lnTo>
                <a:lnTo>
                  <a:pt x="0" y="8"/>
                </a:lnTo>
                <a:lnTo>
                  <a:pt x="0" y="8"/>
                </a:lnTo>
                <a:lnTo>
                  <a:pt x="2" y="12"/>
                </a:lnTo>
                <a:lnTo>
                  <a:pt x="3" y="15"/>
                </a:lnTo>
                <a:lnTo>
                  <a:pt x="6" y="16"/>
                </a:lnTo>
                <a:lnTo>
                  <a:pt x="10" y="18"/>
                </a:lnTo>
                <a:lnTo>
                  <a:pt x="10" y="18"/>
                </a:lnTo>
                <a:lnTo>
                  <a:pt x="25" y="19"/>
                </a:lnTo>
                <a:lnTo>
                  <a:pt x="39" y="23"/>
                </a:lnTo>
                <a:lnTo>
                  <a:pt x="51" y="30"/>
                </a:lnTo>
                <a:lnTo>
                  <a:pt x="64" y="39"/>
                </a:lnTo>
                <a:lnTo>
                  <a:pt x="73" y="51"/>
                </a:lnTo>
                <a:lnTo>
                  <a:pt x="80" y="65"/>
                </a:lnTo>
                <a:lnTo>
                  <a:pt x="84" y="78"/>
                </a:lnTo>
                <a:lnTo>
                  <a:pt x="86" y="94"/>
                </a:lnTo>
                <a:lnTo>
                  <a:pt x="86" y="94"/>
                </a:lnTo>
                <a:lnTo>
                  <a:pt x="86" y="97"/>
                </a:lnTo>
                <a:lnTo>
                  <a:pt x="88" y="100"/>
                </a:lnTo>
                <a:lnTo>
                  <a:pt x="92" y="102"/>
                </a:lnTo>
                <a:lnTo>
                  <a:pt x="94" y="102"/>
                </a:lnTo>
                <a:lnTo>
                  <a:pt x="94" y="102"/>
                </a:lnTo>
                <a:lnTo>
                  <a:pt x="98" y="102"/>
                </a:lnTo>
                <a:lnTo>
                  <a:pt x="101" y="100"/>
                </a:lnTo>
                <a:lnTo>
                  <a:pt x="102" y="97"/>
                </a:lnTo>
                <a:lnTo>
                  <a:pt x="104" y="94"/>
                </a:lnTo>
                <a:lnTo>
                  <a:pt x="104" y="94"/>
                </a:lnTo>
                <a:lnTo>
                  <a:pt x="102" y="85"/>
                </a:lnTo>
                <a:lnTo>
                  <a:pt x="101" y="75"/>
                </a:lnTo>
                <a:lnTo>
                  <a:pt x="98" y="66"/>
                </a:lnTo>
                <a:lnTo>
                  <a:pt x="96" y="57"/>
                </a:lnTo>
                <a:lnTo>
                  <a:pt x="92" y="49"/>
                </a:lnTo>
                <a:lnTo>
                  <a:pt x="88" y="42"/>
                </a:lnTo>
                <a:lnTo>
                  <a:pt x="82" y="34"/>
                </a:lnTo>
                <a:lnTo>
                  <a:pt x="76" y="27"/>
                </a:lnTo>
                <a:lnTo>
                  <a:pt x="69" y="22"/>
                </a:lnTo>
                <a:lnTo>
                  <a:pt x="62" y="16"/>
                </a:lnTo>
                <a:lnTo>
                  <a:pt x="54" y="11"/>
                </a:lnTo>
                <a:lnTo>
                  <a:pt x="46" y="7"/>
                </a:lnTo>
                <a:lnTo>
                  <a:pt x="37" y="4"/>
                </a:lnTo>
                <a:lnTo>
                  <a:pt x="29" y="2"/>
                </a:lnTo>
                <a:lnTo>
                  <a:pt x="19" y="0"/>
                </a:lnTo>
                <a:lnTo>
                  <a:pt x="10"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Body)"/>
            </a:endParaRPr>
          </a:p>
        </p:txBody>
      </p:sp>
    </p:spTree>
    <p:extLst>
      <p:ext uri="{BB962C8B-B14F-4D97-AF65-F5344CB8AC3E}">
        <p14:creationId xmlns:p14="http://schemas.microsoft.com/office/powerpoint/2010/main" val="140968934"/>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9" name="Objec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u-HU"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15" name="Rectangle 14"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4" name="Rectangle 13" hidden="1"/>
          <p:cNvSpPr/>
          <p:nvPr>
            <p:custDataLst>
              <p:tags r:id="rId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3" name="Rectangle 12" hidden="1"/>
          <p:cNvSpPr/>
          <p:nvPr>
            <p:custDataLst>
              <p:tags r:id="rId6"/>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2" name="Rectangle 11" hidden="1"/>
          <p:cNvSpPr/>
          <p:nvPr>
            <p:custDataLst>
              <p:tags r:id="rId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2" name="Rectangle 1" hidden="1"/>
          <p:cNvSpPr/>
          <p:nvPr>
            <p:custDataLst>
              <p:tags r:id="rId8"/>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u-HU"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5" name="Text Placeholder 4"/>
          <p:cNvSpPr>
            <a:spLocks noGrp="1"/>
          </p:cNvSpPr>
          <p:nvPr>
            <p:ph type="body" sz="quarter" idx="22"/>
          </p:nvPr>
        </p:nvSpPr>
        <p:spPr/>
        <p:txBody>
          <a:bodyPr/>
          <a:lstStyle/>
          <a:p>
            <a:r>
              <a:rPr lang="en-US" dirty="0"/>
              <a:t>Continuous Improvement (CI) is a core enabler of the broader GBS transformation, that builds upon its own set of Guiding Principles: Delivering Value to the Enterprise, Developing Organizational Capabilities, and Engaging with Our People Along the Way</a:t>
            </a:r>
          </a:p>
        </p:txBody>
      </p:sp>
      <p:sp>
        <p:nvSpPr>
          <p:cNvPr id="10" name="Title 3"/>
          <p:cNvSpPr>
            <a:spLocks noGrp="1"/>
          </p:cNvSpPr>
          <p:nvPr>
            <p:ph type="title"/>
          </p:nvPr>
        </p:nvSpPr>
        <p:spPr>
          <a:xfrm>
            <a:off x="463294" y="417912"/>
            <a:ext cx="12121136" cy="179440"/>
          </a:xfrm>
        </p:spPr>
        <p:txBody>
          <a:bodyPr vert="horz"/>
          <a:lstStyle/>
          <a:p>
            <a:r>
              <a:rPr lang="en-US" dirty="0"/>
              <a:t>How to achieve process excellence through Continuous Improvement</a:t>
            </a:r>
          </a:p>
        </p:txBody>
      </p:sp>
      <p:sp>
        <p:nvSpPr>
          <p:cNvPr id="16" name="Rectangle 15">
            <a:extLst>
              <a:ext uri="{FF2B5EF4-FFF2-40B4-BE49-F238E27FC236}">
                <a16:creationId xmlns:a16="http://schemas.microsoft.com/office/drawing/2014/main" id="{287075D3-9773-4599-93DD-CF5889E43C36}"/>
              </a:ext>
            </a:extLst>
          </p:cNvPr>
          <p:cNvSpPr/>
          <p:nvPr/>
        </p:nvSpPr>
        <p:spPr>
          <a:xfrm>
            <a:off x="480650" y="3282549"/>
            <a:ext cx="2701221" cy="3046988"/>
          </a:xfrm>
          <a:prstGeom prst="rect">
            <a:avLst/>
          </a:prstGeom>
        </p:spPr>
        <p:txBody>
          <a:bodyPr wrap="square">
            <a:spAutoFit/>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Standardization</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Repeatability</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Data-driven decision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Focus on continuous improvement and problem-solving</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Market desired capabilities for employee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Governance structure that empowers all employee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World-class set of capabilities and tools, including:</a:t>
            </a:r>
          </a:p>
          <a:p>
            <a:pPr marL="461963" marR="0" lvl="1"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Lean</a:t>
            </a:r>
          </a:p>
          <a:p>
            <a:pPr marL="461963" marR="0" lvl="1"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Six Sigma</a:t>
            </a:r>
          </a:p>
          <a:p>
            <a:pPr marL="461963" marR="0" lvl="1"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Theory of Constraint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endParaRPr>
          </a:p>
        </p:txBody>
      </p:sp>
      <p:cxnSp>
        <p:nvCxnSpPr>
          <p:cNvPr id="17" name="Straight Connector 16">
            <a:extLst>
              <a:ext uri="{FF2B5EF4-FFF2-40B4-BE49-F238E27FC236}">
                <a16:creationId xmlns:a16="http://schemas.microsoft.com/office/drawing/2014/main" id="{927A77E6-3050-4F40-B34B-C01B43E5162E}"/>
              </a:ext>
            </a:extLst>
          </p:cNvPr>
          <p:cNvCxnSpPr/>
          <p:nvPr/>
        </p:nvCxnSpPr>
        <p:spPr>
          <a:xfrm>
            <a:off x="502272" y="3235698"/>
            <a:ext cx="304266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94A29A7-5746-4265-A618-8733FA8C3207}"/>
              </a:ext>
            </a:extLst>
          </p:cNvPr>
          <p:cNvSpPr txBox="1"/>
          <p:nvPr/>
        </p:nvSpPr>
        <p:spPr>
          <a:xfrm>
            <a:off x="501650" y="2929648"/>
            <a:ext cx="3574409" cy="276998"/>
          </a:xfrm>
          <a:prstGeom prst="rect">
            <a:avLst/>
          </a:prstGeom>
          <a:noFill/>
        </p:spPr>
        <p:txBody>
          <a:bodyPr wrap="square" rtlCol="0">
            <a:spAutoFit/>
          </a:bodyPr>
          <a:lstStyle/>
          <a:p>
            <a:pPr marL="0" marR="0" lvl="0" indent="0" algn="l"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small" spc="0" normalizeH="0" baseline="0" dirty="0">
                <a:ln>
                  <a:noFill/>
                </a:ln>
                <a:solidFill>
                  <a:prstClr val="black"/>
                </a:solidFill>
                <a:effectLst/>
                <a:uLnTx/>
                <a:uFillTx/>
                <a:latin typeface="Open Sans (Body)"/>
              </a:rPr>
              <a:t>What is CI?</a:t>
            </a:r>
          </a:p>
        </p:txBody>
      </p:sp>
      <p:sp>
        <p:nvSpPr>
          <p:cNvPr id="19" name="Rectangle 18">
            <a:extLst>
              <a:ext uri="{FF2B5EF4-FFF2-40B4-BE49-F238E27FC236}">
                <a16:creationId xmlns:a16="http://schemas.microsoft.com/office/drawing/2014/main" id="{28A4D12A-A092-444B-A5AB-D56E4183C8AA}"/>
              </a:ext>
            </a:extLst>
          </p:cNvPr>
          <p:cNvSpPr/>
          <p:nvPr/>
        </p:nvSpPr>
        <p:spPr>
          <a:xfrm>
            <a:off x="8624369" y="1949666"/>
            <a:ext cx="3085910" cy="1569660"/>
          </a:xfrm>
          <a:prstGeom prst="rect">
            <a:avLst/>
          </a:prstGeom>
        </p:spPr>
        <p:txBody>
          <a:bodyPr wrap="square">
            <a:spAutoFit/>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Aligned to existing prioritie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Center-led with functional execution</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Start small and build momentum</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Training and mentorship of employee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I do, We do, You do” capability development approach</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Accountability to results</a:t>
            </a:r>
          </a:p>
        </p:txBody>
      </p:sp>
      <p:cxnSp>
        <p:nvCxnSpPr>
          <p:cNvPr id="20" name="Straight Connector 19">
            <a:extLst>
              <a:ext uri="{FF2B5EF4-FFF2-40B4-BE49-F238E27FC236}">
                <a16:creationId xmlns:a16="http://schemas.microsoft.com/office/drawing/2014/main" id="{4C44ED24-C310-414C-90F1-5B86EF6397DE}"/>
              </a:ext>
            </a:extLst>
          </p:cNvPr>
          <p:cNvCxnSpPr/>
          <p:nvPr/>
        </p:nvCxnSpPr>
        <p:spPr>
          <a:xfrm>
            <a:off x="8645991" y="1902814"/>
            <a:ext cx="3042666"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00B44C2-9F8A-4B7F-809D-7F12DF701213}"/>
              </a:ext>
            </a:extLst>
          </p:cNvPr>
          <p:cNvSpPr txBox="1"/>
          <p:nvPr/>
        </p:nvSpPr>
        <p:spPr>
          <a:xfrm>
            <a:off x="8645992" y="1593245"/>
            <a:ext cx="3574409" cy="276998"/>
          </a:xfrm>
          <a:prstGeom prst="rect">
            <a:avLst/>
          </a:prstGeom>
          <a:noFill/>
        </p:spPr>
        <p:txBody>
          <a:bodyPr wrap="square" rtlCol="0">
            <a:spAutoFit/>
          </a:bodyPr>
          <a:lstStyle/>
          <a:p>
            <a:pPr marL="0" marR="0" lvl="0" indent="0" algn="l"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small" spc="0" normalizeH="0" baseline="0" dirty="0">
                <a:ln>
                  <a:noFill/>
                </a:ln>
                <a:solidFill>
                  <a:prstClr val="black"/>
                </a:solidFill>
                <a:effectLst/>
                <a:uLnTx/>
                <a:uFillTx/>
                <a:latin typeface="Calibri Light (Body)"/>
                <a:ea typeface="+mn-ea"/>
                <a:cs typeface="+mn-cs"/>
              </a:rPr>
              <a:t>How does CI Work?</a:t>
            </a:r>
          </a:p>
        </p:txBody>
      </p:sp>
      <p:sp>
        <p:nvSpPr>
          <p:cNvPr id="22" name="Rectangle 21">
            <a:extLst>
              <a:ext uri="{FF2B5EF4-FFF2-40B4-BE49-F238E27FC236}">
                <a16:creationId xmlns:a16="http://schemas.microsoft.com/office/drawing/2014/main" id="{E2F99769-340F-47F9-8790-DA99E125DF14}"/>
              </a:ext>
            </a:extLst>
          </p:cNvPr>
          <p:cNvSpPr/>
          <p:nvPr/>
        </p:nvSpPr>
        <p:spPr>
          <a:xfrm>
            <a:off x="8624369" y="4358267"/>
            <a:ext cx="3085910" cy="1384995"/>
          </a:xfrm>
          <a:prstGeom prst="rect">
            <a:avLst/>
          </a:prstGeom>
        </p:spPr>
        <p:txBody>
          <a:bodyPr wrap="square">
            <a:spAutoFit/>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dirty="0">
                <a:ln>
                  <a:noFill/>
                </a:ln>
                <a:solidFill>
                  <a:srgbClr val="262626"/>
                </a:solidFill>
                <a:effectLst/>
                <a:uLnTx/>
                <a:uFillTx/>
                <a:latin typeface="Open Sans (Body)"/>
                <a:cs typeface="Calibri Light" panose="020F0302020204030204" pitchFamily="34" charset="0"/>
              </a:rPr>
              <a:t>Process excellence</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Sustainable economic value to the organization</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Enterprise-level optimization</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Energize the organization</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262626"/>
                </a:solidFill>
                <a:effectLst/>
                <a:uLnTx/>
                <a:uFillTx/>
                <a:latin typeface="Open Sans (Body)"/>
                <a:cs typeface="Calibri Light" panose="020F0302020204030204" pitchFamily="34" charset="0"/>
              </a:rPr>
              <a:t>Employee growth and capability development</a:t>
            </a:r>
          </a:p>
        </p:txBody>
      </p:sp>
      <p:cxnSp>
        <p:nvCxnSpPr>
          <p:cNvPr id="23" name="Straight Connector 22">
            <a:extLst>
              <a:ext uri="{FF2B5EF4-FFF2-40B4-BE49-F238E27FC236}">
                <a16:creationId xmlns:a16="http://schemas.microsoft.com/office/drawing/2014/main" id="{7BA74CFF-7B27-41EB-BC9A-24F3D30A2A13}"/>
              </a:ext>
            </a:extLst>
          </p:cNvPr>
          <p:cNvCxnSpPr/>
          <p:nvPr/>
        </p:nvCxnSpPr>
        <p:spPr>
          <a:xfrm>
            <a:off x="8645991" y="4311416"/>
            <a:ext cx="3042666"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8273C0F-3F84-45C4-8164-9D74EDD96F0C}"/>
              </a:ext>
            </a:extLst>
          </p:cNvPr>
          <p:cNvSpPr txBox="1"/>
          <p:nvPr/>
        </p:nvSpPr>
        <p:spPr>
          <a:xfrm>
            <a:off x="8645992" y="4001847"/>
            <a:ext cx="3574409" cy="276998"/>
          </a:xfrm>
          <a:prstGeom prst="rect">
            <a:avLst/>
          </a:prstGeom>
          <a:noFill/>
        </p:spPr>
        <p:txBody>
          <a:bodyPr wrap="square" rtlCol="0">
            <a:spAutoFit/>
          </a:bodyPr>
          <a:lstStyle/>
          <a:p>
            <a:pPr marL="0" marR="0" lvl="0" indent="0" algn="l"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small" spc="0" normalizeH="0" baseline="0" dirty="0">
                <a:ln>
                  <a:noFill/>
                </a:ln>
                <a:solidFill>
                  <a:prstClr val="black"/>
                </a:solidFill>
                <a:effectLst/>
                <a:uLnTx/>
                <a:uFillTx/>
                <a:latin typeface="Open Sans (Body)"/>
              </a:rPr>
              <a:t>What is the Goal of CI?</a:t>
            </a:r>
          </a:p>
        </p:txBody>
      </p:sp>
      <p:grpSp>
        <p:nvGrpSpPr>
          <p:cNvPr id="25" name="Group 819">
            <a:extLst>
              <a:ext uri="{FF2B5EF4-FFF2-40B4-BE49-F238E27FC236}">
                <a16:creationId xmlns:a16="http://schemas.microsoft.com/office/drawing/2014/main" id="{E9618F09-6804-462B-8E1A-F420EDBE4635}"/>
              </a:ext>
            </a:extLst>
          </p:cNvPr>
          <p:cNvGrpSpPr/>
          <p:nvPr/>
        </p:nvGrpSpPr>
        <p:grpSpPr>
          <a:xfrm>
            <a:off x="3661469" y="1637120"/>
            <a:ext cx="4127199" cy="4489790"/>
            <a:chOff x="-2" y="-2"/>
            <a:chExt cx="3901270" cy="4244012"/>
          </a:xfrm>
        </p:grpSpPr>
        <p:grpSp>
          <p:nvGrpSpPr>
            <p:cNvPr id="26" name="Group 815">
              <a:extLst>
                <a:ext uri="{FF2B5EF4-FFF2-40B4-BE49-F238E27FC236}">
                  <a16:creationId xmlns:a16="http://schemas.microsoft.com/office/drawing/2014/main" id="{9DC7F8E1-D624-4016-9CDD-36CC8CC19D7D}"/>
                </a:ext>
              </a:extLst>
            </p:cNvPr>
            <p:cNvGrpSpPr/>
            <p:nvPr/>
          </p:nvGrpSpPr>
          <p:grpSpPr>
            <a:xfrm>
              <a:off x="-2" y="-2"/>
              <a:ext cx="3870544" cy="4244012"/>
              <a:chOff x="-1" y="-1"/>
              <a:chExt cx="3870542" cy="4244011"/>
            </a:xfrm>
          </p:grpSpPr>
          <p:sp>
            <p:nvSpPr>
              <p:cNvPr id="30" name="Shape 808">
                <a:extLst>
                  <a:ext uri="{FF2B5EF4-FFF2-40B4-BE49-F238E27FC236}">
                    <a16:creationId xmlns:a16="http://schemas.microsoft.com/office/drawing/2014/main" id="{55BBE138-3208-461A-9BE3-751E0CF9CBE1}"/>
                  </a:ext>
                </a:extLst>
              </p:cNvPr>
              <p:cNvSpPr/>
              <p:nvPr/>
            </p:nvSpPr>
            <p:spPr>
              <a:xfrm>
                <a:off x="-1" y="-1"/>
                <a:ext cx="2501821" cy="2517645"/>
              </a:xfrm>
              <a:prstGeom prst="ellipse">
                <a:avLst/>
              </a:prstGeom>
              <a:noFill/>
              <a:ln w="88900" cap="flat">
                <a:solidFill>
                  <a:schemeClr val="accent3"/>
                </a:solidFill>
                <a:prstDash val="solid"/>
                <a:miter lim="800000"/>
              </a:ln>
              <a:effectLst/>
            </p:spPr>
            <p:txBody>
              <a:bodyPr wrap="square" lIns="34289" tIns="34289" rIns="34289" bIns="34289" numCol="1"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sz="2400">
                    <a:solidFill>
                      <a:srgbClr val="FFFFFF"/>
                    </a:solidFill>
                  </a:defRPr>
                </a:pPr>
                <a:endParaRPr kumimoji="0" lang="en-US" sz="1200" b="0" i="0" u="none" strike="noStrike" kern="1200" cap="none" spc="0" normalizeH="0" baseline="0" dirty="0">
                  <a:ln>
                    <a:noFill/>
                  </a:ln>
                  <a:solidFill>
                    <a:srgbClr val="FFFFFF"/>
                  </a:solidFill>
                  <a:effectLst/>
                  <a:uLnTx/>
                  <a:uFillTx/>
                  <a:latin typeface="Open Sans (Body)"/>
                </a:endParaRPr>
              </a:p>
            </p:txBody>
          </p:sp>
          <p:sp>
            <p:nvSpPr>
              <p:cNvPr id="31" name="Shape 809">
                <a:extLst>
                  <a:ext uri="{FF2B5EF4-FFF2-40B4-BE49-F238E27FC236}">
                    <a16:creationId xmlns:a16="http://schemas.microsoft.com/office/drawing/2014/main" id="{105ADAB0-430E-4D3A-9124-9C3C0710B367}"/>
                  </a:ext>
                </a:extLst>
              </p:cNvPr>
              <p:cNvSpPr/>
              <p:nvPr/>
            </p:nvSpPr>
            <p:spPr>
              <a:xfrm>
                <a:off x="1368721" y="692700"/>
                <a:ext cx="2501820" cy="2517645"/>
              </a:xfrm>
              <a:prstGeom prst="ellipse">
                <a:avLst/>
              </a:prstGeom>
              <a:noFill/>
              <a:ln w="88900" cap="flat">
                <a:solidFill>
                  <a:schemeClr val="accent1"/>
                </a:solidFill>
                <a:prstDash val="solid"/>
                <a:miter lim="800000"/>
              </a:ln>
              <a:effectLst/>
            </p:spPr>
            <p:txBody>
              <a:bodyPr wrap="square" lIns="34289" tIns="34289" rIns="34289" bIns="34289" numCol="1"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sz="2400">
                    <a:solidFill>
                      <a:srgbClr val="FFFFFF"/>
                    </a:solidFill>
                  </a:defRPr>
                </a:pPr>
                <a:endParaRPr kumimoji="0" lang="en-US" sz="1200" b="0" i="0" u="none" strike="noStrike" kern="1200" cap="none" spc="0" normalizeH="0" baseline="0" dirty="0">
                  <a:ln>
                    <a:noFill/>
                  </a:ln>
                  <a:solidFill>
                    <a:srgbClr val="FFFFFF"/>
                  </a:solidFill>
                  <a:effectLst/>
                  <a:uLnTx/>
                  <a:uFillTx/>
                  <a:latin typeface="Open Sans (Body)"/>
                </a:endParaRPr>
              </a:p>
            </p:txBody>
          </p:sp>
          <p:sp>
            <p:nvSpPr>
              <p:cNvPr id="32" name="Shape 810">
                <a:extLst>
                  <a:ext uri="{FF2B5EF4-FFF2-40B4-BE49-F238E27FC236}">
                    <a16:creationId xmlns:a16="http://schemas.microsoft.com/office/drawing/2014/main" id="{F1A41F3D-15D8-4E09-AFB1-C73D0FBDA33C}"/>
                  </a:ext>
                </a:extLst>
              </p:cNvPr>
              <p:cNvSpPr/>
              <p:nvPr/>
            </p:nvSpPr>
            <p:spPr>
              <a:xfrm>
                <a:off x="-1" y="1726365"/>
                <a:ext cx="2501821" cy="2517645"/>
              </a:xfrm>
              <a:prstGeom prst="ellipse">
                <a:avLst/>
              </a:prstGeom>
              <a:noFill/>
              <a:ln w="88900" cap="flat">
                <a:solidFill>
                  <a:schemeClr val="accent2"/>
                </a:solidFill>
                <a:prstDash val="solid"/>
                <a:miter lim="800000"/>
              </a:ln>
              <a:effectLst/>
            </p:spPr>
            <p:txBody>
              <a:bodyPr wrap="square" lIns="34289" tIns="34289" rIns="34289" bIns="34289" numCol="1"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sz="2400">
                    <a:solidFill>
                      <a:srgbClr val="FFFFFF"/>
                    </a:solidFill>
                  </a:defRPr>
                </a:pPr>
                <a:endParaRPr kumimoji="0" lang="en-US" sz="1200" b="0" i="0" u="none" strike="noStrike" kern="1200" cap="none" spc="0" normalizeH="0" baseline="0" dirty="0">
                  <a:ln>
                    <a:noFill/>
                  </a:ln>
                  <a:solidFill>
                    <a:srgbClr val="FFFFFF"/>
                  </a:solidFill>
                  <a:effectLst/>
                  <a:uLnTx/>
                  <a:uFillTx/>
                  <a:latin typeface="Open Sans (Body)"/>
                </a:endParaRPr>
              </a:p>
            </p:txBody>
          </p:sp>
          <p:sp>
            <p:nvSpPr>
              <p:cNvPr id="33" name="Shape 811">
                <a:extLst>
                  <a:ext uri="{FF2B5EF4-FFF2-40B4-BE49-F238E27FC236}">
                    <a16:creationId xmlns:a16="http://schemas.microsoft.com/office/drawing/2014/main" id="{028CFE33-0483-4D88-9DD5-FDD439FE4369}"/>
                  </a:ext>
                </a:extLst>
              </p:cNvPr>
              <p:cNvSpPr/>
              <p:nvPr/>
            </p:nvSpPr>
            <p:spPr>
              <a:xfrm>
                <a:off x="44782" y="108529"/>
                <a:ext cx="2432305" cy="2355449"/>
              </a:xfrm>
              <a:prstGeom prst="ellipse">
                <a:avLst/>
              </a:prstGeom>
              <a:solidFill>
                <a:srgbClr val="FFFFFF">
                  <a:alpha val="81000"/>
                </a:srgbClr>
              </a:solidFill>
              <a:ln w="12700" cap="flat">
                <a:noFill/>
                <a:miter lim="400000"/>
              </a:ln>
              <a:effectLst/>
            </p:spPr>
            <p:txBody>
              <a:bodyPr wrap="square" lIns="34289" tIns="34289" rIns="34289" bIns="34289" numCol="1"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sz="2400">
                    <a:solidFill>
                      <a:srgbClr val="FFFFFF"/>
                    </a:solidFill>
                  </a:defRPr>
                </a:pPr>
                <a:endParaRPr kumimoji="0" lang="en-US" sz="1200" b="0" i="0" u="none" strike="noStrike" kern="1200" cap="none" spc="0" normalizeH="0" baseline="0" dirty="0">
                  <a:ln>
                    <a:noFill/>
                  </a:ln>
                  <a:solidFill>
                    <a:srgbClr val="FFFFFF"/>
                  </a:solidFill>
                  <a:effectLst/>
                  <a:uLnTx/>
                  <a:uFillTx/>
                  <a:latin typeface="Open Sans (Body)"/>
                </a:endParaRPr>
              </a:p>
            </p:txBody>
          </p:sp>
          <p:sp>
            <p:nvSpPr>
              <p:cNvPr id="34" name="Shape 812">
                <a:extLst>
                  <a:ext uri="{FF2B5EF4-FFF2-40B4-BE49-F238E27FC236}">
                    <a16:creationId xmlns:a16="http://schemas.microsoft.com/office/drawing/2014/main" id="{9915CFE7-2D00-47AC-B9B8-E3394ACFCBD6}"/>
                  </a:ext>
                </a:extLst>
              </p:cNvPr>
              <p:cNvSpPr/>
              <p:nvPr/>
            </p:nvSpPr>
            <p:spPr>
              <a:xfrm>
                <a:off x="1448625" y="738420"/>
                <a:ext cx="2352401" cy="2432305"/>
              </a:xfrm>
              <a:prstGeom prst="ellipse">
                <a:avLst/>
              </a:prstGeom>
              <a:solidFill>
                <a:srgbClr val="FFFFFF">
                  <a:alpha val="81000"/>
                </a:srgbClr>
              </a:solidFill>
              <a:ln w="12700" cap="flat">
                <a:noFill/>
                <a:miter lim="400000"/>
              </a:ln>
              <a:effectLst/>
            </p:spPr>
            <p:txBody>
              <a:bodyPr wrap="square" lIns="34289" tIns="34289" rIns="34289" bIns="34289" numCol="1"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sz="2400">
                    <a:solidFill>
                      <a:srgbClr val="FFFFFF"/>
                    </a:solidFill>
                  </a:defRPr>
                </a:pPr>
                <a:endParaRPr kumimoji="0" lang="en-US" sz="1200" b="0" i="0" u="none" strike="noStrike" kern="1200" cap="none" spc="0" normalizeH="0" baseline="0" dirty="0">
                  <a:ln>
                    <a:noFill/>
                  </a:ln>
                  <a:solidFill>
                    <a:srgbClr val="FFFFFF"/>
                  </a:solidFill>
                  <a:effectLst/>
                  <a:uLnTx/>
                  <a:uFillTx/>
                  <a:latin typeface="Open Sans (Body)"/>
                </a:endParaRPr>
              </a:p>
            </p:txBody>
          </p:sp>
          <p:sp>
            <p:nvSpPr>
              <p:cNvPr id="35" name="Shape 813">
                <a:extLst>
                  <a:ext uri="{FF2B5EF4-FFF2-40B4-BE49-F238E27FC236}">
                    <a16:creationId xmlns:a16="http://schemas.microsoft.com/office/drawing/2014/main" id="{0102CF2D-8BCA-4EC6-AD13-B90E8A68462C}"/>
                  </a:ext>
                </a:extLst>
              </p:cNvPr>
              <p:cNvSpPr/>
              <p:nvPr/>
            </p:nvSpPr>
            <p:spPr>
              <a:xfrm>
                <a:off x="44782" y="1799114"/>
                <a:ext cx="2414955" cy="2352608"/>
              </a:xfrm>
              <a:prstGeom prst="ellipse">
                <a:avLst/>
              </a:prstGeom>
              <a:solidFill>
                <a:srgbClr val="FFFFFF">
                  <a:alpha val="81000"/>
                </a:srgbClr>
              </a:solidFill>
              <a:ln w="12700" cap="flat">
                <a:noFill/>
                <a:miter lim="400000"/>
              </a:ln>
              <a:effectLst/>
            </p:spPr>
            <p:txBody>
              <a:bodyPr wrap="square" lIns="34289" tIns="34289" rIns="34289" bIns="34289" numCol="1"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sz="2400">
                    <a:solidFill>
                      <a:srgbClr val="FFFFFF"/>
                    </a:solidFill>
                  </a:defRPr>
                </a:pPr>
                <a:endParaRPr kumimoji="0" lang="en-US" sz="1200" b="0" i="0" u="none" strike="noStrike" kern="1200" cap="none" spc="0" normalizeH="0" baseline="0" dirty="0">
                  <a:ln>
                    <a:noFill/>
                  </a:ln>
                  <a:solidFill>
                    <a:srgbClr val="FFFFFF"/>
                  </a:solidFill>
                  <a:effectLst/>
                  <a:uLnTx/>
                  <a:uFillTx/>
                  <a:latin typeface="Open Sans (Body)"/>
                </a:endParaRPr>
              </a:p>
            </p:txBody>
          </p:sp>
          <p:sp>
            <p:nvSpPr>
              <p:cNvPr id="36" name="Shape 814">
                <a:extLst>
                  <a:ext uri="{FF2B5EF4-FFF2-40B4-BE49-F238E27FC236}">
                    <a16:creationId xmlns:a16="http://schemas.microsoft.com/office/drawing/2014/main" id="{D0A62000-6133-4BEA-97C1-3A315D73DDE9}"/>
                  </a:ext>
                </a:extLst>
              </p:cNvPr>
              <p:cNvSpPr/>
              <p:nvPr/>
            </p:nvSpPr>
            <p:spPr>
              <a:xfrm rot="218945">
                <a:off x="1368190" y="1710988"/>
                <a:ext cx="755424" cy="7846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872" y="997"/>
                    </a:lnTo>
                    <a:cubicBezTo>
                      <a:pt x="6326" y="2384"/>
                      <a:pt x="9662" y="3983"/>
                      <a:pt x="12861" y="5778"/>
                    </a:cubicBezTo>
                    <a:lnTo>
                      <a:pt x="21600" y="11452"/>
                    </a:lnTo>
                    <a:lnTo>
                      <a:pt x="21562" y="11485"/>
                    </a:lnTo>
                    <a:cubicBezTo>
                      <a:pt x="17570" y="14611"/>
                      <a:pt x="13257" y="17380"/>
                      <a:pt x="8677" y="19741"/>
                    </a:cubicBezTo>
                    <a:lnTo>
                      <a:pt x="4611" y="21600"/>
                    </a:lnTo>
                    <a:lnTo>
                      <a:pt x="2067" y="13999"/>
                    </a:lnTo>
                    <a:cubicBezTo>
                      <a:pt x="1202" y="10634"/>
                      <a:pt x="572" y="7182"/>
                      <a:pt x="195" y="3660"/>
                    </a:cubicBezTo>
                    <a:close/>
                  </a:path>
                </a:pathLst>
              </a:custGeom>
              <a:pattFill prst="pct30">
                <a:fgClr>
                  <a:schemeClr val="accent4"/>
                </a:fgClr>
                <a:bgClr>
                  <a:schemeClr val="bg1"/>
                </a:bgClr>
              </a:pattFill>
              <a:ln w="12700" cap="flat">
                <a:noFill/>
                <a:miter lim="400000"/>
              </a:ln>
              <a:effectLst/>
            </p:spPr>
            <p:txBody>
              <a:bodyPr wrap="square" lIns="34289" tIns="34289" rIns="34289" bIns="34289" numCol="1"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sz="2400">
                    <a:solidFill>
                      <a:srgbClr val="FFFFFF"/>
                    </a:solidFill>
                  </a:defRPr>
                </a:pPr>
                <a:endParaRPr kumimoji="0" lang="en-US" sz="1200" b="0" i="0" u="none" strike="noStrike" kern="1200" cap="none" spc="0" normalizeH="0" baseline="0" dirty="0">
                  <a:ln>
                    <a:noFill/>
                  </a:ln>
                  <a:solidFill>
                    <a:srgbClr val="FFFFFF"/>
                  </a:solidFill>
                  <a:effectLst/>
                  <a:uLnTx/>
                  <a:uFillTx/>
                  <a:latin typeface="Open Sans (Body)"/>
                </a:endParaRPr>
              </a:p>
            </p:txBody>
          </p:sp>
        </p:grpSp>
        <p:sp>
          <p:nvSpPr>
            <p:cNvPr id="27" name="Shape 816">
              <a:extLst>
                <a:ext uri="{FF2B5EF4-FFF2-40B4-BE49-F238E27FC236}">
                  <a16:creationId xmlns:a16="http://schemas.microsoft.com/office/drawing/2014/main" id="{F344C6A7-A2E9-441A-B22F-6CB174590039}"/>
                </a:ext>
              </a:extLst>
            </p:cNvPr>
            <p:cNvSpPr/>
            <p:nvPr/>
          </p:nvSpPr>
          <p:spPr>
            <a:xfrm>
              <a:off x="480929" y="2961788"/>
              <a:ext cx="1500506" cy="3491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none" spc="-23" normalizeH="0" baseline="0" dirty="0">
                  <a:ln>
                    <a:noFill/>
                  </a:ln>
                  <a:solidFill>
                    <a:prstClr val="black"/>
                  </a:solidFill>
                  <a:effectLst/>
                  <a:uLnTx/>
                  <a:uFillTx/>
                  <a:latin typeface="Open Sans (Body)"/>
                </a:rPr>
                <a:t>Enterprise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none" spc="-23" normalizeH="0" baseline="0" dirty="0">
                  <a:ln>
                    <a:noFill/>
                  </a:ln>
                  <a:solidFill>
                    <a:prstClr val="black"/>
                  </a:solidFill>
                  <a:effectLst/>
                  <a:uLnTx/>
                  <a:uFillTx/>
                  <a:latin typeface="Open Sans (Body)"/>
                </a:rPr>
                <a:t>Value</a:t>
              </a:r>
            </a:p>
          </p:txBody>
        </p:sp>
        <p:sp>
          <p:nvSpPr>
            <p:cNvPr id="28" name="Shape 817">
              <a:extLst>
                <a:ext uri="{FF2B5EF4-FFF2-40B4-BE49-F238E27FC236}">
                  <a16:creationId xmlns:a16="http://schemas.microsoft.com/office/drawing/2014/main" id="{2ED91C00-23C5-47CD-99BC-9F2E99537D59}"/>
                </a:ext>
              </a:extLst>
            </p:cNvPr>
            <p:cNvSpPr/>
            <p:nvPr/>
          </p:nvSpPr>
          <p:spPr>
            <a:xfrm>
              <a:off x="379791" y="774723"/>
              <a:ext cx="1769291" cy="17455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none" spc="-23" normalizeH="0" baseline="0" dirty="0">
                  <a:ln>
                    <a:noFill/>
                  </a:ln>
                  <a:solidFill>
                    <a:prstClr val="black"/>
                  </a:solidFill>
                  <a:effectLst/>
                  <a:uLnTx/>
                  <a:uFillTx/>
                  <a:latin typeface="Open Sans (Body)"/>
                </a:rPr>
                <a:t>Employee Engagement</a:t>
              </a:r>
            </a:p>
          </p:txBody>
        </p:sp>
        <p:sp>
          <p:nvSpPr>
            <p:cNvPr id="29" name="Shape 818">
              <a:extLst>
                <a:ext uri="{FF2B5EF4-FFF2-40B4-BE49-F238E27FC236}">
                  <a16:creationId xmlns:a16="http://schemas.microsoft.com/office/drawing/2014/main" id="{18C7BC51-9C45-4541-B32E-8A6670F45295}"/>
                </a:ext>
              </a:extLst>
            </p:cNvPr>
            <p:cNvSpPr/>
            <p:nvPr/>
          </p:nvSpPr>
          <p:spPr>
            <a:xfrm>
              <a:off x="2315952" y="1723315"/>
              <a:ext cx="1585316" cy="3491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none" spc="-23" normalizeH="0" baseline="0" dirty="0">
                  <a:ln>
                    <a:noFill/>
                  </a:ln>
                  <a:solidFill>
                    <a:prstClr val="black"/>
                  </a:solidFill>
                  <a:effectLst/>
                  <a:uLnTx/>
                  <a:uFillTx/>
                  <a:latin typeface="Open Sans (Body)"/>
                </a:rPr>
                <a:t>Organizational Capabilities</a:t>
              </a:r>
            </a:p>
          </p:txBody>
        </p:sp>
      </p:grpSp>
      <p:grpSp>
        <p:nvGrpSpPr>
          <p:cNvPr id="37" name="Group 822">
            <a:extLst>
              <a:ext uri="{FF2B5EF4-FFF2-40B4-BE49-F238E27FC236}">
                <a16:creationId xmlns:a16="http://schemas.microsoft.com/office/drawing/2014/main" id="{9CC93B20-DC9D-4E45-9F20-C5CBEB69095A}"/>
              </a:ext>
            </a:extLst>
          </p:cNvPr>
          <p:cNvGrpSpPr/>
          <p:nvPr/>
        </p:nvGrpSpPr>
        <p:grpSpPr>
          <a:xfrm>
            <a:off x="5575844" y="1817993"/>
            <a:ext cx="2594066" cy="1799994"/>
            <a:chOff x="0" y="186904"/>
            <a:chExt cx="2598610" cy="1803147"/>
          </a:xfrm>
        </p:grpSpPr>
        <p:sp>
          <p:nvSpPr>
            <p:cNvPr id="38" name="Shape 820">
              <a:extLst>
                <a:ext uri="{FF2B5EF4-FFF2-40B4-BE49-F238E27FC236}">
                  <a16:creationId xmlns:a16="http://schemas.microsoft.com/office/drawing/2014/main" id="{5D305385-DA49-40E6-919B-0CDCA1D1723E}"/>
                </a:ext>
              </a:extLst>
            </p:cNvPr>
            <p:cNvSpPr/>
            <p:nvPr/>
          </p:nvSpPr>
          <p:spPr>
            <a:xfrm>
              <a:off x="0" y="186904"/>
              <a:ext cx="853863" cy="18031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5289"/>
                  </a:lnTo>
                  <a:moveTo>
                    <a:pt x="21600" y="992"/>
                  </a:moveTo>
                  <a:lnTo>
                    <a:pt x="18371" y="992"/>
                  </a:lnTo>
                  <a:lnTo>
                    <a:pt x="0" y="21600"/>
                  </a:lnTo>
                </a:path>
              </a:pathLst>
            </a:custGeom>
            <a:noFill/>
            <a:ln w="12700" cap="flat">
              <a:solidFill>
                <a:srgbClr val="808080"/>
              </a:solidFill>
              <a:prstDash val="solid"/>
              <a:miter lim="800000"/>
            </a:ln>
            <a:effectLst/>
          </p:spPr>
          <p:txBody>
            <a:bodyPr wrap="square" lIns="34289" tIns="34289" rIns="34289" bIns="34289" numCol="1" anchor="ctr">
              <a:noAutofit/>
            </a:bodyPr>
            <a:lstStyle/>
            <a:p>
              <a:pPr marL="0" marR="0" lvl="0" indent="0" algn="l" defTabSz="685800" eaLnBrk="1" fontAlgn="auto" latinLnBrk="0" hangingPunct="1">
                <a:lnSpc>
                  <a:spcPct val="100000"/>
                </a:lnSpc>
                <a:spcBef>
                  <a:spcPts val="0"/>
                </a:spcBef>
                <a:spcAft>
                  <a:spcPts val="0"/>
                </a:spcAft>
                <a:buClrTx/>
                <a:buSzTx/>
                <a:buFontTx/>
                <a:buNone/>
                <a:tabLst/>
                <a:defRPr sz="1400">
                  <a:solidFill>
                    <a:srgbClr val="808080"/>
                  </a:solidFill>
                </a:defRPr>
              </a:pPr>
              <a:endParaRPr kumimoji="0" lang="en-US" sz="1200" b="0" i="0" u="none" strike="noStrike" kern="1200" cap="none" spc="0" normalizeH="0" baseline="0" dirty="0">
                <a:ln>
                  <a:noFill/>
                </a:ln>
                <a:solidFill>
                  <a:srgbClr val="808080"/>
                </a:solidFill>
                <a:effectLst/>
                <a:uLnTx/>
                <a:uFillTx/>
                <a:latin typeface="Open Sans (Body)"/>
              </a:endParaRPr>
            </a:p>
          </p:txBody>
        </p:sp>
        <p:sp>
          <p:nvSpPr>
            <p:cNvPr id="39" name="Shape 821">
              <a:extLst>
                <a:ext uri="{FF2B5EF4-FFF2-40B4-BE49-F238E27FC236}">
                  <a16:creationId xmlns:a16="http://schemas.microsoft.com/office/drawing/2014/main" id="{92D8C0AF-87F0-4F8C-B6B2-1A4CD5591B71}"/>
                </a:ext>
              </a:extLst>
            </p:cNvPr>
            <p:cNvSpPr/>
            <p:nvPr/>
          </p:nvSpPr>
          <p:spPr>
            <a:xfrm>
              <a:off x="988067" y="280493"/>
              <a:ext cx="1610543" cy="2543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ctr">
              <a:spAutoFit/>
            </a:bodyPr>
            <a:lstStyle>
              <a:lvl1pPr>
                <a:defRPr sz="1400">
                  <a:solidFill>
                    <a:srgbClr val="808080"/>
                  </a:solidFill>
                </a:defRPr>
              </a:lvl1pPr>
            </a:lstStyle>
            <a:p>
              <a:pPr marL="0" marR="0" lvl="0" indent="0" algn="l"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black"/>
                  </a:solidFill>
                  <a:effectLst/>
                  <a:uLnTx/>
                  <a:uFillTx/>
                  <a:latin typeface="Open Sans (Body)"/>
                </a:rPr>
                <a:t>CI Program </a:t>
              </a:r>
            </a:p>
          </p:txBody>
        </p:sp>
      </p:grpSp>
    </p:spTree>
    <p:extLst>
      <p:ext uri="{BB962C8B-B14F-4D97-AF65-F5344CB8AC3E}">
        <p14:creationId xmlns:p14="http://schemas.microsoft.com/office/powerpoint/2010/main" val="4152029702"/>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8" name="Rectangle 7"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41" name="Text Placeholder 4">
            <a:extLst>
              <a:ext uri="{FF2B5EF4-FFF2-40B4-BE49-F238E27FC236}">
                <a16:creationId xmlns:a16="http://schemas.microsoft.com/office/drawing/2014/main" id="{026A2F2F-1D4B-4CFA-99E1-7C28270B1862}"/>
              </a:ext>
            </a:extLst>
          </p:cNvPr>
          <p:cNvSpPr>
            <a:spLocks noGrp="1"/>
          </p:cNvSpPr>
          <p:nvPr>
            <p:ph type="body" sz="quarter" idx="22"/>
          </p:nvPr>
        </p:nvSpPr>
        <p:spPr/>
        <p:txBody>
          <a:bodyPr/>
          <a:lstStyle/>
          <a:p>
            <a:r>
              <a:rPr lang="en-US" dirty="0"/>
              <a:t>CI journeys should be shaped by six key success factors to achieve increased productivity and create/sustain a culture of excellence</a:t>
            </a:r>
          </a:p>
        </p:txBody>
      </p:sp>
      <p:sp>
        <p:nvSpPr>
          <p:cNvPr id="7" name="Title 3"/>
          <p:cNvSpPr>
            <a:spLocks noGrp="1"/>
          </p:cNvSpPr>
          <p:nvPr>
            <p:ph type="title"/>
          </p:nvPr>
        </p:nvSpPr>
        <p:spPr>
          <a:xfrm>
            <a:off x="463294" y="417911"/>
            <a:ext cx="10831623" cy="334099"/>
          </a:xfrm>
        </p:spPr>
        <p:txBody>
          <a:bodyPr vert="horz"/>
          <a:lstStyle/>
          <a:p>
            <a:r>
              <a:rPr lang="hu-HU" err="1"/>
              <a:t>Innovation</a:t>
            </a:r>
            <a:r>
              <a:rPr lang="hu-HU"/>
              <a:t> and Continuous Improvement </a:t>
            </a:r>
            <a:r>
              <a:rPr lang="en-US"/>
              <a:t>success </a:t>
            </a:r>
            <a:r>
              <a:rPr lang="en-US" dirty="0"/>
              <a:t>factors</a:t>
            </a:r>
          </a:p>
        </p:txBody>
      </p:sp>
      <p:grpSp>
        <p:nvGrpSpPr>
          <p:cNvPr id="2" name="Group 1"/>
          <p:cNvGrpSpPr/>
          <p:nvPr/>
        </p:nvGrpSpPr>
        <p:grpSpPr>
          <a:xfrm>
            <a:off x="501651" y="1654049"/>
            <a:ext cx="11188699" cy="685800"/>
            <a:chOff x="501651" y="1550139"/>
            <a:chExt cx="11188699" cy="685800"/>
          </a:xfrm>
        </p:grpSpPr>
        <p:sp>
          <p:nvSpPr>
            <p:cNvPr id="96" name="Pentagon 9">
              <a:extLst>
                <a:ext uri="{FF2B5EF4-FFF2-40B4-BE49-F238E27FC236}">
                  <a16:creationId xmlns:a16="http://schemas.microsoft.com/office/drawing/2014/main" id="{AB8F4503-9942-4A3E-9B5B-2B047F366819}"/>
                </a:ext>
              </a:extLst>
            </p:cNvPr>
            <p:cNvSpPr/>
            <p:nvPr/>
          </p:nvSpPr>
          <p:spPr>
            <a:xfrm>
              <a:off x="501651" y="1550139"/>
              <a:ext cx="4097762" cy="68580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lumMod val="20000"/>
                <a:lumOff val="80000"/>
              </a:schemeClr>
            </a:solidFill>
            <a:ln w="12700" cap="flat" cmpd="sng" algn="ctr">
              <a:noFill/>
              <a:prstDash val="solid"/>
            </a:ln>
            <a:effectLst/>
          </p:spPr>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dirty="0">
                  <a:ln>
                    <a:noFill/>
                  </a:ln>
                  <a:solidFill>
                    <a:prstClr val="black"/>
                  </a:solidFill>
                  <a:effectLst/>
                  <a:uLnTx/>
                  <a:uFillTx/>
                  <a:latin typeface="Open Sans (Body)"/>
                  <a:ea typeface="Open Sans" panose="020B0606030504020204" pitchFamily="34" charset="0"/>
                  <a:cs typeface="Open Sans" panose="020B0606030504020204" pitchFamily="34" charset="0"/>
                </a:rPr>
                <a:t>Ensure strategic focus</a:t>
              </a:r>
            </a:p>
          </p:txBody>
        </p:sp>
        <p:sp>
          <p:nvSpPr>
            <p:cNvPr id="97" name="Pentagon 12">
              <a:extLst>
                <a:ext uri="{FF2B5EF4-FFF2-40B4-BE49-F238E27FC236}">
                  <a16:creationId xmlns:a16="http://schemas.microsoft.com/office/drawing/2014/main" id="{E5F904F2-B613-4957-9F6D-B7D8C9110A66}"/>
                </a:ext>
              </a:extLst>
            </p:cNvPr>
            <p:cNvSpPr/>
            <p:nvPr/>
          </p:nvSpPr>
          <p:spPr>
            <a:xfrm flipH="1">
              <a:off x="4023339" y="1550139"/>
              <a:ext cx="7667011" cy="68580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solidFill>
            <a:ln w="12700" cap="flat" cmpd="sng" algn="ctr">
              <a:noFill/>
              <a:prstDash val="solid"/>
            </a:ln>
            <a:effectLst/>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98" name="Half Frame 97">
              <a:extLst>
                <a:ext uri="{FF2B5EF4-FFF2-40B4-BE49-F238E27FC236}">
                  <a16:creationId xmlns:a16="http://schemas.microsoft.com/office/drawing/2014/main" id="{A043C9EA-1591-480A-9616-E876B4C1219A}"/>
                </a:ext>
              </a:extLst>
            </p:cNvPr>
            <p:cNvSpPr/>
            <p:nvPr/>
          </p:nvSpPr>
          <p:spPr>
            <a:xfrm rot="8142470">
              <a:off x="5334506" y="1748966"/>
              <a:ext cx="481707" cy="288147"/>
            </a:xfrm>
            <a:prstGeom prst="halfFrame">
              <a:avLst>
                <a:gd name="adj1" fmla="val 26576"/>
                <a:gd name="adj2" fmla="val 25856"/>
              </a:avLst>
            </a:prstGeom>
            <a:solidFill>
              <a:srgbClr val="EEECE1"/>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99" name="Rectangle 98">
              <a:extLst>
                <a:ext uri="{FF2B5EF4-FFF2-40B4-BE49-F238E27FC236}">
                  <a16:creationId xmlns:a16="http://schemas.microsoft.com/office/drawing/2014/main" id="{DFC961C7-9CA7-41A6-98CA-671E5F941582}"/>
                </a:ext>
              </a:extLst>
            </p:cNvPr>
            <p:cNvSpPr/>
            <p:nvPr/>
          </p:nvSpPr>
          <p:spPr>
            <a:xfrm>
              <a:off x="6024326" y="1723762"/>
              <a:ext cx="5460837" cy="338554"/>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a:ln>
                    <a:noFill/>
                  </a:ln>
                  <a:solidFill>
                    <a:prstClr val="white"/>
                  </a:solidFill>
                  <a:effectLst/>
                  <a:uLnTx/>
                  <a:uFillTx/>
                  <a:latin typeface="Open Sans (Body)"/>
                  <a:ea typeface="Open Sans" panose="020B0606030504020204" pitchFamily="34" charset="0"/>
                  <a:cs typeface="Open Sans" panose="020B0606030504020204" pitchFamily="34" charset="0"/>
                </a:rPr>
                <a:t>Link CI priorities to the broader enterprise strategy to gain leadership alignment and buy-in before starting</a:t>
              </a:r>
            </a:p>
          </p:txBody>
        </p:sp>
      </p:grpSp>
      <p:grpSp>
        <p:nvGrpSpPr>
          <p:cNvPr id="4" name="Group 3"/>
          <p:cNvGrpSpPr/>
          <p:nvPr/>
        </p:nvGrpSpPr>
        <p:grpSpPr>
          <a:xfrm>
            <a:off x="501650" y="2407390"/>
            <a:ext cx="11188699" cy="685800"/>
            <a:chOff x="501650" y="2359662"/>
            <a:chExt cx="11188699" cy="685800"/>
          </a:xfrm>
        </p:grpSpPr>
        <p:sp>
          <p:nvSpPr>
            <p:cNvPr id="100" name="Pentagon 9">
              <a:extLst>
                <a:ext uri="{FF2B5EF4-FFF2-40B4-BE49-F238E27FC236}">
                  <a16:creationId xmlns:a16="http://schemas.microsoft.com/office/drawing/2014/main" id="{769C36AB-A680-4538-91A0-F170A006FA91}"/>
                </a:ext>
              </a:extLst>
            </p:cNvPr>
            <p:cNvSpPr/>
            <p:nvPr/>
          </p:nvSpPr>
          <p:spPr>
            <a:xfrm>
              <a:off x="501650" y="2359662"/>
              <a:ext cx="4097762" cy="68580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9FE6FF"/>
            </a:solidFill>
            <a:ln w="12700" cap="flat" cmpd="sng" algn="ctr">
              <a:noFill/>
              <a:prstDash val="solid"/>
            </a:ln>
            <a:effectLst/>
          </p:spPr>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dirty="0">
                  <a:ln>
                    <a:noFill/>
                  </a:ln>
                  <a:solidFill>
                    <a:prstClr val="black"/>
                  </a:solidFill>
                  <a:effectLst/>
                  <a:uLnTx/>
                  <a:uFillTx/>
                  <a:latin typeface="Open Sans (Body)"/>
                  <a:ea typeface="Open Sans" panose="020B0606030504020204" pitchFamily="34" charset="0"/>
                  <a:cs typeface="Open Sans" panose="020B0606030504020204" pitchFamily="34" charset="0"/>
                </a:rPr>
                <a:t>Start small &amp; focus on value</a:t>
              </a:r>
            </a:p>
          </p:txBody>
        </p:sp>
        <p:sp>
          <p:nvSpPr>
            <p:cNvPr id="101" name="Pentagon 12">
              <a:extLst>
                <a:ext uri="{FF2B5EF4-FFF2-40B4-BE49-F238E27FC236}">
                  <a16:creationId xmlns:a16="http://schemas.microsoft.com/office/drawing/2014/main" id="{6B006213-F8B3-4F44-9C28-BC6FC62DC097}"/>
                </a:ext>
              </a:extLst>
            </p:cNvPr>
            <p:cNvSpPr/>
            <p:nvPr/>
          </p:nvSpPr>
          <p:spPr>
            <a:xfrm flipH="1">
              <a:off x="4023338" y="2359662"/>
              <a:ext cx="7667011" cy="68580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A3E0"/>
            </a:solidFill>
            <a:ln w="12700" cap="flat" cmpd="sng" algn="ctr">
              <a:noFill/>
              <a:prstDash val="solid"/>
            </a:ln>
            <a:effectLst/>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02" name="Half Frame 101">
              <a:extLst>
                <a:ext uri="{FF2B5EF4-FFF2-40B4-BE49-F238E27FC236}">
                  <a16:creationId xmlns:a16="http://schemas.microsoft.com/office/drawing/2014/main" id="{8F0FB704-301C-4AE3-B2AB-004DC21D8ECA}"/>
                </a:ext>
              </a:extLst>
            </p:cNvPr>
            <p:cNvSpPr/>
            <p:nvPr/>
          </p:nvSpPr>
          <p:spPr>
            <a:xfrm rot="8142470">
              <a:off x="5334505" y="2558489"/>
              <a:ext cx="481707" cy="288147"/>
            </a:xfrm>
            <a:prstGeom prst="halfFrame">
              <a:avLst>
                <a:gd name="adj1" fmla="val 26576"/>
                <a:gd name="adj2" fmla="val 25856"/>
              </a:avLst>
            </a:prstGeom>
            <a:solidFill>
              <a:srgbClr val="EEECE1"/>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03" name="Rectangle 102">
              <a:extLst>
                <a:ext uri="{FF2B5EF4-FFF2-40B4-BE49-F238E27FC236}">
                  <a16:creationId xmlns:a16="http://schemas.microsoft.com/office/drawing/2014/main" id="{D32014F9-3EBD-4F88-ABE9-10204B79F167}"/>
                </a:ext>
              </a:extLst>
            </p:cNvPr>
            <p:cNvSpPr/>
            <p:nvPr/>
          </p:nvSpPr>
          <p:spPr>
            <a:xfrm>
              <a:off x="6024327" y="2533285"/>
              <a:ext cx="5460835" cy="338554"/>
            </a:xfrm>
            <a:prstGeom prst="rect">
              <a:avLst/>
            </a:prstGeom>
          </p:spPr>
          <p:txBody>
            <a:bodyPr wrap="square" lIns="0" tIns="0" rIns="0" bIns="0" anchor="ctr">
              <a:spAutoFit/>
            </a:bodyPr>
            <a:lstStyle/>
            <a:p>
              <a:pPr marL="15240" marR="29209" lvl="0" indent="0" algn="l" defTabSz="914400" rtl="0" eaLnBrk="1" fontAlgn="auto" latinLnBrk="0" hangingPunct="1">
                <a:lnSpc>
                  <a:spcPct val="100000"/>
                </a:lnSpc>
                <a:spcBef>
                  <a:spcPts val="844"/>
                </a:spcBef>
                <a:spcAft>
                  <a:spcPts val="0"/>
                </a:spcAft>
                <a:buClrTx/>
                <a:buSzTx/>
                <a:buFontTx/>
                <a:buNone/>
                <a:tabLst/>
                <a:defRPr/>
              </a:pP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Pilot CI program and stay focused on</a:t>
              </a:r>
              <a:r>
                <a:rPr kumimoji="0" lang="en-US" sz="1100" u="none" strike="noStrike" kern="0" cap="none" spc="-70" normalizeH="0" baseline="0" dirty="0">
                  <a:ln>
                    <a:noFill/>
                  </a:ln>
                  <a:solidFill>
                    <a:srgbClr val="FFFFFF"/>
                  </a:solidFill>
                  <a:effectLst/>
                  <a:uLnTx/>
                  <a:uFillTx/>
                  <a:latin typeface="Open Sans (Body)"/>
                  <a:cs typeface="Open Sans" panose="020B0606030504020204" pitchFamily="34" charset="0"/>
                </a:rPr>
                <a:t>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delivering top and bottom-line</a:t>
              </a: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results. Using </a:t>
              </a: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value </a:t>
              </a:r>
              <a:r>
                <a:rPr kumimoji="0" lang="en-US" sz="1100" u="none" strike="noStrike" kern="0" cap="none" spc="0" normalizeH="0" baseline="0" dirty="0">
                  <a:ln>
                    <a:noFill/>
                  </a:ln>
                  <a:solidFill>
                    <a:srgbClr val="FFFFFF"/>
                  </a:solidFill>
                  <a:effectLst/>
                  <a:uLnTx/>
                  <a:uFillTx/>
                  <a:latin typeface="Open Sans (Body)"/>
                  <a:cs typeface="Open Sans" panose="020B0606030504020204" pitchFamily="34" charset="0"/>
                </a:rPr>
                <a:t>measures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such as ROGIC* is a leading</a:t>
              </a:r>
              <a:r>
                <a:rPr kumimoji="0" lang="en-US" sz="1100" u="none" strike="noStrike" kern="0" cap="none" spc="0" normalizeH="0" baseline="0" dirty="0">
                  <a:ln>
                    <a:noFill/>
                  </a:ln>
                  <a:solidFill>
                    <a:srgbClr val="FFFFFF"/>
                  </a:solidFill>
                  <a:effectLst/>
                  <a:uLnTx/>
                  <a:uFillTx/>
                  <a:latin typeface="Open Sans (Body)"/>
                  <a:cs typeface="Open Sans" panose="020B0606030504020204" pitchFamily="34" charset="0"/>
                </a:rPr>
                <a:t>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practice</a:t>
              </a:r>
              <a:endParaRPr kumimoji="0" lang="en-US" sz="1100" u="none" strike="noStrike" kern="0" cap="none" spc="0" normalizeH="0" baseline="0" dirty="0">
                <a:ln>
                  <a:noFill/>
                </a:ln>
                <a:solidFill>
                  <a:prstClr val="black"/>
                </a:solidFill>
                <a:effectLst/>
                <a:uLnTx/>
                <a:uFillTx/>
                <a:latin typeface="Open Sans (Body)"/>
                <a:cs typeface="Open Sans" panose="020B0606030504020204" pitchFamily="34" charset="0"/>
              </a:endParaRPr>
            </a:p>
          </p:txBody>
        </p:sp>
      </p:grpSp>
      <p:grpSp>
        <p:nvGrpSpPr>
          <p:cNvPr id="6" name="Group 5"/>
          <p:cNvGrpSpPr/>
          <p:nvPr/>
        </p:nvGrpSpPr>
        <p:grpSpPr>
          <a:xfrm>
            <a:off x="501650" y="3160731"/>
            <a:ext cx="11188699" cy="685800"/>
            <a:chOff x="501650" y="3098929"/>
            <a:chExt cx="11188699" cy="685800"/>
          </a:xfrm>
        </p:grpSpPr>
        <p:sp>
          <p:nvSpPr>
            <p:cNvPr id="104" name="Pentagon 9">
              <a:extLst>
                <a:ext uri="{FF2B5EF4-FFF2-40B4-BE49-F238E27FC236}">
                  <a16:creationId xmlns:a16="http://schemas.microsoft.com/office/drawing/2014/main" id="{71117210-726B-45D8-8616-14F9E603D78A}"/>
                </a:ext>
              </a:extLst>
            </p:cNvPr>
            <p:cNvSpPr/>
            <p:nvPr/>
          </p:nvSpPr>
          <p:spPr>
            <a:xfrm>
              <a:off x="501650" y="3098929"/>
              <a:ext cx="4097762" cy="68580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2">
                <a:lumMod val="20000"/>
                <a:lumOff val="80000"/>
              </a:schemeClr>
            </a:solidFill>
            <a:ln w="12700" cap="flat" cmpd="sng" algn="ctr">
              <a:noFill/>
              <a:prstDash val="solid"/>
            </a:ln>
            <a:effectLst/>
          </p:spPr>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dirty="0">
                  <a:ln>
                    <a:noFill/>
                  </a:ln>
                  <a:solidFill>
                    <a:prstClr val="black"/>
                  </a:solidFill>
                  <a:effectLst/>
                  <a:uLnTx/>
                  <a:uFillTx/>
                  <a:latin typeface="Open Sans (Body)"/>
                  <a:ea typeface="Open Sans" panose="020B0606030504020204" pitchFamily="34" charset="0"/>
                  <a:cs typeface="Open Sans" panose="020B0606030504020204" pitchFamily="34" charset="0"/>
                </a:rPr>
                <a:t>Focus on pull</a:t>
              </a:r>
            </a:p>
          </p:txBody>
        </p:sp>
        <p:sp>
          <p:nvSpPr>
            <p:cNvPr id="105" name="Pentagon 12">
              <a:extLst>
                <a:ext uri="{FF2B5EF4-FFF2-40B4-BE49-F238E27FC236}">
                  <a16:creationId xmlns:a16="http://schemas.microsoft.com/office/drawing/2014/main" id="{D726A8A8-DC23-4A5A-B9D0-4CEDE1958389}"/>
                </a:ext>
              </a:extLst>
            </p:cNvPr>
            <p:cNvSpPr/>
            <p:nvPr/>
          </p:nvSpPr>
          <p:spPr>
            <a:xfrm flipH="1">
              <a:off x="4023338" y="3098929"/>
              <a:ext cx="7667011" cy="68580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cap="flat" cmpd="sng" algn="ctr">
              <a:noFill/>
              <a:prstDash val="solid"/>
            </a:ln>
            <a:effectLst/>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06" name="Half Frame 105">
              <a:extLst>
                <a:ext uri="{FF2B5EF4-FFF2-40B4-BE49-F238E27FC236}">
                  <a16:creationId xmlns:a16="http://schemas.microsoft.com/office/drawing/2014/main" id="{26087E94-D672-4BEA-AA01-279FD0FBD7C4}"/>
                </a:ext>
              </a:extLst>
            </p:cNvPr>
            <p:cNvSpPr/>
            <p:nvPr/>
          </p:nvSpPr>
          <p:spPr>
            <a:xfrm rot="8142470">
              <a:off x="5334505" y="3297756"/>
              <a:ext cx="481707" cy="288147"/>
            </a:xfrm>
            <a:prstGeom prst="halfFrame">
              <a:avLst>
                <a:gd name="adj1" fmla="val 26576"/>
                <a:gd name="adj2" fmla="val 25856"/>
              </a:avLst>
            </a:prstGeom>
            <a:solidFill>
              <a:srgbClr val="EEECE1"/>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07" name="Rectangle 106">
              <a:extLst>
                <a:ext uri="{FF2B5EF4-FFF2-40B4-BE49-F238E27FC236}">
                  <a16:creationId xmlns:a16="http://schemas.microsoft.com/office/drawing/2014/main" id="{FDA44CC3-E7CE-47F4-AE61-295CDA8BD833}"/>
                </a:ext>
              </a:extLst>
            </p:cNvPr>
            <p:cNvSpPr/>
            <p:nvPr/>
          </p:nvSpPr>
          <p:spPr>
            <a:xfrm>
              <a:off x="6024325" y="3187914"/>
              <a:ext cx="5460833" cy="507831"/>
            </a:xfrm>
            <a:prstGeom prst="rect">
              <a:avLst/>
            </a:prstGeom>
          </p:spPr>
          <p:txBody>
            <a:bodyPr wrap="square" lIns="0" tIns="0" rIns="0" bIns="0" anchor="ctr">
              <a:spAutoFit/>
            </a:bodyPr>
            <a:lstStyle/>
            <a:p>
              <a:pPr marL="29845" marR="47625" lvl="0" indent="0" algn="l" defTabSz="914400" rtl="0" eaLnBrk="1" fontAlgn="auto" latinLnBrk="0" hangingPunct="1">
                <a:lnSpc>
                  <a:spcPct val="100000"/>
                </a:lnSpc>
                <a:spcBef>
                  <a:spcPts val="395"/>
                </a:spcBef>
                <a:spcAft>
                  <a:spcPts val="0"/>
                </a:spcAft>
                <a:buClrTx/>
                <a:buSzTx/>
                <a:buFontTx/>
                <a:buNone/>
                <a:tabLst/>
                <a:defRPr/>
              </a:pPr>
              <a:r>
                <a:rPr kumimoji="0" lang="en-US" sz="1100" u="none" strike="noStrike" kern="0" cap="none" spc="0" normalizeH="0" baseline="0" dirty="0">
                  <a:ln>
                    <a:noFill/>
                  </a:ln>
                  <a:solidFill>
                    <a:srgbClr val="FFFFFF"/>
                  </a:solidFill>
                  <a:effectLst/>
                  <a:uLnTx/>
                  <a:uFillTx/>
                  <a:latin typeface="Open Sans (Body)"/>
                  <a:cs typeface="Open Sans" panose="020B0606030504020204" pitchFamily="34" charset="0"/>
                </a:rPr>
                <a:t>Strive for</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 the “Push” </a:t>
              </a: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mentality.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Most CI programs </a:t>
              </a: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begin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as a “Push” from the corporate center, but achieving long-term </a:t>
              </a: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viability requires “Pull”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from the</a:t>
              </a:r>
              <a:r>
                <a:rPr kumimoji="0" lang="en-US" sz="1100" u="none" strike="noStrike" kern="0" cap="none" spc="70" normalizeH="0" baseline="0" dirty="0">
                  <a:ln>
                    <a:noFill/>
                  </a:ln>
                  <a:solidFill>
                    <a:srgbClr val="FFFFFF"/>
                  </a:solidFill>
                  <a:effectLst/>
                  <a:uLnTx/>
                  <a:uFillTx/>
                  <a:latin typeface="Open Sans (Body)"/>
                  <a:cs typeface="Open Sans" panose="020B0606030504020204" pitchFamily="34" charset="0"/>
                </a:rPr>
                <a:t> </a:t>
              </a: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enterprise</a:t>
              </a:r>
              <a:endParaRPr kumimoji="0" lang="en-US" sz="1100" u="none" strike="noStrike" kern="0" cap="none" spc="0" normalizeH="0" baseline="0" dirty="0">
                <a:ln>
                  <a:noFill/>
                </a:ln>
                <a:solidFill>
                  <a:prstClr val="black"/>
                </a:solidFill>
                <a:effectLst/>
                <a:uLnTx/>
                <a:uFillTx/>
                <a:latin typeface="Open Sans (Body)"/>
                <a:cs typeface="Open Sans" panose="020B0606030504020204" pitchFamily="34" charset="0"/>
              </a:endParaRPr>
            </a:p>
          </p:txBody>
        </p:sp>
      </p:grpSp>
      <p:grpSp>
        <p:nvGrpSpPr>
          <p:cNvPr id="10" name="Group 9"/>
          <p:cNvGrpSpPr/>
          <p:nvPr/>
        </p:nvGrpSpPr>
        <p:grpSpPr>
          <a:xfrm>
            <a:off x="501650" y="3914072"/>
            <a:ext cx="11188699" cy="685800"/>
            <a:chOff x="501650" y="3838313"/>
            <a:chExt cx="11188699" cy="685800"/>
          </a:xfrm>
          <a:solidFill>
            <a:schemeClr val="accent2"/>
          </a:solidFill>
        </p:grpSpPr>
        <p:sp>
          <p:nvSpPr>
            <p:cNvPr id="108" name="Pentagon 9">
              <a:extLst>
                <a:ext uri="{FF2B5EF4-FFF2-40B4-BE49-F238E27FC236}">
                  <a16:creationId xmlns:a16="http://schemas.microsoft.com/office/drawing/2014/main" id="{83334D34-B605-4828-BC26-F2B8AF06DBB8}"/>
                </a:ext>
              </a:extLst>
            </p:cNvPr>
            <p:cNvSpPr/>
            <p:nvPr/>
          </p:nvSpPr>
          <p:spPr>
            <a:xfrm>
              <a:off x="501650" y="3838313"/>
              <a:ext cx="4097762" cy="68580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lumMod val="20000"/>
                <a:lumOff val="80000"/>
              </a:schemeClr>
            </a:solidFill>
            <a:ln w="12700" cap="flat" cmpd="sng" algn="ctr">
              <a:noFill/>
              <a:prstDash val="solid"/>
            </a:ln>
            <a:effectLst/>
          </p:spPr>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dirty="0">
                  <a:ln>
                    <a:noFill/>
                  </a:ln>
                  <a:solidFill>
                    <a:prstClr val="black"/>
                  </a:solidFill>
                  <a:effectLst/>
                  <a:uLnTx/>
                  <a:uFillTx/>
                  <a:latin typeface="Open Sans (Body)"/>
                  <a:ea typeface="Open Sans" panose="020B0606030504020204" pitchFamily="34" charset="0"/>
                  <a:cs typeface="Open Sans" panose="020B0606030504020204" pitchFamily="34" charset="0"/>
                </a:rPr>
                <a:t>Self-fund &amp; sustain value</a:t>
              </a:r>
            </a:p>
          </p:txBody>
        </p:sp>
        <p:sp>
          <p:nvSpPr>
            <p:cNvPr id="109" name="Pentagon 12">
              <a:extLst>
                <a:ext uri="{FF2B5EF4-FFF2-40B4-BE49-F238E27FC236}">
                  <a16:creationId xmlns:a16="http://schemas.microsoft.com/office/drawing/2014/main" id="{C6E3873D-7494-49D9-8119-AF987BD3A583}"/>
                </a:ext>
              </a:extLst>
            </p:cNvPr>
            <p:cNvSpPr/>
            <p:nvPr/>
          </p:nvSpPr>
          <p:spPr>
            <a:xfrm flipH="1">
              <a:off x="4023338" y="3838313"/>
              <a:ext cx="7667011" cy="68580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solidFill>
            <a:ln w="12700" cap="flat" cmpd="sng" algn="ctr">
              <a:noFill/>
              <a:prstDash val="solid"/>
            </a:ln>
            <a:effectLst/>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10" name="Half Frame 109">
              <a:extLst>
                <a:ext uri="{FF2B5EF4-FFF2-40B4-BE49-F238E27FC236}">
                  <a16:creationId xmlns:a16="http://schemas.microsoft.com/office/drawing/2014/main" id="{399F541F-57BF-4CE7-91CC-50D427A46088}"/>
                </a:ext>
              </a:extLst>
            </p:cNvPr>
            <p:cNvSpPr/>
            <p:nvPr/>
          </p:nvSpPr>
          <p:spPr>
            <a:xfrm rot="8142470">
              <a:off x="5334505" y="4037140"/>
              <a:ext cx="481707" cy="288147"/>
            </a:xfrm>
            <a:prstGeom prst="halfFrame">
              <a:avLst>
                <a:gd name="adj1" fmla="val 26576"/>
                <a:gd name="adj2" fmla="val 25856"/>
              </a:avLst>
            </a:prstGeom>
            <a:grp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11" name="Rectangle 110">
              <a:extLst>
                <a:ext uri="{FF2B5EF4-FFF2-40B4-BE49-F238E27FC236}">
                  <a16:creationId xmlns:a16="http://schemas.microsoft.com/office/drawing/2014/main" id="{E695E586-E04C-4626-8B20-447D39BB160E}"/>
                </a:ext>
              </a:extLst>
            </p:cNvPr>
            <p:cNvSpPr/>
            <p:nvPr/>
          </p:nvSpPr>
          <p:spPr>
            <a:xfrm>
              <a:off x="6024325" y="4011936"/>
              <a:ext cx="5460833" cy="338554"/>
            </a:xfrm>
            <a:prstGeom prst="rect">
              <a:avLst/>
            </a:prstGeom>
            <a:solidFill>
              <a:schemeClr val="accent1"/>
            </a:solidFill>
          </p:spPr>
          <p:txBody>
            <a:bodyPr wrap="square" lIns="0" tIns="0" rIns="0" bIns="0" anchor="ctr">
              <a:spAutoFit/>
            </a:bodyPr>
            <a:lstStyle/>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Deliver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and track improvements across the </a:t>
              </a: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enterprise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and establish CI as a self-funding mechanism to </a:t>
              </a:r>
              <a:r>
                <a:rPr kumimoji="0" lang="en-US" sz="1100" u="none" strike="noStrike" kern="0" cap="none" spc="-10" normalizeH="0" baseline="0" dirty="0">
                  <a:ln>
                    <a:noFill/>
                  </a:ln>
                  <a:solidFill>
                    <a:srgbClr val="FFFFFF"/>
                  </a:solidFill>
                  <a:effectLst/>
                  <a:uLnTx/>
                  <a:uFillTx/>
                  <a:latin typeface="Open Sans (Body)"/>
                  <a:cs typeface="Open Sans" panose="020B0606030504020204" pitchFamily="34" charset="0"/>
                </a:rPr>
                <a:t>deliver</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 long-term </a:t>
              </a:r>
              <a:r>
                <a:rPr kumimoji="0" lang="en-US" sz="1100" u="none" strike="noStrike" kern="0" cap="none" spc="-5" normalizeH="0" baseline="0" dirty="0">
                  <a:ln>
                    <a:noFill/>
                  </a:ln>
                  <a:solidFill>
                    <a:srgbClr val="FFFFFF"/>
                  </a:solidFill>
                  <a:effectLst/>
                  <a:uLnTx/>
                  <a:uFillTx/>
                  <a:latin typeface="Open Sans (Body)"/>
                  <a:cs typeface="Open Sans" panose="020B0606030504020204" pitchFamily="34" charset="0"/>
                </a:rPr>
                <a:t>benefits</a:t>
              </a:r>
              <a:endParaRPr kumimoji="0" lang="en-US" sz="1100" u="none" strike="noStrike" kern="0" cap="none" spc="0" normalizeH="0" baseline="0" dirty="0">
                <a:ln>
                  <a:noFill/>
                </a:ln>
                <a:solidFill>
                  <a:prstClr val="black"/>
                </a:solidFill>
                <a:effectLst/>
                <a:uLnTx/>
                <a:uFillTx/>
                <a:latin typeface="Open Sans (Body)"/>
                <a:cs typeface="Open Sans" panose="020B0606030504020204" pitchFamily="34" charset="0"/>
              </a:endParaRPr>
            </a:p>
          </p:txBody>
        </p:sp>
      </p:grpSp>
      <p:grpSp>
        <p:nvGrpSpPr>
          <p:cNvPr id="11" name="Group 10"/>
          <p:cNvGrpSpPr/>
          <p:nvPr/>
        </p:nvGrpSpPr>
        <p:grpSpPr>
          <a:xfrm>
            <a:off x="501650" y="4667413"/>
            <a:ext cx="11188699" cy="685800"/>
            <a:chOff x="501650" y="4577580"/>
            <a:chExt cx="11188699" cy="685800"/>
          </a:xfrm>
        </p:grpSpPr>
        <p:sp>
          <p:nvSpPr>
            <p:cNvPr id="112" name="Pentagon 9">
              <a:extLst>
                <a:ext uri="{FF2B5EF4-FFF2-40B4-BE49-F238E27FC236}">
                  <a16:creationId xmlns:a16="http://schemas.microsoft.com/office/drawing/2014/main" id="{94D4B3E0-03D3-4076-876D-08499F2B96E7}"/>
                </a:ext>
              </a:extLst>
            </p:cNvPr>
            <p:cNvSpPr/>
            <p:nvPr/>
          </p:nvSpPr>
          <p:spPr>
            <a:xfrm>
              <a:off x="501650" y="4577580"/>
              <a:ext cx="4097762" cy="68580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tx2">
                <a:lumMod val="20000"/>
                <a:lumOff val="80000"/>
              </a:schemeClr>
            </a:solidFill>
            <a:ln w="12700" cap="flat" cmpd="sng" algn="ctr">
              <a:noFill/>
              <a:prstDash val="solid"/>
            </a:ln>
            <a:effectLst/>
          </p:spPr>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dirty="0">
                  <a:ln>
                    <a:noFill/>
                  </a:ln>
                  <a:solidFill>
                    <a:prstClr val="black"/>
                  </a:solidFill>
                  <a:effectLst/>
                  <a:uLnTx/>
                  <a:uFillTx/>
                  <a:latin typeface="Open Sans (Body)"/>
                  <a:ea typeface="Open Sans" panose="020B0606030504020204" pitchFamily="34" charset="0"/>
                  <a:cs typeface="Open Sans" panose="020B0606030504020204" pitchFamily="34" charset="0"/>
                </a:rPr>
                <a:t>Continue to scale</a:t>
              </a:r>
            </a:p>
          </p:txBody>
        </p:sp>
        <p:sp>
          <p:nvSpPr>
            <p:cNvPr id="113" name="Pentagon 12">
              <a:extLst>
                <a:ext uri="{FF2B5EF4-FFF2-40B4-BE49-F238E27FC236}">
                  <a16:creationId xmlns:a16="http://schemas.microsoft.com/office/drawing/2014/main" id="{473E6A7B-42FA-47D2-B5A2-85717289CFA5}"/>
                </a:ext>
              </a:extLst>
            </p:cNvPr>
            <p:cNvSpPr/>
            <p:nvPr/>
          </p:nvSpPr>
          <p:spPr>
            <a:xfrm flipH="1">
              <a:off x="4023338" y="4577580"/>
              <a:ext cx="7667011" cy="68580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bg2">
                <a:lumMod val="90000"/>
              </a:schemeClr>
            </a:solidFill>
            <a:ln w="12700" cap="flat" cmpd="sng" algn="ctr">
              <a:noFill/>
              <a:prstDash val="solid"/>
            </a:ln>
            <a:effectLst/>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14" name="Half Frame 113">
              <a:extLst>
                <a:ext uri="{FF2B5EF4-FFF2-40B4-BE49-F238E27FC236}">
                  <a16:creationId xmlns:a16="http://schemas.microsoft.com/office/drawing/2014/main" id="{BE483172-B138-4520-BB04-7D73D42BEFB9}"/>
                </a:ext>
              </a:extLst>
            </p:cNvPr>
            <p:cNvSpPr/>
            <p:nvPr/>
          </p:nvSpPr>
          <p:spPr>
            <a:xfrm rot="8142470">
              <a:off x="5334505" y="4776407"/>
              <a:ext cx="481707" cy="288147"/>
            </a:xfrm>
            <a:prstGeom prst="halfFrame">
              <a:avLst>
                <a:gd name="adj1" fmla="val 26576"/>
                <a:gd name="adj2" fmla="val 25856"/>
              </a:avLst>
            </a:prstGeom>
            <a:solidFill>
              <a:srgbClr val="EEECE1"/>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15" name="Rectangle 114">
              <a:extLst>
                <a:ext uri="{FF2B5EF4-FFF2-40B4-BE49-F238E27FC236}">
                  <a16:creationId xmlns:a16="http://schemas.microsoft.com/office/drawing/2014/main" id="{1EF8A570-0349-4BF4-95DA-93C79B0DAC56}"/>
                </a:ext>
              </a:extLst>
            </p:cNvPr>
            <p:cNvSpPr/>
            <p:nvPr/>
          </p:nvSpPr>
          <p:spPr>
            <a:xfrm>
              <a:off x="6024325" y="4751203"/>
              <a:ext cx="5460833" cy="338554"/>
            </a:xfrm>
            <a:prstGeom prst="rect">
              <a:avLst/>
            </a:prstGeom>
          </p:spPr>
          <p:txBody>
            <a:bodyPr wrap="square" lIns="0" tIns="0" rIns="0" bIns="0" anchor="ctr">
              <a:spAutoFit/>
            </a:bodyPr>
            <a:lstStyle/>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lang="en-US" sz="1100" u="none" strike="noStrike" kern="0" cap="none" spc="-5" normalizeH="0" baseline="0" dirty="0">
                  <a:ln>
                    <a:noFill/>
                  </a:ln>
                  <a:solidFill>
                    <a:prstClr val="black"/>
                  </a:solidFill>
                  <a:effectLst/>
                  <a:uLnTx/>
                  <a:uFillTx/>
                  <a:latin typeface="Open Sans (Body)"/>
                  <a:cs typeface="Open Sans" panose="020B0606030504020204" pitchFamily="34" charset="0"/>
                </a:rPr>
                <a:t>Roll-out </a:t>
              </a:r>
              <a:r>
                <a:rPr kumimoji="0" lang="en-US" sz="1100" u="none" strike="noStrike" kern="0" cap="none" spc="-15" normalizeH="0" baseline="0" dirty="0">
                  <a:ln>
                    <a:noFill/>
                  </a:ln>
                  <a:solidFill>
                    <a:prstClr val="black"/>
                  </a:solidFill>
                  <a:effectLst/>
                  <a:uLnTx/>
                  <a:uFillTx/>
                  <a:latin typeface="Open Sans (Body)"/>
                  <a:cs typeface="Open Sans" panose="020B0606030504020204" pitchFamily="34" charset="0"/>
                </a:rPr>
                <a:t>your </a:t>
              </a:r>
              <a:r>
                <a:rPr kumimoji="0" lang="en-US" sz="1100" u="none" strike="noStrike" kern="0" cap="none" spc="-5" normalizeH="0" baseline="0" dirty="0">
                  <a:ln>
                    <a:noFill/>
                  </a:ln>
                  <a:solidFill>
                    <a:prstClr val="black"/>
                  </a:solidFill>
                  <a:effectLst/>
                  <a:uLnTx/>
                  <a:uFillTx/>
                  <a:latin typeface="Open Sans (Body)"/>
                  <a:cs typeface="Open Sans" panose="020B0606030504020204" pitchFamily="34" charset="0"/>
                </a:rPr>
                <a:t>program in </a:t>
              </a:r>
              <a:r>
                <a:rPr kumimoji="0" lang="en-US" sz="1100" u="none" strike="noStrike" kern="0" cap="none" spc="-10" normalizeH="0" baseline="0" dirty="0">
                  <a:ln>
                    <a:noFill/>
                  </a:ln>
                  <a:solidFill>
                    <a:prstClr val="black"/>
                  </a:solidFill>
                  <a:effectLst/>
                  <a:uLnTx/>
                  <a:uFillTx/>
                  <a:latin typeface="Open Sans (Body)"/>
                  <a:cs typeface="Open Sans" panose="020B0606030504020204" pitchFamily="34" charset="0"/>
                </a:rPr>
                <a:t>waves, allowing </a:t>
              </a:r>
              <a:r>
                <a:rPr kumimoji="0" lang="en-US" sz="1100" u="none" strike="noStrike" kern="0" cap="none" spc="-5" normalizeH="0" baseline="0" dirty="0">
                  <a:ln>
                    <a:noFill/>
                  </a:ln>
                  <a:solidFill>
                    <a:prstClr val="black"/>
                  </a:solidFill>
                  <a:effectLst/>
                  <a:uLnTx/>
                  <a:uFillTx/>
                  <a:latin typeface="Open Sans (Body)"/>
                  <a:cs typeface="Open Sans" panose="020B0606030504020204" pitchFamily="34" charset="0"/>
                </a:rPr>
                <a:t>the program to naturally scale based on objectives and support</a:t>
              </a:r>
              <a:r>
                <a:rPr kumimoji="0" lang="en-US" sz="1100" u="none" strike="noStrike" kern="0" cap="none" spc="-40" normalizeH="0" baseline="0" dirty="0">
                  <a:ln>
                    <a:noFill/>
                  </a:ln>
                  <a:solidFill>
                    <a:prstClr val="black"/>
                  </a:solidFill>
                  <a:effectLst/>
                  <a:uLnTx/>
                  <a:uFillTx/>
                  <a:latin typeface="Open Sans (Body)"/>
                  <a:cs typeface="Open Sans" panose="020B0606030504020204" pitchFamily="34" charset="0"/>
                </a:rPr>
                <a:t> </a:t>
              </a:r>
              <a:r>
                <a:rPr kumimoji="0" lang="en-US" sz="1100" u="none" strike="noStrike" kern="0" cap="none" spc="-10" normalizeH="0" baseline="0" dirty="0">
                  <a:ln>
                    <a:noFill/>
                  </a:ln>
                  <a:solidFill>
                    <a:prstClr val="black"/>
                  </a:solidFill>
                  <a:effectLst/>
                  <a:uLnTx/>
                  <a:uFillTx/>
                  <a:latin typeface="Open Sans (Body)"/>
                  <a:cs typeface="Open Sans" panose="020B0606030504020204" pitchFamily="34" charset="0"/>
                </a:rPr>
                <a:t>levels</a:t>
              </a:r>
              <a:endParaRPr kumimoji="0" lang="en-US" sz="1100" u="none" strike="noStrike" kern="0" cap="none" spc="0" normalizeH="0" baseline="0" dirty="0">
                <a:ln>
                  <a:noFill/>
                </a:ln>
                <a:solidFill>
                  <a:prstClr val="black"/>
                </a:solidFill>
                <a:effectLst/>
                <a:uLnTx/>
                <a:uFillTx/>
                <a:latin typeface="Open Sans (Body)"/>
                <a:cs typeface="Open Sans" panose="020B0606030504020204" pitchFamily="34" charset="0"/>
              </a:endParaRPr>
            </a:p>
          </p:txBody>
        </p:sp>
      </p:grpSp>
      <p:grpSp>
        <p:nvGrpSpPr>
          <p:cNvPr id="12" name="Group 11"/>
          <p:cNvGrpSpPr/>
          <p:nvPr/>
        </p:nvGrpSpPr>
        <p:grpSpPr>
          <a:xfrm>
            <a:off x="501650" y="5420755"/>
            <a:ext cx="11188699" cy="685800"/>
            <a:chOff x="501650" y="5316845"/>
            <a:chExt cx="11188699" cy="685800"/>
          </a:xfrm>
        </p:grpSpPr>
        <p:sp>
          <p:nvSpPr>
            <p:cNvPr id="116" name="Pentagon 9">
              <a:extLst>
                <a:ext uri="{FF2B5EF4-FFF2-40B4-BE49-F238E27FC236}">
                  <a16:creationId xmlns:a16="http://schemas.microsoft.com/office/drawing/2014/main" id="{71D74F88-20A9-46B9-9F73-6F5DEF394DA7}"/>
                </a:ext>
              </a:extLst>
            </p:cNvPr>
            <p:cNvSpPr/>
            <p:nvPr/>
          </p:nvSpPr>
          <p:spPr>
            <a:xfrm>
              <a:off x="501650" y="5316845"/>
              <a:ext cx="4097762" cy="685800"/>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cap="flat" cmpd="sng" algn="ctr">
              <a:noFill/>
              <a:prstDash val="solid"/>
            </a:ln>
            <a:effectLst/>
          </p:spPr>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dirty="0">
                  <a:ln>
                    <a:noFill/>
                  </a:ln>
                  <a:solidFill>
                    <a:prstClr val="black"/>
                  </a:solidFill>
                  <a:effectLst/>
                  <a:uLnTx/>
                  <a:uFillTx/>
                  <a:latin typeface="Open Sans (Body)"/>
                  <a:ea typeface="Open Sans" panose="020B0606030504020204" pitchFamily="34" charset="0"/>
                  <a:cs typeface="Open Sans" panose="020B0606030504020204" pitchFamily="34" charset="0"/>
                </a:rPr>
                <a:t>Foster employee engagement</a:t>
              </a:r>
            </a:p>
          </p:txBody>
        </p:sp>
        <p:sp>
          <p:nvSpPr>
            <p:cNvPr id="117" name="Pentagon 12">
              <a:extLst>
                <a:ext uri="{FF2B5EF4-FFF2-40B4-BE49-F238E27FC236}">
                  <a16:creationId xmlns:a16="http://schemas.microsoft.com/office/drawing/2014/main" id="{AE49B655-7145-4588-86AA-4BA075861A25}"/>
                </a:ext>
              </a:extLst>
            </p:cNvPr>
            <p:cNvSpPr/>
            <p:nvPr/>
          </p:nvSpPr>
          <p:spPr>
            <a:xfrm flipH="1">
              <a:off x="4023338" y="5316845"/>
              <a:ext cx="7667011" cy="685800"/>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tx2">
                <a:lumMod val="20000"/>
                <a:lumOff val="80000"/>
              </a:schemeClr>
            </a:solidFill>
            <a:ln w="12700" cap="flat" cmpd="sng" algn="ctr">
              <a:noFill/>
              <a:prstDash val="solid"/>
            </a:ln>
            <a:effectLst/>
          </p:spPr>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18" name="Half Frame 117">
              <a:extLst>
                <a:ext uri="{FF2B5EF4-FFF2-40B4-BE49-F238E27FC236}">
                  <a16:creationId xmlns:a16="http://schemas.microsoft.com/office/drawing/2014/main" id="{81751D03-277B-4F55-9F10-BE9555F3BF50}"/>
                </a:ext>
              </a:extLst>
            </p:cNvPr>
            <p:cNvSpPr/>
            <p:nvPr/>
          </p:nvSpPr>
          <p:spPr>
            <a:xfrm rot="8142470">
              <a:off x="5334505" y="5515672"/>
              <a:ext cx="481707" cy="288147"/>
            </a:xfrm>
            <a:prstGeom prst="halfFrame">
              <a:avLst>
                <a:gd name="adj1" fmla="val 26576"/>
                <a:gd name="adj2" fmla="val 25856"/>
              </a:avLst>
            </a:prstGeom>
            <a:solidFill>
              <a:srgbClr val="EEECE1"/>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1F497D"/>
                </a:solidFill>
                <a:effectLst/>
                <a:uLnTx/>
                <a:uFillTx/>
                <a:latin typeface="Open Sans"/>
              </a:endParaRPr>
            </a:p>
          </p:txBody>
        </p:sp>
        <p:sp>
          <p:nvSpPr>
            <p:cNvPr id="119" name="Rectangle 118">
              <a:extLst>
                <a:ext uri="{FF2B5EF4-FFF2-40B4-BE49-F238E27FC236}">
                  <a16:creationId xmlns:a16="http://schemas.microsoft.com/office/drawing/2014/main" id="{A285CD41-B5E0-4F9C-900B-D2A6A5BFF8D3}"/>
                </a:ext>
              </a:extLst>
            </p:cNvPr>
            <p:cNvSpPr/>
            <p:nvPr/>
          </p:nvSpPr>
          <p:spPr>
            <a:xfrm>
              <a:off x="6024325" y="5490469"/>
              <a:ext cx="5460833" cy="338554"/>
            </a:xfrm>
            <a:prstGeom prst="rect">
              <a:avLst/>
            </a:prstGeom>
          </p:spPr>
          <p:txBody>
            <a:bodyPr wrap="square" lIns="0" tIns="0" rIns="0" bIns="0" anchor="ctr">
              <a:spAutoFit/>
            </a:bodyPr>
            <a:lstStyle/>
            <a:p>
              <a:pPr marL="12700" marR="5080" lvl="0" indent="0" algn="just" defTabSz="914400" rtl="0" eaLnBrk="1" fontAlgn="auto" latinLnBrk="0" hangingPunct="1">
                <a:lnSpc>
                  <a:spcPct val="100000"/>
                </a:lnSpc>
                <a:spcBef>
                  <a:spcPts val="95"/>
                </a:spcBef>
                <a:spcAft>
                  <a:spcPts val="0"/>
                </a:spcAft>
                <a:buClrTx/>
                <a:buSzTx/>
                <a:buFontTx/>
                <a:buNone/>
                <a:tabLst/>
                <a:defRPr/>
              </a:pPr>
              <a:r>
                <a:rPr kumimoji="0" lang="en-US" sz="1100" u="none" strike="noStrike" kern="0" cap="none" spc="0" normalizeH="0" baseline="0" dirty="0">
                  <a:ln>
                    <a:noFill/>
                  </a:ln>
                  <a:solidFill>
                    <a:prstClr val="black"/>
                  </a:solidFill>
                  <a:effectLst/>
                  <a:uLnTx/>
                  <a:uFillTx/>
                  <a:latin typeface="Open Sans (Body)"/>
                  <a:cs typeface="Open Sans" panose="020B0606030504020204" pitchFamily="34" charset="0"/>
                </a:rPr>
                <a:t>Trumpet </a:t>
              </a:r>
              <a:r>
                <a:rPr kumimoji="0" lang="en-US" sz="1100" u="none" strike="noStrike" kern="0" cap="none" spc="-5" normalizeH="0" baseline="0" dirty="0">
                  <a:ln>
                    <a:noFill/>
                  </a:ln>
                  <a:solidFill>
                    <a:prstClr val="black"/>
                  </a:solidFill>
                  <a:effectLst/>
                  <a:uLnTx/>
                  <a:uFillTx/>
                  <a:latin typeface="Open Sans (Body)"/>
                  <a:cs typeface="Open Sans" panose="020B0606030504020204" pitchFamily="34" charset="0"/>
                </a:rPr>
                <a:t>successes and reward</a:t>
              </a:r>
              <a:r>
                <a:rPr kumimoji="0" lang="en-US" sz="1100" u="none" strike="noStrike" kern="0" cap="none" spc="-80" normalizeH="0" baseline="0" dirty="0">
                  <a:ln>
                    <a:noFill/>
                  </a:ln>
                  <a:solidFill>
                    <a:prstClr val="black"/>
                  </a:solidFill>
                  <a:effectLst/>
                  <a:uLnTx/>
                  <a:uFillTx/>
                  <a:latin typeface="Open Sans (Body)"/>
                  <a:cs typeface="Open Sans" panose="020B0606030504020204" pitchFamily="34" charset="0"/>
                </a:rPr>
                <a:t> </a:t>
              </a:r>
              <a:r>
                <a:rPr kumimoji="0" lang="en-US" sz="1100" u="none" strike="noStrike" kern="0" cap="none" spc="-10" normalizeH="0" baseline="0" dirty="0">
                  <a:ln>
                    <a:noFill/>
                  </a:ln>
                  <a:solidFill>
                    <a:prstClr val="black"/>
                  </a:solidFill>
                  <a:effectLst/>
                  <a:uLnTx/>
                  <a:uFillTx/>
                  <a:latin typeface="Open Sans (Body)"/>
                  <a:cs typeface="Open Sans" panose="020B0606030504020204" pitchFamily="34" charset="0"/>
                </a:rPr>
                <a:t>employees </a:t>
              </a:r>
              <a:r>
                <a:rPr kumimoji="0" lang="en-US" sz="1100" u="none" strike="noStrike" kern="0" cap="none" spc="-5" normalizeH="0" baseline="0" dirty="0">
                  <a:ln>
                    <a:noFill/>
                  </a:ln>
                  <a:solidFill>
                    <a:prstClr val="black"/>
                  </a:solidFill>
                  <a:effectLst/>
                  <a:uLnTx/>
                  <a:uFillTx/>
                  <a:latin typeface="Open Sans (Body)"/>
                  <a:cs typeface="Open Sans" panose="020B0606030504020204" pitchFamily="34" charset="0"/>
                </a:rPr>
                <a:t>for participating </a:t>
              </a:r>
              <a:r>
                <a:rPr kumimoji="0" lang="en-US" sz="1100" u="none" strike="noStrike" kern="0" cap="none" spc="-10" normalizeH="0" baseline="0" dirty="0">
                  <a:ln>
                    <a:noFill/>
                  </a:ln>
                  <a:solidFill>
                    <a:prstClr val="black"/>
                  </a:solidFill>
                  <a:effectLst/>
                  <a:uLnTx/>
                  <a:uFillTx/>
                  <a:latin typeface="Open Sans (Body)"/>
                  <a:cs typeface="Open Sans" panose="020B0606030504020204" pitchFamily="34" charset="0"/>
                </a:rPr>
                <a:t>in </a:t>
              </a:r>
              <a:r>
                <a:rPr kumimoji="0" lang="en-US" sz="1100" u="none" strike="noStrike" kern="0" cap="none" spc="0" normalizeH="0" baseline="0" dirty="0">
                  <a:ln>
                    <a:noFill/>
                  </a:ln>
                  <a:solidFill>
                    <a:prstClr val="black"/>
                  </a:solidFill>
                  <a:effectLst/>
                  <a:uLnTx/>
                  <a:uFillTx/>
                  <a:latin typeface="Open Sans (Body)"/>
                  <a:cs typeface="Open Sans" panose="020B0606030504020204" pitchFamily="34" charset="0"/>
                </a:rPr>
                <a:t>making </a:t>
              </a:r>
              <a:r>
                <a:rPr kumimoji="0" lang="en-US" sz="1100" u="none" strike="noStrike" kern="0" cap="none" spc="-5" normalizeH="0" baseline="0" dirty="0">
                  <a:ln>
                    <a:noFill/>
                  </a:ln>
                  <a:solidFill>
                    <a:prstClr val="black"/>
                  </a:solidFill>
                  <a:effectLst/>
                  <a:uLnTx/>
                  <a:uFillTx/>
                  <a:latin typeface="Open Sans (Body)"/>
                  <a:cs typeface="Open Sans" panose="020B0606030504020204" pitchFamily="34" charset="0"/>
                </a:rPr>
                <a:t>the </a:t>
              </a:r>
              <a:r>
                <a:rPr kumimoji="0" lang="en-US" sz="1100" u="none" strike="noStrike" kern="0" cap="none" spc="-10" normalizeH="0" baseline="0" dirty="0">
                  <a:ln>
                    <a:noFill/>
                  </a:ln>
                  <a:solidFill>
                    <a:prstClr val="black"/>
                  </a:solidFill>
                  <a:effectLst/>
                  <a:uLnTx/>
                  <a:uFillTx/>
                  <a:latin typeface="Open Sans (Body)"/>
                  <a:cs typeface="Open Sans" panose="020B0606030504020204" pitchFamily="34" charset="0"/>
                </a:rPr>
                <a:t>organization better</a:t>
              </a:r>
              <a:endParaRPr kumimoji="0" lang="en-US" sz="1100" u="none" strike="noStrike" kern="0" cap="none" spc="0" normalizeH="0" baseline="0" dirty="0">
                <a:ln>
                  <a:noFill/>
                </a:ln>
                <a:solidFill>
                  <a:prstClr val="black"/>
                </a:solidFill>
                <a:effectLst/>
                <a:uLnTx/>
                <a:uFillTx/>
                <a:latin typeface="Open Sans (Body)"/>
                <a:cs typeface="Open Sans" panose="020B0606030504020204" pitchFamily="34" charset="0"/>
              </a:endParaRPr>
            </a:p>
          </p:txBody>
        </p:sp>
      </p:grpSp>
      <p:sp>
        <p:nvSpPr>
          <p:cNvPr id="9" name="Rectangle 8"/>
          <p:cNvSpPr/>
          <p:nvPr/>
        </p:nvSpPr>
        <p:spPr>
          <a:xfrm>
            <a:off x="9124084" y="6156094"/>
            <a:ext cx="258468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5" normalizeH="0" baseline="0" dirty="0">
                <a:ln>
                  <a:noFill/>
                </a:ln>
                <a:solidFill>
                  <a:prstClr val="black"/>
                </a:solidFill>
                <a:effectLst/>
                <a:uLnTx/>
                <a:uFillTx/>
                <a:latin typeface="Calibri Light"/>
                <a:cs typeface="Open Sans" panose="020B0606030504020204" pitchFamily="34" charset="0"/>
              </a:rPr>
              <a:t>*ROGIC - Return on Gross Invested Capital </a:t>
            </a:r>
          </a:p>
        </p:txBody>
      </p:sp>
    </p:spTree>
    <p:extLst>
      <p:ext uri="{BB962C8B-B14F-4D97-AF65-F5344CB8AC3E}">
        <p14:creationId xmlns:p14="http://schemas.microsoft.com/office/powerpoint/2010/main" val="2039062514"/>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9" name="Object 8"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4" name="Rectangle 3"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u-HU"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15" name="Rectangle 14" hidden="1"/>
          <p:cNvSpPr/>
          <p:nvPr>
            <p:custDataLst>
              <p:tags r:id="rId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4" name="Rectangle 13" hidden="1"/>
          <p:cNvSpPr/>
          <p:nvPr>
            <p:custDataLst>
              <p:tags r:id="rId6"/>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3" name="Rectangle 12" hidden="1"/>
          <p:cNvSpPr/>
          <p:nvPr>
            <p:custDataLst>
              <p:tags r:id="rId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2" name="Rectangle 11" hidden="1"/>
          <p:cNvSpPr/>
          <p:nvPr>
            <p:custDataLst>
              <p:tags r:id="rId8"/>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2" name="Rectangle 1" hidden="1"/>
          <p:cNvSpPr/>
          <p:nvPr>
            <p:custDataLst>
              <p:tags r:id="rId9"/>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u-HU"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5" name="Text Placeholder 4"/>
          <p:cNvSpPr>
            <a:spLocks noGrp="1"/>
          </p:cNvSpPr>
          <p:nvPr>
            <p:ph type="body" sz="quarter" idx="22"/>
          </p:nvPr>
        </p:nvSpPr>
        <p:spPr/>
        <p:txBody>
          <a:bodyPr/>
          <a:lstStyle/>
          <a:p>
            <a:r>
              <a:rPr lang="en-US" dirty="0"/>
              <a:t>The purpose of the strategic map is to define the operating principles along consensual </a:t>
            </a:r>
            <a:r>
              <a:rPr lang="hu-HU" dirty="0" err="1"/>
              <a:t>innovation</a:t>
            </a:r>
            <a:r>
              <a:rPr lang="en-US" dirty="0"/>
              <a:t> ambitions, however, we recommend further specification of the </a:t>
            </a:r>
            <a:r>
              <a:rPr lang="hu-HU" dirty="0" err="1"/>
              <a:t>innovation</a:t>
            </a:r>
            <a:r>
              <a:rPr lang="en-US" dirty="0"/>
              <a:t> strategy and the definition of “SMART” business goals</a:t>
            </a:r>
          </a:p>
        </p:txBody>
      </p:sp>
      <p:sp>
        <p:nvSpPr>
          <p:cNvPr id="10" name="Title 3"/>
          <p:cNvSpPr>
            <a:spLocks noGrp="1"/>
          </p:cNvSpPr>
          <p:nvPr>
            <p:ph type="title"/>
          </p:nvPr>
        </p:nvSpPr>
        <p:spPr/>
        <p:txBody>
          <a:bodyPr vert="horz"/>
          <a:lstStyle/>
          <a:p>
            <a:r>
              <a:rPr lang="hu-HU" dirty="0" err="1"/>
              <a:t>Innovation</a:t>
            </a:r>
            <a:r>
              <a:rPr lang="en-US" dirty="0"/>
              <a:t> focused strategic map</a:t>
            </a:r>
          </a:p>
        </p:txBody>
      </p:sp>
      <p:grpSp>
        <p:nvGrpSpPr>
          <p:cNvPr id="82" name="Group 81">
            <a:extLst>
              <a:ext uri="{FF2B5EF4-FFF2-40B4-BE49-F238E27FC236}">
                <a16:creationId xmlns:a16="http://schemas.microsoft.com/office/drawing/2014/main" id="{2DBBA3E9-F0B0-4B6D-AB09-3787AFD9B49A}"/>
              </a:ext>
            </a:extLst>
          </p:cNvPr>
          <p:cNvGrpSpPr/>
          <p:nvPr/>
        </p:nvGrpSpPr>
        <p:grpSpPr>
          <a:xfrm>
            <a:off x="501650" y="1877245"/>
            <a:ext cx="11220449" cy="4633611"/>
            <a:chOff x="336001" y="1661826"/>
            <a:chExt cx="8426932" cy="4272853"/>
          </a:xfrm>
        </p:grpSpPr>
        <p:sp>
          <p:nvSpPr>
            <p:cNvPr id="83" name="Rectangle 82">
              <a:extLst>
                <a:ext uri="{FF2B5EF4-FFF2-40B4-BE49-F238E27FC236}">
                  <a16:creationId xmlns:a16="http://schemas.microsoft.com/office/drawing/2014/main" id="{B662D842-0181-4DF9-B6C8-7388D2A21D49}"/>
                </a:ext>
              </a:extLst>
            </p:cNvPr>
            <p:cNvSpPr/>
            <p:nvPr/>
          </p:nvSpPr>
          <p:spPr>
            <a:xfrm>
              <a:off x="876000" y="1661826"/>
              <a:ext cx="7886933" cy="1008000"/>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Open Sans (Body)"/>
              </a:endParaRPr>
            </a:p>
          </p:txBody>
        </p:sp>
        <p:sp>
          <p:nvSpPr>
            <p:cNvPr id="84" name="Rectangle 83">
              <a:extLst>
                <a:ext uri="{FF2B5EF4-FFF2-40B4-BE49-F238E27FC236}">
                  <a16:creationId xmlns:a16="http://schemas.microsoft.com/office/drawing/2014/main" id="{DD2FC32E-8BF7-4705-9ED3-72FC9D48D592}"/>
                </a:ext>
              </a:extLst>
            </p:cNvPr>
            <p:cNvSpPr/>
            <p:nvPr/>
          </p:nvSpPr>
          <p:spPr>
            <a:xfrm>
              <a:off x="876000" y="2750110"/>
              <a:ext cx="7886933" cy="10080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Open Sans (Body)"/>
              </a:endParaRPr>
            </a:p>
          </p:txBody>
        </p:sp>
        <p:sp>
          <p:nvSpPr>
            <p:cNvPr id="85" name="Rectangle 84">
              <a:extLst>
                <a:ext uri="{FF2B5EF4-FFF2-40B4-BE49-F238E27FC236}">
                  <a16:creationId xmlns:a16="http://schemas.microsoft.com/office/drawing/2014/main" id="{9945853E-F074-4711-9B7A-9C6371533F37}"/>
                </a:ext>
              </a:extLst>
            </p:cNvPr>
            <p:cNvSpPr/>
            <p:nvPr/>
          </p:nvSpPr>
          <p:spPr>
            <a:xfrm>
              <a:off x="876000" y="3838394"/>
              <a:ext cx="7886933" cy="100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Open Sans (Body)"/>
              </a:endParaRPr>
            </a:p>
          </p:txBody>
        </p:sp>
        <p:sp>
          <p:nvSpPr>
            <p:cNvPr id="86" name="Rectangle 85">
              <a:extLst>
                <a:ext uri="{FF2B5EF4-FFF2-40B4-BE49-F238E27FC236}">
                  <a16:creationId xmlns:a16="http://schemas.microsoft.com/office/drawing/2014/main" id="{96E48E02-3DC8-4084-93D3-9C9CD0737890}"/>
                </a:ext>
              </a:extLst>
            </p:cNvPr>
            <p:cNvSpPr/>
            <p:nvPr/>
          </p:nvSpPr>
          <p:spPr>
            <a:xfrm>
              <a:off x="876000" y="4926679"/>
              <a:ext cx="7886933" cy="100800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Open Sans (Body)"/>
              </a:endParaRPr>
            </a:p>
          </p:txBody>
        </p:sp>
        <p:grpSp>
          <p:nvGrpSpPr>
            <p:cNvPr id="87" name="Group 86">
              <a:extLst>
                <a:ext uri="{FF2B5EF4-FFF2-40B4-BE49-F238E27FC236}">
                  <a16:creationId xmlns:a16="http://schemas.microsoft.com/office/drawing/2014/main" id="{F480E1B8-152B-42D2-9BFB-0F1D2E53D5DB}"/>
                </a:ext>
              </a:extLst>
            </p:cNvPr>
            <p:cNvGrpSpPr/>
            <p:nvPr/>
          </p:nvGrpSpPr>
          <p:grpSpPr>
            <a:xfrm>
              <a:off x="2285264" y="1773980"/>
              <a:ext cx="5068404" cy="783693"/>
              <a:chOff x="1082599" y="1636155"/>
              <a:chExt cx="5068404" cy="783693"/>
            </a:xfrm>
          </p:grpSpPr>
          <p:sp>
            <p:nvSpPr>
              <p:cNvPr id="112" name="Rectangle 111">
                <a:extLst>
                  <a:ext uri="{FF2B5EF4-FFF2-40B4-BE49-F238E27FC236}">
                    <a16:creationId xmlns:a16="http://schemas.microsoft.com/office/drawing/2014/main" id="{50C8143F-3DFA-46C2-9D30-BB71F0859DD5}"/>
                  </a:ext>
                </a:extLst>
              </p:cNvPr>
              <p:cNvSpPr/>
              <p:nvPr/>
            </p:nvSpPr>
            <p:spPr>
              <a:xfrm>
                <a:off x="1082599" y="1636155"/>
                <a:ext cx="1499486" cy="78369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 Increasing revenue based on innovation and new services</a:t>
                </a:r>
              </a:p>
            </p:txBody>
          </p:sp>
          <p:sp>
            <p:nvSpPr>
              <p:cNvPr id="113" name="Rectangle 112">
                <a:extLst>
                  <a:ext uri="{FF2B5EF4-FFF2-40B4-BE49-F238E27FC236}">
                    <a16:creationId xmlns:a16="http://schemas.microsoft.com/office/drawing/2014/main" id="{D1DDBC33-970C-4032-B40D-8A9233D6154F}"/>
                  </a:ext>
                </a:extLst>
              </p:cNvPr>
              <p:cNvSpPr/>
              <p:nvPr/>
            </p:nvSpPr>
            <p:spPr>
              <a:xfrm>
                <a:off x="2867058" y="1636155"/>
                <a:ext cx="1499486" cy="78369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2</a:t>
                </a:r>
                <a:r>
                  <a:rPr kumimoji="0" lang="en-US" sz="1100" b="0" i="0" u="none" strike="noStrike" kern="1200" cap="none" spc="0" normalizeH="0" baseline="0" noProof="0" dirty="0">
                    <a:ln>
                      <a:noFill/>
                    </a:ln>
                    <a:solidFill>
                      <a:srgbClr val="333F48"/>
                    </a:solidFill>
                    <a:effectLst/>
                    <a:uLnTx/>
                    <a:uFillTx/>
                    <a:latin typeface="Open Sans (Body)"/>
                  </a:rPr>
                  <a:t>. Cost reduction and efficiency improvement through the implementation of innovation ideas</a:t>
                </a:r>
              </a:p>
            </p:txBody>
          </p:sp>
          <p:sp>
            <p:nvSpPr>
              <p:cNvPr id="114" name="Rectangle 113">
                <a:extLst>
                  <a:ext uri="{FF2B5EF4-FFF2-40B4-BE49-F238E27FC236}">
                    <a16:creationId xmlns:a16="http://schemas.microsoft.com/office/drawing/2014/main" id="{7EA4DDB4-5344-4E26-8BD5-42E7201A1E9E}"/>
                  </a:ext>
                </a:extLst>
              </p:cNvPr>
              <p:cNvSpPr/>
              <p:nvPr/>
            </p:nvSpPr>
            <p:spPr>
              <a:xfrm>
                <a:off x="4651517" y="1636155"/>
                <a:ext cx="1499486" cy="78369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3. Reducing financial risks based on innovation projects</a:t>
                </a:r>
              </a:p>
            </p:txBody>
          </p:sp>
        </p:grpSp>
        <p:sp>
          <p:nvSpPr>
            <p:cNvPr id="88" name="Rectangle 87">
              <a:extLst>
                <a:ext uri="{FF2B5EF4-FFF2-40B4-BE49-F238E27FC236}">
                  <a16:creationId xmlns:a16="http://schemas.microsoft.com/office/drawing/2014/main" id="{1ACEB6B9-FA74-4C9E-B786-CCC63897C5FB}"/>
                </a:ext>
              </a:extLst>
            </p:cNvPr>
            <p:cNvSpPr/>
            <p:nvPr/>
          </p:nvSpPr>
          <p:spPr>
            <a:xfrm>
              <a:off x="2348582" y="2862264"/>
              <a:ext cx="1588264" cy="78369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F48"/>
                  </a:solidFill>
                  <a:effectLst/>
                  <a:uLnTx/>
                  <a:uFillTx/>
                  <a:latin typeface="Open Sans (Body)"/>
                </a:rPr>
                <a:t>5. Develop recognition from markets through successful innovation</a:t>
              </a:r>
              <a:r>
                <a:rPr kumimoji="0" lang="hu-HU" sz="1100" b="0" i="0" u="none" strike="noStrike" kern="1200" cap="none" spc="0" normalizeH="0" baseline="0" noProof="0" dirty="0">
                  <a:ln>
                    <a:noFill/>
                  </a:ln>
                  <a:solidFill>
                    <a:srgbClr val="333F48"/>
                  </a:solidFill>
                  <a:effectLst/>
                  <a:uLnTx/>
                  <a:uFillTx/>
                  <a:latin typeface="Open Sans (Body)"/>
                </a:rPr>
                <a:t> </a:t>
              </a:r>
              <a:r>
                <a:rPr kumimoji="0" lang="en-US" sz="1100" b="0" i="0" u="none" strike="noStrike" kern="1200" cap="none" spc="0" normalizeH="0" baseline="0" noProof="0" dirty="0">
                  <a:ln>
                    <a:noFill/>
                  </a:ln>
                  <a:solidFill>
                    <a:srgbClr val="333F48"/>
                  </a:solidFill>
                  <a:effectLst/>
                  <a:uLnTx/>
                  <a:uFillTx/>
                  <a:latin typeface="Open Sans (Body)"/>
                </a:rPr>
                <a:t>implementation</a:t>
              </a:r>
            </a:p>
          </p:txBody>
        </p:sp>
        <p:sp>
          <p:nvSpPr>
            <p:cNvPr id="89" name="Rectangle 88">
              <a:extLst>
                <a:ext uri="{FF2B5EF4-FFF2-40B4-BE49-F238E27FC236}">
                  <a16:creationId xmlns:a16="http://schemas.microsoft.com/office/drawing/2014/main" id="{1533463D-8F94-4973-8B7A-FAD9E058EF0B}"/>
                </a:ext>
              </a:extLst>
            </p:cNvPr>
            <p:cNvSpPr/>
            <p:nvPr/>
          </p:nvSpPr>
          <p:spPr>
            <a:xfrm>
              <a:off x="4130263" y="2862264"/>
              <a:ext cx="1265124" cy="78369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F48"/>
                  </a:solidFill>
                  <a:effectLst/>
                  <a:uLnTx/>
                  <a:uFillTx/>
                  <a:latin typeface="Open Sans (Body)"/>
                </a:rPr>
                <a:t>6. Generating innovation</a:t>
              </a:r>
              <a:r>
                <a:rPr kumimoji="0" lang="hu-HU" sz="1100" b="0" i="0" u="none" strike="noStrike" kern="1200" cap="none" spc="0" normalizeH="0" baseline="0" noProof="0" dirty="0">
                  <a:ln>
                    <a:noFill/>
                  </a:ln>
                  <a:solidFill>
                    <a:srgbClr val="333F48"/>
                  </a:solidFill>
                  <a:effectLst/>
                  <a:uLnTx/>
                  <a:uFillTx/>
                  <a:latin typeface="Open Sans (Body)"/>
                </a:rPr>
                <a:t> </a:t>
              </a:r>
              <a:r>
                <a:rPr kumimoji="0" lang="en-US" sz="1100" b="0" i="0" u="none" strike="noStrike" kern="1200" cap="none" spc="0" normalizeH="0" baseline="0" noProof="0" dirty="0">
                  <a:ln>
                    <a:noFill/>
                  </a:ln>
                  <a:solidFill>
                    <a:srgbClr val="333F48"/>
                  </a:solidFill>
                  <a:effectLst/>
                  <a:uLnTx/>
                  <a:uFillTx/>
                  <a:latin typeface="Open Sans (Body)"/>
                </a:rPr>
                <a:t>ideas for market and corporate issues</a:t>
              </a:r>
            </a:p>
          </p:txBody>
        </p:sp>
        <p:sp>
          <p:nvSpPr>
            <p:cNvPr id="90" name="Rectangle 89">
              <a:extLst>
                <a:ext uri="{FF2B5EF4-FFF2-40B4-BE49-F238E27FC236}">
                  <a16:creationId xmlns:a16="http://schemas.microsoft.com/office/drawing/2014/main" id="{AC9A6F2D-C04D-4DD6-B088-C5F0B444A87C}"/>
                </a:ext>
              </a:extLst>
            </p:cNvPr>
            <p:cNvSpPr/>
            <p:nvPr/>
          </p:nvSpPr>
          <p:spPr>
            <a:xfrm>
              <a:off x="5588804" y="2862264"/>
              <a:ext cx="1342467" cy="78369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F48"/>
                  </a:solidFill>
                  <a:effectLst/>
                  <a:uLnTx/>
                  <a:uFillTx/>
                  <a:latin typeface="Open Sans (Body)"/>
                </a:rPr>
                <a:t>7. Embracing organizational development ideas</a:t>
              </a:r>
            </a:p>
          </p:txBody>
        </p:sp>
        <p:sp>
          <p:nvSpPr>
            <p:cNvPr id="91" name="Rectangle 90">
              <a:extLst>
                <a:ext uri="{FF2B5EF4-FFF2-40B4-BE49-F238E27FC236}">
                  <a16:creationId xmlns:a16="http://schemas.microsoft.com/office/drawing/2014/main" id="{21B866ED-75FC-49F3-B09A-2C80AE999AE4}"/>
                </a:ext>
              </a:extLst>
            </p:cNvPr>
            <p:cNvSpPr/>
            <p:nvPr/>
          </p:nvSpPr>
          <p:spPr>
            <a:xfrm>
              <a:off x="945443" y="3950548"/>
              <a:ext cx="1332000" cy="783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9. Establishing and nurturing effective internal collaborations and partnerships</a:t>
              </a:r>
            </a:p>
          </p:txBody>
        </p:sp>
        <p:sp>
          <p:nvSpPr>
            <p:cNvPr id="92" name="Rectangle 91">
              <a:extLst>
                <a:ext uri="{FF2B5EF4-FFF2-40B4-BE49-F238E27FC236}">
                  <a16:creationId xmlns:a16="http://schemas.microsoft.com/office/drawing/2014/main" id="{7896FD0D-D703-4CFE-8083-A660656EBBDB}"/>
                </a:ext>
              </a:extLst>
            </p:cNvPr>
            <p:cNvSpPr/>
            <p:nvPr/>
          </p:nvSpPr>
          <p:spPr>
            <a:xfrm>
              <a:off x="2435665" y="3950548"/>
              <a:ext cx="1872000" cy="783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0. Development of effective innovation governance (e.g. directions, assignment of focus areas, monitoring)</a:t>
              </a:r>
            </a:p>
          </p:txBody>
        </p:sp>
        <p:sp>
          <p:nvSpPr>
            <p:cNvPr id="93" name="Rectangle 92">
              <a:extLst>
                <a:ext uri="{FF2B5EF4-FFF2-40B4-BE49-F238E27FC236}">
                  <a16:creationId xmlns:a16="http://schemas.microsoft.com/office/drawing/2014/main" id="{B2AEA896-7FA6-46A7-86A1-EDF1E6CEE489}"/>
                </a:ext>
              </a:extLst>
            </p:cNvPr>
            <p:cNvSpPr/>
            <p:nvPr/>
          </p:nvSpPr>
          <p:spPr>
            <a:xfrm>
              <a:off x="4465887" y="3950548"/>
              <a:ext cx="1251302" cy="783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1. Effective allocation and prioritization of available resources</a:t>
              </a:r>
            </a:p>
          </p:txBody>
        </p:sp>
        <p:sp>
          <p:nvSpPr>
            <p:cNvPr id="94" name="Rectangle 93">
              <a:extLst>
                <a:ext uri="{FF2B5EF4-FFF2-40B4-BE49-F238E27FC236}">
                  <a16:creationId xmlns:a16="http://schemas.microsoft.com/office/drawing/2014/main" id="{CE2C3C78-0AAD-46DB-AF22-8FD09A4AEC0C}"/>
                </a:ext>
              </a:extLst>
            </p:cNvPr>
            <p:cNvSpPr/>
            <p:nvPr/>
          </p:nvSpPr>
          <p:spPr>
            <a:xfrm>
              <a:off x="5875411" y="3950548"/>
              <a:ext cx="1584000" cy="783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F48"/>
                  </a:solidFill>
                  <a:effectLst/>
                  <a:uLnTx/>
                  <a:uFillTx/>
                  <a:latin typeface="Open Sans (Body)"/>
                </a:rPr>
                <a:t>12. Development of a fast and (cost)efficient innovation framework (agile, fast processes) and toolkit</a:t>
              </a:r>
            </a:p>
          </p:txBody>
        </p:sp>
        <p:sp>
          <p:nvSpPr>
            <p:cNvPr id="95" name="Rectangle 94">
              <a:extLst>
                <a:ext uri="{FF2B5EF4-FFF2-40B4-BE49-F238E27FC236}">
                  <a16:creationId xmlns:a16="http://schemas.microsoft.com/office/drawing/2014/main" id="{58B35C09-FF24-47E6-A84A-B5110FEA0D12}"/>
                </a:ext>
              </a:extLst>
            </p:cNvPr>
            <p:cNvSpPr/>
            <p:nvPr/>
          </p:nvSpPr>
          <p:spPr>
            <a:xfrm>
              <a:off x="7617632" y="3950548"/>
              <a:ext cx="1044000" cy="783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3. Introduction of new market knowledge / methodologies</a:t>
              </a:r>
            </a:p>
          </p:txBody>
        </p:sp>
        <p:sp>
          <p:nvSpPr>
            <p:cNvPr id="96" name="Rectangle 95">
              <a:extLst>
                <a:ext uri="{FF2B5EF4-FFF2-40B4-BE49-F238E27FC236}">
                  <a16:creationId xmlns:a16="http://schemas.microsoft.com/office/drawing/2014/main" id="{35DB7501-2D35-4A9E-8CB8-7456DADF5910}"/>
                </a:ext>
              </a:extLst>
            </p:cNvPr>
            <p:cNvSpPr/>
            <p:nvPr/>
          </p:nvSpPr>
          <p:spPr>
            <a:xfrm>
              <a:off x="945443" y="5038833"/>
              <a:ext cx="1209722" cy="783693"/>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4. </a:t>
              </a:r>
              <a:r>
                <a:rPr lang="hu-HU" sz="1100" dirty="0">
                  <a:solidFill>
                    <a:prstClr val="black"/>
                  </a:solidFill>
                  <a:latin typeface="Open Sans (Body)"/>
                </a:rPr>
                <a:t>I</a:t>
              </a:r>
              <a:r>
                <a:rPr kumimoji="0" lang="en-US" sz="1100" b="0" i="0" u="none" strike="noStrike" kern="1200" cap="none" spc="0" normalizeH="0" baseline="0" noProof="0" dirty="0" err="1">
                  <a:ln>
                    <a:noFill/>
                  </a:ln>
                  <a:solidFill>
                    <a:prstClr val="black"/>
                  </a:solidFill>
                  <a:effectLst/>
                  <a:uLnTx/>
                  <a:uFillTx/>
                  <a:latin typeface="Open Sans (Body)"/>
                </a:rPr>
                <a:t>nnovation</a:t>
              </a:r>
              <a:r>
                <a:rPr kumimoji="0" lang="hu-HU" sz="1100" b="0" i="0" u="none" strike="noStrike" kern="1200" cap="none" spc="0" normalizeH="0" baseline="0" noProof="0" dirty="0">
                  <a:ln>
                    <a:noFill/>
                  </a:ln>
                  <a:solidFill>
                    <a:prstClr val="black"/>
                  </a:solidFill>
                  <a:effectLst/>
                  <a:uLnTx/>
                  <a:uFillTx/>
                  <a:latin typeface="Open Sans (Body)"/>
                </a:rPr>
                <a:t> </a:t>
              </a:r>
              <a:r>
                <a:rPr kumimoji="0" lang="en-US" sz="1100" b="0" i="0" u="none" strike="noStrike" kern="1200" cap="none" spc="0" normalizeH="0" baseline="0" noProof="0" dirty="0">
                  <a:ln>
                    <a:noFill/>
                  </a:ln>
                  <a:solidFill>
                    <a:prstClr val="black"/>
                  </a:solidFill>
                  <a:effectLst/>
                  <a:uLnTx/>
                  <a:uFillTx/>
                  <a:latin typeface="Open Sans (Body)"/>
                </a:rPr>
                <a:t>culture and community development</a:t>
              </a:r>
            </a:p>
          </p:txBody>
        </p:sp>
        <p:sp>
          <p:nvSpPr>
            <p:cNvPr id="97" name="Rectangle 96">
              <a:extLst>
                <a:ext uri="{FF2B5EF4-FFF2-40B4-BE49-F238E27FC236}">
                  <a16:creationId xmlns:a16="http://schemas.microsoft.com/office/drawing/2014/main" id="{5964EE1F-C86C-47BF-B2D9-6D36737DDEB2}"/>
                </a:ext>
              </a:extLst>
            </p:cNvPr>
            <p:cNvSpPr/>
            <p:nvPr/>
          </p:nvSpPr>
          <p:spPr>
            <a:xfrm>
              <a:off x="2322237" y="5038833"/>
              <a:ext cx="1314944" cy="78369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5. Knowledge sharing and learning agility development</a:t>
              </a:r>
            </a:p>
          </p:txBody>
        </p:sp>
        <p:sp>
          <p:nvSpPr>
            <p:cNvPr id="98" name="Rectangle 97">
              <a:extLst>
                <a:ext uri="{FF2B5EF4-FFF2-40B4-BE49-F238E27FC236}">
                  <a16:creationId xmlns:a16="http://schemas.microsoft.com/office/drawing/2014/main" id="{A899543C-F09B-4334-8BBB-D08E94C51CA6}"/>
                </a:ext>
              </a:extLst>
            </p:cNvPr>
            <p:cNvSpPr/>
            <p:nvPr/>
          </p:nvSpPr>
          <p:spPr>
            <a:xfrm>
              <a:off x="3804253" y="5038833"/>
              <a:ext cx="1188076" cy="78369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6. Development of methodological competencies (e.g. agile, design thinking)</a:t>
              </a:r>
            </a:p>
          </p:txBody>
        </p:sp>
        <p:sp>
          <p:nvSpPr>
            <p:cNvPr id="99" name="Rectangle 98">
              <a:extLst>
                <a:ext uri="{FF2B5EF4-FFF2-40B4-BE49-F238E27FC236}">
                  <a16:creationId xmlns:a16="http://schemas.microsoft.com/office/drawing/2014/main" id="{9E07FFA3-F7E4-480F-BD2B-9D52A1394AE1}"/>
                </a:ext>
              </a:extLst>
            </p:cNvPr>
            <p:cNvSpPr/>
            <p:nvPr/>
          </p:nvSpPr>
          <p:spPr>
            <a:xfrm>
              <a:off x="5159401" y="5038833"/>
              <a:ext cx="1416105" cy="78369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7. Establishing the roles required to perform the innovation</a:t>
              </a:r>
              <a:r>
                <a:rPr kumimoji="0" lang="hu-HU" sz="1100" b="0" i="0" u="none" strike="noStrike" kern="1200" cap="none" spc="0" normalizeH="0" baseline="0" noProof="0" dirty="0">
                  <a:ln>
                    <a:noFill/>
                  </a:ln>
                  <a:solidFill>
                    <a:prstClr val="black"/>
                  </a:solidFill>
                  <a:effectLst/>
                  <a:uLnTx/>
                  <a:uFillTx/>
                  <a:latin typeface="Open Sans (Body)"/>
                </a:rPr>
                <a:t> </a:t>
              </a:r>
              <a:r>
                <a:rPr kumimoji="0" lang="en-US" sz="1100" b="0" i="0" u="none" strike="noStrike" kern="1200" cap="none" spc="0" normalizeH="0" baseline="0" noProof="0" dirty="0">
                  <a:ln>
                    <a:noFill/>
                  </a:ln>
                  <a:solidFill>
                    <a:prstClr val="black"/>
                  </a:solidFill>
                  <a:effectLst/>
                  <a:uLnTx/>
                  <a:uFillTx/>
                  <a:latin typeface="Open Sans (Body)"/>
                </a:rPr>
                <a:t>activity</a:t>
              </a:r>
            </a:p>
          </p:txBody>
        </p:sp>
        <p:sp>
          <p:nvSpPr>
            <p:cNvPr id="100" name="Rectangle 99">
              <a:extLst>
                <a:ext uri="{FF2B5EF4-FFF2-40B4-BE49-F238E27FC236}">
                  <a16:creationId xmlns:a16="http://schemas.microsoft.com/office/drawing/2014/main" id="{35B355C1-F335-4129-957D-D23312F3E70A}"/>
                </a:ext>
              </a:extLst>
            </p:cNvPr>
            <p:cNvSpPr/>
            <p:nvPr/>
          </p:nvSpPr>
          <p:spPr>
            <a:xfrm>
              <a:off x="6742579" y="5038833"/>
              <a:ext cx="1919053" cy="783693"/>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18. Attracting and retaining employees with appropriate competencies and creating motivating jobs for them</a:t>
              </a:r>
            </a:p>
          </p:txBody>
        </p:sp>
        <p:sp>
          <p:nvSpPr>
            <p:cNvPr id="101" name="Rectangle 100">
              <a:extLst>
                <a:ext uri="{FF2B5EF4-FFF2-40B4-BE49-F238E27FC236}">
                  <a16:creationId xmlns:a16="http://schemas.microsoft.com/office/drawing/2014/main" id="{97F2119B-0389-4050-A0DD-4A8AB9A4AA0E}"/>
                </a:ext>
              </a:extLst>
            </p:cNvPr>
            <p:cNvSpPr/>
            <p:nvPr/>
          </p:nvSpPr>
          <p:spPr>
            <a:xfrm rot="16200000">
              <a:off x="66005" y="1931826"/>
              <a:ext cx="1008000"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baseline="0" noProof="0" dirty="0">
                  <a:ln>
                    <a:noFill/>
                  </a:ln>
                  <a:solidFill>
                    <a:prstClr val="white"/>
                  </a:solidFill>
                  <a:effectLst/>
                  <a:uLnTx/>
                  <a:uFillTx/>
                  <a:latin typeface="Open Sans (Body)"/>
                </a:rPr>
                <a:t>Financial and ownership</a:t>
              </a:r>
            </a:p>
          </p:txBody>
        </p:sp>
        <p:sp>
          <p:nvSpPr>
            <p:cNvPr id="102" name="Rectangle 101">
              <a:extLst>
                <a:ext uri="{FF2B5EF4-FFF2-40B4-BE49-F238E27FC236}">
                  <a16:creationId xmlns:a16="http://schemas.microsoft.com/office/drawing/2014/main" id="{45D1ABED-7F33-4209-B3F5-6B2F46206DAE}"/>
                </a:ext>
              </a:extLst>
            </p:cNvPr>
            <p:cNvSpPr/>
            <p:nvPr/>
          </p:nvSpPr>
          <p:spPr>
            <a:xfrm rot="16200000">
              <a:off x="66003" y="3020110"/>
              <a:ext cx="1008000" cy="46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baseline="0" noProof="0" dirty="0">
                  <a:ln>
                    <a:noFill/>
                  </a:ln>
                  <a:solidFill>
                    <a:prstClr val="white"/>
                  </a:solidFill>
                  <a:effectLst/>
                  <a:uLnTx/>
                  <a:uFillTx/>
                  <a:latin typeface="Open Sans (Body)"/>
                </a:rPr>
                <a:t>INTERNAL CUSTOMER</a:t>
              </a:r>
            </a:p>
          </p:txBody>
        </p:sp>
        <p:sp>
          <p:nvSpPr>
            <p:cNvPr id="103" name="Rectangle 102">
              <a:extLst>
                <a:ext uri="{FF2B5EF4-FFF2-40B4-BE49-F238E27FC236}">
                  <a16:creationId xmlns:a16="http://schemas.microsoft.com/office/drawing/2014/main" id="{3422071C-E6F7-4517-9974-B1C80787C73F}"/>
                </a:ext>
              </a:extLst>
            </p:cNvPr>
            <p:cNvSpPr/>
            <p:nvPr/>
          </p:nvSpPr>
          <p:spPr>
            <a:xfrm rot="16200000">
              <a:off x="66001" y="4108394"/>
              <a:ext cx="1008000"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baseline="0" noProof="0" dirty="0">
                  <a:ln>
                    <a:noFill/>
                  </a:ln>
                  <a:solidFill>
                    <a:prstClr val="white"/>
                  </a:solidFill>
                  <a:effectLst/>
                  <a:uLnTx/>
                  <a:uFillTx/>
                  <a:latin typeface="Open Sans (Body)"/>
                </a:rPr>
                <a:t>Internal PROCESSES</a:t>
              </a:r>
            </a:p>
          </p:txBody>
        </p:sp>
        <p:sp>
          <p:nvSpPr>
            <p:cNvPr id="109" name="Rectangle 108">
              <a:extLst>
                <a:ext uri="{FF2B5EF4-FFF2-40B4-BE49-F238E27FC236}">
                  <a16:creationId xmlns:a16="http://schemas.microsoft.com/office/drawing/2014/main" id="{A313EEF7-7A4D-4E07-99F6-D0141A7F92FE}"/>
                </a:ext>
              </a:extLst>
            </p:cNvPr>
            <p:cNvSpPr/>
            <p:nvPr/>
          </p:nvSpPr>
          <p:spPr>
            <a:xfrm rot="16200000">
              <a:off x="66003" y="5196679"/>
              <a:ext cx="1008000" cy="46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0" normalizeH="0" baseline="0" noProof="0" dirty="0">
                  <a:ln>
                    <a:noFill/>
                  </a:ln>
                  <a:solidFill>
                    <a:prstClr val="white"/>
                  </a:solidFill>
                  <a:effectLst/>
                  <a:uLnTx/>
                  <a:uFillTx/>
                  <a:latin typeface="Open Sans (Body)"/>
                </a:rPr>
                <a:t>COMPETEN</a:t>
              </a:r>
              <a:r>
                <a:rPr kumimoji="0" lang="hu-HU" sz="1100" b="1" i="0" u="none" strike="noStrike" kern="1200" cap="all" spc="0" normalizeH="0" baseline="0" noProof="0" dirty="0">
                  <a:ln>
                    <a:noFill/>
                  </a:ln>
                  <a:solidFill>
                    <a:prstClr val="white"/>
                  </a:solidFill>
                  <a:effectLst/>
                  <a:uLnTx/>
                  <a:uFillTx/>
                  <a:latin typeface="Open Sans (Body)"/>
                </a:rPr>
                <a:t>-</a:t>
              </a:r>
              <a:r>
                <a:rPr kumimoji="0" lang="en-US" sz="1100" b="1" i="0" u="none" strike="noStrike" kern="1200" cap="all" spc="0" normalizeH="0" baseline="0" noProof="0" dirty="0">
                  <a:ln>
                    <a:noFill/>
                  </a:ln>
                  <a:solidFill>
                    <a:prstClr val="white"/>
                  </a:solidFill>
                  <a:effectLst/>
                  <a:uLnTx/>
                  <a:uFillTx/>
                  <a:latin typeface="Open Sans (Body)"/>
                </a:rPr>
                <a:t>CIES</a:t>
              </a:r>
            </a:p>
          </p:txBody>
        </p:sp>
        <p:sp>
          <p:nvSpPr>
            <p:cNvPr id="110" name="Rectangle 109">
              <a:extLst>
                <a:ext uri="{FF2B5EF4-FFF2-40B4-BE49-F238E27FC236}">
                  <a16:creationId xmlns:a16="http://schemas.microsoft.com/office/drawing/2014/main" id="{FD59142F-9B01-4D4D-8B9D-8F88842EFBE6}"/>
                </a:ext>
              </a:extLst>
            </p:cNvPr>
            <p:cNvSpPr/>
            <p:nvPr/>
          </p:nvSpPr>
          <p:spPr>
            <a:xfrm>
              <a:off x="7124687" y="2862264"/>
              <a:ext cx="1536945" cy="78369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F48"/>
                  </a:solidFill>
                  <a:effectLst/>
                  <a:uLnTx/>
                  <a:uFillTx/>
                  <a:latin typeface="Open Sans (Body)"/>
                </a:rPr>
                <a:t>8. Creating internal commitment through the introduction of reliable, innovative services</a:t>
              </a:r>
            </a:p>
          </p:txBody>
        </p:sp>
        <p:sp>
          <p:nvSpPr>
            <p:cNvPr id="111" name="Rectangle 110">
              <a:extLst>
                <a:ext uri="{FF2B5EF4-FFF2-40B4-BE49-F238E27FC236}">
                  <a16:creationId xmlns:a16="http://schemas.microsoft.com/office/drawing/2014/main" id="{5B5CD942-6B5B-422D-BBC0-2DA6F4DD1132}"/>
                </a:ext>
              </a:extLst>
            </p:cNvPr>
            <p:cNvSpPr/>
            <p:nvPr/>
          </p:nvSpPr>
          <p:spPr>
            <a:xfrm>
              <a:off x="1007513" y="2862264"/>
              <a:ext cx="1147652" cy="78369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F48"/>
                  </a:solidFill>
                  <a:effectLst/>
                  <a:uLnTx/>
                  <a:uFillTx/>
                  <a:latin typeface="Open Sans (Body)"/>
                </a:rPr>
                <a:t>4. Customer-focused value proposition design</a:t>
              </a:r>
            </a:p>
          </p:txBody>
        </p:sp>
      </p:grpSp>
    </p:spTree>
    <p:extLst>
      <p:ext uri="{BB962C8B-B14F-4D97-AF65-F5344CB8AC3E}">
        <p14:creationId xmlns:p14="http://schemas.microsoft.com/office/powerpoint/2010/main" val="1893769620"/>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28144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21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Rectangle 1"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21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8" name="Rectangle 7"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21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6" name="Text Placeholder 4"/>
          <p:cNvSpPr>
            <a:spLocks noGrp="1"/>
          </p:cNvSpPr>
          <p:nvPr>
            <p:ph type="body" sz="quarter" idx="22"/>
          </p:nvPr>
        </p:nvSpPr>
        <p:spPr/>
        <p:txBody>
          <a:bodyPr/>
          <a:lstStyle/>
          <a:p>
            <a:r>
              <a:rPr lang="en-US" dirty="0"/>
              <a:t>In order to stimulate innovation within the GBS, there is a need for an innovation expectation formulated at the management level, which can be defined on a cost or project basis</a:t>
            </a:r>
          </a:p>
        </p:txBody>
      </p:sp>
      <p:sp>
        <p:nvSpPr>
          <p:cNvPr id="7" name="Title 3"/>
          <p:cNvSpPr>
            <a:spLocks noGrp="1"/>
          </p:cNvSpPr>
          <p:nvPr>
            <p:ph type="title"/>
          </p:nvPr>
        </p:nvSpPr>
        <p:spPr/>
        <p:txBody>
          <a:bodyPr vert="horz"/>
          <a:lstStyle/>
          <a:p>
            <a:r>
              <a:rPr lang="en-US" dirty="0"/>
              <a:t>Innovation pressure</a:t>
            </a:r>
          </a:p>
        </p:txBody>
      </p:sp>
      <p:sp>
        <p:nvSpPr>
          <p:cNvPr id="68" name="Rectangle 67">
            <a:extLst>
              <a:ext uri="{FF2B5EF4-FFF2-40B4-BE49-F238E27FC236}">
                <a16:creationId xmlns:a16="http://schemas.microsoft.com/office/drawing/2014/main" id="{B0A83C51-BB6B-478D-BB9C-D678B02769BA}"/>
              </a:ext>
            </a:extLst>
          </p:cNvPr>
          <p:cNvSpPr/>
          <p:nvPr/>
        </p:nvSpPr>
        <p:spPr>
          <a:xfrm>
            <a:off x="469900" y="1517911"/>
            <a:ext cx="11252200" cy="833386"/>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300"/>
              </a:spcAft>
            </a:pPr>
            <a:r>
              <a:rPr lang="en-US" sz="1200" b="1" dirty="0">
                <a:solidFill>
                  <a:sysClr val="windowText" lastClr="000000"/>
                </a:solidFill>
                <a:latin typeface="Open Sans (Body)"/>
              </a:rPr>
              <a:t>Definition of innovation pressure</a:t>
            </a:r>
          </a:p>
          <a:p>
            <a:pPr>
              <a:spcAft>
                <a:spcPts val="300"/>
              </a:spcAft>
            </a:pPr>
            <a:r>
              <a:rPr lang="en-US" sz="1100" dirty="0">
                <a:solidFill>
                  <a:sysClr val="windowText" lastClr="000000"/>
                </a:solidFill>
                <a:latin typeface="Open Sans (Body)"/>
              </a:rPr>
              <a:t>Effective innovation activity can only take place in a company where </a:t>
            </a:r>
            <a:r>
              <a:rPr lang="en-US" sz="1100" b="1" dirty="0">
                <a:solidFill>
                  <a:sysClr val="windowText" lastClr="000000"/>
                </a:solidFill>
                <a:latin typeface="Open Sans (Body)"/>
              </a:rPr>
              <a:t>leadership formulate tangible innovation expectations </a:t>
            </a:r>
            <a:r>
              <a:rPr lang="en-US" sz="1100" dirty="0">
                <a:solidFill>
                  <a:sysClr val="windowText" lastClr="000000"/>
                </a:solidFill>
                <a:latin typeface="Open Sans (Body)"/>
              </a:rPr>
              <a:t>(innovation pressure) for each actors. The precise definition of innovation pressure is critical for the operation of innovation: it must be formulated in such a way that GBS-s actually meet the relevant definition of innovation within a given GBS-s, within the appropriate framework (e.g.: not just spending on acquisitions).</a:t>
            </a:r>
          </a:p>
        </p:txBody>
      </p:sp>
      <p:grpSp>
        <p:nvGrpSpPr>
          <p:cNvPr id="69" name="Group 68">
            <a:extLst>
              <a:ext uri="{FF2B5EF4-FFF2-40B4-BE49-F238E27FC236}">
                <a16:creationId xmlns:a16="http://schemas.microsoft.com/office/drawing/2014/main" id="{53C5FAF8-8808-4EED-8C72-B78976CB70C5}"/>
              </a:ext>
            </a:extLst>
          </p:cNvPr>
          <p:cNvGrpSpPr/>
          <p:nvPr/>
        </p:nvGrpSpPr>
        <p:grpSpPr>
          <a:xfrm>
            <a:off x="469900" y="2462523"/>
            <a:ext cx="2592550" cy="3919228"/>
            <a:chOff x="336000" y="2563348"/>
            <a:chExt cx="2844000" cy="2952878"/>
          </a:xfrm>
        </p:grpSpPr>
        <p:sp>
          <p:nvSpPr>
            <p:cNvPr id="70" name="Rectangle 69">
              <a:extLst>
                <a:ext uri="{FF2B5EF4-FFF2-40B4-BE49-F238E27FC236}">
                  <a16:creationId xmlns:a16="http://schemas.microsoft.com/office/drawing/2014/main" id="{A92882EB-1203-445C-855C-4DDB8D4CF71D}"/>
                </a:ext>
              </a:extLst>
            </p:cNvPr>
            <p:cNvSpPr/>
            <p:nvPr/>
          </p:nvSpPr>
          <p:spPr>
            <a:xfrm>
              <a:off x="336000" y="2563348"/>
              <a:ext cx="2844000" cy="2952878"/>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ysClr val="windowText" lastClr="000000"/>
                  </a:solidFill>
                  <a:latin typeface="Open Sans (Body)"/>
                </a:rPr>
                <a:t>Key related principles</a:t>
              </a:r>
            </a:p>
          </p:txBody>
        </p:sp>
        <p:sp>
          <p:nvSpPr>
            <p:cNvPr id="71" name="Rectangle 70">
              <a:extLst>
                <a:ext uri="{FF2B5EF4-FFF2-40B4-BE49-F238E27FC236}">
                  <a16:creationId xmlns:a16="http://schemas.microsoft.com/office/drawing/2014/main" id="{1994AABB-3C50-42DF-BAF5-73B37BF28D21}"/>
                </a:ext>
              </a:extLst>
            </p:cNvPr>
            <p:cNvSpPr/>
            <p:nvPr/>
          </p:nvSpPr>
          <p:spPr>
            <a:xfrm>
              <a:off x="408000" y="4837836"/>
              <a:ext cx="2700000" cy="540000"/>
            </a:xfrm>
            <a:prstGeom prst="rect">
              <a:avLst/>
            </a:prstGeom>
            <a:solidFill>
              <a:schemeClr val="bg1">
                <a:lumMod val="95000"/>
              </a:schemeClr>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ysClr val="windowText" lastClr="000000"/>
                  </a:solidFill>
                  <a:latin typeface="Open Sans (Body)"/>
                </a:rPr>
                <a:t>The goals set should be broken down and delegated to lower hierarchical levels in the organization.</a:t>
              </a:r>
            </a:p>
          </p:txBody>
        </p:sp>
        <p:sp>
          <p:nvSpPr>
            <p:cNvPr id="72" name="Rectangle 71">
              <a:extLst>
                <a:ext uri="{FF2B5EF4-FFF2-40B4-BE49-F238E27FC236}">
                  <a16:creationId xmlns:a16="http://schemas.microsoft.com/office/drawing/2014/main" id="{BA51ED83-9493-4669-BE09-E8909E9A9B62}"/>
                </a:ext>
              </a:extLst>
            </p:cNvPr>
            <p:cNvSpPr/>
            <p:nvPr/>
          </p:nvSpPr>
          <p:spPr>
            <a:xfrm>
              <a:off x="408000" y="2925552"/>
              <a:ext cx="2700000" cy="540000"/>
            </a:xfrm>
            <a:prstGeom prst="rect">
              <a:avLst/>
            </a:prstGeom>
            <a:solidFill>
              <a:schemeClr val="bg1">
                <a:lumMod val="95000"/>
              </a:schemeClr>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0000"/>
                  </a:solidFill>
                  <a:latin typeface="Open Sans (Body)"/>
                </a:rPr>
                <a:t>It is necessary to formulate innovation expectations for each value stream.</a:t>
              </a:r>
              <a:endParaRPr lang="en-US" sz="1100" i="1" dirty="0">
                <a:solidFill>
                  <a:srgbClr val="000000"/>
                </a:solidFill>
                <a:latin typeface="Open Sans (Body)"/>
              </a:endParaRPr>
            </a:p>
          </p:txBody>
        </p:sp>
        <p:sp>
          <p:nvSpPr>
            <p:cNvPr id="73" name="Rectangle 72">
              <a:extLst>
                <a:ext uri="{FF2B5EF4-FFF2-40B4-BE49-F238E27FC236}">
                  <a16:creationId xmlns:a16="http://schemas.microsoft.com/office/drawing/2014/main" id="{3B5BCD67-E981-40B3-8370-3129D65A921B}"/>
                </a:ext>
              </a:extLst>
            </p:cNvPr>
            <p:cNvSpPr/>
            <p:nvPr/>
          </p:nvSpPr>
          <p:spPr>
            <a:xfrm>
              <a:off x="408000" y="4044408"/>
              <a:ext cx="2700000" cy="720000"/>
            </a:xfrm>
            <a:prstGeom prst="rect">
              <a:avLst/>
            </a:prstGeom>
            <a:solidFill>
              <a:schemeClr val="bg1">
                <a:lumMod val="95000"/>
              </a:schemeClr>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ysClr val="windowText" lastClr="000000"/>
                  </a:solidFill>
                  <a:latin typeface="Open Sans (Body)"/>
                </a:rPr>
                <a:t>Along with the governance model, it is necessary to develop "decentralized" responsibilities in the value streams (e.g.: A2R innovation officer).</a:t>
              </a:r>
            </a:p>
          </p:txBody>
        </p:sp>
        <p:sp>
          <p:nvSpPr>
            <p:cNvPr id="74" name="Rectangle 73">
              <a:extLst>
                <a:ext uri="{FF2B5EF4-FFF2-40B4-BE49-F238E27FC236}">
                  <a16:creationId xmlns:a16="http://schemas.microsoft.com/office/drawing/2014/main" id="{58834D68-013B-4AB2-9148-3C3328119160}"/>
                </a:ext>
              </a:extLst>
            </p:cNvPr>
            <p:cNvSpPr/>
            <p:nvPr/>
          </p:nvSpPr>
          <p:spPr>
            <a:xfrm>
              <a:off x="408000" y="3538980"/>
              <a:ext cx="2700000" cy="432000"/>
            </a:xfrm>
            <a:prstGeom prst="rect">
              <a:avLst/>
            </a:prstGeom>
            <a:solidFill>
              <a:schemeClr val="bg1">
                <a:lumMod val="95000"/>
              </a:schemeClr>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ysClr val="windowText" lastClr="000000"/>
                  </a:solidFill>
                  <a:latin typeface="Open Sans (Body)"/>
                </a:rPr>
                <a:t>The expectation is determined on a quantifiable, objective and consensual basis.</a:t>
              </a:r>
            </a:p>
          </p:txBody>
        </p:sp>
      </p:grpSp>
      <p:sp>
        <p:nvSpPr>
          <p:cNvPr id="75" name="Rectangle 74">
            <a:extLst>
              <a:ext uri="{FF2B5EF4-FFF2-40B4-BE49-F238E27FC236}">
                <a16:creationId xmlns:a16="http://schemas.microsoft.com/office/drawing/2014/main" id="{CA157F99-BBB0-430A-B718-D848C7666DCB}"/>
              </a:ext>
            </a:extLst>
          </p:cNvPr>
          <p:cNvSpPr/>
          <p:nvPr/>
        </p:nvSpPr>
        <p:spPr>
          <a:xfrm>
            <a:off x="8885150" y="2462057"/>
            <a:ext cx="2119898" cy="232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ysClr val="windowText" lastClr="000000"/>
                </a:solidFill>
                <a:latin typeface="Open Sans (Body)"/>
              </a:rPr>
              <a:t>Innovation project based</a:t>
            </a:r>
          </a:p>
        </p:txBody>
      </p:sp>
      <p:sp>
        <p:nvSpPr>
          <p:cNvPr id="76" name="Rectangle 75">
            <a:extLst>
              <a:ext uri="{FF2B5EF4-FFF2-40B4-BE49-F238E27FC236}">
                <a16:creationId xmlns:a16="http://schemas.microsoft.com/office/drawing/2014/main" id="{4B54C29E-C5D7-4CF3-931B-34EF4942FF77}"/>
              </a:ext>
            </a:extLst>
          </p:cNvPr>
          <p:cNvSpPr/>
          <p:nvPr/>
        </p:nvSpPr>
        <p:spPr>
          <a:xfrm>
            <a:off x="8885150" y="5080000"/>
            <a:ext cx="2237854" cy="1283788"/>
          </a:xfrm>
          <a:prstGeom prst="rect">
            <a:avLst/>
          </a:prstGeom>
          <a:noFill/>
          <a:ln w="190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SzPct val="85000"/>
            </a:pPr>
            <a:r>
              <a:rPr lang="en-US" sz="1100" dirty="0">
                <a:solidFill>
                  <a:sysClr val="windowText" lastClr="000000"/>
                </a:solidFill>
                <a:latin typeface="Open Sans (Body)"/>
              </a:rPr>
              <a:t>The innovation leader defines innovation projects or thematic areas for the value streams, in connection with which the value streams carry out activities, which are also recorded in the business plan.</a:t>
            </a:r>
          </a:p>
        </p:txBody>
      </p:sp>
      <p:sp>
        <p:nvSpPr>
          <p:cNvPr id="77" name="Rectangle 76">
            <a:extLst>
              <a:ext uri="{FF2B5EF4-FFF2-40B4-BE49-F238E27FC236}">
                <a16:creationId xmlns:a16="http://schemas.microsoft.com/office/drawing/2014/main" id="{45FC9008-4F05-47B0-986A-11850F77C3F5}"/>
              </a:ext>
            </a:extLst>
          </p:cNvPr>
          <p:cNvSpPr/>
          <p:nvPr/>
        </p:nvSpPr>
        <p:spPr>
          <a:xfrm>
            <a:off x="8885150" y="3522070"/>
            <a:ext cx="2237854" cy="1476000"/>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rgbClr val="000000"/>
                </a:solidFill>
                <a:latin typeface="Open Sans (Body)"/>
              </a:rPr>
              <a:t>Centrally named programs or projects related to a specific topic must be implemented by the value streams (KPI number, size or impact of the implemented projects).</a:t>
            </a:r>
          </a:p>
        </p:txBody>
      </p:sp>
      <p:sp>
        <p:nvSpPr>
          <p:cNvPr id="79" name="Rectangle 78">
            <a:extLst>
              <a:ext uri="{FF2B5EF4-FFF2-40B4-BE49-F238E27FC236}">
                <a16:creationId xmlns:a16="http://schemas.microsoft.com/office/drawing/2014/main" id="{F99901CC-4535-49C9-8878-61AEA25D5BC7}"/>
              </a:ext>
            </a:extLst>
          </p:cNvPr>
          <p:cNvSpPr/>
          <p:nvPr/>
        </p:nvSpPr>
        <p:spPr>
          <a:xfrm>
            <a:off x="5276850" y="3522070"/>
            <a:ext cx="2238375" cy="1476000"/>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rgbClr val="000000"/>
                </a:solidFill>
                <a:latin typeface="Open Sans (Body)"/>
              </a:rPr>
              <a:t>Value streams must spend a nominal amount or a certain proportion of their own operating costs on innovation initiatives / projects.</a:t>
            </a:r>
          </a:p>
        </p:txBody>
      </p:sp>
      <p:sp>
        <p:nvSpPr>
          <p:cNvPr id="80" name="Rectangle 79">
            <a:extLst>
              <a:ext uri="{FF2B5EF4-FFF2-40B4-BE49-F238E27FC236}">
                <a16:creationId xmlns:a16="http://schemas.microsoft.com/office/drawing/2014/main" id="{0B587F33-33AA-42A1-B400-2F24413ABDD5}"/>
              </a:ext>
            </a:extLst>
          </p:cNvPr>
          <p:cNvSpPr/>
          <p:nvPr/>
        </p:nvSpPr>
        <p:spPr>
          <a:xfrm>
            <a:off x="5371306" y="2450110"/>
            <a:ext cx="1874838" cy="173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ysClr val="windowText" lastClr="000000"/>
                </a:solidFill>
                <a:latin typeface="Open Sans (Body)"/>
              </a:rPr>
              <a:t>Operating cost based </a:t>
            </a:r>
          </a:p>
        </p:txBody>
      </p:sp>
      <p:sp>
        <p:nvSpPr>
          <p:cNvPr id="82" name="Rectangle 81">
            <a:extLst>
              <a:ext uri="{FF2B5EF4-FFF2-40B4-BE49-F238E27FC236}">
                <a16:creationId xmlns:a16="http://schemas.microsoft.com/office/drawing/2014/main" id="{C51C8AE2-E624-4917-BEE0-03B1D6E8C218}"/>
              </a:ext>
            </a:extLst>
          </p:cNvPr>
          <p:cNvSpPr/>
          <p:nvPr/>
        </p:nvSpPr>
        <p:spPr>
          <a:xfrm>
            <a:off x="3921987" y="4125597"/>
            <a:ext cx="1118643" cy="302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ysClr val="windowText" lastClr="000000"/>
                </a:solidFill>
                <a:latin typeface="Open Sans (Body)"/>
              </a:rPr>
              <a:t>Description</a:t>
            </a:r>
          </a:p>
        </p:txBody>
      </p:sp>
      <p:sp>
        <p:nvSpPr>
          <p:cNvPr id="83" name="Rectangle 82">
            <a:extLst>
              <a:ext uri="{FF2B5EF4-FFF2-40B4-BE49-F238E27FC236}">
                <a16:creationId xmlns:a16="http://schemas.microsoft.com/office/drawing/2014/main" id="{C631F7D9-4616-4F8D-9F5B-2D9953089BA1}"/>
              </a:ext>
            </a:extLst>
          </p:cNvPr>
          <p:cNvSpPr/>
          <p:nvPr/>
        </p:nvSpPr>
        <p:spPr>
          <a:xfrm>
            <a:off x="3704734" y="5409473"/>
            <a:ext cx="1514420" cy="302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ysClr val="windowText" lastClr="000000"/>
                </a:solidFill>
                <a:latin typeface="Open Sans (Body)"/>
              </a:rPr>
              <a:t>Implementation</a:t>
            </a:r>
          </a:p>
        </p:txBody>
      </p:sp>
      <p:sp>
        <p:nvSpPr>
          <p:cNvPr id="85" name="Rectangle 84">
            <a:extLst>
              <a:ext uri="{FF2B5EF4-FFF2-40B4-BE49-F238E27FC236}">
                <a16:creationId xmlns:a16="http://schemas.microsoft.com/office/drawing/2014/main" id="{E2560B1F-6330-4F9E-BC53-DA57137E30F1}"/>
              </a:ext>
            </a:extLst>
          </p:cNvPr>
          <p:cNvSpPr/>
          <p:nvPr/>
        </p:nvSpPr>
        <p:spPr>
          <a:xfrm>
            <a:off x="5284788" y="5080000"/>
            <a:ext cx="2238375" cy="1301751"/>
          </a:xfrm>
          <a:prstGeom prst="rect">
            <a:avLst/>
          </a:prstGeom>
          <a:noFill/>
          <a:ln w="190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SzPct val="85000"/>
            </a:pPr>
            <a:r>
              <a:rPr lang="en-US" sz="1100" dirty="0">
                <a:solidFill>
                  <a:sysClr val="windowText" lastClr="000000"/>
                </a:solidFill>
                <a:latin typeface="Open Sans (Body)"/>
              </a:rPr>
              <a:t>During business planning, it is necessary to determine how much of the operating costs of each GBS should be spent on innovation: nominally </a:t>
            </a:r>
            <a:r>
              <a:rPr lang="en-US" sz="1100" dirty="0">
                <a:solidFill>
                  <a:schemeClr val="tx1"/>
                </a:solidFill>
                <a:latin typeface="Open Sans (Body)"/>
              </a:rPr>
              <a:t>(e.g.: 150.000 €</a:t>
            </a:r>
            <a:r>
              <a:rPr lang="en-US" sz="1100" dirty="0">
                <a:solidFill>
                  <a:sysClr val="windowText" lastClr="000000"/>
                </a:solidFill>
                <a:latin typeface="Open Sans (Body)"/>
              </a:rPr>
              <a:t>) or on a share basis (e.g.: 2.5% of TOTEX)</a:t>
            </a:r>
          </a:p>
        </p:txBody>
      </p:sp>
      <p:graphicFrame>
        <p:nvGraphicFramePr>
          <p:cNvPr id="10" name="Chart 9">
            <a:extLst>
              <a:ext uri="{FF2B5EF4-FFF2-40B4-BE49-F238E27FC236}">
                <a16:creationId xmlns:a16="http://schemas.microsoft.com/office/drawing/2014/main" id="{8F24DE62-669D-27AD-51C2-892B8A3B6C3A}"/>
              </a:ext>
            </a:extLst>
          </p:cNvPr>
          <p:cNvGraphicFramePr/>
          <p:nvPr>
            <p:custDataLst>
              <p:tags r:id="rId5"/>
            </p:custDataLst>
            <p:extLst>
              <p:ext uri="{D42A27DB-BD31-4B8C-83A1-F6EECF244321}">
                <p14:modId xmlns:p14="http://schemas.microsoft.com/office/powerpoint/2010/main" val="2913216946"/>
              </p:ext>
            </p:extLst>
          </p:nvPr>
        </p:nvGraphicFramePr>
        <p:xfrm>
          <a:off x="5200650" y="2714625"/>
          <a:ext cx="2374900" cy="730250"/>
        </p:xfrm>
        <a:graphic>
          <a:graphicData uri="http://schemas.openxmlformats.org/drawingml/2006/chart">
            <c:chart xmlns:c="http://schemas.openxmlformats.org/drawingml/2006/chart" xmlns:r="http://schemas.openxmlformats.org/officeDocument/2006/relationships" r:id="rId15"/>
          </a:graphicData>
        </a:graphic>
      </p:graphicFrame>
      <p:cxnSp>
        <p:nvCxnSpPr>
          <p:cNvPr id="89" name="Straight Connector 88">
            <a:extLst>
              <a:ext uri="{FF2B5EF4-FFF2-40B4-BE49-F238E27FC236}">
                <a16:creationId xmlns:a16="http://schemas.microsoft.com/office/drawing/2014/main" id="{5AA1FF11-3B5F-4934-83BE-EE2E02CD176B}"/>
              </a:ext>
            </a:extLst>
          </p:cNvPr>
          <p:cNvCxnSpPr>
            <a:cxnSpLocks/>
          </p:cNvCxnSpPr>
          <p:nvPr>
            <p:custDataLst>
              <p:tags r:id="rId6"/>
            </p:custDataLst>
          </p:nvPr>
        </p:nvCxnSpPr>
        <p:spPr bwMode="auto">
          <a:xfrm>
            <a:off x="5519738" y="3362325"/>
            <a:ext cx="0" cy="508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95EB8C2-C92F-481D-B1A8-17CD8CC18EBD}"/>
              </a:ext>
            </a:extLst>
          </p:cNvPr>
          <p:cNvCxnSpPr>
            <a:cxnSpLocks/>
          </p:cNvCxnSpPr>
          <p:nvPr>
            <p:custDataLst>
              <p:tags r:id="rId7"/>
            </p:custDataLst>
          </p:nvPr>
        </p:nvCxnSpPr>
        <p:spPr bwMode="auto">
          <a:xfrm>
            <a:off x="5915025" y="3362325"/>
            <a:ext cx="0" cy="508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091A4D6-FCBB-44AA-9CEF-C4AEF705B22E}"/>
              </a:ext>
            </a:extLst>
          </p:cNvPr>
          <p:cNvCxnSpPr>
            <a:cxnSpLocks/>
          </p:cNvCxnSpPr>
          <p:nvPr>
            <p:custDataLst>
              <p:tags r:id="rId8"/>
            </p:custDataLst>
          </p:nvPr>
        </p:nvCxnSpPr>
        <p:spPr bwMode="auto">
          <a:xfrm>
            <a:off x="6308725" y="3362325"/>
            <a:ext cx="0" cy="508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1F5D7201-15DC-4E8B-9833-2541550C4D47}"/>
              </a:ext>
            </a:extLst>
          </p:cNvPr>
          <p:cNvCxnSpPr>
            <a:cxnSpLocks/>
          </p:cNvCxnSpPr>
          <p:nvPr>
            <p:custDataLst>
              <p:tags r:id="rId9"/>
            </p:custDataLst>
          </p:nvPr>
        </p:nvCxnSpPr>
        <p:spPr bwMode="auto">
          <a:xfrm>
            <a:off x="6704013" y="3362325"/>
            <a:ext cx="0" cy="508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F3A442D-1125-4EE1-A399-CD90472F0BBA}"/>
              </a:ext>
            </a:extLst>
          </p:cNvPr>
          <p:cNvCxnSpPr>
            <a:cxnSpLocks/>
          </p:cNvCxnSpPr>
          <p:nvPr>
            <p:custDataLst>
              <p:tags r:id="rId10"/>
            </p:custDataLst>
          </p:nvPr>
        </p:nvCxnSpPr>
        <p:spPr bwMode="auto">
          <a:xfrm>
            <a:off x="7097713" y="3362325"/>
            <a:ext cx="0" cy="508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554D74F0-709D-4512-B59E-EF1C490C9EA4}"/>
              </a:ext>
            </a:extLst>
          </p:cNvPr>
          <p:cNvCxnSpPr>
            <a:cxnSpLocks/>
          </p:cNvCxnSpPr>
          <p:nvPr>
            <p:custDataLst>
              <p:tags r:id="rId11"/>
            </p:custDataLst>
          </p:nvPr>
        </p:nvCxnSpPr>
        <p:spPr bwMode="auto">
          <a:xfrm>
            <a:off x="7493000" y="3362325"/>
            <a:ext cx="0" cy="508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Rectangular Callout 236">
            <a:extLst>
              <a:ext uri="{FF2B5EF4-FFF2-40B4-BE49-F238E27FC236}">
                <a16:creationId xmlns:a16="http://schemas.microsoft.com/office/drawing/2014/main" id="{BEDBDCED-8CD1-45F5-8AA7-8C0585FCA8CF}"/>
              </a:ext>
            </a:extLst>
          </p:cNvPr>
          <p:cNvSpPr/>
          <p:nvPr/>
        </p:nvSpPr>
        <p:spPr>
          <a:xfrm>
            <a:off x="3807757" y="2665935"/>
            <a:ext cx="1618294" cy="304116"/>
          </a:xfrm>
          <a:prstGeom prst="wedgeRectCallout">
            <a:avLst>
              <a:gd name="adj1" fmla="val 55192"/>
              <a:gd name="adj2" fmla="val 96278"/>
            </a:avLst>
          </a:prstGeom>
          <a:solidFill>
            <a:srgbClr val="FFC5C5"/>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latin typeface="Open Sans (Body)"/>
              </a:rPr>
              <a:t>E.g.: 2,5% or 150.000 €</a:t>
            </a:r>
          </a:p>
        </p:txBody>
      </p:sp>
      <p:grpSp>
        <p:nvGrpSpPr>
          <p:cNvPr id="102" name="Group 101">
            <a:extLst>
              <a:ext uri="{FF2B5EF4-FFF2-40B4-BE49-F238E27FC236}">
                <a16:creationId xmlns:a16="http://schemas.microsoft.com/office/drawing/2014/main" id="{74FF5952-C411-46A7-8978-679594DF0BBB}"/>
              </a:ext>
            </a:extLst>
          </p:cNvPr>
          <p:cNvGrpSpPr/>
          <p:nvPr/>
        </p:nvGrpSpPr>
        <p:grpSpPr>
          <a:xfrm>
            <a:off x="9538400" y="2766060"/>
            <a:ext cx="923061" cy="625764"/>
            <a:chOff x="10085387" y="2801938"/>
            <a:chExt cx="1012588" cy="625764"/>
          </a:xfrm>
          <a:solidFill>
            <a:schemeClr val="accent3">
              <a:lumMod val="20000"/>
              <a:lumOff val="80000"/>
            </a:schemeClr>
          </a:solidFill>
        </p:grpSpPr>
        <p:sp>
          <p:nvSpPr>
            <p:cNvPr id="103" name="Snip Single Corner Rectangle 296">
              <a:extLst>
                <a:ext uri="{FF2B5EF4-FFF2-40B4-BE49-F238E27FC236}">
                  <a16:creationId xmlns:a16="http://schemas.microsoft.com/office/drawing/2014/main" id="{01E75F66-DA16-4BEC-80B6-99D6098EBB2D}"/>
                </a:ext>
              </a:extLst>
            </p:cNvPr>
            <p:cNvSpPr/>
            <p:nvPr/>
          </p:nvSpPr>
          <p:spPr>
            <a:xfrm>
              <a:off x="10085387" y="2801938"/>
              <a:ext cx="1012588" cy="625764"/>
            </a:xfrm>
            <a:prstGeom prst="snip1Rect">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dy)"/>
              </a:endParaRPr>
            </a:p>
          </p:txBody>
        </p:sp>
        <p:grpSp>
          <p:nvGrpSpPr>
            <p:cNvPr id="104" name="Group 103">
              <a:extLst>
                <a:ext uri="{FF2B5EF4-FFF2-40B4-BE49-F238E27FC236}">
                  <a16:creationId xmlns:a16="http://schemas.microsoft.com/office/drawing/2014/main" id="{78BEF92E-2E82-4FD8-8155-ED79346F05B0}"/>
                </a:ext>
              </a:extLst>
            </p:cNvPr>
            <p:cNvGrpSpPr/>
            <p:nvPr/>
          </p:nvGrpSpPr>
          <p:grpSpPr>
            <a:xfrm>
              <a:off x="10199251" y="2883009"/>
              <a:ext cx="784860" cy="384245"/>
              <a:chOff x="10201275" y="2883009"/>
              <a:chExt cx="784860" cy="384245"/>
            </a:xfrm>
            <a:grpFill/>
          </p:grpSpPr>
          <p:sp>
            <p:nvSpPr>
              <p:cNvPr id="105" name="Rectangle 104">
                <a:extLst>
                  <a:ext uri="{FF2B5EF4-FFF2-40B4-BE49-F238E27FC236}">
                    <a16:creationId xmlns:a16="http://schemas.microsoft.com/office/drawing/2014/main" id="{2864E608-2423-45B8-8AF9-5F3DCA293ECB}"/>
                  </a:ext>
                </a:extLst>
              </p:cNvPr>
              <p:cNvSpPr/>
              <p:nvPr/>
            </p:nvSpPr>
            <p:spPr>
              <a:xfrm>
                <a:off x="10201275" y="2883009"/>
                <a:ext cx="45719" cy="45719"/>
              </a:xfrm>
              <a:prstGeom prst="rect">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dy)"/>
                </a:endParaRPr>
              </a:p>
            </p:txBody>
          </p:sp>
          <p:sp>
            <p:nvSpPr>
              <p:cNvPr id="106" name="Rectangle 105">
                <a:extLst>
                  <a:ext uri="{FF2B5EF4-FFF2-40B4-BE49-F238E27FC236}">
                    <a16:creationId xmlns:a16="http://schemas.microsoft.com/office/drawing/2014/main" id="{3E6668BB-4AE4-4249-8EA6-7A60E2EC5A3B}"/>
                  </a:ext>
                </a:extLst>
              </p:cNvPr>
              <p:cNvSpPr/>
              <p:nvPr/>
            </p:nvSpPr>
            <p:spPr>
              <a:xfrm>
                <a:off x="10201275" y="2967640"/>
                <a:ext cx="45719" cy="45719"/>
              </a:xfrm>
              <a:prstGeom prst="rect">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dy)"/>
                </a:endParaRPr>
              </a:p>
            </p:txBody>
          </p:sp>
          <p:sp>
            <p:nvSpPr>
              <p:cNvPr id="107" name="Rectangle 106">
                <a:extLst>
                  <a:ext uri="{FF2B5EF4-FFF2-40B4-BE49-F238E27FC236}">
                    <a16:creationId xmlns:a16="http://schemas.microsoft.com/office/drawing/2014/main" id="{2C0EBD03-F112-4496-948D-B38B4CB88023}"/>
                  </a:ext>
                </a:extLst>
              </p:cNvPr>
              <p:cNvSpPr/>
              <p:nvPr/>
            </p:nvSpPr>
            <p:spPr>
              <a:xfrm>
                <a:off x="10201275" y="3052271"/>
                <a:ext cx="45719" cy="45719"/>
              </a:xfrm>
              <a:prstGeom prst="rect">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dy)"/>
                </a:endParaRPr>
              </a:p>
            </p:txBody>
          </p:sp>
          <p:sp>
            <p:nvSpPr>
              <p:cNvPr id="108" name="Rectangle 107">
                <a:extLst>
                  <a:ext uri="{FF2B5EF4-FFF2-40B4-BE49-F238E27FC236}">
                    <a16:creationId xmlns:a16="http://schemas.microsoft.com/office/drawing/2014/main" id="{B89776A7-B150-4DB3-8C7A-1635279F638D}"/>
                  </a:ext>
                </a:extLst>
              </p:cNvPr>
              <p:cNvSpPr/>
              <p:nvPr/>
            </p:nvSpPr>
            <p:spPr>
              <a:xfrm>
                <a:off x="10201275" y="3136902"/>
                <a:ext cx="45719" cy="45719"/>
              </a:xfrm>
              <a:prstGeom prst="rect">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dy)"/>
                </a:endParaRPr>
              </a:p>
            </p:txBody>
          </p:sp>
          <p:sp>
            <p:nvSpPr>
              <p:cNvPr id="109" name="Rectangle 108">
                <a:extLst>
                  <a:ext uri="{FF2B5EF4-FFF2-40B4-BE49-F238E27FC236}">
                    <a16:creationId xmlns:a16="http://schemas.microsoft.com/office/drawing/2014/main" id="{854B06DA-4A8A-458E-9D8F-5293EB04762D}"/>
                  </a:ext>
                </a:extLst>
              </p:cNvPr>
              <p:cNvSpPr/>
              <p:nvPr/>
            </p:nvSpPr>
            <p:spPr>
              <a:xfrm>
                <a:off x="10201275" y="3221535"/>
                <a:ext cx="45719" cy="45719"/>
              </a:xfrm>
              <a:prstGeom prst="rect">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dy)"/>
                </a:endParaRPr>
              </a:p>
            </p:txBody>
          </p:sp>
          <p:grpSp>
            <p:nvGrpSpPr>
              <p:cNvPr id="110" name="Group 109">
                <a:extLst>
                  <a:ext uri="{FF2B5EF4-FFF2-40B4-BE49-F238E27FC236}">
                    <a16:creationId xmlns:a16="http://schemas.microsoft.com/office/drawing/2014/main" id="{D5A65D9C-39B2-42EF-AF2F-70AB3ABD7154}"/>
                  </a:ext>
                </a:extLst>
              </p:cNvPr>
              <p:cNvGrpSpPr/>
              <p:nvPr/>
            </p:nvGrpSpPr>
            <p:grpSpPr>
              <a:xfrm>
                <a:off x="10281554" y="2891167"/>
                <a:ext cx="704581" cy="29403"/>
                <a:chOff x="9748154" y="2952186"/>
                <a:chExt cx="704581" cy="29403"/>
              </a:xfrm>
              <a:grpFill/>
            </p:grpSpPr>
            <p:cxnSp>
              <p:nvCxnSpPr>
                <p:cNvPr id="123" name="Straight Connector 122">
                  <a:extLst>
                    <a:ext uri="{FF2B5EF4-FFF2-40B4-BE49-F238E27FC236}">
                      <a16:creationId xmlns:a16="http://schemas.microsoft.com/office/drawing/2014/main" id="{1FE19E50-E567-47D4-BD63-850CD44BA049}"/>
                    </a:ext>
                  </a:extLst>
                </p:cNvPr>
                <p:cNvCxnSpPr/>
                <p:nvPr/>
              </p:nvCxnSpPr>
              <p:spPr>
                <a:xfrm>
                  <a:off x="9748154" y="2952186"/>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88D29DF8-791A-41F9-BCCB-AB0EAF9D7C75}"/>
                    </a:ext>
                  </a:extLst>
                </p:cNvPr>
                <p:cNvCxnSpPr/>
                <p:nvPr/>
              </p:nvCxnSpPr>
              <p:spPr>
                <a:xfrm>
                  <a:off x="9748154" y="2981589"/>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CFC6C2C0-D798-45FE-8EDA-AA860E21E2EB}"/>
                  </a:ext>
                </a:extLst>
              </p:cNvPr>
              <p:cNvGrpSpPr/>
              <p:nvPr/>
            </p:nvGrpSpPr>
            <p:grpSpPr>
              <a:xfrm>
                <a:off x="10281554" y="2976526"/>
                <a:ext cx="704581" cy="29403"/>
                <a:chOff x="9748154" y="2952186"/>
                <a:chExt cx="704581" cy="29403"/>
              </a:xfrm>
              <a:grpFill/>
            </p:grpSpPr>
            <p:cxnSp>
              <p:nvCxnSpPr>
                <p:cNvPr id="121" name="Straight Connector 120">
                  <a:extLst>
                    <a:ext uri="{FF2B5EF4-FFF2-40B4-BE49-F238E27FC236}">
                      <a16:creationId xmlns:a16="http://schemas.microsoft.com/office/drawing/2014/main" id="{FFF1DE72-D5C5-4C70-8755-5F7072321408}"/>
                    </a:ext>
                  </a:extLst>
                </p:cNvPr>
                <p:cNvCxnSpPr/>
                <p:nvPr/>
              </p:nvCxnSpPr>
              <p:spPr>
                <a:xfrm>
                  <a:off x="9748154" y="2952186"/>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22BE4D15-9158-4243-8656-24C38B7C1935}"/>
                    </a:ext>
                  </a:extLst>
                </p:cNvPr>
                <p:cNvCxnSpPr/>
                <p:nvPr/>
              </p:nvCxnSpPr>
              <p:spPr>
                <a:xfrm>
                  <a:off x="9748154" y="2981589"/>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72181849-E39E-4898-9041-AA09DE5887E0}"/>
                  </a:ext>
                </a:extLst>
              </p:cNvPr>
              <p:cNvGrpSpPr/>
              <p:nvPr/>
            </p:nvGrpSpPr>
            <p:grpSpPr>
              <a:xfrm>
                <a:off x="10281554" y="3059885"/>
                <a:ext cx="704581" cy="29403"/>
                <a:chOff x="9748154" y="2952186"/>
                <a:chExt cx="704581" cy="29403"/>
              </a:xfrm>
              <a:grpFill/>
            </p:grpSpPr>
            <p:cxnSp>
              <p:nvCxnSpPr>
                <p:cNvPr id="119" name="Straight Connector 118">
                  <a:extLst>
                    <a:ext uri="{FF2B5EF4-FFF2-40B4-BE49-F238E27FC236}">
                      <a16:creationId xmlns:a16="http://schemas.microsoft.com/office/drawing/2014/main" id="{5794FE52-C34E-4DCE-88E9-E5E593ECC714}"/>
                    </a:ext>
                  </a:extLst>
                </p:cNvPr>
                <p:cNvCxnSpPr/>
                <p:nvPr/>
              </p:nvCxnSpPr>
              <p:spPr>
                <a:xfrm>
                  <a:off x="9748154" y="2952186"/>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D3BBFFB8-CFE4-46D3-AF97-9A6A685386AF}"/>
                    </a:ext>
                  </a:extLst>
                </p:cNvPr>
                <p:cNvCxnSpPr/>
                <p:nvPr/>
              </p:nvCxnSpPr>
              <p:spPr>
                <a:xfrm>
                  <a:off x="9748154" y="2981589"/>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56AC2A1B-3FE8-4FC7-9A53-E21C1B62CD17}"/>
                  </a:ext>
                </a:extLst>
              </p:cNvPr>
              <p:cNvGrpSpPr/>
              <p:nvPr/>
            </p:nvGrpSpPr>
            <p:grpSpPr>
              <a:xfrm>
                <a:off x="10281554" y="3146001"/>
                <a:ext cx="704581" cy="29403"/>
                <a:chOff x="9748154" y="2952186"/>
                <a:chExt cx="704581" cy="29403"/>
              </a:xfrm>
              <a:grpFill/>
            </p:grpSpPr>
            <p:cxnSp>
              <p:nvCxnSpPr>
                <p:cNvPr id="117" name="Straight Connector 116">
                  <a:extLst>
                    <a:ext uri="{FF2B5EF4-FFF2-40B4-BE49-F238E27FC236}">
                      <a16:creationId xmlns:a16="http://schemas.microsoft.com/office/drawing/2014/main" id="{87572D66-0ADA-411A-A774-38C6DDFD89BD}"/>
                    </a:ext>
                  </a:extLst>
                </p:cNvPr>
                <p:cNvCxnSpPr/>
                <p:nvPr/>
              </p:nvCxnSpPr>
              <p:spPr>
                <a:xfrm>
                  <a:off x="9748154" y="2952186"/>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D050D0E-A34F-461C-AAC5-66C4257A5A80}"/>
                    </a:ext>
                  </a:extLst>
                </p:cNvPr>
                <p:cNvCxnSpPr/>
                <p:nvPr/>
              </p:nvCxnSpPr>
              <p:spPr>
                <a:xfrm>
                  <a:off x="9748154" y="2981589"/>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4013B99B-69AA-4566-9C7F-77A230346C28}"/>
                  </a:ext>
                </a:extLst>
              </p:cNvPr>
              <p:cNvGrpSpPr/>
              <p:nvPr/>
            </p:nvGrpSpPr>
            <p:grpSpPr>
              <a:xfrm>
                <a:off x="10281554" y="3230514"/>
                <a:ext cx="704581" cy="29403"/>
                <a:chOff x="9748154" y="2952186"/>
                <a:chExt cx="704581" cy="29403"/>
              </a:xfrm>
              <a:grpFill/>
            </p:grpSpPr>
            <p:cxnSp>
              <p:nvCxnSpPr>
                <p:cNvPr id="115" name="Straight Connector 114">
                  <a:extLst>
                    <a:ext uri="{FF2B5EF4-FFF2-40B4-BE49-F238E27FC236}">
                      <a16:creationId xmlns:a16="http://schemas.microsoft.com/office/drawing/2014/main" id="{D5428978-33E3-471C-9299-E3A7516091AC}"/>
                    </a:ext>
                  </a:extLst>
                </p:cNvPr>
                <p:cNvCxnSpPr/>
                <p:nvPr/>
              </p:nvCxnSpPr>
              <p:spPr>
                <a:xfrm>
                  <a:off x="9748154" y="2952186"/>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0BF3210-9D90-4AC5-B6B1-BD74BD846827}"/>
                    </a:ext>
                  </a:extLst>
                </p:cNvPr>
                <p:cNvCxnSpPr/>
                <p:nvPr/>
              </p:nvCxnSpPr>
              <p:spPr>
                <a:xfrm>
                  <a:off x="9748154" y="2981589"/>
                  <a:ext cx="704581" cy="0"/>
                </a:xfrm>
                <a:prstGeom prst="line">
                  <a:avLst/>
                </a:prstGeom>
                <a:grpFill/>
                <a:ln w="12700" cap="rnd">
                  <a:solidFill>
                    <a:schemeClr val="accent3"/>
                  </a:solidFill>
                  <a:miter lim="800000"/>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727676271"/>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21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Rectangle 1"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21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8" name="Rectangle 7"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21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6" name="Text Placeholder 4"/>
          <p:cNvSpPr>
            <a:spLocks noGrp="1"/>
          </p:cNvSpPr>
          <p:nvPr>
            <p:ph type="body" sz="quarter" idx="22"/>
          </p:nvPr>
        </p:nvSpPr>
        <p:spPr/>
        <p:txBody>
          <a:bodyPr/>
          <a:lstStyle/>
          <a:p>
            <a:r>
              <a:rPr lang="en-US" dirty="0"/>
              <a:t>Based on our experience, these are the governance models found in the market that are used in practice</a:t>
            </a:r>
          </a:p>
        </p:txBody>
      </p:sp>
      <p:sp>
        <p:nvSpPr>
          <p:cNvPr id="7" name="Title 3"/>
          <p:cNvSpPr>
            <a:spLocks noGrp="1"/>
          </p:cNvSpPr>
          <p:nvPr>
            <p:ph type="title"/>
          </p:nvPr>
        </p:nvSpPr>
        <p:spPr/>
        <p:txBody>
          <a:bodyPr vert="horz"/>
          <a:lstStyle/>
          <a:p>
            <a:r>
              <a:rPr lang="en-US" dirty="0"/>
              <a:t>Operating model options</a:t>
            </a:r>
          </a:p>
        </p:txBody>
      </p:sp>
      <p:cxnSp>
        <p:nvCxnSpPr>
          <p:cNvPr id="39" name="Straight Connector 38">
            <a:extLst>
              <a:ext uri="{FF2B5EF4-FFF2-40B4-BE49-F238E27FC236}">
                <a16:creationId xmlns:a16="http://schemas.microsoft.com/office/drawing/2014/main" id="{9D966747-2F85-46A9-A0F6-A90790BDB492}"/>
              </a:ext>
            </a:extLst>
          </p:cNvPr>
          <p:cNvCxnSpPr/>
          <p:nvPr/>
        </p:nvCxnSpPr>
        <p:spPr>
          <a:xfrm>
            <a:off x="727611" y="4280504"/>
            <a:ext cx="3348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BE3B9B4-7B80-4151-A9D6-F9B442C62CEE}"/>
              </a:ext>
            </a:extLst>
          </p:cNvPr>
          <p:cNvSpPr/>
          <p:nvPr/>
        </p:nvSpPr>
        <p:spPr>
          <a:xfrm>
            <a:off x="727611" y="4013488"/>
            <a:ext cx="3348000"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b="1" dirty="0">
                <a:solidFill>
                  <a:schemeClr val="tx1"/>
                </a:solidFill>
                <a:latin typeface="Open Sans (Body)"/>
              </a:rPr>
              <a:t>Strategic innovation function</a:t>
            </a:r>
          </a:p>
        </p:txBody>
      </p:sp>
      <p:sp>
        <p:nvSpPr>
          <p:cNvPr id="42" name="Freeform 121">
            <a:extLst>
              <a:ext uri="{FF2B5EF4-FFF2-40B4-BE49-F238E27FC236}">
                <a16:creationId xmlns:a16="http://schemas.microsoft.com/office/drawing/2014/main" id="{DE124500-A9AE-4855-A093-E8A0EB9B3C10}"/>
              </a:ext>
            </a:extLst>
          </p:cNvPr>
          <p:cNvSpPr>
            <a:spLocks/>
          </p:cNvSpPr>
          <p:nvPr/>
        </p:nvSpPr>
        <p:spPr bwMode="auto">
          <a:xfrm>
            <a:off x="727611" y="4934056"/>
            <a:ext cx="3384000" cy="736073"/>
          </a:xfrm>
          <a:prstGeom prst="rect">
            <a:avLst/>
          </a:prstGeom>
          <a:solidFill>
            <a:schemeClr val="accent5">
              <a:lumMod val="20000"/>
              <a:lumOff val="80000"/>
            </a:schemeClr>
          </a:solidFill>
          <a:ln w="17" cap="rnd">
            <a:solidFill>
              <a:schemeClr val="accent1">
                <a:lumMod val="20000"/>
                <a:lumOff val="80000"/>
              </a:schemeClr>
            </a:solidFill>
            <a:prstDash val="solid"/>
            <a:round/>
            <a:headEnd/>
            <a:tailEnd/>
          </a:ln>
        </p:spPr>
        <p:txBody>
          <a:bodyPr vert="horz" wrap="square" lIns="91440" tIns="91440" rIns="91440" bIns="45720" numCol="1" anchor="t" anchorCtr="0" compatLnSpc="1">
            <a:prstTxWarp prst="textNoShape">
              <a:avLst/>
            </a:prstTxWarp>
          </a:bodyPr>
          <a:lstStyle/>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BSC-level strategic goals are met</a:t>
            </a:r>
          </a:p>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Coordinated and efficient resource management</a:t>
            </a:r>
          </a:p>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It can result in cost-effective operation</a:t>
            </a:r>
          </a:p>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BSC-level synergies can be realized</a:t>
            </a:r>
          </a:p>
        </p:txBody>
      </p:sp>
      <p:sp>
        <p:nvSpPr>
          <p:cNvPr id="43" name="Oval 42">
            <a:extLst>
              <a:ext uri="{FF2B5EF4-FFF2-40B4-BE49-F238E27FC236}">
                <a16:creationId xmlns:a16="http://schemas.microsoft.com/office/drawing/2014/main" id="{3E082C52-A36B-405D-9524-4E666D603090}"/>
              </a:ext>
            </a:extLst>
          </p:cNvPr>
          <p:cNvSpPr>
            <a:spLocks/>
          </p:cNvSpPr>
          <p:nvPr/>
        </p:nvSpPr>
        <p:spPr>
          <a:xfrm>
            <a:off x="686361" y="4858536"/>
            <a:ext cx="182880"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sp>
        <p:nvSpPr>
          <p:cNvPr id="44" name="Rectangle 43">
            <a:extLst>
              <a:ext uri="{FF2B5EF4-FFF2-40B4-BE49-F238E27FC236}">
                <a16:creationId xmlns:a16="http://schemas.microsoft.com/office/drawing/2014/main" id="{830A3592-C3D2-415C-9A1C-8A1658F636F6}"/>
              </a:ext>
            </a:extLst>
          </p:cNvPr>
          <p:cNvSpPr/>
          <p:nvPr/>
        </p:nvSpPr>
        <p:spPr>
          <a:xfrm>
            <a:off x="727611" y="4318996"/>
            <a:ext cx="3384000" cy="56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914400">
              <a:defRPr/>
            </a:pPr>
            <a:r>
              <a:rPr lang="en-US" sz="1000" dirty="0">
                <a:solidFill>
                  <a:srgbClr val="000000"/>
                </a:solidFill>
                <a:latin typeface="Open Sans (Body)"/>
                <a:cs typeface="Calibri Light" panose="020F0302020204030204" pitchFamily="34" charset="0"/>
              </a:rPr>
              <a:t>The central innovation function directly manages and supports innovation in BSC. The implementer of key innovation projects is the central innovation function.</a:t>
            </a:r>
          </a:p>
        </p:txBody>
      </p:sp>
      <p:sp>
        <p:nvSpPr>
          <p:cNvPr id="46" name="Freeform 125">
            <a:extLst>
              <a:ext uri="{FF2B5EF4-FFF2-40B4-BE49-F238E27FC236}">
                <a16:creationId xmlns:a16="http://schemas.microsoft.com/office/drawing/2014/main" id="{DB93AF42-A15A-473D-8823-234DFA2A1CFE}"/>
              </a:ext>
            </a:extLst>
          </p:cNvPr>
          <p:cNvSpPr>
            <a:spLocks/>
          </p:cNvSpPr>
          <p:nvPr/>
        </p:nvSpPr>
        <p:spPr bwMode="auto">
          <a:xfrm>
            <a:off x="727611" y="5747649"/>
            <a:ext cx="3384000" cy="797692"/>
          </a:xfrm>
          <a:prstGeom prst="rect">
            <a:avLst/>
          </a:prstGeom>
          <a:solidFill>
            <a:schemeClr val="bg1">
              <a:lumMod val="95000"/>
            </a:schemeClr>
          </a:solidFill>
          <a:ln w="17" cap="rnd">
            <a:solidFill>
              <a:srgbClr val="FF0000">
                <a:alpha val="23922"/>
              </a:srgbClr>
            </a:solidFill>
            <a:prstDash val="solid"/>
            <a:round/>
            <a:headEnd/>
            <a:tailEnd/>
          </a:ln>
        </p:spPr>
        <p:txBody>
          <a:bodyPr vert="horz" wrap="square" lIns="91440" tIns="91440" rIns="91440" bIns="45720" numCol="1" anchor="t" anchorCtr="0" compatLnSpc="1">
            <a:prstTxWarp prst="textNoShape">
              <a:avLst/>
            </a:prstTxWarp>
          </a:bodyPr>
          <a:lstStyle/>
          <a:p>
            <a:pPr marL="171450" lvl="0" indent="-171450" defTabSz="914400">
              <a:spcBef>
                <a:spcPts val="600"/>
              </a:spcBef>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It can lead to conflicts of interest at the organizational level</a:t>
            </a:r>
          </a:p>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Prioritization between projects and other innovation activities can be a problem</a:t>
            </a:r>
            <a:endParaRPr kumimoji="0" lang="en-US" sz="1000" b="0" i="0" u="none" strike="noStrike" kern="1200" cap="none" spc="0" normalizeH="0" baseline="0" dirty="0">
              <a:ln>
                <a:noFill/>
              </a:ln>
              <a:solidFill>
                <a:srgbClr val="000000"/>
              </a:solidFill>
              <a:effectLst/>
              <a:uLnTx/>
              <a:uFillTx/>
              <a:latin typeface="Open Sans (Body)"/>
              <a:cs typeface="Calibri Light" panose="020F0302020204030204" pitchFamily="34" charset="0"/>
            </a:endParaRPr>
          </a:p>
        </p:txBody>
      </p:sp>
      <p:sp>
        <p:nvSpPr>
          <p:cNvPr id="47" name="Oval 46">
            <a:extLst>
              <a:ext uri="{FF2B5EF4-FFF2-40B4-BE49-F238E27FC236}">
                <a16:creationId xmlns:a16="http://schemas.microsoft.com/office/drawing/2014/main" id="{A1EE0CFA-548A-4B08-B51D-FE410D0CD963}"/>
              </a:ext>
            </a:extLst>
          </p:cNvPr>
          <p:cNvSpPr>
            <a:spLocks/>
          </p:cNvSpPr>
          <p:nvPr/>
        </p:nvSpPr>
        <p:spPr>
          <a:xfrm>
            <a:off x="711257" y="5670129"/>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cxnSp>
        <p:nvCxnSpPr>
          <p:cNvPr id="64" name="Straight Connector 63">
            <a:extLst>
              <a:ext uri="{FF2B5EF4-FFF2-40B4-BE49-F238E27FC236}">
                <a16:creationId xmlns:a16="http://schemas.microsoft.com/office/drawing/2014/main" id="{67BA7489-61C2-4549-9D1B-75644F576390}"/>
              </a:ext>
            </a:extLst>
          </p:cNvPr>
          <p:cNvCxnSpPr/>
          <p:nvPr/>
        </p:nvCxnSpPr>
        <p:spPr>
          <a:xfrm>
            <a:off x="8257522" y="4269537"/>
            <a:ext cx="3348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062CFAEA-0087-4C09-B806-69DA2B03A660}"/>
              </a:ext>
            </a:extLst>
          </p:cNvPr>
          <p:cNvSpPr/>
          <p:nvPr/>
        </p:nvSpPr>
        <p:spPr>
          <a:xfrm>
            <a:off x="8257522" y="4002521"/>
            <a:ext cx="3348000"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b="1" dirty="0">
                <a:solidFill>
                  <a:schemeClr val="tx1"/>
                </a:solidFill>
                <a:latin typeface="Open Sans (Body)"/>
              </a:rPr>
              <a:t>Innovation garage</a:t>
            </a:r>
          </a:p>
        </p:txBody>
      </p:sp>
      <p:sp>
        <p:nvSpPr>
          <p:cNvPr id="66" name="Rectangle 65">
            <a:extLst>
              <a:ext uri="{FF2B5EF4-FFF2-40B4-BE49-F238E27FC236}">
                <a16:creationId xmlns:a16="http://schemas.microsoft.com/office/drawing/2014/main" id="{A14315BC-485B-4606-908E-28AE3ED86E2F}"/>
              </a:ext>
            </a:extLst>
          </p:cNvPr>
          <p:cNvSpPr/>
          <p:nvPr/>
        </p:nvSpPr>
        <p:spPr>
          <a:xfrm>
            <a:off x="8214316" y="4336206"/>
            <a:ext cx="3456000" cy="568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400">
              <a:defRPr/>
            </a:pPr>
            <a:r>
              <a:rPr lang="en-US" sz="1000" dirty="0">
                <a:solidFill>
                  <a:srgbClr val="000000"/>
                </a:solidFill>
                <a:latin typeface="Open Sans (Body)"/>
                <a:cs typeface="Calibri Light" panose="020F0302020204030204" pitchFamily="34" charset="0"/>
              </a:rPr>
              <a:t>Priority innovation projects are placed in a separate organizational unit (innovation garage) with its own roles and operational framework. </a:t>
            </a:r>
          </a:p>
        </p:txBody>
      </p:sp>
      <p:sp>
        <p:nvSpPr>
          <p:cNvPr id="68" name="Freeform 147">
            <a:extLst>
              <a:ext uri="{FF2B5EF4-FFF2-40B4-BE49-F238E27FC236}">
                <a16:creationId xmlns:a16="http://schemas.microsoft.com/office/drawing/2014/main" id="{080EF6EA-2826-48F7-AB6A-525B2679BCAB}"/>
              </a:ext>
            </a:extLst>
          </p:cNvPr>
          <p:cNvSpPr>
            <a:spLocks/>
          </p:cNvSpPr>
          <p:nvPr/>
        </p:nvSpPr>
        <p:spPr bwMode="auto">
          <a:xfrm>
            <a:off x="8257522" y="4934056"/>
            <a:ext cx="3348000" cy="757906"/>
          </a:xfrm>
          <a:prstGeom prst="rect">
            <a:avLst/>
          </a:prstGeom>
          <a:solidFill>
            <a:schemeClr val="accent5">
              <a:lumMod val="20000"/>
              <a:lumOff val="80000"/>
            </a:schemeClr>
          </a:solidFill>
          <a:ln w="17" cap="rnd">
            <a:solidFill>
              <a:schemeClr val="accent1">
                <a:lumMod val="20000"/>
                <a:lumOff val="80000"/>
              </a:schemeClr>
            </a:solidFill>
            <a:prstDash val="solid"/>
            <a:round/>
            <a:headEnd/>
            <a:tailEnd/>
          </a:ln>
        </p:spPr>
        <p:txBody>
          <a:bodyPr vert="horz" wrap="square" lIns="91440" tIns="91440" rIns="91440" bIns="45720" numCol="1" anchor="t" anchorCtr="0" compatLnSpc="1">
            <a:prstTxWarp prst="textNoShape">
              <a:avLst/>
            </a:prstTxWarp>
          </a:bodyPr>
          <a:lstStyle/>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It can lead to the creation of innovation center of excellence</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Clearly defined roles and responsibilities</a:t>
            </a:r>
          </a:p>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Transparent, success-oriented operation</a:t>
            </a:r>
          </a:p>
        </p:txBody>
      </p:sp>
      <p:sp>
        <p:nvSpPr>
          <p:cNvPr id="69" name="Oval 68">
            <a:extLst>
              <a:ext uri="{FF2B5EF4-FFF2-40B4-BE49-F238E27FC236}">
                <a16:creationId xmlns:a16="http://schemas.microsoft.com/office/drawing/2014/main" id="{921A483D-0209-45C6-9E99-4175D57F6C32}"/>
              </a:ext>
            </a:extLst>
          </p:cNvPr>
          <p:cNvSpPr>
            <a:spLocks/>
          </p:cNvSpPr>
          <p:nvPr/>
        </p:nvSpPr>
        <p:spPr>
          <a:xfrm>
            <a:off x="8206922" y="4858537"/>
            <a:ext cx="182880"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sp>
        <p:nvSpPr>
          <p:cNvPr id="71" name="Freeform 150">
            <a:extLst>
              <a:ext uri="{FF2B5EF4-FFF2-40B4-BE49-F238E27FC236}">
                <a16:creationId xmlns:a16="http://schemas.microsoft.com/office/drawing/2014/main" id="{23FBAEF6-E540-4E65-B0D4-F14A68400E77}"/>
              </a:ext>
            </a:extLst>
          </p:cNvPr>
          <p:cNvSpPr>
            <a:spLocks/>
          </p:cNvSpPr>
          <p:nvPr/>
        </p:nvSpPr>
        <p:spPr bwMode="auto">
          <a:xfrm>
            <a:off x="8257522" y="5741665"/>
            <a:ext cx="3348000" cy="839676"/>
          </a:xfrm>
          <a:prstGeom prst="rect">
            <a:avLst/>
          </a:prstGeom>
          <a:solidFill>
            <a:schemeClr val="bg1">
              <a:lumMod val="95000"/>
            </a:schemeClr>
          </a:solidFill>
          <a:ln w="17" cap="rnd">
            <a:solidFill>
              <a:srgbClr val="FF0000">
                <a:alpha val="23922"/>
              </a:srgbClr>
            </a:solidFill>
            <a:prstDash val="solid"/>
            <a:round/>
            <a:headEnd/>
            <a:tailEnd/>
          </a:ln>
        </p:spPr>
        <p:txBody>
          <a:bodyPr vert="horz" wrap="square" lIns="91440" tIns="91440" rIns="91440" bIns="45720" numCol="1" anchor="t" anchorCtr="0" compatLnSpc="1">
            <a:prstTxWarp prst="textNoShape">
              <a:avLst/>
            </a:prstTxWarp>
          </a:bodyPr>
          <a:lstStyle/>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Duplicate competencies may develop</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Value streams are not interested in participating</a:t>
            </a:r>
          </a:p>
          <a:p>
            <a:pPr marL="171450" indent="-17145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Prioritization between projects and other innovation activities can be a problem</a:t>
            </a:r>
            <a:endParaRPr kumimoji="0" lang="en-US" sz="1000" b="0" i="0" u="none" strike="noStrike" kern="1200" cap="none" spc="0" normalizeH="0" baseline="0" dirty="0">
              <a:ln>
                <a:noFill/>
              </a:ln>
              <a:solidFill>
                <a:srgbClr val="000000"/>
              </a:solidFill>
              <a:effectLst/>
              <a:uLnTx/>
              <a:uFillTx/>
              <a:latin typeface="Open Sans (Body)"/>
              <a:cs typeface="Calibri Light" panose="020F0302020204030204" pitchFamily="34" charset="0"/>
            </a:endParaRPr>
          </a:p>
        </p:txBody>
      </p:sp>
      <p:sp>
        <p:nvSpPr>
          <p:cNvPr id="72" name="Oval 71">
            <a:extLst>
              <a:ext uri="{FF2B5EF4-FFF2-40B4-BE49-F238E27FC236}">
                <a16:creationId xmlns:a16="http://schemas.microsoft.com/office/drawing/2014/main" id="{6D32D09B-85F7-42A5-9453-0AD6316B2696}"/>
              </a:ext>
            </a:extLst>
          </p:cNvPr>
          <p:cNvSpPr>
            <a:spLocks/>
          </p:cNvSpPr>
          <p:nvPr/>
        </p:nvSpPr>
        <p:spPr>
          <a:xfrm>
            <a:off x="8224411" y="5670129"/>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cxnSp>
        <p:nvCxnSpPr>
          <p:cNvPr id="124" name="Straight Connector 123">
            <a:extLst>
              <a:ext uri="{FF2B5EF4-FFF2-40B4-BE49-F238E27FC236}">
                <a16:creationId xmlns:a16="http://schemas.microsoft.com/office/drawing/2014/main" id="{3CC969EF-CDD4-41AD-AF51-6A5CFFC02657}"/>
              </a:ext>
            </a:extLst>
          </p:cNvPr>
          <p:cNvCxnSpPr/>
          <p:nvPr/>
        </p:nvCxnSpPr>
        <p:spPr>
          <a:xfrm>
            <a:off x="4500005" y="4269537"/>
            <a:ext cx="3348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C50BE413-D27A-4941-91FA-0F32EC8AF922}"/>
              </a:ext>
            </a:extLst>
          </p:cNvPr>
          <p:cNvSpPr/>
          <p:nvPr/>
        </p:nvSpPr>
        <p:spPr>
          <a:xfrm>
            <a:off x="4500005" y="4002521"/>
            <a:ext cx="3348000"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b="1" dirty="0">
                <a:solidFill>
                  <a:schemeClr val="tx1"/>
                </a:solidFill>
                <a:latin typeface="Open Sans (Body)"/>
              </a:rPr>
              <a:t>Outsourced innovation</a:t>
            </a:r>
          </a:p>
        </p:txBody>
      </p:sp>
      <p:sp>
        <p:nvSpPr>
          <p:cNvPr id="127" name="Freeform 123">
            <a:extLst>
              <a:ext uri="{FF2B5EF4-FFF2-40B4-BE49-F238E27FC236}">
                <a16:creationId xmlns:a16="http://schemas.microsoft.com/office/drawing/2014/main" id="{63E2DB27-8702-4E91-882C-B2C44B1A28F0}"/>
              </a:ext>
            </a:extLst>
          </p:cNvPr>
          <p:cNvSpPr>
            <a:spLocks/>
          </p:cNvSpPr>
          <p:nvPr/>
        </p:nvSpPr>
        <p:spPr bwMode="auto">
          <a:xfrm>
            <a:off x="4484456" y="4934056"/>
            <a:ext cx="3363549" cy="736073"/>
          </a:xfrm>
          <a:prstGeom prst="rect">
            <a:avLst/>
          </a:prstGeom>
          <a:solidFill>
            <a:schemeClr val="accent5">
              <a:lumMod val="20000"/>
              <a:lumOff val="80000"/>
            </a:schemeClr>
          </a:solidFill>
          <a:ln w="17" cap="rnd">
            <a:solidFill>
              <a:schemeClr val="accent1">
                <a:lumMod val="20000"/>
                <a:lumOff val="80000"/>
              </a:schemeClr>
            </a:solidFill>
            <a:prstDash val="solid"/>
            <a:round/>
            <a:headEnd/>
            <a:tailEnd/>
          </a:ln>
        </p:spPr>
        <p:txBody>
          <a:bodyPr vert="horz" wrap="square" lIns="91440" tIns="91440" rIns="91440" bIns="45720" numCol="1" anchor="t" anchorCtr="0" compatLnSpc="1">
            <a:prstTxWarp prst="textNoShape">
              <a:avLst/>
            </a:prstTxWarp>
          </a:bodyPr>
          <a:lstStyle/>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Focused and seamless innovation activity</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Clearly defined roles and responsibilities</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Value streams can focus on BAU operations</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Transparent, success-oriented operation</a:t>
            </a:r>
          </a:p>
        </p:txBody>
      </p:sp>
      <p:sp>
        <p:nvSpPr>
          <p:cNvPr id="128" name="Oval 127">
            <a:extLst>
              <a:ext uri="{FF2B5EF4-FFF2-40B4-BE49-F238E27FC236}">
                <a16:creationId xmlns:a16="http://schemas.microsoft.com/office/drawing/2014/main" id="{234F6D56-6AC4-4133-9EF2-199058A7A489}"/>
              </a:ext>
            </a:extLst>
          </p:cNvPr>
          <p:cNvSpPr>
            <a:spLocks/>
          </p:cNvSpPr>
          <p:nvPr/>
        </p:nvSpPr>
        <p:spPr>
          <a:xfrm>
            <a:off x="4440754" y="4827300"/>
            <a:ext cx="193749"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sp>
        <p:nvSpPr>
          <p:cNvPr id="129" name="Rectangle 128">
            <a:extLst>
              <a:ext uri="{FF2B5EF4-FFF2-40B4-BE49-F238E27FC236}">
                <a16:creationId xmlns:a16="http://schemas.microsoft.com/office/drawing/2014/main" id="{32CE99C2-5B7F-4C7A-A0BC-823618D83666}"/>
              </a:ext>
            </a:extLst>
          </p:cNvPr>
          <p:cNvSpPr/>
          <p:nvPr/>
        </p:nvSpPr>
        <p:spPr>
          <a:xfrm>
            <a:off x="4473193" y="4313346"/>
            <a:ext cx="3526615" cy="602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400">
              <a:defRPr/>
            </a:pPr>
            <a:r>
              <a:rPr lang="en-US" sz="1000" dirty="0">
                <a:solidFill>
                  <a:srgbClr val="000000"/>
                </a:solidFill>
                <a:latin typeface="Open Sans (Body)"/>
                <a:cs typeface="Calibri Light" panose="020F0302020204030204" pitchFamily="34" charset="0"/>
              </a:rPr>
              <a:t>The innovation function is a legal entity outside </a:t>
            </a:r>
            <a:r>
              <a:rPr lang="hu-HU" sz="1000" dirty="0" err="1">
                <a:solidFill>
                  <a:srgbClr val="000000"/>
                </a:solidFill>
                <a:latin typeface="Open Sans (Body)"/>
                <a:cs typeface="Calibri Light" panose="020F0302020204030204" pitchFamily="34" charset="0"/>
              </a:rPr>
              <a:t>the</a:t>
            </a:r>
            <a:r>
              <a:rPr lang="hu-HU" sz="1000" dirty="0">
                <a:solidFill>
                  <a:srgbClr val="000000"/>
                </a:solidFill>
                <a:latin typeface="Open Sans (Body)"/>
                <a:cs typeface="Calibri Light" panose="020F0302020204030204" pitchFamily="34" charset="0"/>
              </a:rPr>
              <a:t> </a:t>
            </a:r>
            <a:r>
              <a:rPr lang="hu-HU" sz="1000" dirty="0" err="1">
                <a:solidFill>
                  <a:srgbClr val="000000"/>
                </a:solidFill>
                <a:latin typeface="Open Sans (Body)"/>
                <a:cs typeface="Calibri Light" panose="020F0302020204030204" pitchFamily="34" charset="0"/>
              </a:rPr>
              <a:t>compamy</a:t>
            </a:r>
            <a:r>
              <a:rPr lang="en-US" sz="1000" dirty="0">
                <a:solidFill>
                  <a:srgbClr val="000000"/>
                </a:solidFill>
                <a:latin typeface="Open Sans (Body)"/>
                <a:cs typeface="Calibri Light" panose="020F0302020204030204" pitchFamily="34" charset="0"/>
              </a:rPr>
              <a:t> that conducts its innovation activities in a sovereign manner (management in its own competence). </a:t>
            </a:r>
          </a:p>
        </p:txBody>
      </p:sp>
      <p:sp>
        <p:nvSpPr>
          <p:cNvPr id="130" name="Freeform 126">
            <a:extLst>
              <a:ext uri="{FF2B5EF4-FFF2-40B4-BE49-F238E27FC236}">
                <a16:creationId xmlns:a16="http://schemas.microsoft.com/office/drawing/2014/main" id="{67099AEA-29FA-49EA-98FF-8D9165D9618C}"/>
              </a:ext>
            </a:extLst>
          </p:cNvPr>
          <p:cNvSpPr>
            <a:spLocks/>
          </p:cNvSpPr>
          <p:nvPr/>
        </p:nvSpPr>
        <p:spPr bwMode="auto">
          <a:xfrm>
            <a:off x="4482004" y="5738535"/>
            <a:ext cx="3585123" cy="861648"/>
          </a:xfrm>
          <a:prstGeom prst="rect">
            <a:avLst/>
          </a:prstGeom>
          <a:solidFill>
            <a:schemeClr val="bg1">
              <a:lumMod val="95000"/>
            </a:schemeClr>
          </a:solidFill>
          <a:ln w="17" cap="rnd">
            <a:solidFill>
              <a:srgbClr val="FF0000">
                <a:alpha val="23922"/>
              </a:srgbClr>
            </a:solidFill>
            <a:prstDash val="solid"/>
            <a:round/>
            <a:headEnd/>
            <a:tailEnd/>
          </a:ln>
        </p:spPr>
        <p:txBody>
          <a:bodyPr vert="horz" wrap="square" lIns="91440" tIns="91440" rIns="91440" bIns="45720" numCol="1" anchor="t" anchorCtr="0" compatLnSpc="1">
            <a:prstTxWarp prst="textNoShape">
              <a:avLst/>
            </a:prstTxWarp>
          </a:bodyPr>
          <a:lstStyle/>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Consistency with GBS and </a:t>
            </a:r>
            <a:r>
              <a:rPr lang="hu-HU" sz="1000" dirty="0">
                <a:solidFill>
                  <a:srgbClr val="000000"/>
                </a:solidFill>
                <a:latin typeface="Open Sans (Body)"/>
                <a:cs typeface="Calibri Light" panose="020F0302020204030204" pitchFamily="34" charset="0"/>
              </a:rPr>
              <a:t>BSC</a:t>
            </a:r>
            <a:r>
              <a:rPr lang="en-US" sz="1000" dirty="0">
                <a:solidFill>
                  <a:srgbClr val="000000"/>
                </a:solidFill>
                <a:latin typeface="Open Sans (Body)"/>
                <a:cs typeface="Calibri Light" panose="020F0302020204030204" pitchFamily="34" charset="0"/>
              </a:rPr>
              <a:t>-level strategy is not guaranteed</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It can lead to a loss of synergy</a:t>
            </a:r>
          </a:p>
          <a:p>
            <a:pPr marL="171450" lvl="0" indent="-17145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Prioritization between projects and other innovation activities can be a problem</a:t>
            </a:r>
            <a:endParaRPr kumimoji="0" lang="en-US" sz="1000" b="0" i="0" u="none" strike="noStrike" kern="1200" cap="none" spc="0" normalizeH="0" baseline="0" dirty="0">
              <a:ln>
                <a:noFill/>
              </a:ln>
              <a:solidFill>
                <a:srgbClr val="000000"/>
              </a:solidFill>
              <a:effectLst/>
              <a:uLnTx/>
              <a:uFillTx/>
              <a:latin typeface="Open Sans (Body)"/>
              <a:cs typeface="Calibri Light" panose="020F0302020204030204" pitchFamily="34" charset="0"/>
            </a:endParaRPr>
          </a:p>
        </p:txBody>
      </p:sp>
      <p:sp>
        <p:nvSpPr>
          <p:cNvPr id="131" name="Oval 130">
            <a:extLst>
              <a:ext uri="{FF2B5EF4-FFF2-40B4-BE49-F238E27FC236}">
                <a16:creationId xmlns:a16="http://schemas.microsoft.com/office/drawing/2014/main" id="{BCC79768-10EA-4530-A785-432CDADC1855}"/>
              </a:ext>
            </a:extLst>
          </p:cNvPr>
          <p:cNvSpPr>
            <a:spLocks/>
          </p:cNvSpPr>
          <p:nvPr/>
        </p:nvSpPr>
        <p:spPr>
          <a:xfrm>
            <a:off x="4465651" y="5670129"/>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cxnSp>
        <p:nvCxnSpPr>
          <p:cNvPr id="32" name="Straight Connector 31">
            <a:extLst>
              <a:ext uri="{FF2B5EF4-FFF2-40B4-BE49-F238E27FC236}">
                <a16:creationId xmlns:a16="http://schemas.microsoft.com/office/drawing/2014/main" id="{FF4318BB-851C-DEB4-F1D0-0EC5873F04DC}"/>
              </a:ext>
            </a:extLst>
          </p:cNvPr>
          <p:cNvCxnSpPr/>
          <p:nvPr/>
        </p:nvCxnSpPr>
        <p:spPr>
          <a:xfrm>
            <a:off x="727611" y="1599005"/>
            <a:ext cx="3348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3CB5E30-1DC1-417A-2486-ACE16D6B9176}"/>
              </a:ext>
            </a:extLst>
          </p:cNvPr>
          <p:cNvSpPr/>
          <p:nvPr/>
        </p:nvSpPr>
        <p:spPr>
          <a:xfrm>
            <a:off x="727611" y="1331989"/>
            <a:ext cx="3348000"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defRPr/>
            </a:pPr>
            <a:r>
              <a:rPr lang="en-US" sz="1400" b="1" dirty="0">
                <a:solidFill>
                  <a:schemeClr val="tx1"/>
                </a:solidFill>
                <a:latin typeface="Open Sans (Body)"/>
              </a:rPr>
              <a:t>Decentralized model</a:t>
            </a:r>
          </a:p>
        </p:txBody>
      </p:sp>
      <p:sp>
        <p:nvSpPr>
          <p:cNvPr id="34" name="Rectangle 33">
            <a:extLst>
              <a:ext uri="{FF2B5EF4-FFF2-40B4-BE49-F238E27FC236}">
                <a16:creationId xmlns:a16="http://schemas.microsoft.com/office/drawing/2014/main" id="{D82CAC8C-A4C9-D773-BD8F-EA764BBA56B6}"/>
              </a:ext>
            </a:extLst>
          </p:cNvPr>
          <p:cNvSpPr/>
          <p:nvPr/>
        </p:nvSpPr>
        <p:spPr>
          <a:xfrm>
            <a:off x="686361" y="1605605"/>
            <a:ext cx="3348000" cy="540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Open Sans (Body)"/>
                <a:cs typeface="Calibri Light" panose="020F0302020204030204" pitchFamily="34" charset="0"/>
              </a:rPr>
              <a:t>Innovation initiatives are led by the Director level and are carried out in a sovereign manner by each value streams</a:t>
            </a:r>
            <a:r>
              <a:rPr lang="hu-HU" sz="1000" dirty="0">
                <a:solidFill>
                  <a:srgbClr val="000000"/>
                </a:solidFill>
                <a:latin typeface="Open Sans (Body)"/>
                <a:cs typeface="Calibri Light" panose="020F0302020204030204" pitchFamily="34" charset="0"/>
              </a:rPr>
              <a:t>.</a:t>
            </a:r>
            <a:endParaRPr lang="en-US" sz="1000" dirty="0">
              <a:solidFill>
                <a:srgbClr val="000000"/>
              </a:solidFill>
              <a:latin typeface="Open Sans (Body)"/>
              <a:cs typeface="Calibri Light" panose="020F0302020204030204" pitchFamily="34" charset="0"/>
            </a:endParaRPr>
          </a:p>
        </p:txBody>
      </p:sp>
      <p:sp>
        <p:nvSpPr>
          <p:cNvPr id="35" name="Freeform 45">
            <a:extLst>
              <a:ext uri="{FF2B5EF4-FFF2-40B4-BE49-F238E27FC236}">
                <a16:creationId xmlns:a16="http://schemas.microsoft.com/office/drawing/2014/main" id="{E72D4936-8C20-F852-12FD-31F7E3ED2F24}"/>
              </a:ext>
            </a:extLst>
          </p:cNvPr>
          <p:cNvSpPr>
            <a:spLocks/>
          </p:cNvSpPr>
          <p:nvPr/>
        </p:nvSpPr>
        <p:spPr bwMode="auto">
          <a:xfrm>
            <a:off x="735054" y="2236734"/>
            <a:ext cx="3348000" cy="731520"/>
          </a:xfrm>
          <a:prstGeom prst="rect">
            <a:avLst/>
          </a:prstGeom>
          <a:solidFill>
            <a:schemeClr val="accent5">
              <a:lumMod val="20000"/>
              <a:lumOff val="80000"/>
            </a:schemeClr>
          </a:solidFill>
          <a:ln w="17" cap="rnd">
            <a:solidFill>
              <a:schemeClr val="accent1">
                <a:lumMod val="20000"/>
                <a:lumOff val="80000"/>
              </a:schemeClr>
            </a:solidFill>
            <a:prstDash val="solid"/>
            <a:round/>
            <a:headEnd/>
            <a:tailEnd/>
          </a:ln>
        </p:spPr>
        <p:txBody>
          <a:bodyPr vert="horz" wrap="square" lIns="91440" tIns="91440" rIns="91440" bIns="45720" numCol="1" anchor="t" anchorCtr="0" compatLnSpc="1">
            <a:prstTxWarp prst="textNoShape">
              <a:avLst/>
            </a:prstTxWarp>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rgbClr val="000000"/>
                </a:solidFill>
                <a:latin typeface="Open Sans (Body)"/>
                <a:cs typeface="Calibri Light" panose="020F0302020204030204" pitchFamily="34" charset="0"/>
              </a:rPr>
              <a:t>It promotes market-oriented operation </a:t>
            </a:r>
            <a:endParaRPr lang="hu-HU" sz="1000" dirty="0">
              <a:solidFill>
                <a:srgbClr val="000000"/>
              </a:solidFill>
              <a:latin typeface="Open Sans (Body)"/>
              <a:cs typeface="Calibri Light" panose="020F0302020204030204" pitchFamily="34" charset="0"/>
            </a:endParaRP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rgbClr val="000000"/>
                </a:solidFill>
                <a:latin typeface="Open Sans (Body)"/>
                <a:cs typeface="Calibri Light" panose="020F0302020204030204" pitchFamily="34" charset="0"/>
              </a:rPr>
              <a:t>Innovation excellence can lead to the creation of center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rgbClr val="000000"/>
                </a:solidFill>
                <a:latin typeface="Open Sans (Body)"/>
                <a:cs typeface="Calibri Light" panose="020F0302020204030204" pitchFamily="34" charset="0"/>
              </a:rPr>
              <a:t>The goals are in line with the GBS strategy</a:t>
            </a:r>
            <a:endParaRPr kumimoji="0" lang="en-US" sz="1000" b="0" i="0" u="none" strike="noStrike" kern="1200" cap="none" spc="0" normalizeH="0" baseline="0" noProof="0" dirty="0">
              <a:ln>
                <a:noFill/>
              </a:ln>
              <a:solidFill>
                <a:srgbClr val="000000"/>
              </a:solidFill>
              <a:effectLst/>
              <a:uLnTx/>
              <a:uFillTx/>
              <a:latin typeface="Open Sans (Body)"/>
              <a:cs typeface="Calibri Light" panose="020F0302020204030204" pitchFamily="34" charset="0"/>
            </a:endParaRPr>
          </a:p>
        </p:txBody>
      </p:sp>
      <p:sp>
        <p:nvSpPr>
          <p:cNvPr id="36" name="Freeform 46">
            <a:extLst>
              <a:ext uri="{FF2B5EF4-FFF2-40B4-BE49-F238E27FC236}">
                <a16:creationId xmlns:a16="http://schemas.microsoft.com/office/drawing/2014/main" id="{6D1D0E6C-5213-140E-5BAF-8D2E5F92C253}"/>
              </a:ext>
            </a:extLst>
          </p:cNvPr>
          <p:cNvSpPr>
            <a:spLocks/>
          </p:cNvSpPr>
          <p:nvPr/>
        </p:nvSpPr>
        <p:spPr bwMode="auto">
          <a:xfrm>
            <a:off x="735054" y="3052982"/>
            <a:ext cx="3348000" cy="859552"/>
          </a:xfrm>
          <a:prstGeom prst="rect">
            <a:avLst/>
          </a:prstGeom>
          <a:solidFill>
            <a:schemeClr val="bg1">
              <a:lumMod val="95000"/>
            </a:schemeClr>
          </a:solidFill>
          <a:ln w="17" cap="rnd">
            <a:solidFill>
              <a:srgbClr val="FF0000">
                <a:alpha val="23922"/>
              </a:srgbClr>
            </a:solidFill>
            <a:prstDash val="solid"/>
            <a:round/>
            <a:headEnd/>
            <a:tailEnd/>
          </a:ln>
        </p:spPr>
        <p:txBody>
          <a:bodyPr vert="horz" wrap="square" lIns="91440" tIns="91440" rIns="90000" bIns="45720" numCol="1" anchor="t" anchorCtr="0" compatLnSpc="1">
            <a:prstTxWarp prst="textNoShape">
              <a:avLst/>
            </a:prstTxWarp>
          </a:bodyPr>
          <a:lstStyle/>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T</a:t>
            </a:r>
            <a:r>
              <a:rPr lang="en-US" sz="1000" noProof="0" dirty="0">
                <a:solidFill>
                  <a:srgbClr val="000000"/>
                </a:solidFill>
                <a:latin typeface="Open Sans (Body)"/>
                <a:cs typeface="Calibri Light" panose="020F0302020204030204" pitchFamily="34" charset="0"/>
              </a:rPr>
              <a:t>he BSC interest prevails to a small extent</a:t>
            </a:r>
            <a:endParaRPr lang="en-US" sz="1000" dirty="0">
              <a:solidFill>
                <a:srgbClr val="000000"/>
              </a:solidFill>
              <a:latin typeface="Open Sans (Body)"/>
              <a:cs typeface="Calibri Light" panose="020F0302020204030204" pitchFamily="34" charset="0"/>
            </a:endParaRPr>
          </a:p>
          <a:p>
            <a:pPr marL="171450" lvl="0" indent="-171450" defTabSz="914400">
              <a:buFont typeface="Arial" panose="020B0604020202020204" pitchFamily="34" charset="0"/>
              <a:buChar char="•"/>
              <a:defRPr/>
            </a:pPr>
            <a:r>
              <a:rPr kumimoji="0" lang="en-US" sz="1000" i="0" u="none" strike="noStrike" kern="1200" cap="none" spc="0" normalizeH="0" baseline="0" dirty="0">
                <a:ln>
                  <a:noFill/>
                </a:ln>
                <a:solidFill>
                  <a:srgbClr val="000000"/>
                </a:solidFill>
                <a:effectLst/>
                <a:uLnTx/>
                <a:uFillTx/>
                <a:latin typeface="Open Sans (Body)"/>
                <a:cs typeface="Calibri Light" panose="020F0302020204030204" pitchFamily="34" charset="0"/>
              </a:rPr>
              <a:t>Key competencies may be missing from the organization</a:t>
            </a:r>
          </a:p>
          <a:p>
            <a:pPr marL="171450" lvl="0" indent="-171450" defTabSz="914400">
              <a:buFont typeface="Arial" panose="020B0604020202020204" pitchFamily="34" charset="0"/>
              <a:buChar char="•"/>
              <a:defRPr/>
            </a:pPr>
            <a:r>
              <a:rPr lang="en-US" sz="1000" noProof="0" dirty="0">
                <a:solidFill>
                  <a:srgbClr val="000000"/>
                </a:solidFill>
                <a:latin typeface="Open Sans (Body)"/>
                <a:cs typeface="Calibri Light" panose="020F0302020204030204" pitchFamily="34" charset="0"/>
              </a:rPr>
              <a:t>The potential for </a:t>
            </a:r>
            <a:r>
              <a:rPr lang="hu-HU" sz="1000" noProof="0" dirty="0">
                <a:solidFill>
                  <a:srgbClr val="000000"/>
                </a:solidFill>
                <a:latin typeface="Open Sans (Body)"/>
                <a:cs typeface="Calibri Light" panose="020F0302020204030204" pitchFamily="34" charset="0"/>
              </a:rPr>
              <a:t>BSC</a:t>
            </a:r>
            <a:r>
              <a:rPr lang="en-US" sz="1000" noProof="0" dirty="0">
                <a:solidFill>
                  <a:srgbClr val="000000"/>
                </a:solidFill>
                <a:latin typeface="Open Sans (Body)"/>
                <a:cs typeface="Calibri Light" panose="020F0302020204030204" pitchFamily="34" charset="0"/>
              </a:rPr>
              <a:t>-level synergies is difficult to realize</a:t>
            </a:r>
            <a:endParaRPr kumimoji="0" lang="en-US" sz="1000" i="0" u="none" strike="noStrike" kern="1200" cap="none" spc="0" normalizeH="0" baseline="0" noProof="0" dirty="0">
              <a:ln>
                <a:noFill/>
              </a:ln>
              <a:solidFill>
                <a:srgbClr val="000000"/>
              </a:solidFill>
              <a:effectLst/>
              <a:uLnTx/>
              <a:uFillTx/>
              <a:latin typeface="Open Sans (Body)"/>
              <a:cs typeface="Calibri Light" panose="020F0302020204030204" pitchFamily="34" charset="0"/>
            </a:endParaRPr>
          </a:p>
        </p:txBody>
      </p:sp>
      <p:sp>
        <p:nvSpPr>
          <p:cNvPr id="37" name="Oval 36">
            <a:extLst>
              <a:ext uri="{FF2B5EF4-FFF2-40B4-BE49-F238E27FC236}">
                <a16:creationId xmlns:a16="http://schemas.microsoft.com/office/drawing/2014/main" id="{682456D9-5E45-DDCC-8672-17EE0BBF1013}"/>
              </a:ext>
            </a:extLst>
          </p:cNvPr>
          <p:cNvSpPr>
            <a:spLocks/>
          </p:cNvSpPr>
          <p:nvPr/>
        </p:nvSpPr>
        <p:spPr>
          <a:xfrm>
            <a:off x="701943" y="2979928"/>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Open Sans (Body)"/>
              </a:rPr>
              <a:t>-</a:t>
            </a:r>
          </a:p>
        </p:txBody>
      </p:sp>
      <p:cxnSp>
        <p:nvCxnSpPr>
          <p:cNvPr id="38" name="Straight Connector 37">
            <a:extLst>
              <a:ext uri="{FF2B5EF4-FFF2-40B4-BE49-F238E27FC236}">
                <a16:creationId xmlns:a16="http://schemas.microsoft.com/office/drawing/2014/main" id="{C82D3AA6-E40A-43FE-39F6-89CFAB66CA0E}"/>
              </a:ext>
            </a:extLst>
          </p:cNvPr>
          <p:cNvCxnSpPr/>
          <p:nvPr/>
        </p:nvCxnSpPr>
        <p:spPr>
          <a:xfrm>
            <a:off x="4485472" y="1593986"/>
            <a:ext cx="3348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7C04F9F0-DE6E-F689-C062-5C3EF503034A}"/>
              </a:ext>
            </a:extLst>
          </p:cNvPr>
          <p:cNvSpPr/>
          <p:nvPr/>
        </p:nvSpPr>
        <p:spPr>
          <a:xfrm>
            <a:off x="4485472" y="1326970"/>
            <a:ext cx="3348000"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indent="0" fontAlgn="auto">
              <a:lnSpc>
                <a:spcPct val="100000"/>
              </a:lnSpc>
              <a:spcBef>
                <a:spcPts val="0"/>
              </a:spcBef>
              <a:spcAft>
                <a:spcPts val="0"/>
              </a:spcAft>
              <a:buClrTx/>
              <a:buSzTx/>
              <a:buFontTx/>
              <a:buNone/>
              <a:tabLst/>
              <a:defRPr/>
            </a:pPr>
            <a:r>
              <a:rPr lang="en-US" sz="1400" b="1" dirty="0">
                <a:solidFill>
                  <a:schemeClr val="tx1"/>
                </a:solidFill>
                <a:latin typeface="Open Sans (Body)"/>
              </a:rPr>
              <a:t>Classic support function</a:t>
            </a:r>
          </a:p>
        </p:txBody>
      </p:sp>
      <p:sp>
        <p:nvSpPr>
          <p:cNvPr id="45" name="Freeform 73">
            <a:extLst>
              <a:ext uri="{FF2B5EF4-FFF2-40B4-BE49-F238E27FC236}">
                <a16:creationId xmlns:a16="http://schemas.microsoft.com/office/drawing/2014/main" id="{73CAD937-0039-F611-9B99-D260DFFFE283}"/>
              </a:ext>
            </a:extLst>
          </p:cNvPr>
          <p:cNvSpPr>
            <a:spLocks/>
          </p:cNvSpPr>
          <p:nvPr/>
        </p:nvSpPr>
        <p:spPr bwMode="auto">
          <a:xfrm>
            <a:off x="4467472" y="2236734"/>
            <a:ext cx="3384000" cy="731520"/>
          </a:xfrm>
          <a:prstGeom prst="rect">
            <a:avLst/>
          </a:prstGeom>
          <a:solidFill>
            <a:schemeClr val="accent5">
              <a:lumMod val="20000"/>
              <a:lumOff val="80000"/>
            </a:schemeClr>
          </a:solidFill>
          <a:ln w="17" cap="rnd">
            <a:solidFill>
              <a:schemeClr val="accent1">
                <a:lumMod val="20000"/>
                <a:lumOff val="80000"/>
              </a:schemeClr>
            </a:solidFill>
            <a:prstDash val="solid"/>
            <a:round/>
            <a:headEnd/>
            <a:tailEnd/>
          </a:ln>
        </p:spPr>
        <p:txBody>
          <a:bodyPr vert="horz" wrap="square" lIns="91440" tIns="91440" rIns="91440" bIns="45720" numCol="1" anchor="t" anchorCtr="0" compatLnSpc="1">
            <a:prstTxWarp prst="textNoShape">
              <a:avLst/>
            </a:prstTxWarp>
          </a:bodyPr>
          <a:lstStyle/>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The goals are in line with the GBS strategy</a:t>
            </a:r>
          </a:p>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It promotes market-oriented operation and can lead to a healthy competitive situation</a:t>
            </a:r>
          </a:p>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It can result in cost-effective operation</a:t>
            </a:r>
            <a:endParaRPr kumimoji="0" lang="en-US" sz="1000" b="0" i="0" u="none" strike="noStrike" kern="1200" cap="none" spc="0" normalizeH="0" baseline="0" noProof="0" dirty="0">
              <a:ln>
                <a:noFill/>
              </a:ln>
              <a:solidFill>
                <a:srgbClr val="000000"/>
              </a:solidFill>
              <a:effectLst/>
              <a:uLnTx/>
              <a:uFillTx/>
              <a:latin typeface="Open Sans (Body)"/>
              <a:cs typeface="Calibri Light" panose="020F0302020204030204" pitchFamily="34" charset="0"/>
            </a:endParaRPr>
          </a:p>
        </p:txBody>
      </p:sp>
      <p:sp>
        <p:nvSpPr>
          <p:cNvPr id="48" name="Freeform 74">
            <a:extLst>
              <a:ext uri="{FF2B5EF4-FFF2-40B4-BE49-F238E27FC236}">
                <a16:creationId xmlns:a16="http://schemas.microsoft.com/office/drawing/2014/main" id="{D1563618-7589-E6E0-63CE-9BEFE7BE7300}"/>
              </a:ext>
            </a:extLst>
          </p:cNvPr>
          <p:cNvSpPr>
            <a:spLocks/>
          </p:cNvSpPr>
          <p:nvPr/>
        </p:nvSpPr>
        <p:spPr bwMode="auto">
          <a:xfrm>
            <a:off x="4467472" y="3052981"/>
            <a:ext cx="3384000" cy="859552"/>
          </a:xfrm>
          <a:prstGeom prst="rect">
            <a:avLst/>
          </a:prstGeom>
          <a:solidFill>
            <a:schemeClr val="bg1">
              <a:lumMod val="95000"/>
            </a:schemeClr>
          </a:solidFill>
          <a:ln w="17" cap="rnd">
            <a:solidFill>
              <a:srgbClr val="FF0000">
                <a:alpha val="23922"/>
              </a:srgbClr>
            </a:solidFill>
            <a:prstDash val="solid"/>
            <a:round/>
            <a:headEnd/>
            <a:tailEnd/>
          </a:ln>
        </p:spPr>
        <p:txBody>
          <a:bodyPr vert="horz" wrap="square" lIns="91440" tIns="91440" rIns="0" bIns="45720" numCol="1" anchor="t" anchorCtr="0" compatLnSpc="1">
            <a:prstTxWarp prst="textNoShape">
              <a:avLst/>
            </a:prstTxWarp>
          </a:bodyPr>
          <a:lstStyle/>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T</a:t>
            </a:r>
            <a:r>
              <a:rPr lang="en-US" sz="1000" noProof="0" dirty="0">
                <a:solidFill>
                  <a:srgbClr val="000000"/>
                </a:solidFill>
                <a:latin typeface="Open Sans (Body)"/>
                <a:cs typeface="Calibri Light" panose="020F0302020204030204" pitchFamily="34" charset="0"/>
              </a:rPr>
              <a:t>he </a:t>
            </a:r>
            <a:r>
              <a:rPr lang="hu-HU" sz="1000" noProof="0" dirty="0">
                <a:solidFill>
                  <a:srgbClr val="000000"/>
                </a:solidFill>
                <a:latin typeface="Open Sans (Body)"/>
                <a:cs typeface="Calibri Light" panose="020F0302020204030204" pitchFamily="34" charset="0"/>
              </a:rPr>
              <a:t>BSC</a:t>
            </a:r>
            <a:r>
              <a:rPr lang="en-US" sz="1000" noProof="0" dirty="0">
                <a:solidFill>
                  <a:srgbClr val="000000"/>
                </a:solidFill>
                <a:latin typeface="Open Sans (Body)"/>
                <a:cs typeface="Calibri Light" panose="020F0302020204030204" pitchFamily="34" charset="0"/>
              </a:rPr>
              <a:t> interest prevails to a small extent</a:t>
            </a:r>
            <a:endParaRPr lang="en-US" sz="1000" dirty="0">
              <a:solidFill>
                <a:srgbClr val="000000"/>
              </a:solidFill>
              <a:latin typeface="Open Sans (Body)"/>
              <a:cs typeface="Calibri Light" panose="020F0302020204030204" pitchFamily="34" charset="0"/>
            </a:endParaRPr>
          </a:p>
          <a:p>
            <a:pPr marL="171450" lvl="0" indent="-171450" defTabSz="914400">
              <a:buFont typeface="Arial" panose="020B0604020202020204" pitchFamily="34" charset="0"/>
              <a:buChar char="•"/>
              <a:defRPr/>
            </a:pPr>
            <a:r>
              <a:rPr lang="en-US" sz="1000" noProof="0" dirty="0">
                <a:solidFill>
                  <a:srgbClr val="000000"/>
                </a:solidFill>
                <a:latin typeface="Open Sans (Body)"/>
                <a:cs typeface="Calibri Light" panose="020F0302020204030204" pitchFamily="34" charset="0"/>
              </a:rPr>
              <a:t>The potential for </a:t>
            </a:r>
            <a:r>
              <a:rPr lang="en-US" sz="1000" dirty="0">
                <a:solidFill>
                  <a:srgbClr val="000000"/>
                </a:solidFill>
                <a:latin typeface="Open Sans (Body)"/>
                <a:cs typeface="Calibri Light" panose="020F0302020204030204" pitchFamily="34" charset="0"/>
              </a:rPr>
              <a:t>BSC</a:t>
            </a:r>
            <a:r>
              <a:rPr lang="en-US" sz="1000" noProof="0" dirty="0">
                <a:solidFill>
                  <a:srgbClr val="000000"/>
                </a:solidFill>
                <a:latin typeface="Open Sans (Body)"/>
                <a:cs typeface="Calibri Light" panose="020F0302020204030204" pitchFamily="34" charset="0"/>
              </a:rPr>
              <a:t>-level synergies is difficult to realize</a:t>
            </a:r>
            <a:endParaRPr kumimoji="0" lang="en-US" sz="1000" i="0" u="none" strike="noStrike" kern="1200" cap="none" spc="0" normalizeH="0" baseline="0" noProof="0" dirty="0">
              <a:ln>
                <a:noFill/>
              </a:ln>
              <a:solidFill>
                <a:srgbClr val="000000"/>
              </a:solidFill>
              <a:effectLst/>
              <a:uLnTx/>
              <a:uFillTx/>
              <a:latin typeface="Open Sans (Body)"/>
              <a:cs typeface="Calibri Light" panose="020F0302020204030204" pitchFamily="34" charset="0"/>
            </a:endParaRPr>
          </a:p>
          <a:p>
            <a:pPr marL="17145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Prioritization between projects and internal accounting can be a problem</a:t>
            </a:r>
            <a:endParaRPr kumimoji="0" lang="en-US" sz="1000" b="0" i="0" u="none" strike="noStrike" kern="1200" cap="none" spc="0" normalizeH="0" baseline="0" noProof="0" dirty="0">
              <a:ln>
                <a:noFill/>
              </a:ln>
              <a:solidFill>
                <a:srgbClr val="000000"/>
              </a:solidFill>
              <a:effectLst/>
              <a:uLnTx/>
              <a:uFillTx/>
              <a:latin typeface="Open Sans (Body)"/>
              <a:cs typeface="Calibri Light" panose="020F0302020204030204" pitchFamily="34" charset="0"/>
            </a:endParaRPr>
          </a:p>
        </p:txBody>
      </p:sp>
      <p:sp>
        <p:nvSpPr>
          <p:cNvPr id="67" name="Rectangle 66">
            <a:extLst>
              <a:ext uri="{FF2B5EF4-FFF2-40B4-BE49-F238E27FC236}">
                <a16:creationId xmlns:a16="http://schemas.microsoft.com/office/drawing/2014/main" id="{1283E06F-60AC-257B-7466-937760A90F3C}"/>
              </a:ext>
            </a:extLst>
          </p:cNvPr>
          <p:cNvSpPr/>
          <p:nvPr/>
        </p:nvSpPr>
        <p:spPr>
          <a:xfrm>
            <a:off x="4467472" y="1605605"/>
            <a:ext cx="3384000" cy="700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000" dirty="0">
                <a:solidFill>
                  <a:srgbClr val="000000"/>
                </a:solidFill>
                <a:latin typeface="Open Sans (Body)"/>
                <a:cs typeface="Calibri Light" panose="020F0302020204030204" pitchFamily="34" charset="0"/>
              </a:rPr>
              <a:t>Innovation initiatives are managed by the Director level and are implemented in a sovereign manner by each value streams, but tasks that can be performed by a central support function</a:t>
            </a:r>
            <a:r>
              <a:rPr lang="hu-HU" sz="1000" dirty="0">
                <a:solidFill>
                  <a:srgbClr val="000000"/>
                </a:solidFill>
                <a:latin typeface="Open Sans (Body)"/>
                <a:cs typeface="Calibri Light" panose="020F0302020204030204" pitchFamily="34" charset="0"/>
              </a:rPr>
              <a:t>.</a:t>
            </a:r>
            <a:endParaRPr lang="en-US" sz="1000" dirty="0">
              <a:solidFill>
                <a:srgbClr val="000000"/>
              </a:solidFill>
              <a:latin typeface="Open Sans (Body)"/>
              <a:cs typeface="Calibri Light" panose="020F0302020204030204" pitchFamily="34" charset="0"/>
            </a:endParaRPr>
          </a:p>
        </p:txBody>
      </p:sp>
      <p:sp>
        <p:nvSpPr>
          <p:cNvPr id="70" name="Oval 69">
            <a:extLst>
              <a:ext uri="{FF2B5EF4-FFF2-40B4-BE49-F238E27FC236}">
                <a16:creationId xmlns:a16="http://schemas.microsoft.com/office/drawing/2014/main" id="{B530918F-3911-23DD-9732-4B49AF24CEEE}"/>
              </a:ext>
            </a:extLst>
          </p:cNvPr>
          <p:cNvSpPr>
            <a:spLocks/>
          </p:cNvSpPr>
          <p:nvPr/>
        </p:nvSpPr>
        <p:spPr>
          <a:xfrm>
            <a:off x="4451118" y="2979928"/>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Open Sans (Body)"/>
              </a:rPr>
              <a:t>-</a:t>
            </a:r>
          </a:p>
        </p:txBody>
      </p:sp>
      <p:cxnSp>
        <p:nvCxnSpPr>
          <p:cNvPr id="75" name="Straight Connector 74">
            <a:extLst>
              <a:ext uri="{FF2B5EF4-FFF2-40B4-BE49-F238E27FC236}">
                <a16:creationId xmlns:a16="http://schemas.microsoft.com/office/drawing/2014/main" id="{E50D1C27-71BD-8B4A-5A07-81F912D77183}"/>
              </a:ext>
            </a:extLst>
          </p:cNvPr>
          <p:cNvCxnSpPr/>
          <p:nvPr/>
        </p:nvCxnSpPr>
        <p:spPr>
          <a:xfrm>
            <a:off x="8232316" y="1582292"/>
            <a:ext cx="3348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98F324CF-80A5-7F18-A039-5BB431B65C79}"/>
              </a:ext>
            </a:extLst>
          </p:cNvPr>
          <p:cNvSpPr/>
          <p:nvPr/>
        </p:nvSpPr>
        <p:spPr>
          <a:xfrm>
            <a:off x="8232316" y="1315276"/>
            <a:ext cx="3348000" cy="32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b="1" dirty="0">
                <a:solidFill>
                  <a:schemeClr val="tx1"/>
                </a:solidFill>
                <a:latin typeface="Open Sans (Body)"/>
              </a:rPr>
              <a:t>Centralized innovation function</a:t>
            </a:r>
          </a:p>
        </p:txBody>
      </p:sp>
      <p:sp>
        <p:nvSpPr>
          <p:cNvPr id="77" name="Rectangle 76">
            <a:extLst>
              <a:ext uri="{FF2B5EF4-FFF2-40B4-BE49-F238E27FC236}">
                <a16:creationId xmlns:a16="http://schemas.microsoft.com/office/drawing/2014/main" id="{025E9E87-5A81-1B72-B6F3-460D38F3B634}"/>
              </a:ext>
            </a:extLst>
          </p:cNvPr>
          <p:cNvSpPr/>
          <p:nvPr/>
        </p:nvSpPr>
        <p:spPr>
          <a:xfrm>
            <a:off x="8243333" y="1605605"/>
            <a:ext cx="3348000" cy="6858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914400">
              <a:defRPr/>
            </a:pPr>
            <a:r>
              <a:rPr lang="en-US" sz="1000" dirty="0">
                <a:solidFill>
                  <a:srgbClr val="000000"/>
                </a:solidFill>
                <a:latin typeface="Open Sans (Body)"/>
                <a:cs typeface="Calibri Light" panose="020F0302020204030204" pitchFamily="34" charset="0"/>
              </a:rPr>
              <a:t>Each value stream is an exclusively innovation-focused area at the same level, which alone is responsible for implementing </a:t>
            </a:r>
            <a:r>
              <a:rPr lang="hu-HU" sz="1000" dirty="0">
                <a:solidFill>
                  <a:srgbClr val="000000"/>
                </a:solidFill>
                <a:latin typeface="Open Sans (Body)"/>
                <a:cs typeface="Calibri Light" panose="020F0302020204030204" pitchFamily="34" charset="0"/>
              </a:rPr>
              <a:t>BSC</a:t>
            </a:r>
            <a:r>
              <a:rPr lang="en-US" sz="1000" dirty="0">
                <a:solidFill>
                  <a:srgbClr val="000000"/>
                </a:solidFill>
                <a:latin typeface="Open Sans (Body)"/>
                <a:cs typeface="Calibri Light" panose="020F0302020204030204" pitchFamily="34" charset="0"/>
              </a:rPr>
              <a:t>-level innovation efforts. </a:t>
            </a:r>
          </a:p>
        </p:txBody>
      </p:sp>
      <p:sp>
        <p:nvSpPr>
          <p:cNvPr id="78" name="Freeform 109">
            <a:extLst>
              <a:ext uri="{FF2B5EF4-FFF2-40B4-BE49-F238E27FC236}">
                <a16:creationId xmlns:a16="http://schemas.microsoft.com/office/drawing/2014/main" id="{08DE0B82-B267-8A49-7A49-02916423124A}"/>
              </a:ext>
            </a:extLst>
          </p:cNvPr>
          <p:cNvSpPr>
            <a:spLocks/>
          </p:cNvSpPr>
          <p:nvPr/>
        </p:nvSpPr>
        <p:spPr bwMode="auto">
          <a:xfrm>
            <a:off x="8232316" y="2236734"/>
            <a:ext cx="3348000" cy="731520"/>
          </a:xfrm>
          <a:prstGeom prst="rect">
            <a:avLst/>
          </a:prstGeom>
          <a:solidFill>
            <a:schemeClr val="accent5">
              <a:lumMod val="20000"/>
              <a:lumOff val="80000"/>
            </a:schemeClr>
          </a:solidFill>
          <a:ln w="17" cap="rnd">
            <a:solidFill>
              <a:schemeClr val="accent1">
                <a:lumMod val="20000"/>
                <a:lumOff val="80000"/>
              </a:schemeClr>
            </a:solidFill>
            <a:prstDash val="solid"/>
            <a:round/>
            <a:headEnd/>
            <a:tailEnd/>
          </a:ln>
        </p:spPr>
        <p:txBody>
          <a:bodyPr vert="horz" wrap="square" lIns="91440" tIns="91440" rIns="91440" bIns="45720" numCol="1" anchor="t" anchorCtr="0" compatLnSpc="1">
            <a:prstTxWarp prst="textNoShape">
              <a:avLst/>
            </a:prstTxWarp>
          </a:bodyPr>
          <a:lstStyle/>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Focused and seamless innovation activity</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The goals are in line with the GBS strategy</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Value streams can focus on BAU operations</a:t>
            </a:r>
          </a:p>
        </p:txBody>
      </p:sp>
      <p:sp>
        <p:nvSpPr>
          <p:cNvPr id="79" name="Freeform 112">
            <a:extLst>
              <a:ext uri="{FF2B5EF4-FFF2-40B4-BE49-F238E27FC236}">
                <a16:creationId xmlns:a16="http://schemas.microsoft.com/office/drawing/2014/main" id="{C27A8274-1F35-6BAE-7086-59C2A4EEDA68}"/>
              </a:ext>
            </a:extLst>
          </p:cNvPr>
          <p:cNvSpPr>
            <a:spLocks/>
          </p:cNvSpPr>
          <p:nvPr/>
        </p:nvSpPr>
        <p:spPr bwMode="auto">
          <a:xfrm>
            <a:off x="8210884" y="3052981"/>
            <a:ext cx="3438000" cy="859551"/>
          </a:xfrm>
          <a:prstGeom prst="rect">
            <a:avLst/>
          </a:prstGeom>
          <a:solidFill>
            <a:schemeClr val="bg1">
              <a:lumMod val="95000"/>
            </a:schemeClr>
          </a:solidFill>
          <a:ln w="17" cap="rnd">
            <a:solidFill>
              <a:srgbClr val="FF0000">
                <a:alpha val="23922"/>
              </a:srgbClr>
            </a:solidFill>
            <a:prstDash val="solid"/>
            <a:round/>
            <a:headEnd/>
            <a:tailEnd/>
          </a:ln>
        </p:spPr>
        <p:txBody>
          <a:bodyPr vert="horz" wrap="square" lIns="91440" tIns="91440" rIns="91440" bIns="45720" numCol="1" anchor="t" anchorCtr="0" compatLnSpc="1">
            <a:prstTxWarp prst="textNoShape">
              <a:avLst/>
            </a:prstTxWarp>
          </a:bodyPr>
          <a:lstStyle/>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The other value streams are less interested in innovation</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Prioritization between projects can be a problem</a:t>
            </a:r>
          </a:p>
          <a:p>
            <a:pPr marL="171450" lvl="0" indent="-171450" defTabSz="914400">
              <a:buFont typeface="Arial" panose="020B0604020202020204" pitchFamily="34" charset="0"/>
              <a:buChar char="•"/>
              <a:defRPr/>
            </a:pPr>
            <a:r>
              <a:rPr lang="en-US" sz="1000" dirty="0">
                <a:solidFill>
                  <a:srgbClr val="000000"/>
                </a:solidFill>
                <a:latin typeface="Open Sans (Body)"/>
                <a:cs typeface="Calibri Light" panose="020F0302020204030204" pitchFamily="34" charset="0"/>
              </a:rPr>
              <a:t>The use of competencies and resources is inefficient</a:t>
            </a:r>
          </a:p>
        </p:txBody>
      </p:sp>
      <p:sp>
        <p:nvSpPr>
          <p:cNvPr id="80" name="Oval 79">
            <a:extLst>
              <a:ext uri="{FF2B5EF4-FFF2-40B4-BE49-F238E27FC236}">
                <a16:creationId xmlns:a16="http://schemas.microsoft.com/office/drawing/2014/main" id="{86E15BE1-1231-C41F-D26B-3BE90E8E527A}"/>
              </a:ext>
            </a:extLst>
          </p:cNvPr>
          <p:cNvSpPr>
            <a:spLocks/>
          </p:cNvSpPr>
          <p:nvPr/>
        </p:nvSpPr>
        <p:spPr>
          <a:xfrm>
            <a:off x="8177773" y="2979928"/>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Open Sans (Body)"/>
              </a:rPr>
              <a:t>-</a:t>
            </a:r>
          </a:p>
        </p:txBody>
      </p:sp>
      <p:sp>
        <p:nvSpPr>
          <p:cNvPr id="82" name="Oval 81">
            <a:extLst>
              <a:ext uri="{FF2B5EF4-FFF2-40B4-BE49-F238E27FC236}">
                <a16:creationId xmlns:a16="http://schemas.microsoft.com/office/drawing/2014/main" id="{B3877F5A-EF92-DA9E-6755-BC6324EF14BF}"/>
              </a:ext>
            </a:extLst>
          </p:cNvPr>
          <p:cNvSpPr>
            <a:spLocks/>
          </p:cNvSpPr>
          <p:nvPr/>
        </p:nvSpPr>
        <p:spPr>
          <a:xfrm>
            <a:off x="8176425" y="2168154"/>
            <a:ext cx="182880"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sp>
        <p:nvSpPr>
          <p:cNvPr id="83" name="Oval 82">
            <a:extLst>
              <a:ext uri="{FF2B5EF4-FFF2-40B4-BE49-F238E27FC236}">
                <a16:creationId xmlns:a16="http://schemas.microsoft.com/office/drawing/2014/main" id="{AF890817-70AF-C1A8-6BE8-D30582E1BE27}"/>
              </a:ext>
            </a:extLst>
          </p:cNvPr>
          <p:cNvSpPr>
            <a:spLocks/>
          </p:cNvSpPr>
          <p:nvPr/>
        </p:nvSpPr>
        <p:spPr>
          <a:xfrm>
            <a:off x="4410257" y="2168154"/>
            <a:ext cx="193749"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sp>
        <p:nvSpPr>
          <p:cNvPr id="111" name="Oval 110">
            <a:extLst>
              <a:ext uri="{FF2B5EF4-FFF2-40B4-BE49-F238E27FC236}">
                <a16:creationId xmlns:a16="http://schemas.microsoft.com/office/drawing/2014/main" id="{7875DD07-C854-1AC0-BEBF-BA6E92B2E620}"/>
              </a:ext>
            </a:extLst>
          </p:cNvPr>
          <p:cNvSpPr>
            <a:spLocks/>
          </p:cNvSpPr>
          <p:nvPr/>
        </p:nvSpPr>
        <p:spPr>
          <a:xfrm>
            <a:off x="711257" y="2168154"/>
            <a:ext cx="182880"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rgbClr val="FFFFFF"/>
                </a:solidFill>
                <a:effectLst/>
                <a:uLnTx/>
                <a:uFillTx/>
                <a:latin typeface="Open Sans (Body)"/>
              </a:rPr>
              <a:t>+</a:t>
            </a:r>
          </a:p>
        </p:txBody>
      </p:sp>
    </p:spTree>
    <p:extLst>
      <p:ext uri="{BB962C8B-B14F-4D97-AF65-F5344CB8AC3E}">
        <p14:creationId xmlns:p14="http://schemas.microsoft.com/office/powerpoint/2010/main" val="23544481"/>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9" name="Object 8"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7" name="Rectangle 6"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3" name="Rectangle 2"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4" name="Rectangle 3" hidden="1"/>
          <p:cNvSpPr/>
          <p:nvPr>
            <p:custDataLst>
              <p:tags r:id="rId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u-HU"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15" name="Rectangle 14" hidden="1"/>
          <p:cNvSpPr/>
          <p:nvPr>
            <p:custDataLst>
              <p:tags r:id="rId6"/>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4" name="Rectangle 13" hidden="1"/>
          <p:cNvSpPr/>
          <p:nvPr>
            <p:custDataLst>
              <p:tags r:id="rId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3" name="Rectangle 12" hidden="1"/>
          <p:cNvSpPr/>
          <p:nvPr>
            <p:custDataLst>
              <p:tags r:id="rId8"/>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2" name="Rectangle 11" hidden="1"/>
          <p:cNvSpPr/>
          <p:nvPr>
            <p:custDataLst>
              <p:tags r:id="rId9"/>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2" name="Rectangle 1" hidden="1"/>
          <p:cNvSpPr/>
          <p:nvPr>
            <p:custDataLst>
              <p:tags r:id="rId10"/>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u-HU" sz="21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102" name="Text Placeholder 4">
            <a:extLst>
              <a:ext uri="{FF2B5EF4-FFF2-40B4-BE49-F238E27FC236}">
                <a16:creationId xmlns:a16="http://schemas.microsoft.com/office/drawing/2014/main" id="{364E7D66-B6FC-4B3D-8AC6-F05BF89C9D80}"/>
              </a:ext>
            </a:extLst>
          </p:cNvPr>
          <p:cNvSpPr>
            <a:spLocks noGrp="1"/>
          </p:cNvSpPr>
          <p:nvPr>
            <p:ph type="body" sz="quarter" idx="22"/>
          </p:nvPr>
        </p:nvSpPr>
        <p:spPr/>
        <p:txBody>
          <a:bodyPr/>
          <a:lstStyle/>
          <a:p>
            <a:r>
              <a:rPr lang="en-US" dirty="0"/>
              <a:t>Our practical approach combines the </a:t>
            </a:r>
            <a:r>
              <a:rPr lang="hu-HU" dirty="0"/>
              <a:t>elements of </a:t>
            </a:r>
            <a:r>
              <a:rPr lang="en-US" dirty="0"/>
              <a:t>agile methodology and stage-gate systems</a:t>
            </a:r>
          </a:p>
        </p:txBody>
      </p:sp>
      <p:sp>
        <p:nvSpPr>
          <p:cNvPr id="10" name="Title 3"/>
          <p:cNvSpPr>
            <a:spLocks noGrp="1"/>
          </p:cNvSpPr>
          <p:nvPr>
            <p:ph type="title"/>
          </p:nvPr>
        </p:nvSpPr>
        <p:spPr/>
        <p:txBody>
          <a:bodyPr vert="horz"/>
          <a:lstStyle/>
          <a:p>
            <a:r>
              <a:rPr lang="hu-HU" dirty="0" err="1"/>
              <a:t>Our</a:t>
            </a:r>
            <a:r>
              <a:rPr lang="hu-HU" dirty="0"/>
              <a:t> </a:t>
            </a:r>
            <a:r>
              <a:rPr lang="hu-HU" dirty="0" err="1"/>
              <a:t>innovation</a:t>
            </a:r>
            <a:r>
              <a:rPr lang="hu-HU" dirty="0"/>
              <a:t> </a:t>
            </a:r>
            <a:r>
              <a:rPr lang="en-US" dirty="0"/>
              <a:t>approach</a:t>
            </a:r>
          </a:p>
        </p:txBody>
      </p:sp>
      <p:sp>
        <p:nvSpPr>
          <p:cNvPr id="91" name="Footer Placeholder 3">
            <a:extLst>
              <a:ext uri="{FF2B5EF4-FFF2-40B4-BE49-F238E27FC236}">
                <a16:creationId xmlns:a16="http://schemas.microsoft.com/office/drawing/2014/main" id="{32469CE9-8EE7-4969-BBCC-2912A6A03890}"/>
              </a:ext>
            </a:extLst>
          </p:cNvPr>
          <p:cNvSpPr>
            <a:spLocks noGrp="1"/>
          </p:cNvSpPr>
          <p:nvPr>
            <p:ph type="ftr" sz="quarter" idx="4294967295"/>
          </p:nvPr>
        </p:nvSpPr>
        <p:spPr>
          <a:xfrm>
            <a:off x="0" y="63817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Light"/>
                <a:ea typeface="+mn-ea"/>
                <a:cs typeface="+mn-cs"/>
              </a:rPr>
              <a:t>© 202</a:t>
            </a:r>
            <a:r>
              <a:rPr kumimoji="0" lang="hu-HU" sz="900" b="0" i="0" u="none" strike="noStrike" kern="1200" cap="none" spc="0" normalizeH="0" baseline="0" noProof="0" dirty="0">
                <a:ln>
                  <a:noFill/>
                </a:ln>
                <a:solidFill>
                  <a:prstClr val="black"/>
                </a:solidFill>
                <a:effectLst/>
                <a:uLnTx/>
                <a:uFillTx/>
                <a:latin typeface="Calibri Light"/>
                <a:ea typeface="+mn-ea"/>
                <a:cs typeface="+mn-cs"/>
              </a:rPr>
              <a:t>2</a:t>
            </a:r>
            <a:r>
              <a:rPr kumimoji="0" lang="en-US" sz="900" b="0" i="0" u="none" strike="noStrike" kern="1200" cap="none" spc="0" normalizeH="0" baseline="0" noProof="0" dirty="0">
                <a:ln>
                  <a:noFill/>
                </a:ln>
                <a:solidFill>
                  <a:prstClr val="black"/>
                </a:solidFill>
                <a:effectLst/>
                <a:uLnTx/>
                <a:uFillTx/>
                <a:latin typeface="Calibri Light"/>
                <a:ea typeface="+mn-ea"/>
                <a:cs typeface="+mn-cs"/>
              </a:rPr>
              <a:t> Deloitte Hungary</a:t>
            </a:r>
          </a:p>
        </p:txBody>
      </p:sp>
      <p:cxnSp>
        <p:nvCxnSpPr>
          <p:cNvPr id="117" name="Straight Connector 116">
            <a:extLst>
              <a:ext uri="{FF2B5EF4-FFF2-40B4-BE49-F238E27FC236}">
                <a16:creationId xmlns:a16="http://schemas.microsoft.com/office/drawing/2014/main" id="{27160811-6216-480B-A220-DC9392E97A85}"/>
              </a:ext>
            </a:extLst>
          </p:cNvPr>
          <p:cNvCxnSpPr/>
          <p:nvPr/>
        </p:nvCxnSpPr>
        <p:spPr>
          <a:xfrm>
            <a:off x="9085323" y="2467571"/>
            <a:ext cx="0" cy="35958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8" name="Right Arrow 55">
            <a:extLst>
              <a:ext uri="{FF2B5EF4-FFF2-40B4-BE49-F238E27FC236}">
                <a16:creationId xmlns:a16="http://schemas.microsoft.com/office/drawing/2014/main" id="{DC4C4D5B-986F-4AC7-BF6F-A3A2E633DE27}"/>
              </a:ext>
            </a:extLst>
          </p:cNvPr>
          <p:cNvSpPr/>
          <p:nvPr/>
        </p:nvSpPr>
        <p:spPr>
          <a:xfrm>
            <a:off x="9261841" y="6054807"/>
            <a:ext cx="1387618" cy="34175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9" name="Right Arrow 72">
            <a:extLst>
              <a:ext uri="{FF2B5EF4-FFF2-40B4-BE49-F238E27FC236}">
                <a16:creationId xmlns:a16="http://schemas.microsoft.com/office/drawing/2014/main" id="{E3ECE227-7415-4633-9A7F-5EF92E5D335F}"/>
              </a:ext>
            </a:extLst>
          </p:cNvPr>
          <p:cNvSpPr/>
          <p:nvPr/>
        </p:nvSpPr>
        <p:spPr>
          <a:xfrm>
            <a:off x="7424488" y="6054807"/>
            <a:ext cx="1911461" cy="34175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cxnSp>
        <p:nvCxnSpPr>
          <p:cNvPr id="120" name="Straight Connector 119">
            <a:extLst>
              <a:ext uri="{FF2B5EF4-FFF2-40B4-BE49-F238E27FC236}">
                <a16:creationId xmlns:a16="http://schemas.microsoft.com/office/drawing/2014/main" id="{B5F35E3E-E8EC-44E1-8845-9B527068FB3F}"/>
              </a:ext>
            </a:extLst>
          </p:cNvPr>
          <p:cNvCxnSpPr/>
          <p:nvPr/>
        </p:nvCxnSpPr>
        <p:spPr>
          <a:xfrm>
            <a:off x="1722722" y="2467571"/>
            <a:ext cx="0" cy="35958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BEBBAEB-1B99-4A02-BA7F-DAAB16863CF4}"/>
              </a:ext>
            </a:extLst>
          </p:cNvPr>
          <p:cNvCxnSpPr/>
          <p:nvPr/>
        </p:nvCxnSpPr>
        <p:spPr>
          <a:xfrm>
            <a:off x="3243133" y="2467571"/>
            <a:ext cx="0" cy="35958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778DA75-17FC-4951-9C21-C053E8C669EF}"/>
              </a:ext>
            </a:extLst>
          </p:cNvPr>
          <p:cNvCxnSpPr/>
          <p:nvPr/>
        </p:nvCxnSpPr>
        <p:spPr>
          <a:xfrm>
            <a:off x="5514030" y="2467571"/>
            <a:ext cx="0" cy="35958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15D5034-A43C-41F3-BE14-F59BE6FF1B35}"/>
              </a:ext>
            </a:extLst>
          </p:cNvPr>
          <p:cNvCxnSpPr/>
          <p:nvPr/>
        </p:nvCxnSpPr>
        <p:spPr>
          <a:xfrm>
            <a:off x="7310171" y="2467571"/>
            <a:ext cx="0" cy="35958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4" name="AutoShape 42">
            <a:extLst>
              <a:ext uri="{FF2B5EF4-FFF2-40B4-BE49-F238E27FC236}">
                <a16:creationId xmlns:a16="http://schemas.microsoft.com/office/drawing/2014/main" id="{052C4E71-15E7-4330-B112-D93FC79B88E7}"/>
              </a:ext>
            </a:extLst>
          </p:cNvPr>
          <p:cNvSpPr>
            <a:spLocks noChangeArrowheads="1"/>
          </p:cNvSpPr>
          <p:nvPr/>
        </p:nvSpPr>
        <p:spPr bwMode="auto">
          <a:xfrm>
            <a:off x="7990896" y="3337069"/>
            <a:ext cx="633885" cy="359587"/>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6C09E"/>
                </a:solidFill>
                <a:effectLst/>
                <a:uLnTx/>
                <a:uFillTx/>
                <a:latin typeface="Open Sans (Body)"/>
              </a:rPr>
              <a:t>Pilot</a:t>
            </a:r>
            <a:br>
              <a:rPr kumimoji="0" lang="en-US" sz="1100" b="1" i="0" u="none" strike="noStrike" kern="1200" cap="none" spc="0" normalizeH="0" baseline="0" noProof="0" dirty="0">
                <a:ln>
                  <a:noFill/>
                </a:ln>
                <a:solidFill>
                  <a:srgbClr val="66C09E"/>
                </a:solidFill>
                <a:effectLst/>
                <a:uLnTx/>
                <a:uFillTx/>
                <a:latin typeface="Open Sans (Body)"/>
              </a:rPr>
            </a:br>
            <a:r>
              <a:rPr kumimoji="0" lang="en-US" sz="1100" b="1" i="0" u="none" strike="noStrike" kern="1200" cap="none" spc="0" normalizeH="0" baseline="0" noProof="0" dirty="0">
                <a:ln>
                  <a:noFill/>
                </a:ln>
                <a:solidFill>
                  <a:srgbClr val="66C09E"/>
                </a:solidFill>
                <a:effectLst/>
                <a:uLnTx/>
                <a:uFillTx/>
                <a:latin typeface="Open Sans (Body)"/>
              </a:rPr>
              <a:t>phase</a:t>
            </a:r>
          </a:p>
        </p:txBody>
      </p:sp>
      <p:sp>
        <p:nvSpPr>
          <p:cNvPr id="125" name="AutoShape 42">
            <a:extLst>
              <a:ext uri="{FF2B5EF4-FFF2-40B4-BE49-F238E27FC236}">
                <a16:creationId xmlns:a16="http://schemas.microsoft.com/office/drawing/2014/main" id="{30E4C648-2936-4A18-BBD1-3AD0AF075BF9}"/>
              </a:ext>
            </a:extLst>
          </p:cNvPr>
          <p:cNvSpPr>
            <a:spLocks noChangeArrowheads="1"/>
          </p:cNvSpPr>
          <p:nvPr/>
        </p:nvSpPr>
        <p:spPr bwMode="auto">
          <a:xfrm>
            <a:off x="1917020" y="3337069"/>
            <a:ext cx="1123204" cy="359587"/>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3"/>
                </a:solidFill>
                <a:effectLst/>
                <a:uLnTx/>
                <a:uFillTx/>
                <a:latin typeface="Open Sans (Body)"/>
              </a:rPr>
              <a:t>Concept design phase</a:t>
            </a:r>
          </a:p>
        </p:txBody>
      </p:sp>
      <p:sp>
        <p:nvSpPr>
          <p:cNvPr id="126" name="AutoShape 41">
            <a:extLst>
              <a:ext uri="{FF2B5EF4-FFF2-40B4-BE49-F238E27FC236}">
                <a16:creationId xmlns:a16="http://schemas.microsoft.com/office/drawing/2014/main" id="{BD4C0374-AD9D-44E9-895C-BB972FAFC769}"/>
              </a:ext>
            </a:extLst>
          </p:cNvPr>
          <p:cNvSpPr>
            <a:spLocks noChangeArrowheads="1"/>
          </p:cNvSpPr>
          <p:nvPr/>
        </p:nvSpPr>
        <p:spPr bwMode="auto">
          <a:xfrm>
            <a:off x="478138" y="3337069"/>
            <a:ext cx="1249226" cy="411673"/>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100" b="1" i="0" u="none" strike="noStrike" kern="1200" cap="none" spc="0" normalizeH="0" baseline="0" noProof="0" dirty="0" err="1">
                <a:ln>
                  <a:noFill/>
                </a:ln>
                <a:solidFill>
                  <a:schemeClr val="accent3"/>
                </a:solidFill>
                <a:effectLst/>
                <a:uLnTx/>
                <a:uFillTx/>
                <a:latin typeface="Open Sans (Body)"/>
              </a:rPr>
              <a:t>Innovation</a:t>
            </a:r>
            <a:r>
              <a:rPr kumimoji="0" lang="en-US" sz="1100" b="1" i="0" u="none" strike="noStrike" kern="1200" cap="none" spc="0" normalizeH="0" baseline="0" noProof="0" dirty="0">
                <a:ln>
                  <a:noFill/>
                </a:ln>
                <a:solidFill>
                  <a:schemeClr val="accent3"/>
                </a:solidFill>
                <a:effectLst/>
                <a:uLnTx/>
                <a:uFillTx/>
                <a:latin typeface="Open Sans (Body)"/>
              </a:rPr>
              <a:t> challenge identification phase</a:t>
            </a:r>
          </a:p>
        </p:txBody>
      </p:sp>
      <p:sp>
        <p:nvSpPr>
          <p:cNvPr id="127" name="AutoShape 42">
            <a:extLst>
              <a:ext uri="{FF2B5EF4-FFF2-40B4-BE49-F238E27FC236}">
                <a16:creationId xmlns:a16="http://schemas.microsoft.com/office/drawing/2014/main" id="{19168339-6A3D-49CA-9DA5-0BF6B47D5304}"/>
              </a:ext>
            </a:extLst>
          </p:cNvPr>
          <p:cNvSpPr>
            <a:spLocks noChangeArrowheads="1"/>
          </p:cNvSpPr>
          <p:nvPr/>
        </p:nvSpPr>
        <p:spPr bwMode="auto">
          <a:xfrm>
            <a:off x="9133751" y="3337071"/>
            <a:ext cx="1437117" cy="341752"/>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Open Sans (Body)"/>
              </a:rPr>
              <a:t>Implementation phase</a:t>
            </a:r>
          </a:p>
        </p:txBody>
      </p:sp>
      <p:sp>
        <p:nvSpPr>
          <p:cNvPr id="128" name="AutoShape 42">
            <a:extLst>
              <a:ext uri="{FF2B5EF4-FFF2-40B4-BE49-F238E27FC236}">
                <a16:creationId xmlns:a16="http://schemas.microsoft.com/office/drawing/2014/main" id="{85098CEB-75D2-4026-82B9-B4D92B7B2C27}"/>
              </a:ext>
            </a:extLst>
          </p:cNvPr>
          <p:cNvSpPr>
            <a:spLocks noChangeArrowheads="1"/>
          </p:cNvSpPr>
          <p:nvPr/>
        </p:nvSpPr>
        <p:spPr bwMode="auto">
          <a:xfrm>
            <a:off x="5975691" y="3337069"/>
            <a:ext cx="1083835" cy="359587"/>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Open Sans (Body)"/>
              </a:rPr>
              <a:t>Roll-out phase</a:t>
            </a:r>
          </a:p>
        </p:txBody>
      </p:sp>
      <p:sp>
        <p:nvSpPr>
          <p:cNvPr id="129" name="AutoShape 42">
            <a:extLst>
              <a:ext uri="{FF2B5EF4-FFF2-40B4-BE49-F238E27FC236}">
                <a16:creationId xmlns:a16="http://schemas.microsoft.com/office/drawing/2014/main" id="{08769CCE-2643-4CCA-A59B-E139479C39F4}"/>
              </a:ext>
            </a:extLst>
          </p:cNvPr>
          <p:cNvSpPr>
            <a:spLocks noChangeArrowheads="1"/>
          </p:cNvSpPr>
          <p:nvPr/>
        </p:nvSpPr>
        <p:spPr bwMode="auto">
          <a:xfrm>
            <a:off x="3739054" y="3337069"/>
            <a:ext cx="1279056" cy="359587"/>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3"/>
                </a:solidFill>
                <a:effectLst/>
                <a:uLnTx/>
                <a:uFillTx/>
                <a:latin typeface="Open Sans (Body)"/>
              </a:rPr>
              <a:t>Detailed planning phase</a:t>
            </a:r>
          </a:p>
        </p:txBody>
      </p:sp>
      <p:sp>
        <p:nvSpPr>
          <p:cNvPr id="130" name="Rectangle 129">
            <a:extLst>
              <a:ext uri="{FF2B5EF4-FFF2-40B4-BE49-F238E27FC236}">
                <a16:creationId xmlns:a16="http://schemas.microsoft.com/office/drawing/2014/main" id="{6D3E6ED1-D524-47A2-825E-5887CE774586}"/>
              </a:ext>
            </a:extLst>
          </p:cNvPr>
          <p:cNvSpPr/>
          <p:nvPr/>
        </p:nvSpPr>
        <p:spPr>
          <a:xfrm>
            <a:off x="2421266" y="6138274"/>
            <a:ext cx="1966033" cy="1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Rectangle 130">
            <a:extLst>
              <a:ext uri="{FF2B5EF4-FFF2-40B4-BE49-F238E27FC236}">
                <a16:creationId xmlns:a16="http://schemas.microsoft.com/office/drawing/2014/main" id="{27981F4C-CCAD-4FCA-B4ED-52037F57DC8E}"/>
              </a:ext>
            </a:extLst>
          </p:cNvPr>
          <p:cNvSpPr/>
          <p:nvPr/>
        </p:nvSpPr>
        <p:spPr>
          <a:xfrm>
            <a:off x="477979" y="6138274"/>
            <a:ext cx="2033917" cy="1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2" name="Rectangle 131">
            <a:extLst>
              <a:ext uri="{FF2B5EF4-FFF2-40B4-BE49-F238E27FC236}">
                <a16:creationId xmlns:a16="http://schemas.microsoft.com/office/drawing/2014/main" id="{A626DDD7-CD0B-4767-995E-BBC914ED7154}"/>
              </a:ext>
            </a:extLst>
          </p:cNvPr>
          <p:cNvSpPr/>
          <p:nvPr/>
        </p:nvSpPr>
        <p:spPr>
          <a:xfrm>
            <a:off x="4454028" y="6138274"/>
            <a:ext cx="2858748" cy="1715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133" name="Group 132">
            <a:extLst>
              <a:ext uri="{FF2B5EF4-FFF2-40B4-BE49-F238E27FC236}">
                <a16:creationId xmlns:a16="http://schemas.microsoft.com/office/drawing/2014/main" id="{85D894FA-E25F-46E5-A736-826AB218299D}"/>
              </a:ext>
            </a:extLst>
          </p:cNvPr>
          <p:cNvGrpSpPr/>
          <p:nvPr/>
        </p:nvGrpSpPr>
        <p:grpSpPr>
          <a:xfrm>
            <a:off x="3194721" y="4197884"/>
            <a:ext cx="2383126" cy="2257736"/>
            <a:chOff x="3091097" y="3676871"/>
            <a:chExt cx="2260142" cy="2260334"/>
          </a:xfrm>
          <a:solidFill>
            <a:schemeClr val="accent3"/>
          </a:solidFill>
        </p:grpSpPr>
        <p:sp>
          <p:nvSpPr>
            <p:cNvPr id="170" name="Circular Arrow 62">
              <a:extLst>
                <a:ext uri="{FF2B5EF4-FFF2-40B4-BE49-F238E27FC236}">
                  <a16:creationId xmlns:a16="http://schemas.microsoft.com/office/drawing/2014/main" id="{4B0E1F02-3BE3-4B54-8DAB-DBD90F146DE3}"/>
                </a:ext>
              </a:extLst>
            </p:cNvPr>
            <p:cNvSpPr/>
            <p:nvPr/>
          </p:nvSpPr>
          <p:spPr>
            <a:xfrm rot="21382358" flipV="1">
              <a:off x="3091097" y="3676871"/>
              <a:ext cx="2260142" cy="2260334"/>
            </a:xfrm>
            <a:prstGeom prst="circularArrow">
              <a:avLst>
                <a:gd name="adj1" fmla="val 7959"/>
                <a:gd name="adj2" fmla="val 983077"/>
                <a:gd name="adj3" fmla="val 20658646"/>
                <a:gd name="adj4" fmla="val 15999084"/>
                <a:gd name="adj5" fmla="val 7724"/>
              </a:avLst>
            </a:prstGeom>
            <a:grp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1" name="Circular Arrow 36">
              <a:extLst>
                <a:ext uri="{FF2B5EF4-FFF2-40B4-BE49-F238E27FC236}">
                  <a16:creationId xmlns:a16="http://schemas.microsoft.com/office/drawing/2014/main" id="{3FCE49D3-296B-4C3B-93CD-B8073F6F58A6}"/>
                </a:ext>
              </a:extLst>
            </p:cNvPr>
            <p:cNvSpPr/>
            <p:nvPr/>
          </p:nvSpPr>
          <p:spPr>
            <a:xfrm rot="21382358" flipV="1">
              <a:off x="3151638" y="3745038"/>
              <a:ext cx="2123819" cy="2124000"/>
            </a:xfrm>
            <a:prstGeom prst="circularArrow">
              <a:avLst>
                <a:gd name="adj1" fmla="val 7959"/>
                <a:gd name="adj2" fmla="val 983077"/>
                <a:gd name="adj3" fmla="val 20658646"/>
                <a:gd name="adj4" fmla="val 15999084"/>
                <a:gd name="adj5" fmla="val 7724"/>
              </a:avLst>
            </a:prstGeom>
            <a:grp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2" name="Circular Arrow 61">
              <a:extLst>
                <a:ext uri="{FF2B5EF4-FFF2-40B4-BE49-F238E27FC236}">
                  <a16:creationId xmlns:a16="http://schemas.microsoft.com/office/drawing/2014/main" id="{D66AB92D-04A0-47CB-9A62-1578B337736E}"/>
                </a:ext>
              </a:extLst>
            </p:cNvPr>
            <p:cNvSpPr/>
            <p:nvPr/>
          </p:nvSpPr>
          <p:spPr>
            <a:xfrm rot="7347685" flipV="1">
              <a:off x="3147828" y="3745038"/>
              <a:ext cx="2123819" cy="2124000"/>
            </a:xfrm>
            <a:prstGeom prst="circularArrow">
              <a:avLst>
                <a:gd name="adj1" fmla="val 7959"/>
                <a:gd name="adj2" fmla="val 983077"/>
                <a:gd name="adj3" fmla="val 20658646"/>
                <a:gd name="adj4" fmla="val 7840153"/>
                <a:gd name="adj5" fmla="val 7724"/>
              </a:avLst>
            </a:prstGeom>
            <a:grp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34" name="Group 133">
            <a:extLst>
              <a:ext uri="{FF2B5EF4-FFF2-40B4-BE49-F238E27FC236}">
                <a16:creationId xmlns:a16="http://schemas.microsoft.com/office/drawing/2014/main" id="{3078DB9B-D793-4F73-B243-CF767641016B}"/>
              </a:ext>
            </a:extLst>
          </p:cNvPr>
          <p:cNvGrpSpPr/>
          <p:nvPr/>
        </p:nvGrpSpPr>
        <p:grpSpPr>
          <a:xfrm rot="18592958">
            <a:off x="7287844" y="4517059"/>
            <a:ext cx="1347611" cy="1426258"/>
            <a:chOff x="3195908" y="4286631"/>
            <a:chExt cx="1620000" cy="1624193"/>
          </a:xfrm>
        </p:grpSpPr>
        <p:sp>
          <p:nvSpPr>
            <p:cNvPr id="168" name="Circular Arrow 52">
              <a:extLst>
                <a:ext uri="{FF2B5EF4-FFF2-40B4-BE49-F238E27FC236}">
                  <a16:creationId xmlns:a16="http://schemas.microsoft.com/office/drawing/2014/main" id="{ED2DAB15-68D8-4104-98A0-EBCCA21F0353}"/>
                </a:ext>
              </a:extLst>
            </p:cNvPr>
            <p:cNvSpPr/>
            <p:nvPr/>
          </p:nvSpPr>
          <p:spPr>
            <a:xfrm rot="19140690" flipV="1">
              <a:off x="3195908" y="4286631"/>
              <a:ext cx="1620000" cy="1620000"/>
            </a:xfrm>
            <a:prstGeom prst="circularArrow">
              <a:avLst>
                <a:gd name="adj1" fmla="val 10530"/>
                <a:gd name="adj2" fmla="val 1034955"/>
                <a:gd name="adj3" fmla="val 20553542"/>
                <a:gd name="adj4" fmla="val 13497730"/>
                <a:gd name="adj5" fmla="val 12500"/>
              </a:avLst>
            </a:prstGeom>
            <a:solidFill>
              <a:srgbClr val="00965E">
                <a:alpha val="60000"/>
              </a:srgbClr>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9" name="Circular Arrow 54">
              <a:extLst>
                <a:ext uri="{FF2B5EF4-FFF2-40B4-BE49-F238E27FC236}">
                  <a16:creationId xmlns:a16="http://schemas.microsoft.com/office/drawing/2014/main" id="{A58613ED-C854-4B15-A541-F51B34C0668C}"/>
                </a:ext>
              </a:extLst>
            </p:cNvPr>
            <p:cNvSpPr/>
            <p:nvPr/>
          </p:nvSpPr>
          <p:spPr>
            <a:xfrm rot="8600076" flipV="1">
              <a:off x="3195908" y="4290821"/>
              <a:ext cx="1620000" cy="1620003"/>
            </a:xfrm>
            <a:prstGeom prst="circularArrow">
              <a:avLst>
                <a:gd name="adj1" fmla="val 10530"/>
                <a:gd name="adj2" fmla="val 983077"/>
                <a:gd name="adj3" fmla="val 20553542"/>
                <a:gd name="adj4" fmla="val 11593803"/>
                <a:gd name="adj5" fmla="val 12500"/>
              </a:avLst>
            </a:prstGeom>
            <a:solidFill>
              <a:srgbClr val="00965E">
                <a:alpha val="60000"/>
              </a:srgbClr>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35" name="Group 541">
            <a:extLst>
              <a:ext uri="{FF2B5EF4-FFF2-40B4-BE49-F238E27FC236}">
                <a16:creationId xmlns:a16="http://schemas.microsoft.com/office/drawing/2014/main" id="{E976DA71-3880-47DE-A773-3BDE804C9516}"/>
              </a:ext>
            </a:extLst>
          </p:cNvPr>
          <p:cNvGrpSpPr>
            <a:grpSpLocks noChangeAspect="1"/>
          </p:cNvGrpSpPr>
          <p:nvPr/>
        </p:nvGrpSpPr>
        <p:grpSpPr bwMode="auto">
          <a:xfrm>
            <a:off x="887610" y="2706014"/>
            <a:ext cx="303669" cy="287670"/>
            <a:chOff x="5326" y="2493"/>
            <a:chExt cx="340" cy="340"/>
          </a:xfrm>
          <a:solidFill>
            <a:schemeClr val="tx2"/>
          </a:solidFill>
        </p:grpSpPr>
        <p:sp>
          <p:nvSpPr>
            <p:cNvPr id="166" name="Freeform 542">
              <a:extLst>
                <a:ext uri="{FF2B5EF4-FFF2-40B4-BE49-F238E27FC236}">
                  <a16:creationId xmlns:a16="http://schemas.microsoft.com/office/drawing/2014/main" id="{E93588C8-4004-475E-B0D1-F0C0DD426F40}"/>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sp>
          <p:nvSpPr>
            <p:cNvPr id="167" name="Freeform 543">
              <a:extLst>
                <a:ext uri="{FF2B5EF4-FFF2-40B4-BE49-F238E27FC236}">
                  <a16:creationId xmlns:a16="http://schemas.microsoft.com/office/drawing/2014/main" id="{C9AE3958-06A6-4D6C-94F6-86A9B557364A}"/>
                </a:ext>
              </a:extLst>
            </p:cNvPr>
            <p:cNvSpPr>
              <a:spLocks noEditPoints="1"/>
            </p:cNvSpPr>
            <p:nvPr/>
          </p:nvSpPr>
          <p:spPr bwMode="auto">
            <a:xfrm>
              <a:off x="5326" y="24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grpSp>
      <p:sp>
        <p:nvSpPr>
          <p:cNvPr id="136" name="Diamond 135">
            <a:extLst>
              <a:ext uri="{FF2B5EF4-FFF2-40B4-BE49-F238E27FC236}">
                <a16:creationId xmlns:a16="http://schemas.microsoft.com/office/drawing/2014/main" id="{89F0EA03-063A-4559-9C31-4919AE48E1EF}"/>
              </a:ext>
            </a:extLst>
          </p:cNvPr>
          <p:cNvSpPr/>
          <p:nvPr/>
        </p:nvSpPr>
        <p:spPr>
          <a:xfrm>
            <a:off x="2716196" y="2441470"/>
            <a:ext cx="1062850" cy="81675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grpSp>
        <p:nvGrpSpPr>
          <p:cNvPr id="138" name="Group 861">
            <a:extLst>
              <a:ext uri="{FF2B5EF4-FFF2-40B4-BE49-F238E27FC236}">
                <a16:creationId xmlns:a16="http://schemas.microsoft.com/office/drawing/2014/main" id="{46858439-8E6C-46E5-A2B8-8A872E4256B6}"/>
              </a:ext>
            </a:extLst>
          </p:cNvPr>
          <p:cNvGrpSpPr>
            <a:grpSpLocks noChangeAspect="1"/>
          </p:cNvGrpSpPr>
          <p:nvPr/>
        </p:nvGrpSpPr>
        <p:grpSpPr bwMode="auto">
          <a:xfrm>
            <a:off x="2397825" y="2706014"/>
            <a:ext cx="303670" cy="287670"/>
            <a:chOff x="5813" y="3162"/>
            <a:chExt cx="340" cy="340"/>
          </a:xfrm>
          <a:solidFill>
            <a:schemeClr val="tx2"/>
          </a:solidFill>
        </p:grpSpPr>
        <p:sp>
          <p:nvSpPr>
            <p:cNvPr id="164" name="Freeform 862">
              <a:extLst>
                <a:ext uri="{FF2B5EF4-FFF2-40B4-BE49-F238E27FC236}">
                  <a16:creationId xmlns:a16="http://schemas.microsoft.com/office/drawing/2014/main" id="{9C3C1B9C-E368-4750-8462-86729CCF91CA}"/>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sp>
          <p:nvSpPr>
            <p:cNvPr id="165" name="Freeform 863">
              <a:extLst>
                <a:ext uri="{FF2B5EF4-FFF2-40B4-BE49-F238E27FC236}">
                  <a16:creationId xmlns:a16="http://schemas.microsoft.com/office/drawing/2014/main" id="{A4403123-F387-4598-8C76-FE184B5CA68B}"/>
                </a:ext>
              </a:extLst>
            </p:cNvPr>
            <p:cNvSpPr>
              <a:spLocks noEditPoints="1"/>
            </p:cNvSpPr>
            <p:nvPr/>
          </p:nvSpPr>
          <p:spPr bwMode="auto">
            <a:xfrm>
              <a:off x="5905" y="3215"/>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grpSp>
      <p:sp>
        <p:nvSpPr>
          <p:cNvPr id="139" name="Diamond 138">
            <a:extLst>
              <a:ext uri="{FF2B5EF4-FFF2-40B4-BE49-F238E27FC236}">
                <a16:creationId xmlns:a16="http://schemas.microsoft.com/office/drawing/2014/main" id="{7A64E376-6548-43B5-A2A5-2E3F03AACA21}"/>
              </a:ext>
            </a:extLst>
          </p:cNvPr>
          <p:cNvSpPr/>
          <p:nvPr/>
        </p:nvSpPr>
        <p:spPr>
          <a:xfrm>
            <a:off x="4992317" y="2441470"/>
            <a:ext cx="1062850" cy="81675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grpSp>
        <p:nvGrpSpPr>
          <p:cNvPr id="140" name="Group 39">
            <a:extLst>
              <a:ext uri="{FF2B5EF4-FFF2-40B4-BE49-F238E27FC236}">
                <a16:creationId xmlns:a16="http://schemas.microsoft.com/office/drawing/2014/main" id="{F9E42E5B-FFBF-4A8E-A7AD-60429ACAE6AE}"/>
              </a:ext>
            </a:extLst>
          </p:cNvPr>
          <p:cNvGrpSpPr>
            <a:grpSpLocks noChangeAspect="1"/>
          </p:cNvGrpSpPr>
          <p:nvPr/>
        </p:nvGrpSpPr>
        <p:grpSpPr bwMode="auto">
          <a:xfrm>
            <a:off x="4679118" y="2706014"/>
            <a:ext cx="303670" cy="287670"/>
            <a:chOff x="3987" y="1509"/>
            <a:chExt cx="340" cy="340"/>
          </a:xfrm>
          <a:solidFill>
            <a:schemeClr val="tx2"/>
          </a:solidFill>
        </p:grpSpPr>
        <p:sp>
          <p:nvSpPr>
            <p:cNvPr id="162" name="Freeform 40">
              <a:extLst>
                <a:ext uri="{FF2B5EF4-FFF2-40B4-BE49-F238E27FC236}">
                  <a16:creationId xmlns:a16="http://schemas.microsoft.com/office/drawing/2014/main" id="{AD6F4484-B7F3-4AF9-9862-00C1017F7CB1}"/>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sp>
          <p:nvSpPr>
            <p:cNvPr id="163" name="Freeform 41">
              <a:extLst>
                <a:ext uri="{FF2B5EF4-FFF2-40B4-BE49-F238E27FC236}">
                  <a16:creationId xmlns:a16="http://schemas.microsoft.com/office/drawing/2014/main" id="{0D7BCACF-6A89-45C6-A2BD-2B1B62CF42D1}"/>
                </a:ext>
              </a:extLst>
            </p:cNvPr>
            <p:cNvSpPr>
              <a:spLocks noEditPoints="1"/>
            </p:cNvSpPr>
            <p:nvPr/>
          </p:nvSpPr>
          <p:spPr bwMode="auto">
            <a:xfrm>
              <a:off x="4053" y="1567"/>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grpSp>
      <p:sp>
        <p:nvSpPr>
          <p:cNvPr id="141" name="Diamond 140">
            <a:extLst>
              <a:ext uri="{FF2B5EF4-FFF2-40B4-BE49-F238E27FC236}">
                <a16:creationId xmlns:a16="http://schemas.microsoft.com/office/drawing/2014/main" id="{774A8197-1F5B-4BCF-8690-974C0E65DD3D}"/>
              </a:ext>
            </a:extLst>
          </p:cNvPr>
          <p:cNvSpPr/>
          <p:nvPr/>
        </p:nvSpPr>
        <p:spPr>
          <a:xfrm>
            <a:off x="6792387" y="2441470"/>
            <a:ext cx="1062850" cy="81675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sp>
        <p:nvSpPr>
          <p:cNvPr id="142" name="Diamond 141">
            <a:extLst>
              <a:ext uri="{FF2B5EF4-FFF2-40B4-BE49-F238E27FC236}">
                <a16:creationId xmlns:a16="http://schemas.microsoft.com/office/drawing/2014/main" id="{D3BAAE8D-6671-4AAB-B3EB-8EDB02A69517}"/>
              </a:ext>
            </a:extLst>
          </p:cNvPr>
          <p:cNvSpPr/>
          <p:nvPr/>
        </p:nvSpPr>
        <p:spPr>
          <a:xfrm>
            <a:off x="8555233" y="2441470"/>
            <a:ext cx="1062850" cy="81675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grpSp>
        <p:nvGrpSpPr>
          <p:cNvPr id="143" name="Group 405">
            <a:extLst>
              <a:ext uri="{FF2B5EF4-FFF2-40B4-BE49-F238E27FC236}">
                <a16:creationId xmlns:a16="http://schemas.microsoft.com/office/drawing/2014/main" id="{99BE1833-FE23-42EA-BF97-AC4FA821B7B7}"/>
              </a:ext>
            </a:extLst>
          </p:cNvPr>
          <p:cNvGrpSpPr>
            <a:grpSpLocks noChangeAspect="1"/>
          </p:cNvGrpSpPr>
          <p:nvPr/>
        </p:nvGrpSpPr>
        <p:grpSpPr bwMode="auto">
          <a:xfrm>
            <a:off x="6468528" y="2706014"/>
            <a:ext cx="303670" cy="287670"/>
            <a:chOff x="5822" y="1511"/>
            <a:chExt cx="340" cy="340"/>
          </a:xfrm>
          <a:solidFill>
            <a:schemeClr val="tx2"/>
          </a:solidFill>
        </p:grpSpPr>
        <p:sp>
          <p:nvSpPr>
            <p:cNvPr id="160" name="Freeform 406">
              <a:extLst>
                <a:ext uri="{FF2B5EF4-FFF2-40B4-BE49-F238E27FC236}">
                  <a16:creationId xmlns:a16="http://schemas.microsoft.com/office/drawing/2014/main" id="{86B9CE3A-F915-4DDE-BBD6-8118055FD9F7}"/>
                </a:ext>
              </a:extLst>
            </p:cNvPr>
            <p:cNvSpPr>
              <a:spLocks noEditPoints="1"/>
            </p:cNvSpPr>
            <p:nvPr/>
          </p:nvSpPr>
          <p:spPr bwMode="auto">
            <a:xfrm>
              <a:off x="5822" y="151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sp>
          <p:nvSpPr>
            <p:cNvPr id="161" name="Freeform 407">
              <a:extLst>
                <a:ext uri="{FF2B5EF4-FFF2-40B4-BE49-F238E27FC236}">
                  <a16:creationId xmlns:a16="http://schemas.microsoft.com/office/drawing/2014/main" id="{811A8C88-56A3-4F90-97F5-086D2B29F729}"/>
                </a:ext>
              </a:extLst>
            </p:cNvPr>
            <p:cNvSpPr>
              <a:spLocks noEditPoints="1"/>
            </p:cNvSpPr>
            <p:nvPr/>
          </p:nvSpPr>
          <p:spPr bwMode="auto">
            <a:xfrm>
              <a:off x="5908" y="1586"/>
              <a:ext cx="189" cy="185"/>
            </a:xfrm>
            <a:custGeom>
              <a:avLst/>
              <a:gdLst>
                <a:gd name="T0" fmla="*/ 281 w 285"/>
                <a:gd name="T1" fmla="*/ 110 h 279"/>
                <a:gd name="T2" fmla="*/ 266 w 285"/>
                <a:gd name="T3" fmla="*/ 95 h 279"/>
                <a:gd name="T4" fmla="*/ 266 w 285"/>
                <a:gd name="T5" fmla="*/ 95 h 279"/>
                <a:gd name="T6" fmla="*/ 266 w 285"/>
                <a:gd name="T7" fmla="*/ 95 h 279"/>
                <a:gd name="T8" fmla="*/ 176 w 285"/>
                <a:gd name="T9" fmla="*/ 4 h 279"/>
                <a:gd name="T10" fmla="*/ 161 w 285"/>
                <a:gd name="T11" fmla="*/ 4 h 279"/>
                <a:gd name="T12" fmla="*/ 161 w 285"/>
                <a:gd name="T13" fmla="*/ 19 h 279"/>
                <a:gd name="T14" fmla="*/ 168 w 285"/>
                <a:gd name="T15" fmla="*/ 27 h 279"/>
                <a:gd name="T16" fmla="*/ 25 w 285"/>
                <a:gd name="T17" fmla="*/ 170 h 279"/>
                <a:gd name="T18" fmla="*/ 25 w 285"/>
                <a:gd name="T19" fmla="*/ 260 h 279"/>
                <a:gd name="T20" fmla="*/ 70 w 285"/>
                <a:gd name="T21" fmla="*/ 279 h 279"/>
                <a:gd name="T22" fmla="*/ 115 w 285"/>
                <a:gd name="T23" fmla="*/ 260 h 279"/>
                <a:gd name="T24" fmla="*/ 259 w 285"/>
                <a:gd name="T25" fmla="*/ 117 h 279"/>
                <a:gd name="T26" fmla="*/ 266 w 285"/>
                <a:gd name="T27" fmla="*/ 125 h 279"/>
                <a:gd name="T28" fmla="*/ 274 w 285"/>
                <a:gd name="T29" fmla="*/ 128 h 279"/>
                <a:gd name="T30" fmla="*/ 281 w 285"/>
                <a:gd name="T31" fmla="*/ 125 h 279"/>
                <a:gd name="T32" fmla="*/ 281 w 285"/>
                <a:gd name="T33" fmla="*/ 110 h 279"/>
                <a:gd name="T34" fmla="*/ 100 w 285"/>
                <a:gd name="T35" fmla="*/ 245 h 279"/>
                <a:gd name="T36" fmla="*/ 40 w 285"/>
                <a:gd name="T37" fmla="*/ 245 h 279"/>
                <a:gd name="T38" fmla="*/ 40 w 285"/>
                <a:gd name="T39" fmla="*/ 185 h 279"/>
                <a:gd name="T40" fmla="*/ 82 w 285"/>
                <a:gd name="T41" fmla="*/ 143 h 279"/>
                <a:gd name="T42" fmla="*/ 203 w 285"/>
                <a:gd name="T43" fmla="*/ 143 h 279"/>
                <a:gd name="T44" fmla="*/ 100 w 285"/>
                <a:gd name="T45" fmla="*/ 245 h 279"/>
                <a:gd name="T46" fmla="*/ 104 w 285"/>
                <a:gd name="T47" fmla="*/ 121 h 279"/>
                <a:gd name="T48" fmla="*/ 183 w 285"/>
                <a:gd name="T49" fmla="*/ 42 h 279"/>
                <a:gd name="T50" fmla="*/ 244 w 285"/>
                <a:gd name="T51" fmla="*/ 102 h 279"/>
                <a:gd name="T52" fmla="*/ 224 w 285"/>
                <a:gd name="T53" fmla="*/ 121 h 279"/>
                <a:gd name="T54" fmla="*/ 104 w 285"/>
                <a:gd name="T55" fmla="*/ 1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5" h="279">
                  <a:moveTo>
                    <a:pt x="281" y="110"/>
                  </a:moveTo>
                  <a:cubicBezTo>
                    <a:pt x="266" y="95"/>
                    <a:pt x="266" y="95"/>
                    <a:pt x="266" y="95"/>
                  </a:cubicBezTo>
                  <a:cubicBezTo>
                    <a:pt x="266" y="95"/>
                    <a:pt x="266" y="95"/>
                    <a:pt x="266" y="95"/>
                  </a:cubicBezTo>
                  <a:cubicBezTo>
                    <a:pt x="266" y="95"/>
                    <a:pt x="266" y="95"/>
                    <a:pt x="266" y="95"/>
                  </a:cubicBezTo>
                  <a:cubicBezTo>
                    <a:pt x="176" y="4"/>
                    <a:pt x="176" y="4"/>
                    <a:pt x="176" y="4"/>
                  </a:cubicBezTo>
                  <a:cubicBezTo>
                    <a:pt x="172" y="0"/>
                    <a:pt x="165" y="0"/>
                    <a:pt x="161" y="4"/>
                  </a:cubicBezTo>
                  <a:cubicBezTo>
                    <a:pt x="156" y="8"/>
                    <a:pt x="156" y="15"/>
                    <a:pt x="161" y="19"/>
                  </a:cubicBezTo>
                  <a:cubicBezTo>
                    <a:pt x="168" y="27"/>
                    <a:pt x="168" y="27"/>
                    <a:pt x="168" y="27"/>
                  </a:cubicBezTo>
                  <a:cubicBezTo>
                    <a:pt x="25" y="170"/>
                    <a:pt x="25" y="170"/>
                    <a:pt x="25" y="170"/>
                  </a:cubicBezTo>
                  <a:cubicBezTo>
                    <a:pt x="0" y="195"/>
                    <a:pt x="0" y="236"/>
                    <a:pt x="25" y="260"/>
                  </a:cubicBezTo>
                  <a:cubicBezTo>
                    <a:pt x="37" y="273"/>
                    <a:pt x="54" y="279"/>
                    <a:pt x="70" y="279"/>
                  </a:cubicBezTo>
                  <a:cubicBezTo>
                    <a:pt x="86" y="279"/>
                    <a:pt x="103" y="273"/>
                    <a:pt x="115" y="260"/>
                  </a:cubicBezTo>
                  <a:cubicBezTo>
                    <a:pt x="259" y="117"/>
                    <a:pt x="259" y="117"/>
                    <a:pt x="259" y="117"/>
                  </a:cubicBezTo>
                  <a:cubicBezTo>
                    <a:pt x="266" y="125"/>
                    <a:pt x="266" y="125"/>
                    <a:pt x="266" y="125"/>
                  </a:cubicBezTo>
                  <a:cubicBezTo>
                    <a:pt x="268" y="127"/>
                    <a:pt x="271" y="128"/>
                    <a:pt x="274" y="128"/>
                  </a:cubicBezTo>
                  <a:cubicBezTo>
                    <a:pt x="276" y="128"/>
                    <a:pt x="279" y="127"/>
                    <a:pt x="281" y="125"/>
                  </a:cubicBezTo>
                  <a:cubicBezTo>
                    <a:pt x="285" y="121"/>
                    <a:pt x="285" y="114"/>
                    <a:pt x="281" y="110"/>
                  </a:cubicBezTo>
                  <a:close/>
                  <a:moveTo>
                    <a:pt x="100" y="245"/>
                  </a:moveTo>
                  <a:cubicBezTo>
                    <a:pt x="84" y="262"/>
                    <a:pt x="57" y="262"/>
                    <a:pt x="40" y="245"/>
                  </a:cubicBezTo>
                  <a:cubicBezTo>
                    <a:pt x="23" y="229"/>
                    <a:pt x="23" y="202"/>
                    <a:pt x="40" y="185"/>
                  </a:cubicBezTo>
                  <a:cubicBezTo>
                    <a:pt x="82" y="143"/>
                    <a:pt x="82" y="143"/>
                    <a:pt x="82" y="143"/>
                  </a:cubicBezTo>
                  <a:cubicBezTo>
                    <a:pt x="203" y="143"/>
                    <a:pt x="203" y="143"/>
                    <a:pt x="203" y="143"/>
                  </a:cubicBezTo>
                  <a:lnTo>
                    <a:pt x="100" y="245"/>
                  </a:lnTo>
                  <a:close/>
                  <a:moveTo>
                    <a:pt x="104" y="121"/>
                  </a:moveTo>
                  <a:cubicBezTo>
                    <a:pt x="183" y="42"/>
                    <a:pt x="183" y="42"/>
                    <a:pt x="183" y="42"/>
                  </a:cubicBezTo>
                  <a:cubicBezTo>
                    <a:pt x="244" y="102"/>
                    <a:pt x="244" y="102"/>
                    <a:pt x="244" y="102"/>
                  </a:cubicBezTo>
                  <a:cubicBezTo>
                    <a:pt x="224" y="121"/>
                    <a:pt x="224" y="121"/>
                    <a:pt x="224" y="121"/>
                  </a:cubicBezTo>
                  <a:lnTo>
                    <a:pt x="104" y="1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grpSp>
      <p:grpSp>
        <p:nvGrpSpPr>
          <p:cNvPr id="144" name="Group 143">
            <a:extLst>
              <a:ext uri="{FF2B5EF4-FFF2-40B4-BE49-F238E27FC236}">
                <a16:creationId xmlns:a16="http://schemas.microsoft.com/office/drawing/2014/main" id="{788CB3AF-246D-4400-A876-7AC4A4D23E4A}"/>
              </a:ext>
            </a:extLst>
          </p:cNvPr>
          <p:cNvGrpSpPr>
            <a:grpSpLocks noChangeAspect="1"/>
          </p:cNvGrpSpPr>
          <p:nvPr/>
        </p:nvGrpSpPr>
        <p:grpSpPr bwMode="auto">
          <a:xfrm>
            <a:off x="8240435" y="2706014"/>
            <a:ext cx="303670" cy="287670"/>
            <a:chOff x="4277" y="1990"/>
            <a:chExt cx="340" cy="340"/>
          </a:xfrm>
          <a:solidFill>
            <a:schemeClr val="tx2"/>
          </a:solidFill>
        </p:grpSpPr>
        <p:sp>
          <p:nvSpPr>
            <p:cNvPr id="152" name="Freeform 98">
              <a:extLst>
                <a:ext uri="{FF2B5EF4-FFF2-40B4-BE49-F238E27FC236}">
                  <a16:creationId xmlns:a16="http://schemas.microsoft.com/office/drawing/2014/main" id="{ADF6E62F-FC1D-4F18-BE8C-126F98605EA8}"/>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sp>
          <p:nvSpPr>
            <p:cNvPr id="157" name="Freeform 99">
              <a:extLst>
                <a:ext uri="{FF2B5EF4-FFF2-40B4-BE49-F238E27FC236}">
                  <a16:creationId xmlns:a16="http://schemas.microsoft.com/office/drawing/2014/main" id="{02DC01D6-9306-40B8-9E28-95C0C1FB2CBB}"/>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grpSp>
      <p:sp>
        <p:nvSpPr>
          <p:cNvPr id="145" name="Diamond 144">
            <a:extLst>
              <a:ext uri="{FF2B5EF4-FFF2-40B4-BE49-F238E27FC236}">
                <a16:creationId xmlns:a16="http://schemas.microsoft.com/office/drawing/2014/main" id="{A4E0AC7C-118A-4C83-8F12-E19985569ED7}"/>
              </a:ext>
            </a:extLst>
          </p:cNvPr>
          <p:cNvSpPr/>
          <p:nvPr/>
        </p:nvSpPr>
        <p:spPr>
          <a:xfrm>
            <a:off x="1191297" y="2441470"/>
            <a:ext cx="1062850" cy="81675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cxnSp>
        <p:nvCxnSpPr>
          <p:cNvPr id="146" name="Straight Connector 145">
            <a:extLst>
              <a:ext uri="{FF2B5EF4-FFF2-40B4-BE49-F238E27FC236}">
                <a16:creationId xmlns:a16="http://schemas.microsoft.com/office/drawing/2014/main" id="{A91BBAD2-DD24-4381-B8CC-5BF107C90036}"/>
              </a:ext>
            </a:extLst>
          </p:cNvPr>
          <p:cNvCxnSpPr/>
          <p:nvPr/>
        </p:nvCxnSpPr>
        <p:spPr>
          <a:xfrm>
            <a:off x="1766158" y="3295271"/>
            <a:ext cx="1424930" cy="0"/>
          </a:xfrm>
          <a:prstGeom prst="line">
            <a:avLst/>
          </a:prstGeom>
          <a:ln>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46870F7D-1A39-4BF1-8F53-0D41CE3E99A4}"/>
              </a:ext>
            </a:extLst>
          </p:cNvPr>
          <p:cNvCxnSpPr/>
          <p:nvPr/>
        </p:nvCxnSpPr>
        <p:spPr>
          <a:xfrm>
            <a:off x="523126" y="3295271"/>
            <a:ext cx="1146610" cy="0"/>
          </a:xfrm>
          <a:prstGeom prst="line">
            <a:avLst/>
          </a:prstGeom>
          <a:ln>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032A3C75-7F29-4A9D-B763-32B203159F3E}"/>
              </a:ext>
            </a:extLst>
          </p:cNvPr>
          <p:cNvCxnSpPr/>
          <p:nvPr/>
        </p:nvCxnSpPr>
        <p:spPr>
          <a:xfrm>
            <a:off x="3315731" y="3295271"/>
            <a:ext cx="2125699" cy="0"/>
          </a:xfrm>
          <a:prstGeom prst="line">
            <a:avLst/>
          </a:prstGeom>
          <a:ln>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571802D-49CC-4A1A-946A-6A0A48CEEF73}"/>
              </a:ext>
            </a:extLst>
          </p:cNvPr>
          <p:cNvCxnSpPr/>
          <p:nvPr/>
        </p:nvCxnSpPr>
        <p:spPr>
          <a:xfrm>
            <a:off x="5576058" y="3295271"/>
            <a:ext cx="1734113" cy="0"/>
          </a:xfrm>
          <a:prstGeom prst="line">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4BB900D5-531A-43B4-80DC-3E901E9C0E6B}"/>
              </a:ext>
            </a:extLst>
          </p:cNvPr>
          <p:cNvCxnSpPr/>
          <p:nvPr/>
        </p:nvCxnSpPr>
        <p:spPr>
          <a:xfrm>
            <a:off x="7595374" y="3295271"/>
            <a:ext cx="1424930" cy="0"/>
          </a:xfrm>
          <a:prstGeom prst="line">
            <a:avLst/>
          </a:prstGeom>
          <a:ln>
            <a:solidFill>
              <a:srgbClr val="66C09E"/>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11AE4BA4-F82C-4204-822B-62621A9B89D7}"/>
              </a:ext>
            </a:extLst>
          </p:cNvPr>
          <p:cNvCxnSpPr/>
          <p:nvPr/>
        </p:nvCxnSpPr>
        <p:spPr>
          <a:xfrm>
            <a:off x="9137054" y="3295271"/>
            <a:ext cx="1424930" cy="0"/>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 name="AutoShape 41">
            <a:extLst>
              <a:ext uri="{FF2B5EF4-FFF2-40B4-BE49-F238E27FC236}">
                <a16:creationId xmlns:a16="http://schemas.microsoft.com/office/drawing/2014/main" id="{DA0532A8-CB83-4666-AABA-8AB8C23D5B50}"/>
              </a:ext>
            </a:extLst>
          </p:cNvPr>
          <p:cNvSpPr>
            <a:spLocks noChangeArrowheads="1"/>
          </p:cNvSpPr>
          <p:nvPr/>
        </p:nvSpPr>
        <p:spPr bwMode="auto">
          <a:xfrm>
            <a:off x="1046005" y="1498333"/>
            <a:ext cx="1249226" cy="411673"/>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Body)"/>
              </a:rPr>
              <a:t>Subject gate</a:t>
            </a:r>
          </a:p>
        </p:txBody>
      </p:sp>
      <p:sp>
        <p:nvSpPr>
          <p:cNvPr id="105" name="AutoShape 41">
            <a:extLst>
              <a:ext uri="{FF2B5EF4-FFF2-40B4-BE49-F238E27FC236}">
                <a16:creationId xmlns:a16="http://schemas.microsoft.com/office/drawing/2014/main" id="{FB6C6941-ECD3-4344-9A9A-CA2A7BF1284F}"/>
              </a:ext>
            </a:extLst>
          </p:cNvPr>
          <p:cNvSpPr>
            <a:spLocks noChangeArrowheads="1"/>
          </p:cNvSpPr>
          <p:nvPr/>
        </p:nvSpPr>
        <p:spPr bwMode="auto">
          <a:xfrm>
            <a:off x="2619402" y="1498333"/>
            <a:ext cx="1249226" cy="411673"/>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Body)"/>
              </a:rPr>
              <a:t>Kick-off gate</a:t>
            </a:r>
          </a:p>
        </p:txBody>
      </p:sp>
      <p:sp>
        <p:nvSpPr>
          <p:cNvPr id="106" name="AutoShape 41">
            <a:extLst>
              <a:ext uri="{FF2B5EF4-FFF2-40B4-BE49-F238E27FC236}">
                <a16:creationId xmlns:a16="http://schemas.microsoft.com/office/drawing/2014/main" id="{FB721FF3-5673-42E9-9FDD-ED4187B0EE81}"/>
              </a:ext>
            </a:extLst>
          </p:cNvPr>
          <p:cNvSpPr>
            <a:spLocks noChangeArrowheads="1"/>
          </p:cNvSpPr>
          <p:nvPr/>
        </p:nvSpPr>
        <p:spPr bwMode="auto">
          <a:xfrm>
            <a:off x="4826834" y="1498333"/>
            <a:ext cx="1249226" cy="411673"/>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Body)"/>
              </a:rPr>
              <a:t>Do gate</a:t>
            </a:r>
          </a:p>
        </p:txBody>
      </p:sp>
      <p:sp>
        <p:nvSpPr>
          <p:cNvPr id="107" name="AutoShape 41">
            <a:extLst>
              <a:ext uri="{FF2B5EF4-FFF2-40B4-BE49-F238E27FC236}">
                <a16:creationId xmlns:a16="http://schemas.microsoft.com/office/drawing/2014/main" id="{965FDCC3-F5DC-4FCA-93B4-F1C9C41074C4}"/>
              </a:ext>
            </a:extLst>
          </p:cNvPr>
          <p:cNvSpPr>
            <a:spLocks noChangeArrowheads="1"/>
          </p:cNvSpPr>
          <p:nvPr/>
        </p:nvSpPr>
        <p:spPr bwMode="auto">
          <a:xfrm>
            <a:off x="6442559" y="1498333"/>
            <a:ext cx="1735224" cy="411673"/>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Body)"/>
              </a:rPr>
              <a:t>Pilot gate</a:t>
            </a:r>
          </a:p>
        </p:txBody>
      </p:sp>
      <p:sp>
        <p:nvSpPr>
          <p:cNvPr id="108" name="AutoShape 41">
            <a:extLst>
              <a:ext uri="{FF2B5EF4-FFF2-40B4-BE49-F238E27FC236}">
                <a16:creationId xmlns:a16="http://schemas.microsoft.com/office/drawing/2014/main" id="{C1D8DF13-9E4D-45E9-8044-45AF1FB22928}"/>
              </a:ext>
            </a:extLst>
          </p:cNvPr>
          <p:cNvSpPr>
            <a:spLocks noChangeArrowheads="1"/>
          </p:cNvSpPr>
          <p:nvPr/>
        </p:nvSpPr>
        <p:spPr bwMode="auto">
          <a:xfrm>
            <a:off x="8421310" y="1498333"/>
            <a:ext cx="1249226" cy="411673"/>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Body)"/>
              </a:rPr>
              <a:t>Sell gate </a:t>
            </a:r>
            <a:br>
              <a:rPr kumimoji="0" lang="en-US" sz="1100" b="1" i="0" u="none" strike="noStrike" kern="1200" cap="none" spc="0" normalizeH="0" baseline="0" noProof="0" dirty="0">
                <a:ln>
                  <a:noFill/>
                </a:ln>
                <a:solidFill>
                  <a:prstClr val="black"/>
                </a:solidFill>
                <a:effectLst/>
                <a:uLnTx/>
                <a:uFillTx/>
                <a:latin typeface="Open Sans (Body)"/>
              </a:rPr>
            </a:br>
            <a:endParaRPr kumimoji="0" lang="en-US" sz="1100" b="1" i="0" u="none" strike="noStrike" kern="1200" cap="none" spc="0" normalizeH="0" baseline="0" noProof="0" dirty="0">
              <a:ln>
                <a:noFill/>
              </a:ln>
              <a:solidFill>
                <a:prstClr val="black"/>
              </a:solidFill>
              <a:effectLst/>
              <a:uLnTx/>
              <a:uFillTx/>
              <a:latin typeface="Open Sans (Body)"/>
            </a:endParaRPr>
          </a:p>
        </p:txBody>
      </p:sp>
      <p:sp>
        <p:nvSpPr>
          <p:cNvPr id="84" name="TextBox 83">
            <a:extLst>
              <a:ext uri="{FF2B5EF4-FFF2-40B4-BE49-F238E27FC236}">
                <a16:creationId xmlns:a16="http://schemas.microsoft.com/office/drawing/2014/main" id="{D9FE67B9-3AB2-4DA6-9C65-E37699F1C3DA}"/>
              </a:ext>
            </a:extLst>
          </p:cNvPr>
          <p:cNvSpPr txBox="1"/>
          <p:nvPr/>
        </p:nvSpPr>
        <p:spPr>
          <a:xfrm>
            <a:off x="2716196" y="1678084"/>
            <a:ext cx="1860178"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ysClr val="windowText" lastClr="000000"/>
                </a:solidFill>
                <a:effectLst/>
                <a:uLnTx/>
                <a:uFillTx/>
                <a:latin typeface="Open Sans (Body)"/>
              </a:rPr>
              <a:t>Examining the validity of an improvement idea based on a short (2-3 pages) description</a:t>
            </a:r>
          </a:p>
        </p:txBody>
      </p:sp>
      <p:sp>
        <p:nvSpPr>
          <p:cNvPr id="85" name="TextBox 84">
            <a:extLst>
              <a:ext uri="{FF2B5EF4-FFF2-40B4-BE49-F238E27FC236}">
                <a16:creationId xmlns:a16="http://schemas.microsoft.com/office/drawing/2014/main" id="{D9FE67B9-3AB2-4DA6-9C65-E37699F1C3DA}"/>
              </a:ext>
            </a:extLst>
          </p:cNvPr>
          <p:cNvSpPr txBox="1"/>
          <p:nvPr/>
        </p:nvSpPr>
        <p:spPr>
          <a:xfrm>
            <a:off x="792633" y="1678084"/>
            <a:ext cx="1860178"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ysClr val="windowText" lastClr="000000"/>
                </a:solidFill>
                <a:effectLst/>
                <a:uLnTx/>
                <a:uFillTx/>
                <a:latin typeface="Open Sans (Body)"/>
              </a:rPr>
              <a:t>Ensure that the continuous improvement initiative is in line with the company’s objectives</a:t>
            </a:r>
          </a:p>
        </p:txBody>
      </p:sp>
      <p:grpSp>
        <p:nvGrpSpPr>
          <p:cNvPr id="86" name="Group 85"/>
          <p:cNvGrpSpPr/>
          <p:nvPr/>
        </p:nvGrpSpPr>
        <p:grpSpPr>
          <a:xfrm rot="20007315">
            <a:off x="5761407" y="3552274"/>
            <a:ext cx="2994669" cy="2854089"/>
            <a:chOff x="5284677" y="2431992"/>
            <a:chExt cx="3539182" cy="3539486"/>
          </a:xfrm>
          <a:solidFill>
            <a:schemeClr val="accent2"/>
          </a:solidFill>
        </p:grpSpPr>
        <p:sp>
          <p:nvSpPr>
            <p:cNvPr id="87" name="Circular Arrow 86"/>
            <p:cNvSpPr/>
            <p:nvPr/>
          </p:nvSpPr>
          <p:spPr>
            <a:xfrm rot="21382358" flipV="1">
              <a:off x="5284677" y="2431992"/>
              <a:ext cx="3539182" cy="3539486"/>
            </a:xfrm>
            <a:prstGeom prst="circularArrow">
              <a:avLst>
                <a:gd name="adj1" fmla="val 5016"/>
                <a:gd name="adj2" fmla="val 983077"/>
                <a:gd name="adj3" fmla="val 20667164"/>
                <a:gd name="adj4" fmla="val 14399929"/>
                <a:gd name="adj5" fmla="val 5832"/>
              </a:avLst>
            </a:prstGeom>
            <a:grp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8" name="Circular Arrow 87"/>
            <p:cNvSpPr/>
            <p:nvPr/>
          </p:nvSpPr>
          <p:spPr>
            <a:xfrm rot="21382358" flipV="1">
              <a:off x="5347483" y="2493069"/>
              <a:ext cx="3407952" cy="3408244"/>
            </a:xfrm>
            <a:prstGeom prst="circularArrow">
              <a:avLst>
                <a:gd name="adj1" fmla="val 5016"/>
                <a:gd name="adj2" fmla="val 983077"/>
                <a:gd name="adj3" fmla="val 20667164"/>
                <a:gd name="adj4" fmla="val 14399164"/>
                <a:gd name="adj5" fmla="val 5832"/>
              </a:avLst>
            </a:prstGeom>
            <a:grp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9" name="Circular Arrow 88"/>
            <p:cNvSpPr/>
            <p:nvPr/>
          </p:nvSpPr>
          <p:spPr>
            <a:xfrm rot="8636295" flipV="1">
              <a:off x="5345213" y="2497613"/>
              <a:ext cx="3407952" cy="3408244"/>
            </a:xfrm>
            <a:prstGeom prst="circularArrow">
              <a:avLst>
                <a:gd name="adj1" fmla="val 5016"/>
                <a:gd name="adj2" fmla="val 983077"/>
                <a:gd name="adj3" fmla="val 20667164"/>
                <a:gd name="adj4" fmla="val 16222299"/>
                <a:gd name="adj5" fmla="val 5832"/>
              </a:avLst>
            </a:prstGeom>
            <a:grp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0" name="Circular Arrow 89"/>
            <p:cNvSpPr/>
            <p:nvPr/>
          </p:nvSpPr>
          <p:spPr>
            <a:xfrm rot="14313269" flipV="1">
              <a:off x="5345212" y="2497613"/>
              <a:ext cx="3407952" cy="3408244"/>
            </a:xfrm>
            <a:prstGeom prst="circularArrow">
              <a:avLst>
                <a:gd name="adj1" fmla="val 5016"/>
                <a:gd name="adj2" fmla="val 983077"/>
                <a:gd name="adj3" fmla="val 20667164"/>
                <a:gd name="adj4" fmla="val 14819524"/>
                <a:gd name="adj5" fmla="val 5832"/>
              </a:avLst>
            </a:prstGeom>
            <a:grp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92" name="TextBox 91">
            <a:extLst>
              <a:ext uri="{FF2B5EF4-FFF2-40B4-BE49-F238E27FC236}">
                <a16:creationId xmlns:a16="http://schemas.microsoft.com/office/drawing/2014/main" id="{D44DDB71-2D3A-4416-8DFA-4E5FC020BF0C}"/>
              </a:ext>
            </a:extLst>
          </p:cNvPr>
          <p:cNvSpPr txBox="1"/>
          <p:nvPr/>
        </p:nvSpPr>
        <p:spPr>
          <a:xfrm>
            <a:off x="8361387" y="1678084"/>
            <a:ext cx="1717901" cy="507831"/>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ysClr val="windowText" lastClr="000000"/>
                </a:solidFill>
                <a:effectLst/>
                <a:uLnTx/>
                <a:uFillTx/>
                <a:latin typeface="Open Sans (Body)"/>
              </a:rPr>
              <a:t>Examination of the usability/marketability of the result</a:t>
            </a:r>
          </a:p>
        </p:txBody>
      </p:sp>
      <p:sp>
        <p:nvSpPr>
          <p:cNvPr id="93" name="TextBox 92">
            <a:extLst>
              <a:ext uri="{FF2B5EF4-FFF2-40B4-BE49-F238E27FC236}">
                <a16:creationId xmlns:a16="http://schemas.microsoft.com/office/drawing/2014/main" id="{318A54A2-755E-40B4-8774-9CB0DBE7B3A2}"/>
              </a:ext>
            </a:extLst>
          </p:cNvPr>
          <p:cNvSpPr txBox="1"/>
          <p:nvPr/>
        </p:nvSpPr>
        <p:spPr>
          <a:xfrm>
            <a:off x="4657166" y="1678084"/>
            <a:ext cx="2056978" cy="101566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ysClr val="windowText" lastClr="000000"/>
                </a:solidFill>
                <a:effectLst/>
                <a:uLnTx/>
                <a:uFillTx/>
                <a:latin typeface="Open Sans (Body)"/>
              </a:rPr>
              <a:t>Examining whether the planned project result has adequate business potential and whether it is actually feasible based on a detailed plan</a:t>
            </a:r>
          </a:p>
        </p:txBody>
      </p:sp>
      <p:sp>
        <p:nvSpPr>
          <p:cNvPr id="94" name="Right Arrow 55">
            <a:extLst>
              <a:ext uri="{FF2B5EF4-FFF2-40B4-BE49-F238E27FC236}">
                <a16:creationId xmlns:a16="http://schemas.microsoft.com/office/drawing/2014/main" id="{DC4C4D5B-986F-4AC7-BF6F-A3A2E633DE27}"/>
              </a:ext>
            </a:extLst>
          </p:cNvPr>
          <p:cNvSpPr/>
          <p:nvPr/>
        </p:nvSpPr>
        <p:spPr>
          <a:xfrm>
            <a:off x="10732251" y="6054807"/>
            <a:ext cx="1387618" cy="341750"/>
          </a:xfrm>
          <a:prstGeom prst="rightArrow">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5" name="AutoShape 42">
            <a:extLst>
              <a:ext uri="{FF2B5EF4-FFF2-40B4-BE49-F238E27FC236}">
                <a16:creationId xmlns:a16="http://schemas.microsoft.com/office/drawing/2014/main" id="{19168339-6A3D-49CA-9DA5-0BF6B47D5304}"/>
              </a:ext>
            </a:extLst>
          </p:cNvPr>
          <p:cNvSpPr>
            <a:spLocks noChangeArrowheads="1"/>
          </p:cNvSpPr>
          <p:nvPr/>
        </p:nvSpPr>
        <p:spPr bwMode="auto">
          <a:xfrm>
            <a:off x="10563966" y="3337071"/>
            <a:ext cx="1437117" cy="341752"/>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2B5E5"/>
                </a:solidFill>
                <a:effectLst/>
                <a:uLnTx/>
                <a:uFillTx/>
                <a:latin typeface="Open Sans (Body)"/>
              </a:rPr>
              <a:t>Improvement</a:t>
            </a:r>
          </a:p>
        </p:txBody>
      </p:sp>
      <p:cxnSp>
        <p:nvCxnSpPr>
          <p:cNvPr id="96" name="Straight Connector 95">
            <a:extLst>
              <a:ext uri="{FF2B5EF4-FFF2-40B4-BE49-F238E27FC236}">
                <a16:creationId xmlns:a16="http://schemas.microsoft.com/office/drawing/2014/main" id="{11AE4BA4-F82C-4204-822B-62621A9B89D7}"/>
              </a:ext>
            </a:extLst>
          </p:cNvPr>
          <p:cNvCxnSpPr/>
          <p:nvPr/>
        </p:nvCxnSpPr>
        <p:spPr>
          <a:xfrm>
            <a:off x="10607464" y="3295271"/>
            <a:ext cx="1424930" cy="0"/>
          </a:xfrm>
          <a:prstGeom prst="line">
            <a:avLst/>
          </a:prstGeom>
          <a:ln>
            <a:solidFill>
              <a:srgbClr val="62B5E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7160811-6216-480B-A220-DC9392E97A85}"/>
              </a:ext>
            </a:extLst>
          </p:cNvPr>
          <p:cNvCxnSpPr/>
          <p:nvPr/>
        </p:nvCxnSpPr>
        <p:spPr>
          <a:xfrm>
            <a:off x="10591251" y="2467571"/>
            <a:ext cx="0" cy="35958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8" name="Diamond 97">
            <a:extLst>
              <a:ext uri="{FF2B5EF4-FFF2-40B4-BE49-F238E27FC236}">
                <a16:creationId xmlns:a16="http://schemas.microsoft.com/office/drawing/2014/main" id="{D3BAAE8D-6671-4AAB-B3EB-8EDB02A69517}"/>
              </a:ext>
            </a:extLst>
          </p:cNvPr>
          <p:cNvSpPr/>
          <p:nvPr/>
        </p:nvSpPr>
        <p:spPr>
          <a:xfrm>
            <a:off x="10061161" y="2441470"/>
            <a:ext cx="1062850" cy="81675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Body)"/>
            </a:endParaRPr>
          </a:p>
        </p:txBody>
      </p:sp>
      <p:sp>
        <p:nvSpPr>
          <p:cNvPr id="99" name="AutoShape 41">
            <a:extLst>
              <a:ext uri="{FF2B5EF4-FFF2-40B4-BE49-F238E27FC236}">
                <a16:creationId xmlns:a16="http://schemas.microsoft.com/office/drawing/2014/main" id="{C1D8DF13-9E4D-45E9-8044-45AF1FB22928}"/>
              </a:ext>
            </a:extLst>
          </p:cNvPr>
          <p:cNvSpPr>
            <a:spLocks noChangeArrowheads="1"/>
          </p:cNvSpPr>
          <p:nvPr/>
        </p:nvSpPr>
        <p:spPr bwMode="auto">
          <a:xfrm>
            <a:off x="10126860" y="1498333"/>
            <a:ext cx="1249226" cy="411673"/>
          </a:xfrm>
          <a:prstGeom prst="rect">
            <a:avLst/>
          </a:prstGeom>
          <a:noFill/>
          <a:ln w="9525" algn="ctr">
            <a:noFill/>
            <a:miter lim="800000"/>
            <a:headEnd/>
            <a:tailEnd/>
          </a:ln>
          <a:effectLst/>
        </p:spPr>
        <p:txBody>
          <a:bodyPr lIns="3600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Body)"/>
              </a:rPr>
              <a:t>Improve gate</a:t>
            </a:r>
          </a:p>
        </p:txBody>
      </p:sp>
      <p:sp>
        <p:nvSpPr>
          <p:cNvPr id="100" name="TextBox 99">
            <a:extLst>
              <a:ext uri="{FF2B5EF4-FFF2-40B4-BE49-F238E27FC236}">
                <a16:creationId xmlns:a16="http://schemas.microsoft.com/office/drawing/2014/main" id="{D44DDB71-2D3A-4416-8DFA-4E5FC020BF0C}"/>
              </a:ext>
            </a:extLst>
          </p:cNvPr>
          <p:cNvSpPr txBox="1"/>
          <p:nvPr/>
        </p:nvSpPr>
        <p:spPr>
          <a:xfrm>
            <a:off x="10316533" y="1678084"/>
            <a:ext cx="1568525" cy="507831"/>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Body)"/>
              </a:rPr>
              <a:t>Improve the service/product based on customer feedback</a:t>
            </a:r>
          </a:p>
        </p:txBody>
      </p:sp>
      <p:sp>
        <p:nvSpPr>
          <p:cNvPr id="101" name="TextBox 100">
            <a:extLst>
              <a:ext uri="{FF2B5EF4-FFF2-40B4-BE49-F238E27FC236}">
                <a16:creationId xmlns:a16="http://schemas.microsoft.com/office/drawing/2014/main" id="{318A54A2-755E-40B4-8774-9CB0DBE7B3A2}"/>
              </a:ext>
            </a:extLst>
          </p:cNvPr>
          <p:cNvSpPr txBox="1"/>
          <p:nvPr/>
        </p:nvSpPr>
        <p:spPr>
          <a:xfrm>
            <a:off x="6792387" y="1678084"/>
            <a:ext cx="1735224"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ysClr val="windowText" lastClr="000000"/>
                </a:solidFill>
                <a:effectLst/>
                <a:uLnTx/>
                <a:uFillTx/>
                <a:latin typeface="Open Sans (Body)"/>
              </a:rPr>
              <a:t>Examination of finished product / service </a:t>
            </a:r>
          </a:p>
        </p:txBody>
      </p:sp>
    </p:spTree>
    <p:extLst>
      <p:ext uri="{BB962C8B-B14F-4D97-AF65-F5344CB8AC3E}">
        <p14:creationId xmlns:p14="http://schemas.microsoft.com/office/powerpoint/2010/main" val="3689886068"/>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1" y="2997200"/>
            <a:ext cx="7477761" cy="863600"/>
            <a:chOff x="-1" y="2997200"/>
            <a:chExt cx="7477761" cy="863600"/>
          </a:xfrm>
          <a:solidFill>
            <a:srgbClr val="62B5E5"/>
          </a:solidFill>
          <a:effectLst>
            <a:outerShdw blurRad="50800" dist="38100" dir="5400000" algn="t" rotWithShape="0">
              <a:prstClr val="black">
                <a:alpha val="40000"/>
              </a:prstClr>
            </a:outerShdw>
          </a:effectLst>
        </p:grpSpPr>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a:extLst>
                <a:ext uri="{FF2B5EF4-FFF2-40B4-BE49-F238E27FC236}">
                  <a16:creationId xmlns:a16="http://schemas.microsoft.com/office/drawing/2014/main" id="{3D401599-9D06-8EE4-4868-D91498BE40B4}"/>
                </a:ext>
              </a:extLst>
            </p:cNvPr>
            <p:cNvSpPr/>
            <p:nvPr/>
          </p:nvSpPr>
          <p:spPr bwMode="gray">
            <a:xfrm>
              <a:off x="-1" y="2997200"/>
              <a:ext cx="7182853"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11 </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Planning and forecasting </a:t>
              </a:r>
              <a:endParaRPr lang="hu-HU" sz="2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318385045"/>
      </p:ext>
    </p:extLst>
  </p:cSld>
  <p:clrMapOvr>
    <a:masterClrMapping/>
  </p:clrMapOvr>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E10BCCA-DB21-1F78-D69A-4FCD7DEBA644}"/>
              </a:ext>
            </a:extLst>
          </p:cNvPr>
          <p:cNvGraphicFramePr>
            <a:graphicFrameLocks noChangeAspect="1"/>
          </p:cNvGraphicFramePr>
          <p:nvPr>
            <p:custDataLst>
              <p:tags r:id="rId1"/>
            </p:custDataLst>
            <p:extLst>
              <p:ext uri="{D42A27DB-BD31-4B8C-83A1-F6EECF244321}">
                <p14:modId xmlns:p14="http://schemas.microsoft.com/office/powerpoint/2010/main" val="32409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think-cell data - do not delete" hidden="1">
                        <a:extLst>
                          <a:ext uri="{FF2B5EF4-FFF2-40B4-BE49-F238E27FC236}">
                            <a16:creationId xmlns:a16="http://schemas.microsoft.com/office/drawing/2014/main" id="{3E10BCCA-DB21-1F78-D69A-4FCD7DEBA6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0419FC05-DB5F-6D73-597D-D429F3992FF6}"/>
              </a:ext>
            </a:extLst>
          </p:cNvPr>
          <p:cNvCxnSpPr>
            <a:cxnSpLocks/>
          </p:cNvCxnSpPr>
          <p:nvPr/>
        </p:nvCxnSpPr>
        <p:spPr>
          <a:xfrm flipH="1">
            <a:off x="463295" y="1709330"/>
            <a:ext cx="11268000" cy="0"/>
          </a:xfrm>
          <a:prstGeom prst="line">
            <a:avLst/>
          </a:prstGeom>
          <a:ln w="19050">
            <a:solidFill>
              <a:srgbClr val="00B0F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8014F268-D480-79E6-B5FA-1BAD03870EE6}"/>
              </a:ext>
            </a:extLst>
          </p:cNvPr>
          <p:cNvSpPr>
            <a:spLocks noGrp="1"/>
          </p:cNvSpPr>
          <p:nvPr>
            <p:ph type="title"/>
          </p:nvPr>
        </p:nvSpPr>
        <p:spPr/>
        <p:txBody>
          <a:bodyPr vert="horz"/>
          <a:lstStyle/>
          <a:p>
            <a:r>
              <a:rPr lang="en-US" sz="2800" spc="-75"/>
              <a:t>Together </a:t>
            </a:r>
            <a:r>
              <a:rPr lang="en-US" sz="2800" spc="-75" dirty="0"/>
              <a:t>with UNICEF Hungary</a:t>
            </a:r>
            <a:r>
              <a:rPr lang="en-US" sz="2800" spc="-75"/>
              <a:t>, Deloitte has launched </a:t>
            </a:r>
            <a:r>
              <a:rPr lang="hu-HU" sz="2800" spc="-75" dirty="0"/>
              <a:t>a</a:t>
            </a:r>
            <a:r>
              <a:rPr lang="en-US" sz="2800" spc="-75" dirty="0"/>
              <a:t> successful </a:t>
            </a:r>
            <a:r>
              <a:rPr lang="en-US" sz="28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limate protection campaign</a:t>
            </a:r>
            <a:r>
              <a:rPr lang="en-US" sz="2800" spc="-75"/>
              <a:t> - the </a:t>
            </a:r>
            <a:r>
              <a:rPr lang="en-US" sz="2800" spc="-75" dirty="0"/>
              <a:t>Climate heroes </a:t>
            </a:r>
            <a:r>
              <a:rPr lang="en-US" sz="2800" spc="-75" dirty="0" err="1"/>
              <a:t>programme</a:t>
            </a:r>
            <a:endParaRPr lang="en-US" dirty="0"/>
          </a:p>
        </p:txBody>
      </p:sp>
      <p:sp>
        <p:nvSpPr>
          <p:cNvPr id="7" name="TextBox 6">
            <a:extLst>
              <a:ext uri="{FF2B5EF4-FFF2-40B4-BE49-F238E27FC236}">
                <a16:creationId xmlns:a16="http://schemas.microsoft.com/office/drawing/2014/main" id="{47F8E85D-AD3B-4EC1-AF44-826CD304CDD5}"/>
              </a:ext>
            </a:extLst>
          </p:cNvPr>
          <p:cNvSpPr txBox="1"/>
          <p:nvPr/>
        </p:nvSpPr>
        <p:spPr>
          <a:xfrm>
            <a:off x="1709791" y="1993697"/>
            <a:ext cx="4612558" cy="240259"/>
          </a:xfrm>
          <a:prstGeom prst="rect">
            <a:avLst/>
          </a:prstGeom>
          <a:noFill/>
        </p:spPr>
        <p:txBody>
          <a:bodyPr wrap="square" lIns="0" tIns="0" rIns="0" bIns="0" rtlCol="0">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dirty="0">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a:t>
            </a:r>
            <a:r>
              <a:rPr kumimoji="0" lang="hu-HU" sz="1400" b="0" i="0" u="none" strike="noStrike" kern="1200" cap="none" spc="0" normalizeH="0" baseline="0" dirty="0" err="1">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limate</a:t>
            </a:r>
            <a:r>
              <a:rPr kumimoji="0" lang="en-US" sz="1400" b="0" i="0" u="none" strike="noStrike" kern="1200" cap="none" spc="0" normalizeH="0" baseline="0" dirty="0">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H</a:t>
            </a:r>
            <a:r>
              <a:rPr kumimoji="0" lang="hu-HU" sz="1400" b="0" i="0" u="none" strike="noStrike" kern="1200" cap="none" spc="0" normalizeH="0" baseline="0" dirty="0" err="1">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eroes</a:t>
            </a:r>
            <a:r>
              <a:rPr kumimoji="0" lang="en-US" sz="1400" b="0" i="0" u="none" strike="noStrike" kern="1200" cap="none" spc="0" normalizeH="0" baseline="0" dirty="0">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P</a:t>
            </a:r>
            <a:r>
              <a:rPr kumimoji="0" lang="hu-HU" sz="1400" b="0" i="0" u="none" strike="noStrike" kern="1200" cap="none" spc="0" normalizeH="0" baseline="0" dirty="0">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rogram</a:t>
            </a:r>
            <a:endParaRPr kumimoji="0" lang="en-US" sz="1400" b="0" i="0" u="none" strike="noStrike" kern="1200" cap="none" spc="0" normalizeH="0" baseline="0" dirty="0">
              <a:ln>
                <a:noFill/>
              </a:ln>
              <a:solidFill>
                <a:srgbClr val="00B0F2"/>
              </a:solidFill>
              <a:effectLst/>
              <a:uLnTx/>
              <a:uFillTx/>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8" name="Rectangle 17">
            <a:extLst>
              <a:ext uri="{FF2B5EF4-FFF2-40B4-BE49-F238E27FC236}">
                <a16:creationId xmlns:a16="http://schemas.microsoft.com/office/drawing/2014/main" id="{3FB6FA31-F7F3-1DF5-A2DE-9BEBE72769F3}"/>
              </a:ext>
            </a:extLst>
          </p:cNvPr>
          <p:cNvSpPr/>
          <p:nvPr/>
        </p:nvSpPr>
        <p:spPr>
          <a:xfrm>
            <a:off x="1709791" y="2236994"/>
            <a:ext cx="4835990" cy="4142673"/>
          </a:xfrm>
          <a:prstGeom prst="rect">
            <a:avLst/>
          </a:prstGeom>
        </p:spPr>
        <p:txBody>
          <a:bodyPr wrap="square">
            <a:spAutoFit/>
          </a:bodyPr>
          <a:lstStyle/>
          <a:p>
            <a:pPr algn="just"/>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ituation</a:t>
            </a:r>
          </a:p>
          <a:p>
            <a:pPr algn="just"/>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UNICEF Hungary wanted to initiate a climate protection campaign targeting young people; however, they lacked the resources and expertise to comprehensively identify the overall project’s framework and key factors. We gladly contributed to the advancement of this noble purpose, and we closely engaged in the project's implementation.</a:t>
            </a:r>
          </a:p>
          <a:p>
            <a:pPr algn="just"/>
            <a:endPar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pproach</a:t>
            </a:r>
          </a:p>
          <a:p>
            <a:pPr marL="140494" marR="3810" indent="-128588" defTabSz="914378">
              <a:lnSpc>
                <a:spcPct val="111300"/>
              </a:lnSpc>
              <a:spcAft>
                <a:spcPts val="300"/>
              </a:spcAft>
              <a:buClrTx/>
              <a:buFont typeface="Arial" panose="020B0604020202020204" pitchFamily="34" charset="0"/>
              <a:buChar char="•"/>
              <a:defRPr/>
            </a:pPr>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onceptualization:</a:t>
            </a: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We helped to form and develop a clear and well-defined concept for the Climate Hero Program. This involved organizing thoughts and creating mental framework to effectively understand, plan and communicate the key points of the project.</a:t>
            </a:r>
          </a:p>
          <a:p>
            <a:pPr marL="140494" marR="3810" indent="-128588" defTabSz="914378">
              <a:lnSpc>
                <a:spcPct val="111300"/>
              </a:lnSpc>
              <a:spcAft>
                <a:spcPts val="300"/>
              </a:spcAft>
              <a:buClrTx/>
              <a:buFont typeface="Arial" panose="020B0604020202020204" pitchFamily="34" charset="0"/>
              <a:buChar char="•"/>
              <a:defRPr/>
            </a:pPr>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Professional advice</a:t>
            </a: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Our experienced and highly skilled consultants greatly supported the project's professional quality assurance and enhancement efforts to ensure that the program could be implemented in line with the previously planned concept and objectives.</a:t>
            </a:r>
          </a:p>
          <a:p>
            <a:pPr marL="140494" marR="3810" indent="-128588" defTabSz="914378">
              <a:lnSpc>
                <a:spcPct val="111300"/>
              </a:lnSpc>
              <a:spcAft>
                <a:spcPts val="300"/>
              </a:spcAft>
              <a:buClrTx/>
              <a:buFont typeface="Arial" panose="020B0604020202020204" pitchFamily="34" charset="0"/>
              <a:buChar char="•"/>
              <a:defRPr/>
            </a:pPr>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upport</a:t>
            </a: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We participated in the content production, provided the shooting location and assisted the project management team.</a:t>
            </a:r>
            <a:b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br>
            <a:endPar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11906" marR="3810" defTabSz="914378">
              <a:lnSpc>
                <a:spcPct val="111300"/>
              </a:lnSpc>
              <a:spcAft>
                <a:spcPts val="300"/>
              </a:spcAft>
              <a:buClrTx/>
              <a:defRPr/>
            </a:pPr>
            <a:r>
              <a:rPr lang="en-US" sz="10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Impact</a:t>
            </a:r>
          </a:p>
          <a:p>
            <a:pPr marL="171450" marR="0" lvl="3" indent="-171450" algn="l" defTabSz="914400" eaLnBrk="1" fontAlgn="auto" latinLnBrk="0" hangingPunct="1">
              <a:lnSpc>
                <a:spcPct val="100000"/>
              </a:lnSpc>
              <a:spcBef>
                <a:spcPts val="0"/>
              </a:spcBef>
              <a:spcAft>
                <a:spcPts val="600"/>
              </a:spcAft>
              <a:buClr>
                <a:srgbClr val="00ABAB">
                  <a:lumMod val="50000"/>
                </a:srgbClr>
              </a:buClr>
              <a:buSzTx/>
              <a:buFont typeface="Arial" panose="020B0604020202020204" pitchFamily="34" charset="0"/>
              <a:buChar char="•"/>
              <a:tabLst/>
              <a:defRPr/>
            </a:pPr>
            <a:r>
              <a:rPr kumimoji="0" lang="en-US" sz="1000" i="0" u="none" strike="noStrike" kern="1200" cap="none" spc="0" normalizeH="0" baseline="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anks to our joint efforts, a huge amount of communication and educational material was created, contributing to the reduction of anxiety among young people and increasing society's knowledge about climate change.</a:t>
            </a:r>
          </a:p>
        </p:txBody>
      </p:sp>
      <p:pic>
        <p:nvPicPr>
          <p:cNvPr id="8" name="Picture 7">
            <a:extLst>
              <a:ext uri="{FF2B5EF4-FFF2-40B4-BE49-F238E27FC236}">
                <a16:creationId xmlns:a16="http://schemas.microsoft.com/office/drawing/2014/main" id="{6F3C7E04-8737-249F-586D-606E527E750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94021" y="1993698"/>
            <a:ext cx="1767466" cy="2511662"/>
          </a:xfrm>
          <a:prstGeom prst="rect">
            <a:avLst/>
          </a:prstGeom>
        </p:spPr>
      </p:pic>
      <p:pic>
        <p:nvPicPr>
          <p:cNvPr id="51" name="Picture 50">
            <a:extLst>
              <a:ext uri="{FF2B5EF4-FFF2-40B4-BE49-F238E27FC236}">
                <a16:creationId xmlns:a16="http://schemas.microsoft.com/office/drawing/2014/main" id="{18DF1F8F-E117-8BF9-779A-DD619147BCA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550077" y="1993699"/>
            <a:ext cx="1774501" cy="2511660"/>
          </a:xfrm>
          <a:prstGeom prst="rect">
            <a:avLst/>
          </a:prstGeom>
        </p:spPr>
      </p:pic>
      <p:grpSp>
        <p:nvGrpSpPr>
          <p:cNvPr id="62" name="Group 61">
            <a:extLst>
              <a:ext uri="{FF2B5EF4-FFF2-40B4-BE49-F238E27FC236}">
                <a16:creationId xmlns:a16="http://schemas.microsoft.com/office/drawing/2014/main" id="{04E1E733-F783-3C8F-307C-D81CE484CD0D}"/>
              </a:ext>
            </a:extLst>
          </p:cNvPr>
          <p:cNvGrpSpPr>
            <a:grpSpLocks noChangeAspect="1"/>
          </p:cNvGrpSpPr>
          <p:nvPr/>
        </p:nvGrpSpPr>
        <p:grpSpPr>
          <a:xfrm>
            <a:off x="7949761" y="4628966"/>
            <a:ext cx="2539172" cy="1428284"/>
            <a:chOff x="3149201" y="4172066"/>
            <a:chExt cx="3550491" cy="1997151"/>
          </a:xfrm>
        </p:grpSpPr>
        <p:pic>
          <p:nvPicPr>
            <p:cNvPr id="61" name="Picture 60">
              <a:extLst>
                <a:ext uri="{FF2B5EF4-FFF2-40B4-BE49-F238E27FC236}">
                  <a16:creationId xmlns:a16="http://schemas.microsoft.com/office/drawing/2014/main" id="{FC6AA695-5E42-B03D-CB9D-3BBF320B2AA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49201" y="4172066"/>
              <a:ext cx="3550491" cy="1997151"/>
            </a:xfrm>
            <a:prstGeom prst="rect">
              <a:avLst/>
            </a:prstGeom>
          </p:spPr>
        </p:pic>
        <p:pic>
          <p:nvPicPr>
            <p:cNvPr id="59" name="Picture 58">
              <a:extLst>
                <a:ext uri="{FF2B5EF4-FFF2-40B4-BE49-F238E27FC236}">
                  <a16:creationId xmlns:a16="http://schemas.microsoft.com/office/drawing/2014/main" id="{1AB85694-0479-8B45-432E-60C0A8999255}"/>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375658" y="4259847"/>
              <a:ext cx="3097577" cy="223768"/>
            </a:xfrm>
            <a:prstGeom prst="rect">
              <a:avLst/>
            </a:prstGeom>
          </p:spPr>
        </p:pic>
      </p:grpSp>
      <p:sp>
        <p:nvSpPr>
          <p:cNvPr id="19" name="Oval 18">
            <a:extLst>
              <a:ext uri="{FF2B5EF4-FFF2-40B4-BE49-F238E27FC236}">
                <a16:creationId xmlns:a16="http://schemas.microsoft.com/office/drawing/2014/main" id="{A59C7A0F-FE6E-598E-99D7-D46A2971992C}"/>
              </a:ext>
            </a:extLst>
          </p:cNvPr>
          <p:cNvSpPr/>
          <p:nvPr/>
        </p:nvSpPr>
        <p:spPr>
          <a:xfrm>
            <a:off x="755260" y="1595030"/>
            <a:ext cx="228600" cy="228600"/>
          </a:xfrm>
          <a:prstGeom prst="ellipse">
            <a:avLst/>
          </a:prstGeom>
          <a:solidFill>
            <a:srgbClr val="00B0F2"/>
          </a:solidFill>
          <a:ln w="25400" cap="flat" cmpd="sng" algn="ctr">
            <a:noFill/>
            <a:prstDash val="solid"/>
          </a:ln>
          <a:effectLst>
            <a:glow rad="139700">
              <a:schemeClr val="accent1">
                <a:satMod val="175000"/>
                <a:alpha val="40000"/>
              </a:scheme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20" name="Flowchart: Connector 19">
            <a:extLst>
              <a:ext uri="{FF2B5EF4-FFF2-40B4-BE49-F238E27FC236}">
                <a16:creationId xmlns:a16="http://schemas.microsoft.com/office/drawing/2014/main" id="{EAF28FCF-A3DC-4776-17A4-61B5D0B9F3E1}"/>
              </a:ext>
            </a:extLst>
          </p:cNvPr>
          <p:cNvSpPr>
            <a:spLocks/>
          </p:cNvSpPr>
          <p:nvPr/>
        </p:nvSpPr>
        <p:spPr bwMode="gray">
          <a:xfrm>
            <a:off x="-618646" y="1188357"/>
            <a:ext cx="2286000" cy="2288604"/>
          </a:xfrm>
          <a:prstGeom prst="flowChartConnector">
            <a:avLst/>
          </a:prstGeom>
          <a:solidFill>
            <a:srgbClr val="00B0F2">
              <a:alpha val="24000"/>
            </a:srgb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CFA79C38-DD45-DEE7-D4DA-DFA93ED625FD}"/>
              </a:ext>
            </a:extLst>
          </p:cNvPr>
          <p:cNvGrpSpPr/>
          <p:nvPr/>
        </p:nvGrpSpPr>
        <p:grpSpPr>
          <a:xfrm>
            <a:off x="231917" y="2001982"/>
            <a:ext cx="1244714" cy="1340640"/>
            <a:chOff x="313485" y="4509531"/>
            <a:chExt cx="1058295" cy="1139858"/>
          </a:xfrm>
        </p:grpSpPr>
        <p:sp>
          <p:nvSpPr>
            <p:cNvPr id="22" name="Freeform: Shape 21">
              <a:extLst>
                <a:ext uri="{FF2B5EF4-FFF2-40B4-BE49-F238E27FC236}">
                  <a16:creationId xmlns:a16="http://schemas.microsoft.com/office/drawing/2014/main" id="{E396A87B-CEFC-6E55-8081-896F7FE3D053}"/>
                </a:ext>
              </a:extLst>
            </p:cNvPr>
            <p:cNvSpPr/>
            <p:nvPr/>
          </p:nvSpPr>
          <p:spPr bwMode="gray">
            <a:xfrm>
              <a:off x="313485" y="4682039"/>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dirty="0"/>
            </a:p>
          </p:txBody>
        </p:sp>
        <p:cxnSp>
          <p:nvCxnSpPr>
            <p:cNvPr id="23" name="Straight Connector 22">
              <a:extLst>
                <a:ext uri="{FF2B5EF4-FFF2-40B4-BE49-F238E27FC236}">
                  <a16:creationId xmlns:a16="http://schemas.microsoft.com/office/drawing/2014/main" id="{B280EBEC-7AE8-E4E0-FD2B-BEF63F5DF012}"/>
                </a:ext>
              </a:extLst>
            </p:cNvPr>
            <p:cNvCxnSpPr/>
            <p:nvPr/>
          </p:nvCxnSpPr>
          <p:spPr>
            <a:xfrm flipV="1">
              <a:off x="791851" y="4509531"/>
              <a:ext cx="0" cy="5053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54EDBAE-AD05-98C5-A3F6-F470B24AA4CE}"/>
                </a:ext>
              </a:extLst>
            </p:cNvPr>
            <p:cNvSpPr/>
            <p:nvPr/>
          </p:nvSpPr>
          <p:spPr bwMode="gray">
            <a:xfrm>
              <a:off x="742123" y="4981282"/>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25" name="Rectangle 24">
              <a:extLst>
                <a:ext uri="{FF2B5EF4-FFF2-40B4-BE49-F238E27FC236}">
                  <a16:creationId xmlns:a16="http://schemas.microsoft.com/office/drawing/2014/main" id="{25AB1632-FA31-1323-BD9E-B63F6A4CEF4A}"/>
                </a:ext>
              </a:extLst>
            </p:cNvPr>
            <p:cNvSpPr/>
            <p:nvPr/>
          </p:nvSpPr>
          <p:spPr>
            <a:xfrm>
              <a:off x="465774" y="5074944"/>
              <a:ext cx="906006" cy="15700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a:t>
              </a:r>
              <a:r>
                <a:rPr lang="en-US" sz="600" i="1" spc="300" dirty="0">
                  <a:latin typeface="Open Sans"/>
                </a:rPr>
                <a:t>T</a:t>
              </a:r>
              <a:endParaRPr kumimoji="0" lang="en-US" sz="600" i="1" u="none" strike="noStrike" kern="1200" cap="none" spc="300" normalizeH="0" baseline="0" dirty="0">
                <a:ln>
                  <a:noFill/>
                </a:ln>
                <a:effectLst/>
                <a:uLnTx/>
                <a:uFillTx/>
                <a:latin typeface="Open Sans"/>
              </a:endParaRPr>
            </a:p>
          </p:txBody>
        </p:sp>
        <p:pic>
          <p:nvPicPr>
            <p:cNvPr id="26" name="Picture 4" descr="Hungary Large Flag | Gallery Yopriceville - High-Quality Free Images ...">
              <a:extLst>
                <a:ext uri="{FF2B5EF4-FFF2-40B4-BE49-F238E27FC236}">
                  <a16:creationId xmlns:a16="http://schemas.microsoft.com/office/drawing/2014/main" id="{33084BF1-8EAE-3107-8ECB-FB86C477477C}"/>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89759" y="451244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54955992"/>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2AB4983F-9CBD-E91D-697C-7BD05953570B}"/>
              </a:ext>
            </a:extLst>
          </p:cNvPr>
          <p:cNvGraphicFramePr>
            <a:graphicFrameLocks noChangeAspect="1"/>
          </p:cNvGraphicFramePr>
          <p:nvPr>
            <p:custDataLst>
              <p:tags r:id="rId1"/>
            </p:custDataLst>
            <p:extLst>
              <p:ext uri="{D42A27DB-BD31-4B8C-83A1-F6EECF244321}">
                <p14:modId xmlns:p14="http://schemas.microsoft.com/office/powerpoint/2010/main" val="405899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8" name="think-cell data - do not delete" hidden="1">
                        <a:extLst>
                          <a:ext uri="{FF2B5EF4-FFF2-40B4-BE49-F238E27FC236}">
                            <a16:creationId xmlns:a16="http://schemas.microsoft.com/office/drawing/2014/main" id="{2AB4983F-9CBD-E91D-697C-7BD0595357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530F578-50EC-DA73-4B38-E17DC7723AF2}"/>
              </a:ext>
            </a:extLst>
          </p:cNvPr>
          <p:cNvSpPr>
            <a:spLocks noGrp="1"/>
          </p:cNvSpPr>
          <p:nvPr>
            <p:ph type="body" sz="quarter" idx="22"/>
          </p:nvPr>
        </p:nvSpPr>
        <p:spPr/>
        <p:txBody>
          <a:bodyPr/>
          <a:lstStyle/>
          <a:p>
            <a:r>
              <a:rPr lang="en-US" dirty="0"/>
              <a:t>Insights based on results of Deloitte`s Global Planning, Budgeting and Forecasting survey (2023)</a:t>
            </a:r>
          </a:p>
          <a:p>
            <a:endParaRPr lang="en-US" dirty="0"/>
          </a:p>
        </p:txBody>
      </p:sp>
      <p:sp>
        <p:nvSpPr>
          <p:cNvPr id="3" name="Title 2">
            <a:extLst>
              <a:ext uri="{FF2B5EF4-FFF2-40B4-BE49-F238E27FC236}">
                <a16:creationId xmlns:a16="http://schemas.microsoft.com/office/drawing/2014/main" id="{DB4132E6-1768-7C03-44E7-D6DF01B94D5F}"/>
              </a:ext>
            </a:extLst>
          </p:cNvPr>
          <p:cNvSpPr>
            <a:spLocks noGrp="1"/>
          </p:cNvSpPr>
          <p:nvPr>
            <p:ph type="title"/>
          </p:nvPr>
        </p:nvSpPr>
        <p:spPr/>
        <p:txBody>
          <a:bodyPr vert="horz"/>
          <a:lstStyle/>
          <a:p>
            <a:r>
              <a:rPr lang="en-US" dirty="0">
                <a:latin typeface="Open Sans Light"/>
                <a:ea typeface="Open Sans Light"/>
                <a:cs typeface="Open Sans Light"/>
              </a:rPr>
              <a:t>Planning, budgeting and forecasting trends</a:t>
            </a:r>
          </a:p>
        </p:txBody>
      </p:sp>
      <p:sp>
        <p:nvSpPr>
          <p:cNvPr id="4" name="Oval 3">
            <a:extLst>
              <a:ext uri="{FF2B5EF4-FFF2-40B4-BE49-F238E27FC236}">
                <a16:creationId xmlns:a16="http://schemas.microsoft.com/office/drawing/2014/main" id="{50DA205D-1B65-3278-E605-80C8AE653EB0}"/>
              </a:ext>
            </a:extLst>
          </p:cNvPr>
          <p:cNvSpPr/>
          <p:nvPr/>
        </p:nvSpPr>
        <p:spPr bwMode="gray">
          <a:xfrm>
            <a:off x="485394" y="1757350"/>
            <a:ext cx="556070" cy="443108"/>
          </a:xfrm>
          <a:prstGeom prst="ellipse">
            <a:avLst/>
          </a:prstGeom>
        </p:spPr>
        <p:style>
          <a:lnRef idx="3">
            <a:schemeClr val="lt1"/>
          </a:lnRef>
          <a:fillRef idx="1">
            <a:schemeClr val="accent3"/>
          </a:fillRef>
          <a:effectRef idx="1">
            <a:schemeClr val="accent3"/>
          </a:effectRef>
          <a:fontRef idx="minor">
            <a:schemeClr val="lt1"/>
          </a:fontRef>
        </p:style>
        <p:txBody>
          <a:bodyPr wrap="square" rtlCol="0" anchor="ctr">
            <a:noAutofit/>
          </a:bodyPr>
          <a:lstStyle/>
          <a:p>
            <a:pPr defTabSz="829544"/>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3">
            <a:extLst>
              <a:ext uri="{FF2B5EF4-FFF2-40B4-BE49-F238E27FC236}">
                <a16:creationId xmlns:a16="http://schemas.microsoft.com/office/drawing/2014/main" id="{B3A4F767-07BD-AA49-8EB6-E60D77353C17}"/>
              </a:ext>
            </a:extLst>
          </p:cNvPr>
          <p:cNvSpPr txBox="1"/>
          <p:nvPr/>
        </p:nvSpPr>
        <p:spPr>
          <a:xfrm>
            <a:off x="954560" y="1734573"/>
            <a:ext cx="2594398" cy="468489"/>
          </a:xfrm>
          <a:prstGeom prst="chevron">
            <a:avLst/>
          </a:prstGeom>
        </p:spPr>
        <p:style>
          <a:lnRef idx="1">
            <a:schemeClr val="accent3"/>
          </a:lnRef>
          <a:fillRef idx="3">
            <a:schemeClr val="accent3"/>
          </a:fillRef>
          <a:effectRef idx="2">
            <a:schemeClr val="accent3"/>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ffective planning, budgeting &amp; forecasting </a:t>
            </a:r>
            <a:endParaRPr lang="en-US" sz="1000" b="1" kern="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4">
            <a:extLst>
              <a:ext uri="{FF2B5EF4-FFF2-40B4-BE49-F238E27FC236}">
                <a16:creationId xmlns:a16="http://schemas.microsoft.com/office/drawing/2014/main" id="{47A0FCCB-A29B-096C-26A0-8C05873388FD}"/>
              </a:ext>
            </a:extLst>
          </p:cNvPr>
          <p:cNvSpPr txBox="1"/>
          <p:nvPr/>
        </p:nvSpPr>
        <p:spPr>
          <a:xfrm>
            <a:off x="930022" y="2370754"/>
            <a:ext cx="2594398" cy="466835"/>
          </a:xfrm>
          <a:prstGeom prst="chevron">
            <a:avLst/>
          </a:prstGeom>
        </p:spPr>
        <p:style>
          <a:lnRef idx="1">
            <a:schemeClr val="accent3"/>
          </a:lnRef>
          <a:fillRef idx="3">
            <a:schemeClr val="accent3"/>
          </a:fillRef>
          <a:effectRef idx="2">
            <a:schemeClr val="accent3"/>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defRPr/>
            </a:pPr>
            <a:r>
              <a:rPr lang="en-US" sz="1000" b="1" kern="0">
                <a:solidFill>
                  <a:schemeClr val="bg1"/>
                </a:solidFill>
                <a:latin typeface="Open Sans" panose="020B0606030504020204" pitchFamily="34" charset="0"/>
                <a:ea typeface="Open Sans" panose="020B0606030504020204" pitchFamily="34" charset="0"/>
                <a:cs typeface="Open Sans" panose="020B0606030504020204" pitchFamily="34" charset="0"/>
              </a:rPr>
              <a:t>Connected planning</a:t>
            </a:r>
            <a:endParaRPr lang="en-US" sz="1000" b="1" kern="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5">
            <a:extLst>
              <a:ext uri="{FF2B5EF4-FFF2-40B4-BE49-F238E27FC236}">
                <a16:creationId xmlns:a16="http://schemas.microsoft.com/office/drawing/2014/main" id="{0AB91BF0-5E41-E67C-57EF-2480400D2458}"/>
              </a:ext>
            </a:extLst>
          </p:cNvPr>
          <p:cNvSpPr txBox="1"/>
          <p:nvPr/>
        </p:nvSpPr>
        <p:spPr>
          <a:xfrm>
            <a:off x="954560" y="3017402"/>
            <a:ext cx="2594398" cy="466835"/>
          </a:xfrm>
          <a:prstGeom prst="chevron">
            <a:avLst/>
          </a:prstGeom>
        </p:spPr>
        <p:style>
          <a:lnRef idx="1">
            <a:schemeClr val="accent3"/>
          </a:lnRef>
          <a:fillRef idx="3">
            <a:schemeClr val="accent3"/>
          </a:fillRef>
          <a:effectRef idx="2">
            <a:schemeClr val="accent3"/>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defRPr/>
            </a:pPr>
            <a:r>
              <a:rPr lang="en-US" sz="1000" b="1" kern="0">
                <a:solidFill>
                  <a:schemeClr val="bg1"/>
                </a:solidFill>
                <a:latin typeface="Open Sans" panose="020B0606030504020204" pitchFamily="34" charset="0"/>
                <a:ea typeface="Open Sans" panose="020B0606030504020204" pitchFamily="34" charset="0"/>
                <a:cs typeface="Open Sans" panose="020B0606030504020204" pitchFamily="34" charset="0"/>
              </a:rPr>
              <a:t>Algorithmic forecasting</a:t>
            </a:r>
            <a:endParaRPr lang="en-US" sz="1000" b="1" kern="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6">
            <a:extLst>
              <a:ext uri="{FF2B5EF4-FFF2-40B4-BE49-F238E27FC236}">
                <a16:creationId xmlns:a16="http://schemas.microsoft.com/office/drawing/2014/main" id="{4E9AA5B1-9DC0-723E-3378-33469B099EAF}"/>
              </a:ext>
            </a:extLst>
          </p:cNvPr>
          <p:cNvSpPr txBox="1"/>
          <p:nvPr/>
        </p:nvSpPr>
        <p:spPr>
          <a:xfrm>
            <a:off x="954560" y="4261360"/>
            <a:ext cx="2594398" cy="466835"/>
          </a:xfrm>
          <a:prstGeom prst="chevron">
            <a:avLst/>
          </a:prstGeom>
        </p:spPr>
        <p:style>
          <a:lnRef idx="1">
            <a:schemeClr val="accent3"/>
          </a:lnRef>
          <a:fillRef idx="3">
            <a:schemeClr val="accent3"/>
          </a:fillRef>
          <a:effectRef idx="2">
            <a:schemeClr val="accent3"/>
          </a:effectRef>
          <a:fontRef idx="minor">
            <a:schemeClr val="lt1"/>
          </a:fontRef>
        </p:style>
        <p:txBody>
          <a:bodyPr wrap="square" rtlCol="0" anchor="ctr">
            <a:noAutofit/>
          </a:bodyPr>
          <a:lstStyle>
            <a:defPPr>
              <a:defRPr lang="en-US"/>
            </a:defPPr>
            <a:lvl1pPr defTabSz="829544">
              <a:defRPr sz="1000" kern="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Impact of COVID-19</a:t>
            </a:r>
          </a:p>
        </p:txBody>
      </p:sp>
      <p:sp>
        <p:nvSpPr>
          <p:cNvPr id="9" name="TextBox 7">
            <a:extLst>
              <a:ext uri="{FF2B5EF4-FFF2-40B4-BE49-F238E27FC236}">
                <a16:creationId xmlns:a16="http://schemas.microsoft.com/office/drawing/2014/main" id="{1457121E-085D-8C15-62C6-46AA6A42302C}"/>
              </a:ext>
            </a:extLst>
          </p:cNvPr>
          <p:cNvSpPr txBox="1"/>
          <p:nvPr/>
        </p:nvSpPr>
        <p:spPr>
          <a:xfrm>
            <a:off x="954560" y="4933045"/>
            <a:ext cx="2594398" cy="466835"/>
          </a:xfrm>
          <a:prstGeom prst="chevron">
            <a:avLst/>
          </a:prstGeom>
        </p:spPr>
        <p:style>
          <a:lnRef idx="1">
            <a:schemeClr val="accent3"/>
          </a:lnRef>
          <a:fillRef idx="3">
            <a:schemeClr val="accent3"/>
          </a:fillRef>
          <a:effectRef idx="2">
            <a:schemeClr val="accent3"/>
          </a:effectRef>
          <a:fontRef idx="minor">
            <a:schemeClr val="lt1"/>
          </a:fontRef>
        </p:style>
        <p:txBody>
          <a:bodyPr wrap="square" rtlCol="0" anchor="ctr">
            <a:noAutofit/>
          </a:bodyPr>
          <a:lstStyle>
            <a:defPPr>
              <a:defRPr lang="en-US"/>
            </a:defPPr>
            <a:lvl1pPr defTabSz="829544">
              <a:defRPr sz="1000" kern="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Sustainable finance</a:t>
            </a:r>
            <a:endPar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8">
            <a:extLst>
              <a:ext uri="{FF2B5EF4-FFF2-40B4-BE49-F238E27FC236}">
                <a16:creationId xmlns:a16="http://schemas.microsoft.com/office/drawing/2014/main" id="{FF8991A8-01A9-CB8F-88BD-B302BAAE1A9C}"/>
              </a:ext>
            </a:extLst>
          </p:cNvPr>
          <p:cNvSpPr txBox="1"/>
          <p:nvPr/>
        </p:nvSpPr>
        <p:spPr>
          <a:xfrm>
            <a:off x="954560" y="5623552"/>
            <a:ext cx="2594398" cy="466835"/>
          </a:xfrm>
          <a:prstGeom prst="chevron">
            <a:avLst/>
          </a:prstGeom>
        </p:spPr>
        <p:style>
          <a:lnRef idx="1">
            <a:schemeClr val="accent3"/>
          </a:lnRef>
          <a:fillRef idx="3">
            <a:schemeClr val="accent3"/>
          </a:fillRef>
          <a:effectRef idx="2">
            <a:schemeClr val="accent3"/>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defRPr/>
            </a:pPr>
            <a:r>
              <a:rPr lang="en-US" sz="1000" b="1" kern="0">
                <a:solidFill>
                  <a:schemeClr val="bg1"/>
                </a:solidFill>
                <a:latin typeface="Open Sans" panose="020B0606030504020204" pitchFamily="34" charset="0"/>
                <a:ea typeface="Open Sans" panose="020B0606030504020204" pitchFamily="34" charset="0"/>
                <a:cs typeface="Open Sans" panose="020B0606030504020204" pitchFamily="34" charset="0"/>
              </a:rPr>
              <a:t>Use of tools and technologies</a:t>
            </a:r>
            <a:endParaRPr lang="en-US" sz="1000" b="1" kern="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D7036E64-A7F8-8AE2-1C73-E7A57BB55C20}"/>
              </a:ext>
            </a:extLst>
          </p:cNvPr>
          <p:cNvSpPr/>
          <p:nvPr/>
        </p:nvSpPr>
        <p:spPr>
          <a:xfrm>
            <a:off x="3570244" y="1721148"/>
            <a:ext cx="8021245" cy="511539"/>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spcBef>
                <a:spcPts val="1089"/>
              </a:spcBef>
              <a:defRPr/>
            </a:pP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 are increasingly understanding gains of streamlining their PB&amp;F processes. There is still a long way to go to fully exploit the benefits of use of tools other than Microsoft Excel.</a:t>
            </a:r>
            <a:endParaRPr lang="en-US" sz="1000" kern="0"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EB116CBA-6859-3DCA-656F-891B8536E02B}"/>
              </a:ext>
            </a:extLst>
          </p:cNvPr>
          <p:cNvSpPr/>
          <p:nvPr/>
        </p:nvSpPr>
        <p:spPr>
          <a:xfrm>
            <a:off x="3570244" y="2366947"/>
            <a:ext cx="8021245" cy="511539"/>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spcBef>
                <a:spcPts val="1089"/>
              </a:spcBef>
              <a:defRPr/>
            </a:pPr>
            <a:r>
              <a:rPr lang="en-US" sz="1000" dirty="0">
                <a:latin typeface="Open Sans" panose="020B0606030504020204" pitchFamily="34" charset="0"/>
                <a:ea typeface="Open Sans" panose="020B0606030504020204" pitchFamily="34" charset="0"/>
                <a:cs typeface="Open Sans" panose="020B0606030504020204" pitchFamily="34" charset="0"/>
              </a:rPr>
              <a:t>Many businesses are moving from siloed to connected planning and are </a:t>
            </a:r>
            <a:r>
              <a:rPr lang="en-US" sz="1000" dirty="0" err="1">
                <a:latin typeface="Open Sans" panose="020B0606030504020204" pitchFamily="34" charset="0"/>
                <a:ea typeface="Open Sans" panose="020B0606030504020204" pitchFamily="34" charset="0"/>
                <a:cs typeface="Open Sans" panose="020B0606030504020204" pitchFamily="34" charset="0"/>
              </a:rPr>
              <a:t>realising</a:t>
            </a:r>
            <a:r>
              <a:rPr lang="en-US" sz="1000" dirty="0">
                <a:latin typeface="Open Sans" panose="020B0606030504020204" pitchFamily="34" charset="0"/>
                <a:ea typeface="Open Sans" panose="020B0606030504020204" pitchFamily="34" charset="0"/>
                <a:cs typeface="Open Sans" panose="020B0606030504020204" pitchFamily="34" charset="0"/>
              </a:rPr>
              <a:t> better performance as a direct result of it</a:t>
            </a:r>
            <a:r>
              <a:rPr lang="en-US" sz="1000">
                <a:latin typeface="Open Sans" panose="020B0606030504020204" pitchFamily="34" charset="0"/>
                <a:ea typeface="Open Sans" panose="020B0606030504020204" pitchFamily="34" charset="0"/>
                <a:cs typeface="Open Sans" panose="020B0606030504020204" pitchFamily="34" charset="0"/>
              </a:rPr>
              <a:t>. </a:t>
            </a:r>
            <a:r>
              <a:rPr lang="en-US" sz="1000" dirty="0">
                <a:latin typeface="Open Sans" panose="020B0606030504020204" pitchFamily="34" charset="0"/>
                <a:ea typeface="Open Sans" panose="020B0606030504020204" pitchFamily="34" charset="0"/>
                <a:cs typeface="Open Sans" panose="020B0606030504020204" pitchFamily="34" charset="0"/>
              </a:rPr>
              <a:t>Connecting core functions such as finance and sales has improved decision-making and embedded agility in the </a:t>
            </a:r>
            <a:r>
              <a:rPr lang="en-US" sz="1000" dirty="0" err="1">
                <a:latin typeface="Open Sans" panose="020B0606030504020204" pitchFamily="34" charset="0"/>
                <a:ea typeface="Open Sans" panose="020B0606030504020204" pitchFamily="34" charset="0"/>
                <a:cs typeface="Open Sans" panose="020B0606030504020204" pitchFamily="34" charset="0"/>
              </a:rPr>
              <a:t>organisation</a:t>
            </a:r>
            <a:r>
              <a:rPr lang="en-US" sz="1000" dirty="0">
                <a:latin typeface="Open Sans" panose="020B0606030504020204" pitchFamily="34" charset="0"/>
                <a:ea typeface="Open Sans" panose="020B0606030504020204" pitchFamily="34" charset="0"/>
                <a:cs typeface="Open Sans" panose="020B0606030504020204" pitchFamily="34" charset="0"/>
              </a:rPr>
              <a:t>.</a:t>
            </a:r>
            <a:endParaRPr lang="en-US" sz="1000" kern="0"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7CF133E4-D968-8A57-2B13-1BE786C718C5}"/>
              </a:ext>
            </a:extLst>
          </p:cNvPr>
          <p:cNvSpPr/>
          <p:nvPr/>
        </p:nvSpPr>
        <p:spPr>
          <a:xfrm>
            <a:off x="3570244" y="3012745"/>
            <a:ext cx="8021245" cy="511539"/>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spcBef>
                <a:spcPts val="1089"/>
              </a:spcBef>
              <a:defRPr/>
            </a:pP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 are becoming increasingly aware of algorithmic forecasting, but a lack of capability and understanding of the concept, together with low adoption of advanced tools and technologies, has restricted wider uptake across </a:t>
            </a: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a:t>
            </a:r>
            <a:endParaRPr lang="en-US" sz="1000" kern="0"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E0C6A0B6-486F-9376-B6D2-B7B08A38F449}"/>
              </a:ext>
            </a:extLst>
          </p:cNvPr>
          <p:cNvSpPr/>
          <p:nvPr/>
        </p:nvSpPr>
        <p:spPr>
          <a:xfrm>
            <a:off x="3570244" y="4210107"/>
            <a:ext cx="8021245" cy="511539"/>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spcBef>
                <a:spcPts val="1089"/>
              </a:spcBef>
              <a:defRPr/>
            </a:pPr>
            <a:r>
              <a:rPr lang="en-US" sz="1000" dirty="0">
                <a:latin typeface="Open Sans" panose="020B0606030504020204" pitchFamily="34" charset="0"/>
                <a:ea typeface="Open Sans" panose="020B0606030504020204" pitchFamily="34" charset="0"/>
                <a:cs typeface="Open Sans" panose="020B0606030504020204" pitchFamily="34" charset="0"/>
              </a:rPr>
              <a:t>Many </a:t>
            </a: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 were unprepared in dealing with the global pandemic, placing broken planning, budgeting and forecasting processes firmly in the spotlight. These </a:t>
            </a: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 are now looking for a more agile and efficient approach to planning, and developing scenario planning capabilities with the use of internal and external data sets. </a:t>
            </a:r>
            <a:endParaRPr lang="en-US" sz="1000" kern="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D26815D5-C0E1-4A64-0AE8-DB338BCCC574}"/>
              </a:ext>
            </a:extLst>
          </p:cNvPr>
          <p:cNvSpPr/>
          <p:nvPr/>
        </p:nvSpPr>
        <p:spPr>
          <a:xfrm>
            <a:off x="3570244" y="4900951"/>
            <a:ext cx="8021245" cy="511539"/>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spcBef>
                <a:spcPts val="1089"/>
              </a:spcBef>
              <a:defRPr/>
            </a:pP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 around the world are taking responsibility to make a change, </a:t>
            </a:r>
            <a:r>
              <a:rPr lang="en-US" sz="1000" dirty="0" err="1">
                <a:latin typeface="Open Sans" panose="020B0606030504020204" pitchFamily="34" charset="0"/>
                <a:ea typeface="Open Sans" panose="020B0606030504020204" pitchFamily="34" charset="0"/>
                <a:cs typeface="Open Sans" panose="020B0606030504020204" pitchFamily="34" charset="0"/>
              </a:rPr>
              <a:t>recognising</a:t>
            </a:r>
            <a:r>
              <a:rPr lang="en-US" sz="1000" dirty="0">
                <a:latin typeface="Open Sans" panose="020B0606030504020204" pitchFamily="34" charset="0"/>
                <a:ea typeface="Open Sans" panose="020B0606030504020204" pitchFamily="34" charset="0"/>
                <a:cs typeface="Open Sans" panose="020B0606030504020204" pitchFamily="34" charset="0"/>
              </a:rPr>
              <a:t> they have the ability to make a significant impact. These </a:t>
            </a: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 are embedding sustainability measures into their planning, budgeting, and forecasting processes, as well as making bold decisions to reduce carbon emissions in their own operations and across the supply chain. </a:t>
            </a:r>
            <a:endParaRPr lang="en-US" sz="1000" strike="sngStrike" kern="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15">
            <a:extLst>
              <a:ext uri="{FF2B5EF4-FFF2-40B4-BE49-F238E27FC236}">
                <a16:creationId xmlns:a16="http://schemas.microsoft.com/office/drawing/2014/main" id="{743722BE-3EB6-D8DC-C30B-7CF41EC62961}"/>
              </a:ext>
            </a:extLst>
          </p:cNvPr>
          <p:cNvCxnSpPr/>
          <p:nvPr/>
        </p:nvCxnSpPr>
        <p:spPr>
          <a:xfrm>
            <a:off x="526559" y="2299382"/>
            <a:ext cx="11064930" cy="0"/>
          </a:xfrm>
          <a:prstGeom prst="line">
            <a:avLst/>
          </a:prstGeom>
          <a:noFill/>
          <a:ln w="19050" cap="flat" cmpd="sng" algn="ctr">
            <a:solidFill>
              <a:srgbClr val="FFFFFF">
                <a:lumMod val="75000"/>
              </a:srgbClr>
            </a:solidFill>
            <a:prstDash val="sysDash"/>
            <a:miter lim="800000"/>
          </a:ln>
          <a:effectLst/>
        </p:spPr>
      </p:cxnSp>
      <p:cxnSp>
        <p:nvCxnSpPr>
          <p:cNvPr id="17" name="Straight Connector 16">
            <a:extLst>
              <a:ext uri="{FF2B5EF4-FFF2-40B4-BE49-F238E27FC236}">
                <a16:creationId xmlns:a16="http://schemas.microsoft.com/office/drawing/2014/main" id="{B9FF9C36-BE0C-2269-7DC2-01C820ABCD6E}"/>
              </a:ext>
            </a:extLst>
          </p:cNvPr>
          <p:cNvCxnSpPr/>
          <p:nvPr/>
        </p:nvCxnSpPr>
        <p:spPr>
          <a:xfrm>
            <a:off x="526559" y="2959253"/>
            <a:ext cx="11064930" cy="0"/>
          </a:xfrm>
          <a:prstGeom prst="line">
            <a:avLst/>
          </a:prstGeom>
          <a:noFill/>
          <a:ln w="19050" cap="flat" cmpd="sng" algn="ctr">
            <a:solidFill>
              <a:srgbClr val="FFFFFF">
                <a:lumMod val="75000"/>
              </a:srgbClr>
            </a:solidFill>
            <a:prstDash val="sysDash"/>
            <a:miter lim="800000"/>
          </a:ln>
          <a:effectLst/>
        </p:spPr>
      </p:cxnSp>
      <p:cxnSp>
        <p:nvCxnSpPr>
          <p:cNvPr id="18" name="Straight Connector 17">
            <a:extLst>
              <a:ext uri="{FF2B5EF4-FFF2-40B4-BE49-F238E27FC236}">
                <a16:creationId xmlns:a16="http://schemas.microsoft.com/office/drawing/2014/main" id="{627EF557-A830-DD0E-19BE-B11160B0AC3B}"/>
              </a:ext>
            </a:extLst>
          </p:cNvPr>
          <p:cNvCxnSpPr/>
          <p:nvPr/>
        </p:nvCxnSpPr>
        <p:spPr>
          <a:xfrm>
            <a:off x="541613" y="3568003"/>
            <a:ext cx="11064930" cy="0"/>
          </a:xfrm>
          <a:prstGeom prst="line">
            <a:avLst/>
          </a:prstGeom>
          <a:noFill/>
          <a:ln w="19050" cap="flat" cmpd="sng" algn="ctr">
            <a:solidFill>
              <a:srgbClr val="FFFFFF">
                <a:lumMod val="75000"/>
              </a:srgbClr>
            </a:solidFill>
            <a:prstDash val="sysDash"/>
            <a:miter lim="800000"/>
          </a:ln>
          <a:effectLst/>
        </p:spPr>
      </p:cxnSp>
      <p:cxnSp>
        <p:nvCxnSpPr>
          <p:cNvPr id="19" name="Straight Connector 18">
            <a:extLst>
              <a:ext uri="{FF2B5EF4-FFF2-40B4-BE49-F238E27FC236}">
                <a16:creationId xmlns:a16="http://schemas.microsoft.com/office/drawing/2014/main" id="{65431301-91B0-C0B3-C1C2-834ED6A079ED}"/>
              </a:ext>
            </a:extLst>
          </p:cNvPr>
          <p:cNvCxnSpPr/>
          <p:nvPr/>
        </p:nvCxnSpPr>
        <p:spPr>
          <a:xfrm>
            <a:off x="526559" y="4822337"/>
            <a:ext cx="11064930" cy="0"/>
          </a:xfrm>
          <a:prstGeom prst="line">
            <a:avLst/>
          </a:prstGeom>
          <a:noFill/>
          <a:ln w="19050" cap="flat" cmpd="sng" algn="ctr">
            <a:solidFill>
              <a:srgbClr val="FFFFFF">
                <a:lumMod val="75000"/>
              </a:srgbClr>
            </a:solidFill>
            <a:prstDash val="sysDash"/>
            <a:miter lim="800000"/>
          </a:ln>
          <a:effectLst/>
        </p:spPr>
      </p:cxnSp>
      <p:cxnSp>
        <p:nvCxnSpPr>
          <p:cNvPr id="20" name="Straight Connector 19">
            <a:extLst>
              <a:ext uri="{FF2B5EF4-FFF2-40B4-BE49-F238E27FC236}">
                <a16:creationId xmlns:a16="http://schemas.microsoft.com/office/drawing/2014/main" id="{0F7FABD7-88DD-12B4-7F30-12C04B222BA7}"/>
              </a:ext>
            </a:extLst>
          </p:cNvPr>
          <p:cNvCxnSpPr/>
          <p:nvPr/>
        </p:nvCxnSpPr>
        <p:spPr>
          <a:xfrm>
            <a:off x="526559" y="5529239"/>
            <a:ext cx="11064930" cy="0"/>
          </a:xfrm>
          <a:prstGeom prst="line">
            <a:avLst/>
          </a:prstGeom>
          <a:noFill/>
          <a:ln w="19050" cap="flat" cmpd="sng" algn="ctr">
            <a:solidFill>
              <a:srgbClr val="FFFFFF">
                <a:lumMod val="75000"/>
              </a:srgbClr>
            </a:solidFill>
            <a:prstDash val="sysDash"/>
            <a:miter lim="800000"/>
          </a:ln>
          <a:effectLst/>
        </p:spPr>
      </p:cxnSp>
      <p:cxnSp>
        <p:nvCxnSpPr>
          <p:cNvPr id="21" name="Straight Connector 20">
            <a:extLst>
              <a:ext uri="{FF2B5EF4-FFF2-40B4-BE49-F238E27FC236}">
                <a16:creationId xmlns:a16="http://schemas.microsoft.com/office/drawing/2014/main" id="{E51FAAB4-4327-95E0-394D-2740A89B227A}"/>
              </a:ext>
            </a:extLst>
          </p:cNvPr>
          <p:cNvCxnSpPr/>
          <p:nvPr/>
        </p:nvCxnSpPr>
        <p:spPr>
          <a:xfrm>
            <a:off x="526559" y="6183514"/>
            <a:ext cx="11064930" cy="0"/>
          </a:xfrm>
          <a:prstGeom prst="line">
            <a:avLst/>
          </a:prstGeom>
          <a:noFill/>
          <a:ln w="19050" cap="flat" cmpd="sng" algn="ctr">
            <a:solidFill>
              <a:srgbClr val="FFFFFF">
                <a:lumMod val="75000"/>
              </a:srgbClr>
            </a:solidFill>
            <a:prstDash val="sysDash"/>
            <a:miter lim="800000"/>
          </a:ln>
          <a:effectLst/>
        </p:spPr>
      </p:cxnSp>
      <p:sp>
        <p:nvSpPr>
          <p:cNvPr id="23" name="Rectangle 22">
            <a:extLst>
              <a:ext uri="{FF2B5EF4-FFF2-40B4-BE49-F238E27FC236}">
                <a16:creationId xmlns:a16="http://schemas.microsoft.com/office/drawing/2014/main" id="{73BAEC64-0090-3080-7B61-3F4B8BFE421E}"/>
              </a:ext>
            </a:extLst>
          </p:cNvPr>
          <p:cNvSpPr/>
          <p:nvPr/>
        </p:nvSpPr>
        <p:spPr>
          <a:xfrm>
            <a:off x="3570244" y="5612037"/>
            <a:ext cx="8021245" cy="511539"/>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spcBef>
                <a:spcPts val="1089"/>
              </a:spcBef>
              <a:defRPr/>
            </a:pPr>
            <a:r>
              <a:rPr lang="en-US" sz="1000" dirty="0">
                <a:latin typeface="Open Sans" panose="020B0606030504020204" pitchFamily="34" charset="0"/>
                <a:ea typeface="Open Sans" panose="020B0606030504020204" pitchFamily="34" charset="0"/>
                <a:cs typeface="Open Sans" panose="020B0606030504020204" pitchFamily="34" charset="0"/>
              </a:rPr>
              <a:t>With the emergence of cloud-based technologies, </a:t>
            </a: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 are increasingly looking to drive efficiencies and capture insights in the planning, budgeting and forecasting process. This, combined with a proliferation of internal and external data, has compelled </a:t>
            </a:r>
            <a:r>
              <a:rPr lang="en-US" sz="1000" dirty="0" err="1">
                <a:latin typeface="Open Sans" panose="020B0606030504020204" pitchFamily="34" charset="0"/>
                <a:ea typeface="Open Sans" panose="020B0606030504020204" pitchFamily="34" charset="0"/>
                <a:cs typeface="Open Sans" panose="020B0606030504020204" pitchFamily="34" charset="0"/>
              </a:rPr>
              <a:t>organisations</a:t>
            </a:r>
            <a:r>
              <a:rPr lang="en-US" sz="1000" dirty="0">
                <a:latin typeface="Open Sans" panose="020B0606030504020204" pitchFamily="34" charset="0"/>
                <a:ea typeface="Open Sans" panose="020B0606030504020204" pitchFamily="34" charset="0"/>
                <a:cs typeface="Open Sans" panose="020B0606030504020204" pitchFamily="34" charset="0"/>
              </a:rPr>
              <a:t> to act and invest in tools and technologies. </a:t>
            </a:r>
            <a:endParaRPr lang="en-US" sz="1000" strike="sngStrike" kern="0"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65">
            <a:extLst>
              <a:ext uri="{FF2B5EF4-FFF2-40B4-BE49-F238E27FC236}">
                <a16:creationId xmlns:a16="http://schemas.microsoft.com/office/drawing/2014/main" id="{08E31A76-A7A3-DEA1-24ED-9FC5E8B55342}"/>
              </a:ext>
            </a:extLst>
          </p:cNvPr>
          <p:cNvSpPr txBox="1"/>
          <p:nvPr/>
        </p:nvSpPr>
        <p:spPr>
          <a:xfrm>
            <a:off x="954560" y="3628020"/>
            <a:ext cx="2594398" cy="466835"/>
          </a:xfrm>
          <a:prstGeom prst="chevron">
            <a:avLst/>
          </a:prstGeom>
        </p:spPr>
        <p:style>
          <a:lnRef idx="1">
            <a:schemeClr val="accent3"/>
          </a:lnRef>
          <a:fillRef idx="3">
            <a:schemeClr val="accent3"/>
          </a:fillRef>
          <a:effectRef idx="2">
            <a:schemeClr val="accent3"/>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defRPr/>
            </a:pPr>
            <a:r>
              <a:rPr lang="en-US" sz="1000" b="1" kern="0">
                <a:solidFill>
                  <a:schemeClr val="bg1"/>
                </a:solidFill>
                <a:latin typeface="Open Sans" panose="020B0606030504020204" pitchFamily="34" charset="0"/>
                <a:ea typeface="Open Sans" panose="020B0606030504020204" pitchFamily="34" charset="0"/>
                <a:cs typeface="Open Sans" panose="020B0606030504020204" pitchFamily="34" charset="0"/>
              </a:rPr>
              <a:t>Planning and reporting cycles</a:t>
            </a:r>
            <a:endParaRPr lang="en-US" sz="1000" b="1" kern="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5" name="Straight Connector 24">
            <a:extLst>
              <a:ext uri="{FF2B5EF4-FFF2-40B4-BE49-F238E27FC236}">
                <a16:creationId xmlns:a16="http://schemas.microsoft.com/office/drawing/2014/main" id="{CA740CF9-36EC-4737-EBCB-BC4D89AD76BD}"/>
              </a:ext>
            </a:extLst>
          </p:cNvPr>
          <p:cNvCxnSpPr/>
          <p:nvPr/>
        </p:nvCxnSpPr>
        <p:spPr>
          <a:xfrm>
            <a:off x="541613" y="4174931"/>
            <a:ext cx="11064930" cy="0"/>
          </a:xfrm>
          <a:prstGeom prst="line">
            <a:avLst/>
          </a:prstGeom>
          <a:noFill/>
          <a:ln w="19050" cap="flat" cmpd="sng" algn="ctr">
            <a:solidFill>
              <a:srgbClr val="FFFFFF">
                <a:lumMod val="75000"/>
              </a:srgbClr>
            </a:solidFill>
            <a:prstDash val="sysDash"/>
            <a:miter lim="800000"/>
          </a:ln>
          <a:effectLst/>
        </p:spPr>
      </p:cxnSp>
      <p:sp>
        <p:nvSpPr>
          <p:cNvPr id="26" name="Rectangle 25">
            <a:extLst>
              <a:ext uri="{FF2B5EF4-FFF2-40B4-BE49-F238E27FC236}">
                <a16:creationId xmlns:a16="http://schemas.microsoft.com/office/drawing/2014/main" id="{6317199F-BDFE-73E6-FE84-3414E76A0FEF}"/>
              </a:ext>
            </a:extLst>
          </p:cNvPr>
          <p:cNvSpPr/>
          <p:nvPr/>
        </p:nvSpPr>
        <p:spPr>
          <a:xfrm>
            <a:off x="3570244" y="3622074"/>
            <a:ext cx="8021245" cy="511539"/>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544">
              <a:spcBef>
                <a:spcPts val="1089"/>
              </a:spcBef>
              <a:defRPr/>
            </a:pPr>
            <a:r>
              <a:rPr lang="en-US" sz="1000" dirty="0">
                <a:latin typeface="Open Sans" panose="020B0606030504020204" pitchFamily="34" charset="0"/>
                <a:ea typeface="Open Sans" panose="020B0606030504020204" pitchFamily="34" charset="0"/>
                <a:cs typeface="Open Sans" panose="020B0606030504020204" pitchFamily="34" charset="0"/>
              </a:rPr>
              <a:t>Finance teams are increasingly partnering and supporting business functions with decision-making and performance interventions. This shift is leading to finance teams identifying efficiencies across planning and reporting cycles, without compromising on accuracy. </a:t>
            </a:r>
            <a:endParaRPr lang="en-US" sz="1000" kern="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27" name="Straight Connector 26">
            <a:extLst>
              <a:ext uri="{FF2B5EF4-FFF2-40B4-BE49-F238E27FC236}">
                <a16:creationId xmlns:a16="http://schemas.microsoft.com/office/drawing/2014/main" id="{8F01B222-FA81-46BC-39B1-B4F0E94A8B6D}"/>
              </a:ext>
            </a:extLst>
          </p:cNvPr>
          <p:cNvCxnSpPr/>
          <p:nvPr/>
        </p:nvCxnSpPr>
        <p:spPr>
          <a:xfrm>
            <a:off x="526559" y="1176958"/>
            <a:ext cx="11064930" cy="0"/>
          </a:xfrm>
          <a:prstGeom prst="line">
            <a:avLst/>
          </a:prstGeom>
          <a:noFill/>
          <a:ln w="19050" cap="flat" cmpd="sng" algn="ctr">
            <a:solidFill>
              <a:srgbClr val="FFFFFF">
                <a:lumMod val="75000"/>
              </a:srgbClr>
            </a:solidFill>
            <a:prstDash val="sysDash"/>
            <a:miter lim="800000"/>
          </a:ln>
          <a:effectLst/>
        </p:spPr>
      </p:cxnSp>
      <p:grpSp>
        <p:nvGrpSpPr>
          <p:cNvPr id="43" name="Group 42">
            <a:extLst>
              <a:ext uri="{FF2B5EF4-FFF2-40B4-BE49-F238E27FC236}">
                <a16:creationId xmlns:a16="http://schemas.microsoft.com/office/drawing/2014/main" id="{E2C22D3E-9993-44FE-30CE-50789C6E2D75}"/>
              </a:ext>
            </a:extLst>
          </p:cNvPr>
          <p:cNvGrpSpPr/>
          <p:nvPr/>
        </p:nvGrpSpPr>
        <p:grpSpPr>
          <a:xfrm>
            <a:off x="608890" y="1846215"/>
            <a:ext cx="321135" cy="247678"/>
            <a:chOff x="618618" y="5895263"/>
            <a:chExt cx="363582" cy="318497"/>
          </a:xfrm>
        </p:grpSpPr>
        <p:pic>
          <p:nvPicPr>
            <p:cNvPr id="41" name="Graphic 40" descr="Checklist outline">
              <a:extLst>
                <a:ext uri="{FF2B5EF4-FFF2-40B4-BE49-F238E27FC236}">
                  <a16:creationId xmlns:a16="http://schemas.microsoft.com/office/drawing/2014/main" id="{24D01CBF-90BE-1BBB-9FB4-3D7AABB2076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8618" y="5895263"/>
              <a:ext cx="266854" cy="266854"/>
            </a:xfrm>
            <a:prstGeom prst="rect">
              <a:avLst/>
            </a:prstGeom>
          </p:spPr>
        </p:pic>
        <p:pic>
          <p:nvPicPr>
            <p:cNvPr id="42" name="Graphic 41" descr="Stopwatch with solid fill">
              <a:extLst>
                <a:ext uri="{FF2B5EF4-FFF2-40B4-BE49-F238E27FC236}">
                  <a16:creationId xmlns:a16="http://schemas.microsoft.com/office/drawing/2014/main" id="{8F8DB3E9-B30C-CE53-99FB-D4D77B5B5D0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3600" y="5985160"/>
              <a:ext cx="228600" cy="228600"/>
            </a:xfrm>
            <a:prstGeom prst="rect">
              <a:avLst/>
            </a:prstGeom>
          </p:spPr>
        </p:pic>
      </p:grpSp>
      <p:sp>
        <p:nvSpPr>
          <p:cNvPr id="44" name="Oval 43">
            <a:extLst>
              <a:ext uri="{FF2B5EF4-FFF2-40B4-BE49-F238E27FC236}">
                <a16:creationId xmlns:a16="http://schemas.microsoft.com/office/drawing/2014/main" id="{9B8EEAB2-7802-9B8B-362A-256700C793EF}"/>
              </a:ext>
            </a:extLst>
          </p:cNvPr>
          <p:cNvSpPr/>
          <p:nvPr/>
        </p:nvSpPr>
        <p:spPr bwMode="gray">
          <a:xfrm>
            <a:off x="499632" y="2396928"/>
            <a:ext cx="490949" cy="418512"/>
          </a:xfrm>
          <a:prstGeom prst="ellipse">
            <a:avLst/>
          </a:prstGeom>
        </p:spPr>
        <p:style>
          <a:lnRef idx="3">
            <a:schemeClr val="lt1"/>
          </a:lnRef>
          <a:fillRef idx="1">
            <a:schemeClr val="accent3"/>
          </a:fillRef>
          <a:effectRef idx="1">
            <a:schemeClr val="accent3"/>
          </a:effectRef>
          <a:fontRef idx="minor">
            <a:schemeClr val="lt1"/>
          </a:fontRef>
        </p:style>
        <p:txBody>
          <a:bodyPr wrap="square" rtlCol="0" anchor="ctr">
            <a:noAutofit/>
          </a:bodyPr>
          <a:lstStyle/>
          <a:p>
            <a:pPr defTabSz="829544"/>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phic 48" descr="Connections with solid fill">
            <a:extLst>
              <a:ext uri="{FF2B5EF4-FFF2-40B4-BE49-F238E27FC236}">
                <a16:creationId xmlns:a16="http://schemas.microsoft.com/office/drawing/2014/main" id="{7AEEF7F7-E5B4-CA65-6DA1-41151CC1912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2678" y="2439806"/>
            <a:ext cx="342534" cy="341105"/>
          </a:xfrm>
          <a:prstGeom prst="rect">
            <a:avLst/>
          </a:prstGeom>
        </p:spPr>
      </p:pic>
      <p:sp>
        <p:nvSpPr>
          <p:cNvPr id="52" name="Oval 51">
            <a:extLst>
              <a:ext uri="{FF2B5EF4-FFF2-40B4-BE49-F238E27FC236}">
                <a16:creationId xmlns:a16="http://schemas.microsoft.com/office/drawing/2014/main" id="{860FF7C1-7C3D-ED38-D4DD-1EDA9D767558}"/>
              </a:ext>
            </a:extLst>
          </p:cNvPr>
          <p:cNvSpPr/>
          <p:nvPr/>
        </p:nvSpPr>
        <p:spPr bwMode="gray">
          <a:xfrm>
            <a:off x="514442" y="3036071"/>
            <a:ext cx="490949" cy="418512"/>
          </a:xfrm>
          <a:prstGeom prst="ellipse">
            <a:avLst/>
          </a:prstGeom>
        </p:spPr>
        <p:style>
          <a:lnRef idx="3">
            <a:schemeClr val="lt1"/>
          </a:lnRef>
          <a:fillRef idx="1">
            <a:schemeClr val="accent3"/>
          </a:fillRef>
          <a:effectRef idx="1">
            <a:schemeClr val="accent3"/>
          </a:effectRef>
          <a:fontRef idx="minor">
            <a:schemeClr val="lt1"/>
          </a:fontRef>
        </p:style>
        <p:txBody>
          <a:bodyPr wrap="square" rtlCol="0" anchor="ctr">
            <a:noAutofit/>
          </a:bodyPr>
          <a:lstStyle/>
          <a:p>
            <a:pPr defTabSz="829544"/>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5" name="Graphic 54" descr="Abacus outline">
            <a:extLst>
              <a:ext uri="{FF2B5EF4-FFF2-40B4-BE49-F238E27FC236}">
                <a16:creationId xmlns:a16="http://schemas.microsoft.com/office/drawing/2014/main" id="{7255EBA9-63EF-B09D-0BFE-9C3F3360C594}"/>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94729" y="3089608"/>
            <a:ext cx="320483" cy="319146"/>
          </a:xfrm>
          <a:prstGeom prst="rect">
            <a:avLst/>
          </a:prstGeom>
        </p:spPr>
      </p:pic>
      <p:sp>
        <p:nvSpPr>
          <p:cNvPr id="56" name="Oval 55">
            <a:extLst>
              <a:ext uri="{FF2B5EF4-FFF2-40B4-BE49-F238E27FC236}">
                <a16:creationId xmlns:a16="http://schemas.microsoft.com/office/drawing/2014/main" id="{24364581-98E5-BD19-39D0-868394A0CCD8}"/>
              </a:ext>
            </a:extLst>
          </p:cNvPr>
          <p:cNvSpPr/>
          <p:nvPr/>
        </p:nvSpPr>
        <p:spPr bwMode="gray">
          <a:xfrm>
            <a:off x="506071" y="3645002"/>
            <a:ext cx="490949" cy="418512"/>
          </a:xfrm>
          <a:prstGeom prst="ellipse">
            <a:avLst/>
          </a:prstGeom>
        </p:spPr>
        <p:style>
          <a:lnRef idx="3">
            <a:schemeClr val="lt1"/>
          </a:lnRef>
          <a:fillRef idx="1">
            <a:schemeClr val="accent3"/>
          </a:fillRef>
          <a:effectRef idx="1">
            <a:schemeClr val="accent3"/>
          </a:effectRef>
          <a:fontRef idx="minor">
            <a:schemeClr val="lt1"/>
          </a:fontRef>
        </p:style>
        <p:txBody>
          <a:bodyPr wrap="square" rtlCol="0" anchor="ctr">
            <a:noAutofit/>
          </a:bodyPr>
          <a:lstStyle/>
          <a:p>
            <a:pPr defTabSz="829544"/>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phic 58" descr="Circles with arrows with solid fill">
            <a:extLst>
              <a:ext uri="{FF2B5EF4-FFF2-40B4-BE49-F238E27FC236}">
                <a16:creationId xmlns:a16="http://schemas.microsoft.com/office/drawing/2014/main" id="{6D8F8345-148C-4D25-6823-2A9D484D8219}"/>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1661" y="3643434"/>
            <a:ext cx="421700" cy="419940"/>
          </a:xfrm>
          <a:prstGeom prst="rect">
            <a:avLst/>
          </a:prstGeom>
        </p:spPr>
      </p:pic>
      <p:sp>
        <p:nvSpPr>
          <p:cNvPr id="60" name="Oval 59">
            <a:extLst>
              <a:ext uri="{FF2B5EF4-FFF2-40B4-BE49-F238E27FC236}">
                <a16:creationId xmlns:a16="http://schemas.microsoft.com/office/drawing/2014/main" id="{89733B5F-830E-E1DA-9140-FF17D9FBE531}"/>
              </a:ext>
            </a:extLst>
          </p:cNvPr>
          <p:cNvSpPr/>
          <p:nvPr/>
        </p:nvSpPr>
        <p:spPr bwMode="gray">
          <a:xfrm>
            <a:off x="490973" y="4248724"/>
            <a:ext cx="490949" cy="418512"/>
          </a:xfrm>
          <a:prstGeom prst="ellipse">
            <a:avLst/>
          </a:prstGeom>
        </p:spPr>
        <p:style>
          <a:lnRef idx="3">
            <a:schemeClr val="lt1"/>
          </a:lnRef>
          <a:fillRef idx="1">
            <a:schemeClr val="accent3"/>
          </a:fillRef>
          <a:effectRef idx="1">
            <a:schemeClr val="accent3"/>
          </a:effectRef>
          <a:fontRef idx="minor">
            <a:schemeClr val="lt1"/>
          </a:fontRef>
        </p:style>
        <p:txBody>
          <a:bodyPr wrap="square" rtlCol="0" anchor="ctr">
            <a:noAutofit/>
          </a:bodyPr>
          <a:lstStyle/>
          <a:p>
            <a:pPr defTabSz="829544"/>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3" name="Graphic 62" descr="Covid-19 outline">
            <a:extLst>
              <a:ext uri="{FF2B5EF4-FFF2-40B4-BE49-F238E27FC236}">
                <a16:creationId xmlns:a16="http://schemas.microsoft.com/office/drawing/2014/main" id="{98275B50-9B05-4C3C-88A9-15CFE797E3FD}"/>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26316" y="4257133"/>
            <a:ext cx="420264" cy="418511"/>
          </a:xfrm>
          <a:prstGeom prst="rect">
            <a:avLst/>
          </a:prstGeom>
        </p:spPr>
      </p:pic>
      <p:sp>
        <p:nvSpPr>
          <p:cNvPr id="66" name="Oval 65">
            <a:extLst>
              <a:ext uri="{FF2B5EF4-FFF2-40B4-BE49-F238E27FC236}">
                <a16:creationId xmlns:a16="http://schemas.microsoft.com/office/drawing/2014/main" id="{33C5720A-54DC-0449-33A4-48B58A561AC9}"/>
              </a:ext>
            </a:extLst>
          </p:cNvPr>
          <p:cNvSpPr/>
          <p:nvPr/>
        </p:nvSpPr>
        <p:spPr bwMode="gray">
          <a:xfrm>
            <a:off x="490973" y="4909541"/>
            <a:ext cx="490949" cy="418512"/>
          </a:xfrm>
          <a:prstGeom prst="ellipse">
            <a:avLst/>
          </a:prstGeom>
        </p:spPr>
        <p:style>
          <a:lnRef idx="3">
            <a:schemeClr val="lt1"/>
          </a:lnRef>
          <a:fillRef idx="1">
            <a:schemeClr val="accent3"/>
          </a:fillRef>
          <a:effectRef idx="1">
            <a:schemeClr val="accent3"/>
          </a:effectRef>
          <a:fontRef idx="minor">
            <a:schemeClr val="lt1"/>
          </a:fontRef>
        </p:style>
        <p:txBody>
          <a:bodyPr wrap="square" rtlCol="0" anchor="ctr">
            <a:noAutofit/>
          </a:bodyPr>
          <a:lstStyle/>
          <a:p>
            <a:pPr defTabSz="829544"/>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9" name="Graphic 68" descr="Sustainability with solid fill">
            <a:extLst>
              <a:ext uri="{FF2B5EF4-FFF2-40B4-BE49-F238E27FC236}">
                <a16:creationId xmlns:a16="http://schemas.microsoft.com/office/drawing/2014/main" id="{83DE9653-DF11-640A-0723-7FDA6B97AE62}"/>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42875" y="4923945"/>
            <a:ext cx="381880" cy="380286"/>
          </a:xfrm>
          <a:prstGeom prst="rect">
            <a:avLst/>
          </a:prstGeom>
        </p:spPr>
      </p:pic>
      <p:sp>
        <p:nvSpPr>
          <p:cNvPr id="70" name="Oval 69">
            <a:extLst>
              <a:ext uri="{FF2B5EF4-FFF2-40B4-BE49-F238E27FC236}">
                <a16:creationId xmlns:a16="http://schemas.microsoft.com/office/drawing/2014/main" id="{27AF0410-7539-508E-B262-D51C39DC391B}"/>
              </a:ext>
            </a:extLst>
          </p:cNvPr>
          <p:cNvSpPr/>
          <p:nvPr/>
        </p:nvSpPr>
        <p:spPr bwMode="gray">
          <a:xfrm>
            <a:off x="483568" y="5630927"/>
            <a:ext cx="490949" cy="418512"/>
          </a:xfrm>
          <a:prstGeom prst="ellipse">
            <a:avLst/>
          </a:prstGeom>
        </p:spPr>
        <p:style>
          <a:lnRef idx="3">
            <a:schemeClr val="lt1"/>
          </a:lnRef>
          <a:fillRef idx="1">
            <a:schemeClr val="accent3"/>
          </a:fillRef>
          <a:effectRef idx="1">
            <a:schemeClr val="accent3"/>
          </a:effectRef>
          <a:fontRef idx="minor">
            <a:schemeClr val="lt1"/>
          </a:fontRef>
        </p:style>
        <p:txBody>
          <a:bodyPr wrap="square" rtlCol="0" anchor="ctr">
            <a:noAutofit/>
          </a:bodyPr>
          <a:lstStyle/>
          <a:p>
            <a:pPr defTabSz="829544"/>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3" name="Graphic 72" descr="Ui Ux with solid fill">
            <a:extLst>
              <a:ext uri="{FF2B5EF4-FFF2-40B4-BE49-F238E27FC236}">
                <a16:creationId xmlns:a16="http://schemas.microsoft.com/office/drawing/2014/main" id="{28CAE0BB-6BC5-1C00-C060-0FAFF2DA1FD0}"/>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44452" y="5739586"/>
            <a:ext cx="202956" cy="202109"/>
          </a:xfrm>
          <a:prstGeom prst="rect">
            <a:avLst/>
          </a:prstGeom>
        </p:spPr>
      </p:pic>
      <p:pic>
        <p:nvPicPr>
          <p:cNvPr id="75" name="Graphic 74" descr="Smart Phone with solid fill">
            <a:extLst>
              <a:ext uri="{FF2B5EF4-FFF2-40B4-BE49-F238E27FC236}">
                <a16:creationId xmlns:a16="http://schemas.microsoft.com/office/drawing/2014/main" id="{14B51F71-3C5C-6C2F-7845-0FD5BB823E48}"/>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18673" y="5727989"/>
            <a:ext cx="214601" cy="213705"/>
          </a:xfrm>
          <a:prstGeom prst="rect">
            <a:avLst/>
          </a:prstGeom>
        </p:spPr>
      </p:pic>
    </p:spTree>
    <p:extLst>
      <p:ext uri="{BB962C8B-B14F-4D97-AF65-F5344CB8AC3E}">
        <p14:creationId xmlns:p14="http://schemas.microsoft.com/office/powerpoint/2010/main" val="4160330873"/>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B09C82-4C4D-2046-D81E-AE7402E84BB5}"/>
              </a:ext>
            </a:extLst>
          </p:cNvPr>
          <p:cNvGraphicFramePr>
            <a:graphicFrameLocks noChangeAspect="1"/>
          </p:cNvGraphicFramePr>
          <p:nvPr>
            <p:custDataLst>
              <p:tags r:id="rId1"/>
            </p:custDataLst>
            <p:extLst>
              <p:ext uri="{D42A27DB-BD31-4B8C-83A1-F6EECF244321}">
                <p14:modId xmlns:p14="http://schemas.microsoft.com/office/powerpoint/2010/main" val="896393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4" name="think-cell data - do not delete" hidden="1">
                        <a:extLst>
                          <a:ext uri="{FF2B5EF4-FFF2-40B4-BE49-F238E27FC236}">
                            <a16:creationId xmlns:a16="http://schemas.microsoft.com/office/drawing/2014/main" id="{0DB09C82-4C4D-2046-D81E-AE7402E84B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978286-7BF2-96C5-7D54-5901009D8EC7}"/>
              </a:ext>
            </a:extLst>
          </p:cNvPr>
          <p:cNvSpPr>
            <a:spLocks noGrp="1"/>
          </p:cNvSpPr>
          <p:nvPr>
            <p:ph type="title"/>
          </p:nvPr>
        </p:nvSpPr>
        <p:spPr>
          <a:xfrm>
            <a:off x="453399" y="417911"/>
            <a:ext cx="11276049" cy="334099"/>
          </a:xfrm>
        </p:spPr>
        <p:txBody>
          <a:bodyPr vert="horz" lIns="0" tIns="0" rIns="0" bIns="0" rtlCol="0" anchor="t" anchorCtr="0">
            <a:noAutofit/>
          </a:bodyPr>
          <a:lstStyle/>
          <a:p>
            <a:r>
              <a:rPr lang="hu-HU" dirty="0" err="1">
                <a:latin typeface="Open Sans Light"/>
                <a:ea typeface="Open Sans Light"/>
                <a:cs typeface="Open Sans Light"/>
              </a:rPr>
              <a:t>Deloitte’s</a:t>
            </a:r>
            <a:r>
              <a:rPr lang="hu-HU" dirty="0">
                <a:latin typeface="Open Sans Light"/>
                <a:ea typeface="Open Sans Light"/>
                <a:cs typeface="Open Sans Light"/>
              </a:rPr>
              <a:t> </a:t>
            </a:r>
            <a:r>
              <a:rPr lang="hu-HU" dirty="0" err="1">
                <a:latin typeface="Open Sans Light"/>
                <a:ea typeface="Open Sans Light"/>
                <a:cs typeface="Open Sans Light"/>
              </a:rPr>
              <a:t>view</a:t>
            </a:r>
            <a:r>
              <a:rPr lang="hu-HU" dirty="0">
                <a:latin typeface="Open Sans Light"/>
                <a:ea typeface="Open Sans Light"/>
                <a:cs typeface="Open Sans Light"/>
              </a:rPr>
              <a:t> on</a:t>
            </a:r>
            <a:r>
              <a:rPr lang="en-GB" dirty="0">
                <a:latin typeface="Open Sans Light"/>
                <a:ea typeface="Open Sans Light"/>
                <a:cs typeface="Open Sans Light"/>
              </a:rPr>
              <a:t> planning, budgeting and forecasting</a:t>
            </a:r>
            <a:endParaRPr lang="en-US" dirty="0" err="1"/>
          </a:p>
        </p:txBody>
      </p:sp>
      <p:sp>
        <p:nvSpPr>
          <p:cNvPr id="7" name="Rounded Rectangle 5">
            <a:extLst>
              <a:ext uri="{FF2B5EF4-FFF2-40B4-BE49-F238E27FC236}">
                <a16:creationId xmlns:a16="http://schemas.microsoft.com/office/drawing/2014/main" id="{130B668F-9F44-F520-BF0C-801853436210}"/>
              </a:ext>
            </a:extLst>
          </p:cNvPr>
          <p:cNvSpPr/>
          <p:nvPr/>
        </p:nvSpPr>
        <p:spPr bwMode="gray">
          <a:xfrm>
            <a:off x="9068574" y="3357760"/>
            <a:ext cx="1353882" cy="236278"/>
          </a:xfrm>
          <a:prstGeom prst="round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9" name="Oval 8">
            <a:extLst>
              <a:ext uri="{FF2B5EF4-FFF2-40B4-BE49-F238E27FC236}">
                <a16:creationId xmlns:a16="http://schemas.microsoft.com/office/drawing/2014/main" id="{6187CADD-9DE5-DD51-EBCF-D9AB28987064}"/>
              </a:ext>
            </a:extLst>
          </p:cNvPr>
          <p:cNvSpPr/>
          <p:nvPr/>
        </p:nvSpPr>
        <p:spPr bwMode="gray">
          <a:xfrm>
            <a:off x="4385511" y="3080882"/>
            <a:ext cx="3272589" cy="3224463"/>
          </a:xfrm>
          <a:prstGeom prst="ellipse">
            <a:avLst/>
          </a:prstGeom>
          <a:solidFill>
            <a:srgbClr val="F9F9F9"/>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grpSp>
        <p:nvGrpSpPr>
          <p:cNvPr id="17" name="Group 16">
            <a:extLst>
              <a:ext uri="{FF2B5EF4-FFF2-40B4-BE49-F238E27FC236}">
                <a16:creationId xmlns:a16="http://schemas.microsoft.com/office/drawing/2014/main" id="{2FD7FDF6-9639-6BCD-23A1-2051AF114DD2}"/>
              </a:ext>
            </a:extLst>
          </p:cNvPr>
          <p:cNvGrpSpPr/>
          <p:nvPr/>
        </p:nvGrpSpPr>
        <p:grpSpPr>
          <a:xfrm>
            <a:off x="4571946" y="3388431"/>
            <a:ext cx="2705957" cy="2585589"/>
            <a:chOff x="6387366" y="1598367"/>
            <a:chExt cx="2376488" cy="2217737"/>
          </a:xfrm>
          <a:solidFill>
            <a:schemeClr val="accent6"/>
          </a:solidFill>
        </p:grpSpPr>
        <p:sp>
          <p:nvSpPr>
            <p:cNvPr id="11" name="Freeform 12">
              <a:extLst>
                <a:ext uri="{FF2B5EF4-FFF2-40B4-BE49-F238E27FC236}">
                  <a16:creationId xmlns:a16="http://schemas.microsoft.com/office/drawing/2014/main" id="{F2DE9410-5BC0-1B18-BE51-3048FC7C6822}"/>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rgbClr val="009FB4"/>
            </a:solidFill>
            <a:ln w="6350" cap="rnd">
              <a:solidFill>
                <a:schemeClr val="bg1"/>
              </a:solidFill>
              <a:round/>
              <a:headEnd/>
              <a:tailEnd/>
            </a:ln>
          </p:spPr>
          <p:txBody>
            <a:bodyPr/>
            <a:lstStyle/>
            <a:p>
              <a:pPr>
                <a:buClr>
                  <a:schemeClr val="bg1"/>
                </a:buClr>
              </a:pPr>
              <a:endParaRPr lang="en-US" sz="1200">
                <a:latin typeface="Open Sans"/>
                <a:ea typeface="Open Sans"/>
                <a:cs typeface="Open Sans"/>
              </a:endParaRPr>
            </a:p>
          </p:txBody>
        </p:sp>
        <p:sp>
          <p:nvSpPr>
            <p:cNvPr id="12" name="Freeform 13">
              <a:extLst>
                <a:ext uri="{FF2B5EF4-FFF2-40B4-BE49-F238E27FC236}">
                  <a16:creationId xmlns:a16="http://schemas.microsoft.com/office/drawing/2014/main" id="{10FE107E-1D37-CE2F-BAF1-46BCC86E02DC}"/>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chemeClr val="accent5">
                <a:lumMod val="50000"/>
              </a:schemeClr>
            </a:solidFill>
            <a:ln w="6350" cap="rnd">
              <a:solidFill>
                <a:schemeClr val="bg1"/>
              </a:solidFill>
              <a:round/>
              <a:headEnd/>
              <a:tailEnd/>
            </a:ln>
          </p:spPr>
          <p:txBody>
            <a:bodyPr/>
            <a:lstStyle/>
            <a:p>
              <a:pPr>
                <a:buClr>
                  <a:schemeClr val="bg1"/>
                </a:buClr>
                <a:defRPr/>
              </a:pPr>
              <a:endParaRPr lang="en-US" sz="1200">
                <a:latin typeface="Open Sans"/>
                <a:ea typeface="Open Sans"/>
                <a:cs typeface="Open Sans"/>
              </a:endParaRPr>
            </a:p>
          </p:txBody>
        </p:sp>
        <p:sp>
          <p:nvSpPr>
            <p:cNvPr id="13" name="Freeform 14">
              <a:extLst>
                <a:ext uri="{FF2B5EF4-FFF2-40B4-BE49-F238E27FC236}">
                  <a16:creationId xmlns:a16="http://schemas.microsoft.com/office/drawing/2014/main" id="{F13954A7-600B-B40F-C8D2-907260B53B8C}"/>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chemeClr val="accent5">
                <a:lumMod val="75000"/>
              </a:schemeClr>
            </a:solidFill>
            <a:ln w="6350" cap="rnd">
              <a:solidFill>
                <a:schemeClr val="bg1"/>
              </a:solidFill>
              <a:round/>
              <a:headEnd/>
              <a:tailEnd/>
            </a:ln>
          </p:spPr>
          <p:txBody>
            <a:bodyPr/>
            <a:lstStyle/>
            <a:p>
              <a:pPr>
                <a:buClr>
                  <a:schemeClr val="bg1"/>
                </a:buClr>
              </a:pPr>
              <a:endParaRPr lang="en-US" sz="1200">
                <a:latin typeface="Open Sans"/>
                <a:ea typeface="Open Sans"/>
                <a:cs typeface="Open Sans"/>
              </a:endParaRPr>
            </a:p>
          </p:txBody>
        </p:sp>
        <p:sp>
          <p:nvSpPr>
            <p:cNvPr id="14" name="Rectangle 33">
              <a:extLst>
                <a:ext uri="{FF2B5EF4-FFF2-40B4-BE49-F238E27FC236}">
                  <a16:creationId xmlns:a16="http://schemas.microsoft.com/office/drawing/2014/main" id="{BAC90894-A3F7-EB0A-BDF2-EBB082E7815E}"/>
                </a:ext>
              </a:extLst>
            </p:cNvPr>
            <p:cNvSpPr>
              <a:spLocks noChangeArrowheads="1"/>
            </p:cNvSpPr>
            <p:nvPr/>
          </p:nvSpPr>
          <p:spPr bwMode="blackWhite">
            <a:xfrm rot="20533913">
              <a:off x="7170501" y="1854380"/>
              <a:ext cx="481477" cy="131665"/>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050">
                  <a:latin typeface="Open Sans"/>
                  <a:ea typeface="Open Sans"/>
                  <a:cs typeface="Open Sans"/>
                </a:rPr>
                <a:t>Planning</a:t>
              </a:r>
            </a:p>
          </p:txBody>
        </p:sp>
        <p:sp>
          <p:nvSpPr>
            <p:cNvPr id="15" name="Rectangle 37">
              <a:extLst>
                <a:ext uri="{FF2B5EF4-FFF2-40B4-BE49-F238E27FC236}">
                  <a16:creationId xmlns:a16="http://schemas.microsoft.com/office/drawing/2014/main" id="{9779C37C-0A43-ED1A-66E9-A53BDCEC7174}"/>
                </a:ext>
              </a:extLst>
            </p:cNvPr>
            <p:cNvSpPr>
              <a:spLocks noChangeArrowheads="1"/>
            </p:cNvSpPr>
            <p:nvPr/>
          </p:nvSpPr>
          <p:spPr bwMode="blackWhite">
            <a:xfrm rot="17775867">
              <a:off x="8089495" y="2891448"/>
              <a:ext cx="548602" cy="134814"/>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050">
                  <a:latin typeface="Open Sans"/>
                  <a:ea typeface="Open Sans"/>
                  <a:cs typeface="Open Sans"/>
                </a:rPr>
                <a:t>Budgeting</a:t>
              </a:r>
            </a:p>
          </p:txBody>
        </p:sp>
        <p:sp>
          <p:nvSpPr>
            <p:cNvPr id="16" name="Rectangle 38">
              <a:extLst>
                <a:ext uri="{FF2B5EF4-FFF2-40B4-BE49-F238E27FC236}">
                  <a16:creationId xmlns:a16="http://schemas.microsoft.com/office/drawing/2014/main" id="{6F19B336-ACA7-AA3F-92C2-691F197B4D0B}"/>
                </a:ext>
              </a:extLst>
            </p:cNvPr>
            <p:cNvSpPr>
              <a:spLocks noChangeArrowheads="1"/>
            </p:cNvSpPr>
            <p:nvPr/>
          </p:nvSpPr>
          <p:spPr bwMode="blackWhite">
            <a:xfrm rot="3145927">
              <a:off x="6760734" y="3132607"/>
              <a:ext cx="620100" cy="134814"/>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bg1"/>
                </a:buClr>
              </a:pPr>
              <a:r>
                <a:rPr lang="en-US" sz="1050">
                  <a:latin typeface="Open Sans"/>
                  <a:ea typeface="Open Sans"/>
                  <a:cs typeface="Open Sans"/>
                </a:rPr>
                <a:t>Forecasting</a:t>
              </a:r>
            </a:p>
          </p:txBody>
        </p:sp>
      </p:grpSp>
      <p:sp>
        <p:nvSpPr>
          <p:cNvPr id="19" name="Rounded Rectangle 3">
            <a:extLst>
              <a:ext uri="{FF2B5EF4-FFF2-40B4-BE49-F238E27FC236}">
                <a16:creationId xmlns:a16="http://schemas.microsoft.com/office/drawing/2014/main" id="{C665DEDF-B849-CF37-1642-5E11377C165E}"/>
              </a:ext>
            </a:extLst>
          </p:cNvPr>
          <p:cNvSpPr/>
          <p:nvPr/>
        </p:nvSpPr>
        <p:spPr bwMode="gray">
          <a:xfrm>
            <a:off x="1955136" y="1601078"/>
            <a:ext cx="8157410" cy="1261721"/>
          </a:xfrm>
          <a:prstGeom prst="roundRect">
            <a:avLst/>
          </a:prstGeom>
          <a:noFill/>
          <a:ln w="28575" algn="ctr">
            <a:solidFill>
              <a:schemeClr val="accent3"/>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21" name="Rounded Rectangle 13">
            <a:extLst>
              <a:ext uri="{FF2B5EF4-FFF2-40B4-BE49-F238E27FC236}">
                <a16:creationId xmlns:a16="http://schemas.microsoft.com/office/drawing/2014/main" id="{5019E016-FF56-5DB8-528E-D85A16EE402C}"/>
              </a:ext>
            </a:extLst>
          </p:cNvPr>
          <p:cNvSpPr/>
          <p:nvPr/>
        </p:nvSpPr>
        <p:spPr bwMode="gray">
          <a:xfrm>
            <a:off x="7738762" y="3165519"/>
            <a:ext cx="3963390" cy="3461073"/>
          </a:xfrm>
          <a:prstGeom prst="roundRect">
            <a:avLst/>
          </a:prstGeom>
          <a:noFill/>
          <a:ln w="28575" algn="ctr">
            <a:solidFill>
              <a:schemeClr val="accent3"/>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23" name="Rounded Rectangle 14">
            <a:extLst>
              <a:ext uri="{FF2B5EF4-FFF2-40B4-BE49-F238E27FC236}">
                <a16:creationId xmlns:a16="http://schemas.microsoft.com/office/drawing/2014/main" id="{26A894CE-9F05-255D-CB87-7535C608CD09}"/>
              </a:ext>
            </a:extLst>
          </p:cNvPr>
          <p:cNvSpPr/>
          <p:nvPr/>
        </p:nvSpPr>
        <p:spPr bwMode="gray">
          <a:xfrm>
            <a:off x="338090" y="3178463"/>
            <a:ext cx="3963390" cy="3414610"/>
          </a:xfrm>
          <a:prstGeom prst="roundRect">
            <a:avLst/>
          </a:prstGeom>
          <a:noFill/>
          <a:ln w="28575" algn="ctr">
            <a:solidFill>
              <a:schemeClr val="accent3"/>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25" name="TextBox 24">
            <a:extLst>
              <a:ext uri="{FF2B5EF4-FFF2-40B4-BE49-F238E27FC236}">
                <a16:creationId xmlns:a16="http://schemas.microsoft.com/office/drawing/2014/main" id="{4FA765B6-C391-6DF4-5A36-2AF24469F779}"/>
              </a:ext>
            </a:extLst>
          </p:cNvPr>
          <p:cNvSpPr txBox="1"/>
          <p:nvPr/>
        </p:nvSpPr>
        <p:spPr>
          <a:xfrm>
            <a:off x="8665025" y="3073186"/>
            <a:ext cx="2207794" cy="184666"/>
          </a:xfrm>
          <a:prstGeom prst="rect">
            <a:avLst/>
          </a:prstGeom>
          <a:solidFill>
            <a:schemeClr val="bg1"/>
          </a:solidFill>
        </p:spPr>
        <p:txBody>
          <a:bodyPr wrap="square" lIns="0" tIns="0" rIns="0" bIns="0" rtlCol="0">
            <a:spAutoFit/>
          </a:bodyPr>
          <a:lstStyle/>
          <a:p>
            <a:pPr algn="ctr">
              <a:spcBef>
                <a:spcPts val="0"/>
              </a:spcBef>
              <a:spcAft>
                <a:spcPts val="1333"/>
              </a:spcAft>
              <a:buSzPct val="100000"/>
            </a:pPr>
            <a:r>
              <a:rPr lang="en-GB" sz="1200" b="1" dirty="0">
                <a:latin typeface="Open Sans"/>
                <a:ea typeface="Open Sans"/>
                <a:cs typeface="Open Sans"/>
              </a:rPr>
              <a:t>Budgeting</a:t>
            </a:r>
            <a:r>
              <a:rPr lang="en-GB" sz="1200" b="1" noProof="0" dirty="0">
                <a:latin typeface="Open Sans"/>
                <a:ea typeface="Open Sans"/>
                <a:cs typeface="Open Sans"/>
              </a:rPr>
              <a:t> </a:t>
            </a:r>
            <a:r>
              <a:rPr lang="en-GB" sz="1200" noProof="0" dirty="0">
                <a:latin typeface="Open Sans"/>
                <a:ea typeface="Open Sans"/>
                <a:cs typeface="Open Sans"/>
              </a:rPr>
              <a:t>(Financial Plan)</a:t>
            </a:r>
          </a:p>
        </p:txBody>
      </p:sp>
      <p:sp>
        <p:nvSpPr>
          <p:cNvPr id="27" name="TextBox 26">
            <a:extLst>
              <a:ext uri="{FF2B5EF4-FFF2-40B4-BE49-F238E27FC236}">
                <a16:creationId xmlns:a16="http://schemas.microsoft.com/office/drawing/2014/main" id="{C159E92B-1B36-5D15-33BC-CFB22EB6D029}"/>
              </a:ext>
            </a:extLst>
          </p:cNvPr>
          <p:cNvSpPr txBox="1"/>
          <p:nvPr/>
        </p:nvSpPr>
        <p:spPr>
          <a:xfrm>
            <a:off x="1215888" y="3086131"/>
            <a:ext cx="2496664" cy="184666"/>
          </a:xfrm>
          <a:prstGeom prst="rect">
            <a:avLst/>
          </a:prstGeom>
          <a:solidFill>
            <a:schemeClr val="bg1"/>
          </a:solidFill>
        </p:spPr>
        <p:txBody>
          <a:bodyPr wrap="square" lIns="0" tIns="0" rIns="0" bIns="0" rtlCol="0">
            <a:spAutoFit/>
          </a:bodyPr>
          <a:lstStyle/>
          <a:p>
            <a:pPr algn="ctr">
              <a:spcBef>
                <a:spcPts val="0"/>
              </a:spcBef>
              <a:spcAft>
                <a:spcPts val="1333"/>
              </a:spcAft>
              <a:buSzPct val="100000"/>
            </a:pPr>
            <a:r>
              <a:rPr lang="en-GB" sz="1200" b="1" dirty="0">
                <a:latin typeface="Open Sans"/>
                <a:ea typeface="Open Sans"/>
                <a:cs typeface="Open Sans"/>
              </a:rPr>
              <a:t>Forecasting</a:t>
            </a:r>
            <a:r>
              <a:rPr lang="en-GB" sz="1200" b="1" noProof="0" dirty="0">
                <a:latin typeface="Open Sans"/>
                <a:ea typeface="Open Sans"/>
                <a:cs typeface="Open Sans"/>
              </a:rPr>
              <a:t> </a:t>
            </a:r>
            <a:r>
              <a:rPr lang="en-GB" sz="1200" noProof="0" dirty="0">
                <a:latin typeface="Open Sans"/>
                <a:ea typeface="Open Sans"/>
                <a:cs typeface="Open Sans"/>
              </a:rPr>
              <a:t>(In-</a:t>
            </a:r>
            <a:r>
              <a:rPr lang="en-GB" sz="1200" dirty="0">
                <a:latin typeface="Open Sans"/>
                <a:ea typeface="Open Sans"/>
                <a:cs typeface="Open Sans"/>
              </a:rPr>
              <a:t>Y</a:t>
            </a:r>
            <a:r>
              <a:rPr lang="en-GB" sz="1200" noProof="0" dirty="0">
                <a:latin typeface="Open Sans"/>
                <a:ea typeface="Open Sans"/>
                <a:cs typeface="Open Sans"/>
              </a:rPr>
              <a:t>ear </a:t>
            </a:r>
            <a:r>
              <a:rPr lang="en-GB" sz="1200" dirty="0">
                <a:latin typeface="Open Sans"/>
                <a:ea typeface="Open Sans"/>
                <a:cs typeface="Open Sans"/>
              </a:rPr>
              <a:t>Review</a:t>
            </a:r>
            <a:r>
              <a:rPr lang="en-GB" sz="1200" noProof="0" dirty="0">
                <a:latin typeface="Open Sans"/>
                <a:ea typeface="Open Sans"/>
                <a:cs typeface="Open Sans"/>
              </a:rPr>
              <a:t>)</a:t>
            </a:r>
          </a:p>
        </p:txBody>
      </p:sp>
      <p:sp>
        <p:nvSpPr>
          <p:cNvPr id="29" name="TextBox 28">
            <a:extLst>
              <a:ext uri="{FF2B5EF4-FFF2-40B4-BE49-F238E27FC236}">
                <a16:creationId xmlns:a16="http://schemas.microsoft.com/office/drawing/2014/main" id="{AA0B21FE-21C3-18C4-B735-A352D7896516}"/>
              </a:ext>
            </a:extLst>
          </p:cNvPr>
          <p:cNvSpPr txBox="1"/>
          <p:nvPr/>
        </p:nvSpPr>
        <p:spPr>
          <a:xfrm>
            <a:off x="2145653" y="1885791"/>
            <a:ext cx="3785247" cy="769441"/>
          </a:xfrm>
          <a:prstGeom prst="rect">
            <a:avLst/>
          </a:prstGeom>
          <a:noFill/>
        </p:spPr>
        <p:txBody>
          <a:bodyPr wrap="square" lIns="0" tIns="0" rIns="0" bIns="0" rtlCol="0">
            <a:spAutoFit/>
          </a:bodyPr>
          <a:lstStyle/>
          <a:p>
            <a:pPr>
              <a:spcBef>
                <a:spcPts val="0"/>
              </a:spcBef>
              <a:spcAft>
                <a:spcPts val="1333"/>
              </a:spcAft>
              <a:buSzPct val="100000"/>
            </a:pPr>
            <a:r>
              <a:rPr lang="en-GB" sz="1000" noProof="0">
                <a:latin typeface="Open Sans"/>
                <a:ea typeface="Open Sans"/>
                <a:cs typeface="Open Sans"/>
              </a:rPr>
              <a:t>To define </a:t>
            </a:r>
            <a:r>
              <a:rPr lang="en-GB" sz="1000">
                <a:latin typeface="Open Sans"/>
                <a:ea typeface="Open Sans"/>
                <a:cs typeface="Open Sans"/>
              </a:rPr>
              <a:t>/ refresh </a:t>
            </a:r>
            <a:r>
              <a:rPr lang="en-GB" sz="1000" noProof="0">
                <a:latin typeface="Open Sans"/>
                <a:ea typeface="Open Sans"/>
                <a:cs typeface="Open Sans"/>
              </a:rPr>
              <a:t>the long-term </a:t>
            </a:r>
            <a:r>
              <a:rPr lang="en-GB" sz="1000" b="1" noProof="0">
                <a:latin typeface="Open Sans"/>
                <a:ea typeface="Open Sans"/>
                <a:cs typeface="Open Sans"/>
              </a:rPr>
              <a:t>strategic and financial objectives </a:t>
            </a:r>
            <a:r>
              <a:rPr lang="en-GB" sz="1000" noProof="0">
                <a:latin typeface="Open Sans"/>
                <a:ea typeface="Open Sans"/>
                <a:cs typeface="Open Sans"/>
              </a:rPr>
              <a:t>of the organisation. </a:t>
            </a:r>
            <a:br>
              <a:rPr lang="en-GB" sz="1000" noProof="0">
                <a:latin typeface="Open Sans"/>
                <a:ea typeface="Open Sans"/>
                <a:cs typeface="Open Sans"/>
              </a:rPr>
            </a:br>
            <a:br>
              <a:rPr lang="en-GB" sz="1000" noProof="0">
                <a:latin typeface="Open Sans"/>
                <a:ea typeface="Open Sans"/>
                <a:cs typeface="Open Sans"/>
              </a:rPr>
            </a:br>
            <a:r>
              <a:rPr lang="en-GB" sz="1000">
                <a:latin typeface="Open Sans"/>
                <a:ea typeface="Open Sans"/>
                <a:cs typeface="Open Sans"/>
              </a:rPr>
              <a:t>To </a:t>
            </a:r>
            <a:r>
              <a:rPr lang="en-GB" sz="1000" b="1">
                <a:latin typeface="Open Sans"/>
                <a:ea typeface="Open Sans"/>
                <a:cs typeface="Open Sans"/>
              </a:rPr>
              <a:t>evaluate strategic</a:t>
            </a:r>
            <a:r>
              <a:rPr lang="en-GB" sz="1000">
                <a:latin typeface="Open Sans"/>
                <a:ea typeface="Open Sans"/>
                <a:cs typeface="Open Sans"/>
              </a:rPr>
              <a:t> business development </a:t>
            </a:r>
            <a:r>
              <a:rPr lang="en-GB" sz="1000" b="1">
                <a:latin typeface="Open Sans"/>
                <a:ea typeface="Open Sans"/>
                <a:cs typeface="Open Sans"/>
              </a:rPr>
              <a:t>options </a:t>
            </a:r>
            <a:r>
              <a:rPr lang="en-GB" sz="1000">
                <a:latin typeface="Open Sans"/>
                <a:ea typeface="Open Sans"/>
                <a:cs typeface="Open Sans"/>
              </a:rPr>
              <a:t>and </a:t>
            </a:r>
            <a:r>
              <a:rPr lang="en-GB" sz="1000" b="1">
                <a:latin typeface="Open Sans"/>
                <a:ea typeface="Open Sans"/>
                <a:cs typeface="Open Sans"/>
              </a:rPr>
              <a:t>agree the strategic initiatives</a:t>
            </a:r>
            <a:r>
              <a:rPr lang="en-GB" sz="1000">
                <a:latin typeface="Open Sans"/>
                <a:ea typeface="Open Sans"/>
                <a:cs typeface="Open Sans"/>
              </a:rPr>
              <a:t> to action objectives set. </a:t>
            </a:r>
            <a:endParaRPr lang="en-GB" sz="1000" noProof="0">
              <a:latin typeface="Open Sans"/>
              <a:ea typeface="Open Sans"/>
              <a:cs typeface="Open Sans"/>
            </a:endParaRPr>
          </a:p>
        </p:txBody>
      </p:sp>
      <p:cxnSp>
        <p:nvCxnSpPr>
          <p:cNvPr id="31" name="Straight Connector 30">
            <a:extLst>
              <a:ext uri="{FF2B5EF4-FFF2-40B4-BE49-F238E27FC236}">
                <a16:creationId xmlns:a16="http://schemas.microsoft.com/office/drawing/2014/main" id="{BF9629B7-F744-6540-99D1-FC57A4A62F88}"/>
              </a:ext>
            </a:extLst>
          </p:cNvPr>
          <p:cNvCxnSpPr/>
          <p:nvPr/>
        </p:nvCxnSpPr>
        <p:spPr>
          <a:xfrm>
            <a:off x="6034436" y="1717189"/>
            <a:ext cx="0" cy="1056217"/>
          </a:xfrm>
          <a:prstGeom prst="line">
            <a:avLst/>
          </a:prstGeom>
          <a:ln w="19050">
            <a:solidFill>
              <a:srgbClr val="F0F0F0"/>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1F4929A-7EAA-BDDD-7582-4833BCC425B1}"/>
              </a:ext>
            </a:extLst>
          </p:cNvPr>
          <p:cNvSpPr txBox="1"/>
          <p:nvPr/>
        </p:nvSpPr>
        <p:spPr>
          <a:xfrm>
            <a:off x="6186038" y="1885791"/>
            <a:ext cx="1887453" cy="936154"/>
          </a:xfrm>
          <a:prstGeom prst="rect">
            <a:avLst/>
          </a:prstGeom>
          <a:noFill/>
        </p:spPr>
        <p:txBody>
          <a:bodyPr wrap="square" lIns="0" tIns="0" rIns="0" bIns="0" rtlCol="0">
            <a:spAutoFit/>
          </a:bodyPr>
          <a:lstStyle/>
          <a:p>
            <a:pPr marL="285750" indent="-285750">
              <a:spcBef>
                <a:spcPts val="0"/>
              </a:spcBef>
              <a:spcAft>
                <a:spcPts val="1333"/>
              </a:spcAft>
              <a:buSzPct val="100000"/>
              <a:buFont typeface="+mj-lt"/>
              <a:buAutoNum type="romanLcPeriod"/>
            </a:pPr>
            <a:r>
              <a:rPr lang="en-GB" sz="1000" b="1" noProof="0">
                <a:latin typeface="Open Sans"/>
                <a:ea typeface="Open Sans"/>
                <a:cs typeface="Open Sans"/>
              </a:rPr>
              <a:t>Develop</a:t>
            </a:r>
            <a:r>
              <a:rPr lang="en-GB" sz="1000" noProof="0">
                <a:latin typeface="Open Sans"/>
                <a:ea typeface="Open Sans"/>
                <a:cs typeface="Open Sans"/>
              </a:rPr>
              <a:t> organisation’s </a:t>
            </a:r>
            <a:r>
              <a:rPr lang="en-GB" sz="1000" b="1">
                <a:latin typeface="Open Sans"/>
                <a:ea typeface="Open Sans"/>
                <a:cs typeface="Open Sans"/>
              </a:rPr>
              <a:t>corporate strategy</a:t>
            </a:r>
          </a:p>
          <a:p>
            <a:pPr marL="285750" indent="-285750">
              <a:spcBef>
                <a:spcPts val="0"/>
              </a:spcBef>
              <a:spcAft>
                <a:spcPts val="1333"/>
              </a:spcAft>
              <a:buSzPct val="100000"/>
              <a:buFont typeface="+mj-lt"/>
              <a:buAutoNum type="romanLcPeriod"/>
            </a:pPr>
            <a:r>
              <a:rPr lang="en-GB" sz="1000" b="1">
                <a:latin typeface="Open Sans"/>
                <a:ea typeface="Open Sans"/>
                <a:cs typeface="Open Sans"/>
              </a:rPr>
              <a:t>Set</a:t>
            </a:r>
            <a:r>
              <a:rPr lang="en-GB" sz="1000" b="1" noProof="0">
                <a:latin typeface="Open Sans"/>
                <a:ea typeface="Open Sans"/>
                <a:cs typeface="Open Sans"/>
              </a:rPr>
              <a:t> long-term </a:t>
            </a:r>
            <a:r>
              <a:rPr lang="en-GB" sz="1000" noProof="0">
                <a:latin typeface="Open Sans"/>
                <a:ea typeface="Open Sans"/>
                <a:cs typeface="Open Sans"/>
              </a:rPr>
              <a:t>(</a:t>
            </a:r>
            <a:r>
              <a:rPr lang="en-GB" sz="1000">
                <a:latin typeface="Open Sans"/>
                <a:ea typeface="Open Sans"/>
                <a:cs typeface="Open Sans"/>
              </a:rPr>
              <a:t>e.g.</a:t>
            </a:r>
            <a:r>
              <a:rPr lang="en-GB" sz="1000" noProof="0">
                <a:latin typeface="Open Sans"/>
                <a:ea typeface="Open Sans"/>
                <a:cs typeface="Open Sans"/>
              </a:rPr>
              <a:t> </a:t>
            </a:r>
            <a:br>
              <a:rPr lang="en-GB" sz="1000" noProof="0">
                <a:latin typeface="Open Sans"/>
                <a:ea typeface="Open Sans"/>
                <a:cs typeface="Open Sans"/>
              </a:rPr>
            </a:br>
            <a:r>
              <a:rPr lang="en-GB" sz="1000" noProof="0">
                <a:latin typeface="Open Sans"/>
                <a:ea typeface="Open Sans"/>
                <a:cs typeface="Open Sans"/>
              </a:rPr>
              <a:t>3-5 year) </a:t>
            </a:r>
            <a:r>
              <a:rPr lang="en-GB" sz="1000" b="1" noProof="0">
                <a:latin typeface="Open Sans"/>
                <a:ea typeface="Open Sans"/>
                <a:cs typeface="Open Sans"/>
              </a:rPr>
              <a:t>financial </a:t>
            </a:r>
            <a:r>
              <a:rPr lang="en-GB" sz="1000" b="1">
                <a:latin typeface="Open Sans"/>
                <a:ea typeface="Open Sans"/>
                <a:cs typeface="Open Sans"/>
              </a:rPr>
              <a:t>targets</a:t>
            </a:r>
            <a:r>
              <a:rPr lang="en-GB" sz="1000" b="1" noProof="0">
                <a:latin typeface="Open Sans"/>
                <a:ea typeface="Open Sans"/>
                <a:cs typeface="Open Sans"/>
              </a:rPr>
              <a:t> </a:t>
            </a:r>
            <a:r>
              <a:rPr lang="en-GB" sz="1000" noProof="0">
                <a:latin typeface="Open Sans"/>
                <a:ea typeface="Open Sans"/>
                <a:cs typeface="Open Sans"/>
              </a:rPr>
              <a:t>for organisation</a:t>
            </a:r>
          </a:p>
        </p:txBody>
      </p:sp>
      <p:sp>
        <p:nvSpPr>
          <p:cNvPr id="35" name="TextBox 34">
            <a:extLst>
              <a:ext uri="{FF2B5EF4-FFF2-40B4-BE49-F238E27FC236}">
                <a16:creationId xmlns:a16="http://schemas.microsoft.com/office/drawing/2014/main" id="{A60AE368-F286-89B9-12D8-E114A6BE9E2D}"/>
              </a:ext>
            </a:extLst>
          </p:cNvPr>
          <p:cNvSpPr txBox="1"/>
          <p:nvPr/>
        </p:nvSpPr>
        <p:spPr>
          <a:xfrm>
            <a:off x="8225093" y="1888143"/>
            <a:ext cx="1887453" cy="936154"/>
          </a:xfrm>
          <a:prstGeom prst="rect">
            <a:avLst/>
          </a:prstGeom>
          <a:noFill/>
        </p:spPr>
        <p:txBody>
          <a:bodyPr wrap="square" lIns="0" tIns="0" rIns="0" bIns="0" rtlCol="0">
            <a:spAutoFit/>
          </a:bodyPr>
          <a:lstStyle/>
          <a:p>
            <a:pPr marL="285750" indent="-285750">
              <a:spcBef>
                <a:spcPts val="0"/>
              </a:spcBef>
              <a:spcAft>
                <a:spcPts val="1333"/>
              </a:spcAft>
              <a:buSzPct val="100000"/>
              <a:buFont typeface="+mj-lt"/>
              <a:buAutoNum type="romanLcPeriod" startAt="3"/>
            </a:pPr>
            <a:r>
              <a:rPr lang="en-GB" sz="1000" b="1" noProof="0">
                <a:latin typeface="Open Sans"/>
                <a:ea typeface="Open Sans"/>
                <a:cs typeface="Open Sans"/>
              </a:rPr>
              <a:t>Define</a:t>
            </a:r>
            <a:r>
              <a:rPr lang="en-GB" sz="1000" noProof="0">
                <a:latin typeface="Open Sans"/>
                <a:ea typeface="Open Sans"/>
                <a:cs typeface="Open Sans"/>
              </a:rPr>
              <a:t> </a:t>
            </a:r>
            <a:r>
              <a:rPr lang="en-GB" sz="1000" b="1" noProof="0">
                <a:latin typeface="Open Sans"/>
                <a:ea typeface="Open Sans"/>
                <a:cs typeface="Open Sans"/>
              </a:rPr>
              <a:t>BU strategy </a:t>
            </a:r>
            <a:r>
              <a:rPr lang="en-GB" sz="1000" noProof="0">
                <a:latin typeface="Open Sans"/>
                <a:ea typeface="Open Sans"/>
                <a:cs typeface="Open Sans"/>
              </a:rPr>
              <a:t>to enable objectives</a:t>
            </a:r>
          </a:p>
          <a:p>
            <a:pPr marL="285750" indent="-285750">
              <a:spcBef>
                <a:spcPts val="0"/>
              </a:spcBef>
              <a:spcAft>
                <a:spcPts val="1333"/>
              </a:spcAft>
              <a:buSzPct val="100000"/>
              <a:buFont typeface="+mj-lt"/>
              <a:buAutoNum type="romanLcPeriod" startAt="3"/>
            </a:pPr>
            <a:r>
              <a:rPr lang="en-GB" sz="1000" b="1" noProof="0">
                <a:latin typeface="Open Sans"/>
                <a:ea typeface="Open Sans"/>
                <a:cs typeface="Open Sans"/>
              </a:rPr>
              <a:t>Identify initiatives </a:t>
            </a:r>
            <a:r>
              <a:rPr lang="en-GB" sz="1000" noProof="0">
                <a:latin typeface="Open Sans"/>
                <a:ea typeface="Open Sans"/>
                <a:cs typeface="Open Sans"/>
              </a:rPr>
              <a:t>to action objectives and </a:t>
            </a:r>
            <a:r>
              <a:rPr lang="en-GB" sz="1000" b="1" noProof="0">
                <a:latin typeface="Open Sans"/>
                <a:ea typeface="Open Sans"/>
                <a:cs typeface="Open Sans"/>
              </a:rPr>
              <a:t>take into</a:t>
            </a:r>
            <a:r>
              <a:rPr lang="en-GB" sz="1000" noProof="0">
                <a:latin typeface="Open Sans"/>
                <a:ea typeface="Open Sans"/>
                <a:cs typeface="Open Sans"/>
              </a:rPr>
              <a:t> the </a:t>
            </a:r>
            <a:r>
              <a:rPr lang="en-GB" sz="1000" b="1" noProof="0">
                <a:latin typeface="Open Sans"/>
                <a:ea typeface="Open Sans"/>
                <a:cs typeface="Open Sans"/>
              </a:rPr>
              <a:t>Budget</a:t>
            </a:r>
          </a:p>
        </p:txBody>
      </p:sp>
      <p:sp>
        <p:nvSpPr>
          <p:cNvPr id="37" name="TextBox 36">
            <a:extLst>
              <a:ext uri="{FF2B5EF4-FFF2-40B4-BE49-F238E27FC236}">
                <a16:creationId xmlns:a16="http://schemas.microsoft.com/office/drawing/2014/main" id="{5F91BE5F-726A-60A0-338A-8F53B9DD65C1}"/>
              </a:ext>
            </a:extLst>
          </p:cNvPr>
          <p:cNvSpPr txBox="1"/>
          <p:nvPr/>
        </p:nvSpPr>
        <p:spPr>
          <a:xfrm>
            <a:off x="4929944" y="1482500"/>
            <a:ext cx="2207794" cy="184666"/>
          </a:xfrm>
          <a:prstGeom prst="rect">
            <a:avLst/>
          </a:prstGeom>
          <a:solidFill>
            <a:schemeClr val="bg1"/>
          </a:solidFill>
          <a:ln>
            <a:solidFill>
              <a:schemeClr val="accent3"/>
            </a:solidFill>
          </a:ln>
        </p:spPr>
        <p:txBody>
          <a:bodyPr wrap="square" lIns="0" tIns="0" rIns="0" bIns="0" rtlCol="0">
            <a:spAutoFit/>
          </a:bodyPr>
          <a:lstStyle/>
          <a:p>
            <a:pPr algn="ctr">
              <a:spcBef>
                <a:spcPts val="0"/>
              </a:spcBef>
              <a:spcAft>
                <a:spcPts val="1333"/>
              </a:spcAft>
              <a:buSzPct val="100000"/>
            </a:pPr>
            <a:r>
              <a:rPr lang="en-GB" sz="1200" b="1" noProof="0" dirty="0">
                <a:latin typeface="Open Sans"/>
                <a:ea typeface="Open Sans"/>
                <a:cs typeface="Open Sans"/>
              </a:rPr>
              <a:t>Planning </a:t>
            </a:r>
            <a:r>
              <a:rPr lang="en-GB" sz="1200" noProof="0" dirty="0">
                <a:latin typeface="Open Sans"/>
                <a:ea typeface="Open Sans"/>
                <a:cs typeface="Open Sans"/>
              </a:rPr>
              <a:t>(Business Plan)</a:t>
            </a:r>
          </a:p>
        </p:txBody>
      </p:sp>
      <p:sp>
        <p:nvSpPr>
          <p:cNvPr id="39" name="Round Single Corner Rectangle 12">
            <a:extLst>
              <a:ext uri="{FF2B5EF4-FFF2-40B4-BE49-F238E27FC236}">
                <a16:creationId xmlns:a16="http://schemas.microsoft.com/office/drawing/2014/main" id="{F2643BDC-1463-1BEB-E024-817A42CA16D7}"/>
              </a:ext>
            </a:extLst>
          </p:cNvPr>
          <p:cNvSpPr/>
          <p:nvPr/>
        </p:nvSpPr>
        <p:spPr bwMode="gray">
          <a:xfrm flipH="1">
            <a:off x="1955136" y="1518784"/>
            <a:ext cx="1195788" cy="277955"/>
          </a:xfrm>
          <a:prstGeom prst="round1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41" name="TextBox 40">
            <a:extLst>
              <a:ext uri="{FF2B5EF4-FFF2-40B4-BE49-F238E27FC236}">
                <a16:creationId xmlns:a16="http://schemas.microsoft.com/office/drawing/2014/main" id="{9DB550ED-535D-C2BF-3708-C3670C24BC0D}"/>
              </a:ext>
            </a:extLst>
          </p:cNvPr>
          <p:cNvSpPr txBox="1"/>
          <p:nvPr/>
        </p:nvSpPr>
        <p:spPr>
          <a:xfrm>
            <a:off x="2215309" y="1579288"/>
            <a:ext cx="675441" cy="161583"/>
          </a:xfrm>
          <a:prstGeom prst="rect">
            <a:avLst/>
          </a:prstGeom>
          <a:noFill/>
        </p:spPr>
        <p:txBody>
          <a:bodyPr wrap="square" lIns="0" tIns="0" rIns="0" bIns="0" rtlCol="0">
            <a:spAutoFit/>
          </a:bodyPr>
          <a:lstStyle/>
          <a:p>
            <a:pPr>
              <a:spcBef>
                <a:spcPts val="0"/>
              </a:spcBef>
              <a:spcAft>
                <a:spcPts val="1333"/>
              </a:spcAft>
              <a:buSzPct val="100000"/>
            </a:pPr>
            <a:r>
              <a:rPr lang="en-GB" sz="1050" b="1">
                <a:latin typeface="Open Sans"/>
                <a:ea typeface="Open Sans"/>
                <a:cs typeface="Open Sans"/>
              </a:rPr>
              <a:t>Purpose</a:t>
            </a:r>
            <a:endParaRPr lang="en-GB" sz="1050" b="1" noProof="0">
              <a:latin typeface="Open Sans"/>
              <a:ea typeface="Open Sans"/>
              <a:cs typeface="Open Sans"/>
            </a:endParaRPr>
          </a:p>
        </p:txBody>
      </p:sp>
      <p:sp>
        <p:nvSpPr>
          <p:cNvPr id="43" name="Round Single Corner Rectangle 37">
            <a:extLst>
              <a:ext uri="{FF2B5EF4-FFF2-40B4-BE49-F238E27FC236}">
                <a16:creationId xmlns:a16="http://schemas.microsoft.com/office/drawing/2014/main" id="{09D29241-4C39-4078-4391-E96D4B22EE79}"/>
              </a:ext>
            </a:extLst>
          </p:cNvPr>
          <p:cNvSpPr/>
          <p:nvPr/>
        </p:nvSpPr>
        <p:spPr bwMode="gray">
          <a:xfrm>
            <a:off x="8948476" y="1518784"/>
            <a:ext cx="1164070" cy="277200"/>
          </a:xfrm>
          <a:prstGeom prst="round1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45" name="TextBox 44">
            <a:extLst>
              <a:ext uri="{FF2B5EF4-FFF2-40B4-BE49-F238E27FC236}">
                <a16:creationId xmlns:a16="http://schemas.microsoft.com/office/drawing/2014/main" id="{4F5BAE24-94E1-44B1-07C5-89B518C965CB}"/>
              </a:ext>
            </a:extLst>
          </p:cNvPr>
          <p:cNvSpPr txBox="1"/>
          <p:nvPr/>
        </p:nvSpPr>
        <p:spPr>
          <a:xfrm>
            <a:off x="9145110" y="1563148"/>
            <a:ext cx="789785" cy="161583"/>
          </a:xfrm>
          <a:prstGeom prst="rect">
            <a:avLst/>
          </a:prstGeom>
          <a:noFill/>
        </p:spPr>
        <p:txBody>
          <a:bodyPr wrap="square" lIns="0" tIns="0" rIns="0" bIns="0" rtlCol="0">
            <a:spAutoFit/>
          </a:bodyPr>
          <a:lstStyle/>
          <a:p>
            <a:pPr>
              <a:spcBef>
                <a:spcPts val="0"/>
              </a:spcBef>
              <a:spcAft>
                <a:spcPts val="1333"/>
              </a:spcAft>
              <a:buSzPct val="100000"/>
            </a:pPr>
            <a:r>
              <a:rPr lang="en-GB" sz="1050" b="1">
                <a:latin typeface="Open Sans"/>
                <a:ea typeface="Open Sans"/>
                <a:cs typeface="Open Sans"/>
              </a:rPr>
              <a:t>Use Cases</a:t>
            </a:r>
            <a:endParaRPr lang="en-GB" sz="1050" b="1" noProof="0">
              <a:latin typeface="Open Sans"/>
              <a:ea typeface="Open Sans"/>
              <a:cs typeface="Open Sans"/>
            </a:endParaRPr>
          </a:p>
        </p:txBody>
      </p:sp>
      <p:sp>
        <p:nvSpPr>
          <p:cNvPr id="47" name="TextBox 46">
            <a:extLst>
              <a:ext uri="{FF2B5EF4-FFF2-40B4-BE49-F238E27FC236}">
                <a16:creationId xmlns:a16="http://schemas.microsoft.com/office/drawing/2014/main" id="{868E8004-1F1A-7DD1-5516-D9F363D9D985}"/>
              </a:ext>
            </a:extLst>
          </p:cNvPr>
          <p:cNvSpPr txBox="1"/>
          <p:nvPr/>
        </p:nvSpPr>
        <p:spPr>
          <a:xfrm>
            <a:off x="7914351" y="3792865"/>
            <a:ext cx="3648609" cy="923330"/>
          </a:xfrm>
          <a:prstGeom prst="rect">
            <a:avLst/>
          </a:prstGeom>
          <a:noFill/>
        </p:spPr>
        <p:txBody>
          <a:bodyPr wrap="square" lIns="0" tIns="0" rIns="0" bIns="0" rtlCol="0">
            <a:spAutoFit/>
          </a:bodyPr>
          <a:lstStyle/>
          <a:p>
            <a:pPr>
              <a:spcBef>
                <a:spcPts val="0"/>
              </a:spcBef>
              <a:spcAft>
                <a:spcPts val="1200"/>
              </a:spcAft>
              <a:buSzPct val="100000"/>
            </a:pPr>
            <a:r>
              <a:rPr lang="en-GB" sz="1000" noProof="0">
                <a:latin typeface="Open Sans"/>
                <a:ea typeface="Open Sans"/>
                <a:cs typeface="Open Sans"/>
              </a:rPr>
              <a:t>To </a:t>
            </a:r>
            <a:r>
              <a:rPr lang="en-GB" sz="1000" b="1" noProof="0">
                <a:latin typeface="Open Sans"/>
                <a:ea typeface="Open Sans"/>
                <a:cs typeface="Open Sans"/>
              </a:rPr>
              <a:t>translate </a:t>
            </a:r>
            <a:r>
              <a:rPr lang="en-GB" sz="1000" b="1">
                <a:latin typeface="Open Sans"/>
                <a:ea typeface="Open Sans"/>
                <a:cs typeface="Open Sans"/>
              </a:rPr>
              <a:t>long-term financial targets</a:t>
            </a:r>
            <a:r>
              <a:rPr lang="en-GB" sz="1000" b="1" noProof="0">
                <a:latin typeface="Open Sans"/>
                <a:ea typeface="Open Sans"/>
                <a:cs typeface="Open Sans"/>
              </a:rPr>
              <a:t> </a:t>
            </a:r>
            <a:r>
              <a:rPr lang="en-GB" sz="1000" noProof="0">
                <a:latin typeface="Open Sans"/>
                <a:ea typeface="Open Sans"/>
                <a:cs typeface="Open Sans"/>
              </a:rPr>
              <a:t>from planning into </a:t>
            </a:r>
            <a:r>
              <a:rPr lang="en-GB" sz="1000" b="1" noProof="0">
                <a:latin typeface="Open Sans"/>
                <a:ea typeface="Open Sans"/>
                <a:cs typeface="Open Sans"/>
              </a:rPr>
              <a:t>annual financial targets, </a:t>
            </a:r>
            <a:r>
              <a:rPr lang="en-GB" sz="1000" noProof="0">
                <a:latin typeface="Open Sans"/>
                <a:ea typeface="Open Sans"/>
                <a:cs typeface="Open Sans"/>
              </a:rPr>
              <a:t>cascaded from the </a:t>
            </a:r>
            <a:r>
              <a:rPr lang="en-GB" sz="1000" noProof="0" dirty="0" err="1">
                <a:latin typeface="Open Sans"/>
                <a:ea typeface="Open Sans"/>
                <a:cs typeface="Open Sans"/>
              </a:rPr>
              <a:t>ExCo</a:t>
            </a:r>
            <a:r>
              <a:rPr lang="en-GB" sz="1000" noProof="0">
                <a:latin typeface="Open Sans"/>
                <a:ea typeface="Open Sans"/>
                <a:cs typeface="Open Sans"/>
              </a:rPr>
              <a:t> down to e.g. business unit, regions and functions. </a:t>
            </a:r>
          </a:p>
          <a:p>
            <a:pPr>
              <a:spcBef>
                <a:spcPts val="0"/>
              </a:spcBef>
              <a:spcAft>
                <a:spcPts val="1200"/>
              </a:spcAft>
              <a:buSzPct val="100000"/>
            </a:pPr>
            <a:r>
              <a:rPr lang="en-GB" sz="1000">
                <a:latin typeface="Open Sans"/>
                <a:ea typeface="Open Sans"/>
                <a:cs typeface="Open Sans"/>
              </a:rPr>
              <a:t>To develop detailed financial plans which deliver on annual targets set. </a:t>
            </a:r>
            <a:endParaRPr lang="en-GB" sz="1000" noProof="0">
              <a:latin typeface="Open Sans"/>
              <a:ea typeface="Open Sans"/>
              <a:cs typeface="Open Sans"/>
            </a:endParaRPr>
          </a:p>
        </p:txBody>
      </p:sp>
      <p:sp>
        <p:nvSpPr>
          <p:cNvPr id="49" name="TextBox 48">
            <a:extLst>
              <a:ext uri="{FF2B5EF4-FFF2-40B4-BE49-F238E27FC236}">
                <a16:creationId xmlns:a16="http://schemas.microsoft.com/office/drawing/2014/main" id="{66EACBF2-990D-8E0E-ED10-2519B7B70363}"/>
              </a:ext>
            </a:extLst>
          </p:cNvPr>
          <p:cNvSpPr txBox="1"/>
          <p:nvPr/>
        </p:nvSpPr>
        <p:spPr>
          <a:xfrm>
            <a:off x="9407795" y="3395108"/>
            <a:ext cx="675441" cy="161583"/>
          </a:xfrm>
          <a:prstGeom prst="rect">
            <a:avLst/>
          </a:prstGeom>
          <a:noFill/>
        </p:spPr>
        <p:txBody>
          <a:bodyPr wrap="square" lIns="0" tIns="0" rIns="0" bIns="0" rtlCol="0">
            <a:spAutoFit/>
          </a:bodyPr>
          <a:lstStyle/>
          <a:p>
            <a:pPr algn="ctr">
              <a:spcBef>
                <a:spcPts val="0"/>
              </a:spcBef>
              <a:spcAft>
                <a:spcPts val="1333"/>
              </a:spcAft>
              <a:buSzPct val="100000"/>
            </a:pPr>
            <a:r>
              <a:rPr lang="en-GB" sz="1050" b="1" dirty="0">
                <a:latin typeface="Open Sans"/>
                <a:ea typeface="Open Sans"/>
                <a:cs typeface="Open Sans"/>
              </a:rPr>
              <a:t>Purpose</a:t>
            </a:r>
            <a:endParaRPr lang="en-GB" sz="1050" b="1" noProof="0" dirty="0">
              <a:latin typeface="Open Sans"/>
              <a:ea typeface="Open Sans"/>
              <a:cs typeface="Open Sans"/>
            </a:endParaRPr>
          </a:p>
        </p:txBody>
      </p:sp>
      <p:cxnSp>
        <p:nvCxnSpPr>
          <p:cNvPr id="51" name="Straight Connector 50">
            <a:extLst>
              <a:ext uri="{FF2B5EF4-FFF2-40B4-BE49-F238E27FC236}">
                <a16:creationId xmlns:a16="http://schemas.microsoft.com/office/drawing/2014/main" id="{CA972174-5C9C-3ECB-829F-D19C83CC6ABA}"/>
              </a:ext>
            </a:extLst>
          </p:cNvPr>
          <p:cNvCxnSpPr/>
          <p:nvPr/>
        </p:nvCxnSpPr>
        <p:spPr>
          <a:xfrm>
            <a:off x="7854960" y="5042824"/>
            <a:ext cx="3708000" cy="0"/>
          </a:xfrm>
          <a:prstGeom prst="lin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53" name="Rounded Rectangle 33">
            <a:extLst>
              <a:ext uri="{FF2B5EF4-FFF2-40B4-BE49-F238E27FC236}">
                <a16:creationId xmlns:a16="http://schemas.microsoft.com/office/drawing/2014/main" id="{C24CEEA6-EA5F-203B-315B-D14363219A3D}"/>
              </a:ext>
            </a:extLst>
          </p:cNvPr>
          <p:cNvSpPr/>
          <p:nvPr/>
        </p:nvSpPr>
        <p:spPr bwMode="gray">
          <a:xfrm>
            <a:off x="9098814" y="4945948"/>
            <a:ext cx="1353882" cy="236278"/>
          </a:xfrm>
          <a:prstGeom prst="round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55" name="TextBox 54">
            <a:extLst>
              <a:ext uri="{FF2B5EF4-FFF2-40B4-BE49-F238E27FC236}">
                <a16:creationId xmlns:a16="http://schemas.microsoft.com/office/drawing/2014/main" id="{05540589-3B52-0F67-D7A8-02B6DADAB47B}"/>
              </a:ext>
            </a:extLst>
          </p:cNvPr>
          <p:cNvSpPr txBox="1"/>
          <p:nvPr/>
        </p:nvSpPr>
        <p:spPr>
          <a:xfrm>
            <a:off x="9319550" y="4987143"/>
            <a:ext cx="912410" cy="153888"/>
          </a:xfrm>
          <a:prstGeom prst="rect">
            <a:avLst/>
          </a:prstGeom>
          <a:noFill/>
        </p:spPr>
        <p:txBody>
          <a:bodyPr wrap="square" lIns="0" tIns="0" rIns="0" bIns="0" rtlCol="0">
            <a:spAutoFit/>
          </a:bodyPr>
          <a:lstStyle/>
          <a:p>
            <a:pPr algn="ctr">
              <a:spcBef>
                <a:spcPts val="0"/>
              </a:spcBef>
              <a:spcAft>
                <a:spcPts val="1333"/>
              </a:spcAft>
              <a:buSzPct val="100000"/>
            </a:pPr>
            <a:r>
              <a:rPr lang="en-GB" sz="1000" b="1" dirty="0">
                <a:latin typeface="Open Sans"/>
                <a:ea typeface="Open Sans"/>
                <a:cs typeface="Open Sans"/>
              </a:rPr>
              <a:t>Use cases</a:t>
            </a:r>
            <a:endParaRPr lang="en-GB" sz="1000" b="1" noProof="0" dirty="0">
              <a:latin typeface="Open Sans"/>
              <a:ea typeface="Open Sans"/>
              <a:cs typeface="Open Sans"/>
            </a:endParaRPr>
          </a:p>
        </p:txBody>
      </p:sp>
      <p:sp>
        <p:nvSpPr>
          <p:cNvPr id="57" name="TextBox 56">
            <a:extLst>
              <a:ext uri="{FF2B5EF4-FFF2-40B4-BE49-F238E27FC236}">
                <a16:creationId xmlns:a16="http://schemas.microsoft.com/office/drawing/2014/main" id="{33C30F09-07CB-8713-949F-80E9FE444DD1}"/>
              </a:ext>
            </a:extLst>
          </p:cNvPr>
          <p:cNvSpPr txBox="1"/>
          <p:nvPr/>
        </p:nvSpPr>
        <p:spPr>
          <a:xfrm>
            <a:off x="7921209" y="5267559"/>
            <a:ext cx="3780943" cy="1308050"/>
          </a:xfrm>
          <a:prstGeom prst="rect">
            <a:avLst/>
          </a:prstGeom>
          <a:noFill/>
        </p:spPr>
        <p:txBody>
          <a:bodyPr wrap="square" lIns="0" tIns="0" rIns="0" bIns="0" rtlCol="0">
            <a:spAutoFit/>
          </a:bodyPr>
          <a:lstStyle/>
          <a:p>
            <a:pPr marL="285750" indent="-285750">
              <a:spcBef>
                <a:spcPts val="0"/>
              </a:spcBef>
              <a:spcAft>
                <a:spcPts val="600"/>
              </a:spcAft>
              <a:buSzPct val="100000"/>
              <a:buFont typeface="+mj-lt"/>
              <a:buAutoNum type="romanLcPeriod"/>
            </a:pPr>
            <a:r>
              <a:rPr lang="en-GB" sz="1000" b="1">
                <a:latin typeface="Open Sans"/>
                <a:ea typeface="Open Sans"/>
                <a:cs typeface="Open Sans"/>
              </a:rPr>
              <a:t>Translate strategy </a:t>
            </a:r>
            <a:r>
              <a:rPr lang="en-GB" sz="1000">
                <a:latin typeface="Open Sans"/>
                <a:ea typeface="Open Sans"/>
                <a:cs typeface="Open Sans"/>
              </a:rPr>
              <a:t>into an </a:t>
            </a:r>
            <a:r>
              <a:rPr lang="en-GB" sz="1000" b="1">
                <a:latin typeface="Open Sans"/>
                <a:ea typeface="Open Sans"/>
                <a:cs typeface="Open Sans"/>
              </a:rPr>
              <a:t>actionable financial plan</a:t>
            </a:r>
          </a:p>
          <a:p>
            <a:pPr marL="285750" indent="-285750">
              <a:spcBef>
                <a:spcPts val="0"/>
              </a:spcBef>
              <a:spcAft>
                <a:spcPts val="600"/>
              </a:spcAft>
              <a:buSzPct val="100000"/>
              <a:buFont typeface="+mj-lt"/>
              <a:buAutoNum type="romanLcPeriod"/>
            </a:pPr>
            <a:r>
              <a:rPr lang="en-GB" sz="1000" b="1">
                <a:latin typeface="Open Sans"/>
                <a:ea typeface="Open Sans"/>
                <a:cs typeface="Open Sans"/>
              </a:rPr>
              <a:t>Assign accountabilities</a:t>
            </a:r>
            <a:r>
              <a:rPr lang="en-GB" sz="1000">
                <a:latin typeface="Open Sans"/>
                <a:ea typeface="Open Sans"/>
                <a:cs typeface="Open Sans"/>
              </a:rPr>
              <a:t>, strategic </a:t>
            </a:r>
            <a:r>
              <a:rPr lang="en-GB" sz="1000" b="1">
                <a:latin typeface="Open Sans"/>
                <a:ea typeface="Open Sans"/>
                <a:cs typeface="Open Sans"/>
              </a:rPr>
              <a:t>initiatives</a:t>
            </a:r>
            <a:r>
              <a:rPr lang="en-GB" sz="1000">
                <a:latin typeface="Open Sans"/>
                <a:ea typeface="Open Sans"/>
                <a:cs typeface="Open Sans"/>
              </a:rPr>
              <a:t> and financial performance </a:t>
            </a:r>
            <a:r>
              <a:rPr lang="en-GB" sz="1000" b="1">
                <a:latin typeface="Open Sans"/>
                <a:ea typeface="Open Sans"/>
                <a:cs typeface="Open Sans"/>
              </a:rPr>
              <a:t>targets</a:t>
            </a:r>
            <a:r>
              <a:rPr lang="en-GB" sz="1000">
                <a:latin typeface="Open Sans"/>
                <a:ea typeface="Open Sans"/>
                <a:cs typeface="Open Sans"/>
              </a:rPr>
              <a:t> to business areas</a:t>
            </a:r>
          </a:p>
          <a:p>
            <a:pPr marL="285750" indent="-285750">
              <a:spcBef>
                <a:spcPts val="0"/>
              </a:spcBef>
              <a:spcAft>
                <a:spcPts val="600"/>
              </a:spcAft>
              <a:buSzPct val="100000"/>
              <a:buFont typeface="+mj-lt"/>
              <a:buAutoNum type="romanLcPeriod"/>
            </a:pPr>
            <a:r>
              <a:rPr lang="en-GB" sz="1000" b="1">
                <a:latin typeface="Open Sans"/>
                <a:ea typeface="Open Sans"/>
                <a:cs typeface="Open Sans"/>
              </a:rPr>
              <a:t>Set employee </a:t>
            </a:r>
            <a:r>
              <a:rPr lang="en-GB" sz="1000">
                <a:latin typeface="Open Sans"/>
                <a:ea typeface="Open Sans"/>
                <a:cs typeface="Open Sans"/>
              </a:rPr>
              <a:t>/ </a:t>
            </a:r>
            <a:r>
              <a:rPr lang="en-GB" sz="1000" b="1">
                <a:latin typeface="Open Sans"/>
                <a:ea typeface="Open Sans"/>
                <a:cs typeface="Open Sans"/>
              </a:rPr>
              <a:t>ExCo reward targets </a:t>
            </a:r>
            <a:r>
              <a:rPr lang="en-GB" sz="1000">
                <a:latin typeface="Open Sans"/>
                <a:ea typeface="Open Sans"/>
                <a:cs typeface="Open Sans"/>
              </a:rPr>
              <a:t>(e.g. based on projected profitability) </a:t>
            </a:r>
          </a:p>
          <a:p>
            <a:pPr marL="285750" indent="-285750">
              <a:spcBef>
                <a:spcPts val="0"/>
              </a:spcBef>
              <a:spcAft>
                <a:spcPts val="600"/>
              </a:spcAft>
              <a:buSzPct val="100000"/>
              <a:buFont typeface="+mj-lt"/>
              <a:buAutoNum type="romanLcPeriod"/>
            </a:pPr>
            <a:r>
              <a:rPr lang="en-GB" sz="1000" b="1">
                <a:latin typeface="Open Sans"/>
                <a:ea typeface="Open Sans"/>
                <a:cs typeface="Open Sans"/>
              </a:rPr>
              <a:t>Refresh performance drivers</a:t>
            </a:r>
            <a:r>
              <a:rPr lang="en-GB" sz="1000">
                <a:latin typeface="Open Sans"/>
                <a:ea typeface="Open Sans"/>
                <a:cs typeface="Open Sans"/>
              </a:rPr>
              <a:t> / KPIs, aligned to strategic objectives set </a:t>
            </a:r>
          </a:p>
        </p:txBody>
      </p:sp>
      <p:sp>
        <p:nvSpPr>
          <p:cNvPr id="59" name="Rounded Rectangle 36">
            <a:extLst>
              <a:ext uri="{FF2B5EF4-FFF2-40B4-BE49-F238E27FC236}">
                <a16:creationId xmlns:a16="http://schemas.microsoft.com/office/drawing/2014/main" id="{978E7701-6291-F003-86D7-D990A304B903}"/>
              </a:ext>
            </a:extLst>
          </p:cNvPr>
          <p:cNvSpPr/>
          <p:nvPr/>
        </p:nvSpPr>
        <p:spPr bwMode="gray">
          <a:xfrm>
            <a:off x="1667299" y="3369606"/>
            <a:ext cx="1353882" cy="236278"/>
          </a:xfrm>
          <a:prstGeom prst="round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61" name="TextBox 60">
            <a:extLst>
              <a:ext uri="{FF2B5EF4-FFF2-40B4-BE49-F238E27FC236}">
                <a16:creationId xmlns:a16="http://schemas.microsoft.com/office/drawing/2014/main" id="{8DA359F0-B0F7-7795-706A-E12714EAB97F}"/>
              </a:ext>
            </a:extLst>
          </p:cNvPr>
          <p:cNvSpPr txBox="1"/>
          <p:nvPr/>
        </p:nvSpPr>
        <p:spPr>
          <a:xfrm>
            <a:off x="513076" y="3690182"/>
            <a:ext cx="3648609" cy="1231106"/>
          </a:xfrm>
          <a:prstGeom prst="rect">
            <a:avLst/>
          </a:prstGeom>
          <a:noFill/>
        </p:spPr>
        <p:txBody>
          <a:bodyPr wrap="square" lIns="0" tIns="0" rIns="0" bIns="0" rtlCol="0">
            <a:spAutoFit/>
          </a:bodyPr>
          <a:lstStyle/>
          <a:p>
            <a:pPr>
              <a:spcBef>
                <a:spcPts val="0"/>
              </a:spcBef>
              <a:spcAft>
                <a:spcPts val="1200"/>
              </a:spcAft>
              <a:buSzPct val="100000"/>
            </a:pPr>
            <a:r>
              <a:rPr lang="en-GB" sz="1000" noProof="0">
                <a:latin typeface="Open Sans"/>
                <a:ea typeface="Open Sans"/>
                <a:cs typeface="Open Sans"/>
              </a:rPr>
              <a:t>To </a:t>
            </a:r>
            <a:r>
              <a:rPr lang="en-GB" sz="1000">
                <a:latin typeface="Open Sans"/>
                <a:ea typeface="Open Sans"/>
                <a:cs typeface="Open Sans"/>
              </a:rPr>
              <a:t>provide a </a:t>
            </a:r>
            <a:r>
              <a:rPr lang="en-GB" sz="1000" b="1">
                <a:latin typeface="Open Sans"/>
                <a:ea typeface="Open Sans"/>
                <a:cs typeface="Open Sans"/>
              </a:rPr>
              <a:t>short &amp; sharp refreshed financial outlook </a:t>
            </a:r>
            <a:r>
              <a:rPr lang="en-GB" sz="1000">
                <a:latin typeface="Open Sans"/>
                <a:ea typeface="Open Sans"/>
                <a:cs typeface="Open Sans"/>
              </a:rPr>
              <a:t>- based on changes in the external environment. To present an updated view of financial performance - tracking against the Budget / targets.  </a:t>
            </a:r>
          </a:p>
          <a:p>
            <a:pPr>
              <a:spcBef>
                <a:spcPts val="0"/>
              </a:spcBef>
              <a:spcAft>
                <a:spcPts val="1200"/>
              </a:spcAft>
              <a:buSzPct val="100000"/>
            </a:pPr>
            <a:r>
              <a:rPr lang="en-GB" sz="1000">
                <a:latin typeface="Open Sans"/>
                <a:ea typeface="Open Sans"/>
                <a:cs typeface="Open Sans"/>
              </a:rPr>
              <a:t>To provide </a:t>
            </a:r>
            <a:r>
              <a:rPr lang="en-GB" sz="1000" b="1">
                <a:latin typeface="Open Sans"/>
                <a:ea typeface="Open Sans"/>
                <a:cs typeface="Open Sans"/>
              </a:rPr>
              <a:t>updated data</a:t>
            </a:r>
            <a:r>
              <a:rPr lang="en-GB" sz="1000">
                <a:latin typeface="Open Sans"/>
                <a:ea typeface="Open Sans"/>
                <a:cs typeface="Open Sans"/>
              </a:rPr>
              <a:t> for management to make </a:t>
            </a:r>
            <a:r>
              <a:rPr lang="en-GB" sz="1000" b="1">
                <a:latin typeface="Open Sans"/>
                <a:ea typeface="Open Sans"/>
                <a:cs typeface="Open Sans"/>
              </a:rPr>
              <a:t>timely decisions </a:t>
            </a:r>
            <a:r>
              <a:rPr lang="en-GB" sz="1000">
                <a:latin typeface="Open Sans"/>
                <a:ea typeface="Open Sans"/>
                <a:cs typeface="Open Sans"/>
              </a:rPr>
              <a:t>and identify risks / opportunities in the market, allowing the business to pivot if required. </a:t>
            </a:r>
            <a:endParaRPr lang="en-GB" sz="1000" noProof="0">
              <a:latin typeface="Open Sans"/>
              <a:ea typeface="Open Sans"/>
              <a:cs typeface="Open Sans"/>
            </a:endParaRPr>
          </a:p>
        </p:txBody>
      </p:sp>
      <p:sp>
        <p:nvSpPr>
          <p:cNvPr id="63" name="TextBox 62">
            <a:extLst>
              <a:ext uri="{FF2B5EF4-FFF2-40B4-BE49-F238E27FC236}">
                <a16:creationId xmlns:a16="http://schemas.microsoft.com/office/drawing/2014/main" id="{AE52D1BE-D7CB-D89F-752D-E92FF1456DE9}"/>
              </a:ext>
            </a:extLst>
          </p:cNvPr>
          <p:cNvSpPr txBox="1"/>
          <p:nvPr/>
        </p:nvSpPr>
        <p:spPr>
          <a:xfrm>
            <a:off x="2006520" y="3406954"/>
            <a:ext cx="675441" cy="161583"/>
          </a:xfrm>
          <a:prstGeom prst="rect">
            <a:avLst/>
          </a:prstGeom>
          <a:noFill/>
        </p:spPr>
        <p:txBody>
          <a:bodyPr wrap="square" lIns="0" tIns="0" rIns="0" bIns="0" rtlCol="0">
            <a:spAutoFit/>
          </a:bodyPr>
          <a:lstStyle/>
          <a:p>
            <a:pPr algn="ctr">
              <a:spcBef>
                <a:spcPts val="0"/>
              </a:spcBef>
              <a:spcAft>
                <a:spcPts val="1333"/>
              </a:spcAft>
              <a:buSzPct val="100000"/>
            </a:pPr>
            <a:r>
              <a:rPr lang="en-GB" sz="1050" b="1" dirty="0">
                <a:latin typeface="Open Sans"/>
                <a:ea typeface="Open Sans"/>
                <a:cs typeface="Open Sans"/>
              </a:rPr>
              <a:t>Purpose</a:t>
            </a:r>
            <a:endParaRPr lang="en-GB" sz="1050" b="1" noProof="0" dirty="0">
              <a:latin typeface="Open Sans"/>
              <a:ea typeface="Open Sans"/>
              <a:cs typeface="Open Sans"/>
            </a:endParaRPr>
          </a:p>
        </p:txBody>
      </p:sp>
      <p:cxnSp>
        <p:nvCxnSpPr>
          <p:cNvPr id="65" name="Straight Connector 64">
            <a:extLst>
              <a:ext uri="{FF2B5EF4-FFF2-40B4-BE49-F238E27FC236}">
                <a16:creationId xmlns:a16="http://schemas.microsoft.com/office/drawing/2014/main" id="{2519C847-99D2-986C-AD23-8214FA481410}"/>
              </a:ext>
            </a:extLst>
          </p:cNvPr>
          <p:cNvCxnSpPr/>
          <p:nvPr/>
        </p:nvCxnSpPr>
        <p:spPr>
          <a:xfrm>
            <a:off x="448027" y="5083623"/>
            <a:ext cx="3708000" cy="0"/>
          </a:xfrm>
          <a:prstGeom prst="lin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67" name="Rounded Rectangle 42">
            <a:extLst>
              <a:ext uri="{FF2B5EF4-FFF2-40B4-BE49-F238E27FC236}">
                <a16:creationId xmlns:a16="http://schemas.microsoft.com/office/drawing/2014/main" id="{5BAD3A1C-947E-732D-F04B-77583C1B8D11}"/>
              </a:ext>
            </a:extLst>
          </p:cNvPr>
          <p:cNvSpPr/>
          <p:nvPr/>
        </p:nvSpPr>
        <p:spPr bwMode="gray">
          <a:xfrm>
            <a:off x="1625632" y="4990239"/>
            <a:ext cx="1353882" cy="236278"/>
          </a:xfrm>
          <a:prstGeom prst="round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00" b="1" noProof="0">
              <a:latin typeface="Open Sans"/>
              <a:ea typeface="Open Sans"/>
              <a:cs typeface="Open Sans"/>
            </a:endParaRPr>
          </a:p>
        </p:txBody>
      </p:sp>
      <p:sp>
        <p:nvSpPr>
          <p:cNvPr id="69" name="TextBox 68">
            <a:extLst>
              <a:ext uri="{FF2B5EF4-FFF2-40B4-BE49-F238E27FC236}">
                <a16:creationId xmlns:a16="http://schemas.microsoft.com/office/drawing/2014/main" id="{AB3C8C2A-2584-CCE3-7D65-0EAEF44BF340}"/>
              </a:ext>
            </a:extLst>
          </p:cNvPr>
          <p:cNvSpPr txBox="1"/>
          <p:nvPr/>
        </p:nvSpPr>
        <p:spPr>
          <a:xfrm>
            <a:off x="448027" y="5311850"/>
            <a:ext cx="3648609" cy="1231106"/>
          </a:xfrm>
          <a:prstGeom prst="rect">
            <a:avLst/>
          </a:prstGeom>
          <a:noFill/>
        </p:spPr>
        <p:txBody>
          <a:bodyPr wrap="square" lIns="0" tIns="0" rIns="0" bIns="0" rtlCol="0">
            <a:spAutoFit/>
          </a:bodyPr>
          <a:lstStyle/>
          <a:p>
            <a:pPr marL="285750" indent="-285750">
              <a:spcBef>
                <a:spcPts val="0"/>
              </a:spcBef>
              <a:spcAft>
                <a:spcPts val="600"/>
              </a:spcAft>
              <a:buSzPct val="100000"/>
              <a:buFont typeface="+mj-lt"/>
              <a:buAutoNum type="romanLcPeriod"/>
            </a:pPr>
            <a:r>
              <a:rPr lang="en-GB" sz="1000" b="1">
                <a:latin typeface="Open Sans"/>
                <a:ea typeface="Open Sans"/>
                <a:cs typeface="Open Sans"/>
              </a:rPr>
              <a:t>Enable dynamic decision making </a:t>
            </a:r>
            <a:r>
              <a:rPr lang="en-GB" sz="1000">
                <a:latin typeface="Open Sans"/>
                <a:ea typeface="Open Sans"/>
                <a:cs typeface="Open Sans"/>
              </a:rPr>
              <a:t>to deliver on financial targets</a:t>
            </a:r>
          </a:p>
          <a:p>
            <a:pPr marL="285750" indent="-285750">
              <a:spcBef>
                <a:spcPts val="0"/>
              </a:spcBef>
              <a:spcAft>
                <a:spcPts val="600"/>
              </a:spcAft>
              <a:buSzPct val="100000"/>
              <a:buFont typeface="+mj-lt"/>
              <a:buAutoNum type="romanLcPeriod"/>
            </a:pPr>
            <a:r>
              <a:rPr lang="en-GB" sz="1000" b="1">
                <a:latin typeface="Open Sans"/>
                <a:ea typeface="Open Sans"/>
                <a:cs typeface="Open Sans"/>
              </a:rPr>
              <a:t>Project expected financial outturn </a:t>
            </a:r>
            <a:r>
              <a:rPr lang="en-GB" sz="1000">
                <a:latin typeface="Open Sans"/>
                <a:ea typeface="Open Sans"/>
                <a:cs typeface="Open Sans"/>
              </a:rPr>
              <a:t>of the business for external stakeholders (e.g. stock market)</a:t>
            </a:r>
          </a:p>
          <a:p>
            <a:pPr marL="285750" indent="-285750">
              <a:spcBef>
                <a:spcPts val="0"/>
              </a:spcBef>
              <a:spcAft>
                <a:spcPts val="600"/>
              </a:spcAft>
              <a:buSzPct val="100000"/>
              <a:buFont typeface="+mj-lt"/>
              <a:buAutoNum type="romanLcPeriod"/>
            </a:pPr>
            <a:r>
              <a:rPr lang="en-GB" sz="1000" b="1">
                <a:latin typeface="Open Sans"/>
                <a:ea typeface="Open Sans"/>
                <a:cs typeface="Open Sans"/>
              </a:rPr>
              <a:t>Forecast changes </a:t>
            </a:r>
            <a:r>
              <a:rPr lang="en-GB" sz="1000">
                <a:latin typeface="Open Sans"/>
                <a:ea typeface="Open Sans"/>
                <a:cs typeface="Open Sans"/>
              </a:rPr>
              <a:t>required to e.g. </a:t>
            </a:r>
            <a:r>
              <a:rPr lang="en-GB" sz="1000" b="1">
                <a:latin typeface="Open Sans"/>
                <a:ea typeface="Open Sans"/>
                <a:cs typeface="Open Sans"/>
              </a:rPr>
              <a:t>resource allocation</a:t>
            </a:r>
            <a:r>
              <a:rPr lang="en-GB" sz="1000">
                <a:latin typeface="Open Sans"/>
                <a:ea typeface="Open Sans"/>
                <a:cs typeface="Open Sans"/>
              </a:rPr>
              <a:t> to increase upside of new opportunities / limit downside of emerging risks </a:t>
            </a:r>
          </a:p>
        </p:txBody>
      </p:sp>
      <p:sp>
        <p:nvSpPr>
          <p:cNvPr id="71" name="TextBox 70">
            <a:extLst>
              <a:ext uri="{FF2B5EF4-FFF2-40B4-BE49-F238E27FC236}">
                <a16:creationId xmlns:a16="http://schemas.microsoft.com/office/drawing/2014/main" id="{8E37386F-B49B-FF63-3FAA-9505BA89EA02}"/>
              </a:ext>
            </a:extLst>
          </p:cNvPr>
          <p:cNvSpPr txBox="1"/>
          <p:nvPr/>
        </p:nvSpPr>
        <p:spPr>
          <a:xfrm>
            <a:off x="1846368" y="5027587"/>
            <a:ext cx="912410" cy="161583"/>
          </a:xfrm>
          <a:prstGeom prst="rect">
            <a:avLst/>
          </a:prstGeom>
          <a:noFill/>
        </p:spPr>
        <p:txBody>
          <a:bodyPr wrap="square" lIns="0" tIns="0" rIns="0" bIns="0" rtlCol="0">
            <a:spAutoFit/>
          </a:bodyPr>
          <a:lstStyle/>
          <a:p>
            <a:pPr algn="ctr">
              <a:spcBef>
                <a:spcPts val="0"/>
              </a:spcBef>
              <a:spcAft>
                <a:spcPts val="1333"/>
              </a:spcAft>
              <a:buSzPct val="100000"/>
            </a:pPr>
            <a:r>
              <a:rPr lang="en-GB" sz="1050" b="1" dirty="0">
                <a:latin typeface="Open Sans"/>
                <a:ea typeface="Open Sans"/>
                <a:cs typeface="Open Sans"/>
              </a:rPr>
              <a:t>Use cases</a:t>
            </a:r>
            <a:endParaRPr lang="en-GB" sz="1050" b="1" noProof="0" dirty="0">
              <a:latin typeface="Open Sans"/>
              <a:ea typeface="Open Sans"/>
              <a:cs typeface="Open Sans"/>
            </a:endParaRPr>
          </a:p>
        </p:txBody>
      </p:sp>
      <p:sp>
        <p:nvSpPr>
          <p:cNvPr id="73" name="Circular Arrow 16">
            <a:extLst>
              <a:ext uri="{FF2B5EF4-FFF2-40B4-BE49-F238E27FC236}">
                <a16:creationId xmlns:a16="http://schemas.microsoft.com/office/drawing/2014/main" id="{3E1CB6FB-3F31-5A86-3430-B76685A58622}"/>
              </a:ext>
            </a:extLst>
          </p:cNvPr>
          <p:cNvSpPr/>
          <p:nvPr/>
        </p:nvSpPr>
        <p:spPr bwMode="gray">
          <a:xfrm rot="2725804">
            <a:off x="9998445" y="2063556"/>
            <a:ext cx="1110264" cy="962526"/>
          </a:xfrm>
          <a:prstGeom prst="circularArrow">
            <a:avLst>
              <a:gd name="adj1" fmla="val 12500"/>
              <a:gd name="adj2" fmla="val 1142319"/>
              <a:gd name="adj3" fmla="val 20457681"/>
              <a:gd name="adj4" fmla="val 12125944"/>
              <a:gd name="adj5" fmla="val 12500"/>
            </a:avLst>
          </a:prstGeom>
          <a:solidFill>
            <a:schemeClr val="bg2">
              <a:lumMod val="20000"/>
              <a:lumOff val="80000"/>
            </a:schemeClr>
          </a:solidFill>
          <a:ln w="19050" algn="ctr">
            <a:solidFill>
              <a:schemeClr val="bg1">
                <a:lumMod val="75000"/>
              </a:schemeClr>
            </a:solid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600" b="1" noProof="0">
              <a:latin typeface="Open Sans"/>
              <a:ea typeface="Open Sans"/>
              <a:cs typeface="Open Sans"/>
            </a:endParaRPr>
          </a:p>
        </p:txBody>
      </p:sp>
      <p:sp>
        <p:nvSpPr>
          <p:cNvPr id="75" name="Circular Arrow 47">
            <a:extLst>
              <a:ext uri="{FF2B5EF4-FFF2-40B4-BE49-F238E27FC236}">
                <a16:creationId xmlns:a16="http://schemas.microsoft.com/office/drawing/2014/main" id="{5A3342A7-8021-4032-20DA-9E7593A1BB36}"/>
              </a:ext>
            </a:extLst>
          </p:cNvPr>
          <p:cNvSpPr/>
          <p:nvPr/>
        </p:nvSpPr>
        <p:spPr bwMode="gray">
          <a:xfrm rot="11032657">
            <a:off x="5508641" y="5756653"/>
            <a:ext cx="1110264" cy="962526"/>
          </a:xfrm>
          <a:prstGeom prst="circularArrow">
            <a:avLst>
              <a:gd name="adj1" fmla="val 12500"/>
              <a:gd name="adj2" fmla="val 808496"/>
              <a:gd name="adj3" fmla="val 20457681"/>
              <a:gd name="adj4" fmla="val 10842656"/>
              <a:gd name="adj5" fmla="val 12500"/>
            </a:avLst>
          </a:prstGeom>
          <a:solidFill>
            <a:schemeClr val="bg1"/>
          </a:solidFill>
          <a:ln w="19050" algn="ctr">
            <a:solidFill>
              <a:schemeClr val="bg1">
                <a:lumMod val="75000"/>
              </a:schemeClr>
            </a:solid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600" b="1">
              <a:latin typeface="Open Sans"/>
              <a:ea typeface="Open Sans"/>
              <a:cs typeface="Open Sans"/>
            </a:endParaRPr>
          </a:p>
        </p:txBody>
      </p:sp>
      <p:sp>
        <p:nvSpPr>
          <p:cNvPr id="77" name="TextBox 76">
            <a:extLst>
              <a:ext uri="{FF2B5EF4-FFF2-40B4-BE49-F238E27FC236}">
                <a16:creationId xmlns:a16="http://schemas.microsoft.com/office/drawing/2014/main" id="{68AFE49E-3442-6F62-DFD7-4BFF311604AC}"/>
              </a:ext>
            </a:extLst>
          </p:cNvPr>
          <p:cNvSpPr txBox="1"/>
          <p:nvPr/>
        </p:nvSpPr>
        <p:spPr>
          <a:xfrm>
            <a:off x="11056157" y="2108460"/>
            <a:ext cx="949743" cy="738664"/>
          </a:xfrm>
          <a:prstGeom prst="rect">
            <a:avLst/>
          </a:prstGeom>
          <a:noFill/>
          <a:effectLst>
            <a:outerShdw blurRad="50800" dist="38100" dir="5400000" algn="t" rotWithShape="0">
              <a:prstClr val="black">
                <a:alpha val="40000"/>
              </a:prstClr>
            </a:outerShdw>
          </a:effectLst>
        </p:spPr>
        <p:txBody>
          <a:bodyPr wrap="square" lIns="0" tIns="0" rIns="0" bIns="0" rtlCol="0">
            <a:spAutoFit/>
          </a:bodyPr>
          <a:lstStyle/>
          <a:p>
            <a:pPr algn="ctr">
              <a:spcBef>
                <a:spcPts val="0"/>
              </a:spcBef>
              <a:spcAft>
                <a:spcPts val="1333"/>
              </a:spcAft>
              <a:buSzPct val="100000"/>
            </a:pPr>
            <a:r>
              <a:rPr lang="en-GB" sz="1200" b="1" noProof="0">
                <a:latin typeface="Open Sans"/>
                <a:ea typeface="Open Sans"/>
                <a:cs typeface="Open Sans"/>
              </a:rPr>
              <a:t>Annual Financial Target</a:t>
            </a:r>
            <a:br>
              <a:rPr lang="en-GB" sz="1200" b="1" noProof="0">
                <a:latin typeface="Open Sans"/>
                <a:ea typeface="Open Sans"/>
                <a:cs typeface="Open Sans"/>
              </a:rPr>
            </a:br>
            <a:r>
              <a:rPr lang="en-GB" sz="1200" b="1" noProof="0">
                <a:latin typeface="Open Sans"/>
                <a:ea typeface="Open Sans"/>
                <a:cs typeface="Open Sans"/>
              </a:rPr>
              <a:t>Setting</a:t>
            </a:r>
          </a:p>
        </p:txBody>
      </p:sp>
      <p:sp>
        <p:nvSpPr>
          <p:cNvPr id="79" name="Circular Arrow 49">
            <a:extLst>
              <a:ext uri="{FF2B5EF4-FFF2-40B4-BE49-F238E27FC236}">
                <a16:creationId xmlns:a16="http://schemas.microsoft.com/office/drawing/2014/main" id="{18835D8D-DA90-C60A-23E1-3D66F5344B1E}"/>
              </a:ext>
            </a:extLst>
          </p:cNvPr>
          <p:cNvSpPr/>
          <p:nvPr/>
        </p:nvSpPr>
        <p:spPr bwMode="gray">
          <a:xfrm rot="17320394">
            <a:off x="1073201" y="2094571"/>
            <a:ext cx="1110264" cy="962526"/>
          </a:xfrm>
          <a:prstGeom prst="circularArrow">
            <a:avLst>
              <a:gd name="adj1" fmla="val 12500"/>
              <a:gd name="adj2" fmla="val 1142319"/>
              <a:gd name="adj3" fmla="val 20457681"/>
              <a:gd name="adj4" fmla="val 12125944"/>
              <a:gd name="adj5" fmla="val 12500"/>
            </a:avLst>
          </a:prstGeom>
          <a:solidFill>
            <a:schemeClr val="bg2">
              <a:lumMod val="20000"/>
              <a:lumOff val="80000"/>
            </a:schemeClr>
          </a:solidFill>
          <a:ln w="19050" algn="ctr">
            <a:solidFill>
              <a:schemeClr val="tx2"/>
            </a:solid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600" b="1">
              <a:latin typeface="Open Sans"/>
              <a:ea typeface="Open Sans"/>
              <a:cs typeface="Open Sans"/>
            </a:endParaRPr>
          </a:p>
        </p:txBody>
      </p:sp>
      <p:sp>
        <p:nvSpPr>
          <p:cNvPr id="81" name="TextBox 80">
            <a:extLst>
              <a:ext uri="{FF2B5EF4-FFF2-40B4-BE49-F238E27FC236}">
                <a16:creationId xmlns:a16="http://schemas.microsoft.com/office/drawing/2014/main" id="{E51F1FEE-92E9-C944-050D-1A32520353AE}"/>
              </a:ext>
            </a:extLst>
          </p:cNvPr>
          <p:cNvSpPr txBox="1"/>
          <p:nvPr/>
        </p:nvSpPr>
        <p:spPr>
          <a:xfrm>
            <a:off x="229026" y="2206502"/>
            <a:ext cx="949743" cy="738664"/>
          </a:xfrm>
          <a:prstGeom prst="rect">
            <a:avLst/>
          </a:prstGeom>
          <a:noFill/>
          <a:effectLst>
            <a:outerShdw blurRad="50800" dist="38100" dir="5400000" algn="t" rotWithShape="0">
              <a:prstClr val="black">
                <a:alpha val="40000"/>
              </a:prstClr>
            </a:outerShdw>
          </a:effectLst>
        </p:spPr>
        <p:txBody>
          <a:bodyPr wrap="square" lIns="0" tIns="0" rIns="0" bIns="0" rtlCol="0">
            <a:spAutoFit/>
          </a:bodyPr>
          <a:lstStyle/>
          <a:p>
            <a:pPr algn="ctr">
              <a:spcBef>
                <a:spcPts val="0"/>
              </a:spcBef>
              <a:spcAft>
                <a:spcPts val="1333"/>
              </a:spcAft>
              <a:buSzPct val="100000"/>
            </a:pPr>
            <a:r>
              <a:rPr lang="en-GB" sz="1200" b="1" noProof="0" dirty="0">
                <a:latin typeface="Open Sans"/>
                <a:ea typeface="Open Sans"/>
                <a:cs typeface="Open Sans"/>
              </a:rPr>
              <a:t>Strategy &amp; Long-Term </a:t>
            </a:r>
            <a:r>
              <a:rPr lang="en-GB" sz="1200" b="1" dirty="0">
                <a:latin typeface="Open Sans"/>
                <a:ea typeface="Open Sans"/>
                <a:cs typeface="Open Sans"/>
              </a:rPr>
              <a:t>T</a:t>
            </a:r>
            <a:r>
              <a:rPr lang="en-GB" sz="1200" b="1" noProof="0" dirty="0" err="1">
                <a:latin typeface="Open Sans"/>
                <a:ea typeface="Open Sans"/>
                <a:cs typeface="Open Sans"/>
              </a:rPr>
              <a:t>arget</a:t>
            </a:r>
            <a:br>
              <a:rPr lang="en-GB" sz="1200" b="1" dirty="0">
                <a:latin typeface="Open Sans"/>
                <a:ea typeface="Open Sans"/>
                <a:cs typeface="Open Sans"/>
              </a:rPr>
            </a:br>
            <a:r>
              <a:rPr lang="en-GB" sz="1200" b="1" dirty="0">
                <a:latin typeface="Open Sans"/>
                <a:ea typeface="Open Sans"/>
                <a:cs typeface="Open Sans"/>
              </a:rPr>
              <a:t>Setting</a:t>
            </a:r>
            <a:endParaRPr lang="en-GB" sz="1200" b="1" noProof="0" dirty="0">
              <a:latin typeface="Open Sans"/>
              <a:ea typeface="Open Sans"/>
              <a:cs typeface="Open Sans"/>
            </a:endParaRPr>
          </a:p>
        </p:txBody>
      </p:sp>
      <p:sp>
        <p:nvSpPr>
          <p:cNvPr id="83" name="TextBox 82">
            <a:extLst>
              <a:ext uri="{FF2B5EF4-FFF2-40B4-BE49-F238E27FC236}">
                <a16:creationId xmlns:a16="http://schemas.microsoft.com/office/drawing/2014/main" id="{19D762E2-4FE9-A830-2633-D5B5B7D7F2C0}"/>
              </a:ext>
            </a:extLst>
          </p:cNvPr>
          <p:cNvSpPr txBox="1"/>
          <p:nvPr/>
        </p:nvSpPr>
        <p:spPr>
          <a:xfrm>
            <a:off x="4990449" y="6637421"/>
            <a:ext cx="2139315" cy="184666"/>
          </a:xfrm>
          <a:prstGeom prst="rect">
            <a:avLst/>
          </a:prstGeom>
          <a:noFill/>
          <a:effectLst>
            <a:outerShdw blurRad="50800" dist="38100" dir="5400000" algn="t" rotWithShape="0">
              <a:prstClr val="black">
                <a:alpha val="40000"/>
              </a:prstClr>
            </a:outerShdw>
          </a:effectLst>
        </p:spPr>
        <p:txBody>
          <a:bodyPr wrap="square" lIns="0" tIns="0" rIns="0" bIns="0" rtlCol="0">
            <a:spAutoFit/>
          </a:bodyPr>
          <a:lstStyle/>
          <a:p>
            <a:pPr algn="ctr">
              <a:spcBef>
                <a:spcPts val="0"/>
              </a:spcBef>
              <a:spcAft>
                <a:spcPts val="1333"/>
              </a:spcAft>
              <a:buSzPct val="100000"/>
            </a:pPr>
            <a:r>
              <a:rPr lang="en-GB" sz="1200" b="1">
                <a:latin typeface="Open Sans"/>
                <a:ea typeface="Open Sans"/>
                <a:cs typeface="Open Sans"/>
              </a:rPr>
              <a:t>Refresh Outlook</a:t>
            </a:r>
            <a:endParaRPr lang="en-GB" sz="1200" b="1" noProof="0">
              <a:latin typeface="Open Sans"/>
              <a:ea typeface="Open Sans"/>
              <a:cs typeface="Open Sans"/>
            </a:endParaRPr>
          </a:p>
        </p:txBody>
      </p:sp>
      <p:sp>
        <p:nvSpPr>
          <p:cNvPr id="6" name="Text Placeholder 5">
            <a:extLst>
              <a:ext uri="{FF2B5EF4-FFF2-40B4-BE49-F238E27FC236}">
                <a16:creationId xmlns:a16="http://schemas.microsoft.com/office/drawing/2014/main" id="{C22A6FD1-0310-FC04-E4E6-1BA575894081}"/>
              </a:ext>
            </a:extLst>
          </p:cNvPr>
          <p:cNvSpPr>
            <a:spLocks noGrp="1"/>
          </p:cNvSpPr>
          <p:nvPr>
            <p:ph type="body" sz="quarter" idx="22"/>
          </p:nvPr>
        </p:nvSpPr>
        <p:spPr/>
        <p:txBody>
          <a:bodyPr vert="horz" lIns="0" tIns="0" rIns="0" bIns="0" rtlCol="0" anchor="t">
            <a:noAutofit/>
          </a:bodyPr>
          <a:lstStyle/>
          <a:p>
            <a:r>
              <a:rPr lang="en-US" dirty="0">
                <a:latin typeface="Open Sans"/>
                <a:ea typeface="Open Sans"/>
                <a:cs typeface="Open Sans"/>
              </a:rPr>
              <a:t>Planning, </a:t>
            </a:r>
            <a:r>
              <a:rPr lang="en-US">
                <a:latin typeface="Open Sans"/>
                <a:ea typeface="Open Sans"/>
                <a:cs typeface="Open Sans"/>
              </a:rPr>
              <a:t>Budgeting</a:t>
            </a:r>
            <a:r>
              <a:rPr lang="en-US" dirty="0">
                <a:latin typeface="Open Sans"/>
                <a:ea typeface="Open Sans"/>
                <a:cs typeface="Open Sans"/>
              </a:rPr>
              <a:t> and Forecasting is a periodically recurring strategic activity for the organization</a:t>
            </a:r>
            <a:endParaRPr lang="en-US"/>
          </a:p>
        </p:txBody>
      </p:sp>
    </p:spTree>
    <p:extLst>
      <p:ext uri="{BB962C8B-B14F-4D97-AF65-F5344CB8AC3E}">
        <p14:creationId xmlns:p14="http://schemas.microsoft.com/office/powerpoint/2010/main" val="4092758487"/>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68C2BB-ED74-8F0F-752E-9FC98EC49128}"/>
              </a:ext>
            </a:extLst>
          </p:cNvPr>
          <p:cNvGraphicFramePr>
            <a:graphicFrameLocks noChangeAspect="1"/>
          </p:cNvGraphicFramePr>
          <p:nvPr>
            <p:custDataLst>
              <p:tags r:id="rId1"/>
            </p:custDataLst>
            <p:extLst>
              <p:ext uri="{D42A27DB-BD31-4B8C-83A1-F6EECF244321}">
                <p14:modId xmlns:p14="http://schemas.microsoft.com/office/powerpoint/2010/main" val="14247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5" name="think-cell data - do not delete" hidden="1">
                        <a:extLst>
                          <a:ext uri="{FF2B5EF4-FFF2-40B4-BE49-F238E27FC236}">
                            <a16:creationId xmlns:a16="http://schemas.microsoft.com/office/drawing/2014/main" id="{EC68C2BB-ED74-8F0F-752E-9FC98EC491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F42B936-7E14-9FB5-A4E6-252793C74236}"/>
              </a:ext>
            </a:extLst>
          </p:cNvPr>
          <p:cNvSpPr>
            <a:spLocks noGrp="1"/>
          </p:cNvSpPr>
          <p:nvPr>
            <p:ph type="body" sz="quarter" idx="22"/>
          </p:nvPr>
        </p:nvSpPr>
        <p:spPr/>
        <p:txBody>
          <a:bodyPr/>
          <a:lstStyle/>
          <a:p>
            <a:r>
              <a:rPr lang="en-US" dirty="0"/>
              <a:t>Using Deloitte`s framework can help contextualize Enterprise Performance Management maturity and target initiatives to move up the curve and deliver greater value</a:t>
            </a:r>
          </a:p>
        </p:txBody>
      </p:sp>
      <p:sp>
        <p:nvSpPr>
          <p:cNvPr id="3" name="Title 2">
            <a:extLst>
              <a:ext uri="{FF2B5EF4-FFF2-40B4-BE49-F238E27FC236}">
                <a16:creationId xmlns:a16="http://schemas.microsoft.com/office/drawing/2014/main" id="{351F6634-041E-AD57-868E-B4D93E2F085D}"/>
              </a:ext>
            </a:extLst>
          </p:cNvPr>
          <p:cNvSpPr>
            <a:spLocks noGrp="1"/>
          </p:cNvSpPr>
          <p:nvPr>
            <p:ph type="title"/>
          </p:nvPr>
        </p:nvSpPr>
        <p:spPr/>
        <p:txBody>
          <a:bodyPr vert="horz"/>
          <a:lstStyle/>
          <a:p>
            <a:r>
              <a:rPr lang="en-US" dirty="0">
                <a:latin typeface="Open Sans Light"/>
                <a:ea typeface="Open Sans Light"/>
                <a:cs typeface="Open Sans Light"/>
              </a:rPr>
              <a:t>Planning and forecasting maturity ladder</a:t>
            </a:r>
            <a:endParaRPr lang="en-GB" dirty="0">
              <a:latin typeface="Open Sans Light"/>
              <a:ea typeface="Open Sans Light"/>
              <a:cs typeface="Open Sans Light"/>
            </a:endParaRPr>
          </a:p>
        </p:txBody>
      </p:sp>
      <p:grpSp>
        <p:nvGrpSpPr>
          <p:cNvPr id="119" name="Group 118">
            <a:extLst>
              <a:ext uri="{FF2B5EF4-FFF2-40B4-BE49-F238E27FC236}">
                <a16:creationId xmlns:a16="http://schemas.microsoft.com/office/drawing/2014/main" id="{477FA89E-D820-5532-4ECD-BD4318E03FC6}"/>
              </a:ext>
            </a:extLst>
          </p:cNvPr>
          <p:cNvGrpSpPr/>
          <p:nvPr/>
        </p:nvGrpSpPr>
        <p:grpSpPr>
          <a:xfrm>
            <a:off x="734925" y="1877245"/>
            <a:ext cx="10722150" cy="4611701"/>
            <a:chOff x="753972" y="2030690"/>
            <a:chExt cx="10722150" cy="4611701"/>
          </a:xfrm>
        </p:grpSpPr>
        <p:grpSp>
          <p:nvGrpSpPr>
            <p:cNvPr id="21" name="Group 20">
              <a:extLst>
                <a:ext uri="{FF2B5EF4-FFF2-40B4-BE49-F238E27FC236}">
                  <a16:creationId xmlns:a16="http://schemas.microsoft.com/office/drawing/2014/main" id="{5D7E63DB-62B7-D275-BE0B-F85421B2C89C}"/>
                </a:ext>
              </a:extLst>
            </p:cNvPr>
            <p:cNvGrpSpPr/>
            <p:nvPr/>
          </p:nvGrpSpPr>
          <p:grpSpPr>
            <a:xfrm>
              <a:off x="753972" y="5640060"/>
              <a:ext cx="798095" cy="951983"/>
              <a:chOff x="982579" y="5305926"/>
              <a:chExt cx="798095" cy="951983"/>
            </a:xfrm>
          </p:grpSpPr>
          <p:pic>
            <p:nvPicPr>
              <p:cNvPr id="19" name="Graphic 18" descr="Syncing cloud outline">
                <a:extLst>
                  <a:ext uri="{FF2B5EF4-FFF2-40B4-BE49-F238E27FC236}">
                    <a16:creationId xmlns:a16="http://schemas.microsoft.com/office/drawing/2014/main" id="{077D23F6-D55C-95C0-91FE-E6C76CFC5B7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82579" y="5305926"/>
                <a:ext cx="774031" cy="774031"/>
              </a:xfrm>
              <a:prstGeom prst="rect">
                <a:avLst/>
              </a:prstGeom>
            </p:spPr>
          </p:pic>
          <p:sp>
            <p:nvSpPr>
              <p:cNvPr id="20" name="TextBox 19">
                <a:extLst>
                  <a:ext uri="{FF2B5EF4-FFF2-40B4-BE49-F238E27FC236}">
                    <a16:creationId xmlns:a16="http://schemas.microsoft.com/office/drawing/2014/main" id="{DD06C60D-5757-F1C3-1CCA-55FE2EA68C8F}"/>
                  </a:ext>
                </a:extLst>
              </p:cNvPr>
              <p:cNvSpPr txBox="1"/>
              <p:nvPr/>
            </p:nvSpPr>
            <p:spPr>
              <a:xfrm>
                <a:off x="1006643" y="5950132"/>
                <a:ext cx="774031" cy="307777"/>
              </a:xfrm>
              <a:prstGeom prst="rect">
                <a:avLst/>
              </a:prstGeom>
              <a:noFill/>
            </p:spPr>
            <p:txBody>
              <a:bodyPr wrap="square" lIns="0" tIns="0" rIns="0" bIns="0" rtlCol="0">
                <a:spAutoFit/>
              </a:bodyPr>
              <a:lstStyle/>
              <a:p>
                <a:pPr>
                  <a:spcBef>
                    <a:spcPts val="600"/>
                  </a:spcBef>
                  <a:buSzPct val="100000"/>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EPM Cloud platform</a:t>
                </a:r>
              </a:p>
            </p:txBody>
          </p:sp>
        </p:grpSp>
        <p:pic>
          <p:nvPicPr>
            <p:cNvPr id="22" name="Graphic 21" descr="Magnifying glass outline">
              <a:extLst>
                <a:ext uri="{FF2B5EF4-FFF2-40B4-BE49-F238E27FC236}">
                  <a16:creationId xmlns:a16="http://schemas.microsoft.com/office/drawing/2014/main" id="{DAB6148C-7D4C-042F-2374-74E330E9597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2752612" y="5342005"/>
              <a:ext cx="774031" cy="774031"/>
            </a:xfrm>
            <a:prstGeom prst="rect">
              <a:avLst/>
            </a:prstGeom>
          </p:spPr>
        </p:pic>
        <p:sp>
          <p:nvSpPr>
            <p:cNvPr id="23" name="TextBox 22">
              <a:extLst>
                <a:ext uri="{FF2B5EF4-FFF2-40B4-BE49-F238E27FC236}">
                  <a16:creationId xmlns:a16="http://schemas.microsoft.com/office/drawing/2014/main" id="{0448685B-FA49-5D4A-F213-8804523823F6}"/>
                </a:ext>
              </a:extLst>
            </p:cNvPr>
            <p:cNvSpPr txBox="1"/>
            <p:nvPr/>
          </p:nvSpPr>
          <p:spPr>
            <a:xfrm>
              <a:off x="2752612" y="6041328"/>
              <a:ext cx="1006643" cy="461665"/>
            </a:xfrm>
            <a:prstGeom prst="rect">
              <a:avLst/>
            </a:prstGeom>
            <a:noFill/>
          </p:spPr>
          <p:txBody>
            <a:bodyPr wrap="square" lIns="0" tIns="0" rIns="0" bIns="0" rtlCol="0">
              <a:spAutoFit/>
            </a:bodyPr>
            <a:lstStyle/>
            <a:p>
              <a:pPr>
                <a:spcBef>
                  <a:spcPts val="600"/>
                </a:spcBef>
                <a:buSzPct val="100000"/>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Process and data governance</a:t>
              </a:r>
            </a:p>
          </p:txBody>
        </p:sp>
        <p:pic>
          <p:nvPicPr>
            <p:cNvPr id="24" name="Graphic 23" descr="Puzzle outline">
              <a:extLst>
                <a:ext uri="{FF2B5EF4-FFF2-40B4-BE49-F238E27FC236}">
                  <a16:creationId xmlns:a16="http://schemas.microsoft.com/office/drawing/2014/main" id="{EA2FF9A0-B1BE-203C-2566-F33F75C224F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601460" y="5076658"/>
              <a:ext cx="774031" cy="774031"/>
            </a:xfrm>
            <a:prstGeom prst="rect">
              <a:avLst/>
            </a:prstGeom>
          </p:spPr>
        </p:pic>
        <p:sp>
          <p:nvSpPr>
            <p:cNvPr id="25" name="TextBox 24">
              <a:extLst>
                <a:ext uri="{FF2B5EF4-FFF2-40B4-BE49-F238E27FC236}">
                  <a16:creationId xmlns:a16="http://schemas.microsoft.com/office/drawing/2014/main" id="{1BD4A0CF-F6B5-080A-792A-A996B462748B}"/>
                </a:ext>
              </a:extLst>
            </p:cNvPr>
            <p:cNvSpPr txBox="1"/>
            <p:nvPr/>
          </p:nvSpPr>
          <p:spPr>
            <a:xfrm>
              <a:off x="4601460" y="5836141"/>
              <a:ext cx="1205167" cy="461665"/>
            </a:xfrm>
            <a:prstGeom prst="rect">
              <a:avLst/>
            </a:prstGeom>
            <a:noFill/>
          </p:spPr>
          <p:txBody>
            <a:bodyPr wrap="square" lIns="0" tIns="0" rIns="0" bIns="0" rtlCol="0">
              <a:spAutoFit/>
            </a:bodyPr>
            <a:lstStyle/>
            <a:p>
              <a:pPr>
                <a:spcBef>
                  <a:spcPts val="600"/>
                </a:spcBef>
                <a:buSzPct val="100000"/>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Connected planning and forecasting</a:t>
              </a:r>
            </a:p>
          </p:txBody>
        </p:sp>
        <p:pic>
          <p:nvPicPr>
            <p:cNvPr id="26" name="Graphic 25" descr="Head with gears outline">
              <a:extLst>
                <a:ext uri="{FF2B5EF4-FFF2-40B4-BE49-F238E27FC236}">
                  <a16:creationId xmlns:a16="http://schemas.microsoft.com/office/drawing/2014/main" id="{AAC1B309-77EF-18A9-2049-3649EB7E225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8418078" y="3831232"/>
              <a:ext cx="774031" cy="774031"/>
            </a:xfrm>
            <a:prstGeom prst="rect">
              <a:avLst/>
            </a:prstGeom>
          </p:spPr>
        </p:pic>
        <p:sp>
          <p:nvSpPr>
            <p:cNvPr id="27" name="TextBox 26">
              <a:extLst>
                <a:ext uri="{FF2B5EF4-FFF2-40B4-BE49-F238E27FC236}">
                  <a16:creationId xmlns:a16="http://schemas.microsoft.com/office/drawing/2014/main" id="{CF66A8D8-67D3-50E1-C764-C8678B482D90}"/>
                </a:ext>
              </a:extLst>
            </p:cNvPr>
            <p:cNvSpPr txBox="1"/>
            <p:nvPr/>
          </p:nvSpPr>
          <p:spPr>
            <a:xfrm>
              <a:off x="6503049" y="5207218"/>
              <a:ext cx="1205167" cy="461665"/>
            </a:xfrm>
            <a:prstGeom prst="rect">
              <a:avLst/>
            </a:prstGeom>
            <a:noFill/>
          </p:spPr>
          <p:txBody>
            <a:bodyPr wrap="square" lIns="0" tIns="0" rIns="0" bIns="0" rtlCol="0">
              <a:spAutoFit/>
            </a:bodyPr>
            <a:lstStyle/>
            <a:p>
              <a:pPr>
                <a:spcBef>
                  <a:spcPts val="600"/>
                </a:spcBef>
                <a:buSzPct val="100000"/>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Dynamic predictive forecasting</a:t>
              </a:r>
            </a:p>
          </p:txBody>
        </p:sp>
        <p:pic>
          <p:nvPicPr>
            <p:cNvPr id="28" name="Graphic 27" descr="Target outline">
              <a:extLst>
                <a:ext uri="{FF2B5EF4-FFF2-40B4-BE49-F238E27FC236}">
                  <a16:creationId xmlns:a16="http://schemas.microsoft.com/office/drawing/2014/main" id="{C8555895-43B9-9952-63A6-85662485D0F9}"/>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a:xfrm>
              <a:off x="6424850" y="4464524"/>
              <a:ext cx="774031" cy="774031"/>
            </a:xfrm>
            <a:prstGeom prst="rect">
              <a:avLst/>
            </a:prstGeom>
          </p:spPr>
        </p:pic>
        <p:sp>
          <p:nvSpPr>
            <p:cNvPr id="29" name="TextBox 28">
              <a:extLst>
                <a:ext uri="{FF2B5EF4-FFF2-40B4-BE49-F238E27FC236}">
                  <a16:creationId xmlns:a16="http://schemas.microsoft.com/office/drawing/2014/main" id="{380BE613-F1B0-CD93-1C69-AC5EF6F19367}"/>
                </a:ext>
              </a:extLst>
            </p:cNvPr>
            <p:cNvSpPr txBox="1"/>
            <p:nvPr/>
          </p:nvSpPr>
          <p:spPr>
            <a:xfrm>
              <a:off x="8582507" y="4566253"/>
              <a:ext cx="874300" cy="461665"/>
            </a:xfrm>
            <a:prstGeom prst="rect">
              <a:avLst/>
            </a:prstGeom>
            <a:noFill/>
          </p:spPr>
          <p:txBody>
            <a:bodyPr wrap="square" lIns="0" tIns="0" rIns="0" bIns="0" rtlCol="0">
              <a:spAutoFit/>
            </a:bodyPr>
            <a:lstStyle/>
            <a:p>
              <a:pPr>
                <a:spcBef>
                  <a:spcPts val="600"/>
                </a:spcBef>
                <a:buSzPct val="100000"/>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Analytics-driven insights</a:t>
              </a:r>
            </a:p>
          </p:txBody>
        </p:sp>
        <p:pic>
          <p:nvPicPr>
            <p:cNvPr id="30" name="Graphic 29" descr="Boardroom outline">
              <a:extLst>
                <a:ext uri="{FF2B5EF4-FFF2-40B4-BE49-F238E27FC236}">
                  <a16:creationId xmlns:a16="http://schemas.microsoft.com/office/drawing/2014/main" id="{871AB082-4E39-2C3A-A660-22CF53D0E966}"/>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10026301" y="2925083"/>
              <a:ext cx="774031" cy="774031"/>
            </a:xfrm>
            <a:prstGeom prst="rect">
              <a:avLst/>
            </a:prstGeom>
          </p:spPr>
        </p:pic>
        <p:sp>
          <p:nvSpPr>
            <p:cNvPr id="31" name="TextBox 30">
              <a:extLst>
                <a:ext uri="{FF2B5EF4-FFF2-40B4-BE49-F238E27FC236}">
                  <a16:creationId xmlns:a16="http://schemas.microsoft.com/office/drawing/2014/main" id="{6C0749C0-140C-67A3-CD2B-59CCC0C58CA1}"/>
                </a:ext>
              </a:extLst>
            </p:cNvPr>
            <p:cNvSpPr txBox="1"/>
            <p:nvPr/>
          </p:nvSpPr>
          <p:spPr>
            <a:xfrm>
              <a:off x="10082444" y="3588139"/>
              <a:ext cx="874300" cy="461665"/>
            </a:xfrm>
            <a:prstGeom prst="rect">
              <a:avLst/>
            </a:prstGeom>
            <a:noFill/>
          </p:spPr>
          <p:txBody>
            <a:bodyPr wrap="square" lIns="0" tIns="0" rIns="0" bIns="0" rtlCol="0">
              <a:spAutoFit/>
            </a:bodyPr>
            <a:lstStyle/>
            <a:p>
              <a:pPr>
                <a:spcBef>
                  <a:spcPts val="600"/>
                </a:spcBef>
                <a:buSzPct val="100000"/>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Enhanced business partnering</a:t>
              </a:r>
            </a:p>
          </p:txBody>
        </p:sp>
        <p:grpSp>
          <p:nvGrpSpPr>
            <p:cNvPr id="83" name="Group 82">
              <a:extLst>
                <a:ext uri="{FF2B5EF4-FFF2-40B4-BE49-F238E27FC236}">
                  <a16:creationId xmlns:a16="http://schemas.microsoft.com/office/drawing/2014/main" id="{C3949486-C6D4-A60D-BF82-E0E7845EBD82}"/>
                </a:ext>
              </a:extLst>
            </p:cNvPr>
            <p:cNvGrpSpPr/>
            <p:nvPr/>
          </p:nvGrpSpPr>
          <p:grpSpPr>
            <a:xfrm>
              <a:off x="843607" y="2066230"/>
              <a:ext cx="1646916" cy="3627544"/>
              <a:chOff x="1156437" y="2114358"/>
              <a:chExt cx="1646916" cy="3627544"/>
            </a:xfrm>
          </p:grpSpPr>
          <p:cxnSp>
            <p:nvCxnSpPr>
              <p:cNvPr id="37" name="Straight Connector 36">
                <a:extLst>
                  <a:ext uri="{FF2B5EF4-FFF2-40B4-BE49-F238E27FC236}">
                    <a16:creationId xmlns:a16="http://schemas.microsoft.com/office/drawing/2014/main" id="{23506038-0C9B-D354-44A2-B65EBE63B886}"/>
                  </a:ext>
                </a:extLst>
              </p:cNvPr>
              <p:cNvCxnSpPr/>
              <p:nvPr/>
            </p:nvCxnSpPr>
            <p:spPr>
              <a:xfrm>
                <a:off x="1215188" y="2249902"/>
                <a:ext cx="0" cy="3492000"/>
              </a:xfrm>
              <a:prstGeom prst="line">
                <a:avLst/>
              </a:prstGeom>
              <a:ln w="3175">
                <a:solidFill>
                  <a:srgbClr val="007CB0"/>
                </a:solidFill>
              </a:ln>
            </p:spPr>
            <p:style>
              <a:lnRef idx="1">
                <a:schemeClr val="accent1"/>
              </a:lnRef>
              <a:fillRef idx="0">
                <a:schemeClr val="accent1"/>
              </a:fillRef>
              <a:effectRef idx="0">
                <a:schemeClr val="accent1"/>
              </a:effectRef>
              <a:fontRef idx="minor">
                <a:schemeClr val="tx1"/>
              </a:fontRef>
            </p:style>
          </p:cxnSp>
          <p:sp>
            <p:nvSpPr>
              <p:cNvPr id="38" name="Flowchart: Connector 37">
                <a:extLst>
                  <a:ext uri="{FF2B5EF4-FFF2-40B4-BE49-F238E27FC236}">
                    <a16:creationId xmlns:a16="http://schemas.microsoft.com/office/drawing/2014/main" id="{433C4071-F611-7AB4-7887-8D3F5C9BE5DA}"/>
                  </a:ext>
                </a:extLst>
              </p:cNvPr>
              <p:cNvSpPr/>
              <p:nvPr/>
            </p:nvSpPr>
            <p:spPr bwMode="gray">
              <a:xfrm>
                <a:off x="1160650" y="2177712"/>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TextBox 41">
                <a:extLst>
                  <a:ext uri="{FF2B5EF4-FFF2-40B4-BE49-F238E27FC236}">
                    <a16:creationId xmlns:a16="http://schemas.microsoft.com/office/drawing/2014/main" id="{DF4CF5D7-68E2-91D3-7666-004FC94A44C3}"/>
                  </a:ext>
                </a:extLst>
              </p:cNvPr>
              <p:cNvSpPr txBox="1"/>
              <p:nvPr/>
            </p:nvSpPr>
            <p:spPr>
              <a:xfrm>
                <a:off x="1269727" y="2114358"/>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ommon, integrated information model</a:t>
                </a:r>
              </a:p>
            </p:txBody>
          </p:sp>
          <p:sp>
            <p:nvSpPr>
              <p:cNvPr id="43" name="Flowchart: Connector 42">
                <a:extLst>
                  <a:ext uri="{FF2B5EF4-FFF2-40B4-BE49-F238E27FC236}">
                    <a16:creationId xmlns:a16="http://schemas.microsoft.com/office/drawing/2014/main" id="{0D0E27C1-9937-ACC2-4418-77AAB1D5DA2A}"/>
                  </a:ext>
                </a:extLst>
              </p:cNvPr>
              <p:cNvSpPr/>
              <p:nvPr/>
            </p:nvSpPr>
            <p:spPr bwMode="gray">
              <a:xfrm>
                <a:off x="1160650" y="2707691"/>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Box 43">
                <a:extLst>
                  <a:ext uri="{FF2B5EF4-FFF2-40B4-BE49-F238E27FC236}">
                    <a16:creationId xmlns:a16="http://schemas.microsoft.com/office/drawing/2014/main" id="{BFBDD5D6-83B4-2EFC-C346-6F9152F970EF}"/>
                  </a:ext>
                </a:extLst>
              </p:cNvPr>
              <p:cNvSpPr txBox="1"/>
              <p:nvPr/>
            </p:nvSpPr>
            <p:spPr>
              <a:xfrm>
                <a:off x="1269726" y="2644337"/>
                <a:ext cx="15336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Seamless integration with multiple sources (e.g. EPR, supply chain systems) </a:t>
                </a:r>
              </a:p>
            </p:txBody>
          </p:sp>
          <p:sp>
            <p:nvSpPr>
              <p:cNvPr id="45" name="Flowchart: Connector 44">
                <a:extLst>
                  <a:ext uri="{FF2B5EF4-FFF2-40B4-BE49-F238E27FC236}">
                    <a16:creationId xmlns:a16="http://schemas.microsoft.com/office/drawing/2014/main" id="{A42B4226-3AE6-7A85-4704-C9C07C9AA9CA}"/>
                  </a:ext>
                </a:extLst>
              </p:cNvPr>
              <p:cNvSpPr/>
              <p:nvPr/>
            </p:nvSpPr>
            <p:spPr bwMode="gray">
              <a:xfrm>
                <a:off x="1160650" y="3531770"/>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TextBox 45">
                <a:extLst>
                  <a:ext uri="{FF2B5EF4-FFF2-40B4-BE49-F238E27FC236}">
                    <a16:creationId xmlns:a16="http://schemas.microsoft.com/office/drawing/2014/main" id="{3E6BBB61-D7B2-1915-D05B-A4D44C958C7E}"/>
                  </a:ext>
                </a:extLst>
              </p:cNvPr>
              <p:cNvSpPr txBox="1"/>
              <p:nvPr/>
            </p:nvSpPr>
            <p:spPr>
              <a:xfrm>
                <a:off x="1269727" y="3492480"/>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Purpose</a:t>
                </a:r>
                <a:r>
                  <a:rPr lang="en-US" sz="1000" dirty="0">
                    <a:latin typeface="Open Sans" panose="020B0606030504020204" pitchFamily="34" charset="0"/>
                    <a:ea typeface="Open Sans" panose="020B0606030504020204" pitchFamily="34" charset="0"/>
                    <a:cs typeface="Open Sans" panose="020B0606030504020204" pitchFamily="34" charset="0"/>
                  </a:rPr>
                  <a:t>-built modules</a:t>
                </a:r>
                <a:endPar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Flowchart: Connector 48">
                <a:extLst>
                  <a:ext uri="{FF2B5EF4-FFF2-40B4-BE49-F238E27FC236}">
                    <a16:creationId xmlns:a16="http://schemas.microsoft.com/office/drawing/2014/main" id="{770E34EE-0220-E88E-A65B-C8B6F597ADEB}"/>
                  </a:ext>
                </a:extLst>
              </p:cNvPr>
              <p:cNvSpPr/>
              <p:nvPr/>
            </p:nvSpPr>
            <p:spPr bwMode="gray">
              <a:xfrm>
                <a:off x="1160449" y="4048910"/>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TextBox 49">
                <a:extLst>
                  <a:ext uri="{FF2B5EF4-FFF2-40B4-BE49-F238E27FC236}">
                    <a16:creationId xmlns:a16="http://schemas.microsoft.com/office/drawing/2014/main" id="{937E8FBD-5BC9-2B14-1E63-A9DB04C26FDD}"/>
                  </a:ext>
                </a:extLst>
              </p:cNvPr>
              <p:cNvSpPr txBox="1"/>
              <p:nvPr/>
            </p:nvSpPr>
            <p:spPr>
              <a:xfrm>
                <a:off x="1269526" y="4009620"/>
                <a:ext cx="143737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Optimized for cloud</a:t>
                </a:r>
              </a:p>
            </p:txBody>
          </p:sp>
          <p:sp>
            <p:nvSpPr>
              <p:cNvPr id="51" name="Flowchart: Connector 50">
                <a:extLst>
                  <a:ext uri="{FF2B5EF4-FFF2-40B4-BE49-F238E27FC236}">
                    <a16:creationId xmlns:a16="http://schemas.microsoft.com/office/drawing/2014/main" id="{A47810FF-568C-B14C-5AE1-FB2B0C599D22}"/>
                  </a:ext>
                </a:extLst>
              </p:cNvPr>
              <p:cNvSpPr/>
              <p:nvPr/>
            </p:nvSpPr>
            <p:spPr bwMode="gray">
              <a:xfrm>
                <a:off x="1160449" y="4577684"/>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TextBox 51">
                <a:extLst>
                  <a:ext uri="{FF2B5EF4-FFF2-40B4-BE49-F238E27FC236}">
                    <a16:creationId xmlns:a16="http://schemas.microsoft.com/office/drawing/2014/main" id="{B2840A80-57C7-F9AD-E288-91D0AD439029}"/>
                  </a:ext>
                </a:extLst>
              </p:cNvPr>
              <p:cNvSpPr txBox="1"/>
              <p:nvPr/>
            </p:nvSpPr>
            <p:spPr>
              <a:xfrm>
                <a:off x="1269526" y="4970330"/>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Intuitive user interface</a:t>
                </a:r>
              </a:p>
            </p:txBody>
          </p:sp>
          <p:sp>
            <p:nvSpPr>
              <p:cNvPr id="54" name="TextBox 53">
                <a:extLst>
                  <a:ext uri="{FF2B5EF4-FFF2-40B4-BE49-F238E27FC236}">
                    <a16:creationId xmlns:a16="http://schemas.microsoft.com/office/drawing/2014/main" id="{E8AD7588-DE49-1A12-3D6D-82AF8ACA78C6}"/>
                  </a:ext>
                </a:extLst>
              </p:cNvPr>
              <p:cNvSpPr txBox="1"/>
              <p:nvPr/>
            </p:nvSpPr>
            <p:spPr>
              <a:xfrm>
                <a:off x="1269526" y="4423258"/>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Process driven security models</a:t>
                </a:r>
              </a:p>
            </p:txBody>
          </p:sp>
          <p:sp>
            <p:nvSpPr>
              <p:cNvPr id="55" name="Flowchart: Connector 54">
                <a:extLst>
                  <a:ext uri="{FF2B5EF4-FFF2-40B4-BE49-F238E27FC236}">
                    <a16:creationId xmlns:a16="http://schemas.microsoft.com/office/drawing/2014/main" id="{3FB14C67-84AF-A5BC-9073-21E6E0455CEE}"/>
                  </a:ext>
                </a:extLst>
              </p:cNvPr>
              <p:cNvSpPr/>
              <p:nvPr/>
            </p:nvSpPr>
            <p:spPr bwMode="gray">
              <a:xfrm>
                <a:off x="1156437" y="5078999"/>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7" name="Group 56">
              <a:extLst>
                <a:ext uri="{FF2B5EF4-FFF2-40B4-BE49-F238E27FC236}">
                  <a16:creationId xmlns:a16="http://schemas.microsoft.com/office/drawing/2014/main" id="{9374A121-1008-A98C-8498-C18750EE7553}"/>
                </a:ext>
              </a:extLst>
            </p:cNvPr>
            <p:cNvGrpSpPr/>
            <p:nvPr/>
          </p:nvGrpSpPr>
          <p:grpSpPr>
            <a:xfrm>
              <a:off x="2765660" y="2066230"/>
              <a:ext cx="1642904" cy="3195544"/>
              <a:chOff x="1160449" y="1693256"/>
              <a:chExt cx="1642904" cy="3195544"/>
            </a:xfrm>
          </p:grpSpPr>
          <p:cxnSp>
            <p:nvCxnSpPr>
              <p:cNvPr id="58" name="Straight Connector 57">
                <a:extLst>
                  <a:ext uri="{FF2B5EF4-FFF2-40B4-BE49-F238E27FC236}">
                    <a16:creationId xmlns:a16="http://schemas.microsoft.com/office/drawing/2014/main" id="{2325322B-C0DF-6A61-F63F-2676C76C3F77}"/>
                  </a:ext>
                </a:extLst>
              </p:cNvPr>
              <p:cNvCxnSpPr/>
              <p:nvPr/>
            </p:nvCxnSpPr>
            <p:spPr>
              <a:xfrm>
                <a:off x="1215188" y="1828800"/>
                <a:ext cx="0" cy="3060000"/>
              </a:xfrm>
              <a:prstGeom prst="line">
                <a:avLst/>
              </a:prstGeom>
              <a:ln w="3175">
                <a:solidFill>
                  <a:srgbClr val="007CB0"/>
                </a:solidFill>
              </a:ln>
            </p:spPr>
            <p:style>
              <a:lnRef idx="1">
                <a:schemeClr val="accent1"/>
              </a:lnRef>
              <a:fillRef idx="0">
                <a:schemeClr val="accent1"/>
              </a:fillRef>
              <a:effectRef idx="0">
                <a:schemeClr val="accent1"/>
              </a:effectRef>
              <a:fontRef idx="minor">
                <a:schemeClr val="tx1"/>
              </a:fontRef>
            </p:style>
          </p:cxnSp>
          <p:sp>
            <p:nvSpPr>
              <p:cNvPr id="59" name="Flowchart: Connector 58">
                <a:extLst>
                  <a:ext uri="{FF2B5EF4-FFF2-40B4-BE49-F238E27FC236}">
                    <a16:creationId xmlns:a16="http://schemas.microsoft.com/office/drawing/2014/main" id="{5E2464F6-CCD5-229D-0881-2D7045B4DF5B}"/>
                  </a:ext>
                </a:extLst>
              </p:cNvPr>
              <p:cNvSpPr/>
              <p:nvPr/>
            </p:nvSpPr>
            <p:spPr bwMode="gray">
              <a:xfrm>
                <a:off x="1160650" y="1756610"/>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TextBox 59">
                <a:extLst>
                  <a:ext uri="{FF2B5EF4-FFF2-40B4-BE49-F238E27FC236}">
                    <a16:creationId xmlns:a16="http://schemas.microsoft.com/office/drawing/2014/main" id="{BD478221-B963-8425-127E-0EC6359CE452}"/>
                  </a:ext>
                </a:extLst>
              </p:cNvPr>
              <p:cNvSpPr txBox="1"/>
              <p:nvPr/>
            </p:nvSpPr>
            <p:spPr>
              <a:xfrm>
                <a:off x="1269727" y="1693256"/>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alendar and process governance</a:t>
                </a:r>
              </a:p>
            </p:txBody>
          </p:sp>
          <p:sp>
            <p:nvSpPr>
              <p:cNvPr id="61" name="Flowchart: Connector 60">
                <a:extLst>
                  <a:ext uri="{FF2B5EF4-FFF2-40B4-BE49-F238E27FC236}">
                    <a16:creationId xmlns:a16="http://schemas.microsoft.com/office/drawing/2014/main" id="{0AF010E2-4744-EB07-7420-DCAC00F8EBD2}"/>
                  </a:ext>
                </a:extLst>
              </p:cNvPr>
              <p:cNvSpPr/>
              <p:nvPr/>
            </p:nvSpPr>
            <p:spPr bwMode="gray">
              <a:xfrm>
                <a:off x="1160650" y="2286585"/>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TextBox 61">
                <a:extLst>
                  <a:ext uri="{FF2B5EF4-FFF2-40B4-BE49-F238E27FC236}">
                    <a16:creationId xmlns:a16="http://schemas.microsoft.com/office/drawing/2014/main" id="{7456233A-2D1C-DEC9-C679-1358E16CB706}"/>
                  </a:ext>
                </a:extLst>
              </p:cNvPr>
              <p:cNvSpPr txBox="1"/>
              <p:nvPr/>
            </p:nvSpPr>
            <p:spPr>
              <a:xfrm>
                <a:off x="1269726" y="2223231"/>
                <a:ext cx="1533627"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omprehensive information needs defined</a:t>
                </a:r>
              </a:p>
            </p:txBody>
          </p:sp>
          <p:sp>
            <p:nvSpPr>
              <p:cNvPr id="63" name="Flowchart: Connector 62">
                <a:extLst>
                  <a:ext uri="{FF2B5EF4-FFF2-40B4-BE49-F238E27FC236}">
                    <a16:creationId xmlns:a16="http://schemas.microsoft.com/office/drawing/2014/main" id="{E962EAD1-9776-4CA7-F8D8-F242A46A768C}"/>
                  </a:ext>
                </a:extLst>
              </p:cNvPr>
              <p:cNvSpPr/>
              <p:nvPr/>
            </p:nvSpPr>
            <p:spPr bwMode="gray">
              <a:xfrm>
                <a:off x="1160650" y="3110668"/>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4" name="TextBox 63">
                <a:extLst>
                  <a:ext uri="{FF2B5EF4-FFF2-40B4-BE49-F238E27FC236}">
                    <a16:creationId xmlns:a16="http://schemas.microsoft.com/office/drawing/2014/main" id="{A9AE4B2B-F6CB-B24A-C0BC-9C06E04B34BA}"/>
                  </a:ext>
                </a:extLst>
              </p:cNvPr>
              <p:cNvSpPr txBox="1"/>
              <p:nvPr/>
            </p:nvSpPr>
            <p:spPr>
              <a:xfrm>
                <a:off x="1269727" y="3071378"/>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ata governance framework</a:t>
                </a:r>
              </a:p>
            </p:txBody>
          </p:sp>
          <p:sp>
            <p:nvSpPr>
              <p:cNvPr id="65" name="Flowchart: Connector 64">
                <a:extLst>
                  <a:ext uri="{FF2B5EF4-FFF2-40B4-BE49-F238E27FC236}">
                    <a16:creationId xmlns:a16="http://schemas.microsoft.com/office/drawing/2014/main" id="{007C4BBF-D971-58DB-F945-141912DAF0DD}"/>
                  </a:ext>
                </a:extLst>
              </p:cNvPr>
              <p:cNvSpPr/>
              <p:nvPr/>
            </p:nvSpPr>
            <p:spPr bwMode="gray">
              <a:xfrm>
                <a:off x="1160449" y="3627808"/>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TextBox 65">
                <a:extLst>
                  <a:ext uri="{FF2B5EF4-FFF2-40B4-BE49-F238E27FC236}">
                    <a16:creationId xmlns:a16="http://schemas.microsoft.com/office/drawing/2014/main" id="{1CFCBB04-4488-EB57-08AF-462893A02065}"/>
                  </a:ext>
                </a:extLst>
              </p:cNvPr>
              <p:cNvSpPr txBox="1"/>
              <p:nvPr/>
            </p:nvSpPr>
            <p:spPr>
              <a:xfrm>
                <a:off x="1269526" y="3588518"/>
                <a:ext cx="1437378"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Standard and transparent communication</a:t>
                </a:r>
              </a:p>
            </p:txBody>
          </p:sp>
          <p:sp>
            <p:nvSpPr>
              <p:cNvPr id="67" name="Flowchart: Connector 66">
                <a:extLst>
                  <a:ext uri="{FF2B5EF4-FFF2-40B4-BE49-F238E27FC236}">
                    <a16:creationId xmlns:a16="http://schemas.microsoft.com/office/drawing/2014/main" id="{8C971ADA-77EB-802C-8497-65D1AC1341AF}"/>
                  </a:ext>
                </a:extLst>
              </p:cNvPr>
              <p:cNvSpPr/>
              <p:nvPr/>
            </p:nvSpPr>
            <p:spPr bwMode="gray">
              <a:xfrm>
                <a:off x="1160449" y="4156582"/>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9" name="TextBox 68">
                <a:extLst>
                  <a:ext uri="{FF2B5EF4-FFF2-40B4-BE49-F238E27FC236}">
                    <a16:creationId xmlns:a16="http://schemas.microsoft.com/office/drawing/2014/main" id="{80AA4396-297D-7B1F-E92A-A5AA64B24201}"/>
                  </a:ext>
                </a:extLst>
              </p:cNvPr>
              <p:cNvSpPr txBox="1"/>
              <p:nvPr/>
            </p:nvSpPr>
            <p:spPr>
              <a:xfrm>
                <a:off x="1233434" y="4172461"/>
                <a:ext cx="1437378"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mpowers business users to truly own the process</a:t>
                </a:r>
              </a:p>
            </p:txBody>
          </p:sp>
        </p:grpSp>
        <p:grpSp>
          <p:nvGrpSpPr>
            <p:cNvPr id="71" name="Group 70">
              <a:extLst>
                <a:ext uri="{FF2B5EF4-FFF2-40B4-BE49-F238E27FC236}">
                  <a16:creationId xmlns:a16="http://schemas.microsoft.com/office/drawing/2014/main" id="{0965806C-FE83-CB42-2A07-6A24D00667D8}"/>
                </a:ext>
              </a:extLst>
            </p:cNvPr>
            <p:cNvGrpSpPr/>
            <p:nvPr/>
          </p:nvGrpSpPr>
          <p:grpSpPr>
            <a:xfrm>
              <a:off x="6319978" y="2030690"/>
              <a:ext cx="2021894" cy="2331544"/>
              <a:chOff x="1160449" y="1693256"/>
              <a:chExt cx="2021894" cy="2331544"/>
            </a:xfrm>
          </p:grpSpPr>
          <p:cxnSp>
            <p:nvCxnSpPr>
              <p:cNvPr id="72" name="Straight Connector 71">
                <a:extLst>
                  <a:ext uri="{FF2B5EF4-FFF2-40B4-BE49-F238E27FC236}">
                    <a16:creationId xmlns:a16="http://schemas.microsoft.com/office/drawing/2014/main" id="{B5FE5C5E-2A94-E595-6CD7-4E838EA6A0CA}"/>
                  </a:ext>
                </a:extLst>
              </p:cNvPr>
              <p:cNvCxnSpPr/>
              <p:nvPr/>
            </p:nvCxnSpPr>
            <p:spPr>
              <a:xfrm>
                <a:off x="1215188" y="1828800"/>
                <a:ext cx="0" cy="2196000"/>
              </a:xfrm>
              <a:prstGeom prst="line">
                <a:avLst/>
              </a:prstGeom>
              <a:ln w="3175">
                <a:solidFill>
                  <a:srgbClr val="007CB0"/>
                </a:solidFill>
              </a:ln>
            </p:spPr>
            <p:style>
              <a:lnRef idx="1">
                <a:schemeClr val="accent1"/>
              </a:lnRef>
              <a:fillRef idx="0">
                <a:schemeClr val="accent1"/>
              </a:fillRef>
              <a:effectRef idx="0">
                <a:schemeClr val="accent1"/>
              </a:effectRef>
              <a:fontRef idx="minor">
                <a:schemeClr val="tx1"/>
              </a:fontRef>
            </p:style>
          </p:cxnSp>
          <p:sp>
            <p:nvSpPr>
              <p:cNvPr id="73" name="Flowchart: Connector 72">
                <a:extLst>
                  <a:ext uri="{FF2B5EF4-FFF2-40B4-BE49-F238E27FC236}">
                    <a16:creationId xmlns:a16="http://schemas.microsoft.com/office/drawing/2014/main" id="{C2805A9D-F43D-4568-A995-8E15AB50413D}"/>
                  </a:ext>
                </a:extLst>
              </p:cNvPr>
              <p:cNvSpPr/>
              <p:nvPr/>
            </p:nvSpPr>
            <p:spPr bwMode="gray">
              <a:xfrm>
                <a:off x="1160650" y="1756610"/>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4" name="TextBox 73">
                <a:extLst>
                  <a:ext uri="{FF2B5EF4-FFF2-40B4-BE49-F238E27FC236}">
                    <a16:creationId xmlns:a16="http://schemas.microsoft.com/office/drawing/2014/main" id="{1029A004-921E-24B7-751D-57AF87B25208}"/>
                  </a:ext>
                </a:extLst>
              </p:cNvPr>
              <p:cNvSpPr txBox="1"/>
              <p:nvPr/>
            </p:nvSpPr>
            <p:spPr>
              <a:xfrm>
                <a:off x="1269727" y="1693256"/>
                <a:ext cx="1437378"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Predictive models (e.g. regression, machine learning)</a:t>
                </a:r>
              </a:p>
            </p:txBody>
          </p:sp>
          <p:sp>
            <p:nvSpPr>
              <p:cNvPr id="75" name="Flowchart: Connector 74">
                <a:extLst>
                  <a:ext uri="{FF2B5EF4-FFF2-40B4-BE49-F238E27FC236}">
                    <a16:creationId xmlns:a16="http://schemas.microsoft.com/office/drawing/2014/main" id="{4A0A7CCB-F682-7FB5-96B0-F5E393A63E3F}"/>
                  </a:ext>
                </a:extLst>
              </p:cNvPr>
              <p:cNvSpPr/>
              <p:nvPr/>
            </p:nvSpPr>
            <p:spPr bwMode="gray">
              <a:xfrm>
                <a:off x="1160650" y="2310649"/>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TextBox 75">
                <a:extLst>
                  <a:ext uri="{FF2B5EF4-FFF2-40B4-BE49-F238E27FC236}">
                    <a16:creationId xmlns:a16="http://schemas.microsoft.com/office/drawing/2014/main" id="{0837A68A-B6B8-8D54-871C-291568889667}"/>
                  </a:ext>
                </a:extLst>
              </p:cNvPr>
              <p:cNvSpPr txBox="1"/>
              <p:nvPr/>
            </p:nvSpPr>
            <p:spPr>
              <a:xfrm>
                <a:off x="1269726" y="2247295"/>
                <a:ext cx="186770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Uses internal and external data, structured and unstructured (NLP – natural language processing)</a:t>
                </a:r>
              </a:p>
            </p:txBody>
          </p:sp>
          <p:sp>
            <p:nvSpPr>
              <p:cNvPr id="77" name="Flowchart: Connector 76">
                <a:extLst>
                  <a:ext uri="{FF2B5EF4-FFF2-40B4-BE49-F238E27FC236}">
                    <a16:creationId xmlns:a16="http://schemas.microsoft.com/office/drawing/2014/main" id="{D62F6255-0203-84CE-E7B6-AC819CDE30DB}"/>
                  </a:ext>
                </a:extLst>
              </p:cNvPr>
              <p:cNvSpPr/>
              <p:nvPr/>
            </p:nvSpPr>
            <p:spPr bwMode="gray">
              <a:xfrm>
                <a:off x="1160650" y="3110668"/>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8" name="TextBox 77">
                <a:extLst>
                  <a:ext uri="{FF2B5EF4-FFF2-40B4-BE49-F238E27FC236}">
                    <a16:creationId xmlns:a16="http://schemas.microsoft.com/office/drawing/2014/main" id="{2BA1C6B7-0F79-A29B-2B6C-8D70C2DA5975}"/>
                  </a:ext>
                </a:extLst>
              </p:cNvPr>
              <p:cNvSpPr txBox="1"/>
              <p:nvPr/>
            </p:nvSpPr>
            <p:spPr>
              <a:xfrm>
                <a:off x="1269726" y="3071378"/>
                <a:ext cx="1912617"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Process accommodates</a:t>
                </a:r>
                <a:r>
                  <a:rPr lang="en-US" sz="1000" dirty="0">
                    <a:latin typeface="Open Sans" panose="020B0606030504020204" pitchFamily="34" charset="0"/>
                    <a:ea typeface="Open Sans" panose="020B0606030504020204" pitchFamily="34" charset="0"/>
                    <a:cs typeface="Open Sans" panose="020B0606030504020204" pitchFamily="34" charset="0"/>
                  </a:rPr>
                  <a:t>, dynamic and frequent update (e.g. rolling forecast)</a:t>
                </a:r>
                <a:endPar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lowchart: Connector 78">
                <a:extLst>
                  <a:ext uri="{FF2B5EF4-FFF2-40B4-BE49-F238E27FC236}">
                    <a16:creationId xmlns:a16="http://schemas.microsoft.com/office/drawing/2014/main" id="{21DACDC8-6960-D15B-DF9C-70646E4E545D}"/>
                  </a:ext>
                </a:extLst>
              </p:cNvPr>
              <p:cNvSpPr/>
              <p:nvPr/>
            </p:nvSpPr>
            <p:spPr bwMode="gray">
              <a:xfrm>
                <a:off x="1160449" y="3627808"/>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0" name="TextBox 79">
                <a:extLst>
                  <a:ext uri="{FF2B5EF4-FFF2-40B4-BE49-F238E27FC236}">
                    <a16:creationId xmlns:a16="http://schemas.microsoft.com/office/drawing/2014/main" id="{907DE6BA-37B8-774E-EBC9-157BA95F8752}"/>
                  </a:ext>
                </a:extLst>
              </p:cNvPr>
              <p:cNvSpPr txBox="1"/>
              <p:nvPr/>
            </p:nvSpPr>
            <p:spPr>
              <a:xfrm>
                <a:off x="1269526" y="3588518"/>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Robust and intuitive scenario modelling</a:t>
                </a:r>
              </a:p>
            </p:txBody>
          </p:sp>
        </p:grpSp>
        <p:grpSp>
          <p:nvGrpSpPr>
            <p:cNvPr id="84" name="Group 83">
              <a:extLst>
                <a:ext uri="{FF2B5EF4-FFF2-40B4-BE49-F238E27FC236}">
                  <a16:creationId xmlns:a16="http://schemas.microsoft.com/office/drawing/2014/main" id="{DC23C5A5-D05B-4ADA-86C2-6676374ED77B}"/>
                </a:ext>
              </a:extLst>
            </p:cNvPr>
            <p:cNvGrpSpPr/>
            <p:nvPr/>
          </p:nvGrpSpPr>
          <p:grpSpPr>
            <a:xfrm>
              <a:off x="4550732" y="2041339"/>
              <a:ext cx="1642904" cy="2871544"/>
              <a:chOff x="1160449" y="1693256"/>
              <a:chExt cx="1642904" cy="2871544"/>
            </a:xfrm>
          </p:grpSpPr>
          <p:cxnSp>
            <p:nvCxnSpPr>
              <p:cNvPr id="85" name="Straight Connector 84">
                <a:extLst>
                  <a:ext uri="{FF2B5EF4-FFF2-40B4-BE49-F238E27FC236}">
                    <a16:creationId xmlns:a16="http://schemas.microsoft.com/office/drawing/2014/main" id="{84D676B3-0EE1-CA93-54BE-5B154193CB8F}"/>
                  </a:ext>
                </a:extLst>
              </p:cNvPr>
              <p:cNvCxnSpPr/>
              <p:nvPr/>
            </p:nvCxnSpPr>
            <p:spPr>
              <a:xfrm>
                <a:off x="1215188" y="1828800"/>
                <a:ext cx="0" cy="2736000"/>
              </a:xfrm>
              <a:prstGeom prst="line">
                <a:avLst/>
              </a:prstGeom>
              <a:ln w="3175">
                <a:solidFill>
                  <a:srgbClr val="007CB0"/>
                </a:solidFill>
              </a:ln>
            </p:spPr>
            <p:style>
              <a:lnRef idx="1">
                <a:schemeClr val="accent1"/>
              </a:lnRef>
              <a:fillRef idx="0">
                <a:schemeClr val="accent1"/>
              </a:fillRef>
              <a:effectRef idx="0">
                <a:schemeClr val="accent1"/>
              </a:effectRef>
              <a:fontRef idx="minor">
                <a:schemeClr val="tx1"/>
              </a:fontRef>
            </p:style>
          </p:cxnSp>
          <p:sp>
            <p:nvSpPr>
              <p:cNvPr id="86" name="Flowchart: Connector 85">
                <a:extLst>
                  <a:ext uri="{FF2B5EF4-FFF2-40B4-BE49-F238E27FC236}">
                    <a16:creationId xmlns:a16="http://schemas.microsoft.com/office/drawing/2014/main" id="{52CDDF5D-08D9-1FF8-AB83-22B063551BAB}"/>
                  </a:ext>
                </a:extLst>
              </p:cNvPr>
              <p:cNvSpPr/>
              <p:nvPr/>
            </p:nvSpPr>
            <p:spPr bwMode="gray">
              <a:xfrm>
                <a:off x="1160650" y="1756610"/>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TextBox 86">
                <a:extLst>
                  <a:ext uri="{FF2B5EF4-FFF2-40B4-BE49-F238E27FC236}">
                    <a16:creationId xmlns:a16="http://schemas.microsoft.com/office/drawing/2014/main" id="{68EB4001-6818-2C3E-F5C5-1162A926EFF6}"/>
                  </a:ext>
                </a:extLst>
              </p:cNvPr>
              <p:cNvSpPr txBox="1"/>
              <p:nvPr/>
            </p:nvSpPr>
            <p:spPr>
              <a:xfrm>
                <a:off x="1269727" y="1693256"/>
                <a:ext cx="1437378"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Integrated strategic planning and target setting</a:t>
                </a:r>
              </a:p>
            </p:txBody>
          </p:sp>
          <p:sp>
            <p:nvSpPr>
              <p:cNvPr id="88" name="Flowchart: Connector 87">
                <a:extLst>
                  <a:ext uri="{FF2B5EF4-FFF2-40B4-BE49-F238E27FC236}">
                    <a16:creationId xmlns:a16="http://schemas.microsoft.com/office/drawing/2014/main" id="{3C05A510-A74E-AFF7-49C4-F913ECE6454C}"/>
                  </a:ext>
                </a:extLst>
              </p:cNvPr>
              <p:cNvSpPr/>
              <p:nvPr/>
            </p:nvSpPr>
            <p:spPr bwMode="gray">
              <a:xfrm>
                <a:off x="1160650" y="2310649"/>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TextBox 88">
                <a:extLst>
                  <a:ext uri="{FF2B5EF4-FFF2-40B4-BE49-F238E27FC236}">
                    <a16:creationId xmlns:a16="http://schemas.microsoft.com/office/drawing/2014/main" id="{0C7723A2-D692-D609-2A4F-6D44A48CA9B9}"/>
                  </a:ext>
                </a:extLst>
              </p:cNvPr>
              <p:cNvSpPr txBox="1"/>
              <p:nvPr/>
            </p:nvSpPr>
            <p:spPr>
              <a:xfrm>
                <a:off x="1269726" y="2247295"/>
                <a:ext cx="153362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onnected enterprise planning</a:t>
                </a:r>
              </a:p>
            </p:txBody>
          </p:sp>
          <p:sp>
            <p:nvSpPr>
              <p:cNvPr id="90" name="Flowchart: Connector 89">
                <a:extLst>
                  <a:ext uri="{FF2B5EF4-FFF2-40B4-BE49-F238E27FC236}">
                    <a16:creationId xmlns:a16="http://schemas.microsoft.com/office/drawing/2014/main" id="{CA940341-39A0-1CA7-6FD7-3F70B3BD4AE0}"/>
                  </a:ext>
                </a:extLst>
              </p:cNvPr>
              <p:cNvSpPr/>
              <p:nvPr/>
            </p:nvSpPr>
            <p:spPr bwMode="gray">
              <a:xfrm>
                <a:off x="1160650" y="3110668"/>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TextBox 90">
                <a:extLst>
                  <a:ext uri="{FF2B5EF4-FFF2-40B4-BE49-F238E27FC236}">
                    <a16:creationId xmlns:a16="http://schemas.microsoft.com/office/drawing/2014/main" id="{51F7DB47-BA9D-CB2A-BF58-644F2FDB0201}"/>
                  </a:ext>
                </a:extLst>
              </p:cNvPr>
              <p:cNvSpPr txBox="1"/>
              <p:nvPr/>
            </p:nvSpPr>
            <p:spPr>
              <a:xfrm>
                <a:off x="1269727" y="3071378"/>
                <a:ext cx="1437378"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Multiple planning and forecasting capabilities</a:t>
                </a:r>
              </a:p>
            </p:txBody>
          </p:sp>
          <p:sp>
            <p:nvSpPr>
              <p:cNvPr id="92" name="Flowchart: Connector 91">
                <a:extLst>
                  <a:ext uri="{FF2B5EF4-FFF2-40B4-BE49-F238E27FC236}">
                    <a16:creationId xmlns:a16="http://schemas.microsoft.com/office/drawing/2014/main" id="{93DADAB8-1C81-8E40-2AC8-7E86D4831DA9}"/>
                  </a:ext>
                </a:extLst>
              </p:cNvPr>
              <p:cNvSpPr/>
              <p:nvPr/>
            </p:nvSpPr>
            <p:spPr bwMode="gray">
              <a:xfrm>
                <a:off x="1160449" y="3627808"/>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TextBox 92">
                <a:extLst>
                  <a:ext uri="{FF2B5EF4-FFF2-40B4-BE49-F238E27FC236}">
                    <a16:creationId xmlns:a16="http://schemas.microsoft.com/office/drawing/2014/main" id="{E9A42E3B-1962-6959-D281-0B1F9BC79B68}"/>
                  </a:ext>
                </a:extLst>
              </p:cNvPr>
              <p:cNvSpPr txBox="1"/>
              <p:nvPr/>
            </p:nvSpPr>
            <p:spPr>
              <a:xfrm>
                <a:off x="1269526" y="3588518"/>
                <a:ext cx="1437378"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Integrate and reconcile top-</a:t>
                </a:r>
                <a:r>
                  <a:rPr kumimoji="0" lang="hu-HU"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own</a:t>
                </a: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 with bottom</a:t>
                </a:r>
                <a:r>
                  <a:rPr lang="en-US" sz="1000" dirty="0">
                    <a:latin typeface="Open Sans" panose="020B0606030504020204" pitchFamily="34" charset="0"/>
                    <a:ea typeface="Open Sans" panose="020B0606030504020204" pitchFamily="34" charset="0"/>
                    <a:cs typeface="Open Sans" panose="020B0606030504020204" pitchFamily="34" charset="0"/>
                  </a:rPr>
                  <a:t>-</a:t>
                </a: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up</a:t>
                </a:r>
              </a:p>
            </p:txBody>
          </p:sp>
          <p:sp>
            <p:nvSpPr>
              <p:cNvPr id="94" name="Flowchart: Connector 93">
                <a:extLst>
                  <a:ext uri="{FF2B5EF4-FFF2-40B4-BE49-F238E27FC236}">
                    <a16:creationId xmlns:a16="http://schemas.microsoft.com/office/drawing/2014/main" id="{9E3D09D8-86F1-7318-15F0-21C6A40B2B4D}"/>
                  </a:ext>
                </a:extLst>
              </p:cNvPr>
              <p:cNvSpPr/>
              <p:nvPr/>
            </p:nvSpPr>
            <p:spPr bwMode="gray">
              <a:xfrm>
                <a:off x="1160449" y="4156582"/>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TextBox 94">
                <a:extLst>
                  <a:ext uri="{FF2B5EF4-FFF2-40B4-BE49-F238E27FC236}">
                    <a16:creationId xmlns:a16="http://schemas.microsoft.com/office/drawing/2014/main" id="{9E753EB6-B9B7-B604-6E02-1B852E86D343}"/>
                  </a:ext>
                </a:extLst>
              </p:cNvPr>
              <p:cNvSpPr txBox="1"/>
              <p:nvPr/>
            </p:nvSpPr>
            <p:spPr>
              <a:xfrm>
                <a:off x="1269526" y="4156582"/>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onsistent assumptions</a:t>
                </a:r>
              </a:p>
            </p:txBody>
          </p:sp>
        </p:grpSp>
        <p:grpSp>
          <p:nvGrpSpPr>
            <p:cNvPr id="96" name="Group 95">
              <a:extLst>
                <a:ext uri="{FF2B5EF4-FFF2-40B4-BE49-F238E27FC236}">
                  <a16:creationId xmlns:a16="http://schemas.microsoft.com/office/drawing/2014/main" id="{0BD96B50-BEBC-C9E1-4176-D8DBF20A9F6B}"/>
                </a:ext>
              </a:extLst>
            </p:cNvPr>
            <p:cNvGrpSpPr/>
            <p:nvPr/>
          </p:nvGrpSpPr>
          <p:grpSpPr>
            <a:xfrm>
              <a:off x="8383213" y="2039558"/>
              <a:ext cx="1546455" cy="1575544"/>
              <a:chOff x="1160650" y="1693256"/>
              <a:chExt cx="1546455" cy="1575544"/>
            </a:xfrm>
          </p:grpSpPr>
          <p:cxnSp>
            <p:nvCxnSpPr>
              <p:cNvPr id="97" name="Straight Connector 96">
                <a:extLst>
                  <a:ext uri="{FF2B5EF4-FFF2-40B4-BE49-F238E27FC236}">
                    <a16:creationId xmlns:a16="http://schemas.microsoft.com/office/drawing/2014/main" id="{AEA3847A-B872-64D5-F31E-F479BE121D3A}"/>
                  </a:ext>
                </a:extLst>
              </p:cNvPr>
              <p:cNvCxnSpPr/>
              <p:nvPr/>
            </p:nvCxnSpPr>
            <p:spPr>
              <a:xfrm>
                <a:off x="1215188" y="1828800"/>
                <a:ext cx="0" cy="1440000"/>
              </a:xfrm>
              <a:prstGeom prst="line">
                <a:avLst/>
              </a:prstGeom>
              <a:ln w="3175">
                <a:solidFill>
                  <a:srgbClr val="007CB0"/>
                </a:solidFill>
              </a:ln>
            </p:spPr>
            <p:style>
              <a:lnRef idx="1">
                <a:schemeClr val="accent1"/>
              </a:lnRef>
              <a:fillRef idx="0">
                <a:schemeClr val="accent1"/>
              </a:fillRef>
              <a:effectRef idx="0">
                <a:schemeClr val="accent1"/>
              </a:effectRef>
              <a:fontRef idx="minor">
                <a:schemeClr val="tx1"/>
              </a:fontRef>
            </p:style>
          </p:cxnSp>
          <p:sp>
            <p:nvSpPr>
              <p:cNvPr id="98" name="Flowchart: Connector 97">
                <a:extLst>
                  <a:ext uri="{FF2B5EF4-FFF2-40B4-BE49-F238E27FC236}">
                    <a16:creationId xmlns:a16="http://schemas.microsoft.com/office/drawing/2014/main" id="{F67CBDEF-446E-7F1D-109D-9C9FF32FDFFB}"/>
                  </a:ext>
                </a:extLst>
              </p:cNvPr>
              <p:cNvSpPr/>
              <p:nvPr/>
            </p:nvSpPr>
            <p:spPr bwMode="gray">
              <a:xfrm>
                <a:off x="1160650" y="1756610"/>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9" name="TextBox 98">
                <a:extLst>
                  <a:ext uri="{FF2B5EF4-FFF2-40B4-BE49-F238E27FC236}">
                    <a16:creationId xmlns:a16="http://schemas.microsoft.com/office/drawing/2014/main" id="{A82B278C-2D2A-E81F-6CA0-271BE1194E0E}"/>
                  </a:ext>
                </a:extLst>
              </p:cNvPr>
              <p:cNvSpPr txBox="1"/>
              <p:nvPr/>
            </p:nvSpPr>
            <p:spPr>
              <a:xfrm>
                <a:off x="1269727" y="1693256"/>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dvanced analytics and visualization</a:t>
                </a:r>
              </a:p>
            </p:txBody>
          </p:sp>
          <p:sp>
            <p:nvSpPr>
              <p:cNvPr id="100" name="Flowchart: Connector 99">
                <a:extLst>
                  <a:ext uri="{FF2B5EF4-FFF2-40B4-BE49-F238E27FC236}">
                    <a16:creationId xmlns:a16="http://schemas.microsoft.com/office/drawing/2014/main" id="{AAC551B6-1CCE-9725-83D4-7789889A661D}"/>
                  </a:ext>
                </a:extLst>
              </p:cNvPr>
              <p:cNvSpPr/>
              <p:nvPr/>
            </p:nvSpPr>
            <p:spPr bwMode="gray">
              <a:xfrm>
                <a:off x="1160650" y="2310649"/>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1" name="TextBox 100">
                <a:extLst>
                  <a:ext uri="{FF2B5EF4-FFF2-40B4-BE49-F238E27FC236}">
                    <a16:creationId xmlns:a16="http://schemas.microsoft.com/office/drawing/2014/main" id="{44FC199D-E439-76EE-DA82-0AAB7FEAAC6F}"/>
                  </a:ext>
                </a:extLst>
              </p:cNvPr>
              <p:cNvSpPr txBox="1"/>
              <p:nvPr/>
            </p:nvSpPr>
            <p:spPr>
              <a:xfrm>
                <a:off x="1269726" y="2247295"/>
                <a:ext cx="1217185"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utomated reporting commentary (NLG – natural language generation)</a:t>
                </a:r>
              </a:p>
            </p:txBody>
          </p:sp>
        </p:grpSp>
        <p:grpSp>
          <p:nvGrpSpPr>
            <p:cNvPr id="106" name="Group 105">
              <a:extLst>
                <a:ext uri="{FF2B5EF4-FFF2-40B4-BE49-F238E27FC236}">
                  <a16:creationId xmlns:a16="http://schemas.microsoft.com/office/drawing/2014/main" id="{DF6CBF0D-95DF-04EA-FCF0-6C282EE14B35}"/>
                </a:ext>
              </a:extLst>
            </p:cNvPr>
            <p:cNvGrpSpPr/>
            <p:nvPr/>
          </p:nvGrpSpPr>
          <p:grpSpPr>
            <a:xfrm>
              <a:off x="9929667" y="2039558"/>
              <a:ext cx="1546455" cy="639544"/>
              <a:chOff x="1160650" y="1693256"/>
              <a:chExt cx="1546455" cy="639544"/>
            </a:xfrm>
          </p:grpSpPr>
          <p:cxnSp>
            <p:nvCxnSpPr>
              <p:cNvPr id="107" name="Straight Connector 106">
                <a:extLst>
                  <a:ext uri="{FF2B5EF4-FFF2-40B4-BE49-F238E27FC236}">
                    <a16:creationId xmlns:a16="http://schemas.microsoft.com/office/drawing/2014/main" id="{D841DFBA-529B-D5AF-5503-E2C12AAEF760}"/>
                  </a:ext>
                </a:extLst>
              </p:cNvPr>
              <p:cNvCxnSpPr/>
              <p:nvPr/>
            </p:nvCxnSpPr>
            <p:spPr>
              <a:xfrm>
                <a:off x="1215188" y="1828800"/>
                <a:ext cx="0" cy="504000"/>
              </a:xfrm>
              <a:prstGeom prst="line">
                <a:avLst/>
              </a:prstGeom>
              <a:ln w="3175">
                <a:solidFill>
                  <a:srgbClr val="007CB0"/>
                </a:solidFill>
              </a:ln>
            </p:spPr>
            <p:style>
              <a:lnRef idx="1">
                <a:schemeClr val="accent1"/>
              </a:lnRef>
              <a:fillRef idx="0">
                <a:schemeClr val="accent1"/>
              </a:fillRef>
              <a:effectRef idx="0">
                <a:schemeClr val="accent1"/>
              </a:effectRef>
              <a:fontRef idx="minor">
                <a:schemeClr val="tx1"/>
              </a:fontRef>
            </p:style>
          </p:cxnSp>
          <p:sp>
            <p:nvSpPr>
              <p:cNvPr id="108" name="Flowchart: Connector 107">
                <a:extLst>
                  <a:ext uri="{FF2B5EF4-FFF2-40B4-BE49-F238E27FC236}">
                    <a16:creationId xmlns:a16="http://schemas.microsoft.com/office/drawing/2014/main" id="{99655C31-BE0F-6EB8-6390-314F6D105E19}"/>
                  </a:ext>
                </a:extLst>
              </p:cNvPr>
              <p:cNvSpPr/>
              <p:nvPr/>
            </p:nvSpPr>
            <p:spPr bwMode="gray">
              <a:xfrm>
                <a:off x="1160650" y="1756610"/>
                <a:ext cx="129938" cy="132347"/>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9" name="TextBox 108">
                <a:extLst>
                  <a:ext uri="{FF2B5EF4-FFF2-40B4-BE49-F238E27FC236}">
                    <a16:creationId xmlns:a16="http://schemas.microsoft.com/office/drawing/2014/main" id="{4E4AB8F4-85CC-3D71-3CD8-EBD3C59A664A}"/>
                  </a:ext>
                </a:extLst>
              </p:cNvPr>
              <p:cNvSpPr txBox="1"/>
              <p:nvPr/>
            </p:nvSpPr>
            <p:spPr>
              <a:xfrm>
                <a:off x="1269727" y="1693256"/>
                <a:ext cx="14373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ligned to commitments</a:t>
                </a:r>
              </a:p>
            </p:txBody>
          </p:sp>
        </p:grpSp>
        <p:pic>
          <p:nvPicPr>
            <p:cNvPr id="114" name="Graphic 113" descr="Line arrow: Counter-clockwise curve outline">
              <a:extLst>
                <a:ext uri="{FF2B5EF4-FFF2-40B4-BE49-F238E27FC236}">
                  <a16:creationId xmlns:a16="http://schemas.microsoft.com/office/drawing/2014/main" id="{49E89321-5492-9E6E-31A9-C588F66D692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400000">
              <a:off x="1601082" y="5588004"/>
              <a:ext cx="1054387" cy="1054387"/>
            </a:xfrm>
            <a:prstGeom prst="rect">
              <a:avLst/>
            </a:prstGeom>
          </p:spPr>
        </p:pic>
        <p:pic>
          <p:nvPicPr>
            <p:cNvPr id="115" name="Graphic 114" descr="Line arrow: Counter-clockwise curve outline">
              <a:extLst>
                <a:ext uri="{FF2B5EF4-FFF2-40B4-BE49-F238E27FC236}">
                  <a16:creationId xmlns:a16="http://schemas.microsoft.com/office/drawing/2014/main" id="{4034DBFA-1702-D396-78BE-E43D9C013F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400000">
              <a:off x="3464858" y="5043187"/>
              <a:ext cx="1054387" cy="1054387"/>
            </a:xfrm>
            <a:prstGeom prst="rect">
              <a:avLst/>
            </a:prstGeom>
          </p:spPr>
        </p:pic>
        <p:pic>
          <p:nvPicPr>
            <p:cNvPr id="116" name="Graphic 115" descr="Line arrow: Counter-clockwise curve outline">
              <a:extLst>
                <a:ext uri="{FF2B5EF4-FFF2-40B4-BE49-F238E27FC236}">
                  <a16:creationId xmlns:a16="http://schemas.microsoft.com/office/drawing/2014/main" id="{2F4337C6-8D50-0F57-B63C-8022BB94C92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400000">
              <a:off x="5305459" y="4621024"/>
              <a:ext cx="1054387" cy="1054387"/>
            </a:xfrm>
            <a:prstGeom prst="rect">
              <a:avLst/>
            </a:prstGeom>
          </p:spPr>
        </p:pic>
        <p:pic>
          <p:nvPicPr>
            <p:cNvPr id="117" name="Graphic 116" descr="Line arrow: Counter-clockwise curve outline">
              <a:extLst>
                <a:ext uri="{FF2B5EF4-FFF2-40B4-BE49-F238E27FC236}">
                  <a16:creationId xmlns:a16="http://schemas.microsoft.com/office/drawing/2014/main" id="{C996D70B-2899-40B0-3717-0BC59B9DCD6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212328">
              <a:off x="7231150" y="3975342"/>
              <a:ext cx="1054387" cy="1054387"/>
            </a:xfrm>
            <a:prstGeom prst="rect">
              <a:avLst/>
            </a:prstGeom>
          </p:spPr>
        </p:pic>
        <p:pic>
          <p:nvPicPr>
            <p:cNvPr id="118" name="Graphic 117" descr="Line arrow: Counter-clockwise curve outline">
              <a:extLst>
                <a:ext uri="{FF2B5EF4-FFF2-40B4-BE49-F238E27FC236}">
                  <a16:creationId xmlns:a16="http://schemas.microsoft.com/office/drawing/2014/main" id="{D29BB790-1A0E-F184-1FB5-467AD095115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4365648">
              <a:off x="8912988" y="3092588"/>
              <a:ext cx="1137749" cy="1137749"/>
            </a:xfrm>
            <a:prstGeom prst="rect">
              <a:avLst/>
            </a:prstGeom>
          </p:spPr>
        </p:pic>
      </p:grpSp>
    </p:spTree>
    <p:extLst>
      <p:ext uri="{BB962C8B-B14F-4D97-AF65-F5344CB8AC3E}">
        <p14:creationId xmlns:p14="http://schemas.microsoft.com/office/powerpoint/2010/main" val="1253204869"/>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C7ED4D50-2764-6A09-F03E-161F3F181CB5}"/>
              </a:ext>
            </a:extLst>
          </p:cNvPr>
          <p:cNvGraphicFramePr>
            <a:graphicFrameLocks noChangeAspect="1"/>
          </p:cNvGraphicFramePr>
          <p:nvPr>
            <p:custDataLst>
              <p:tags r:id="rId1"/>
            </p:custDataLst>
            <p:extLst>
              <p:ext uri="{D42A27DB-BD31-4B8C-83A1-F6EECF244321}">
                <p14:modId xmlns:p14="http://schemas.microsoft.com/office/powerpoint/2010/main" val="345723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28" name="think-cell data - do not delete" hidden="1">
                        <a:extLst>
                          <a:ext uri="{FF2B5EF4-FFF2-40B4-BE49-F238E27FC236}">
                            <a16:creationId xmlns:a16="http://schemas.microsoft.com/office/drawing/2014/main" id="{C7ED4D50-2764-6A09-F03E-161F3F181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A57152C-0839-C9A1-126B-860D01D80D05}"/>
              </a:ext>
            </a:extLst>
          </p:cNvPr>
          <p:cNvSpPr>
            <a:spLocks noGrp="1"/>
          </p:cNvSpPr>
          <p:nvPr>
            <p:ph type="body" sz="quarter" idx="22"/>
          </p:nvPr>
        </p:nvSpPr>
        <p:spPr/>
        <p:txBody>
          <a:bodyPr/>
          <a:lstStyle/>
          <a:p>
            <a:r>
              <a:rPr lang="en-US" dirty="0"/>
              <a:t>Planning Lifecycle - Moving from a one-time budget process to an integrated planning cycle</a:t>
            </a:r>
          </a:p>
          <a:p>
            <a:endParaRPr lang="en-GB" dirty="0"/>
          </a:p>
        </p:txBody>
      </p:sp>
      <p:sp>
        <p:nvSpPr>
          <p:cNvPr id="3" name="Title 2">
            <a:extLst>
              <a:ext uri="{FF2B5EF4-FFF2-40B4-BE49-F238E27FC236}">
                <a16:creationId xmlns:a16="http://schemas.microsoft.com/office/drawing/2014/main" id="{64BF7335-9B83-40B0-725C-DDF2421B329A}"/>
              </a:ext>
            </a:extLst>
          </p:cNvPr>
          <p:cNvSpPr>
            <a:spLocks noGrp="1"/>
          </p:cNvSpPr>
          <p:nvPr>
            <p:ph type="title"/>
          </p:nvPr>
        </p:nvSpPr>
        <p:spPr/>
        <p:txBody>
          <a:bodyPr vert="horz"/>
          <a:lstStyle/>
          <a:p>
            <a:r>
              <a:rPr lang="en-US" dirty="0">
                <a:latin typeface="Open Sans Light"/>
                <a:ea typeface="Open Sans Light"/>
                <a:cs typeface="Open Sans Light"/>
              </a:rPr>
              <a:t>Planning and forecasting leading practices</a:t>
            </a:r>
            <a:endParaRPr lang="en-GB" dirty="0"/>
          </a:p>
        </p:txBody>
      </p:sp>
      <p:sp>
        <p:nvSpPr>
          <p:cNvPr id="4" name="object 3">
            <a:extLst>
              <a:ext uri="{FF2B5EF4-FFF2-40B4-BE49-F238E27FC236}">
                <a16:creationId xmlns:a16="http://schemas.microsoft.com/office/drawing/2014/main" id="{3481E462-0C10-D73C-E570-81FFF51F35A2}"/>
              </a:ext>
            </a:extLst>
          </p:cNvPr>
          <p:cNvSpPr txBox="1"/>
          <p:nvPr/>
        </p:nvSpPr>
        <p:spPr>
          <a:xfrm>
            <a:off x="4748509" y="3331199"/>
            <a:ext cx="2729865" cy="2354491"/>
          </a:xfrm>
          <a:prstGeom prst="rect">
            <a:avLst/>
          </a:prstGeom>
          <a:ln w="3175">
            <a:noFill/>
          </a:ln>
        </p:spPr>
        <p:txBody>
          <a:bodyPr vert="horz" wrap="square" lIns="0" tIns="4572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378451" marR="360036" indent="-287013" fontAlgn="base">
              <a:spcBef>
                <a:spcPts val="600"/>
              </a:spcBef>
              <a:spcAft>
                <a:spcPct val="0"/>
              </a:spcAft>
              <a:buFont typeface="Arial"/>
              <a:buChar char="•"/>
              <a:tabLst>
                <a:tab pos="378451" algn="l"/>
                <a:tab pos="379085" algn="l"/>
              </a:tabLst>
            </a:pP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Planning data </a:t>
            </a:r>
            <a:r>
              <a:rPr lang="en-US" sz="1000" b="1"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is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in one place,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with top-down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cascade of</a:t>
            </a:r>
            <a:r>
              <a:rPr lang="en-US" sz="1000" spc="-8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the  strategic plan through to  divisional and market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level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budgets.</a:t>
            </a:r>
          </a:p>
          <a:p>
            <a:pPr marL="378451" marR="85723" indent="-287013" fontAlgn="base">
              <a:spcBef>
                <a:spcPts val="600"/>
              </a:spcBef>
              <a:spcAft>
                <a:spcPct val="0"/>
              </a:spcAft>
              <a:buFont typeface="Arial"/>
              <a:buChar char="•"/>
              <a:tabLst>
                <a:tab pos="378451" algn="l"/>
                <a:tab pos="379085" algn="l"/>
              </a:tabLst>
            </a:pP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Levering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tools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to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move away from offline Excel </a:t>
            </a:r>
            <a:r>
              <a:rPr lang="en-US" sz="1000" b="1"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models</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driving  </a:t>
            </a:r>
            <a:r>
              <a:rPr lang="en-US" sz="1000" spc="-5" dirty="0" err="1">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standardisation</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governance and  control e.g. through</a:t>
            </a:r>
            <a:r>
              <a:rPr lang="en-US" sz="1000" spc="-8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workflow.</a:t>
            </a:r>
            <a:endPar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endParaRPr>
          </a:p>
          <a:p>
            <a:pPr marL="378451" marR="180335" indent="-287013" fontAlgn="base">
              <a:spcBef>
                <a:spcPts val="600"/>
              </a:spcBef>
              <a:spcAft>
                <a:spcPct val="0"/>
              </a:spcAft>
              <a:buFont typeface="Arial"/>
              <a:buChar char="•"/>
              <a:tabLst>
                <a:tab pos="378451" algn="l"/>
                <a:tab pos="379085" algn="l"/>
              </a:tabLst>
            </a:pP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bility to drill-down and aggregate through consistently defined hierarchies to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llow</a:t>
            </a:r>
            <a:r>
              <a:rPr lang="en-US" sz="1000" b="1" spc="-10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like for </a:t>
            </a:r>
            <a:r>
              <a:rPr lang="en-US" sz="1000" b="1"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like’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comparisons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cross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Business Units /</a:t>
            </a:r>
            <a:r>
              <a:rPr lang="en-US" sz="1000" spc="-4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geographies.</a:t>
            </a:r>
            <a:endPar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object 4">
            <a:extLst>
              <a:ext uri="{FF2B5EF4-FFF2-40B4-BE49-F238E27FC236}">
                <a16:creationId xmlns:a16="http://schemas.microsoft.com/office/drawing/2014/main" id="{2A71186F-16E5-2259-1CB4-1A471A5BA4A2}"/>
              </a:ext>
            </a:extLst>
          </p:cNvPr>
          <p:cNvSpPr txBox="1"/>
          <p:nvPr/>
        </p:nvSpPr>
        <p:spPr>
          <a:xfrm>
            <a:off x="1843763" y="3331199"/>
            <a:ext cx="2688591" cy="2662267"/>
          </a:xfrm>
          <a:prstGeom prst="rect">
            <a:avLst/>
          </a:prstGeom>
          <a:ln w="3175">
            <a:noFill/>
          </a:ln>
        </p:spPr>
        <p:txBody>
          <a:bodyPr vert="horz" wrap="square" lIns="0" tIns="4572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377816" marR="129535" indent="-287013" fontAlgn="base">
              <a:spcBef>
                <a:spcPts val="600"/>
              </a:spcBef>
              <a:spcAft>
                <a:spcPct val="0"/>
              </a:spcAft>
              <a:buFont typeface="Arial"/>
              <a:buChar char="•"/>
              <a:tabLst>
                <a:tab pos="377816" algn="l"/>
                <a:tab pos="378451" algn="l"/>
              </a:tabLst>
            </a:pP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PB&amp;F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strategic principles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in</a:t>
            </a:r>
            <a:r>
              <a:rPr lang="en-US" sz="1000" spc="-12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both  the short term and end state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identified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nd validated to  inform process and systems  </a:t>
            </a:r>
            <a:r>
              <a:rPr lang="en-US" sz="1000" spc="-5" dirty="0" err="1">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optimisation</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t>
            </a:r>
            <a:endPar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endParaRPr>
          </a:p>
          <a:p>
            <a:pPr marL="377816" marR="194940" indent="-287013" fontAlgn="base">
              <a:spcBef>
                <a:spcPts val="600"/>
              </a:spcBef>
              <a:spcAft>
                <a:spcPct val="0"/>
              </a:spcAft>
              <a:buFont typeface="Arial"/>
              <a:buChar char="•"/>
              <a:tabLst>
                <a:tab pos="377816" algn="l"/>
                <a:tab pos="378451" algn="l"/>
              </a:tabLst>
            </a:pP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Conduct a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spec and </a:t>
            </a:r>
            <a:r>
              <a:rPr lang="en-US" sz="1000" b="1"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select’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evaluation exercise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for a</a:t>
            </a:r>
            <a:r>
              <a:rPr lang="en-US" sz="1000" spc="-1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future PB&amp;F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tool,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based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on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meeting business and functional  requirements for</a:t>
            </a:r>
            <a:r>
              <a:rPr lang="en-US" sz="1000" spc="-4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PB&amp;F.</a:t>
            </a:r>
          </a:p>
          <a:p>
            <a:pPr marL="377816" marR="288283" indent="-287013" fontAlgn="base">
              <a:spcBef>
                <a:spcPts val="600"/>
              </a:spcBef>
              <a:spcAft>
                <a:spcPct val="0"/>
              </a:spcAft>
              <a:buFont typeface="Arial"/>
              <a:buChar char="•"/>
              <a:tabLst>
                <a:tab pos="377816" algn="l"/>
                <a:tab pos="378451" algn="l"/>
              </a:tabLst>
            </a:pP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Design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of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standard </a:t>
            </a:r>
            <a:r>
              <a:rPr lang="en-US" sz="1000" b="1"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Group models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for planning,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understanding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where  commonality can be used to  drive </a:t>
            </a:r>
            <a:r>
              <a:rPr lang="en-US" sz="1000" spc="-5" dirty="0" err="1">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standardisation</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nd efficiency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nd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where market</a:t>
            </a:r>
            <a:r>
              <a:rPr lang="en-US" sz="1000" spc="-14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brand exceptions</a:t>
            </a:r>
            <a:r>
              <a:rPr lang="en-US" sz="1000" spc="-7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exist</a:t>
            </a:r>
          </a:p>
        </p:txBody>
      </p:sp>
      <p:sp>
        <p:nvSpPr>
          <p:cNvPr id="6" name="object 5">
            <a:extLst>
              <a:ext uri="{FF2B5EF4-FFF2-40B4-BE49-F238E27FC236}">
                <a16:creationId xmlns:a16="http://schemas.microsoft.com/office/drawing/2014/main" id="{775B03B4-C1E0-92D4-52FD-42CAC937A429}"/>
              </a:ext>
            </a:extLst>
          </p:cNvPr>
          <p:cNvSpPr txBox="1"/>
          <p:nvPr/>
        </p:nvSpPr>
        <p:spPr>
          <a:xfrm>
            <a:off x="4748509" y="2611220"/>
            <a:ext cx="2729865" cy="629018"/>
          </a:xfrm>
          <a:prstGeom prst="rect">
            <a:avLst/>
          </a:prstGeom>
        </p:spPr>
        <p:txBody>
          <a:bodyPr vert="horz" wrap="square" lIns="0" tIns="13335"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2700" marR="5080" indent="1271" algn="ctr" fontAlgn="base">
              <a:spcBef>
                <a:spcPts val="105"/>
              </a:spcBef>
              <a:spcAft>
                <a:spcPct val="0"/>
              </a:spcAft>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Using </a:t>
            </a:r>
            <a:r>
              <a:rPr lang="en-US" sz="1000" b="1" spc="-5" dirty="0">
                <a:solidFill>
                  <a:srgbClr val="007CB0"/>
                </a:solidFill>
                <a:latin typeface="Open Sans" panose="020B0606030504020204" pitchFamily="34" charset="0"/>
                <a:ea typeface="Open Sans" panose="020B0606030504020204" pitchFamily="34" charset="0"/>
                <a:cs typeface="Open Sans" panose="020B0606030504020204" pitchFamily="34" charset="0"/>
              </a:rPr>
              <a:t>technology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to structure and  govern the planning process,</a:t>
            </a:r>
            <a:r>
              <a:rPr lang="en-US" sz="1000" b="1" spc="-120" dirty="0">
                <a:solidFill>
                  <a:srgbClr val="007CB0"/>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giving time back for ‘what- </a:t>
            </a:r>
            <a:r>
              <a:rPr lang="en-US" sz="1000" b="1" spc="-5" dirty="0">
                <a:solidFill>
                  <a:srgbClr val="007CB0"/>
                </a:solidFill>
                <a:latin typeface="Open Sans" panose="020B0606030504020204" pitchFamily="34" charset="0"/>
                <a:ea typeface="Open Sans" panose="020B0606030504020204" pitchFamily="34" charset="0"/>
                <a:cs typeface="Open Sans" panose="020B0606030504020204" pitchFamily="34" charset="0"/>
              </a:rPr>
              <a:t>if’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scenario analysis and </a:t>
            </a:r>
            <a:r>
              <a:rPr lang="en-US" sz="1000" b="1" spc="-5" dirty="0">
                <a:solidFill>
                  <a:srgbClr val="007CB0"/>
                </a:solidFill>
                <a:latin typeface="Open Sans" panose="020B0606030504020204" pitchFamily="34" charset="0"/>
                <a:ea typeface="Open Sans" panose="020B0606030504020204" pitchFamily="34" charset="0"/>
                <a:cs typeface="Open Sans" panose="020B0606030504020204" pitchFamily="34" charset="0"/>
              </a:rPr>
              <a:t>risk</a:t>
            </a:r>
            <a:r>
              <a:rPr lang="en-US" sz="1000" b="1" spc="-91" dirty="0">
                <a:solidFill>
                  <a:srgbClr val="007CB0"/>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management.</a:t>
            </a:r>
          </a:p>
        </p:txBody>
      </p:sp>
      <p:sp>
        <p:nvSpPr>
          <p:cNvPr id="7" name="object 6">
            <a:extLst>
              <a:ext uri="{FF2B5EF4-FFF2-40B4-BE49-F238E27FC236}">
                <a16:creationId xmlns:a16="http://schemas.microsoft.com/office/drawing/2014/main" id="{3E2A391F-74FF-BA48-5B6D-1546FF7BD3B6}"/>
              </a:ext>
            </a:extLst>
          </p:cNvPr>
          <p:cNvSpPr txBox="1"/>
          <p:nvPr/>
        </p:nvSpPr>
        <p:spPr>
          <a:xfrm>
            <a:off x="1825476" y="2611219"/>
            <a:ext cx="2697480" cy="475130"/>
          </a:xfrm>
          <a:prstGeom prst="rect">
            <a:avLst/>
          </a:prstGeom>
        </p:spPr>
        <p:txBody>
          <a:bodyPr vert="horz" wrap="square" lIns="0" tIns="13335"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2700" marR="5080" indent="-1271" algn="ctr" fontAlgn="base">
              <a:spcBef>
                <a:spcPts val="105"/>
              </a:spcBef>
              <a:spcAft>
                <a:spcPct val="0"/>
              </a:spcAft>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Identifying commonality  across our business </a:t>
            </a:r>
            <a:r>
              <a:rPr lang="en-US" sz="1000" b="1" spc="-5" dirty="0">
                <a:solidFill>
                  <a:srgbClr val="007CB0"/>
                </a:solidFill>
                <a:latin typeface="Open Sans" panose="020B0606030504020204" pitchFamily="34" charset="0"/>
                <a:ea typeface="Open Sans" panose="020B0606030504020204" pitchFamily="34" charset="0"/>
                <a:cs typeface="Open Sans" panose="020B0606030504020204" pitchFamily="34" charset="0"/>
              </a:rPr>
              <a:t>models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and data to leverage</a:t>
            </a:r>
            <a:r>
              <a:rPr lang="en-US" sz="1000" b="1" spc="-145" dirty="0">
                <a:solidFill>
                  <a:srgbClr val="007CB0"/>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common processes </a:t>
            </a:r>
            <a:r>
              <a:rPr lang="en-US" sz="1000" b="1" spc="5" dirty="0">
                <a:solidFill>
                  <a:srgbClr val="007CB0"/>
                </a:solidFill>
                <a:latin typeface="Open Sans" panose="020B0606030504020204" pitchFamily="34" charset="0"/>
                <a:ea typeface="Open Sans" panose="020B0606030504020204" pitchFamily="34" charset="0"/>
                <a:cs typeface="Open Sans" panose="020B0606030504020204" pitchFamily="34" charset="0"/>
              </a:rPr>
              <a:t>and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tool for  planning.</a:t>
            </a:r>
          </a:p>
        </p:txBody>
      </p:sp>
      <p:sp>
        <p:nvSpPr>
          <p:cNvPr id="8" name="object 7">
            <a:extLst>
              <a:ext uri="{FF2B5EF4-FFF2-40B4-BE49-F238E27FC236}">
                <a16:creationId xmlns:a16="http://schemas.microsoft.com/office/drawing/2014/main" id="{7EA4AC42-8019-B06D-F6CC-B901454630A9}"/>
              </a:ext>
            </a:extLst>
          </p:cNvPr>
          <p:cNvSpPr txBox="1"/>
          <p:nvPr/>
        </p:nvSpPr>
        <p:spPr>
          <a:xfrm>
            <a:off x="7657826" y="3331198"/>
            <a:ext cx="2731135" cy="3046988"/>
          </a:xfrm>
          <a:prstGeom prst="rect">
            <a:avLst/>
          </a:prstGeom>
          <a:ln w="3175">
            <a:noFill/>
          </a:ln>
        </p:spPr>
        <p:txBody>
          <a:bodyPr vert="horz" wrap="square" lIns="0" tIns="4572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379085" marR="102868" indent="-287013" fontAlgn="base">
              <a:spcBef>
                <a:spcPts val="600"/>
              </a:spcBef>
              <a:spcAft>
                <a:spcPct val="0"/>
              </a:spcAft>
              <a:buFont typeface="Arial"/>
              <a:buChar char="•"/>
              <a:tabLst>
                <a:tab pos="379085" algn="l"/>
                <a:tab pos="379721" algn="l"/>
              </a:tabLst>
            </a:pP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 budget process that doesn’t require significant resource</a:t>
            </a:r>
            <a:r>
              <a:rPr lang="en-US" sz="1000" spc="-14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effort and time; an ongoing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rolling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forecast provides the basis for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continuous iterative performance management.</a:t>
            </a:r>
          </a:p>
          <a:p>
            <a:pPr marL="379085" marR="274948" indent="-287013" fontAlgn="base">
              <a:spcBef>
                <a:spcPts val="600"/>
              </a:spcBef>
              <a:spcAft>
                <a:spcPct val="0"/>
              </a:spcAft>
              <a:buFont typeface="Arial"/>
              <a:buChar char="•"/>
              <a:tabLst>
                <a:tab pos="379085" algn="l"/>
                <a:tab pos="379721" algn="l"/>
              </a:tabLst>
            </a:pP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Sponsored and championed</a:t>
            </a:r>
            <a:r>
              <a:rPr lang="en-US" sz="1000" spc="-15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by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the CEO, completed with the  business as a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routine part </a:t>
            </a:r>
            <a:r>
              <a:rPr lang="en-US" sz="1000" b="1"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of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their day-to-day business management</a:t>
            </a:r>
            <a:r>
              <a:rPr lang="en-US" sz="1000" b="1" spc="-4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b="1"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role</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t>
            </a:r>
            <a:endPar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endParaRPr>
          </a:p>
          <a:p>
            <a:pPr marL="379085" marR="121282" indent="-287013" fontAlgn="base">
              <a:spcBef>
                <a:spcPts val="600"/>
              </a:spcBef>
              <a:spcAft>
                <a:spcPct val="0"/>
              </a:spcAft>
              <a:buFont typeface="Arial"/>
              <a:buChar char="•"/>
              <a:tabLst>
                <a:tab pos="379085" algn="l"/>
                <a:tab pos="379721" algn="l"/>
              </a:tabLst>
            </a:pP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Forecasting is an accurate, critical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ppraisal of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where we</a:t>
            </a:r>
            <a:r>
              <a:rPr lang="en-US" sz="1000" spc="-9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re going and as the bedrock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of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managing future</a:t>
            </a:r>
            <a:r>
              <a:rPr lang="en-US" sz="1000" b="1" spc="-7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performance.</a:t>
            </a:r>
          </a:p>
          <a:p>
            <a:pPr marL="379085" marR="218435" indent="-287013" fontAlgn="base">
              <a:spcBef>
                <a:spcPts val="600"/>
              </a:spcBef>
              <a:spcAft>
                <a:spcPct val="0"/>
              </a:spcAft>
              <a:buFont typeface="Arial"/>
              <a:buChar char="•"/>
              <a:tabLst>
                <a:tab pos="379085" algn="l"/>
                <a:tab pos="379721" algn="l"/>
              </a:tabLst>
            </a:pPr>
            <a:r>
              <a:rPr lang="en-US" sz="1000" spc="-5" dirty="0" err="1">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Systemised</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use of </a:t>
            </a:r>
            <a:r>
              <a:rPr lang="en-US" sz="1000" b="1"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driver-based  analysis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to understand how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internal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nd external factors affect future financial performance – both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risks </a:t>
            </a:r>
            <a:r>
              <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and </a:t>
            </a:r>
            <a:r>
              <a:rPr lang="en-US" sz="1000" spc="-5"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rPr>
              <a:t>opportunities.</a:t>
            </a:r>
            <a:endParaRPr lang="en-US" sz="1000" dirty="0">
              <a:solidFill>
                <a:srgbClr val="53284F">
                  <a:lumMod val="50000"/>
                </a:srgb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object 8">
            <a:extLst>
              <a:ext uri="{FF2B5EF4-FFF2-40B4-BE49-F238E27FC236}">
                <a16:creationId xmlns:a16="http://schemas.microsoft.com/office/drawing/2014/main" id="{4347DD9C-1ABB-7702-92F5-5C08650B5EB0}"/>
              </a:ext>
            </a:extLst>
          </p:cNvPr>
          <p:cNvSpPr txBox="1"/>
          <p:nvPr/>
        </p:nvSpPr>
        <p:spPr>
          <a:xfrm>
            <a:off x="7657825" y="2611220"/>
            <a:ext cx="2659251" cy="475130"/>
          </a:xfrm>
          <a:prstGeom prst="rect">
            <a:avLst/>
          </a:prstGeom>
        </p:spPr>
        <p:txBody>
          <a:bodyPr vert="horz" wrap="square" lIns="0" tIns="13335"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2065" marR="5080" indent="-1271" algn="ctr" fontAlgn="base">
              <a:spcBef>
                <a:spcPts val="105"/>
              </a:spcBef>
              <a:spcAft>
                <a:spcPct val="0"/>
              </a:spcAft>
            </a:pP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A </a:t>
            </a:r>
            <a:r>
              <a:rPr lang="en-US" sz="1000" b="1" spc="-5" dirty="0">
                <a:solidFill>
                  <a:srgbClr val="007CB0"/>
                </a:solidFill>
                <a:latin typeface="Open Sans" panose="020B0606030504020204" pitchFamily="34" charset="0"/>
                <a:ea typeface="Open Sans" panose="020B0606030504020204" pitchFamily="34" charset="0"/>
                <a:cs typeface="Open Sans" panose="020B0606030504020204" pitchFamily="34" charset="0"/>
              </a:rPr>
              <a:t>continuous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planning cycle embedded as </a:t>
            </a:r>
            <a:r>
              <a:rPr lang="en-US" sz="1000" b="1" spc="-5" dirty="0">
                <a:solidFill>
                  <a:srgbClr val="007CB0"/>
                </a:solidFill>
                <a:latin typeface="Open Sans" panose="020B0606030504020204" pitchFamily="34" charset="0"/>
                <a:ea typeface="Open Sans" panose="020B0606030504020204" pitchFamily="34" charset="0"/>
                <a:cs typeface="Open Sans" panose="020B0606030504020204" pitchFamily="34" charset="0"/>
              </a:rPr>
              <a:t>part of</a:t>
            </a:r>
            <a:r>
              <a:rPr lang="en-US" sz="1000" b="1" spc="-85" dirty="0">
                <a:solidFill>
                  <a:srgbClr val="007CB0"/>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day-to-day performance</a:t>
            </a:r>
            <a:r>
              <a:rPr lang="en-US" sz="1000" b="1" spc="-55" dirty="0">
                <a:solidFill>
                  <a:srgbClr val="007CB0"/>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management.</a:t>
            </a:r>
          </a:p>
        </p:txBody>
      </p:sp>
      <p:sp>
        <p:nvSpPr>
          <p:cNvPr id="10" name="object 9">
            <a:extLst>
              <a:ext uri="{FF2B5EF4-FFF2-40B4-BE49-F238E27FC236}">
                <a16:creationId xmlns:a16="http://schemas.microsoft.com/office/drawing/2014/main" id="{BD60FDC5-2D7A-8B68-62C4-DB193CEDE3C6}"/>
              </a:ext>
            </a:extLst>
          </p:cNvPr>
          <p:cNvSpPr txBox="1"/>
          <p:nvPr/>
        </p:nvSpPr>
        <p:spPr>
          <a:xfrm>
            <a:off x="1825476" y="1992104"/>
            <a:ext cx="2697480" cy="289182"/>
          </a:xfrm>
          <a:prstGeom prst="rect">
            <a:avLst/>
          </a:prstGeom>
        </p:spPr>
        <p:style>
          <a:lnRef idx="1">
            <a:schemeClr val="accent3"/>
          </a:lnRef>
          <a:fillRef idx="2">
            <a:schemeClr val="accent3"/>
          </a:fillRef>
          <a:effectRef idx="1">
            <a:schemeClr val="accent3"/>
          </a:effectRef>
          <a:fontRef idx="minor">
            <a:schemeClr val="dk1"/>
          </a:fontRef>
        </p:style>
        <p:txBody>
          <a:bodyPr vert="horz" wrap="square" lIns="0" tIns="133985" rIns="0" bIns="0" rtlCol="0" anchor="t">
            <a:spAutoFit/>
          </a:bodyPr>
          <a:lstStyle>
            <a:defPPr>
              <a:defRPr lang="en-US"/>
            </a:defPPr>
            <a:lvl1pPr marL="265424" marR="103503" indent="-154301" defTabSz="1219170" fontAlgn="base">
              <a:spcBef>
                <a:spcPts val="1055"/>
              </a:spcBef>
              <a:spcAft>
                <a:spcPct val="0"/>
              </a:spcAft>
              <a:defRPr sz="1000">
                <a:solidFill>
                  <a:schemeClr val="dk1"/>
                </a:solidFill>
                <a:latin typeface="Open Sans" panose="020B0606030504020204" pitchFamily="34" charset="0"/>
                <a:ea typeface="Open Sans" panose="020B0606030504020204" pitchFamily="34" charset="0"/>
                <a:cs typeface="Open Sans" panose="020B0606030504020204" pitchFamily="34" charset="0"/>
              </a:defRPr>
            </a:lvl1pPr>
            <a:lvl2pPr marL="609585" defTabSz="1219170">
              <a:defRPr sz="2400">
                <a:solidFill>
                  <a:schemeClr val="dk1"/>
                </a:solidFill>
              </a:defRPr>
            </a:lvl2pPr>
            <a:lvl3pPr marL="1219170" defTabSz="1219170">
              <a:defRPr sz="2400">
                <a:solidFill>
                  <a:schemeClr val="dk1"/>
                </a:solidFill>
              </a:defRPr>
            </a:lvl3pPr>
            <a:lvl4pPr marL="1828754" defTabSz="1219170">
              <a:defRPr sz="2400">
                <a:solidFill>
                  <a:schemeClr val="dk1"/>
                </a:solidFill>
              </a:defRPr>
            </a:lvl4pPr>
            <a:lvl5pPr marL="2438339" defTabSz="1219170">
              <a:defRPr sz="2400">
                <a:solidFill>
                  <a:schemeClr val="dk1"/>
                </a:solidFill>
              </a:defRPr>
            </a:lvl5pPr>
            <a:lvl6pPr marL="3047924" defTabSz="1219170">
              <a:defRPr sz="2400">
                <a:solidFill>
                  <a:schemeClr val="dk1"/>
                </a:solidFill>
              </a:defRPr>
            </a:lvl6pPr>
            <a:lvl7pPr marL="3657509" defTabSz="1219170">
              <a:defRPr sz="2400">
                <a:solidFill>
                  <a:schemeClr val="dk1"/>
                </a:solidFill>
              </a:defRPr>
            </a:lvl7pPr>
            <a:lvl8pPr marL="4267093" defTabSz="1219170">
              <a:defRPr sz="2400">
                <a:solidFill>
                  <a:schemeClr val="dk1"/>
                </a:solidFill>
              </a:defRPr>
            </a:lvl8pPr>
            <a:lvl9pPr marL="4876678" defTabSz="1219170">
              <a:defRPr sz="2400">
                <a:solidFill>
                  <a:schemeClr val="dk1"/>
                </a:solidFill>
              </a:defRPr>
            </a:lvl9pPr>
          </a:lstStyle>
          <a:p>
            <a:endParaRPr lang="en-US" dirty="0"/>
          </a:p>
        </p:txBody>
      </p:sp>
      <p:sp>
        <p:nvSpPr>
          <p:cNvPr id="11" name="object 10">
            <a:extLst>
              <a:ext uri="{FF2B5EF4-FFF2-40B4-BE49-F238E27FC236}">
                <a16:creationId xmlns:a16="http://schemas.microsoft.com/office/drawing/2014/main" id="{710BA645-1A7A-3B60-848F-ED282FD26397}"/>
              </a:ext>
            </a:extLst>
          </p:cNvPr>
          <p:cNvSpPr txBox="1"/>
          <p:nvPr/>
        </p:nvSpPr>
        <p:spPr>
          <a:xfrm>
            <a:off x="4716585" y="1992104"/>
            <a:ext cx="2696400" cy="289182"/>
          </a:xfrm>
          <a:prstGeom prst="rect">
            <a:avLst/>
          </a:prstGeom>
        </p:spPr>
        <p:style>
          <a:lnRef idx="1">
            <a:schemeClr val="accent3"/>
          </a:lnRef>
          <a:fillRef idx="2">
            <a:schemeClr val="accent3"/>
          </a:fillRef>
          <a:effectRef idx="1">
            <a:schemeClr val="accent3"/>
          </a:effectRef>
          <a:fontRef idx="minor">
            <a:schemeClr val="dk1"/>
          </a:fontRef>
        </p:style>
        <p:txBody>
          <a:bodyPr vert="horz" wrap="square" lIns="0" tIns="133985" rIns="0" bIns="0" rtlCol="0" anchor="t">
            <a:spAutoFit/>
          </a:bodyPr>
          <a:lstStyle>
            <a:defPPr>
              <a:defRPr lang="en-US"/>
            </a:defPPr>
            <a:lvl1pPr marL="265424" marR="103503" indent="-154301" defTabSz="1219170" fontAlgn="base">
              <a:spcBef>
                <a:spcPts val="1055"/>
              </a:spcBef>
              <a:spcAft>
                <a:spcPct val="0"/>
              </a:spcAft>
              <a:defRPr sz="1000">
                <a:latin typeface="Open Sans" panose="020B0606030504020204" pitchFamily="34" charset="0"/>
                <a:ea typeface="Open Sans" panose="020B0606030504020204" pitchFamily="34" charset="0"/>
                <a:cs typeface="Open Sans" panose="020B0606030504020204" pitchFamily="34" charset="0"/>
              </a:defRPr>
            </a:lvl1pPr>
            <a:lvl2pPr marL="609585" defTabSz="1219170">
              <a:defRPr sz="2400"/>
            </a:lvl2pPr>
            <a:lvl3pPr marL="1219170" defTabSz="1219170">
              <a:defRPr sz="2400"/>
            </a:lvl3pPr>
            <a:lvl4pPr marL="1828754" defTabSz="1219170">
              <a:defRPr sz="2400"/>
            </a:lvl4pPr>
            <a:lvl5pPr marL="2438339" defTabSz="1219170">
              <a:defRPr sz="2400"/>
            </a:lvl5pPr>
            <a:lvl6pPr marL="3047924" defTabSz="1219170">
              <a:defRPr sz="2400"/>
            </a:lvl6pPr>
            <a:lvl7pPr marL="3657509" defTabSz="1219170">
              <a:defRPr sz="2400"/>
            </a:lvl7pPr>
            <a:lvl8pPr marL="4267093" defTabSz="1219170">
              <a:defRPr sz="2400"/>
            </a:lvl8pPr>
            <a:lvl9pPr marL="4876678" defTabSz="1219170">
              <a:defRPr sz="2400"/>
            </a:lvl9pPr>
          </a:lstStyle>
          <a:p>
            <a:endParaRPr lang="en-US" dirty="0"/>
          </a:p>
        </p:txBody>
      </p:sp>
      <p:sp>
        <p:nvSpPr>
          <p:cNvPr id="12" name="object 11">
            <a:extLst>
              <a:ext uri="{FF2B5EF4-FFF2-40B4-BE49-F238E27FC236}">
                <a16:creationId xmlns:a16="http://schemas.microsoft.com/office/drawing/2014/main" id="{0914BAB8-1C16-F8F8-A514-699C521ADDF0}"/>
              </a:ext>
            </a:extLst>
          </p:cNvPr>
          <p:cNvSpPr txBox="1"/>
          <p:nvPr/>
        </p:nvSpPr>
        <p:spPr>
          <a:xfrm>
            <a:off x="7613245" y="1992104"/>
            <a:ext cx="2703831" cy="289182"/>
          </a:xfrm>
          <a:prstGeom prst="rect">
            <a:avLst/>
          </a:prstGeom>
        </p:spPr>
        <p:style>
          <a:lnRef idx="1">
            <a:schemeClr val="accent3"/>
          </a:lnRef>
          <a:fillRef idx="2">
            <a:schemeClr val="accent3"/>
          </a:fillRef>
          <a:effectRef idx="1">
            <a:schemeClr val="accent3"/>
          </a:effectRef>
          <a:fontRef idx="minor">
            <a:schemeClr val="dk1"/>
          </a:fontRef>
        </p:style>
        <p:txBody>
          <a:bodyPr vert="horz" wrap="square" lIns="0" tIns="133985"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65424" marR="103503" indent="-154301" fontAlgn="base">
              <a:spcBef>
                <a:spcPts val="1055"/>
              </a:spcBef>
              <a:spcAft>
                <a:spcPct val="0"/>
              </a:spcAft>
            </a:pP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object 12">
            <a:extLst>
              <a:ext uri="{FF2B5EF4-FFF2-40B4-BE49-F238E27FC236}">
                <a16:creationId xmlns:a16="http://schemas.microsoft.com/office/drawing/2014/main" id="{612BBAF8-E655-5505-DCB8-743C70BC27BC}"/>
              </a:ext>
            </a:extLst>
          </p:cNvPr>
          <p:cNvSpPr/>
          <p:nvPr/>
        </p:nvSpPr>
        <p:spPr>
          <a:xfrm>
            <a:off x="458319" y="2116836"/>
            <a:ext cx="1252855" cy="624840"/>
          </a:xfrm>
          <a:custGeom>
            <a:avLst/>
            <a:gdLst/>
            <a:ahLst/>
            <a:cxnLst/>
            <a:rect l="l" t="t" r="r" b="b"/>
            <a:pathLst>
              <a:path w="1252855" h="624839">
                <a:moveTo>
                  <a:pt x="0" y="624839"/>
                </a:moveTo>
                <a:lnTo>
                  <a:pt x="1252728" y="624839"/>
                </a:lnTo>
                <a:lnTo>
                  <a:pt x="1252728" y="0"/>
                </a:lnTo>
                <a:lnTo>
                  <a:pt x="0" y="0"/>
                </a:lnTo>
                <a:lnTo>
                  <a:pt x="0" y="624839"/>
                </a:lnTo>
                <a:close/>
              </a:path>
            </a:pathLst>
          </a:custGeom>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fontAlgn="base">
              <a:spcBef>
                <a:spcPct val="0"/>
              </a:spcBef>
              <a:spcAft>
                <a:spcPct val="0"/>
              </a:spcAft>
            </a:pPr>
            <a:r>
              <a:rPr lang="en-US" sz="10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Manual process </a:t>
            </a:r>
          </a:p>
        </p:txBody>
      </p:sp>
      <p:sp>
        <p:nvSpPr>
          <p:cNvPr id="14" name="object 15">
            <a:extLst>
              <a:ext uri="{FF2B5EF4-FFF2-40B4-BE49-F238E27FC236}">
                <a16:creationId xmlns:a16="http://schemas.microsoft.com/office/drawing/2014/main" id="{C5660B15-A78D-1D6F-CDD5-746D305864C8}"/>
              </a:ext>
            </a:extLst>
          </p:cNvPr>
          <p:cNvSpPr/>
          <p:nvPr/>
        </p:nvSpPr>
        <p:spPr>
          <a:xfrm>
            <a:off x="458319" y="2833115"/>
            <a:ext cx="1252855" cy="624840"/>
          </a:xfrm>
          <a:custGeom>
            <a:avLst/>
            <a:gdLst/>
            <a:ahLst/>
            <a:cxnLst/>
            <a:rect l="l" t="t" r="r" b="b"/>
            <a:pathLst>
              <a:path w="1252855" h="624839">
                <a:moveTo>
                  <a:pt x="0" y="624839"/>
                </a:moveTo>
                <a:lnTo>
                  <a:pt x="1252728" y="624839"/>
                </a:lnTo>
                <a:lnTo>
                  <a:pt x="1252728" y="0"/>
                </a:lnTo>
                <a:lnTo>
                  <a:pt x="0" y="0"/>
                </a:lnTo>
                <a:lnTo>
                  <a:pt x="0" y="624839"/>
                </a:lnTo>
                <a:close/>
              </a:path>
            </a:pathLst>
          </a:custGeom>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fontAlgn="base">
              <a:spcBef>
                <a:spcPct val="0"/>
              </a:spcBef>
              <a:spcAft>
                <a:spcPct val="0"/>
              </a:spcAft>
            </a:pPr>
            <a:r>
              <a:rPr lang="en-US" sz="1000" b="1">
                <a:solidFill>
                  <a:schemeClr val="accent3"/>
                </a:solidFill>
                <a:latin typeface="Open Sans" panose="020B0606030504020204" pitchFamily="34" charset="0"/>
                <a:ea typeface="Open Sans" panose="020B0606030504020204" pitchFamily="34" charset="0"/>
                <a:cs typeface="Open Sans" panose="020B0606030504020204" pitchFamily="34" charset="0"/>
              </a:rPr>
              <a:t>Resource intensive</a:t>
            </a:r>
            <a:endParaRPr lang="en-US" sz="1000" b="1"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object 17">
            <a:extLst>
              <a:ext uri="{FF2B5EF4-FFF2-40B4-BE49-F238E27FC236}">
                <a16:creationId xmlns:a16="http://schemas.microsoft.com/office/drawing/2014/main" id="{C3F53B0D-EDA9-5BDD-C742-96C537D7E4AC}"/>
              </a:ext>
            </a:extLst>
          </p:cNvPr>
          <p:cNvSpPr/>
          <p:nvPr/>
        </p:nvSpPr>
        <p:spPr>
          <a:xfrm>
            <a:off x="458319" y="3566159"/>
            <a:ext cx="1252855" cy="624840"/>
          </a:xfrm>
          <a:custGeom>
            <a:avLst/>
            <a:gdLst/>
            <a:ahLst/>
            <a:cxnLst/>
            <a:rect l="l" t="t" r="r" b="b"/>
            <a:pathLst>
              <a:path w="1252855" h="624839">
                <a:moveTo>
                  <a:pt x="0" y="624839"/>
                </a:moveTo>
                <a:lnTo>
                  <a:pt x="1252728" y="624839"/>
                </a:lnTo>
                <a:lnTo>
                  <a:pt x="1252728" y="0"/>
                </a:lnTo>
                <a:lnTo>
                  <a:pt x="0" y="0"/>
                </a:lnTo>
                <a:lnTo>
                  <a:pt x="0" y="624839"/>
                </a:lnTo>
                <a:close/>
              </a:path>
            </a:pathLst>
          </a:custGeom>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fontAlgn="base">
              <a:spcBef>
                <a:spcPct val="0"/>
              </a:spcBef>
              <a:spcAft>
                <a:spcPct val="0"/>
              </a:spcAft>
            </a:pPr>
            <a:r>
              <a:rPr lang="en-US" sz="1000" b="1">
                <a:solidFill>
                  <a:schemeClr val="accent3"/>
                </a:solidFill>
                <a:latin typeface="Open Sans" panose="020B0606030504020204" pitchFamily="34" charset="0"/>
                <a:ea typeface="Open Sans" panose="020B0606030504020204" pitchFamily="34" charset="0"/>
                <a:cs typeface="Open Sans" panose="020B0606030504020204" pitchFamily="34" charset="0"/>
              </a:rPr>
              <a:t>Limited analysis</a:t>
            </a:r>
            <a:endParaRPr lang="en-US" sz="1000" b="1"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object 19">
            <a:extLst>
              <a:ext uri="{FF2B5EF4-FFF2-40B4-BE49-F238E27FC236}">
                <a16:creationId xmlns:a16="http://schemas.microsoft.com/office/drawing/2014/main" id="{78FDD87B-BC2D-23F1-2D40-A6CB1E72501F}"/>
              </a:ext>
            </a:extLst>
          </p:cNvPr>
          <p:cNvSpPr/>
          <p:nvPr/>
        </p:nvSpPr>
        <p:spPr>
          <a:xfrm>
            <a:off x="1823951" y="1758033"/>
            <a:ext cx="8548371" cy="135891"/>
          </a:xfrm>
          <a:custGeom>
            <a:avLst/>
            <a:gdLst/>
            <a:ahLst/>
            <a:cxnLst/>
            <a:rect l="l" t="t" r="r" b="b"/>
            <a:pathLst>
              <a:path w="8548370" h="135890">
                <a:moveTo>
                  <a:pt x="8480298" y="0"/>
                </a:moveTo>
                <a:lnTo>
                  <a:pt x="8480298" y="33908"/>
                </a:lnTo>
                <a:lnTo>
                  <a:pt x="0" y="33908"/>
                </a:lnTo>
                <a:lnTo>
                  <a:pt x="0" y="101726"/>
                </a:lnTo>
                <a:lnTo>
                  <a:pt x="8480298" y="101726"/>
                </a:lnTo>
                <a:lnTo>
                  <a:pt x="8480298" y="135636"/>
                </a:lnTo>
                <a:lnTo>
                  <a:pt x="8548116" y="67817"/>
                </a:lnTo>
                <a:lnTo>
                  <a:pt x="8480298" y="0"/>
                </a:lnTo>
                <a:close/>
              </a:path>
            </a:pathLst>
          </a:custGeom>
          <a:solidFill>
            <a:srgbClr val="0096A9"/>
          </a:solidFill>
        </p:spPr>
        <p:txBody>
          <a:bodyPr wrap="square" lIns="0" tIns="0" rIns="0" bIns="0" rtlCol="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fontAlgn="base">
              <a:spcBef>
                <a:spcPct val="0"/>
              </a:spcBef>
              <a:spcAft>
                <a:spcPct val="0"/>
              </a:spcAft>
            </a:pPr>
            <a:endParaRPr lang="en-US" sz="1000" dirty="0">
              <a:solidFill>
                <a:srgbClr val="93186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object 20">
            <a:extLst>
              <a:ext uri="{FF2B5EF4-FFF2-40B4-BE49-F238E27FC236}">
                <a16:creationId xmlns:a16="http://schemas.microsoft.com/office/drawing/2014/main" id="{76D662F4-770D-DEC4-D6E1-44F27613999A}"/>
              </a:ext>
            </a:extLst>
          </p:cNvPr>
          <p:cNvSpPr/>
          <p:nvPr/>
        </p:nvSpPr>
        <p:spPr>
          <a:xfrm>
            <a:off x="1823951" y="1758033"/>
            <a:ext cx="8548371" cy="135891"/>
          </a:xfrm>
          <a:custGeom>
            <a:avLst/>
            <a:gdLst/>
            <a:ahLst/>
            <a:cxnLst/>
            <a:rect l="l" t="t" r="r" b="b"/>
            <a:pathLst>
              <a:path w="8548370" h="135890">
                <a:moveTo>
                  <a:pt x="0" y="33908"/>
                </a:moveTo>
                <a:lnTo>
                  <a:pt x="8480298" y="33908"/>
                </a:lnTo>
                <a:lnTo>
                  <a:pt x="8480298" y="0"/>
                </a:lnTo>
                <a:lnTo>
                  <a:pt x="8548116" y="67817"/>
                </a:lnTo>
                <a:lnTo>
                  <a:pt x="8480298" y="135636"/>
                </a:lnTo>
                <a:lnTo>
                  <a:pt x="8480298" y="101726"/>
                </a:lnTo>
                <a:lnTo>
                  <a:pt x="0" y="101726"/>
                </a:lnTo>
                <a:lnTo>
                  <a:pt x="0" y="33908"/>
                </a:lnTo>
                <a:close/>
              </a:path>
            </a:pathLst>
          </a:custGeom>
          <a:solidFill>
            <a:schemeClr val="bg2">
              <a:lumMod val="90000"/>
            </a:schemeClr>
          </a:solidFill>
          <a:ln w="9144">
            <a:noFill/>
          </a:ln>
        </p:spPr>
        <p:txBody>
          <a:bodyPr wrap="square" lIns="0" tIns="0" rIns="0" bIns="0" rtlCol="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fontAlgn="base">
              <a:spcBef>
                <a:spcPct val="0"/>
              </a:spcBef>
              <a:spcAft>
                <a:spcPct val="0"/>
              </a:spcAft>
            </a:pPr>
            <a:endParaRPr lang="en-US" sz="1000" dirty="0">
              <a:solidFill>
                <a:srgbClr val="93186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bject 21">
            <a:extLst>
              <a:ext uri="{FF2B5EF4-FFF2-40B4-BE49-F238E27FC236}">
                <a16:creationId xmlns:a16="http://schemas.microsoft.com/office/drawing/2014/main" id="{326E8D1F-F9FD-CD57-ABB0-236BC2A1EFDA}"/>
              </a:ext>
            </a:extLst>
          </p:cNvPr>
          <p:cNvSpPr txBox="1"/>
          <p:nvPr/>
        </p:nvSpPr>
        <p:spPr>
          <a:xfrm>
            <a:off x="5528209" y="1584115"/>
            <a:ext cx="1073151" cy="167354"/>
          </a:xfrm>
          <a:prstGeom prst="rect">
            <a:avLst/>
          </a:prstGeom>
        </p:spPr>
        <p:txBody>
          <a:bodyPr vert="horz" wrap="square" lIns="0" tIns="13335"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2700" fontAlgn="base">
              <a:spcBef>
                <a:spcPts val="105"/>
              </a:spcBef>
              <a:spcAft>
                <a:spcPct val="0"/>
              </a:spcAft>
            </a:pPr>
            <a:r>
              <a:rPr lang="en-US" sz="1000" b="1" i="1"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eading</a:t>
            </a:r>
            <a:r>
              <a:rPr lang="en-US" sz="1000" b="1" i="1" spc="-115"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000" b="1" i="1" spc="-5"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to</a:t>
            </a:r>
            <a:endParaRPr lang="en-US" sz="10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object 30">
            <a:extLst>
              <a:ext uri="{FF2B5EF4-FFF2-40B4-BE49-F238E27FC236}">
                <a16:creationId xmlns:a16="http://schemas.microsoft.com/office/drawing/2014/main" id="{816C9D58-005D-3038-9916-A7A02549BB02}"/>
              </a:ext>
            </a:extLst>
          </p:cNvPr>
          <p:cNvSpPr/>
          <p:nvPr/>
        </p:nvSpPr>
        <p:spPr>
          <a:xfrm>
            <a:off x="10482097" y="2840736"/>
            <a:ext cx="1251585" cy="624840"/>
          </a:xfrm>
          <a:custGeom>
            <a:avLst/>
            <a:gdLst/>
            <a:ahLst/>
            <a:cxnLst/>
            <a:rect l="l" t="t" r="r" b="b"/>
            <a:pathLst>
              <a:path w="1251584" h="624839">
                <a:moveTo>
                  <a:pt x="0" y="624839"/>
                </a:moveTo>
                <a:lnTo>
                  <a:pt x="1251203" y="624839"/>
                </a:lnTo>
                <a:lnTo>
                  <a:pt x="1251203" y="0"/>
                </a:lnTo>
                <a:lnTo>
                  <a:pt x="0" y="0"/>
                </a:lnTo>
                <a:lnTo>
                  <a:pt x="0" y="624839"/>
                </a:lnTo>
                <a:close/>
              </a:path>
            </a:pathLst>
          </a:custGeom>
          <a:ln/>
        </p:spPr>
        <p:style>
          <a:lnRef idx="1">
            <a:schemeClr val="accent3"/>
          </a:lnRef>
          <a:fillRef idx="3">
            <a:schemeClr val="accent3"/>
          </a:fillRef>
          <a:effectRef idx="2">
            <a:schemeClr val="accent3"/>
          </a:effectRef>
          <a:fontRef idx="minor">
            <a:schemeClr val="lt1"/>
          </a:fontRef>
        </p:style>
        <p:txBody>
          <a:bodyPr wrap="square" lIns="0" tIns="0" rIns="0" bIns="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fontAlgn="base">
              <a:spcBef>
                <a:spcPct val="0"/>
              </a:spcBef>
              <a:spcAft>
                <a:spcPct val="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Business</a:t>
            </a:r>
          </a:p>
          <a:p>
            <a:pPr algn="ctr" fontAlgn="base">
              <a:spcBef>
                <a:spcPct val="0"/>
              </a:spcBef>
              <a:spcAft>
                <a:spcPct val="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owned</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object 36">
            <a:extLst>
              <a:ext uri="{FF2B5EF4-FFF2-40B4-BE49-F238E27FC236}">
                <a16:creationId xmlns:a16="http://schemas.microsoft.com/office/drawing/2014/main" id="{0A5833F3-3658-0182-D1C6-3BCC40F796C2}"/>
              </a:ext>
            </a:extLst>
          </p:cNvPr>
          <p:cNvSpPr/>
          <p:nvPr/>
        </p:nvSpPr>
        <p:spPr>
          <a:xfrm>
            <a:off x="10482097" y="3566159"/>
            <a:ext cx="1251585" cy="624840"/>
          </a:xfrm>
          <a:custGeom>
            <a:avLst/>
            <a:gdLst/>
            <a:ahLst/>
            <a:cxnLst/>
            <a:rect l="l" t="t" r="r" b="b"/>
            <a:pathLst>
              <a:path w="1251584" h="624839">
                <a:moveTo>
                  <a:pt x="0" y="624839"/>
                </a:moveTo>
                <a:lnTo>
                  <a:pt x="1251203" y="624839"/>
                </a:lnTo>
                <a:lnTo>
                  <a:pt x="1251203" y="0"/>
                </a:lnTo>
                <a:lnTo>
                  <a:pt x="0" y="0"/>
                </a:lnTo>
                <a:lnTo>
                  <a:pt x="0" y="624839"/>
                </a:lnTo>
                <a:close/>
              </a:path>
            </a:pathLst>
          </a:custGeom>
          <a:ln/>
        </p:spPr>
        <p:style>
          <a:lnRef idx="1">
            <a:schemeClr val="accent3"/>
          </a:lnRef>
          <a:fillRef idx="3">
            <a:schemeClr val="accent3"/>
          </a:fillRef>
          <a:effectRef idx="2">
            <a:schemeClr val="accent3"/>
          </a:effectRef>
          <a:fontRef idx="minor">
            <a:schemeClr val="lt1"/>
          </a:fontRef>
        </p:style>
        <p:txBody>
          <a:bodyPr wrap="square" lIns="0" tIns="0" rIns="0" bIns="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fontAlgn="base">
              <a:spcBef>
                <a:spcPct val="0"/>
              </a:spcBef>
              <a:spcAft>
                <a:spcPct val="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Insight led</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object 47">
            <a:extLst>
              <a:ext uri="{FF2B5EF4-FFF2-40B4-BE49-F238E27FC236}">
                <a16:creationId xmlns:a16="http://schemas.microsoft.com/office/drawing/2014/main" id="{A1649C6C-82A2-038C-0089-277D1FE5808C}"/>
              </a:ext>
            </a:extLst>
          </p:cNvPr>
          <p:cNvSpPr/>
          <p:nvPr/>
        </p:nvSpPr>
        <p:spPr>
          <a:xfrm>
            <a:off x="10482097" y="2116836"/>
            <a:ext cx="1251585" cy="624840"/>
          </a:xfrm>
          <a:custGeom>
            <a:avLst/>
            <a:gdLst/>
            <a:ahLst/>
            <a:cxnLst/>
            <a:rect l="l" t="t" r="r" b="b"/>
            <a:pathLst>
              <a:path w="1251584" h="624839">
                <a:moveTo>
                  <a:pt x="0" y="624839"/>
                </a:moveTo>
                <a:lnTo>
                  <a:pt x="1251203" y="624839"/>
                </a:lnTo>
                <a:lnTo>
                  <a:pt x="1251203" y="0"/>
                </a:lnTo>
                <a:lnTo>
                  <a:pt x="0" y="0"/>
                </a:lnTo>
                <a:lnTo>
                  <a:pt x="0" y="624839"/>
                </a:lnTo>
                <a:close/>
              </a:path>
            </a:pathLst>
          </a:custGeom>
          <a:ln/>
        </p:spPr>
        <p:style>
          <a:lnRef idx="1">
            <a:schemeClr val="accent3"/>
          </a:lnRef>
          <a:fillRef idx="3">
            <a:schemeClr val="accent3"/>
          </a:fillRef>
          <a:effectRef idx="2">
            <a:schemeClr val="accent3"/>
          </a:effectRef>
          <a:fontRef idx="minor">
            <a:schemeClr val="lt1"/>
          </a:fontRef>
        </p:style>
        <p:txBody>
          <a:bodyPr wrap="square" lIns="0" tIns="0" rIns="0" bIns="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fontAlgn="base">
              <a:spcBef>
                <a:spcPct val="0"/>
              </a:spcBef>
              <a:spcAft>
                <a:spcPct val="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Continuous planning cycle</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19">
            <a:extLst>
              <a:ext uri="{FF2B5EF4-FFF2-40B4-BE49-F238E27FC236}">
                <a16:creationId xmlns:a16="http://schemas.microsoft.com/office/drawing/2014/main" id="{BC8A1671-1246-3BFA-F962-DB922F2B584D}"/>
              </a:ext>
            </a:extLst>
          </p:cNvPr>
          <p:cNvSpPr txBox="1"/>
          <p:nvPr/>
        </p:nvSpPr>
        <p:spPr>
          <a:xfrm>
            <a:off x="1828077" y="2059751"/>
            <a:ext cx="2620085"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ts val="0"/>
              </a:spcBef>
              <a:spcAft>
                <a:spcPts val="1333"/>
              </a:spcAft>
              <a:buSzPct val="100000"/>
            </a:pPr>
            <a:r>
              <a:rPr lang="en-US" sz="1000" b="1" noProof="0" dirty="0" err="1">
                <a:latin typeface="Open Sans" panose="020B0606030504020204" pitchFamily="34" charset="0"/>
                <a:ea typeface="Open Sans" panose="020B0606030504020204" pitchFamily="34" charset="0"/>
                <a:cs typeface="Open Sans" panose="020B0606030504020204" pitchFamily="34" charset="0"/>
              </a:rPr>
              <a:t>Standardising</a:t>
            </a:r>
            <a:r>
              <a:rPr lang="en-US" sz="1000" b="1" noProof="0" dirty="0">
                <a:latin typeface="Open Sans" panose="020B0606030504020204" pitchFamily="34" charset="0"/>
                <a:ea typeface="Open Sans" panose="020B0606030504020204" pitchFamily="34" charset="0"/>
                <a:cs typeface="Open Sans" panose="020B0606030504020204" pitchFamily="34" charset="0"/>
              </a:rPr>
              <a:t> data and processes</a:t>
            </a:r>
          </a:p>
        </p:txBody>
      </p:sp>
      <p:sp>
        <p:nvSpPr>
          <p:cNvPr id="23" name="TextBox 20">
            <a:extLst>
              <a:ext uri="{FF2B5EF4-FFF2-40B4-BE49-F238E27FC236}">
                <a16:creationId xmlns:a16="http://schemas.microsoft.com/office/drawing/2014/main" id="{9FADF119-7B1F-7E0C-4DC7-C42A9C409AC3}"/>
              </a:ext>
            </a:extLst>
          </p:cNvPr>
          <p:cNvSpPr txBox="1"/>
          <p:nvPr/>
        </p:nvSpPr>
        <p:spPr>
          <a:xfrm>
            <a:off x="4754743" y="2059751"/>
            <a:ext cx="2620085" cy="15388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ts val="0"/>
              </a:spcBef>
              <a:spcAft>
                <a:spcPts val="1333"/>
              </a:spcAft>
              <a:buSzPct val="100000"/>
            </a:pPr>
            <a:r>
              <a:rPr lang="en-US" sz="1000" b="1" noProof="0" dirty="0" err="1">
                <a:latin typeface="Open Sans" panose="020B0606030504020204" pitchFamily="34" charset="0"/>
                <a:ea typeface="Open Sans" panose="020B0606030504020204" pitchFamily="34" charset="0"/>
                <a:cs typeface="Open Sans" panose="020B0606030504020204" pitchFamily="34" charset="0"/>
              </a:rPr>
              <a:t>Optimising</a:t>
            </a:r>
            <a:r>
              <a:rPr lang="en-US" sz="1000" b="1" noProof="0" dirty="0">
                <a:latin typeface="Open Sans" panose="020B0606030504020204" pitchFamily="34" charset="0"/>
                <a:ea typeface="Open Sans" panose="020B0606030504020204" pitchFamily="34" charset="0"/>
                <a:cs typeface="Open Sans" panose="020B0606030504020204" pitchFamily="34" charset="0"/>
              </a:rPr>
              <a:t> systems and technologies</a:t>
            </a:r>
          </a:p>
        </p:txBody>
      </p:sp>
      <p:sp>
        <p:nvSpPr>
          <p:cNvPr id="24" name="TextBox 21">
            <a:extLst>
              <a:ext uri="{FF2B5EF4-FFF2-40B4-BE49-F238E27FC236}">
                <a16:creationId xmlns:a16="http://schemas.microsoft.com/office/drawing/2014/main" id="{AA7F871E-16C7-ED76-1001-90D134CF7B4F}"/>
              </a:ext>
            </a:extLst>
          </p:cNvPr>
          <p:cNvSpPr txBox="1"/>
          <p:nvPr/>
        </p:nvSpPr>
        <p:spPr>
          <a:xfrm>
            <a:off x="7609930" y="1982807"/>
            <a:ext cx="2620085" cy="307777"/>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ts val="0"/>
              </a:spcBef>
              <a:spcAft>
                <a:spcPts val="1333"/>
              </a:spcAft>
              <a:buSzPct val="100000"/>
            </a:pPr>
            <a:r>
              <a:rPr lang="en-US" sz="1000" b="1" noProof="0" dirty="0">
                <a:latin typeface="Open Sans" panose="020B0606030504020204" pitchFamily="34" charset="0"/>
                <a:ea typeface="Open Sans" panose="020B0606030504020204" pitchFamily="34" charset="0"/>
                <a:cs typeface="Open Sans" panose="020B0606030504020204" pitchFamily="34" charset="0"/>
              </a:rPr>
              <a:t>Moving toward a continuous, </a:t>
            </a:r>
            <a:br>
              <a:rPr lang="en-US" sz="1000" b="1" noProof="0" dirty="0">
                <a:latin typeface="Open Sans" panose="020B0606030504020204" pitchFamily="34" charset="0"/>
                <a:ea typeface="Open Sans" panose="020B0606030504020204" pitchFamily="34" charset="0"/>
                <a:cs typeface="Open Sans" panose="020B0606030504020204" pitchFamily="34" charset="0"/>
              </a:rPr>
            </a:br>
            <a:r>
              <a:rPr lang="en-US" sz="1000" b="1" noProof="0" dirty="0">
                <a:latin typeface="Open Sans" panose="020B0606030504020204" pitchFamily="34" charset="0"/>
                <a:ea typeface="Open Sans" panose="020B0606030504020204" pitchFamily="34" charset="0"/>
                <a:cs typeface="Open Sans" panose="020B0606030504020204" pitchFamily="34" charset="0"/>
              </a:rPr>
              <a:t>integrated planning cycle</a:t>
            </a:r>
          </a:p>
        </p:txBody>
      </p:sp>
      <p:sp>
        <p:nvSpPr>
          <p:cNvPr id="26" name="TextBox 25">
            <a:extLst>
              <a:ext uri="{FF2B5EF4-FFF2-40B4-BE49-F238E27FC236}">
                <a16:creationId xmlns:a16="http://schemas.microsoft.com/office/drawing/2014/main" id="{755770B9-D4C1-B28D-640A-CF8A5694E918}"/>
              </a:ext>
            </a:extLst>
          </p:cNvPr>
          <p:cNvSpPr txBox="1"/>
          <p:nvPr/>
        </p:nvSpPr>
        <p:spPr>
          <a:xfrm>
            <a:off x="860079" y="1714809"/>
            <a:ext cx="851095" cy="246221"/>
          </a:xfrm>
          <a:prstGeom prst="rect">
            <a:avLst/>
          </a:prstGeom>
          <a:noFill/>
        </p:spPr>
        <p:txBody>
          <a:bodyPr wrap="square">
            <a:spAutoFit/>
          </a:bodyPr>
          <a:lstStyle/>
          <a:p>
            <a:pPr fontAlgn="base">
              <a:spcBef>
                <a:spcPct val="0"/>
              </a:spcBef>
              <a:spcAft>
                <a:spcPct val="0"/>
              </a:spcAft>
            </a:pPr>
            <a:r>
              <a:rPr lang="hu-HU" sz="10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From</a:t>
            </a:r>
            <a:endParaRPr lang="en-US" sz="1000" b="1"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44C79516-24D1-7C9F-CDAA-798B3B4A9CFB}"/>
              </a:ext>
            </a:extLst>
          </p:cNvPr>
          <p:cNvSpPr txBox="1"/>
          <p:nvPr/>
        </p:nvSpPr>
        <p:spPr>
          <a:xfrm>
            <a:off x="10799584" y="1714809"/>
            <a:ext cx="851095" cy="246221"/>
          </a:xfrm>
          <a:prstGeom prst="rect">
            <a:avLst/>
          </a:prstGeom>
          <a:noFill/>
        </p:spPr>
        <p:txBody>
          <a:bodyPr wrap="square">
            <a:spAutoFit/>
          </a:bodyPr>
          <a:lstStyle/>
          <a:p>
            <a:pPr fontAlgn="base">
              <a:spcBef>
                <a:spcPct val="0"/>
              </a:spcBef>
              <a:spcAft>
                <a:spcPct val="0"/>
              </a:spcAft>
            </a:pPr>
            <a:r>
              <a:rPr lang="en-US" sz="10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To</a:t>
            </a:r>
          </a:p>
        </p:txBody>
      </p:sp>
    </p:spTree>
    <p:extLst>
      <p:ext uri="{BB962C8B-B14F-4D97-AF65-F5344CB8AC3E}">
        <p14:creationId xmlns:p14="http://schemas.microsoft.com/office/powerpoint/2010/main" val="1476915271"/>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1DCDC4DC-1235-B10A-B60C-FB464C647DF6}"/>
              </a:ext>
            </a:extLst>
          </p:cNvPr>
          <p:cNvGraphicFramePr>
            <a:graphicFrameLocks noChangeAspect="1"/>
          </p:cNvGraphicFramePr>
          <p:nvPr>
            <p:custDataLst>
              <p:tags r:id="rId1"/>
            </p:custDataLst>
            <p:extLst>
              <p:ext uri="{D42A27DB-BD31-4B8C-83A1-F6EECF244321}">
                <p14:modId xmlns:p14="http://schemas.microsoft.com/office/powerpoint/2010/main" val="1387254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33" name="think-cell data - do not delete" hidden="1">
                        <a:extLst>
                          <a:ext uri="{FF2B5EF4-FFF2-40B4-BE49-F238E27FC236}">
                            <a16:creationId xmlns:a16="http://schemas.microsoft.com/office/drawing/2014/main" id="{1DCDC4DC-1235-B10A-B60C-FB464C647D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390F3CE-4630-A9E6-4EFF-CF857564355C}"/>
              </a:ext>
            </a:extLst>
          </p:cNvPr>
          <p:cNvSpPr>
            <a:spLocks noGrp="1"/>
          </p:cNvSpPr>
          <p:nvPr>
            <p:ph type="body" sz="quarter" idx="22"/>
          </p:nvPr>
        </p:nvSpPr>
        <p:spPr/>
        <p:txBody>
          <a:bodyPr/>
          <a:lstStyle/>
          <a:p>
            <a:r>
              <a:rPr lang="en-US" dirty="0"/>
              <a:t>Leading practice</a:t>
            </a:r>
            <a:r>
              <a:rPr lang="hu-HU" dirty="0"/>
              <a:t> </a:t>
            </a:r>
            <a:r>
              <a:rPr lang="en-US" dirty="0"/>
              <a:t>planning and forecasting design principles</a:t>
            </a:r>
          </a:p>
        </p:txBody>
      </p:sp>
      <p:sp>
        <p:nvSpPr>
          <p:cNvPr id="3" name="Title 2">
            <a:extLst>
              <a:ext uri="{FF2B5EF4-FFF2-40B4-BE49-F238E27FC236}">
                <a16:creationId xmlns:a16="http://schemas.microsoft.com/office/drawing/2014/main" id="{C29DBEE8-1457-9AED-5A65-B5771B64077E}"/>
              </a:ext>
            </a:extLst>
          </p:cNvPr>
          <p:cNvSpPr>
            <a:spLocks noGrp="1"/>
          </p:cNvSpPr>
          <p:nvPr>
            <p:ph type="title"/>
          </p:nvPr>
        </p:nvSpPr>
        <p:spPr/>
        <p:txBody>
          <a:bodyPr vert="horz"/>
          <a:lstStyle/>
          <a:p>
            <a:r>
              <a:rPr lang="en-US" dirty="0">
                <a:latin typeface="Open Sans Light"/>
                <a:ea typeface="Open Sans Light"/>
                <a:cs typeface="Open Sans Light"/>
              </a:rPr>
              <a:t>9.11 Planning and forecasting design principles</a:t>
            </a:r>
            <a:endParaRPr lang="en-GB" dirty="0">
              <a:latin typeface="Open Sans Light"/>
              <a:ea typeface="Open Sans Light"/>
              <a:cs typeface="Open Sans Light"/>
            </a:endParaRPr>
          </a:p>
        </p:txBody>
      </p:sp>
      <p:sp>
        <p:nvSpPr>
          <p:cNvPr id="4" name="Rectangle 3">
            <a:extLst>
              <a:ext uri="{FF2B5EF4-FFF2-40B4-BE49-F238E27FC236}">
                <a16:creationId xmlns:a16="http://schemas.microsoft.com/office/drawing/2014/main" id="{E63BBF65-F0E6-7E12-684A-CAA1AFF0283B}"/>
              </a:ext>
            </a:extLst>
          </p:cNvPr>
          <p:cNvSpPr/>
          <p:nvPr/>
        </p:nvSpPr>
        <p:spPr bwMode="gray">
          <a:xfrm>
            <a:off x="663184" y="1845284"/>
            <a:ext cx="1646381" cy="70658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nSpc>
                <a:spcPct val="106000"/>
              </a:lnSpc>
              <a:buFont typeface="Wingdings 2" pitchFamily="18" charset="2"/>
              <a:buNone/>
            </a:pPr>
            <a:r>
              <a:rPr lang="en-US" sz="1000" b="1" noProof="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Defined Processes</a:t>
            </a:r>
            <a:endParaRPr lang="en-US" sz="1000" b="1" noProof="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3A85EC4C-7102-379C-4602-5E6407AF4DF4}"/>
              </a:ext>
            </a:extLst>
          </p:cNvPr>
          <p:cNvSpPr/>
          <p:nvPr/>
        </p:nvSpPr>
        <p:spPr bwMode="gray">
          <a:xfrm>
            <a:off x="2488550" y="1845284"/>
            <a:ext cx="1645200" cy="706585"/>
          </a:xfrm>
          <a:prstGeom prst="rect">
            <a:avLst/>
          </a:prstGeom>
          <a:solidFill>
            <a:schemeClr val="bg1">
              <a:lumMod val="75000"/>
            </a:schemeClr>
          </a:solidFill>
          <a:ln w="19050" algn="ctr">
            <a:solidFill>
              <a:schemeClr val="tx1">
                <a:lumMod val="50000"/>
                <a:lumOff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nSpc>
                <a:spcPct val="106000"/>
              </a:lnSpc>
              <a:buFont typeface="Wingdings 2" pitchFamily="18" charset="2"/>
              <a:buNone/>
            </a:pPr>
            <a:r>
              <a:rPr lang="en-US" sz="10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Structured</a:t>
            </a:r>
            <a:endParaRPr lang="hu-HU" sz="10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a:p>
            <a:pPr>
              <a:lnSpc>
                <a:spcPct val="106000"/>
              </a:lnSpc>
              <a:buFont typeface="Wingdings 2" pitchFamily="18" charset="2"/>
              <a:buNone/>
            </a:pPr>
            <a:r>
              <a:rPr lang="en-US" sz="10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Decisions</a:t>
            </a:r>
            <a:endParaRPr lang="en-US" sz="1000" b="1" noProof="0"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F013D5E3-74E2-D48F-9957-8E685C2FF933}"/>
              </a:ext>
            </a:extLst>
          </p:cNvPr>
          <p:cNvSpPr/>
          <p:nvPr/>
        </p:nvSpPr>
        <p:spPr bwMode="gray">
          <a:xfrm>
            <a:off x="4312735" y="1845284"/>
            <a:ext cx="1645200" cy="70658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nSpc>
                <a:spcPct val="106000"/>
              </a:lnSpc>
            </a:pPr>
            <a:r>
              <a:rPr lang="en-US" sz="1000" b="1">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Clear </a:t>
            </a:r>
          </a:p>
          <a:p>
            <a:pPr>
              <a:lnSpc>
                <a:spcPct val="106000"/>
              </a:lnSpc>
            </a:pPr>
            <a:r>
              <a:rPr lang="en-US" sz="1000" b="1">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Alignment</a:t>
            </a:r>
            <a:endParaRPr lang="en-US" sz="1000" b="1"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9C797660-8143-5704-0910-6F44029D970A}"/>
              </a:ext>
            </a:extLst>
          </p:cNvPr>
          <p:cNvSpPr/>
          <p:nvPr/>
        </p:nvSpPr>
        <p:spPr bwMode="gray">
          <a:xfrm>
            <a:off x="6136920" y="1845284"/>
            <a:ext cx="1645200" cy="706585"/>
          </a:xfrm>
          <a:prstGeom prst="rect">
            <a:avLst/>
          </a:prstGeom>
          <a:solidFill>
            <a:schemeClr val="bg1">
              <a:lumMod val="75000"/>
            </a:schemeClr>
          </a:solidFill>
          <a:ln w="19050" algn="ctr">
            <a:solidFill>
              <a:schemeClr val="tx1">
                <a:lumMod val="50000"/>
                <a:lumOff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nSpc>
                <a:spcPct val="106000"/>
              </a:lnSpc>
            </a:pPr>
            <a:r>
              <a:rPr lang="en-US" sz="10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Effective</a:t>
            </a:r>
            <a:endParaRPr lang="hu-HU" sz="10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a:p>
            <a:pPr>
              <a:lnSpc>
                <a:spcPct val="106000"/>
              </a:lnSpc>
            </a:pPr>
            <a:r>
              <a:rPr lang="en-US" sz="10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Collaboration</a:t>
            </a:r>
          </a:p>
        </p:txBody>
      </p:sp>
      <p:sp>
        <p:nvSpPr>
          <p:cNvPr id="8" name="Rectangle 7">
            <a:extLst>
              <a:ext uri="{FF2B5EF4-FFF2-40B4-BE49-F238E27FC236}">
                <a16:creationId xmlns:a16="http://schemas.microsoft.com/office/drawing/2014/main" id="{822F6169-F849-F2DB-EE4D-2DA77DFBAD2D}"/>
              </a:ext>
            </a:extLst>
          </p:cNvPr>
          <p:cNvSpPr/>
          <p:nvPr/>
        </p:nvSpPr>
        <p:spPr bwMode="gray">
          <a:xfrm>
            <a:off x="7961105" y="1845284"/>
            <a:ext cx="1645200" cy="70658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nSpc>
                <a:spcPct val="106000"/>
              </a:lnSpc>
            </a:pPr>
            <a:r>
              <a:rPr lang="en-US" sz="1000" b="1">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Agile </a:t>
            </a:r>
          </a:p>
          <a:p>
            <a:pPr>
              <a:lnSpc>
                <a:spcPct val="106000"/>
              </a:lnSpc>
            </a:pPr>
            <a:r>
              <a:rPr lang="en-US" sz="1000" b="1">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Planning</a:t>
            </a:r>
            <a:endParaRPr lang="en-US" sz="1000" b="1"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E57560DA-3BEF-979C-EB25-12067E20E851}"/>
              </a:ext>
            </a:extLst>
          </p:cNvPr>
          <p:cNvSpPr/>
          <p:nvPr/>
        </p:nvSpPr>
        <p:spPr bwMode="gray">
          <a:xfrm>
            <a:off x="9785288" y="1845284"/>
            <a:ext cx="1645200" cy="706585"/>
          </a:xfrm>
          <a:prstGeom prst="rect">
            <a:avLst/>
          </a:prstGeom>
          <a:solidFill>
            <a:schemeClr val="bg1">
              <a:lumMod val="75000"/>
            </a:schemeClr>
          </a:solidFill>
          <a:ln w="19050" algn="ctr">
            <a:solidFill>
              <a:schemeClr val="tx1">
                <a:lumMod val="50000"/>
                <a:lumOff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nSpc>
                <a:spcPct val="106000"/>
              </a:lnSpc>
            </a:pPr>
            <a:r>
              <a:rPr lang="en-US" sz="10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One-version </a:t>
            </a:r>
          </a:p>
          <a:p>
            <a:pPr>
              <a:lnSpc>
                <a:spcPct val="106000"/>
              </a:lnSpc>
            </a:pPr>
            <a:r>
              <a:rPr lang="en-US" sz="1000" b="1"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of the truth</a:t>
            </a:r>
          </a:p>
        </p:txBody>
      </p:sp>
      <p:cxnSp>
        <p:nvCxnSpPr>
          <p:cNvPr id="10" name="Straight Connector 9">
            <a:extLst>
              <a:ext uri="{FF2B5EF4-FFF2-40B4-BE49-F238E27FC236}">
                <a16:creationId xmlns:a16="http://schemas.microsoft.com/office/drawing/2014/main" id="{5764EBD9-DEAC-4B81-DEF7-2BBDC52D7F7E}"/>
              </a:ext>
            </a:extLst>
          </p:cNvPr>
          <p:cNvCxnSpPr/>
          <p:nvPr/>
        </p:nvCxnSpPr>
        <p:spPr>
          <a:xfrm>
            <a:off x="695728" y="2727360"/>
            <a:ext cx="0" cy="345600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A3627D7E-6D4C-2BBD-B2AF-C5D9EDB9650F}"/>
              </a:ext>
            </a:extLst>
          </p:cNvPr>
          <p:cNvSpPr/>
          <p:nvPr/>
        </p:nvSpPr>
        <p:spPr bwMode="gray">
          <a:xfrm>
            <a:off x="653202" y="2686566"/>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12" name="Oval 11">
            <a:extLst>
              <a:ext uri="{FF2B5EF4-FFF2-40B4-BE49-F238E27FC236}">
                <a16:creationId xmlns:a16="http://schemas.microsoft.com/office/drawing/2014/main" id="{E60222C8-1EE6-E63C-F969-C827D9C90BB2}"/>
              </a:ext>
            </a:extLst>
          </p:cNvPr>
          <p:cNvSpPr/>
          <p:nvPr/>
        </p:nvSpPr>
        <p:spPr bwMode="gray">
          <a:xfrm>
            <a:off x="653201" y="6108824"/>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3" name="Straight Connector 12">
            <a:extLst>
              <a:ext uri="{FF2B5EF4-FFF2-40B4-BE49-F238E27FC236}">
                <a16:creationId xmlns:a16="http://schemas.microsoft.com/office/drawing/2014/main" id="{227EF814-1D15-7D1F-4A70-6DCACF39DF49}"/>
              </a:ext>
            </a:extLst>
          </p:cNvPr>
          <p:cNvCxnSpPr/>
          <p:nvPr/>
        </p:nvCxnSpPr>
        <p:spPr>
          <a:xfrm>
            <a:off x="2502784" y="2727360"/>
            <a:ext cx="0" cy="345600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256EA4B8-43C7-5C2C-9490-791B1779A371}"/>
              </a:ext>
            </a:extLst>
          </p:cNvPr>
          <p:cNvSpPr/>
          <p:nvPr/>
        </p:nvSpPr>
        <p:spPr bwMode="gray">
          <a:xfrm>
            <a:off x="2460258" y="2686566"/>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15" name="Oval 14">
            <a:extLst>
              <a:ext uri="{FF2B5EF4-FFF2-40B4-BE49-F238E27FC236}">
                <a16:creationId xmlns:a16="http://schemas.microsoft.com/office/drawing/2014/main" id="{37DC5AB2-3638-F282-6E5C-79D8D225CC07}"/>
              </a:ext>
            </a:extLst>
          </p:cNvPr>
          <p:cNvSpPr/>
          <p:nvPr/>
        </p:nvSpPr>
        <p:spPr bwMode="gray">
          <a:xfrm>
            <a:off x="2460257" y="6108824"/>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15">
            <a:extLst>
              <a:ext uri="{FF2B5EF4-FFF2-40B4-BE49-F238E27FC236}">
                <a16:creationId xmlns:a16="http://schemas.microsoft.com/office/drawing/2014/main" id="{E71E3E51-2AEA-5730-D2AB-38513C0B1746}"/>
              </a:ext>
            </a:extLst>
          </p:cNvPr>
          <p:cNvCxnSpPr/>
          <p:nvPr/>
        </p:nvCxnSpPr>
        <p:spPr>
          <a:xfrm>
            <a:off x="4352372" y="2727360"/>
            <a:ext cx="0" cy="345600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ED7E0BD4-C8B9-DD7D-FEDE-0F931F358EAF}"/>
              </a:ext>
            </a:extLst>
          </p:cNvPr>
          <p:cNvSpPr/>
          <p:nvPr/>
        </p:nvSpPr>
        <p:spPr bwMode="gray">
          <a:xfrm>
            <a:off x="4309846" y="2686566"/>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0564462E-095C-30C9-1B25-759A083F9314}"/>
              </a:ext>
            </a:extLst>
          </p:cNvPr>
          <p:cNvSpPr/>
          <p:nvPr/>
        </p:nvSpPr>
        <p:spPr bwMode="gray">
          <a:xfrm>
            <a:off x="4309845" y="6108824"/>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9" name="Straight Connector 18">
            <a:extLst>
              <a:ext uri="{FF2B5EF4-FFF2-40B4-BE49-F238E27FC236}">
                <a16:creationId xmlns:a16="http://schemas.microsoft.com/office/drawing/2014/main" id="{EF6FD1E2-8DD6-0F07-CD84-52D2934E865C}"/>
              </a:ext>
            </a:extLst>
          </p:cNvPr>
          <p:cNvCxnSpPr/>
          <p:nvPr/>
        </p:nvCxnSpPr>
        <p:spPr>
          <a:xfrm>
            <a:off x="6187721" y="2727360"/>
            <a:ext cx="0" cy="345600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604721E9-0B73-28EF-4D3F-2585E2697256}"/>
              </a:ext>
            </a:extLst>
          </p:cNvPr>
          <p:cNvSpPr/>
          <p:nvPr/>
        </p:nvSpPr>
        <p:spPr bwMode="gray">
          <a:xfrm>
            <a:off x="6145195" y="2686566"/>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1" name="Oval 20">
            <a:extLst>
              <a:ext uri="{FF2B5EF4-FFF2-40B4-BE49-F238E27FC236}">
                <a16:creationId xmlns:a16="http://schemas.microsoft.com/office/drawing/2014/main" id="{635E4AD1-304A-26D6-330F-614060E0011E}"/>
              </a:ext>
            </a:extLst>
          </p:cNvPr>
          <p:cNvSpPr/>
          <p:nvPr/>
        </p:nvSpPr>
        <p:spPr bwMode="gray">
          <a:xfrm>
            <a:off x="6145194" y="6108824"/>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196B97D5-65D5-42ED-2BFF-002AD53EA1D0}"/>
              </a:ext>
            </a:extLst>
          </p:cNvPr>
          <p:cNvCxnSpPr/>
          <p:nvPr/>
        </p:nvCxnSpPr>
        <p:spPr>
          <a:xfrm>
            <a:off x="8014421" y="2727360"/>
            <a:ext cx="0" cy="345600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E545D06E-18E3-3563-6F27-ED8C2655ACAC}"/>
              </a:ext>
            </a:extLst>
          </p:cNvPr>
          <p:cNvSpPr/>
          <p:nvPr/>
        </p:nvSpPr>
        <p:spPr bwMode="gray">
          <a:xfrm>
            <a:off x="7971895" y="2686566"/>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DBC0C5E0-A0B9-3D14-3441-CBE5E5DFD8BC}"/>
              </a:ext>
            </a:extLst>
          </p:cNvPr>
          <p:cNvSpPr/>
          <p:nvPr/>
        </p:nvSpPr>
        <p:spPr bwMode="gray">
          <a:xfrm>
            <a:off x="7971894" y="6108824"/>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5" name="Straight Connector 24">
            <a:extLst>
              <a:ext uri="{FF2B5EF4-FFF2-40B4-BE49-F238E27FC236}">
                <a16:creationId xmlns:a16="http://schemas.microsoft.com/office/drawing/2014/main" id="{32E7DA3C-9129-53F8-F4DE-5BBFDF7F0B9C}"/>
              </a:ext>
            </a:extLst>
          </p:cNvPr>
          <p:cNvCxnSpPr/>
          <p:nvPr/>
        </p:nvCxnSpPr>
        <p:spPr>
          <a:xfrm>
            <a:off x="9827817" y="2727360"/>
            <a:ext cx="0" cy="345600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7BBD2E4F-96D3-3848-14FB-F36C8F495A1D}"/>
              </a:ext>
            </a:extLst>
          </p:cNvPr>
          <p:cNvSpPr/>
          <p:nvPr/>
        </p:nvSpPr>
        <p:spPr bwMode="gray">
          <a:xfrm>
            <a:off x="9785291" y="2686566"/>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7" name="Oval 26">
            <a:extLst>
              <a:ext uri="{FF2B5EF4-FFF2-40B4-BE49-F238E27FC236}">
                <a16:creationId xmlns:a16="http://schemas.microsoft.com/office/drawing/2014/main" id="{29443520-0434-9AAA-4515-0D2B1E2EB42C}"/>
              </a:ext>
            </a:extLst>
          </p:cNvPr>
          <p:cNvSpPr/>
          <p:nvPr/>
        </p:nvSpPr>
        <p:spPr bwMode="gray">
          <a:xfrm>
            <a:off x="9785290" y="6108824"/>
            <a:ext cx="85051" cy="81588"/>
          </a:xfrm>
          <a:prstGeom prst="ellipse">
            <a:avLst/>
          </a:prstGeom>
          <a:solidFill>
            <a:srgbClr val="FFC000"/>
          </a:solidFill>
          <a:ln w="19050" algn="ctr">
            <a:solidFill>
              <a:schemeClr val="accent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5">
            <a:extLst>
              <a:ext uri="{FF2B5EF4-FFF2-40B4-BE49-F238E27FC236}">
                <a16:creationId xmlns:a16="http://schemas.microsoft.com/office/drawing/2014/main" id="{842CF987-51B3-3ED6-CCFE-404E00DB3B00}"/>
              </a:ext>
            </a:extLst>
          </p:cNvPr>
          <p:cNvSpPr txBox="1"/>
          <p:nvPr/>
        </p:nvSpPr>
        <p:spPr>
          <a:xfrm>
            <a:off x="848039" y="2725852"/>
            <a:ext cx="1353884"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0"/>
              </a:spcBef>
              <a:spcAft>
                <a:spcPts val="1333"/>
              </a:spcAft>
              <a:buSzPct val="100000"/>
            </a:pPr>
            <a:r>
              <a:rPr lang="en-US" sz="1000" dirty="0">
                <a:latin typeface="Open Sans" panose="020B0606030504020204" pitchFamily="34" charset="0"/>
                <a:ea typeface="Open Sans" panose="020B0606030504020204" pitchFamily="34" charset="0"/>
                <a:cs typeface="Open Sans" panose="020B0606030504020204" pitchFamily="34" charset="0"/>
              </a:rPr>
              <a:t>Create and document a set of consistent &amp; </a:t>
            </a:r>
            <a:r>
              <a:rPr lang="en-US" sz="1000" dirty="0" err="1">
                <a:latin typeface="Open Sans" panose="020B0606030504020204" pitchFamily="34" charset="0"/>
                <a:ea typeface="Open Sans" panose="020B0606030504020204" pitchFamily="34" charset="0"/>
                <a:cs typeface="Open Sans" panose="020B0606030504020204" pitchFamily="34" charset="0"/>
              </a:rPr>
              <a:t>standardised</a:t>
            </a:r>
            <a:r>
              <a:rPr lang="en-US" sz="1000" dirty="0">
                <a:latin typeface="Open Sans" panose="020B0606030504020204" pitchFamily="34" charset="0"/>
                <a:ea typeface="Open Sans" panose="020B0606030504020204" pitchFamily="34" charset="0"/>
                <a:cs typeface="Open Sans" panose="020B0606030504020204" pitchFamily="34" charset="0"/>
              </a:rPr>
              <a:t> PBF</a:t>
            </a:r>
            <a:r>
              <a:rPr lang="hu-HU" sz="1000" dirty="0">
                <a:latin typeface="Open Sans" panose="020B0606030504020204" pitchFamily="34" charset="0"/>
                <a:ea typeface="Open Sans" panose="020B0606030504020204" pitchFamily="34" charset="0"/>
                <a:cs typeface="Open Sans" panose="020B0606030504020204" pitchFamily="34" charset="0"/>
              </a:rPr>
              <a:t>*</a:t>
            </a:r>
            <a:r>
              <a:rPr lang="en-US" sz="1000" dirty="0">
                <a:latin typeface="Open Sans" panose="020B0606030504020204" pitchFamily="34" charset="0"/>
                <a:ea typeface="Open Sans" panose="020B0606030504020204" pitchFamily="34" charset="0"/>
                <a:cs typeface="Open Sans" panose="020B0606030504020204" pitchFamily="34" charset="0"/>
              </a:rPr>
              <a:t> processes across the e.g. BUs, Regions </a:t>
            </a: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TextBox 26">
            <a:extLst>
              <a:ext uri="{FF2B5EF4-FFF2-40B4-BE49-F238E27FC236}">
                <a16:creationId xmlns:a16="http://schemas.microsoft.com/office/drawing/2014/main" id="{BC857040-3C5B-3771-38D3-A9152C5D8C84}"/>
              </a:ext>
            </a:extLst>
          </p:cNvPr>
          <p:cNvSpPr txBox="1"/>
          <p:nvPr/>
        </p:nvSpPr>
        <p:spPr>
          <a:xfrm>
            <a:off x="848039" y="3548108"/>
            <a:ext cx="1353884"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0"/>
              </a:spcBef>
              <a:spcAft>
                <a:spcPts val="1333"/>
              </a:spcAft>
              <a:buSzPct val="100000"/>
            </a:pPr>
            <a:r>
              <a:rPr lang="en-US" sz="1000" noProof="0" dirty="0">
                <a:latin typeface="Open Sans" panose="020B0606030504020204" pitchFamily="34" charset="0"/>
                <a:ea typeface="Open Sans" panose="020B0606030504020204" pitchFamily="34" charset="0"/>
                <a:cs typeface="Open Sans" panose="020B0606030504020204" pitchFamily="34" charset="0"/>
              </a:rPr>
              <a:t>Focus planning effort on dynamic numbers with high variability and apply materiality thresholds</a:t>
            </a:r>
          </a:p>
        </p:txBody>
      </p:sp>
      <p:sp>
        <p:nvSpPr>
          <p:cNvPr id="30" name="TextBox 27">
            <a:extLst>
              <a:ext uri="{FF2B5EF4-FFF2-40B4-BE49-F238E27FC236}">
                <a16:creationId xmlns:a16="http://schemas.microsoft.com/office/drawing/2014/main" id="{13ECF7B8-5775-1AB4-D543-AA8D24FCBBE3}"/>
              </a:ext>
            </a:extLst>
          </p:cNvPr>
          <p:cNvSpPr txBox="1"/>
          <p:nvPr/>
        </p:nvSpPr>
        <p:spPr>
          <a:xfrm>
            <a:off x="848039" y="4360402"/>
            <a:ext cx="1353884" cy="615553"/>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0"/>
              </a:spcBef>
              <a:spcAft>
                <a:spcPts val="1333"/>
              </a:spcAft>
              <a:buSzPct val="100000"/>
            </a:pPr>
            <a:r>
              <a:rPr lang="en-US" sz="1000">
                <a:latin typeface="Open Sans" panose="020B0606030504020204" pitchFamily="34" charset="0"/>
                <a:ea typeface="Open Sans" panose="020B0606030504020204" pitchFamily="34" charset="0"/>
                <a:cs typeface="Open Sans" panose="020B0606030504020204" pitchFamily="34" charset="0"/>
              </a:rPr>
              <a:t>Eliminate constant ad-hoc and unplanned iterations, lagging on the planning timeline </a:t>
            </a: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TextBox 28">
            <a:extLst>
              <a:ext uri="{FF2B5EF4-FFF2-40B4-BE49-F238E27FC236}">
                <a16:creationId xmlns:a16="http://schemas.microsoft.com/office/drawing/2014/main" id="{99696F75-6A98-3A07-8307-0ADBF0E83DB6}"/>
              </a:ext>
            </a:extLst>
          </p:cNvPr>
          <p:cNvSpPr txBox="1"/>
          <p:nvPr/>
        </p:nvSpPr>
        <p:spPr>
          <a:xfrm>
            <a:off x="848039" y="5074724"/>
            <a:ext cx="1491908"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0"/>
              </a:spcBef>
              <a:spcAft>
                <a:spcPts val="1333"/>
              </a:spcAft>
              <a:buSzPct val="100000"/>
            </a:pPr>
            <a:r>
              <a:rPr lang="en-US" sz="1000" dirty="0">
                <a:latin typeface="Open Sans" panose="020B0606030504020204" pitchFamily="34" charset="0"/>
                <a:ea typeface="Open Sans" panose="020B0606030504020204" pitchFamily="34" charset="0"/>
                <a:cs typeface="Open Sans" panose="020B0606030504020204" pitchFamily="34" charset="0"/>
              </a:rPr>
              <a:t>Bring structure and challenge to the planning landscape by creating and reviewing the Planning Framework</a:t>
            </a: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58">
            <a:extLst>
              <a:ext uri="{FF2B5EF4-FFF2-40B4-BE49-F238E27FC236}">
                <a16:creationId xmlns:a16="http://schemas.microsoft.com/office/drawing/2014/main" id="{147E2E16-783C-77D5-30E0-49F5B8020058}"/>
              </a:ext>
            </a:extLst>
          </p:cNvPr>
          <p:cNvSpPr txBox="1"/>
          <p:nvPr/>
        </p:nvSpPr>
        <p:spPr>
          <a:xfrm>
            <a:off x="2669621" y="2727360"/>
            <a:ext cx="1553520" cy="615553"/>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0"/>
              </a:spcBef>
              <a:spcAft>
                <a:spcPts val="1333"/>
              </a:spcAft>
              <a:buSzPct val="100000"/>
            </a:pPr>
            <a:r>
              <a:rPr lang="en-US" sz="1000">
                <a:latin typeface="Open Sans" panose="020B0606030504020204" pitchFamily="34" charset="0"/>
                <a:ea typeface="Open Sans" panose="020B0606030504020204" pitchFamily="34" charset="0"/>
                <a:cs typeface="Open Sans" panose="020B0606030504020204" pitchFamily="34" charset="0"/>
              </a:rPr>
              <a:t>Maintain a clear decision making framework including across Group, BUs, Regions etc  </a:t>
            </a: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59">
            <a:extLst>
              <a:ext uri="{FF2B5EF4-FFF2-40B4-BE49-F238E27FC236}">
                <a16:creationId xmlns:a16="http://schemas.microsoft.com/office/drawing/2014/main" id="{A1CC9370-4F14-EE3B-E702-8B220E86E605}"/>
              </a:ext>
            </a:extLst>
          </p:cNvPr>
          <p:cNvSpPr txBox="1"/>
          <p:nvPr/>
        </p:nvSpPr>
        <p:spPr>
          <a:xfrm>
            <a:off x="2655094" y="3421281"/>
            <a:ext cx="1565196"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Top-down targets (from e.g. ExCo) are defined in advance and communicated at outset of annual planning</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3" name="TextBox 60">
            <a:extLst>
              <a:ext uri="{FF2B5EF4-FFF2-40B4-BE49-F238E27FC236}">
                <a16:creationId xmlns:a16="http://schemas.microsoft.com/office/drawing/2014/main" id="{9E373581-3A13-5138-4846-FCB7CF89E2E5}"/>
              </a:ext>
            </a:extLst>
          </p:cNvPr>
          <p:cNvSpPr txBox="1"/>
          <p:nvPr/>
        </p:nvSpPr>
        <p:spPr>
          <a:xfrm>
            <a:off x="2658787" y="4254444"/>
            <a:ext cx="1572117"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Defined data inputs to inform and govern planning decisions, avoiding unconscious bias and “gut feel” decisions</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4" name="TextBox 61">
            <a:extLst>
              <a:ext uri="{FF2B5EF4-FFF2-40B4-BE49-F238E27FC236}">
                <a16:creationId xmlns:a16="http://schemas.microsoft.com/office/drawing/2014/main" id="{96C04A22-385E-6243-3617-4DAAC7300F63}"/>
              </a:ext>
            </a:extLst>
          </p:cNvPr>
          <p:cNvSpPr txBox="1"/>
          <p:nvPr/>
        </p:nvSpPr>
        <p:spPr>
          <a:xfrm>
            <a:off x="2643829" y="5149927"/>
            <a:ext cx="1482446"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Compare scenarios modelled against each other instead of analysing scenarios in isolation</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5" name="TextBox 62">
            <a:extLst>
              <a:ext uri="{FF2B5EF4-FFF2-40B4-BE49-F238E27FC236}">
                <a16:creationId xmlns:a16="http://schemas.microsoft.com/office/drawing/2014/main" id="{F912D237-376F-6FE0-4537-F1D06F666135}"/>
              </a:ext>
            </a:extLst>
          </p:cNvPr>
          <p:cNvSpPr txBox="1"/>
          <p:nvPr/>
        </p:nvSpPr>
        <p:spPr>
          <a:xfrm>
            <a:off x="4529690" y="2723173"/>
            <a:ext cx="1698282" cy="615553"/>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Ensure that the annual plans / budgets are  linked to the corporate strategic objectives </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TextBox 63">
            <a:extLst>
              <a:ext uri="{FF2B5EF4-FFF2-40B4-BE49-F238E27FC236}">
                <a16:creationId xmlns:a16="http://schemas.microsoft.com/office/drawing/2014/main" id="{79927C5D-E5E1-2DC3-AD51-1814A36EBA82}"/>
              </a:ext>
            </a:extLst>
          </p:cNvPr>
          <p:cNvSpPr txBox="1"/>
          <p:nvPr/>
        </p:nvSpPr>
        <p:spPr>
          <a:xfrm>
            <a:off x="4524499" y="3474631"/>
            <a:ext cx="1522490"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dirty="0">
                <a:latin typeface="Open Sans" panose="020B0606030504020204" pitchFamily="34" charset="0"/>
                <a:ea typeface="Open Sans" panose="020B0606030504020204" pitchFamily="34" charset="0"/>
                <a:cs typeface="Open Sans" panose="020B0606030504020204" pitchFamily="34" charset="0"/>
              </a:rPr>
              <a:t>Translate strategic objectives into KPIs that plans / budgets can be measured against vs. actual performance</a:t>
            </a:r>
          </a:p>
        </p:txBody>
      </p:sp>
      <p:sp>
        <p:nvSpPr>
          <p:cNvPr id="67" name="TextBox 64">
            <a:extLst>
              <a:ext uri="{FF2B5EF4-FFF2-40B4-BE49-F238E27FC236}">
                <a16:creationId xmlns:a16="http://schemas.microsoft.com/office/drawing/2014/main" id="{D2ED1498-304C-DAAC-83F8-E1D3458FFE7A}"/>
              </a:ext>
            </a:extLst>
          </p:cNvPr>
          <p:cNvSpPr txBox="1"/>
          <p:nvPr/>
        </p:nvSpPr>
        <p:spPr>
          <a:xfrm>
            <a:off x="4533149" y="4360402"/>
            <a:ext cx="1482446" cy="923330"/>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dirty="0">
                <a:latin typeface="Open Sans" panose="020B0606030504020204" pitchFamily="34" charset="0"/>
                <a:ea typeface="Open Sans" panose="020B0606030504020204" pitchFamily="34" charset="0"/>
                <a:cs typeface="Open Sans" panose="020B0606030504020204" pitchFamily="34" charset="0"/>
              </a:rPr>
              <a:t>Challenge Plan / Budget assumptions in line with strategic objectives, ensuring assumptions aren’t duplicated </a:t>
            </a:r>
            <a:r>
              <a:rPr lang="hu-HU" sz="1000" dirty="0" err="1">
                <a:latin typeface="Open Sans" panose="020B0606030504020204" pitchFamily="34" charset="0"/>
                <a:ea typeface="Open Sans" panose="020B0606030504020204" pitchFamily="34" charset="0"/>
                <a:cs typeface="Open Sans" panose="020B0606030504020204" pitchFamily="34" charset="0"/>
              </a:rPr>
              <a:t>year</a:t>
            </a:r>
            <a:r>
              <a:rPr lang="hu-HU" sz="1000" dirty="0">
                <a:latin typeface="Open Sans" panose="020B0606030504020204" pitchFamily="34" charset="0"/>
                <a:ea typeface="Open Sans" panose="020B0606030504020204" pitchFamily="34" charset="0"/>
                <a:cs typeface="Open Sans" panose="020B0606030504020204" pitchFamily="34" charset="0"/>
              </a:rPr>
              <a:t>-over-</a:t>
            </a:r>
            <a:r>
              <a:rPr lang="hu-HU" sz="1000" dirty="0" err="1">
                <a:latin typeface="Open Sans" panose="020B0606030504020204" pitchFamily="34" charset="0"/>
                <a:ea typeface="Open Sans" panose="020B0606030504020204" pitchFamily="34" charset="0"/>
                <a:cs typeface="Open Sans" panose="020B0606030504020204" pitchFamily="34" charset="0"/>
              </a:rPr>
              <a:t>year</a:t>
            </a:r>
            <a:r>
              <a:rPr lang="hu-HU" sz="1000" dirty="0">
                <a:latin typeface="Open Sans" panose="020B0606030504020204" pitchFamily="34" charset="0"/>
                <a:ea typeface="Open Sans" panose="020B0606030504020204" pitchFamily="34" charset="0"/>
                <a:cs typeface="Open Sans" panose="020B0606030504020204" pitchFamily="34" charset="0"/>
              </a:rPr>
              <a:t> (</a:t>
            </a:r>
            <a:r>
              <a:rPr lang="hu-HU" sz="1000" dirty="0" err="1">
                <a:latin typeface="Open Sans" panose="020B0606030504020204" pitchFamily="34" charset="0"/>
                <a:ea typeface="Open Sans" panose="020B0606030504020204" pitchFamily="34" charset="0"/>
                <a:cs typeface="Open Sans" panose="020B0606030504020204" pitchFamily="34" charset="0"/>
              </a:rPr>
              <a:t>YoY</a:t>
            </a:r>
            <a:r>
              <a:rPr lang="hu-HU" sz="1000" dirty="0">
                <a:latin typeface="Open Sans" panose="020B0606030504020204" pitchFamily="34" charset="0"/>
                <a:ea typeface="Open Sans" panose="020B0606030504020204" pitchFamily="34" charset="0"/>
                <a:cs typeface="Open Sans" panose="020B0606030504020204" pitchFamily="34" charset="0"/>
              </a:rPr>
              <a:t>)</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8" name="TextBox 65">
            <a:extLst>
              <a:ext uri="{FF2B5EF4-FFF2-40B4-BE49-F238E27FC236}">
                <a16:creationId xmlns:a16="http://schemas.microsoft.com/office/drawing/2014/main" id="{EE32133A-C8F1-A716-2A08-ED9DCEAF6012}"/>
              </a:ext>
            </a:extLst>
          </p:cNvPr>
          <p:cNvSpPr txBox="1"/>
          <p:nvPr/>
        </p:nvSpPr>
        <p:spPr>
          <a:xfrm>
            <a:off x="6365917" y="2730028"/>
            <a:ext cx="1614627" cy="923330"/>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dirty="0">
                <a:latin typeface="Open Sans" panose="020B0606030504020204" pitchFamily="34" charset="0"/>
                <a:ea typeface="Open Sans" panose="020B0606030504020204" pitchFamily="34" charset="0"/>
                <a:cs typeface="Open Sans" panose="020B0606030504020204" pitchFamily="34" charset="0"/>
              </a:rPr>
              <a:t>Finance Business Partners (in FP&amp;A</a:t>
            </a:r>
            <a:r>
              <a:rPr lang="hu-HU" sz="1000" dirty="0">
                <a:latin typeface="Open Sans" panose="020B0606030504020204" pitchFamily="34" charset="0"/>
                <a:ea typeface="Open Sans" panose="020B0606030504020204" pitchFamily="34" charset="0"/>
                <a:cs typeface="Open Sans" panose="020B0606030504020204" pitchFamily="34" charset="0"/>
              </a:rPr>
              <a:t>**</a:t>
            </a:r>
            <a:r>
              <a:rPr lang="en-US" sz="1000" dirty="0">
                <a:latin typeface="Open Sans" panose="020B0606030504020204" pitchFamily="34" charset="0"/>
                <a:ea typeface="Open Sans" panose="020B0606030504020204" pitchFamily="34" charset="0"/>
                <a:cs typeface="Open Sans" panose="020B0606030504020204" pitchFamily="34" charset="0"/>
              </a:rPr>
              <a:t>) collaborate with key functions over analytics, informing enterprise planning decisions with data </a:t>
            </a:r>
          </a:p>
        </p:txBody>
      </p:sp>
      <p:sp>
        <p:nvSpPr>
          <p:cNvPr id="69" name="TextBox 66">
            <a:extLst>
              <a:ext uri="{FF2B5EF4-FFF2-40B4-BE49-F238E27FC236}">
                <a16:creationId xmlns:a16="http://schemas.microsoft.com/office/drawing/2014/main" id="{F0B284DF-2A26-153B-0E4F-2045529F37A3}"/>
              </a:ext>
            </a:extLst>
          </p:cNvPr>
          <p:cNvSpPr txBox="1"/>
          <p:nvPr/>
        </p:nvSpPr>
        <p:spPr>
          <a:xfrm>
            <a:off x="6362161" y="3856216"/>
            <a:ext cx="1525615"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Align planning governance / cadence (e.g. scenario planning) to volatility levels in the business </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TextBox 67">
            <a:extLst>
              <a:ext uri="{FF2B5EF4-FFF2-40B4-BE49-F238E27FC236}">
                <a16:creationId xmlns:a16="http://schemas.microsoft.com/office/drawing/2014/main" id="{261A1A99-7D02-DF02-784F-180B29FF8296}"/>
              </a:ext>
            </a:extLst>
          </p:cNvPr>
          <p:cNvSpPr txBox="1"/>
          <p:nvPr/>
        </p:nvSpPr>
        <p:spPr>
          <a:xfrm>
            <a:off x="6368496" y="4731211"/>
            <a:ext cx="1525615" cy="107721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Enable Planning collaboration tools (in the solution) allowing cross-functional teams to communicate directly in a tool when e.g. plan assumptions are changed</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71" name="TextBox 68">
            <a:extLst>
              <a:ext uri="{FF2B5EF4-FFF2-40B4-BE49-F238E27FC236}">
                <a16:creationId xmlns:a16="http://schemas.microsoft.com/office/drawing/2014/main" id="{38202F82-6DDB-7E80-36AE-8CF689072AAE}"/>
              </a:ext>
            </a:extLst>
          </p:cNvPr>
          <p:cNvSpPr txBox="1"/>
          <p:nvPr/>
        </p:nvSpPr>
        <p:spPr>
          <a:xfrm>
            <a:off x="8177256" y="2733673"/>
            <a:ext cx="1482446" cy="107721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Employ driver-based planning methods for P&amp;L line items with high variability, where input drivers can be changed as needed in e.g. scenario models</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TextBox 69">
            <a:extLst>
              <a:ext uri="{FF2B5EF4-FFF2-40B4-BE49-F238E27FC236}">
                <a16:creationId xmlns:a16="http://schemas.microsoft.com/office/drawing/2014/main" id="{342E1A75-FAAD-8EB4-34F3-AAF22CB83D26}"/>
              </a:ext>
            </a:extLst>
          </p:cNvPr>
          <p:cNvSpPr txBox="1"/>
          <p:nvPr/>
        </p:nvSpPr>
        <p:spPr>
          <a:xfrm>
            <a:off x="8177256" y="3870941"/>
            <a:ext cx="1482446" cy="615553"/>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Leverage advanced analytics e.g. real time data access - driving agile decision making</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0">
            <a:extLst>
              <a:ext uri="{FF2B5EF4-FFF2-40B4-BE49-F238E27FC236}">
                <a16:creationId xmlns:a16="http://schemas.microsoft.com/office/drawing/2014/main" id="{6F05DEFB-E071-3576-0763-8A44B6E2DC5B}"/>
              </a:ext>
            </a:extLst>
          </p:cNvPr>
          <p:cNvSpPr txBox="1"/>
          <p:nvPr/>
        </p:nvSpPr>
        <p:spPr>
          <a:xfrm>
            <a:off x="8177256" y="4634955"/>
            <a:ext cx="1482446" cy="923330"/>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Employ automated BI tools which enable rapid scenario modelling and data visualisation, distilling key insights from ‘data’ </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TextBox 71">
            <a:extLst>
              <a:ext uri="{FF2B5EF4-FFF2-40B4-BE49-F238E27FC236}">
                <a16:creationId xmlns:a16="http://schemas.microsoft.com/office/drawing/2014/main" id="{D250C058-F573-C4FE-A6C3-83B022A939D6}"/>
              </a:ext>
            </a:extLst>
          </p:cNvPr>
          <p:cNvSpPr txBox="1"/>
          <p:nvPr/>
        </p:nvSpPr>
        <p:spPr>
          <a:xfrm>
            <a:off x="9990651" y="2724643"/>
            <a:ext cx="1482446"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Conduct PBF processes on a single, connected and integrated planning solution across the enterprise</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Oval 74">
            <a:extLst>
              <a:ext uri="{FF2B5EF4-FFF2-40B4-BE49-F238E27FC236}">
                <a16:creationId xmlns:a16="http://schemas.microsoft.com/office/drawing/2014/main" id="{79AFA132-CAED-4D1D-4B0C-C625F6F73576}"/>
              </a:ext>
            </a:extLst>
          </p:cNvPr>
          <p:cNvSpPr/>
          <p:nvPr/>
        </p:nvSpPr>
        <p:spPr bwMode="gray">
          <a:xfrm>
            <a:off x="649072" y="2911856"/>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76" name="Straight Connector 75">
            <a:extLst>
              <a:ext uri="{FF2B5EF4-FFF2-40B4-BE49-F238E27FC236}">
                <a16:creationId xmlns:a16="http://schemas.microsoft.com/office/drawing/2014/main" id="{70A5F982-985D-912A-E7FD-FC5B3CC6970A}"/>
              </a:ext>
            </a:extLst>
          </p:cNvPr>
          <p:cNvCxnSpPr>
            <a:cxnSpLocks/>
          </p:cNvCxnSpPr>
          <p:nvPr/>
        </p:nvCxnSpPr>
        <p:spPr>
          <a:xfrm>
            <a:off x="734123" y="2952650"/>
            <a:ext cx="963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5BC197C7-2FAC-01B1-2AC0-86DE4A3E3E6C}"/>
              </a:ext>
            </a:extLst>
          </p:cNvPr>
          <p:cNvSpPr/>
          <p:nvPr/>
        </p:nvSpPr>
        <p:spPr bwMode="gray">
          <a:xfrm>
            <a:off x="647990" y="3868128"/>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78" name="Straight Connector 77">
            <a:extLst>
              <a:ext uri="{FF2B5EF4-FFF2-40B4-BE49-F238E27FC236}">
                <a16:creationId xmlns:a16="http://schemas.microsoft.com/office/drawing/2014/main" id="{851317F7-218D-E142-F971-6683E1ACEB16}"/>
              </a:ext>
            </a:extLst>
          </p:cNvPr>
          <p:cNvCxnSpPr/>
          <p:nvPr/>
        </p:nvCxnSpPr>
        <p:spPr>
          <a:xfrm>
            <a:off x="733041" y="3908922"/>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830B2F69-A85B-66A7-B778-E681C3C8BC7A}"/>
              </a:ext>
            </a:extLst>
          </p:cNvPr>
          <p:cNvSpPr/>
          <p:nvPr/>
        </p:nvSpPr>
        <p:spPr bwMode="gray">
          <a:xfrm>
            <a:off x="650016" y="4588069"/>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80" name="Straight Connector 79">
            <a:extLst>
              <a:ext uri="{FF2B5EF4-FFF2-40B4-BE49-F238E27FC236}">
                <a16:creationId xmlns:a16="http://schemas.microsoft.com/office/drawing/2014/main" id="{132ADE1F-7950-3A24-61DA-7998D9C5C1D7}"/>
              </a:ext>
            </a:extLst>
          </p:cNvPr>
          <p:cNvCxnSpPr>
            <a:cxnSpLocks/>
          </p:cNvCxnSpPr>
          <p:nvPr/>
        </p:nvCxnSpPr>
        <p:spPr>
          <a:xfrm>
            <a:off x="735067" y="4628863"/>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59BE5066-42B5-085E-CB5B-588574F3A737}"/>
              </a:ext>
            </a:extLst>
          </p:cNvPr>
          <p:cNvSpPr/>
          <p:nvPr/>
        </p:nvSpPr>
        <p:spPr bwMode="gray">
          <a:xfrm>
            <a:off x="643072" y="5295415"/>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82" name="Straight Connector 81">
            <a:extLst>
              <a:ext uri="{FF2B5EF4-FFF2-40B4-BE49-F238E27FC236}">
                <a16:creationId xmlns:a16="http://schemas.microsoft.com/office/drawing/2014/main" id="{3B55E23D-FE62-7805-457C-2CEF67F4988C}"/>
              </a:ext>
            </a:extLst>
          </p:cNvPr>
          <p:cNvCxnSpPr>
            <a:cxnSpLocks/>
          </p:cNvCxnSpPr>
          <p:nvPr/>
        </p:nvCxnSpPr>
        <p:spPr>
          <a:xfrm>
            <a:off x="728123" y="5336209"/>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5E91840B-2D7E-9A3B-340F-AD10E456E565}"/>
              </a:ext>
            </a:extLst>
          </p:cNvPr>
          <p:cNvSpPr/>
          <p:nvPr/>
        </p:nvSpPr>
        <p:spPr bwMode="gray">
          <a:xfrm>
            <a:off x="2460257" y="2974355"/>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84" name="Straight Connector 83">
            <a:extLst>
              <a:ext uri="{FF2B5EF4-FFF2-40B4-BE49-F238E27FC236}">
                <a16:creationId xmlns:a16="http://schemas.microsoft.com/office/drawing/2014/main" id="{56735EEB-00F4-652A-BA16-9E8791C0E2E4}"/>
              </a:ext>
            </a:extLst>
          </p:cNvPr>
          <p:cNvCxnSpPr>
            <a:stCxn id="101" idx="6"/>
          </p:cNvCxnSpPr>
          <p:nvPr/>
        </p:nvCxnSpPr>
        <p:spPr>
          <a:xfrm>
            <a:off x="2545308" y="3015149"/>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B53C8F53-091B-5F5C-E112-A4EC784C1A77}"/>
              </a:ext>
            </a:extLst>
          </p:cNvPr>
          <p:cNvSpPr/>
          <p:nvPr/>
        </p:nvSpPr>
        <p:spPr bwMode="gray">
          <a:xfrm>
            <a:off x="2459573" y="3691798"/>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86" name="Straight Connector 85">
            <a:extLst>
              <a:ext uri="{FF2B5EF4-FFF2-40B4-BE49-F238E27FC236}">
                <a16:creationId xmlns:a16="http://schemas.microsoft.com/office/drawing/2014/main" id="{D545A154-B2E0-A0C4-7EBB-41B5BDA9AEC3}"/>
              </a:ext>
            </a:extLst>
          </p:cNvPr>
          <p:cNvCxnSpPr>
            <a:stCxn id="103" idx="6"/>
          </p:cNvCxnSpPr>
          <p:nvPr/>
        </p:nvCxnSpPr>
        <p:spPr>
          <a:xfrm>
            <a:off x="2544624" y="3732592"/>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84BE14F7-2A08-0842-DD12-0868A86979A9}"/>
              </a:ext>
            </a:extLst>
          </p:cNvPr>
          <p:cNvSpPr/>
          <p:nvPr/>
        </p:nvSpPr>
        <p:spPr bwMode="gray">
          <a:xfrm>
            <a:off x="2463411" y="4566179"/>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88" name="Straight Connector 87">
            <a:extLst>
              <a:ext uri="{FF2B5EF4-FFF2-40B4-BE49-F238E27FC236}">
                <a16:creationId xmlns:a16="http://schemas.microsoft.com/office/drawing/2014/main" id="{7566EEEC-2B21-30BE-DF8D-BEA249B7D11D}"/>
              </a:ext>
            </a:extLst>
          </p:cNvPr>
          <p:cNvCxnSpPr>
            <a:stCxn id="105" idx="6"/>
          </p:cNvCxnSpPr>
          <p:nvPr/>
        </p:nvCxnSpPr>
        <p:spPr>
          <a:xfrm>
            <a:off x="2548462" y="4606973"/>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05A24DE-BFC1-0713-24D3-66A5112317EB}"/>
              </a:ext>
            </a:extLst>
          </p:cNvPr>
          <p:cNvSpPr/>
          <p:nvPr/>
        </p:nvSpPr>
        <p:spPr bwMode="gray">
          <a:xfrm>
            <a:off x="2456469" y="5409686"/>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90" name="Straight Connector 89">
            <a:extLst>
              <a:ext uri="{FF2B5EF4-FFF2-40B4-BE49-F238E27FC236}">
                <a16:creationId xmlns:a16="http://schemas.microsoft.com/office/drawing/2014/main" id="{ED474A55-109C-426D-37E4-71C80053E81A}"/>
              </a:ext>
            </a:extLst>
          </p:cNvPr>
          <p:cNvCxnSpPr>
            <a:stCxn id="107" idx="6"/>
          </p:cNvCxnSpPr>
          <p:nvPr/>
        </p:nvCxnSpPr>
        <p:spPr>
          <a:xfrm>
            <a:off x="2541520" y="5450480"/>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823D3BF0-CFFF-11E5-C0B5-7C9632F0AA33}"/>
              </a:ext>
            </a:extLst>
          </p:cNvPr>
          <p:cNvSpPr/>
          <p:nvPr/>
        </p:nvSpPr>
        <p:spPr bwMode="gray">
          <a:xfrm>
            <a:off x="4314567" y="2974355"/>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92" name="Straight Connector 91">
            <a:extLst>
              <a:ext uri="{FF2B5EF4-FFF2-40B4-BE49-F238E27FC236}">
                <a16:creationId xmlns:a16="http://schemas.microsoft.com/office/drawing/2014/main" id="{FF679C64-A57A-F083-8297-9A192CA4C298}"/>
              </a:ext>
            </a:extLst>
          </p:cNvPr>
          <p:cNvCxnSpPr>
            <a:stCxn id="109" idx="6"/>
          </p:cNvCxnSpPr>
          <p:nvPr/>
        </p:nvCxnSpPr>
        <p:spPr>
          <a:xfrm>
            <a:off x="4399618" y="3015149"/>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E5F8A92B-39B8-6429-E873-B42DC2DDCE4D}"/>
              </a:ext>
            </a:extLst>
          </p:cNvPr>
          <p:cNvSpPr/>
          <p:nvPr/>
        </p:nvSpPr>
        <p:spPr bwMode="gray">
          <a:xfrm>
            <a:off x="4316015" y="3778234"/>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94" name="Straight Connector 93">
            <a:extLst>
              <a:ext uri="{FF2B5EF4-FFF2-40B4-BE49-F238E27FC236}">
                <a16:creationId xmlns:a16="http://schemas.microsoft.com/office/drawing/2014/main" id="{D571DF93-FF38-62A6-598A-2F2E95BAF9E5}"/>
              </a:ext>
            </a:extLst>
          </p:cNvPr>
          <p:cNvCxnSpPr>
            <a:stCxn id="111" idx="6"/>
          </p:cNvCxnSpPr>
          <p:nvPr/>
        </p:nvCxnSpPr>
        <p:spPr>
          <a:xfrm>
            <a:off x="4401066" y="3819028"/>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0AA90538-3937-860E-7104-303669FC6135}"/>
              </a:ext>
            </a:extLst>
          </p:cNvPr>
          <p:cNvSpPr/>
          <p:nvPr/>
        </p:nvSpPr>
        <p:spPr bwMode="gray">
          <a:xfrm>
            <a:off x="4318496" y="4649623"/>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96" name="Straight Connector 95">
            <a:extLst>
              <a:ext uri="{FF2B5EF4-FFF2-40B4-BE49-F238E27FC236}">
                <a16:creationId xmlns:a16="http://schemas.microsoft.com/office/drawing/2014/main" id="{9F83CA3F-39EE-655B-7C0E-E5E5A2313A2A}"/>
              </a:ext>
            </a:extLst>
          </p:cNvPr>
          <p:cNvCxnSpPr>
            <a:stCxn id="113" idx="6"/>
          </p:cNvCxnSpPr>
          <p:nvPr/>
        </p:nvCxnSpPr>
        <p:spPr>
          <a:xfrm>
            <a:off x="4403547" y="4690417"/>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7" name="TextBox 94">
            <a:extLst>
              <a:ext uri="{FF2B5EF4-FFF2-40B4-BE49-F238E27FC236}">
                <a16:creationId xmlns:a16="http://schemas.microsoft.com/office/drawing/2014/main" id="{0DCE7AF5-695A-3862-9D38-7B258A67F3AE}"/>
              </a:ext>
            </a:extLst>
          </p:cNvPr>
          <p:cNvSpPr txBox="1"/>
          <p:nvPr/>
        </p:nvSpPr>
        <p:spPr>
          <a:xfrm>
            <a:off x="9990650" y="3589914"/>
            <a:ext cx="1608039" cy="769441"/>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Cross-functional planning (e.g. S&amp;OP) happens on a single platform, promoting automated / real time visibility by FP&amp;A</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98" name="TextBox 95">
            <a:extLst>
              <a:ext uri="{FF2B5EF4-FFF2-40B4-BE49-F238E27FC236}">
                <a16:creationId xmlns:a16="http://schemas.microsoft.com/office/drawing/2014/main" id="{B241B921-FC47-1DC6-DE0B-FC161DC55CC2}"/>
              </a:ext>
            </a:extLst>
          </p:cNvPr>
          <p:cNvSpPr txBox="1"/>
          <p:nvPr/>
        </p:nvSpPr>
        <p:spPr>
          <a:xfrm>
            <a:off x="9990649" y="4454212"/>
            <a:ext cx="1608039" cy="923330"/>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Top-down targets, central assumptions and planning deadlines are input into and communicated via a single connected planning solution</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Rounded Rectangle 44">
            <a:extLst>
              <a:ext uri="{FF2B5EF4-FFF2-40B4-BE49-F238E27FC236}">
                <a16:creationId xmlns:a16="http://schemas.microsoft.com/office/drawing/2014/main" id="{C83A8AC5-BDA1-851F-24E9-A4BDA31E6C93}"/>
              </a:ext>
            </a:extLst>
          </p:cNvPr>
          <p:cNvSpPr/>
          <p:nvPr/>
        </p:nvSpPr>
        <p:spPr bwMode="gray">
          <a:xfrm>
            <a:off x="9896122" y="2612909"/>
            <a:ext cx="1702565" cy="2839035"/>
          </a:xfrm>
          <a:prstGeom prst="roundRect">
            <a:avLst/>
          </a:prstGeom>
          <a:noFill/>
          <a:ln w="28575" algn="ctr">
            <a:noFill/>
            <a:prstDash val="sysDot"/>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0" name="Oval 99">
            <a:extLst>
              <a:ext uri="{FF2B5EF4-FFF2-40B4-BE49-F238E27FC236}">
                <a16:creationId xmlns:a16="http://schemas.microsoft.com/office/drawing/2014/main" id="{A87540B3-CFBA-2E97-046D-5BE00ADE9222}"/>
              </a:ext>
            </a:extLst>
          </p:cNvPr>
          <p:cNvSpPr/>
          <p:nvPr/>
        </p:nvSpPr>
        <p:spPr bwMode="gray">
          <a:xfrm>
            <a:off x="6142921" y="3191024"/>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1" name="Straight Connector 100">
            <a:extLst>
              <a:ext uri="{FF2B5EF4-FFF2-40B4-BE49-F238E27FC236}">
                <a16:creationId xmlns:a16="http://schemas.microsoft.com/office/drawing/2014/main" id="{7691630D-4A40-73A1-0C11-486A06D8215A}"/>
              </a:ext>
            </a:extLst>
          </p:cNvPr>
          <p:cNvCxnSpPr>
            <a:stCxn id="123" idx="6"/>
          </p:cNvCxnSpPr>
          <p:nvPr/>
        </p:nvCxnSpPr>
        <p:spPr>
          <a:xfrm>
            <a:off x="6227972" y="3231818"/>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2" name="Oval 101">
            <a:extLst>
              <a:ext uri="{FF2B5EF4-FFF2-40B4-BE49-F238E27FC236}">
                <a16:creationId xmlns:a16="http://schemas.microsoft.com/office/drawing/2014/main" id="{FF68299C-00C3-9A36-710D-B218B987C383}"/>
              </a:ext>
            </a:extLst>
          </p:cNvPr>
          <p:cNvSpPr/>
          <p:nvPr/>
        </p:nvSpPr>
        <p:spPr bwMode="gray">
          <a:xfrm>
            <a:off x="6145543" y="4177738"/>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3" name="Straight Connector 102">
            <a:extLst>
              <a:ext uri="{FF2B5EF4-FFF2-40B4-BE49-F238E27FC236}">
                <a16:creationId xmlns:a16="http://schemas.microsoft.com/office/drawing/2014/main" id="{6E8493F6-AD90-AA93-3552-81576687870C}"/>
              </a:ext>
            </a:extLst>
          </p:cNvPr>
          <p:cNvCxnSpPr>
            <a:stCxn id="125" idx="6"/>
          </p:cNvCxnSpPr>
          <p:nvPr/>
        </p:nvCxnSpPr>
        <p:spPr>
          <a:xfrm>
            <a:off x="6230594" y="4218532"/>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93AA01E8-AECD-95C2-55CD-F319FB64C10C}"/>
              </a:ext>
            </a:extLst>
          </p:cNvPr>
          <p:cNvSpPr/>
          <p:nvPr/>
        </p:nvSpPr>
        <p:spPr bwMode="gray">
          <a:xfrm>
            <a:off x="6138315" y="5164451"/>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5" name="Straight Connector 104">
            <a:extLst>
              <a:ext uri="{FF2B5EF4-FFF2-40B4-BE49-F238E27FC236}">
                <a16:creationId xmlns:a16="http://schemas.microsoft.com/office/drawing/2014/main" id="{B62ED790-5DF7-FC63-D2E9-6CC95C5C880D}"/>
              </a:ext>
            </a:extLst>
          </p:cNvPr>
          <p:cNvCxnSpPr>
            <a:stCxn id="127" idx="6"/>
          </p:cNvCxnSpPr>
          <p:nvPr/>
        </p:nvCxnSpPr>
        <p:spPr>
          <a:xfrm>
            <a:off x="6223366" y="5205245"/>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4B4B0A5F-10AE-715F-A4AD-AFDF2607552C}"/>
              </a:ext>
            </a:extLst>
          </p:cNvPr>
          <p:cNvSpPr/>
          <p:nvPr/>
        </p:nvSpPr>
        <p:spPr bwMode="gray">
          <a:xfrm>
            <a:off x="7967658" y="3202409"/>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7" name="Straight Connector 106">
            <a:extLst>
              <a:ext uri="{FF2B5EF4-FFF2-40B4-BE49-F238E27FC236}">
                <a16:creationId xmlns:a16="http://schemas.microsoft.com/office/drawing/2014/main" id="{669FA605-7BBD-563B-CE99-AF49FC50D0AB}"/>
              </a:ext>
            </a:extLst>
          </p:cNvPr>
          <p:cNvCxnSpPr>
            <a:stCxn id="129" idx="6"/>
          </p:cNvCxnSpPr>
          <p:nvPr/>
        </p:nvCxnSpPr>
        <p:spPr>
          <a:xfrm>
            <a:off x="8052709" y="3243203"/>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F8E9FAA7-11AE-D3CE-B5F8-7E31E568468D}"/>
              </a:ext>
            </a:extLst>
          </p:cNvPr>
          <p:cNvSpPr/>
          <p:nvPr/>
        </p:nvSpPr>
        <p:spPr bwMode="gray">
          <a:xfrm>
            <a:off x="7975723" y="4126334"/>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9" name="Straight Connector 108">
            <a:extLst>
              <a:ext uri="{FF2B5EF4-FFF2-40B4-BE49-F238E27FC236}">
                <a16:creationId xmlns:a16="http://schemas.microsoft.com/office/drawing/2014/main" id="{2992C92A-B210-935F-7C0E-FEFAB8B6AC3E}"/>
              </a:ext>
            </a:extLst>
          </p:cNvPr>
          <p:cNvCxnSpPr>
            <a:stCxn id="131" idx="6"/>
          </p:cNvCxnSpPr>
          <p:nvPr/>
        </p:nvCxnSpPr>
        <p:spPr>
          <a:xfrm>
            <a:off x="8060774" y="4167128"/>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4F357836-1C47-131A-5800-796A3BB4AD8E}"/>
              </a:ext>
            </a:extLst>
          </p:cNvPr>
          <p:cNvSpPr/>
          <p:nvPr/>
        </p:nvSpPr>
        <p:spPr bwMode="gray">
          <a:xfrm>
            <a:off x="7975723" y="5005294"/>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1" name="Straight Connector 110">
            <a:extLst>
              <a:ext uri="{FF2B5EF4-FFF2-40B4-BE49-F238E27FC236}">
                <a16:creationId xmlns:a16="http://schemas.microsoft.com/office/drawing/2014/main" id="{AF0A8BE3-736D-9478-6A75-A20C08E99A1C}"/>
              </a:ext>
            </a:extLst>
          </p:cNvPr>
          <p:cNvCxnSpPr>
            <a:stCxn id="133" idx="6"/>
          </p:cNvCxnSpPr>
          <p:nvPr/>
        </p:nvCxnSpPr>
        <p:spPr>
          <a:xfrm>
            <a:off x="8060774" y="5046088"/>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004F0F39-373B-3B7E-A41D-8E9A6FA16024}"/>
              </a:ext>
            </a:extLst>
          </p:cNvPr>
          <p:cNvSpPr/>
          <p:nvPr/>
        </p:nvSpPr>
        <p:spPr bwMode="gray">
          <a:xfrm>
            <a:off x="9785291" y="3015149"/>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3" name="Straight Connector 112">
            <a:extLst>
              <a:ext uri="{FF2B5EF4-FFF2-40B4-BE49-F238E27FC236}">
                <a16:creationId xmlns:a16="http://schemas.microsoft.com/office/drawing/2014/main" id="{6C366F74-713F-A16F-8E12-1876B9104833}"/>
              </a:ext>
            </a:extLst>
          </p:cNvPr>
          <p:cNvCxnSpPr>
            <a:stCxn id="135" idx="6"/>
          </p:cNvCxnSpPr>
          <p:nvPr/>
        </p:nvCxnSpPr>
        <p:spPr>
          <a:xfrm>
            <a:off x="9870342" y="3055943"/>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4" name="Oval 113">
            <a:extLst>
              <a:ext uri="{FF2B5EF4-FFF2-40B4-BE49-F238E27FC236}">
                <a16:creationId xmlns:a16="http://schemas.microsoft.com/office/drawing/2014/main" id="{49456B6B-535E-D211-1A25-AA71D1EBF3E6}"/>
              </a:ext>
            </a:extLst>
          </p:cNvPr>
          <p:cNvSpPr/>
          <p:nvPr/>
        </p:nvSpPr>
        <p:spPr bwMode="gray">
          <a:xfrm>
            <a:off x="9784915" y="3925360"/>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5" name="Straight Connector 114">
            <a:extLst>
              <a:ext uri="{FF2B5EF4-FFF2-40B4-BE49-F238E27FC236}">
                <a16:creationId xmlns:a16="http://schemas.microsoft.com/office/drawing/2014/main" id="{F5ED7AB8-CE1A-175E-AFC9-6560FAF0FA86}"/>
              </a:ext>
            </a:extLst>
          </p:cNvPr>
          <p:cNvCxnSpPr>
            <a:stCxn id="137" idx="6"/>
          </p:cNvCxnSpPr>
          <p:nvPr/>
        </p:nvCxnSpPr>
        <p:spPr>
          <a:xfrm>
            <a:off x="9869966" y="3966154"/>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92040BE5-B9B7-E63E-E59D-48B498F5286A}"/>
              </a:ext>
            </a:extLst>
          </p:cNvPr>
          <p:cNvSpPr/>
          <p:nvPr/>
        </p:nvSpPr>
        <p:spPr bwMode="gray">
          <a:xfrm>
            <a:off x="9785291" y="4794777"/>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7" name="Straight Connector 116">
            <a:extLst>
              <a:ext uri="{FF2B5EF4-FFF2-40B4-BE49-F238E27FC236}">
                <a16:creationId xmlns:a16="http://schemas.microsoft.com/office/drawing/2014/main" id="{64E5152E-B404-C499-F3D2-685944CE09E0}"/>
              </a:ext>
            </a:extLst>
          </p:cNvPr>
          <p:cNvCxnSpPr>
            <a:stCxn id="139" idx="6"/>
          </p:cNvCxnSpPr>
          <p:nvPr/>
        </p:nvCxnSpPr>
        <p:spPr>
          <a:xfrm>
            <a:off x="9870342" y="4835571"/>
            <a:ext cx="867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DDA2DFFB-C37B-69AB-FCDF-27FF0501A12B}"/>
              </a:ext>
            </a:extLst>
          </p:cNvPr>
          <p:cNvSpPr/>
          <p:nvPr/>
        </p:nvSpPr>
        <p:spPr bwMode="gray">
          <a:xfrm>
            <a:off x="7973210" y="5813421"/>
            <a:ext cx="85051" cy="81588"/>
          </a:xfrm>
          <a:prstGeom prst="ellips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lnSpc>
                <a:spcPct val="106000"/>
              </a:lnSpc>
              <a:buFont typeface="Wingdings 2" pitchFamily="18" charset="2"/>
              <a:buNone/>
            </a:pPr>
            <a:endParaRPr lang="en-US" sz="1000" noProof="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9" name="Straight Connector 118">
            <a:extLst>
              <a:ext uri="{FF2B5EF4-FFF2-40B4-BE49-F238E27FC236}">
                <a16:creationId xmlns:a16="http://schemas.microsoft.com/office/drawing/2014/main" id="{F142CA13-9E6D-F0E6-202C-A91C8DCEF861}"/>
              </a:ext>
            </a:extLst>
          </p:cNvPr>
          <p:cNvCxnSpPr>
            <a:stCxn id="141" idx="6"/>
          </p:cNvCxnSpPr>
          <p:nvPr/>
        </p:nvCxnSpPr>
        <p:spPr>
          <a:xfrm>
            <a:off x="8058261" y="5854215"/>
            <a:ext cx="72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0" name="TextBox 124">
            <a:extLst>
              <a:ext uri="{FF2B5EF4-FFF2-40B4-BE49-F238E27FC236}">
                <a16:creationId xmlns:a16="http://schemas.microsoft.com/office/drawing/2014/main" id="{5926C083-9ACC-7E7E-1F68-07A8685D08BD}"/>
              </a:ext>
            </a:extLst>
          </p:cNvPr>
          <p:cNvSpPr txBox="1"/>
          <p:nvPr/>
        </p:nvSpPr>
        <p:spPr>
          <a:xfrm>
            <a:off x="8172787" y="5643067"/>
            <a:ext cx="1482446" cy="615553"/>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lvl="0" defTabSz="914400">
              <a:spcBef>
                <a:spcPct val="40000"/>
              </a:spcBef>
              <a:tabLst>
                <a:tab pos="690953" algn="l"/>
                <a:tab pos="2067429" algn="r"/>
              </a:tabLst>
              <a:defRPr/>
            </a:pPr>
            <a:r>
              <a:rPr lang="en-US" sz="1000">
                <a:latin typeface="Open Sans" panose="020B0606030504020204" pitchFamily="34" charset="0"/>
                <a:ea typeface="Open Sans" panose="020B0606030504020204" pitchFamily="34" charset="0"/>
                <a:cs typeface="Open Sans" panose="020B0606030504020204" pitchFamily="34" charset="0"/>
              </a:rPr>
              <a:t>Leverage ‘what-if’ scenario modelling for shifts in core value drivers</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121" name="Flowchart: Connector 120">
            <a:extLst>
              <a:ext uri="{FF2B5EF4-FFF2-40B4-BE49-F238E27FC236}">
                <a16:creationId xmlns:a16="http://schemas.microsoft.com/office/drawing/2014/main" id="{FCD9458C-B846-7341-4EB6-491F20E0F951}"/>
              </a:ext>
            </a:extLst>
          </p:cNvPr>
          <p:cNvSpPr/>
          <p:nvPr/>
        </p:nvSpPr>
        <p:spPr>
          <a:xfrm>
            <a:off x="601437" y="2854069"/>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dirty="0">
                <a:solidFill>
                  <a:srgbClr val="FFFFFF"/>
                </a:solidFill>
                <a:latin typeface="Open Sans" panose="020B0606030504020204" pitchFamily="34" charset="0"/>
                <a:ea typeface="Open Sans" panose="020B0606030504020204" pitchFamily="34" charset="0"/>
                <a:cs typeface="Open Sans" panose="020B0606030504020204" pitchFamily="34" charset="0"/>
              </a:rPr>
              <a:t>1</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Flowchart: Connector 121">
            <a:extLst>
              <a:ext uri="{FF2B5EF4-FFF2-40B4-BE49-F238E27FC236}">
                <a16:creationId xmlns:a16="http://schemas.microsoft.com/office/drawing/2014/main" id="{01923D20-AFC8-AD0B-0509-66F90DC8A6E9}"/>
              </a:ext>
            </a:extLst>
          </p:cNvPr>
          <p:cNvSpPr/>
          <p:nvPr/>
        </p:nvSpPr>
        <p:spPr>
          <a:xfrm>
            <a:off x="580722" y="3826392"/>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a:solidFill>
                  <a:srgbClr val="FFFFFF"/>
                </a:solidFill>
                <a:latin typeface="Open Sans" panose="020B0606030504020204" pitchFamily="34" charset="0"/>
                <a:ea typeface="Open Sans" panose="020B0606030504020204" pitchFamily="34" charset="0"/>
                <a:cs typeface="Open Sans" panose="020B0606030504020204" pitchFamily="34" charset="0"/>
              </a:rPr>
              <a:t>2</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Flowchart: Connector 122">
            <a:extLst>
              <a:ext uri="{FF2B5EF4-FFF2-40B4-BE49-F238E27FC236}">
                <a16:creationId xmlns:a16="http://schemas.microsoft.com/office/drawing/2014/main" id="{C66604DE-71BA-79C1-29ED-BBD707300875}"/>
              </a:ext>
            </a:extLst>
          </p:cNvPr>
          <p:cNvSpPr/>
          <p:nvPr/>
        </p:nvSpPr>
        <p:spPr>
          <a:xfrm>
            <a:off x="576567" y="4550122"/>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dirty="0">
                <a:solidFill>
                  <a:srgbClr val="FFFFFF"/>
                </a:solidFill>
                <a:latin typeface="Open Sans" panose="020B0606030504020204" pitchFamily="34" charset="0"/>
                <a:ea typeface="Open Sans" panose="020B0606030504020204" pitchFamily="34" charset="0"/>
                <a:cs typeface="Open Sans" panose="020B0606030504020204" pitchFamily="34" charset="0"/>
              </a:rPr>
              <a:t>3</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Flowchart: Connector 123">
            <a:extLst>
              <a:ext uri="{FF2B5EF4-FFF2-40B4-BE49-F238E27FC236}">
                <a16:creationId xmlns:a16="http://schemas.microsoft.com/office/drawing/2014/main" id="{252D8839-AE63-199D-31D2-7F3CE6E564E7}"/>
              </a:ext>
            </a:extLst>
          </p:cNvPr>
          <p:cNvSpPr/>
          <p:nvPr/>
        </p:nvSpPr>
        <p:spPr>
          <a:xfrm>
            <a:off x="578908" y="5246209"/>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dirty="0">
                <a:solidFill>
                  <a:srgbClr val="FFFFFF"/>
                </a:solidFill>
                <a:latin typeface="Open Sans" panose="020B0606030504020204" pitchFamily="34" charset="0"/>
                <a:ea typeface="Open Sans" panose="020B0606030504020204" pitchFamily="34" charset="0"/>
                <a:cs typeface="Open Sans" panose="020B0606030504020204" pitchFamily="34" charset="0"/>
              </a:rPr>
              <a:t>4</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lowchart: Connector 124">
            <a:extLst>
              <a:ext uri="{FF2B5EF4-FFF2-40B4-BE49-F238E27FC236}">
                <a16:creationId xmlns:a16="http://schemas.microsoft.com/office/drawing/2014/main" id="{9D82ACF3-ACC7-DC92-278C-0FE8AC00C9F2}"/>
              </a:ext>
            </a:extLst>
          </p:cNvPr>
          <p:cNvSpPr/>
          <p:nvPr/>
        </p:nvSpPr>
        <p:spPr>
          <a:xfrm>
            <a:off x="2407363" y="2923127"/>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dirty="0">
                <a:solidFill>
                  <a:srgbClr val="FFFFFF"/>
                </a:solidFill>
                <a:latin typeface="Open Sans" panose="020B0606030504020204" pitchFamily="34" charset="0"/>
                <a:ea typeface="Open Sans" panose="020B0606030504020204" pitchFamily="34" charset="0"/>
                <a:cs typeface="Open Sans" panose="020B0606030504020204" pitchFamily="34" charset="0"/>
              </a:rPr>
              <a:t>5</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lowchart: Connector 125">
            <a:extLst>
              <a:ext uri="{FF2B5EF4-FFF2-40B4-BE49-F238E27FC236}">
                <a16:creationId xmlns:a16="http://schemas.microsoft.com/office/drawing/2014/main" id="{77E07BF1-6120-E5A6-1BC0-D7569BBAC369}"/>
              </a:ext>
            </a:extLst>
          </p:cNvPr>
          <p:cNvSpPr/>
          <p:nvPr/>
        </p:nvSpPr>
        <p:spPr>
          <a:xfrm>
            <a:off x="2394117" y="3649700"/>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6</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Flowchart: Connector 126">
            <a:extLst>
              <a:ext uri="{FF2B5EF4-FFF2-40B4-BE49-F238E27FC236}">
                <a16:creationId xmlns:a16="http://schemas.microsoft.com/office/drawing/2014/main" id="{0CABC537-7979-D7F4-9A2B-2F1819AE1BAE}"/>
              </a:ext>
            </a:extLst>
          </p:cNvPr>
          <p:cNvSpPr/>
          <p:nvPr/>
        </p:nvSpPr>
        <p:spPr>
          <a:xfrm>
            <a:off x="2407363" y="4518920"/>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7</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Flowchart: Connector 127">
            <a:extLst>
              <a:ext uri="{FF2B5EF4-FFF2-40B4-BE49-F238E27FC236}">
                <a16:creationId xmlns:a16="http://schemas.microsoft.com/office/drawing/2014/main" id="{6F051A50-E0EE-B6A6-4473-07939F2BE2D6}"/>
              </a:ext>
            </a:extLst>
          </p:cNvPr>
          <p:cNvSpPr/>
          <p:nvPr/>
        </p:nvSpPr>
        <p:spPr>
          <a:xfrm>
            <a:off x="6100789" y="5096466"/>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4</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Flowchart: Connector 128">
            <a:extLst>
              <a:ext uri="{FF2B5EF4-FFF2-40B4-BE49-F238E27FC236}">
                <a16:creationId xmlns:a16="http://schemas.microsoft.com/office/drawing/2014/main" id="{CB8DBD80-CEF4-4ED2-282B-9BFEE78CD24D}"/>
              </a:ext>
            </a:extLst>
          </p:cNvPr>
          <p:cNvSpPr/>
          <p:nvPr/>
        </p:nvSpPr>
        <p:spPr>
          <a:xfrm>
            <a:off x="6094133" y="3137683"/>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2</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Flowchart: Connector 129">
            <a:extLst>
              <a:ext uri="{FF2B5EF4-FFF2-40B4-BE49-F238E27FC236}">
                <a16:creationId xmlns:a16="http://schemas.microsoft.com/office/drawing/2014/main" id="{7B357E38-39F4-EC32-9AA5-753A383640A3}"/>
              </a:ext>
            </a:extLst>
          </p:cNvPr>
          <p:cNvSpPr/>
          <p:nvPr/>
        </p:nvSpPr>
        <p:spPr>
          <a:xfrm>
            <a:off x="6099421" y="4137883"/>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3</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Flowchart: Connector 130">
            <a:extLst>
              <a:ext uri="{FF2B5EF4-FFF2-40B4-BE49-F238E27FC236}">
                <a16:creationId xmlns:a16="http://schemas.microsoft.com/office/drawing/2014/main" id="{87B7C2FA-1CD2-D862-679F-CFCCB8AF0AF5}"/>
              </a:ext>
            </a:extLst>
          </p:cNvPr>
          <p:cNvSpPr/>
          <p:nvPr/>
        </p:nvSpPr>
        <p:spPr>
          <a:xfrm>
            <a:off x="2404726" y="5353972"/>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8</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Flowchart: Connector 131">
            <a:extLst>
              <a:ext uri="{FF2B5EF4-FFF2-40B4-BE49-F238E27FC236}">
                <a16:creationId xmlns:a16="http://schemas.microsoft.com/office/drawing/2014/main" id="{CF5CB857-25F8-3F8E-8347-C1A99B5BBE20}"/>
              </a:ext>
            </a:extLst>
          </p:cNvPr>
          <p:cNvSpPr/>
          <p:nvPr/>
        </p:nvSpPr>
        <p:spPr>
          <a:xfrm>
            <a:off x="4265699" y="2930082"/>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9</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Flowchart: Connector 132">
            <a:extLst>
              <a:ext uri="{FF2B5EF4-FFF2-40B4-BE49-F238E27FC236}">
                <a16:creationId xmlns:a16="http://schemas.microsoft.com/office/drawing/2014/main" id="{E23AFBDD-587C-7FA8-E162-8634186025EE}"/>
              </a:ext>
            </a:extLst>
          </p:cNvPr>
          <p:cNvSpPr/>
          <p:nvPr/>
        </p:nvSpPr>
        <p:spPr>
          <a:xfrm>
            <a:off x="4271689" y="3727862"/>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0</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Flowchart: Connector 133">
            <a:extLst>
              <a:ext uri="{FF2B5EF4-FFF2-40B4-BE49-F238E27FC236}">
                <a16:creationId xmlns:a16="http://schemas.microsoft.com/office/drawing/2014/main" id="{40D45EEA-E04C-E1AB-111B-B613C931231E}"/>
              </a:ext>
            </a:extLst>
          </p:cNvPr>
          <p:cNvSpPr/>
          <p:nvPr/>
        </p:nvSpPr>
        <p:spPr>
          <a:xfrm>
            <a:off x="4265000" y="4590991"/>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1</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5" name="Flowchart: Connector 134">
            <a:extLst>
              <a:ext uri="{FF2B5EF4-FFF2-40B4-BE49-F238E27FC236}">
                <a16:creationId xmlns:a16="http://schemas.microsoft.com/office/drawing/2014/main" id="{81EEBD0B-B472-C742-5399-C863D4CD208F}"/>
              </a:ext>
            </a:extLst>
          </p:cNvPr>
          <p:cNvSpPr/>
          <p:nvPr/>
        </p:nvSpPr>
        <p:spPr>
          <a:xfrm>
            <a:off x="7903566" y="3153203"/>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5</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Flowchart: Connector 135">
            <a:extLst>
              <a:ext uri="{FF2B5EF4-FFF2-40B4-BE49-F238E27FC236}">
                <a16:creationId xmlns:a16="http://schemas.microsoft.com/office/drawing/2014/main" id="{DABF90FD-EE43-5DD9-6A72-911E86426816}"/>
              </a:ext>
            </a:extLst>
          </p:cNvPr>
          <p:cNvSpPr/>
          <p:nvPr/>
        </p:nvSpPr>
        <p:spPr>
          <a:xfrm>
            <a:off x="7903566" y="4072352"/>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6</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Flowchart: Connector 136">
            <a:extLst>
              <a:ext uri="{FF2B5EF4-FFF2-40B4-BE49-F238E27FC236}">
                <a16:creationId xmlns:a16="http://schemas.microsoft.com/office/drawing/2014/main" id="{24D8C63C-03AC-75A2-13F4-420E66C15D40}"/>
              </a:ext>
            </a:extLst>
          </p:cNvPr>
          <p:cNvSpPr/>
          <p:nvPr/>
        </p:nvSpPr>
        <p:spPr>
          <a:xfrm>
            <a:off x="7909062" y="4958961"/>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7</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8" name="Flowchart: Connector 137">
            <a:extLst>
              <a:ext uri="{FF2B5EF4-FFF2-40B4-BE49-F238E27FC236}">
                <a16:creationId xmlns:a16="http://schemas.microsoft.com/office/drawing/2014/main" id="{09F4A803-3CDC-1637-9B2C-1C9F7D762B89}"/>
              </a:ext>
            </a:extLst>
          </p:cNvPr>
          <p:cNvSpPr/>
          <p:nvPr/>
        </p:nvSpPr>
        <p:spPr>
          <a:xfrm>
            <a:off x="9716196" y="2974355"/>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9</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9" name="Flowchart: Connector 138">
            <a:extLst>
              <a:ext uri="{FF2B5EF4-FFF2-40B4-BE49-F238E27FC236}">
                <a16:creationId xmlns:a16="http://schemas.microsoft.com/office/drawing/2014/main" id="{0CDE73C8-E59E-0656-0B3D-7BDD13E0974C}"/>
              </a:ext>
            </a:extLst>
          </p:cNvPr>
          <p:cNvSpPr/>
          <p:nvPr/>
        </p:nvSpPr>
        <p:spPr>
          <a:xfrm>
            <a:off x="9715114" y="3874325"/>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20</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Flowchart: Connector 139">
            <a:extLst>
              <a:ext uri="{FF2B5EF4-FFF2-40B4-BE49-F238E27FC236}">
                <a16:creationId xmlns:a16="http://schemas.microsoft.com/office/drawing/2014/main" id="{074621DB-D116-A158-40FF-DDDD2668758F}"/>
              </a:ext>
            </a:extLst>
          </p:cNvPr>
          <p:cNvSpPr/>
          <p:nvPr/>
        </p:nvSpPr>
        <p:spPr>
          <a:xfrm>
            <a:off x="9715114" y="4745739"/>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21</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Flowchart: Connector 140">
            <a:extLst>
              <a:ext uri="{FF2B5EF4-FFF2-40B4-BE49-F238E27FC236}">
                <a16:creationId xmlns:a16="http://schemas.microsoft.com/office/drawing/2014/main" id="{F632CC8D-0CA1-08A9-D9EE-0D3312C62B7B}"/>
              </a:ext>
            </a:extLst>
          </p:cNvPr>
          <p:cNvSpPr/>
          <p:nvPr/>
        </p:nvSpPr>
        <p:spPr>
          <a:xfrm>
            <a:off x="7914261" y="5766832"/>
            <a:ext cx="180000" cy="180000"/>
          </a:xfrm>
          <a:prstGeom prst="flowChartConnector">
            <a:avLst/>
          </a:prstGeom>
          <a:ln/>
        </p:spPr>
        <p:style>
          <a:lnRef idx="1">
            <a:schemeClr val="accent3"/>
          </a:lnRef>
          <a:fillRef idx="3">
            <a:schemeClr val="accent3"/>
          </a:fillRef>
          <a:effectRef idx="2">
            <a:schemeClr val="accent3"/>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noProof="0">
                <a:solidFill>
                  <a:srgbClr val="FFFFFF"/>
                </a:solidFill>
                <a:latin typeface="Open Sans" panose="020B0606030504020204" pitchFamily="34" charset="0"/>
                <a:ea typeface="Open Sans" panose="020B0606030504020204" pitchFamily="34" charset="0"/>
                <a:cs typeface="Open Sans" panose="020B0606030504020204" pitchFamily="34" charset="0"/>
              </a:rPr>
              <a:t>18</a:t>
            </a:r>
            <a:endParaRPr kumimoji="0" lang="en-US" sz="10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3" name="Graphic 142" descr="Pencil outline">
            <a:extLst>
              <a:ext uri="{FF2B5EF4-FFF2-40B4-BE49-F238E27FC236}">
                <a16:creationId xmlns:a16="http://schemas.microsoft.com/office/drawing/2014/main" id="{37353532-F952-C3A3-2A5B-DB3537B4DAD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83669" y="1960145"/>
            <a:ext cx="546012" cy="546012"/>
          </a:xfrm>
          <a:prstGeom prst="rect">
            <a:avLst/>
          </a:prstGeom>
        </p:spPr>
      </p:pic>
      <p:pic>
        <p:nvPicPr>
          <p:cNvPr id="145" name="Graphic 144" descr="Hierarchy outline">
            <a:extLst>
              <a:ext uri="{FF2B5EF4-FFF2-40B4-BE49-F238E27FC236}">
                <a16:creationId xmlns:a16="http://schemas.microsoft.com/office/drawing/2014/main" id="{141225DD-997E-107F-4ADE-4F431E313AF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a:off x="3420872" y="1924660"/>
            <a:ext cx="492663" cy="492663"/>
          </a:xfrm>
          <a:prstGeom prst="rect">
            <a:avLst/>
          </a:prstGeom>
        </p:spPr>
      </p:pic>
      <p:pic>
        <p:nvPicPr>
          <p:cNvPr id="147" name="Graphic 146" descr="Inbox Check outline">
            <a:extLst>
              <a:ext uri="{FF2B5EF4-FFF2-40B4-BE49-F238E27FC236}">
                <a16:creationId xmlns:a16="http://schemas.microsoft.com/office/drawing/2014/main" id="{740B0A14-8E23-4FC9-0308-92DDF0D8CED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156058" y="1852948"/>
            <a:ext cx="649547" cy="649547"/>
          </a:xfrm>
          <a:prstGeom prst="rect">
            <a:avLst/>
          </a:prstGeom>
        </p:spPr>
      </p:pic>
      <p:pic>
        <p:nvPicPr>
          <p:cNvPr id="149" name="Graphic 148" descr="Remote work outline">
            <a:extLst>
              <a:ext uri="{FF2B5EF4-FFF2-40B4-BE49-F238E27FC236}">
                <a16:creationId xmlns:a16="http://schemas.microsoft.com/office/drawing/2014/main" id="{8559E8D9-BBD2-0D2B-B0B1-B30543FB3CA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140029" y="1891293"/>
            <a:ext cx="611202" cy="611202"/>
          </a:xfrm>
          <a:prstGeom prst="rect">
            <a:avLst/>
          </a:prstGeom>
        </p:spPr>
      </p:pic>
      <p:pic>
        <p:nvPicPr>
          <p:cNvPr id="153" name="Graphic 152" descr="Playbook outline">
            <a:extLst>
              <a:ext uri="{FF2B5EF4-FFF2-40B4-BE49-F238E27FC236}">
                <a16:creationId xmlns:a16="http://schemas.microsoft.com/office/drawing/2014/main" id="{679791FD-6609-3952-45A5-964B34D03B05}"/>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757380" y="1818267"/>
            <a:ext cx="756061" cy="756061"/>
          </a:xfrm>
          <a:prstGeom prst="rect">
            <a:avLst/>
          </a:prstGeom>
        </p:spPr>
      </p:pic>
      <p:pic>
        <p:nvPicPr>
          <p:cNvPr id="156" name="Graphic 155" descr="Bow And Arrow outline">
            <a:extLst>
              <a:ext uri="{FF2B5EF4-FFF2-40B4-BE49-F238E27FC236}">
                <a16:creationId xmlns:a16="http://schemas.microsoft.com/office/drawing/2014/main" id="{96F2B3E5-2F96-71C7-AFC2-DD1E70B5E3A5}"/>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728262" y="1924525"/>
            <a:ext cx="574937" cy="574937"/>
          </a:xfrm>
          <a:prstGeom prst="rect">
            <a:avLst/>
          </a:prstGeom>
        </p:spPr>
      </p:pic>
      <p:sp>
        <p:nvSpPr>
          <p:cNvPr id="157" name="TextBox 156">
            <a:extLst>
              <a:ext uri="{FF2B5EF4-FFF2-40B4-BE49-F238E27FC236}">
                <a16:creationId xmlns:a16="http://schemas.microsoft.com/office/drawing/2014/main" id="{196E53C6-BAB1-2B99-B5B1-5FA8881DCD08}"/>
              </a:ext>
            </a:extLst>
          </p:cNvPr>
          <p:cNvSpPr txBox="1"/>
          <p:nvPr/>
        </p:nvSpPr>
        <p:spPr>
          <a:xfrm>
            <a:off x="692541" y="6285533"/>
            <a:ext cx="1892185" cy="123111"/>
          </a:xfrm>
          <a:prstGeom prst="rect">
            <a:avLst/>
          </a:prstGeom>
          <a:noFill/>
        </p:spPr>
        <p:txBody>
          <a:bodyPr wrap="square" lIns="0" tIns="0" rIns="0" bIns="0" rtlCol="0">
            <a:spAutoFit/>
          </a:bodyPr>
          <a:lstStyle/>
          <a:p>
            <a:pPr>
              <a:spcBef>
                <a:spcPts val="600"/>
              </a:spcBef>
              <a:buSzPct val="100000"/>
            </a:pP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PBF: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Planning</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Budgeting</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Forecasting</a:t>
            </a:r>
            <a:endParaRPr lang="en-GB" sz="8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 name="TextBox 157">
            <a:extLst>
              <a:ext uri="{FF2B5EF4-FFF2-40B4-BE49-F238E27FC236}">
                <a16:creationId xmlns:a16="http://schemas.microsoft.com/office/drawing/2014/main" id="{40629C69-5F23-2FED-C51F-733AB2AE8E19}"/>
              </a:ext>
            </a:extLst>
          </p:cNvPr>
          <p:cNvSpPr txBox="1"/>
          <p:nvPr/>
        </p:nvSpPr>
        <p:spPr>
          <a:xfrm>
            <a:off x="6180840" y="6528632"/>
            <a:ext cx="2074387" cy="123111"/>
          </a:xfrm>
          <a:prstGeom prst="rect">
            <a:avLst/>
          </a:prstGeom>
          <a:noFill/>
        </p:spPr>
        <p:txBody>
          <a:bodyPr wrap="square" lIns="0" tIns="0" rIns="0" bIns="0" rtlCol="0">
            <a:spAutoFit/>
          </a:bodyPr>
          <a:lstStyle/>
          <a:p>
            <a:pPr>
              <a:spcBef>
                <a:spcPts val="600"/>
              </a:spcBef>
              <a:buSzPct val="100000"/>
            </a:pP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FP&amp;A: Financial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Planning</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and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Analysis</a:t>
            </a:r>
            <a:endParaRPr lang="en-GB" sz="8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3185121"/>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1" y="2997200"/>
            <a:ext cx="7477761" cy="863600"/>
            <a:chOff x="-1" y="2997200"/>
            <a:chExt cx="7477761" cy="863600"/>
          </a:xfrm>
          <a:solidFill>
            <a:srgbClr val="62B5E5"/>
          </a:solidFill>
          <a:effectLst>
            <a:outerShdw blurRad="50800" dist="38100" dir="5400000" algn="t" rotWithShape="0">
              <a:prstClr val="black">
                <a:alpha val="40000"/>
              </a:prstClr>
            </a:outerShdw>
          </a:effectLst>
        </p:grpSpPr>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a:extLst>
                <a:ext uri="{FF2B5EF4-FFF2-40B4-BE49-F238E27FC236}">
                  <a16:creationId xmlns:a16="http://schemas.microsoft.com/office/drawing/2014/main" id="{3D401599-9D06-8EE4-4868-D91498BE40B4}"/>
                </a:ext>
              </a:extLst>
            </p:cNvPr>
            <p:cNvSpPr/>
            <p:nvPr/>
          </p:nvSpPr>
          <p:spPr bwMode="gray">
            <a:xfrm>
              <a:off x="-1" y="2997200"/>
              <a:ext cx="7182853" cy="863600"/>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9.12 Insurance advisory services</a:t>
              </a:r>
            </a:p>
          </p:txBody>
        </p:sp>
      </p:grpSp>
    </p:spTree>
    <p:extLst>
      <p:ext uri="{BB962C8B-B14F-4D97-AF65-F5344CB8AC3E}">
        <p14:creationId xmlns:p14="http://schemas.microsoft.com/office/powerpoint/2010/main" val="320418717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B9FD9C-1333-5370-C862-B364159512FF}"/>
              </a:ext>
            </a:extLst>
          </p:cNvPr>
          <p:cNvSpPr>
            <a:spLocks noGrp="1"/>
          </p:cNvSpPr>
          <p:nvPr>
            <p:ph type="body" sz="quarter" idx="22"/>
          </p:nvPr>
        </p:nvSpPr>
        <p:spPr/>
        <p:txBody>
          <a:bodyPr/>
          <a:lstStyle/>
          <a:p>
            <a:endParaRPr lang="en-GB"/>
          </a:p>
        </p:txBody>
      </p:sp>
      <p:sp>
        <p:nvSpPr>
          <p:cNvPr id="3" name="Title 2">
            <a:extLst>
              <a:ext uri="{FF2B5EF4-FFF2-40B4-BE49-F238E27FC236}">
                <a16:creationId xmlns:a16="http://schemas.microsoft.com/office/drawing/2014/main" id="{A361AD10-47D5-4306-F30B-6DFEA2526E9B}"/>
              </a:ext>
            </a:extLst>
          </p:cNvPr>
          <p:cNvSpPr>
            <a:spLocks noGrp="1"/>
          </p:cNvSpPr>
          <p:nvPr>
            <p:ph type="title"/>
          </p:nvPr>
        </p:nvSpPr>
        <p:spPr/>
        <p:txBody>
          <a:bodyPr/>
          <a:lstStyle/>
          <a:p>
            <a:r>
              <a:rPr lang="en-US" dirty="0"/>
              <a:t>9.12 Insurance advisory services</a:t>
            </a:r>
            <a:endParaRPr lang="en-GB" dirty="0"/>
          </a:p>
        </p:txBody>
      </p:sp>
      <p:sp>
        <p:nvSpPr>
          <p:cNvPr id="4" name="Rectangle 3">
            <a:extLst>
              <a:ext uri="{FF2B5EF4-FFF2-40B4-BE49-F238E27FC236}">
                <a16:creationId xmlns:a16="http://schemas.microsoft.com/office/drawing/2014/main" id="{55829544-08BF-E0CB-36FD-708653A66450}"/>
              </a:ext>
            </a:extLst>
          </p:cNvPr>
          <p:cNvSpPr/>
          <p:nvPr/>
        </p:nvSpPr>
        <p:spPr bwMode="gray">
          <a:xfrm>
            <a:off x="9243588" y="561315"/>
            <a:ext cx="2218099" cy="106830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n progress</a:t>
            </a:r>
          </a:p>
        </p:txBody>
      </p:sp>
    </p:spTree>
    <p:extLst>
      <p:ext uri="{BB962C8B-B14F-4D97-AF65-F5344CB8AC3E}">
        <p14:creationId xmlns:p14="http://schemas.microsoft.com/office/powerpoint/2010/main" val="1210207970"/>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18934"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Human resources consulting service</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10.</a:t>
            </a:r>
            <a:endParaRPr lang="en-GB" dirty="0"/>
          </a:p>
        </p:txBody>
      </p:sp>
    </p:spTree>
    <p:extLst>
      <p:ext uri="{BB962C8B-B14F-4D97-AF65-F5344CB8AC3E}">
        <p14:creationId xmlns:p14="http://schemas.microsoft.com/office/powerpoint/2010/main" val="3700766455"/>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147449" y="-929811"/>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3530793"/>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3861339"/>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PL"/>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37780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r>
              <a:rPr lang="hu-HU" sz="900" b="1" dirty="0">
                <a:latin typeface="+mj-lt"/>
                <a:ea typeface="Open Sans Light" panose="020B0306030504020204" pitchFamily="34" charset="0"/>
                <a:cs typeface="Open Sans Light" panose="020B0306030504020204" pitchFamily="34" charset="0"/>
              </a:rPr>
              <a:t>TALENT ACQUISITION</a:t>
            </a:r>
            <a:endParaRPr lang="en-US" sz="900" b="1" dirty="0">
              <a:latin typeface="+mj-lt"/>
              <a:ea typeface="Open Sans Light" panose="020B0306030504020204" pitchFamily="34" charset="0"/>
              <a:cs typeface="Open Sans Light" panose="020B0306030504020204" pitchFamily="34" charset="0"/>
            </a:endParaRPr>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604344"/>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dirty="0">
                <a:latin typeface="+mn-lt"/>
              </a:rPr>
              <a:t>Human resources consulting services</a:t>
            </a:r>
          </a:p>
        </p:txBody>
      </p:sp>
      <p:sp>
        <p:nvSpPr>
          <p:cNvPr id="7" name="TextBox 6">
            <a:extLst>
              <a:ext uri="{FF2B5EF4-FFF2-40B4-BE49-F238E27FC236}">
                <a16:creationId xmlns:a16="http://schemas.microsoft.com/office/drawing/2014/main" id="{D98F159A-76B3-9E02-DD5B-0A91A3F23A06}"/>
              </a:ext>
            </a:extLst>
          </p:cNvPr>
          <p:cNvSpPr txBox="1"/>
          <p:nvPr/>
        </p:nvSpPr>
        <p:spPr>
          <a:xfrm>
            <a:off x="914400" y="1121670"/>
            <a:ext cx="2636978" cy="476414"/>
          </a:xfrm>
          <a:prstGeom prst="rect">
            <a:avLst/>
          </a:prstGeom>
          <a:noFill/>
        </p:spPr>
        <p:txBody>
          <a:bodyPr wrap="square" lIns="0" tIns="0" rIns="0" bIns="0" rtlCol="0">
            <a:noAutofit/>
          </a:bodyPr>
          <a:lstStyle/>
          <a:p>
            <a:pPr>
              <a:spcBef>
                <a:spcPts val="600"/>
              </a:spcBef>
              <a:buSzPct val="100000"/>
            </a:pPr>
            <a:r>
              <a:rPr lang="en-US" sz="1100" dirty="0">
                <a:latin typeface="Open Sans Light"/>
                <a:ea typeface="+mn-lt"/>
                <a:cs typeface="+mn-lt"/>
              </a:rPr>
              <a:t>We help UNICEF to maximize its talent attraction, motivation and retention potential &amp; capabilities.</a:t>
            </a: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300" dirty="0">
                <a:solidFill>
                  <a:schemeClr val="bg1"/>
                </a:solidFill>
                <a:latin typeface="Open Sans"/>
              </a:rPr>
              <a:t>SUBCHAPTERS</a:t>
            </a:r>
            <a:endParaRPr kumimoji="0" lang="en-US" sz="1200" b="1" i="0" u="none" strike="noStrike" kern="1200" cap="none" spc="300" normalizeH="0" baseline="0" noProof="0" dirty="0">
              <a:ln>
                <a:noFill/>
              </a:ln>
              <a:solidFill>
                <a:schemeClr val="bg1"/>
              </a:solidFill>
              <a:effectLst/>
              <a:uLnTx/>
              <a:uFillTx/>
              <a:latin typeface="Open Sans"/>
            </a:endParaRPr>
          </a:p>
        </p:txBody>
      </p:sp>
      <p:sp>
        <p:nvSpPr>
          <p:cNvPr id="15" name="Rectangle 14">
            <a:extLst>
              <a:ext uri="{FF2B5EF4-FFF2-40B4-BE49-F238E27FC236}">
                <a16:creationId xmlns:a16="http://schemas.microsoft.com/office/drawing/2014/main" id="{3EB57B1D-83EB-0D0B-449F-EC60EBAFDE32}"/>
              </a:ext>
            </a:extLst>
          </p:cNvPr>
          <p:cNvSpPr/>
          <p:nvPr/>
        </p:nvSpPr>
        <p:spPr>
          <a:xfrm>
            <a:off x="9292664" y="2012606"/>
            <a:ext cx="1629336" cy="40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hu-HU" sz="1200" b="1" dirty="0">
                <a:solidFill>
                  <a:srgbClr val="000000"/>
                </a:solidFill>
                <a:latin typeface="Open Sans"/>
                <a:ea typeface="Open Sans"/>
                <a:cs typeface="Open Sans"/>
              </a:rPr>
              <a:t>Martin Csépai </a:t>
            </a:r>
            <a:endParaRPr lang="en-US" sz="1200" b="1" dirty="0">
              <a:solidFill>
                <a:srgbClr val="000000"/>
              </a:solidFill>
              <a:latin typeface="Open Sans"/>
              <a:ea typeface="Open Sans"/>
              <a:cs typeface="Open Sans"/>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hu-HU" sz="1050" b="0" i="0" u="none" strike="noStrike" kern="1200" cap="none" spc="0" normalizeH="0" baseline="0" noProof="0" dirty="0">
                <a:ln>
                  <a:noFill/>
                </a:ln>
                <a:solidFill>
                  <a:srgbClr val="000000"/>
                </a:solidFill>
                <a:effectLst/>
                <a:uLnTx/>
                <a:uFillTx/>
                <a:latin typeface="+mj-lt"/>
                <a:ea typeface="Open Sans"/>
                <a:cs typeface="Open Sans"/>
              </a:rPr>
              <a:t>Director</a:t>
            </a:r>
            <a:endParaRPr lang="en-US" sz="1200" b="0" i="0" u="none" strike="noStrike" kern="1200" cap="none" spc="0" normalizeH="0" baseline="0" noProof="0" dirty="0">
              <a:ln>
                <a:noFill/>
              </a:ln>
              <a:solidFill>
                <a:srgbClr val="000000"/>
              </a:solidFill>
              <a:effectLst/>
              <a:uLnTx/>
              <a:uFillTx/>
              <a:latin typeface="+mj-lt"/>
              <a:ea typeface="Open Sans"/>
              <a:cs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600" dirty="0">
                <a:latin typeface="Open Sans"/>
              </a:rPr>
              <a:t>METHODOLOGIES</a:t>
            </a:r>
            <a:endParaRPr kumimoji="0" lang="en-US" sz="1200" b="0" i="1" u="none" strike="noStrike" kern="1200" cap="none" spc="600" normalizeH="0" baseline="0" noProof="0" dirty="0">
              <a:ln>
                <a:noFill/>
              </a:ln>
              <a:effectLst/>
              <a:uLnTx/>
              <a:uFillTx/>
              <a:latin typeface="Open San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a:endCxn id="20" idx="4"/>
          </p:cNvCxnSpPr>
          <p:nvPr/>
        </p:nvCxnSpPr>
        <p:spPr>
          <a:xfrm flipH="1">
            <a:off x="929786" y="2203798"/>
            <a:ext cx="258" cy="15462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PL" sz="120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734698"/>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679517"/>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300" dirty="0">
                <a:solidFill>
                  <a:srgbClr val="38B6FF"/>
                </a:solidFill>
                <a:latin typeface="Open Sans"/>
              </a:rPr>
              <a:t>CHAPTER LEAD EXPERT</a:t>
            </a:r>
            <a:endParaRPr kumimoji="0" lang="en-US" sz="1200" b="0" i="1" u="none" strike="noStrike" kern="1200" cap="none" spc="300" normalizeH="0" baseline="0" noProof="0" dirty="0">
              <a:ln>
                <a:noFill/>
              </a:ln>
              <a:solidFill>
                <a:srgbClr val="38B6FF"/>
              </a:solidFill>
              <a:effectLst/>
              <a:uLnTx/>
              <a:uFillTx/>
              <a:latin typeface="Open Sans"/>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3516764"/>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r>
              <a:rPr lang="hu-HU" sz="900" b="1" dirty="0">
                <a:latin typeface="+mj-lt"/>
                <a:ea typeface="Open Sans Light" panose="020B0306030504020204" pitchFamily="34" charset="0"/>
                <a:cs typeface="Open Sans Light" panose="020B0306030504020204" pitchFamily="34" charset="0"/>
              </a:rPr>
              <a:t>TALENT MANAGEMENT</a:t>
            </a:r>
            <a:endParaRPr lang="en-US" sz="900" b="1" dirty="0">
              <a:latin typeface="+mj-lt"/>
              <a:ea typeface="Open Sans Light" panose="020B0306030504020204" pitchFamily="34" charset="0"/>
              <a:cs typeface="Open Sans Light" panose="020B0306030504020204" pitchFamily="34" charset="0"/>
            </a:endParaRPr>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642066"/>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900" i="1" spc="300" dirty="0">
                <a:latin typeface="Open Sans"/>
              </a:rPr>
              <a:t>EXPERTS IN HUNGARY</a:t>
            </a:r>
            <a:endParaRPr kumimoji="0" lang="en-US" sz="900" i="1" u="none" strike="noStrike" kern="1200" cap="none" spc="300" normalizeH="0" baseline="0" noProof="0" dirty="0">
              <a:ln>
                <a:noFill/>
              </a:ln>
              <a:effectLst/>
              <a:uLnTx/>
              <a:uFillTx/>
              <a:latin typeface="Open Sans"/>
            </a:endParaRP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2800" b="1" i="1" spc="300" dirty="0">
                <a:latin typeface="Open Sans"/>
              </a:rPr>
              <a:t>6</a:t>
            </a:r>
            <a:endParaRPr kumimoji="0" lang="en-US" sz="2800" b="1" i="1" u="none" strike="noStrike" kern="1200" cap="none" spc="300" normalizeH="0" baseline="0" noProof="0" dirty="0">
              <a:ln>
                <a:noFill/>
              </a:ln>
              <a:effectLst/>
              <a:uLnTx/>
              <a:uFillTx/>
              <a:latin typeface="Open Sans"/>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8" y="3676976"/>
            <a:ext cx="4830876"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lstStyle/>
          <a:p>
            <a:r>
              <a:rPr lang="en-US" sz="900" b="1" dirty="0"/>
              <a:t>TALENT MANAGEMENT ENHANCEMENT FRAMEWORK</a:t>
            </a:r>
          </a:p>
          <a:p>
            <a:r>
              <a:rPr lang="en-US" sz="800" dirty="0"/>
              <a:t>From Workforce management, through Career and Performance to Learning &amp; Development, our Talent management enhancement framework provides approaches and solutions for strengthening all elements of the employee lifecycle.   </a:t>
            </a: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40358" y="3550594"/>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dirty="0"/>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3B57B1E-0FF2-81CE-6E4D-CC02BA27A2AE}"/>
              </a:ext>
            </a:extLst>
          </p:cNvPr>
          <p:cNvGrpSpPr/>
          <p:nvPr/>
        </p:nvGrpSpPr>
        <p:grpSpPr>
          <a:xfrm>
            <a:off x="2643598" y="236650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dirty="0"/>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1108" name="Freeform: Shape 1107">
            <a:extLst>
              <a:ext uri="{FF2B5EF4-FFF2-40B4-BE49-F238E27FC236}">
                <a16:creationId xmlns:a16="http://schemas.microsoft.com/office/drawing/2014/main" id="{AD5D1342-2F33-36A0-EF26-97B4BB7DBC70}"/>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PL"/>
          </a:p>
        </p:txBody>
      </p:sp>
      <p:sp>
        <p:nvSpPr>
          <p:cNvPr id="1111" name="Rectangle 1110">
            <a:extLst>
              <a:ext uri="{FF2B5EF4-FFF2-40B4-BE49-F238E27FC236}">
                <a16:creationId xmlns:a16="http://schemas.microsoft.com/office/drawing/2014/main" id="{C3A7529B-FB76-569F-0DC1-C22DA82217DC}"/>
              </a:ext>
            </a:extLst>
          </p:cNvPr>
          <p:cNvSpPr/>
          <p:nvPr/>
        </p:nvSpPr>
        <p:spPr>
          <a:xfrm>
            <a:off x="11315684" y="4321416"/>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o-RO" sz="600" i="1" u="none" strike="noStrike" kern="1200" cap="none" spc="300" normalizeH="0" baseline="0" noProof="0" dirty="0">
                <a:ln>
                  <a:noFill/>
                </a:ln>
                <a:effectLst/>
                <a:uLnTx/>
                <a:uFillTx/>
                <a:latin typeface="Open Sans"/>
              </a:rPr>
              <a:t>BUDPEST</a:t>
            </a:r>
            <a:endParaRPr kumimoji="0" lang="en-US" sz="600" i="1" u="none" strike="noStrike" kern="1200" cap="none" spc="300" normalizeH="0" baseline="0" noProof="0" dirty="0">
              <a:ln>
                <a:noFill/>
              </a:ln>
              <a:effectLst/>
              <a:uLnTx/>
              <a:uFillTx/>
              <a:latin typeface="Open Sans"/>
            </a:endParaRP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a:p>
        </p:txBody>
      </p:sp>
      <p:sp>
        <p:nvSpPr>
          <p:cNvPr id="38" name="Rectangle 37">
            <a:extLst>
              <a:ext uri="{FF2B5EF4-FFF2-40B4-BE49-F238E27FC236}">
                <a16:creationId xmlns:a16="http://schemas.microsoft.com/office/drawing/2014/main" id="{D7615059-6B4F-F222-38A4-7C7D4098B526}"/>
              </a:ext>
            </a:extLst>
          </p:cNvPr>
          <p:cNvSpPr/>
          <p:nvPr/>
        </p:nvSpPr>
        <p:spPr>
          <a:xfrm>
            <a:off x="11270372" y="5563943"/>
            <a:ext cx="74599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i="1" spc="300" dirty="0">
                <a:solidFill>
                  <a:schemeClr val="bg1">
                    <a:lumMod val="50000"/>
                  </a:schemeClr>
                </a:solidFill>
                <a:latin typeface="Open Sans"/>
              </a:rPr>
              <a:t>+</a:t>
            </a:r>
            <a:r>
              <a:rPr lang="ro-RO" b="1" i="1" spc="300" dirty="0">
                <a:solidFill>
                  <a:schemeClr val="bg1">
                    <a:lumMod val="50000"/>
                  </a:schemeClr>
                </a:solidFill>
                <a:latin typeface="Open Sans"/>
              </a:rPr>
              <a:t>30</a:t>
            </a:r>
            <a:endParaRPr kumimoji="0" lang="en-US" b="1" i="1" u="none" strike="noStrike" kern="1200" cap="none" spc="300" normalizeH="0" baseline="0" noProof="0" dirty="0">
              <a:ln>
                <a:noFill/>
              </a:ln>
              <a:solidFill>
                <a:schemeClr val="bg1">
                  <a:lumMod val="50000"/>
                </a:schemeClr>
              </a:solidFill>
              <a:effectLst/>
              <a:uLnTx/>
              <a:uFillTx/>
              <a:latin typeface="Open Sans"/>
            </a:endParaRPr>
          </a:p>
        </p:txBody>
      </p:sp>
      <p:sp>
        <p:nvSpPr>
          <p:cNvPr id="34" name="Rectangle 33">
            <a:extLst>
              <a:ext uri="{FF2B5EF4-FFF2-40B4-BE49-F238E27FC236}">
                <a16:creationId xmlns:a16="http://schemas.microsoft.com/office/drawing/2014/main" id="{02DE62AF-4526-6392-D4BC-A7AE7B1DEFD9}"/>
              </a:ext>
            </a:extLst>
          </p:cNvPr>
          <p:cNvSpPr/>
          <p:nvPr/>
        </p:nvSpPr>
        <p:spPr>
          <a:xfrm>
            <a:off x="11159174" y="5874426"/>
            <a:ext cx="122723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800" i="1" spc="300" dirty="0">
                <a:solidFill>
                  <a:schemeClr val="bg1">
                    <a:lumMod val="50000"/>
                  </a:schemeClr>
                </a:solidFill>
                <a:latin typeface="Open Sans"/>
              </a:rPr>
              <a:t>EXPERTS IN CE REGION</a:t>
            </a:r>
            <a:endParaRPr kumimoji="0" lang="en-US" sz="800" i="1" u="none" strike="noStrike" kern="1200" cap="none" spc="300" normalizeH="0" baseline="0" noProof="0" dirty="0">
              <a:ln>
                <a:noFill/>
              </a:ln>
              <a:solidFill>
                <a:schemeClr val="bg1">
                  <a:lumMod val="50000"/>
                </a:schemeClr>
              </a:solidFill>
              <a:effectLst/>
              <a:uLnTx/>
              <a:uFillTx/>
              <a:latin typeface="Open Sans"/>
            </a:endParaRPr>
          </a:p>
        </p:txBody>
      </p:sp>
      <p:sp>
        <p:nvSpPr>
          <p:cNvPr id="11" name="Rectangle 10">
            <a:extLst>
              <a:ext uri="{FF2B5EF4-FFF2-40B4-BE49-F238E27FC236}">
                <a16:creationId xmlns:a16="http://schemas.microsoft.com/office/drawing/2014/main" id="{C695A72C-7C27-F987-2688-131C85183D2B}"/>
              </a:ext>
            </a:extLst>
          </p:cNvPr>
          <p:cNvSpPr/>
          <p:nvPr/>
        </p:nvSpPr>
        <p:spPr>
          <a:xfrm>
            <a:off x="9292664" y="2441825"/>
            <a:ext cx="2697252" cy="1200329"/>
          </a:xfrm>
          <a:prstGeom prst="rect">
            <a:avLst/>
          </a:prstGeom>
          <a:noFill/>
        </p:spPr>
        <p:txBody>
          <a:bodyPr wrap="square">
            <a:spAutoFit/>
          </a:bodyPr>
          <a:lstStyle/>
          <a:p>
            <a:pPr>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With </a:t>
            </a:r>
            <a:r>
              <a:rPr lang="en-US" sz="900" dirty="0">
                <a:solidFill>
                  <a:srgbClr val="000000"/>
                </a:solidFill>
                <a:latin typeface="Calibri"/>
              </a:rPr>
              <a:t>25</a:t>
            </a:r>
            <a:r>
              <a:rPr kumimoji="0" lang="en-US" sz="900" b="0" i="0" u="none" strike="noStrike" kern="1200" cap="none" spc="0" normalizeH="0" baseline="0" noProof="0" dirty="0">
                <a:ln>
                  <a:noFill/>
                </a:ln>
                <a:solidFill>
                  <a:srgbClr val="000000"/>
                </a:solidFill>
                <a:effectLst/>
                <a:uLnTx/>
                <a:uFillTx/>
                <a:latin typeface="Calibri"/>
                <a:ea typeface="+mn-ea"/>
                <a:cs typeface="+mn-cs"/>
              </a:rPr>
              <a:t> years of professional experience</a:t>
            </a:r>
            <a:r>
              <a:rPr lang="en-US" sz="900" dirty="0">
                <a:solidFill>
                  <a:srgbClr val="000000"/>
                </a:solidFill>
                <a:latin typeface="Calibri"/>
              </a:rPr>
              <a:t> both as consultant and corporate HR leader, Martin </a:t>
            </a:r>
            <a:r>
              <a:rPr kumimoji="0" lang="en-US" sz="900" b="0" i="0" u="none" strike="noStrike" kern="1200" cap="none" spc="0" normalizeH="0" baseline="0" noProof="0" dirty="0">
                <a:ln>
                  <a:noFill/>
                </a:ln>
                <a:solidFill>
                  <a:srgbClr val="000000"/>
                </a:solidFill>
                <a:effectLst/>
                <a:uLnTx/>
                <a:uFillTx/>
                <a:latin typeface="Calibri"/>
                <a:ea typeface="+mn-ea"/>
                <a:cs typeface="+mn-cs"/>
              </a:rPr>
              <a:t>is the head of our Human Capital Advisory team,</a:t>
            </a:r>
            <a:r>
              <a:rPr lang="en-US" sz="900" dirty="0">
                <a:solidFill>
                  <a:srgbClr val="000000"/>
                </a:solidFill>
                <a:latin typeface="Calibri"/>
              </a:rPr>
              <a:t> where he is responsible of leading consulting engagements in organizational and human resources related matters, such as organizational design, HR strategy development, talent acquisition and management solutions enhancement or digital HR enablement.</a:t>
            </a: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0B29E31E-2750-A051-A808-CB1642135F7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351554" y="470053"/>
            <a:ext cx="1261872" cy="1261872"/>
          </a:xfrm>
          <a:prstGeom prst="rect">
            <a:avLst/>
          </a:prstGeom>
        </p:spPr>
      </p:pic>
      <p:sp>
        <p:nvSpPr>
          <p:cNvPr id="30" name="Rectangle: Rounded Corners 29">
            <a:extLst>
              <a:ext uri="{FF2B5EF4-FFF2-40B4-BE49-F238E27FC236}">
                <a16:creationId xmlns:a16="http://schemas.microsoft.com/office/drawing/2014/main" id="{6C2D08D1-6ACD-2320-4FA1-CE0634E5372A}"/>
              </a:ext>
            </a:extLst>
          </p:cNvPr>
          <p:cNvSpPr/>
          <p:nvPr/>
        </p:nvSpPr>
        <p:spPr bwMode="gray">
          <a:xfrm>
            <a:off x="4121788" y="2553710"/>
            <a:ext cx="4830876"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lstStyle/>
          <a:p>
            <a:r>
              <a:rPr lang="en-US" sz="900" b="1" dirty="0"/>
              <a:t>TALENT ACQUISITION STRATEGY DEFINITION FRAMEWORK</a:t>
            </a:r>
          </a:p>
          <a:p>
            <a:r>
              <a:rPr lang="en-US" sz="800" dirty="0"/>
              <a:t>Our Talent acquisition maturity model and aligned Talent acquisition strategy definition approach supports the end-to-end enhancement of talent acquisition practices, from future vision definition to defining development directions and underlying improvement actions.  </a:t>
            </a:r>
          </a:p>
        </p:txBody>
      </p:sp>
    </p:spTree>
    <p:extLst>
      <p:ext uri="{BB962C8B-B14F-4D97-AF65-F5344CB8AC3E}">
        <p14:creationId xmlns:p14="http://schemas.microsoft.com/office/powerpoint/2010/main" val="572012760"/>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p:cNvGraphicFramePr>
            <a:graphicFrameLocks noChangeAspect="1"/>
          </p:cNvGraphicFramePr>
          <p:nvPr>
            <p:custDataLst>
              <p:tags r:id="rId1"/>
            </p:custDataLst>
            <p:extLst>
              <p:ext uri="{D42A27DB-BD31-4B8C-83A1-F6EECF244321}">
                <p14:modId xmlns:p14="http://schemas.microsoft.com/office/powerpoint/2010/main" val="2945832539"/>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1" name="Object 90" hidden="1"/>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90" name="Rectangle 89" hidden="1"/>
          <p:cNvSpPr/>
          <p:nvPr>
            <p:custDataLst>
              <p:tags r:id="rId2"/>
            </p:custDataLst>
          </p:nvPr>
        </p:nvSpPr>
        <p:spPr bwMode="gray">
          <a:xfrm>
            <a:off x="1524001" y="857251"/>
            <a:ext cx="119063" cy="119063"/>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en-US" sz="2000" dirty="0">
              <a:solidFill>
                <a:schemeClr val="bg1"/>
              </a:solidFill>
              <a:latin typeface="Verdana" panose="020B0604030504040204" pitchFamily="34" charset="0"/>
              <a:ea typeface="+mj-ea"/>
              <a:cs typeface="+mj-cs"/>
              <a:sym typeface="Verdana" panose="020B0604030504040204" pitchFamily="34" charset="0"/>
            </a:endParaRPr>
          </a:p>
        </p:txBody>
      </p:sp>
      <p:cxnSp>
        <p:nvCxnSpPr>
          <p:cNvPr id="43" name="Straight Connector 42">
            <a:extLst>
              <a:ext uri="{FF2B5EF4-FFF2-40B4-BE49-F238E27FC236}">
                <a16:creationId xmlns:a16="http://schemas.microsoft.com/office/drawing/2014/main" id="{371CE41D-FDD9-4EB0-BCA8-73DC5AA06BF4}"/>
              </a:ext>
            </a:extLst>
          </p:cNvPr>
          <p:cNvCxnSpPr>
            <a:cxnSpLocks/>
          </p:cNvCxnSpPr>
          <p:nvPr/>
        </p:nvCxnSpPr>
        <p:spPr>
          <a:xfrm>
            <a:off x="2029324" y="3163204"/>
            <a:ext cx="1467235" cy="0"/>
          </a:xfrm>
          <a:prstGeom prst="line">
            <a:avLst/>
          </a:prstGeom>
          <a:noFill/>
          <a:ln w="57150" cap="flat" cmpd="sng" algn="ctr">
            <a:solidFill>
              <a:schemeClr val="accent4"/>
            </a:solidFill>
            <a:prstDash val="solid"/>
            <a:miter lim="800000"/>
          </a:ln>
          <a:effectLst/>
        </p:spPr>
      </p:cxnSp>
      <p:sp>
        <p:nvSpPr>
          <p:cNvPr id="44" name="Rectangle 43">
            <a:extLst>
              <a:ext uri="{FF2B5EF4-FFF2-40B4-BE49-F238E27FC236}">
                <a16:creationId xmlns:a16="http://schemas.microsoft.com/office/drawing/2014/main" id="{B3CD7FE7-950B-4D7D-9763-2568C00E7B75}"/>
              </a:ext>
            </a:extLst>
          </p:cNvPr>
          <p:cNvSpPr/>
          <p:nvPr/>
        </p:nvSpPr>
        <p:spPr>
          <a:xfrm>
            <a:off x="1946777" y="3339134"/>
            <a:ext cx="1611917" cy="1402948"/>
          </a:xfrm>
          <a:prstGeom prst="rect">
            <a:avLst/>
          </a:prstGeom>
        </p:spPr>
        <p:txBody>
          <a:bodyPr wrap="square">
            <a:spAutoFit/>
          </a:bodyPr>
          <a:lstStyle/>
          <a:p>
            <a:pPr marL="0" lvl="1" defTabSz="685800">
              <a:spcBef>
                <a:spcPts val="450"/>
              </a:spcBef>
              <a:buSzPct val="100000"/>
              <a:defRPr/>
            </a:pPr>
            <a:r>
              <a:rPr lang="en-US" sz="1350" b="1" kern="0" dirty="0">
                <a:solidFill>
                  <a:srgbClr val="000000"/>
                </a:solidFill>
                <a:ea typeface="Open Sans" panose="020B0606030504020204" pitchFamily="34" charset="0"/>
                <a:cs typeface="Open Sans" panose="020B0606030504020204" pitchFamily="34" charset="0"/>
              </a:rPr>
              <a:t>Talent Acquisition</a:t>
            </a:r>
            <a:br>
              <a:rPr lang="en-US" sz="1350" b="1" kern="0" dirty="0">
                <a:solidFill>
                  <a:srgbClr val="000000"/>
                </a:solidFill>
                <a:ea typeface="Open Sans" panose="020B0606030504020204" pitchFamily="34" charset="0"/>
                <a:cs typeface="Open Sans" panose="020B0606030504020204" pitchFamily="34" charset="0"/>
              </a:rPr>
            </a:br>
            <a:r>
              <a:rPr lang="en-US" sz="1350" b="1" kern="0" dirty="0">
                <a:solidFill>
                  <a:srgbClr val="000000"/>
                </a:solidFill>
                <a:ea typeface="Open Sans" panose="020B0606030504020204" pitchFamily="34" charset="0"/>
                <a:cs typeface="Open Sans" panose="020B0606030504020204" pitchFamily="34" charset="0"/>
              </a:rPr>
              <a:t>Alignment</a:t>
            </a:r>
          </a:p>
          <a:p>
            <a:pPr marL="0" lvl="1" defTabSz="685800">
              <a:spcBef>
                <a:spcPts val="450"/>
              </a:spcBef>
              <a:buSzPct val="100000"/>
              <a:defRPr/>
            </a:pPr>
            <a:r>
              <a:rPr lang="en-US" sz="900" kern="0" dirty="0">
                <a:solidFill>
                  <a:srgbClr val="000000"/>
                </a:solidFill>
                <a:ea typeface="Open Sans" panose="020B0606030504020204" pitchFamily="34" charset="0"/>
                <a:cs typeface="Open Sans" panose="020B0606030504020204" pitchFamily="34" charset="0"/>
              </a:rPr>
              <a:t>Today TA needs to be fully integrated across the Business Areas, the HR suite and other supporting functions (e.g. IT) in order to deliver key talent and business outcomes. </a:t>
            </a:r>
          </a:p>
        </p:txBody>
      </p:sp>
      <p:cxnSp>
        <p:nvCxnSpPr>
          <p:cNvPr id="46" name="Straight Connector 45">
            <a:extLst>
              <a:ext uri="{FF2B5EF4-FFF2-40B4-BE49-F238E27FC236}">
                <a16:creationId xmlns:a16="http://schemas.microsoft.com/office/drawing/2014/main" id="{22B0D428-F2D7-4EA2-840F-1631A9877C04}"/>
              </a:ext>
            </a:extLst>
          </p:cNvPr>
          <p:cNvCxnSpPr>
            <a:cxnSpLocks/>
          </p:cNvCxnSpPr>
          <p:nvPr/>
        </p:nvCxnSpPr>
        <p:spPr>
          <a:xfrm>
            <a:off x="3684029" y="3163204"/>
            <a:ext cx="1467612" cy="0"/>
          </a:xfrm>
          <a:prstGeom prst="line">
            <a:avLst/>
          </a:prstGeom>
          <a:noFill/>
          <a:ln w="57150" cap="flat" cmpd="sng" algn="ctr">
            <a:solidFill>
              <a:schemeClr val="accent5"/>
            </a:solidFill>
            <a:prstDash val="solid"/>
            <a:miter lim="800000"/>
          </a:ln>
          <a:effectLst/>
        </p:spPr>
      </p:cxnSp>
      <p:sp>
        <p:nvSpPr>
          <p:cNvPr id="47" name="Rectangle 46">
            <a:extLst>
              <a:ext uri="{FF2B5EF4-FFF2-40B4-BE49-F238E27FC236}">
                <a16:creationId xmlns:a16="http://schemas.microsoft.com/office/drawing/2014/main" id="{50A0FE1E-94D6-4D6B-A0DE-90D429E3A1B4}"/>
              </a:ext>
            </a:extLst>
          </p:cNvPr>
          <p:cNvSpPr/>
          <p:nvPr/>
        </p:nvSpPr>
        <p:spPr>
          <a:xfrm>
            <a:off x="3655393" y="3339134"/>
            <a:ext cx="1552316" cy="1402948"/>
          </a:xfrm>
          <a:prstGeom prst="rect">
            <a:avLst/>
          </a:prstGeom>
        </p:spPr>
        <p:txBody>
          <a:bodyPr wrap="square">
            <a:spAutoFit/>
          </a:bodyPr>
          <a:lstStyle/>
          <a:p>
            <a:pPr marL="0" lvl="1" defTabSz="685800">
              <a:spcBef>
                <a:spcPts val="450"/>
              </a:spcBef>
              <a:buSzPct val="100000"/>
              <a:defRPr/>
            </a:pPr>
            <a:r>
              <a:rPr lang="en-US" sz="1350" b="1" kern="0" dirty="0">
                <a:solidFill>
                  <a:srgbClr val="000000"/>
                </a:solidFill>
                <a:ea typeface="Open Sans" panose="020B0606030504020204" pitchFamily="34" charset="0"/>
                <a:cs typeface="Open Sans" panose="020B0606030504020204" pitchFamily="34" charset="0"/>
              </a:rPr>
              <a:t>Personalized Talent Journey</a:t>
            </a:r>
          </a:p>
          <a:p>
            <a:pPr marL="0" lvl="1" defTabSz="685800">
              <a:spcBef>
                <a:spcPts val="450"/>
              </a:spcBef>
              <a:buSzPct val="100000"/>
              <a:defRPr/>
            </a:pPr>
            <a:r>
              <a:rPr lang="en-US" sz="900" kern="0" dirty="0">
                <a:solidFill>
                  <a:srgbClr val="000000"/>
                </a:solidFill>
                <a:ea typeface="Open Sans" panose="020B0606030504020204" pitchFamily="34" charset="0"/>
                <a:cs typeface="Open Sans" panose="020B0606030504020204" pitchFamily="34" charset="0"/>
              </a:rPr>
              <a:t>As candidate expectations are shifting significantly,  organizations need to provide a powerful and engaging talent journey for talent.</a:t>
            </a:r>
          </a:p>
        </p:txBody>
      </p:sp>
      <p:cxnSp>
        <p:nvCxnSpPr>
          <p:cNvPr id="49" name="Straight Connector 48">
            <a:extLst>
              <a:ext uri="{FF2B5EF4-FFF2-40B4-BE49-F238E27FC236}">
                <a16:creationId xmlns:a16="http://schemas.microsoft.com/office/drawing/2014/main" id="{981DC50B-6588-4EA0-8A7C-3F087D3B4748}"/>
              </a:ext>
            </a:extLst>
          </p:cNvPr>
          <p:cNvCxnSpPr>
            <a:cxnSpLocks/>
          </p:cNvCxnSpPr>
          <p:nvPr/>
        </p:nvCxnSpPr>
        <p:spPr>
          <a:xfrm>
            <a:off x="5339113" y="3163204"/>
            <a:ext cx="1467612" cy="0"/>
          </a:xfrm>
          <a:prstGeom prst="line">
            <a:avLst/>
          </a:prstGeom>
          <a:noFill/>
          <a:ln w="57150" cap="flat" cmpd="sng" algn="ctr">
            <a:solidFill>
              <a:schemeClr val="accent3"/>
            </a:solidFill>
            <a:prstDash val="solid"/>
            <a:miter lim="800000"/>
          </a:ln>
          <a:effectLst/>
        </p:spPr>
      </p:cxnSp>
      <p:sp>
        <p:nvSpPr>
          <p:cNvPr id="50" name="Rectangle 49">
            <a:extLst>
              <a:ext uri="{FF2B5EF4-FFF2-40B4-BE49-F238E27FC236}">
                <a16:creationId xmlns:a16="http://schemas.microsoft.com/office/drawing/2014/main" id="{7E8D772A-3BC7-4001-B776-02B6E1B6FB54}"/>
              </a:ext>
            </a:extLst>
          </p:cNvPr>
          <p:cNvSpPr/>
          <p:nvPr/>
        </p:nvSpPr>
        <p:spPr>
          <a:xfrm>
            <a:off x="5303651" y="3339135"/>
            <a:ext cx="1539695" cy="2303195"/>
          </a:xfrm>
          <a:prstGeom prst="rect">
            <a:avLst/>
          </a:prstGeom>
        </p:spPr>
        <p:txBody>
          <a:bodyPr wrap="square">
            <a:spAutoFit/>
          </a:bodyPr>
          <a:lstStyle/>
          <a:p>
            <a:pPr marL="0" lvl="1" defTabSz="685800">
              <a:spcBef>
                <a:spcPts val="450"/>
              </a:spcBef>
              <a:buSzPct val="100000"/>
              <a:defRPr/>
            </a:pPr>
            <a:r>
              <a:rPr lang="en-US" sz="1350" b="1" kern="0" dirty="0">
                <a:solidFill>
                  <a:srgbClr val="000000"/>
                </a:solidFill>
                <a:ea typeface="Open Sans" panose="020B0606030504020204" pitchFamily="34" charset="0"/>
                <a:cs typeface="Open Sans" panose="020B0606030504020204" pitchFamily="34" charset="0"/>
              </a:rPr>
              <a:t>Strategic Recruiting</a:t>
            </a:r>
            <a:br>
              <a:rPr lang="en-US" sz="1350" b="1" kern="0" dirty="0">
                <a:solidFill>
                  <a:srgbClr val="000000"/>
                </a:solidFill>
                <a:ea typeface="Open Sans" panose="020B0606030504020204" pitchFamily="34" charset="0"/>
                <a:cs typeface="Open Sans" panose="020B0606030504020204" pitchFamily="34" charset="0"/>
              </a:rPr>
            </a:br>
            <a:r>
              <a:rPr lang="en-US" sz="1350" b="1" kern="0" dirty="0">
                <a:solidFill>
                  <a:schemeClr val="bg1"/>
                </a:solidFill>
                <a:ea typeface="Open Sans" panose="020B0606030504020204" pitchFamily="34" charset="0"/>
                <a:cs typeface="Open Sans" panose="020B0606030504020204" pitchFamily="34" charset="0"/>
              </a:rPr>
              <a:t>…</a:t>
            </a:r>
            <a:endParaRPr lang="en-US" sz="900" kern="0" dirty="0">
              <a:solidFill>
                <a:schemeClr val="bg1"/>
              </a:solidFill>
              <a:ea typeface="Open Sans" panose="020B0606030504020204" pitchFamily="34" charset="0"/>
              <a:cs typeface="Open Sans" panose="020B0606030504020204" pitchFamily="34" charset="0"/>
            </a:endParaRPr>
          </a:p>
          <a:p>
            <a:pPr marL="0" lvl="1" defTabSz="685800">
              <a:spcBef>
                <a:spcPts val="450"/>
              </a:spcBef>
              <a:buSzPct val="100000"/>
              <a:defRPr/>
            </a:pPr>
            <a:r>
              <a:rPr lang="en-US" sz="900" kern="0" dirty="0">
                <a:solidFill>
                  <a:srgbClr val="000000"/>
                </a:solidFill>
                <a:ea typeface="Open Sans" panose="020B0606030504020204" pitchFamily="34" charset="0"/>
                <a:cs typeface="Open Sans" panose="020B0606030504020204" pitchFamily="34" charset="0"/>
              </a:rPr>
              <a:t>In order to thrive in today’s diverse recruiting landscape, TA requires differentiated sourcing strategies for various roles across the organization as well as validated and refined sourcing channels embedded in a straight forward and efficient process.</a:t>
            </a:r>
          </a:p>
        </p:txBody>
      </p:sp>
      <p:cxnSp>
        <p:nvCxnSpPr>
          <p:cNvPr id="52" name="Straight Connector 51">
            <a:extLst>
              <a:ext uri="{FF2B5EF4-FFF2-40B4-BE49-F238E27FC236}">
                <a16:creationId xmlns:a16="http://schemas.microsoft.com/office/drawing/2014/main" id="{E90A88B0-48BC-4046-97AF-32CE98A68FD8}"/>
              </a:ext>
            </a:extLst>
          </p:cNvPr>
          <p:cNvCxnSpPr>
            <a:cxnSpLocks/>
          </p:cNvCxnSpPr>
          <p:nvPr/>
        </p:nvCxnSpPr>
        <p:spPr>
          <a:xfrm>
            <a:off x="6994196" y="3163204"/>
            <a:ext cx="1467612" cy="0"/>
          </a:xfrm>
          <a:prstGeom prst="line">
            <a:avLst/>
          </a:prstGeom>
          <a:noFill/>
          <a:ln w="57150" cap="flat" cmpd="sng" algn="ctr">
            <a:solidFill>
              <a:schemeClr val="accent1"/>
            </a:solidFill>
            <a:prstDash val="solid"/>
            <a:miter lim="800000"/>
          </a:ln>
          <a:effectLst/>
        </p:spPr>
      </p:cxnSp>
      <p:sp>
        <p:nvSpPr>
          <p:cNvPr id="53" name="Rectangle 52">
            <a:extLst>
              <a:ext uri="{FF2B5EF4-FFF2-40B4-BE49-F238E27FC236}">
                <a16:creationId xmlns:a16="http://schemas.microsoft.com/office/drawing/2014/main" id="{B58F42BB-0316-4522-BFA3-4CAC692C5BEA}"/>
              </a:ext>
            </a:extLst>
          </p:cNvPr>
          <p:cNvSpPr/>
          <p:nvPr/>
        </p:nvSpPr>
        <p:spPr>
          <a:xfrm>
            <a:off x="6940044" y="3339134"/>
            <a:ext cx="1540454" cy="1541448"/>
          </a:xfrm>
          <a:prstGeom prst="rect">
            <a:avLst/>
          </a:prstGeom>
        </p:spPr>
        <p:txBody>
          <a:bodyPr wrap="square">
            <a:spAutoFit/>
          </a:bodyPr>
          <a:lstStyle/>
          <a:p>
            <a:pPr marL="0" lvl="1" defTabSz="685800">
              <a:spcBef>
                <a:spcPts val="450"/>
              </a:spcBef>
              <a:buSzPct val="100000"/>
              <a:defRPr/>
            </a:pPr>
            <a:r>
              <a:rPr lang="en-US" sz="1350" b="1" kern="0" dirty="0">
                <a:solidFill>
                  <a:srgbClr val="000000"/>
                </a:solidFill>
                <a:ea typeface="Open Sans" panose="020B0606030504020204" pitchFamily="34" charset="0"/>
                <a:cs typeface="Open Sans" panose="020B0606030504020204" pitchFamily="34" charset="0"/>
              </a:rPr>
              <a:t>Data &amp; Artificial Intelligence </a:t>
            </a:r>
          </a:p>
          <a:p>
            <a:pPr marL="0" lvl="1" defTabSz="685800">
              <a:spcBef>
                <a:spcPts val="450"/>
              </a:spcBef>
              <a:buSzPct val="100000"/>
              <a:defRPr/>
            </a:pPr>
            <a:r>
              <a:rPr lang="en-US" sz="900" kern="0" dirty="0">
                <a:solidFill>
                  <a:srgbClr val="000000"/>
                </a:solidFill>
                <a:ea typeface="Open Sans" panose="020B0606030504020204" pitchFamily="34" charset="0"/>
                <a:cs typeface="Open Sans" panose="020B0606030504020204" pitchFamily="34" charset="0"/>
              </a:rPr>
              <a:t>To maximize the benefits of data and technology, TA needs gain a deep understanding and leverage Analytics, Predictive data, AI as well as RPA and cognitive technologies </a:t>
            </a:r>
          </a:p>
        </p:txBody>
      </p:sp>
      <p:cxnSp>
        <p:nvCxnSpPr>
          <p:cNvPr id="55" name="Straight Connector 54">
            <a:extLst>
              <a:ext uri="{FF2B5EF4-FFF2-40B4-BE49-F238E27FC236}">
                <a16:creationId xmlns:a16="http://schemas.microsoft.com/office/drawing/2014/main" id="{D5C09700-FEFB-4D65-A058-6C3312C7F935}"/>
              </a:ext>
            </a:extLst>
          </p:cNvPr>
          <p:cNvCxnSpPr>
            <a:cxnSpLocks/>
          </p:cNvCxnSpPr>
          <p:nvPr/>
        </p:nvCxnSpPr>
        <p:spPr>
          <a:xfrm>
            <a:off x="8649280" y="3163204"/>
            <a:ext cx="1467612" cy="0"/>
          </a:xfrm>
          <a:prstGeom prst="line">
            <a:avLst/>
          </a:prstGeom>
          <a:noFill/>
          <a:ln w="57150" cap="flat" cmpd="sng" algn="ctr">
            <a:solidFill>
              <a:schemeClr val="accent2"/>
            </a:solidFill>
            <a:prstDash val="solid"/>
            <a:miter lim="800000"/>
          </a:ln>
          <a:effectLst/>
        </p:spPr>
      </p:cxnSp>
      <p:sp>
        <p:nvSpPr>
          <p:cNvPr id="56" name="Rectangle 55">
            <a:extLst>
              <a:ext uri="{FF2B5EF4-FFF2-40B4-BE49-F238E27FC236}">
                <a16:creationId xmlns:a16="http://schemas.microsoft.com/office/drawing/2014/main" id="{F999B2DA-CAEE-434D-9E46-86A37B32C743}"/>
              </a:ext>
            </a:extLst>
          </p:cNvPr>
          <p:cNvSpPr/>
          <p:nvPr/>
        </p:nvSpPr>
        <p:spPr>
          <a:xfrm>
            <a:off x="8576439" y="3339134"/>
            <a:ext cx="1622932" cy="1541448"/>
          </a:xfrm>
          <a:prstGeom prst="rect">
            <a:avLst/>
          </a:prstGeom>
        </p:spPr>
        <p:txBody>
          <a:bodyPr wrap="square">
            <a:spAutoFit/>
          </a:bodyPr>
          <a:lstStyle/>
          <a:p>
            <a:pPr marL="0" lvl="1" defTabSz="685800">
              <a:spcBef>
                <a:spcPts val="450"/>
              </a:spcBef>
              <a:buSzPct val="100000"/>
              <a:defRPr/>
            </a:pPr>
            <a:r>
              <a:rPr lang="en-US" sz="1350" b="1" kern="0" dirty="0">
                <a:solidFill>
                  <a:srgbClr val="000000"/>
                </a:solidFill>
                <a:ea typeface="Open Sans" panose="020B0606030504020204" pitchFamily="34" charset="0"/>
                <a:cs typeface="Open Sans" panose="020B0606030504020204" pitchFamily="34" charset="0"/>
              </a:rPr>
              <a:t>Capability Development </a:t>
            </a:r>
            <a:r>
              <a:rPr lang="en-US" sz="1350" b="1" kern="0" dirty="0">
                <a:solidFill>
                  <a:schemeClr val="bg1"/>
                </a:solidFill>
                <a:ea typeface="Open Sans" panose="020B0606030504020204" pitchFamily="34" charset="0"/>
                <a:cs typeface="Open Sans" panose="020B0606030504020204" pitchFamily="34" charset="0"/>
              </a:rPr>
              <a:t>…</a:t>
            </a:r>
          </a:p>
          <a:p>
            <a:pPr marL="0" lvl="1" defTabSz="685800">
              <a:spcBef>
                <a:spcPts val="450"/>
              </a:spcBef>
              <a:buSzPct val="100000"/>
              <a:defRPr/>
            </a:pPr>
            <a:r>
              <a:rPr lang="en-US" sz="900" dirty="0"/>
              <a:t>To keep up or even stay ahead of the current pace of disruption, the organizational culture needs to support and foster ongoing TA team and hiring manager development and upskilling.</a:t>
            </a:r>
            <a:endParaRPr lang="en-US" sz="1350" b="1" kern="0" dirty="0">
              <a:solidFill>
                <a:srgbClr val="000000"/>
              </a:solidFill>
              <a:ea typeface="Open Sans" panose="020B0606030504020204" pitchFamily="34" charset="0"/>
              <a:cs typeface="Open Sans" panose="020B0606030504020204" pitchFamily="34" charset="0"/>
            </a:endParaRPr>
          </a:p>
        </p:txBody>
      </p:sp>
      <p:grpSp>
        <p:nvGrpSpPr>
          <p:cNvPr id="32" name="Group 784"/>
          <p:cNvGrpSpPr>
            <a:grpSpLocks noChangeAspect="1"/>
          </p:cNvGrpSpPr>
          <p:nvPr/>
        </p:nvGrpSpPr>
        <p:grpSpPr bwMode="auto">
          <a:xfrm>
            <a:off x="4078160" y="2310475"/>
            <a:ext cx="679350" cy="676800"/>
            <a:chOff x="2657" y="3361"/>
            <a:chExt cx="340" cy="340"/>
          </a:xfrm>
          <a:solidFill>
            <a:schemeClr val="accent5"/>
          </a:solidFill>
        </p:grpSpPr>
        <p:sp>
          <p:nvSpPr>
            <p:cNvPr id="33" name="Freeform 785"/>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86"/>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938"/>
          <p:cNvGrpSpPr>
            <a:grpSpLocks noChangeAspect="1"/>
          </p:cNvGrpSpPr>
          <p:nvPr/>
        </p:nvGrpSpPr>
        <p:grpSpPr bwMode="auto">
          <a:xfrm>
            <a:off x="5733246" y="2310475"/>
            <a:ext cx="679351" cy="676800"/>
            <a:chOff x="942" y="3861"/>
            <a:chExt cx="340" cy="340"/>
          </a:xfrm>
          <a:solidFill>
            <a:schemeClr val="accent3"/>
          </a:solidFill>
        </p:grpSpPr>
        <p:sp>
          <p:nvSpPr>
            <p:cNvPr id="36"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627"/>
          <p:cNvGrpSpPr>
            <a:grpSpLocks noChangeAspect="1"/>
          </p:cNvGrpSpPr>
          <p:nvPr/>
        </p:nvGrpSpPr>
        <p:grpSpPr bwMode="auto">
          <a:xfrm>
            <a:off x="9044407" y="2310475"/>
            <a:ext cx="677358" cy="676800"/>
            <a:chOff x="5295" y="2587"/>
            <a:chExt cx="340" cy="341"/>
          </a:xfrm>
          <a:solidFill>
            <a:schemeClr val="accent2"/>
          </a:solidFill>
        </p:grpSpPr>
        <p:sp>
          <p:nvSpPr>
            <p:cNvPr id="39" name="Freeform 628"/>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834"/>
          <p:cNvGrpSpPr>
            <a:grpSpLocks noChangeAspect="1"/>
          </p:cNvGrpSpPr>
          <p:nvPr/>
        </p:nvGrpSpPr>
        <p:grpSpPr bwMode="auto">
          <a:xfrm>
            <a:off x="7388327" y="2310475"/>
            <a:ext cx="679350" cy="676800"/>
            <a:chOff x="5977" y="3324"/>
            <a:chExt cx="340" cy="340"/>
          </a:xfrm>
          <a:solidFill>
            <a:schemeClr val="accent1"/>
          </a:solidFill>
        </p:grpSpPr>
        <p:sp>
          <p:nvSpPr>
            <p:cNvPr id="42" name="Freeform 835"/>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836"/>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837"/>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1" name="Group 171"/>
          <p:cNvGrpSpPr>
            <a:grpSpLocks noChangeAspect="1"/>
          </p:cNvGrpSpPr>
          <p:nvPr/>
        </p:nvGrpSpPr>
        <p:grpSpPr bwMode="auto">
          <a:xfrm>
            <a:off x="2423265" y="2310475"/>
            <a:ext cx="679350" cy="676800"/>
            <a:chOff x="4146" y="1371"/>
            <a:chExt cx="340" cy="340"/>
          </a:xfrm>
          <a:solidFill>
            <a:schemeClr val="accent4"/>
          </a:solidFill>
        </p:grpSpPr>
        <p:sp>
          <p:nvSpPr>
            <p:cNvPr id="54" name="Freeform 172"/>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3"/>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 Placeholder 1">
            <a:extLst>
              <a:ext uri="{FF2B5EF4-FFF2-40B4-BE49-F238E27FC236}">
                <a16:creationId xmlns:a16="http://schemas.microsoft.com/office/drawing/2014/main" id="{987F21B0-535E-7790-98B5-8D92BB59F774}"/>
              </a:ext>
            </a:extLst>
          </p:cNvPr>
          <p:cNvSpPr txBox="1">
            <a:spLocks/>
          </p:cNvSpPr>
          <p:nvPr/>
        </p:nvSpPr>
        <p:spPr>
          <a:xfrm>
            <a:off x="398013" y="753681"/>
            <a:ext cx="11277600" cy="261899"/>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800" dirty="0">
                <a:solidFill>
                  <a:schemeClr val="tx2"/>
                </a:solidFill>
                <a:latin typeface="+mj-lt"/>
                <a:cs typeface="Calibri" panose="020F0502020204030204" pitchFamily="34" charset="0"/>
              </a:rPr>
              <a:t>Based on our experience and research, the following five dimensions differentiate leading talent acquisition practices, compiling our </a:t>
            </a:r>
            <a:r>
              <a:rPr lang="en-US" sz="1800" b="1" dirty="0">
                <a:solidFill>
                  <a:schemeClr val="tx2"/>
                </a:solidFill>
                <a:latin typeface="+mj-lt"/>
                <a:cs typeface="Calibri" panose="020F0502020204030204" pitchFamily="34" charset="0"/>
              </a:rPr>
              <a:t>Talent acquisition maturity model</a:t>
            </a:r>
          </a:p>
          <a:p>
            <a:endParaRPr lang="en-US" dirty="0">
              <a:latin typeface="+mj-lt"/>
            </a:endParaRPr>
          </a:p>
        </p:txBody>
      </p:sp>
      <p:sp>
        <p:nvSpPr>
          <p:cNvPr id="11" name="Title 2">
            <a:extLst>
              <a:ext uri="{FF2B5EF4-FFF2-40B4-BE49-F238E27FC236}">
                <a16:creationId xmlns:a16="http://schemas.microsoft.com/office/drawing/2014/main" id="{B1623452-9BA5-4B12-8433-25963F11BE32}"/>
              </a:ext>
            </a:extLst>
          </p:cNvPr>
          <p:cNvSpPr>
            <a:spLocks noGrp="1"/>
          </p:cNvSpPr>
          <p:nvPr>
            <p:ph type="title"/>
          </p:nvPr>
        </p:nvSpPr>
        <p:spPr>
          <a:xfrm>
            <a:off x="463295" y="345992"/>
            <a:ext cx="11277600" cy="334099"/>
          </a:xfrm>
        </p:spPr>
        <p:txBody>
          <a:bodyPr vert="horz"/>
          <a:lstStyle/>
          <a:p>
            <a:r>
              <a:rPr lang="en-US" sz="2100" dirty="0">
                <a:latin typeface="+mj-lt"/>
              </a:rPr>
              <a:t>Talent acquisition (1/2)</a:t>
            </a:r>
          </a:p>
        </p:txBody>
      </p:sp>
    </p:spTree>
    <p:extLst>
      <p:ext uri="{BB962C8B-B14F-4D97-AF65-F5344CB8AC3E}">
        <p14:creationId xmlns:p14="http://schemas.microsoft.com/office/powerpoint/2010/main" val="371683353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0C9063-8D2B-B56B-E57D-CB4EFECAB83A}"/>
              </a:ext>
            </a:extLst>
          </p:cNvPr>
          <p:cNvSpPr>
            <a:spLocks noGrp="1"/>
          </p:cNvSpPr>
          <p:nvPr>
            <p:ph type="body" sz="quarter" idx="12"/>
          </p:nvPr>
        </p:nvSpPr>
        <p:spPr>
          <a:xfrm>
            <a:off x="7222017" y="2759090"/>
            <a:ext cx="4524376" cy="1431193"/>
          </a:xfrm>
        </p:spPr>
        <p:txBody>
          <a:bodyPr vert="horz" lIns="0" tIns="0" rIns="0" bIns="0" rtlCol="0" anchor="t">
            <a:noAutofit/>
          </a:bodyPr>
          <a:lstStyle/>
          <a:p>
            <a:r>
              <a:rPr lang="en-GB" dirty="0">
                <a:latin typeface="Open Sans SemiBold"/>
                <a:ea typeface="Open Sans SemiBold"/>
                <a:cs typeface="Open Sans SemiBold"/>
              </a:rPr>
              <a:t>Our understanding of your needs</a:t>
            </a:r>
            <a:endParaRPr lang="en-US" dirty="0"/>
          </a:p>
        </p:txBody>
      </p:sp>
      <p:sp>
        <p:nvSpPr>
          <p:cNvPr id="7" name="Text Placeholder 6">
            <a:extLst>
              <a:ext uri="{FF2B5EF4-FFF2-40B4-BE49-F238E27FC236}">
                <a16:creationId xmlns:a16="http://schemas.microsoft.com/office/drawing/2014/main" id="{24F4CC36-248A-BADB-AC2E-93252F0676D1}"/>
              </a:ext>
            </a:extLst>
          </p:cNvPr>
          <p:cNvSpPr>
            <a:spLocks noGrp="1"/>
          </p:cNvSpPr>
          <p:nvPr>
            <p:ph type="body" sz="quarter" idx="14"/>
          </p:nvPr>
        </p:nvSpPr>
        <p:spPr/>
        <p:txBody>
          <a:bodyPr/>
          <a:lstStyle/>
          <a:p>
            <a:pPr>
              <a:defRPr/>
            </a:pPr>
            <a:r>
              <a:rPr lang="en-GB" dirty="0">
                <a:solidFill>
                  <a:srgbClr val="00B0F2"/>
                </a:solidFill>
              </a:rPr>
              <a:t>04</a:t>
            </a:r>
          </a:p>
        </p:txBody>
      </p:sp>
      <p:sp>
        <p:nvSpPr>
          <p:cNvPr id="8" name="Text Placeholder 7">
            <a:extLst>
              <a:ext uri="{FF2B5EF4-FFF2-40B4-BE49-F238E27FC236}">
                <a16:creationId xmlns:a16="http://schemas.microsoft.com/office/drawing/2014/main" id="{3459877A-FB34-E0EF-0D77-535711160A1A}"/>
              </a:ext>
            </a:extLst>
          </p:cNvPr>
          <p:cNvSpPr>
            <a:spLocks noGrp="1"/>
          </p:cNvSpPr>
          <p:nvPr>
            <p:ph type="body" sz="quarter" idx="15"/>
          </p:nvPr>
        </p:nvSpPr>
        <p:spPr>
          <a:xfrm>
            <a:off x="7222017" y="3781425"/>
            <a:ext cx="4156075" cy="1508647"/>
          </a:xfrm>
        </p:spPr>
        <p:txBody>
          <a:bodyPr/>
          <a:lstStyle/>
          <a:p>
            <a:endParaRPr lang="en-GB" dirty="0">
              <a:latin typeface="Open Sans Light" panose="020B0306030504020204" pitchFamily="34" charset="0"/>
              <a:ea typeface="Open Sans Light" panose="020B0306030504020204" pitchFamily="34" charset="0"/>
              <a:cs typeface="Open Sans Light" panose="020B0306030504020204" pitchFamily="34" charset="0"/>
            </a:endParaRPr>
          </a:p>
          <a:p>
            <a:endParaRPr lang="en-CH"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 name="Picture 1">
            <a:extLst>
              <a:ext uri="{FF2B5EF4-FFF2-40B4-BE49-F238E27FC236}">
                <a16:creationId xmlns:a16="http://schemas.microsoft.com/office/drawing/2014/main" id="{62D05FDA-A501-1FE0-873C-5C93FD94E6E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71625" y="895823"/>
            <a:ext cx="4524375" cy="5066354"/>
          </a:xfrm>
          <a:prstGeom prst="rect">
            <a:avLst/>
          </a:prstGeom>
        </p:spPr>
      </p:pic>
    </p:spTree>
    <p:extLst>
      <p:ext uri="{BB962C8B-B14F-4D97-AF65-F5344CB8AC3E}">
        <p14:creationId xmlns:p14="http://schemas.microsoft.com/office/powerpoint/2010/main" val="1954409573"/>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bwMode="gray">
          <a:xfrm>
            <a:off x="2026695" y="2462014"/>
            <a:ext cx="8208000" cy="3564000"/>
          </a:xfrm>
          <a:prstGeom prst="roundRect">
            <a:avLst>
              <a:gd name="adj" fmla="val 4281"/>
            </a:avLst>
          </a:prstGeom>
          <a:solidFill>
            <a:schemeClr val="bg1">
              <a:lumMod val="85000"/>
            </a:schemeClr>
          </a:solidFill>
          <a:ln w="19050" algn="ctr">
            <a:solidFill>
              <a:schemeClr val="bg1">
                <a:lumMod val="5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Rectangle 19"/>
          <p:cNvSpPr/>
          <p:nvPr/>
        </p:nvSpPr>
        <p:spPr bwMode="gray">
          <a:xfrm>
            <a:off x="2003756" y="1933067"/>
            <a:ext cx="8180810" cy="43820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TA Vision</a:t>
            </a:r>
          </a:p>
          <a:p>
            <a:pPr algn="ctr">
              <a:lnSpc>
                <a:spcPct val="106000"/>
              </a:lnSpc>
              <a:buFont typeface="Wingdings 2" pitchFamily="18" charset="2"/>
              <a:buNone/>
            </a:pPr>
            <a:r>
              <a:rPr lang="en-US" sz="1000" dirty="0"/>
              <a:t>The </a:t>
            </a:r>
            <a:r>
              <a:rPr lang="en-US" sz="1000" b="1" dirty="0"/>
              <a:t>Talent Acquisition Vision defines the mid-long term aspirations and the targeted key characteristics</a:t>
            </a:r>
            <a:r>
              <a:rPr lang="en-US" sz="1000" dirty="0"/>
              <a:t> to be achieved in the future. </a:t>
            </a:r>
          </a:p>
        </p:txBody>
      </p:sp>
      <p:sp>
        <p:nvSpPr>
          <p:cNvPr id="11" name="Freeform 220"/>
          <p:cNvSpPr>
            <a:spLocks/>
          </p:cNvSpPr>
          <p:nvPr/>
        </p:nvSpPr>
        <p:spPr bwMode="auto">
          <a:xfrm rot="21342410" flipV="1">
            <a:off x="4332219" y="2652762"/>
            <a:ext cx="970792" cy="390298"/>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220"/>
          <p:cNvSpPr>
            <a:spLocks/>
          </p:cNvSpPr>
          <p:nvPr/>
        </p:nvSpPr>
        <p:spPr bwMode="auto">
          <a:xfrm rot="21342410" flipV="1">
            <a:off x="6924987" y="2652762"/>
            <a:ext cx="970792" cy="390298"/>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Rectangle 15"/>
          <p:cNvSpPr/>
          <p:nvPr/>
        </p:nvSpPr>
        <p:spPr bwMode="gray">
          <a:xfrm>
            <a:off x="1945290" y="4754897"/>
            <a:ext cx="2795588" cy="884889"/>
          </a:xfrm>
          <a:prstGeom prst="rect">
            <a:avLst/>
          </a:prstGeom>
          <a:no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US" sz="1000" dirty="0"/>
              <a:t>With the help of the TA Maturity Framework, the </a:t>
            </a:r>
            <a:r>
              <a:rPr lang="en-US" sz="1000" b="1" dirty="0"/>
              <a:t>targeted key characteristic of the TA practice are specified in a more structured, tangible and descriptive form</a:t>
            </a:r>
            <a:r>
              <a:rPr lang="en-US" sz="1000" dirty="0"/>
              <a:t> - based on the as-is state as well.</a:t>
            </a:r>
          </a:p>
        </p:txBody>
      </p:sp>
      <p:sp>
        <p:nvSpPr>
          <p:cNvPr id="17" name="Rectangle 16"/>
          <p:cNvSpPr/>
          <p:nvPr/>
        </p:nvSpPr>
        <p:spPr bwMode="gray">
          <a:xfrm>
            <a:off x="4814449" y="4754897"/>
            <a:ext cx="2660742" cy="1219471"/>
          </a:xfrm>
          <a:prstGeom prst="rect">
            <a:avLst/>
          </a:prstGeom>
          <a:no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US" sz="1000" b="1" dirty="0"/>
              <a:t>Key Strategic Objectives</a:t>
            </a:r>
            <a:r>
              <a:rPr lang="en-US" sz="1000" dirty="0"/>
              <a:t> are derived from the TA Vision and Targeted Maturity Levels: they </a:t>
            </a:r>
            <a:r>
              <a:rPr lang="en-US" sz="1000" b="1" dirty="0"/>
              <a:t>define specific focus areas of the next mid-term period and targeted achievements</a:t>
            </a:r>
            <a:r>
              <a:rPr lang="en-US" sz="1000" dirty="0"/>
              <a:t> that can be evaluated at the end (also with related metrics).</a:t>
            </a:r>
          </a:p>
        </p:txBody>
      </p:sp>
      <p:sp>
        <p:nvSpPr>
          <p:cNvPr id="18" name="Rectangle 17"/>
          <p:cNvSpPr/>
          <p:nvPr/>
        </p:nvSpPr>
        <p:spPr bwMode="gray">
          <a:xfrm>
            <a:off x="7580472" y="4754897"/>
            <a:ext cx="2584833" cy="1219471"/>
          </a:xfrm>
          <a:prstGeom prst="rect">
            <a:avLst/>
          </a:prstGeom>
          <a:no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US" sz="1000" dirty="0"/>
              <a:t>Key Strategic Objectives are broken down to </a:t>
            </a:r>
            <a:r>
              <a:rPr lang="en-US" sz="1000" b="1" dirty="0"/>
              <a:t>specific strategic development directions</a:t>
            </a:r>
            <a:r>
              <a:rPr lang="en-US" sz="1000" dirty="0"/>
              <a:t>, which </a:t>
            </a:r>
            <a:r>
              <a:rPr lang="en-US" sz="1000" b="1" dirty="0"/>
              <a:t>define concrete initiatives and measures to be designed and implemented</a:t>
            </a:r>
            <a:r>
              <a:rPr lang="en-US" sz="1000" dirty="0"/>
              <a:t> during the strategy time period.</a:t>
            </a:r>
          </a:p>
        </p:txBody>
      </p:sp>
      <p:cxnSp>
        <p:nvCxnSpPr>
          <p:cNvPr id="22" name="Straight Connector 21"/>
          <p:cNvCxnSpPr/>
          <p:nvPr/>
        </p:nvCxnSpPr>
        <p:spPr>
          <a:xfrm>
            <a:off x="2900856" y="2942893"/>
            <a:ext cx="10300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900856" y="3148971"/>
            <a:ext cx="10300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660971" y="2942893"/>
            <a:ext cx="10300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660971" y="3148971"/>
            <a:ext cx="10300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377077" y="2959787"/>
            <a:ext cx="10300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345546" y="3179822"/>
            <a:ext cx="10300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597911" y="2184802"/>
            <a:ext cx="10300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Rounded Rectangle 28"/>
          <p:cNvSpPr/>
          <p:nvPr/>
        </p:nvSpPr>
        <p:spPr bwMode="gray">
          <a:xfrm>
            <a:off x="1900238" y="1842324"/>
            <a:ext cx="8387846" cy="4306229"/>
          </a:xfrm>
          <a:prstGeom prst="roundRect">
            <a:avLst>
              <a:gd name="adj" fmla="val 3906"/>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05258" y="3273520"/>
            <a:ext cx="2721882" cy="1510625"/>
          </a:xfrm>
          <a:prstGeom prst="rect">
            <a:avLst/>
          </a:prstGeom>
        </p:spPr>
      </p:pic>
      <p:sp>
        <p:nvSpPr>
          <p:cNvPr id="13" name="Rectangle 12"/>
          <p:cNvSpPr/>
          <p:nvPr/>
        </p:nvSpPr>
        <p:spPr bwMode="gray">
          <a:xfrm>
            <a:off x="2581604" y="2647005"/>
            <a:ext cx="1639614" cy="38635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accent1"/>
                </a:solidFill>
              </a:rPr>
              <a:t>WHY</a:t>
            </a:r>
            <a:br>
              <a:rPr lang="en-US" sz="1400" b="1" dirty="0"/>
            </a:br>
            <a:r>
              <a:rPr lang="en-US" sz="1400" b="1" dirty="0"/>
              <a:t>TA Targeted Maturity</a:t>
            </a:r>
          </a:p>
        </p:txBody>
      </p:sp>
      <p:sp>
        <p:nvSpPr>
          <p:cNvPr id="14" name="Rectangle 13"/>
          <p:cNvSpPr/>
          <p:nvPr/>
        </p:nvSpPr>
        <p:spPr bwMode="gray">
          <a:xfrm>
            <a:off x="5356171" y="2647005"/>
            <a:ext cx="1639614" cy="38635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accent1"/>
                </a:solidFill>
              </a:rPr>
              <a:t>WHAT</a:t>
            </a:r>
            <a:br>
              <a:rPr lang="en-US" sz="1400" b="1" dirty="0"/>
            </a:br>
            <a:r>
              <a:rPr lang="en-US" sz="1400" b="1" dirty="0"/>
              <a:t> Key Strategic Objectives</a:t>
            </a:r>
          </a:p>
        </p:txBody>
      </p:sp>
      <p:sp>
        <p:nvSpPr>
          <p:cNvPr id="15" name="Rectangle 14"/>
          <p:cNvSpPr/>
          <p:nvPr/>
        </p:nvSpPr>
        <p:spPr bwMode="gray">
          <a:xfrm>
            <a:off x="7626890" y="2647005"/>
            <a:ext cx="2530389" cy="43121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accent1"/>
                </a:solidFill>
              </a:rPr>
              <a:t>HOW</a:t>
            </a:r>
            <a:br>
              <a:rPr lang="en-US" sz="1400" b="1" dirty="0"/>
            </a:br>
            <a:r>
              <a:rPr lang="en-US" sz="1400" b="1" dirty="0"/>
              <a:t>Strategic Development Directions</a:t>
            </a:r>
          </a:p>
        </p:txBody>
      </p:sp>
      <p:pic>
        <p:nvPicPr>
          <p:cNvPr id="43" name="Picture 42">
            <a:extLst>
              <a:ext uri="{FF2B5EF4-FFF2-40B4-BE49-F238E27FC236}">
                <a16:creationId xmlns:a16="http://schemas.microsoft.com/office/drawing/2014/main" id="{5C71697D-68FA-A594-857A-C5EE7CC185B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79009" y="3325250"/>
            <a:ext cx="2414225" cy="1420491"/>
          </a:xfrm>
          <a:prstGeom prst="rect">
            <a:avLst/>
          </a:prstGeom>
        </p:spPr>
      </p:pic>
      <p:pic>
        <p:nvPicPr>
          <p:cNvPr id="44" name="Picture 43">
            <a:extLst>
              <a:ext uri="{FF2B5EF4-FFF2-40B4-BE49-F238E27FC236}">
                <a16:creationId xmlns:a16="http://schemas.microsoft.com/office/drawing/2014/main" id="{8DB084DB-7DB3-9FFE-F922-7080E6A2163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7367" y="3242998"/>
            <a:ext cx="1731414" cy="1542422"/>
          </a:xfrm>
          <a:prstGeom prst="rect">
            <a:avLst/>
          </a:prstGeom>
        </p:spPr>
      </p:pic>
      <p:sp>
        <p:nvSpPr>
          <p:cNvPr id="45" name="Text Placeholder 1">
            <a:extLst>
              <a:ext uri="{FF2B5EF4-FFF2-40B4-BE49-F238E27FC236}">
                <a16:creationId xmlns:a16="http://schemas.microsoft.com/office/drawing/2014/main" id="{90215F99-4ED5-A88D-AA8E-A0980D5F3417}"/>
              </a:ext>
            </a:extLst>
          </p:cNvPr>
          <p:cNvSpPr txBox="1">
            <a:spLocks/>
          </p:cNvSpPr>
          <p:nvPr/>
        </p:nvSpPr>
        <p:spPr>
          <a:xfrm>
            <a:off x="398013" y="753681"/>
            <a:ext cx="11277600" cy="261899"/>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800" dirty="0">
                <a:solidFill>
                  <a:schemeClr val="tx2"/>
                </a:solidFill>
                <a:latin typeface="+mj-lt"/>
                <a:cs typeface="Calibri" panose="020F0502020204030204" pitchFamily="34" charset="0"/>
              </a:rPr>
              <a:t>Our four-staged </a:t>
            </a:r>
            <a:r>
              <a:rPr lang="en-US" sz="1800" b="1" dirty="0">
                <a:solidFill>
                  <a:schemeClr val="tx2"/>
                </a:solidFill>
                <a:latin typeface="+mj-lt"/>
                <a:cs typeface="Calibri" panose="020F0502020204030204" pitchFamily="34" charset="0"/>
              </a:rPr>
              <a:t>Talent acquisition strategy definition approach </a:t>
            </a:r>
            <a:r>
              <a:rPr lang="en-US" sz="1800" dirty="0">
                <a:solidFill>
                  <a:schemeClr val="tx2"/>
                </a:solidFill>
                <a:latin typeface="+mj-lt"/>
                <a:cs typeface="Calibri" panose="020F0502020204030204" pitchFamily="34" charset="0"/>
              </a:rPr>
              <a:t>can lead from capturing the vision for Talent Acquisition to defining strategic development directions</a:t>
            </a:r>
          </a:p>
        </p:txBody>
      </p:sp>
      <p:sp>
        <p:nvSpPr>
          <p:cNvPr id="46" name="Title 2">
            <a:extLst>
              <a:ext uri="{FF2B5EF4-FFF2-40B4-BE49-F238E27FC236}">
                <a16:creationId xmlns:a16="http://schemas.microsoft.com/office/drawing/2014/main" id="{1917C152-440E-2967-17BA-F4A71D4EC45A}"/>
              </a:ext>
            </a:extLst>
          </p:cNvPr>
          <p:cNvSpPr>
            <a:spLocks noGrp="1"/>
          </p:cNvSpPr>
          <p:nvPr>
            <p:ph type="title"/>
          </p:nvPr>
        </p:nvSpPr>
        <p:spPr>
          <a:xfrm>
            <a:off x="463295" y="345992"/>
            <a:ext cx="11277600" cy="334099"/>
          </a:xfrm>
        </p:spPr>
        <p:txBody>
          <a:bodyPr vert="horz"/>
          <a:lstStyle/>
          <a:p>
            <a:r>
              <a:rPr lang="en-US" sz="2100" dirty="0">
                <a:latin typeface="+mj-lt"/>
              </a:rPr>
              <a:t>Talent acquisition (2/2)</a:t>
            </a:r>
          </a:p>
        </p:txBody>
      </p:sp>
    </p:spTree>
    <p:extLst>
      <p:ext uri="{BB962C8B-B14F-4D97-AF65-F5344CB8AC3E}">
        <p14:creationId xmlns:p14="http://schemas.microsoft.com/office/powerpoint/2010/main" val="1934564926"/>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1">
            <a:extLst>
              <a:ext uri="{FF2B5EF4-FFF2-40B4-BE49-F238E27FC236}">
                <a16:creationId xmlns:a16="http://schemas.microsoft.com/office/drawing/2014/main" id="{90215F99-4ED5-A88D-AA8E-A0980D5F3417}"/>
              </a:ext>
            </a:extLst>
          </p:cNvPr>
          <p:cNvSpPr txBox="1">
            <a:spLocks/>
          </p:cNvSpPr>
          <p:nvPr/>
        </p:nvSpPr>
        <p:spPr>
          <a:xfrm>
            <a:off x="398013" y="753681"/>
            <a:ext cx="11277600" cy="261899"/>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800" dirty="0">
                <a:solidFill>
                  <a:schemeClr val="tx2"/>
                </a:solidFill>
                <a:latin typeface="+mj-lt"/>
                <a:cs typeface="Calibri" panose="020F0502020204030204" pitchFamily="34" charset="0"/>
              </a:rPr>
              <a:t>Our comprehensive Talent management enhancement framework can support all TM components with market leading approaches and solutions </a:t>
            </a:r>
          </a:p>
        </p:txBody>
      </p:sp>
      <p:sp>
        <p:nvSpPr>
          <p:cNvPr id="46" name="Title 2">
            <a:extLst>
              <a:ext uri="{FF2B5EF4-FFF2-40B4-BE49-F238E27FC236}">
                <a16:creationId xmlns:a16="http://schemas.microsoft.com/office/drawing/2014/main" id="{1917C152-440E-2967-17BA-F4A71D4EC45A}"/>
              </a:ext>
            </a:extLst>
          </p:cNvPr>
          <p:cNvSpPr>
            <a:spLocks noGrp="1"/>
          </p:cNvSpPr>
          <p:nvPr>
            <p:ph type="title"/>
          </p:nvPr>
        </p:nvSpPr>
        <p:spPr>
          <a:xfrm>
            <a:off x="463295" y="345992"/>
            <a:ext cx="11277600" cy="334099"/>
          </a:xfrm>
        </p:spPr>
        <p:txBody>
          <a:bodyPr vert="horz"/>
          <a:lstStyle/>
          <a:p>
            <a:r>
              <a:rPr lang="en-US" sz="2100" dirty="0">
                <a:latin typeface="+mj-lt"/>
              </a:rPr>
              <a:t>Talent </a:t>
            </a:r>
            <a:r>
              <a:rPr lang="hu-HU" sz="2100" dirty="0">
                <a:latin typeface="+mj-lt"/>
              </a:rPr>
              <a:t>management</a:t>
            </a:r>
            <a:endParaRPr lang="en-US" sz="2100" dirty="0">
              <a:latin typeface="+mj-lt"/>
            </a:endParaRPr>
          </a:p>
        </p:txBody>
      </p:sp>
      <p:pic>
        <p:nvPicPr>
          <p:cNvPr id="2" name="Picture 1">
            <a:extLst>
              <a:ext uri="{FF2B5EF4-FFF2-40B4-BE49-F238E27FC236}">
                <a16:creationId xmlns:a16="http://schemas.microsoft.com/office/drawing/2014/main" id="{D1BD75EA-7199-B790-656C-C45738C82EB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7305" y="1619461"/>
            <a:ext cx="11163590" cy="4703592"/>
          </a:xfrm>
          <a:prstGeom prst="rect">
            <a:avLst/>
          </a:prstGeom>
        </p:spPr>
      </p:pic>
    </p:spTree>
    <p:extLst>
      <p:ext uri="{BB962C8B-B14F-4D97-AF65-F5344CB8AC3E}">
        <p14:creationId xmlns:p14="http://schemas.microsoft.com/office/powerpoint/2010/main" val="2748220957"/>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Instructional Design 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11.</a:t>
            </a:r>
            <a:endParaRPr lang="en-GB" dirty="0"/>
          </a:p>
        </p:txBody>
      </p:sp>
    </p:spTree>
    <p:extLst>
      <p:ext uri="{BB962C8B-B14F-4D97-AF65-F5344CB8AC3E}">
        <p14:creationId xmlns:p14="http://schemas.microsoft.com/office/powerpoint/2010/main" val="3201476678"/>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en-US"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Risk and Compliance 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12.</a:t>
            </a:r>
            <a:endParaRPr lang="en-GB" dirty="0"/>
          </a:p>
        </p:txBody>
      </p:sp>
    </p:spTree>
    <p:extLst>
      <p:ext uri="{BB962C8B-B14F-4D97-AF65-F5344CB8AC3E}">
        <p14:creationId xmlns:p14="http://schemas.microsoft.com/office/powerpoint/2010/main" val="3840122527"/>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234429" y="-842771"/>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3741105"/>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4071651"/>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PL"/>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37780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41" name="Rectangle: Rounded Corners 40">
            <a:extLst>
              <a:ext uri="{FF2B5EF4-FFF2-40B4-BE49-F238E27FC236}">
                <a16:creationId xmlns:a16="http://schemas.microsoft.com/office/drawing/2014/main" id="{9E1A5677-B5F0-B102-E3C6-47103D928637}"/>
              </a:ext>
            </a:extLst>
          </p:cNvPr>
          <p:cNvSpPr/>
          <p:nvPr/>
        </p:nvSpPr>
        <p:spPr bwMode="gray">
          <a:xfrm>
            <a:off x="4141468" y="2466748"/>
            <a:ext cx="2658416" cy="1244524"/>
          </a:xfrm>
          <a:prstGeom prst="roundRect">
            <a:avLst>
              <a:gd name="adj" fmla="val 9889"/>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604344"/>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pl-PL" sz="2000" dirty="0">
                <a:latin typeface="+mn-lt"/>
              </a:rPr>
              <a:t>Risk Management and </a:t>
            </a:r>
            <a:r>
              <a:rPr lang="pl-PL" sz="2000" dirty="0" err="1">
                <a:latin typeface="+mn-lt"/>
              </a:rPr>
              <a:t>Compliance</a:t>
            </a:r>
            <a:r>
              <a:rPr lang="pl-PL" sz="2000" dirty="0">
                <a:latin typeface="+mn-lt"/>
              </a:rPr>
              <a:t> Services</a:t>
            </a:r>
            <a:endParaRPr lang="en-US" sz="2000" dirty="0">
              <a:latin typeface="+mn-lt"/>
            </a:endParaRPr>
          </a:p>
        </p:txBody>
      </p:sp>
      <p:sp>
        <p:nvSpPr>
          <p:cNvPr id="6" name="TextBox 5">
            <a:extLst>
              <a:ext uri="{FF2B5EF4-FFF2-40B4-BE49-F238E27FC236}">
                <a16:creationId xmlns:a16="http://schemas.microsoft.com/office/drawing/2014/main" id="{FAEF6724-E8B7-7C0B-158A-01A618E22EC0}"/>
              </a:ext>
            </a:extLst>
          </p:cNvPr>
          <p:cNvSpPr txBox="1"/>
          <p:nvPr/>
        </p:nvSpPr>
        <p:spPr>
          <a:xfrm>
            <a:off x="1109960" y="2483519"/>
            <a:ext cx="1932004" cy="246222"/>
          </a:xfrm>
          <a:prstGeom prst="rect">
            <a:avLst/>
          </a:prstGeom>
          <a:noFill/>
        </p:spPr>
        <p:txBody>
          <a:bodyPr wrap="square" lIns="0" tIns="0" rIns="0" bIns="0" rtlCol="0" anchor="t">
            <a:noAutofit/>
          </a:bodyPr>
          <a:lstStyle/>
          <a:p>
            <a:pPr>
              <a:spcAft>
                <a:spcPts val="1000"/>
              </a:spcAft>
            </a:pPr>
            <a:r>
              <a:rPr lang="ro-RO" sz="900" b="1" dirty="0">
                <a:ea typeface="Open Sans Light" panose="020B0306030504020204" pitchFamily="34" charset="0"/>
                <a:cs typeface="Open Sans Light" panose="020B0306030504020204" pitchFamily="34" charset="0"/>
              </a:rPr>
              <a:t>RISK MANAGEMENT</a:t>
            </a:r>
            <a:endParaRPr lang="en-US" sz="900" b="1" dirty="0">
              <a:latin typeface="+mj-lt"/>
              <a:ea typeface="Open Sans Light" panose="020B0306030504020204" pitchFamily="34" charset="0"/>
              <a:cs typeface="Open Sans Light" panose="020B0306030504020204" pitchFamily="34" charset="0"/>
            </a:endParaRPr>
          </a:p>
        </p:txBody>
      </p:sp>
      <p:sp>
        <p:nvSpPr>
          <p:cNvPr id="7" name="TextBox 6">
            <a:extLst>
              <a:ext uri="{FF2B5EF4-FFF2-40B4-BE49-F238E27FC236}">
                <a16:creationId xmlns:a16="http://schemas.microsoft.com/office/drawing/2014/main" id="{D98F159A-76B3-9E02-DD5B-0A91A3F23A06}"/>
              </a:ext>
            </a:extLst>
          </p:cNvPr>
          <p:cNvSpPr txBox="1"/>
          <p:nvPr/>
        </p:nvSpPr>
        <p:spPr>
          <a:xfrm>
            <a:off x="914400" y="1121670"/>
            <a:ext cx="2636978" cy="476414"/>
          </a:xfrm>
          <a:prstGeom prst="rect">
            <a:avLst/>
          </a:prstGeom>
          <a:noFill/>
        </p:spPr>
        <p:txBody>
          <a:bodyPr wrap="square" lIns="0" tIns="0" rIns="0" bIns="0" rtlCol="0">
            <a:noAutofit/>
          </a:bodyPr>
          <a:lstStyle/>
          <a:p>
            <a:pPr>
              <a:spcBef>
                <a:spcPts val="600"/>
              </a:spcBef>
              <a:buSzPct val="100000"/>
            </a:pPr>
            <a:r>
              <a:rPr lang="en-US" sz="1100" dirty="0">
                <a:latin typeface="Open Sans Light"/>
                <a:ea typeface="+mn-lt"/>
                <a:cs typeface="+mn-lt"/>
              </a:rPr>
              <a:t>We help </a:t>
            </a:r>
            <a:r>
              <a:rPr lang="hu-HU" sz="1100" dirty="0">
                <a:latin typeface="Open Sans Light"/>
                <a:ea typeface="+mn-lt"/>
                <a:cs typeface="+mn-lt"/>
              </a:rPr>
              <a:t>UNICEF</a:t>
            </a:r>
            <a:r>
              <a:rPr lang="en-US" sz="1100" dirty="0">
                <a:latin typeface="Open Sans Light"/>
                <a:ea typeface="+mn-lt"/>
                <a:cs typeface="+mn-lt"/>
              </a:rPr>
              <a:t> to be compliant with regulatory requirements and identify where should they focusing on</a:t>
            </a:r>
            <a:r>
              <a:rPr lang="hu-HU" sz="1100" dirty="0">
                <a:latin typeface="Open Sans Light"/>
                <a:ea typeface="+mn-lt"/>
                <a:cs typeface="+mn-lt"/>
              </a:rPr>
              <a:t>. </a:t>
            </a:r>
            <a:endParaRPr lang="en-US" sz="1100" dirty="0">
              <a:latin typeface="Open Sans Light"/>
              <a:ea typeface="+mn-lt"/>
              <a:cs typeface="+mn-lt"/>
            </a:endParaRP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300" dirty="0">
                <a:solidFill>
                  <a:schemeClr val="bg1"/>
                </a:solidFill>
                <a:latin typeface="Open Sans"/>
              </a:rPr>
              <a:t>SUBCHAPTERS</a:t>
            </a:r>
            <a:endParaRPr kumimoji="0" lang="en-US" sz="1200" b="1" i="0" u="none" strike="noStrike" kern="1200" cap="none" spc="300" normalizeH="0" baseline="0" noProof="0" dirty="0">
              <a:ln>
                <a:noFill/>
              </a:ln>
              <a:solidFill>
                <a:schemeClr val="bg1"/>
              </a:solidFill>
              <a:effectLst/>
              <a:uLnTx/>
              <a:uFillTx/>
              <a:latin typeface="Open Sans"/>
            </a:endParaRPr>
          </a:p>
        </p:txBody>
      </p:sp>
      <p:sp>
        <p:nvSpPr>
          <p:cNvPr id="15" name="Rectangle 14">
            <a:extLst>
              <a:ext uri="{FF2B5EF4-FFF2-40B4-BE49-F238E27FC236}">
                <a16:creationId xmlns:a16="http://schemas.microsoft.com/office/drawing/2014/main" id="{3EB57B1D-83EB-0D0B-449F-EC60EBAFDE32}"/>
              </a:ext>
            </a:extLst>
          </p:cNvPr>
          <p:cNvSpPr/>
          <p:nvPr/>
        </p:nvSpPr>
        <p:spPr>
          <a:xfrm>
            <a:off x="9292664" y="2012606"/>
            <a:ext cx="1629336" cy="40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hu-HU" sz="1200" b="1" dirty="0">
                <a:solidFill>
                  <a:srgbClr val="000000"/>
                </a:solidFill>
                <a:latin typeface="Open Sans"/>
                <a:ea typeface="Open Sans"/>
                <a:cs typeface="Open Sans"/>
              </a:rPr>
              <a:t>Orsolya </a:t>
            </a:r>
            <a:r>
              <a:rPr lang="hu-HU" sz="1200" b="1" dirty="0" err="1">
                <a:solidFill>
                  <a:srgbClr val="000000"/>
                </a:solidFill>
                <a:latin typeface="Open Sans"/>
                <a:ea typeface="Open Sans"/>
                <a:cs typeface="Open Sans"/>
              </a:rPr>
              <a:t>Frühwald</a:t>
            </a:r>
            <a:r>
              <a:rPr lang="hu-HU" sz="1200" b="1" dirty="0">
                <a:solidFill>
                  <a:srgbClr val="000000"/>
                </a:solidFill>
                <a:latin typeface="Open Sans"/>
                <a:ea typeface="Open Sans"/>
                <a:cs typeface="Open Sans"/>
              </a:rPr>
              <a:t> </a:t>
            </a:r>
            <a:endParaRPr lang="en-US" sz="1200" b="1" dirty="0">
              <a:solidFill>
                <a:srgbClr val="000000"/>
              </a:solidFill>
              <a:latin typeface="Open Sans"/>
              <a:ea typeface="Open Sans"/>
              <a:cs typeface="Open Sans"/>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hu-HU" sz="1050" b="0" i="0" u="none" strike="noStrike" kern="1200" cap="none" spc="0" normalizeH="0" baseline="0" noProof="0" dirty="0" err="1">
                <a:ln>
                  <a:noFill/>
                </a:ln>
                <a:solidFill>
                  <a:srgbClr val="000000"/>
                </a:solidFill>
                <a:effectLst/>
                <a:uLnTx/>
                <a:uFillTx/>
                <a:latin typeface="+mj-lt"/>
                <a:ea typeface="Open Sans"/>
                <a:cs typeface="Open Sans"/>
              </a:rPr>
              <a:t>Senior</a:t>
            </a:r>
            <a:r>
              <a:rPr kumimoji="0" lang="hu-HU" sz="1050" b="0" i="0" u="none" strike="noStrike" kern="1200" cap="none" spc="0" normalizeH="0" baseline="0" noProof="0" dirty="0">
                <a:ln>
                  <a:noFill/>
                </a:ln>
                <a:solidFill>
                  <a:srgbClr val="000000"/>
                </a:solidFill>
                <a:effectLst/>
                <a:uLnTx/>
                <a:uFillTx/>
                <a:latin typeface="+mj-lt"/>
                <a:ea typeface="Open Sans"/>
                <a:cs typeface="Open Sans"/>
              </a:rPr>
              <a:t> Manager</a:t>
            </a:r>
            <a:endParaRPr lang="en-US" sz="1200" b="0" i="0" u="none" strike="noStrike" kern="1200" cap="none" spc="0" normalizeH="0" baseline="0" noProof="0" dirty="0">
              <a:ln>
                <a:noFill/>
              </a:ln>
              <a:solidFill>
                <a:srgbClr val="000000"/>
              </a:solidFill>
              <a:effectLst/>
              <a:uLnTx/>
              <a:uFillTx/>
              <a:latin typeface="+mj-lt"/>
              <a:ea typeface="Open Sans"/>
              <a:cs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600" dirty="0">
                <a:latin typeface="Open Sans"/>
              </a:rPr>
              <a:t>METHODOLOGIES</a:t>
            </a:r>
            <a:endParaRPr kumimoji="0" lang="en-US" sz="1200" b="0" i="1" u="none" strike="noStrike" kern="1200" cap="none" spc="600" normalizeH="0" baseline="0" noProof="0" dirty="0">
              <a:ln>
                <a:noFill/>
              </a:ln>
              <a:effectLst/>
              <a:uLnTx/>
              <a:uFillTx/>
              <a:latin typeface="Open San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flipH="1">
            <a:off x="914400" y="2203798"/>
            <a:ext cx="7693" cy="17565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PL" sz="120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945010"/>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889829"/>
            <a:ext cx="0" cy="0"/>
          </a:xfrm>
          <a:prstGeom prst="rect">
            <a:avLst/>
          </a:prstGeom>
          <a:noFill/>
        </p:spPr>
        <p:txBody>
          <a:bodyPr wrap="none" lIns="0" tIns="0" rIns="0" bIns="0" rtlCol="0">
            <a:noAutofit/>
          </a:bodyPr>
          <a:lstStyle/>
          <a:p>
            <a:pPr algn="l">
              <a:spcBef>
                <a:spcPts val="600"/>
              </a:spcBef>
              <a:buSzPct val="100000"/>
            </a:pPr>
            <a:endParaRPr lang="en-PL" sz="1200"/>
          </a:p>
        </p:txBody>
      </p:sp>
      <p:sp>
        <p:nvSpPr>
          <p:cNvPr id="67" name="TextBox 66">
            <a:extLst>
              <a:ext uri="{FF2B5EF4-FFF2-40B4-BE49-F238E27FC236}">
                <a16:creationId xmlns:a16="http://schemas.microsoft.com/office/drawing/2014/main" id="{D7A9173E-42C8-E19F-56C2-0DA2BD60D004}"/>
              </a:ext>
            </a:extLst>
          </p:cNvPr>
          <p:cNvSpPr txBox="1"/>
          <p:nvPr/>
        </p:nvSpPr>
        <p:spPr>
          <a:xfrm>
            <a:off x="4189845" y="2507046"/>
            <a:ext cx="2184971"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ro-RO" sz="900" b="1" dirty="0">
                <a:solidFill>
                  <a:srgbClr val="000000"/>
                </a:solidFill>
              </a:rPr>
              <a:t>RISK ASSESSMENT</a:t>
            </a:r>
            <a:endParaRPr lang="en-US" sz="900" b="1" dirty="0">
              <a:solidFill>
                <a:srgbClr val="000000"/>
              </a:solidFill>
            </a:endParaRPr>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1200" b="1" spc="300" dirty="0">
                <a:solidFill>
                  <a:srgbClr val="38B6FF"/>
                </a:solidFill>
                <a:latin typeface="Open Sans"/>
              </a:rPr>
              <a:t>CHAPTER LEAD EXPERT</a:t>
            </a:r>
            <a:endParaRPr kumimoji="0" lang="en-US" sz="1200" b="0" i="1" u="none" strike="noStrike" kern="1200" cap="none" spc="300" normalizeH="0" baseline="0" noProof="0" dirty="0">
              <a:ln>
                <a:noFill/>
              </a:ln>
              <a:solidFill>
                <a:srgbClr val="38B6FF"/>
              </a:solidFill>
              <a:effectLst/>
              <a:uLnTx/>
              <a:uFillTx/>
              <a:latin typeface="Open Sans"/>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3727076"/>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852378"/>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PL"/>
          </a:p>
        </p:txBody>
      </p:sp>
      <p:sp>
        <p:nvSpPr>
          <p:cNvPr id="23" name="TextBox 22">
            <a:extLst>
              <a:ext uri="{FF2B5EF4-FFF2-40B4-BE49-F238E27FC236}">
                <a16:creationId xmlns:a16="http://schemas.microsoft.com/office/drawing/2014/main" id="{71042AB0-6C28-0519-0123-4B35425F7BBA}"/>
              </a:ext>
            </a:extLst>
          </p:cNvPr>
          <p:cNvSpPr txBox="1"/>
          <p:nvPr/>
        </p:nvSpPr>
        <p:spPr>
          <a:xfrm>
            <a:off x="1109961" y="3764841"/>
            <a:ext cx="1443116" cy="246222"/>
          </a:xfrm>
          <a:prstGeom prst="rect">
            <a:avLst/>
          </a:prstGeom>
          <a:noFill/>
        </p:spPr>
        <p:txBody>
          <a:bodyPr wrap="square" lIns="0" tIns="0" rIns="0" bIns="0" rtlCol="0" anchor="t">
            <a:noAutofit/>
          </a:bodyPr>
          <a:lstStyle/>
          <a:p>
            <a:pPr>
              <a:spcAft>
                <a:spcPts val="1000"/>
              </a:spcAft>
            </a:pPr>
            <a:r>
              <a:rPr lang="hu-HU" sz="900" b="1" dirty="0">
                <a:latin typeface="+mj-lt"/>
                <a:ea typeface="Open Sans Light" panose="020B0306030504020204" pitchFamily="34" charset="0"/>
                <a:cs typeface="Open Sans Light" panose="020B0306030504020204" pitchFamily="34" charset="0"/>
              </a:rPr>
              <a:t>COMPLIANCE</a:t>
            </a:r>
            <a:endParaRPr lang="en-US" sz="900" b="1" dirty="0">
              <a:latin typeface="+mj-lt"/>
              <a:ea typeface="Open Sans Light" panose="020B0306030504020204" pitchFamily="34" charset="0"/>
              <a:cs typeface="Open Sans Light" panose="020B0306030504020204" pitchFamily="34" charset="0"/>
            </a:endParaRPr>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900" i="1" spc="300" dirty="0">
                <a:latin typeface="Open Sans"/>
              </a:rPr>
              <a:t>EXPERTS IN HUNGARY</a:t>
            </a:r>
            <a:endParaRPr kumimoji="0" lang="en-US" sz="900" i="1" u="none" strike="noStrike" kern="1200" cap="none" spc="300" normalizeH="0" baseline="0" noProof="0" dirty="0">
              <a:ln>
                <a:noFill/>
              </a:ln>
              <a:effectLst/>
              <a:uLnTx/>
              <a:uFillTx/>
              <a:latin typeface="Open Sans"/>
            </a:endParaRP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o-RO" sz="2800" b="1" i="1" u="none" strike="noStrike" kern="1200" cap="none" spc="300" normalizeH="0" baseline="0" noProof="0" dirty="0">
                <a:ln>
                  <a:noFill/>
                </a:ln>
                <a:effectLst/>
                <a:uLnTx/>
                <a:uFillTx/>
                <a:latin typeface="Open Sans"/>
              </a:rPr>
              <a:t>4</a:t>
            </a:r>
            <a:endParaRPr kumimoji="0" lang="en-US" sz="2800" b="1" i="1" u="none" strike="noStrike" kern="1200" cap="none" spc="300" normalizeH="0" baseline="0" noProof="0" dirty="0">
              <a:ln>
                <a:noFill/>
              </a:ln>
              <a:effectLst/>
              <a:uLnTx/>
              <a:uFillTx/>
              <a:latin typeface="Open Sans"/>
            </a:endParaRPr>
          </a:p>
        </p:txBody>
      </p:sp>
      <p:sp>
        <p:nvSpPr>
          <p:cNvPr id="79" name="TextBox 78">
            <a:extLst>
              <a:ext uri="{FF2B5EF4-FFF2-40B4-BE49-F238E27FC236}">
                <a16:creationId xmlns:a16="http://schemas.microsoft.com/office/drawing/2014/main" id="{85D465EA-B4B6-1092-E7DC-37C3BDDC7B4B}"/>
              </a:ext>
            </a:extLst>
          </p:cNvPr>
          <p:cNvSpPr txBox="1"/>
          <p:nvPr/>
        </p:nvSpPr>
        <p:spPr>
          <a:xfrm>
            <a:off x="4189845" y="2655130"/>
            <a:ext cx="2610040" cy="1231106"/>
          </a:xfrm>
          <a:prstGeom prst="rect">
            <a:avLst/>
          </a:prstGeom>
          <a:noFill/>
        </p:spPr>
        <p:txBody>
          <a:bodyPr wrap="square" lIns="0" tIns="0" rIns="0" bIns="0" rtlCol="0" anchor="t">
            <a:spAutoFit/>
          </a:bodyPr>
          <a:lstStyle/>
          <a:p>
            <a:pPr marL="106352" indent="-106352">
              <a:buFont typeface="Arial" panose="020B0604020202020204" pitchFamily="34" charset="0"/>
              <a:buChar char="•"/>
            </a:pPr>
            <a:r>
              <a:rPr lang="en-US" sz="800" dirty="0">
                <a:cs typeface="Calibri" panose="020F0502020204030204" pitchFamily="34" charset="0"/>
              </a:rPr>
              <a:t>Design tailored risk assessment methodology</a:t>
            </a:r>
          </a:p>
          <a:p>
            <a:pPr marL="106352" indent="-106352">
              <a:buFont typeface="Arial" panose="020B0604020202020204" pitchFamily="34" charset="0"/>
              <a:buChar char="•"/>
            </a:pPr>
            <a:r>
              <a:rPr lang="en-US" sz="800" dirty="0">
                <a:cs typeface="Calibri" panose="020F0502020204030204" pitchFamily="34" charset="0"/>
              </a:rPr>
              <a:t>Conduct enterprise-wide risk assessment exercise</a:t>
            </a:r>
          </a:p>
          <a:p>
            <a:pPr marL="106352" indent="-106352">
              <a:buFont typeface="Arial" panose="020B0604020202020204" pitchFamily="34" charset="0"/>
              <a:buChar char="•"/>
            </a:pPr>
            <a:r>
              <a:rPr lang="en-US" sz="800" dirty="0">
                <a:cs typeface="Calibri" panose="020F0502020204030204" pitchFamily="34" charset="0"/>
              </a:rPr>
              <a:t>Prepare detailed risk treatment plan</a:t>
            </a:r>
          </a:p>
          <a:p>
            <a:pPr marL="106352" indent="-106352">
              <a:buFont typeface="Arial" panose="020B0604020202020204" pitchFamily="34" charset="0"/>
              <a:buChar char="•"/>
            </a:pPr>
            <a:r>
              <a:rPr lang="en-US" sz="800" dirty="0">
                <a:cs typeface="Calibri" panose="020F0502020204030204" pitchFamily="34" charset="0"/>
              </a:rPr>
              <a:t>Develop Risk Control Matrix</a:t>
            </a:r>
          </a:p>
          <a:p>
            <a:pPr marL="106352" indent="-106352">
              <a:buFont typeface="Arial" panose="020B0604020202020204" pitchFamily="34" charset="0"/>
              <a:buChar char="•"/>
            </a:pPr>
            <a:r>
              <a:rPr lang="en-US" sz="800" dirty="0">
                <a:latin typeface="Calibri Light" panose="020F0302020204030204" pitchFamily="34" charset="0"/>
                <a:ea typeface="Open Sans Light" panose="020B0306030504020204" pitchFamily="34" charset="0"/>
                <a:cs typeface="Calibri Light" panose="020F0302020204030204" pitchFamily="34" charset="0"/>
              </a:rPr>
              <a:t>E</a:t>
            </a:r>
            <a:r>
              <a:rPr lang="en-US" sz="800" dirty="0">
                <a:cs typeface="Calibri" panose="020F0502020204030204" pitchFamily="34" charset="0"/>
              </a:rPr>
              <a:t>ducate team members about possible risks faced by  </a:t>
            </a:r>
            <a:r>
              <a:rPr lang="hu-HU" sz="800" dirty="0">
                <a:cs typeface="Calibri" panose="020F0502020204030204" pitchFamily="34" charset="0"/>
              </a:rPr>
              <a:t>UNICEF</a:t>
            </a:r>
            <a:endParaRPr lang="en-US" sz="800" dirty="0">
              <a:cs typeface="Calibri" panose="020F0502020204030204" pitchFamily="34" charset="0"/>
            </a:endParaRPr>
          </a:p>
          <a:p>
            <a:pPr marL="106352" indent="-106352">
              <a:buFont typeface="Arial" panose="020B0604020202020204" pitchFamily="34" charset="0"/>
              <a:buChar char="•"/>
            </a:pPr>
            <a:r>
              <a:rPr lang="en-US" sz="800" dirty="0">
                <a:cs typeface="Calibri" panose="020F0502020204030204" pitchFamily="34" charset="0"/>
              </a:rPr>
              <a:t>Enhance effectiveness of internal controls and validation of business controls in place</a:t>
            </a:r>
          </a:p>
          <a:p>
            <a:pPr marL="106352" indent="-106352">
              <a:buFont typeface="Arial" panose="020B0604020202020204" pitchFamily="34" charset="0"/>
              <a:buChar char="•"/>
            </a:pPr>
            <a:endParaRPr lang="en-US" sz="800" dirty="0">
              <a:cs typeface="Calibri" panose="020F0502020204030204" pitchFamily="34" charset="0"/>
            </a:endParaRPr>
          </a:p>
          <a:p>
            <a:pPr>
              <a:defRPr/>
            </a:pPr>
            <a:endParaRPr lang="en-US" sz="800" dirty="0">
              <a:solidFill>
                <a:srgbClr val="000000"/>
              </a:solidFill>
            </a:endParaRPr>
          </a:p>
        </p:txBody>
      </p:sp>
      <p:sp>
        <p:nvSpPr>
          <p:cNvPr id="106" name="Rectangle: Rounded Corners 105">
            <a:extLst>
              <a:ext uri="{FF2B5EF4-FFF2-40B4-BE49-F238E27FC236}">
                <a16:creationId xmlns:a16="http://schemas.microsoft.com/office/drawing/2014/main" id="{203B5607-7E3F-24DA-A479-534848EB7048}"/>
              </a:ext>
            </a:extLst>
          </p:cNvPr>
          <p:cNvSpPr/>
          <p:nvPr/>
        </p:nvSpPr>
        <p:spPr bwMode="gray">
          <a:xfrm>
            <a:off x="6881049" y="2410114"/>
            <a:ext cx="2271285" cy="1294376"/>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80" name="TextBox 79">
            <a:extLst>
              <a:ext uri="{FF2B5EF4-FFF2-40B4-BE49-F238E27FC236}">
                <a16:creationId xmlns:a16="http://schemas.microsoft.com/office/drawing/2014/main" id="{AA3B4BF3-9676-4F5B-EA12-53EF66777924}"/>
              </a:ext>
            </a:extLst>
          </p:cNvPr>
          <p:cNvSpPr txBox="1"/>
          <p:nvPr/>
        </p:nvSpPr>
        <p:spPr>
          <a:xfrm>
            <a:off x="6914510" y="2512738"/>
            <a:ext cx="2117669"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hu-HU" sz="900" b="1" dirty="0">
                <a:solidFill>
                  <a:srgbClr val="000000"/>
                </a:solidFill>
              </a:rPr>
              <a:t>RISK MAPPING</a:t>
            </a:r>
            <a:endParaRPr lang="en-US" sz="900" b="1" dirty="0">
              <a:solidFill>
                <a:srgbClr val="000000"/>
              </a:solidFill>
            </a:endParaRPr>
          </a:p>
        </p:txBody>
      </p:sp>
      <p:sp>
        <p:nvSpPr>
          <p:cNvPr id="81" name="TextBox 80">
            <a:extLst>
              <a:ext uri="{FF2B5EF4-FFF2-40B4-BE49-F238E27FC236}">
                <a16:creationId xmlns:a16="http://schemas.microsoft.com/office/drawing/2014/main" id="{61380BE4-8010-E0BB-F55D-55EF892C1D6E}"/>
              </a:ext>
            </a:extLst>
          </p:cNvPr>
          <p:cNvSpPr txBox="1"/>
          <p:nvPr/>
        </p:nvSpPr>
        <p:spPr>
          <a:xfrm>
            <a:off x="6914510" y="2645545"/>
            <a:ext cx="1987787" cy="1177245"/>
          </a:xfrm>
          <a:prstGeom prst="rect">
            <a:avLst/>
          </a:prstGeom>
          <a:noFill/>
        </p:spPr>
        <p:txBody>
          <a:bodyPr wrap="square" lIns="0" tIns="0" rIns="0" bIns="0" rtlCol="0" anchor="t">
            <a:spAutoFit/>
          </a:bodyPr>
          <a:lstStyle/>
          <a:p>
            <a:pPr marL="106352" indent="-106352">
              <a:spcBef>
                <a:spcPts val="300"/>
              </a:spcBef>
              <a:buClr>
                <a:srgbClr val="FFFFFF">
                  <a:lumMod val="50000"/>
                </a:srgbClr>
              </a:buClr>
              <a:buFont typeface="Arial" panose="020B0604020202020204" pitchFamily="34" charset="0"/>
              <a:buChar char="•"/>
              <a:defRPr/>
            </a:pPr>
            <a:r>
              <a:rPr lang="en-US" sz="800" dirty="0">
                <a:cs typeface="Calibri" panose="020F0502020204030204" pitchFamily="34" charset="0"/>
              </a:rPr>
              <a:t>Develop industry and organization specific risk map</a:t>
            </a:r>
          </a:p>
          <a:p>
            <a:pPr marL="106352" indent="-106352">
              <a:spcBef>
                <a:spcPts val="300"/>
              </a:spcBef>
              <a:buClr>
                <a:srgbClr val="FFFFFF">
                  <a:lumMod val="50000"/>
                </a:srgbClr>
              </a:buClr>
              <a:buFont typeface="Arial" panose="020B0604020202020204" pitchFamily="34" charset="0"/>
              <a:buChar char="•"/>
              <a:defRPr/>
            </a:pPr>
            <a:r>
              <a:rPr lang="en-US" sz="800" dirty="0">
                <a:cs typeface="Calibri" panose="020F0502020204030204" pitchFamily="34" charset="0"/>
              </a:rPr>
              <a:t>Help to identify where should UNICEF</a:t>
            </a:r>
            <a:r>
              <a:rPr lang="hu-HU" sz="800" dirty="0">
                <a:cs typeface="Calibri" panose="020F0502020204030204" pitchFamily="34" charset="0"/>
              </a:rPr>
              <a:t> </a:t>
            </a:r>
            <a:r>
              <a:rPr lang="en-US" sz="800" dirty="0">
                <a:cs typeface="Calibri" panose="020F0502020204030204" pitchFamily="34" charset="0"/>
              </a:rPr>
              <a:t>focusing on</a:t>
            </a:r>
            <a:endParaRPr lang="hu-HU" sz="800" dirty="0">
              <a:cs typeface="Calibri" panose="020F0502020204030204" pitchFamily="34" charset="0"/>
            </a:endParaRPr>
          </a:p>
          <a:p>
            <a:pPr marL="106352" indent="-106352">
              <a:spcBef>
                <a:spcPts val="300"/>
              </a:spcBef>
              <a:buClr>
                <a:srgbClr val="FFFFFF">
                  <a:lumMod val="50000"/>
                </a:srgbClr>
              </a:buClr>
              <a:buFont typeface="Arial" panose="020B0604020202020204" pitchFamily="34" charset="0"/>
              <a:buChar char="•"/>
              <a:defRPr/>
            </a:pPr>
            <a:r>
              <a:rPr lang="hu-HU" sz="800" kern="1200" dirty="0">
                <a:solidFill>
                  <a:prstClr val="black"/>
                </a:solidFill>
                <a:latin typeface="Calibri Light" panose="020F0302020204030204" pitchFamily="34" charset="0"/>
                <a:ea typeface="Open Sans Light" panose="020B0306030504020204" pitchFamily="34" charset="0"/>
                <a:cs typeface="Calibri Light" panose="020F0302020204030204" pitchFamily="34" charset="0"/>
              </a:rPr>
              <a:t> </a:t>
            </a:r>
            <a:r>
              <a:rPr lang="hu-HU" sz="800" dirty="0">
                <a:solidFill>
                  <a:prstClr val="black"/>
                </a:solidFill>
                <a:latin typeface="Calibri Light" panose="020F0302020204030204" pitchFamily="34" charset="0"/>
                <a:ea typeface="Open Sans Light" panose="020B0306030504020204" pitchFamily="34" charset="0"/>
                <a:cs typeface="Calibri Light" panose="020F0302020204030204" pitchFamily="34" charset="0"/>
              </a:rPr>
              <a:t>R</a:t>
            </a:r>
            <a:r>
              <a:rPr lang="hu-HU" sz="800" kern="1200" dirty="0">
                <a:solidFill>
                  <a:prstClr val="black"/>
                </a:solidFill>
                <a:latin typeface="Calibri Light" panose="020F0302020204030204" pitchFamily="34" charset="0"/>
                <a:ea typeface="Open Sans Light" panose="020B0306030504020204" pitchFamily="34" charset="0"/>
                <a:cs typeface="Calibri Light" panose="020F0302020204030204" pitchFamily="34" charset="0"/>
              </a:rPr>
              <a:t>isk </a:t>
            </a:r>
            <a:r>
              <a:rPr lang="en-US" sz="800" kern="1200" dirty="0">
                <a:solidFill>
                  <a:prstClr val="black"/>
                </a:solidFill>
                <a:latin typeface="Calibri Light" panose="020F0302020204030204" pitchFamily="34" charset="0"/>
                <a:ea typeface="Open Sans Light" panose="020B0306030504020204" pitchFamily="34" charset="0"/>
                <a:cs typeface="Calibri Light" panose="020F0302020204030204" pitchFamily="34" charset="0"/>
              </a:rPr>
              <a:t>identification</a:t>
            </a:r>
            <a:r>
              <a:rPr lang="hu-HU" sz="800" kern="1200" dirty="0">
                <a:solidFill>
                  <a:prstClr val="black"/>
                </a:solidFill>
                <a:latin typeface="Calibri Light" panose="020F0302020204030204" pitchFamily="34" charset="0"/>
                <a:ea typeface="Open Sans Light" panose="020B0306030504020204" pitchFamily="34" charset="0"/>
                <a:cs typeface="Calibri Light" panose="020F0302020204030204" pitchFamily="34" charset="0"/>
              </a:rPr>
              <a:t> and </a:t>
            </a:r>
            <a:r>
              <a:rPr lang="en-US" sz="800" kern="1200" dirty="0">
                <a:solidFill>
                  <a:prstClr val="black"/>
                </a:solidFill>
                <a:latin typeface="Calibri Light" panose="020F0302020204030204" pitchFamily="34" charset="0"/>
                <a:ea typeface="Open Sans Light" panose="020B0306030504020204" pitchFamily="34" charset="0"/>
                <a:cs typeface="Calibri Light" panose="020F0302020204030204" pitchFamily="34" charset="0"/>
              </a:rPr>
              <a:t>risk mitigation</a:t>
            </a:r>
          </a:p>
          <a:p>
            <a:pPr>
              <a:spcBef>
                <a:spcPts val="300"/>
              </a:spcBef>
              <a:buClr>
                <a:srgbClr val="FFFFFF">
                  <a:lumMod val="50000"/>
                </a:srgbClr>
              </a:buClr>
              <a:defRPr/>
            </a:pPr>
            <a:endParaRPr lang="en-US" sz="800" dirty="0">
              <a:cs typeface="Calibri" panose="020F0502020204030204" pitchFamily="34" charset="0"/>
            </a:endParaRPr>
          </a:p>
          <a:p>
            <a:pPr marL="171450" indent="-171450">
              <a:spcBef>
                <a:spcPts val="300"/>
              </a:spcBef>
              <a:buClr>
                <a:srgbClr val="FFFFFF">
                  <a:lumMod val="50000"/>
                </a:srgbClr>
              </a:buClr>
              <a:buFont typeface="Arial" panose="020B0604020202020204" pitchFamily="34" charset="0"/>
              <a:buChar char="•"/>
              <a:defRPr/>
            </a:pPr>
            <a:endParaRPr lang="en-US" sz="800" dirty="0">
              <a:cs typeface="Calibri" panose="020F0502020204030204" pitchFamily="34" charset="0"/>
            </a:endParaRPr>
          </a:p>
          <a:p>
            <a:pPr marL="171450" lvl="0" indent="-171450">
              <a:spcBef>
                <a:spcPts val="300"/>
              </a:spcBef>
              <a:buClr>
                <a:srgbClr val="FFFFFF">
                  <a:lumMod val="50000"/>
                </a:srgbClr>
              </a:buClr>
              <a:buFont typeface="Arial" panose="020B0604020202020204" pitchFamily="34" charset="0"/>
              <a:buChar char="•"/>
              <a:defRPr/>
            </a:pPr>
            <a:endParaRPr lang="en-US" sz="800" dirty="0">
              <a:solidFill>
                <a:srgbClr val="000000"/>
              </a:solidFill>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8" y="3887288"/>
            <a:ext cx="4830876"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25" name="TextBox 124">
            <a:extLst>
              <a:ext uri="{FF2B5EF4-FFF2-40B4-BE49-F238E27FC236}">
                <a16:creationId xmlns:a16="http://schemas.microsoft.com/office/drawing/2014/main" id="{BFC289BE-3B1A-26AD-07CC-7670D2377D1C}"/>
              </a:ext>
            </a:extLst>
          </p:cNvPr>
          <p:cNvSpPr txBox="1"/>
          <p:nvPr/>
        </p:nvSpPr>
        <p:spPr>
          <a:xfrm>
            <a:off x="4189845" y="3927585"/>
            <a:ext cx="2073797"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ro-RO" sz="900" b="1" dirty="0">
                <a:solidFill>
                  <a:srgbClr val="000000"/>
                </a:solidFill>
              </a:rPr>
              <a:t>COMPLIANCE</a:t>
            </a:r>
            <a:endParaRPr lang="en-US" sz="900" b="1" dirty="0">
              <a:solidFill>
                <a:srgbClr val="000000"/>
              </a:solidFill>
            </a:endParaRPr>
          </a:p>
        </p:txBody>
      </p:sp>
      <p:sp>
        <p:nvSpPr>
          <p:cNvPr id="126" name="TextBox 125">
            <a:extLst>
              <a:ext uri="{FF2B5EF4-FFF2-40B4-BE49-F238E27FC236}">
                <a16:creationId xmlns:a16="http://schemas.microsoft.com/office/drawing/2014/main" id="{BF7B5CCB-9160-DE5F-7993-F08D514E177C}"/>
              </a:ext>
            </a:extLst>
          </p:cNvPr>
          <p:cNvSpPr txBox="1"/>
          <p:nvPr/>
        </p:nvSpPr>
        <p:spPr>
          <a:xfrm>
            <a:off x="3391658" y="4129273"/>
            <a:ext cx="4722829" cy="620683"/>
          </a:xfrm>
          <a:prstGeom prst="rect">
            <a:avLst/>
          </a:prstGeom>
          <a:noFill/>
        </p:spPr>
        <p:txBody>
          <a:bodyPr wrap="square" lIns="0" tIns="0" rIns="0" bIns="0" rtlCol="0" anchor="t">
            <a:spAutoFit/>
          </a:bodyPr>
          <a:lstStyle/>
          <a:p>
            <a:pPr marL="1022264" lvl="3" indent="-171450">
              <a:buFont typeface="Arial" panose="020B0604020202020204" pitchFamily="34" charset="0"/>
              <a:buChar char="•"/>
            </a:pPr>
            <a:r>
              <a:rPr lang="en-US" sz="800" dirty="0">
                <a:cs typeface="Calibri" panose="020F0502020204030204" pitchFamily="34" charset="0"/>
              </a:rPr>
              <a:t>Organizational health check (strategy, capabilities &amp; innovation, culture &amp; commitment, governance &amp; finance), </a:t>
            </a:r>
          </a:p>
          <a:p>
            <a:pPr marL="1022264" lvl="3" indent="-171450">
              <a:buFont typeface="Arial" panose="020B0604020202020204" pitchFamily="34" charset="0"/>
              <a:buChar char="•"/>
            </a:pPr>
            <a:r>
              <a:rPr lang="en-US" sz="800" dirty="0">
                <a:cs typeface="Calibri" panose="020F0502020204030204" pitchFamily="34" charset="0"/>
              </a:rPr>
              <a:t>GAP analysis to standards, relevant regulations or other requirements</a:t>
            </a:r>
          </a:p>
          <a:p>
            <a:pPr marL="171450" indent="-171450">
              <a:spcBef>
                <a:spcPts val="1000"/>
              </a:spcBef>
              <a:buClr>
                <a:srgbClr val="FFFFFF">
                  <a:lumMod val="50000"/>
                </a:srgbClr>
              </a:buClr>
              <a:buFont typeface="Arial" panose="020B0604020202020204" pitchFamily="34" charset="0"/>
              <a:buChar char="•"/>
              <a:defRPr/>
            </a:pPr>
            <a:endParaRPr lang="en-US" sz="800" dirty="0">
              <a:solidFill>
                <a:srgbClr val="000000"/>
              </a:solidFill>
            </a:endParaRP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40358" y="3760906"/>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dirty="0"/>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3B57B1E-0FF2-81CE-6E4D-CC02BA27A2AE}"/>
              </a:ext>
            </a:extLst>
          </p:cNvPr>
          <p:cNvGrpSpPr/>
          <p:nvPr/>
        </p:nvGrpSpPr>
        <p:grpSpPr>
          <a:xfrm>
            <a:off x="2643598" y="236650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8A79F5A9-611B-8C89-8D9B-C6321AEE7097}"/>
                </a:ext>
              </a:extLst>
            </p:cNvPr>
            <p:cNvSpPr/>
            <p:nvPr/>
          </p:nvSpPr>
          <p:spPr bwMode="gray">
            <a:xfrm>
              <a:off x="6628013"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a:p>
          </p:txBody>
        </p: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PL" dirty="0"/>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pic>
        <p:nvPicPr>
          <p:cNvPr id="1036" name="Picture 4" descr="Linkedin logo png - greorder">
            <a:hlinkClick r:id="rId7"/>
            <a:extLst>
              <a:ext uri="{FF2B5EF4-FFF2-40B4-BE49-F238E27FC236}">
                <a16:creationId xmlns:a16="http://schemas.microsoft.com/office/drawing/2014/main" id="{1D1F8576-08B0-C2D3-E711-0C4E6C0D89E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859102" y="2070504"/>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108" name="Freeform: Shape 1107">
            <a:extLst>
              <a:ext uri="{FF2B5EF4-FFF2-40B4-BE49-F238E27FC236}">
                <a16:creationId xmlns:a16="http://schemas.microsoft.com/office/drawing/2014/main" id="{AD5D1342-2F33-36A0-EF26-97B4BB7DBC70}"/>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PL"/>
          </a:p>
        </p:txBody>
      </p:sp>
      <p:sp>
        <p:nvSpPr>
          <p:cNvPr id="1111" name="Rectangle 1110">
            <a:extLst>
              <a:ext uri="{FF2B5EF4-FFF2-40B4-BE49-F238E27FC236}">
                <a16:creationId xmlns:a16="http://schemas.microsoft.com/office/drawing/2014/main" id="{C3A7529B-FB76-569F-0DC1-C22DA82217DC}"/>
              </a:ext>
            </a:extLst>
          </p:cNvPr>
          <p:cNvSpPr/>
          <p:nvPr/>
        </p:nvSpPr>
        <p:spPr>
          <a:xfrm>
            <a:off x="11315684" y="4321416"/>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o-RO" sz="600" i="1" u="none" strike="noStrike" kern="1200" cap="none" spc="300" normalizeH="0" baseline="0" noProof="0" dirty="0">
                <a:ln>
                  <a:noFill/>
                </a:ln>
                <a:effectLst/>
                <a:uLnTx/>
                <a:uFillTx/>
                <a:latin typeface="Open Sans"/>
              </a:rPr>
              <a:t>BUDPEST</a:t>
            </a:r>
            <a:endParaRPr kumimoji="0" lang="en-US" sz="600" i="1" u="none" strike="noStrike" kern="1200" cap="none" spc="300" normalizeH="0" baseline="0" noProof="0" dirty="0">
              <a:ln>
                <a:noFill/>
              </a:ln>
              <a:effectLst/>
              <a:uLnTx/>
              <a:uFillTx/>
              <a:latin typeface="Open Sans"/>
            </a:endParaRP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a:p>
        </p:txBody>
      </p:sp>
      <p:sp>
        <p:nvSpPr>
          <p:cNvPr id="38" name="Rectangle 37">
            <a:extLst>
              <a:ext uri="{FF2B5EF4-FFF2-40B4-BE49-F238E27FC236}">
                <a16:creationId xmlns:a16="http://schemas.microsoft.com/office/drawing/2014/main" id="{D7615059-6B4F-F222-38A4-7C7D4098B526}"/>
              </a:ext>
            </a:extLst>
          </p:cNvPr>
          <p:cNvSpPr/>
          <p:nvPr/>
        </p:nvSpPr>
        <p:spPr>
          <a:xfrm>
            <a:off x="11270372" y="5563943"/>
            <a:ext cx="74599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i="1" spc="300" dirty="0">
                <a:solidFill>
                  <a:schemeClr val="bg1">
                    <a:lumMod val="50000"/>
                  </a:schemeClr>
                </a:solidFill>
                <a:latin typeface="Open Sans"/>
              </a:rPr>
              <a:t>+</a:t>
            </a:r>
            <a:r>
              <a:rPr lang="ro-RO" b="1" i="1" spc="300" dirty="0">
                <a:solidFill>
                  <a:schemeClr val="bg1">
                    <a:lumMod val="50000"/>
                  </a:schemeClr>
                </a:solidFill>
                <a:latin typeface="Open Sans"/>
              </a:rPr>
              <a:t>3</a:t>
            </a:r>
            <a:endParaRPr kumimoji="0" lang="en-US" b="1" i="1" u="none" strike="noStrike" kern="1200" cap="none" spc="300" normalizeH="0" baseline="0" noProof="0" dirty="0">
              <a:ln>
                <a:noFill/>
              </a:ln>
              <a:solidFill>
                <a:schemeClr val="bg1">
                  <a:lumMod val="50000"/>
                </a:schemeClr>
              </a:solidFill>
              <a:effectLst/>
              <a:uLnTx/>
              <a:uFillTx/>
              <a:latin typeface="Open Sans"/>
            </a:endParaRPr>
          </a:p>
        </p:txBody>
      </p:sp>
      <p:sp>
        <p:nvSpPr>
          <p:cNvPr id="34" name="Rectangle 33">
            <a:extLst>
              <a:ext uri="{FF2B5EF4-FFF2-40B4-BE49-F238E27FC236}">
                <a16:creationId xmlns:a16="http://schemas.microsoft.com/office/drawing/2014/main" id="{02DE62AF-4526-6392-D4BC-A7AE7B1DEFD9}"/>
              </a:ext>
            </a:extLst>
          </p:cNvPr>
          <p:cNvSpPr/>
          <p:nvPr/>
        </p:nvSpPr>
        <p:spPr>
          <a:xfrm>
            <a:off x="11159174" y="5874426"/>
            <a:ext cx="122723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800" i="1" spc="300" dirty="0">
                <a:solidFill>
                  <a:schemeClr val="bg1">
                    <a:lumMod val="50000"/>
                  </a:schemeClr>
                </a:solidFill>
                <a:latin typeface="Open Sans"/>
              </a:rPr>
              <a:t>EXPERTS IN CE REGION</a:t>
            </a:r>
            <a:endParaRPr kumimoji="0" lang="en-US" sz="800" i="1" u="none" strike="noStrike" kern="1200" cap="none" spc="300" normalizeH="0" baseline="0" noProof="0" dirty="0">
              <a:ln>
                <a:noFill/>
              </a:ln>
              <a:solidFill>
                <a:schemeClr val="bg1">
                  <a:lumMod val="50000"/>
                </a:schemeClr>
              </a:solidFill>
              <a:effectLst/>
              <a:uLnTx/>
              <a:uFillTx/>
              <a:latin typeface="Open Sans"/>
            </a:endParaRPr>
          </a:p>
        </p:txBody>
      </p:sp>
      <p:sp>
        <p:nvSpPr>
          <p:cNvPr id="4" name="Rectangle 3">
            <a:extLst>
              <a:ext uri="{FF2B5EF4-FFF2-40B4-BE49-F238E27FC236}">
                <a16:creationId xmlns:a16="http://schemas.microsoft.com/office/drawing/2014/main" id="{B88C12BF-C83A-D83A-08A4-81D19DD4007B}"/>
              </a:ext>
            </a:extLst>
          </p:cNvPr>
          <p:cNvSpPr/>
          <p:nvPr/>
        </p:nvSpPr>
        <p:spPr>
          <a:xfrm>
            <a:off x="9302968" y="2811157"/>
            <a:ext cx="2632234" cy="6463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dirty="0"/>
              <a:t>With 17 years of risk management, compliance and audit,</a:t>
            </a:r>
            <a:r>
              <a:rPr lang="hu-HU" sz="900" dirty="0"/>
              <a:t> </a:t>
            </a:r>
            <a:r>
              <a:rPr lang="en-US" sz="900" dirty="0"/>
              <a:t>Orsolya has significant experience with setting up risk and compliance department’s procedure and monitoring processes. </a:t>
            </a:r>
          </a:p>
        </p:txBody>
      </p:sp>
      <p:sp>
        <p:nvSpPr>
          <p:cNvPr id="11" name="Rectangle 10">
            <a:extLst>
              <a:ext uri="{FF2B5EF4-FFF2-40B4-BE49-F238E27FC236}">
                <a16:creationId xmlns:a16="http://schemas.microsoft.com/office/drawing/2014/main" id="{C695A72C-7C27-F987-2688-131C85183D2B}"/>
              </a:ext>
            </a:extLst>
          </p:cNvPr>
          <p:cNvSpPr/>
          <p:nvPr/>
        </p:nvSpPr>
        <p:spPr>
          <a:xfrm>
            <a:off x="9292664" y="2487749"/>
            <a:ext cx="2697252" cy="277485"/>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b="1" i="1" dirty="0"/>
              <a:t>“</a:t>
            </a:r>
            <a:r>
              <a:rPr lang="hu-HU" sz="900" b="1" i="1" dirty="0"/>
              <a:t>Risk Management: In e</a:t>
            </a:r>
            <a:r>
              <a:rPr lang="en-US" sz="900" b="1" i="1" dirty="0"/>
              <a:t>very risk there is an equal opportunity”</a:t>
            </a:r>
          </a:p>
        </p:txBody>
      </p:sp>
      <p:pic>
        <p:nvPicPr>
          <p:cNvPr id="5" name="Picture 4" descr="A picture containing person, person, smiling&#10;&#10;Description automatically generated">
            <a:extLst>
              <a:ext uri="{FF2B5EF4-FFF2-40B4-BE49-F238E27FC236}">
                <a16:creationId xmlns:a16="http://schemas.microsoft.com/office/drawing/2014/main" id="{F5DA0A07-6B58-D3DF-68D2-AB171294751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381290" y="343604"/>
            <a:ext cx="1260000" cy="1260000"/>
          </a:xfrm>
          <a:prstGeom prst="rect">
            <a:avLst/>
          </a:prstGeom>
        </p:spPr>
      </p:pic>
    </p:spTree>
    <p:extLst>
      <p:ext uri="{BB962C8B-B14F-4D97-AF65-F5344CB8AC3E}">
        <p14:creationId xmlns:p14="http://schemas.microsoft.com/office/powerpoint/2010/main" val="3295410822"/>
      </p:ext>
    </p:extLst>
  </p:cSld>
  <p:clrMapOvr>
    <a:masterClrMapping/>
  </p:clrMapOvr>
  <p:transition>
    <p:fade/>
  </p:transition>
  <p:extLst>
    <p:ext uri="{6950BFC3-D8DA-4A85-94F7-54DA5524770B}">
      <p188:commentRel xmlns:p188="http://schemas.microsoft.com/office/powerpoint/2018/8/main" r:id="rId3"/>
    </p:ext>
  </p:extLst>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0F92E1-A11C-10C8-A17E-FC5B67E5713D}"/>
              </a:ext>
            </a:extLst>
          </p:cNvPr>
          <p:cNvSpPr>
            <a:spLocks noGrp="1"/>
          </p:cNvSpPr>
          <p:nvPr>
            <p:ph type="title"/>
          </p:nvPr>
        </p:nvSpPr>
        <p:spPr>
          <a:xfrm>
            <a:off x="501650" y="317501"/>
            <a:ext cx="11188700" cy="329496"/>
          </a:xfrm>
        </p:spPr>
        <p:txBody>
          <a:bodyPr/>
          <a:lstStyle/>
          <a:p>
            <a:r>
              <a:rPr lang="en-US" dirty="0" err="1"/>
              <a:t>Methodolgy</a:t>
            </a:r>
            <a:r>
              <a:rPr lang="en-US" dirty="0"/>
              <a:t> – Risk Assessment</a:t>
            </a:r>
          </a:p>
        </p:txBody>
      </p:sp>
      <p:grpSp>
        <p:nvGrpSpPr>
          <p:cNvPr id="50" name="Group 49">
            <a:extLst>
              <a:ext uri="{FF2B5EF4-FFF2-40B4-BE49-F238E27FC236}">
                <a16:creationId xmlns:a16="http://schemas.microsoft.com/office/drawing/2014/main" id="{6810B467-D617-9D40-03AE-6719D1C3BCF2}"/>
              </a:ext>
            </a:extLst>
          </p:cNvPr>
          <p:cNvGrpSpPr/>
          <p:nvPr/>
        </p:nvGrpSpPr>
        <p:grpSpPr>
          <a:xfrm rot="5400000">
            <a:off x="-329631" y="2981605"/>
            <a:ext cx="3508618" cy="1853168"/>
            <a:chOff x="1736935" y="1546228"/>
            <a:chExt cx="8740358" cy="4616448"/>
          </a:xfrm>
        </p:grpSpPr>
        <p:sp>
          <p:nvSpPr>
            <p:cNvPr id="56" name="Freeform 21">
              <a:extLst>
                <a:ext uri="{FF2B5EF4-FFF2-40B4-BE49-F238E27FC236}">
                  <a16:creationId xmlns:a16="http://schemas.microsoft.com/office/drawing/2014/main" id="{9BB6D02D-82DF-B31A-0D93-E359AABE5EC3}"/>
                </a:ext>
              </a:extLst>
            </p:cNvPr>
            <p:cNvSpPr/>
            <p:nvPr/>
          </p:nvSpPr>
          <p:spPr bwMode="gray">
            <a:xfrm rot="10800000">
              <a:off x="4120288" y="4125763"/>
              <a:ext cx="3892254" cy="1978476"/>
            </a:xfrm>
            <a:custGeom>
              <a:avLst/>
              <a:gdLst>
                <a:gd name="connsiteX0" fmla="*/ 1243 w 2960686"/>
                <a:gd name="connsiteY0" fmla="*/ 0 h 1504949"/>
                <a:gd name="connsiteX1" fmla="*/ 2959444 w 2960686"/>
                <a:gd name="connsiteY1" fmla="*/ 0 h 1504949"/>
                <a:gd name="connsiteX2" fmla="*/ 2960686 w 2960686"/>
                <a:gd name="connsiteY2" fmla="*/ 24606 h 1504949"/>
                <a:gd name="connsiteX3" fmla="*/ 1480343 w 2960686"/>
                <a:gd name="connsiteY3" fmla="*/ 1504949 h 1504949"/>
                <a:gd name="connsiteX4" fmla="*/ 0 w 2960686"/>
                <a:gd name="connsiteY4" fmla="*/ 24606 h 150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686" h="1504949">
                  <a:moveTo>
                    <a:pt x="1243" y="0"/>
                  </a:moveTo>
                  <a:lnTo>
                    <a:pt x="2959444" y="0"/>
                  </a:lnTo>
                  <a:lnTo>
                    <a:pt x="2960686" y="24606"/>
                  </a:lnTo>
                  <a:cubicBezTo>
                    <a:pt x="2960686" y="842177"/>
                    <a:pt x="2297914" y="1504949"/>
                    <a:pt x="1480343" y="1504949"/>
                  </a:cubicBezTo>
                  <a:cubicBezTo>
                    <a:pt x="662772" y="1504949"/>
                    <a:pt x="0" y="842177"/>
                    <a:pt x="0" y="24606"/>
                  </a:cubicBezTo>
                  <a:close/>
                </a:path>
              </a:pathLst>
            </a:custGeom>
            <a:solidFill>
              <a:srgbClr val="F2F2F2"/>
            </a:solidFill>
            <a:ln w="19050" algn="ctr">
              <a:noFill/>
              <a:miter lim="800000"/>
              <a:headEnd/>
              <a:tailEnd/>
            </a:ln>
          </p:spPr>
          <p:txBody>
            <a:bodyPr wrap="square" lIns="88900" tIns="88900" rIns="88900" bIns="88900" rtlCol="0" anchor="ctr"/>
            <a:lstStyle/>
            <a:p>
              <a:pPr algn="ctr">
                <a:buFont typeface="Wingdings 2" pitchFamily="18" charset="2"/>
                <a:buNone/>
              </a:pPr>
              <a:endParaRPr lang="hu-HU" sz="1600" b="1" dirty="0">
                <a:solidFill>
                  <a:schemeClr val="bg1"/>
                </a:solidFill>
              </a:endParaRPr>
            </a:p>
          </p:txBody>
        </p:sp>
        <p:sp>
          <p:nvSpPr>
            <p:cNvPr id="57" name="Line 5">
              <a:extLst>
                <a:ext uri="{FF2B5EF4-FFF2-40B4-BE49-F238E27FC236}">
                  <a16:creationId xmlns:a16="http://schemas.microsoft.com/office/drawing/2014/main" id="{AEB92B6A-8CD3-D944-C2EA-444EAC071100}"/>
                </a:ext>
              </a:extLst>
            </p:cNvPr>
            <p:cNvSpPr>
              <a:spLocks noChangeShapeType="1"/>
            </p:cNvSpPr>
            <p:nvPr/>
          </p:nvSpPr>
          <p:spPr bwMode="auto">
            <a:xfrm>
              <a:off x="2018679" y="6104239"/>
              <a:ext cx="1362812"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58" name="Freeform 6">
              <a:extLst>
                <a:ext uri="{FF2B5EF4-FFF2-40B4-BE49-F238E27FC236}">
                  <a16:creationId xmlns:a16="http://schemas.microsoft.com/office/drawing/2014/main" id="{7895F4FF-C257-069F-B257-8397CC32722B}"/>
                </a:ext>
              </a:extLst>
            </p:cNvPr>
            <p:cNvSpPr>
              <a:spLocks/>
            </p:cNvSpPr>
            <p:nvPr/>
          </p:nvSpPr>
          <p:spPr bwMode="auto">
            <a:xfrm>
              <a:off x="1736935" y="3430789"/>
              <a:ext cx="2324919" cy="2479357"/>
            </a:xfrm>
            <a:custGeom>
              <a:avLst/>
              <a:gdLst>
                <a:gd name="T0" fmla="*/ 157 w 157"/>
                <a:gd name="T1" fmla="*/ 79 h 167"/>
                <a:gd name="T2" fmla="*/ 72 w 157"/>
                <a:gd name="T3" fmla="*/ 16 h 167"/>
                <a:gd name="T4" fmla="*/ 44 w 157"/>
                <a:gd name="T5" fmla="*/ 23 h 167"/>
                <a:gd name="T6" fmla="*/ 0 w 157"/>
                <a:gd name="T7" fmla="*/ 167 h 167"/>
              </a:gdLst>
              <a:ahLst/>
              <a:cxnLst>
                <a:cxn ang="0">
                  <a:pos x="T0" y="T1"/>
                </a:cxn>
                <a:cxn ang="0">
                  <a:pos x="T2" y="T3"/>
                </a:cxn>
                <a:cxn ang="0">
                  <a:pos x="T4" y="T5"/>
                </a:cxn>
                <a:cxn ang="0">
                  <a:pos x="T6" y="T7"/>
                </a:cxn>
              </a:cxnLst>
              <a:rect l="0" t="0" r="r" b="b"/>
              <a:pathLst>
                <a:path w="157" h="167">
                  <a:moveTo>
                    <a:pt x="157" y="79"/>
                  </a:moveTo>
                  <a:cubicBezTo>
                    <a:pt x="72" y="16"/>
                    <a:pt x="72" y="16"/>
                    <a:pt x="72" y="16"/>
                  </a:cubicBezTo>
                  <a:cubicBezTo>
                    <a:pt x="72" y="16"/>
                    <a:pt x="58" y="0"/>
                    <a:pt x="44" y="23"/>
                  </a:cubicBezTo>
                  <a:cubicBezTo>
                    <a:pt x="44" y="23"/>
                    <a:pt x="4" y="80"/>
                    <a:pt x="0" y="167"/>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59" name="Freeform 7">
              <a:extLst>
                <a:ext uri="{FF2B5EF4-FFF2-40B4-BE49-F238E27FC236}">
                  <a16:creationId xmlns:a16="http://schemas.microsoft.com/office/drawing/2014/main" id="{3D351D65-0552-F40C-B26A-962896D22E1F}"/>
                </a:ext>
              </a:extLst>
            </p:cNvPr>
            <p:cNvSpPr>
              <a:spLocks/>
            </p:cNvSpPr>
            <p:nvPr/>
          </p:nvSpPr>
          <p:spPr bwMode="auto">
            <a:xfrm>
              <a:off x="2684433" y="1886409"/>
              <a:ext cx="2652578" cy="1811517"/>
            </a:xfrm>
            <a:custGeom>
              <a:avLst/>
              <a:gdLst>
                <a:gd name="T0" fmla="*/ 179 w 179"/>
                <a:gd name="T1" fmla="*/ 122 h 122"/>
                <a:gd name="T2" fmla="*/ 147 w 179"/>
                <a:gd name="T3" fmla="*/ 21 h 122"/>
                <a:gd name="T4" fmla="*/ 121 w 179"/>
                <a:gd name="T5" fmla="*/ 10 h 122"/>
                <a:gd name="T6" fmla="*/ 0 w 179"/>
                <a:gd name="T7" fmla="*/ 100 h 122"/>
              </a:gdLst>
              <a:ahLst/>
              <a:cxnLst>
                <a:cxn ang="0">
                  <a:pos x="T0" y="T1"/>
                </a:cxn>
                <a:cxn ang="0">
                  <a:pos x="T2" y="T3"/>
                </a:cxn>
                <a:cxn ang="0">
                  <a:pos x="T4" y="T5"/>
                </a:cxn>
                <a:cxn ang="0">
                  <a:pos x="T6" y="T7"/>
                </a:cxn>
              </a:cxnLst>
              <a:rect l="0" t="0" r="r" b="b"/>
              <a:pathLst>
                <a:path w="179" h="122">
                  <a:moveTo>
                    <a:pt x="179" y="122"/>
                  </a:moveTo>
                  <a:cubicBezTo>
                    <a:pt x="147" y="21"/>
                    <a:pt x="147" y="21"/>
                    <a:pt x="147" y="21"/>
                  </a:cubicBezTo>
                  <a:cubicBezTo>
                    <a:pt x="147" y="21"/>
                    <a:pt x="146" y="0"/>
                    <a:pt x="121" y="10"/>
                  </a:cubicBezTo>
                  <a:cubicBezTo>
                    <a:pt x="121" y="10"/>
                    <a:pt x="54" y="32"/>
                    <a:pt x="0" y="10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0" name="Freeform 8">
              <a:extLst>
                <a:ext uri="{FF2B5EF4-FFF2-40B4-BE49-F238E27FC236}">
                  <a16:creationId xmlns:a16="http://schemas.microsoft.com/office/drawing/2014/main" id="{5CF41C32-68B0-1C2E-CCD5-17BAEBD82489}"/>
                </a:ext>
              </a:extLst>
            </p:cNvPr>
            <p:cNvSpPr>
              <a:spLocks/>
            </p:cNvSpPr>
            <p:nvPr/>
          </p:nvSpPr>
          <p:spPr bwMode="auto">
            <a:xfrm>
              <a:off x="4950916" y="1546228"/>
              <a:ext cx="2608751" cy="2137089"/>
            </a:xfrm>
            <a:custGeom>
              <a:avLst/>
              <a:gdLst>
                <a:gd name="T0" fmla="*/ 135 w 176"/>
                <a:gd name="T1" fmla="*/ 144 h 144"/>
                <a:gd name="T2" fmla="*/ 166 w 176"/>
                <a:gd name="T3" fmla="*/ 43 h 144"/>
                <a:gd name="T4" fmla="*/ 151 w 176"/>
                <a:gd name="T5" fmla="*/ 19 h 144"/>
                <a:gd name="T6" fmla="*/ 0 w 176"/>
                <a:gd name="T7" fmla="*/ 25 h 144"/>
              </a:gdLst>
              <a:ahLst/>
              <a:cxnLst>
                <a:cxn ang="0">
                  <a:pos x="T0" y="T1"/>
                </a:cxn>
                <a:cxn ang="0">
                  <a:pos x="T2" y="T3"/>
                </a:cxn>
                <a:cxn ang="0">
                  <a:pos x="T4" y="T5"/>
                </a:cxn>
                <a:cxn ang="0">
                  <a:pos x="T6" y="T7"/>
                </a:cxn>
              </a:cxnLst>
              <a:rect l="0" t="0" r="r" b="b"/>
              <a:pathLst>
                <a:path w="176" h="144">
                  <a:moveTo>
                    <a:pt x="135" y="144"/>
                  </a:moveTo>
                  <a:cubicBezTo>
                    <a:pt x="166" y="43"/>
                    <a:pt x="166" y="43"/>
                    <a:pt x="166" y="43"/>
                  </a:cubicBezTo>
                  <a:cubicBezTo>
                    <a:pt x="166" y="43"/>
                    <a:pt x="176" y="25"/>
                    <a:pt x="151" y="19"/>
                  </a:cubicBezTo>
                  <a:cubicBezTo>
                    <a:pt x="151" y="19"/>
                    <a:pt x="83" y="0"/>
                    <a:pt x="0" y="25"/>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1" name="Freeform 9">
              <a:extLst>
                <a:ext uri="{FF2B5EF4-FFF2-40B4-BE49-F238E27FC236}">
                  <a16:creationId xmlns:a16="http://schemas.microsoft.com/office/drawing/2014/main" id="{DA85E91D-ABD5-77D1-E77E-E578F2AE02EC}"/>
                </a:ext>
              </a:extLst>
            </p:cNvPr>
            <p:cNvSpPr>
              <a:spLocks/>
            </p:cNvSpPr>
            <p:nvPr/>
          </p:nvSpPr>
          <p:spPr bwMode="auto">
            <a:xfrm>
              <a:off x="7618102" y="2019978"/>
              <a:ext cx="2043174" cy="2644231"/>
            </a:xfrm>
            <a:custGeom>
              <a:avLst/>
              <a:gdLst>
                <a:gd name="T0" fmla="*/ 32 w 138"/>
                <a:gd name="T1" fmla="*/ 178 h 178"/>
                <a:gd name="T2" fmla="*/ 119 w 138"/>
                <a:gd name="T3" fmla="*/ 117 h 178"/>
                <a:gd name="T4" fmla="*/ 122 w 138"/>
                <a:gd name="T5" fmla="*/ 89 h 178"/>
                <a:gd name="T6" fmla="*/ 0 w 138"/>
                <a:gd name="T7" fmla="*/ 0 h 178"/>
              </a:gdLst>
              <a:ahLst/>
              <a:cxnLst>
                <a:cxn ang="0">
                  <a:pos x="T0" y="T1"/>
                </a:cxn>
                <a:cxn ang="0">
                  <a:pos x="T2" y="T3"/>
                </a:cxn>
                <a:cxn ang="0">
                  <a:pos x="T4" y="T5"/>
                </a:cxn>
                <a:cxn ang="0">
                  <a:pos x="T6" y="T7"/>
                </a:cxn>
              </a:cxnLst>
              <a:rect l="0" t="0" r="r" b="b"/>
              <a:pathLst>
                <a:path w="138" h="178">
                  <a:moveTo>
                    <a:pt x="32" y="178"/>
                  </a:moveTo>
                  <a:cubicBezTo>
                    <a:pt x="119" y="117"/>
                    <a:pt x="119" y="117"/>
                    <a:pt x="119" y="117"/>
                  </a:cubicBezTo>
                  <a:cubicBezTo>
                    <a:pt x="119" y="117"/>
                    <a:pt x="138" y="109"/>
                    <a:pt x="122" y="89"/>
                  </a:cubicBezTo>
                  <a:cubicBezTo>
                    <a:pt x="122" y="89"/>
                    <a:pt x="81" y="32"/>
                    <a:pt x="0" y="0"/>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2" name="Freeform 10">
              <a:extLst>
                <a:ext uri="{FF2B5EF4-FFF2-40B4-BE49-F238E27FC236}">
                  <a16:creationId xmlns:a16="http://schemas.microsoft.com/office/drawing/2014/main" id="{E1DC59C7-1AE7-899F-FE01-C78889EBD0A3}"/>
                </a:ext>
              </a:extLst>
            </p:cNvPr>
            <p:cNvSpPr>
              <a:spLocks/>
            </p:cNvSpPr>
            <p:nvPr/>
          </p:nvSpPr>
          <p:spPr bwMode="auto">
            <a:xfrm>
              <a:off x="3826023" y="4751863"/>
              <a:ext cx="415314" cy="1158286"/>
            </a:xfrm>
            <a:custGeom>
              <a:avLst/>
              <a:gdLst>
                <a:gd name="T0" fmla="*/ 0 w 28"/>
                <a:gd name="T1" fmla="*/ 78 h 78"/>
                <a:gd name="T2" fmla="*/ 28 w 28"/>
                <a:gd name="T3" fmla="*/ 0 h 78"/>
              </a:gdLst>
              <a:ahLst/>
              <a:cxnLst>
                <a:cxn ang="0">
                  <a:pos x="T0" y="T1"/>
                </a:cxn>
                <a:cxn ang="0">
                  <a:pos x="T2" y="T3"/>
                </a:cxn>
              </a:cxnLst>
              <a:rect l="0" t="0" r="r" b="b"/>
              <a:pathLst>
                <a:path w="28" h="78">
                  <a:moveTo>
                    <a:pt x="0" y="78"/>
                  </a:moveTo>
                  <a:cubicBezTo>
                    <a:pt x="0" y="78"/>
                    <a:pt x="2" y="35"/>
                    <a:pt x="28"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3" name="Freeform 11">
              <a:extLst>
                <a:ext uri="{FF2B5EF4-FFF2-40B4-BE49-F238E27FC236}">
                  <a16:creationId xmlns:a16="http://schemas.microsoft.com/office/drawing/2014/main" id="{F92B5C4D-4FF4-3CE3-C5B2-DA059D588632}"/>
                </a:ext>
              </a:extLst>
            </p:cNvPr>
            <p:cNvSpPr>
              <a:spLocks/>
            </p:cNvSpPr>
            <p:nvPr/>
          </p:nvSpPr>
          <p:spPr bwMode="auto">
            <a:xfrm>
              <a:off x="8594819" y="3668709"/>
              <a:ext cx="1882474" cy="2493967"/>
            </a:xfrm>
            <a:custGeom>
              <a:avLst/>
              <a:gdLst>
                <a:gd name="T0" fmla="*/ 0 w 127"/>
                <a:gd name="T1" fmla="*/ 165 h 168"/>
                <a:gd name="T2" fmla="*/ 107 w 127"/>
                <a:gd name="T3" fmla="*/ 164 h 168"/>
                <a:gd name="T4" fmla="*/ 125 w 127"/>
                <a:gd name="T5" fmla="*/ 142 h 168"/>
                <a:gd name="T6" fmla="*/ 74 w 127"/>
                <a:gd name="T7" fmla="*/ 0 h 168"/>
              </a:gdLst>
              <a:ahLst/>
              <a:cxnLst>
                <a:cxn ang="0">
                  <a:pos x="T0" y="T1"/>
                </a:cxn>
                <a:cxn ang="0">
                  <a:pos x="T2" y="T3"/>
                </a:cxn>
                <a:cxn ang="0">
                  <a:pos x="T4" y="T5"/>
                </a:cxn>
                <a:cxn ang="0">
                  <a:pos x="T6" y="T7"/>
                </a:cxn>
              </a:cxnLst>
              <a:rect l="0" t="0" r="r" b="b"/>
              <a:pathLst>
                <a:path w="127" h="168">
                  <a:moveTo>
                    <a:pt x="0" y="165"/>
                  </a:moveTo>
                  <a:cubicBezTo>
                    <a:pt x="107" y="164"/>
                    <a:pt x="107" y="164"/>
                    <a:pt x="107" y="164"/>
                  </a:cubicBezTo>
                  <a:cubicBezTo>
                    <a:pt x="107" y="164"/>
                    <a:pt x="127" y="168"/>
                    <a:pt x="125" y="142"/>
                  </a:cubicBezTo>
                  <a:cubicBezTo>
                    <a:pt x="125" y="142"/>
                    <a:pt x="123" y="72"/>
                    <a:pt x="74" y="0"/>
                  </a:cubicBezTo>
                </a:path>
              </a:pathLst>
            </a:custGeom>
            <a:noFill/>
            <a:ln w="190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5" name="Freeform 12">
              <a:extLst>
                <a:ext uri="{FF2B5EF4-FFF2-40B4-BE49-F238E27FC236}">
                  <a16:creationId xmlns:a16="http://schemas.microsoft.com/office/drawing/2014/main" id="{BA9F63D3-CF45-F45B-0472-438B29E3B25C}"/>
                </a:ext>
              </a:extLst>
            </p:cNvPr>
            <p:cNvSpPr>
              <a:spLocks/>
            </p:cNvSpPr>
            <p:nvPr/>
          </p:nvSpPr>
          <p:spPr bwMode="auto">
            <a:xfrm>
              <a:off x="8018806" y="4916736"/>
              <a:ext cx="413226" cy="1156199"/>
            </a:xfrm>
            <a:custGeom>
              <a:avLst/>
              <a:gdLst>
                <a:gd name="T0" fmla="*/ 28 w 28"/>
                <a:gd name="T1" fmla="*/ 78 h 78"/>
                <a:gd name="T2" fmla="*/ 0 w 28"/>
                <a:gd name="T3" fmla="*/ 0 h 78"/>
              </a:gdLst>
              <a:ahLst/>
              <a:cxnLst>
                <a:cxn ang="0">
                  <a:pos x="T0" y="T1"/>
                </a:cxn>
                <a:cxn ang="0">
                  <a:pos x="T2" y="T3"/>
                </a:cxn>
              </a:cxnLst>
              <a:rect l="0" t="0" r="r" b="b"/>
              <a:pathLst>
                <a:path w="28" h="78">
                  <a:moveTo>
                    <a:pt x="28" y="78"/>
                  </a:moveTo>
                  <a:cubicBezTo>
                    <a:pt x="28" y="78"/>
                    <a:pt x="26" y="35"/>
                    <a:pt x="0" y="0"/>
                  </a:cubicBezTo>
                </a:path>
              </a:pathLst>
            </a:custGeom>
            <a:noFill/>
            <a:ln w="190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6" name="Freeform 13">
              <a:extLst>
                <a:ext uri="{FF2B5EF4-FFF2-40B4-BE49-F238E27FC236}">
                  <a16:creationId xmlns:a16="http://schemas.microsoft.com/office/drawing/2014/main" id="{08358B82-919C-A665-F39E-ABD08061C82E}"/>
                </a:ext>
              </a:extLst>
            </p:cNvPr>
            <p:cNvSpPr>
              <a:spLocks/>
            </p:cNvSpPr>
            <p:nvPr/>
          </p:nvSpPr>
          <p:spPr bwMode="auto">
            <a:xfrm>
              <a:off x="4358208" y="3935845"/>
              <a:ext cx="1022630" cy="682450"/>
            </a:xfrm>
            <a:custGeom>
              <a:avLst/>
              <a:gdLst>
                <a:gd name="T0" fmla="*/ 0 w 69"/>
                <a:gd name="T1" fmla="*/ 46 h 46"/>
                <a:gd name="T2" fmla="*/ 69 w 69"/>
                <a:gd name="T3" fmla="*/ 0 h 46"/>
              </a:gdLst>
              <a:ahLst/>
              <a:cxnLst>
                <a:cxn ang="0">
                  <a:pos x="T0" y="T1"/>
                </a:cxn>
                <a:cxn ang="0">
                  <a:pos x="T2" y="T3"/>
                </a:cxn>
              </a:cxnLst>
              <a:rect l="0" t="0" r="r" b="b"/>
              <a:pathLst>
                <a:path w="69" h="46">
                  <a:moveTo>
                    <a:pt x="0" y="46"/>
                  </a:moveTo>
                  <a:cubicBezTo>
                    <a:pt x="0" y="46"/>
                    <a:pt x="27" y="12"/>
                    <a:pt x="69" y="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7" name="Freeform 14">
              <a:extLst>
                <a:ext uri="{FF2B5EF4-FFF2-40B4-BE49-F238E27FC236}">
                  <a16:creationId xmlns:a16="http://schemas.microsoft.com/office/drawing/2014/main" id="{B8EAC13F-D5AF-2FB3-951D-4326BCD95AA6}"/>
                </a:ext>
              </a:extLst>
            </p:cNvPr>
            <p:cNvSpPr>
              <a:spLocks/>
            </p:cNvSpPr>
            <p:nvPr/>
          </p:nvSpPr>
          <p:spPr bwMode="auto">
            <a:xfrm>
              <a:off x="5618756" y="3697926"/>
              <a:ext cx="1214634" cy="208700"/>
            </a:xfrm>
            <a:custGeom>
              <a:avLst/>
              <a:gdLst>
                <a:gd name="T0" fmla="*/ 0 w 82"/>
                <a:gd name="T1" fmla="*/ 11 h 14"/>
                <a:gd name="T2" fmla="*/ 82 w 82"/>
                <a:gd name="T3" fmla="*/ 14 h 14"/>
              </a:gdLst>
              <a:ahLst/>
              <a:cxnLst>
                <a:cxn ang="0">
                  <a:pos x="T0" y="T1"/>
                </a:cxn>
                <a:cxn ang="0">
                  <a:pos x="T2" y="T3"/>
                </a:cxn>
              </a:cxnLst>
              <a:rect l="0" t="0" r="r" b="b"/>
              <a:pathLst>
                <a:path w="82" h="14">
                  <a:moveTo>
                    <a:pt x="0" y="11"/>
                  </a:moveTo>
                  <a:cubicBezTo>
                    <a:pt x="0" y="11"/>
                    <a:pt x="42" y="0"/>
                    <a:pt x="82" y="14"/>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8" name="Freeform 15">
              <a:extLst>
                <a:ext uri="{FF2B5EF4-FFF2-40B4-BE49-F238E27FC236}">
                  <a16:creationId xmlns:a16="http://schemas.microsoft.com/office/drawing/2014/main" id="{ED13B306-2E62-807C-904B-9C51DE1E7DF0}"/>
                </a:ext>
              </a:extLst>
            </p:cNvPr>
            <p:cNvSpPr>
              <a:spLocks/>
            </p:cNvSpPr>
            <p:nvPr/>
          </p:nvSpPr>
          <p:spPr bwMode="auto">
            <a:xfrm>
              <a:off x="6981567" y="3996369"/>
              <a:ext cx="962108" cy="755494"/>
            </a:xfrm>
            <a:custGeom>
              <a:avLst/>
              <a:gdLst>
                <a:gd name="T0" fmla="*/ 0 w 65"/>
                <a:gd name="T1" fmla="*/ 0 h 51"/>
                <a:gd name="T2" fmla="*/ 65 w 65"/>
                <a:gd name="T3" fmla="*/ 51 h 51"/>
              </a:gdLst>
              <a:ahLst/>
              <a:cxnLst>
                <a:cxn ang="0">
                  <a:pos x="T0" y="T1"/>
                </a:cxn>
                <a:cxn ang="0">
                  <a:pos x="T2" y="T3"/>
                </a:cxn>
              </a:cxnLst>
              <a:rect l="0" t="0" r="r" b="b"/>
              <a:pathLst>
                <a:path w="65" h="51">
                  <a:moveTo>
                    <a:pt x="0" y="0"/>
                  </a:moveTo>
                  <a:cubicBezTo>
                    <a:pt x="0" y="0"/>
                    <a:pt x="40" y="15"/>
                    <a:pt x="65" y="51"/>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dirty="0"/>
            </a:p>
          </p:txBody>
        </p:sp>
        <p:sp>
          <p:nvSpPr>
            <p:cNvPr id="69" name="Freeform 207">
              <a:extLst>
                <a:ext uri="{FF2B5EF4-FFF2-40B4-BE49-F238E27FC236}">
                  <a16:creationId xmlns:a16="http://schemas.microsoft.com/office/drawing/2014/main" id="{E49DAF89-8285-367E-BADB-33816F30880B}"/>
                </a:ext>
              </a:extLst>
            </p:cNvPr>
            <p:cNvSpPr>
              <a:spLocks noChangeAspect="1" noEditPoints="1"/>
            </p:cNvSpPr>
            <p:nvPr/>
          </p:nvSpPr>
          <p:spPr bwMode="auto">
            <a:xfrm rot="16200000">
              <a:off x="2488173" y="4788038"/>
              <a:ext cx="723388" cy="721267"/>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70" name="Freeform 404">
              <a:extLst>
                <a:ext uri="{FF2B5EF4-FFF2-40B4-BE49-F238E27FC236}">
                  <a16:creationId xmlns:a16="http://schemas.microsoft.com/office/drawing/2014/main" id="{DF749508-D8CD-5D52-2966-EA4A774558FE}"/>
                </a:ext>
              </a:extLst>
            </p:cNvPr>
            <p:cNvSpPr>
              <a:spLocks noChangeAspect="1" noEditPoints="1"/>
            </p:cNvSpPr>
            <p:nvPr/>
          </p:nvSpPr>
          <p:spPr bwMode="auto">
            <a:xfrm rot="16200000">
              <a:off x="3703308" y="3058799"/>
              <a:ext cx="721267" cy="72126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71" name="Freeform 486">
              <a:extLst>
                <a:ext uri="{FF2B5EF4-FFF2-40B4-BE49-F238E27FC236}">
                  <a16:creationId xmlns:a16="http://schemas.microsoft.com/office/drawing/2014/main" id="{D5BC7E3F-3CED-47C4-1E11-CB1622D5B0FB}"/>
                </a:ext>
              </a:extLst>
            </p:cNvPr>
            <p:cNvSpPr>
              <a:spLocks noChangeAspect="1" noEditPoints="1"/>
            </p:cNvSpPr>
            <p:nvPr/>
          </p:nvSpPr>
          <p:spPr bwMode="auto">
            <a:xfrm rot="16200000">
              <a:off x="5808118" y="2300107"/>
              <a:ext cx="721267" cy="72126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72" name="Freeform 393">
              <a:extLst>
                <a:ext uri="{FF2B5EF4-FFF2-40B4-BE49-F238E27FC236}">
                  <a16:creationId xmlns:a16="http://schemas.microsoft.com/office/drawing/2014/main" id="{6369CDDA-916F-9F49-1E00-F913C3EC343B}"/>
                </a:ext>
              </a:extLst>
            </p:cNvPr>
            <p:cNvSpPr>
              <a:spLocks noChangeAspect="1" noEditPoints="1"/>
            </p:cNvSpPr>
            <p:nvPr/>
          </p:nvSpPr>
          <p:spPr bwMode="auto">
            <a:xfrm rot="16200000">
              <a:off x="7746884" y="3059855"/>
              <a:ext cx="719153" cy="721267"/>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73" name="Freeform 198">
              <a:extLst>
                <a:ext uri="{FF2B5EF4-FFF2-40B4-BE49-F238E27FC236}">
                  <a16:creationId xmlns:a16="http://schemas.microsoft.com/office/drawing/2014/main" id="{ECA33F3F-7D08-460A-D4DB-644EB02CFFA8}"/>
                </a:ext>
              </a:extLst>
            </p:cNvPr>
            <p:cNvSpPr>
              <a:spLocks noChangeAspect="1" noEditPoints="1"/>
            </p:cNvSpPr>
            <p:nvPr/>
          </p:nvSpPr>
          <p:spPr bwMode="auto">
            <a:xfrm rot="16200000">
              <a:off x="8893063" y="4785919"/>
              <a:ext cx="719151" cy="721267"/>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hu-HU" dirty="0"/>
            </a:p>
          </p:txBody>
        </p:sp>
      </p:grpSp>
      <p:sp>
        <p:nvSpPr>
          <p:cNvPr id="52" name="TextBox 51">
            <a:extLst>
              <a:ext uri="{FF2B5EF4-FFF2-40B4-BE49-F238E27FC236}">
                <a16:creationId xmlns:a16="http://schemas.microsoft.com/office/drawing/2014/main" id="{D68DA9F1-56DD-6EDF-DA4A-E03B25B1F080}"/>
              </a:ext>
            </a:extLst>
          </p:cNvPr>
          <p:cNvSpPr txBox="1"/>
          <p:nvPr/>
        </p:nvSpPr>
        <p:spPr>
          <a:xfrm>
            <a:off x="1130328" y="5661328"/>
            <a:ext cx="3206002" cy="276999"/>
          </a:xfrm>
          <a:prstGeom prst="rect">
            <a:avLst/>
          </a:prstGeom>
          <a:solidFill>
            <a:schemeClr val="bg1"/>
          </a:solidFill>
        </p:spPr>
        <p:txBody>
          <a:bodyPr wrap="square">
            <a:spAutoFit/>
          </a:bodyPr>
          <a:lstStyle/>
          <a:p>
            <a:r>
              <a:rPr lang="en-US" sz="1200" b="1" dirty="0"/>
              <a:t>Gap identification and recommendation</a:t>
            </a:r>
          </a:p>
        </p:txBody>
      </p:sp>
      <p:sp>
        <p:nvSpPr>
          <p:cNvPr id="15" name="TextBox 14">
            <a:extLst>
              <a:ext uri="{FF2B5EF4-FFF2-40B4-BE49-F238E27FC236}">
                <a16:creationId xmlns:a16="http://schemas.microsoft.com/office/drawing/2014/main" id="{E9FA8E15-C599-4066-BE03-DFFA59B8F33E}"/>
              </a:ext>
            </a:extLst>
          </p:cNvPr>
          <p:cNvSpPr txBox="1"/>
          <p:nvPr/>
        </p:nvSpPr>
        <p:spPr>
          <a:xfrm>
            <a:off x="1144407" y="1988501"/>
            <a:ext cx="3820331" cy="276999"/>
          </a:xfrm>
          <a:prstGeom prst="rect">
            <a:avLst/>
          </a:prstGeom>
          <a:noFill/>
        </p:spPr>
        <p:txBody>
          <a:bodyPr wrap="square">
            <a:spAutoFit/>
          </a:bodyPr>
          <a:lstStyle/>
          <a:p>
            <a:r>
              <a:rPr lang="en-US" sz="1200" b="1" dirty="0"/>
              <a:t>Review of currently used risk assessment methodology</a:t>
            </a:r>
          </a:p>
        </p:txBody>
      </p:sp>
      <p:sp>
        <p:nvSpPr>
          <p:cNvPr id="54" name="TextBox 53">
            <a:extLst>
              <a:ext uri="{FF2B5EF4-FFF2-40B4-BE49-F238E27FC236}">
                <a16:creationId xmlns:a16="http://schemas.microsoft.com/office/drawing/2014/main" id="{4D83E168-0C88-CE9A-0AEF-43D5BF71D86B}"/>
              </a:ext>
            </a:extLst>
          </p:cNvPr>
          <p:cNvSpPr txBox="1"/>
          <p:nvPr/>
        </p:nvSpPr>
        <p:spPr>
          <a:xfrm>
            <a:off x="2050776" y="2706071"/>
            <a:ext cx="2688775" cy="461665"/>
          </a:xfrm>
          <a:prstGeom prst="rect">
            <a:avLst/>
          </a:prstGeom>
          <a:noFill/>
        </p:spPr>
        <p:txBody>
          <a:bodyPr wrap="square">
            <a:spAutoFit/>
          </a:bodyPr>
          <a:lstStyle/>
          <a:p>
            <a:r>
              <a:rPr lang="en-US" sz="1200" b="1" dirty="0"/>
              <a:t>Identify and assess the control environment</a:t>
            </a:r>
          </a:p>
        </p:txBody>
      </p:sp>
      <p:sp>
        <p:nvSpPr>
          <p:cNvPr id="45" name="Text Placeholder 1">
            <a:extLst>
              <a:ext uri="{FF2B5EF4-FFF2-40B4-BE49-F238E27FC236}">
                <a16:creationId xmlns:a16="http://schemas.microsoft.com/office/drawing/2014/main" id="{640C20EF-A74D-52F2-FE74-61E5DCEEC0B8}"/>
              </a:ext>
            </a:extLst>
          </p:cNvPr>
          <p:cNvSpPr>
            <a:spLocks noGrp="1"/>
          </p:cNvSpPr>
          <p:nvPr>
            <p:ph type="body" sz="quarter" idx="13"/>
          </p:nvPr>
        </p:nvSpPr>
        <p:spPr>
          <a:xfrm>
            <a:off x="501650" y="647813"/>
            <a:ext cx="11188700" cy="764828"/>
          </a:xfrm>
        </p:spPr>
        <p:txBody>
          <a:bodyPr/>
          <a:lstStyle/>
          <a:p>
            <a:r>
              <a:rPr lang="en-US" dirty="0"/>
              <a:t>Deloitte team delivers different risk assessment projects within different sectors. Our methodology is already </a:t>
            </a:r>
            <a:r>
              <a:rPr lang="hu-HU" dirty="0" err="1"/>
              <a:t>well</a:t>
            </a:r>
            <a:r>
              <a:rPr lang="hu-HU" dirty="0"/>
              <a:t> </a:t>
            </a:r>
            <a:r>
              <a:rPr lang="en-US" dirty="0"/>
              <a:t>proven</a:t>
            </a:r>
            <a:r>
              <a:rPr lang="hu-HU" dirty="0"/>
              <a:t>.</a:t>
            </a:r>
            <a:endParaRPr lang="en-US" dirty="0"/>
          </a:p>
        </p:txBody>
      </p:sp>
      <p:sp>
        <p:nvSpPr>
          <p:cNvPr id="89" name="TextBox 88">
            <a:extLst>
              <a:ext uri="{FF2B5EF4-FFF2-40B4-BE49-F238E27FC236}">
                <a16:creationId xmlns:a16="http://schemas.microsoft.com/office/drawing/2014/main" id="{482919EC-5B59-FF14-F53C-D660B09E8EC5}"/>
              </a:ext>
            </a:extLst>
          </p:cNvPr>
          <p:cNvSpPr txBox="1"/>
          <p:nvPr/>
        </p:nvSpPr>
        <p:spPr>
          <a:xfrm>
            <a:off x="2151147" y="4708544"/>
            <a:ext cx="2333250" cy="276999"/>
          </a:xfrm>
          <a:prstGeom prst="rect">
            <a:avLst/>
          </a:prstGeom>
          <a:solidFill>
            <a:schemeClr val="bg1"/>
          </a:solidFill>
        </p:spPr>
        <p:txBody>
          <a:bodyPr wrap="square">
            <a:spAutoFit/>
          </a:bodyPr>
          <a:lstStyle/>
          <a:p>
            <a:r>
              <a:rPr lang="en-US" sz="1200" b="1" dirty="0"/>
              <a:t>Develop risk map</a:t>
            </a:r>
          </a:p>
        </p:txBody>
      </p:sp>
      <p:sp>
        <p:nvSpPr>
          <p:cNvPr id="55" name="TextBox 54">
            <a:extLst>
              <a:ext uri="{FF2B5EF4-FFF2-40B4-BE49-F238E27FC236}">
                <a16:creationId xmlns:a16="http://schemas.microsoft.com/office/drawing/2014/main" id="{9C0B8851-E0B2-DEF5-BC7C-C85E90271E83}"/>
              </a:ext>
            </a:extLst>
          </p:cNvPr>
          <p:cNvSpPr txBox="1"/>
          <p:nvPr/>
        </p:nvSpPr>
        <p:spPr>
          <a:xfrm>
            <a:off x="2398441" y="3684366"/>
            <a:ext cx="2745043" cy="276999"/>
          </a:xfrm>
          <a:prstGeom prst="rect">
            <a:avLst/>
          </a:prstGeom>
          <a:noFill/>
        </p:spPr>
        <p:txBody>
          <a:bodyPr wrap="square">
            <a:spAutoFit/>
          </a:bodyPr>
          <a:lstStyle/>
          <a:p>
            <a:r>
              <a:rPr lang="en-US" sz="1200" b="1" dirty="0"/>
              <a:t>Interviews with responsible parties</a:t>
            </a:r>
          </a:p>
        </p:txBody>
      </p:sp>
      <p:sp>
        <p:nvSpPr>
          <p:cNvPr id="4" name="Freeform 207">
            <a:extLst>
              <a:ext uri="{FF2B5EF4-FFF2-40B4-BE49-F238E27FC236}">
                <a16:creationId xmlns:a16="http://schemas.microsoft.com/office/drawing/2014/main" id="{6681D041-9C20-0773-9516-E437A1AB8AC1}"/>
              </a:ext>
            </a:extLst>
          </p:cNvPr>
          <p:cNvSpPr>
            <a:spLocks noChangeAspect="1" noEditPoints="1"/>
          </p:cNvSpPr>
          <p:nvPr/>
        </p:nvSpPr>
        <p:spPr bwMode="auto">
          <a:xfrm>
            <a:off x="5509679" y="2009111"/>
            <a:ext cx="290388" cy="289536"/>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17" name="Freeform 404">
            <a:extLst>
              <a:ext uri="{FF2B5EF4-FFF2-40B4-BE49-F238E27FC236}">
                <a16:creationId xmlns:a16="http://schemas.microsoft.com/office/drawing/2014/main" id="{7ADDFECA-8DD7-46AD-567F-A3ED3AA10C05}"/>
              </a:ext>
            </a:extLst>
          </p:cNvPr>
          <p:cNvSpPr>
            <a:spLocks noChangeAspect="1" noEditPoints="1"/>
          </p:cNvSpPr>
          <p:nvPr/>
        </p:nvSpPr>
        <p:spPr bwMode="auto">
          <a:xfrm>
            <a:off x="5499874" y="2777104"/>
            <a:ext cx="289536" cy="2895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38" name="Freeform 486">
            <a:extLst>
              <a:ext uri="{FF2B5EF4-FFF2-40B4-BE49-F238E27FC236}">
                <a16:creationId xmlns:a16="http://schemas.microsoft.com/office/drawing/2014/main" id="{75DB59D8-333C-BD78-F592-051B1AC277D5}"/>
              </a:ext>
            </a:extLst>
          </p:cNvPr>
          <p:cNvSpPr>
            <a:spLocks noChangeAspect="1" noEditPoints="1"/>
          </p:cNvSpPr>
          <p:nvPr/>
        </p:nvSpPr>
        <p:spPr bwMode="auto">
          <a:xfrm>
            <a:off x="5499874" y="3712148"/>
            <a:ext cx="289536" cy="2895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39" name="Freeform 393">
            <a:extLst>
              <a:ext uri="{FF2B5EF4-FFF2-40B4-BE49-F238E27FC236}">
                <a16:creationId xmlns:a16="http://schemas.microsoft.com/office/drawing/2014/main" id="{BB25D415-E23D-4D53-E204-05FE05B55BAB}"/>
              </a:ext>
            </a:extLst>
          </p:cNvPr>
          <p:cNvSpPr>
            <a:spLocks noChangeAspect="1" noEditPoints="1"/>
          </p:cNvSpPr>
          <p:nvPr/>
        </p:nvSpPr>
        <p:spPr bwMode="auto">
          <a:xfrm>
            <a:off x="5500298" y="4626615"/>
            <a:ext cx="288688" cy="28953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40" name="Freeform 198">
            <a:extLst>
              <a:ext uri="{FF2B5EF4-FFF2-40B4-BE49-F238E27FC236}">
                <a16:creationId xmlns:a16="http://schemas.microsoft.com/office/drawing/2014/main" id="{6948571B-6367-9741-5E70-B7586EAA4037}"/>
              </a:ext>
            </a:extLst>
          </p:cNvPr>
          <p:cNvSpPr>
            <a:spLocks noChangeAspect="1" noEditPoints="1"/>
          </p:cNvSpPr>
          <p:nvPr/>
        </p:nvSpPr>
        <p:spPr bwMode="auto">
          <a:xfrm>
            <a:off x="5511380" y="5396314"/>
            <a:ext cx="288687" cy="289536"/>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hu-HU" dirty="0"/>
          </a:p>
        </p:txBody>
      </p:sp>
      <p:sp>
        <p:nvSpPr>
          <p:cNvPr id="42" name="TextBox 41">
            <a:extLst>
              <a:ext uri="{FF2B5EF4-FFF2-40B4-BE49-F238E27FC236}">
                <a16:creationId xmlns:a16="http://schemas.microsoft.com/office/drawing/2014/main" id="{E7532F5D-D32A-15A8-0F91-9002001998D2}"/>
              </a:ext>
            </a:extLst>
          </p:cNvPr>
          <p:cNvSpPr txBox="1"/>
          <p:nvPr/>
        </p:nvSpPr>
        <p:spPr>
          <a:xfrm>
            <a:off x="5894667" y="1989979"/>
            <a:ext cx="5068706" cy="461665"/>
          </a:xfrm>
          <a:prstGeom prst="rect">
            <a:avLst/>
          </a:prstGeom>
          <a:noFill/>
        </p:spPr>
        <p:txBody>
          <a:bodyPr wrap="square">
            <a:spAutoFit/>
          </a:bodyPr>
          <a:lstStyle/>
          <a:p>
            <a:r>
              <a:rPr lang="en-US" sz="1200" dirty="0"/>
              <a:t>Review of currently used risk categories, key criteria of risk categories, identify relevant inherent risks</a:t>
            </a:r>
          </a:p>
        </p:txBody>
      </p:sp>
      <p:sp>
        <p:nvSpPr>
          <p:cNvPr id="43" name="TextBox 42">
            <a:extLst>
              <a:ext uri="{FF2B5EF4-FFF2-40B4-BE49-F238E27FC236}">
                <a16:creationId xmlns:a16="http://schemas.microsoft.com/office/drawing/2014/main" id="{4ED5DE57-9BFB-436A-4F62-D7506240A97B}"/>
              </a:ext>
            </a:extLst>
          </p:cNvPr>
          <p:cNvSpPr txBox="1"/>
          <p:nvPr/>
        </p:nvSpPr>
        <p:spPr>
          <a:xfrm>
            <a:off x="5964471" y="2745409"/>
            <a:ext cx="4998902" cy="461665"/>
          </a:xfrm>
          <a:prstGeom prst="rect">
            <a:avLst/>
          </a:prstGeom>
          <a:noFill/>
        </p:spPr>
        <p:txBody>
          <a:bodyPr wrap="square">
            <a:spAutoFit/>
          </a:bodyPr>
          <a:lstStyle/>
          <a:p>
            <a:r>
              <a:rPr lang="en-US" sz="1200" dirty="0"/>
              <a:t>Identify key processes and controls, assess the control</a:t>
            </a:r>
            <a:r>
              <a:rPr lang="hu-HU" sz="1200" dirty="0"/>
              <a:t> design and testing</a:t>
            </a:r>
            <a:r>
              <a:rPr lang="en-US" sz="1200" dirty="0"/>
              <a:t> operating effectiveness</a:t>
            </a:r>
          </a:p>
        </p:txBody>
      </p:sp>
      <p:sp>
        <p:nvSpPr>
          <p:cNvPr id="44" name="TextBox 43">
            <a:extLst>
              <a:ext uri="{FF2B5EF4-FFF2-40B4-BE49-F238E27FC236}">
                <a16:creationId xmlns:a16="http://schemas.microsoft.com/office/drawing/2014/main" id="{64A9765F-DE0B-B3BB-A8D6-1580B5B957DC}"/>
              </a:ext>
            </a:extLst>
          </p:cNvPr>
          <p:cNvSpPr txBox="1"/>
          <p:nvPr/>
        </p:nvSpPr>
        <p:spPr>
          <a:xfrm>
            <a:off x="5964471" y="3649665"/>
            <a:ext cx="4593550" cy="461665"/>
          </a:xfrm>
          <a:prstGeom prst="rect">
            <a:avLst/>
          </a:prstGeom>
          <a:noFill/>
        </p:spPr>
        <p:txBody>
          <a:bodyPr wrap="square">
            <a:spAutoFit/>
          </a:bodyPr>
          <a:lstStyle/>
          <a:p>
            <a:r>
              <a:rPr lang="en-US" sz="1200" dirty="0">
                <a:latin typeface="Calibri Light"/>
                <a:cs typeface="Calibri Light"/>
              </a:rPr>
              <a:t>Conduct detailed interviews with responsible personnel in relation to the agreed processes</a:t>
            </a:r>
          </a:p>
        </p:txBody>
      </p:sp>
      <p:sp>
        <p:nvSpPr>
          <p:cNvPr id="46" name="TextBox 45">
            <a:extLst>
              <a:ext uri="{FF2B5EF4-FFF2-40B4-BE49-F238E27FC236}">
                <a16:creationId xmlns:a16="http://schemas.microsoft.com/office/drawing/2014/main" id="{4F32801F-1ED9-33C2-340B-BC27D4137E90}"/>
              </a:ext>
            </a:extLst>
          </p:cNvPr>
          <p:cNvSpPr txBox="1"/>
          <p:nvPr/>
        </p:nvSpPr>
        <p:spPr>
          <a:xfrm>
            <a:off x="5964471" y="4611803"/>
            <a:ext cx="4772990" cy="461665"/>
          </a:xfrm>
          <a:prstGeom prst="rect">
            <a:avLst/>
          </a:prstGeom>
          <a:solidFill>
            <a:schemeClr val="bg1"/>
          </a:solidFill>
        </p:spPr>
        <p:txBody>
          <a:bodyPr wrap="square">
            <a:spAutoFit/>
          </a:bodyPr>
          <a:lstStyle/>
          <a:p>
            <a:r>
              <a:rPr lang="en-US" sz="1200" dirty="0"/>
              <a:t>Mapping the identified risks and controls, assess the likelihood and magnitude of risks, assess the different effects of risks </a:t>
            </a:r>
          </a:p>
        </p:txBody>
      </p:sp>
      <p:sp>
        <p:nvSpPr>
          <p:cNvPr id="47" name="TextBox 46">
            <a:extLst>
              <a:ext uri="{FF2B5EF4-FFF2-40B4-BE49-F238E27FC236}">
                <a16:creationId xmlns:a16="http://schemas.microsoft.com/office/drawing/2014/main" id="{4534B4C5-0955-9C83-141F-1D56D68AFA33}"/>
              </a:ext>
            </a:extLst>
          </p:cNvPr>
          <p:cNvSpPr txBox="1"/>
          <p:nvPr/>
        </p:nvSpPr>
        <p:spPr>
          <a:xfrm>
            <a:off x="5894667" y="5384329"/>
            <a:ext cx="4842794" cy="276999"/>
          </a:xfrm>
          <a:prstGeom prst="rect">
            <a:avLst/>
          </a:prstGeom>
          <a:solidFill>
            <a:schemeClr val="bg1"/>
          </a:solidFill>
        </p:spPr>
        <p:txBody>
          <a:bodyPr wrap="square">
            <a:spAutoFit/>
          </a:bodyPr>
          <a:lstStyle/>
          <a:p>
            <a:r>
              <a:rPr lang="en-US" sz="1200" dirty="0">
                <a:solidFill>
                  <a:prstClr val="black"/>
                </a:solidFill>
                <a:latin typeface="Calibri Light" panose="020F0302020204030204" pitchFamily="34" charset="0"/>
                <a:cs typeface="Calibri Light" panose="020F0302020204030204" pitchFamily="34" charset="0"/>
              </a:rPr>
              <a:t>Discussing outstanding difficulties and shortcomings in current processes</a:t>
            </a:r>
            <a:endParaRPr lang="en-US" sz="1200" b="1" dirty="0"/>
          </a:p>
        </p:txBody>
      </p:sp>
      <p:pic>
        <p:nvPicPr>
          <p:cNvPr id="49" name="Picture 48">
            <a:extLst>
              <a:ext uri="{FF2B5EF4-FFF2-40B4-BE49-F238E27FC236}">
                <a16:creationId xmlns:a16="http://schemas.microsoft.com/office/drawing/2014/main" id="{45773FA0-2036-5F90-C22E-FBF3E9A0E7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39277" y="1001326"/>
            <a:ext cx="1836580" cy="871198"/>
          </a:xfrm>
          <a:prstGeom prst="rect">
            <a:avLst/>
          </a:prstGeom>
        </p:spPr>
      </p:pic>
      <p:sp>
        <p:nvSpPr>
          <p:cNvPr id="53" name="Title 10">
            <a:extLst>
              <a:ext uri="{FF2B5EF4-FFF2-40B4-BE49-F238E27FC236}">
                <a16:creationId xmlns:a16="http://schemas.microsoft.com/office/drawing/2014/main" id="{05ADAC35-D8C4-A631-65EA-110EA628EEDA}"/>
              </a:ext>
            </a:extLst>
          </p:cNvPr>
          <p:cNvSpPr txBox="1">
            <a:spLocks/>
          </p:cNvSpPr>
          <p:nvPr/>
        </p:nvSpPr>
        <p:spPr bwMode="gray">
          <a:xfrm rot="1834126">
            <a:off x="9532784" y="1299305"/>
            <a:ext cx="1367553" cy="223723"/>
          </a:xfrm>
          <a:prstGeom prst="rect">
            <a:avLst/>
          </a:prstGeom>
        </p:spPr>
        <p:txBody>
          <a:bodyPr vert="horz" lIns="0" tIns="0" rIns="0" bIns="0" rtlCol="0" anchor="t" anchorCtr="0">
            <a:noAutofit/>
          </a:bodyPr>
          <a:lstStyle>
            <a:lvl1pPr algn="l" defTabSz="1481485" rtl="0" eaLnBrk="1" latinLnBrk="0" hangingPunct="1">
              <a:spcBef>
                <a:spcPct val="0"/>
              </a:spcBef>
              <a:buNone/>
              <a:defRPr sz="2205" kern="1200">
                <a:solidFill>
                  <a:schemeClr val="tx1"/>
                </a:solidFill>
                <a:latin typeface="+mn-lt"/>
                <a:ea typeface="+mj-ea"/>
                <a:cs typeface="Calibri Light" panose="020F0302020204030204" pitchFamily="34" charset="0"/>
              </a:defRPr>
            </a:lvl1pPr>
          </a:lstStyle>
          <a:p>
            <a:r>
              <a:rPr lang="hu-HU" sz="2400" dirty="0">
                <a:ln w="12700">
                  <a:solidFill>
                    <a:schemeClr val="accent2"/>
                  </a:solidFill>
                </a:ln>
                <a:solidFill>
                  <a:schemeClr val="bg1">
                    <a:lumMod val="85000"/>
                  </a:schemeClr>
                </a:solidFill>
                <a:latin typeface="Open Sans Extrabold" panose="020B0906030804020204" pitchFamily="34" charset="0"/>
                <a:ea typeface="Open Sans Extrabold" panose="020B0906030804020204" pitchFamily="34" charset="0"/>
                <a:cs typeface="Open Sans Extrabold" panose="020B0906030804020204" pitchFamily="34" charset="0"/>
              </a:rPr>
              <a:t>SAMPLE</a:t>
            </a:r>
          </a:p>
        </p:txBody>
      </p:sp>
    </p:spTree>
    <p:extLst>
      <p:ext uri="{BB962C8B-B14F-4D97-AF65-F5344CB8AC3E}">
        <p14:creationId xmlns:p14="http://schemas.microsoft.com/office/powerpoint/2010/main" val="1360349605"/>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u-HU" sz="3000" b="1" u="none" strike="noStrike" kern="1200" cap="none" spc="0" normalizeH="0" baseline="0" noProof="0" dirty="0">
              <a:ln>
                <a:noFill/>
              </a:ln>
              <a:solidFill>
                <a:prstClr val="white"/>
              </a:solidFill>
              <a:effectLst/>
              <a:uLnTx/>
              <a:uFillTx/>
              <a:latin typeface="Open Sans SemiBold" panose="020B0606030504020204" pitchFamily="34" charset="0"/>
              <a:ea typeface="Open Sans Light" panose="020B0306030504020204" pitchFamily="34" charset="0"/>
              <a:cs typeface="Open Sans Light" panose="020B0306030504020204" pitchFamily="34" charset="0"/>
              <a:sym typeface="Chronicle Display Black" pitchFamily="50" charset="0"/>
            </a:endParaRPr>
          </a:p>
        </p:txBody>
      </p:sp>
      <p:sp>
        <p:nvSpPr>
          <p:cNvPr id="35" name="Title 3"/>
          <p:cNvSpPr>
            <a:spLocks noGrp="1"/>
          </p:cNvSpPr>
          <p:nvPr>
            <p:ph type="title"/>
          </p:nvPr>
        </p:nvSpPr>
        <p:spPr>
          <a:xfrm>
            <a:off x="510492" y="335541"/>
            <a:ext cx="11071907" cy="555646"/>
          </a:xfrm>
        </p:spPr>
        <p:txBody>
          <a:bodyPr/>
          <a:lstStyle/>
          <a:p>
            <a:r>
              <a:rPr lang="en-US" sz="2800" dirty="0">
                <a:solidFill>
                  <a:schemeClr val="tx1"/>
                </a:solidFill>
              </a:rPr>
              <a:t>Overview of Compliance – gap analysis methodology</a:t>
            </a:r>
          </a:p>
        </p:txBody>
      </p:sp>
      <p:sp>
        <p:nvSpPr>
          <p:cNvPr id="8" name="Rectangle 7"/>
          <p:cNvSpPr/>
          <p:nvPr/>
        </p:nvSpPr>
        <p:spPr>
          <a:xfrm>
            <a:off x="424151" y="683872"/>
            <a:ext cx="10486560" cy="964367"/>
          </a:xfrm>
          <a:prstGeom prst="rect">
            <a:avLst/>
          </a:prstGeom>
        </p:spPr>
        <p:txBody>
          <a:bodyPr wrap="square" lIns="91440" tIns="45720" rIns="91440" bIns="45720" anchor="t">
            <a:spAutoFit/>
          </a:bodyPr>
          <a:lstStyle/>
          <a:p>
            <a:pPr defTabSz="685800">
              <a:spcAft>
                <a:spcPts val="750"/>
              </a:spcAft>
              <a:buSzPct val="100000"/>
              <a:defRPr/>
            </a:pPr>
            <a:r>
              <a:rPr lang="en-US" dirty="0">
                <a:solidFill>
                  <a:srgbClr val="575757"/>
                </a:solidFill>
                <a:latin typeface="Open Sans Light" panose="020B0306030504020204" pitchFamily="34" charset="0"/>
                <a:ea typeface="Open Sans Light" panose="020B0306030504020204" pitchFamily="34" charset="0"/>
                <a:cs typeface="Open Sans Light" panose="020B0306030504020204" pitchFamily="34" charset="0"/>
              </a:rPr>
              <a:t>Assess UNICEF’s processes to identify gaps between the regulatory requirements and currently operating processes</a:t>
            </a:r>
          </a:p>
          <a:p>
            <a:pPr marL="0" marR="0" lvl="0" indent="0" algn="l" defTabSz="914400">
              <a:lnSpc>
                <a:spcPct val="100000"/>
              </a:lnSpc>
              <a:spcBef>
                <a:spcPts val="0"/>
              </a:spcBef>
              <a:spcAft>
                <a:spcPts val="0"/>
              </a:spcAft>
              <a:buClrTx/>
              <a:buSzTx/>
              <a:buFontTx/>
              <a:buNone/>
              <a:tabLst/>
              <a:defRPr/>
            </a:pPr>
            <a:endParaRPr lang="en-US" sz="1400" dirty="0">
              <a:ea typeface="Open Sans"/>
              <a:cs typeface="Open Sans"/>
            </a:endParaRPr>
          </a:p>
        </p:txBody>
      </p:sp>
      <p:sp>
        <p:nvSpPr>
          <p:cNvPr id="85" name="Slide Number Placeholder 3"/>
          <p:cNvSpPr txBox="1">
            <a:spLocks/>
          </p:cNvSpPr>
          <p:nvPr/>
        </p:nvSpPr>
        <p:spPr>
          <a:xfrm>
            <a:off x="10629328" y="6494925"/>
            <a:ext cx="1056117" cy="252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5CC1D26-A9BD-4BDE-BDD9-08EDBAE96860}" type="slidenum">
              <a:rPr kumimoji="0" lang="en-US" sz="800" b="0" i="0" u="none" strike="noStrike" kern="1200" cap="none" spc="0" normalizeH="0" baseline="0" noProof="0" smtClean="0">
                <a:ln>
                  <a:noFill/>
                </a:ln>
                <a:solidFill>
                  <a:srgbClr val="8C8C8C"/>
                </a:solidFill>
                <a:effectLst/>
                <a:uLnTx/>
                <a:uFillTx/>
                <a:latin typeface="Calibri Light" panose="020F0302020204030204" pitchFamily="34" charset="0"/>
                <a:ea typeface="+mn-ea"/>
                <a:cs typeface="Calibri Light" panose="020F03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800" b="0" i="0" u="none" strike="noStrike" kern="1200" cap="none" spc="0" normalizeH="0" baseline="0" noProof="0" dirty="0">
              <a:ln>
                <a:noFill/>
              </a:ln>
              <a:solidFill>
                <a:srgbClr val="8C8C8C"/>
              </a:solidFill>
              <a:effectLst/>
              <a:uLnTx/>
              <a:uFillTx/>
              <a:latin typeface="Calibri Light" panose="020F0302020204030204" pitchFamily="34" charset="0"/>
              <a:ea typeface="+mn-ea"/>
              <a:cs typeface="Calibri Light" panose="020F0302020204030204" pitchFamily="34" charset="0"/>
            </a:endParaRPr>
          </a:p>
        </p:txBody>
      </p:sp>
      <p:sp>
        <p:nvSpPr>
          <p:cNvPr id="38" name="Rectangle 3"/>
          <p:cNvSpPr>
            <a:spLocks/>
          </p:cNvSpPr>
          <p:nvPr/>
        </p:nvSpPr>
        <p:spPr bwMode="auto">
          <a:xfrm>
            <a:off x="8613208" y="1473449"/>
            <a:ext cx="1877330" cy="8557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l" defTabSz="969989" rtl="0" eaLnBrk="1" fontAlgn="auto" latinLnBrk="0" hangingPunct="1">
              <a:lnSpc>
                <a:spcPct val="100000"/>
              </a:lnSpc>
              <a:spcBef>
                <a:spcPts val="0"/>
              </a:spcBef>
              <a:spcAft>
                <a:spcPts val="239"/>
              </a:spcAft>
              <a:buClrTx/>
              <a:buSzTx/>
              <a:buFontTx/>
              <a:buNone/>
              <a:tabLst/>
              <a:defRPr/>
            </a:pPr>
            <a:r>
              <a:rPr lang="en-US" sz="1233" b="1" kern="0" dirty="0">
                <a:solidFill>
                  <a:srgbClr val="046A38"/>
                </a:solidFill>
                <a:latin typeface="Calibri Light" panose="020F0302020204030204" pitchFamily="34" charset="0"/>
                <a:cs typeface="Calibri Light" panose="020F0302020204030204" pitchFamily="34" charset="0"/>
                <a:sym typeface="Frutiger Next Pro Medium" charset="0"/>
              </a:rPr>
              <a:t>Assessing process GAPs and creating a gap analysis and  action plan</a:t>
            </a:r>
            <a:endParaRPr kumimoji="0" lang="en-US" sz="1114" b="0" i="0" u="none" strike="noStrike" kern="0" cap="none" spc="0" normalizeH="0" baseline="0" noProof="0" dirty="0">
              <a:ln>
                <a:noFill/>
              </a:ln>
              <a:solidFill>
                <a:srgbClr val="046A38"/>
              </a:solidFill>
              <a:effectLst/>
              <a:uLnTx/>
              <a:uFillTx/>
              <a:latin typeface="Calibri Light" panose="020F0302020204030204" pitchFamily="34" charset="0"/>
              <a:ea typeface="+mn-ea"/>
              <a:cs typeface="Calibri Light" panose="020F0302020204030204" pitchFamily="34" charset="0"/>
              <a:sym typeface="Frutiger Next Pro Light" charset="0"/>
            </a:endParaRPr>
          </a:p>
        </p:txBody>
      </p:sp>
      <p:sp>
        <p:nvSpPr>
          <p:cNvPr id="40" name="Rectangle 39"/>
          <p:cNvSpPr/>
          <p:nvPr/>
        </p:nvSpPr>
        <p:spPr>
          <a:xfrm>
            <a:off x="876676" y="2898398"/>
            <a:ext cx="2985936" cy="1814124"/>
          </a:xfrm>
          <a:prstGeom prst="rect">
            <a:avLst/>
          </a:prstGeom>
        </p:spPr>
        <p:txBody>
          <a:bodyPr wrap="square" lIns="0" tIns="0" rIns="0" bIns="0">
            <a:noAutofit/>
          </a:bodyPr>
          <a:lstStyle/>
          <a:p>
            <a:pPr marL="155539" indent="-155539" defTabSz="714403">
              <a:lnSpc>
                <a:spcPct val="120000"/>
              </a:lnSpc>
              <a:buFont typeface="Arial" panose="020B0604020202020204" pitchFamily="34" charset="0"/>
              <a:buChar char="•"/>
            </a:pPr>
            <a:r>
              <a:rPr lang="en-US" sz="1200" dirty="0">
                <a:latin typeface="Calibri Light" panose="020F0302020204030204" pitchFamily="34" charset="0"/>
                <a:ea typeface="Open Sans" panose="020B0606030504020204" pitchFamily="34" charset="0"/>
                <a:cs typeface="Calibri Light" panose="020F0302020204030204" pitchFamily="34" charset="0"/>
              </a:rPr>
              <a:t>In order to be able to assess the organization’s processes, we have to understand how the organization works, what are the key regulatory requirements</a:t>
            </a:r>
          </a:p>
          <a:p>
            <a:pPr marL="155539" indent="-155539" defTabSz="714403">
              <a:lnSpc>
                <a:spcPct val="120000"/>
              </a:lnSpc>
              <a:buFont typeface="Arial" panose="020B0604020202020204" pitchFamily="34" charset="0"/>
              <a:buChar char="•"/>
            </a:pPr>
            <a:r>
              <a:rPr lang="en-US" sz="1200" dirty="0">
                <a:latin typeface="Calibri Light" panose="020F0302020204030204" pitchFamily="34" charset="0"/>
                <a:ea typeface="Open Sans" panose="020B0606030504020204" pitchFamily="34" charset="0"/>
                <a:cs typeface="Calibri Light" panose="020F0302020204030204" pitchFamily="34" charset="0"/>
              </a:rPr>
              <a:t>C</a:t>
            </a:r>
            <a:r>
              <a:rPr kumimoji="0" lang="en-US" sz="1200" b="0" i="0" u="none" strike="noStrike" kern="1200" cap="none" spc="0" normalizeH="0" baseline="0" noProof="0" dirty="0" err="1">
                <a:ln>
                  <a:noFill/>
                </a:ln>
                <a:effectLst/>
                <a:uLnTx/>
                <a:uFillTx/>
                <a:latin typeface="Calibri Light" panose="020F0302020204030204" pitchFamily="34" charset="0"/>
                <a:ea typeface="Open Sans" panose="020B0606030504020204" pitchFamily="34" charset="0"/>
                <a:cs typeface="Calibri Light" panose="020F0302020204030204" pitchFamily="34" charset="0"/>
              </a:rPr>
              <a:t>onduct</a:t>
            </a:r>
            <a:r>
              <a:rPr kumimoji="0" lang="en-US" sz="1200" b="0" i="0" u="none" strike="noStrike" kern="1200" cap="none" spc="0" normalizeH="0" baseline="0" noProof="0" dirty="0">
                <a:ln>
                  <a:noFill/>
                </a:ln>
                <a:effectLst/>
                <a:uLnTx/>
                <a:uFillTx/>
                <a:latin typeface="Calibri Light" panose="020F0302020204030204" pitchFamily="34" charset="0"/>
                <a:ea typeface="Open Sans" panose="020B0606030504020204" pitchFamily="34" charset="0"/>
                <a:cs typeface="Calibri Light" panose="020F0302020204030204" pitchFamily="34" charset="0"/>
              </a:rPr>
              <a:t> interviews with responsible parties, check internal regulations</a:t>
            </a:r>
            <a:endParaRPr kumimoji="0" lang="en-US" sz="900" b="0" i="0" u="none" strike="noStrike" kern="1200" cap="none" spc="0" normalizeH="0" baseline="0" noProof="0" dirty="0">
              <a:ln>
                <a:noFill/>
              </a:ln>
              <a:solidFill>
                <a:srgbClr val="D0D0CE">
                  <a:lumMod val="50000"/>
                </a:srgbClr>
              </a:solidFill>
              <a:effectLst/>
              <a:uLnTx/>
              <a:uFillTx/>
              <a:latin typeface="Calibri Light" panose="020F0302020204030204" pitchFamily="34" charset="0"/>
              <a:ea typeface="Open Sans" panose="020B0606030504020204" pitchFamily="34" charset="0"/>
              <a:cs typeface="Calibri Light" panose="020F0302020204030204" pitchFamily="34" charset="0"/>
            </a:endParaRPr>
          </a:p>
          <a:p>
            <a:pPr marL="155539" marR="0" lvl="0" indent="-155539" algn="l" defTabSz="714403"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D0D0CE">
                  <a:lumMod val="50000"/>
                </a:srgbClr>
              </a:solidFill>
              <a:effectLst/>
              <a:uLnTx/>
              <a:uFillTx/>
              <a:latin typeface="Calibri Light" panose="020F0302020204030204" pitchFamily="34" charset="0"/>
              <a:ea typeface="Open Sans" panose="020B0606030504020204" pitchFamily="34" charset="0"/>
              <a:cs typeface="Calibri Light" panose="020F0302020204030204" pitchFamily="34" charset="0"/>
            </a:endParaRPr>
          </a:p>
        </p:txBody>
      </p:sp>
      <p:sp>
        <p:nvSpPr>
          <p:cNvPr id="43" name="Rectangle 3"/>
          <p:cNvSpPr>
            <a:spLocks/>
          </p:cNvSpPr>
          <p:nvPr/>
        </p:nvSpPr>
        <p:spPr bwMode="auto">
          <a:xfrm>
            <a:off x="5104273" y="1475146"/>
            <a:ext cx="1830372" cy="7586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t"/>
          <a:lstStyle/>
          <a:p>
            <a:pPr defTabSz="969989">
              <a:spcAft>
                <a:spcPts val="239"/>
              </a:spcAft>
              <a:defRPr/>
            </a:pPr>
            <a:r>
              <a:rPr lang="en-US" sz="1200" b="1" kern="0" dirty="0">
                <a:solidFill>
                  <a:srgbClr val="43B02A"/>
                </a:solidFill>
                <a:latin typeface="Calibri Light"/>
                <a:cs typeface="Calibri Light"/>
                <a:sym typeface="Frutiger Next Pro Medium" charset="0"/>
              </a:rPr>
              <a:t>Assessing the current operating processes and compare with regulatory and other standards</a:t>
            </a:r>
            <a:endParaRPr kumimoji="0" lang="en-US" sz="1200" b="1" i="0" u="none" strike="noStrike" kern="0" cap="none" spc="0" normalizeH="0" baseline="0" noProof="0" dirty="0">
              <a:ln>
                <a:noFill/>
              </a:ln>
              <a:solidFill>
                <a:srgbClr val="43B02A"/>
              </a:solidFill>
              <a:effectLst/>
              <a:uLnTx/>
              <a:uFillTx/>
              <a:latin typeface="Calibri Light"/>
              <a:cs typeface="Calibri Light"/>
              <a:sym typeface="Frutiger Next Pro Medium" charset="0"/>
            </a:endParaRPr>
          </a:p>
        </p:txBody>
      </p:sp>
      <p:sp>
        <p:nvSpPr>
          <p:cNvPr id="44" name="Rectangle 3"/>
          <p:cNvSpPr>
            <a:spLocks/>
          </p:cNvSpPr>
          <p:nvPr/>
        </p:nvSpPr>
        <p:spPr bwMode="auto">
          <a:xfrm>
            <a:off x="1426642" y="1480789"/>
            <a:ext cx="1866601" cy="1075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t"/>
          <a:lstStyle/>
          <a:p>
            <a:pPr marL="0" lvl="1" defTabSz="972011">
              <a:spcAft>
                <a:spcPts val="544"/>
              </a:spcAft>
              <a:defRPr/>
            </a:pPr>
            <a:r>
              <a:rPr lang="en-US" sz="1200" b="1" kern="0" dirty="0">
                <a:solidFill>
                  <a:srgbClr val="86BC25"/>
                </a:solidFill>
                <a:latin typeface="Calibri Light"/>
                <a:cs typeface="Calibri Light"/>
                <a:sym typeface="Frutiger Next Pro Medium" charset="0"/>
              </a:rPr>
              <a:t>Understanding </a:t>
            </a:r>
            <a:r>
              <a:rPr lang="en-US" sz="1200" b="1" kern="0" dirty="0">
                <a:solidFill>
                  <a:srgbClr val="86BC25"/>
                </a:solidFill>
                <a:latin typeface="Calibri Light"/>
                <a:cs typeface="Calibri Light"/>
              </a:rPr>
              <a:t>UNICEF’s organizational structure and processes  </a:t>
            </a:r>
            <a:endParaRPr lang="en-US" sz="1200" b="1" kern="0" dirty="0">
              <a:solidFill>
                <a:srgbClr val="86BC25"/>
              </a:solidFill>
              <a:latin typeface="Calibri Light"/>
              <a:cs typeface="Calibri Light"/>
              <a:sym typeface="Frutiger Next Pro Medium" charset="0"/>
            </a:endParaRPr>
          </a:p>
        </p:txBody>
      </p:sp>
      <p:cxnSp>
        <p:nvCxnSpPr>
          <p:cNvPr id="45" name="Straight Connector 44"/>
          <p:cNvCxnSpPr>
            <a:cxnSpLocks/>
          </p:cNvCxnSpPr>
          <p:nvPr/>
        </p:nvCxnSpPr>
        <p:spPr>
          <a:xfrm>
            <a:off x="1091205" y="1926900"/>
            <a:ext cx="0" cy="524323"/>
          </a:xfrm>
          <a:prstGeom prst="line">
            <a:avLst/>
          </a:prstGeom>
          <a:ln/>
        </p:spPr>
        <p:style>
          <a:lnRef idx="2">
            <a:schemeClr val="accent1"/>
          </a:lnRef>
          <a:fillRef idx="1">
            <a:schemeClr val="lt1"/>
          </a:fillRef>
          <a:effectRef idx="0">
            <a:schemeClr val="accent1"/>
          </a:effectRef>
          <a:fontRef idx="minor">
            <a:schemeClr val="dk1"/>
          </a:fontRef>
        </p:style>
      </p:cxnSp>
      <p:cxnSp>
        <p:nvCxnSpPr>
          <p:cNvPr id="46" name="Straight Connector 45"/>
          <p:cNvCxnSpPr>
            <a:cxnSpLocks/>
            <a:stCxn id="65" idx="4"/>
          </p:cNvCxnSpPr>
          <p:nvPr/>
        </p:nvCxnSpPr>
        <p:spPr>
          <a:xfrm>
            <a:off x="4743805" y="1924287"/>
            <a:ext cx="0" cy="489229"/>
          </a:xfrm>
          <a:prstGeom prst="line">
            <a:avLst/>
          </a:prstGeom>
          <a:ln w="19050" cmpd="sng">
            <a:solidFill>
              <a:srgbClr val="43B02A"/>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a:cxnSpLocks/>
            <a:stCxn id="72" idx="4"/>
          </p:cNvCxnSpPr>
          <p:nvPr/>
        </p:nvCxnSpPr>
        <p:spPr>
          <a:xfrm>
            <a:off x="8210230" y="1958426"/>
            <a:ext cx="9557" cy="455090"/>
          </a:xfrm>
          <a:prstGeom prst="line">
            <a:avLst/>
          </a:prstGeom>
          <a:ln w="19050" cmpd="sng">
            <a:solidFill>
              <a:srgbClr val="046A38"/>
            </a:solidFill>
          </a:ln>
        </p:spPr>
        <p:style>
          <a:lnRef idx="2">
            <a:schemeClr val="accent1"/>
          </a:lnRef>
          <a:fillRef idx="0">
            <a:schemeClr val="accent1"/>
          </a:fillRef>
          <a:effectRef idx="1">
            <a:schemeClr val="accent1"/>
          </a:effectRef>
          <a:fontRef idx="minor">
            <a:schemeClr val="tx1"/>
          </a:fontRef>
        </p:style>
      </p:cxnSp>
      <p:cxnSp>
        <p:nvCxnSpPr>
          <p:cNvPr id="50" name="Straight Connector 49"/>
          <p:cNvCxnSpPr>
            <a:cxnSpLocks/>
          </p:cNvCxnSpPr>
          <p:nvPr/>
        </p:nvCxnSpPr>
        <p:spPr>
          <a:xfrm flipH="1">
            <a:off x="858362" y="2437751"/>
            <a:ext cx="2084874" cy="202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a:xfrm flipH="1">
            <a:off x="4503404" y="2419404"/>
            <a:ext cx="2084832" cy="2021"/>
          </a:xfrm>
          <a:prstGeom prst="line">
            <a:avLst/>
          </a:prstGeom>
          <a:ln w="19050" cmpd="sng">
            <a:solidFill>
              <a:srgbClr val="43B02A"/>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a:cxnSpLocks/>
          </p:cNvCxnSpPr>
          <p:nvPr/>
        </p:nvCxnSpPr>
        <p:spPr>
          <a:xfrm flipH="1">
            <a:off x="8047119" y="2429864"/>
            <a:ext cx="2084832" cy="2021"/>
          </a:xfrm>
          <a:prstGeom prst="line">
            <a:avLst/>
          </a:prstGeom>
          <a:ln w="19050" cmpd="sng">
            <a:solidFill>
              <a:srgbClr val="046A38"/>
            </a:solidFill>
          </a:ln>
        </p:spPr>
        <p:style>
          <a:lnRef idx="2">
            <a:schemeClr val="accent1"/>
          </a:lnRef>
          <a:fillRef idx="0">
            <a:schemeClr val="accent1"/>
          </a:fillRef>
          <a:effectRef idx="1">
            <a:schemeClr val="accent1"/>
          </a:effectRef>
          <a:fontRef idx="minor">
            <a:schemeClr val="tx1"/>
          </a:fontRef>
        </p:style>
      </p:cxnSp>
      <p:sp>
        <p:nvSpPr>
          <p:cNvPr id="64" name="Oval 63"/>
          <p:cNvSpPr/>
          <p:nvPr/>
        </p:nvSpPr>
        <p:spPr>
          <a:xfrm>
            <a:off x="861067" y="1460676"/>
            <a:ext cx="469254" cy="469254"/>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65" name="Oval 64"/>
          <p:cNvSpPr/>
          <p:nvPr/>
        </p:nvSpPr>
        <p:spPr>
          <a:xfrm>
            <a:off x="4509178" y="1455033"/>
            <a:ext cx="469254" cy="469254"/>
          </a:xfrm>
          <a:prstGeom prst="ellipse">
            <a:avLst/>
          </a:prstGeom>
          <a:noFill/>
          <a:ln w="19050" cmpd="sng">
            <a:solidFill>
              <a:srgbClr val="43B02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72" name="Oval 71"/>
          <p:cNvSpPr/>
          <p:nvPr/>
        </p:nvSpPr>
        <p:spPr>
          <a:xfrm>
            <a:off x="7975603" y="1489172"/>
            <a:ext cx="469254" cy="469254"/>
          </a:xfrm>
          <a:prstGeom prst="ellipse">
            <a:avLst/>
          </a:prstGeom>
          <a:noFill/>
          <a:ln w="19050" cmpd="sng">
            <a:solidFill>
              <a:srgbClr val="046A3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srgbClr val="012169">
                  <a:lumMod val="40000"/>
                  <a:lumOff val="60000"/>
                </a:srgbClr>
              </a:solidFill>
              <a:effectLst/>
              <a:uLnTx/>
              <a:uFillTx/>
              <a:latin typeface="Calibri Light" panose="020F0302020204030204" pitchFamily="34" charset="0"/>
              <a:ea typeface="+mn-ea"/>
              <a:cs typeface="Calibri Light" panose="020F0302020204030204" pitchFamily="34" charset="0"/>
            </a:endParaRPr>
          </a:p>
        </p:txBody>
      </p:sp>
      <p:sp>
        <p:nvSpPr>
          <p:cNvPr id="74" name="Freeform 77"/>
          <p:cNvSpPr>
            <a:spLocks noChangeAspect="1" noEditPoints="1"/>
          </p:cNvSpPr>
          <p:nvPr/>
        </p:nvSpPr>
        <p:spPr bwMode="auto">
          <a:xfrm>
            <a:off x="962594" y="1655753"/>
            <a:ext cx="283693" cy="166188"/>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chemeClr val="accent1">
              <a:lumMod val="75000"/>
              <a:lumOff val="25000"/>
            </a:schemeClr>
          </a:solidFill>
          <a:ln>
            <a:noFill/>
          </a:ln>
        </p:spPr>
        <p:txBody>
          <a:bodyPr vert="horz" wrap="square" lIns="72746" tIns="36373" rIns="72746" bIns="36373" numCol="1" anchor="t" anchorCtr="0" compatLnSpc="1">
            <a:prstTxWarp prst="textNoShape">
              <a:avLst/>
            </a:prstTxWarp>
          </a:bodyPr>
          <a:lstStyle/>
          <a:p>
            <a:pPr marL="0" marR="0" lvl="0" indent="0" algn="l"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76" name="Freeform 235"/>
          <p:cNvSpPr>
            <a:spLocks noEditPoints="1"/>
          </p:cNvSpPr>
          <p:nvPr/>
        </p:nvSpPr>
        <p:spPr bwMode="auto">
          <a:xfrm>
            <a:off x="4610075" y="1585973"/>
            <a:ext cx="196483" cy="203677"/>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solidFill>
            <a:schemeClr val="tx2"/>
          </a:solidFill>
          <a:ln w="6350">
            <a:solidFill>
              <a:srgbClr val="43B02A"/>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2746" tIns="36373" rIns="72746" bIns="36373" numCol="1" anchor="t" anchorCtr="0" compatLnSpc="1">
            <a:prstTxWarp prst="textNoShape">
              <a:avLst/>
            </a:prstTxWarp>
          </a:bodyPr>
          <a:lstStyle/>
          <a:p>
            <a:pPr marL="0" marR="0" lvl="0" indent="0" algn="l"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77" name="Freeform 236"/>
          <p:cNvSpPr>
            <a:spLocks/>
          </p:cNvSpPr>
          <p:nvPr/>
        </p:nvSpPr>
        <p:spPr bwMode="auto">
          <a:xfrm>
            <a:off x="4739884" y="1586501"/>
            <a:ext cx="122059" cy="191333"/>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solidFill>
            <a:schemeClr val="tx2"/>
          </a:solidFill>
          <a:ln w="6350">
            <a:solidFill>
              <a:srgbClr val="43B02A"/>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2746" tIns="36373" rIns="72746" bIns="36373" numCol="1" anchor="t" anchorCtr="0" compatLnSpc="1">
            <a:prstTxWarp prst="textNoShape">
              <a:avLst/>
            </a:prstTxWarp>
          </a:bodyPr>
          <a:lstStyle/>
          <a:p>
            <a:pPr marL="0" marR="0" lvl="0" indent="0" algn="l"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78" name="Freeform 198"/>
          <p:cNvSpPr>
            <a:spLocks noEditPoints="1"/>
          </p:cNvSpPr>
          <p:nvPr/>
        </p:nvSpPr>
        <p:spPr bwMode="auto">
          <a:xfrm>
            <a:off x="8111203" y="1660690"/>
            <a:ext cx="62048" cy="156314"/>
          </a:xfrm>
          <a:custGeom>
            <a:avLst/>
            <a:gdLst>
              <a:gd name="T0" fmla="*/ 86 w 103"/>
              <a:gd name="T1" fmla="*/ 0 h 261"/>
              <a:gd name="T2" fmla="*/ 17 w 103"/>
              <a:gd name="T3" fmla="*/ 0 h 261"/>
              <a:gd name="T4" fmla="*/ 17 w 103"/>
              <a:gd name="T5" fmla="*/ 0 h 261"/>
              <a:gd name="T6" fmla="*/ 11 w 103"/>
              <a:gd name="T7" fmla="*/ 1 h 261"/>
              <a:gd name="T8" fmla="*/ 5 w 103"/>
              <a:gd name="T9" fmla="*/ 4 h 261"/>
              <a:gd name="T10" fmla="*/ 1 w 103"/>
              <a:gd name="T11" fmla="*/ 11 h 261"/>
              <a:gd name="T12" fmla="*/ 0 w 103"/>
              <a:gd name="T13" fmla="*/ 17 h 261"/>
              <a:gd name="T14" fmla="*/ 0 w 103"/>
              <a:gd name="T15" fmla="*/ 242 h 261"/>
              <a:gd name="T16" fmla="*/ 0 w 103"/>
              <a:gd name="T17" fmla="*/ 242 h 261"/>
              <a:gd name="T18" fmla="*/ 1 w 103"/>
              <a:gd name="T19" fmla="*/ 250 h 261"/>
              <a:gd name="T20" fmla="*/ 5 w 103"/>
              <a:gd name="T21" fmla="*/ 255 h 261"/>
              <a:gd name="T22" fmla="*/ 11 w 103"/>
              <a:gd name="T23" fmla="*/ 260 h 261"/>
              <a:gd name="T24" fmla="*/ 17 w 103"/>
              <a:gd name="T25" fmla="*/ 261 h 261"/>
              <a:gd name="T26" fmla="*/ 86 w 103"/>
              <a:gd name="T27" fmla="*/ 261 h 261"/>
              <a:gd name="T28" fmla="*/ 86 w 103"/>
              <a:gd name="T29" fmla="*/ 261 h 261"/>
              <a:gd name="T30" fmla="*/ 92 w 103"/>
              <a:gd name="T31" fmla="*/ 260 h 261"/>
              <a:gd name="T32" fmla="*/ 99 w 103"/>
              <a:gd name="T33" fmla="*/ 255 h 261"/>
              <a:gd name="T34" fmla="*/ 102 w 103"/>
              <a:gd name="T35" fmla="*/ 250 h 261"/>
              <a:gd name="T36" fmla="*/ 103 w 103"/>
              <a:gd name="T37" fmla="*/ 242 h 261"/>
              <a:gd name="T38" fmla="*/ 103 w 103"/>
              <a:gd name="T39" fmla="*/ 17 h 261"/>
              <a:gd name="T40" fmla="*/ 103 w 103"/>
              <a:gd name="T41" fmla="*/ 17 h 261"/>
              <a:gd name="T42" fmla="*/ 102 w 103"/>
              <a:gd name="T43" fmla="*/ 11 h 261"/>
              <a:gd name="T44" fmla="*/ 99 w 103"/>
              <a:gd name="T45" fmla="*/ 4 h 261"/>
              <a:gd name="T46" fmla="*/ 92 w 103"/>
              <a:gd name="T47" fmla="*/ 1 h 261"/>
              <a:gd name="T48" fmla="*/ 86 w 103"/>
              <a:gd name="T49" fmla="*/ 0 h 261"/>
              <a:gd name="T50" fmla="*/ 86 w 103"/>
              <a:gd name="T51" fmla="*/ 0 h 261"/>
              <a:gd name="T52" fmla="*/ 89 w 103"/>
              <a:gd name="T53" fmla="*/ 242 h 261"/>
              <a:gd name="T54" fmla="*/ 89 w 103"/>
              <a:gd name="T55" fmla="*/ 242 h 261"/>
              <a:gd name="T56" fmla="*/ 88 w 103"/>
              <a:gd name="T57" fmla="*/ 246 h 261"/>
              <a:gd name="T58" fmla="*/ 86 w 103"/>
              <a:gd name="T59" fmla="*/ 246 h 261"/>
              <a:gd name="T60" fmla="*/ 17 w 103"/>
              <a:gd name="T61" fmla="*/ 246 h 261"/>
              <a:gd name="T62" fmla="*/ 17 w 103"/>
              <a:gd name="T63" fmla="*/ 246 h 261"/>
              <a:gd name="T64" fmla="*/ 16 w 103"/>
              <a:gd name="T65" fmla="*/ 246 h 261"/>
              <a:gd name="T66" fmla="*/ 16 w 103"/>
              <a:gd name="T67" fmla="*/ 242 h 261"/>
              <a:gd name="T68" fmla="*/ 16 w 103"/>
              <a:gd name="T69" fmla="*/ 17 h 261"/>
              <a:gd name="T70" fmla="*/ 16 w 103"/>
              <a:gd name="T71" fmla="*/ 17 h 261"/>
              <a:gd name="T72" fmla="*/ 16 w 103"/>
              <a:gd name="T73" fmla="*/ 15 h 261"/>
              <a:gd name="T74" fmla="*/ 17 w 103"/>
              <a:gd name="T75" fmla="*/ 14 h 261"/>
              <a:gd name="T76" fmla="*/ 86 w 103"/>
              <a:gd name="T77" fmla="*/ 14 h 261"/>
              <a:gd name="T78" fmla="*/ 86 w 103"/>
              <a:gd name="T79" fmla="*/ 14 h 261"/>
              <a:gd name="T80" fmla="*/ 88 w 103"/>
              <a:gd name="T81" fmla="*/ 15 h 261"/>
              <a:gd name="T82" fmla="*/ 89 w 103"/>
              <a:gd name="T83" fmla="*/ 17 h 261"/>
              <a:gd name="T84" fmla="*/ 89 w 103"/>
              <a:gd name="T85" fmla="*/ 24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3" h="261">
                <a:moveTo>
                  <a:pt x="86" y="0"/>
                </a:moveTo>
                <a:lnTo>
                  <a:pt x="17" y="0"/>
                </a:lnTo>
                <a:lnTo>
                  <a:pt x="17" y="0"/>
                </a:lnTo>
                <a:lnTo>
                  <a:pt x="11" y="1"/>
                </a:lnTo>
                <a:lnTo>
                  <a:pt x="5" y="4"/>
                </a:lnTo>
                <a:lnTo>
                  <a:pt x="1" y="11"/>
                </a:lnTo>
                <a:lnTo>
                  <a:pt x="0" y="17"/>
                </a:lnTo>
                <a:lnTo>
                  <a:pt x="0" y="242"/>
                </a:lnTo>
                <a:lnTo>
                  <a:pt x="0" y="242"/>
                </a:lnTo>
                <a:lnTo>
                  <a:pt x="1" y="250"/>
                </a:lnTo>
                <a:lnTo>
                  <a:pt x="5" y="255"/>
                </a:lnTo>
                <a:lnTo>
                  <a:pt x="11" y="260"/>
                </a:lnTo>
                <a:lnTo>
                  <a:pt x="17" y="261"/>
                </a:lnTo>
                <a:lnTo>
                  <a:pt x="86" y="261"/>
                </a:lnTo>
                <a:lnTo>
                  <a:pt x="86" y="261"/>
                </a:lnTo>
                <a:lnTo>
                  <a:pt x="92" y="260"/>
                </a:lnTo>
                <a:lnTo>
                  <a:pt x="99" y="255"/>
                </a:lnTo>
                <a:lnTo>
                  <a:pt x="102" y="250"/>
                </a:lnTo>
                <a:lnTo>
                  <a:pt x="103" y="242"/>
                </a:lnTo>
                <a:lnTo>
                  <a:pt x="103" y="17"/>
                </a:lnTo>
                <a:lnTo>
                  <a:pt x="103" y="17"/>
                </a:lnTo>
                <a:lnTo>
                  <a:pt x="102" y="11"/>
                </a:lnTo>
                <a:lnTo>
                  <a:pt x="99" y="4"/>
                </a:lnTo>
                <a:lnTo>
                  <a:pt x="92" y="1"/>
                </a:lnTo>
                <a:lnTo>
                  <a:pt x="86" y="0"/>
                </a:lnTo>
                <a:lnTo>
                  <a:pt x="86" y="0"/>
                </a:lnTo>
                <a:close/>
                <a:moveTo>
                  <a:pt x="89" y="242"/>
                </a:moveTo>
                <a:lnTo>
                  <a:pt x="89" y="242"/>
                </a:lnTo>
                <a:lnTo>
                  <a:pt x="88" y="246"/>
                </a:lnTo>
                <a:lnTo>
                  <a:pt x="86" y="246"/>
                </a:lnTo>
                <a:lnTo>
                  <a:pt x="17" y="246"/>
                </a:lnTo>
                <a:lnTo>
                  <a:pt x="17" y="246"/>
                </a:lnTo>
                <a:lnTo>
                  <a:pt x="16" y="246"/>
                </a:lnTo>
                <a:lnTo>
                  <a:pt x="16" y="242"/>
                </a:lnTo>
                <a:lnTo>
                  <a:pt x="16" y="17"/>
                </a:lnTo>
                <a:lnTo>
                  <a:pt x="16" y="17"/>
                </a:lnTo>
                <a:lnTo>
                  <a:pt x="16" y="15"/>
                </a:lnTo>
                <a:lnTo>
                  <a:pt x="17" y="14"/>
                </a:lnTo>
                <a:lnTo>
                  <a:pt x="86" y="14"/>
                </a:lnTo>
                <a:lnTo>
                  <a:pt x="86" y="14"/>
                </a:lnTo>
                <a:lnTo>
                  <a:pt x="88" y="15"/>
                </a:lnTo>
                <a:lnTo>
                  <a:pt x="89" y="17"/>
                </a:lnTo>
                <a:lnTo>
                  <a:pt x="89" y="242"/>
                </a:lnTo>
                <a:close/>
              </a:path>
            </a:pathLst>
          </a:custGeom>
          <a:solidFill>
            <a:schemeClr val="tx2"/>
          </a:solidFill>
          <a:ln>
            <a:solidFill>
              <a:srgbClr val="046A3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2746" tIns="36373" rIns="72746" bIns="36373" numCol="1" anchor="t" anchorCtr="0" compatLnSpc="1">
            <a:prstTxWarp prst="textNoShape">
              <a:avLst/>
            </a:prstTxWarp>
          </a:bodyPr>
          <a:lstStyle/>
          <a:p>
            <a:pPr marL="0" marR="0" lvl="0" indent="0" algn="l"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srgbClr val="012169">
                  <a:lumMod val="40000"/>
                  <a:lumOff val="60000"/>
                </a:srgbClr>
              </a:solidFill>
              <a:effectLst/>
              <a:uLnTx/>
              <a:uFillTx/>
              <a:latin typeface="Calibri Light" panose="020F0302020204030204" pitchFamily="34" charset="0"/>
              <a:ea typeface="+mn-ea"/>
              <a:cs typeface="Calibri Light" panose="020F0302020204030204" pitchFamily="34" charset="0"/>
            </a:endParaRPr>
          </a:p>
        </p:txBody>
      </p:sp>
      <p:sp>
        <p:nvSpPr>
          <p:cNvPr id="81" name="Freeform 199"/>
          <p:cNvSpPr>
            <a:spLocks noEditPoints="1"/>
          </p:cNvSpPr>
          <p:nvPr/>
        </p:nvSpPr>
        <p:spPr bwMode="auto">
          <a:xfrm>
            <a:off x="8188763" y="1707225"/>
            <a:ext cx="62048" cy="109777"/>
          </a:xfrm>
          <a:custGeom>
            <a:avLst/>
            <a:gdLst>
              <a:gd name="T0" fmla="*/ 86 w 103"/>
              <a:gd name="T1" fmla="*/ 0 h 183"/>
              <a:gd name="T2" fmla="*/ 19 w 103"/>
              <a:gd name="T3" fmla="*/ 0 h 183"/>
              <a:gd name="T4" fmla="*/ 19 w 103"/>
              <a:gd name="T5" fmla="*/ 0 h 183"/>
              <a:gd name="T6" fmla="*/ 11 w 103"/>
              <a:gd name="T7" fmla="*/ 1 h 183"/>
              <a:gd name="T8" fmla="*/ 6 w 103"/>
              <a:gd name="T9" fmla="*/ 5 h 183"/>
              <a:gd name="T10" fmla="*/ 1 w 103"/>
              <a:gd name="T11" fmla="*/ 11 h 183"/>
              <a:gd name="T12" fmla="*/ 0 w 103"/>
              <a:gd name="T13" fmla="*/ 17 h 183"/>
              <a:gd name="T14" fmla="*/ 0 w 103"/>
              <a:gd name="T15" fmla="*/ 164 h 183"/>
              <a:gd name="T16" fmla="*/ 0 w 103"/>
              <a:gd name="T17" fmla="*/ 164 h 183"/>
              <a:gd name="T18" fmla="*/ 1 w 103"/>
              <a:gd name="T19" fmla="*/ 172 h 183"/>
              <a:gd name="T20" fmla="*/ 6 w 103"/>
              <a:gd name="T21" fmla="*/ 177 h 183"/>
              <a:gd name="T22" fmla="*/ 11 w 103"/>
              <a:gd name="T23" fmla="*/ 182 h 183"/>
              <a:gd name="T24" fmla="*/ 19 w 103"/>
              <a:gd name="T25" fmla="*/ 183 h 183"/>
              <a:gd name="T26" fmla="*/ 86 w 103"/>
              <a:gd name="T27" fmla="*/ 183 h 183"/>
              <a:gd name="T28" fmla="*/ 86 w 103"/>
              <a:gd name="T29" fmla="*/ 183 h 183"/>
              <a:gd name="T30" fmla="*/ 92 w 103"/>
              <a:gd name="T31" fmla="*/ 182 h 183"/>
              <a:gd name="T32" fmla="*/ 99 w 103"/>
              <a:gd name="T33" fmla="*/ 177 h 183"/>
              <a:gd name="T34" fmla="*/ 102 w 103"/>
              <a:gd name="T35" fmla="*/ 172 h 183"/>
              <a:gd name="T36" fmla="*/ 103 w 103"/>
              <a:gd name="T37" fmla="*/ 164 h 183"/>
              <a:gd name="T38" fmla="*/ 103 w 103"/>
              <a:gd name="T39" fmla="*/ 17 h 183"/>
              <a:gd name="T40" fmla="*/ 103 w 103"/>
              <a:gd name="T41" fmla="*/ 17 h 183"/>
              <a:gd name="T42" fmla="*/ 102 w 103"/>
              <a:gd name="T43" fmla="*/ 11 h 183"/>
              <a:gd name="T44" fmla="*/ 99 w 103"/>
              <a:gd name="T45" fmla="*/ 5 h 183"/>
              <a:gd name="T46" fmla="*/ 92 w 103"/>
              <a:gd name="T47" fmla="*/ 1 h 183"/>
              <a:gd name="T48" fmla="*/ 86 w 103"/>
              <a:gd name="T49" fmla="*/ 0 h 183"/>
              <a:gd name="T50" fmla="*/ 86 w 103"/>
              <a:gd name="T51" fmla="*/ 0 h 183"/>
              <a:gd name="T52" fmla="*/ 89 w 103"/>
              <a:gd name="T53" fmla="*/ 164 h 183"/>
              <a:gd name="T54" fmla="*/ 89 w 103"/>
              <a:gd name="T55" fmla="*/ 164 h 183"/>
              <a:gd name="T56" fmla="*/ 88 w 103"/>
              <a:gd name="T57" fmla="*/ 168 h 183"/>
              <a:gd name="T58" fmla="*/ 86 w 103"/>
              <a:gd name="T59" fmla="*/ 168 h 183"/>
              <a:gd name="T60" fmla="*/ 19 w 103"/>
              <a:gd name="T61" fmla="*/ 168 h 183"/>
              <a:gd name="T62" fmla="*/ 19 w 103"/>
              <a:gd name="T63" fmla="*/ 168 h 183"/>
              <a:gd name="T64" fmla="*/ 16 w 103"/>
              <a:gd name="T65" fmla="*/ 168 h 183"/>
              <a:gd name="T66" fmla="*/ 16 w 103"/>
              <a:gd name="T67" fmla="*/ 164 h 183"/>
              <a:gd name="T68" fmla="*/ 16 w 103"/>
              <a:gd name="T69" fmla="*/ 17 h 183"/>
              <a:gd name="T70" fmla="*/ 16 w 103"/>
              <a:gd name="T71" fmla="*/ 17 h 183"/>
              <a:gd name="T72" fmla="*/ 16 w 103"/>
              <a:gd name="T73" fmla="*/ 16 h 183"/>
              <a:gd name="T74" fmla="*/ 19 w 103"/>
              <a:gd name="T75" fmla="*/ 14 h 183"/>
              <a:gd name="T76" fmla="*/ 86 w 103"/>
              <a:gd name="T77" fmla="*/ 14 h 183"/>
              <a:gd name="T78" fmla="*/ 86 w 103"/>
              <a:gd name="T79" fmla="*/ 14 h 183"/>
              <a:gd name="T80" fmla="*/ 88 w 103"/>
              <a:gd name="T81" fmla="*/ 16 h 183"/>
              <a:gd name="T82" fmla="*/ 89 w 103"/>
              <a:gd name="T83" fmla="*/ 17 h 183"/>
              <a:gd name="T84" fmla="*/ 89 w 103"/>
              <a:gd name="T85" fmla="*/ 16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3" h="183">
                <a:moveTo>
                  <a:pt x="86" y="0"/>
                </a:moveTo>
                <a:lnTo>
                  <a:pt x="19" y="0"/>
                </a:lnTo>
                <a:lnTo>
                  <a:pt x="19" y="0"/>
                </a:lnTo>
                <a:lnTo>
                  <a:pt x="11" y="1"/>
                </a:lnTo>
                <a:lnTo>
                  <a:pt x="6" y="5"/>
                </a:lnTo>
                <a:lnTo>
                  <a:pt x="1" y="11"/>
                </a:lnTo>
                <a:lnTo>
                  <a:pt x="0" y="17"/>
                </a:lnTo>
                <a:lnTo>
                  <a:pt x="0" y="164"/>
                </a:lnTo>
                <a:lnTo>
                  <a:pt x="0" y="164"/>
                </a:lnTo>
                <a:lnTo>
                  <a:pt x="1" y="172"/>
                </a:lnTo>
                <a:lnTo>
                  <a:pt x="6" y="177"/>
                </a:lnTo>
                <a:lnTo>
                  <a:pt x="11" y="182"/>
                </a:lnTo>
                <a:lnTo>
                  <a:pt x="19" y="183"/>
                </a:lnTo>
                <a:lnTo>
                  <a:pt x="86" y="183"/>
                </a:lnTo>
                <a:lnTo>
                  <a:pt x="86" y="183"/>
                </a:lnTo>
                <a:lnTo>
                  <a:pt x="92" y="182"/>
                </a:lnTo>
                <a:lnTo>
                  <a:pt x="99" y="177"/>
                </a:lnTo>
                <a:lnTo>
                  <a:pt x="102" y="172"/>
                </a:lnTo>
                <a:lnTo>
                  <a:pt x="103" y="164"/>
                </a:lnTo>
                <a:lnTo>
                  <a:pt x="103" y="17"/>
                </a:lnTo>
                <a:lnTo>
                  <a:pt x="103" y="17"/>
                </a:lnTo>
                <a:lnTo>
                  <a:pt x="102" y="11"/>
                </a:lnTo>
                <a:lnTo>
                  <a:pt x="99" y="5"/>
                </a:lnTo>
                <a:lnTo>
                  <a:pt x="92" y="1"/>
                </a:lnTo>
                <a:lnTo>
                  <a:pt x="86" y="0"/>
                </a:lnTo>
                <a:lnTo>
                  <a:pt x="86" y="0"/>
                </a:lnTo>
                <a:close/>
                <a:moveTo>
                  <a:pt x="89" y="164"/>
                </a:moveTo>
                <a:lnTo>
                  <a:pt x="89" y="164"/>
                </a:lnTo>
                <a:lnTo>
                  <a:pt x="88" y="168"/>
                </a:lnTo>
                <a:lnTo>
                  <a:pt x="86" y="168"/>
                </a:lnTo>
                <a:lnTo>
                  <a:pt x="19" y="168"/>
                </a:lnTo>
                <a:lnTo>
                  <a:pt x="19" y="168"/>
                </a:lnTo>
                <a:lnTo>
                  <a:pt x="16" y="168"/>
                </a:lnTo>
                <a:lnTo>
                  <a:pt x="16" y="164"/>
                </a:lnTo>
                <a:lnTo>
                  <a:pt x="16" y="17"/>
                </a:lnTo>
                <a:lnTo>
                  <a:pt x="16" y="17"/>
                </a:lnTo>
                <a:lnTo>
                  <a:pt x="16" y="16"/>
                </a:lnTo>
                <a:lnTo>
                  <a:pt x="19" y="14"/>
                </a:lnTo>
                <a:lnTo>
                  <a:pt x="86" y="14"/>
                </a:lnTo>
                <a:lnTo>
                  <a:pt x="86" y="14"/>
                </a:lnTo>
                <a:lnTo>
                  <a:pt x="88" y="16"/>
                </a:lnTo>
                <a:lnTo>
                  <a:pt x="89" y="17"/>
                </a:lnTo>
                <a:lnTo>
                  <a:pt x="89" y="164"/>
                </a:lnTo>
                <a:close/>
              </a:path>
            </a:pathLst>
          </a:custGeom>
          <a:solidFill>
            <a:schemeClr val="tx2"/>
          </a:solidFill>
          <a:ln>
            <a:solidFill>
              <a:srgbClr val="046A3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2746" tIns="36373" rIns="72746" bIns="36373" numCol="1" anchor="t" anchorCtr="0" compatLnSpc="1">
            <a:prstTxWarp prst="textNoShape">
              <a:avLst/>
            </a:prstTxWarp>
          </a:bodyPr>
          <a:lstStyle/>
          <a:p>
            <a:pPr marL="0" marR="0" lvl="0" indent="0" algn="l"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srgbClr val="012169">
                  <a:lumMod val="40000"/>
                  <a:lumOff val="60000"/>
                </a:srgbClr>
              </a:solidFill>
              <a:effectLst/>
              <a:uLnTx/>
              <a:uFillTx/>
              <a:latin typeface="Calibri Light" panose="020F0302020204030204" pitchFamily="34" charset="0"/>
              <a:ea typeface="+mn-ea"/>
              <a:cs typeface="Calibri Light" panose="020F0302020204030204" pitchFamily="34" charset="0"/>
            </a:endParaRPr>
          </a:p>
        </p:txBody>
      </p:sp>
      <p:sp>
        <p:nvSpPr>
          <p:cNvPr id="83" name="Freeform 200"/>
          <p:cNvSpPr>
            <a:spLocks noEditPoints="1"/>
          </p:cNvSpPr>
          <p:nvPr/>
        </p:nvSpPr>
        <p:spPr bwMode="auto">
          <a:xfrm>
            <a:off x="8266323" y="1619268"/>
            <a:ext cx="62048" cy="199270"/>
          </a:xfrm>
          <a:custGeom>
            <a:avLst/>
            <a:gdLst>
              <a:gd name="T0" fmla="*/ 86 w 103"/>
              <a:gd name="T1" fmla="*/ 0 h 333"/>
              <a:gd name="T2" fmla="*/ 19 w 103"/>
              <a:gd name="T3" fmla="*/ 0 h 333"/>
              <a:gd name="T4" fmla="*/ 19 w 103"/>
              <a:gd name="T5" fmla="*/ 0 h 333"/>
              <a:gd name="T6" fmla="*/ 11 w 103"/>
              <a:gd name="T7" fmla="*/ 1 h 333"/>
              <a:gd name="T8" fmla="*/ 6 w 103"/>
              <a:gd name="T9" fmla="*/ 6 h 333"/>
              <a:gd name="T10" fmla="*/ 2 w 103"/>
              <a:gd name="T11" fmla="*/ 11 h 333"/>
              <a:gd name="T12" fmla="*/ 0 w 103"/>
              <a:gd name="T13" fmla="*/ 18 h 333"/>
              <a:gd name="T14" fmla="*/ 0 w 103"/>
              <a:gd name="T15" fmla="*/ 314 h 333"/>
              <a:gd name="T16" fmla="*/ 0 w 103"/>
              <a:gd name="T17" fmla="*/ 314 h 333"/>
              <a:gd name="T18" fmla="*/ 2 w 103"/>
              <a:gd name="T19" fmla="*/ 322 h 333"/>
              <a:gd name="T20" fmla="*/ 6 w 103"/>
              <a:gd name="T21" fmla="*/ 327 h 333"/>
              <a:gd name="T22" fmla="*/ 11 w 103"/>
              <a:gd name="T23" fmla="*/ 332 h 333"/>
              <a:gd name="T24" fmla="*/ 19 w 103"/>
              <a:gd name="T25" fmla="*/ 333 h 333"/>
              <a:gd name="T26" fmla="*/ 86 w 103"/>
              <a:gd name="T27" fmla="*/ 333 h 333"/>
              <a:gd name="T28" fmla="*/ 86 w 103"/>
              <a:gd name="T29" fmla="*/ 333 h 333"/>
              <a:gd name="T30" fmla="*/ 92 w 103"/>
              <a:gd name="T31" fmla="*/ 332 h 333"/>
              <a:gd name="T32" fmla="*/ 99 w 103"/>
              <a:gd name="T33" fmla="*/ 327 h 333"/>
              <a:gd name="T34" fmla="*/ 102 w 103"/>
              <a:gd name="T35" fmla="*/ 322 h 333"/>
              <a:gd name="T36" fmla="*/ 103 w 103"/>
              <a:gd name="T37" fmla="*/ 314 h 333"/>
              <a:gd name="T38" fmla="*/ 103 w 103"/>
              <a:gd name="T39" fmla="*/ 18 h 333"/>
              <a:gd name="T40" fmla="*/ 103 w 103"/>
              <a:gd name="T41" fmla="*/ 18 h 333"/>
              <a:gd name="T42" fmla="*/ 102 w 103"/>
              <a:gd name="T43" fmla="*/ 11 h 333"/>
              <a:gd name="T44" fmla="*/ 99 w 103"/>
              <a:gd name="T45" fmla="*/ 6 h 333"/>
              <a:gd name="T46" fmla="*/ 92 w 103"/>
              <a:gd name="T47" fmla="*/ 1 h 333"/>
              <a:gd name="T48" fmla="*/ 86 w 103"/>
              <a:gd name="T49" fmla="*/ 0 h 333"/>
              <a:gd name="T50" fmla="*/ 86 w 103"/>
              <a:gd name="T51" fmla="*/ 0 h 333"/>
              <a:gd name="T52" fmla="*/ 89 w 103"/>
              <a:gd name="T53" fmla="*/ 314 h 333"/>
              <a:gd name="T54" fmla="*/ 89 w 103"/>
              <a:gd name="T55" fmla="*/ 314 h 333"/>
              <a:gd name="T56" fmla="*/ 88 w 103"/>
              <a:gd name="T57" fmla="*/ 318 h 333"/>
              <a:gd name="T58" fmla="*/ 86 w 103"/>
              <a:gd name="T59" fmla="*/ 318 h 333"/>
              <a:gd name="T60" fmla="*/ 19 w 103"/>
              <a:gd name="T61" fmla="*/ 318 h 333"/>
              <a:gd name="T62" fmla="*/ 19 w 103"/>
              <a:gd name="T63" fmla="*/ 318 h 333"/>
              <a:gd name="T64" fmla="*/ 16 w 103"/>
              <a:gd name="T65" fmla="*/ 318 h 333"/>
              <a:gd name="T66" fmla="*/ 16 w 103"/>
              <a:gd name="T67" fmla="*/ 314 h 333"/>
              <a:gd name="T68" fmla="*/ 16 w 103"/>
              <a:gd name="T69" fmla="*/ 18 h 333"/>
              <a:gd name="T70" fmla="*/ 16 w 103"/>
              <a:gd name="T71" fmla="*/ 18 h 333"/>
              <a:gd name="T72" fmla="*/ 16 w 103"/>
              <a:gd name="T73" fmla="*/ 15 h 333"/>
              <a:gd name="T74" fmla="*/ 19 w 103"/>
              <a:gd name="T75" fmla="*/ 15 h 333"/>
              <a:gd name="T76" fmla="*/ 86 w 103"/>
              <a:gd name="T77" fmla="*/ 15 h 333"/>
              <a:gd name="T78" fmla="*/ 86 w 103"/>
              <a:gd name="T79" fmla="*/ 15 h 333"/>
              <a:gd name="T80" fmla="*/ 88 w 103"/>
              <a:gd name="T81" fmla="*/ 15 h 333"/>
              <a:gd name="T82" fmla="*/ 89 w 103"/>
              <a:gd name="T83" fmla="*/ 18 h 333"/>
              <a:gd name="T84" fmla="*/ 89 w 103"/>
              <a:gd name="T85" fmla="*/ 314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3" h="333">
                <a:moveTo>
                  <a:pt x="86" y="0"/>
                </a:moveTo>
                <a:lnTo>
                  <a:pt x="19" y="0"/>
                </a:lnTo>
                <a:lnTo>
                  <a:pt x="19" y="0"/>
                </a:lnTo>
                <a:lnTo>
                  <a:pt x="11" y="1"/>
                </a:lnTo>
                <a:lnTo>
                  <a:pt x="6" y="6"/>
                </a:lnTo>
                <a:lnTo>
                  <a:pt x="2" y="11"/>
                </a:lnTo>
                <a:lnTo>
                  <a:pt x="0" y="18"/>
                </a:lnTo>
                <a:lnTo>
                  <a:pt x="0" y="314"/>
                </a:lnTo>
                <a:lnTo>
                  <a:pt x="0" y="314"/>
                </a:lnTo>
                <a:lnTo>
                  <a:pt x="2" y="322"/>
                </a:lnTo>
                <a:lnTo>
                  <a:pt x="6" y="327"/>
                </a:lnTo>
                <a:lnTo>
                  <a:pt x="11" y="332"/>
                </a:lnTo>
                <a:lnTo>
                  <a:pt x="19" y="333"/>
                </a:lnTo>
                <a:lnTo>
                  <a:pt x="86" y="333"/>
                </a:lnTo>
                <a:lnTo>
                  <a:pt x="86" y="333"/>
                </a:lnTo>
                <a:lnTo>
                  <a:pt x="92" y="332"/>
                </a:lnTo>
                <a:lnTo>
                  <a:pt x="99" y="327"/>
                </a:lnTo>
                <a:lnTo>
                  <a:pt x="102" y="322"/>
                </a:lnTo>
                <a:lnTo>
                  <a:pt x="103" y="314"/>
                </a:lnTo>
                <a:lnTo>
                  <a:pt x="103" y="18"/>
                </a:lnTo>
                <a:lnTo>
                  <a:pt x="103" y="18"/>
                </a:lnTo>
                <a:lnTo>
                  <a:pt x="102" y="11"/>
                </a:lnTo>
                <a:lnTo>
                  <a:pt x="99" y="6"/>
                </a:lnTo>
                <a:lnTo>
                  <a:pt x="92" y="1"/>
                </a:lnTo>
                <a:lnTo>
                  <a:pt x="86" y="0"/>
                </a:lnTo>
                <a:lnTo>
                  <a:pt x="86" y="0"/>
                </a:lnTo>
                <a:close/>
                <a:moveTo>
                  <a:pt x="89" y="314"/>
                </a:moveTo>
                <a:lnTo>
                  <a:pt x="89" y="314"/>
                </a:lnTo>
                <a:lnTo>
                  <a:pt x="88" y="318"/>
                </a:lnTo>
                <a:lnTo>
                  <a:pt x="86" y="318"/>
                </a:lnTo>
                <a:lnTo>
                  <a:pt x="19" y="318"/>
                </a:lnTo>
                <a:lnTo>
                  <a:pt x="19" y="318"/>
                </a:lnTo>
                <a:lnTo>
                  <a:pt x="16" y="318"/>
                </a:lnTo>
                <a:lnTo>
                  <a:pt x="16" y="314"/>
                </a:lnTo>
                <a:lnTo>
                  <a:pt x="16" y="18"/>
                </a:lnTo>
                <a:lnTo>
                  <a:pt x="16" y="18"/>
                </a:lnTo>
                <a:lnTo>
                  <a:pt x="16" y="15"/>
                </a:lnTo>
                <a:lnTo>
                  <a:pt x="19" y="15"/>
                </a:lnTo>
                <a:lnTo>
                  <a:pt x="86" y="15"/>
                </a:lnTo>
                <a:lnTo>
                  <a:pt x="86" y="15"/>
                </a:lnTo>
                <a:lnTo>
                  <a:pt x="88" y="15"/>
                </a:lnTo>
                <a:lnTo>
                  <a:pt x="89" y="18"/>
                </a:lnTo>
                <a:lnTo>
                  <a:pt x="89" y="314"/>
                </a:lnTo>
                <a:close/>
              </a:path>
            </a:pathLst>
          </a:custGeom>
          <a:solidFill>
            <a:schemeClr val="tx2"/>
          </a:solidFill>
          <a:ln>
            <a:solidFill>
              <a:srgbClr val="046A3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2746" tIns="36373" rIns="72746" bIns="36373" numCol="1" anchor="t" anchorCtr="0" compatLnSpc="1">
            <a:prstTxWarp prst="textNoShape">
              <a:avLst/>
            </a:prstTxWarp>
          </a:bodyPr>
          <a:lstStyle/>
          <a:p>
            <a:pPr marL="0" marR="0" lvl="0" indent="0" algn="l" defTabSz="714403" rtl="0" eaLnBrk="1" fontAlgn="auto" latinLnBrk="0" hangingPunct="1">
              <a:lnSpc>
                <a:spcPct val="100000"/>
              </a:lnSpc>
              <a:spcBef>
                <a:spcPts val="0"/>
              </a:spcBef>
              <a:spcAft>
                <a:spcPts val="0"/>
              </a:spcAft>
              <a:buClrTx/>
              <a:buSzTx/>
              <a:buFontTx/>
              <a:buNone/>
              <a:tabLst/>
              <a:defRPr/>
            </a:pPr>
            <a:endParaRPr kumimoji="0" lang="en-US" sz="1233" b="0" i="0" u="none" strike="noStrike" kern="1200" cap="none" spc="0" normalizeH="0" baseline="0" noProof="0" dirty="0">
              <a:ln>
                <a:noFill/>
              </a:ln>
              <a:solidFill>
                <a:srgbClr val="012169">
                  <a:lumMod val="40000"/>
                  <a:lumOff val="60000"/>
                </a:srgbClr>
              </a:solidFill>
              <a:effectLst/>
              <a:uLnTx/>
              <a:uFillTx/>
              <a:latin typeface="Calibri Light" panose="020F0302020204030204" pitchFamily="34" charset="0"/>
              <a:ea typeface="+mn-ea"/>
              <a:cs typeface="Calibri Light" panose="020F0302020204030204" pitchFamily="34" charset="0"/>
            </a:endParaRPr>
          </a:p>
        </p:txBody>
      </p:sp>
      <p:sp>
        <p:nvSpPr>
          <p:cNvPr id="86" name="Pentagon 85"/>
          <p:cNvSpPr>
            <a:spLocks noChangeArrowheads="1"/>
          </p:cNvSpPr>
          <p:nvPr/>
        </p:nvSpPr>
        <p:spPr bwMode="auto">
          <a:xfrm rot="10800000" flipH="1" flipV="1">
            <a:off x="856743" y="2653548"/>
            <a:ext cx="10005155" cy="195399"/>
          </a:xfrm>
          <a:prstGeom prst="homePlate">
            <a:avLst>
              <a:gd name="adj" fmla="val 11973"/>
            </a:avLst>
          </a:prstGeom>
          <a:solidFill>
            <a:srgbClr val="86BC25"/>
          </a:solidFill>
          <a:ln w="1270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3200" tIns="28640" rIns="143200" bIns="28640" numCol="1" spcCol="1270" anchor="ctr" anchorCtr="0">
            <a:noAutofit/>
          </a:bodyPr>
          <a:lstStyle/>
          <a:p>
            <a:pPr marL="0" marR="0" lvl="0" indent="0" algn="ctr" defTabSz="714403" rtl="0" eaLnBrk="1" fontAlgn="auto" latinLnBrk="0" hangingPunct="1">
              <a:lnSpc>
                <a:spcPct val="100000"/>
              </a:lnSpc>
              <a:spcBef>
                <a:spcPts val="0"/>
              </a:spcBef>
              <a:spcAft>
                <a:spcPts val="544"/>
              </a:spcAft>
              <a:buClrTx/>
              <a:buSzTx/>
              <a:buFontTx/>
              <a:buNone/>
              <a:tabLst/>
              <a:defRPr/>
            </a:pPr>
            <a:r>
              <a:rPr lang="en-US" sz="1600" b="1" dirty="0">
                <a:solidFill>
                  <a:prstClr val="white"/>
                </a:solidFill>
                <a:latin typeface="Calibri Light" panose="020F0302020204030204" pitchFamily="34" charset="0"/>
                <a:cs typeface="Calibri Light" panose="020F0302020204030204" pitchFamily="34" charset="0"/>
              </a:rPr>
              <a:t>Activities</a:t>
            </a:r>
            <a:endParaRPr kumimoji="0" lang="en-US" sz="16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87" name="Rectangle 86"/>
          <p:cNvSpPr/>
          <p:nvPr/>
        </p:nvSpPr>
        <p:spPr>
          <a:xfrm>
            <a:off x="1858133" y="4926450"/>
            <a:ext cx="2443983" cy="1530739"/>
          </a:xfrm>
          <a:prstGeom prst="rect">
            <a:avLst/>
          </a:prstGeom>
        </p:spPr>
        <p:txBody>
          <a:bodyPr wrap="square" lIns="0" tIns="0" rIns="0" bIns="0">
            <a:noAutofit/>
          </a:bodyPr>
          <a:lstStyle/>
          <a:p>
            <a:pPr marL="155539" marR="0" lvl="0" indent="-155539" algn="l" defTabSz="714403"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954" b="0" i="0" u="none" strike="noStrike" kern="1200" cap="none" spc="0" normalizeH="0" baseline="0" noProof="0" dirty="0">
              <a:ln>
                <a:noFill/>
              </a:ln>
              <a:solidFill>
                <a:srgbClr val="D0D0CE">
                  <a:lumMod val="50000"/>
                </a:srgbClr>
              </a:solidFill>
              <a:effectLst/>
              <a:uLnTx/>
              <a:uFillTx/>
              <a:latin typeface="Calibri Light" panose="020F0302020204030204" pitchFamily="34" charset="0"/>
              <a:ea typeface="+mn-ea"/>
              <a:cs typeface="Calibri Light" panose="020F0302020204030204" pitchFamily="34" charset="0"/>
            </a:endParaRPr>
          </a:p>
        </p:txBody>
      </p:sp>
      <p:sp>
        <p:nvSpPr>
          <p:cNvPr id="89" name="Pentagon 88"/>
          <p:cNvSpPr>
            <a:spLocks noChangeArrowheads="1"/>
          </p:cNvSpPr>
          <p:nvPr/>
        </p:nvSpPr>
        <p:spPr bwMode="auto">
          <a:xfrm rot="10800000" flipH="1" flipV="1">
            <a:off x="858362" y="4520498"/>
            <a:ext cx="10003536" cy="192024"/>
          </a:xfrm>
          <a:prstGeom prst="homePlate">
            <a:avLst>
              <a:gd name="adj" fmla="val 11973"/>
            </a:avLst>
          </a:prstGeom>
          <a:solidFill>
            <a:schemeClr val="accent1">
              <a:lumMod val="75000"/>
            </a:schemeClr>
          </a:solidFill>
          <a:ln w="1270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3200" tIns="28640" rIns="143200" bIns="28640" numCol="1" spcCol="1270" anchor="ctr" anchorCtr="0">
            <a:noAutofit/>
          </a:bodyPr>
          <a:lstStyle/>
          <a:p>
            <a:pPr marL="0" marR="0" lvl="0" indent="0" algn="ctr" defTabSz="714403" rtl="0" eaLnBrk="1" fontAlgn="auto" latinLnBrk="0" hangingPunct="1">
              <a:lnSpc>
                <a:spcPct val="100000"/>
              </a:lnSpc>
              <a:spcBef>
                <a:spcPts val="0"/>
              </a:spcBef>
              <a:spcAft>
                <a:spcPts val="544"/>
              </a:spcAft>
              <a:buClrTx/>
              <a:buSzTx/>
              <a:buFontTx/>
              <a:buNone/>
              <a:tabLst/>
              <a:defRPr/>
            </a:pPr>
            <a:r>
              <a:rPr lang="en-US" sz="1600" b="1" dirty="0">
                <a:solidFill>
                  <a:prstClr val="white"/>
                </a:solidFill>
                <a:latin typeface="Calibri Light" panose="020F0302020204030204" pitchFamily="34" charset="0"/>
                <a:cs typeface="Calibri Light" panose="020F0302020204030204" pitchFamily="34" charset="0"/>
              </a:rPr>
              <a:t>Deliverables</a:t>
            </a:r>
            <a:endParaRPr kumimoji="0" lang="en-US" sz="16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03" name="Rectangle 102"/>
          <p:cNvSpPr/>
          <p:nvPr/>
        </p:nvSpPr>
        <p:spPr>
          <a:xfrm>
            <a:off x="7922944" y="2894940"/>
            <a:ext cx="2938954" cy="1723869"/>
          </a:xfrm>
          <a:prstGeom prst="rect">
            <a:avLst/>
          </a:prstGeom>
        </p:spPr>
        <p:txBody>
          <a:bodyPr wrap="square" lIns="0" tIns="0" rIns="0" bIns="0" anchor="t">
            <a:noAutofit/>
          </a:bodyPr>
          <a:lstStyle/>
          <a:p>
            <a:pPr marL="154940" indent="-154940" defTabSz="714403">
              <a:lnSpc>
                <a:spcPct val="120000"/>
              </a:lnSpc>
              <a:buFont typeface="Arial" panose="020B0604020202020204" pitchFamily="34" charset="0"/>
              <a:buChar char="•"/>
            </a:pPr>
            <a:r>
              <a:rPr lang="en-US" sz="1200" dirty="0">
                <a:latin typeface="Calibri Light"/>
                <a:ea typeface="Open Sans"/>
                <a:cs typeface="Calibri Light"/>
              </a:rPr>
              <a:t>Once all GAPs are discovered and assessed, our Team creates and issues an action plan in order to enable UNICEF to minimize the discovered GAPs and achieve full compliance </a:t>
            </a:r>
          </a:p>
          <a:p>
            <a:pPr marL="154940" indent="-154940" defTabSz="714403">
              <a:lnSpc>
                <a:spcPct val="120000"/>
              </a:lnSpc>
              <a:buFont typeface="Arial" panose="020B0604020202020204" pitchFamily="34" charset="0"/>
              <a:buChar char="•"/>
            </a:pPr>
            <a:r>
              <a:rPr lang="en-US" sz="1200" dirty="0">
                <a:latin typeface="Calibri Light"/>
                <a:ea typeface="Open Sans"/>
                <a:cs typeface="Calibri Light"/>
              </a:rPr>
              <a:t> Discuss the identified gaps with responsible personnel</a:t>
            </a:r>
            <a:endParaRPr lang="en-US" dirty="0"/>
          </a:p>
        </p:txBody>
      </p:sp>
      <p:sp>
        <p:nvSpPr>
          <p:cNvPr id="39" name="Rectangle 38">
            <a:extLst>
              <a:ext uri="{FF2B5EF4-FFF2-40B4-BE49-F238E27FC236}">
                <a16:creationId xmlns:a16="http://schemas.microsoft.com/office/drawing/2014/main" id="{34B228FE-8BED-4627-B992-EE3C375E7289}"/>
              </a:ext>
            </a:extLst>
          </p:cNvPr>
          <p:cNvSpPr/>
          <p:nvPr/>
        </p:nvSpPr>
        <p:spPr>
          <a:xfrm>
            <a:off x="4302116" y="2896546"/>
            <a:ext cx="3213110" cy="1815976"/>
          </a:xfrm>
          <a:prstGeom prst="rect">
            <a:avLst/>
          </a:prstGeom>
        </p:spPr>
        <p:txBody>
          <a:bodyPr wrap="square" lIns="0" tIns="0" rIns="0" bIns="0">
            <a:noAutofit/>
          </a:bodyPr>
          <a:lstStyle/>
          <a:p>
            <a:pPr marL="155539" indent="-155539" defTabSz="714403">
              <a:lnSpc>
                <a:spcPct val="120000"/>
              </a:lnSpc>
              <a:buFont typeface="Arial" panose="020B0604020202020204" pitchFamily="34" charset="0"/>
              <a:buChar char="•"/>
            </a:pPr>
            <a:r>
              <a:rPr lang="en-US" sz="1200" dirty="0">
                <a:latin typeface="Calibri Light" panose="020F0302020204030204" pitchFamily="34" charset="0"/>
                <a:ea typeface="Open Sans" panose="020B0606030504020204" pitchFamily="34" charset="0"/>
                <a:cs typeface="Calibri Light" panose="020F0302020204030204" pitchFamily="34" charset="0"/>
              </a:rPr>
              <a:t>During this phase, our Team reviews evidences to assess the process and control design</a:t>
            </a:r>
          </a:p>
          <a:p>
            <a:pPr marL="155539" indent="-155539" defTabSz="714403">
              <a:lnSpc>
                <a:spcPct val="120000"/>
              </a:lnSpc>
              <a:buFont typeface="Arial" panose="020B0604020202020204" pitchFamily="34" charset="0"/>
              <a:buChar char="•"/>
            </a:pPr>
            <a:endParaRPr kumimoji="0" lang="en-US" sz="900" b="0" i="0" u="none" strike="noStrike" kern="1200" cap="none" spc="0" normalizeH="0" baseline="0" noProof="0" dirty="0">
              <a:ln>
                <a:noFill/>
              </a:ln>
              <a:effectLst/>
              <a:uLnTx/>
              <a:uFillTx/>
              <a:latin typeface="Calibri Light" panose="020F0302020204030204" pitchFamily="34" charset="0"/>
              <a:ea typeface="Open Sans" panose="020B0606030504020204" pitchFamily="34" charset="0"/>
              <a:cs typeface="Calibri Light" panose="020F0302020204030204" pitchFamily="34" charset="0"/>
            </a:endParaRPr>
          </a:p>
          <a:p>
            <a:pPr defTabSz="714403">
              <a:lnSpc>
                <a:spcPct val="120000"/>
              </a:lnSpc>
            </a:pPr>
            <a:endParaRPr lang="en-US" sz="1200" dirty="0">
              <a:latin typeface="Calibri Light" panose="020F0302020204030204" pitchFamily="34" charset="0"/>
              <a:ea typeface="Open Sans" panose="020B0606030504020204" pitchFamily="34" charset="0"/>
              <a:cs typeface="Calibri Light" panose="020F0302020204030204" pitchFamily="34" charset="0"/>
            </a:endParaRPr>
          </a:p>
          <a:p>
            <a:pPr marL="155539" indent="-155539" defTabSz="714403">
              <a:lnSpc>
                <a:spcPct val="120000"/>
              </a:lnSpc>
              <a:buFont typeface="Arial" panose="020B0604020202020204" pitchFamily="34" charset="0"/>
              <a:buChar char="•"/>
            </a:pPr>
            <a:endParaRPr lang="en-US" sz="1200" dirty="0">
              <a:latin typeface="Calibri Light" panose="020F0302020204030204" pitchFamily="34" charset="0"/>
              <a:ea typeface="Open Sans" panose="020B0606030504020204" pitchFamily="34" charset="0"/>
              <a:cs typeface="Calibri Light" panose="020F0302020204030204" pitchFamily="34" charset="0"/>
            </a:endParaRPr>
          </a:p>
        </p:txBody>
      </p:sp>
      <p:sp>
        <p:nvSpPr>
          <p:cNvPr id="41" name="Rectangle 40">
            <a:extLst>
              <a:ext uri="{FF2B5EF4-FFF2-40B4-BE49-F238E27FC236}">
                <a16:creationId xmlns:a16="http://schemas.microsoft.com/office/drawing/2014/main" id="{E628F456-D94A-4AA0-9C8A-75FBF30388B5}"/>
              </a:ext>
            </a:extLst>
          </p:cNvPr>
          <p:cNvSpPr/>
          <p:nvPr/>
        </p:nvSpPr>
        <p:spPr>
          <a:xfrm>
            <a:off x="4503404" y="5219498"/>
            <a:ext cx="1633156" cy="209466"/>
          </a:xfrm>
          <a:prstGeom prst="rect">
            <a:avLst/>
          </a:prstGeom>
        </p:spPr>
        <p:txBody>
          <a:bodyPr wrap="square" lIns="0" tIns="0" rIns="0" bIns="0">
            <a:noAutofit/>
          </a:bodyPr>
          <a:lstStyle/>
          <a:p>
            <a:pPr defTabSz="714403">
              <a:lnSpc>
                <a:spcPct val="120000"/>
              </a:lnSpc>
              <a:spcBef>
                <a:spcPts val="272"/>
              </a:spcBef>
              <a:spcAft>
                <a:spcPts val="272"/>
              </a:spcAft>
            </a:pPr>
            <a:r>
              <a:rPr lang="hu-HU" sz="1200" dirty="0">
                <a:solidFill>
                  <a:srgbClr val="D0D0CE">
                    <a:lumMod val="50000"/>
                  </a:srgbClr>
                </a:solidFill>
                <a:latin typeface="Calibri Light" panose="020F0302020204030204" pitchFamily="34" charset="0"/>
                <a:ea typeface="Open Sans" panose="020B0606030504020204" pitchFamily="34" charset="0"/>
                <a:cs typeface="Calibri Light" panose="020F0302020204030204" pitchFamily="34" charset="0"/>
              </a:rPr>
              <a:t>-</a:t>
            </a:r>
            <a:endParaRPr lang="en-US" sz="1200" dirty="0">
              <a:solidFill>
                <a:srgbClr val="D0D0CE">
                  <a:lumMod val="50000"/>
                </a:srgbClr>
              </a:solidFill>
              <a:latin typeface="Calibri Light" panose="020F0302020204030204" pitchFamily="34" charset="0"/>
              <a:ea typeface="Open Sans" panose="020B0606030504020204" pitchFamily="34" charset="0"/>
              <a:cs typeface="Calibri Light" panose="020F0302020204030204" pitchFamily="34" charset="0"/>
            </a:endParaRPr>
          </a:p>
        </p:txBody>
      </p:sp>
      <p:sp>
        <p:nvSpPr>
          <p:cNvPr id="52" name="Rectangle 51">
            <a:extLst>
              <a:ext uri="{FF2B5EF4-FFF2-40B4-BE49-F238E27FC236}">
                <a16:creationId xmlns:a16="http://schemas.microsoft.com/office/drawing/2014/main" id="{FCD8D537-E487-0A67-68A7-AB866BB3A91A}"/>
              </a:ext>
            </a:extLst>
          </p:cNvPr>
          <p:cNvSpPr/>
          <p:nvPr/>
        </p:nvSpPr>
        <p:spPr>
          <a:xfrm>
            <a:off x="5555129" y="4799359"/>
            <a:ext cx="1633156" cy="209466"/>
          </a:xfrm>
          <a:prstGeom prst="rect">
            <a:avLst/>
          </a:prstGeom>
        </p:spPr>
        <p:txBody>
          <a:bodyPr wrap="square" lIns="0" tIns="0" rIns="0" bIns="0">
            <a:noAutofit/>
          </a:bodyPr>
          <a:lstStyle/>
          <a:p>
            <a:pPr defTabSz="714403">
              <a:lnSpc>
                <a:spcPct val="120000"/>
              </a:lnSpc>
              <a:spcBef>
                <a:spcPts val="272"/>
              </a:spcBef>
              <a:spcAft>
                <a:spcPts val="272"/>
              </a:spcAft>
            </a:pPr>
            <a:r>
              <a:rPr lang="en-US" sz="1200" b="1" dirty="0">
                <a:solidFill>
                  <a:srgbClr val="D0D0CE">
                    <a:lumMod val="50000"/>
                  </a:srgbClr>
                </a:solidFill>
                <a:latin typeface="Calibri Light" panose="020F0302020204030204" pitchFamily="34" charset="0"/>
                <a:ea typeface="Open Sans" panose="020B0606030504020204" pitchFamily="34" charset="0"/>
                <a:cs typeface="Calibri Light" panose="020F0302020204030204" pitchFamily="34" charset="0"/>
              </a:rPr>
              <a:t>GAP assessment</a:t>
            </a:r>
          </a:p>
          <a:p>
            <a:pPr defTabSz="714403">
              <a:lnSpc>
                <a:spcPct val="120000"/>
              </a:lnSpc>
              <a:spcBef>
                <a:spcPts val="272"/>
              </a:spcBef>
              <a:spcAft>
                <a:spcPts val="272"/>
              </a:spcAft>
            </a:pPr>
            <a:r>
              <a:rPr lang="en-US" sz="1200" b="1" dirty="0">
                <a:solidFill>
                  <a:srgbClr val="D0D0CE">
                    <a:lumMod val="50000"/>
                  </a:srgbClr>
                </a:solidFill>
                <a:latin typeface="Calibri Light" panose="020F0302020204030204" pitchFamily="34" charset="0"/>
                <a:ea typeface="Open Sans" panose="020B0606030504020204" pitchFamily="34" charset="0"/>
                <a:cs typeface="Calibri Light" panose="020F0302020204030204" pitchFamily="34" charset="0"/>
              </a:rPr>
              <a:t>Action plan</a:t>
            </a:r>
            <a:endParaRPr lang="en-US" sz="1200" dirty="0">
              <a:solidFill>
                <a:srgbClr val="D0D0CE">
                  <a:lumMod val="50000"/>
                </a:srgbClr>
              </a:solidFill>
              <a:latin typeface="Calibri Light" panose="020F0302020204030204" pitchFamily="34" charset="0"/>
              <a:ea typeface="Open Sans" panose="020B0606030504020204" pitchFamily="34" charset="0"/>
              <a:cs typeface="Calibri Light" panose="020F0302020204030204" pitchFamily="34" charset="0"/>
            </a:endParaRPr>
          </a:p>
        </p:txBody>
      </p:sp>
      <p:sp>
        <p:nvSpPr>
          <p:cNvPr id="4" name="Footer Placeholder 1">
            <a:extLst>
              <a:ext uri="{FF2B5EF4-FFF2-40B4-BE49-F238E27FC236}">
                <a16:creationId xmlns:a16="http://schemas.microsoft.com/office/drawing/2014/main" id="{CD45D2BD-ADEE-0D94-01A3-E1A607A11F4D}"/>
              </a:ext>
            </a:extLst>
          </p:cNvPr>
          <p:cNvSpPr txBox="1">
            <a:spLocks/>
          </p:cNvSpPr>
          <p:nvPr/>
        </p:nvSpPr>
        <p:spPr>
          <a:xfrm>
            <a:off x="469900" y="6441798"/>
            <a:ext cx="8839071" cy="135422"/>
          </a:xfrm>
          <a:prstGeom prst="rect">
            <a:avLst/>
          </a:prstGeom>
        </p:spPr>
        <p:txBody>
          <a:bodyPr vert="horz" lIns="0" tIns="0" rIns="0" bIns="0" rtlCol="0" anchor="ctr" anchorCtr="0"/>
          <a:ls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a:lstStyle>
          <a:p>
            <a:pPr marL="0" marR="0" lvl="0" indent="0" algn="l" defTabSz="787481"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solidFill>
                  <a:srgbClr val="3F3F3F"/>
                </a:solidFill>
                <a:effectLst/>
                <a:uLnTx/>
                <a:uFillTx/>
                <a:latin typeface="Open Sans Light" panose="020B0306030504020204" pitchFamily="34" charset="0"/>
                <a:ea typeface="+mn-ea"/>
                <a:cs typeface="+mn-cs"/>
              </a:rPr>
              <a:t>© 202</a:t>
            </a:r>
            <a:r>
              <a:rPr lang="en-US" sz="800" dirty="0">
                <a:solidFill>
                  <a:srgbClr val="3F3F3F"/>
                </a:solidFill>
                <a:latin typeface="Open Sans Light" panose="020B0306030504020204" pitchFamily="34" charset="0"/>
              </a:rPr>
              <a:t>3</a:t>
            </a:r>
            <a:r>
              <a:rPr kumimoji="0" lang="en-US" sz="800" u="none" strike="noStrike" kern="1200" cap="none" spc="0" normalizeH="0" baseline="0" noProof="0" dirty="0">
                <a:ln>
                  <a:noFill/>
                </a:ln>
                <a:solidFill>
                  <a:srgbClr val="3F3F3F"/>
                </a:solidFill>
                <a:effectLst/>
                <a:uLnTx/>
                <a:uFillTx/>
                <a:latin typeface="Open Sans Light" panose="020B0306030504020204" pitchFamily="34" charset="0"/>
                <a:ea typeface="+mn-ea"/>
                <a:cs typeface="+mn-cs"/>
              </a:rPr>
              <a:t> Deloitte Hungary</a:t>
            </a:r>
          </a:p>
        </p:txBody>
      </p:sp>
      <p:pic>
        <p:nvPicPr>
          <p:cNvPr id="5" name="Picture 6" descr="Graphical user interface, text, application&#10;&#10;Description automatically generated">
            <a:extLst>
              <a:ext uri="{FF2B5EF4-FFF2-40B4-BE49-F238E27FC236}">
                <a16:creationId xmlns:a16="http://schemas.microsoft.com/office/drawing/2014/main" id="{3B39FB57-9886-1D86-8A42-89473333AB6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flipV="1">
            <a:off x="7649791" y="4818840"/>
            <a:ext cx="1552534" cy="865905"/>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A06A4878-4458-D310-627E-4885CB62CF4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338059" y="4828460"/>
            <a:ext cx="1535015" cy="865905"/>
          </a:xfrm>
          <a:prstGeom prst="rect">
            <a:avLst/>
          </a:prstGeom>
          <a:effectLst>
            <a:outerShdw blurRad="50800" dist="38100" dir="2700000" algn="tl" rotWithShape="0">
              <a:prstClr val="black">
                <a:alpha val="40000"/>
              </a:prstClr>
            </a:outerShdw>
          </a:effectLst>
        </p:spPr>
      </p:pic>
      <p:graphicFrame>
        <p:nvGraphicFramePr>
          <p:cNvPr id="14" name="object 16">
            <a:extLst>
              <a:ext uri="{FF2B5EF4-FFF2-40B4-BE49-F238E27FC236}">
                <a16:creationId xmlns:a16="http://schemas.microsoft.com/office/drawing/2014/main" id="{A151C858-F174-996B-22B8-2736E9550D80}"/>
              </a:ext>
            </a:extLst>
          </p:cNvPr>
          <p:cNvGraphicFramePr>
            <a:graphicFrameLocks noGrp="1"/>
          </p:cNvGraphicFramePr>
          <p:nvPr>
            <p:extLst>
              <p:ext uri="{D42A27DB-BD31-4B8C-83A1-F6EECF244321}">
                <p14:modId xmlns:p14="http://schemas.microsoft.com/office/powerpoint/2010/main" val="2104612835"/>
              </p:ext>
            </p:extLst>
          </p:nvPr>
        </p:nvGraphicFramePr>
        <p:xfrm>
          <a:off x="876676" y="4856425"/>
          <a:ext cx="4374858" cy="1255012"/>
        </p:xfrm>
        <a:graphic>
          <a:graphicData uri="http://schemas.openxmlformats.org/drawingml/2006/table">
            <a:tbl>
              <a:tblPr firstRow="1" bandRow="1">
                <a:effectLst>
                  <a:outerShdw blurRad="50800" dist="38100" dir="2700000" algn="tl" rotWithShape="0">
                    <a:prstClr val="black">
                      <a:alpha val="40000"/>
                    </a:prstClr>
                  </a:outerShdw>
                </a:effectLst>
                <a:tableStyleId>{3B4B98B0-60AC-42C2-AFA5-B58CD77FA1E5}</a:tableStyleId>
              </a:tblPr>
              <a:tblGrid>
                <a:gridCol w="975228">
                  <a:extLst>
                    <a:ext uri="{9D8B030D-6E8A-4147-A177-3AD203B41FA5}">
                      <a16:colId xmlns:a16="http://schemas.microsoft.com/office/drawing/2014/main" val="1379494917"/>
                    </a:ext>
                  </a:extLst>
                </a:gridCol>
                <a:gridCol w="909796">
                  <a:extLst>
                    <a:ext uri="{9D8B030D-6E8A-4147-A177-3AD203B41FA5}">
                      <a16:colId xmlns:a16="http://schemas.microsoft.com/office/drawing/2014/main" val="20000"/>
                    </a:ext>
                  </a:extLst>
                </a:gridCol>
                <a:gridCol w="1607324">
                  <a:extLst>
                    <a:ext uri="{9D8B030D-6E8A-4147-A177-3AD203B41FA5}">
                      <a16:colId xmlns:a16="http://schemas.microsoft.com/office/drawing/2014/main" val="1754996436"/>
                    </a:ext>
                  </a:extLst>
                </a:gridCol>
                <a:gridCol w="882510">
                  <a:extLst>
                    <a:ext uri="{9D8B030D-6E8A-4147-A177-3AD203B41FA5}">
                      <a16:colId xmlns:a16="http://schemas.microsoft.com/office/drawing/2014/main" val="36879521"/>
                    </a:ext>
                  </a:extLst>
                </a:gridCol>
              </a:tblGrid>
              <a:tr h="367337">
                <a:tc>
                  <a:txBody>
                    <a:bodyPr/>
                    <a:lstStyle/>
                    <a:p>
                      <a:pPr marL="91440" marR="384810">
                        <a:lnSpc>
                          <a:spcPct val="100000"/>
                        </a:lnSpc>
                        <a:spcBef>
                          <a:spcPts val="325"/>
                        </a:spcBef>
                      </a:pPr>
                      <a:r>
                        <a:rPr lang="en-US" sz="700" noProof="0" dirty="0">
                          <a:solidFill>
                            <a:srgbClr val="86BC25"/>
                          </a:solidFill>
                          <a:latin typeface="Calibri Light" panose="020F0302020204030204" pitchFamily="34" charset="0"/>
                          <a:ea typeface="Open Sans" panose="020B0606030504020204" pitchFamily="34" charset="0"/>
                          <a:cs typeface="Calibri Light" panose="020F0302020204030204" pitchFamily="34" charset="0"/>
                        </a:rPr>
                        <a:t>Risk Category</a:t>
                      </a:r>
                    </a:p>
                  </a:txBody>
                  <a:tcPr marL="0" marR="0" marT="41275" marB="0" anchor="ctr"/>
                </a:tc>
                <a:tc>
                  <a:txBody>
                    <a:bodyPr/>
                    <a:lstStyle/>
                    <a:p>
                      <a:pPr marL="91440" marR="384810" algn="l" defTabSz="914400" rtl="0" eaLnBrk="1" latinLnBrk="0" hangingPunct="1">
                        <a:lnSpc>
                          <a:spcPct val="100000"/>
                        </a:lnSpc>
                        <a:spcBef>
                          <a:spcPts val="325"/>
                        </a:spcBef>
                      </a:pPr>
                      <a:r>
                        <a:rPr lang="en-US" sz="700" b="1" kern="1200" noProof="0" dirty="0">
                          <a:solidFill>
                            <a:srgbClr val="86BC25"/>
                          </a:solidFill>
                          <a:latin typeface="Calibri Light" panose="020F0302020204030204" pitchFamily="34" charset="0"/>
                          <a:ea typeface="Open Sans" panose="020B0606030504020204" pitchFamily="34" charset="0"/>
                          <a:cs typeface="Calibri Light" panose="020F0302020204030204" pitchFamily="34" charset="0"/>
                        </a:rPr>
                        <a:t>Requirement</a:t>
                      </a:r>
                    </a:p>
                  </a:txBody>
                  <a:tcPr marL="0" marR="0" marT="41275" marB="0" anchor="ctr"/>
                </a:tc>
                <a:tc>
                  <a:txBody>
                    <a:bodyPr/>
                    <a:lstStyle/>
                    <a:p>
                      <a:pPr marL="91440" marR="384810" algn="l" defTabSz="914400" rtl="0" eaLnBrk="1" latinLnBrk="0" hangingPunct="1">
                        <a:lnSpc>
                          <a:spcPct val="100000"/>
                        </a:lnSpc>
                        <a:spcBef>
                          <a:spcPts val="325"/>
                        </a:spcBef>
                      </a:pPr>
                      <a:r>
                        <a:rPr lang="en-US" sz="700" b="1" kern="1200" noProof="0" dirty="0">
                          <a:solidFill>
                            <a:srgbClr val="86BC25"/>
                          </a:solidFill>
                          <a:latin typeface="Calibri Light" panose="020F0302020204030204" pitchFamily="34" charset="0"/>
                          <a:ea typeface="Open Sans" panose="020B0606030504020204" pitchFamily="34" charset="0"/>
                          <a:cs typeface="Calibri Light" panose="020F0302020204030204" pitchFamily="34" charset="0"/>
                        </a:rPr>
                        <a:t>As-Is observation</a:t>
                      </a:r>
                    </a:p>
                  </a:txBody>
                  <a:tcPr marL="0" marR="0" marT="41275" marB="0" anchor="ctr"/>
                </a:tc>
                <a:tc>
                  <a:txBody>
                    <a:bodyPr/>
                    <a:lstStyle/>
                    <a:p>
                      <a:pPr marL="91440" marR="384810" algn="l" defTabSz="914400" rtl="0" eaLnBrk="1" latinLnBrk="0" hangingPunct="1">
                        <a:lnSpc>
                          <a:spcPct val="100000"/>
                        </a:lnSpc>
                        <a:spcBef>
                          <a:spcPts val="325"/>
                        </a:spcBef>
                      </a:pPr>
                      <a:r>
                        <a:rPr lang="hu-HU" sz="700" b="1" kern="1200" noProof="0" dirty="0">
                          <a:solidFill>
                            <a:srgbClr val="86BC25"/>
                          </a:solidFill>
                          <a:latin typeface="Calibri Light" panose="020F0302020204030204" pitchFamily="34" charset="0"/>
                          <a:ea typeface="Open Sans" panose="020B0606030504020204" pitchFamily="34" charset="0"/>
                          <a:cs typeface="Calibri Light" panose="020F0302020204030204" pitchFamily="34" charset="0"/>
                        </a:rPr>
                        <a:t>Management </a:t>
                      </a:r>
                      <a:r>
                        <a:rPr lang="hu-HU" sz="700" b="1" kern="1200" noProof="0" dirty="0" err="1">
                          <a:solidFill>
                            <a:srgbClr val="86BC25"/>
                          </a:solidFill>
                          <a:latin typeface="Calibri Light" panose="020F0302020204030204" pitchFamily="34" charset="0"/>
                          <a:ea typeface="Open Sans" panose="020B0606030504020204" pitchFamily="34" charset="0"/>
                          <a:cs typeface="Calibri Light" panose="020F0302020204030204" pitchFamily="34" charset="0"/>
                        </a:rPr>
                        <a:t>response</a:t>
                      </a:r>
                      <a:endParaRPr lang="en-US" sz="700" b="1" kern="1200" noProof="0" dirty="0">
                        <a:solidFill>
                          <a:srgbClr val="86BC25"/>
                        </a:solidFill>
                        <a:latin typeface="Calibri Light" panose="020F0302020204030204" pitchFamily="34" charset="0"/>
                        <a:ea typeface="Open Sans" panose="020B0606030504020204" pitchFamily="34" charset="0"/>
                        <a:cs typeface="Calibri Light" panose="020F0302020204030204" pitchFamily="34" charset="0"/>
                      </a:endParaRPr>
                    </a:p>
                  </a:txBody>
                  <a:tcPr marL="0" marR="0" marT="41275" marB="0" anchor="ctr"/>
                </a:tc>
                <a:extLst>
                  <a:ext uri="{0D108BD9-81ED-4DB2-BD59-A6C34878D82A}">
                    <a16:rowId xmlns:a16="http://schemas.microsoft.com/office/drawing/2014/main" val="10000"/>
                  </a:ext>
                </a:extLst>
              </a:tr>
              <a:tr h="887675">
                <a:tc>
                  <a:txBody>
                    <a:bodyPr/>
                    <a:lstStyle/>
                    <a:p>
                      <a:pPr marL="91440" marR="189865">
                        <a:lnSpc>
                          <a:spcPct val="100000"/>
                        </a:lnSpc>
                      </a:pPr>
                      <a:endParaRPr lang="en-US" sz="700" noProof="0" dirty="0">
                        <a:solidFill>
                          <a:schemeClr val="tx1"/>
                        </a:solidFill>
                        <a:latin typeface="Calibri Light" panose="020F0302020204030204" pitchFamily="34" charset="0"/>
                        <a:ea typeface="Open Sans" panose="020B0606030504020204" pitchFamily="34" charset="0"/>
                        <a:cs typeface="Calibri Light" panose="020F0302020204030204" pitchFamily="34" charset="0"/>
                      </a:endParaRPr>
                    </a:p>
                  </a:txBody>
                  <a:tcPr marL="0" marR="0" marT="42544" marB="0">
                    <a:noFill/>
                  </a:tcPr>
                </a:tc>
                <a:tc>
                  <a:txBody>
                    <a:bodyPr/>
                    <a:lstStyle/>
                    <a:p>
                      <a:pPr marL="91440" marR="132080">
                        <a:lnSpc>
                          <a:spcPct val="100000"/>
                        </a:lnSpc>
                        <a:spcBef>
                          <a:spcPts val="334"/>
                        </a:spcBef>
                      </a:pPr>
                      <a:r>
                        <a:rPr lang="en-US" sz="700" noProof="0" dirty="0">
                          <a:solidFill>
                            <a:schemeClr val="tx1"/>
                          </a:solidFill>
                          <a:latin typeface="Calibri Light" panose="020F0302020204030204" pitchFamily="34" charset="0"/>
                          <a:ea typeface="Open Sans" panose="020B0606030504020204" pitchFamily="34" charset="0"/>
                          <a:cs typeface="Calibri Light" panose="020F0302020204030204" pitchFamily="34" charset="0"/>
                        </a:rPr>
                        <a:t>…</a:t>
                      </a:r>
                    </a:p>
                  </a:txBody>
                  <a:tcPr marL="0" marR="0" marT="42544" marB="0">
                    <a:noFill/>
                  </a:tcPr>
                </a:tc>
                <a:tc>
                  <a:txBody>
                    <a:bodyPr/>
                    <a:lstStyle/>
                    <a:p>
                      <a:pPr marL="91440" marR="166370">
                        <a:lnSpc>
                          <a:spcPct val="100000"/>
                        </a:lnSpc>
                        <a:spcBef>
                          <a:spcPts val="334"/>
                        </a:spcBef>
                      </a:pPr>
                      <a:r>
                        <a:rPr lang="en-US" sz="700" b="1" noProof="0" dirty="0">
                          <a:latin typeface="Calibri Light" panose="020F0302020204030204" pitchFamily="34" charset="0"/>
                          <a:cs typeface="Calibri Light" panose="020F0302020204030204" pitchFamily="34" charset="0"/>
                        </a:rPr>
                        <a:t>Observation</a:t>
                      </a:r>
                    </a:p>
                    <a:p>
                      <a:pPr marL="91440" marR="166370">
                        <a:lnSpc>
                          <a:spcPct val="100000"/>
                        </a:lnSpc>
                        <a:spcBef>
                          <a:spcPts val="334"/>
                        </a:spcBef>
                      </a:pPr>
                      <a:r>
                        <a:rPr lang="en-US" sz="700" b="1" noProof="0" dirty="0">
                          <a:latin typeface="Calibri Light" panose="020F0302020204030204" pitchFamily="34" charset="0"/>
                          <a:cs typeface="Calibri Light" panose="020F0302020204030204" pitchFamily="34" charset="0"/>
                        </a:rPr>
                        <a:t>…</a:t>
                      </a:r>
                    </a:p>
                    <a:p>
                      <a:pPr marL="91440" marR="166370">
                        <a:lnSpc>
                          <a:spcPct val="100000"/>
                        </a:lnSpc>
                        <a:spcBef>
                          <a:spcPts val="334"/>
                        </a:spcBef>
                      </a:pPr>
                      <a:r>
                        <a:rPr lang="en-US" sz="700" b="1" noProof="0" dirty="0">
                          <a:latin typeface="Calibri Light" panose="020F0302020204030204" pitchFamily="34" charset="0"/>
                          <a:cs typeface="Calibri Light" panose="020F0302020204030204" pitchFamily="34" charset="0"/>
                        </a:rPr>
                        <a:t>Risk</a:t>
                      </a:r>
                    </a:p>
                    <a:p>
                      <a:pPr marL="91440" marR="166370">
                        <a:lnSpc>
                          <a:spcPct val="100000"/>
                        </a:lnSpc>
                        <a:spcBef>
                          <a:spcPts val="334"/>
                        </a:spcBef>
                      </a:pPr>
                      <a:r>
                        <a:rPr lang="en-US" sz="700" b="1" noProof="0" dirty="0">
                          <a:latin typeface="Calibri Light" panose="020F0302020204030204" pitchFamily="34" charset="0"/>
                          <a:cs typeface="Calibri Light" panose="020F0302020204030204" pitchFamily="34" charset="0"/>
                        </a:rPr>
                        <a:t>...</a:t>
                      </a:r>
                    </a:p>
                    <a:p>
                      <a:pPr marL="91440" marR="166370">
                        <a:lnSpc>
                          <a:spcPct val="100000"/>
                        </a:lnSpc>
                        <a:spcBef>
                          <a:spcPts val="334"/>
                        </a:spcBef>
                      </a:pPr>
                      <a:r>
                        <a:rPr lang="en-US" sz="700" b="1" noProof="0" dirty="0">
                          <a:latin typeface="Calibri Light" panose="020F0302020204030204" pitchFamily="34" charset="0"/>
                          <a:cs typeface="Calibri Light" panose="020F0302020204030204" pitchFamily="34" charset="0"/>
                        </a:rPr>
                        <a:t>Recommendation</a:t>
                      </a:r>
                    </a:p>
                    <a:p>
                      <a:pPr marL="91440" marR="166370">
                        <a:lnSpc>
                          <a:spcPct val="100000"/>
                        </a:lnSpc>
                        <a:spcBef>
                          <a:spcPts val="334"/>
                        </a:spcBef>
                      </a:pPr>
                      <a:r>
                        <a:rPr lang="en-US" sz="700" b="1" noProof="0" dirty="0">
                          <a:latin typeface="Calibri Light" panose="020F0302020204030204" pitchFamily="34" charset="0"/>
                          <a:cs typeface="Calibri Light" panose="020F0302020204030204" pitchFamily="34" charset="0"/>
                        </a:rPr>
                        <a:t>…</a:t>
                      </a:r>
                    </a:p>
                  </a:txBody>
                  <a:tcPr marL="0" marR="0" marT="42544" marB="0">
                    <a:noFill/>
                  </a:tcPr>
                </a:tc>
                <a:tc>
                  <a:txBody>
                    <a:bodyPr/>
                    <a:lstStyle/>
                    <a:p>
                      <a:pPr marL="91440" marR="132080" lvl="0" indent="0" algn="l" defTabSz="914400" rtl="0" eaLnBrk="1" fontAlgn="auto" latinLnBrk="0" hangingPunct="1">
                        <a:lnSpc>
                          <a:spcPct val="100000"/>
                        </a:lnSpc>
                        <a:spcBef>
                          <a:spcPts val="334"/>
                        </a:spcBef>
                        <a:spcAft>
                          <a:spcPts val="0"/>
                        </a:spcAft>
                        <a:buClrTx/>
                        <a:buSzTx/>
                        <a:buFontTx/>
                        <a:buNone/>
                        <a:tabLst/>
                        <a:defRPr/>
                      </a:pPr>
                      <a:r>
                        <a:rPr lang="hu-HU" sz="700" i="1" noProof="0" dirty="0">
                          <a:solidFill>
                            <a:schemeClr val="tx1"/>
                          </a:solidFill>
                          <a:latin typeface="Calibri Light" panose="020F0302020204030204" pitchFamily="34" charset="0"/>
                          <a:ea typeface="Open Sans" panose="020B0606030504020204" pitchFamily="34" charset="0"/>
                          <a:cs typeface="Calibri Light" panose="020F0302020204030204" pitchFamily="34" charset="0"/>
                        </a:rPr>
                        <a:t>…</a:t>
                      </a:r>
                      <a:endParaRPr lang="en-US" sz="700" i="1" noProof="0" dirty="0">
                        <a:solidFill>
                          <a:schemeClr val="tx1"/>
                        </a:solidFill>
                        <a:latin typeface="Calibri Light" panose="020F0302020204030204" pitchFamily="34" charset="0"/>
                        <a:ea typeface="Open Sans" panose="020B0606030504020204" pitchFamily="34" charset="0"/>
                        <a:cs typeface="Calibri Light" panose="020F0302020204030204" pitchFamily="34" charset="0"/>
                      </a:endParaRPr>
                    </a:p>
                  </a:txBody>
                  <a:tcPr marL="0" marR="0" marT="42544" marB="0">
                    <a:noFill/>
                  </a:tcPr>
                </a:tc>
                <a:extLst>
                  <a:ext uri="{0D108BD9-81ED-4DB2-BD59-A6C34878D82A}">
                    <a16:rowId xmlns:a16="http://schemas.microsoft.com/office/drawing/2014/main" val="10001"/>
                  </a:ext>
                </a:extLst>
              </a:tr>
            </a:tbl>
          </a:graphicData>
        </a:graphic>
      </p:graphicFrame>
      <p:graphicFrame>
        <p:nvGraphicFramePr>
          <p:cNvPr id="15" name="Diagram 14">
            <a:extLst>
              <a:ext uri="{FF2B5EF4-FFF2-40B4-BE49-F238E27FC236}">
                <a16:creationId xmlns:a16="http://schemas.microsoft.com/office/drawing/2014/main" id="{75B65599-AA47-29D0-17B3-F994F8667ED7}"/>
              </a:ext>
            </a:extLst>
          </p:cNvPr>
          <p:cNvGraphicFramePr/>
          <p:nvPr>
            <p:extLst>
              <p:ext uri="{D42A27DB-BD31-4B8C-83A1-F6EECF244321}">
                <p14:modId xmlns:p14="http://schemas.microsoft.com/office/powerpoint/2010/main" val="4253332344"/>
              </p:ext>
            </p:extLst>
          </p:nvPr>
        </p:nvGraphicFramePr>
        <p:xfrm>
          <a:off x="806250" y="5346160"/>
          <a:ext cx="981123" cy="79811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6" name="Title 10">
            <a:extLst>
              <a:ext uri="{FF2B5EF4-FFF2-40B4-BE49-F238E27FC236}">
                <a16:creationId xmlns:a16="http://schemas.microsoft.com/office/drawing/2014/main" id="{CD667521-F75A-FE53-D90A-79B985AF5B65}"/>
              </a:ext>
            </a:extLst>
          </p:cNvPr>
          <p:cNvSpPr txBox="1">
            <a:spLocks/>
          </p:cNvSpPr>
          <p:nvPr/>
        </p:nvSpPr>
        <p:spPr bwMode="gray">
          <a:xfrm rot="1834126">
            <a:off x="1515432" y="5333269"/>
            <a:ext cx="2165936" cy="344184"/>
          </a:xfrm>
          <a:prstGeom prst="rect">
            <a:avLst/>
          </a:prstGeom>
        </p:spPr>
        <p:txBody>
          <a:bodyPr vert="horz" lIns="0" tIns="0" rIns="0" bIns="0" rtlCol="0" anchor="t" anchorCtr="0">
            <a:noAutofit/>
          </a:bodyPr>
          <a:lstStyle>
            <a:lvl1pPr algn="l" defTabSz="1481485" rtl="0" eaLnBrk="1" latinLnBrk="0" hangingPunct="1">
              <a:spcBef>
                <a:spcPct val="0"/>
              </a:spcBef>
              <a:buNone/>
              <a:defRPr sz="2205" kern="1200">
                <a:solidFill>
                  <a:schemeClr val="tx1"/>
                </a:solidFill>
                <a:latin typeface="+mn-lt"/>
                <a:ea typeface="+mj-ea"/>
                <a:cs typeface="Calibri Light" panose="020F0302020204030204" pitchFamily="34" charset="0"/>
              </a:defRPr>
            </a:lvl1pPr>
          </a:lstStyle>
          <a:p>
            <a:r>
              <a:rPr lang="hu-HU" sz="2400" dirty="0">
                <a:ln w="12700">
                  <a:solidFill>
                    <a:schemeClr val="accent2"/>
                  </a:solidFill>
                </a:ln>
                <a:solidFill>
                  <a:schemeClr val="bg1">
                    <a:lumMod val="85000"/>
                  </a:schemeClr>
                </a:solidFill>
                <a:latin typeface="Open Sans Extrabold" panose="020B0906030804020204" pitchFamily="34" charset="0"/>
                <a:ea typeface="Open Sans Extrabold" panose="020B0906030804020204" pitchFamily="34" charset="0"/>
                <a:cs typeface="Open Sans Extrabold" panose="020B0906030804020204" pitchFamily="34" charset="0"/>
              </a:rPr>
              <a:t>SAMPLE</a:t>
            </a:r>
          </a:p>
        </p:txBody>
      </p:sp>
      <p:sp>
        <p:nvSpPr>
          <p:cNvPr id="17" name="Title 10">
            <a:extLst>
              <a:ext uri="{FF2B5EF4-FFF2-40B4-BE49-F238E27FC236}">
                <a16:creationId xmlns:a16="http://schemas.microsoft.com/office/drawing/2014/main" id="{35C10F3E-E204-7D73-C470-5F2AEEBFC418}"/>
              </a:ext>
            </a:extLst>
          </p:cNvPr>
          <p:cNvSpPr txBox="1">
            <a:spLocks/>
          </p:cNvSpPr>
          <p:nvPr/>
        </p:nvSpPr>
        <p:spPr bwMode="gray">
          <a:xfrm rot="1834126">
            <a:off x="7764440" y="5121531"/>
            <a:ext cx="1367553" cy="223723"/>
          </a:xfrm>
          <a:prstGeom prst="rect">
            <a:avLst/>
          </a:prstGeom>
        </p:spPr>
        <p:txBody>
          <a:bodyPr vert="horz" lIns="0" tIns="0" rIns="0" bIns="0" rtlCol="0" anchor="t" anchorCtr="0">
            <a:noAutofit/>
          </a:bodyPr>
          <a:lstStyle>
            <a:lvl1pPr algn="l" defTabSz="1481485" rtl="0" eaLnBrk="1" latinLnBrk="0" hangingPunct="1">
              <a:spcBef>
                <a:spcPct val="0"/>
              </a:spcBef>
              <a:buNone/>
              <a:defRPr sz="2205" kern="1200">
                <a:solidFill>
                  <a:schemeClr val="tx1"/>
                </a:solidFill>
                <a:latin typeface="+mn-lt"/>
                <a:ea typeface="+mj-ea"/>
                <a:cs typeface="Calibri Light" panose="020F0302020204030204" pitchFamily="34" charset="0"/>
              </a:defRPr>
            </a:lvl1pPr>
          </a:lstStyle>
          <a:p>
            <a:r>
              <a:rPr lang="hu-HU" sz="2400" dirty="0">
                <a:ln w="12700">
                  <a:solidFill>
                    <a:schemeClr val="accent2"/>
                  </a:solidFill>
                </a:ln>
                <a:solidFill>
                  <a:schemeClr val="bg1">
                    <a:lumMod val="85000"/>
                  </a:schemeClr>
                </a:solidFill>
                <a:latin typeface="Open Sans Extrabold" panose="020B0906030804020204" pitchFamily="34" charset="0"/>
                <a:ea typeface="Open Sans Extrabold" panose="020B0906030804020204" pitchFamily="34" charset="0"/>
                <a:cs typeface="Open Sans Extrabold" panose="020B0906030804020204" pitchFamily="34" charset="0"/>
              </a:rPr>
              <a:t>SAMPLE</a:t>
            </a:r>
          </a:p>
        </p:txBody>
      </p:sp>
      <p:sp>
        <p:nvSpPr>
          <p:cNvPr id="18" name="Title 10">
            <a:extLst>
              <a:ext uri="{FF2B5EF4-FFF2-40B4-BE49-F238E27FC236}">
                <a16:creationId xmlns:a16="http://schemas.microsoft.com/office/drawing/2014/main" id="{2E31314A-A020-AB64-D72C-13EFE6E46103}"/>
              </a:ext>
            </a:extLst>
          </p:cNvPr>
          <p:cNvSpPr txBox="1">
            <a:spLocks/>
          </p:cNvSpPr>
          <p:nvPr/>
        </p:nvSpPr>
        <p:spPr bwMode="gray">
          <a:xfrm rot="1834126">
            <a:off x="9357029" y="5063519"/>
            <a:ext cx="1367553" cy="223723"/>
          </a:xfrm>
          <a:prstGeom prst="rect">
            <a:avLst/>
          </a:prstGeom>
        </p:spPr>
        <p:txBody>
          <a:bodyPr vert="horz" lIns="0" tIns="0" rIns="0" bIns="0" rtlCol="0" anchor="t" anchorCtr="0">
            <a:noAutofit/>
          </a:bodyPr>
          <a:lstStyle>
            <a:lvl1pPr algn="l" defTabSz="1481485" rtl="0" eaLnBrk="1" latinLnBrk="0" hangingPunct="1">
              <a:spcBef>
                <a:spcPct val="0"/>
              </a:spcBef>
              <a:buNone/>
              <a:defRPr sz="2205" kern="1200">
                <a:solidFill>
                  <a:schemeClr val="tx1"/>
                </a:solidFill>
                <a:latin typeface="+mn-lt"/>
                <a:ea typeface="+mj-ea"/>
                <a:cs typeface="Calibri Light" panose="020F0302020204030204" pitchFamily="34" charset="0"/>
              </a:defRPr>
            </a:lvl1pPr>
          </a:lstStyle>
          <a:p>
            <a:r>
              <a:rPr lang="hu-HU" sz="2400" dirty="0">
                <a:ln w="12700">
                  <a:solidFill>
                    <a:schemeClr val="accent2"/>
                  </a:solidFill>
                </a:ln>
                <a:solidFill>
                  <a:schemeClr val="bg1">
                    <a:lumMod val="85000"/>
                  </a:schemeClr>
                </a:solidFill>
                <a:latin typeface="Open Sans Extrabold" panose="020B0906030804020204" pitchFamily="34" charset="0"/>
                <a:ea typeface="Open Sans Extrabold" panose="020B0906030804020204" pitchFamily="34" charset="0"/>
                <a:cs typeface="Open Sans Extrabold" panose="020B0906030804020204" pitchFamily="34" charset="0"/>
              </a:rPr>
              <a:t>SAMPLE</a:t>
            </a:r>
          </a:p>
        </p:txBody>
      </p:sp>
    </p:spTree>
    <p:extLst>
      <p:ext uri="{BB962C8B-B14F-4D97-AF65-F5344CB8AC3E}">
        <p14:creationId xmlns:p14="http://schemas.microsoft.com/office/powerpoint/2010/main" val="1932062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B80F41D-14F9-2DCB-2460-F5CF8BE7A1BC}"/>
              </a:ext>
            </a:extLst>
          </p:cNvPr>
          <p:cNvSpPr/>
          <p:nvPr/>
        </p:nvSpPr>
        <p:spPr>
          <a:xfrm>
            <a:off x="0" y="1547928"/>
            <a:ext cx="12192000" cy="5400658"/>
          </a:xfrm>
          <a:prstGeom prst="rect">
            <a:avLst/>
          </a:prstGeom>
          <a:pattFill prst="dkUpDiag">
            <a:fgClr>
              <a:schemeClr val="accent1">
                <a:lumMod val="40000"/>
                <a:lumOff val="60000"/>
              </a:schemeClr>
            </a:fgClr>
            <a:bgClr>
              <a:schemeClr val="bg1"/>
            </a:bgClr>
          </a:pattFill>
          <a:ln w="12700" algn="ctr">
            <a:noFill/>
            <a:miter lim="800000"/>
            <a:headEnd/>
            <a:tailEnd/>
          </a:ln>
        </p:spPr>
        <p:txBody>
          <a:bodyPr wrap="square" lIns="88900" tIns="88900" rIns="88900" bIns="88900" rtlCol="0" anchor="ctr"/>
          <a:lstStyle/>
          <a:p>
            <a:pPr algn="ctr" defTabSz="1219170">
              <a:lnSpc>
                <a:spcPct val="106000"/>
              </a:lnSpc>
            </a:pPr>
            <a:endParaRPr lang="en-US" sz="1400" b="1" dirty="0">
              <a:solidFill>
                <a:srgbClr val="00ABAB"/>
              </a:solidFill>
              <a:latin typeface="Calibri Light" panose="020F0302020204030204" pitchFamily="34" charset="0"/>
              <a:cs typeface="Calibri Light" panose="020F0302020204030204" pitchFamily="34" charset="0"/>
            </a:endParaRPr>
          </a:p>
        </p:txBody>
      </p:sp>
      <p:sp>
        <p:nvSpPr>
          <p:cNvPr id="32" name="Round Same Side Corner Rectangle 9">
            <a:extLst>
              <a:ext uri="{FF2B5EF4-FFF2-40B4-BE49-F238E27FC236}">
                <a16:creationId xmlns:a16="http://schemas.microsoft.com/office/drawing/2014/main" id="{56B22AFC-C4FB-066B-13EE-C15B4CB91347}"/>
              </a:ext>
            </a:extLst>
          </p:cNvPr>
          <p:cNvSpPr/>
          <p:nvPr/>
        </p:nvSpPr>
        <p:spPr bwMode="gray">
          <a:xfrm flipH="1" flipV="1">
            <a:off x="1551708" y="5596943"/>
            <a:ext cx="7546874" cy="934654"/>
          </a:xfrm>
          <a:prstGeom prst="round2SameRect">
            <a:avLst>
              <a:gd name="adj1" fmla="val 50000"/>
              <a:gd name="adj2" fmla="val 0"/>
            </a:avLst>
          </a:prstGeom>
          <a:solidFill>
            <a:srgbClr val="92C24D"/>
          </a:solidFill>
          <a:ln w="60325" cap="rnd" algn="ctr">
            <a:solidFill>
              <a:schemeClr val="bg1"/>
            </a:solidFill>
            <a:round/>
            <a:headEnd/>
            <a:tailEnd/>
          </a:ln>
          <a:effectLst>
            <a:outerShdw blurRad="295686" dist="38100" algn="l" rotWithShape="0">
              <a:schemeClr val="accent1">
                <a:alpha val="22000"/>
              </a:schemeClr>
            </a:outerShdw>
          </a:effectLst>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33" name="Round Same Side Corner Rectangle 8">
            <a:extLst>
              <a:ext uri="{FF2B5EF4-FFF2-40B4-BE49-F238E27FC236}">
                <a16:creationId xmlns:a16="http://schemas.microsoft.com/office/drawing/2014/main" id="{6CFE5A6B-AB6B-98B2-345A-DC177185E37F}"/>
              </a:ext>
            </a:extLst>
          </p:cNvPr>
          <p:cNvSpPr/>
          <p:nvPr/>
        </p:nvSpPr>
        <p:spPr bwMode="gray">
          <a:xfrm flipH="1" flipV="1">
            <a:off x="484430" y="4663873"/>
            <a:ext cx="9312539" cy="934654"/>
          </a:xfrm>
          <a:prstGeom prst="round2SameRect">
            <a:avLst>
              <a:gd name="adj1" fmla="val 50000"/>
              <a:gd name="adj2" fmla="val 0"/>
            </a:avLst>
          </a:prstGeom>
          <a:solidFill>
            <a:srgbClr val="C4D600"/>
          </a:solidFill>
          <a:ln w="60325" cap="rnd" algn="ctr">
            <a:solidFill>
              <a:schemeClr val="bg1"/>
            </a:solidFill>
            <a:round/>
            <a:headEnd/>
            <a:tailEnd/>
          </a:ln>
          <a:effectLst>
            <a:outerShdw blurRad="295686" dist="38100" algn="l" rotWithShape="0">
              <a:schemeClr val="accent1">
                <a:alpha val="22000"/>
              </a:schemeClr>
            </a:outerShdw>
          </a:effectLst>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34" name="Round Same Side Corner Rectangle 7">
            <a:extLst>
              <a:ext uri="{FF2B5EF4-FFF2-40B4-BE49-F238E27FC236}">
                <a16:creationId xmlns:a16="http://schemas.microsoft.com/office/drawing/2014/main" id="{571F7949-93A9-0BA5-9ACD-E0FAC3BB644D}"/>
              </a:ext>
            </a:extLst>
          </p:cNvPr>
          <p:cNvSpPr/>
          <p:nvPr/>
        </p:nvSpPr>
        <p:spPr bwMode="gray">
          <a:xfrm flipH="1" flipV="1">
            <a:off x="484430" y="3730805"/>
            <a:ext cx="9726369" cy="934654"/>
          </a:xfrm>
          <a:prstGeom prst="round2SameRect">
            <a:avLst>
              <a:gd name="adj1" fmla="val 50000"/>
              <a:gd name="adj2" fmla="val 0"/>
            </a:avLst>
          </a:prstGeom>
          <a:solidFill>
            <a:srgbClr val="C4D600">
              <a:alpha val="57000"/>
            </a:srgbClr>
          </a:solidFill>
          <a:ln w="60325" cap="rnd" algn="ctr">
            <a:solidFill>
              <a:schemeClr val="bg1"/>
            </a:solidFill>
            <a:round/>
            <a:headEnd/>
            <a:tailEnd/>
          </a:ln>
          <a:effectLst>
            <a:outerShdw blurRad="295686" dist="38100" algn="l" rotWithShape="0">
              <a:schemeClr val="accent1">
                <a:alpha val="22000"/>
              </a:schemeClr>
            </a:outerShdw>
          </a:effectLst>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35" name="Round Same Side Corner Rectangle 6">
            <a:extLst>
              <a:ext uri="{FF2B5EF4-FFF2-40B4-BE49-F238E27FC236}">
                <a16:creationId xmlns:a16="http://schemas.microsoft.com/office/drawing/2014/main" id="{F04E61F2-6AB6-8CA0-CF68-085FF912EBE7}"/>
              </a:ext>
            </a:extLst>
          </p:cNvPr>
          <p:cNvSpPr/>
          <p:nvPr/>
        </p:nvSpPr>
        <p:spPr bwMode="gray">
          <a:xfrm flipH="1" flipV="1">
            <a:off x="484430" y="2797737"/>
            <a:ext cx="10293636" cy="934654"/>
          </a:xfrm>
          <a:prstGeom prst="round2SameRect">
            <a:avLst>
              <a:gd name="adj1" fmla="val 50000"/>
              <a:gd name="adj2" fmla="val 0"/>
            </a:avLst>
          </a:prstGeom>
          <a:solidFill>
            <a:srgbClr val="DBE49C"/>
          </a:solidFill>
          <a:ln w="60325" cap="rnd" algn="ctr">
            <a:solidFill>
              <a:schemeClr val="bg1"/>
            </a:solidFill>
            <a:round/>
            <a:headEnd/>
            <a:tailEnd/>
          </a:ln>
          <a:effectLst>
            <a:outerShdw blurRad="295686" dist="38100" algn="l" rotWithShape="0">
              <a:schemeClr val="accent1">
                <a:alpha val="22000"/>
              </a:schemeClr>
            </a:outerShdw>
          </a:effectLst>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36" name="Round Same Side Corner Rectangle 260">
            <a:extLst>
              <a:ext uri="{FF2B5EF4-FFF2-40B4-BE49-F238E27FC236}">
                <a16:creationId xmlns:a16="http://schemas.microsoft.com/office/drawing/2014/main" id="{433FDBED-4C73-3EAE-D733-FD040962CCA4}"/>
              </a:ext>
            </a:extLst>
          </p:cNvPr>
          <p:cNvSpPr/>
          <p:nvPr/>
        </p:nvSpPr>
        <p:spPr bwMode="gray">
          <a:xfrm flipH="1" flipV="1">
            <a:off x="484430" y="1864669"/>
            <a:ext cx="11097969" cy="934654"/>
          </a:xfrm>
          <a:prstGeom prst="round2SameRect">
            <a:avLst>
              <a:gd name="adj1" fmla="val 50000"/>
              <a:gd name="adj2" fmla="val 0"/>
            </a:avLst>
          </a:prstGeom>
          <a:solidFill>
            <a:srgbClr val="EBEFC9"/>
          </a:solidFill>
          <a:ln w="60325" cap="rnd" algn="ctr">
            <a:solidFill>
              <a:schemeClr val="bg1"/>
            </a:solidFill>
            <a:round/>
            <a:headEnd/>
            <a:tailEnd/>
          </a:ln>
          <a:effectLst>
            <a:outerShdw blurRad="295686" dist="38100" algn="l" rotWithShape="0">
              <a:schemeClr val="accent1">
                <a:alpha val="22000"/>
              </a:schemeClr>
            </a:outerShdw>
          </a:effectLst>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37" name="TextBox 36">
            <a:extLst>
              <a:ext uri="{FF2B5EF4-FFF2-40B4-BE49-F238E27FC236}">
                <a16:creationId xmlns:a16="http://schemas.microsoft.com/office/drawing/2014/main" id="{14D7CD48-CCCD-572C-E408-FB26F0A6E3B5}"/>
              </a:ext>
            </a:extLst>
          </p:cNvPr>
          <p:cNvSpPr txBox="1"/>
          <p:nvPr/>
        </p:nvSpPr>
        <p:spPr>
          <a:xfrm>
            <a:off x="4098901" y="1997733"/>
            <a:ext cx="7608669" cy="767839"/>
          </a:xfrm>
          <a:prstGeom prst="rect">
            <a:avLst/>
          </a:prstGeom>
          <a:noFill/>
        </p:spPr>
        <p:txBody>
          <a:bodyPr wrap="square">
            <a:spAutoFit/>
          </a:bodyPr>
          <a:lstStyle/>
          <a:p>
            <a:pPr marR="0" lvl="0" defTabSz="754380" rtl="0" eaLnBrk="1" fontAlgn="auto" latinLnBrk="0" hangingPunct="1">
              <a:lnSpc>
                <a:spcPct val="106000"/>
              </a:lnSpc>
              <a:spcBef>
                <a:spcPts val="0"/>
              </a:spcBef>
              <a:spcAft>
                <a:spcPts val="600"/>
              </a:spcAft>
              <a:buClrTx/>
              <a:buSzPct val="100000"/>
              <a:tabLst/>
              <a:defRPr/>
            </a:pPr>
            <a:r>
              <a:rPr lang="en-US" sz="1400" spc="26" dirty="0">
                <a:solidFill>
                  <a:prstClr val="black"/>
                </a:solidFill>
                <a:latin typeface="Calibri Light" panose="020F0302020204030204" pitchFamily="34" charset="0"/>
                <a:ea typeface="Open Sans" panose="020B0606030504020204" pitchFamily="34" charset="0"/>
                <a:cs typeface="Calibri Light" panose="020F0302020204030204" pitchFamily="34" charset="0"/>
              </a:rPr>
              <a:t>Bringing recommendations and insights to develop an optimal staffing solution and accomplish appropriate leverage for both in-house </a:t>
            </a:r>
            <a:r>
              <a:rPr lang="hu-HU" sz="1400" spc="26" dirty="0">
                <a:solidFill>
                  <a:prstClr val="black"/>
                </a:solidFill>
                <a:latin typeface="Calibri Light" panose="020F0302020204030204" pitchFamily="34" charset="0"/>
                <a:ea typeface="Open Sans" panose="020B0606030504020204" pitchFamily="34" charset="0"/>
                <a:cs typeface="Calibri Light" panose="020F0302020204030204" pitchFamily="34" charset="0"/>
              </a:rPr>
              <a:t>UNICEF </a:t>
            </a:r>
            <a:r>
              <a:rPr lang="en-US" sz="1400" spc="26" dirty="0">
                <a:solidFill>
                  <a:prstClr val="black"/>
                </a:solidFill>
                <a:latin typeface="Calibri Light" panose="020F0302020204030204" pitchFamily="34" charset="0"/>
                <a:ea typeface="Open Sans" panose="020B0606030504020204" pitchFamily="34" charset="0"/>
                <a:cs typeface="Calibri Light" panose="020F0302020204030204" pitchFamily="34" charset="0"/>
              </a:rPr>
              <a:t>and Deloitte resources based on overall Risk</a:t>
            </a:r>
            <a:r>
              <a:rPr lang="hu-HU" sz="1400" spc="26" dirty="0">
                <a:solidFill>
                  <a:prstClr val="black"/>
                </a:solidFill>
                <a:latin typeface="Calibri Light" panose="020F0302020204030204" pitchFamily="34" charset="0"/>
                <a:ea typeface="Open Sans" panose="020B0606030504020204" pitchFamily="34" charset="0"/>
                <a:cs typeface="Calibri Light" panose="020F0302020204030204" pitchFamily="34" charset="0"/>
              </a:rPr>
              <a:t> </a:t>
            </a:r>
            <a:r>
              <a:rPr lang="en-US" sz="1400" spc="26" dirty="0">
                <a:solidFill>
                  <a:prstClr val="black"/>
                </a:solidFill>
                <a:latin typeface="Calibri Light" panose="020F0302020204030204" pitchFamily="34" charset="0"/>
                <a:ea typeface="Open Sans" panose="020B0606030504020204" pitchFamily="34" charset="0"/>
                <a:cs typeface="Calibri Light" panose="020F0302020204030204" pitchFamily="34" charset="0"/>
              </a:rPr>
              <a:t>&amp;</a:t>
            </a:r>
            <a:r>
              <a:rPr lang="hu-HU" sz="1400" spc="26" dirty="0">
                <a:solidFill>
                  <a:prstClr val="black"/>
                </a:solidFill>
                <a:latin typeface="Calibri Light" panose="020F0302020204030204" pitchFamily="34" charset="0"/>
                <a:ea typeface="Open Sans" panose="020B0606030504020204" pitchFamily="34" charset="0"/>
                <a:cs typeface="Calibri Light" panose="020F0302020204030204" pitchFamily="34" charset="0"/>
              </a:rPr>
              <a:t> </a:t>
            </a:r>
            <a:r>
              <a:rPr lang="en-US" sz="1400" spc="26" dirty="0">
                <a:solidFill>
                  <a:prstClr val="black"/>
                </a:solidFill>
                <a:latin typeface="Calibri Light" panose="020F0302020204030204" pitchFamily="34" charset="0"/>
                <a:ea typeface="Open Sans" panose="020B0606030504020204" pitchFamily="34" charset="0"/>
                <a:cs typeface="Calibri Light" panose="020F0302020204030204" pitchFamily="34" charset="0"/>
              </a:rPr>
              <a:t>Compliance relevant departments needs</a:t>
            </a:r>
            <a:endParaRPr kumimoji="0" lang="en-US" sz="1400" b="0" i="0" u="none" strike="noStrike" kern="1200" cap="none" spc="30" normalizeH="0" baseline="0" dirty="0">
              <a:ln>
                <a:noFill/>
              </a:ln>
              <a:solidFill>
                <a:prstClr val="black"/>
              </a:solidFill>
              <a:effectLst/>
              <a:uLnTx/>
              <a:uFillTx/>
              <a:latin typeface="Calibri Light" panose="020F0302020204030204" pitchFamily="34" charset="0"/>
              <a:ea typeface="Open Sans" panose="020B0606030504020204" pitchFamily="34" charset="0"/>
              <a:cs typeface="Calibri Light" panose="020F0302020204030204" pitchFamily="34" charset="0"/>
            </a:endParaRPr>
          </a:p>
        </p:txBody>
      </p:sp>
      <p:sp>
        <p:nvSpPr>
          <p:cNvPr id="38" name="TextBox 37">
            <a:extLst>
              <a:ext uri="{FF2B5EF4-FFF2-40B4-BE49-F238E27FC236}">
                <a16:creationId xmlns:a16="http://schemas.microsoft.com/office/drawing/2014/main" id="{31899C34-B70F-BC1F-A019-C41884D13ACE}"/>
              </a:ext>
            </a:extLst>
          </p:cNvPr>
          <p:cNvSpPr txBox="1"/>
          <p:nvPr/>
        </p:nvSpPr>
        <p:spPr>
          <a:xfrm>
            <a:off x="4385283" y="4883457"/>
            <a:ext cx="5258251" cy="539443"/>
          </a:xfrm>
          <a:prstGeom prst="rect">
            <a:avLst/>
          </a:prstGeom>
          <a:noFill/>
        </p:spPr>
        <p:txBody>
          <a:bodyPr wrap="square">
            <a:spAutoFit/>
          </a:bodyPr>
          <a:lstStyle/>
          <a:p>
            <a:pPr defTabSz="754380">
              <a:lnSpc>
                <a:spcPct val="106000"/>
              </a:lnSpc>
              <a:spcAft>
                <a:spcPts val="600"/>
              </a:spcAft>
              <a:buSzPct val="100000"/>
              <a:defRPr/>
            </a:pPr>
            <a:r>
              <a:rPr lang="en-US" sz="1400" spc="26" dirty="0">
                <a:latin typeface="Calibri Light" panose="020F0302020204030204" pitchFamily="34" charset="0"/>
                <a:ea typeface="Open Sans" panose="020B0606030504020204" pitchFamily="34" charset="0"/>
                <a:cs typeface="Calibri Light" panose="020F0302020204030204" pitchFamily="34" charset="0"/>
              </a:rPr>
              <a:t>Providing onboarding training, supervision, and strong collaboration between </a:t>
            </a:r>
            <a:r>
              <a:rPr lang="hu-HU" sz="1400" spc="26" dirty="0">
                <a:latin typeface="Calibri Light" panose="020F0302020204030204" pitchFamily="34" charset="0"/>
                <a:ea typeface="Open Sans" panose="020B0606030504020204" pitchFamily="34" charset="0"/>
                <a:cs typeface="Calibri Light" panose="020F0302020204030204" pitchFamily="34" charset="0"/>
              </a:rPr>
              <a:t>UNICEF</a:t>
            </a:r>
            <a:r>
              <a:rPr lang="en-US" sz="1400" spc="26" dirty="0">
                <a:latin typeface="Calibri Light" panose="020F0302020204030204" pitchFamily="34" charset="0"/>
                <a:ea typeface="Open Sans" panose="020B0606030504020204" pitchFamily="34" charset="0"/>
                <a:cs typeface="Calibri Light" panose="020F0302020204030204" pitchFamily="34" charset="0"/>
              </a:rPr>
              <a:t> and Deloitte resources</a:t>
            </a:r>
            <a:endParaRPr lang="en-US" sz="1400" spc="30" dirty="0">
              <a:latin typeface="Calibri Light" panose="020F0302020204030204" pitchFamily="34" charset="0"/>
              <a:ea typeface="Open Sans" panose="020B0606030504020204" pitchFamily="34" charset="0"/>
              <a:cs typeface="Calibri Light" panose="020F0302020204030204" pitchFamily="34" charset="0"/>
            </a:endParaRPr>
          </a:p>
        </p:txBody>
      </p:sp>
      <p:sp>
        <p:nvSpPr>
          <p:cNvPr id="39" name="TextBox 38">
            <a:extLst>
              <a:ext uri="{FF2B5EF4-FFF2-40B4-BE49-F238E27FC236}">
                <a16:creationId xmlns:a16="http://schemas.microsoft.com/office/drawing/2014/main" id="{BAEBC7F8-5DB0-9F3C-11EC-84D0D7E8929C}"/>
              </a:ext>
            </a:extLst>
          </p:cNvPr>
          <p:cNvSpPr txBox="1"/>
          <p:nvPr/>
        </p:nvSpPr>
        <p:spPr>
          <a:xfrm>
            <a:off x="4596949" y="3896034"/>
            <a:ext cx="5679089" cy="767839"/>
          </a:xfrm>
          <a:prstGeom prst="rect">
            <a:avLst/>
          </a:prstGeom>
          <a:noFill/>
        </p:spPr>
        <p:txBody>
          <a:bodyPr wrap="square">
            <a:spAutoFit/>
          </a:bodyPr>
          <a:lstStyle/>
          <a:p>
            <a:pPr defTabSz="754380">
              <a:lnSpc>
                <a:spcPct val="106000"/>
              </a:lnSpc>
              <a:spcAft>
                <a:spcPts val="600"/>
              </a:spcAft>
              <a:buSzPct val="100000"/>
              <a:defRPr/>
            </a:pPr>
            <a:r>
              <a:rPr lang="en-US" sz="1400" spc="26" dirty="0">
                <a:latin typeface="Calibri Light" panose="020F0302020204030204" pitchFamily="34" charset="0"/>
                <a:ea typeface="Open Sans" panose="020B0606030504020204" pitchFamily="34" charset="0"/>
                <a:cs typeface="Calibri Light" panose="020F0302020204030204" pitchFamily="34" charset="0"/>
              </a:rPr>
              <a:t>Gathering institutional knowledge from internal regulations and process documentation to hit the ground running and deliver most efficient projects</a:t>
            </a:r>
            <a:endParaRPr lang="en-US" sz="1400" spc="30" dirty="0">
              <a:latin typeface="Calibri Light" panose="020F0302020204030204" pitchFamily="34" charset="0"/>
              <a:ea typeface="Open Sans" panose="020B0606030504020204" pitchFamily="34" charset="0"/>
              <a:cs typeface="Calibri Light" panose="020F0302020204030204" pitchFamily="34" charset="0"/>
            </a:endParaRPr>
          </a:p>
        </p:txBody>
      </p:sp>
      <p:sp>
        <p:nvSpPr>
          <p:cNvPr id="40" name="TextBox 39">
            <a:extLst>
              <a:ext uri="{FF2B5EF4-FFF2-40B4-BE49-F238E27FC236}">
                <a16:creationId xmlns:a16="http://schemas.microsoft.com/office/drawing/2014/main" id="{D63DA509-414A-D5D6-D50D-431C0E753501}"/>
              </a:ext>
            </a:extLst>
          </p:cNvPr>
          <p:cNvSpPr txBox="1"/>
          <p:nvPr/>
        </p:nvSpPr>
        <p:spPr>
          <a:xfrm>
            <a:off x="4289785" y="2905318"/>
            <a:ext cx="6335882" cy="767839"/>
          </a:xfrm>
          <a:prstGeom prst="rect">
            <a:avLst/>
          </a:prstGeom>
          <a:noFill/>
        </p:spPr>
        <p:txBody>
          <a:bodyPr wrap="square">
            <a:spAutoFit/>
          </a:bodyPr>
          <a:lstStyle/>
          <a:p>
            <a:pPr defTabSz="754380">
              <a:lnSpc>
                <a:spcPct val="106000"/>
              </a:lnSpc>
              <a:spcAft>
                <a:spcPts val="600"/>
              </a:spcAft>
              <a:buSzPct val="100000"/>
              <a:defRPr/>
            </a:pPr>
            <a:r>
              <a:rPr lang="en-US" sz="1400" spc="26" dirty="0">
                <a:latin typeface="Calibri Light" panose="020F0302020204030204" pitchFamily="34" charset="0"/>
                <a:ea typeface="Open Sans" panose="020B0606030504020204" pitchFamily="34" charset="0"/>
                <a:cs typeface="Calibri Light" panose="020F0302020204030204" pitchFamily="34" charset="0"/>
              </a:rPr>
              <a:t>Understanding the currently used methodology and templates, and providing our proprietary tools, technologies, to enable smooth functioning of the </a:t>
            </a:r>
            <a:r>
              <a:rPr lang="en-US" sz="1400" spc="26" dirty="0" err="1">
                <a:latin typeface="Calibri Light" panose="020F0302020204030204" pitchFamily="34" charset="0"/>
                <a:ea typeface="Open Sans" panose="020B0606030504020204" pitchFamily="34" charset="0"/>
                <a:cs typeface="Calibri Light" panose="020F0302020204030204" pitchFamily="34" charset="0"/>
              </a:rPr>
              <a:t>Risk&amp;Compliance</a:t>
            </a:r>
            <a:r>
              <a:rPr lang="en-US" sz="1400" spc="26" dirty="0">
                <a:latin typeface="Calibri Light" panose="020F0302020204030204" pitchFamily="34" charset="0"/>
                <a:ea typeface="Open Sans" panose="020B0606030504020204" pitchFamily="34" charset="0"/>
                <a:cs typeface="Calibri Light" panose="020F0302020204030204" pitchFamily="34" charset="0"/>
              </a:rPr>
              <a:t> organization where efficiency can be increased</a:t>
            </a:r>
            <a:endParaRPr lang="en-US" sz="1400" spc="30" dirty="0">
              <a:latin typeface="Calibri Light" panose="020F0302020204030204" pitchFamily="34" charset="0"/>
              <a:ea typeface="Open Sans" panose="020B0606030504020204" pitchFamily="34" charset="0"/>
              <a:cs typeface="Calibri Light" panose="020F0302020204030204" pitchFamily="34" charset="0"/>
            </a:endParaRPr>
          </a:p>
        </p:txBody>
      </p:sp>
      <p:sp>
        <p:nvSpPr>
          <p:cNvPr id="41" name="Title 3">
            <a:extLst>
              <a:ext uri="{FF2B5EF4-FFF2-40B4-BE49-F238E27FC236}">
                <a16:creationId xmlns:a16="http://schemas.microsoft.com/office/drawing/2014/main" id="{32A3A38F-1017-DB95-E96C-48734041FAA9}"/>
              </a:ext>
            </a:extLst>
          </p:cNvPr>
          <p:cNvSpPr txBox="1">
            <a:spLocks/>
          </p:cNvSpPr>
          <p:nvPr/>
        </p:nvSpPr>
        <p:spPr bwMode="gray">
          <a:xfrm>
            <a:off x="388781" y="302444"/>
            <a:ext cx="9197580" cy="380195"/>
          </a:xfrm>
          <a:prstGeom prst="rect">
            <a:avLst/>
          </a:prstGeom>
        </p:spPr>
        <p:txBody>
          <a:bodyPr vert="horz" lIns="0" tIns="0" rIns="0" bIns="0" rtlCol="0" anchor="t" anchorCtr="0">
            <a:noAutofit/>
          </a:bodyPr>
          <a:lstStyle>
            <a:lvl1pPr algn="l" defTabSz="806867" rtl="0" eaLnBrk="1" latinLnBrk="0" hangingPunct="1">
              <a:spcBef>
                <a:spcPct val="0"/>
              </a:spcBef>
              <a:buNone/>
              <a:defRPr sz="2100" kern="120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sz="2800" dirty="0"/>
              <a:t>Our commitments on Risk Assessment and Compliance projects</a:t>
            </a:r>
          </a:p>
        </p:txBody>
      </p:sp>
      <p:sp>
        <p:nvSpPr>
          <p:cNvPr id="42" name="Text Placeholder 237">
            <a:extLst>
              <a:ext uri="{FF2B5EF4-FFF2-40B4-BE49-F238E27FC236}">
                <a16:creationId xmlns:a16="http://schemas.microsoft.com/office/drawing/2014/main" id="{03C0591F-D449-5B21-7D78-A11789917CAD}"/>
              </a:ext>
            </a:extLst>
          </p:cNvPr>
          <p:cNvSpPr txBox="1">
            <a:spLocks/>
          </p:cNvSpPr>
          <p:nvPr/>
        </p:nvSpPr>
        <p:spPr>
          <a:xfrm>
            <a:off x="408330" y="776450"/>
            <a:ext cx="10058399" cy="688635"/>
          </a:xfrm>
          <a:prstGeom prst="rect">
            <a:avLst/>
          </a:prstGeom>
        </p:spPr>
        <p:txBody>
          <a:bodyPr vert="horz" lIns="0" tIns="0" rIns="0" bIns="0" rtlCol="0">
            <a:noAutofit/>
          </a:bodyPr>
          <a:lstStyle>
            <a:lvl1pPr marL="0" indent="0" algn="l" defTabSz="806867" rtl="0" eaLnBrk="1" latinLnBrk="0" hangingPunct="1">
              <a:spcBef>
                <a:spcPts val="0"/>
              </a:spcBef>
              <a:spcAft>
                <a:spcPts val="882"/>
              </a:spcAft>
              <a:buSzPct val="100000"/>
              <a:buFontTx/>
              <a:buNone/>
              <a:defRPr sz="1765" b="0" kern="1200">
                <a:solidFill>
                  <a:schemeClr val="tx2"/>
                </a:solidFill>
                <a:latin typeface="Calibri Light" panose="020F0302020204030204" pitchFamily="34" charset="0"/>
                <a:ea typeface="Open Sans" panose="020B0606030504020204" pitchFamily="34" charset="0"/>
                <a:cs typeface="Calibri Light" panose="020F0302020204030204" pitchFamily="34" charset="0"/>
              </a:defRPr>
            </a:lvl1pPr>
            <a:lvl2pPr marL="112065" indent="-112065" algn="l" defTabSz="806867" rtl="0" eaLnBrk="1" latinLnBrk="0" hangingPunct="1">
              <a:spcBef>
                <a:spcPts val="0"/>
              </a:spcBef>
              <a:spcAft>
                <a:spcPts val="882"/>
              </a:spcAft>
              <a:buClrTx/>
              <a:buSzPct val="100000"/>
              <a:buFont typeface="Arial" panose="020B0604020202020204" pitchFamily="34" charset="0"/>
              <a:buChar char="•"/>
              <a:defRPr lang="en-US" sz="1059" b="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46543" indent="-112065" algn="l" defTabSz="806867" rtl="0" eaLnBrk="1" latinLnBrk="0" hangingPunct="1">
              <a:spcBef>
                <a:spcPts val="0"/>
              </a:spcBef>
              <a:spcAft>
                <a:spcPts val="882"/>
              </a:spcAft>
              <a:buClrTx/>
              <a:buSzPct val="100000"/>
              <a:buFont typeface="Arial" panose="020B0604020202020204" pitchFamily="34" charset="0"/>
              <a:buChar char="−"/>
              <a:defRPr lang="en-US" sz="1059"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381020" indent="-112065" algn="l" defTabSz="806867" rtl="0" eaLnBrk="1" latinLnBrk="0" hangingPunct="1">
              <a:spcBef>
                <a:spcPts val="0"/>
              </a:spcBef>
              <a:spcAft>
                <a:spcPts val="882"/>
              </a:spcAft>
              <a:buClrTx/>
              <a:buSzPct val="100000"/>
              <a:buFont typeface="Arial" panose="020B0604020202020204" pitchFamily="34" charset="0"/>
              <a:buChar char="◦"/>
              <a:defRPr lang="en-US" sz="1059"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515498" indent="-112065" algn="l" defTabSz="704608" rtl="0" eaLnBrk="1" latinLnBrk="0" hangingPunct="1">
              <a:spcBef>
                <a:spcPts val="0"/>
              </a:spcBef>
              <a:spcAft>
                <a:spcPts val="882"/>
              </a:spcAft>
              <a:buClrTx/>
              <a:buSzPct val="100000"/>
              <a:buFont typeface="Arial" panose="020B0604020202020204" pitchFamily="34" charset="0"/>
              <a:buChar char="−"/>
              <a:tabLst/>
              <a:defRPr lang="en-US" sz="1059"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470143" indent="-155655" algn="l" defTabSz="806867" rtl="0" eaLnBrk="1" latinLnBrk="0" hangingPunct="1">
              <a:spcBef>
                <a:spcPts val="0"/>
              </a:spcBef>
              <a:spcAft>
                <a:spcPts val="882"/>
              </a:spcAft>
              <a:buFont typeface="Verdana" panose="020B0604030504040204" pitchFamily="34" charset="0"/>
              <a:buChar char="−"/>
              <a:defRPr sz="1059" kern="1200" baseline="0">
                <a:solidFill>
                  <a:schemeClr val="tx1"/>
                </a:solidFill>
                <a:latin typeface="+mn-lt"/>
                <a:ea typeface="+mn-ea"/>
                <a:cs typeface="+mn-cs"/>
              </a:defRPr>
            </a:lvl6pPr>
            <a:lvl7pPr marL="470143" indent="-155655" algn="l" defTabSz="806867" rtl="0" eaLnBrk="1" latinLnBrk="0" hangingPunct="1">
              <a:spcBef>
                <a:spcPts val="0"/>
              </a:spcBef>
              <a:spcAft>
                <a:spcPts val="882"/>
              </a:spcAft>
              <a:buFont typeface="Verdana" panose="020B0604030504040204" pitchFamily="34" charset="0"/>
              <a:buChar char="−"/>
              <a:defRPr sz="1059" kern="1200">
                <a:solidFill>
                  <a:schemeClr val="tx1"/>
                </a:solidFill>
                <a:latin typeface="+mn-lt"/>
                <a:ea typeface="+mn-ea"/>
                <a:cs typeface="+mn-cs"/>
              </a:defRPr>
            </a:lvl7pPr>
            <a:lvl8pPr marL="470143" indent="-155655" algn="l" defTabSz="806867" rtl="0" eaLnBrk="1" latinLnBrk="0" hangingPunct="1">
              <a:spcBef>
                <a:spcPts val="0"/>
              </a:spcBef>
              <a:spcAft>
                <a:spcPts val="882"/>
              </a:spcAft>
              <a:buFont typeface="Verdana" panose="020B0604030504040204" pitchFamily="34" charset="0"/>
              <a:buChar char="−"/>
              <a:defRPr sz="1059" kern="1200" baseline="0">
                <a:solidFill>
                  <a:schemeClr val="tx1"/>
                </a:solidFill>
                <a:latin typeface="+mn-lt"/>
                <a:ea typeface="+mn-ea"/>
                <a:cs typeface="+mn-cs"/>
              </a:defRPr>
            </a:lvl8pPr>
            <a:lvl9pPr marL="470143" indent="-155655" algn="l" defTabSz="806867" rtl="0" eaLnBrk="1" latinLnBrk="0" hangingPunct="1">
              <a:spcBef>
                <a:spcPts val="0"/>
              </a:spcBef>
              <a:spcAft>
                <a:spcPts val="882"/>
              </a:spcAft>
              <a:buFont typeface="Verdana" panose="020B0604030504040204" pitchFamily="34" charset="0"/>
              <a:buChar char="−"/>
              <a:defRPr sz="1059" kern="1200" baseline="0">
                <a:solidFill>
                  <a:schemeClr val="tx1"/>
                </a:solidFill>
                <a:latin typeface="+mn-lt"/>
                <a:ea typeface="+mn-ea"/>
                <a:cs typeface="+mn-cs"/>
              </a:defRPr>
            </a:lvl9pPr>
          </a:lstStyle>
          <a:p>
            <a:r>
              <a:rPr lang="en-US" sz="1800" dirty="0"/>
              <a:t>Consistent with your expectations regarding project scope we are committed to: </a:t>
            </a:r>
          </a:p>
          <a:p>
            <a:endParaRPr lang="en-US" sz="1400" dirty="0"/>
          </a:p>
        </p:txBody>
      </p:sp>
      <p:sp>
        <p:nvSpPr>
          <p:cNvPr id="43" name="TextBox 42">
            <a:extLst>
              <a:ext uri="{FF2B5EF4-FFF2-40B4-BE49-F238E27FC236}">
                <a16:creationId xmlns:a16="http://schemas.microsoft.com/office/drawing/2014/main" id="{14DBAFB0-E6F2-2419-1657-34086DF2D42E}"/>
              </a:ext>
            </a:extLst>
          </p:cNvPr>
          <p:cNvSpPr txBox="1"/>
          <p:nvPr/>
        </p:nvSpPr>
        <p:spPr>
          <a:xfrm>
            <a:off x="4086613" y="5773122"/>
            <a:ext cx="4833432" cy="539443"/>
          </a:xfrm>
          <a:prstGeom prst="rect">
            <a:avLst/>
          </a:prstGeom>
          <a:noFill/>
        </p:spPr>
        <p:txBody>
          <a:bodyPr wrap="square">
            <a:spAutoFit/>
          </a:bodyPr>
          <a:lstStyle/>
          <a:p>
            <a:pPr defTabSz="754380">
              <a:lnSpc>
                <a:spcPct val="106000"/>
              </a:lnSpc>
              <a:spcAft>
                <a:spcPts val="600"/>
              </a:spcAft>
              <a:buSzPct val="100000"/>
              <a:defRPr/>
            </a:pPr>
            <a:r>
              <a:rPr lang="en-US" sz="1400" spc="26" dirty="0">
                <a:latin typeface="Calibri Light" panose="020F0302020204030204" pitchFamily="34" charset="0"/>
                <a:ea typeface="Open Sans" panose="020B0606030504020204" pitchFamily="34" charset="0"/>
                <a:cs typeface="Calibri Light" panose="020F0302020204030204" pitchFamily="34" charset="0"/>
              </a:rPr>
              <a:t>Helping </a:t>
            </a:r>
            <a:r>
              <a:rPr lang="hu-HU" sz="1400" spc="26" dirty="0">
                <a:latin typeface="Calibri Light" panose="020F0302020204030204" pitchFamily="34" charset="0"/>
                <a:ea typeface="Open Sans" panose="020B0606030504020204" pitchFamily="34" charset="0"/>
                <a:cs typeface="Calibri Light" panose="020F0302020204030204" pitchFamily="34" charset="0"/>
              </a:rPr>
              <a:t>UNICEF </a:t>
            </a:r>
            <a:r>
              <a:rPr lang="en-US" sz="1400" spc="26" dirty="0">
                <a:latin typeface="Calibri Light" panose="020F0302020204030204" pitchFamily="34" charset="0"/>
                <a:ea typeface="Open Sans" panose="020B0606030504020204" pitchFamily="34" charset="0"/>
                <a:cs typeface="Calibri Light" panose="020F0302020204030204" pitchFamily="34" charset="0"/>
              </a:rPr>
              <a:t>to achieve a wider more comprehensive view of risks and compliance best practices</a:t>
            </a:r>
            <a:endParaRPr lang="en-US" sz="1400" spc="30" dirty="0">
              <a:latin typeface="Calibri Light" panose="020F0302020204030204" pitchFamily="34" charset="0"/>
              <a:ea typeface="Open Sans" panose="020B0606030504020204" pitchFamily="34" charset="0"/>
              <a:cs typeface="Calibri Light" panose="020F0302020204030204" pitchFamily="34" charset="0"/>
            </a:endParaRPr>
          </a:p>
        </p:txBody>
      </p:sp>
      <p:sp>
        <p:nvSpPr>
          <p:cNvPr id="44" name="Oval 43">
            <a:extLst>
              <a:ext uri="{FF2B5EF4-FFF2-40B4-BE49-F238E27FC236}">
                <a16:creationId xmlns:a16="http://schemas.microsoft.com/office/drawing/2014/main" id="{4FB67D7B-B3FE-2524-44EB-7E19410CFFD3}"/>
              </a:ext>
            </a:extLst>
          </p:cNvPr>
          <p:cNvSpPr/>
          <p:nvPr/>
        </p:nvSpPr>
        <p:spPr bwMode="gray">
          <a:xfrm>
            <a:off x="3556603" y="210488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45" name="Oval 44">
            <a:extLst>
              <a:ext uri="{FF2B5EF4-FFF2-40B4-BE49-F238E27FC236}">
                <a16:creationId xmlns:a16="http://schemas.microsoft.com/office/drawing/2014/main" id="{70242F26-B721-FFEC-DF65-991888B9A0A1}"/>
              </a:ext>
            </a:extLst>
          </p:cNvPr>
          <p:cNvSpPr/>
          <p:nvPr/>
        </p:nvSpPr>
        <p:spPr bwMode="gray">
          <a:xfrm>
            <a:off x="3750940" y="301928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46" name="Oval 45">
            <a:extLst>
              <a:ext uri="{FF2B5EF4-FFF2-40B4-BE49-F238E27FC236}">
                <a16:creationId xmlns:a16="http://schemas.microsoft.com/office/drawing/2014/main" id="{57701045-29AA-D015-D867-AF9F68A03530}"/>
              </a:ext>
            </a:extLst>
          </p:cNvPr>
          <p:cNvSpPr/>
          <p:nvPr/>
        </p:nvSpPr>
        <p:spPr bwMode="gray">
          <a:xfrm>
            <a:off x="4080549" y="3954954"/>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47" name="Oval 46">
            <a:extLst>
              <a:ext uri="{FF2B5EF4-FFF2-40B4-BE49-F238E27FC236}">
                <a16:creationId xmlns:a16="http://schemas.microsoft.com/office/drawing/2014/main" id="{6178E8DB-3DC0-71B1-21F9-C45FF66A0F61}"/>
              </a:ext>
            </a:extLst>
          </p:cNvPr>
          <p:cNvSpPr/>
          <p:nvPr/>
        </p:nvSpPr>
        <p:spPr bwMode="gray">
          <a:xfrm>
            <a:off x="3756204" y="4931785"/>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48" name="Oval 47">
            <a:extLst>
              <a:ext uri="{FF2B5EF4-FFF2-40B4-BE49-F238E27FC236}">
                <a16:creationId xmlns:a16="http://schemas.microsoft.com/office/drawing/2014/main" id="{E33F79CF-EAD1-EA52-9A72-9A84D14380BE}"/>
              </a:ext>
            </a:extLst>
          </p:cNvPr>
          <p:cNvSpPr/>
          <p:nvPr/>
        </p:nvSpPr>
        <p:spPr bwMode="gray">
          <a:xfrm>
            <a:off x="3562705" y="5812552"/>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pic>
        <p:nvPicPr>
          <p:cNvPr id="49" name="Graphic 48">
            <a:extLst>
              <a:ext uri="{FF2B5EF4-FFF2-40B4-BE49-F238E27FC236}">
                <a16:creationId xmlns:a16="http://schemas.microsoft.com/office/drawing/2014/main" id="{2F9347F3-B1AC-1025-B052-EBB64AEBD64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0047" y="5900118"/>
            <a:ext cx="242517" cy="282069"/>
          </a:xfrm>
          <a:prstGeom prst="rect">
            <a:avLst/>
          </a:prstGeom>
        </p:spPr>
      </p:pic>
      <p:pic>
        <p:nvPicPr>
          <p:cNvPr id="50" name="Graphic 49">
            <a:extLst>
              <a:ext uri="{FF2B5EF4-FFF2-40B4-BE49-F238E27FC236}">
                <a16:creationId xmlns:a16="http://schemas.microsoft.com/office/drawing/2014/main" id="{887303C2-FE76-669E-5E77-AF4BD602ABC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42669" y="3111018"/>
            <a:ext cx="273742" cy="273742"/>
          </a:xfrm>
          <a:prstGeom prst="rect">
            <a:avLst/>
          </a:prstGeom>
        </p:spPr>
      </p:pic>
      <p:pic>
        <p:nvPicPr>
          <p:cNvPr id="51" name="Graphic 50">
            <a:extLst>
              <a:ext uri="{FF2B5EF4-FFF2-40B4-BE49-F238E27FC236}">
                <a16:creationId xmlns:a16="http://schemas.microsoft.com/office/drawing/2014/main" id="{2D278B87-FF28-575A-3515-382D2A637A1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34923" y="5039647"/>
            <a:ext cx="299763" cy="241476"/>
          </a:xfrm>
          <a:prstGeom prst="rect">
            <a:avLst/>
          </a:prstGeom>
        </p:spPr>
      </p:pic>
      <p:pic>
        <p:nvPicPr>
          <p:cNvPr id="52" name="Graphic 51">
            <a:extLst>
              <a:ext uri="{FF2B5EF4-FFF2-40B4-BE49-F238E27FC236}">
                <a16:creationId xmlns:a16="http://schemas.microsoft.com/office/drawing/2014/main" id="{918C80CA-C8F9-FF94-F73A-5297E53B0C9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51975" y="2198700"/>
            <a:ext cx="266456" cy="269579"/>
          </a:xfrm>
          <a:prstGeom prst="rect">
            <a:avLst/>
          </a:prstGeom>
        </p:spPr>
      </p:pic>
      <p:sp>
        <p:nvSpPr>
          <p:cNvPr id="53" name="Graphic 4">
            <a:extLst>
              <a:ext uri="{FF2B5EF4-FFF2-40B4-BE49-F238E27FC236}">
                <a16:creationId xmlns:a16="http://schemas.microsoft.com/office/drawing/2014/main" id="{3908E13A-0F3F-01E7-326E-171D8CF4AD25}"/>
              </a:ext>
            </a:extLst>
          </p:cNvPr>
          <p:cNvSpPr/>
          <p:nvPr/>
        </p:nvSpPr>
        <p:spPr>
          <a:xfrm>
            <a:off x="4233016" y="4079656"/>
            <a:ext cx="152267" cy="207796"/>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solidFill>
            <a:schemeClr val="tx2"/>
          </a:solidFill>
          <a:ln w="3175" cap="flat">
            <a:noFill/>
            <a:prstDash val="solid"/>
            <a:miter/>
          </a:ln>
        </p:spPr>
        <p:txBody>
          <a:bodyPr rtlCol="0" anchor="ctr"/>
          <a:lstStyle/>
          <a:p>
            <a:endParaRPr lang="en-US" sz="1400" dirty="0">
              <a:latin typeface="Calibri Light" panose="020F0302020204030204" pitchFamily="34" charset="0"/>
              <a:cs typeface="Calibri Light" panose="020F0302020204030204" pitchFamily="34" charset="0"/>
            </a:endParaRPr>
          </a:p>
        </p:txBody>
      </p:sp>
      <p:pic>
        <p:nvPicPr>
          <p:cNvPr id="54" name="Picture 53">
            <a:extLst>
              <a:ext uri="{FF2B5EF4-FFF2-40B4-BE49-F238E27FC236}">
                <a16:creationId xmlns:a16="http://schemas.microsoft.com/office/drawing/2014/main" id="{DE7DE6EA-BC4B-0A0E-E9E5-266946220613}"/>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81645" y="1933086"/>
            <a:ext cx="3901137" cy="4322960"/>
          </a:xfrm>
          <a:custGeom>
            <a:avLst/>
            <a:gdLst>
              <a:gd name="connsiteX0" fmla="*/ 3021087 w 3901137"/>
              <a:gd name="connsiteY0" fmla="*/ 0 h 4322960"/>
              <a:gd name="connsiteX1" fmla="*/ 3901137 w 3901137"/>
              <a:gd name="connsiteY1" fmla="*/ 2636694 h 4322960"/>
              <a:gd name="connsiteX2" fmla="*/ 3901137 w 3901137"/>
              <a:gd name="connsiteY2" fmla="*/ 2665415 h 4322960"/>
              <a:gd name="connsiteX3" fmla="*/ 1651389 w 3901137"/>
              <a:gd name="connsiteY3" fmla="*/ 4322960 h 4322960"/>
              <a:gd name="connsiteX4" fmla="*/ 0 w 3901137"/>
              <a:gd name="connsiteY4" fmla="*/ 3142555 h 4322960"/>
              <a:gd name="connsiteX5" fmla="*/ 0 w 3901137"/>
              <a:gd name="connsiteY5" fmla="*/ 697934 h 4322960"/>
              <a:gd name="connsiteX6" fmla="*/ 214988 w 3901137"/>
              <a:gd name="connsiteY6" fmla="*/ 19402 h 43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1137" h="4322960">
                <a:moveTo>
                  <a:pt x="3021087" y="0"/>
                </a:moveTo>
                <a:lnTo>
                  <a:pt x="3901137" y="2636694"/>
                </a:lnTo>
                <a:lnTo>
                  <a:pt x="3901137" y="2665415"/>
                </a:lnTo>
                <a:lnTo>
                  <a:pt x="1651389" y="4322960"/>
                </a:lnTo>
                <a:lnTo>
                  <a:pt x="0" y="3142555"/>
                </a:lnTo>
                <a:lnTo>
                  <a:pt x="0" y="697934"/>
                </a:lnTo>
                <a:lnTo>
                  <a:pt x="214988" y="19402"/>
                </a:lnTo>
                <a:close/>
              </a:path>
            </a:pathLst>
          </a:custGeom>
        </p:spPr>
      </p:pic>
      <p:sp>
        <p:nvSpPr>
          <p:cNvPr id="55" name="Freeform 21">
            <a:extLst>
              <a:ext uri="{FF2B5EF4-FFF2-40B4-BE49-F238E27FC236}">
                <a16:creationId xmlns:a16="http://schemas.microsoft.com/office/drawing/2014/main" id="{53526B35-4E86-5496-C5BF-3E473A66FBB8}"/>
              </a:ext>
            </a:extLst>
          </p:cNvPr>
          <p:cNvSpPr/>
          <p:nvPr/>
        </p:nvSpPr>
        <p:spPr bwMode="gray">
          <a:xfrm rot="6454826">
            <a:off x="-495021" y="1786753"/>
            <a:ext cx="4534761" cy="4318819"/>
          </a:xfrm>
          <a:custGeom>
            <a:avLst/>
            <a:gdLst>
              <a:gd name="connsiteX0" fmla="*/ 0 w 4534761"/>
              <a:gd name="connsiteY0" fmla="*/ 1649642 h 4318819"/>
              <a:gd name="connsiteX1" fmla="*/ 2267381 w 4534761"/>
              <a:gd name="connsiteY1" fmla="*/ 0 h 4318819"/>
              <a:gd name="connsiteX2" fmla="*/ 4534761 w 4534761"/>
              <a:gd name="connsiteY2" fmla="*/ 1649642 h 4318819"/>
              <a:gd name="connsiteX3" fmla="*/ 3908281 w 4534761"/>
              <a:gd name="connsiteY3" fmla="*/ 3580435 h 4318819"/>
              <a:gd name="connsiteX4" fmla="*/ 1577839 w 4534761"/>
              <a:gd name="connsiteY4" fmla="*/ 4318819 h 4318819"/>
              <a:gd name="connsiteX5" fmla="*/ 866062 w 4534761"/>
              <a:gd name="connsiteY5" fmla="*/ 4318819 h 4318819"/>
              <a:gd name="connsiteX0" fmla="*/ 0 w 4534761"/>
              <a:gd name="connsiteY0" fmla="*/ 1649642 h 4318819"/>
              <a:gd name="connsiteX1" fmla="*/ 2267381 w 4534761"/>
              <a:gd name="connsiteY1" fmla="*/ 0 h 4318819"/>
              <a:gd name="connsiteX2" fmla="*/ 4534761 w 4534761"/>
              <a:gd name="connsiteY2" fmla="*/ 1649642 h 4318819"/>
              <a:gd name="connsiteX3" fmla="*/ 3908281 w 4534761"/>
              <a:gd name="connsiteY3" fmla="*/ 3580435 h 4318819"/>
              <a:gd name="connsiteX4" fmla="*/ 3123288 w 4534761"/>
              <a:gd name="connsiteY4" fmla="*/ 3826155 h 4318819"/>
              <a:gd name="connsiteX5" fmla="*/ 1577839 w 4534761"/>
              <a:gd name="connsiteY5" fmla="*/ 4318819 h 4318819"/>
              <a:gd name="connsiteX6" fmla="*/ 866062 w 4534761"/>
              <a:gd name="connsiteY6" fmla="*/ 4318819 h 4318819"/>
              <a:gd name="connsiteX7" fmla="*/ 0 w 4534761"/>
              <a:gd name="connsiteY7" fmla="*/ 1649642 h 4318819"/>
              <a:gd name="connsiteX0" fmla="*/ 3123288 w 4534761"/>
              <a:gd name="connsiteY0" fmla="*/ 3826155 h 4318819"/>
              <a:gd name="connsiteX1" fmla="*/ 1577839 w 4534761"/>
              <a:gd name="connsiteY1" fmla="*/ 4318819 h 4318819"/>
              <a:gd name="connsiteX2" fmla="*/ 866062 w 4534761"/>
              <a:gd name="connsiteY2" fmla="*/ 4318819 h 4318819"/>
              <a:gd name="connsiteX3" fmla="*/ 0 w 4534761"/>
              <a:gd name="connsiteY3" fmla="*/ 1649642 h 4318819"/>
              <a:gd name="connsiteX4" fmla="*/ 2267381 w 4534761"/>
              <a:gd name="connsiteY4" fmla="*/ 0 h 4318819"/>
              <a:gd name="connsiteX5" fmla="*/ 4534761 w 4534761"/>
              <a:gd name="connsiteY5" fmla="*/ 1649642 h 4318819"/>
              <a:gd name="connsiteX6" fmla="*/ 3908281 w 4534761"/>
              <a:gd name="connsiteY6" fmla="*/ 3580435 h 4318819"/>
              <a:gd name="connsiteX7" fmla="*/ 3214728 w 4534761"/>
              <a:gd name="connsiteY7" fmla="*/ 3917595 h 4318819"/>
              <a:gd name="connsiteX0" fmla="*/ 1577839 w 4534761"/>
              <a:gd name="connsiteY0" fmla="*/ 4318819 h 4318819"/>
              <a:gd name="connsiteX1" fmla="*/ 866062 w 4534761"/>
              <a:gd name="connsiteY1" fmla="*/ 4318819 h 4318819"/>
              <a:gd name="connsiteX2" fmla="*/ 0 w 4534761"/>
              <a:gd name="connsiteY2" fmla="*/ 1649642 h 4318819"/>
              <a:gd name="connsiteX3" fmla="*/ 2267381 w 4534761"/>
              <a:gd name="connsiteY3" fmla="*/ 0 h 4318819"/>
              <a:gd name="connsiteX4" fmla="*/ 4534761 w 4534761"/>
              <a:gd name="connsiteY4" fmla="*/ 1649642 h 4318819"/>
              <a:gd name="connsiteX5" fmla="*/ 3908281 w 4534761"/>
              <a:gd name="connsiteY5" fmla="*/ 3580435 h 4318819"/>
              <a:gd name="connsiteX6" fmla="*/ 3214728 w 4534761"/>
              <a:gd name="connsiteY6" fmla="*/ 3917595 h 4318819"/>
              <a:gd name="connsiteX0" fmla="*/ 1577839 w 4534761"/>
              <a:gd name="connsiteY0" fmla="*/ 4318819 h 4318819"/>
              <a:gd name="connsiteX1" fmla="*/ 866062 w 4534761"/>
              <a:gd name="connsiteY1" fmla="*/ 4318819 h 4318819"/>
              <a:gd name="connsiteX2" fmla="*/ 0 w 4534761"/>
              <a:gd name="connsiteY2" fmla="*/ 1649642 h 4318819"/>
              <a:gd name="connsiteX3" fmla="*/ 2267381 w 4534761"/>
              <a:gd name="connsiteY3" fmla="*/ 0 h 4318819"/>
              <a:gd name="connsiteX4" fmla="*/ 4534761 w 4534761"/>
              <a:gd name="connsiteY4" fmla="*/ 1649642 h 4318819"/>
              <a:gd name="connsiteX5" fmla="*/ 3908281 w 4534761"/>
              <a:gd name="connsiteY5" fmla="*/ 3580435 h 431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4761" h="4318819">
                <a:moveTo>
                  <a:pt x="1577839" y="4318819"/>
                </a:moveTo>
                <a:lnTo>
                  <a:pt x="866062" y="4318819"/>
                </a:lnTo>
                <a:lnTo>
                  <a:pt x="0" y="1649642"/>
                </a:lnTo>
                <a:lnTo>
                  <a:pt x="2267381" y="0"/>
                </a:lnTo>
                <a:lnTo>
                  <a:pt x="4534761" y="1649642"/>
                </a:lnTo>
                <a:lnTo>
                  <a:pt x="3908281" y="3580435"/>
                </a:lnTo>
              </a:path>
            </a:pathLst>
          </a:custGeom>
          <a:noFill/>
          <a:ln w="22225" cap="rnd" algn="ctr">
            <a:solidFill>
              <a:schemeClr val="bg1">
                <a:lumMod val="50000"/>
              </a:schemeClr>
            </a:solidFill>
            <a:prstDash val="lgDash"/>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400" b="1" dirty="0">
              <a:solidFill>
                <a:schemeClr val="bg1"/>
              </a:solidFill>
              <a:latin typeface="Calibri Light" panose="020F0302020204030204" pitchFamily="34" charset="0"/>
              <a:cs typeface="Calibri Light" panose="020F0302020204030204" pitchFamily="34" charset="0"/>
            </a:endParaRPr>
          </a:p>
        </p:txBody>
      </p:sp>
      <p:sp>
        <p:nvSpPr>
          <p:cNvPr id="58" name="Footer Placeholder 5">
            <a:extLst>
              <a:ext uri="{FF2B5EF4-FFF2-40B4-BE49-F238E27FC236}">
                <a16:creationId xmlns:a16="http://schemas.microsoft.com/office/drawing/2014/main" id="{F165D57F-9E1F-8C82-7CC2-92EC7D0FAC22}"/>
              </a:ext>
            </a:extLst>
          </p:cNvPr>
          <p:cNvSpPr txBox="1">
            <a:spLocks/>
          </p:cNvSpPr>
          <p:nvPr/>
        </p:nvSpPr>
        <p:spPr>
          <a:xfrm>
            <a:off x="408330" y="6457611"/>
            <a:ext cx="1973363" cy="365125"/>
          </a:xfrm>
          <a:prstGeom prst="rect">
            <a:avLst/>
          </a:prstGeom>
          <a:no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prstClr val="black"/>
                </a:solidFill>
                <a:effectLst/>
                <a:uLnTx/>
                <a:uFillTx/>
                <a:latin typeface="Calibri Light" panose="020F0302020204030204" pitchFamily="34" charset="0"/>
                <a:cs typeface="Calibri Light" panose="020F0302020204030204" pitchFamily="34" charset="0"/>
              </a:rPr>
              <a:t>© 2023 Deloitte Hungary</a:t>
            </a:r>
          </a:p>
        </p:txBody>
      </p:sp>
    </p:spTree>
    <p:extLst>
      <p:ext uri="{BB962C8B-B14F-4D97-AF65-F5344CB8AC3E}">
        <p14:creationId xmlns:p14="http://schemas.microsoft.com/office/powerpoint/2010/main" val="2518821521"/>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15AD58B-79C8-C082-B303-FE78C43D00AF}"/>
              </a:ext>
            </a:extLst>
          </p:cNvPr>
          <p:cNvGraphicFramePr>
            <a:graphicFrameLocks noGrp="1"/>
          </p:cNvGraphicFramePr>
          <p:nvPr/>
        </p:nvGraphicFramePr>
        <p:xfrm>
          <a:off x="249325" y="941177"/>
          <a:ext cx="11348728" cy="5550058"/>
        </p:xfrm>
        <a:graphic>
          <a:graphicData uri="http://schemas.openxmlformats.org/drawingml/2006/table">
            <a:tbl>
              <a:tblPr firstRow="1" firstCol="1" bandRow="1"/>
              <a:tblGrid>
                <a:gridCol w="1262047">
                  <a:extLst>
                    <a:ext uri="{9D8B030D-6E8A-4147-A177-3AD203B41FA5}">
                      <a16:colId xmlns:a16="http://schemas.microsoft.com/office/drawing/2014/main" val="1742552995"/>
                    </a:ext>
                  </a:extLst>
                </a:gridCol>
                <a:gridCol w="1342360">
                  <a:extLst>
                    <a:ext uri="{9D8B030D-6E8A-4147-A177-3AD203B41FA5}">
                      <a16:colId xmlns:a16="http://schemas.microsoft.com/office/drawing/2014/main" val="3289635670"/>
                    </a:ext>
                  </a:extLst>
                </a:gridCol>
                <a:gridCol w="8744321">
                  <a:extLst>
                    <a:ext uri="{9D8B030D-6E8A-4147-A177-3AD203B41FA5}">
                      <a16:colId xmlns:a16="http://schemas.microsoft.com/office/drawing/2014/main" val="2874645471"/>
                    </a:ext>
                  </a:extLst>
                </a:gridCol>
              </a:tblGrid>
              <a:tr h="318446">
                <a:tc>
                  <a:txBody>
                    <a:bodyPr/>
                    <a:lstStyle/>
                    <a:p>
                      <a:pPr marL="117475" marR="0" indent="0">
                        <a:lnSpc>
                          <a:spcPct val="100000"/>
                        </a:lnSpc>
                        <a:spcBef>
                          <a:spcPts val="600"/>
                        </a:spcBef>
                        <a:spcAft>
                          <a:spcPts val="0"/>
                        </a:spcAft>
                      </a:pPr>
                      <a:r>
                        <a:rPr lang="en-US" sz="1400" b="1" noProof="0" dirty="0">
                          <a:solidFill>
                            <a:schemeClr val="bg1"/>
                          </a:solidFill>
                          <a:effectLst/>
                          <a:latin typeface="Calibri Light" panose="020F0302020204030204" pitchFamily="34" charset="0"/>
                          <a:ea typeface="MingLiU"/>
                          <a:cs typeface="Times New Roman" panose="02020603050405020304" pitchFamily="18" charset="0"/>
                        </a:rPr>
                        <a:t>Topic</a:t>
                      </a:r>
                      <a:endParaRPr lang="en-US" sz="1400" noProof="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marL="54610" marR="0">
                        <a:lnSpc>
                          <a:spcPct val="100000"/>
                        </a:lnSpc>
                        <a:spcBef>
                          <a:spcPts val="600"/>
                        </a:spcBef>
                        <a:spcAft>
                          <a:spcPts val="0"/>
                        </a:spcAft>
                      </a:pPr>
                      <a:r>
                        <a:rPr lang="en-US" sz="1400" b="1" noProof="0" dirty="0">
                          <a:solidFill>
                            <a:schemeClr val="bg1"/>
                          </a:solidFill>
                          <a:effectLst/>
                          <a:latin typeface="Calibri Light" panose="020F0302020204030204" pitchFamily="34" charset="0"/>
                          <a:ea typeface="MingLiU"/>
                          <a:cs typeface="Times New Roman" panose="02020603050405020304" pitchFamily="18" charset="0"/>
                        </a:rPr>
                        <a:t>Industry</a:t>
                      </a:r>
                      <a:endParaRPr lang="en-US" sz="1400" noProof="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marL="54610" marR="0">
                        <a:lnSpc>
                          <a:spcPct val="100000"/>
                        </a:lnSpc>
                        <a:spcBef>
                          <a:spcPts val="600"/>
                        </a:spcBef>
                        <a:spcAft>
                          <a:spcPts val="0"/>
                        </a:spcAft>
                      </a:pPr>
                      <a:r>
                        <a:rPr lang="en-US" sz="1400" b="1" noProof="0" dirty="0">
                          <a:solidFill>
                            <a:schemeClr val="bg1"/>
                          </a:solidFill>
                          <a:effectLst/>
                          <a:latin typeface="Calibri Light" panose="020F0302020204030204" pitchFamily="34" charset="0"/>
                          <a:ea typeface="MingLiU"/>
                          <a:cs typeface="Times New Roman" panose="02020603050405020304" pitchFamily="18" charset="0"/>
                        </a:rPr>
                        <a:t>Short description</a:t>
                      </a:r>
                      <a:endParaRPr lang="en-US" sz="1400" noProof="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680"/>
                    </a:solidFill>
                  </a:tcPr>
                </a:tc>
                <a:extLst>
                  <a:ext uri="{0D108BD9-81ED-4DB2-BD59-A6C34878D82A}">
                    <a16:rowId xmlns:a16="http://schemas.microsoft.com/office/drawing/2014/main" val="357602041"/>
                  </a:ext>
                </a:extLst>
              </a:tr>
              <a:tr h="418461">
                <a:tc>
                  <a:txBody>
                    <a:bodyPr/>
                    <a:lstStyle/>
                    <a:p>
                      <a:pPr marL="117475" marR="0" indent="0">
                        <a:lnSpc>
                          <a:spcPct val="100000"/>
                        </a:lnSpc>
                        <a:spcBef>
                          <a:spcPts val="600"/>
                        </a:spcBef>
                        <a:spcAft>
                          <a:spcPts val="0"/>
                        </a:spcAft>
                        <a:tabLst>
                          <a:tab pos="342900" algn="l"/>
                        </a:tabLst>
                      </a:pP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Process maturity assessment</a:t>
                      </a:r>
                    </a:p>
                  </a:txBody>
                  <a:tcPr marL="0" marR="0" marT="0" marB="0">
                    <a:lnL w="3175" cap="flat" cmpd="sng" algn="ctr">
                      <a:no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a:lnSpc>
                          <a:spcPct val="100000"/>
                        </a:lnSpc>
                        <a:spcBef>
                          <a:spcPts val="600"/>
                        </a:spcBef>
                        <a:spcAft>
                          <a:spcPts val="0"/>
                        </a:spcAft>
                        <a:tabLst>
                          <a:tab pos="342900" algn="l"/>
                        </a:tabLst>
                      </a:pPr>
                      <a:r>
                        <a:rPr lang="en-US" sz="1200" noProof="0" dirty="0">
                          <a:solidFill>
                            <a:srgbClr val="000000"/>
                          </a:solidFill>
                          <a:effectLst/>
                          <a:latin typeface="Calibri Light" panose="020F0302020204030204" pitchFamily="34" charset="0"/>
                          <a:ea typeface="MingLiU"/>
                          <a:cs typeface="Calibri Light" panose="020F0302020204030204" pitchFamily="34" charset="0"/>
                        </a:rPr>
                        <a:t>Healthcare</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Reviewed and assessed the operating processes based on the requirements of ISO9001 standard.</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256170"/>
                  </a:ext>
                </a:extLst>
              </a:tr>
              <a:tr h="0">
                <a:tc>
                  <a:txBody>
                    <a:bodyPr/>
                    <a:lstStyle/>
                    <a:p>
                      <a:pPr marL="117475" marR="0" lvl="0" indent="0" algn="l" defTabSz="914400" rtl="0" eaLnBrk="1" fontAlgn="auto" latinLnBrk="0" hangingPunct="1">
                        <a:lnSpc>
                          <a:spcPct val="100000"/>
                        </a:lnSpc>
                        <a:spcBef>
                          <a:spcPts val="600"/>
                        </a:spcBef>
                        <a:spcAft>
                          <a:spcPts val="0"/>
                        </a:spcAft>
                        <a:buClrTx/>
                        <a:buSzTx/>
                        <a:buFontTx/>
                        <a:buNone/>
                        <a:tabLst>
                          <a:tab pos="342900" algn="l"/>
                        </a:tabLst>
                        <a:defRPr/>
                      </a:pP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Process maturity assessment</a:t>
                      </a:r>
                    </a:p>
                    <a:p>
                      <a:pPr marL="117475" marR="0" indent="0">
                        <a:lnSpc>
                          <a:spcPct val="100000"/>
                        </a:lnSpc>
                        <a:spcBef>
                          <a:spcPts val="600"/>
                        </a:spcBef>
                        <a:spcAft>
                          <a:spcPts val="0"/>
                        </a:spcAft>
                        <a:tabLst>
                          <a:tab pos="342900" algn="l"/>
                        </a:tabLst>
                      </a:pPr>
                      <a:endParaRPr lang="en-US" sz="1200" noProof="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175" cap="flat" cmpd="sng" algn="ctr">
                      <a:no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a:lnSpc>
                          <a:spcPct val="100000"/>
                        </a:lnSpc>
                        <a:spcBef>
                          <a:spcPts val="600"/>
                        </a:spcBef>
                        <a:spcAft>
                          <a:spcPts val="0"/>
                        </a:spcAft>
                        <a:tabLst>
                          <a:tab pos="342900" algn="l"/>
                        </a:tabLst>
                      </a:pPr>
                      <a:r>
                        <a:rPr lang="en-US" sz="1200" noProof="0" dirty="0">
                          <a:solidFill>
                            <a:srgbClr val="000000"/>
                          </a:solidFill>
                          <a:effectLst/>
                          <a:latin typeface="Calibri Light" panose="020F0302020204030204" pitchFamily="34" charset="0"/>
                          <a:ea typeface="MingLiU"/>
                          <a:cs typeface="Calibri Light" panose="020F0302020204030204" pitchFamily="34" charset="0"/>
                        </a:rPr>
                        <a:t>Telecommunication</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Reviewed and assessed the operating processes and controls based on the requirements of ISO9001 standard, deliver maturity map and high</a:t>
                      </a:r>
                      <a:r>
                        <a:rPr lang="hu-HU" sz="1200" noProof="0" dirty="0">
                          <a:effectLst/>
                          <a:latin typeface="Calibri Light" panose="020F0302020204030204" pitchFamily="34" charset="0"/>
                          <a:ea typeface="Verdana" panose="020B0604030504040204" pitchFamily="34" charset="0"/>
                          <a:cs typeface="Calibri Light" panose="020F0302020204030204" pitchFamily="34" charset="0"/>
                        </a:rPr>
                        <a:t>-</a:t>
                      </a: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 </a:t>
                      </a:r>
                      <a:r>
                        <a:rPr lang="hu-HU" sz="1200" noProof="0" dirty="0">
                          <a:effectLst/>
                          <a:latin typeface="Calibri Light" panose="020F0302020204030204" pitchFamily="34" charset="0"/>
                          <a:ea typeface="Verdana" panose="020B0604030504040204" pitchFamily="34" charset="0"/>
                          <a:cs typeface="Calibri Light" panose="020F0302020204030204" pitchFamily="34" charset="0"/>
                        </a:rPr>
                        <a:t>-</a:t>
                      </a: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level recommendations to support the company to reach the next maturity level. </a:t>
                      </a:r>
                    </a:p>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endParaRPr lang="en-US" sz="1200" noProof="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016391"/>
                  </a:ext>
                </a:extLst>
              </a:tr>
              <a:tr h="979571">
                <a:tc>
                  <a:txBody>
                    <a:bodyPr/>
                    <a:lstStyle/>
                    <a:p>
                      <a:pPr marL="117475" marR="0" indent="0">
                        <a:lnSpc>
                          <a:spcPct val="100000"/>
                        </a:lnSpc>
                        <a:spcBef>
                          <a:spcPts val="600"/>
                        </a:spcBef>
                        <a:spcAft>
                          <a:spcPts val="0"/>
                        </a:spcAft>
                        <a:tabLst>
                          <a:tab pos="342900" algn="l"/>
                        </a:tabLst>
                      </a:pP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Internal Audit co-sourcing</a:t>
                      </a:r>
                    </a:p>
                  </a:txBody>
                  <a:tcPr marL="0" marR="0" marT="0" marB="0">
                    <a:lnL w="3175" cap="flat" cmpd="sng" algn="ctr">
                      <a:no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a:lnSpc>
                          <a:spcPct val="100000"/>
                        </a:lnSpc>
                        <a:spcBef>
                          <a:spcPts val="600"/>
                        </a:spcBef>
                        <a:spcAft>
                          <a:spcPts val="0"/>
                        </a:spcAft>
                        <a:tabLst>
                          <a:tab pos="342900" algn="l"/>
                        </a:tabLst>
                      </a:pPr>
                      <a:r>
                        <a:rPr lang="en-US" sz="1200" noProof="0" dirty="0">
                          <a:solidFill>
                            <a:srgbClr val="000000"/>
                          </a:solidFill>
                          <a:effectLst/>
                          <a:latin typeface="Calibri Light" panose="020F0302020204030204" pitchFamily="34" charset="0"/>
                          <a:ea typeface="MingLiU"/>
                          <a:cs typeface="Calibri Light" panose="020F0302020204030204" pitchFamily="34" charset="0"/>
                        </a:rPr>
                        <a:t>Banking</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lang="en-US" sz="1200" noProof="0" dirty="0">
                          <a:latin typeface="Calibri Light" panose="020F0302020204030204" pitchFamily="34" charset="0"/>
                          <a:ea typeface="Verdana" panose="020B0604030504040204" pitchFamily="34" charset="0"/>
                          <a:cs typeface="Calibri Light" panose="020F0302020204030204" pitchFamily="34" charset="0"/>
                        </a:rPr>
                        <a:t>Long term agreement for internal audit co-sourcing with a German Leasing Company , including planning the audit scope periodically, perform internal audit and testing, documentation, concluding, report writing, follow-up the remediation of audit findings.</a:t>
                      </a:r>
                    </a:p>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lang="en-US" sz="1200" noProof="0" dirty="0">
                          <a:latin typeface="Calibri Light" panose="020F0302020204030204" pitchFamily="34" charset="0"/>
                          <a:ea typeface="Verdana" panose="020B0604030504040204" pitchFamily="34" charset="0"/>
                          <a:cs typeface="Calibri Light" panose="020F0302020204030204" pitchFamily="34" charset="0"/>
                        </a:rPr>
                        <a:t>Audited areas: AML, Corporate accountings, Outsourcing, Credit process, HR, Management reporting, Procurement, Corporate governance, Market and operational risk management.</a:t>
                      </a:r>
                      <a:endParaRPr lang="en-US" sz="1200" noProof="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077139"/>
                  </a:ext>
                </a:extLst>
              </a:tr>
              <a:tr h="465540">
                <a:tc>
                  <a:txBody>
                    <a:bodyPr/>
                    <a:lstStyle/>
                    <a:p>
                      <a:pPr marL="117475" marR="0" indent="0">
                        <a:lnSpc>
                          <a:spcPct val="100000"/>
                        </a:lnSpc>
                        <a:spcBef>
                          <a:spcPts val="600"/>
                        </a:spcBef>
                        <a:spcAft>
                          <a:spcPts val="0"/>
                        </a:spcAft>
                        <a:tabLst>
                          <a:tab pos="342900" algn="l"/>
                        </a:tabLst>
                      </a:pP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Internal Audit co-sourcing</a:t>
                      </a:r>
                    </a:p>
                  </a:txBody>
                  <a:tcPr marL="0" marR="0" marT="0" marB="0">
                    <a:lnL w="3175" cap="flat" cmpd="sng" algn="ctr">
                      <a:no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a:lnSpc>
                          <a:spcPct val="100000"/>
                        </a:lnSpc>
                        <a:spcBef>
                          <a:spcPts val="600"/>
                        </a:spcBef>
                        <a:spcAft>
                          <a:spcPts val="0"/>
                        </a:spcAft>
                        <a:tabLst>
                          <a:tab pos="342900" algn="l"/>
                        </a:tabLst>
                      </a:pPr>
                      <a:r>
                        <a:rPr lang="en-US" sz="1200" noProof="0" dirty="0">
                          <a:solidFill>
                            <a:srgbClr val="000000"/>
                          </a:solidFill>
                          <a:effectLst/>
                          <a:latin typeface="Calibri Light" panose="020F0302020204030204" pitchFamily="34" charset="0"/>
                          <a:ea typeface="MingLiU"/>
                          <a:cs typeface="Calibri Light" panose="020F0302020204030204" pitchFamily="34" charset="0"/>
                        </a:rPr>
                        <a:t>Banking</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Internal audit of treasury, payments and credit process of a German-owned small bank. As part of the project risk assessment was performed, based on which the Internal Audit work program was developed.</a:t>
                      </a:r>
                      <a:endParaRPr lang="en-US" sz="1200" kern="1200" noProof="0" dirty="0">
                        <a:solidFill>
                          <a:schemeClr val="tx1"/>
                        </a:solidFill>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8593136"/>
                  </a:ext>
                </a:extLst>
              </a:tr>
              <a:tr h="723376">
                <a:tc>
                  <a:txBody>
                    <a:bodyPr/>
                    <a:lstStyle/>
                    <a:p>
                      <a:pPr marL="117475" marR="0" indent="0" algn="l" defTabSz="914400" rtl="0" eaLnBrk="1" latinLnBrk="0" hangingPunct="1">
                        <a:lnSpc>
                          <a:spcPct val="100000"/>
                        </a:lnSpc>
                        <a:spcBef>
                          <a:spcPts val="600"/>
                        </a:spcBef>
                        <a:spcAft>
                          <a:spcPts val="0"/>
                        </a:spcAft>
                        <a:tabLst>
                          <a:tab pos="342900" algn="l"/>
                        </a:tabLst>
                      </a:pPr>
                      <a:r>
                        <a:rPr lang="en-US" sz="1200" kern="1200" noProof="0" dirty="0">
                          <a:solidFill>
                            <a:schemeClr val="tx1"/>
                          </a:solidFill>
                          <a:effectLst/>
                          <a:latin typeface="Calibri Light" panose="020F0302020204030204" pitchFamily="34" charset="0"/>
                          <a:ea typeface="Verdana" panose="020B0604030504040204" pitchFamily="34" charset="0"/>
                          <a:cs typeface="Calibri Light" panose="020F0302020204030204" pitchFamily="34" charset="0"/>
                        </a:rPr>
                        <a:t>Anti-bribery and corruption reviews</a:t>
                      </a:r>
                    </a:p>
                  </a:txBody>
                  <a:tcPr marL="0" marR="0" marT="0" marB="0">
                    <a:lnL w="3175" cap="flat" cmpd="sng" algn="ctr">
                      <a:no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914400" rtl="0" eaLnBrk="1" fontAlgn="auto" latinLnBrk="0" hangingPunct="1">
                        <a:lnSpc>
                          <a:spcPct val="100000"/>
                        </a:lnSpc>
                        <a:spcBef>
                          <a:spcPts val="600"/>
                        </a:spcBef>
                        <a:spcAft>
                          <a:spcPts val="0"/>
                        </a:spcAft>
                        <a:buClrTx/>
                        <a:buSzTx/>
                        <a:buFontTx/>
                        <a:buNone/>
                        <a:tabLst>
                          <a:tab pos="342900" algn="l"/>
                        </a:tabLst>
                        <a:defRPr/>
                      </a:pPr>
                      <a:r>
                        <a:rPr lang="en-US" sz="1200" kern="1200" noProof="0" dirty="0">
                          <a:solidFill>
                            <a:srgbClr val="000000"/>
                          </a:solidFill>
                          <a:effectLst/>
                          <a:latin typeface="Calibri Light" panose="020F0302020204030204" pitchFamily="34" charset="0"/>
                          <a:ea typeface="MingLiU"/>
                          <a:cs typeface="Calibri Light" panose="020F0302020204030204" pitchFamily="34" charset="0"/>
                        </a:rPr>
                        <a:t>Life Sciences</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We participated in several Anti-bribery and corruption reviews in the Life Sciences industry, either as part of an organization Internal Audit plan, or independently organized (last project, November 2020). As part of these reviews, our main tasks included: interview with the relevant contacts, walkthrough and analyze documentation, perform the fraud focused tests, writing conclusion, presenting the findings on the closing meetings.</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4004848"/>
                  </a:ext>
                </a:extLst>
              </a:tr>
              <a:tr h="542532">
                <a:tc>
                  <a:txBody>
                    <a:bodyPr/>
                    <a:lstStyle/>
                    <a:p>
                      <a:pPr marL="117475" marR="0" indent="0">
                        <a:lnSpc>
                          <a:spcPct val="100000"/>
                        </a:lnSpc>
                        <a:spcBef>
                          <a:spcPts val="600"/>
                        </a:spcBef>
                        <a:spcAft>
                          <a:spcPts val="0"/>
                        </a:spcAft>
                        <a:tabLst>
                          <a:tab pos="342900" algn="l"/>
                        </a:tabLst>
                      </a:pPr>
                      <a:r>
                        <a:rPr lang="en-US" sz="1200" noProof="0" dirty="0">
                          <a:effectLst/>
                          <a:latin typeface="Calibri Light" panose="020F0302020204030204" pitchFamily="34" charset="0"/>
                          <a:ea typeface="Verdana" panose="020B0604030504040204" pitchFamily="34" charset="0"/>
                          <a:cs typeface="Calibri Light" panose="020F0302020204030204" pitchFamily="34" charset="0"/>
                        </a:rPr>
                        <a:t>Internal Audit co-sourcing</a:t>
                      </a:r>
                    </a:p>
                  </a:txBody>
                  <a:tcPr marL="0" marR="0" marT="0" marB="0">
                    <a:lnL w="3175" cap="flat" cmpd="sng" algn="ctr">
                      <a:no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kumimoji="0" lang="en-US" sz="1200" b="0" i="0" u="none" strike="noStrike" kern="1200" cap="none" spc="0" normalizeH="0" baseline="0" noProof="0" dirty="0">
                          <a:ln>
                            <a:noFill/>
                          </a:ln>
                          <a:solidFill>
                            <a:srgbClr val="000000"/>
                          </a:solidFill>
                          <a:effectLst/>
                          <a:uLnTx/>
                          <a:uFillTx/>
                          <a:latin typeface="Calibri Light" panose="020F0302020204030204" pitchFamily="34" charset="0"/>
                          <a:ea typeface="MingLiU"/>
                          <a:cs typeface="Calibri Light" panose="020F0302020204030204" pitchFamily="34" charset="0"/>
                        </a:rPr>
                        <a:t>Manufacturing</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lang="en-US" sz="1200" kern="1200" noProof="0" dirty="0">
                          <a:solidFill>
                            <a:schemeClr val="tx1"/>
                          </a:solidFill>
                          <a:latin typeface="Calibri Light" panose="020F0302020204030204" pitchFamily="34" charset="0"/>
                          <a:ea typeface="Verdana" panose="020B0604030504040204" pitchFamily="34" charset="0"/>
                          <a:cs typeface="Calibri Light" panose="020F0302020204030204" pitchFamily="34" charset="0"/>
                        </a:rPr>
                        <a:t>Providing a comprehensive internal audit co-sourcing service for a global manufacturing company operating in the automotive industry. Apart of annual Risk Assessment and the Internal Audit reviews the scope included SOX control testing support for the relevant business processes and controls.</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0343495"/>
                  </a:ext>
                </a:extLst>
              </a:tr>
              <a:tr h="492175">
                <a:tc>
                  <a:txBody>
                    <a:bodyPr/>
                    <a:lstStyle/>
                    <a:p>
                      <a:pPr marL="117475" marR="0" lvl="0" indent="0" algn="l" defTabSz="914400" rtl="0" eaLnBrk="1" fontAlgn="auto" latinLnBrk="0" hangingPunct="1">
                        <a:lnSpc>
                          <a:spcPct val="100000"/>
                        </a:lnSpc>
                        <a:spcBef>
                          <a:spcPts val="600"/>
                        </a:spcBef>
                        <a:spcAft>
                          <a:spcPts val="0"/>
                        </a:spcAft>
                        <a:buClrTx/>
                        <a:buSzTx/>
                        <a:buFontTx/>
                        <a:buNone/>
                        <a:tabLst>
                          <a:tab pos="342900" algn="l"/>
                        </a:tabLst>
                        <a:defRPr/>
                      </a:pPr>
                      <a:r>
                        <a:rPr lang="en-US" sz="1200" noProof="0" dirty="0">
                          <a:solidFill>
                            <a:schemeClr val="tx1"/>
                          </a:solidFill>
                          <a:latin typeface="Calibri Light"/>
                          <a:cs typeface="Calibri Light"/>
                        </a:rPr>
                        <a:t>Specific fraud review and fraudulent case investigation</a:t>
                      </a:r>
                    </a:p>
                  </a:txBody>
                  <a:tcPr marL="0" marR="0" marT="0" marB="0">
                    <a:lnL w="3175" cap="flat" cmpd="sng" algn="ctr">
                      <a:no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kumimoji="0" lang="en-US" sz="1200" b="0" i="0" u="none" strike="noStrike" kern="1200" cap="none" spc="0" normalizeH="0" baseline="0" noProof="0" dirty="0">
                          <a:ln>
                            <a:noFill/>
                          </a:ln>
                          <a:solidFill>
                            <a:srgbClr val="000000"/>
                          </a:solidFill>
                          <a:effectLst/>
                          <a:uLnTx/>
                          <a:uFillTx/>
                          <a:latin typeface="Calibri Light" panose="020F0302020204030204" pitchFamily="34" charset="0"/>
                          <a:ea typeface="MingLiU"/>
                          <a:cs typeface="Calibri Light" panose="020F0302020204030204" pitchFamily="34" charset="0"/>
                        </a:rPr>
                        <a:t>Automotive</a:t>
                      </a:r>
                    </a:p>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kumimoji="0" lang="en-US" sz="1200" b="0" i="0" u="none" strike="noStrike" kern="1200" cap="none" spc="0" normalizeH="0" baseline="0" noProof="0" dirty="0">
                          <a:ln>
                            <a:noFill/>
                          </a:ln>
                          <a:solidFill>
                            <a:srgbClr val="000000"/>
                          </a:solidFill>
                          <a:effectLst/>
                          <a:uLnTx/>
                          <a:uFillTx/>
                          <a:latin typeface="Calibri Light" panose="020F0302020204030204" pitchFamily="34" charset="0"/>
                          <a:ea typeface="MingLiU"/>
                          <a:cs typeface="Calibri Light" panose="020F0302020204030204" pitchFamily="34" charset="0"/>
                        </a:rPr>
                        <a:t>Finance</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lang="en-US" sz="1200" b="0" noProof="0" dirty="0">
                          <a:solidFill>
                            <a:schemeClr val="tx1"/>
                          </a:solidFill>
                          <a:latin typeface="Calibri Light" panose="020F0302020204030204" pitchFamily="34" charset="0"/>
                        </a:rPr>
                        <a:t>We participated in two specific fraud reviews cooperated with the Internal Audit department, one in the Automotive, one in the Financial services industry. In both cases there was suspected procurement fraud. Our tasks included: performing interviews with control and process responsible personnel, gathering and analyzing documentation, gathering market benchmarks on certain data, writing conclusions.</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4301664"/>
                  </a:ext>
                </a:extLst>
              </a:tr>
              <a:tr h="542532">
                <a:tc>
                  <a:txBody>
                    <a:bodyPr/>
                    <a:lstStyle/>
                    <a:p>
                      <a:pPr marL="117475" marR="0" lvl="0" indent="0" algn="l" defTabSz="806867" rtl="0" eaLnBrk="1" fontAlgn="auto" latinLnBrk="0" hangingPunct="1">
                        <a:lnSpc>
                          <a:spcPct val="100000"/>
                        </a:lnSpc>
                        <a:spcBef>
                          <a:spcPts val="600"/>
                        </a:spcBef>
                        <a:spcAft>
                          <a:spcPts val="0"/>
                        </a:spcAft>
                        <a:buClrTx/>
                        <a:buSzTx/>
                        <a:buFontTx/>
                        <a:buNone/>
                        <a:tabLst>
                          <a:tab pos="342900" algn="l"/>
                        </a:tabLst>
                        <a:defRPr/>
                      </a:pPr>
                      <a:r>
                        <a:rPr lang="en-US" sz="1200" noProof="0" dirty="0">
                          <a:solidFill>
                            <a:schemeClr val="tx1"/>
                          </a:solidFill>
                          <a:latin typeface="Calibri Light" panose="020F0302020204030204" pitchFamily="34" charset="0"/>
                          <a:cs typeface="Calibri Light" panose="020F0302020204030204" pitchFamily="34" charset="0"/>
                        </a:rPr>
                        <a:t>Internal Control over Financial Reporting (ICFR) reviews</a:t>
                      </a:r>
                    </a:p>
                  </a:txBody>
                  <a:tcPr marL="0" marR="0" marT="0" marB="0">
                    <a:lnL w="3175" cap="flat" cmpd="sng" algn="ctr">
                      <a:no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marR="0" lvl="0" indent="0" algn="l" defTabSz="1178588" rtl="0" eaLnBrk="1" fontAlgn="auto" latinLnBrk="0" hangingPunct="1">
                        <a:lnSpc>
                          <a:spcPct val="100000"/>
                        </a:lnSpc>
                        <a:spcBef>
                          <a:spcPts val="600"/>
                        </a:spcBef>
                        <a:spcAft>
                          <a:spcPts val="0"/>
                        </a:spcAft>
                        <a:buClrTx/>
                        <a:buSzTx/>
                        <a:buFontTx/>
                        <a:buNone/>
                        <a:tabLst>
                          <a:tab pos="342900" algn="l"/>
                        </a:tabLst>
                        <a:defRPr/>
                      </a:pPr>
                      <a:r>
                        <a:rPr lang="en-US" sz="1200" b="0" noProof="0" dirty="0">
                          <a:solidFill>
                            <a:schemeClr val="tx1"/>
                          </a:solidFill>
                          <a:latin typeface="Calibri Light" panose="020F0302020204030204" pitchFamily="34" charset="0"/>
                        </a:rPr>
                        <a:t>Manufacturing</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10000"/>
                        </a:lnSpc>
                      </a:pPr>
                      <a:r>
                        <a:rPr lang="en-US" sz="1200" b="0" noProof="0" dirty="0">
                          <a:solidFill>
                            <a:schemeClr val="tx1"/>
                          </a:solidFill>
                          <a:latin typeface="Calibri Light" panose="020F0302020204030204" pitchFamily="34" charset="0"/>
                        </a:rPr>
                        <a:t>We regularly participate in the ICFR review of several clients globally mainly in the Manufacturing, Automotive, Retail and the Oil and gas industry. Our main tasks included: perform interview with the relevant personnel, walkthrough and analyze evidences, perform and document testing, writing conclusion, discuss findings and finalize reporting.</a:t>
                      </a:r>
                    </a:p>
                  </a:txBody>
                  <a:tcPr marL="0" marR="0" marT="0" marB="0">
                    <a:lnL w="3175" cap="flat" cmpd="sng" algn="ctr">
                      <a:solidFill>
                        <a:schemeClr val="bg2">
                          <a:lumMod val="40000"/>
                          <a:lumOff val="6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9049180"/>
                  </a:ext>
                </a:extLst>
              </a:tr>
            </a:tbl>
          </a:graphicData>
        </a:graphic>
      </p:graphicFrame>
      <p:sp>
        <p:nvSpPr>
          <p:cNvPr id="6" name="Title 3">
            <a:extLst>
              <a:ext uri="{FF2B5EF4-FFF2-40B4-BE49-F238E27FC236}">
                <a16:creationId xmlns:a16="http://schemas.microsoft.com/office/drawing/2014/main" id="{DC2D0A97-7483-065B-ADD3-126CCA7566A4}"/>
              </a:ext>
            </a:extLst>
          </p:cNvPr>
          <p:cNvSpPr>
            <a:spLocks noGrp="1"/>
          </p:cNvSpPr>
          <p:nvPr>
            <p:ph type="title"/>
          </p:nvPr>
        </p:nvSpPr>
        <p:spPr>
          <a:xfrm>
            <a:off x="249325" y="104797"/>
            <a:ext cx="11188700" cy="261968"/>
          </a:xfrm>
        </p:spPr>
        <p:txBody>
          <a:bodyPr/>
          <a:lstStyle/>
          <a:p>
            <a:r>
              <a:rPr lang="en-US" cap="none" dirty="0"/>
              <a:t>Relevant Experiences</a:t>
            </a:r>
          </a:p>
        </p:txBody>
      </p:sp>
      <p:sp>
        <p:nvSpPr>
          <p:cNvPr id="7" name="Footer Placeholder 4">
            <a:extLst>
              <a:ext uri="{FF2B5EF4-FFF2-40B4-BE49-F238E27FC236}">
                <a16:creationId xmlns:a16="http://schemas.microsoft.com/office/drawing/2014/main" id="{A6335848-F6F9-1F07-90BC-0E2B2E3491CE}"/>
              </a:ext>
            </a:extLst>
          </p:cNvPr>
          <p:cNvSpPr txBox="1">
            <a:spLocks/>
          </p:cNvSpPr>
          <p:nvPr/>
        </p:nvSpPr>
        <p:spPr>
          <a:xfrm>
            <a:off x="422046" y="6491235"/>
            <a:ext cx="4128776" cy="26196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765" b="0" kern="1200">
                <a:solidFill>
                  <a:schemeClr val="tx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hu-HU" sz="1000" dirty="0"/>
          </a:p>
        </p:txBody>
      </p:sp>
      <p:sp>
        <p:nvSpPr>
          <p:cNvPr id="8" name="Rectangle 7">
            <a:extLst>
              <a:ext uri="{FF2B5EF4-FFF2-40B4-BE49-F238E27FC236}">
                <a16:creationId xmlns:a16="http://schemas.microsoft.com/office/drawing/2014/main" id="{45A22ACC-9102-D96C-E65F-11B2EE6EEADA}"/>
              </a:ext>
            </a:extLst>
          </p:cNvPr>
          <p:cNvSpPr/>
          <p:nvPr/>
        </p:nvSpPr>
        <p:spPr>
          <a:xfrm>
            <a:off x="159285" y="412403"/>
            <a:ext cx="11188700" cy="780214"/>
          </a:xfrm>
          <a:prstGeom prst="rect">
            <a:avLst/>
          </a:prstGeom>
        </p:spPr>
        <p:txBody>
          <a:bodyPr wrap="square">
            <a:spAutoFit/>
          </a:bodyPr>
          <a:lstStyle/>
          <a:p>
            <a:pPr algn="just">
              <a:buSzPct val="100000"/>
              <a:defRPr/>
            </a:pPr>
            <a:r>
              <a:rPr lang="en-US" sz="1600" dirty="0">
                <a:solidFill>
                  <a:srgbClr val="575757"/>
                </a:solidFill>
                <a:latin typeface="Calibri Light"/>
                <a:cs typeface="Calibri Light" panose="020F0302020204030204" pitchFamily="34" charset="0"/>
              </a:rPr>
              <a:t>Beside our project relevant experiences, we see significant value in our knowledge about Risk Management and Compliance which </a:t>
            </a:r>
            <a:r>
              <a:rPr lang="en-US" sz="1600" dirty="0">
                <a:solidFill>
                  <a:srgbClr val="313131"/>
                </a:solidFill>
                <a:latin typeface="Calibri Light"/>
                <a:cs typeface="Calibri Light"/>
              </a:rPr>
              <a:t>would be beneficial for UNICEF. </a:t>
            </a:r>
            <a:endParaRPr lang="en-US" sz="1600" dirty="0">
              <a:solidFill>
                <a:prstClr val="black"/>
              </a:solidFill>
              <a:latin typeface="Calibri Light" panose="020F0302020204030204" pitchFamily="34" charset="0"/>
              <a:cs typeface="Calibri Light" panose="020F0302020204030204" pitchFamily="34" charset="0"/>
            </a:endParaRPr>
          </a:p>
          <a:p>
            <a:pPr algn="just">
              <a:buSzPct val="100000"/>
              <a:defRPr/>
            </a:pPr>
            <a:endParaRPr lang="en-US" sz="1270" dirty="0">
              <a:solidFill>
                <a:prstClr val="black"/>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76015433"/>
      </p:ext>
    </p:extLst>
  </p:cSld>
  <p:clrMapOvr>
    <a:masterClrMapping/>
  </p:clrMapOvr>
  <p:transition>
    <p:fade/>
  </p:transition>
  <p:extLst>
    <p:ext uri="{6950BFC3-D8DA-4A85-94F7-54DA5524770B}">
      <p188:commentRel xmlns:p188="http://schemas.microsoft.com/office/powerpoint/2018/8/main" r:id="rId2"/>
    </p:ext>
  </p:extLs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rgbClr val="9DD4CF"/>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614374"/>
            <a:ext cx="6839787" cy="237016"/>
          </a:xfrm>
          <a:prstGeom prst="roundRect">
            <a:avLst/>
          </a:prstGeom>
          <a:solidFill>
            <a:srgbClr val="9DD4CF"/>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4" y="5228199"/>
            <a:ext cx="6839787" cy="237016"/>
          </a:xfrm>
          <a:prstGeom prst="roundRect">
            <a:avLst/>
          </a:prstGeom>
          <a:solidFill>
            <a:srgbClr val="9DD4CF"/>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862460"/>
            <a:ext cx="6851894" cy="23596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algn="l" defTabSz="914400" rtl="0" eaLnBrk="1" fontAlgn="auto" latinLnBrk="0" hangingPunct="1">
              <a:lnSpc>
                <a:spcPct val="100000"/>
              </a:lnSpc>
              <a:spcBef>
                <a:spcPts val="0"/>
              </a:spcBef>
              <a:spcAft>
                <a:spcPts val="200"/>
              </a:spcAft>
              <a:buClr>
                <a:srgbClr val="00ABAB">
                  <a:lumMod val="50000"/>
                </a:srgbClr>
              </a:buClr>
              <a:buSzTx/>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project had 2 phases: it started with a 1-month long preparatory phase with the aim of both preparing the bank’s colleagues to work using scrum and generating development ideas and the future concept of the mortgage journey. The selected and prioritized development ideas was implemented in the second phase of the project (3 months).</a:t>
            </a:r>
            <a:endParaRPr lang="hu-HU" sz="10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marR="0" lvl="3" algn="l" defTabSz="914400" rtl="0" eaLnBrk="1" fontAlgn="auto" latinLnBrk="0" hangingPunct="1">
              <a:lnSpc>
                <a:spcPct val="100000"/>
              </a:lnSpc>
              <a:spcBef>
                <a:spcPts val="0"/>
              </a:spcBef>
              <a:spcAft>
                <a:spcPts val="200"/>
              </a:spcAft>
              <a:buClr>
                <a:srgbClr val="00ABAB">
                  <a:lumMod val="50000"/>
                </a:srgbClr>
              </a:buClr>
              <a:buSzTx/>
              <a:tabLst/>
              <a:defRPr/>
            </a:pPr>
            <a:r>
              <a:rPr kumimoji="0" lang="en-US" sz="1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ultants’ tasks included:</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day digital mortgage best practices workshop</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lient data analysis, mortgage trend analysi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unning a 6-day design sprint to map current and future mortgage customer journey, conduct customer research, identify and test development ideas </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gile trainings e.g. product owner, scrum master, agile basics, agile for executives </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velopment of a mortgage product roadmap, prioritization of idea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tion of development ideas as part of the scrum team – Deloitte colleagues worked as a development team members together with the client in cross-functional, co-located team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gile coaching to support scrum team members in the adaptation of scrum</a:t>
            </a:r>
            <a:endParaRPr kumimoji="0" lang="en-GB"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846023"/>
            <a:ext cx="6851896" cy="6155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algn="l" defTabSz="914400" rtl="0" eaLnBrk="1" fontAlgn="auto" latinLnBrk="0" hangingPunct="1">
              <a:lnSpc>
                <a:spcPct val="100000"/>
              </a:lnSpc>
              <a:spcBef>
                <a:spcPts val="0"/>
              </a:spcBef>
              <a:spcAft>
                <a:spcPts val="600"/>
              </a:spcAft>
              <a:buClr>
                <a:srgbClr val="00ABAB">
                  <a:lumMod val="50000"/>
                </a:srgbClr>
              </a:buClr>
              <a:buSzTx/>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s ambition was to increase its mortgage market share in Hungary. In order to realize that ambition, the bank decided to improve its mortgage customer journey and digitize some parts of it. More specifically, the client planned to improve its customer experience (NPS), decrease its time-to-yes and time-to-money. Moreover, the client decided to use this project as a pilot to experiment with agile and implement scrum for one team.. </a:t>
            </a:r>
          </a:p>
        </p:txBody>
      </p:sp>
      <p:sp>
        <p:nvSpPr>
          <p:cNvPr id="14" name="TextBox 13">
            <a:extLst>
              <a:ext uri="{FF2B5EF4-FFF2-40B4-BE49-F238E27FC236}">
                <a16:creationId xmlns:a16="http://schemas.microsoft.com/office/drawing/2014/main" id="{242EC6AF-8C25-A375-FF99-2FB0991EC69E}"/>
              </a:ext>
            </a:extLst>
          </p:cNvPr>
          <p:cNvSpPr txBox="1"/>
          <p:nvPr/>
        </p:nvSpPr>
        <p:spPr>
          <a:xfrm>
            <a:off x="526665" y="5498879"/>
            <a:ext cx="6748358" cy="117981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50+ prioritized development ideas (e.g. online status tracker, online document storing)</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 extensive product roadmap with ordered ideas</a:t>
            </a:r>
            <a:r>
              <a:rPr kumimoji="0" lang="hu-H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d </a:t>
            </a:r>
            <a:r>
              <a:rPr kumimoji="0" lang="hu-HU" sz="10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duct</a:t>
            </a:r>
            <a:r>
              <a:rPr kumimoji="0" lang="hu-HU"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backlog</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functioning, trained scrum team experienced in scrum, working on the implementation of idea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d development ideas / delivered product increments (e.g. revised application form, revised document checklist, new mortgage dashboards, new infographic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aised management attention about agile, real agile project experience at the bank as foundation for further agile projects, scaling and agile transformation</a:t>
            </a:r>
          </a:p>
        </p:txBody>
      </p:sp>
      <p:pic>
        <p:nvPicPr>
          <p:cNvPr id="20" name="Picture 19">
            <a:extLst>
              <a:ext uri="{FF2B5EF4-FFF2-40B4-BE49-F238E27FC236}">
                <a16:creationId xmlns:a16="http://schemas.microsoft.com/office/drawing/2014/main" id="{2910DA1E-1E81-A9C2-C8D1-2E15B9ED138E}"/>
              </a:ext>
            </a:extLst>
          </p:cNvPr>
          <p:cNvPicPr>
            <a:picLocks noChangeAspect="1"/>
          </p:cNvPicPr>
          <p:nvPr/>
        </p:nvPicPr>
        <p:blipFill>
          <a:blip r:embed="rId6">
            <a:biLevel thresh="75000"/>
            <a:alphaModFix amt="30000"/>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rot="19136939">
            <a:off x="9633644" y="5377519"/>
            <a:ext cx="1106637" cy="1106637"/>
          </a:xfrm>
          <a:prstGeom prst="rect">
            <a:avLst/>
          </a:prstGeom>
        </p:spPr>
      </p:pic>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MORTGAGE CUSTOMER JOURNEY DIGITIZATION IN AGILE </a:t>
            </a: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hu-HU" sz="1400" b="0" i="0" u="none" strike="noStrike" kern="0" cap="none" spc="0" normalizeH="0" baseline="0" noProof="0" dirty="0" err="1">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Retail</a:t>
            </a:r>
            <a:r>
              <a:rPr kumimoji="0" lang="hu-HU"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bank in Hungary, </a:t>
            </a:r>
            <a:r>
              <a:rPr kumimoji="0" lang="en-GB"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2020/2021</a:t>
            </a:r>
          </a:p>
        </p:txBody>
      </p:sp>
      <p:pic>
        <p:nvPicPr>
          <p:cNvPr id="22" name="Picture 21">
            <a:extLst>
              <a:ext uri="{FF2B5EF4-FFF2-40B4-BE49-F238E27FC236}">
                <a16:creationId xmlns:a16="http://schemas.microsoft.com/office/drawing/2014/main" id="{6424DDED-EBD3-D961-5F7D-E46BDE1B274C}"/>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7799324" y="0"/>
            <a:ext cx="4389120" cy="6858000"/>
          </a:xfrm>
          <a:prstGeom prst="rect">
            <a:avLst/>
          </a:prstGeom>
        </p:spPr>
      </p:pic>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rgbClr val="9DD4CF"/>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25721FD-3E16-789B-70CC-B553080151CC}"/>
              </a:ext>
            </a:extLst>
          </p:cNvPr>
          <p:cNvSpPr txBox="1"/>
          <p:nvPr/>
        </p:nvSpPr>
        <p:spPr>
          <a:xfrm>
            <a:off x="3952613" y="946558"/>
            <a:ext cx="2935586" cy="369332"/>
          </a:xfrm>
          <a:prstGeom prst="rect">
            <a:avLst/>
          </a:prstGeom>
          <a:noFill/>
        </p:spPr>
        <p:txBody>
          <a:bodyPr wrap="square">
            <a:spAutoFit/>
          </a:bodyPr>
          <a:lstStyle/>
          <a:p>
            <a:r>
              <a:rPr kumimoji="0" lang="hu-HU" sz="1800" b="0" i="0" u="none" strike="noStrike" kern="0" cap="none" spc="-75"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MINTA CASE STUDYRA</a:t>
            </a:r>
            <a:endParaRPr lang="en-GB" dirty="0">
              <a:solidFill>
                <a:srgbClr val="FF0000"/>
              </a:solidFill>
            </a:endParaRPr>
          </a:p>
        </p:txBody>
      </p:sp>
    </p:spTree>
    <p:extLst>
      <p:ext uri="{BB962C8B-B14F-4D97-AF65-F5344CB8AC3E}">
        <p14:creationId xmlns:p14="http://schemas.microsoft.com/office/powerpoint/2010/main" val="13351109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AA5473-3841-299D-969C-BF5DA9FC640B}"/>
              </a:ext>
            </a:extLst>
          </p:cNvPr>
          <p:cNvGraphicFramePr>
            <a:graphicFrameLocks noChangeAspect="1"/>
          </p:cNvGraphicFramePr>
          <p:nvPr>
            <p:custDataLst>
              <p:tags r:id="rId1"/>
            </p:custDataLst>
            <p:extLst>
              <p:ext uri="{D42A27DB-BD31-4B8C-83A1-F6EECF244321}">
                <p14:modId xmlns:p14="http://schemas.microsoft.com/office/powerpoint/2010/main" val="2130402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8" name="think-cell data - do not delete" hidden="1">
                        <a:extLst>
                          <a:ext uri="{FF2B5EF4-FFF2-40B4-BE49-F238E27FC236}">
                            <a16:creationId xmlns:a16="http://schemas.microsoft.com/office/drawing/2014/main" id="{6BAA5473-3841-299D-969C-BF5DA9FC64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2">
            <a:extLst>
              <a:ext uri="{FF2B5EF4-FFF2-40B4-BE49-F238E27FC236}">
                <a16:creationId xmlns:a16="http://schemas.microsoft.com/office/drawing/2014/main" id="{0E4F14CE-0C40-3F5C-CA23-2C1BEE81ACC3}"/>
              </a:ext>
            </a:extLst>
          </p:cNvPr>
          <p:cNvSpPr>
            <a:spLocks noGrp="1"/>
          </p:cNvSpPr>
          <p:nvPr>
            <p:ph type="title"/>
          </p:nvPr>
        </p:nvSpPr>
        <p:spPr>
          <a:xfrm>
            <a:off x="463294" y="417911"/>
            <a:ext cx="11462005" cy="334099"/>
          </a:xfrm>
        </p:spPr>
        <p:txBody>
          <a:bodyPr vert="horz" lIns="0" tIns="0" rIns="0" bIns="0" rtlCol="0" anchor="t" anchorCtr="0">
            <a:noAutofit/>
          </a:bodyPr>
          <a:lstStyle/>
          <a:p>
            <a:r>
              <a:rPr lang="en-US" sz="2400" spc="-75" dirty="0"/>
              <a:t>We are ready to address your needs in all 12 chapters of the </a:t>
            </a:r>
            <a:r>
              <a:rPr lang="en-US" sz="2400" spc="-75" dirty="0" err="1"/>
              <a:t>RfP</a:t>
            </a:r>
            <a:endParaRPr lang="en-US" sz="2400" spc="-75" dirty="0"/>
          </a:p>
        </p:txBody>
      </p:sp>
      <p:sp>
        <p:nvSpPr>
          <p:cNvPr id="17" name="Rectangle 16">
            <a:extLst>
              <a:ext uri="{FF2B5EF4-FFF2-40B4-BE49-F238E27FC236}">
                <a16:creationId xmlns:a16="http://schemas.microsoft.com/office/drawing/2014/main" id="{D131D848-1DEF-3BB0-2140-BC57959CD9BC}"/>
              </a:ext>
            </a:extLst>
          </p:cNvPr>
          <p:cNvSpPr/>
          <p:nvPr/>
        </p:nvSpPr>
        <p:spPr>
          <a:xfrm>
            <a:off x="463296" y="835024"/>
            <a:ext cx="3384804" cy="5842002"/>
          </a:xfrm>
          <a:prstGeom prst="rect">
            <a:avLst/>
          </a:prstGeom>
          <a:solidFill>
            <a:schemeClr val="bg1"/>
          </a:solidFill>
          <a:ln w="317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Rounded Corners 17">
            <a:extLst>
              <a:ext uri="{FF2B5EF4-FFF2-40B4-BE49-F238E27FC236}">
                <a16:creationId xmlns:a16="http://schemas.microsoft.com/office/drawing/2014/main" id="{878FC01F-0112-3AEF-9946-2CC17556A98A}"/>
              </a:ext>
            </a:extLst>
          </p:cNvPr>
          <p:cNvSpPr/>
          <p:nvPr/>
        </p:nvSpPr>
        <p:spPr bwMode="gray">
          <a:xfrm>
            <a:off x="463296" y="918892"/>
            <a:ext cx="3194304" cy="289560"/>
          </a:xfrm>
          <a:prstGeom prst="roundRect">
            <a:avLst/>
          </a:prstGeom>
          <a:solidFill>
            <a:srgbClr val="00B0F2"/>
          </a:solidFill>
          <a:ln w="19050" algn="ctr">
            <a:noFill/>
            <a:miter lim="800000"/>
            <a:headEnd/>
            <a:tailEnd/>
          </a:ln>
        </p:spPr>
        <p:txBody>
          <a:bodyPr wrap="square" lIns="3600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Our understanding of your needs</a:t>
            </a:r>
          </a:p>
        </p:txBody>
      </p:sp>
      <p:sp>
        <p:nvSpPr>
          <p:cNvPr id="22" name="Rectangle 21">
            <a:extLst>
              <a:ext uri="{FF2B5EF4-FFF2-40B4-BE49-F238E27FC236}">
                <a16:creationId xmlns:a16="http://schemas.microsoft.com/office/drawing/2014/main" id="{467FF603-7504-3ADA-55D8-53CA9A47D89B}"/>
              </a:ext>
            </a:extLst>
          </p:cNvPr>
          <p:cNvSpPr/>
          <p:nvPr/>
        </p:nvSpPr>
        <p:spPr>
          <a:xfrm>
            <a:off x="438150" y="1406037"/>
            <a:ext cx="3352800" cy="4965462"/>
          </a:xfrm>
          <a:prstGeom prst="rect">
            <a:avLst/>
          </a:prstGeom>
        </p:spPr>
        <p:txBody>
          <a:bodyPr wrap="square">
            <a:spAutoFit/>
          </a:bodyPr>
          <a:lstStyle/>
          <a:p>
            <a:pPr>
              <a:spcAft>
                <a:spcPts val="800"/>
              </a:spcAft>
            </a:pPr>
            <a:r>
              <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Significance of the GSSC in UNICEF’s mission:</a:t>
            </a:r>
          </a:p>
          <a:p>
            <a:pPr marL="171450" indent="-171450">
              <a:spcAft>
                <a:spcPts val="800"/>
              </a:spcAft>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The GSSC is a central pillar of UNICEF's global operations, designed to consolidate and streamline administrative, financial, human resources, and other functions</a:t>
            </a:r>
          </a:p>
          <a:p>
            <a:pPr marL="171450" indent="-171450">
              <a:spcAft>
                <a:spcPts val="800"/>
              </a:spcAft>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ts primary mission is to empower UNICEF teams to focus more on the core mandate of advocating for children's rights and well-being by harmonizing essential support services and centralizing routine support functions</a:t>
            </a:r>
            <a:r>
              <a:rPr lang="hu-HU"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r>
              <a:rPr kumimoji="0" lang="en-US" sz="1000" b="0" i="0" u="none" strike="noStrike" kern="1200" cap="none" spc="0" normalizeH="0" baseline="0" dirty="0">
                <a:ln>
                  <a:noFill/>
                </a:ln>
                <a:solidFill>
                  <a:srgbClr val="000000"/>
                </a:solidFill>
                <a:effectLst/>
                <a:uLnTx/>
                <a:uFillTx/>
                <a:latin typeface="Calibri"/>
                <a:ea typeface="+mn-ea"/>
                <a:cs typeface="+mn-cs"/>
              </a:rPr>
              <a:t>e.g. </a:t>
            </a: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HR, payroll, finance and IT services</a:t>
            </a:r>
            <a:r>
              <a:rPr lang="hu-HU"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 to a global shared services centre</a:t>
            </a:r>
          </a:p>
          <a:p>
            <a:pPr marL="171450" indent="-171450">
              <a:spcAft>
                <a:spcPts val="800"/>
              </a:spcAft>
              <a:buFont typeface="Arial" panose="020B0604020202020204" pitchFamily="34" charset="0"/>
              <a:buChar char="•"/>
            </a:pPr>
            <a:endPar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spcAft>
                <a:spcPts val="800"/>
              </a:spcAft>
            </a:pPr>
            <a:r>
              <a:rPr lang="en-US" sz="10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Purpose of the consultancy:</a:t>
            </a:r>
          </a:p>
          <a:p>
            <a:pPr marL="171450" indent="-171450">
              <a:spcAft>
                <a:spcPts val="800"/>
              </a:spcAft>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Provide a wide spectrum of services across various generic themes</a:t>
            </a:r>
          </a:p>
          <a:p>
            <a:pPr marL="171450" indent="-171450">
              <a:spcAft>
                <a:spcPts val="800"/>
              </a:spcAft>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nhance the organization’s efficiency, effectiveness, and innovation capabilities</a:t>
            </a:r>
          </a:p>
          <a:p>
            <a:pPr marL="171450" indent="-171450">
              <a:spcAft>
                <a:spcPts val="800"/>
              </a:spcAft>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Deliver tailored solutions, driving growth, risk management, and sustainable performance</a:t>
            </a:r>
          </a:p>
          <a:p>
            <a:pPr marL="171450" indent="-171450">
              <a:spcAft>
                <a:spcPts val="800"/>
              </a:spcAft>
              <a:buFont typeface="Arial" panose="020B0604020202020204" pitchFamily="34" charset="0"/>
              <a:buChar char="•"/>
            </a:pPr>
            <a:endPar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Aft>
                <a:spcPts val="800"/>
              </a:spcAft>
              <a:buClrTx/>
              <a:buSzTx/>
              <a:buFontTx/>
              <a:buNone/>
              <a:tabLst/>
              <a:defRPr/>
            </a:pPr>
            <a:r>
              <a:rPr kumimoji="0" lang="en-US" sz="10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bjective of the contract:</a:t>
            </a:r>
          </a:p>
          <a:p>
            <a:pPr marL="171450" indent="-171450">
              <a:spcAft>
                <a:spcPts val="800"/>
              </a:spcAft>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This engagement encompass a diverse range of services across multiple critical themes aimed at enhancing UNICEF's GSSC’s overall capabilities and performance</a:t>
            </a:r>
          </a:p>
        </p:txBody>
      </p:sp>
      <p:sp>
        <p:nvSpPr>
          <p:cNvPr id="2" name="Rectangle 1">
            <a:extLst>
              <a:ext uri="{FF2B5EF4-FFF2-40B4-BE49-F238E27FC236}">
                <a16:creationId xmlns:a16="http://schemas.microsoft.com/office/drawing/2014/main" id="{A5824CA8-FE02-30A4-CD92-8D8364CA8C3E}"/>
              </a:ext>
            </a:extLst>
          </p:cNvPr>
          <p:cNvSpPr/>
          <p:nvPr/>
        </p:nvSpPr>
        <p:spPr>
          <a:xfrm>
            <a:off x="4276726" y="835023"/>
            <a:ext cx="7553324" cy="5842002"/>
          </a:xfrm>
          <a:prstGeom prst="rect">
            <a:avLst/>
          </a:prstGeom>
          <a:solidFill>
            <a:schemeClr val="bg1"/>
          </a:solidFill>
          <a:ln w="317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2">
            <a:extLst>
              <a:ext uri="{FF2B5EF4-FFF2-40B4-BE49-F238E27FC236}">
                <a16:creationId xmlns:a16="http://schemas.microsoft.com/office/drawing/2014/main" id="{6FDC23B4-8B08-891F-4717-3679D802FE0B}"/>
              </a:ext>
            </a:extLst>
          </p:cNvPr>
          <p:cNvSpPr/>
          <p:nvPr/>
        </p:nvSpPr>
        <p:spPr bwMode="gray">
          <a:xfrm>
            <a:off x="4276726" y="918892"/>
            <a:ext cx="5587661" cy="289560"/>
          </a:xfrm>
          <a:prstGeom prst="roundRect">
            <a:avLst/>
          </a:prstGeom>
          <a:solidFill>
            <a:srgbClr val="00B0F2"/>
          </a:solidFill>
          <a:ln w="19050" algn="ctr">
            <a:noFill/>
            <a:miter lim="800000"/>
            <a:headEnd/>
            <a:tailEnd/>
          </a:ln>
        </p:spPr>
        <p:txBody>
          <a:bodyPr wrap="square" lIns="36000" tIns="0" rIns="0" bIns="0" rtlCol="0" anchor="ctr"/>
          <a:lstStyle/>
          <a:p>
            <a:pPr>
              <a:defRPr/>
            </a:pPr>
            <a:r>
              <a:rPr lang="hu-HU" sz="1200" b="1" kern="0"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We</a:t>
            </a:r>
            <a:r>
              <a:rPr lang="en-US" sz="12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 are ready to assist you in all 12 chapters of the </a:t>
            </a:r>
            <a:r>
              <a:rPr lang="en-US" sz="1200" b="1" kern="0"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RfP</a:t>
            </a:r>
            <a:endParaRPr lang="en-US" sz="1200" b="1" kern="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graphicFrame>
        <p:nvGraphicFramePr>
          <p:cNvPr id="4" name="Table 13">
            <a:extLst>
              <a:ext uri="{FF2B5EF4-FFF2-40B4-BE49-F238E27FC236}">
                <a16:creationId xmlns:a16="http://schemas.microsoft.com/office/drawing/2014/main" id="{2B0086CD-550D-B345-D9FD-A708F6F239EE}"/>
              </a:ext>
            </a:extLst>
          </p:cNvPr>
          <p:cNvGraphicFramePr>
            <a:graphicFrameLocks noGrp="1"/>
          </p:cNvGraphicFramePr>
          <p:nvPr>
            <p:extLst>
              <p:ext uri="{D42A27DB-BD31-4B8C-83A1-F6EECF244321}">
                <p14:modId xmlns:p14="http://schemas.microsoft.com/office/powerpoint/2010/main" val="1627238936"/>
              </p:ext>
            </p:extLst>
          </p:nvPr>
        </p:nvGraphicFramePr>
        <p:xfrm>
          <a:off x="4343400" y="1216027"/>
          <a:ext cx="7419975" cy="5441950"/>
        </p:xfrm>
        <a:graphic>
          <a:graphicData uri="http://schemas.openxmlformats.org/drawingml/2006/table">
            <a:tbl>
              <a:tblPr firstRow="1" bandRow="1">
                <a:tableStyleId>{5C22544A-7EE6-4342-B048-85BDC9FD1C3A}</a:tableStyleId>
              </a:tblPr>
              <a:tblGrid>
                <a:gridCol w="409575">
                  <a:extLst>
                    <a:ext uri="{9D8B030D-6E8A-4147-A177-3AD203B41FA5}">
                      <a16:colId xmlns:a16="http://schemas.microsoft.com/office/drawing/2014/main" val="3031898452"/>
                    </a:ext>
                  </a:extLst>
                </a:gridCol>
                <a:gridCol w="6611495">
                  <a:extLst>
                    <a:ext uri="{9D8B030D-6E8A-4147-A177-3AD203B41FA5}">
                      <a16:colId xmlns:a16="http://schemas.microsoft.com/office/drawing/2014/main" val="2561715093"/>
                    </a:ext>
                  </a:extLst>
                </a:gridCol>
                <a:gridCol w="398905">
                  <a:extLst>
                    <a:ext uri="{9D8B030D-6E8A-4147-A177-3AD203B41FA5}">
                      <a16:colId xmlns:a16="http://schemas.microsoft.com/office/drawing/2014/main" val="4197907073"/>
                    </a:ext>
                  </a:extLst>
                </a:gridCol>
              </a:tblGrid>
              <a:tr h="493285">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1</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novation and Technology Consulting</a:t>
                      </a: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rive innovation and efficiency in the GSSC’s IT infrastructure, bolstering cybersecurity measures, enabling agile DevOps and DataOps practices, and ensuring seamless integration of systems</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381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900" b="0" i="0" kern="120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381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4055033"/>
                  </a:ext>
                </a:extLst>
              </a:tr>
              <a:tr h="493285">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2</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ata and Analytics Excellence</a:t>
                      </a: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ovide support to establish robust data governance and privacy frameworks while harnessing the power of data through engineering, analysis, science, and business intelligence</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073390"/>
                  </a:ext>
                </a:extLst>
              </a:tr>
              <a:tr h="418687">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3</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ocess Optimization and Efficiency:</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treamline operations, reduce bottlenecks, and ensure that processes and procedures are managed optimally</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850995"/>
                  </a:ext>
                </a:extLst>
              </a:tr>
              <a:tr h="418687">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4</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User-Centric Design and Experience:</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upport enhancing user experiences and interfaces (UX/UI) and develop web solutions that are user-centric and effective</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883485"/>
                  </a:ext>
                </a:extLst>
              </a:tr>
              <a:tr h="418687">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5</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upport, Maintenance, and Reliability:</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ovide support and maintenance services to ensure the reliability and performance of the IT systems</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901565"/>
                  </a:ext>
                </a:extLst>
              </a:tr>
              <a:tr h="493285">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6</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trategic Planning and Governance:</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llaborate and create strategic planning, including innovation and IT strategy development, and assistance crafting corporate objectives and policies  for the long-term success of the organization</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623407"/>
                  </a:ext>
                </a:extLst>
              </a:tr>
              <a:tr h="418687">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7</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oject Management Excellence</a:t>
                      </a: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nable effective project management, ensuring that projects are timely and within budget</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2229621"/>
                  </a:ext>
                </a:extLst>
              </a:tr>
              <a:tr h="463403">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8</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Optimizing Organizational Structures and Human Resources</a:t>
                      </a: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valuate and optimize organizational structures, enabling the GSSC to maximize its talent potential through HR</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5515617"/>
                  </a:ext>
                </a:extLst>
              </a:tr>
              <a:tr h="493285">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9</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nagement Advisory services:</a:t>
                      </a:r>
                    </a:p>
                    <a:p>
                      <a:pPr algn="l" rtl="0" fontAlgn="ctr"/>
                      <a:r>
                        <a:rPr lang="en-US" sz="9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evelopment and review of organizational strategies, Strategic business planning,, Business case and options appraisal, Business process analysis, re-engineering and improvement and other services</a:t>
                      </a:r>
                      <a:endParaRPr lang="en-US" sz="9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5774093"/>
                  </a:ext>
                </a:extLst>
              </a:tr>
              <a:tr h="418687">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10</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earning and Development:</a:t>
                      </a:r>
                      <a:b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esign engaging and effective learning experiences to foster continuous growth and development within the organization</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113680"/>
                  </a:ext>
                </a:extLst>
              </a:tr>
              <a:tr h="418687">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11</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Human Resources consulting service:</a:t>
                      </a:r>
                    </a:p>
                    <a:p>
                      <a:pPr algn="l" rtl="0" fontAlgn="ctr"/>
                      <a:r>
                        <a:rPr lang="en-US" sz="9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ximizing talent potential through HR consulting, Recruitment and other HR advisory services</a:t>
                      </a:r>
                      <a:endParaRPr lang="en-US" sz="9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230679"/>
                  </a:ext>
                </a:extLst>
              </a:tr>
              <a:tr h="493285">
                <a:tc>
                  <a:txBody>
                    <a:bodyPr/>
                    <a:lstStyle/>
                    <a:p>
                      <a:pPr algn="r" rtl="0" fontAlgn="ctr"/>
                      <a:r>
                        <a:rPr lang="en-US" sz="18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12</a:t>
                      </a:r>
                      <a:endParaRPr lang="en-US" sz="18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9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isk Management and Compliance:</a:t>
                      </a:r>
                    </a:p>
                    <a:p>
                      <a:pPr algn="l" rtl="0" fontAlgn="ctr"/>
                      <a:r>
                        <a:rPr lang="en-US" sz="9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nage risk effectively through risk management consulting services and ensure that the organization adheres to regulatory compliance</a:t>
                      </a:r>
                      <a:endParaRPr lang="en-US" sz="9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a:r>
                        <a:rPr lang="en-US" sz="9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9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374927"/>
                  </a:ext>
                </a:extLst>
              </a:tr>
            </a:tbl>
          </a:graphicData>
        </a:graphic>
      </p:graphicFrame>
      <p:sp>
        <p:nvSpPr>
          <p:cNvPr id="5" name="Isosceles Triangle 4">
            <a:extLst>
              <a:ext uri="{FF2B5EF4-FFF2-40B4-BE49-F238E27FC236}">
                <a16:creationId xmlns:a16="http://schemas.microsoft.com/office/drawing/2014/main" id="{AD1C1DC2-6601-F3E4-F74F-16253BACB884}"/>
              </a:ext>
            </a:extLst>
          </p:cNvPr>
          <p:cNvSpPr/>
          <p:nvPr/>
        </p:nvSpPr>
        <p:spPr bwMode="gray">
          <a:xfrm rot="5400000">
            <a:off x="2459241" y="3689578"/>
            <a:ext cx="3206343" cy="188067"/>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Rectangle 9">
            <a:extLst>
              <a:ext uri="{FF2B5EF4-FFF2-40B4-BE49-F238E27FC236}">
                <a16:creationId xmlns:a16="http://schemas.microsoft.com/office/drawing/2014/main" id="{7EF4EFBA-A6B6-177D-D10B-65761581C3DB}"/>
              </a:ext>
            </a:extLst>
          </p:cNvPr>
          <p:cNvSpPr/>
          <p:nvPr/>
        </p:nvSpPr>
        <p:spPr>
          <a:xfrm>
            <a:off x="11074152" y="993008"/>
            <a:ext cx="755897" cy="215444"/>
          </a:xfrm>
          <a:prstGeom prst="rect">
            <a:avLst/>
          </a:prstGeom>
        </p:spPr>
        <p:txBody>
          <a:bodyPr wrap="square">
            <a:spAutoFit/>
          </a:bodyPr>
          <a:lstStyle/>
          <a:p>
            <a:pPr algn="r">
              <a:spcBef>
                <a:spcPts val="600"/>
              </a:spcBef>
            </a:pPr>
            <a:r>
              <a:rPr lang="en-US" sz="8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Page: </a:t>
            </a:r>
          </a:p>
        </p:txBody>
      </p:sp>
    </p:spTree>
    <p:extLst>
      <p:ext uri="{BB962C8B-B14F-4D97-AF65-F5344CB8AC3E}">
        <p14:creationId xmlns:p14="http://schemas.microsoft.com/office/powerpoint/2010/main" val="1553799428"/>
      </p:ext>
    </p:extLst>
  </p:cSld>
  <p:clrMapOvr>
    <a:masterClrMapping/>
  </p:clrMapOvr>
  <p:transition>
    <p:fade/>
  </p:transition>
  <p:extLst>
    <p:ext uri="{6950BFC3-D8DA-4A85-94F7-54DA5524770B}">
      <p188:commentRel xmlns:p188="http://schemas.microsoft.com/office/powerpoint/2018/8/main" r:id="rId4"/>
    </p:ext>
  </p:extLs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17" name="Straight Connector 116">
            <a:extLst>
              <a:ext uri="{FF2B5EF4-FFF2-40B4-BE49-F238E27FC236}">
                <a16:creationId xmlns:a16="http://schemas.microsoft.com/office/drawing/2014/main" id="{D1176CCC-DBC5-3ACE-B530-1E064778C01F}"/>
              </a:ext>
            </a:extLst>
          </p:cNvPr>
          <p:cNvCxnSpPr>
            <a:cxnSpLocks/>
          </p:cNvCxnSpPr>
          <p:nvPr/>
        </p:nvCxnSpPr>
        <p:spPr>
          <a:xfrm>
            <a:off x="2426327" y="3693588"/>
            <a:ext cx="5990082" cy="2516"/>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897857" y="906411"/>
            <a:ext cx="10467780" cy="787400"/>
          </a:xfrm>
        </p:spPr>
        <p:txBody>
          <a:bodyPr vert="horz" anchor="t"/>
          <a:lstStyle/>
          <a:p>
            <a:r>
              <a:rPr lang="en-US" sz="1400" dirty="0">
                <a:solidFill>
                  <a:prstClr val="black"/>
                </a:solidFill>
              </a:rPr>
              <a:t>Deloitte has a strong strategy and business design practitioner team in Hungary, Budapest with a relevant service portfolio, leveraging a wide range of tools and methodologies to create solutions that are effective, efficient and sustainable.</a:t>
            </a:r>
            <a:endParaRPr lang="en-GB" sz="1400" dirty="0">
              <a:solidFill>
                <a:prstClr val="black"/>
              </a:solidFill>
            </a:endParaRP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dirty="0">
              <a:cs typeface="Calibri Light"/>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hu-HU" dirty="0">
                <a:cs typeface="Calibri Light"/>
              </a:rPr>
              <a:t>Risk Management and </a:t>
            </a:r>
            <a:r>
              <a:rPr lang="hu-HU" dirty="0" err="1">
                <a:cs typeface="Calibri Light"/>
              </a:rPr>
              <a:t>Compliance</a:t>
            </a:r>
            <a:endParaRPr lang="hu-HU" dirty="0">
              <a:cs typeface="Calibri Light"/>
            </a:endParaRPr>
          </a:p>
        </p:txBody>
      </p:sp>
      <p:sp>
        <p:nvSpPr>
          <p:cNvPr id="139" name="Rectangle 138">
            <a:extLst>
              <a:ext uri="{FF2B5EF4-FFF2-40B4-BE49-F238E27FC236}">
                <a16:creationId xmlns:a16="http://schemas.microsoft.com/office/drawing/2014/main" id="{D24F5A2A-964F-033E-A1BE-A37D9B8D9E69}"/>
              </a:ext>
            </a:extLst>
          </p:cNvPr>
          <p:cNvSpPr/>
          <p:nvPr/>
        </p:nvSpPr>
        <p:spPr bwMode="gray">
          <a:xfrm>
            <a:off x="359778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141" name="TextBox 140">
            <a:extLst>
              <a:ext uri="{FF2B5EF4-FFF2-40B4-BE49-F238E27FC236}">
                <a16:creationId xmlns:a16="http://schemas.microsoft.com/office/drawing/2014/main" id="{C1E126F8-F431-9388-C8CB-74AC231347F6}"/>
              </a:ext>
            </a:extLst>
          </p:cNvPr>
          <p:cNvSpPr txBox="1"/>
          <p:nvPr/>
        </p:nvSpPr>
        <p:spPr>
          <a:xfrm>
            <a:off x="4369701" y="3336541"/>
            <a:ext cx="1484365"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hu-HU" sz="1100" b="1" dirty="0">
                <a:solidFill>
                  <a:srgbClr val="313131"/>
                </a:solidFill>
                <a:latin typeface="Open Sans"/>
                <a:ea typeface="Open Sans Light" panose="020B0306030504020204" pitchFamily="34" charset="0"/>
                <a:cs typeface="Open Sans Light" panose="020B0306030504020204" pitchFamily="34" charset="0"/>
              </a:rPr>
              <a:t>Zoltán Győri</a:t>
            </a:r>
            <a:endParaRPr kumimoji="0" lang="en-GB" sz="11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a:t>
            </a: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endPar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6+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ears</a:t>
            </a: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of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p</a:t>
            </a: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GB"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56" name="Picture 4" descr="Hungary Large Flag | Gallery Yopriceville - High-Quality Free Images ...">
            <a:extLst>
              <a:ext uri="{FF2B5EF4-FFF2-40B4-BE49-F238E27FC236}">
                <a16:creationId xmlns:a16="http://schemas.microsoft.com/office/drawing/2014/main" id="{94FFD933-BE6D-850C-C5C5-E1B7CD00BEC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59279"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BA</a:t>
            </a:r>
            <a:endParaRPr lang="en-US" sz="800" b="1" dirty="0">
              <a:solidFill>
                <a:schemeClr val="accent2">
                  <a:lumMod val="50000"/>
                </a:schemeClr>
              </a:solidFill>
            </a:endParaRP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79B756F-5CA7-461C-723F-D3A46640B769}"/>
              </a:ext>
            </a:extLst>
          </p:cNvPr>
          <p:cNvSpPr txBox="1"/>
          <p:nvPr/>
        </p:nvSpPr>
        <p:spPr>
          <a:xfrm>
            <a:off x="4992364" y="6263625"/>
            <a:ext cx="1061396" cy="176139"/>
          </a:xfrm>
          <a:prstGeom prst="rect">
            <a:avLst/>
          </a:prstGeom>
          <a:noFill/>
        </p:spPr>
        <p:txBody>
          <a:bodyPr wrap="square" lIns="0" tIns="0" rIns="0" bIns="0" rtlCol="0" anchor="t">
            <a:noAutofit/>
          </a:bodyPr>
          <a:lstStyle/>
          <a:p>
            <a:pPr>
              <a:spcAft>
                <a:spcPts val="1000"/>
              </a:spcAft>
            </a:pPr>
            <a:r>
              <a:rPr lang="hu-HU" sz="900" dirty="0">
                <a:latin typeface="+mj-lt"/>
                <a:ea typeface="Open Sans Light" panose="020B0306030504020204" pitchFamily="34" charset="0"/>
                <a:cs typeface="Open Sans Light" panose="020B0306030504020204" pitchFamily="34" charset="0"/>
              </a:rPr>
              <a:t>SENIORITY LEVELS</a:t>
            </a:r>
            <a:endParaRPr lang="en-US" sz="900" dirty="0">
              <a:latin typeface="+mj-lt"/>
              <a:ea typeface="Open Sans Light" panose="020B0306030504020204" pitchFamily="34" charset="0"/>
              <a:cs typeface="Open Sans Light" panose="020B0306030504020204" pitchFamily="34" charset="0"/>
            </a:endParaRPr>
          </a:p>
        </p:txBody>
      </p:sp>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a:spcBef>
                <a:spcPts val="600"/>
              </a:spcBef>
              <a:buSzPct val="100000"/>
            </a:pP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Business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Analyst</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2</a:t>
            </a:r>
            <a:r>
              <a:rPr lang="ro-RO"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5 </a:t>
            </a:r>
            <a:r>
              <a:rPr lang="ro-RO"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years</a:t>
            </a:r>
            <a:r>
              <a:rPr lang="ro-RO"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exp.)</a:t>
            </a:r>
            <a:endParaRPr lang="en-GB"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a:spcBef>
                <a:spcPts val="600"/>
              </a:spcBef>
              <a:buSzPct val="100000"/>
            </a:pP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Junior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Consultant</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2-5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years</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exp</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a:t>
            </a:r>
            <a:endParaRPr lang="en-GB"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a:spcBef>
                <a:spcPts val="600"/>
              </a:spcBef>
              <a:buSzPct val="100000"/>
            </a:pP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Manager               (8+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years</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of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exp</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a:t>
            </a:r>
            <a:endParaRPr lang="en-GB"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a:spcBef>
                <a:spcPts val="600"/>
              </a:spcBef>
              <a:buSzPct val="100000"/>
            </a:pP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Senior</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Consultant</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5+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years</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exp</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a:t>
            </a:r>
            <a:endParaRPr lang="en-GB"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a:spcBef>
                <a:spcPts val="600"/>
              </a:spcBef>
              <a:buSzPct val="100000"/>
            </a:pP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Senior</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Manager (10+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years</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of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exp</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a:t>
            </a:r>
            <a:endParaRPr lang="en-GB"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a:spcBef>
                <a:spcPts val="600"/>
              </a:spcBef>
              <a:buSzPct val="100000"/>
            </a:pP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Project Manager (15+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years</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 of </a:t>
            </a:r>
            <a:r>
              <a:rPr lang="hu-HU" sz="800"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exp</a:t>
            </a:r>
            <a:r>
              <a:rPr lang="hu-HU"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a:t>
            </a:r>
            <a:endParaRPr lang="en-GB"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3" name="Picture 4" descr="Hungary Large Flag | Gallery Yopriceville - High-Quality Free Images ...">
            <a:extLst>
              <a:ext uri="{FF2B5EF4-FFF2-40B4-BE49-F238E27FC236}">
                <a16:creationId xmlns:a16="http://schemas.microsoft.com/office/drawing/2014/main" id="{019FA043-B4E8-B54D-4578-17BFFA1D25E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22134" y="6485356"/>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349386B-F880-0C53-DE2D-537CFCF784B6}"/>
              </a:ext>
            </a:extLst>
          </p:cNvPr>
          <p:cNvSpPr txBox="1"/>
          <p:nvPr/>
        </p:nvSpPr>
        <p:spPr>
          <a:xfrm>
            <a:off x="1181282" y="6481568"/>
            <a:ext cx="2483526" cy="284693"/>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ro-RO" sz="800" i="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Deloitte</a:t>
            </a:r>
            <a:r>
              <a:rPr lang="ro-RO"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Hungary</a:t>
            </a:r>
            <a:endPar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spcAft>
                <a:spcPts val="300"/>
              </a:spcAft>
              <a:buSzPct val="100000"/>
            </a:pPr>
            <a:r>
              <a:rPr lang="ro-RO"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For </a:t>
            </a:r>
            <a:r>
              <a:rPr lang="ro-RO" sz="800" i="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detailed</a:t>
            </a:r>
            <a:r>
              <a:rPr lang="ro-RO"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ro-RO" sz="800" i="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CVs</a:t>
            </a:r>
            <a:r>
              <a:rPr lang="ro-RO"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ro-RO" sz="800" i="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see</a:t>
            </a:r>
            <a:r>
              <a:rPr lang="ro-RO"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ro-RO" sz="800" i="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Appendix</a:t>
            </a:r>
            <a:endParaRPr lang="en-GB"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tangle 53">
            <a:extLst>
              <a:ext uri="{FF2B5EF4-FFF2-40B4-BE49-F238E27FC236}">
                <a16:creationId xmlns:a16="http://schemas.microsoft.com/office/drawing/2014/main" id="{B73EF687-CC29-F641-ED11-1AB0F188B59D}"/>
              </a:ext>
            </a:extLst>
          </p:cNvPr>
          <p:cNvSpPr/>
          <p:nvPr/>
        </p:nvSpPr>
        <p:spPr bwMode="gray">
          <a:xfrm>
            <a:off x="897857" y="3205562"/>
            <a:ext cx="224028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55" name="TextBox 54">
            <a:extLst>
              <a:ext uri="{FF2B5EF4-FFF2-40B4-BE49-F238E27FC236}">
                <a16:creationId xmlns:a16="http://schemas.microsoft.com/office/drawing/2014/main" id="{BCAC0D4D-D046-0E69-8044-BEE5F6111D72}"/>
              </a:ext>
            </a:extLst>
          </p:cNvPr>
          <p:cNvSpPr txBox="1"/>
          <p:nvPr/>
        </p:nvSpPr>
        <p:spPr>
          <a:xfrm>
            <a:off x="1724086" y="3336541"/>
            <a:ext cx="1484365"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hu-HU" sz="11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Kitti Szvetlik</a:t>
            </a:r>
            <a:endParaRPr kumimoji="0" lang="en-GB" sz="11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a:t>
            </a: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endPar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lang="hu-HU"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5+</a:t>
            </a: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ears</a:t>
            </a: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of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p</a:t>
            </a: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GB"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6" name="Picture 4" descr="Hungary Large Flag | Gallery Yopriceville - High-Quality Free Images ...">
            <a:extLst>
              <a:ext uri="{FF2B5EF4-FFF2-40B4-BE49-F238E27FC236}">
                <a16:creationId xmlns:a16="http://schemas.microsoft.com/office/drawing/2014/main" id="{7F72C73D-B2F0-5819-A793-C057DC0ABC8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28057"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8" name="Oval 57">
            <a:extLst>
              <a:ext uri="{FF2B5EF4-FFF2-40B4-BE49-F238E27FC236}">
                <a16:creationId xmlns:a16="http://schemas.microsoft.com/office/drawing/2014/main" id="{3B6B7AA7-B405-B2FB-EDB5-C8A286DAF38F}"/>
              </a:ext>
            </a:extLst>
          </p:cNvPr>
          <p:cNvSpPr/>
          <p:nvPr/>
        </p:nvSpPr>
        <p:spPr bwMode="gray">
          <a:xfrm>
            <a:off x="284628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60" name="Oval 59">
            <a:extLst>
              <a:ext uri="{FF2B5EF4-FFF2-40B4-BE49-F238E27FC236}">
                <a16:creationId xmlns:a16="http://schemas.microsoft.com/office/drawing/2014/main" id="{DDD8E259-5CDD-ABCB-61E3-60A7EC634566}"/>
              </a:ext>
            </a:extLst>
          </p:cNvPr>
          <p:cNvSpPr/>
          <p:nvPr/>
        </p:nvSpPr>
        <p:spPr bwMode="gray">
          <a:xfrm>
            <a:off x="557135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61" name="Rectangle 60">
            <a:extLst>
              <a:ext uri="{FF2B5EF4-FFF2-40B4-BE49-F238E27FC236}">
                <a16:creationId xmlns:a16="http://schemas.microsoft.com/office/drawing/2014/main" id="{A2AB564D-1D1C-2E33-CC2B-F0DAAC7D03D6}"/>
              </a:ext>
            </a:extLst>
          </p:cNvPr>
          <p:cNvSpPr/>
          <p:nvPr/>
        </p:nvSpPr>
        <p:spPr bwMode="gray">
          <a:xfrm>
            <a:off x="621423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62" name="TextBox 61">
            <a:extLst>
              <a:ext uri="{FF2B5EF4-FFF2-40B4-BE49-F238E27FC236}">
                <a16:creationId xmlns:a16="http://schemas.microsoft.com/office/drawing/2014/main" id="{DC0EAF42-F85E-1E08-6D19-A27095EF7F25}"/>
              </a:ext>
            </a:extLst>
          </p:cNvPr>
          <p:cNvSpPr txBox="1"/>
          <p:nvPr/>
        </p:nvSpPr>
        <p:spPr>
          <a:xfrm>
            <a:off x="7013310" y="3336541"/>
            <a:ext cx="1484365" cy="76174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50" b="1"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oanna </a:t>
            </a:r>
            <a:r>
              <a:rPr kumimoji="0" lang="hu-HU" sz="1050" b="1"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Zakrz</a:t>
            </a:r>
            <a:endParaRPr kumimoji="0" lang="hu-HU" sz="1050" b="1"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a:t>
            </a: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endPar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lang="hu-HU"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4+</a:t>
            </a: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ears</a:t>
            </a:r>
            <a:r>
              <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of </a:t>
            </a: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p</a:t>
            </a: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endParaRPr kumimoji="0" lang="hu-HU"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5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arsaw</a:t>
            </a:r>
            <a:endParaRPr kumimoji="0" lang="en-GB"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5" name="Oval 64">
            <a:extLst>
              <a:ext uri="{FF2B5EF4-FFF2-40B4-BE49-F238E27FC236}">
                <a16:creationId xmlns:a16="http://schemas.microsoft.com/office/drawing/2014/main" id="{AFBB43CE-5FFB-D6B6-2D91-23F60956C48A}"/>
              </a:ext>
            </a:extLst>
          </p:cNvPr>
          <p:cNvSpPr/>
          <p:nvPr/>
        </p:nvSpPr>
        <p:spPr bwMode="gray">
          <a:xfrm>
            <a:off x="818780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9" cstate="email">
            <a:duotone>
              <a:prstClr val="black"/>
              <a:schemeClr val="accent4">
                <a:tint val="45000"/>
                <a:satMod val="400000"/>
              </a:schemeClr>
            </a:duotone>
            <a:extLst>
              <a:ext uri="{BEBA8EAE-BF5A-486C-A8C5-ECC9F3942E4B}">
                <a14:imgProps xmlns:a14="http://schemas.microsoft.com/office/drawing/2010/main">
                  <a14:imgLayer r:embed="rId10">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pic>
        <p:nvPicPr>
          <p:cNvPr id="11" name="Picture Placeholder 3">
            <a:extLst>
              <a:ext uri="{FF2B5EF4-FFF2-40B4-BE49-F238E27FC236}">
                <a16:creationId xmlns:a16="http://schemas.microsoft.com/office/drawing/2014/main" id="{95F114D1-6D49-EC53-FE57-E40D5B39B8BA}"/>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6353318" y="3453514"/>
            <a:ext cx="561025" cy="561025"/>
          </a:xfrm>
          <a:prstGeom prst="flowChartConnector">
            <a:avLst/>
          </a:prstGeom>
        </p:spPr>
      </p:pic>
      <p:pic>
        <p:nvPicPr>
          <p:cNvPr id="12" name="Picture Placeholder 7" descr="A person smiling at camera&#10;&#10;Description automatically generated">
            <a:extLst>
              <a:ext uri="{FF2B5EF4-FFF2-40B4-BE49-F238E27FC236}">
                <a16:creationId xmlns:a16="http://schemas.microsoft.com/office/drawing/2014/main" id="{88F3E4DB-3DC0-B1A1-8FD1-83654B8353F1}"/>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a:xfrm>
            <a:off x="984385" y="3420289"/>
            <a:ext cx="594250" cy="594250"/>
          </a:xfrm>
          <a:prstGeom prst="flowChartConnector">
            <a:avLst/>
          </a:prstGeom>
        </p:spPr>
      </p:pic>
      <p:pic>
        <p:nvPicPr>
          <p:cNvPr id="25" name="Picture Placeholder 10" descr="A person in a suit and tie&#10;&#10;Description automatically generated">
            <a:extLst>
              <a:ext uri="{FF2B5EF4-FFF2-40B4-BE49-F238E27FC236}">
                <a16:creationId xmlns:a16="http://schemas.microsoft.com/office/drawing/2014/main" id="{97BE99DB-5707-AA7E-6532-0C028866556A}"/>
              </a:ext>
            </a:extLst>
          </p:cNvPr>
          <p:cNvPicPr>
            <a:picLocks noChangeAspect="1"/>
          </p:cNvPicPr>
          <p:nvPr/>
        </p:nvPicPr>
        <p:blipFill>
          <a:blip r:embed="rId13" cstate="email">
            <a:extLst>
              <a:ext uri="{28A0092B-C50C-407E-A947-70E740481C1C}">
                <a14:useLocalDpi xmlns:a14="http://schemas.microsoft.com/office/drawing/2010/main"/>
              </a:ext>
            </a:extLst>
          </a:blip>
          <a:srcRect/>
          <a:stretch>
            <a:fillRect/>
          </a:stretch>
        </p:blipFill>
        <p:spPr>
          <a:xfrm>
            <a:off x="3666223" y="3431702"/>
            <a:ext cx="596286" cy="596286"/>
          </a:xfrm>
          <a:prstGeom prst="rect">
            <a:avLst/>
          </a:prstGeom>
        </p:spPr>
      </p:pic>
      <p:pic>
        <p:nvPicPr>
          <p:cNvPr id="28" name="Picture 27" descr="A red and white flag&#10;&#10;Description automatically generated">
            <a:extLst>
              <a:ext uri="{FF2B5EF4-FFF2-40B4-BE49-F238E27FC236}">
                <a16:creationId xmlns:a16="http://schemas.microsoft.com/office/drawing/2014/main" id="{1D493103-887D-406B-6F67-5A82A49B0430}"/>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8141854" y="3993435"/>
            <a:ext cx="284238" cy="174527"/>
          </a:xfrm>
          <a:prstGeom prst="rect">
            <a:avLst/>
          </a:prstGeom>
          <a:noFill/>
          <a:effectLst>
            <a:outerShdw blurRad="50800" dist="38100" dir="2700000" algn="tl" rotWithShape="0">
              <a:prstClr val="black">
                <a:alpha val="40000"/>
              </a:prstClr>
            </a:outerShdw>
          </a:effectLst>
        </p:spPr>
      </p:pic>
      <p:cxnSp>
        <p:nvCxnSpPr>
          <p:cNvPr id="39" name="Straight Connector 38">
            <a:extLst>
              <a:ext uri="{FF2B5EF4-FFF2-40B4-BE49-F238E27FC236}">
                <a16:creationId xmlns:a16="http://schemas.microsoft.com/office/drawing/2014/main" id="{A161A025-A9EC-8155-64DA-31ADFAD66BC9}"/>
              </a:ext>
            </a:extLst>
          </p:cNvPr>
          <p:cNvCxnSpPr>
            <a:cxnSpLocks/>
          </p:cNvCxnSpPr>
          <p:nvPr/>
        </p:nvCxnSpPr>
        <p:spPr>
          <a:xfrm>
            <a:off x="2119062" y="2181022"/>
            <a:ext cx="7829064"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E43103C4-F4C2-17E8-E7B1-1A3A3CB90E2B}"/>
              </a:ext>
            </a:extLst>
          </p:cNvPr>
          <p:cNvSpPr/>
          <p:nvPr/>
        </p:nvSpPr>
        <p:spPr bwMode="gray">
          <a:xfrm>
            <a:off x="897857" y="1702864"/>
            <a:ext cx="2237205" cy="1006787"/>
          </a:xfrm>
          <a:prstGeom prst="rect">
            <a:avLst/>
          </a:prstGeom>
          <a:solidFill>
            <a:schemeClr val="accent3">
              <a:lumMod val="40000"/>
              <a:lumOff val="6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7" name="TextBox 6">
            <a:extLst>
              <a:ext uri="{FF2B5EF4-FFF2-40B4-BE49-F238E27FC236}">
                <a16:creationId xmlns:a16="http://schemas.microsoft.com/office/drawing/2014/main" id="{8DF60F61-383C-53B3-3718-67AFBDBAC3BA}"/>
              </a:ext>
            </a:extLst>
          </p:cNvPr>
          <p:cNvSpPr txBox="1"/>
          <p:nvPr/>
        </p:nvSpPr>
        <p:spPr>
          <a:xfrm>
            <a:off x="1452078" y="1824791"/>
            <a:ext cx="1484365" cy="738664"/>
          </a:xfrm>
          <a:prstGeom prst="rect">
            <a:avLst/>
          </a:prstGeom>
          <a:noFill/>
        </p:spPr>
        <p:txBody>
          <a:bodyPr wrap="square" lIns="0" tIns="0" rIns="0" bIns="0" rtlCol="0" anchor="t">
            <a:spAutoFit/>
          </a:bodyPr>
          <a:lstStyle/>
          <a:p>
            <a:pPr>
              <a:spcBef>
                <a:spcPts val="600"/>
              </a:spcBef>
              <a:buSzPct val="100000"/>
            </a:pPr>
            <a:r>
              <a:rPr lang="hu-HU" sz="1050" b="1" dirty="0">
                <a:solidFill>
                  <a:srgbClr val="313131"/>
                </a:solidFill>
                <a:ea typeface="Open Sans Light" panose="020B0306030504020204" pitchFamily="34" charset="0"/>
                <a:cs typeface="Open Sans Light" panose="020B0306030504020204" pitchFamily="34" charset="0"/>
              </a:rPr>
              <a:t>Orsolya </a:t>
            </a:r>
            <a:r>
              <a:rPr lang="hu-HU" sz="1050" b="1" dirty="0" err="1">
                <a:solidFill>
                  <a:srgbClr val="313131"/>
                </a:solidFill>
                <a:ea typeface="Open Sans Light" panose="020B0306030504020204" pitchFamily="34" charset="0"/>
                <a:cs typeface="Open Sans Light" panose="020B0306030504020204" pitchFamily="34" charset="0"/>
              </a:rPr>
              <a:t>Frühwald</a:t>
            </a:r>
            <a:endParaRPr lang="en-GB" sz="1050" b="1" dirty="0">
              <a:solidFill>
                <a:srgbClr val="313131"/>
              </a:solidFill>
              <a:ea typeface="Open Sans Light" panose="020B0306030504020204" pitchFamily="34" charset="0"/>
              <a:cs typeface="Open Sans Light" panose="020B0306030504020204" pitchFamily="34" charset="0"/>
            </a:endParaRPr>
          </a:p>
          <a:p>
            <a:pPr>
              <a:spcBef>
                <a:spcPts val="300"/>
              </a:spcBef>
              <a:buSzPct val="100000"/>
            </a:pPr>
            <a:r>
              <a:rPr lang="hu-HU" sz="1000" dirty="0" err="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enior</a:t>
            </a: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 Manager</a:t>
            </a:r>
          </a:p>
          <a:p>
            <a:pPr>
              <a:spcBef>
                <a:spcPts val="300"/>
              </a:spcBef>
              <a:buSzPct val="100000"/>
            </a:pPr>
            <a:r>
              <a:rPr lang="hu-HU" sz="1000" dirty="0">
                <a:solidFill>
                  <a:srgbClr val="313131"/>
                </a:solidFill>
                <a:latin typeface="Open Sans Light"/>
                <a:ea typeface="Open Sans Light"/>
                <a:cs typeface="Open Sans Light"/>
              </a:rPr>
              <a:t>17</a:t>
            </a:r>
            <a:r>
              <a:rPr lang="ro-RO" sz="1000" dirty="0">
                <a:solidFill>
                  <a:srgbClr val="313131"/>
                </a:solidFill>
                <a:latin typeface="Open Sans Light"/>
                <a:ea typeface="Open Sans Light"/>
                <a:cs typeface="Open Sans Light"/>
              </a:rPr>
              <a:t>+</a:t>
            </a:r>
            <a:r>
              <a:rPr lang="hu-HU" sz="1000" dirty="0">
                <a:solidFill>
                  <a:srgbClr val="313131"/>
                </a:solidFill>
                <a:latin typeface="Open Sans Light"/>
                <a:ea typeface="Open Sans Light"/>
                <a:cs typeface="Open Sans Light"/>
              </a:rPr>
              <a:t> </a:t>
            </a:r>
            <a:r>
              <a:rPr lang="hu-HU" sz="1000" dirty="0" err="1">
                <a:solidFill>
                  <a:srgbClr val="313131"/>
                </a:solidFill>
                <a:latin typeface="Open Sans Light"/>
                <a:ea typeface="Open Sans Light"/>
                <a:cs typeface="Open Sans Light"/>
              </a:rPr>
              <a:t>years</a:t>
            </a:r>
            <a:r>
              <a:rPr lang="hu-HU" sz="1000" dirty="0">
                <a:solidFill>
                  <a:srgbClr val="313131"/>
                </a:solidFill>
                <a:latin typeface="Open Sans Light"/>
                <a:ea typeface="Open Sans Light"/>
                <a:cs typeface="Open Sans Light"/>
              </a:rPr>
              <a:t> of </a:t>
            </a:r>
            <a:r>
              <a:rPr lang="hu-HU" sz="1000" dirty="0" err="1">
                <a:solidFill>
                  <a:srgbClr val="313131"/>
                </a:solidFill>
                <a:latin typeface="Open Sans Light"/>
                <a:ea typeface="Open Sans Light"/>
                <a:cs typeface="Open Sans Light"/>
              </a:rPr>
              <a:t>exp</a:t>
            </a:r>
            <a:r>
              <a:rPr lang="hu-HU" sz="1000" dirty="0">
                <a:solidFill>
                  <a:srgbClr val="313131"/>
                </a:solidFill>
                <a:latin typeface="Open Sans Light"/>
                <a:ea typeface="Open Sans Light"/>
                <a:cs typeface="Open Sans Light"/>
              </a:rPr>
              <a:t>.</a:t>
            </a:r>
            <a:endPar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300"/>
              </a:spcBef>
              <a:buSzPct val="100000"/>
            </a:pP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endParaRPr lang="en-GB"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6" name="Rectangle 105">
            <a:extLst>
              <a:ext uri="{FF2B5EF4-FFF2-40B4-BE49-F238E27FC236}">
                <a16:creationId xmlns:a16="http://schemas.microsoft.com/office/drawing/2014/main" id="{874AF571-D978-82DE-B6CB-44751FF5ACC8}"/>
              </a:ext>
            </a:extLst>
          </p:cNvPr>
          <p:cNvSpPr/>
          <p:nvPr/>
        </p:nvSpPr>
        <p:spPr bwMode="gray">
          <a:xfrm>
            <a:off x="3352664" y="1693812"/>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125" name="Rectangle 124">
            <a:extLst>
              <a:ext uri="{FF2B5EF4-FFF2-40B4-BE49-F238E27FC236}">
                <a16:creationId xmlns:a16="http://schemas.microsoft.com/office/drawing/2014/main" id="{874C2E2D-1BD2-F67F-EA28-7A7677A3D75C}"/>
              </a:ext>
            </a:extLst>
          </p:cNvPr>
          <p:cNvSpPr/>
          <p:nvPr/>
        </p:nvSpPr>
        <p:spPr bwMode="gray">
          <a:xfrm>
            <a:off x="5952245"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128" name="TextBox 127">
            <a:extLst>
              <a:ext uri="{FF2B5EF4-FFF2-40B4-BE49-F238E27FC236}">
                <a16:creationId xmlns:a16="http://schemas.microsoft.com/office/drawing/2014/main" id="{BD5854A9-5BC9-045E-FEB6-D4B82213312C}"/>
              </a:ext>
            </a:extLst>
          </p:cNvPr>
          <p:cNvSpPr txBox="1"/>
          <p:nvPr/>
        </p:nvSpPr>
        <p:spPr>
          <a:xfrm>
            <a:off x="4160792" y="1824791"/>
            <a:ext cx="1484365"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hu-HU" sz="1050" b="1" dirty="0">
                <a:solidFill>
                  <a:srgbClr val="313131"/>
                </a:solidFill>
                <a:ea typeface="Open Sans Light" panose="020B0306030504020204" pitchFamily="34" charset="0"/>
                <a:cs typeface="Open Sans Light" panose="020B0306030504020204" pitchFamily="34" charset="0"/>
              </a:rPr>
              <a:t>Fanni Firon</a:t>
            </a:r>
            <a:endParaRPr lang="en-GB" sz="1050" b="1" dirty="0">
              <a:solidFill>
                <a:srgbClr val="313131"/>
              </a:solidFill>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00" b="0" i="0" u="none" strike="noStrike" kern="1200" cap="none" spc="0" normalizeH="0" baseline="0" noProof="0" dirty="0" err="1">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a:t>
            </a:r>
            <a:r>
              <a:rPr kumimoji="0" lang="hu-HU" sz="10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Manager</a:t>
            </a: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00" b="0" i="0" u="none" strike="noStrike" kern="1200" cap="none" spc="0" normalizeH="0" baseline="0" noProof="0" dirty="0">
                <a:ln>
                  <a:noFill/>
                </a:ln>
                <a:solidFill>
                  <a:srgbClr val="313131"/>
                </a:solidFill>
                <a:effectLst/>
                <a:uLnTx/>
                <a:uFillTx/>
                <a:latin typeface="Open Sans Light"/>
                <a:ea typeface="Open Sans Light"/>
                <a:cs typeface="Open Sans Light"/>
              </a:rPr>
              <a:t>1</a:t>
            </a:r>
            <a:r>
              <a:rPr kumimoji="0" lang="ro-RO" sz="1000" b="0" i="0" u="none" strike="noStrike" kern="1200" cap="none" spc="0" normalizeH="0" baseline="0" noProof="0" dirty="0">
                <a:ln>
                  <a:noFill/>
                </a:ln>
                <a:solidFill>
                  <a:srgbClr val="313131"/>
                </a:solidFill>
                <a:effectLst/>
                <a:uLnTx/>
                <a:uFillTx/>
                <a:latin typeface="Open Sans Light"/>
                <a:ea typeface="Open Sans Light"/>
                <a:cs typeface="Open Sans Light"/>
              </a:rPr>
              <a:t>0</a:t>
            </a:r>
            <a:r>
              <a:rPr kumimoji="0" lang="en-US" sz="1000" b="0" i="0" u="none" strike="noStrike" kern="1200" cap="none" spc="0" normalizeH="0" baseline="0" noProof="0" dirty="0">
                <a:ln>
                  <a:noFill/>
                </a:ln>
                <a:solidFill>
                  <a:srgbClr val="313131"/>
                </a:solidFill>
                <a:effectLst/>
                <a:uLnTx/>
                <a:uFillTx/>
                <a:latin typeface="Open Sans Light"/>
                <a:ea typeface="Open Sans Light"/>
                <a:cs typeface="Open Sans Light"/>
              </a:rPr>
              <a:t> </a:t>
            </a:r>
            <a:r>
              <a:rPr kumimoji="0" lang="hu-HU" sz="1000" b="0" i="0" u="none" strike="noStrike" kern="1200" cap="none" spc="0" normalizeH="0" baseline="0" noProof="0" dirty="0" err="1">
                <a:ln>
                  <a:noFill/>
                </a:ln>
                <a:solidFill>
                  <a:srgbClr val="313131"/>
                </a:solidFill>
                <a:effectLst/>
                <a:uLnTx/>
                <a:uFillTx/>
                <a:latin typeface="Open Sans Light"/>
                <a:ea typeface="Open Sans Light"/>
                <a:cs typeface="Open Sans Light"/>
              </a:rPr>
              <a:t>years</a:t>
            </a:r>
            <a:r>
              <a:rPr kumimoji="0" lang="hu-HU" sz="1000" b="0" i="0" u="none" strike="noStrike" kern="1200" cap="none" spc="0" normalizeH="0" baseline="0" noProof="0" dirty="0">
                <a:ln>
                  <a:noFill/>
                </a:ln>
                <a:solidFill>
                  <a:srgbClr val="313131"/>
                </a:solidFill>
                <a:effectLst/>
                <a:uLnTx/>
                <a:uFillTx/>
                <a:latin typeface="Open Sans Light"/>
                <a:ea typeface="Open Sans Light"/>
                <a:cs typeface="Open Sans Light"/>
              </a:rPr>
              <a:t> of </a:t>
            </a:r>
            <a:r>
              <a:rPr kumimoji="0" lang="hu-HU" sz="1000" b="0" i="0" u="none" strike="noStrike" kern="1200" cap="none" spc="0" normalizeH="0" baseline="0" noProof="0" dirty="0" err="1">
                <a:ln>
                  <a:noFill/>
                </a:ln>
                <a:solidFill>
                  <a:srgbClr val="313131"/>
                </a:solidFill>
                <a:effectLst/>
                <a:uLnTx/>
                <a:uFillTx/>
                <a:latin typeface="Open Sans Light"/>
                <a:ea typeface="Open Sans Light"/>
                <a:cs typeface="Open Sans Light"/>
              </a:rPr>
              <a:t>exp</a:t>
            </a:r>
            <a:r>
              <a:rPr kumimoji="0" lang="hu-HU" sz="1000" b="0" i="0" u="none" strike="noStrike" kern="1200" cap="none" spc="0" normalizeH="0" baseline="0" noProof="0" dirty="0">
                <a:ln>
                  <a:noFill/>
                </a:ln>
                <a:solidFill>
                  <a:srgbClr val="313131"/>
                </a:solidFill>
                <a:effectLst/>
                <a:uLnTx/>
                <a:uFillTx/>
                <a:latin typeface="Open Sans Light"/>
                <a:ea typeface="Open Sans Light"/>
                <a:cs typeface="Open Sans Light"/>
              </a:rPr>
              <a:t>.</a:t>
            </a:r>
            <a:endParaRPr kumimoji="0" lang="hu-HU" sz="10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hu-HU" sz="10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endParaRPr kumimoji="0" lang="en-GB" sz="10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9" name="TextBox 128">
            <a:extLst>
              <a:ext uri="{FF2B5EF4-FFF2-40B4-BE49-F238E27FC236}">
                <a16:creationId xmlns:a16="http://schemas.microsoft.com/office/drawing/2014/main" id="{A6D46EF4-48DD-87E0-55AC-5A8DFAB52783}"/>
              </a:ext>
            </a:extLst>
          </p:cNvPr>
          <p:cNvSpPr txBox="1"/>
          <p:nvPr/>
        </p:nvSpPr>
        <p:spPr>
          <a:xfrm>
            <a:off x="6740520" y="1842896"/>
            <a:ext cx="1484365" cy="738664"/>
          </a:xfrm>
          <a:prstGeom prst="rect">
            <a:avLst/>
          </a:prstGeom>
          <a:noFill/>
        </p:spPr>
        <p:txBody>
          <a:bodyPr wrap="square" lIns="0" tIns="0" rIns="0" bIns="0" rtlCol="0">
            <a:spAutoFit/>
          </a:bodyPr>
          <a:lstStyle/>
          <a:p>
            <a:pPr>
              <a:spcBef>
                <a:spcPts val="600"/>
              </a:spcBef>
              <a:buSzPct val="100000"/>
              <a:defRPr/>
            </a:pPr>
            <a:r>
              <a:rPr lang="hu-HU" sz="1050" b="1" dirty="0">
                <a:solidFill>
                  <a:srgbClr val="313131"/>
                </a:solidFill>
                <a:ea typeface="Open Sans Light" panose="020B0306030504020204" pitchFamily="34" charset="0"/>
                <a:cs typeface="Open Sans Light" panose="020B0306030504020204" pitchFamily="34" charset="0"/>
              </a:rPr>
              <a:t>Mike </a:t>
            </a:r>
            <a:r>
              <a:rPr lang="en-US" sz="1050" b="1" dirty="0">
                <a:solidFill>
                  <a:srgbClr val="313131"/>
                </a:solidFill>
                <a:ea typeface="Open Sans Light" panose="020B0306030504020204" pitchFamily="34" charset="0"/>
                <a:cs typeface="Open Sans Light" panose="020B0306030504020204" pitchFamily="34" charset="0"/>
              </a:rPr>
              <a:t>Skorupski</a:t>
            </a:r>
            <a:endParaRPr lang="hu-HU" sz="1050" b="1" dirty="0">
              <a:solidFill>
                <a:srgbClr val="313131"/>
              </a:solidFill>
              <a:ea typeface="Open Sans Light" panose="020B0306030504020204" pitchFamily="34" charset="0"/>
              <a:cs typeface="Open Sans Light" panose="020B0306030504020204" pitchFamily="34" charset="0"/>
            </a:endParaRPr>
          </a:p>
          <a:p>
            <a:pPr>
              <a:spcBef>
                <a:spcPts val="300"/>
              </a:spcBef>
              <a:buSzPct val="100000"/>
            </a:pP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Manager</a:t>
            </a:r>
          </a:p>
          <a:p>
            <a:pPr>
              <a:spcBef>
                <a:spcPts val="300"/>
              </a:spcBef>
              <a:buSzPct val="100000"/>
            </a:pP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20+</a:t>
            </a: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 </a:t>
            </a:r>
            <a:r>
              <a:rPr lang="hu-HU" sz="1000" dirty="0" err="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years</a:t>
            </a: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 of </a:t>
            </a:r>
            <a:r>
              <a:rPr lang="hu-HU" sz="1000" dirty="0" err="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exp</a:t>
            </a: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a:t>
            </a:r>
            <a:endPar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300"/>
              </a:spcBef>
              <a:buSzPct val="100000"/>
            </a:pPr>
            <a:r>
              <a:rPr lang="hu-HU" sz="1000" dirty="0" err="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Warsaw</a:t>
            </a:r>
            <a:endParaRPr lang="en-GB"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124" name="Picture 4" descr="Hungary Large Flag | Gallery Yopriceville - High-Quality Free Images ...">
            <a:extLst>
              <a:ext uri="{FF2B5EF4-FFF2-40B4-BE49-F238E27FC236}">
                <a16:creationId xmlns:a16="http://schemas.microsoft.com/office/drawing/2014/main" id="{521CB28C-95F3-7454-4F91-EDA9D87240C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52514" y="246473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70FFB980-88EB-59B7-E1ED-001B72067921}"/>
              </a:ext>
            </a:extLst>
          </p:cNvPr>
          <p:cNvSpPr/>
          <p:nvPr/>
        </p:nvSpPr>
        <p:spPr bwMode="gray">
          <a:xfrm>
            <a:off x="2565502"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a:t>
            </a:r>
            <a:r>
              <a:rPr lang="ro-RO"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pic>
        <p:nvPicPr>
          <p:cNvPr id="27" name="Picture 4" descr="Hungary Large Flag | Gallery Yopriceville - High-Quality Free Images ...">
            <a:extLst>
              <a:ext uri="{FF2B5EF4-FFF2-40B4-BE49-F238E27FC236}">
                <a16:creationId xmlns:a16="http://schemas.microsoft.com/office/drawing/2014/main" id="{E277B3CA-DD37-2A92-5022-215D24387CB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261067" y="245651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6" name="Oval 35">
            <a:extLst>
              <a:ext uri="{FF2B5EF4-FFF2-40B4-BE49-F238E27FC236}">
                <a16:creationId xmlns:a16="http://schemas.microsoft.com/office/drawing/2014/main" id="{72DF33AF-DF6C-8E3F-2C17-416E75F157C3}"/>
              </a:ext>
            </a:extLst>
          </p:cNvPr>
          <p:cNvSpPr/>
          <p:nvPr/>
        </p:nvSpPr>
        <p:spPr bwMode="gray">
          <a:xfrm>
            <a:off x="5286984"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ro-RO"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38" name="Oval 37">
            <a:extLst>
              <a:ext uri="{FF2B5EF4-FFF2-40B4-BE49-F238E27FC236}">
                <a16:creationId xmlns:a16="http://schemas.microsoft.com/office/drawing/2014/main" id="{20B78D97-C97E-4760-D25E-079E654B533E}"/>
              </a:ext>
            </a:extLst>
          </p:cNvPr>
          <p:cNvSpPr/>
          <p:nvPr/>
        </p:nvSpPr>
        <p:spPr bwMode="gray">
          <a:xfrm>
            <a:off x="7906444" y="217516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47" name="Rectangle 46">
            <a:extLst>
              <a:ext uri="{FF2B5EF4-FFF2-40B4-BE49-F238E27FC236}">
                <a16:creationId xmlns:a16="http://schemas.microsoft.com/office/drawing/2014/main" id="{C330718C-E34C-5F8E-75A6-9EF9AECC6C4C}"/>
              </a:ext>
            </a:extLst>
          </p:cNvPr>
          <p:cNvSpPr/>
          <p:nvPr/>
        </p:nvSpPr>
        <p:spPr bwMode="gray">
          <a:xfrm>
            <a:off x="8650675"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48" name="TextBox 47">
            <a:extLst>
              <a:ext uri="{FF2B5EF4-FFF2-40B4-BE49-F238E27FC236}">
                <a16:creationId xmlns:a16="http://schemas.microsoft.com/office/drawing/2014/main" id="{36FF32DC-0608-88AA-830C-9007770662C6}"/>
              </a:ext>
            </a:extLst>
          </p:cNvPr>
          <p:cNvSpPr txBox="1"/>
          <p:nvPr/>
        </p:nvSpPr>
        <p:spPr>
          <a:xfrm>
            <a:off x="9438950" y="1842896"/>
            <a:ext cx="1484365" cy="738664"/>
          </a:xfrm>
          <a:prstGeom prst="rect">
            <a:avLst/>
          </a:prstGeom>
          <a:noFill/>
        </p:spPr>
        <p:txBody>
          <a:bodyPr wrap="square" lIns="0" tIns="0" rIns="0" bIns="0" rtlCol="0">
            <a:spAutoFit/>
          </a:bodyPr>
          <a:lstStyle/>
          <a:p>
            <a:pPr>
              <a:spcBef>
                <a:spcPts val="600"/>
              </a:spcBef>
              <a:buSzPct val="100000"/>
              <a:defRPr/>
            </a:pPr>
            <a:r>
              <a:rPr lang="hu-HU" sz="1050" b="1" dirty="0">
                <a:solidFill>
                  <a:srgbClr val="313131"/>
                </a:solidFill>
                <a:ea typeface="Open Sans Light" panose="020B0306030504020204" pitchFamily="34" charset="0"/>
                <a:cs typeface="Open Sans Light" panose="020B0306030504020204" pitchFamily="34" charset="0"/>
              </a:rPr>
              <a:t>Kacper Sygit</a:t>
            </a:r>
          </a:p>
          <a:p>
            <a:pPr>
              <a:spcBef>
                <a:spcPts val="300"/>
              </a:spcBef>
              <a:buSzPct val="100000"/>
            </a:pP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Manager</a:t>
            </a:r>
          </a:p>
          <a:p>
            <a:pPr>
              <a:spcBef>
                <a:spcPts val="300"/>
              </a:spcBef>
              <a:buSzPct val="100000"/>
            </a:pP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6+ </a:t>
            </a:r>
            <a:r>
              <a:rPr lang="hu-HU" sz="1000" dirty="0" err="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years</a:t>
            </a: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 of </a:t>
            </a:r>
            <a:r>
              <a:rPr lang="hu-HU" sz="1000" dirty="0" err="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exp</a:t>
            </a: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a:t>
            </a:r>
            <a:endPar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300"/>
              </a:spcBef>
              <a:buSzPct val="100000"/>
            </a:pPr>
            <a:r>
              <a:rPr lang="hu-HU" sz="1000" dirty="0" err="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Warsaw</a:t>
            </a:r>
            <a:endParaRPr lang="en-GB"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1" name="Oval 50">
            <a:extLst>
              <a:ext uri="{FF2B5EF4-FFF2-40B4-BE49-F238E27FC236}">
                <a16:creationId xmlns:a16="http://schemas.microsoft.com/office/drawing/2014/main" id="{7CA5DFAB-1F2E-CCBC-B430-36376DF07305}"/>
              </a:ext>
            </a:extLst>
          </p:cNvPr>
          <p:cNvSpPr/>
          <p:nvPr/>
        </p:nvSpPr>
        <p:spPr bwMode="gray">
          <a:xfrm>
            <a:off x="10604874" y="216610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ro-RO"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pic>
        <p:nvPicPr>
          <p:cNvPr id="1026" name="Picture 2">
            <a:extLst>
              <a:ext uri="{FF2B5EF4-FFF2-40B4-BE49-F238E27FC236}">
                <a16:creationId xmlns:a16="http://schemas.microsoft.com/office/drawing/2014/main" id="{8750EE07-E44E-C562-F6B2-A909A0ADE384}"/>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10935" y="1958851"/>
            <a:ext cx="505886" cy="505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Placeholder 10">
            <a:extLst>
              <a:ext uri="{FF2B5EF4-FFF2-40B4-BE49-F238E27FC236}">
                <a16:creationId xmlns:a16="http://schemas.microsoft.com/office/drawing/2014/main" id="{F4BD51EE-4FFC-13AC-FAA2-F2E346588EFC}"/>
              </a:ext>
            </a:extLst>
          </p:cNvPr>
          <p:cNvPicPr>
            <a:picLocks noChangeAspect="1"/>
          </p:cNvPicPr>
          <p:nvPr/>
        </p:nvPicPr>
        <p:blipFill>
          <a:blip r:embed="rId16" cstate="email">
            <a:extLst>
              <a:ext uri="{28A0092B-C50C-407E-A947-70E740481C1C}">
                <a14:useLocalDpi xmlns:a14="http://schemas.microsoft.com/office/drawing/2010/main"/>
              </a:ext>
            </a:extLst>
          </a:blip>
          <a:srcRect/>
          <a:stretch/>
        </p:blipFill>
        <p:spPr>
          <a:xfrm>
            <a:off x="3508308" y="1940835"/>
            <a:ext cx="498940" cy="498940"/>
          </a:xfrm>
          <a:prstGeom prst="flowChartConnector">
            <a:avLst/>
          </a:prstGeom>
        </p:spPr>
      </p:pic>
      <p:pic>
        <p:nvPicPr>
          <p:cNvPr id="30" name="Picture Placeholder 13" descr="A person in a suit&#10;&#10;Description automatically generated">
            <a:extLst>
              <a:ext uri="{FF2B5EF4-FFF2-40B4-BE49-F238E27FC236}">
                <a16:creationId xmlns:a16="http://schemas.microsoft.com/office/drawing/2014/main" id="{81ACFE55-1CBA-CB85-29CE-E661DB459574}"/>
              </a:ext>
            </a:extLst>
          </p:cNvPr>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a:xfrm>
            <a:off x="6055893" y="1930664"/>
            <a:ext cx="551185" cy="551185"/>
          </a:xfrm>
          <a:prstGeom prst="flowChartConnector">
            <a:avLst/>
          </a:prstGeom>
        </p:spPr>
      </p:pic>
      <p:pic>
        <p:nvPicPr>
          <p:cNvPr id="32" name="Picture Placeholder 15" descr="A person in a suit and tie&#10;&#10;Description automatically generated">
            <a:extLst>
              <a:ext uri="{FF2B5EF4-FFF2-40B4-BE49-F238E27FC236}">
                <a16:creationId xmlns:a16="http://schemas.microsoft.com/office/drawing/2014/main" id="{6A53BFB9-7CAF-E102-DBA8-DCAD8F8E6F1D}"/>
              </a:ext>
            </a:extLst>
          </p:cNvPr>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a:xfrm>
            <a:off x="8777795" y="1899089"/>
            <a:ext cx="534036" cy="534036"/>
          </a:xfrm>
          <a:prstGeom prst="ellipse">
            <a:avLst/>
          </a:prstGeom>
        </p:spPr>
      </p:pic>
      <p:sp>
        <p:nvSpPr>
          <p:cNvPr id="40" name="Oval 39">
            <a:extLst>
              <a:ext uri="{FF2B5EF4-FFF2-40B4-BE49-F238E27FC236}">
                <a16:creationId xmlns:a16="http://schemas.microsoft.com/office/drawing/2014/main" id="{2D503306-91AB-305E-7082-A1C2AAFE57DD}"/>
              </a:ext>
            </a:extLst>
          </p:cNvPr>
          <p:cNvSpPr/>
          <p:nvPr/>
        </p:nvSpPr>
        <p:spPr bwMode="gray">
          <a:xfrm>
            <a:off x="7898011" y="2190566"/>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a:t>
            </a:r>
            <a:r>
              <a:rPr lang="ro-RO"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pic>
        <p:nvPicPr>
          <p:cNvPr id="29" name="Picture 28" descr="A red and white flag&#10;&#10;Description automatically generated">
            <a:extLst>
              <a:ext uri="{FF2B5EF4-FFF2-40B4-BE49-F238E27FC236}">
                <a16:creationId xmlns:a16="http://schemas.microsoft.com/office/drawing/2014/main" id="{FC2E658E-441E-E6EB-FE7B-6DCE78806158}"/>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10580965" y="2461497"/>
            <a:ext cx="284238" cy="174527"/>
          </a:xfrm>
          <a:prstGeom prst="rect">
            <a:avLst/>
          </a:prstGeom>
          <a:noFill/>
          <a:effectLst>
            <a:outerShdw blurRad="50800" dist="38100" dir="2700000" algn="tl" rotWithShape="0">
              <a:prstClr val="black">
                <a:alpha val="40000"/>
              </a:prstClr>
            </a:outerShdw>
          </a:effectLst>
        </p:spPr>
      </p:pic>
      <p:pic>
        <p:nvPicPr>
          <p:cNvPr id="31" name="Picture 30" descr="A red and white flag&#10;&#10;Description automatically generated">
            <a:extLst>
              <a:ext uri="{FF2B5EF4-FFF2-40B4-BE49-F238E27FC236}">
                <a16:creationId xmlns:a16="http://schemas.microsoft.com/office/drawing/2014/main" id="{499968EA-39C3-F828-228F-AA2BE054BAAF}"/>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7866339" y="2461497"/>
            <a:ext cx="284238" cy="174527"/>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05065658"/>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p:txBody>
          <a:bodyPr/>
          <a:lstStyle/>
          <a:p>
            <a:r>
              <a:rPr lang="en-GB" b="1">
                <a:latin typeface="Open Sans SemiBold" panose="020B0606030504020204" pitchFamily="34" charset="0"/>
                <a:ea typeface="Open Sans SemiBold" panose="020B0606030504020204" pitchFamily="34" charset="0"/>
                <a:cs typeface="Open Sans SemiBold" panose="020B0606030504020204" pitchFamily="34" charset="0"/>
                <a:sym typeface="+mj-lt"/>
              </a:rPr>
              <a:t>Appendix</a:t>
            </a:r>
            <a:endParaRPr lang="en-GB" b="1">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p:txBody>
          <a:bodyPr/>
          <a:lstStyle/>
          <a:p>
            <a:r>
              <a:rPr lang="en-GB" dirty="0"/>
              <a:t>07</a:t>
            </a:r>
          </a:p>
        </p:txBody>
      </p:sp>
      <p:pic>
        <p:nvPicPr>
          <p:cNvPr id="11" name="Picture 10">
            <a:extLst>
              <a:ext uri="{FF2B5EF4-FFF2-40B4-BE49-F238E27FC236}">
                <a16:creationId xmlns:a16="http://schemas.microsoft.com/office/drawing/2014/main" id="{C7B729CA-3C4C-CF14-0BA1-F7653CCD709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99277" y="2446311"/>
            <a:ext cx="3770707" cy="2056750"/>
          </a:xfrm>
          <a:prstGeom prst="rect">
            <a:avLst/>
          </a:prstGeom>
        </p:spPr>
      </p:pic>
    </p:spTree>
    <p:extLst>
      <p:ext uri="{BB962C8B-B14F-4D97-AF65-F5344CB8AC3E}">
        <p14:creationId xmlns:p14="http://schemas.microsoft.com/office/powerpoint/2010/main" val="1615982178"/>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891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AA5473-3841-299D-969C-BF5DA9FC640B}"/>
              </a:ext>
            </a:extLst>
          </p:cNvPr>
          <p:cNvGraphicFramePr>
            <a:graphicFrameLocks noChangeAspect="1"/>
          </p:cNvGraphicFramePr>
          <p:nvPr>
            <p:custDataLst>
              <p:tags r:id="rId1"/>
            </p:custDataLst>
            <p:extLst>
              <p:ext uri="{D42A27DB-BD31-4B8C-83A1-F6EECF244321}">
                <p14:modId xmlns:p14="http://schemas.microsoft.com/office/powerpoint/2010/main" val="1723644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8" name="think-cell data - do not delete" hidden="1">
                        <a:extLst>
                          <a:ext uri="{FF2B5EF4-FFF2-40B4-BE49-F238E27FC236}">
                            <a16:creationId xmlns:a16="http://schemas.microsoft.com/office/drawing/2014/main" id="{6BAA5473-3841-299D-969C-BF5DA9FC64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5824CA8-FE02-30A4-CD92-8D8364CA8C3E}"/>
              </a:ext>
            </a:extLst>
          </p:cNvPr>
          <p:cNvSpPr/>
          <p:nvPr/>
        </p:nvSpPr>
        <p:spPr>
          <a:xfrm>
            <a:off x="257175" y="835023"/>
            <a:ext cx="11344275" cy="5394327"/>
          </a:xfrm>
          <a:prstGeom prst="rect">
            <a:avLst/>
          </a:prstGeom>
          <a:solidFill>
            <a:schemeClr val="bg1"/>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Rounded Corners 55">
            <a:extLst>
              <a:ext uri="{FF2B5EF4-FFF2-40B4-BE49-F238E27FC236}">
                <a16:creationId xmlns:a16="http://schemas.microsoft.com/office/drawing/2014/main" id="{C1387C83-2761-6AD6-D19C-618131415388}"/>
              </a:ext>
            </a:extLst>
          </p:cNvPr>
          <p:cNvSpPr/>
          <p:nvPr/>
        </p:nvSpPr>
        <p:spPr bwMode="gray">
          <a:xfrm>
            <a:off x="5229225" y="835024"/>
            <a:ext cx="795528" cy="47238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Rectangle: Rounded Corners 56">
            <a:extLst>
              <a:ext uri="{FF2B5EF4-FFF2-40B4-BE49-F238E27FC236}">
                <a16:creationId xmlns:a16="http://schemas.microsoft.com/office/drawing/2014/main" id="{05FE62A1-0D72-280C-1963-C28A5754F60F}"/>
              </a:ext>
            </a:extLst>
          </p:cNvPr>
          <p:cNvSpPr/>
          <p:nvPr/>
        </p:nvSpPr>
        <p:spPr bwMode="gray">
          <a:xfrm>
            <a:off x="6016394" y="835024"/>
            <a:ext cx="795528" cy="47238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8" name="Rectangle: Rounded Corners 57">
            <a:extLst>
              <a:ext uri="{FF2B5EF4-FFF2-40B4-BE49-F238E27FC236}">
                <a16:creationId xmlns:a16="http://schemas.microsoft.com/office/drawing/2014/main" id="{F7C3F2A6-3091-EF1F-083E-F9A164A2A847}"/>
              </a:ext>
            </a:extLst>
          </p:cNvPr>
          <p:cNvSpPr/>
          <p:nvPr/>
        </p:nvSpPr>
        <p:spPr bwMode="gray">
          <a:xfrm>
            <a:off x="6811147" y="835024"/>
            <a:ext cx="795528" cy="47238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Rectangle: Rounded Corners 58">
            <a:extLst>
              <a:ext uri="{FF2B5EF4-FFF2-40B4-BE49-F238E27FC236}">
                <a16:creationId xmlns:a16="http://schemas.microsoft.com/office/drawing/2014/main" id="{BFBF4CAD-21E4-EB6D-5925-6A25D99097CC}"/>
              </a:ext>
            </a:extLst>
          </p:cNvPr>
          <p:cNvSpPr/>
          <p:nvPr/>
        </p:nvSpPr>
        <p:spPr bwMode="gray">
          <a:xfrm>
            <a:off x="7614211" y="835024"/>
            <a:ext cx="795528" cy="47238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Rectangle: Rounded Corners 59">
            <a:extLst>
              <a:ext uri="{FF2B5EF4-FFF2-40B4-BE49-F238E27FC236}">
                <a16:creationId xmlns:a16="http://schemas.microsoft.com/office/drawing/2014/main" id="{FE4EEE3B-B440-35C8-D49B-5C5C488CEF84}"/>
              </a:ext>
            </a:extLst>
          </p:cNvPr>
          <p:cNvSpPr/>
          <p:nvPr/>
        </p:nvSpPr>
        <p:spPr bwMode="gray">
          <a:xfrm>
            <a:off x="8405015" y="835024"/>
            <a:ext cx="795528" cy="47238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Rectangle: Rounded Corners 60">
            <a:extLst>
              <a:ext uri="{FF2B5EF4-FFF2-40B4-BE49-F238E27FC236}">
                <a16:creationId xmlns:a16="http://schemas.microsoft.com/office/drawing/2014/main" id="{38FB60AB-B13E-A3D1-DEE3-0769B2B4BA47}"/>
              </a:ext>
            </a:extLst>
          </p:cNvPr>
          <p:cNvSpPr/>
          <p:nvPr/>
        </p:nvSpPr>
        <p:spPr bwMode="gray">
          <a:xfrm>
            <a:off x="9185841" y="835024"/>
            <a:ext cx="795528" cy="47238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Rectangle: Rounded Corners 61">
            <a:extLst>
              <a:ext uri="{FF2B5EF4-FFF2-40B4-BE49-F238E27FC236}">
                <a16:creationId xmlns:a16="http://schemas.microsoft.com/office/drawing/2014/main" id="{FBA0A837-287F-B940-96E1-90AFD60217AB}"/>
              </a:ext>
            </a:extLst>
          </p:cNvPr>
          <p:cNvSpPr/>
          <p:nvPr/>
        </p:nvSpPr>
        <p:spPr bwMode="gray">
          <a:xfrm>
            <a:off x="9984486" y="835024"/>
            <a:ext cx="795528" cy="47238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Rectangle: Rounded Corners 62">
            <a:extLst>
              <a:ext uri="{FF2B5EF4-FFF2-40B4-BE49-F238E27FC236}">
                <a16:creationId xmlns:a16="http://schemas.microsoft.com/office/drawing/2014/main" id="{C89FC82A-60D2-1283-275F-6DBB2ACC3813}"/>
              </a:ext>
            </a:extLst>
          </p:cNvPr>
          <p:cNvSpPr/>
          <p:nvPr/>
        </p:nvSpPr>
        <p:spPr bwMode="gray">
          <a:xfrm>
            <a:off x="10784740" y="835024"/>
            <a:ext cx="795528" cy="47238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Rectangle: Rounded Corners 50">
            <a:extLst>
              <a:ext uri="{FF2B5EF4-FFF2-40B4-BE49-F238E27FC236}">
                <a16:creationId xmlns:a16="http://schemas.microsoft.com/office/drawing/2014/main" id="{B255D003-3595-5CEA-D94E-640CD0CEE76F}"/>
              </a:ext>
            </a:extLst>
          </p:cNvPr>
          <p:cNvSpPr/>
          <p:nvPr/>
        </p:nvSpPr>
        <p:spPr bwMode="gray">
          <a:xfrm>
            <a:off x="2009775" y="835024"/>
            <a:ext cx="795528" cy="47238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Rounded Corners 51">
            <a:extLst>
              <a:ext uri="{FF2B5EF4-FFF2-40B4-BE49-F238E27FC236}">
                <a16:creationId xmlns:a16="http://schemas.microsoft.com/office/drawing/2014/main" id="{5C32024F-13DF-0038-0239-4880782EE241}"/>
              </a:ext>
            </a:extLst>
          </p:cNvPr>
          <p:cNvSpPr/>
          <p:nvPr/>
        </p:nvSpPr>
        <p:spPr bwMode="gray">
          <a:xfrm>
            <a:off x="2810091" y="835024"/>
            <a:ext cx="795528" cy="47238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Rounded Corners 52">
            <a:extLst>
              <a:ext uri="{FF2B5EF4-FFF2-40B4-BE49-F238E27FC236}">
                <a16:creationId xmlns:a16="http://schemas.microsoft.com/office/drawing/2014/main" id="{A56561D4-D136-F658-814F-9E0D4D30C944}"/>
              </a:ext>
            </a:extLst>
          </p:cNvPr>
          <p:cNvSpPr/>
          <p:nvPr/>
        </p:nvSpPr>
        <p:spPr bwMode="gray">
          <a:xfrm>
            <a:off x="3621108" y="835024"/>
            <a:ext cx="795528" cy="47238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Rectangle: Rounded Corners 53">
            <a:extLst>
              <a:ext uri="{FF2B5EF4-FFF2-40B4-BE49-F238E27FC236}">
                <a16:creationId xmlns:a16="http://schemas.microsoft.com/office/drawing/2014/main" id="{2DC2DFED-EC8F-E6A9-13EB-7009D3A4005B}"/>
              </a:ext>
            </a:extLst>
          </p:cNvPr>
          <p:cNvSpPr/>
          <p:nvPr/>
        </p:nvSpPr>
        <p:spPr bwMode="gray">
          <a:xfrm>
            <a:off x="4425910" y="835024"/>
            <a:ext cx="795528" cy="47238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Title 2">
            <a:extLst>
              <a:ext uri="{FF2B5EF4-FFF2-40B4-BE49-F238E27FC236}">
                <a16:creationId xmlns:a16="http://schemas.microsoft.com/office/drawing/2014/main" id="{0E4F14CE-0C40-3F5C-CA23-2C1BEE81ACC3}"/>
              </a:ext>
            </a:extLst>
          </p:cNvPr>
          <p:cNvSpPr>
            <a:spLocks noGrp="1"/>
          </p:cNvSpPr>
          <p:nvPr>
            <p:ph type="title"/>
          </p:nvPr>
        </p:nvSpPr>
        <p:spPr>
          <a:xfrm>
            <a:off x="463294" y="417911"/>
            <a:ext cx="11462005" cy="334099"/>
          </a:xfrm>
        </p:spPr>
        <p:txBody>
          <a:bodyPr vert="horz" lIns="0" tIns="0" rIns="0" bIns="0" rtlCol="0" anchor="t" anchorCtr="0">
            <a:noAutofit/>
          </a:bodyPr>
          <a:lstStyle/>
          <a:p>
            <a:r>
              <a:rPr lang="ro-RO" sz="2400" spc="-75" dirty="0" err="1"/>
              <a:t>Map</a:t>
            </a:r>
            <a:r>
              <a:rPr lang="ro-RO" sz="2400" spc="-75" dirty="0"/>
              <a:t> of </a:t>
            </a:r>
            <a:r>
              <a:rPr lang="ro-RO" sz="2400" spc="-75" dirty="0" err="1"/>
              <a:t>Deloitte</a:t>
            </a:r>
            <a:r>
              <a:rPr lang="ro-RO" sz="2400" spc="-75" dirty="0"/>
              <a:t> </a:t>
            </a:r>
            <a:r>
              <a:rPr lang="ro-RO" sz="2400" spc="-75" dirty="0" err="1"/>
              <a:t>experts</a:t>
            </a:r>
            <a:r>
              <a:rPr lang="ro-RO" sz="2400" spc="-75" dirty="0"/>
              <a:t> </a:t>
            </a:r>
            <a:r>
              <a:rPr lang="ro-RO" sz="2400" spc="-75" dirty="0" err="1"/>
              <a:t>by</a:t>
            </a:r>
            <a:r>
              <a:rPr lang="ro-RO" sz="2400" spc="-75" dirty="0"/>
              <a:t> </a:t>
            </a:r>
            <a:r>
              <a:rPr lang="ro-RO" sz="2400" spc="-75" dirty="0" err="1"/>
              <a:t>chapter</a:t>
            </a:r>
            <a:r>
              <a:rPr lang="ro-RO" sz="2400" spc="-75" dirty="0"/>
              <a:t> </a:t>
            </a:r>
            <a:r>
              <a:rPr lang="ro-RO" sz="2400" spc="-75" dirty="0" err="1"/>
              <a:t>relevance</a:t>
            </a:r>
            <a:endParaRPr lang="en-US" sz="2400" spc="-75" dirty="0"/>
          </a:p>
        </p:txBody>
      </p:sp>
      <p:graphicFrame>
        <p:nvGraphicFramePr>
          <p:cNvPr id="4" name="Table 13">
            <a:extLst>
              <a:ext uri="{FF2B5EF4-FFF2-40B4-BE49-F238E27FC236}">
                <a16:creationId xmlns:a16="http://schemas.microsoft.com/office/drawing/2014/main" id="{2B0086CD-550D-B345-D9FD-A708F6F239EE}"/>
              </a:ext>
            </a:extLst>
          </p:cNvPr>
          <p:cNvGraphicFramePr>
            <a:graphicFrameLocks noGrp="1"/>
          </p:cNvGraphicFramePr>
          <p:nvPr>
            <p:extLst>
              <p:ext uri="{D42A27DB-BD31-4B8C-83A1-F6EECF244321}">
                <p14:modId xmlns:p14="http://schemas.microsoft.com/office/powerpoint/2010/main" val="1868743135"/>
              </p:ext>
            </p:extLst>
          </p:nvPr>
        </p:nvGraphicFramePr>
        <p:xfrm>
          <a:off x="590550" y="1120779"/>
          <a:ext cx="10972797" cy="4438080"/>
        </p:xfrm>
        <a:graphic>
          <a:graphicData uri="http://schemas.openxmlformats.org/drawingml/2006/table">
            <a:tbl>
              <a:tblPr firstRow="1" bandRow="1">
                <a:tableStyleId>{5C22544A-7EE6-4342-B048-85BDC9FD1C3A}</a:tableStyleId>
              </a:tblPr>
              <a:tblGrid>
                <a:gridCol w="238125">
                  <a:extLst>
                    <a:ext uri="{9D8B030D-6E8A-4147-A177-3AD203B41FA5}">
                      <a16:colId xmlns:a16="http://schemas.microsoft.com/office/drawing/2014/main" val="3031898452"/>
                    </a:ext>
                  </a:extLst>
                </a:gridCol>
                <a:gridCol w="990600">
                  <a:extLst>
                    <a:ext uri="{9D8B030D-6E8A-4147-A177-3AD203B41FA5}">
                      <a16:colId xmlns:a16="http://schemas.microsoft.com/office/drawing/2014/main" val="2561715093"/>
                    </a:ext>
                  </a:extLst>
                </a:gridCol>
                <a:gridCol w="209550">
                  <a:extLst>
                    <a:ext uri="{9D8B030D-6E8A-4147-A177-3AD203B41FA5}">
                      <a16:colId xmlns:a16="http://schemas.microsoft.com/office/drawing/2014/main" val="542882205"/>
                    </a:ext>
                  </a:extLst>
                </a:gridCol>
                <a:gridCol w="800100">
                  <a:extLst>
                    <a:ext uri="{9D8B030D-6E8A-4147-A177-3AD203B41FA5}">
                      <a16:colId xmlns:a16="http://schemas.microsoft.com/office/drawing/2014/main" val="3489993565"/>
                    </a:ext>
                  </a:extLst>
                </a:gridCol>
                <a:gridCol w="828675">
                  <a:extLst>
                    <a:ext uri="{9D8B030D-6E8A-4147-A177-3AD203B41FA5}">
                      <a16:colId xmlns:a16="http://schemas.microsoft.com/office/drawing/2014/main" val="3950530353"/>
                    </a:ext>
                  </a:extLst>
                </a:gridCol>
                <a:gridCol w="790575">
                  <a:extLst>
                    <a:ext uri="{9D8B030D-6E8A-4147-A177-3AD203B41FA5}">
                      <a16:colId xmlns:a16="http://schemas.microsoft.com/office/drawing/2014/main" val="2999809245"/>
                    </a:ext>
                  </a:extLst>
                </a:gridCol>
                <a:gridCol w="809625">
                  <a:extLst>
                    <a:ext uri="{9D8B030D-6E8A-4147-A177-3AD203B41FA5}">
                      <a16:colId xmlns:a16="http://schemas.microsoft.com/office/drawing/2014/main" val="610721638"/>
                    </a:ext>
                  </a:extLst>
                </a:gridCol>
                <a:gridCol w="790575">
                  <a:extLst>
                    <a:ext uri="{9D8B030D-6E8A-4147-A177-3AD203B41FA5}">
                      <a16:colId xmlns:a16="http://schemas.microsoft.com/office/drawing/2014/main" val="1515996014"/>
                    </a:ext>
                  </a:extLst>
                </a:gridCol>
                <a:gridCol w="781050">
                  <a:extLst>
                    <a:ext uri="{9D8B030D-6E8A-4147-A177-3AD203B41FA5}">
                      <a16:colId xmlns:a16="http://schemas.microsoft.com/office/drawing/2014/main" val="2095918558"/>
                    </a:ext>
                  </a:extLst>
                </a:gridCol>
                <a:gridCol w="771525">
                  <a:extLst>
                    <a:ext uri="{9D8B030D-6E8A-4147-A177-3AD203B41FA5}">
                      <a16:colId xmlns:a16="http://schemas.microsoft.com/office/drawing/2014/main" val="3654228693"/>
                    </a:ext>
                  </a:extLst>
                </a:gridCol>
                <a:gridCol w="828675">
                  <a:extLst>
                    <a:ext uri="{9D8B030D-6E8A-4147-A177-3AD203B41FA5}">
                      <a16:colId xmlns:a16="http://schemas.microsoft.com/office/drawing/2014/main" val="78615181"/>
                    </a:ext>
                  </a:extLst>
                </a:gridCol>
                <a:gridCol w="771525">
                  <a:extLst>
                    <a:ext uri="{9D8B030D-6E8A-4147-A177-3AD203B41FA5}">
                      <a16:colId xmlns:a16="http://schemas.microsoft.com/office/drawing/2014/main" val="99988573"/>
                    </a:ext>
                  </a:extLst>
                </a:gridCol>
                <a:gridCol w="809625">
                  <a:extLst>
                    <a:ext uri="{9D8B030D-6E8A-4147-A177-3AD203B41FA5}">
                      <a16:colId xmlns:a16="http://schemas.microsoft.com/office/drawing/2014/main" val="146574628"/>
                    </a:ext>
                  </a:extLst>
                </a:gridCol>
                <a:gridCol w="800100">
                  <a:extLst>
                    <a:ext uri="{9D8B030D-6E8A-4147-A177-3AD203B41FA5}">
                      <a16:colId xmlns:a16="http://schemas.microsoft.com/office/drawing/2014/main" val="3379978656"/>
                    </a:ext>
                  </a:extLst>
                </a:gridCol>
                <a:gridCol w="752472">
                  <a:extLst>
                    <a:ext uri="{9D8B030D-6E8A-4147-A177-3AD203B41FA5}">
                      <a16:colId xmlns:a16="http://schemas.microsoft.com/office/drawing/2014/main" val="2698975164"/>
                    </a:ext>
                  </a:extLst>
                </a:gridCol>
              </a:tblGrid>
              <a:tr h="530939">
                <a:tc>
                  <a:txBody>
                    <a:bodyPr/>
                    <a:lstStyle/>
                    <a:p>
                      <a:pPr algn="r" rtl="0" fontAlgn="ctr"/>
                      <a:endParaRPr lang="en-US" sz="800" b="0"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ro-RO" sz="800" b="0"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ame</a:t>
                      </a:r>
                      <a:endParaRPr lang="en-US" sz="800" b="0" i="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ro-RO" sz="800" b="0" i="1" kern="1200">
                          <a:solidFill>
                            <a:schemeClr val="dk1"/>
                          </a:solidFill>
                          <a:latin typeface="Open Sans" panose="020B0606030504020204" pitchFamily="34" charset="0"/>
                          <a:ea typeface="Open Sans" panose="020B0606030504020204" pitchFamily="34" charset="0"/>
                          <a:cs typeface="Open Sans" panose="020B0606030504020204" pitchFamily="34" charset="0"/>
                        </a:rPr>
                        <a:t>Pg.</a:t>
                      </a:r>
                      <a:endParaRPr lang="en-US" sz="800" b="0" i="1"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Technology Consulting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Data and Analytics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o-RO"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Process Improvemen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Design and User Experience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Support and Maintenance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Strategy Consulting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Project Managemen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Organizational change managemen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Management Advisory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Human resources consulting service</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Instructional Design </a:t>
                      </a:r>
                      <a:endParaRPr lang="ro-RO"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pPr marL="0" algn="l" defTabSz="685800" rtl="0" eaLnBrk="1" latinLnBrk="0" hangingPunct="1"/>
                      <a:r>
                        <a:rPr lang="en-US"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Services</a:t>
                      </a:r>
                    </a:p>
                    <a:p>
                      <a:pPr marL="0" algn="l" defTabSz="685800" rtl="0" eaLnBrk="1" latinLnBrk="0" hangingPunct="1"/>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ro-RO" sz="800" b="1" i="0" kern="1200">
                          <a:solidFill>
                            <a:schemeClr val="dk1"/>
                          </a:solidFill>
                          <a:latin typeface="Open Sans" panose="020B0606030504020204" pitchFamily="34" charset="0"/>
                          <a:ea typeface="Open Sans" panose="020B0606030504020204" pitchFamily="34" charset="0"/>
                          <a:cs typeface="Open Sans" panose="020B0606030504020204" pitchFamily="34" charset="0"/>
                        </a:rPr>
                        <a:t>Risk &amp; Compliance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9275019"/>
                  </a:ext>
                </a:extLst>
              </a:tr>
              <a:tr h="183962">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P</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ániel Kis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ro-RO" sz="800" b="0" i="0" kern="120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4055033"/>
                  </a:ext>
                </a:extLst>
              </a:tr>
              <a:tr h="183962">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P</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amás Schenk</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073390"/>
                  </a:ext>
                </a:extLst>
              </a:tr>
              <a:tr h="183962">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D</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rtin Csépai</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850995"/>
                  </a:ext>
                </a:extLst>
              </a:tr>
              <a:tr h="183962">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D</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ábor Hosszú</a:t>
                      </a:r>
                      <a:endPar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883485"/>
                  </a:ext>
                </a:extLst>
              </a:tr>
              <a:tr h="183962">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D</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szter Lukác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901565"/>
                  </a:ext>
                </a:extLst>
              </a:tr>
              <a:tr h="183962">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D</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ózsef Sirokai</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623407"/>
                  </a:ext>
                </a:extLst>
              </a:tr>
              <a:tr h="183962">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D</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drás Szathmáry</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2229621"/>
                  </a:ext>
                </a:extLst>
              </a:tr>
              <a:tr h="183962">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ániel Drácz</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5515617"/>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amás Eperjesi</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5774093"/>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Ágnes File</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113680"/>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ilip Fijal</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230679"/>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iří Žárský</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374927"/>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hu-HU"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Ákos Kiss</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456316"/>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Krzysztof Stolarek</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9155256"/>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ichal Jaskiewicz</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3374158"/>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namária Németh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4084695"/>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masz Suchanek</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33031"/>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864118"/>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7361695"/>
                  </a:ext>
                </a:extLst>
              </a:tr>
              <a:tr h="183962">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757201"/>
                  </a:ext>
                </a:extLst>
              </a:tr>
            </a:tbl>
          </a:graphicData>
        </a:graphic>
      </p:graphicFrame>
      <p:grpSp>
        <p:nvGrpSpPr>
          <p:cNvPr id="9" name="Group 8">
            <a:extLst>
              <a:ext uri="{FF2B5EF4-FFF2-40B4-BE49-F238E27FC236}">
                <a16:creationId xmlns:a16="http://schemas.microsoft.com/office/drawing/2014/main" id="{A672D4A7-D6BF-6D88-04CB-35DADAA3DD07}"/>
              </a:ext>
            </a:extLst>
          </p:cNvPr>
          <p:cNvGrpSpPr/>
          <p:nvPr/>
        </p:nvGrpSpPr>
        <p:grpSpPr>
          <a:xfrm>
            <a:off x="10020300" y="926506"/>
            <a:ext cx="168235" cy="168236"/>
            <a:chOff x="2990850" y="417911"/>
            <a:chExt cx="417112" cy="417112"/>
          </a:xfrm>
        </p:grpSpPr>
        <p:sp>
          <p:nvSpPr>
            <p:cNvPr id="6" name="Flowchart: Connector 5">
              <a:extLst>
                <a:ext uri="{FF2B5EF4-FFF2-40B4-BE49-F238E27FC236}">
                  <a16:creationId xmlns:a16="http://schemas.microsoft.com/office/drawing/2014/main" id="{3D55D9DB-15A3-0EFB-1E00-1FB847F4D72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7" name="TextBox 6">
              <a:extLst>
                <a:ext uri="{FF2B5EF4-FFF2-40B4-BE49-F238E27FC236}">
                  <a16:creationId xmlns:a16="http://schemas.microsoft.com/office/drawing/2014/main" id="{9C233E43-E8BF-04F1-A954-2900716EC988}"/>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 name="Group 10">
            <a:extLst>
              <a:ext uri="{FF2B5EF4-FFF2-40B4-BE49-F238E27FC236}">
                <a16:creationId xmlns:a16="http://schemas.microsoft.com/office/drawing/2014/main" id="{402CE7D1-9C09-9ABC-DEC0-2CC1400A0F5A}"/>
              </a:ext>
            </a:extLst>
          </p:cNvPr>
          <p:cNvGrpSpPr/>
          <p:nvPr/>
        </p:nvGrpSpPr>
        <p:grpSpPr>
          <a:xfrm>
            <a:off x="10820400" y="926506"/>
            <a:ext cx="168235" cy="168236"/>
            <a:chOff x="2990850" y="417911"/>
            <a:chExt cx="417112" cy="417112"/>
          </a:xfrm>
        </p:grpSpPr>
        <p:sp>
          <p:nvSpPr>
            <p:cNvPr id="12" name="Flowchart: Connector 11">
              <a:extLst>
                <a:ext uri="{FF2B5EF4-FFF2-40B4-BE49-F238E27FC236}">
                  <a16:creationId xmlns:a16="http://schemas.microsoft.com/office/drawing/2014/main" id="{81461D00-51FE-2483-F597-7C276FCE0CC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13" name="TextBox 12">
              <a:extLst>
                <a:ext uri="{FF2B5EF4-FFF2-40B4-BE49-F238E27FC236}">
                  <a16:creationId xmlns:a16="http://schemas.microsoft.com/office/drawing/2014/main" id="{70B6AB9B-49EC-36DE-95A5-087B6F78E4F7}"/>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55AA9950-01CE-C541-DA61-26B4B9F646BF}"/>
              </a:ext>
            </a:extLst>
          </p:cNvPr>
          <p:cNvGrpSpPr/>
          <p:nvPr/>
        </p:nvGrpSpPr>
        <p:grpSpPr>
          <a:xfrm>
            <a:off x="2009775" y="926506"/>
            <a:ext cx="168235" cy="168236"/>
            <a:chOff x="2990850" y="417911"/>
            <a:chExt cx="417112" cy="417112"/>
          </a:xfrm>
        </p:grpSpPr>
        <p:sp>
          <p:nvSpPr>
            <p:cNvPr id="21" name="Flowchart: Connector 20">
              <a:extLst>
                <a:ext uri="{FF2B5EF4-FFF2-40B4-BE49-F238E27FC236}">
                  <a16:creationId xmlns:a16="http://schemas.microsoft.com/office/drawing/2014/main" id="{1ACFAD3D-5F61-7BCC-226D-94CC879AA3D5}"/>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3" name="TextBox 22">
              <a:extLst>
                <a:ext uri="{FF2B5EF4-FFF2-40B4-BE49-F238E27FC236}">
                  <a16:creationId xmlns:a16="http://schemas.microsoft.com/office/drawing/2014/main" id="{E7B63EFF-C324-26D7-F23A-67EE2FCEC7F6}"/>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 23">
            <a:extLst>
              <a:ext uri="{FF2B5EF4-FFF2-40B4-BE49-F238E27FC236}">
                <a16:creationId xmlns:a16="http://schemas.microsoft.com/office/drawing/2014/main" id="{C8FE6E1A-2160-75B9-784E-7F244A2BDD36}"/>
              </a:ext>
            </a:extLst>
          </p:cNvPr>
          <p:cNvGrpSpPr/>
          <p:nvPr/>
        </p:nvGrpSpPr>
        <p:grpSpPr>
          <a:xfrm>
            <a:off x="2838450" y="926506"/>
            <a:ext cx="168235" cy="168236"/>
            <a:chOff x="2990850" y="417911"/>
            <a:chExt cx="417112" cy="417112"/>
          </a:xfrm>
        </p:grpSpPr>
        <p:sp>
          <p:nvSpPr>
            <p:cNvPr id="25" name="Flowchart: Connector 24">
              <a:extLst>
                <a:ext uri="{FF2B5EF4-FFF2-40B4-BE49-F238E27FC236}">
                  <a16:creationId xmlns:a16="http://schemas.microsoft.com/office/drawing/2014/main" id="{25ECB68E-EE33-F729-C88F-C30FEA879E92}"/>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6" name="TextBox 25">
              <a:extLst>
                <a:ext uri="{FF2B5EF4-FFF2-40B4-BE49-F238E27FC236}">
                  <a16:creationId xmlns:a16="http://schemas.microsoft.com/office/drawing/2014/main" id="{5E7DE4DE-561A-6EF7-FCB9-8C8030018D7D}"/>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 name="Group 26">
            <a:extLst>
              <a:ext uri="{FF2B5EF4-FFF2-40B4-BE49-F238E27FC236}">
                <a16:creationId xmlns:a16="http://schemas.microsoft.com/office/drawing/2014/main" id="{4C9BB761-E036-455D-87A3-E83BD9EBE214}"/>
              </a:ext>
            </a:extLst>
          </p:cNvPr>
          <p:cNvGrpSpPr/>
          <p:nvPr/>
        </p:nvGrpSpPr>
        <p:grpSpPr>
          <a:xfrm>
            <a:off x="3667125" y="926506"/>
            <a:ext cx="168235" cy="168236"/>
            <a:chOff x="2990850" y="417911"/>
            <a:chExt cx="417112" cy="417112"/>
          </a:xfrm>
        </p:grpSpPr>
        <p:sp>
          <p:nvSpPr>
            <p:cNvPr id="28" name="Flowchart: Connector 27">
              <a:extLst>
                <a:ext uri="{FF2B5EF4-FFF2-40B4-BE49-F238E27FC236}">
                  <a16:creationId xmlns:a16="http://schemas.microsoft.com/office/drawing/2014/main" id="{7E62376B-06E4-2480-334A-2B9FF9B90AED}"/>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9" name="TextBox 28">
              <a:extLst>
                <a:ext uri="{FF2B5EF4-FFF2-40B4-BE49-F238E27FC236}">
                  <a16:creationId xmlns:a16="http://schemas.microsoft.com/office/drawing/2014/main" id="{A1592A4B-F689-B4AF-5B4D-345FE18C185C}"/>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oup 29">
            <a:extLst>
              <a:ext uri="{FF2B5EF4-FFF2-40B4-BE49-F238E27FC236}">
                <a16:creationId xmlns:a16="http://schemas.microsoft.com/office/drawing/2014/main" id="{D1E45DE1-AC5C-1151-8F2D-513166227BE8}"/>
              </a:ext>
            </a:extLst>
          </p:cNvPr>
          <p:cNvGrpSpPr/>
          <p:nvPr/>
        </p:nvGrpSpPr>
        <p:grpSpPr>
          <a:xfrm>
            <a:off x="4448175" y="926506"/>
            <a:ext cx="168235" cy="168236"/>
            <a:chOff x="2990850" y="417911"/>
            <a:chExt cx="417112" cy="417112"/>
          </a:xfrm>
        </p:grpSpPr>
        <p:sp>
          <p:nvSpPr>
            <p:cNvPr id="31" name="Flowchart: Connector 30">
              <a:extLst>
                <a:ext uri="{FF2B5EF4-FFF2-40B4-BE49-F238E27FC236}">
                  <a16:creationId xmlns:a16="http://schemas.microsoft.com/office/drawing/2014/main" id="{1D927B5E-9F6E-38EA-E3B4-255208778475}"/>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2" name="TextBox 31">
              <a:extLst>
                <a:ext uri="{FF2B5EF4-FFF2-40B4-BE49-F238E27FC236}">
                  <a16:creationId xmlns:a16="http://schemas.microsoft.com/office/drawing/2014/main" id="{AEA84AC5-6A34-CDA0-BE78-3951A3BD1761}"/>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32">
            <a:extLst>
              <a:ext uri="{FF2B5EF4-FFF2-40B4-BE49-F238E27FC236}">
                <a16:creationId xmlns:a16="http://schemas.microsoft.com/office/drawing/2014/main" id="{974B55EF-EE14-3051-5586-BCCB9EF648F9}"/>
              </a:ext>
            </a:extLst>
          </p:cNvPr>
          <p:cNvGrpSpPr/>
          <p:nvPr/>
        </p:nvGrpSpPr>
        <p:grpSpPr>
          <a:xfrm>
            <a:off x="5267325" y="926506"/>
            <a:ext cx="168235" cy="168236"/>
            <a:chOff x="2990850" y="417911"/>
            <a:chExt cx="417112" cy="417112"/>
          </a:xfrm>
        </p:grpSpPr>
        <p:sp>
          <p:nvSpPr>
            <p:cNvPr id="34" name="Flowchart: Connector 33">
              <a:extLst>
                <a:ext uri="{FF2B5EF4-FFF2-40B4-BE49-F238E27FC236}">
                  <a16:creationId xmlns:a16="http://schemas.microsoft.com/office/drawing/2014/main" id="{2BDC5F65-22CF-BF76-6AFA-E5BA5293BA9D}"/>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5" name="TextBox 34">
              <a:extLst>
                <a:ext uri="{FF2B5EF4-FFF2-40B4-BE49-F238E27FC236}">
                  <a16:creationId xmlns:a16="http://schemas.microsoft.com/office/drawing/2014/main" id="{B2E4A31E-640F-8633-DCD2-445891F230B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35">
            <a:extLst>
              <a:ext uri="{FF2B5EF4-FFF2-40B4-BE49-F238E27FC236}">
                <a16:creationId xmlns:a16="http://schemas.microsoft.com/office/drawing/2014/main" id="{F4AD52F9-1823-79CB-10DA-5B49C8F6FCCE}"/>
              </a:ext>
            </a:extLst>
          </p:cNvPr>
          <p:cNvGrpSpPr/>
          <p:nvPr/>
        </p:nvGrpSpPr>
        <p:grpSpPr>
          <a:xfrm>
            <a:off x="6049982" y="926506"/>
            <a:ext cx="168235" cy="168236"/>
            <a:chOff x="2990850" y="417911"/>
            <a:chExt cx="417112" cy="417112"/>
          </a:xfrm>
        </p:grpSpPr>
        <p:sp>
          <p:nvSpPr>
            <p:cNvPr id="37" name="Flowchart: Connector 36">
              <a:extLst>
                <a:ext uri="{FF2B5EF4-FFF2-40B4-BE49-F238E27FC236}">
                  <a16:creationId xmlns:a16="http://schemas.microsoft.com/office/drawing/2014/main" id="{6F90A3C0-B8EC-D4A3-CF3B-107FCC559AA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8" name="TextBox 37">
              <a:extLst>
                <a:ext uri="{FF2B5EF4-FFF2-40B4-BE49-F238E27FC236}">
                  <a16:creationId xmlns:a16="http://schemas.microsoft.com/office/drawing/2014/main" id="{824491EA-58F6-BA83-F042-9EAE90FBC37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 name="Group 38">
            <a:extLst>
              <a:ext uri="{FF2B5EF4-FFF2-40B4-BE49-F238E27FC236}">
                <a16:creationId xmlns:a16="http://schemas.microsoft.com/office/drawing/2014/main" id="{321ECD8D-C192-0AA5-D667-911F651E78B4}"/>
              </a:ext>
            </a:extLst>
          </p:cNvPr>
          <p:cNvGrpSpPr/>
          <p:nvPr/>
        </p:nvGrpSpPr>
        <p:grpSpPr>
          <a:xfrm>
            <a:off x="6840557" y="926506"/>
            <a:ext cx="168235" cy="168236"/>
            <a:chOff x="2990850" y="417911"/>
            <a:chExt cx="417112" cy="417112"/>
          </a:xfrm>
        </p:grpSpPr>
        <p:sp>
          <p:nvSpPr>
            <p:cNvPr id="40" name="Flowchart: Connector 39">
              <a:extLst>
                <a:ext uri="{FF2B5EF4-FFF2-40B4-BE49-F238E27FC236}">
                  <a16:creationId xmlns:a16="http://schemas.microsoft.com/office/drawing/2014/main" id="{11F07772-AE83-4AC3-1523-E14266BCD318}"/>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1" name="TextBox 40">
              <a:extLst>
                <a:ext uri="{FF2B5EF4-FFF2-40B4-BE49-F238E27FC236}">
                  <a16:creationId xmlns:a16="http://schemas.microsoft.com/office/drawing/2014/main" id="{9D8B5B67-4903-EE41-29AC-30C2BB4CBB7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1B191207-1FD6-44AA-A5A8-A9769167388B}"/>
              </a:ext>
            </a:extLst>
          </p:cNvPr>
          <p:cNvGrpSpPr/>
          <p:nvPr/>
        </p:nvGrpSpPr>
        <p:grpSpPr>
          <a:xfrm>
            <a:off x="7640657" y="926506"/>
            <a:ext cx="168235" cy="168236"/>
            <a:chOff x="2990850" y="417911"/>
            <a:chExt cx="417112" cy="417112"/>
          </a:xfrm>
        </p:grpSpPr>
        <p:sp>
          <p:nvSpPr>
            <p:cNvPr id="43" name="Flowchart: Connector 42">
              <a:extLst>
                <a:ext uri="{FF2B5EF4-FFF2-40B4-BE49-F238E27FC236}">
                  <a16:creationId xmlns:a16="http://schemas.microsoft.com/office/drawing/2014/main" id="{A68A0744-42BD-5D69-B569-0223C9A1E19F}"/>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4" name="TextBox 43">
              <a:extLst>
                <a:ext uri="{FF2B5EF4-FFF2-40B4-BE49-F238E27FC236}">
                  <a16:creationId xmlns:a16="http://schemas.microsoft.com/office/drawing/2014/main" id="{E7E37CBD-65F2-4658-4B09-0A506F0F0B8B}"/>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44">
            <a:extLst>
              <a:ext uri="{FF2B5EF4-FFF2-40B4-BE49-F238E27FC236}">
                <a16:creationId xmlns:a16="http://schemas.microsoft.com/office/drawing/2014/main" id="{76CC9FC8-B73F-A6EC-20FE-79A7DB6EF276}"/>
              </a:ext>
            </a:extLst>
          </p:cNvPr>
          <p:cNvGrpSpPr/>
          <p:nvPr/>
        </p:nvGrpSpPr>
        <p:grpSpPr>
          <a:xfrm>
            <a:off x="8440757" y="926506"/>
            <a:ext cx="168235" cy="168236"/>
            <a:chOff x="2990850" y="417911"/>
            <a:chExt cx="417112" cy="417112"/>
          </a:xfrm>
        </p:grpSpPr>
        <p:sp>
          <p:nvSpPr>
            <p:cNvPr id="46" name="Flowchart: Connector 45">
              <a:extLst>
                <a:ext uri="{FF2B5EF4-FFF2-40B4-BE49-F238E27FC236}">
                  <a16:creationId xmlns:a16="http://schemas.microsoft.com/office/drawing/2014/main" id="{998FB8F8-D08F-2315-CEE2-756A14AE2B48}"/>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7" name="TextBox 46">
              <a:extLst>
                <a:ext uri="{FF2B5EF4-FFF2-40B4-BE49-F238E27FC236}">
                  <a16:creationId xmlns:a16="http://schemas.microsoft.com/office/drawing/2014/main" id="{5FC24374-38D2-CB29-EBFB-682784765E99}"/>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47">
            <a:extLst>
              <a:ext uri="{FF2B5EF4-FFF2-40B4-BE49-F238E27FC236}">
                <a16:creationId xmlns:a16="http://schemas.microsoft.com/office/drawing/2014/main" id="{9121892C-748C-DDB5-684C-0FCC70D23667}"/>
              </a:ext>
            </a:extLst>
          </p:cNvPr>
          <p:cNvGrpSpPr/>
          <p:nvPr/>
        </p:nvGrpSpPr>
        <p:grpSpPr>
          <a:xfrm>
            <a:off x="9218592" y="926506"/>
            <a:ext cx="168235" cy="168236"/>
            <a:chOff x="2990850" y="417911"/>
            <a:chExt cx="417112" cy="417112"/>
          </a:xfrm>
        </p:grpSpPr>
        <p:sp>
          <p:nvSpPr>
            <p:cNvPr id="49" name="Flowchart: Connector 48">
              <a:extLst>
                <a:ext uri="{FF2B5EF4-FFF2-40B4-BE49-F238E27FC236}">
                  <a16:creationId xmlns:a16="http://schemas.microsoft.com/office/drawing/2014/main" id="{4FBD62CC-0FFD-21A9-DC22-39DB226706EE}"/>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50" name="TextBox 49">
              <a:extLst>
                <a:ext uri="{FF2B5EF4-FFF2-40B4-BE49-F238E27FC236}">
                  <a16:creationId xmlns:a16="http://schemas.microsoft.com/office/drawing/2014/main" id="{EED0AB80-5982-80C0-C1BF-6772F76184E8}"/>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103" name="Graphic 102" descr="Checkmark with solid fill">
            <a:extLst>
              <a:ext uri="{FF2B5EF4-FFF2-40B4-BE49-F238E27FC236}">
                <a16:creationId xmlns:a16="http://schemas.microsoft.com/office/drawing/2014/main" id="{DEBD4FD4-9F7C-A2F9-FE3E-B3826A1BD8E4}"/>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56999" y="1905000"/>
            <a:ext cx="133350" cy="133350"/>
          </a:xfrm>
          <a:prstGeom prst="rect">
            <a:avLst/>
          </a:prstGeom>
        </p:spPr>
      </p:pic>
      <p:pic>
        <p:nvPicPr>
          <p:cNvPr id="104" name="Graphic 103" descr="Checkmark with solid fill">
            <a:extLst>
              <a:ext uri="{FF2B5EF4-FFF2-40B4-BE49-F238E27FC236}">
                <a16:creationId xmlns:a16="http://schemas.microsoft.com/office/drawing/2014/main" id="{1C6FE814-2F79-CE2A-12AA-4DE8A02EC01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18908" y="1905000"/>
            <a:ext cx="133350" cy="133350"/>
          </a:xfrm>
          <a:prstGeom prst="rect">
            <a:avLst/>
          </a:prstGeom>
        </p:spPr>
      </p:pic>
      <p:grpSp>
        <p:nvGrpSpPr>
          <p:cNvPr id="116" name="Group 115">
            <a:extLst>
              <a:ext uri="{FF2B5EF4-FFF2-40B4-BE49-F238E27FC236}">
                <a16:creationId xmlns:a16="http://schemas.microsoft.com/office/drawing/2014/main" id="{9C334828-03CC-F6CA-729D-17A33B07CEAC}"/>
              </a:ext>
            </a:extLst>
          </p:cNvPr>
          <p:cNvGrpSpPr/>
          <p:nvPr/>
        </p:nvGrpSpPr>
        <p:grpSpPr>
          <a:xfrm>
            <a:off x="4737244" y="6498172"/>
            <a:ext cx="7335541" cy="155443"/>
            <a:chOff x="1956681" y="6599402"/>
            <a:chExt cx="7335541" cy="155443"/>
          </a:xfrm>
        </p:grpSpPr>
        <p:sp>
          <p:nvSpPr>
            <p:cNvPr id="109" name="TextBox 108">
              <a:extLst>
                <a:ext uri="{FF2B5EF4-FFF2-40B4-BE49-F238E27FC236}">
                  <a16:creationId xmlns:a16="http://schemas.microsoft.com/office/drawing/2014/main" id="{9C71F908-4A79-C90D-9EF7-0976DCB04999}"/>
                </a:ext>
              </a:extLst>
            </p:cNvPr>
            <p:cNvSpPr txBox="1"/>
            <p:nvPr/>
          </p:nvSpPr>
          <p:spPr>
            <a:xfrm>
              <a:off x="1956681" y="6600957"/>
              <a:ext cx="973666"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P </a:t>
              </a:r>
              <a:r>
                <a:rPr lang="ro-RO" sz="1000" dirty="0">
                  <a:solidFill>
                    <a:srgbClr val="313131"/>
                  </a:solidFill>
                </a:rPr>
                <a:t>- </a:t>
              </a:r>
              <a:r>
                <a:rPr lang="ro-RO" sz="1000" i="1" dirty="0" err="1">
                  <a:solidFill>
                    <a:srgbClr val="313131"/>
                  </a:solidFill>
                </a:rPr>
                <a:t>Partner</a:t>
              </a:r>
              <a:r>
                <a:rPr lang="ro-RO" sz="1000" i="1" dirty="0">
                  <a:solidFill>
                    <a:srgbClr val="313131"/>
                  </a:solidFill>
                </a:rPr>
                <a:t> </a:t>
              </a:r>
              <a:endParaRPr lang="en-US" sz="1000" i="1" dirty="0">
                <a:solidFill>
                  <a:srgbClr val="313131"/>
                </a:solidFill>
              </a:endParaRPr>
            </a:p>
          </p:txBody>
        </p:sp>
        <p:sp>
          <p:nvSpPr>
            <p:cNvPr id="110" name="TextBox 109">
              <a:extLst>
                <a:ext uri="{FF2B5EF4-FFF2-40B4-BE49-F238E27FC236}">
                  <a16:creationId xmlns:a16="http://schemas.microsoft.com/office/drawing/2014/main" id="{DE9B15C7-3A09-367D-87AE-BC8A1020069F}"/>
                </a:ext>
              </a:extLst>
            </p:cNvPr>
            <p:cNvSpPr txBox="1"/>
            <p:nvPr/>
          </p:nvSpPr>
          <p:spPr>
            <a:xfrm>
              <a:off x="2683416" y="6600957"/>
              <a:ext cx="795528"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D </a:t>
              </a:r>
              <a:r>
                <a:rPr lang="ro-RO" sz="1000" dirty="0">
                  <a:solidFill>
                    <a:srgbClr val="313131"/>
                  </a:solidFill>
                </a:rPr>
                <a:t>- </a:t>
              </a:r>
              <a:r>
                <a:rPr lang="ro-RO" sz="1000" i="1" dirty="0">
                  <a:solidFill>
                    <a:srgbClr val="313131"/>
                  </a:solidFill>
                </a:rPr>
                <a:t>Director</a:t>
              </a:r>
              <a:endParaRPr lang="en-US" sz="1000" i="1" dirty="0">
                <a:solidFill>
                  <a:srgbClr val="313131"/>
                </a:solidFill>
              </a:endParaRPr>
            </a:p>
          </p:txBody>
        </p:sp>
        <p:sp>
          <p:nvSpPr>
            <p:cNvPr id="111" name="TextBox 110">
              <a:extLst>
                <a:ext uri="{FF2B5EF4-FFF2-40B4-BE49-F238E27FC236}">
                  <a16:creationId xmlns:a16="http://schemas.microsoft.com/office/drawing/2014/main" id="{624B49DB-DFA5-FD7A-62DA-FC7F38F79E74}"/>
                </a:ext>
              </a:extLst>
            </p:cNvPr>
            <p:cNvSpPr txBox="1"/>
            <p:nvPr/>
          </p:nvSpPr>
          <p:spPr>
            <a:xfrm>
              <a:off x="3478944" y="6600957"/>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SM </a:t>
              </a:r>
              <a:r>
                <a:rPr lang="ro-RO" sz="1000" dirty="0">
                  <a:solidFill>
                    <a:srgbClr val="313131"/>
                  </a:solidFill>
                </a:rPr>
                <a:t>- </a:t>
              </a:r>
              <a:r>
                <a:rPr lang="ro-RO" sz="1000" i="1" dirty="0">
                  <a:solidFill>
                    <a:srgbClr val="313131"/>
                  </a:solidFill>
                </a:rPr>
                <a:t>Senior Manager</a:t>
              </a:r>
              <a:endParaRPr lang="en-US" sz="1000" i="1" dirty="0">
                <a:solidFill>
                  <a:srgbClr val="313131"/>
                </a:solidFill>
              </a:endParaRPr>
            </a:p>
          </p:txBody>
        </p:sp>
        <p:sp>
          <p:nvSpPr>
            <p:cNvPr id="112" name="TextBox 111">
              <a:extLst>
                <a:ext uri="{FF2B5EF4-FFF2-40B4-BE49-F238E27FC236}">
                  <a16:creationId xmlns:a16="http://schemas.microsoft.com/office/drawing/2014/main" id="{C2683942-2FAF-EAED-0221-CFDC9A94361F}"/>
                </a:ext>
              </a:extLst>
            </p:cNvPr>
            <p:cNvSpPr txBox="1"/>
            <p:nvPr/>
          </p:nvSpPr>
          <p:spPr>
            <a:xfrm>
              <a:off x="4828500" y="6600957"/>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M </a:t>
              </a:r>
              <a:r>
                <a:rPr lang="ro-RO" sz="1000" dirty="0">
                  <a:solidFill>
                    <a:srgbClr val="313131"/>
                  </a:solidFill>
                </a:rPr>
                <a:t>- </a:t>
              </a:r>
              <a:r>
                <a:rPr lang="ro-RO" sz="1000" i="1" dirty="0">
                  <a:solidFill>
                    <a:srgbClr val="313131"/>
                  </a:solidFill>
                </a:rPr>
                <a:t>Manager</a:t>
              </a:r>
              <a:endParaRPr lang="en-US" sz="1000" i="1" dirty="0">
                <a:solidFill>
                  <a:srgbClr val="313131"/>
                </a:solidFill>
              </a:endParaRPr>
            </a:p>
          </p:txBody>
        </p:sp>
        <p:sp>
          <p:nvSpPr>
            <p:cNvPr id="113" name="TextBox 112">
              <a:extLst>
                <a:ext uri="{FF2B5EF4-FFF2-40B4-BE49-F238E27FC236}">
                  <a16:creationId xmlns:a16="http://schemas.microsoft.com/office/drawing/2014/main" id="{8D2B6AC1-61AE-1EA3-22A6-654BDCBF1540}"/>
                </a:ext>
              </a:extLst>
            </p:cNvPr>
            <p:cNvSpPr txBox="1"/>
            <p:nvPr/>
          </p:nvSpPr>
          <p:spPr>
            <a:xfrm>
              <a:off x="5771326"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SC</a:t>
              </a:r>
              <a:r>
                <a:rPr lang="ro-RO" sz="1000" dirty="0">
                  <a:solidFill>
                    <a:srgbClr val="313131"/>
                  </a:solidFill>
                </a:rPr>
                <a:t> - </a:t>
              </a:r>
              <a:r>
                <a:rPr lang="ro-RO" sz="1000" i="1" dirty="0">
                  <a:solidFill>
                    <a:srgbClr val="313131"/>
                  </a:solidFill>
                </a:rPr>
                <a:t>Senior Consultant </a:t>
              </a:r>
              <a:endParaRPr lang="en-US" sz="1000" i="1" dirty="0">
                <a:solidFill>
                  <a:srgbClr val="313131"/>
                </a:solidFill>
              </a:endParaRPr>
            </a:p>
          </p:txBody>
        </p:sp>
        <p:sp>
          <p:nvSpPr>
            <p:cNvPr id="114" name="TextBox 113">
              <a:extLst>
                <a:ext uri="{FF2B5EF4-FFF2-40B4-BE49-F238E27FC236}">
                  <a16:creationId xmlns:a16="http://schemas.microsoft.com/office/drawing/2014/main" id="{FBCD1F42-37E5-032B-4AFB-3BD0C1AE283B}"/>
                </a:ext>
              </a:extLst>
            </p:cNvPr>
            <p:cNvSpPr txBox="1"/>
            <p:nvPr/>
          </p:nvSpPr>
          <p:spPr>
            <a:xfrm>
              <a:off x="7110517"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C </a:t>
              </a:r>
              <a:r>
                <a:rPr lang="ro-RO" sz="1000" b="1" dirty="0">
                  <a:solidFill>
                    <a:srgbClr val="313131"/>
                  </a:solidFill>
                </a:rPr>
                <a:t>- </a:t>
              </a:r>
              <a:r>
                <a:rPr lang="ro-RO" sz="1000" i="1" dirty="0">
                  <a:solidFill>
                    <a:srgbClr val="313131"/>
                  </a:solidFill>
                </a:rPr>
                <a:t>Consultant </a:t>
              </a:r>
              <a:endParaRPr lang="en-US" sz="1000" i="1" dirty="0">
                <a:solidFill>
                  <a:srgbClr val="313131"/>
                </a:solidFill>
              </a:endParaRPr>
            </a:p>
          </p:txBody>
        </p:sp>
        <p:sp>
          <p:nvSpPr>
            <p:cNvPr id="115" name="TextBox 114">
              <a:extLst>
                <a:ext uri="{FF2B5EF4-FFF2-40B4-BE49-F238E27FC236}">
                  <a16:creationId xmlns:a16="http://schemas.microsoft.com/office/drawing/2014/main" id="{0E66EF58-CDFD-DB2E-1924-6E0B9B1F0447}"/>
                </a:ext>
              </a:extLst>
            </p:cNvPr>
            <p:cNvSpPr txBox="1"/>
            <p:nvPr/>
          </p:nvSpPr>
          <p:spPr>
            <a:xfrm>
              <a:off x="8063708"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A </a:t>
              </a:r>
              <a:r>
                <a:rPr lang="ro-RO" sz="1000" b="1" dirty="0">
                  <a:solidFill>
                    <a:srgbClr val="313131"/>
                  </a:solidFill>
                </a:rPr>
                <a:t>- </a:t>
              </a:r>
              <a:r>
                <a:rPr lang="ro-RO" sz="1000" i="1" dirty="0" err="1">
                  <a:solidFill>
                    <a:srgbClr val="313131"/>
                  </a:solidFill>
                </a:rPr>
                <a:t>Analyst</a:t>
              </a:r>
              <a:endParaRPr lang="en-US" sz="1000" i="1" dirty="0">
                <a:solidFill>
                  <a:srgbClr val="313131"/>
                </a:solidFill>
              </a:endParaRPr>
            </a:p>
          </p:txBody>
        </p:sp>
      </p:grpSp>
      <p:pic>
        <p:nvPicPr>
          <p:cNvPr id="117" name="Graphic 116" descr="Checkmark with solid fill">
            <a:extLst>
              <a:ext uri="{FF2B5EF4-FFF2-40B4-BE49-F238E27FC236}">
                <a16:creationId xmlns:a16="http://schemas.microsoft.com/office/drawing/2014/main" id="{6A5A1AA0-E0D4-9C96-5C6B-C4F7F6CA67E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13061" y="3080214"/>
            <a:ext cx="133350" cy="133350"/>
          </a:xfrm>
          <a:prstGeom prst="rect">
            <a:avLst/>
          </a:prstGeom>
        </p:spPr>
      </p:pic>
      <p:pic>
        <p:nvPicPr>
          <p:cNvPr id="118" name="Graphic 117" descr="Checkmark with solid fill">
            <a:extLst>
              <a:ext uri="{FF2B5EF4-FFF2-40B4-BE49-F238E27FC236}">
                <a16:creationId xmlns:a16="http://schemas.microsoft.com/office/drawing/2014/main" id="{E93B3C11-DE2A-0EA6-85F6-28A4E129E6A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13061" y="4614684"/>
            <a:ext cx="133350" cy="133350"/>
          </a:xfrm>
          <a:prstGeom prst="rect">
            <a:avLst/>
          </a:prstGeom>
        </p:spPr>
      </p:pic>
      <p:pic>
        <p:nvPicPr>
          <p:cNvPr id="3" name="Graphic 2" descr="Checkmark with solid fill">
            <a:extLst>
              <a:ext uri="{FF2B5EF4-FFF2-40B4-BE49-F238E27FC236}">
                <a16:creationId xmlns:a16="http://schemas.microsoft.com/office/drawing/2014/main" id="{8ABE0258-8D13-8966-E144-449AFD611F3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15839" y="1693401"/>
            <a:ext cx="133350" cy="133350"/>
          </a:xfrm>
          <a:prstGeom prst="rect">
            <a:avLst/>
          </a:prstGeom>
        </p:spPr>
      </p:pic>
      <p:pic>
        <p:nvPicPr>
          <p:cNvPr id="5" name="Graphic 4" descr="Checkmark with solid fill">
            <a:extLst>
              <a:ext uri="{FF2B5EF4-FFF2-40B4-BE49-F238E27FC236}">
                <a16:creationId xmlns:a16="http://schemas.microsoft.com/office/drawing/2014/main" id="{61891F6D-012B-493E-9BFD-19A94A8D6DA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898889" y="2115312"/>
            <a:ext cx="133350" cy="133350"/>
          </a:xfrm>
          <a:prstGeom prst="rect">
            <a:avLst/>
          </a:prstGeom>
        </p:spPr>
      </p:pic>
      <p:pic>
        <p:nvPicPr>
          <p:cNvPr id="10" name="Graphic 9" descr="Checkmark with solid fill">
            <a:extLst>
              <a:ext uri="{FF2B5EF4-FFF2-40B4-BE49-F238E27FC236}">
                <a16:creationId xmlns:a16="http://schemas.microsoft.com/office/drawing/2014/main" id="{F79AA5A2-0183-98B3-BADA-BCE634AD633B}"/>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75952" y="2115312"/>
            <a:ext cx="133350" cy="133350"/>
          </a:xfrm>
          <a:prstGeom prst="rect">
            <a:avLst/>
          </a:prstGeom>
        </p:spPr>
      </p:pic>
      <p:pic>
        <p:nvPicPr>
          <p:cNvPr id="14" name="Graphic 13" descr="Checkmark with solid fill">
            <a:extLst>
              <a:ext uri="{FF2B5EF4-FFF2-40B4-BE49-F238E27FC236}">
                <a16:creationId xmlns:a16="http://schemas.microsoft.com/office/drawing/2014/main" id="{D488C4D1-E3DC-22E2-7164-4FBDF867C77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80008" y="2115312"/>
            <a:ext cx="133350" cy="133350"/>
          </a:xfrm>
          <a:prstGeom prst="rect">
            <a:avLst/>
          </a:prstGeom>
        </p:spPr>
      </p:pic>
      <p:pic>
        <p:nvPicPr>
          <p:cNvPr id="15" name="Graphic 14" descr="Checkmark with solid fill">
            <a:extLst>
              <a:ext uri="{FF2B5EF4-FFF2-40B4-BE49-F238E27FC236}">
                <a16:creationId xmlns:a16="http://schemas.microsoft.com/office/drawing/2014/main" id="{0A582803-0831-ABFE-2251-0C4B4ED7D57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13061" y="2886903"/>
            <a:ext cx="133350" cy="133350"/>
          </a:xfrm>
          <a:prstGeom prst="rect">
            <a:avLst/>
          </a:prstGeom>
        </p:spPr>
      </p:pic>
      <p:pic>
        <p:nvPicPr>
          <p:cNvPr id="17" name="Graphic 16" descr="Checkmark with solid fill">
            <a:extLst>
              <a:ext uri="{FF2B5EF4-FFF2-40B4-BE49-F238E27FC236}">
                <a16:creationId xmlns:a16="http://schemas.microsoft.com/office/drawing/2014/main" id="{58B70CF8-1DF1-7482-4040-4C088A5099B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13061" y="3268186"/>
            <a:ext cx="133350" cy="133350"/>
          </a:xfrm>
          <a:prstGeom prst="rect">
            <a:avLst/>
          </a:prstGeom>
        </p:spPr>
      </p:pic>
    </p:spTree>
    <p:extLst>
      <p:ext uri="{BB962C8B-B14F-4D97-AF65-F5344CB8AC3E}">
        <p14:creationId xmlns:p14="http://schemas.microsoft.com/office/powerpoint/2010/main" val="2068874835"/>
      </p:ext>
    </p:extLst>
  </p:cSld>
  <p:clrMapOvr>
    <a:masterClrMapping/>
  </p:clrMapOvr>
  <p:transition>
    <p:fade/>
  </p:transition>
  <p:extLst>
    <p:ext uri="{6950BFC3-D8DA-4A85-94F7-54DA5524770B}">
      <p188:commentRel xmlns:p188="http://schemas.microsoft.com/office/powerpoint/2018/8/main" r:id="rId4"/>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AA5473-3841-299D-969C-BF5DA9FC640B}"/>
              </a:ext>
            </a:extLst>
          </p:cNvPr>
          <p:cNvGraphicFramePr>
            <a:graphicFrameLocks noChangeAspect="1"/>
          </p:cNvGraphicFramePr>
          <p:nvPr>
            <p:custDataLst>
              <p:tags r:id="rId1"/>
            </p:custDataLst>
            <p:extLst>
              <p:ext uri="{D42A27DB-BD31-4B8C-83A1-F6EECF244321}">
                <p14:modId xmlns:p14="http://schemas.microsoft.com/office/powerpoint/2010/main" val="1937579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6BAA5473-3841-299D-969C-BF5DA9FC6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5824CA8-FE02-30A4-CD92-8D8364CA8C3E}"/>
              </a:ext>
            </a:extLst>
          </p:cNvPr>
          <p:cNvSpPr/>
          <p:nvPr/>
        </p:nvSpPr>
        <p:spPr>
          <a:xfrm>
            <a:off x="257175" y="835023"/>
            <a:ext cx="11344275" cy="5394327"/>
          </a:xfrm>
          <a:prstGeom prst="rect">
            <a:avLst/>
          </a:prstGeom>
          <a:solidFill>
            <a:schemeClr val="bg1"/>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Rounded Corners 55">
            <a:extLst>
              <a:ext uri="{FF2B5EF4-FFF2-40B4-BE49-F238E27FC236}">
                <a16:creationId xmlns:a16="http://schemas.microsoft.com/office/drawing/2014/main" id="{C1387C83-2761-6AD6-D19C-618131415388}"/>
              </a:ext>
            </a:extLst>
          </p:cNvPr>
          <p:cNvSpPr/>
          <p:nvPr/>
        </p:nvSpPr>
        <p:spPr bwMode="gray">
          <a:xfrm>
            <a:off x="5229225" y="835023"/>
            <a:ext cx="795528" cy="4723839"/>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Rectangle: Rounded Corners 56">
            <a:extLst>
              <a:ext uri="{FF2B5EF4-FFF2-40B4-BE49-F238E27FC236}">
                <a16:creationId xmlns:a16="http://schemas.microsoft.com/office/drawing/2014/main" id="{05FE62A1-0D72-280C-1963-C28A5754F60F}"/>
              </a:ext>
            </a:extLst>
          </p:cNvPr>
          <p:cNvSpPr/>
          <p:nvPr/>
        </p:nvSpPr>
        <p:spPr bwMode="gray">
          <a:xfrm>
            <a:off x="6016394" y="835023"/>
            <a:ext cx="795528" cy="4723839"/>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8" name="Rectangle: Rounded Corners 57">
            <a:extLst>
              <a:ext uri="{FF2B5EF4-FFF2-40B4-BE49-F238E27FC236}">
                <a16:creationId xmlns:a16="http://schemas.microsoft.com/office/drawing/2014/main" id="{F7C3F2A6-3091-EF1F-083E-F9A164A2A847}"/>
              </a:ext>
            </a:extLst>
          </p:cNvPr>
          <p:cNvSpPr/>
          <p:nvPr/>
        </p:nvSpPr>
        <p:spPr bwMode="gray">
          <a:xfrm>
            <a:off x="6811147" y="835023"/>
            <a:ext cx="795528" cy="4723839"/>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Rectangle: Rounded Corners 58">
            <a:extLst>
              <a:ext uri="{FF2B5EF4-FFF2-40B4-BE49-F238E27FC236}">
                <a16:creationId xmlns:a16="http://schemas.microsoft.com/office/drawing/2014/main" id="{BFBF4CAD-21E4-EB6D-5925-6A25D99097CC}"/>
              </a:ext>
            </a:extLst>
          </p:cNvPr>
          <p:cNvSpPr/>
          <p:nvPr/>
        </p:nvSpPr>
        <p:spPr bwMode="gray">
          <a:xfrm>
            <a:off x="7614211" y="835023"/>
            <a:ext cx="795528" cy="4723839"/>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Rectangle: Rounded Corners 59">
            <a:extLst>
              <a:ext uri="{FF2B5EF4-FFF2-40B4-BE49-F238E27FC236}">
                <a16:creationId xmlns:a16="http://schemas.microsoft.com/office/drawing/2014/main" id="{FE4EEE3B-B440-35C8-D49B-5C5C488CEF84}"/>
              </a:ext>
            </a:extLst>
          </p:cNvPr>
          <p:cNvSpPr/>
          <p:nvPr/>
        </p:nvSpPr>
        <p:spPr bwMode="gray">
          <a:xfrm>
            <a:off x="8405015" y="835023"/>
            <a:ext cx="795528" cy="4723839"/>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Rectangle: Rounded Corners 60">
            <a:extLst>
              <a:ext uri="{FF2B5EF4-FFF2-40B4-BE49-F238E27FC236}">
                <a16:creationId xmlns:a16="http://schemas.microsoft.com/office/drawing/2014/main" id="{38FB60AB-B13E-A3D1-DEE3-0769B2B4BA47}"/>
              </a:ext>
            </a:extLst>
          </p:cNvPr>
          <p:cNvSpPr/>
          <p:nvPr/>
        </p:nvSpPr>
        <p:spPr bwMode="gray">
          <a:xfrm>
            <a:off x="9185841" y="835023"/>
            <a:ext cx="795528" cy="4723839"/>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Rectangle: Rounded Corners 61">
            <a:extLst>
              <a:ext uri="{FF2B5EF4-FFF2-40B4-BE49-F238E27FC236}">
                <a16:creationId xmlns:a16="http://schemas.microsoft.com/office/drawing/2014/main" id="{FBA0A837-287F-B940-96E1-90AFD60217AB}"/>
              </a:ext>
            </a:extLst>
          </p:cNvPr>
          <p:cNvSpPr/>
          <p:nvPr/>
        </p:nvSpPr>
        <p:spPr bwMode="gray">
          <a:xfrm>
            <a:off x="9984486" y="835023"/>
            <a:ext cx="795528" cy="4723839"/>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Rectangle: Rounded Corners 62">
            <a:extLst>
              <a:ext uri="{FF2B5EF4-FFF2-40B4-BE49-F238E27FC236}">
                <a16:creationId xmlns:a16="http://schemas.microsoft.com/office/drawing/2014/main" id="{C89FC82A-60D2-1283-275F-6DBB2ACC3813}"/>
              </a:ext>
            </a:extLst>
          </p:cNvPr>
          <p:cNvSpPr/>
          <p:nvPr/>
        </p:nvSpPr>
        <p:spPr bwMode="gray">
          <a:xfrm>
            <a:off x="10784740" y="835023"/>
            <a:ext cx="795528" cy="4723839"/>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Rectangle: Rounded Corners 50">
            <a:extLst>
              <a:ext uri="{FF2B5EF4-FFF2-40B4-BE49-F238E27FC236}">
                <a16:creationId xmlns:a16="http://schemas.microsoft.com/office/drawing/2014/main" id="{B255D003-3595-5CEA-D94E-640CD0CEE76F}"/>
              </a:ext>
            </a:extLst>
          </p:cNvPr>
          <p:cNvSpPr/>
          <p:nvPr/>
        </p:nvSpPr>
        <p:spPr bwMode="gray">
          <a:xfrm>
            <a:off x="2009775" y="835023"/>
            <a:ext cx="795528" cy="4723839"/>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Rounded Corners 51">
            <a:extLst>
              <a:ext uri="{FF2B5EF4-FFF2-40B4-BE49-F238E27FC236}">
                <a16:creationId xmlns:a16="http://schemas.microsoft.com/office/drawing/2014/main" id="{5C32024F-13DF-0038-0239-4880782EE241}"/>
              </a:ext>
            </a:extLst>
          </p:cNvPr>
          <p:cNvSpPr/>
          <p:nvPr/>
        </p:nvSpPr>
        <p:spPr bwMode="gray">
          <a:xfrm>
            <a:off x="2810091" y="835023"/>
            <a:ext cx="795528" cy="4723839"/>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Rounded Corners 52">
            <a:extLst>
              <a:ext uri="{FF2B5EF4-FFF2-40B4-BE49-F238E27FC236}">
                <a16:creationId xmlns:a16="http://schemas.microsoft.com/office/drawing/2014/main" id="{A56561D4-D136-F658-814F-9E0D4D30C944}"/>
              </a:ext>
            </a:extLst>
          </p:cNvPr>
          <p:cNvSpPr/>
          <p:nvPr/>
        </p:nvSpPr>
        <p:spPr bwMode="gray">
          <a:xfrm>
            <a:off x="3621108" y="835023"/>
            <a:ext cx="795528" cy="4723839"/>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Rectangle: Rounded Corners 53">
            <a:extLst>
              <a:ext uri="{FF2B5EF4-FFF2-40B4-BE49-F238E27FC236}">
                <a16:creationId xmlns:a16="http://schemas.microsoft.com/office/drawing/2014/main" id="{2DC2DFED-EC8F-E6A9-13EB-7009D3A4005B}"/>
              </a:ext>
            </a:extLst>
          </p:cNvPr>
          <p:cNvSpPr/>
          <p:nvPr/>
        </p:nvSpPr>
        <p:spPr bwMode="gray">
          <a:xfrm>
            <a:off x="4425910" y="835023"/>
            <a:ext cx="795528" cy="4723839"/>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Title 2">
            <a:extLst>
              <a:ext uri="{FF2B5EF4-FFF2-40B4-BE49-F238E27FC236}">
                <a16:creationId xmlns:a16="http://schemas.microsoft.com/office/drawing/2014/main" id="{0E4F14CE-0C40-3F5C-CA23-2C1BEE81ACC3}"/>
              </a:ext>
            </a:extLst>
          </p:cNvPr>
          <p:cNvSpPr>
            <a:spLocks noGrp="1"/>
          </p:cNvSpPr>
          <p:nvPr>
            <p:ph type="title"/>
          </p:nvPr>
        </p:nvSpPr>
        <p:spPr>
          <a:xfrm>
            <a:off x="463294" y="417911"/>
            <a:ext cx="11462005" cy="334099"/>
          </a:xfrm>
        </p:spPr>
        <p:txBody>
          <a:bodyPr vert="horz" lIns="0" tIns="0" rIns="0" bIns="0" rtlCol="0" anchor="t" anchorCtr="0">
            <a:noAutofit/>
          </a:bodyPr>
          <a:lstStyle/>
          <a:p>
            <a:r>
              <a:rPr lang="ro-RO" sz="2400" spc="-75" dirty="0" err="1"/>
              <a:t>Map</a:t>
            </a:r>
            <a:r>
              <a:rPr lang="ro-RO" sz="2400" spc="-75" dirty="0"/>
              <a:t> of </a:t>
            </a:r>
            <a:r>
              <a:rPr lang="ro-RO" sz="2400" spc="-75" dirty="0" err="1"/>
              <a:t>Deloitte</a:t>
            </a:r>
            <a:r>
              <a:rPr lang="ro-RO" sz="2400" spc="-75" dirty="0"/>
              <a:t> </a:t>
            </a:r>
            <a:r>
              <a:rPr lang="ro-RO" sz="2400" spc="-75" dirty="0" err="1"/>
              <a:t>experts</a:t>
            </a:r>
            <a:r>
              <a:rPr lang="ro-RO" sz="2400" spc="-75" dirty="0"/>
              <a:t> </a:t>
            </a:r>
            <a:r>
              <a:rPr lang="ro-RO" sz="2400" spc="-75" dirty="0" err="1"/>
              <a:t>by</a:t>
            </a:r>
            <a:r>
              <a:rPr lang="ro-RO" sz="2400" spc="-75" dirty="0"/>
              <a:t> </a:t>
            </a:r>
            <a:r>
              <a:rPr lang="ro-RO" sz="2400" spc="-75" dirty="0" err="1"/>
              <a:t>chapter</a:t>
            </a:r>
            <a:r>
              <a:rPr lang="ro-RO" sz="2400" spc="-75" dirty="0"/>
              <a:t> </a:t>
            </a:r>
            <a:r>
              <a:rPr lang="ro-RO" sz="2400" spc="-75" dirty="0" err="1"/>
              <a:t>relevance</a:t>
            </a:r>
            <a:endParaRPr lang="en-US" sz="2400" spc="-75" dirty="0"/>
          </a:p>
        </p:txBody>
      </p:sp>
      <p:graphicFrame>
        <p:nvGraphicFramePr>
          <p:cNvPr id="4" name="Table 13">
            <a:extLst>
              <a:ext uri="{FF2B5EF4-FFF2-40B4-BE49-F238E27FC236}">
                <a16:creationId xmlns:a16="http://schemas.microsoft.com/office/drawing/2014/main" id="{2B0086CD-550D-B345-D9FD-A708F6F239EE}"/>
              </a:ext>
            </a:extLst>
          </p:cNvPr>
          <p:cNvGraphicFramePr>
            <a:graphicFrameLocks noGrp="1"/>
          </p:cNvGraphicFramePr>
          <p:nvPr>
            <p:extLst>
              <p:ext uri="{D42A27DB-BD31-4B8C-83A1-F6EECF244321}">
                <p14:modId xmlns:p14="http://schemas.microsoft.com/office/powerpoint/2010/main" val="2049271802"/>
              </p:ext>
            </p:extLst>
          </p:nvPr>
        </p:nvGraphicFramePr>
        <p:xfrm>
          <a:off x="590550" y="1120782"/>
          <a:ext cx="10972797" cy="4438080"/>
        </p:xfrm>
        <a:graphic>
          <a:graphicData uri="http://schemas.openxmlformats.org/drawingml/2006/table">
            <a:tbl>
              <a:tblPr firstRow="1" bandRow="1">
                <a:tableStyleId>{5C22544A-7EE6-4342-B048-85BDC9FD1C3A}</a:tableStyleId>
              </a:tblPr>
              <a:tblGrid>
                <a:gridCol w="238125">
                  <a:extLst>
                    <a:ext uri="{9D8B030D-6E8A-4147-A177-3AD203B41FA5}">
                      <a16:colId xmlns:a16="http://schemas.microsoft.com/office/drawing/2014/main" val="3031898452"/>
                    </a:ext>
                  </a:extLst>
                </a:gridCol>
                <a:gridCol w="990600">
                  <a:extLst>
                    <a:ext uri="{9D8B030D-6E8A-4147-A177-3AD203B41FA5}">
                      <a16:colId xmlns:a16="http://schemas.microsoft.com/office/drawing/2014/main" val="2561715093"/>
                    </a:ext>
                  </a:extLst>
                </a:gridCol>
                <a:gridCol w="209550">
                  <a:extLst>
                    <a:ext uri="{9D8B030D-6E8A-4147-A177-3AD203B41FA5}">
                      <a16:colId xmlns:a16="http://schemas.microsoft.com/office/drawing/2014/main" val="542882205"/>
                    </a:ext>
                  </a:extLst>
                </a:gridCol>
                <a:gridCol w="800100">
                  <a:extLst>
                    <a:ext uri="{9D8B030D-6E8A-4147-A177-3AD203B41FA5}">
                      <a16:colId xmlns:a16="http://schemas.microsoft.com/office/drawing/2014/main" val="3489993565"/>
                    </a:ext>
                  </a:extLst>
                </a:gridCol>
                <a:gridCol w="828675">
                  <a:extLst>
                    <a:ext uri="{9D8B030D-6E8A-4147-A177-3AD203B41FA5}">
                      <a16:colId xmlns:a16="http://schemas.microsoft.com/office/drawing/2014/main" val="3950530353"/>
                    </a:ext>
                  </a:extLst>
                </a:gridCol>
                <a:gridCol w="790575">
                  <a:extLst>
                    <a:ext uri="{9D8B030D-6E8A-4147-A177-3AD203B41FA5}">
                      <a16:colId xmlns:a16="http://schemas.microsoft.com/office/drawing/2014/main" val="2999809245"/>
                    </a:ext>
                  </a:extLst>
                </a:gridCol>
                <a:gridCol w="809625">
                  <a:extLst>
                    <a:ext uri="{9D8B030D-6E8A-4147-A177-3AD203B41FA5}">
                      <a16:colId xmlns:a16="http://schemas.microsoft.com/office/drawing/2014/main" val="610721638"/>
                    </a:ext>
                  </a:extLst>
                </a:gridCol>
                <a:gridCol w="790575">
                  <a:extLst>
                    <a:ext uri="{9D8B030D-6E8A-4147-A177-3AD203B41FA5}">
                      <a16:colId xmlns:a16="http://schemas.microsoft.com/office/drawing/2014/main" val="1515996014"/>
                    </a:ext>
                  </a:extLst>
                </a:gridCol>
                <a:gridCol w="781050">
                  <a:extLst>
                    <a:ext uri="{9D8B030D-6E8A-4147-A177-3AD203B41FA5}">
                      <a16:colId xmlns:a16="http://schemas.microsoft.com/office/drawing/2014/main" val="2095918558"/>
                    </a:ext>
                  </a:extLst>
                </a:gridCol>
                <a:gridCol w="771525">
                  <a:extLst>
                    <a:ext uri="{9D8B030D-6E8A-4147-A177-3AD203B41FA5}">
                      <a16:colId xmlns:a16="http://schemas.microsoft.com/office/drawing/2014/main" val="3654228693"/>
                    </a:ext>
                  </a:extLst>
                </a:gridCol>
                <a:gridCol w="828675">
                  <a:extLst>
                    <a:ext uri="{9D8B030D-6E8A-4147-A177-3AD203B41FA5}">
                      <a16:colId xmlns:a16="http://schemas.microsoft.com/office/drawing/2014/main" val="78615181"/>
                    </a:ext>
                  </a:extLst>
                </a:gridCol>
                <a:gridCol w="771525">
                  <a:extLst>
                    <a:ext uri="{9D8B030D-6E8A-4147-A177-3AD203B41FA5}">
                      <a16:colId xmlns:a16="http://schemas.microsoft.com/office/drawing/2014/main" val="99988573"/>
                    </a:ext>
                  </a:extLst>
                </a:gridCol>
                <a:gridCol w="809625">
                  <a:extLst>
                    <a:ext uri="{9D8B030D-6E8A-4147-A177-3AD203B41FA5}">
                      <a16:colId xmlns:a16="http://schemas.microsoft.com/office/drawing/2014/main" val="146574628"/>
                    </a:ext>
                  </a:extLst>
                </a:gridCol>
                <a:gridCol w="800100">
                  <a:extLst>
                    <a:ext uri="{9D8B030D-6E8A-4147-A177-3AD203B41FA5}">
                      <a16:colId xmlns:a16="http://schemas.microsoft.com/office/drawing/2014/main" val="3379978656"/>
                    </a:ext>
                  </a:extLst>
                </a:gridCol>
                <a:gridCol w="752472">
                  <a:extLst>
                    <a:ext uri="{9D8B030D-6E8A-4147-A177-3AD203B41FA5}">
                      <a16:colId xmlns:a16="http://schemas.microsoft.com/office/drawing/2014/main" val="2698975164"/>
                    </a:ext>
                  </a:extLst>
                </a:gridCol>
              </a:tblGrid>
              <a:tr h="524184">
                <a:tc>
                  <a:txBody>
                    <a:bodyPr/>
                    <a:lstStyle/>
                    <a:p>
                      <a:pPr algn="r" rtl="0" fontAlgn="ctr"/>
                      <a:endParaRPr lang="en-US" sz="800" b="0"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ro-RO" sz="800" b="0" i="1"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ame</a:t>
                      </a:r>
                      <a:endParaRPr lang="en-US" sz="800" b="0" i="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ro-RO" sz="800" b="0" i="1"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Pg</a:t>
                      </a:r>
                      <a:r>
                        <a:rPr lang="ro-RO" sz="800" b="0" i="1"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a:t>
                      </a:r>
                      <a:endParaRPr lang="en-US" sz="800" b="0" i="1"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Technology Consulting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Data and Analytics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Process</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Improvement</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Design and User Experience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upport and Maintenance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trategy Consulting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Project Management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Organizational change management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Management Advisory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Human resources consulting service</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Instructional Design </a:t>
                      </a:r>
                      <a:endPar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ervices</a:t>
                      </a:r>
                    </a:p>
                    <a:p>
                      <a:pPr marL="0" algn="l" defTabSz="685800" rtl="0" eaLnBrk="1" latinLnBrk="0" hangingPunct="1"/>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Risk</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amp; </a:t>
                      </a: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Compliance</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9275019"/>
                  </a:ext>
                </a:extLst>
              </a:tr>
              <a:tr h="181621">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leš Zenáhlík</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ro-RO"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4055033"/>
                  </a:ext>
                </a:extLst>
              </a:tr>
              <a:tr h="181621">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sányi Mátyá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073390"/>
                  </a:ext>
                </a:extLst>
              </a:tr>
              <a:tr h="181621">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áspár Tímea</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850995"/>
                  </a:ext>
                </a:extLst>
              </a:tr>
              <a:tr h="181621">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énes </a:t>
                      </a: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Horvát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883485"/>
                  </a:ext>
                </a:extLst>
              </a:tr>
              <a:tr h="181621">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Katalin</a:t>
                      </a: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K</a:t>
                      </a: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s-Nagy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901565"/>
                  </a:ext>
                </a:extLst>
              </a:tr>
              <a:tr h="181621">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tej Marčišin</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623407"/>
                  </a:ext>
                </a:extLst>
              </a:tr>
              <a:tr h="181621">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iotr Laska</a:t>
                      </a:r>
                      <a:endPar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2229621"/>
                  </a:ext>
                </a:extLst>
              </a:tr>
              <a:tr h="181621">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SL</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evente</a:t>
                      </a: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Tót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5515617"/>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SL</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Zoltán</a:t>
                      </a: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Vida</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5774093"/>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L</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Viktor Prešovský</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113680"/>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L</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ence</a:t>
                      </a: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selmann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230679"/>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L</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amás</a:t>
                      </a:r>
                      <a:r>
                        <a:rPr lang="hu-HU"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Török</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374927"/>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L</a:t>
                      </a:r>
                      <a:endPar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ominik Hycn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456316"/>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L</a:t>
                      </a:r>
                      <a:endPar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ominik Zmitrowicz</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9155256"/>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L</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ro-RO"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dr</a:t>
                      </a: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ás </a:t>
                      </a: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ische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3374158"/>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Kamil Stafiniak</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4084695"/>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rek Toczko</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33031"/>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rtin Angelov</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864118"/>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afajlovics Márko</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7361695"/>
                  </a:ext>
                </a:extLst>
              </a:tr>
              <a:tr h="181621">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M</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757201"/>
                  </a:ext>
                </a:extLst>
              </a:tr>
            </a:tbl>
          </a:graphicData>
        </a:graphic>
      </p:graphicFrame>
      <p:grpSp>
        <p:nvGrpSpPr>
          <p:cNvPr id="9" name="Group 8">
            <a:extLst>
              <a:ext uri="{FF2B5EF4-FFF2-40B4-BE49-F238E27FC236}">
                <a16:creationId xmlns:a16="http://schemas.microsoft.com/office/drawing/2014/main" id="{A672D4A7-D6BF-6D88-04CB-35DADAA3DD07}"/>
              </a:ext>
            </a:extLst>
          </p:cNvPr>
          <p:cNvGrpSpPr/>
          <p:nvPr/>
        </p:nvGrpSpPr>
        <p:grpSpPr>
          <a:xfrm>
            <a:off x="10020300" y="926506"/>
            <a:ext cx="168235" cy="168236"/>
            <a:chOff x="2990850" y="417911"/>
            <a:chExt cx="417112" cy="417112"/>
          </a:xfrm>
        </p:grpSpPr>
        <p:sp>
          <p:nvSpPr>
            <p:cNvPr id="6" name="Flowchart: Connector 5">
              <a:extLst>
                <a:ext uri="{FF2B5EF4-FFF2-40B4-BE49-F238E27FC236}">
                  <a16:creationId xmlns:a16="http://schemas.microsoft.com/office/drawing/2014/main" id="{3D55D9DB-15A3-0EFB-1E00-1FB847F4D72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7" name="TextBox 6">
              <a:extLst>
                <a:ext uri="{FF2B5EF4-FFF2-40B4-BE49-F238E27FC236}">
                  <a16:creationId xmlns:a16="http://schemas.microsoft.com/office/drawing/2014/main" id="{9C233E43-E8BF-04F1-A954-2900716EC988}"/>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 name="Group 10">
            <a:extLst>
              <a:ext uri="{FF2B5EF4-FFF2-40B4-BE49-F238E27FC236}">
                <a16:creationId xmlns:a16="http://schemas.microsoft.com/office/drawing/2014/main" id="{402CE7D1-9C09-9ABC-DEC0-2CC1400A0F5A}"/>
              </a:ext>
            </a:extLst>
          </p:cNvPr>
          <p:cNvGrpSpPr/>
          <p:nvPr/>
        </p:nvGrpSpPr>
        <p:grpSpPr>
          <a:xfrm>
            <a:off x="10820400" y="926506"/>
            <a:ext cx="168235" cy="168236"/>
            <a:chOff x="2990850" y="417911"/>
            <a:chExt cx="417112" cy="417112"/>
          </a:xfrm>
        </p:grpSpPr>
        <p:sp>
          <p:nvSpPr>
            <p:cNvPr id="12" name="Flowchart: Connector 11">
              <a:extLst>
                <a:ext uri="{FF2B5EF4-FFF2-40B4-BE49-F238E27FC236}">
                  <a16:creationId xmlns:a16="http://schemas.microsoft.com/office/drawing/2014/main" id="{81461D00-51FE-2483-F597-7C276FCE0CC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13" name="TextBox 12">
              <a:extLst>
                <a:ext uri="{FF2B5EF4-FFF2-40B4-BE49-F238E27FC236}">
                  <a16:creationId xmlns:a16="http://schemas.microsoft.com/office/drawing/2014/main" id="{70B6AB9B-49EC-36DE-95A5-087B6F78E4F7}"/>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55AA9950-01CE-C541-DA61-26B4B9F646BF}"/>
              </a:ext>
            </a:extLst>
          </p:cNvPr>
          <p:cNvGrpSpPr/>
          <p:nvPr/>
        </p:nvGrpSpPr>
        <p:grpSpPr>
          <a:xfrm>
            <a:off x="2009775" y="926506"/>
            <a:ext cx="168235" cy="168236"/>
            <a:chOff x="2990850" y="417911"/>
            <a:chExt cx="417112" cy="417112"/>
          </a:xfrm>
        </p:grpSpPr>
        <p:sp>
          <p:nvSpPr>
            <p:cNvPr id="21" name="Flowchart: Connector 20">
              <a:extLst>
                <a:ext uri="{FF2B5EF4-FFF2-40B4-BE49-F238E27FC236}">
                  <a16:creationId xmlns:a16="http://schemas.microsoft.com/office/drawing/2014/main" id="{1ACFAD3D-5F61-7BCC-226D-94CC879AA3D5}"/>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3" name="TextBox 22">
              <a:extLst>
                <a:ext uri="{FF2B5EF4-FFF2-40B4-BE49-F238E27FC236}">
                  <a16:creationId xmlns:a16="http://schemas.microsoft.com/office/drawing/2014/main" id="{E7B63EFF-C324-26D7-F23A-67EE2FCEC7F6}"/>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 23">
            <a:extLst>
              <a:ext uri="{FF2B5EF4-FFF2-40B4-BE49-F238E27FC236}">
                <a16:creationId xmlns:a16="http://schemas.microsoft.com/office/drawing/2014/main" id="{C8FE6E1A-2160-75B9-784E-7F244A2BDD36}"/>
              </a:ext>
            </a:extLst>
          </p:cNvPr>
          <p:cNvGrpSpPr/>
          <p:nvPr/>
        </p:nvGrpSpPr>
        <p:grpSpPr>
          <a:xfrm>
            <a:off x="2838450" y="926506"/>
            <a:ext cx="168235" cy="168236"/>
            <a:chOff x="2990850" y="417911"/>
            <a:chExt cx="417112" cy="417112"/>
          </a:xfrm>
        </p:grpSpPr>
        <p:sp>
          <p:nvSpPr>
            <p:cNvPr id="25" name="Flowchart: Connector 24">
              <a:extLst>
                <a:ext uri="{FF2B5EF4-FFF2-40B4-BE49-F238E27FC236}">
                  <a16:creationId xmlns:a16="http://schemas.microsoft.com/office/drawing/2014/main" id="{25ECB68E-EE33-F729-C88F-C30FEA879E92}"/>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6" name="TextBox 25">
              <a:extLst>
                <a:ext uri="{FF2B5EF4-FFF2-40B4-BE49-F238E27FC236}">
                  <a16:creationId xmlns:a16="http://schemas.microsoft.com/office/drawing/2014/main" id="{5E7DE4DE-561A-6EF7-FCB9-8C8030018D7D}"/>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 name="Group 26">
            <a:extLst>
              <a:ext uri="{FF2B5EF4-FFF2-40B4-BE49-F238E27FC236}">
                <a16:creationId xmlns:a16="http://schemas.microsoft.com/office/drawing/2014/main" id="{4C9BB761-E036-455D-87A3-E83BD9EBE214}"/>
              </a:ext>
            </a:extLst>
          </p:cNvPr>
          <p:cNvGrpSpPr/>
          <p:nvPr/>
        </p:nvGrpSpPr>
        <p:grpSpPr>
          <a:xfrm>
            <a:off x="3667125" y="926506"/>
            <a:ext cx="168235" cy="168236"/>
            <a:chOff x="2990850" y="417911"/>
            <a:chExt cx="417112" cy="417112"/>
          </a:xfrm>
        </p:grpSpPr>
        <p:sp>
          <p:nvSpPr>
            <p:cNvPr id="28" name="Flowchart: Connector 27">
              <a:extLst>
                <a:ext uri="{FF2B5EF4-FFF2-40B4-BE49-F238E27FC236}">
                  <a16:creationId xmlns:a16="http://schemas.microsoft.com/office/drawing/2014/main" id="{7E62376B-06E4-2480-334A-2B9FF9B90AED}"/>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9" name="TextBox 28">
              <a:extLst>
                <a:ext uri="{FF2B5EF4-FFF2-40B4-BE49-F238E27FC236}">
                  <a16:creationId xmlns:a16="http://schemas.microsoft.com/office/drawing/2014/main" id="{A1592A4B-F689-B4AF-5B4D-345FE18C185C}"/>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oup 29">
            <a:extLst>
              <a:ext uri="{FF2B5EF4-FFF2-40B4-BE49-F238E27FC236}">
                <a16:creationId xmlns:a16="http://schemas.microsoft.com/office/drawing/2014/main" id="{D1E45DE1-AC5C-1151-8F2D-513166227BE8}"/>
              </a:ext>
            </a:extLst>
          </p:cNvPr>
          <p:cNvGrpSpPr/>
          <p:nvPr/>
        </p:nvGrpSpPr>
        <p:grpSpPr>
          <a:xfrm>
            <a:off x="4448175" y="926506"/>
            <a:ext cx="168235" cy="168236"/>
            <a:chOff x="2990850" y="417911"/>
            <a:chExt cx="417112" cy="417112"/>
          </a:xfrm>
        </p:grpSpPr>
        <p:sp>
          <p:nvSpPr>
            <p:cNvPr id="31" name="Flowchart: Connector 30">
              <a:extLst>
                <a:ext uri="{FF2B5EF4-FFF2-40B4-BE49-F238E27FC236}">
                  <a16:creationId xmlns:a16="http://schemas.microsoft.com/office/drawing/2014/main" id="{1D927B5E-9F6E-38EA-E3B4-255208778475}"/>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2" name="TextBox 31">
              <a:extLst>
                <a:ext uri="{FF2B5EF4-FFF2-40B4-BE49-F238E27FC236}">
                  <a16:creationId xmlns:a16="http://schemas.microsoft.com/office/drawing/2014/main" id="{AEA84AC5-6A34-CDA0-BE78-3951A3BD1761}"/>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32">
            <a:extLst>
              <a:ext uri="{FF2B5EF4-FFF2-40B4-BE49-F238E27FC236}">
                <a16:creationId xmlns:a16="http://schemas.microsoft.com/office/drawing/2014/main" id="{974B55EF-EE14-3051-5586-BCCB9EF648F9}"/>
              </a:ext>
            </a:extLst>
          </p:cNvPr>
          <p:cNvGrpSpPr/>
          <p:nvPr/>
        </p:nvGrpSpPr>
        <p:grpSpPr>
          <a:xfrm>
            <a:off x="5267325" y="926506"/>
            <a:ext cx="168235" cy="168236"/>
            <a:chOff x="2990850" y="417911"/>
            <a:chExt cx="417112" cy="417112"/>
          </a:xfrm>
        </p:grpSpPr>
        <p:sp>
          <p:nvSpPr>
            <p:cNvPr id="34" name="Flowchart: Connector 33">
              <a:extLst>
                <a:ext uri="{FF2B5EF4-FFF2-40B4-BE49-F238E27FC236}">
                  <a16:creationId xmlns:a16="http://schemas.microsoft.com/office/drawing/2014/main" id="{2BDC5F65-22CF-BF76-6AFA-E5BA5293BA9D}"/>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5" name="TextBox 34">
              <a:extLst>
                <a:ext uri="{FF2B5EF4-FFF2-40B4-BE49-F238E27FC236}">
                  <a16:creationId xmlns:a16="http://schemas.microsoft.com/office/drawing/2014/main" id="{B2E4A31E-640F-8633-DCD2-445891F230B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35">
            <a:extLst>
              <a:ext uri="{FF2B5EF4-FFF2-40B4-BE49-F238E27FC236}">
                <a16:creationId xmlns:a16="http://schemas.microsoft.com/office/drawing/2014/main" id="{F4AD52F9-1823-79CB-10DA-5B49C8F6FCCE}"/>
              </a:ext>
            </a:extLst>
          </p:cNvPr>
          <p:cNvGrpSpPr/>
          <p:nvPr/>
        </p:nvGrpSpPr>
        <p:grpSpPr>
          <a:xfrm>
            <a:off x="6049982" y="926506"/>
            <a:ext cx="168235" cy="168236"/>
            <a:chOff x="2990850" y="417911"/>
            <a:chExt cx="417112" cy="417112"/>
          </a:xfrm>
        </p:grpSpPr>
        <p:sp>
          <p:nvSpPr>
            <p:cNvPr id="37" name="Flowchart: Connector 36">
              <a:extLst>
                <a:ext uri="{FF2B5EF4-FFF2-40B4-BE49-F238E27FC236}">
                  <a16:creationId xmlns:a16="http://schemas.microsoft.com/office/drawing/2014/main" id="{6F90A3C0-B8EC-D4A3-CF3B-107FCC559AA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8" name="TextBox 37">
              <a:extLst>
                <a:ext uri="{FF2B5EF4-FFF2-40B4-BE49-F238E27FC236}">
                  <a16:creationId xmlns:a16="http://schemas.microsoft.com/office/drawing/2014/main" id="{824491EA-58F6-BA83-F042-9EAE90FBC37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 name="Group 38">
            <a:extLst>
              <a:ext uri="{FF2B5EF4-FFF2-40B4-BE49-F238E27FC236}">
                <a16:creationId xmlns:a16="http://schemas.microsoft.com/office/drawing/2014/main" id="{321ECD8D-C192-0AA5-D667-911F651E78B4}"/>
              </a:ext>
            </a:extLst>
          </p:cNvPr>
          <p:cNvGrpSpPr/>
          <p:nvPr/>
        </p:nvGrpSpPr>
        <p:grpSpPr>
          <a:xfrm>
            <a:off x="6840557" y="926506"/>
            <a:ext cx="168235" cy="168236"/>
            <a:chOff x="2990850" y="417911"/>
            <a:chExt cx="417112" cy="417112"/>
          </a:xfrm>
        </p:grpSpPr>
        <p:sp>
          <p:nvSpPr>
            <p:cNvPr id="40" name="Flowchart: Connector 39">
              <a:extLst>
                <a:ext uri="{FF2B5EF4-FFF2-40B4-BE49-F238E27FC236}">
                  <a16:creationId xmlns:a16="http://schemas.microsoft.com/office/drawing/2014/main" id="{11F07772-AE83-4AC3-1523-E14266BCD318}"/>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1" name="TextBox 40">
              <a:extLst>
                <a:ext uri="{FF2B5EF4-FFF2-40B4-BE49-F238E27FC236}">
                  <a16:creationId xmlns:a16="http://schemas.microsoft.com/office/drawing/2014/main" id="{9D8B5B67-4903-EE41-29AC-30C2BB4CBB7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1B191207-1FD6-44AA-A5A8-A9769167388B}"/>
              </a:ext>
            </a:extLst>
          </p:cNvPr>
          <p:cNvGrpSpPr/>
          <p:nvPr/>
        </p:nvGrpSpPr>
        <p:grpSpPr>
          <a:xfrm>
            <a:off x="7640657" y="926506"/>
            <a:ext cx="168235" cy="168236"/>
            <a:chOff x="2990850" y="417911"/>
            <a:chExt cx="417112" cy="417112"/>
          </a:xfrm>
        </p:grpSpPr>
        <p:sp>
          <p:nvSpPr>
            <p:cNvPr id="43" name="Flowchart: Connector 42">
              <a:extLst>
                <a:ext uri="{FF2B5EF4-FFF2-40B4-BE49-F238E27FC236}">
                  <a16:creationId xmlns:a16="http://schemas.microsoft.com/office/drawing/2014/main" id="{A68A0744-42BD-5D69-B569-0223C9A1E19F}"/>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4" name="TextBox 43">
              <a:extLst>
                <a:ext uri="{FF2B5EF4-FFF2-40B4-BE49-F238E27FC236}">
                  <a16:creationId xmlns:a16="http://schemas.microsoft.com/office/drawing/2014/main" id="{E7E37CBD-65F2-4658-4B09-0A506F0F0B8B}"/>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44">
            <a:extLst>
              <a:ext uri="{FF2B5EF4-FFF2-40B4-BE49-F238E27FC236}">
                <a16:creationId xmlns:a16="http://schemas.microsoft.com/office/drawing/2014/main" id="{76CC9FC8-B73F-A6EC-20FE-79A7DB6EF276}"/>
              </a:ext>
            </a:extLst>
          </p:cNvPr>
          <p:cNvGrpSpPr/>
          <p:nvPr/>
        </p:nvGrpSpPr>
        <p:grpSpPr>
          <a:xfrm>
            <a:off x="8440757" y="926506"/>
            <a:ext cx="168235" cy="168236"/>
            <a:chOff x="2990850" y="417911"/>
            <a:chExt cx="417112" cy="417112"/>
          </a:xfrm>
        </p:grpSpPr>
        <p:sp>
          <p:nvSpPr>
            <p:cNvPr id="46" name="Flowchart: Connector 45">
              <a:extLst>
                <a:ext uri="{FF2B5EF4-FFF2-40B4-BE49-F238E27FC236}">
                  <a16:creationId xmlns:a16="http://schemas.microsoft.com/office/drawing/2014/main" id="{998FB8F8-D08F-2315-CEE2-756A14AE2B48}"/>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7" name="TextBox 46">
              <a:extLst>
                <a:ext uri="{FF2B5EF4-FFF2-40B4-BE49-F238E27FC236}">
                  <a16:creationId xmlns:a16="http://schemas.microsoft.com/office/drawing/2014/main" id="{5FC24374-38D2-CB29-EBFB-682784765E99}"/>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47">
            <a:extLst>
              <a:ext uri="{FF2B5EF4-FFF2-40B4-BE49-F238E27FC236}">
                <a16:creationId xmlns:a16="http://schemas.microsoft.com/office/drawing/2014/main" id="{9121892C-748C-DDB5-684C-0FCC70D23667}"/>
              </a:ext>
            </a:extLst>
          </p:cNvPr>
          <p:cNvGrpSpPr/>
          <p:nvPr/>
        </p:nvGrpSpPr>
        <p:grpSpPr>
          <a:xfrm>
            <a:off x="9218592" y="926506"/>
            <a:ext cx="168235" cy="168236"/>
            <a:chOff x="2990850" y="417911"/>
            <a:chExt cx="417112" cy="417112"/>
          </a:xfrm>
        </p:grpSpPr>
        <p:sp>
          <p:nvSpPr>
            <p:cNvPr id="49" name="Flowchart: Connector 48">
              <a:extLst>
                <a:ext uri="{FF2B5EF4-FFF2-40B4-BE49-F238E27FC236}">
                  <a16:creationId xmlns:a16="http://schemas.microsoft.com/office/drawing/2014/main" id="{4FBD62CC-0FFD-21A9-DC22-39DB226706EE}"/>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50" name="TextBox 49">
              <a:extLst>
                <a:ext uri="{FF2B5EF4-FFF2-40B4-BE49-F238E27FC236}">
                  <a16:creationId xmlns:a16="http://schemas.microsoft.com/office/drawing/2014/main" id="{EED0AB80-5982-80C0-C1BF-6772F76184E8}"/>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 name="Group 21">
            <a:extLst>
              <a:ext uri="{FF2B5EF4-FFF2-40B4-BE49-F238E27FC236}">
                <a16:creationId xmlns:a16="http://schemas.microsoft.com/office/drawing/2014/main" id="{24333780-88B5-14C4-8A63-ABF9BF04C4CB}"/>
              </a:ext>
            </a:extLst>
          </p:cNvPr>
          <p:cNvGrpSpPr/>
          <p:nvPr/>
        </p:nvGrpSpPr>
        <p:grpSpPr>
          <a:xfrm>
            <a:off x="4737244" y="6498172"/>
            <a:ext cx="7335541" cy="155443"/>
            <a:chOff x="1956681" y="6599402"/>
            <a:chExt cx="7335541" cy="155443"/>
          </a:xfrm>
        </p:grpSpPr>
        <p:sp>
          <p:nvSpPr>
            <p:cNvPr id="55" name="TextBox 54">
              <a:extLst>
                <a:ext uri="{FF2B5EF4-FFF2-40B4-BE49-F238E27FC236}">
                  <a16:creationId xmlns:a16="http://schemas.microsoft.com/office/drawing/2014/main" id="{A7078264-26F9-7621-FFBE-843101C97E06}"/>
                </a:ext>
              </a:extLst>
            </p:cNvPr>
            <p:cNvSpPr txBox="1"/>
            <p:nvPr/>
          </p:nvSpPr>
          <p:spPr>
            <a:xfrm>
              <a:off x="1956681" y="6600957"/>
              <a:ext cx="973666"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P </a:t>
              </a:r>
              <a:r>
                <a:rPr lang="ro-RO" sz="1000" dirty="0">
                  <a:solidFill>
                    <a:srgbClr val="313131"/>
                  </a:solidFill>
                </a:rPr>
                <a:t>- </a:t>
              </a:r>
              <a:r>
                <a:rPr lang="ro-RO" sz="1000" i="1" dirty="0" err="1">
                  <a:solidFill>
                    <a:srgbClr val="313131"/>
                  </a:solidFill>
                </a:rPr>
                <a:t>Partner</a:t>
              </a:r>
              <a:r>
                <a:rPr lang="ro-RO" sz="1000" i="1" dirty="0">
                  <a:solidFill>
                    <a:srgbClr val="313131"/>
                  </a:solidFill>
                </a:rPr>
                <a:t> </a:t>
              </a:r>
              <a:endParaRPr lang="en-US" sz="1000" i="1" dirty="0">
                <a:solidFill>
                  <a:srgbClr val="313131"/>
                </a:solidFill>
              </a:endParaRPr>
            </a:p>
          </p:txBody>
        </p:sp>
        <p:sp>
          <p:nvSpPr>
            <p:cNvPr id="64" name="TextBox 63">
              <a:extLst>
                <a:ext uri="{FF2B5EF4-FFF2-40B4-BE49-F238E27FC236}">
                  <a16:creationId xmlns:a16="http://schemas.microsoft.com/office/drawing/2014/main" id="{E0F27592-E635-B5BD-46F1-E760886F3456}"/>
                </a:ext>
              </a:extLst>
            </p:cNvPr>
            <p:cNvSpPr txBox="1"/>
            <p:nvPr/>
          </p:nvSpPr>
          <p:spPr>
            <a:xfrm>
              <a:off x="2683416" y="6600957"/>
              <a:ext cx="795528"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D </a:t>
              </a:r>
              <a:r>
                <a:rPr lang="ro-RO" sz="1000" dirty="0">
                  <a:solidFill>
                    <a:srgbClr val="313131"/>
                  </a:solidFill>
                </a:rPr>
                <a:t>- </a:t>
              </a:r>
              <a:r>
                <a:rPr lang="ro-RO" sz="1000" i="1" dirty="0">
                  <a:solidFill>
                    <a:srgbClr val="313131"/>
                  </a:solidFill>
                </a:rPr>
                <a:t>Director</a:t>
              </a:r>
              <a:endParaRPr lang="en-US" sz="1000" i="1" dirty="0">
                <a:solidFill>
                  <a:srgbClr val="313131"/>
                </a:solidFill>
              </a:endParaRPr>
            </a:p>
          </p:txBody>
        </p:sp>
        <p:sp>
          <p:nvSpPr>
            <p:cNvPr id="65" name="TextBox 64">
              <a:extLst>
                <a:ext uri="{FF2B5EF4-FFF2-40B4-BE49-F238E27FC236}">
                  <a16:creationId xmlns:a16="http://schemas.microsoft.com/office/drawing/2014/main" id="{DBF72A4C-018F-44E1-7999-9C8E34694B30}"/>
                </a:ext>
              </a:extLst>
            </p:cNvPr>
            <p:cNvSpPr txBox="1"/>
            <p:nvPr/>
          </p:nvSpPr>
          <p:spPr>
            <a:xfrm>
              <a:off x="3478944" y="6600957"/>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SM </a:t>
              </a:r>
              <a:r>
                <a:rPr lang="ro-RO" sz="1000" dirty="0">
                  <a:solidFill>
                    <a:srgbClr val="313131"/>
                  </a:solidFill>
                </a:rPr>
                <a:t>- </a:t>
              </a:r>
              <a:r>
                <a:rPr lang="ro-RO" sz="1000" i="1" dirty="0">
                  <a:solidFill>
                    <a:srgbClr val="313131"/>
                  </a:solidFill>
                </a:rPr>
                <a:t>Senior Manager</a:t>
              </a:r>
              <a:endParaRPr lang="en-US" sz="1000" i="1" dirty="0">
                <a:solidFill>
                  <a:srgbClr val="313131"/>
                </a:solidFill>
              </a:endParaRPr>
            </a:p>
          </p:txBody>
        </p:sp>
        <p:sp>
          <p:nvSpPr>
            <p:cNvPr id="66" name="TextBox 65">
              <a:extLst>
                <a:ext uri="{FF2B5EF4-FFF2-40B4-BE49-F238E27FC236}">
                  <a16:creationId xmlns:a16="http://schemas.microsoft.com/office/drawing/2014/main" id="{A535E2CA-C146-39F5-3464-3E04B5DF1B70}"/>
                </a:ext>
              </a:extLst>
            </p:cNvPr>
            <p:cNvSpPr txBox="1"/>
            <p:nvPr/>
          </p:nvSpPr>
          <p:spPr>
            <a:xfrm>
              <a:off x="4828500" y="6600957"/>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M </a:t>
              </a:r>
              <a:r>
                <a:rPr lang="ro-RO" sz="1000" dirty="0">
                  <a:solidFill>
                    <a:srgbClr val="313131"/>
                  </a:solidFill>
                </a:rPr>
                <a:t>- </a:t>
              </a:r>
              <a:r>
                <a:rPr lang="ro-RO" sz="1000" i="1" dirty="0">
                  <a:solidFill>
                    <a:srgbClr val="313131"/>
                  </a:solidFill>
                </a:rPr>
                <a:t>Manager</a:t>
              </a:r>
              <a:endParaRPr lang="en-US" sz="1000" i="1" dirty="0">
                <a:solidFill>
                  <a:srgbClr val="313131"/>
                </a:solidFill>
              </a:endParaRPr>
            </a:p>
          </p:txBody>
        </p:sp>
        <p:sp>
          <p:nvSpPr>
            <p:cNvPr id="67" name="TextBox 66">
              <a:extLst>
                <a:ext uri="{FF2B5EF4-FFF2-40B4-BE49-F238E27FC236}">
                  <a16:creationId xmlns:a16="http://schemas.microsoft.com/office/drawing/2014/main" id="{23462C43-6D04-9044-5145-563F25ACD163}"/>
                </a:ext>
              </a:extLst>
            </p:cNvPr>
            <p:cNvSpPr txBox="1"/>
            <p:nvPr/>
          </p:nvSpPr>
          <p:spPr>
            <a:xfrm>
              <a:off x="5771326"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SC</a:t>
              </a:r>
              <a:r>
                <a:rPr lang="ro-RO" sz="1000" dirty="0">
                  <a:solidFill>
                    <a:srgbClr val="313131"/>
                  </a:solidFill>
                </a:rPr>
                <a:t> - </a:t>
              </a:r>
              <a:r>
                <a:rPr lang="ro-RO" sz="1000" i="1" dirty="0">
                  <a:solidFill>
                    <a:srgbClr val="313131"/>
                  </a:solidFill>
                </a:rPr>
                <a:t>Senior Consultant </a:t>
              </a:r>
              <a:endParaRPr lang="en-US" sz="1000" i="1" dirty="0">
                <a:solidFill>
                  <a:srgbClr val="313131"/>
                </a:solidFill>
              </a:endParaRPr>
            </a:p>
          </p:txBody>
        </p:sp>
        <p:sp>
          <p:nvSpPr>
            <p:cNvPr id="68" name="TextBox 67">
              <a:extLst>
                <a:ext uri="{FF2B5EF4-FFF2-40B4-BE49-F238E27FC236}">
                  <a16:creationId xmlns:a16="http://schemas.microsoft.com/office/drawing/2014/main" id="{5CCBEB6B-9B7F-8B71-2BB5-665EF20E0412}"/>
                </a:ext>
              </a:extLst>
            </p:cNvPr>
            <p:cNvSpPr txBox="1"/>
            <p:nvPr/>
          </p:nvSpPr>
          <p:spPr>
            <a:xfrm>
              <a:off x="7110517"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C </a:t>
              </a:r>
              <a:r>
                <a:rPr lang="ro-RO" sz="1000" b="1" dirty="0">
                  <a:solidFill>
                    <a:srgbClr val="313131"/>
                  </a:solidFill>
                </a:rPr>
                <a:t>- </a:t>
              </a:r>
              <a:r>
                <a:rPr lang="ro-RO" sz="1000" i="1" dirty="0">
                  <a:solidFill>
                    <a:srgbClr val="313131"/>
                  </a:solidFill>
                </a:rPr>
                <a:t>Consultant </a:t>
              </a:r>
              <a:endParaRPr lang="en-US" sz="1000" i="1" dirty="0">
                <a:solidFill>
                  <a:srgbClr val="313131"/>
                </a:solidFill>
              </a:endParaRPr>
            </a:p>
          </p:txBody>
        </p:sp>
        <p:sp>
          <p:nvSpPr>
            <p:cNvPr id="69" name="TextBox 68">
              <a:extLst>
                <a:ext uri="{FF2B5EF4-FFF2-40B4-BE49-F238E27FC236}">
                  <a16:creationId xmlns:a16="http://schemas.microsoft.com/office/drawing/2014/main" id="{A0460969-40E4-0621-B894-F3C72084C7F8}"/>
                </a:ext>
              </a:extLst>
            </p:cNvPr>
            <p:cNvSpPr txBox="1"/>
            <p:nvPr/>
          </p:nvSpPr>
          <p:spPr>
            <a:xfrm>
              <a:off x="8063708"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A </a:t>
              </a:r>
              <a:r>
                <a:rPr lang="ro-RO" sz="1000" b="1" dirty="0">
                  <a:solidFill>
                    <a:srgbClr val="313131"/>
                  </a:solidFill>
                </a:rPr>
                <a:t>- </a:t>
              </a:r>
              <a:r>
                <a:rPr lang="ro-RO" sz="1000" i="1" dirty="0" err="1">
                  <a:solidFill>
                    <a:srgbClr val="313131"/>
                  </a:solidFill>
                </a:rPr>
                <a:t>Analyst</a:t>
              </a:r>
              <a:endParaRPr lang="en-US" sz="1000" i="1" dirty="0">
                <a:solidFill>
                  <a:srgbClr val="313131"/>
                </a:solidFill>
              </a:endParaRPr>
            </a:p>
          </p:txBody>
        </p:sp>
      </p:grpSp>
      <p:pic>
        <p:nvPicPr>
          <p:cNvPr id="70" name="Graphic 69" descr="Checkmark with solid fill">
            <a:extLst>
              <a:ext uri="{FF2B5EF4-FFF2-40B4-BE49-F238E27FC236}">
                <a16:creationId xmlns:a16="http://schemas.microsoft.com/office/drawing/2014/main" id="{4F391357-0ED8-82BA-8ED4-724C2BC7FF7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13061" y="4426650"/>
            <a:ext cx="133350" cy="133350"/>
          </a:xfrm>
          <a:prstGeom prst="rect">
            <a:avLst/>
          </a:prstGeom>
        </p:spPr>
      </p:pic>
      <p:pic>
        <p:nvPicPr>
          <p:cNvPr id="3" name="Graphic 2" descr="Checkmark with solid fill">
            <a:extLst>
              <a:ext uri="{FF2B5EF4-FFF2-40B4-BE49-F238E27FC236}">
                <a16:creationId xmlns:a16="http://schemas.microsoft.com/office/drawing/2014/main" id="{3D63D73E-1CD9-03E4-2C5C-D58E4936A2B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13061" y="1909878"/>
            <a:ext cx="133350" cy="133350"/>
          </a:xfrm>
          <a:prstGeom prst="rect">
            <a:avLst/>
          </a:prstGeom>
        </p:spPr>
      </p:pic>
    </p:spTree>
    <p:extLst>
      <p:ext uri="{BB962C8B-B14F-4D97-AF65-F5344CB8AC3E}">
        <p14:creationId xmlns:p14="http://schemas.microsoft.com/office/powerpoint/2010/main" val="198204129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AA5473-3841-299D-969C-BF5DA9FC640B}"/>
              </a:ext>
            </a:extLst>
          </p:cNvPr>
          <p:cNvGraphicFramePr>
            <a:graphicFrameLocks noChangeAspect="1"/>
          </p:cNvGraphicFramePr>
          <p:nvPr>
            <p:custDataLst>
              <p:tags r:id="rId1"/>
            </p:custDataLst>
            <p:extLst>
              <p:ext uri="{D42A27DB-BD31-4B8C-83A1-F6EECF244321}">
                <p14:modId xmlns:p14="http://schemas.microsoft.com/office/powerpoint/2010/main" val="3552132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6BAA5473-3841-299D-969C-BF5DA9FC6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5824CA8-FE02-30A4-CD92-8D8364CA8C3E}"/>
              </a:ext>
            </a:extLst>
          </p:cNvPr>
          <p:cNvSpPr/>
          <p:nvPr/>
        </p:nvSpPr>
        <p:spPr>
          <a:xfrm>
            <a:off x="257175" y="835023"/>
            <a:ext cx="11344275" cy="5394327"/>
          </a:xfrm>
          <a:prstGeom prst="rect">
            <a:avLst/>
          </a:prstGeom>
          <a:solidFill>
            <a:schemeClr val="bg1"/>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Rounded Corners 55">
            <a:extLst>
              <a:ext uri="{FF2B5EF4-FFF2-40B4-BE49-F238E27FC236}">
                <a16:creationId xmlns:a16="http://schemas.microsoft.com/office/drawing/2014/main" id="{C1387C83-2761-6AD6-D19C-618131415388}"/>
              </a:ext>
            </a:extLst>
          </p:cNvPr>
          <p:cNvSpPr/>
          <p:nvPr/>
        </p:nvSpPr>
        <p:spPr bwMode="gray">
          <a:xfrm>
            <a:off x="5229225" y="835024"/>
            <a:ext cx="795528" cy="511167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Rectangle: Rounded Corners 56">
            <a:extLst>
              <a:ext uri="{FF2B5EF4-FFF2-40B4-BE49-F238E27FC236}">
                <a16:creationId xmlns:a16="http://schemas.microsoft.com/office/drawing/2014/main" id="{05FE62A1-0D72-280C-1963-C28A5754F60F}"/>
              </a:ext>
            </a:extLst>
          </p:cNvPr>
          <p:cNvSpPr/>
          <p:nvPr/>
        </p:nvSpPr>
        <p:spPr bwMode="gray">
          <a:xfrm>
            <a:off x="6016394" y="835024"/>
            <a:ext cx="795528" cy="511167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8" name="Rectangle: Rounded Corners 57">
            <a:extLst>
              <a:ext uri="{FF2B5EF4-FFF2-40B4-BE49-F238E27FC236}">
                <a16:creationId xmlns:a16="http://schemas.microsoft.com/office/drawing/2014/main" id="{F7C3F2A6-3091-EF1F-083E-F9A164A2A847}"/>
              </a:ext>
            </a:extLst>
          </p:cNvPr>
          <p:cNvSpPr/>
          <p:nvPr/>
        </p:nvSpPr>
        <p:spPr bwMode="gray">
          <a:xfrm>
            <a:off x="6811147" y="835024"/>
            <a:ext cx="795528" cy="511167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Rectangle: Rounded Corners 58">
            <a:extLst>
              <a:ext uri="{FF2B5EF4-FFF2-40B4-BE49-F238E27FC236}">
                <a16:creationId xmlns:a16="http://schemas.microsoft.com/office/drawing/2014/main" id="{BFBF4CAD-21E4-EB6D-5925-6A25D99097CC}"/>
              </a:ext>
            </a:extLst>
          </p:cNvPr>
          <p:cNvSpPr/>
          <p:nvPr/>
        </p:nvSpPr>
        <p:spPr bwMode="gray">
          <a:xfrm>
            <a:off x="7614211" y="835024"/>
            <a:ext cx="795528" cy="511167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Rectangle: Rounded Corners 59">
            <a:extLst>
              <a:ext uri="{FF2B5EF4-FFF2-40B4-BE49-F238E27FC236}">
                <a16:creationId xmlns:a16="http://schemas.microsoft.com/office/drawing/2014/main" id="{FE4EEE3B-B440-35C8-D49B-5C5C488CEF84}"/>
              </a:ext>
            </a:extLst>
          </p:cNvPr>
          <p:cNvSpPr/>
          <p:nvPr/>
        </p:nvSpPr>
        <p:spPr bwMode="gray">
          <a:xfrm>
            <a:off x="8405015" y="835024"/>
            <a:ext cx="795528" cy="511167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Rectangle: Rounded Corners 60">
            <a:extLst>
              <a:ext uri="{FF2B5EF4-FFF2-40B4-BE49-F238E27FC236}">
                <a16:creationId xmlns:a16="http://schemas.microsoft.com/office/drawing/2014/main" id="{38FB60AB-B13E-A3D1-DEE3-0769B2B4BA47}"/>
              </a:ext>
            </a:extLst>
          </p:cNvPr>
          <p:cNvSpPr/>
          <p:nvPr/>
        </p:nvSpPr>
        <p:spPr bwMode="gray">
          <a:xfrm>
            <a:off x="9185841" y="835024"/>
            <a:ext cx="795528" cy="511167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Rectangle: Rounded Corners 61">
            <a:extLst>
              <a:ext uri="{FF2B5EF4-FFF2-40B4-BE49-F238E27FC236}">
                <a16:creationId xmlns:a16="http://schemas.microsoft.com/office/drawing/2014/main" id="{FBA0A837-287F-B940-96E1-90AFD60217AB}"/>
              </a:ext>
            </a:extLst>
          </p:cNvPr>
          <p:cNvSpPr/>
          <p:nvPr/>
        </p:nvSpPr>
        <p:spPr bwMode="gray">
          <a:xfrm>
            <a:off x="9984486" y="835024"/>
            <a:ext cx="795528" cy="511167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Rectangle: Rounded Corners 62">
            <a:extLst>
              <a:ext uri="{FF2B5EF4-FFF2-40B4-BE49-F238E27FC236}">
                <a16:creationId xmlns:a16="http://schemas.microsoft.com/office/drawing/2014/main" id="{C89FC82A-60D2-1283-275F-6DBB2ACC3813}"/>
              </a:ext>
            </a:extLst>
          </p:cNvPr>
          <p:cNvSpPr/>
          <p:nvPr/>
        </p:nvSpPr>
        <p:spPr bwMode="gray">
          <a:xfrm>
            <a:off x="10784740" y="835024"/>
            <a:ext cx="795528" cy="511167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Rectangle: Rounded Corners 50">
            <a:extLst>
              <a:ext uri="{FF2B5EF4-FFF2-40B4-BE49-F238E27FC236}">
                <a16:creationId xmlns:a16="http://schemas.microsoft.com/office/drawing/2014/main" id="{B255D003-3595-5CEA-D94E-640CD0CEE76F}"/>
              </a:ext>
            </a:extLst>
          </p:cNvPr>
          <p:cNvSpPr/>
          <p:nvPr/>
        </p:nvSpPr>
        <p:spPr bwMode="gray">
          <a:xfrm>
            <a:off x="2009775" y="835024"/>
            <a:ext cx="795528" cy="511167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Rounded Corners 51">
            <a:extLst>
              <a:ext uri="{FF2B5EF4-FFF2-40B4-BE49-F238E27FC236}">
                <a16:creationId xmlns:a16="http://schemas.microsoft.com/office/drawing/2014/main" id="{5C32024F-13DF-0038-0239-4880782EE241}"/>
              </a:ext>
            </a:extLst>
          </p:cNvPr>
          <p:cNvSpPr/>
          <p:nvPr/>
        </p:nvSpPr>
        <p:spPr bwMode="gray">
          <a:xfrm>
            <a:off x="2810091" y="835024"/>
            <a:ext cx="795528" cy="511167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Rounded Corners 52">
            <a:extLst>
              <a:ext uri="{FF2B5EF4-FFF2-40B4-BE49-F238E27FC236}">
                <a16:creationId xmlns:a16="http://schemas.microsoft.com/office/drawing/2014/main" id="{A56561D4-D136-F658-814F-9E0D4D30C944}"/>
              </a:ext>
            </a:extLst>
          </p:cNvPr>
          <p:cNvSpPr/>
          <p:nvPr/>
        </p:nvSpPr>
        <p:spPr bwMode="gray">
          <a:xfrm>
            <a:off x="3621108" y="835024"/>
            <a:ext cx="795528" cy="511167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Rectangle: Rounded Corners 53">
            <a:extLst>
              <a:ext uri="{FF2B5EF4-FFF2-40B4-BE49-F238E27FC236}">
                <a16:creationId xmlns:a16="http://schemas.microsoft.com/office/drawing/2014/main" id="{2DC2DFED-EC8F-E6A9-13EB-7009D3A4005B}"/>
              </a:ext>
            </a:extLst>
          </p:cNvPr>
          <p:cNvSpPr/>
          <p:nvPr/>
        </p:nvSpPr>
        <p:spPr bwMode="gray">
          <a:xfrm>
            <a:off x="4425910" y="835024"/>
            <a:ext cx="795528" cy="511167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Title 2">
            <a:extLst>
              <a:ext uri="{FF2B5EF4-FFF2-40B4-BE49-F238E27FC236}">
                <a16:creationId xmlns:a16="http://schemas.microsoft.com/office/drawing/2014/main" id="{0E4F14CE-0C40-3F5C-CA23-2C1BEE81ACC3}"/>
              </a:ext>
            </a:extLst>
          </p:cNvPr>
          <p:cNvSpPr>
            <a:spLocks noGrp="1"/>
          </p:cNvSpPr>
          <p:nvPr>
            <p:ph type="title"/>
          </p:nvPr>
        </p:nvSpPr>
        <p:spPr>
          <a:xfrm>
            <a:off x="463294" y="417911"/>
            <a:ext cx="11462005" cy="334099"/>
          </a:xfrm>
        </p:spPr>
        <p:txBody>
          <a:bodyPr vert="horz" lIns="0" tIns="0" rIns="0" bIns="0" rtlCol="0" anchor="t" anchorCtr="0">
            <a:noAutofit/>
          </a:bodyPr>
          <a:lstStyle/>
          <a:p>
            <a:r>
              <a:rPr lang="ro-RO" sz="2400" spc="-75" dirty="0" err="1"/>
              <a:t>Map</a:t>
            </a:r>
            <a:r>
              <a:rPr lang="ro-RO" sz="2400" spc="-75" dirty="0"/>
              <a:t> of </a:t>
            </a:r>
            <a:r>
              <a:rPr lang="ro-RO" sz="2400" spc="-75" dirty="0" err="1"/>
              <a:t>Deloitte</a:t>
            </a:r>
            <a:r>
              <a:rPr lang="ro-RO" sz="2400" spc="-75" dirty="0"/>
              <a:t> </a:t>
            </a:r>
            <a:r>
              <a:rPr lang="ro-RO" sz="2400" spc="-75" dirty="0" err="1"/>
              <a:t>experts</a:t>
            </a:r>
            <a:r>
              <a:rPr lang="ro-RO" sz="2400" spc="-75" dirty="0"/>
              <a:t> </a:t>
            </a:r>
            <a:r>
              <a:rPr lang="ro-RO" sz="2400" spc="-75" dirty="0" err="1"/>
              <a:t>by</a:t>
            </a:r>
            <a:r>
              <a:rPr lang="ro-RO" sz="2400" spc="-75" dirty="0"/>
              <a:t> </a:t>
            </a:r>
            <a:r>
              <a:rPr lang="ro-RO" sz="2400" spc="-75" dirty="0" err="1"/>
              <a:t>chapter</a:t>
            </a:r>
            <a:r>
              <a:rPr lang="ro-RO" sz="2400" spc="-75" dirty="0"/>
              <a:t> </a:t>
            </a:r>
            <a:r>
              <a:rPr lang="ro-RO" sz="2400" spc="-75" dirty="0" err="1"/>
              <a:t>relevance</a:t>
            </a:r>
            <a:endParaRPr lang="en-US" sz="2400" spc="-75" dirty="0"/>
          </a:p>
        </p:txBody>
      </p:sp>
      <p:graphicFrame>
        <p:nvGraphicFramePr>
          <p:cNvPr id="4" name="Table 13">
            <a:extLst>
              <a:ext uri="{FF2B5EF4-FFF2-40B4-BE49-F238E27FC236}">
                <a16:creationId xmlns:a16="http://schemas.microsoft.com/office/drawing/2014/main" id="{2B0086CD-550D-B345-D9FD-A708F6F239EE}"/>
              </a:ext>
            </a:extLst>
          </p:cNvPr>
          <p:cNvGraphicFramePr>
            <a:graphicFrameLocks noGrp="1"/>
          </p:cNvGraphicFramePr>
          <p:nvPr>
            <p:extLst>
              <p:ext uri="{D42A27DB-BD31-4B8C-83A1-F6EECF244321}">
                <p14:modId xmlns:p14="http://schemas.microsoft.com/office/powerpoint/2010/main" val="3128750371"/>
              </p:ext>
            </p:extLst>
          </p:nvPr>
        </p:nvGraphicFramePr>
        <p:xfrm>
          <a:off x="590550" y="1120779"/>
          <a:ext cx="10972797" cy="4825920"/>
        </p:xfrm>
        <a:graphic>
          <a:graphicData uri="http://schemas.openxmlformats.org/drawingml/2006/table">
            <a:tbl>
              <a:tblPr firstRow="1" bandRow="1">
                <a:tableStyleId>{5C22544A-7EE6-4342-B048-85BDC9FD1C3A}</a:tableStyleId>
              </a:tblPr>
              <a:tblGrid>
                <a:gridCol w="238125">
                  <a:extLst>
                    <a:ext uri="{9D8B030D-6E8A-4147-A177-3AD203B41FA5}">
                      <a16:colId xmlns:a16="http://schemas.microsoft.com/office/drawing/2014/main" val="3031898452"/>
                    </a:ext>
                  </a:extLst>
                </a:gridCol>
                <a:gridCol w="990600">
                  <a:extLst>
                    <a:ext uri="{9D8B030D-6E8A-4147-A177-3AD203B41FA5}">
                      <a16:colId xmlns:a16="http://schemas.microsoft.com/office/drawing/2014/main" val="2561715093"/>
                    </a:ext>
                  </a:extLst>
                </a:gridCol>
                <a:gridCol w="209550">
                  <a:extLst>
                    <a:ext uri="{9D8B030D-6E8A-4147-A177-3AD203B41FA5}">
                      <a16:colId xmlns:a16="http://schemas.microsoft.com/office/drawing/2014/main" val="542882205"/>
                    </a:ext>
                  </a:extLst>
                </a:gridCol>
                <a:gridCol w="800100">
                  <a:extLst>
                    <a:ext uri="{9D8B030D-6E8A-4147-A177-3AD203B41FA5}">
                      <a16:colId xmlns:a16="http://schemas.microsoft.com/office/drawing/2014/main" val="3489993565"/>
                    </a:ext>
                  </a:extLst>
                </a:gridCol>
                <a:gridCol w="828675">
                  <a:extLst>
                    <a:ext uri="{9D8B030D-6E8A-4147-A177-3AD203B41FA5}">
                      <a16:colId xmlns:a16="http://schemas.microsoft.com/office/drawing/2014/main" val="3950530353"/>
                    </a:ext>
                  </a:extLst>
                </a:gridCol>
                <a:gridCol w="790575">
                  <a:extLst>
                    <a:ext uri="{9D8B030D-6E8A-4147-A177-3AD203B41FA5}">
                      <a16:colId xmlns:a16="http://schemas.microsoft.com/office/drawing/2014/main" val="2999809245"/>
                    </a:ext>
                  </a:extLst>
                </a:gridCol>
                <a:gridCol w="809625">
                  <a:extLst>
                    <a:ext uri="{9D8B030D-6E8A-4147-A177-3AD203B41FA5}">
                      <a16:colId xmlns:a16="http://schemas.microsoft.com/office/drawing/2014/main" val="610721638"/>
                    </a:ext>
                  </a:extLst>
                </a:gridCol>
                <a:gridCol w="790575">
                  <a:extLst>
                    <a:ext uri="{9D8B030D-6E8A-4147-A177-3AD203B41FA5}">
                      <a16:colId xmlns:a16="http://schemas.microsoft.com/office/drawing/2014/main" val="1515996014"/>
                    </a:ext>
                  </a:extLst>
                </a:gridCol>
                <a:gridCol w="781050">
                  <a:extLst>
                    <a:ext uri="{9D8B030D-6E8A-4147-A177-3AD203B41FA5}">
                      <a16:colId xmlns:a16="http://schemas.microsoft.com/office/drawing/2014/main" val="2095918558"/>
                    </a:ext>
                  </a:extLst>
                </a:gridCol>
                <a:gridCol w="771525">
                  <a:extLst>
                    <a:ext uri="{9D8B030D-6E8A-4147-A177-3AD203B41FA5}">
                      <a16:colId xmlns:a16="http://schemas.microsoft.com/office/drawing/2014/main" val="3654228693"/>
                    </a:ext>
                  </a:extLst>
                </a:gridCol>
                <a:gridCol w="828675">
                  <a:extLst>
                    <a:ext uri="{9D8B030D-6E8A-4147-A177-3AD203B41FA5}">
                      <a16:colId xmlns:a16="http://schemas.microsoft.com/office/drawing/2014/main" val="78615181"/>
                    </a:ext>
                  </a:extLst>
                </a:gridCol>
                <a:gridCol w="771525">
                  <a:extLst>
                    <a:ext uri="{9D8B030D-6E8A-4147-A177-3AD203B41FA5}">
                      <a16:colId xmlns:a16="http://schemas.microsoft.com/office/drawing/2014/main" val="99988573"/>
                    </a:ext>
                  </a:extLst>
                </a:gridCol>
                <a:gridCol w="809625">
                  <a:extLst>
                    <a:ext uri="{9D8B030D-6E8A-4147-A177-3AD203B41FA5}">
                      <a16:colId xmlns:a16="http://schemas.microsoft.com/office/drawing/2014/main" val="146574628"/>
                    </a:ext>
                  </a:extLst>
                </a:gridCol>
                <a:gridCol w="800100">
                  <a:extLst>
                    <a:ext uri="{9D8B030D-6E8A-4147-A177-3AD203B41FA5}">
                      <a16:colId xmlns:a16="http://schemas.microsoft.com/office/drawing/2014/main" val="3379978656"/>
                    </a:ext>
                  </a:extLst>
                </a:gridCol>
                <a:gridCol w="752472">
                  <a:extLst>
                    <a:ext uri="{9D8B030D-6E8A-4147-A177-3AD203B41FA5}">
                      <a16:colId xmlns:a16="http://schemas.microsoft.com/office/drawing/2014/main" val="2698975164"/>
                    </a:ext>
                  </a:extLst>
                </a:gridCol>
              </a:tblGrid>
              <a:tr h="509621">
                <a:tc>
                  <a:txBody>
                    <a:bodyPr/>
                    <a:lstStyle/>
                    <a:p>
                      <a:pPr algn="r" rtl="0" fontAlgn="ctr"/>
                      <a:endParaRPr lang="en-US" sz="800" b="0"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ro-RO" sz="800" b="0" i="1"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ame</a:t>
                      </a:r>
                      <a:endParaRPr lang="en-US" sz="800" b="0" i="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ro-RO" sz="800" b="0" i="1"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Pg</a:t>
                      </a:r>
                      <a:r>
                        <a:rPr lang="ro-RO" sz="800" b="0" i="1"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a:t>
                      </a:r>
                      <a:endParaRPr lang="en-US" sz="800" b="0" i="1"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Technology Consulting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Data and Analytics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Process</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Improvement</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Design and User Experience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upport and Maintenance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trategy Consulting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Project Management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Organizational change management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Management Advisory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Human resources consulting service</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Instructional Design </a:t>
                      </a:r>
                      <a:endPar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ervices</a:t>
                      </a:r>
                    </a:p>
                    <a:p>
                      <a:pPr marL="0" algn="l" defTabSz="685800" rtl="0" eaLnBrk="1" latinLnBrk="0" hangingPunct="1"/>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Risk</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amp; </a:t>
                      </a: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Compliance</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9275019"/>
                  </a:ext>
                </a:extLst>
              </a:tr>
              <a:tr h="176576">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lexandra Chiriac</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ro-RO"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4055033"/>
                  </a:ext>
                </a:extLst>
              </a:tr>
              <a:tr h="176576">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kit Kapu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073390"/>
                  </a:ext>
                </a:extLst>
              </a:tr>
              <a:tr h="176576">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saba Békési</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850995"/>
                  </a:ext>
                </a:extLst>
              </a:tr>
              <a:tr h="176576">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éta Deák</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883485"/>
                  </a:ext>
                </a:extLst>
              </a:tr>
              <a:tr h="176576">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imitriy Skabelkin</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901565"/>
                  </a:ext>
                </a:extLst>
              </a:tr>
              <a:tr h="176576">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Vilibald Farka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623407"/>
                  </a:ext>
                </a:extLst>
              </a:tr>
              <a:tr h="176576">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Krisztián Füzesi</a:t>
                      </a:r>
                      <a:endPar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2229621"/>
                  </a:ext>
                </a:extLst>
              </a:tr>
              <a:tr h="176576">
                <a:tc>
                  <a:txBody>
                    <a:bodyPr/>
                    <a:lstStyle/>
                    <a:p>
                      <a:pPr algn="l" rtl="0" fontAlgn="ctr"/>
                      <a:r>
                        <a:rPr lang="ro-RO"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Ágnes Hegedü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5515617"/>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ádé Illanicz</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5774093"/>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an Navratil</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113680"/>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oanna Woźniak</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230679"/>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Katarzyna Kujawa</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374927"/>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Viktoria Kun</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456316"/>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teusz Bodziak</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9155256"/>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a:t>
                      </a: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ni</a:t>
                      </a: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M</a:t>
                      </a: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dveczky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3374158"/>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sz="800" b="0" i="0" u="none" strike="noStrike" kern="120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ihail Draganov</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4084695"/>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ina Ziolkowska</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33031"/>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éter</a:t>
                      </a: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yári</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864118"/>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óra </a:t>
                      </a: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yitrai</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7361695"/>
                  </a:ext>
                </a:extLst>
              </a:tr>
              <a:tr h="176576">
                <a:tc>
                  <a:txBody>
                    <a:bodyPr/>
                    <a:lstStyle/>
                    <a:p>
                      <a:pPr algn="l" rtl="0" fontAlgn="ctr"/>
                      <a:r>
                        <a:rPr lang="hu-HU" sz="700" b="1" i="0" u="none" strike="noStrike">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iotr Rybacki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757201"/>
                  </a:ext>
                </a:extLst>
              </a:tr>
              <a:tr h="176576">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na Réti</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8747472"/>
                  </a:ext>
                </a:extLst>
              </a:tr>
              <a:tr h="176576">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S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masz </a:t>
                      </a:r>
                      <a:r>
                        <a:rPr lang="en-US"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Kwiecień</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883439"/>
                  </a:ext>
                </a:extLst>
              </a:tr>
            </a:tbl>
          </a:graphicData>
        </a:graphic>
      </p:graphicFrame>
      <p:grpSp>
        <p:nvGrpSpPr>
          <p:cNvPr id="9" name="Group 8">
            <a:extLst>
              <a:ext uri="{FF2B5EF4-FFF2-40B4-BE49-F238E27FC236}">
                <a16:creationId xmlns:a16="http://schemas.microsoft.com/office/drawing/2014/main" id="{A672D4A7-D6BF-6D88-04CB-35DADAA3DD07}"/>
              </a:ext>
            </a:extLst>
          </p:cNvPr>
          <p:cNvGrpSpPr/>
          <p:nvPr/>
        </p:nvGrpSpPr>
        <p:grpSpPr>
          <a:xfrm>
            <a:off x="10020300" y="926506"/>
            <a:ext cx="168235" cy="168236"/>
            <a:chOff x="2990850" y="417911"/>
            <a:chExt cx="417112" cy="417112"/>
          </a:xfrm>
        </p:grpSpPr>
        <p:sp>
          <p:nvSpPr>
            <p:cNvPr id="6" name="Flowchart: Connector 5">
              <a:extLst>
                <a:ext uri="{FF2B5EF4-FFF2-40B4-BE49-F238E27FC236}">
                  <a16:creationId xmlns:a16="http://schemas.microsoft.com/office/drawing/2014/main" id="{3D55D9DB-15A3-0EFB-1E00-1FB847F4D72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7" name="TextBox 6">
              <a:extLst>
                <a:ext uri="{FF2B5EF4-FFF2-40B4-BE49-F238E27FC236}">
                  <a16:creationId xmlns:a16="http://schemas.microsoft.com/office/drawing/2014/main" id="{9C233E43-E8BF-04F1-A954-2900716EC988}"/>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 name="Group 10">
            <a:extLst>
              <a:ext uri="{FF2B5EF4-FFF2-40B4-BE49-F238E27FC236}">
                <a16:creationId xmlns:a16="http://schemas.microsoft.com/office/drawing/2014/main" id="{402CE7D1-9C09-9ABC-DEC0-2CC1400A0F5A}"/>
              </a:ext>
            </a:extLst>
          </p:cNvPr>
          <p:cNvGrpSpPr/>
          <p:nvPr/>
        </p:nvGrpSpPr>
        <p:grpSpPr>
          <a:xfrm>
            <a:off x="10820400" y="926506"/>
            <a:ext cx="168235" cy="168236"/>
            <a:chOff x="2990850" y="417911"/>
            <a:chExt cx="417112" cy="417112"/>
          </a:xfrm>
        </p:grpSpPr>
        <p:sp>
          <p:nvSpPr>
            <p:cNvPr id="12" name="Flowchart: Connector 11">
              <a:extLst>
                <a:ext uri="{FF2B5EF4-FFF2-40B4-BE49-F238E27FC236}">
                  <a16:creationId xmlns:a16="http://schemas.microsoft.com/office/drawing/2014/main" id="{81461D00-51FE-2483-F597-7C276FCE0CC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13" name="TextBox 12">
              <a:extLst>
                <a:ext uri="{FF2B5EF4-FFF2-40B4-BE49-F238E27FC236}">
                  <a16:creationId xmlns:a16="http://schemas.microsoft.com/office/drawing/2014/main" id="{70B6AB9B-49EC-36DE-95A5-087B6F78E4F7}"/>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55AA9950-01CE-C541-DA61-26B4B9F646BF}"/>
              </a:ext>
            </a:extLst>
          </p:cNvPr>
          <p:cNvGrpSpPr/>
          <p:nvPr/>
        </p:nvGrpSpPr>
        <p:grpSpPr>
          <a:xfrm>
            <a:off x="2009775" y="926506"/>
            <a:ext cx="168235" cy="168236"/>
            <a:chOff x="2990850" y="417911"/>
            <a:chExt cx="417112" cy="417112"/>
          </a:xfrm>
        </p:grpSpPr>
        <p:sp>
          <p:nvSpPr>
            <p:cNvPr id="21" name="Flowchart: Connector 20">
              <a:extLst>
                <a:ext uri="{FF2B5EF4-FFF2-40B4-BE49-F238E27FC236}">
                  <a16:creationId xmlns:a16="http://schemas.microsoft.com/office/drawing/2014/main" id="{1ACFAD3D-5F61-7BCC-226D-94CC879AA3D5}"/>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3" name="TextBox 22">
              <a:extLst>
                <a:ext uri="{FF2B5EF4-FFF2-40B4-BE49-F238E27FC236}">
                  <a16:creationId xmlns:a16="http://schemas.microsoft.com/office/drawing/2014/main" id="{E7B63EFF-C324-26D7-F23A-67EE2FCEC7F6}"/>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 23">
            <a:extLst>
              <a:ext uri="{FF2B5EF4-FFF2-40B4-BE49-F238E27FC236}">
                <a16:creationId xmlns:a16="http://schemas.microsoft.com/office/drawing/2014/main" id="{C8FE6E1A-2160-75B9-784E-7F244A2BDD36}"/>
              </a:ext>
            </a:extLst>
          </p:cNvPr>
          <p:cNvGrpSpPr/>
          <p:nvPr/>
        </p:nvGrpSpPr>
        <p:grpSpPr>
          <a:xfrm>
            <a:off x="2838450" y="926506"/>
            <a:ext cx="168235" cy="168236"/>
            <a:chOff x="2990850" y="417911"/>
            <a:chExt cx="417112" cy="417112"/>
          </a:xfrm>
        </p:grpSpPr>
        <p:sp>
          <p:nvSpPr>
            <p:cNvPr id="25" name="Flowchart: Connector 24">
              <a:extLst>
                <a:ext uri="{FF2B5EF4-FFF2-40B4-BE49-F238E27FC236}">
                  <a16:creationId xmlns:a16="http://schemas.microsoft.com/office/drawing/2014/main" id="{25ECB68E-EE33-F729-C88F-C30FEA879E92}"/>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6" name="TextBox 25">
              <a:extLst>
                <a:ext uri="{FF2B5EF4-FFF2-40B4-BE49-F238E27FC236}">
                  <a16:creationId xmlns:a16="http://schemas.microsoft.com/office/drawing/2014/main" id="{5E7DE4DE-561A-6EF7-FCB9-8C8030018D7D}"/>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 name="Group 26">
            <a:extLst>
              <a:ext uri="{FF2B5EF4-FFF2-40B4-BE49-F238E27FC236}">
                <a16:creationId xmlns:a16="http://schemas.microsoft.com/office/drawing/2014/main" id="{4C9BB761-E036-455D-87A3-E83BD9EBE214}"/>
              </a:ext>
            </a:extLst>
          </p:cNvPr>
          <p:cNvGrpSpPr/>
          <p:nvPr/>
        </p:nvGrpSpPr>
        <p:grpSpPr>
          <a:xfrm>
            <a:off x="3667125" y="926506"/>
            <a:ext cx="168235" cy="168236"/>
            <a:chOff x="2990850" y="417911"/>
            <a:chExt cx="417112" cy="417112"/>
          </a:xfrm>
        </p:grpSpPr>
        <p:sp>
          <p:nvSpPr>
            <p:cNvPr id="28" name="Flowchart: Connector 27">
              <a:extLst>
                <a:ext uri="{FF2B5EF4-FFF2-40B4-BE49-F238E27FC236}">
                  <a16:creationId xmlns:a16="http://schemas.microsoft.com/office/drawing/2014/main" id="{7E62376B-06E4-2480-334A-2B9FF9B90AED}"/>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9" name="TextBox 28">
              <a:extLst>
                <a:ext uri="{FF2B5EF4-FFF2-40B4-BE49-F238E27FC236}">
                  <a16:creationId xmlns:a16="http://schemas.microsoft.com/office/drawing/2014/main" id="{A1592A4B-F689-B4AF-5B4D-345FE18C185C}"/>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oup 29">
            <a:extLst>
              <a:ext uri="{FF2B5EF4-FFF2-40B4-BE49-F238E27FC236}">
                <a16:creationId xmlns:a16="http://schemas.microsoft.com/office/drawing/2014/main" id="{D1E45DE1-AC5C-1151-8F2D-513166227BE8}"/>
              </a:ext>
            </a:extLst>
          </p:cNvPr>
          <p:cNvGrpSpPr/>
          <p:nvPr/>
        </p:nvGrpSpPr>
        <p:grpSpPr>
          <a:xfrm>
            <a:off x="4448175" y="926506"/>
            <a:ext cx="168235" cy="168236"/>
            <a:chOff x="2990850" y="417911"/>
            <a:chExt cx="417112" cy="417112"/>
          </a:xfrm>
        </p:grpSpPr>
        <p:sp>
          <p:nvSpPr>
            <p:cNvPr id="31" name="Flowchart: Connector 30">
              <a:extLst>
                <a:ext uri="{FF2B5EF4-FFF2-40B4-BE49-F238E27FC236}">
                  <a16:creationId xmlns:a16="http://schemas.microsoft.com/office/drawing/2014/main" id="{1D927B5E-9F6E-38EA-E3B4-255208778475}"/>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2" name="TextBox 31">
              <a:extLst>
                <a:ext uri="{FF2B5EF4-FFF2-40B4-BE49-F238E27FC236}">
                  <a16:creationId xmlns:a16="http://schemas.microsoft.com/office/drawing/2014/main" id="{AEA84AC5-6A34-CDA0-BE78-3951A3BD1761}"/>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32">
            <a:extLst>
              <a:ext uri="{FF2B5EF4-FFF2-40B4-BE49-F238E27FC236}">
                <a16:creationId xmlns:a16="http://schemas.microsoft.com/office/drawing/2014/main" id="{974B55EF-EE14-3051-5586-BCCB9EF648F9}"/>
              </a:ext>
            </a:extLst>
          </p:cNvPr>
          <p:cNvGrpSpPr/>
          <p:nvPr/>
        </p:nvGrpSpPr>
        <p:grpSpPr>
          <a:xfrm>
            <a:off x="5267325" y="926506"/>
            <a:ext cx="168235" cy="168236"/>
            <a:chOff x="2990850" y="417911"/>
            <a:chExt cx="417112" cy="417112"/>
          </a:xfrm>
        </p:grpSpPr>
        <p:sp>
          <p:nvSpPr>
            <p:cNvPr id="34" name="Flowchart: Connector 33">
              <a:extLst>
                <a:ext uri="{FF2B5EF4-FFF2-40B4-BE49-F238E27FC236}">
                  <a16:creationId xmlns:a16="http://schemas.microsoft.com/office/drawing/2014/main" id="{2BDC5F65-22CF-BF76-6AFA-E5BA5293BA9D}"/>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5" name="TextBox 34">
              <a:extLst>
                <a:ext uri="{FF2B5EF4-FFF2-40B4-BE49-F238E27FC236}">
                  <a16:creationId xmlns:a16="http://schemas.microsoft.com/office/drawing/2014/main" id="{B2E4A31E-640F-8633-DCD2-445891F230B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35">
            <a:extLst>
              <a:ext uri="{FF2B5EF4-FFF2-40B4-BE49-F238E27FC236}">
                <a16:creationId xmlns:a16="http://schemas.microsoft.com/office/drawing/2014/main" id="{F4AD52F9-1823-79CB-10DA-5B49C8F6FCCE}"/>
              </a:ext>
            </a:extLst>
          </p:cNvPr>
          <p:cNvGrpSpPr/>
          <p:nvPr/>
        </p:nvGrpSpPr>
        <p:grpSpPr>
          <a:xfrm>
            <a:off x="6049982" y="926506"/>
            <a:ext cx="168235" cy="168236"/>
            <a:chOff x="2990850" y="417911"/>
            <a:chExt cx="417112" cy="417112"/>
          </a:xfrm>
        </p:grpSpPr>
        <p:sp>
          <p:nvSpPr>
            <p:cNvPr id="37" name="Flowchart: Connector 36">
              <a:extLst>
                <a:ext uri="{FF2B5EF4-FFF2-40B4-BE49-F238E27FC236}">
                  <a16:creationId xmlns:a16="http://schemas.microsoft.com/office/drawing/2014/main" id="{6F90A3C0-B8EC-D4A3-CF3B-107FCC559AA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8" name="TextBox 37">
              <a:extLst>
                <a:ext uri="{FF2B5EF4-FFF2-40B4-BE49-F238E27FC236}">
                  <a16:creationId xmlns:a16="http://schemas.microsoft.com/office/drawing/2014/main" id="{824491EA-58F6-BA83-F042-9EAE90FBC37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 name="Group 38">
            <a:extLst>
              <a:ext uri="{FF2B5EF4-FFF2-40B4-BE49-F238E27FC236}">
                <a16:creationId xmlns:a16="http://schemas.microsoft.com/office/drawing/2014/main" id="{321ECD8D-C192-0AA5-D667-911F651E78B4}"/>
              </a:ext>
            </a:extLst>
          </p:cNvPr>
          <p:cNvGrpSpPr/>
          <p:nvPr/>
        </p:nvGrpSpPr>
        <p:grpSpPr>
          <a:xfrm>
            <a:off x="6840557" y="926506"/>
            <a:ext cx="168235" cy="168236"/>
            <a:chOff x="2990850" y="417911"/>
            <a:chExt cx="417112" cy="417112"/>
          </a:xfrm>
        </p:grpSpPr>
        <p:sp>
          <p:nvSpPr>
            <p:cNvPr id="40" name="Flowchart: Connector 39">
              <a:extLst>
                <a:ext uri="{FF2B5EF4-FFF2-40B4-BE49-F238E27FC236}">
                  <a16:creationId xmlns:a16="http://schemas.microsoft.com/office/drawing/2014/main" id="{11F07772-AE83-4AC3-1523-E14266BCD318}"/>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1" name="TextBox 40">
              <a:extLst>
                <a:ext uri="{FF2B5EF4-FFF2-40B4-BE49-F238E27FC236}">
                  <a16:creationId xmlns:a16="http://schemas.microsoft.com/office/drawing/2014/main" id="{9D8B5B67-4903-EE41-29AC-30C2BB4CBB7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1B191207-1FD6-44AA-A5A8-A9769167388B}"/>
              </a:ext>
            </a:extLst>
          </p:cNvPr>
          <p:cNvGrpSpPr/>
          <p:nvPr/>
        </p:nvGrpSpPr>
        <p:grpSpPr>
          <a:xfrm>
            <a:off x="7640657" y="926506"/>
            <a:ext cx="168235" cy="168236"/>
            <a:chOff x="2990850" y="417911"/>
            <a:chExt cx="417112" cy="417112"/>
          </a:xfrm>
        </p:grpSpPr>
        <p:sp>
          <p:nvSpPr>
            <p:cNvPr id="43" name="Flowchart: Connector 42">
              <a:extLst>
                <a:ext uri="{FF2B5EF4-FFF2-40B4-BE49-F238E27FC236}">
                  <a16:creationId xmlns:a16="http://schemas.microsoft.com/office/drawing/2014/main" id="{A68A0744-42BD-5D69-B569-0223C9A1E19F}"/>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4" name="TextBox 43">
              <a:extLst>
                <a:ext uri="{FF2B5EF4-FFF2-40B4-BE49-F238E27FC236}">
                  <a16:creationId xmlns:a16="http://schemas.microsoft.com/office/drawing/2014/main" id="{E7E37CBD-65F2-4658-4B09-0A506F0F0B8B}"/>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44">
            <a:extLst>
              <a:ext uri="{FF2B5EF4-FFF2-40B4-BE49-F238E27FC236}">
                <a16:creationId xmlns:a16="http://schemas.microsoft.com/office/drawing/2014/main" id="{76CC9FC8-B73F-A6EC-20FE-79A7DB6EF276}"/>
              </a:ext>
            </a:extLst>
          </p:cNvPr>
          <p:cNvGrpSpPr/>
          <p:nvPr/>
        </p:nvGrpSpPr>
        <p:grpSpPr>
          <a:xfrm>
            <a:off x="8440757" y="926506"/>
            <a:ext cx="168235" cy="168236"/>
            <a:chOff x="2990850" y="417911"/>
            <a:chExt cx="417112" cy="417112"/>
          </a:xfrm>
        </p:grpSpPr>
        <p:sp>
          <p:nvSpPr>
            <p:cNvPr id="46" name="Flowchart: Connector 45">
              <a:extLst>
                <a:ext uri="{FF2B5EF4-FFF2-40B4-BE49-F238E27FC236}">
                  <a16:creationId xmlns:a16="http://schemas.microsoft.com/office/drawing/2014/main" id="{998FB8F8-D08F-2315-CEE2-756A14AE2B48}"/>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7" name="TextBox 46">
              <a:extLst>
                <a:ext uri="{FF2B5EF4-FFF2-40B4-BE49-F238E27FC236}">
                  <a16:creationId xmlns:a16="http://schemas.microsoft.com/office/drawing/2014/main" id="{5FC24374-38D2-CB29-EBFB-682784765E99}"/>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47">
            <a:extLst>
              <a:ext uri="{FF2B5EF4-FFF2-40B4-BE49-F238E27FC236}">
                <a16:creationId xmlns:a16="http://schemas.microsoft.com/office/drawing/2014/main" id="{9121892C-748C-DDB5-684C-0FCC70D23667}"/>
              </a:ext>
            </a:extLst>
          </p:cNvPr>
          <p:cNvGrpSpPr/>
          <p:nvPr/>
        </p:nvGrpSpPr>
        <p:grpSpPr>
          <a:xfrm>
            <a:off x="9218592" y="926506"/>
            <a:ext cx="168235" cy="168236"/>
            <a:chOff x="2990850" y="417911"/>
            <a:chExt cx="417112" cy="417112"/>
          </a:xfrm>
        </p:grpSpPr>
        <p:sp>
          <p:nvSpPr>
            <p:cNvPr id="49" name="Flowchart: Connector 48">
              <a:extLst>
                <a:ext uri="{FF2B5EF4-FFF2-40B4-BE49-F238E27FC236}">
                  <a16:creationId xmlns:a16="http://schemas.microsoft.com/office/drawing/2014/main" id="{4FBD62CC-0FFD-21A9-DC22-39DB226706EE}"/>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50" name="TextBox 49">
              <a:extLst>
                <a:ext uri="{FF2B5EF4-FFF2-40B4-BE49-F238E27FC236}">
                  <a16:creationId xmlns:a16="http://schemas.microsoft.com/office/drawing/2014/main" id="{EED0AB80-5982-80C0-C1BF-6772F76184E8}"/>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 name="Group 2">
            <a:extLst>
              <a:ext uri="{FF2B5EF4-FFF2-40B4-BE49-F238E27FC236}">
                <a16:creationId xmlns:a16="http://schemas.microsoft.com/office/drawing/2014/main" id="{B5337188-874F-0166-3455-1A760C3002A4}"/>
              </a:ext>
            </a:extLst>
          </p:cNvPr>
          <p:cNvGrpSpPr/>
          <p:nvPr/>
        </p:nvGrpSpPr>
        <p:grpSpPr>
          <a:xfrm>
            <a:off x="4737244" y="6498172"/>
            <a:ext cx="7335541" cy="155443"/>
            <a:chOff x="1956681" y="6599402"/>
            <a:chExt cx="7335541" cy="155443"/>
          </a:xfrm>
        </p:grpSpPr>
        <p:sp>
          <p:nvSpPr>
            <p:cNvPr id="5" name="TextBox 4">
              <a:extLst>
                <a:ext uri="{FF2B5EF4-FFF2-40B4-BE49-F238E27FC236}">
                  <a16:creationId xmlns:a16="http://schemas.microsoft.com/office/drawing/2014/main" id="{DB498FAA-409F-0312-EAC2-881603A0DB09}"/>
                </a:ext>
              </a:extLst>
            </p:cNvPr>
            <p:cNvSpPr txBox="1"/>
            <p:nvPr/>
          </p:nvSpPr>
          <p:spPr>
            <a:xfrm>
              <a:off x="1956681" y="6600957"/>
              <a:ext cx="973666"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P </a:t>
              </a:r>
              <a:r>
                <a:rPr lang="ro-RO" sz="1000" dirty="0">
                  <a:solidFill>
                    <a:srgbClr val="313131"/>
                  </a:solidFill>
                </a:rPr>
                <a:t>- </a:t>
              </a:r>
              <a:r>
                <a:rPr lang="ro-RO" sz="1000" i="1" dirty="0" err="1">
                  <a:solidFill>
                    <a:srgbClr val="313131"/>
                  </a:solidFill>
                </a:rPr>
                <a:t>Partner</a:t>
              </a:r>
              <a:r>
                <a:rPr lang="ro-RO" sz="1000" i="1" dirty="0">
                  <a:solidFill>
                    <a:srgbClr val="313131"/>
                  </a:solidFill>
                </a:rPr>
                <a:t> </a:t>
              </a:r>
              <a:endParaRPr lang="en-US" sz="1000" i="1" dirty="0">
                <a:solidFill>
                  <a:srgbClr val="313131"/>
                </a:solidFill>
              </a:endParaRPr>
            </a:p>
          </p:txBody>
        </p:sp>
        <p:sp>
          <p:nvSpPr>
            <p:cNvPr id="10" name="TextBox 9">
              <a:extLst>
                <a:ext uri="{FF2B5EF4-FFF2-40B4-BE49-F238E27FC236}">
                  <a16:creationId xmlns:a16="http://schemas.microsoft.com/office/drawing/2014/main" id="{03A8B47C-4F07-1726-B190-ADF80B541A50}"/>
                </a:ext>
              </a:extLst>
            </p:cNvPr>
            <p:cNvSpPr txBox="1"/>
            <p:nvPr/>
          </p:nvSpPr>
          <p:spPr>
            <a:xfrm>
              <a:off x="2683416" y="6600957"/>
              <a:ext cx="795528"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D </a:t>
              </a:r>
              <a:r>
                <a:rPr lang="ro-RO" sz="1000" dirty="0">
                  <a:solidFill>
                    <a:srgbClr val="313131"/>
                  </a:solidFill>
                </a:rPr>
                <a:t>- </a:t>
              </a:r>
              <a:r>
                <a:rPr lang="ro-RO" sz="1000" i="1" dirty="0">
                  <a:solidFill>
                    <a:srgbClr val="313131"/>
                  </a:solidFill>
                </a:rPr>
                <a:t>Director</a:t>
              </a:r>
              <a:endParaRPr lang="en-US" sz="1000" i="1" dirty="0">
                <a:solidFill>
                  <a:srgbClr val="313131"/>
                </a:solidFill>
              </a:endParaRPr>
            </a:p>
          </p:txBody>
        </p:sp>
        <p:sp>
          <p:nvSpPr>
            <p:cNvPr id="14" name="TextBox 13">
              <a:extLst>
                <a:ext uri="{FF2B5EF4-FFF2-40B4-BE49-F238E27FC236}">
                  <a16:creationId xmlns:a16="http://schemas.microsoft.com/office/drawing/2014/main" id="{5375551C-3839-322A-C056-D0750D628EEC}"/>
                </a:ext>
              </a:extLst>
            </p:cNvPr>
            <p:cNvSpPr txBox="1"/>
            <p:nvPr/>
          </p:nvSpPr>
          <p:spPr>
            <a:xfrm>
              <a:off x="3478944" y="6600957"/>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SM </a:t>
              </a:r>
              <a:r>
                <a:rPr lang="ro-RO" sz="1000" dirty="0">
                  <a:solidFill>
                    <a:srgbClr val="313131"/>
                  </a:solidFill>
                </a:rPr>
                <a:t>- </a:t>
              </a:r>
              <a:r>
                <a:rPr lang="ro-RO" sz="1000" i="1" dirty="0">
                  <a:solidFill>
                    <a:srgbClr val="313131"/>
                  </a:solidFill>
                </a:rPr>
                <a:t>Senior Manager</a:t>
              </a:r>
              <a:endParaRPr lang="en-US" sz="1000" i="1" dirty="0">
                <a:solidFill>
                  <a:srgbClr val="313131"/>
                </a:solidFill>
              </a:endParaRPr>
            </a:p>
          </p:txBody>
        </p:sp>
        <p:sp>
          <p:nvSpPr>
            <p:cNvPr id="15" name="TextBox 14">
              <a:extLst>
                <a:ext uri="{FF2B5EF4-FFF2-40B4-BE49-F238E27FC236}">
                  <a16:creationId xmlns:a16="http://schemas.microsoft.com/office/drawing/2014/main" id="{0836985C-A1BD-4449-3A68-940E394D130A}"/>
                </a:ext>
              </a:extLst>
            </p:cNvPr>
            <p:cNvSpPr txBox="1"/>
            <p:nvPr/>
          </p:nvSpPr>
          <p:spPr>
            <a:xfrm>
              <a:off x="4828500" y="6600957"/>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M </a:t>
              </a:r>
              <a:r>
                <a:rPr lang="ro-RO" sz="1000" dirty="0">
                  <a:solidFill>
                    <a:srgbClr val="313131"/>
                  </a:solidFill>
                </a:rPr>
                <a:t>- </a:t>
              </a:r>
              <a:r>
                <a:rPr lang="ro-RO" sz="1000" i="1" dirty="0">
                  <a:solidFill>
                    <a:srgbClr val="313131"/>
                  </a:solidFill>
                </a:rPr>
                <a:t>Manager</a:t>
              </a:r>
              <a:endParaRPr lang="en-US" sz="1000" i="1" dirty="0">
                <a:solidFill>
                  <a:srgbClr val="313131"/>
                </a:solidFill>
              </a:endParaRPr>
            </a:p>
          </p:txBody>
        </p:sp>
        <p:sp>
          <p:nvSpPr>
            <p:cNvPr id="17" name="TextBox 16">
              <a:extLst>
                <a:ext uri="{FF2B5EF4-FFF2-40B4-BE49-F238E27FC236}">
                  <a16:creationId xmlns:a16="http://schemas.microsoft.com/office/drawing/2014/main" id="{B823F13A-1143-692D-B5EB-1763BAC0273A}"/>
                </a:ext>
              </a:extLst>
            </p:cNvPr>
            <p:cNvSpPr txBox="1"/>
            <p:nvPr/>
          </p:nvSpPr>
          <p:spPr>
            <a:xfrm>
              <a:off x="5771326"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SC</a:t>
              </a:r>
              <a:r>
                <a:rPr lang="ro-RO" sz="1000" dirty="0">
                  <a:solidFill>
                    <a:srgbClr val="313131"/>
                  </a:solidFill>
                </a:rPr>
                <a:t> - </a:t>
              </a:r>
              <a:r>
                <a:rPr lang="ro-RO" sz="1000" i="1" dirty="0">
                  <a:solidFill>
                    <a:srgbClr val="313131"/>
                  </a:solidFill>
                </a:rPr>
                <a:t>Senior Consultant </a:t>
              </a:r>
              <a:endParaRPr lang="en-US" sz="1000" i="1" dirty="0">
                <a:solidFill>
                  <a:srgbClr val="313131"/>
                </a:solidFill>
              </a:endParaRPr>
            </a:p>
          </p:txBody>
        </p:sp>
        <p:sp>
          <p:nvSpPr>
            <p:cNvPr id="18" name="TextBox 17">
              <a:extLst>
                <a:ext uri="{FF2B5EF4-FFF2-40B4-BE49-F238E27FC236}">
                  <a16:creationId xmlns:a16="http://schemas.microsoft.com/office/drawing/2014/main" id="{0FFA85E5-7F78-F022-CC99-5F1AF25C9E7D}"/>
                </a:ext>
              </a:extLst>
            </p:cNvPr>
            <p:cNvSpPr txBox="1"/>
            <p:nvPr/>
          </p:nvSpPr>
          <p:spPr>
            <a:xfrm>
              <a:off x="7110517"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C </a:t>
              </a:r>
              <a:r>
                <a:rPr lang="ro-RO" sz="1000" b="1" dirty="0">
                  <a:solidFill>
                    <a:srgbClr val="313131"/>
                  </a:solidFill>
                </a:rPr>
                <a:t>- </a:t>
              </a:r>
              <a:r>
                <a:rPr lang="ro-RO" sz="1000" i="1" dirty="0">
                  <a:solidFill>
                    <a:srgbClr val="313131"/>
                  </a:solidFill>
                </a:rPr>
                <a:t>Consultant </a:t>
              </a:r>
              <a:endParaRPr lang="en-US" sz="1000" i="1" dirty="0">
                <a:solidFill>
                  <a:srgbClr val="313131"/>
                </a:solidFill>
              </a:endParaRPr>
            </a:p>
          </p:txBody>
        </p:sp>
        <p:sp>
          <p:nvSpPr>
            <p:cNvPr id="19" name="TextBox 18">
              <a:extLst>
                <a:ext uri="{FF2B5EF4-FFF2-40B4-BE49-F238E27FC236}">
                  <a16:creationId xmlns:a16="http://schemas.microsoft.com/office/drawing/2014/main" id="{B80BF480-256C-D628-55DE-6A554AFDAF9F}"/>
                </a:ext>
              </a:extLst>
            </p:cNvPr>
            <p:cNvSpPr txBox="1"/>
            <p:nvPr/>
          </p:nvSpPr>
          <p:spPr>
            <a:xfrm>
              <a:off x="8063708"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A </a:t>
              </a:r>
              <a:r>
                <a:rPr lang="ro-RO" sz="1000" b="1" dirty="0">
                  <a:solidFill>
                    <a:srgbClr val="313131"/>
                  </a:solidFill>
                </a:rPr>
                <a:t>- </a:t>
              </a:r>
              <a:r>
                <a:rPr lang="ro-RO" sz="1000" i="1" dirty="0" err="1">
                  <a:solidFill>
                    <a:srgbClr val="313131"/>
                  </a:solidFill>
                </a:rPr>
                <a:t>Analyst</a:t>
              </a:r>
              <a:endParaRPr lang="en-US" sz="1000" i="1" dirty="0">
                <a:solidFill>
                  <a:srgbClr val="313131"/>
                </a:solidFill>
              </a:endParaRPr>
            </a:p>
          </p:txBody>
        </p:sp>
      </p:grpSp>
      <p:pic>
        <p:nvPicPr>
          <p:cNvPr id="22" name="Graphic 21" descr="Checkmark with solid fill">
            <a:extLst>
              <a:ext uri="{FF2B5EF4-FFF2-40B4-BE49-F238E27FC236}">
                <a16:creationId xmlns:a16="http://schemas.microsoft.com/office/drawing/2014/main" id="{124BBD35-1AB9-8179-5F3E-D7672D3342B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2773" y="2673814"/>
            <a:ext cx="133350" cy="133350"/>
          </a:xfrm>
          <a:prstGeom prst="rect">
            <a:avLst/>
          </a:prstGeom>
        </p:spPr>
      </p:pic>
      <p:pic>
        <p:nvPicPr>
          <p:cNvPr id="55" name="Graphic 54" descr="Checkmark with solid fill">
            <a:extLst>
              <a:ext uri="{FF2B5EF4-FFF2-40B4-BE49-F238E27FC236}">
                <a16:creationId xmlns:a16="http://schemas.microsoft.com/office/drawing/2014/main" id="{76C7605D-3987-88D7-70CD-F185188D6A8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2773" y="3270249"/>
            <a:ext cx="133350" cy="133350"/>
          </a:xfrm>
          <a:prstGeom prst="rect">
            <a:avLst/>
          </a:prstGeom>
        </p:spPr>
      </p:pic>
      <p:pic>
        <p:nvPicPr>
          <p:cNvPr id="64" name="Graphic 63" descr="Checkmark with solid fill">
            <a:extLst>
              <a:ext uri="{FF2B5EF4-FFF2-40B4-BE49-F238E27FC236}">
                <a16:creationId xmlns:a16="http://schemas.microsoft.com/office/drawing/2014/main" id="{C5AD2739-17F2-23AC-EE1F-458EA99F119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2773" y="5628685"/>
            <a:ext cx="133350" cy="133350"/>
          </a:xfrm>
          <a:prstGeom prst="rect">
            <a:avLst/>
          </a:prstGeom>
        </p:spPr>
      </p:pic>
    </p:spTree>
    <p:extLst>
      <p:ext uri="{BB962C8B-B14F-4D97-AF65-F5344CB8AC3E}">
        <p14:creationId xmlns:p14="http://schemas.microsoft.com/office/powerpoint/2010/main" val="355213058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AA5473-3841-299D-969C-BF5DA9FC640B}"/>
              </a:ext>
            </a:extLst>
          </p:cNvPr>
          <p:cNvGraphicFramePr>
            <a:graphicFrameLocks noChangeAspect="1"/>
          </p:cNvGraphicFramePr>
          <p:nvPr>
            <p:custDataLst>
              <p:tags r:id="rId1"/>
            </p:custDataLst>
            <p:extLst>
              <p:ext uri="{D42A27DB-BD31-4B8C-83A1-F6EECF244321}">
                <p14:modId xmlns:p14="http://schemas.microsoft.com/office/powerpoint/2010/main" val="21023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6BAA5473-3841-299D-969C-BF5DA9FC6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5824CA8-FE02-30A4-CD92-8D8364CA8C3E}"/>
              </a:ext>
            </a:extLst>
          </p:cNvPr>
          <p:cNvSpPr/>
          <p:nvPr/>
        </p:nvSpPr>
        <p:spPr>
          <a:xfrm>
            <a:off x="257175" y="835023"/>
            <a:ext cx="11344275" cy="5693436"/>
          </a:xfrm>
          <a:prstGeom prst="rect">
            <a:avLst/>
          </a:prstGeom>
          <a:solidFill>
            <a:schemeClr val="bg1"/>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Rounded Corners 55">
            <a:extLst>
              <a:ext uri="{FF2B5EF4-FFF2-40B4-BE49-F238E27FC236}">
                <a16:creationId xmlns:a16="http://schemas.microsoft.com/office/drawing/2014/main" id="{C1387C83-2761-6AD6-D19C-618131415388}"/>
              </a:ext>
            </a:extLst>
          </p:cNvPr>
          <p:cNvSpPr/>
          <p:nvPr/>
        </p:nvSpPr>
        <p:spPr bwMode="gray">
          <a:xfrm>
            <a:off x="5229225" y="835023"/>
            <a:ext cx="795528" cy="56934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Rectangle: Rounded Corners 56">
            <a:extLst>
              <a:ext uri="{FF2B5EF4-FFF2-40B4-BE49-F238E27FC236}">
                <a16:creationId xmlns:a16="http://schemas.microsoft.com/office/drawing/2014/main" id="{05FE62A1-0D72-280C-1963-C28A5754F60F}"/>
              </a:ext>
            </a:extLst>
          </p:cNvPr>
          <p:cNvSpPr/>
          <p:nvPr/>
        </p:nvSpPr>
        <p:spPr bwMode="gray">
          <a:xfrm>
            <a:off x="6016394" y="835023"/>
            <a:ext cx="795528" cy="56934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8" name="Rectangle: Rounded Corners 57">
            <a:extLst>
              <a:ext uri="{FF2B5EF4-FFF2-40B4-BE49-F238E27FC236}">
                <a16:creationId xmlns:a16="http://schemas.microsoft.com/office/drawing/2014/main" id="{F7C3F2A6-3091-EF1F-083E-F9A164A2A847}"/>
              </a:ext>
            </a:extLst>
          </p:cNvPr>
          <p:cNvSpPr/>
          <p:nvPr/>
        </p:nvSpPr>
        <p:spPr bwMode="gray">
          <a:xfrm>
            <a:off x="6811147" y="835023"/>
            <a:ext cx="795528" cy="56934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Rectangle: Rounded Corners 58">
            <a:extLst>
              <a:ext uri="{FF2B5EF4-FFF2-40B4-BE49-F238E27FC236}">
                <a16:creationId xmlns:a16="http://schemas.microsoft.com/office/drawing/2014/main" id="{BFBF4CAD-21E4-EB6D-5925-6A25D99097CC}"/>
              </a:ext>
            </a:extLst>
          </p:cNvPr>
          <p:cNvSpPr/>
          <p:nvPr/>
        </p:nvSpPr>
        <p:spPr bwMode="gray">
          <a:xfrm>
            <a:off x="7614211" y="835023"/>
            <a:ext cx="795528" cy="56934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Rectangle: Rounded Corners 59">
            <a:extLst>
              <a:ext uri="{FF2B5EF4-FFF2-40B4-BE49-F238E27FC236}">
                <a16:creationId xmlns:a16="http://schemas.microsoft.com/office/drawing/2014/main" id="{FE4EEE3B-B440-35C8-D49B-5C5C488CEF84}"/>
              </a:ext>
            </a:extLst>
          </p:cNvPr>
          <p:cNvSpPr/>
          <p:nvPr/>
        </p:nvSpPr>
        <p:spPr bwMode="gray">
          <a:xfrm>
            <a:off x="8405015" y="835023"/>
            <a:ext cx="795528" cy="56934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Rectangle: Rounded Corners 60">
            <a:extLst>
              <a:ext uri="{FF2B5EF4-FFF2-40B4-BE49-F238E27FC236}">
                <a16:creationId xmlns:a16="http://schemas.microsoft.com/office/drawing/2014/main" id="{38FB60AB-B13E-A3D1-DEE3-0769B2B4BA47}"/>
              </a:ext>
            </a:extLst>
          </p:cNvPr>
          <p:cNvSpPr/>
          <p:nvPr/>
        </p:nvSpPr>
        <p:spPr bwMode="gray">
          <a:xfrm>
            <a:off x="9185841" y="835023"/>
            <a:ext cx="795528" cy="56934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Rectangle: Rounded Corners 61">
            <a:extLst>
              <a:ext uri="{FF2B5EF4-FFF2-40B4-BE49-F238E27FC236}">
                <a16:creationId xmlns:a16="http://schemas.microsoft.com/office/drawing/2014/main" id="{FBA0A837-287F-B940-96E1-90AFD60217AB}"/>
              </a:ext>
            </a:extLst>
          </p:cNvPr>
          <p:cNvSpPr/>
          <p:nvPr/>
        </p:nvSpPr>
        <p:spPr bwMode="gray">
          <a:xfrm>
            <a:off x="9984486" y="835023"/>
            <a:ext cx="795528" cy="56934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Rectangle: Rounded Corners 62">
            <a:extLst>
              <a:ext uri="{FF2B5EF4-FFF2-40B4-BE49-F238E27FC236}">
                <a16:creationId xmlns:a16="http://schemas.microsoft.com/office/drawing/2014/main" id="{C89FC82A-60D2-1283-275F-6DBB2ACC3813}"/>
              </a:ext>
            </a:extLst>
          </p:cNvPr>
          <p:cNvSpPr/>
          <p:nvPr/>
        </p:nvSpPr>
        <p:spPr bwMode="gray">
          <a:xfrm>
            <a:off x="10784740" y="835023"/>
            <a:ext cx="795528" cy="56934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Rectangle: Rounded Corners 50">
            <a:extLst>
              <a:ext uri="{FF2B5EF4-FFF2-40B4-BE49-F238E27FC236}">
                <a16:creationId xmlns:a16="http://schemas.microsoft.com/office/drawing/2014/main" id="{B255D003-3595-5CEA-D94E-640CD0CEE76F}"/>
              </a:ext>
            </a:extLst>
          </p:cNvPr>
          <p:cNvSpPr/>
          <p:nvPr/>
        </p:nvSpPr>
        <p:spPr bwMode="gray">
          <a:xfrm>
            <a:off x="2009775" y="835023"/>
            <a:ext cx="795528" cy="56934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Rounded Corners 51">
            <a:extLst>
              <a:ext uri="{FF2B5EF4-FFF2-40B4-BE49-F238E27FC236}">
                <a16:creationId xmlns:a16="http://schemas.microsoft.com/office/drawing/2014/main" id="{5C32024F-13DF-0038-0239-4880782EE241}"/>
              </a:ext>
            </a:extLst>
          </p:cNvPr>
          <p:cNvSpPr/>
          <p:nvPr/>
        </p:nvSpPr>
        <p:spPr bwMode="gray">
          <a:xfrm>
            <a:off x="2810091" y="835023"/>
            <a:ext cx="795528" cy="56934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Rounded Corners 52">
            <a:extLst>
              <a:ext uri="{FF2B5EF4-FFF2-40B4-BE49-F238E27FC236}">
                <a16:creationId xmlns:a16="http://schemas.microsoft.com/office/drawing/2014/main" id="{A56561D4-D136-F658-814F-9E0D4D30C944}"/>
              </a:ext>
            </a:extLst>
          </p:cNvPr>
          <p:cNvSpPr/>
          <p:nvPr/>
        </p:nvSpPr>
        <p:spPr bwMode="gray">
          <a:xfrm>
            <a:off x="3621108" y="835023"/>
            <a:ext cx="795528" cy="5693436"/>
          </a:xfrm>
          <a:prstGeom prst="roundRect">
            <a:avLst/>
          </a:prstGeom>
          <a:solidFill>
            <a:schemeClr val="bg1"/>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Rectangle: Rounded Corners 53">
            <a:extLst>
              <a:ext uri="{FF2B5EF4-FFF2-40B4-BE49-F238E27FC236}">
                <a16:creationId xmlns:a16="http://schemas.microsoft.com/office/drawing/2014/main" id="{2DC2DFED-EC8F-E6A9-13EB-7009D3A4005B}"/>
              </a:ext>
            </a:extLst>
          </p:cNvPr>
          <p:cNvSpPr/>
          <p:nvPr/>
        </p:nvSpPr>
        <p:spPr bwMode="gray">
          <a:xfrm>
            <a:off x="4425910" y="835023"/>
            <a:ext cx="795528" cy="5693436"/>
          </a:xfrm>
          <a:prstGeom prst="roundRect">
            <a:avLst/>
          </a:prstGeom>
          <a:solidFill>
            <a:schemeClr val="bg1">
              <a:lumMod val="95000"/>
            </a:schemeClr>
          </a:solidFill>
          <a:ln w="19050" algn="ctr">
            <a:noFill/>
            <a:miter lim="800000"/>
            <a:headEnd/>
            <a:tailEnd/>
          </a:ln>
          <a:effectLst>
            <a:outerShdw blurRad="50800" dist="38100" dir="16200000"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Title 2">
            <a:extLst>
              <a:ext uri="{FF2B5EF4-FFF2-40B4-BE49-F238E27FC236}">
                <a16:creationId xmlns:a16="http://schemas.microsoft.com/office/drawing/2014/main" id="{0E4F14CE-0C40-3F5C-CA23-2C1BEE81ACC3}"/>
              </a:ext>
            </a:extLst>
          </p:cNvPr>
          <p:cNvSpPr>
            <a:spLocks noGrp="1"/>
          </p:cNvSpPr>
          <p:nvPr>
            <p:ph type="title"/>
          </p:nvPr>
        </p:nvSpPr>
        <p:spPr>
          <a:xfrm>
            <a:off x="463294" y="417911"/>
            <a:ext cx="11462005" cy="334099"/>
          </a:xfrm>
        </p:spPr>
        <p:txBody>
          <a:bodyPr vert="horz" lIns="0" tIns="0" rIns="0" bIns="0" rtlCol="0" anchor="t" anchorCtr="0">
            <a:noAutofit/>
          </a:bodyPr>
          <a:lstStyle/>
          <a:p>
            <a:r>
              <a:rPr lang="ro-RO" sz="2400" spc="-75" dirty="0" err="1"/>
              <a:t>Map</a:t>
            </a:r>
            <a:r>
              <a:rPr lang="ro-RO" sz="2400" spc="-75" dirty="0"/>
              <a:t> of </a:t>
            </a:r>
            <a:r>
              <a:rPr lang="ro-RO" sz="2400" spc="-75" dirty="0" err="1"/>
              <a:t>Deloitte</a:t>
            </a:r>
            <a:r>
              <a:rPr lang="ro-RO" sz="2400" spc="-75" dirty="0"/>
              <a:t> </a:t>
            </a:r>
            <a:r>
              <a:rPr lang="ro-RO" sz="2400" spc="-75" dirty="0" err="1"/>
              <a:t>experts</a:t>
            </a:r>
            <a:r>
              <a:rPr lang="ro-RO" sz="2400" spc="-75" dirty="0"/>
              <a:t> </a:t>
            </a:r>
            <a:r>
              <a:rPr lang="ro-RO" sz="2400" spc="-75" dirty="0" err="1"/>
              <a:t>by</a:t>
            </a:r>
            <a:r>
              <a:rPr lang="ro-RO" sz="2400" spc="-75" dirty="0"/>
              <a:t> </a:t>
            </a:r>
            <a:r>
              <a:rPr lang="ro-RO" sz="2400" spc="-75" dirty="0" err="1"/>
              <a:t>chapter</a:t>
            </a:r>
            <a:r>
              <a:rPr lang="ro-RO" sz="2400" spc="-75" dirty="0"/>
              <a:t> </a:t>
            </a:r>
            <a:r>
              <a:rPr lang="ro-RO" sz="2400" spc="-75" dirty="0" err="1"/>
              <a:t>relevance</a:t>
            </a:r>
            <a:endParaRPr lang="en-US" sz="2400" spc="-75" dirty="0"/>
          </a:p>
        </p:txBody>
      </p:sp>
      <p:graphicFrame>
        <p:nvGraphicFramePr>
          <p:cNvPr id="4" name="Table 13">
            <a:extLst>
              <a:ext uri="{FF2B5EF4-FFF2-40B4-BE49-F238E27FC236}">
                <a16:creationId xmlns:a16="http://schemas.microsoft.com/office/drawing/2014/main" id="{2B0086CD-550D-B345-D9FD-A708F6F239EE}"/>
              </a:ext>
            </a:extLst>
          </p:cNvPr>
          <p:cNvGraphicFramePr>
            <a:graphicFrameLocks noGrp="1"/>
          </p:cNvGraphicFramePr>
          <p:nvPr>
            <p:extLst>
              <p:ext uri="{D42A27DB-BD31-4B8C-83A1-F6EECF244321}">
                <p14:modId xmlns:p14="http://schemas.microsoft.com/office/powerpoint/2010/main" val="1850270383"/>
              </p:ext>
            </p:extLst>
          </p:nvPr>
        </p:nvGraphicFramePr>
        <p:xfrm>
          <a:off x="590550" y="1120779"/>
          <a:ext cx="10972797" cy="5407680"/>
        </p:xfrm>
        <a:graphic>
          <a:graphicData uri="http://schemas.openxmlformats.org/drawingml/2006/table">
            <a:tbl>
              <a:tblPr firstRow="1" bandRow="1">
                <a:tableStyleId>{5C22544A-7EE6-4342-B048-85BDC9FD1C3A}</a:tableStyleId>
              </a:tblPr>
              <a:tblGrid>
                <a:gridCol w="238125">
                  <a:extLst>
                    <a:ext uri="{9D8B030D-6E8A-4147-A177-3AD203B41FA5}">
                      <a16:colId xmlns:a16="http://schemas.microsoft.com/office/drawing/2014/main" val="3031898452"/>
                    </a:ext>
                  </a:extLst>
                </a:gridCol>
                <a:gridCol w="990600">
                  <a:extLst>
                    <a:ext uri="{9D8B030D-6E8A-4147-A177-3AD203B41FA5}">
                      <a16:colId xmlns:a16="http://schemas.microsoft.com/office/drawing/2014/main" val="2561715093"/>
                    </a:ext>
                  </a:extLst>
                </a:gridCol>
                <a:gridCol w="209550">
                  <a:extLst>
                    <a:ext uri="{9D8B030D-6E8A-4147-A177-3AD203B41FA5}">
                      <a16:colId xmlns:a16="http://schemas.microsoft.com/office/drawing/2014/main" val="542882205"/>
                    </a:ext>
                  </a:extLst>
                </a:gridCol>
                <a:gridCol w="800100">
                  <a:extLst>
                    <a:ext uri="{9D8B030D-6E8A-4147-A177-3AD203B41FA5}">
                      <a16:colId xmlns:a16="http://schemas.microsoft.com/office/drawing/2014/main" val="3489993565"/>
                    </a:ext>
                  </a:extLst>
                </a:gridCol>
                <a:gridCol w="828675">
                  <a:extLst>
                    <a:ext uri="{9D8B030D-6E8A-4147-A177-3AD203B41FA5}">
                      <a16:colId xmlns:a16="http://schemas.microsoft.com/office/drawing/2014/main" val="3950530353"/>
                    </a:ext>
                  </a:extLst>
                </a:gridCol>
                <a:gridCol w="790575">
                  <a:extLst>
                    <a:ext uri="{9D8B030D-6E8A-4147-A177-3AD203B41FA5}">
                      <a16:colId xmlns:a16="http://schemas.microsoft.com/office/drawing/2014/main" val="2999809245"/>
                    </a:ext>
                  </a:extLst>
                </a:gridCol>
                <a:gridCol w="809625">
                  <a:extLst>
                    <a:ext uri="{9D8B030D-6E8A-4147-A177-3AD203B41FA5}">
                      <a16:colId xmlns:a16="http://schemas.microsoft.com/office/drawing/2014/main" val="610721638"/>
                    </a:ext>
                  </a:extLst>
                </a:gridCol>
                <a:gridCol w="790575">
                  <a:extLst>
                    <a:ext uri="{9D8B030D-6E8A-4147-A177-3AD203B41FA5}">
                      <a16:colId xmlns:a16="http://schemas.microsoft.com/office/drawing/2014/main" val="1515996014"/>
                    </a:ext>
                  </a:extLst>
                </a:gridCol>
                <a:gridCol w="781050">
                  <a:extLst>
                    <a:ext uri="{9D8B030D-6E8A-4147-A177-3AD203B41FA5}">
                      <a16:colId xmlns:a16="http://schemas.microsoft.com/office/drawing/2014/main" val="2095918558"/>
                    </a:ext>
                  </a:extLst>
                </a:gridCol>
                <a:gridCol w="771525">
                  <a:extLst>
                    <a:ext uri="{9D8B030D-6E8A-4147-A177-3AD203B41FA5}">
                      <a16:colId xmlns:a16="http://schemas.microsoft.com/office/drawing/2014/main" val="3654228693"/>
                    </a:ext>
                  </a:extLst>
                </a:gridCol>
                <a:gridCol w="828675">
                  <a:extLst>
                    <a:ext uri="{9D8B030D-6E8A-4147-A177-3AD203B41FA5}">
                      <a16:colId xmlns:a16="http://schemas.microsoft.com/office/drawing/2014/main" val="78615181"/>
                    </a:ext>
                  </a:extLst>
                </a:gridCol>
                <a:gridCol w="771525">
                  <a:extLst>
                    <a:ext uri="{9D8B030D-6E8A-4147-A177-3AD203B41FA5}">
                      <a16:colId xmlns:a16="http://schemas.microsoft.com/office/drawing/2014/main" val="99988573"/>
                    </a:ext>
                  </a:extLst>
                </a:gridCol>
                <a:gridCol w="809625">
                  <a:extLst>
                    <a:ext uri="{9D8B030D-6E8A-4147-A177-3AD203B41FA5}">
                      <a16:colId xmlns:a16="http://schemas.microsoft.com/office/drawing/2014/main" val="146574628"/>
                    </a:ext>
                  </a:extLst>
                </a:gridCol>
                <a:gridCol w="800100">
                  <a:extLst>
                    <a:ext uri="{9D8B030D-6E8A-4147-A177-3AD203B41FA5}">
                      <a16:colId xmlns:a16="http://schemas.microsoft.com/office/drawing/2014/main" val="3379978656"/>
                    </a:ext>
                  </a:extLst>
                </a:gridCol>
                <a:gridCol w="752472">
                  <a:extLst>
                    <a:ext uri="{9D8B030D-6E8A-4147-A177-3AD203B41FA5}">
                      <a16:colId xmlns:a16="http://schemas.microsoft.com/office/drawing/2014/main" val="2698975164"/>
                    </a:ext>
                  </a:extLst>
                </a:gridCol>
              </a:tblGrid>
              <a:tr h="527540">
                <a:tc>
                  <a:txBody>
                    <a:bodyPr/>
                    <a:lstStyle/>
                    <a:p>
                      <a:pPr algn="r" rtl="0" fontAlgn="ctr"/>
                      <a:endParaRPr lang="en-US" sz="800" b="0"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ro-RO" sz="800" b="0" i="1"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ame</a:t>
                      </a:r>
                      <a:endParaRPr lang="en-US" sz="800" b="0" i="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mpd="sng">
                      <a:noFill/>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ro-RO" sz="800" b="0" i="1"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Pg</a:t>
                      </a:r>
                      <a:r>
                        <a:rPr lang="ro-RO" sz="800" b="0" i="1"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a:t>
                      </a:r>
                      <a:endParaRPr lang="en-US" sz="800" b="0" i="1"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Technology Consulting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Data and Analytics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Process</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Improvement</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Design and User Experience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upport and Maintenance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trategy Consulting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Project Management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Organizational change management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Management Advisory services</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Human resources consulting service</a:t>
                      </a: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Instructional Design </a:t>
                      </a:r>
                      <a:endPar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pPr marL="0" algn="l" defTabSz="685800" rtl="0" eaLnBrk="1" latinLnBrk="0" hangingPunct="1"/>
                      <a:r>
                        <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Services</a:t>
                      </a:r>
                    </a:p>
                    <a:p>
                      <a:pPr marL="0" algn="l" defTabSz="685800" rtl="0" eaLnBrk="1" latinLnBrk="0" hangingPunct="1"/>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latinLnBrk="0" hangingPunct="1"/>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Risk</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amp; </a:t>
                      </a:r>
                      <a:r>
                        <a:rPr lang="ro-RO" sz="800" b="1" i="0" kern="1200" dirty="0" err="1">
                          <a:solidFill>
                            <a:schemeClr val="dk1"/>
                          </a:solidFill>
                          <a:latin typeface="Open Sans" panose="020B0606030504020204" pitchFamily="34" charset="0"/>
                          <a:ea typeface="Open Sans" panose="020B0606030504020204" pitchFamily="34" charset="0"/>
                          <a:cs typeface="Open Sans" panose="020B0606030504020204" pitchFamily="34" charset="0"/>
                        </a:rPr>
                        <a:t>Compliance</a:t>
                      </a:r>
                      <a:r>
                        <a:rPr lang="ro-RO"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 Services</a:t>
                      </a:r>
                      <a:endParaRPr lang="en-US" sz="800" b="1"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lnL w="12700" cap="flat" cmpd="sng" algn="ctr">
                      <a:noFill/>
                      <a:prstDash val="solid"/>
                      <a:round/>
                      <a:headEnd type="none" w="med" len="med"/>
                      <a:tailEnd type="none" w="med" len="med"/>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9275019"/>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ro-RO"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oldizs</a:t>
                      </a: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ár Körmendy</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1"/>
                      <a:r>
                        <a:rPr lang="ro-RO"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endParaRPr lang="en-US" sz="8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4055033"/>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óra Kozma</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073390"/>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dina Lencsé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850995"/>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éter Salamon</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883485"/>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óra Páll</a:t>
                      </a: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901565"/>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gdalena </a:t>
                      </a:r>
                      <a:r>
                        <a:rPr lang="en-US"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Łomn</a:t>
                      </a: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623407"/>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rija </a:t>
                      </a:r>
                      <a:r>
                        <a:rPr lang="hu-HU"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aickovic</a:t>
                      </a:r>
                      <a:endPar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2229621"/>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Helga </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Kiss </a:t>
                      </a:r>
                      <a:r>
                        <a:rPr lang="en-US"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olet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5515617"/>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ichał</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r>
                        <a:rPr lang="en-US"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ylwik</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5774093"/>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avel </a:t>
                      </a:r>
                      <a:r>
                        <a:rPr lang="en-US"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ratsiakevi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113680"/>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atrycja Zajac</a:t>
                      </a: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230679"/>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kern="120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Zuzanna</a:t>
                      </a:r>
                      <a:r>
                        <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r>
                        <a:rPr lang="en-US" sz="800" b="0" i="0" u="none" strike="noStrike" kern="120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Zalewska</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374927"/>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Keshav Sharma</a:t>
                      </a: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456316"/>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akub Meus</a:t>
                      </a: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9155256"/>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uca Fazeka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3374158"/>
                  </a:ext>
                </a:extLst>
              </a:tr>
              <a:tr h="182784">
                <a:tc>
                  <a:txBody>
                    <a:bodyPr/>
                    <a:lstStyle/>
                    <a:p>
                      <a:pPr algn="l" rtl="0" fontAlgn="ctr"/>
                      <a:r>
                        <a:rPr lang="ro-RO"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hu-HU"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tra Kovács</a:t>
                      </a:r>
                      <a:endParaRPr lang="en-US" sz="8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4084695"/>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rcell Dalnoki</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33031"/>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orottya Puská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864118"/>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óra Dankó</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7361695"/>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orenzo </a:t>
                      </a:r>
                      <a:r>
                        <a:rPr lang="hu-HU"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usimano</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757201"/>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ro-RO"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ianka Grimm</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8747472"/>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ro-RO"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Vik</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a:t>
                      </a:r>
                      <a:r>
                        <a:rPr lang="hu-HU" sz="8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ória</a:t>
                      </a: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Horvát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883439"/>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arah Issa</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414692"/>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C</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ergely Nyila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6954963"/>
                  </a:ext>
                </a:extLst>
              </a:tr>
              <a:tr h="182784">
                <a:tc>
                  <a:txBody>
                    <a:bodyPr/>
                    <a:lstStyle/>
                    <a:p>
                      <a:pPr algn="l" rtl="0" fontAlgn="ctr"/>
                      <a:r>
                        <a:rPr lang="hu-HU"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rPr>
                        <a:t>A</a:t>
                      </a:r>
                      <a:endParaRPr lang="en-US" sz="700" b="1" i="0" u="none" strike="noStrike" dirty="0">
                        <a:solidFill>
                          <a:srgbClr val="1CABE3"/>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7200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hu-HU"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éter Folyovi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ct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o-RO" sz="800" i="0" dirty="0">
                          <a:highlight>
                            <a:srgbClr val="FFFF00"/>
                          </a:highlight>
                          <a:latin typeface="Open Sans" panose="020B0606030504020204" pitchFamily="34" charset="0"/>
                          <a:ea typeface="Open Sans" panose="020B0606030504020204" pitchFamily="34" charset="0"/>
                          <a:cs typeface="Open Sans" panose="020B0606030504020204" pitchFamily="34" charset="0"/>
                        </a:rPr>
                        <a:t>1</a:t>
                      </a:r>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800" i="0" dirty="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36000" marB="36000" anchor="b">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8366079"/>
                  </a:ext>
                </a:extLst>
              </a:tr>
            </a:tbl>
          </a:graphicData>
        </a:graphic>
      </p:graphicFrame>
      <p:grpSp>
        <p:nvGrpSpPr>
          <p:cNvPr id="9" name="Group 8">
            <a:extLst>
              <a:ext uri="{FF2B5EF4-FFF2-40B4-BE49-F238E27FC236}">
                <a16:creationId xmlns:a16="http://schemas.microsoft.com/office/drawing/2014/main" id="{A672D4A7-D6BF-6D88-04CB-35DADAA3DD07}"/>
              </a:ext>
            </a:extLst>
          </p:cNvPr>
          <p:cNvGrpSpPr/>
          <p:nvPr/>
        </p:nvGrpSpPr>
        <p:grpSpPr>
          <a:xfrm>
            <a:off x="10020300" y="926506"/>
            <a:ext cx="168235" cy="168236"/>
            <a:chOff x="2990850" y="417911"/>
            <a:chExt cx="417112" cy="417112"/>
          </a:xfrm>
        </p:grpSpPr>
        <p:sp>
          <p:nvSpPr>
            <p:cNvPr id="6" name="Flowchart: Connector 5">
              <a:extLst>
                <a:ext uri="{FF2B5EF4-FFF2-40B4-BE49-F238E27FC236}">
                  <a16:creationId xmlns:a16="http://schemas.microsoft.com/office/drawing/2014/main" id="{3D55D9DB-15A3-0EFB-1E00-1FB847F4D72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7" name="TextBox 6">
              <a:extLst>
                <a:ext uri="{FF2B5EF4-FFF2-40B4-BE49-F238E27FC236}">
                  <a16:creationId xmlns:a16="http://schemas.microsoft.com/office/drawing/2014/main" id="{9C233E43-E8BF-04F1-A954-2900716EC988}"/>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 name="Group 10">
            <a:extLst>
              <a:ext uri="{FF2B5EF4-FFF2-40B4-BE49-F238E27FC236}">
                <a16:creationId xmlns:a16="http://schemas.microsoft.com/office/drawing/2014/main" id="{402CE7D1-9C09-9ABC-DEC0-2CC1400A0F5A}"/>
              </a:ext>
            </a:extLst>
          </p:cNvPr>
          <p:cNvGrpSpPr/>
          <p:nvPr/>
        </p:nvGrpSpPr>
        <p:grpSpPr>
          <a:xfrm>
            <a:off x="10820400" y="926506"/>
            <a:ext cx="168235" cy="168236"/>
            <a:chOff x="2990850" y="417911"/>
            <a:chExt cx="417112" cy="417112"/>
          </a:xfrm>
        </p:grpSpPr>
        <p:sp>
          <p:nvSpPr>
            <p:cNvPr id="12" name="Flowchart: Connector 11">
              <a:extLst>
                <a:ext uri="{FF2B5EF4-FFF2-40B4-BE49-F238E27FC236}">
                  <a16:creationId xmlns:a16="http://schemas.microsoft.com/office/drawing/2014/main" id="{81461D00-51FE-2483-F597-7C276FCE0CC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13" name="TextBox 12">
              <a:extLst>
                <a:ext uri="{FF2B5EF4-FFF2-40B4-BE49-F238E27FC236}">
                  <a16:creationId xmlns:a16="http://schemas.microsoft.com/office/drawing/2014/main" id="{70B6AB9B-49EC-36DE-95A5-087B6F78E4F7}"/>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55AA9950-01CE-C541-DA61-26B4B9F646BF}"/>
              </a:ext>
            </a:extLst>
          </p:cNvPr>
          <p:cNvGrpSpPr/>
          <p:nvPr/>
        </p:nvGrpSpPr>
        <p:grpSpPr>
          <a:xfrm>
            <a:off x="2009775" y="926506"/>
            <a:ext cx="168235" cy="168236"/>
            <a:chOff x="2990850" y="417911"/>
            <a:chExt cx="417112" cy="417112"/>
          </a:xfrm>
        </p:grpSpPr>
        <p:sp>
          <p:nvSpPr>
            <p:cNvPr id="21" name="Flowchart: Connector 20">
              <a:extLst>
                <a:ext uri="{FF2B5EF4-FFF2-40B4-BE49-F238E27FC236}">
                  <a16:creationId xmlns:a16="http://schemas.microsoft.com/office/drawing/2014/main" id="{1ACFAD3D-5F61-7BCC-226D-94CC879AA3D5}"/>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3" name="TextBox 22">
              <a:extLst>
                <a:ext uri="{FF2B5EF4-FFF2-40B4-BE49-F238E27FC236}">
                  <a16:creationId xmlns:a16="http://schemas.microsoft.com/office/drawing/2014/main" id="{E7B63EFF-C324-26D7-F23A-67EE2FCEC7F6}"/>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 23">
            <a:extLst>
              <a:ext uri="{FF2B5EF4-FFF2-40B4-BE49-F238E27FC236}">
                <a16:creationId xmlns:a16="http://schemas.microsoft.com/office/drawing/2014/main" id="{C8FE6E1A-2160-75B9-784E-7F244A2BDD36}"/>
              </a:ext>
            </a:extLst>
          </p:cNvPr>
          <p:cNvGrpSpPr/>
          <p:nvPr/>
        </p:nvGrpSpPr>
        <p:grpSpPr>
          <a:xfrm>
            <a:off x="2838450" y="926506"/>
            <a:ext cx="168235" cy="168236"/>
            <a:chOff x="2990850" y="417911"/>
            <a:chExt cx="417112" cy="417112"/>
          </a:xfrm>
        </p:grpSpPr>
        <p:sp>
          <p:nvSpPr>
            <p:cNvPr id="25" name="Flowchart: Connector 24">
              <a:extLst>
                <a:ext uri="{FF2B5EF4-FFF2-40B4-BE49-F238E27FC236}">
                  <a16:creationId xmlns:a16="http://schemas.microsoft.com/office/drawing/2014/main" id="{25ECB68E-EE33-F729-C88F-C30FEA879E92}"/>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6" name="TextBox 25">
              <a:extLst>
                <a:ext uri="{FF2B5EF4-FFF2-40B4-BE49-F238E27FC236}">
                  <a16:creationId xmlns:a16="http://schemas.microsoft.com/office/drawing/2014/main" id="{5E7DE4DE-561A-6EF7-FCB9-8C8030018D7D}"/>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 name="Group 26">
            <a:extLst>
              <a:ext uri="{FF2B5EF4-FFF2-40B4-BE49-F238E27FC236}">
                <a16:creationId xmlns:a16="http://schemas.microsoft.com/office/drawing/2014/main" id="{4C9BB761-E036-455D-87A3-E83BD9EBE214}"/>
              </a:ext>
            </a:extLst>
          </p:cNvPr>
          <p:cNvGrpSpPr/>
          <p:nvPr/>
        </p:nvGrpSpPr>
        <p:grpSpPr>
          <a:xfrm>
            <a:off x="3667125" y="926506"/>
            <a:ext cx="168235" cy="168236"/>
            <a:chOff x="2990850" y="417911"/>
            <a:chExt cx="417112" cy="417112"/>
          </a:xfrm>
        </p:grpSpPr>
        <p:sp>
          <p:nvSpPr>
            <p:cNvPr id="28" name="Flowchart: Connector 27">
              <a:extLst>
                <a:ext uri="{FF2B5EF4-FFF2-40B4-BE49-F238E27FC236}">
                  <a16:creationId xmlns:a16="http://schemas.microsoft.com/office/drawing/2014/main" id="{7E62376B-06E4-2480-334A-2B9FF9B90AED}"/>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29" name="TextBox 28">
              <a:extLst>
                <a:ext uri="{FF2B5EF4-FFF2-40B4-BE49-F238E27FC236}">
                  <a16:creationId xmlns:a16="http://schemas.microsoft.com/office/drawing/2014/main" id="{A1592A4B-F689-B4AF-5B4D-345FE18C185C}"/>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oup 29">
            <a:extLst>
              <a:ext uri="{FF2B5EF4-FFF2-40B4-BE49-F238E27FC236}">
                <a16:creationId xmlns:a16="http://schemas.microsoft.com/office/drawing/2014/main" id="{D1E45DE1-AC5C-1151-8F2D-513166227BE8}"/>
              </a:ext>
            </a:extLst>
          </p:cNvPr>
          <p:cNvGrpSpPr/>
          <p:nvPr/>
        </p:nvGrpSpPr>
        <p:grpSpPr>
          <a:xfrm>
            <a:off x="4448175" y="926506"/>
            <a:ext cx="168235" cy="168236"/>
            <a:chOff x="2990850" y="417911"/>
            <a:chExt cx="417112" cy="417112"/>
          </a:xfrm>
        </p:grpSpPr>
        <p:sp>
          <p:nvSpPr>
            <p:cNvPr id="31" name="Flowchart: Connector 30">
              <a:extLst>
                <a:ext uri="{FF2B5EF4-FFF2-40B4-BE49-F238E27FC236}">
                  <a16:creationId xmlns:a16="http://schemas.microsoft.com/office/drawing/2014/main" id="{1D927B5E-9F6E-38EA-E3B4-255208778475}"/>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2" name="TextBox 31">
              <a:extLst>
                <a:ext uri="{FF2B5EF4-FFF2-40B4-BE49-F238E27FC236}">
                  <a16:creationId xmlns:a16="http://schemas.microsoft.com/office/drawing/2014/main" id="{AEA84AC5-6A34-CDA0-BE78-3951A3BD1761}"/>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32">
            <a:extLst>
              <a:ext uri="{FF2B5EF4-FFF2-40B4-BE49-F238E27FC236}">
                <a16:creationId xmlns:a16="http://schemas.microsoft.com/office/drawing/2014/main" id="{974B55EF-EE14-3051-5586-BCCB9EF648F9}"/>
              </a:ext>
            </a:extLst>
          </p:cNvPr>
          <p:cNvGrpSpPr/>
          <p:nvPr/>
        </p:nvGrpSpPr>
        <p:grpSpPr>
          <a:xfrm>
            <a:off x="5267325" y="926506"/>
            <a:ext cx="168235" cy="168236"/>
            <a:chOff x="2990850" y="417911"/>
            <a:chExt cx="417112" cy="417112"/>
          </a:xfrm>
        </p:grpSpPr>
        <p:sp>
          <p:nvSpPr>
            <p:cNvPr id="34" name="Flowchart: Connector 33">
              <a:extLst>
                <a:ext uri="{FF2B5EF4-FFF2-40B4-BE49-F238E27FC236}">
                  <a16:creationId xmlns:a16="http://schemas.microsoft.com/office/drawing/2014/main" id="{2BDC5F65-22CF-BF76-6AFA-E5BA5293BA9D}"/>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5" name="TextBox 34">
              <a:extLst>
                <a:ext uri="{FF2B5EF4-FFF2-40B4-BE49-F238E27FC236}">
                  <a16:creationId xmlns:a16="http://schemas.microsoft.com/office/drawing/2014/main" id="{B2E4A31E-640F-8633-DCD2-445891F230B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35">
            <a:extLst>
              <a:ext uri="{FF2B5EF4-FFF2-40B4-BE49-F238E27FC236}">
                <a16:creationId xmlns:a16="http://schemas.microsoft.com/office/drawing/2014/main" id="{F4AD52F9-1823-79CB-10DA-5B49C8F6FCCE}"/>
              </a:ext>
            </a:extLst>
          </p:cNvPr>
          <p:cNvGrpSpPr/>
          <p:nvPr/>
        </p:nvGrpSpPr>
        <p:grpSpPr>
          <a:xfrm>
            <a:off x="6049982" y="926506"/>
            <a:ext cx="168235" cy="168236"/>
            <a:chOff x="2990850" y="417911"/>
            <a:chExt cx="417112" cy="417112"/>
          </a:xfrm>
        </p:grpSpPr>
        <p:sp>
          <p:nvSpPr>
            <p:cNvPr id="37" name="Flowchart: Connector 36">
              <a:extLst>
                <a:ext uri="{FF2B5EF4-FFF2-40B4-BE49-F238E27FC236}">
                  <a16:creationId xmlns:a16="http://schemas.microsoft.com/office/drawing/2014/main" id="{6F90A3C0-B8EC-D4A3-CF3B-107FCC559AA6}"/>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38" name="TextBox 37">
              <a:extLst>
                <a:ext uri="{FF2B5EF4-FFF2-40B4-BE49-F238E27FC236}">
                  <a16:creationId xmlns:a16="http://schemas.microsoft.com/office/drawing/2014/main" id="{824491EA-58F6-BA83-F042-9EAE90FBC37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 name="Group 38">
            <a:extLst>
              <a:ext uri="{FF2B5EF4-FFF2-40B4-BE49-F238E27FC236}">
                <a16:creationId xmlns:a16="http://schemas.microsoft.com/office/drawing/2014/main" id="{321ECD8D-C192-0AA5-D667-911F651E78B4}"/>
              </a:ext>
            </a:extLst>
          </p:cNvPr>
          <p:cNvGrpSpPr/>
          <p:nvPr/>
        </p:nvGrpSpPr>
        <p:grpSpPr>
          <a:xfrm>
            <a:off x="6840557" y="926506"/>
            <a:ext cx="168235" cy="168236"/>
            <a:chOff x="2990850" y="417911"/>
            <a:chExt cx="417112" cy="417112"/>
          </a:xfrm>
        </p:grpSpPr>
        <p:sp>
          <p:nvSpPr>
            <p:cNvPr id="40" name="Flowchart: Connector 39">
              <a:extLst>
                <a:ext uri="{FF2B5EF4-FFF2-40B4-BE49-F238E27FC236}">
                  <a16:creationId xmlns:a16="http://schemas.microsoft.com/office/drawing/2014/main" id="{11F07772-AE83-4AC3-1523-E14266BCD318}"/>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1" name="TextBox 40">
              <a:extLst>
                <a:ext uri="{FF2B5EF4-FFF2-40B4-BE49-F238E27FC236}">
                  <a16:creationId xmlns:a16="http://schemas.microsoft.com/office/drawing/2014/main" id="{9D8B5B67-4903-EE41-29AC-30C2BB4CBB74}"/>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 name="Group 41">
            <a:extLst>
              <a:ext uri="{FF2B5EF4-FFF2-40B4-BE49-F238E27FC236}">
                <a16:creationId xmlns:a16="http://schemas.microsoft.com/office/drawing/2014/main" id="{1B191207-1FD6-44AA-A5A8-A9769167388B}"/>
              </a:ext>
            </a:extLst>
          </p:cNvPr>
          <p:cNvGrpSpPr/>
          <p:nvPr/>
        </p:nvGrpSpPr>
        <p:grpSpPr>
          <a:xfrm>
            <a:off x="7640657" y="926506"/>
            <a:ext cx="168235" cy="168236"/>
            <a:chOff x="2990850" y="417911"/>
            <a:chExt cx="417112" cy="417112"/>
          </a:xfrm>
        </p:grpSpPr>
        <p:sp>
          <p:nvSpPr>
            <p:cNvPr id="43" name="Flowchart: Connector 42">
              <a:extLst>
                <a:ext uri="{FF2B5EF4-FFF2-40B4-BE49-F238E27FC236}">
                  <a16:creationId xmlns:a16="http://schemas.microsoft.com/office/drawing/2014/main" id="{A68A0744-42BD-5D69-B569-0223C9A1E19F}"/>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4" name="TextBox 43">
              <a:extLst>
                <a:ext uri="{FF2B5EF4-FFF2-40B4-BE49-F238E27FC236}">
                  <a16:creationId xmlns:a16="http://schemas.microsoft.com/office/drawing/2014/main" id="{E7E37CBD-65F2-4658-4B09-0A506F0F0B8B}"/>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44">
            <a:extLst>
              <a:ext uri="{FF2B5EF4-FFF2-40B4-BE49-F238E27FC236}">
                <a16:creationId xmlns:a16="http://schemas.microsoft.com/office/drawing/2014/main" id="{76CC9FC8-B73F-A6EC-20FE-79A7DB6EF276}"/>
              </a:ext>
            </a:extLst>
          </p:cNvPr>
          <p:cNvGrpSpPr/>
          <p:nvPr/>
        </p:nvGrpSpPr>
        <p:grpSpPr>
          <a:xfrm>
            <a:off x="8440757" y="926506"/>
            <a:ext cx="168235" cy="168236"/>
            <a:chOff x="2990850" y="417911"/>
            <a:chExt cx="417112" cy="417112"/>
          </a:xfrm>
        </p:grpSpPr>
        <p:sp>
          <p:nvSpPr>
            <p:cNvPr id="46" name="Flowchart: Connector 45">
              <a:extLst>
                <a:ext uri="{FF2B5EF4-FFF2-40B4-BE49-F238E27FC236}">
                  <a16:creationId xmlns:a16="http://schemas.microsoft.com/office/drawing/2014/main" id="{998FB8F8-D08F-2315-CEE2-756A14AE2B48}"/>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47" name="TextBox 46">
              <a:extLst>
                <a:ext uri="{FF2B5EF4-FFF2-40B4-BE49-F238E27FC236}">
                  <a16:creationId xmlns:a16="http://schemas.microsoft.com/office/drawing/2014/main" id="{5FC24374-38D2-CB29-EBFB-682784765E99}"/>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8" name="Group 47">
            <a:extLst>
              <a:ext uri="{FF2B5EF4-FFF2-40B4-BE49-F238E27FC236}">
                <a16:creationId xmlns:a16="http://schemas.microsoft.com/office/drawing/2014/main" id="{9121892C-748C-DDB5-684C-0FCC70D23667}"/>
              </a:ext>
            </a:extLst>
          </p:cNvPr>
          <p:cNvGrpSpPr/>
          <p:nvPr/>
        </p:nvGrpSpPr>
        <p:grpSpPr>
          <a:xfrm>
            <a:off x="9218592" y="926506"/>
            <a:ext cx="168235" cy="168236"/>
            <a:chOff x="2990850" y="417911"/>
            <a:chExt cx="417112" cy="417112"/>
          </a:xfrm>
        </p:grpSpPr>
        <p:sp>
          <p:nvSpPr>
            <p:cNvPr id="49" name="Flowchart: Connector 48">
              <a:extLst>
                <a:ext uri="{FF2B5EF4-FFF2-40B4-BE49-F238E27FC236}">
                  <a16:creationId xmlns:a16="http://schemas.microsoft.com/office/drawing/2014/main" id="{4FBD62CC-0FFD-21A9-DC22-39DB226706EE}"/>
                </a:ext>
              </a:extLst>
            </p:cNvPr>
            <p:cNvSpPr/>
            <p:nvPr/>
          </p:nvSpPr>
          <p:spPr bwMode="gray">
            <a:xfrm>
              <a:off x="2990850" y="417911"/>
              <a:ext cx="417112" cy="417112"/>
            </a:xfrm>
            <a:prstGeom prst="flowChartConnec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700" b="1" dirty="0">
                <a:solidFill>
                  <a:schemeClr val="bg1"/>
                </a:solidFill>
              </a:endParaRPr>
            </a:p>
          </p:txBody>
        </p:sp>
        <p:sp>
          <p:nvSpPr>
            <p:cNvPr id="50" name="TextBox 49">
              <a:extLst>
                <a:ext uri="{FF2B5EF4-FFF2-40B4-BE49-F238E27FC236}">
                  <a16:creationId xmlns:a16="http://schemas.microsoft.com/office/drawing/2014/main" id="{EED0AB80-5982-80C0-C1BF-6772F76184E8}"/>
                </a:ext>
              </a:extLst>
            </p:cNvPr>
            <p:cNvSpPr txBox="1"/>
            <p:nvPr/>
          </p:nvSpPr>
          <p:spPr>
            <a:xfrm>
              <a:off x="2990850" y="428049"/>
              <a:ext cx="417112" cy="381541"/>
            </a:xfrm>
            <a:prstGeom prst="rect">
              <a:avLst/>
            </a:prstGeom>
            <a:noFill/>
          </p:spPr>
          <p:txBody>
            <a:bodyPr wrap="square" lIns="0" tIns="0" rIns="0" bIns="0" rtlCol="0">
              <a:spAutoFit/>
            </a:bodyPr>
            <a:lstStyle/>
            <a:p>
              <a:pPr algn="ctr">
                <a:spcBef>
                  <a:spcPts val="600"/>
                </a:spcBef>
                <a:buSzPct val="100000"/>
              </a:pPr>
              <a:r>
                <a:rPr lang="ro-RO"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104" name="Graphic 103" descr="Checkmark with solid fill">
            <a:extLst>
              <a:ext uri="{FF2B5EF4-FFF2-40B4-BE49-F238E27FC236}">
                <a16:creationId xmlns:a16="http://schemas.microsoft.com/office/drawing/2014/main" id="{1C6FE814-2F79-CE2A-12AA-4DE8A02EC01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2773" y="1905000"/>
            <a:ext cx="133350" cy="133350"/>
          </a:xfrm>
          <a:prstGeom prst="rect">
            <a:avLst/>
          </a:prstGeom>
        </p:spPr>
      </p:pic>
      <p:grpSp>
        <p:nvGrpSpPr>
          <p:cNvPr id="3" name="Group 2">
            <a:extLst>
              <a:ext uri="{FF2B5EF4-FFF2-40B4-BE49-F238E27FC236}">
                <a16:creationId xmlns:a16="http://schemas.microsoft.com/office/drawing/2014/main" id="{AFE193F3-2299-A581-4AF7-87CB33DBE4E2}"/>
              </a:ext>
            </a:extLst>
          </p:cNvPr>
          <p:cNvGrpSpPr/>
          <p:nvPr/>
        </p:nvGrpSpPr>
        <p:grpSpPr>
          <a:xfrm>
            <a:off x="4737244" y="6616710"/>
            <a:ext cx="7335541" cy="155443"/>
            <a:chOff x="1956681" y="6599402"/>
            <a:chExt cx="7335541" cy="155443"/>
          </a:xfrm>
        </p:grpSpPr>
        <p:sp>
          <p:nvSpPr>
            <p:cNvPr id="5" name="TextBox 4">
              <a:extLst>
                <a:ext uri="{FF2B5EF4-FFF2-40B4-BE49-F238E27FC236}">
                  <a16:creationId xmlns:a16="http://schemas.microsoft.com/office/drawing/2014/main" id="{0B436034-EF04-DDD8-5AF2-F3C626C25B34}"/>
                </a:ext>
              </a:extLst>
            </p:cNvPr>
            <p:cNvSpPr txBox="1"/>
            <p:nvPr/>
          </p:nvSpPr>
          <p:spPr>
            <a:xfrm>
              <a:off x="1956681" y="6600957"/>
              <a:ext cx="973666"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P </a:t>
              </a:r>
              <a:r>
                <a:rPr lang="ro-RO" sz="1000" dirty="0">
                  <a:solidFill>
                    <a:srgbClr val="313131"/>
                  </a:solidFill>
                </a:rPr>
                <a:t>- </a:t>
              </a:r>
              <a:r>
                <a:rPr lang="ro-RO" sz="1000" i="1" dirty="0" err="1">
                  <a:solidFill>
                    <a:srgbClr val="313131"/>
                  </a:solidFill>
                </a:rPr>
                <a:t>Partner</a:t>
              </a:r>
              <a:r>
                <a:rPr lang="ro-RO" sz="1000" i="1" dirty="0">
                  <a:solidFill>
                    <a:srgbClr val="313131"/>
                  </a:solidFill>
                </a:rPr>
                <a:t> </a:t>
              </a:r>
              <a:endParaRPr lang="en-US" sz="1000" i="1" dirty="0">
                <a:solidFill>
                  <a:srgbClr val="313131"/>
                </a:solidFill>
              </a:endParaRPr>
            </a:p>
          </p:txBody>
        </p:sp>
        <p:sp>
          <p:nvSpPr>
            <p:cNvPr id="10" name="TextBox 9">
              <a:extLst>
                <a:ext uri="{FF2B5EF4-FFF2-40B4-BE49-F238E27FC236}">
                  <a16:creationId xmlns:a16="http://schemas.microsoft.com/office/drawing/2014/main" id="{E6E577BB-C73C-ED86-DF1B-08BD52A2743C}"/>
                </a:ext>
              </a:extLst>
            </p:cNvPr>
            <p:cNvSpPr txBox="1"/>
            <p:nvPr/>
          </p:nvSpPr>
          <p:spPr>
            <a:xfrm>
              <a:off x="2683416" y="6600957"/>
              <a:ext cx="795528"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D </a:t>
              </a:r>
              <a:r>
                <a:rPr lang="ro-RO" sz="1000" dirty="0">
                  <a:solidFill>
                    <a:srgbClr val="313131"/>
                  </a:solidFill>
                </a:rPr>
                <a:t>- </a:t>
              </a:r>
              <a:r>
                <a:rPr lang="ro-RO" sz="1000" i="1" dirty="0">
                  <a:solidFill>
                    <a:srgbClr val="313131"/>
                  </a:solidFill>
                </a:rPr>
                <a:t>Director</a:t>
              </a:r>
              <a:endParaRPr lang="en-US" sz="1000" i="1" dirty="0">
                <a:solidFill>
                  <a:srgbClr val="313131"/>
                </a:solidFill>
              </a:endParaRPr>
            </a:p>
          </p:txBody>
        </p:sp>
        <p:sp>
          <p:nvSpPr>
            <p:cNvPr id="14" name="TextBox 13">
              <a:extLst>
                <a:ext uri="{FF2B5EF4-FFF2-40B4-BE49-F238E27FC236}">
                  <a16:creationId xmlns:a16="http://schemas.microsoft.com/office/drawing/2014/main" id="{865BE50A-B137-C9FC-C341-39C50AB0F65B}"/>
                </a:ext>
              </a:extLst>
            </p:cNvPr>
            <p:cNvSpPr txBox="1"/>
            <p:nvPr/>
          </p:nvSpPr>
          <p:spPr>
            <a:xfrm>
              <a:off x="3478944" y="6600957"/>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SM </a:t>
              </a:r>
              <a:r>
                <a:rPr lang="ro-RO" sz="1000" dirty="0">
                  <a:solidFill>
                    <a:srgbClr val="313131"/>
                  </a:solidFill>
                </a:rPr>
                <a:t>- </a:t>
              </a:r>
              <a:r>
                <a:rPr lang="ro-RO" sz="1000" i="1" dirty="0">
                  <a:solidFill>
                    <a:srgbClr val="313131"/>
                  </a:solidFill>
                </a:rPr>
                <a:t>Senior Manager</a:t>
              </a:r>
              <a:endParaRPr lang="en-US" sz="1000" i="1" dirty="0">
                <a:solidFill>
                  <a:srgbClr val="313131"/>
                </a:solidFill>
              </a:endParaRPr>
            </a:p>
          </p:txBody>
        </p:sp>
        <p:sp>
          <p:nvSpPr>
            <p:cNvPr id="15" name="TextBox 14">
              <a:extLst>
                <a:ext uri="{FF2B5EF4-FFF2-40B4-BE49-F238E27FC236}">
                  <a16:creationId xmlns:a16="http://schemas.microsoft.com/office/drawing/2014/main" id="{BA8339B5-0BED-E48A-98E3-CEEDC7FC32D9}"/>
                </a:ext>
              </a:extLst>
            </p:cNvPr>
            <p:cNvSpPr txBox="1"/>
            <p:nvPr/>
          </p:nvSpPr>
          <p:spPr>
            <a:xfrm>
              <a:off x="4828500" y="6600957"/>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M </a:t>
              </a:r>
              <a:r>
                <a:rPr lang="ro-RO" sz="1000" dirty="0">
                  <a:solidFill>
                    <a:srgbClr val="313131"/>
                  </a:solidFill>
                </a:rPr>
                <a:t>- </a:t>
              </a:r>
              <a:r>
                <a:rPr lang="ro-RO" sz="1000" i="1" dirty="0">
                  <a:solidFill>
                    <a:srgbClr val="313131"/>
                  </a:solidFill>
                </a:rPr>
                <a:t>Manager</a:t>
              </a:r>
              <a:endParaRPr lang="en-US" sz="1000" i="1" dirty="0">
                <a:solidFill>
                  <a:srgbClr val="313131"/>
                </a:solidFill>
              </a:endParaRPr>
            </a:p>
          </p:txBody>
        </p:sp>
        <p:sp>
          <p:nvSpPr>
            <p:cNvPr id="17" name="TextBox 16">
              <a:extLst>
                <a:ext uri="{FF2B5EF4-FFF2-40B4-BE49-F238E27FC236}">
                  <a16:creationId xmlns:a16="http://schemas.microsoft.com/office/drawing/2014/main" id="{24770728-24C0-A205-89F3-80D4B5E28E57}"/>
                </a:ext>
              </a:extLst>
            </p:cNvPr>
            <p:cNvSpPr txBox="1"/>
            <p:nvPr/>
          </p:nvSpPr>
          <p:spPr>
            <a:xfrm>
              <a:off x="5771326"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SC</a:t>
              </a:r>
              <a:r>
                <a:rPr lang="ro-RO" sz="1000" dirty="0">
                  <a:solidFill>
                    <a:srgbClr val="313131"/>
                  </a:solidFill>
                </a:rPr>
                <a:t> - </a:t>
              </a:r>
              <a:r>
                <a:rPr lang="ro-RO" sz="1000" i="1" dirty="0">
                  <a:solidFill>
                    <a:srgbClr val="313131"/>
                  </a:solidFill>
                </a:rPr>
                <a:t>Senior Consultant </a:t>
              </a:r>
              <a:endParaRPr lang="en-US" sz="1000" i="1" dirty="0">
                <a:solidFill>
                  <a:srgbClr val="313131"/>
                </a:solidFill>
              </a:endParaRPr>
            </a:p>
          </p:txBody>
        </p:sp>
        <p:sp>
          <p:nvSpPr>
            <p:cNvPr id="18" name="TextBox 17">
              <a:extLst>
                <a:ext uri="{FF2B5EF4-FFF2-40B4-BE49-F238E27FC236}">
                  <a16:creationId xmlns:a16="http://schemas.microsoft.com/office/drawing/2014/main" id="{639061DC-2C44-E9BE-F8C4-7B7A3116304B}"/>
                </a:ext>
              </a:extLst>
            </p:cNvPr>
            <p:cNvSpPr txBox="1"/>
            <p:nvPr/>
          </p:nvSpPr>
          <p:spPr>
            <a:xfrm>
              <a:off x="7110517"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C </a:t>
              </a:r>
              <a:r>
                <a:rPr lang="ro-RO" sz="1000" b="1" dirty="0">
                  <a:solidFill>
                    <a:srgbClr val="313131"/>
                  </a:solidFill>
                </a:rPr>
                <a:t>- </a:t>
              </a:r>
              <a:r>
                <a:rPr lang="ro-RO" sz="1000" i="1" dirty="0">
                  <a:solidFill>
                    <a:srgbClr val="313131"/>
                  </a:solidFill>
                </a:rPr>
                <a:t>Consultant </a:t>
              </a:r>
              <a:endParaRPr lang="en-US" sz="1000" i="1" dirty="0">
                <a:solidFill>
                  <a:srgbClr val="313131"/>
                </a:solidFill>
              </a:endParaRPr>
            </a:p>
          </p:txBody>
        </p:sp>
        <p:sp>
          <p:nvSpPr>
            <p:cNvPr id="19" name="TextBox 18">
              <a:extLst>
                <a:ext uri="{FF2B5EF4-FFF2-40B4-BE49-F238E27FC236}">
                  <a16:creationId xmlns:a16="http://schemas.microsoft.com/office/drawing/2014/main" id="{064C2B92-F5BC-207A-F7A2-F4DDD2FF04F6}"/>
                </a:ext>
              </a:extLst>
            </p:cNvPr>
            <p:cNvSpPr txBox="1"/>
            <p:nvPr/>
          </p:nvSpPr>
          <p:spPr>
            <a:xfrm>
              <a:off x="8063708" y="6599402"/>
              <a:ext cx="1228514" cy="153888"/>
            </a:xfrm>
            <a:prstGeom prst="rect">
              <a:avLst/>
            </a:prstGeom>
            <a:noFill/>
          </p:spPr>
          <p:txBody>
            <a:bodyPr wrap="square" lIns="0" tIns="0" rIns="0" bIns="0" rtlCol="0">
              <a:spAutoFit/>
            </a:bodyPr>
            <a:lstStyle/>
            <a:p>
              <a:pPr>
                <a:spcBef>
                  <a:spcPts val="600"/>
                </a:spcBef>
                <a:buSzPct val="100000"/>
              </a:pPr>
              <a:r>
                <a:rPr lang="hu-HU" sz="1000" b="1" dirty="0">
                  <a:solidFill>
                    <a:srgbClr val="00B0F2"/>
                  </a:solidFill>
                </a:rPr>
                <a:t>A </a:t>
              </a:r>
              <a:r>
                <a:rPr lang="ro-RO" sz="1000" b="1" dirty="0">
                  <a:solidFill>
                    <a:srgbClr val="313131"/>
                  </a:solidFill>
                </a:rPr>
                <a:t>- </a:t>
              </a:r>
              <a:r>
                <a:rPr lang="ro-RO" sz="1000" i="1" dirty="0" err="1">
                  <a:solidFill>
                    <a:srgbClr val="313131"/>
                  </a:solidFill>
                </a:rPr>
                <a:t>Analyst</a:t>
              </a:r>
              <a:endParaRPr lang="en-US" sz="1000" i="1" dirty="0">
                <a:solidFill>
                  <a:srgbClr val="313131"/>
                </a:solidFill>
              </a:endParaRPr>
            </a:p>
          </p:txBody>
        </p:sp>
      </p:grpSp>
      <p:pic>
        <p:nvPicPr>
          <p:cNvPr id="22" name="Graphic 21" descr="Checkmark with solid fill">
            <a:extLst>
              <a:ext uri="{FF2B5EF4-FFF2-40B4-BE49-F238E27FC236}">
                <a16:creationId xmlns:a16="http://schemas.microsoft.com/office/drawing/2014/main" id="{18A74393-6B1A-2135-0888-85EC334B1C6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2773" y="2119689"/>
            <a:ext cx="133350" cy="133350"/>
          </a:xfrm>
          <a:prstGeom prst="rect">
            <a:avLst/>
          </a:prstGeom>
        </p:spPr>
      </p:pic>
      <p:pic>
        <p:nvPicPr>
          <p:cNvPr id="55" name="Graphic 54" descr="Checkmark with solid fill">
            <a:extLst>
              <a:ext uri="{FF2B5EF4-FFF2-40B4-BE49-F238E27FC236}">
                <a16:creationId xmlns:a16="http://schemas.microsoft.com/office/drawing/2014/main" id="{D8F29787-6D04-A671-9645-AA31DB4D20C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2773" y="2289334"/>
            <a:ext cx="133350" cy="133350"/>
          </a:xfrm>
          <a:prstGeom prst="rect">
            <a:avLst/>
          </a:prstGeom>
        </p:spPr>
      </p:pic>
      <p:pic>
        <p:nvPicPr>
          <p:cNvPr id="64" name="Graphic 63" descr="Checkmark with solid fill">
            <a:extLst>
              <a:ext uri="{FF2B5EF4-FFF2-40B4-BE49-F238E27FC236}">
                <a16:creationId xmlns:a16="http://schemas.microsoft.com/office/drawing/2014/main" id="{A0380023-FCF2-940A-01D8-070ACE32F76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2773" y="6376566"/>
            <a:ext cx="133350" cy="133350"/>
          </a:xfrm>
          <a:prstGeom prst="rect">
            <a:avLst/>
          </a:prstGeom>
        </p:spPr>
      </p:pic>
      <p:pic>
        <p:nvPicPr>
          <p:cNvPr id="65" name="Graphic 64" descr="Checkmark with solid fill">
            <a:extLst>
              <a:ext uri="{FF2B5EF4-FFF2-40B4-BE49-F238E27FC236}">
                <a16:creationId xmlns:a16="http://schemas.microsoft.com/office/drawing/2014/main" id="{451765A4-2AB0-4A2F-358D-3CF48BADFEA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2773" y="2504478"/>
            <a:ext cx="133350" cy="133350"/>
          </a:xfrm>
          <a:prstGeom prst="rect">
            <a:avLst/>
          </a:prstGeom>
        </p:spPr>
      </p:pic>
    </p:spTree>
    <p:extLst>
      <p:ext uri="{BB962C8B-B14F-4D97-AF65-F5344CB8AC3E}">
        <p14:creationId xmlns:p14="http://schemas.microsoft.com/office/powerpoint/2010/main" val="4728397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FA7844-E741-FA79-0DCD-232B29FD35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think-cell data - do not delete" hidden="1">
                        <a:extLst>
                          <a:ext uri="{FF2B5EF4-FFF2-40B4-BE49-F238E27FC236}">
                            <a16:creationId xmlns:a16="http://schemas.microsoft.com/office/drawing/2014/main" id="{E7FA7844-E741-FA79-0DCD-232B29FD35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457200" y="377331"/>
            <a:ext cx="8491728" cy="334099"/>
          </a:xfrm>
        </p:spPr>
        <p:txBody>
          <a:bodyPr vert="horz"/>
          <a:lstStyle/>
          <a:p>
            <a:pPr algn="l"/>
            <a:r>
              <a:rPr lang="en-US" sz="3200" dirty="0">
                <a:solidFill>
                  <a:srgbClr val="00B0F2"/>
                </a:solidFill>
                <a:effectLst/>
              </a:rPr>
              <a:t>We are delighted to share our proposal</a:t>
            </a:r>
          </a:p>
        </p:txBody>
      </p:sp>
      <p:sp>
        <p:nvSpPr>
          <p:cNvPr id="4" name="Content Placeholder 3"/>
          <p:cNvSpPr>
            <a:spLocks noGrp="1"/>
          </p:cNvSpPr>
          <p:nvPr>
            <p:ph idx="1"/>
          </p:nvPr>
        </p:nvSpPr>
        <p:spPr>
          <a:xfrm>
            <a:off x="530942" y="1122546"/>
            <a:ext cx="9900681" cy="4666584"/>
          </a:xfrm>
          <a:noFill/>
        </p:spPr>
        <p:txBody>
          <a:bodyPr rIns="216000"/>
          <a:lstStyle/>
          <a:p>
            <a:pPr algn="just">
              <a:lnSpc>
                <a:spcPct val="120000"/>
              </a:lnSpc>
              <a:defRPr/>
            </a:pPr>
            <a:r>
              <a:rPr lang="en-US" sz="1000" dirty="0"/>
              <a:t>Dear UNICEF GSSC, </a:t>
            </a:r>
          </a:p>
          <a:p>
            <a:pPr marL="0" marR="0">
              <a:spcBef>
                <a:spcPts val="0"/>
              </a:spcBef>
              <a:spcAft>
                <a:spcPts val="0"/>
              </a:spcAft>
            </a:pPr>
            <a:r>
              <a:rPr lang="en-US" sz="1000" dirty="0">
                <a:effectLst/>
              </a:rPr>
              <a:t>We are eager to offer our assistance in further strengthening your strategic role and thereby empowering UNICEF teams to dedicate their efforts fully to the core mission of advocating for children's rights and well-being. To achieve this objective, we would like to present our proposal for Business Solutions and Consulting Services aimed at enhancing the efficiency, effectiveness, and innovation capabilities of GSSC.</a:t>
            </a:r>
          </a:p>
          <a:p>
            <a:pPr marL="0" marR="0">
              <a:spcBef>
                <a:spcPts val="0"/>
              </a:spcBef>
              <a:spcAft>
                <a:spcPts val="0"/>
              </a:spcAft>
            </a:pPr>
            <a:endParaRPr lang="en-US" sz="1000" dirty="0">
              <a:effectLst/>
            </a:endParaRPr>
          </a:p>
          <a:p>
            <a:pPr marL="0" marR="0">
              <a:spcBef>
                <a:spcPts val="0"/>
              </a:spcBef>
              <a:spcAft>
                <a:spcPts val="0"/>
              </a:spcAft>
            </a:pPr>
            <a:r>
              <a:rPr lang="en-US" sz="1000" dirty="0">
                <a:effectLst/>
              </a:rPr>
              <a:t> Prior to delving into the details of our proposal, allow us to emphasize the unique advantages of our committed team and why we believe we are the ideal partner for this strategic endeavor:</a:t>
            </a:r>
          </a:p>
          <a:p>
            <a:pPr marL="0" marR="0">
              <a:spcBef>
                <a:spcPts val="0"/>
              </a:spcBef>
              <a:spcAft>
                <a:spcPts val="0"/>
              </a:spcAft>
            </a:pPr>
            <a:endParaRPr lang="en-US" sz="1000" dirty="0">
              <a:effectLst/>
              <a:highlight>
                <a:srgbClr val="FFFF00"/>
              </a:highlight>
            </a:endParaRPr>
          </a:p>
          <a:p>
            <a:pPr marL="171450" indent="-171450" algn="just">
              <a:lnSpc>
                <a:spcPct val="120000"/>
              </a:lnSpc>
              <a:buClr>
                <a:schemeClr val="accent6"/>
              </a:buClr>
              <a:buFont typeface="Courier New" panose="02070309020205020404" pitchFamily="49" charset="0"/>
              <a:buChar char="›"/>
              <a:defRPr/>
            </a:pPr>
            <a:r>
              <a:rPr lang="en-US" sz="1000" b="1" i="0" dirty="0">
                <a:effectLst/>
              </a:rPr>
              <a:t>Alignment of Values</a:t>
            </a:r>
            <a:r>
              <a:rPr lang="en-US" sz="1000" dirty="0"/>
              <a:t>: a </a:t>
            </a:r>
            <a:r>
              <a:rPr lang="en-US" sz="1000" b="0" i="0" dirty="0">
                <a:effectLst/>
              </a:rPr>
              <a:t>shared set of values exists between UNICEF and Deloitte. We are wholeheartedly aligned with UNICEF's core mission, firmly believing in the importance of "making an impact, that matters". This commitment extends not only to our projects but also to our active engagement in pro-bono consulting and corporate social responsibility initiatives, particularly in the areas of equal education for all and sustainability. </a:t>
            </a:r>
          </a:p>
          <a:p>
            <a:pPr marL="171450" indent="-171450" algn="just">
              <a:lnSpc>
                <a:spcPct val="120000"/>
              </a:lnSpc>
              <a:buClr>
                <a:schemeClr val="accent6"/>
              </a:buClr>
              <a:buFont typeface="Courier New" panose="02070309020205020404" pitchFamily="49" charset="0"/>
              <a:buChar char="›"/>
              <a:defRPr/>
            </a:pPr>
            <a:r>
              <a:rPr lang="en-US" sz="1000" b="1" i="0" dirty="0">
                <a:effectLst/>
              </a:rPr>
              <a:t>Comprehensive coverage of required services </a:t>
            </a:r>
            <a:r>
              <a:rPr lang="en-US" sz="1000" b="1" dirty="0"/>
              <a:t>: </a:t>
            </a:r>
            <a:r>
              <a:rPr lang="en-US" sz="1000" b="0" i="0" dirty="0">
                <a:effectLst/>
              </a:rPr>
              <a:t>As the largest professional services firm in the country, we possess the capability to provide end-to-end assistance across all the topics and areas you have outlined. With a local team of over 150 colleagues, we are equipped to address your needs comprehensively. Furthermore, we have the capacity to tap into international expertise and knowledge, thus expanding the breadth of support we can offer if necessary</a:t>
            </a:r>
            <a:r>
              <a:rPr lang="en-US" sz="1000" dirty="0"/>
              <a:t>.</a:t>
            </a:r>
            <a:endParaRPr lang="en-US" sz="1000" b="1" dirty="0"/>
          </a:p>
          <a:p>
            <a:pPr marL="171450" indent="-171450" algn="just">
              <a:lnSpc>
                <a:spcPct val="120000"/>
              </a:lnSpc>
              <a:buClr>
                <a:schemeClr val="accent6"/>
              </a:buClr>
              <a:buFont typeface="Courier New" panose="02070309020205020404" pitchFamily="49" charset="0"/>
              <a:buChar char="›"/>
              <a:defRPr/>
            </a:pPr>
            <a:r>
              <a:rPr lang="en-US" sz="1000" b="1" i="0" dirty="0">
                <a:effectLst/>
              </a:rPr>
              <a:t>Long-standing Relationship with UNICEF and the UN</a:t>
            </a:r>
            <a:r>
              <a:rPr lang="en-US" sz="1000" b="1" dirty="0"/>
              <a:t>: </a:t>
            </a:r>
            <a:r>
              <a:rPr lang="en-US" sz="1000" b="0" i="0" dirty="0">
                <a:effectLst/>
              </a:rPr>
              <a:t>Our association with both UNICEF and the United Nations dates back many years. We have had the privilege of collaborating with these organizations on various projects, both locally and globally, including notable initiatives such as</a:t>
            </a:r>
            <a:r>
              <a:rPr lang="hu-HU" sz="1000" b="0" i="0" dirty="0">
                <a:effectLst/>
              </a:rPr>
              <a:t> </a:t>
            </a:r>
            <a:r>
              <a:rPr lang="en-US" sz="1000" b="0" i="0" dirty="0">
                <a:effectLst/>
              </a:rPr>
              <a:t>the Climate Hero</a:t>
            </a:r>
            <a:r>
              <a:rPr lang="en-US" sz="1000" dirty="0"/>
              <a:t>es </a:t>
            </a:r>
            <a:r>
              <a:rPr lang="en-US" sz="1000" dirty="0" err="1"/>
              <a:t>programme</a:t>
            </a:r>
            <a:r>
              <a:rPr lang="en-US" sz="1000" dirty="0"/>
              <a:t> with UNICEF, the Talent acquisition process improvement project for UNHCR, as well as the current HR processes and operations improvement project with UNHCR. These permitted Deloitte to gain insight into the culture, organizational framework, policies and systems of these organizations. </a:t>
            </a:r>
            <a:endParaRPr lang="en-US" sz="1000" b="0" i="0" dirty="0">
              <a:effectLst/>
            </a:endParaRPr>
          </a:p>
          <a:p>
            <a:pPr marL="0" marR="0">
              <a:spcBef>
                <a:spcPts val="0"/>
              </a:spcBef>
              <a:spcAft>
                <a:spcPts val="0"/>
              </a:spcAft>
            </a:pPr>
            <a:r>
              <a:rPr lang="en-US" sz="1000" dirty="0">
                <a:effectLst/>
              </a:rPr>
              <a:t>We trust that our proposal will meet your expectations in terms of quality, competence, and motivation, making us the ideal choice as your advisor for multiple projects. We are prepared to contribute with fresh ideas and with the necessary questions to challenge the status quo and unlock the full potential within your organization. If you have any inquiries regarding our initial offer, please do not hesitate to reach out to us directly.</a:t>
            </a:r>
          </a:p>
          <a:p>
            <a:pPr marL="0" marR="0">
              <a:spcBef>
                <a:spcPts val="0"/>
              </a:spcBef>
              <a:spcAft>
                <a:spcPts val="0"/>
              </a:spcAft>
            </a:pPr>
            <a:endParaRPr lang="en-US" sz="1000" dirty="0">
              <a:effectLst/>
            </a:endParaRPr>
          </a:p>
          <a:p>
            <a:pPr marL="0" marR="0">
              <a:spcBef>
                <a:spcPts val="0"/>
              </a:spcBef>
              <a:spcAft>
                <a:spcPts val="0"/>
              </a:spcAft>
            </a:pPr>
            <a:r>
              <a:rPr lang="en-US" sz="1000" dirty="0">
                <a:effectLst/>
              </a:rPr>
              <a:t>Yours sincerely,</a:t>
            </a:r>
          </a:p>
          <a:p>
            <a:pPr algn="just">
              <a:lnSpc>
                <a:spcPct val="120000"/>
              </a:lnSpc>
              <a:buClr>
                <a:schemeClr val="accent6"/>
              </a:buClr>
              <a:defRPr/>
            </a:pPr>
            <a:endParaRPr lang="en-US" sz="1000" dirty="0">
              <a:highlight>
                <a:srgbClr val="FFFF00"/>
              </a:highlight>
            </a:endParaRPr>
          </a:p>
        </p:txBody>
      </p:sp>
      <p:sp>
        <p:nvSpPr>
          <p:cNvPr id="17" name="Text Placeholder 16">
            <a:extLst>
              <a:ext uri="{FF2B5EF4-FFF2-40B4-BE49-F238E27FC236}">
                <a16:creationId xmlns:a16="http://schemas.microsoft.com/office/drawing/2014/main" id="{32794164-F5CB-491C-9F37-7D7414F15ACD}"/>
              </a:ext>
            </a:extLst>
          </p:cNvPr>
          <p:cNvSpPr>
            <a:spLocks noGrp="1"/>
          </p:cNvSpPr>
          <p:nvPr>
            <p:ph type="body" sz="quarter" idx="19"/>
          </p:nvPr>
        </p:nvSpPr>
        <p:spPr>
          <a:xfrm>
            <a:off x="1582208" y="5685943"/>
            <a:ext cx="2655839" cy="553257"/>
          </a:xfrm>
        </p:spPr>
        <p:txBody>
          <a:bodyPr>
            <a:noAutofit/>
          </a:bodyPr>
          <a:lstStyle/>
          <a:p>
            <a:pPr lvl="0"/>
            <a:r>
              <a:rPr lang="en-US" sz="105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Daniel Kiss</a:t>
            </a:r>
          </a:p>
          <a:p>
            <a:pPr lvl="1"/>
            <a:r>
              <a:rPr lang="en-US" sz="1050" dirty="0"/>
              <a:t>Partner, Lead Engagement Partner</a:t>
            </a:r>
          </a:p>
          <a:p>
            <a:pPr lvl="1"/>
            <a:r>
              <a:rPr lang="en-US" sz="1050" dirty="0"/>
              <a:t>Deloitte Hungary </a:t>
            </a:r>
          </a:p>
        </p:txBody>
      </p:sp>
      <p:pic>
        <p:nvPicPr>
          <p:cNvPr id="3074" name="Picture 2" descr="Dániel Kiss | Partner | Deloitte Hungary | Technology Advisory">
            <a:extLst>
              <a:ext uri="{FF2B5EF4-FFF2-40B4-BE49-F238E27FC236}">
                <a16:creationId xmlns:a16="http://schemas.microsoft.com/office/drawing/2014/main" id="{3D475803-8BF9-D32D-048C-F1C63D066928}"/>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83136" y="5553033"/>
            <a:ext cx="819076" cy="819076"/>
          </a:xfrm>
          <a:prstGeom prst="ellipse">
            <a:avLst/>
          </a:prstGeom>
          <a:noFill/>
          <a:extLst>
            <a:ext uri="{909E8E84-426E-40DD-AFC4-6F175D3DCCD1}">
              <a14:hiddenFill xmlns:a14="http://schemas.microsoft.com/office/drawing/2010/main">
                <a:solidFill>
                  <a:srgbClr val="FFFFFF"/>
                </a:solidFill>
              </a14:hiddenFill>
            </a:ext>
          </a:extLst>
        </p:spPr>
      </p:pic>
      <p:sp>
        <p:nvSpPr>
          <p:cNvPr id="9" name="Text Placeholder 16">
            <a:extLst>
              <a:ext uri="{FF2B5EF4-FFF2-40B4-BE49-F238E27FC236}">
                <a16:creationId xmlns:a16="http://schemas.microsoft.com/office/drawing/2014/main" id="{0759DC7A-3E7E-DC0E-AB5B-B596DFA7B917}"/>
              </a:ext>
            </a:extLst>
          </p:cNvPr>
          <p:cNvSpPr txBox="1">
            <a:spLocks/>
          </p:cNvSpPr>
          <p:nvPr/>
        </p:nvSpPr>
        <p:spPr>
          <a:xfrm>
            <a:off x="5692092" y="5684298"/>
            <a:ext cx="2655839" cy="553257"/>
          </a:xfrm>
          <a:prstGeom prst="rect">
            <a:avLst/>
          </a:prstGeom>
        </p:spPr>
        <p:txBody>
          <a:bodyPr vert="horz" lIns="0" tIns="0" rIns="0" bIns="0" rtlCol="0" anchor="b" anchorCtr="0">
            <a:noAutofit/>
          </a:bodyPr>
          <a:lstStyle>
            <a:lvl1pPr marL="0" indent="0" algn="l" defTabSz="685800" rtl="0" eaLnBrk="1" latinLnBrk="0" hangingPunct="1">
              <a:spcBef>
                <a:spcPts val="0"/>
              </a:spcBef>
              <a:spcAft>
                <a:spcPts val="100"/>
              </a:spcAft>
              <a:buSzPct val="100000"/>
              <a:buFontTx/>
              <a:buNone/>
              <a:defRPr sz="1050" b="1" i="0" kern="120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0" indent="0" algn="l" defTabSz="685800" rtl="0" eaLnBrk="1" latinLnBrk="0" hangingPunct="1">
              <a:spcBef>
                <a:spcPts val="0"/>
              </a:spcBef>
              <a:spcAft>
                <a:spcPts val="100"/>
              </a:spcAft>
              <a:buClrTx/>
              <a:buSzPct val="100000"/>
              <a:buFont typeface="Arial" panose="020B0604020202020204" pitchFamily="34" charset="0"/>
              <a:buNone/>
              <a:defRPr lang="en-US" sz="105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685800" rtl="0" eaLnBrk="1" latinLnBrk="0" hangingPunct="1">
              <a:spcBef>
                <a:spcPts val="0"/>
              </a:spcBef>
              <a:spcAft>
                <a:spcPts val="100"/>
              </a:spcAft>
              <a:buClrTx/>
              <a:buSzPct val="100000"/>
              <a:buFont typeface="Arial" panose="020B0604020202020204" pitchFamily="34" charset="0"/>
              <a:buNone/>
              <a:defRPr lang="en-US" sz="105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Eszter </a:t>
            </a:r>
            <a:r>
              <a:rPr lang="en-US" dirty="0" err="1">
                <a:latin typeface="Open Sans Light" panose="020B0306030504020204" pitchFamily="34" charset="0"/>
                <a:ea typeface="Open Sans Light" panose="020B0306030504020204" pitchFamily="34" charset="0"/>
                <a:cs typeface="Open Sans Light" panose="020B0306030504020204" pitchFamily="34" charset="0"/>
              </a:rPr>
              <a:t>Lukács</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a:p>
            <a:pPr lvl="1"/>
            <a:r>
              <a:rPr lang="en-US" dirty="0"/>
              <a:t>Director</a:t>
            </a:r>
          </a:p>
          <a:p>
            <a:pPr lvl="1"/>
            <a:r>
              <a:rPr lang="en-US" dirty="0"/>
              <a:t>Deloitte Hungary </a:t>
            </a:r>
          </a:p>
        </p:txBody>
      </p:sp>
      <p:pic>
        <p:nvPicPr>
          <p:cNvPr id="12" name="Picture 11" descr="Medium shot of a person smiling&#10;&#10;Description automatically generated">
            <a:extLst>
              <a:ext uri="{FF2B5EF4-FFF2-40B4-BE49-F238E27FC236}">
                <a16:creationId xmlns:a16="http://schemas.microsoft.com/office/drawing/2014/main" id="{6A9679D3-33ED-ADC1-10EF-1E61C578429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93020" y="5551388"/>
            <a:ext cx="820800" cy="820800"/>
          </a:xfrm>
          <a:prstGeom prst="ellipse">
            <a:avLst/>
          </a:prstGeom>
          <a:noFill/>
        </p:spPr>
      </p:pic>
    </p:spTree>
    <p:extLst>
      <p:ext uri="{BB962C8B-B14F-4D97-AF65-F5344CB8AC3E}">
        <p14:creationId xmlns:p14="http://schemas.microsoft.com/office/powerpoint/2010/main" val="283491256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7222017" y="2759090"/>
            <a:ext cx="4328300" cy="1431193"/>
          </a:xfrm>
        </p:spPr>
        <p:txBody>
          <a:bodyPr/>
          <a:lstStyle/>
          <a:p>
            <a:r>
              <a:rPr lang="en-GB" b="1" dirty="0">
                <a:latin typeface="Open Sans SemiBold" panose="020B0606030504020204" pitchFamily="34" charset="0"/>
                <a:ea typeface="Open Sans SemiBold" panose="020B0606030504020204" pitchFamily="34" charset="0"/>
                <a:cs typeface="Open Sans SemiBold" panose="020B0606030504020204" pitchFamily="34" charset="0"/>
              </a:rPr>
              <a:t>Our proposed services</a:t>
            </a: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p:txBody>
          <a:bodyPr/>
          <a:lstStyle/>
          <a:p>
            <a:pPr>
              <a:defRPr/>
            </a:pPr>
            <a:r>
              <a:rPr lang="en-GB" dirty="0">
                <a:solidFill>
                  <a:srgbClr val="00B0F2"/>
                </a:solidFill>
              </a:rPr>
              <a:t>05</a:t>
            </a:r>
          </a:p>
        </p:txBody>
      </p:sp>
      <p:pic>
        <p:nvPicPr>
          <p:cNvPr id="3" name="Picture 2">
            <a:extLst>
              <a:ext uri="{FF2B5EF4-FFF2-40B4-BE49-F238E27FC236}">
                <a16:creationId xmlns:a16="http://schemas.microsoft.com/office/drawing/2014/main" id="{BD43B2E1-B4CF-25C8-0F72-59581A4394C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915" y="1447838"/>
            <a:ext cx="6256172" cy="4439615"/>
          </a:xfrm>
          <a:prstGeom prst="rect">
            <a:avLst/>
          </a:prstGeom>
        </p:spPr>
      </p:pic>
    </p:spTree>
    <p:extLst>
      <p:ext uri="{BB962C8B-B14F-4D97-AF65-F5344CB8AC3E}">
        <p14:creationId xmlns:p14="http://schemas.microsoft.com/office/powerpoint/2010/main" val="65643250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hu-HU" b="1" dirty="0" err="1">
                <a:latin typeface="Open Sans SemiBold" panose="020B0606030504020204" pitchFamily="34" charset="0"/>
                <a:ea typeface="Open Sans SemiBold" panose="020B0606030504020204" pitchFamily="34" charset="0"/>
                <a:cs typeface="Open Sans SemiBold" panose="020B0606030504020204" pitchFamily="34" charset="0"/>
                <a:sym typeface="+mj-lt"/>
              </a:rPr>
              <a:t>Technology</a:t>
            </a:r>
            <a:r>
              <a:rPr lang="hu-HU"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 Consulting </a:t>
            </a:r>
            <a:r>
              <a:rPr lang="hu-HU" b="1" dirty="0" err="1">
                <a:latin typeface="Open Sans SemiBold" panose="020B0606030504020204" pitchFamily="34" charset="0"/>
                <a:ea typeface="Open Sans SemiBold" panose="020B0606030504020204" pitchFamily="34" charset="0"/>
                <a:cs typeface="Open Sans SemiBold" panose="020B0606030504020204" pitchFamily="34" charset="0"/>
                <a:sym typeface="+mj-lt"/>
              </a:rPr>
              <a:t>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1.</a:t>
            </a:r>
            <a:endParaRPr lang="en-GB" dirty="0"/>
          </a:p>
        </p:txBody>
      </p:sp>
      <p:sp>
        <p:nvSpPr>
          <p:cNvPr id="3" name="Text Placeholder 2">
            <a:extLst>
              <a:ext uri="{FF2B5EF4-FFF2-40B4-BE49-F238E27FC236}">
                <a16:creationId xmlns:a16="http://schemas.microsoft.com/office/drawing/2014/main" id="{8A529F59-1CA6-BB09-D7CC-1DD06C9D76B9}"/>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10689342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324598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1226" y="-84277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3741105"/>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4071651"/>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E35D33A-6811-BC69-383E-8FAB16E98661}"/>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47206" y="4783466"/>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37780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41" name="Rectangle: Rounded Corners 40">
            <a:extLst>
              <a:ext uri="{FF2B5EF4-FFF2-40B4-BE49-F238E27FC236}">
                <a16:creationId xmlns:a16="http://schemas.microsoft.com/office/drawing/2014/main" id="{9E1A5677-B5F0-B102-E3C6-47103D928637}"/>
              </a:ext>
            </a:extLst>
          </p:cNvPr>
          <p:cNvSpPr/>
          <p:nvPr/>
        </p:nvSpPr>
        <p:spPr bwMode="gray">
          <a:xfrm>
            <a:off x="4141468" y="2466747"/>
            <a:ext cx="2660702" cy="1155683"/>
          </a:xfrm>
          <a:prstGeom prst="roundRect">
            <a:avLst>
              <a:gd name="adj" fmla="val 9889"/>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dirty="0">
                <a:ln>
                  <a:noFill/>
                </a:ln>
                <a:solidFill>
                  <a:srgbClr val="000000"/>
                </a:solidFill>
                <a:effectLst/>
                <a:uLnTx/>
                <a:uFillTx/>
                <a:latin typeface="Calibri"/>
                <a:ea typeface="+mj-ea"/>
                <a:cs typeface="Calibri Light" panose="020F0302020204030204" pitchFamily="34" charset="0"/>
              </a:rPr>
              <a:t>Technology Consulting Services</a:t>
            </a:r>
            <a:r>
              <a:rPr kumimoji="0" lang="hu-HU" sz="2000" b="0" i="0" u="none" strike="noStrike" kern="1200" cap="none" spc="0" normalizeH="0" baseline="0" dirty="0">
                <a:ln>
                  <a:noFill/>
                </a:ln>
                <a:solidFill>
                  <a:srgbClr val="000000"/>
                </a:solidFill>
                <a:effectLst/>
                <a:uLnTx/>
                <a:uFillTx/>
                <a:latin typeface="Calibri"/>
                <a:ea typeface="+mj-ea"/>
                <a:cs typeface="Calibri Light" panose="020F0302020204030204" pitchFamily="34" charset="0"/>
              </a:rPr>
              <a:t> 1</a:t>
            </a:r>
            <a:r>
              <a:rPr kumimoji="0" lang="en-US" sz="2000" b="0" i="0" u="none" strike="noStrike" kern="1200" cap="none" spc="0" normalizeH="0" baseline="0" dirty="0">
                <a:ln>
                  <a:noFill/>
                </a:ln>
                <a:solidFill>
                  <a:srgbClr val="000000"/>
                </a:solidFill>
                <a:effectLst/>
                <a:uLnTx/>
                <a:uFillTx/>
                <a:latin typeface="Calibri"/>
                <a:ea typeface="+mj-ea"/>
                <a:cs typeface="Calibri Light" panose="020F0302020204030204" pitchFamily="34" charset="0"/>
              </a:rPr>
              <a:t>/3</a:t>
            </a:r>
          </a:p>
        </p:txBody>
      </p:sp>
      <p:sp>
        <p:nvSpPr>
          <p:cNvPr id="6" name="TextBox 5">
            <a:extLst>
              <a:ext uri="{FF2B5EF4-FFF2-40B4-BE49-F238E27FC236}">
                <a16:creationId xmlns:a16="http://schemas.microsoft.com/office/drawing/2014/main" id="{FAEF6724-E8B7-7C0B-158A-01A618E22EC0}"/>
              </a:ext>
            </a:extLst>
          </p:cNvPr>
          <p:cNvSpPr txBox="1"/>
          <p:nvPr/>
        </p:nvSpPr>
        <p:spPr>
          <a:xfrm>
            <a:off x="1109960" y="2404007"/>
            <a:ext cx="1932004"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Artificial Intelligence &amp; </a:t>
            </a:r>
            <a:b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b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Machine Learning</a:t>
            </a: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dirty="0">
                <a:ln>
                  <a:noFill/>
                </a:ln>
                <a:solidFill>
                  <a:srgbClr val="FFFFFF"/>
                </a:solidFill>
                <a:effectLst/>
                <a:uLnTx/>
                <a:uFillTx/>
                <a:latin typeface="Open Sans"/>
                <a:ea typeface="+mn-ea"/>
                <a:cs typeface="+mn-cs"/>
              </a:rPr>
              <a:t>SUBCHAPTERS</a:t>
            </a:r>
          </a:p>
        </p:txBody>
      </p:sp>
      <p:sp>
        <p:nvSpPr>
          <p:cNvPr id="15" name="Rectangle 14">
            <a:extLst>
              <a:ext uri="{FF2B5EF4-FFF2-40B4-BE49-F238E27FC236}">
                <a16:creationId xmlns:a16="http://schemas.microsoft.com/office/drawing/2014/main" id="{3EB57B1D-83EB-0D0B-449F-EC60EBAFDE32}"/>
              </a:ext>
            </a:extLst>
          </p:cNvPr>
          <p:cNvSpPr/>
          <p:nvPr/>
        </p:nvSpPr>
        <p:spPr>
          <a:xfrm>
            <a:off x="9292664" y="2012605"/>
            <a:ext cx="1361544"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ea typeface="Open Sans"/>
                <a:cs typeface="Open Sans"/>
              </a:rPr>
              <a:t>Zoltán </a:t>
            </a:r>
            <a:r>
              <a:rPr lang="en-US" sz="1200" b="1" dirty="0" err="1">
                <a:solidFill>
                  <a:srgbClr val="000000"/>
                </a:solidFill>
                <a:latin typeface="Open Sans"/>
                <a:ea typeface="Open Sans"/>
                <a:cs typeface="Open Sans"/>
              </a:rPr>
              <a:t>Szöllősi</a:t>
            </a:r>
            <a:endParaRPr kumimoji="0" lang="en-US" sz="1200" b="1" i="0" u="none" strike="noStrike" kern="1200" cap="none" spc="0" normalizeH="0" baseline="0" dirty="0">
              <a:ln>
                <a:noFill/>
              </a:ln>
              <a:solidFill>
                <a:srgbClr val="000000"/>
              </a:solidFill>
              <a:effectLst/>
              <a:uLnTx/>
              <a:uFillTx/>
              <a:latin typeface="Open Sans"/>
              <a:ea typeface="Open Sans"/>
              <a:cs typeface="Open Sans"/>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Calibri"/>
                <a:ea typeface="Open Sans"/>
                <a:cs typeface="Open Sans"/>
              </a:rPr>
              <a:t>Partner</a:t>
            </a:r>
            <a:endParaRPr kumimoji="0" lang="en-US" sz="1200" b="0" i="0" u="none" strike="noStrike" kern="1200" cap="none" spc="0" normalizeH="0" baseline="0" dirty="0">
              <a:ln>
                <a:noFill/>
              </a:ln>
              <a:solidFill>
                <a:srgbClr val="000000"/>
              </a:solidFill>
              <a:effectLst/>
              <a:uLnTx/>
              <a:uFillTx/>
              <a:latin typeface="Calibri"/>
              <a:ea typeface="Open Sans"/>
              <a:cs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600" normalizeH="0" baseline="0" dirty="0">
                <a:ln>
                  <a:noFill/>
                </a:ln>
                <a:solidFill>
                  <a:srgbClr val="000000"/>
                </a:solidFill>
                <a:effectLst/>
                <a:uLnTx/>
                <a:uFillTx/>
                <a:latin typeface="Open Sans"/>
                <a:ea typeface="+mn-ea"/>
                <a:cs typeface="+mn-cs"/>
              </a:rPr>
              <a:t>METHODOLOGIES</a:t>
            </a:r>
            <a:endParaRPr kumimoji="0" lang="en-US" sz="1200" b="0" i="1" u="none" strike="noStrike" kern="1200" cap="none" spc="600" normalizeH="0" baseline="0" dirty="0">
              <a:ln>
                <a:noFill/>
              </a:ln>
              <a:solidFill>
                <a:srgbClr val="000000"/>
              </a:solidFill>
              <a:effectLst/>
              <a:uLnTx/>
              <a:uFillTx/>
              <a:latin typeface="Open Sans"/>
              <a:ea typeface="+mn-ea"/>
              <a:cs typeface="+mn-c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a:off x="922093" y="2203798"/>
            <a:ext cx="0" cy="28158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6" y="1840423"/>
            <a:ext cx="278631" cy="278367"/>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945010"/>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889829"/>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67" name="TextBox 66">
            <a:extLst>
              <a:ext uri="{FF2B5EF4-FFF2-40B4-BE49-F238E27FC236}">
                <a16:creationId xmlns:a16="http://schemas.microsoft.com/office/drawing/2014/main" id="{D7A9173E-42C8-E19F-56C2-0DA2BD60D004}"/>
              </a:ext>
            </a:extLst>
          </p:cNvPr>
          <p:cNvSpPr txBox="1"/>
          <p:nvPr/>
        </p:nvSpPr>
        <p:spPr>
          <a:xfrm>
            <a:off x="4189845" y="2507046"/>
            <a:ext cx="2184971"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Artificial Intelligence Consulting Services</a:t>
            </a:r>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dirty="0">
                <a:ln>
                  <a:noFill/>
                </a:ln>
                <a:solidFill>
                  <a:srgbClr val="38B6FF"/>
                </a:solidFill>
                <a:effectLst/>
                <a:uLnTx/>
                <a:uFillTx/>
                <a:latin typeface="Open Sans"/>
                <a:ea typeface="+mn-ea"/>
                <a:cs typeface="+mn-cs"/>
              </a:rPr>
              <a:t>CHAPTER LEAD EXPERT</a:t>
            </a:r>
            <a:endParaRPr kumimoji="0" lang="en-US" sz="1200" b="0" i="1" u="none" strike="noStrike" kern="1200" cap="none" spc="300" normalizeH="0" baseline="0" dirty="0">
              <a:ln>
                <a:noFill/>
              </a:ln>
              <a:solidFill>
                <a:srgbClr val="38B6FF"/>
              </a:solidFill>
              <a:effectLst/>
              <a:uLnTx/>
              <a:uFillTx/>
              <a:latin typeface="Open Sans"/>
              <a:ea typeface="+mn-ea"/>
              <a:cs typeface="+mn-cs"/>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3727076"/>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852378"/>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1" name="Oval 20">
            <a:extLst>
              <a:ext uri="{FF2B5EF4-FFF2-40B4-BE49-F238E27FC236}">
                <a16:creationId xmlns:a16="http://schemas.microsoft.com/office/drawing/2014/main" id="{D219154D-E203-927A-E17E-7821D7AFA343}"/>
              </a:ext>
            </a:extLst>
          </p:cNvPr>
          <p:cNvSpPr/>
          <p:nvPr/>
        </p:nvSpPr>
        <p:spPr bwMode="gray">
          <a:xfrm>
            <a:off x="875786" y="4921558"/>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71042AB0-6C28-0519-0123-4B35425F7BBA}"/>
              </a:ext>
            </a:extLst>
          </p:cNvPr>
          <p:cNvSpPr txBox="1"/>
          <p:nvPr/>
        </p:nvSpPr>
        <p:spPr>
          <a:xfrm>
            <a:off x="1109961" y="3764841"/>
            <a:ext cx="1443116"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Identity and Access Management</a:t>
            </a:r>
          </a:p>
        </p:txBody>
      </p:sp>
      <p:sp>
        <p:nvSpPr>
          <p:cNvPr id="24" name="TextBox 23">
            <a:extLst>
              <a:ext uri="{FF2B5EF4-FFF2-40B4-BE49-F238E27FC236}">
                <a16:creationId xmlns:a16="http://schemas.microsoft.com/office/drawing/2014/main" id="{5C8FF9D1-C272-F408-C331-07E40145140C}"/>
              </a:ext>
            </a:extLst>
          </p:cNvPr>
          <p:cNvSpPr txBox="1"/>
          <p:nvPr/>
        </p:nvSpPr>
        <p:spPr>
          <a:xfrm>
            <a:off x="1109960" y="4833134"/>
            <a:ext cx="1232290"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Cybersecurity Services</a:t>
            </a:r>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1" u="none" strike="noStrike" kern="1200" cap="none" spc="300" normalizeH="0" baseline="0" dirty="0">
                <a:ln>
                  <a:noFill/>
                </a:ln>
                <a:solidFill>
                  <a:srgbClr val="000000"/>
                </a:solidFill>
                <a:effectLst/>
                <a:uLnTx/>
                <a:uFillTx/>
                <a:latin typeface="Open Sans"/>
                <a:ea typeface="+mn-ea"/>
                <a:cs typeface="+mn-cs"/>
              </a:rPr>
              <a:t>EXPERTS IN HUNGARY</a:t>
            </a: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800" b="1" i="1" u="none" strike="noStrike" kern="1200" cap="none" spc="300" normalizeH="0" baseline="0" dirty="0">
                <a:ln>
                  <a:noFill/>
                </a:ln>
                <a:solidFill>
                  <a:srgbClr val="000000"/>
                </a:solidFill>
                <a:effectLst/>
                <a:uLnTx/>
                <a:uFillTx/>
                <a:latin typeface="Open Sans"/>
                <a:ea typeface="+mn-ea"/>
                <a:cs typeface="+mn-cs"/>
              </a:rPr>
              <a:t>80</a:t>
            </a:r>
          </a:p>
        </p:txBody>
      </p:sp>
      <p:sp>
        <p:nvSpPr>
          <p:cNvPr id="79" name="TextBox 78">
            <a:extLst>
              <a:ext uri="{FF2B5EF4-FFF2-40B4-BE49-F238E27FC236}">
                <a16:creationId xmlns:a16="http://schemas.microsoft.com/office/drawing/2014/main" id="{85D465EA-B4B6-1092-E7DC-37C3BDDC7B4B}"/>
              </a:ext>
            </a:extLst>
          </p:cNvPr>
          <p:cNvSpPr txBox="1"/>
          <p:nvPr/>
        </p:nvSpPr>
        <p:spPr>
          <a:xfrm>
            <a:off x="4189844" y="2655130"/>
            <a:ext cx="2634135" cy="984885"/>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rPr>
              <a:t>We provide a wide range of services to help organizations to prepare for the AI </a:t>
            </a:r>
            <a:r>
              <a:rPr lang="en-US" sz="800" dirty="0">
                <a:solidFill>
                  <a:srgbClr val="000000"/>
                </a:solidFill>
                <a:latin typeface="Open Sans" panose="020B0606030504020204" pitchFamily="34" charset="0"/>
              </a:rPr>
              <a:t>era</a:t>
            </a:r>
            <a:r>
              <a:rPr kumimoji="0" lang="en-US" sz="800" b="0" i="0" u="none" strike="noStrike" kern="1200" cap="none" spc="0" normalizeH="0" baseline="0" dirty="0">
                <a:ln>
                  <a:noFill/>
                </a:ln>
                <a:solidFill>
                  <a:srgbClr val="000000"/>
                </a:solidFill>
                <a:effectLst/>
                <a:uLnTx/>
                <a:uFillTx/>
                <a:latin typeface="Open Sans" panose="020B0606030504020204" pitchFamily="34" charset="0"/>
              </a:rPr>
              <a:t>:</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rPr>
              <a:t>AI strategy &amp; roadmap</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srgbClr val="000000"/>
                </a:solidFill>
                <a:latin typeface="Open Sans" panose="020B0606030504020204" pitchFamily="34" charset="0"/>
              </a:rPr>
              <a:t>AI risk &amp; governance</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rPr>
              <a:t>AI ethic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srgbClr val="000000"/>
                </a:solidFill>
                <a:latin typeface="Open Sans" panose="020B0606030504020204" pitchFamily="34" charset="0"/>
              </a:rPr>
              <a:t>AI integration &amp; development</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rPr>
              <a:t>Matur</a:t>
            </a:r>
            <a:r>
              <a:rPr lang="en-US" sz="800" dirty="0">
                <a:solidFill>
                  <a:srgbClr val="000000"/>
                </a:solidFill>
                <a:latin typeface="Open Sans" panose="020B0606030504020204" pitchFamily="34" charset="0"/>
              </a:rPr>
              <a:t>ity Assessment</a:t>
            </a:r>
            <a:endParaRPr kumimoji="0" lang="en-US" sz="800" b="0" i="0" u="none" strike="noStrike" kern="1200" cap="none" spc="0" normalizeH="0" baseline="0" dirty="0">
              <a:ln>
                <a:noFill/>
              </a:ln>
              <a:solidFill>
                <a:srgbClr val="000000"/>
              </a:solidFill>
              <a:effectLst/>
              <a:uLnTx/>
              <a:uFillTx/>
              <a:latin typeface="Open Sans" panose="020B0606030504020204" pitchFamily="34" charset="0"/>
            </a:endParaRP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dirty="0">
              <a:ln>
                <a:noFill/>
              </a:ln>
              <a:solidFill>
                <a:srgbClr val="000000"/>
              </a:solidFill>
              <a:effectLst/>
              <a:uLnTx/>
              <a:uFillTx/>
              <a:latin typeface="Calibri"/>
            </a:endParaRPr>
          </a:p>
        </p:txBody>
      </p:sp>
      <p:sp>
        <p:nvSpPr>
          <p:cNvPr id="106" name="Rectangle: Rounded Corners 105">
            <a:extLst>
              <a:ext uri="{FF2B5EF4-FFF2-40B4-BE49-F238E27FC236}">
                <a16:creationId xmlns:a16="http://schemas.microsoft.com/office/drawing/2014/main" id="{203B5607-7E3F-24DA-A479-534848EB7048}"/>
              </a:ext>
            </a:extLst>
          </p:cNvPr>
          <p:cNvSpPr/>
          <p:nvPr/>
        </p:nvSpPr>
        <p:spPr bwMode="gray">
          <a:xfrm>
            <a:off x="6872354" y="2466747"/>
            <a:ext cx="2099989" cy="1194087"/>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AA3B4BF3-9676-4F5B-EA12-53EF66777924}"/>
              </a:ext>
            </a:extLst>
          </p:cNvPr>
          <p:cNvSpPr txBox="1"/>
          <p:nvPr/>
        </p:nvSpPr>
        <p:spPr>
          <a:xfrm>
            <a:off x="6914510" y="2475496"/>
            <a:ext cx="2117669"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Machine Learning Consulting Services</a:t>
            </a:r>
          </a:p>
        </p:txBody>
      </p:sp>
      <p:sp>
        <p:nvSpPr>
          <p:cNvPr id="81" name="TextBox 80">
            <a:extLst>
              <a:ext uri="{FF2B5EF4-FFF2-40B4-BE49-F238E27FC236}">
                <a16:creationId xmlns:a16="http://schemas.microsoft.com/office/drawing/2014/main" id="{61380BE4-8010-E0BB-F55D-55EF892C1D6E}"/>
              </a:ext>
            </a:extLst>
          </p:cNvPr>
          <p:cNvSpPr txBox="1"/>
          <p:nvPr/>
        </p:nvSpPr>
        <p:spPr>
          <a:xfrm>
            <a:off x="6914510" y="2623579"/>
            <a:ext cx="2031171" cy="977191"/>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300"/>
              </a:spcBef>
              <a:spcAft>
                <a:spcPts val="0"/>
              </a:spcAft>
              <a:buClr>
                <a:srgbClr val="FFFFFF">
                  <a:lumMod val="50000"/>
                </a:srgbClr>
              </a:buClr>
              <a:buSzTx/>
              <a:buFontTx/>
              <a:buNone/>
              <a:tabLst/>
              <a:defRPr/>
            </a:pPr>
            <a:r>
              <a:rPr lang="en-US" sz="800" dirty="0">
                <a:solidFill>
                  <a:srgbClr val="000000"/>
                </a:solidFill>
                <a:latin typeface="Calibri"/>
              </a:rPr>
              <a:t>Fro</a:t>
            </a:r>
            <a:r>
              <a:rPr kumimoji="0" lang="en-US" sz="800" b="0" i="0" u="none" strike="noStrike" kern="1200" cap="none" spc="0" normalizeH="0" baseline="0" dirty="0">
                <a:ln>
                  <a:noFill/>
                </a:ln>
                <a:solidFill>
                  <a:srgbClr val="000000"/>
                </a:solidFill>
                <a:effectLst/>
                <a:uLnTx/>
                <a:uFillTx/>
                <a:latin typeface="Calibri"/>
              </a:rPr>
              <a:t>m pilot testing to broad deployment, we expedite the implementation timeline and amplify the immediate value to the public and stakeholders.​ We perform:</a:t>
            </a:r>
          </a:p>
          <a:p>
            <a:pPr marL="171450" marR="0" lvl="0" indent="-171450" algn="l" defTabSz="914400" eaLnBrk="1" fontAlgn="auto" latinLnBrk="0" hangingPunct="1">
              <a:lnSpc>
                <a:spcPct val="100000"/>
              </a:lnSpc>
              <a:spcBef>
                <a:spcPts val="300"/>
              </a:spcBef>
              <a:spcAft>
                <a:spcPts val="0"/>
              </a:spcAft>
              <a:buClr>
                <a:srgbClr val="FFFFFF">
                  <a:lumMod val="50000"/>
                </a:srgbClr>
              </a:buClr>
              <a:buSzTx/>
              <a:buFont typeface="Arial" panose="020B0604020202020204" pitchFamily="34" charset="0"/>
              <a:buChar char="•"/>
              <a:tabLst/>
              <a:defRPr/>
            </a:pPr>
            <a:r>
              <a:rPr lang="en-US" sz="800" dirty="0">
                <a:solidFill>
                  <a:srgbClr val="000000"/>
                </a:solidFill>
                <a:latin typeface="Calibri"/>
              </a:rPr>
              <a:t>ML model development &amp; deployment</a:t>
            </a:r>
          </a:p>
          <a:p>
            <a:pPr marL="171450" marR="0" lvl="0" indent="-171450" algn="l" defTabSz="914400" eaLnBrk="1" fontAlgn="auto" latinLnBrk="0" hangingPunct="1">
              <a:lnSpc>
                <a:spcPct val="100000"/>
              </a:lnSpc>
              <a:spcBef>
                <a:spcPts val="300"/>
              </a:spcBef>
              <a:spcAft>
                <a:spcPts val="0"/>
              </a:spcAft>
              <a:buClr>
                <a:srgbClr val="FFFFFF">
                  <a:lumMod val="50000"/>
                </a:srgbClr>
              </a:buClr>
              <a:buSzTx/>
              <a:buFont typeface="Arial" panose="020B0604020202020204" pitchFamily="34" charset="0"/>
              <a:buChar char="•"/>
              <a:tabLst/>
              <a:defRPr/>
            </a:pPr>
            <a:r>
              <a:rPr lang="en-US" sz="800" dirty="0">
                <a:solidFill>
                  <a:srgbClr val="000000"/>
                </a:solidFill>
                <a:latin typeface="Calibri"/>
              </a:rPr>
              <a:t>Data quality check, cleaning and governance</a:t>
            </a:r>
          </a:p>
          <a:p>
            <a:pPr marL="171450" marR="0" lvl="0" indent="-171450" algn="l" defTabSz="914400" eaLnBrk="1" fontAlgn="auto" latinLnBrk="0" hangingPunct="1">
              <a:lnSpc>
                <a:spcPct val="100000"/>
              </a:lnSpc>
              <a:spcBef>
                <a:spcPts val="300"/>
              </a:spcBef>
              <a:spcAft>
                <a:spcPts val="0"/>
              </a:spcAft>
              <a:buClr>
                <a:srgbClr val="FFFFFF">
                  <a:lumMod val="50000"/>
                </a:srgbClr>
              </a:buClr>
              <a:buSzTx/>
              <a:buFont typeface="Arial" panose="020B0604020202020204" pitchFamily="34" charset="0"/>
              <a:buChar char="•"/>
              <a:tabLst/>
              <a:defRPr/>
            </a:pPr>
            <a:r>
              <a:rPr kumimoji="0" lang="en-US" sz="800" b="0" i="0" u="none" strike="noStrike" kern="1200" cap="none" spc="0" normalizeH="0" baseline="0" dirty="0" err="1">
                <a:ln>
                  <a:noFill/>
                </a:ln>
                <a:solidFill>
                  <a:srgbClr val="000000"/>
                </a:solidFill>
                <a:effectLst/>
                <a:uLnTx/>
                <a:uFillTx/>
                <a:latin typeface="Calibri"/>
              </a:rPr>
              <a:t>MLOps</a:t>
            </a:r>
            <a:r>
              <a:rPr kumimoji="0" lang="en-US" sz="800" b="0" i="0" u="none" strike="noStrike" kern="1200" cap="none" spc="0" normalizeH="0" baseline="0" dirty="0">
                <a:ln>
                  <a:noFill/>
                </a:ln>
                <a:solidFill>
                  <a:srgbClr val="000000"/>
                </a:solidFill>
                <a:effectLst/>
                <a:uLnTx/>
                <a:uFillTx/>
                <a:latin typeface="Calibri"/>
              </a:rPr>
              <a:t> </a:t>
            </a:r>
            <a:r>
              <a:rPr lang="en-US" sz="800" dirty="0">
                <a:solidFill>
                  <a:srgbClr val="000000"/>
                </a:solidFill>
                <a:latin typeface="Calibri"/>
              </a:rPr>
              <a:t>implementation</a:t>
            </a:r>
            <a:endParaRPr kumimoji="0" lang="en-US" sz="800" b="0" i="0" u="none" strike="noStrike" kern="1200" cap="none" spc="0" normalizeH="0" baseline="0" dirty="0">
              <a:ln>
                <a:noFill/>
              </a:ln>
              <a:solidFill>
                <a:srgbClr val="000000"/>
              </a:solidFill>
              <a:effectLst/>
              <a:uLnTx/>
              <a:uFillTx/>
              <a:latin typeface="Calibri"/>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8" y="3887288"/>
            <a:ext cx="4830876" cy="857228"/>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25" name="TextBox 124">
            <a:extLst>
              <a:ext uri="{FF2B5EF4-FFF2-40B4-BE49-F238E27FC236}">
                <a16:creationId xmlns:a16="http://schemas.microsoft.com/office/drawing/2014/main" id="{BFC289BE-3B1A-26AD-07CC-7670D2377D1C}"/>
              </a:ext>
            </a:extLst>
          </p:cNvPr>
          <p:cNvSpPr txBox="1"/>
          <p:nvPr/>
        </p:nvSpPr>
        <p:spPr>
          <a:xfrm>
            <a:off x="4189845" y="3927585"/>
            <a:ext cx="4010792"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Identity Governance &amp; Administration, implementation and advisory</a:t>
            </a:r>
          </a:p>
        </p:txBody>
      </p:sp>
      <p:sp>
        <p:nvSpPr>
          <p:cNvPr id="126" name="TextBox 125">
            <a:extLst>
              <a:ext uri="{FF2B5EF4-FFF2-40B4-BE49-F238E27FC236}">
                <a16:creationId xmlns:a16="http://schemas.microsoft.com/office/drawing/2014/main" id="{BF7B5CCB-9160-DE5F-7993-F08D514E177C}"/>
              </a:ext>
            </a:extLst>
          </p:cNvPr>
          <p:cNvSpPr txBox="1"/>
          <p:nvPr/>
        </p:nvSpPr>
        <p:spPr>
          <a:xfrm>
            <a:off x="4189845" y="4075669"/>
            <a:ext cx="4830876" cy="866904"/>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provide comprehensive solutions that empower our clients to control user access, enhance security, and ensure compliance across the whole organization. Our IAM experts design and implement robust frameworks, enabling seamless yet secure user authentication and authorization processes. By centralizing user management and access controls, we help minimize risks, prevent unauthorized access rights, and foster a culture of resilient cyber security. </a:t>
            </a:r>
          </a:p>
          <a:p>
            <a:pPr marL="171450" marR="0" lvl="0" indent="-171450" algn="l" defTabSz="914400" eaLnBrk="1" fontAlgn="auto" latinLnBrk="0" hangingPunct="1">
              <a:lnSpc>
                <a:spcPct val="100000"/>
              </a:lnSpc>
              <a:spcBef>
                <a:spcPts val="1000"/>
              </a:spcBef>
              <a:spcAft>
                <a:spcPts val="0"/>
              </a:spcAft>
              <a:buClr>
                <a:srgbClr val="FFFFFF">
                  <a:lumMod val="50000"/>
                </a:srgbClr>
              </a:buClr>
              <a:buSzTx/>
              <a:buFont typeface="Arial" panose="020B0604020202020204" pitchFamily="34" charset="0"/>
              <a:buChar char="•"/>
              <a:tabLst/>
              <a:defRPr/>
            </a:pPr>
            <a:endParaRPr kumimoji="0" lang="en-US" sz="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6" name="Rectangle: Rounded Corners 155">
            <a:extLst>
              <a:ext uri="{FF2B5EF4-FFF2-40B4-BE49-F238E27FC236}">
                <a16:creationId xmlns:a16="http://schemas.microsoft.com/office/drawing/2014/main" id="{94599516-A95C-A225-3267-9BBE24217472}"/>
              </a:ext>
            </a:extLst>
          </p:cNvPr>
          <p:cNvSpPr/>
          <p:nvPr/>
        </p:nvSpPr>
        <p:spPr bwMode="gray">
          <a:xfrm>
            <a:off x="4141468" y="4907943"/>
            <a:ext cx="2282465" cy="1484065"/>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57" name="TextBox 156">
            <a:extLst>
              <a:ext uri="{FF2B5EF4-FFF2-40B4-BE49-F238E27FC236}">
                <a16:creationId xmlns:a16="http://schemas.microsoft.com/office/drawing/2014/main" id="{711772EF-E96C-2F99-95FE-9FB376C4C68C}"/>
              </a:ext>
            </a:extLst>
          </p:cNvPr>
          <p:cNvSpPr txBox="1"/>
          <p:nvPr/>
        </p:nvSpPr>
        <p:spPr>
          <a:xfrm>
            <a:off x="4189845" y="4964605"/>
            <a:ext cx="2073797"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Cyber Strategy</a:t>
            </a:r>
          </a:p>
        </p:txBody>
      </p:sp>
      <p:sp>
        <p:nvSpPr>
          <p:cNvPr id="158" name="TextBox 157">
            <a:extLst>
              <a:ext uri="{FF2B5EF4-FFF2-40B4-BE49-F238E27FC236}">
                <a16:creationId xmlns:a16="http://schemas.microsoft.com/office/drawing/2014/main" id="{DAE1AF42-E14B-D472-7B6B-D5BFF693A04F}"/>
              </a:ext>
            </a:extLst>
          </p:cNvPr>
          <p:cNvSpPr txBox="1"/>
          <p:nvPr/>
        </p:nvSpPr>
        <p:spPr>
          <a:xfrm>
            <a:off x="4189845" y="5112689"/>
            <a:ext cx="2148892" cy="1236236"/>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Calibri"/>
                <a:ea typeface="+mn-ea"/>
                <a:cs typeface="+mn-cs"/>
              </a:rPr>
              <a:t>We specialize in delivering comprehensive cyber strategy services tailored to safeguard digital assets. From risk assessment to proactive defense planning, our experts craft robust strategies that align with organizational business objectives. With a focus on continuous adaptation, we ensure that companies remain resilient in the ever-evolving landscape of cyber threats.</a:t>
            </a:r>
          </a:p>
          <a:p>
            <a:pPr marL="171450" marR="0" lvl="0" indent="-171450" algn="l" defTabSz="914400" eaLnBrk="1" fontAlgn="auto" latinLnBrk="0" hangingPunct="1">
              <a:lnSpc>
                <a:spcPct val="100000"/>
              </a:lnSpc>
              <a:spcBef>
                <a:spcPts val="1000"/>
              </a:spcBef>
              <a:spcAft>
                <a:spcPts val="0"/>
              </a:spcAft>
              <a:buClr>
                <a:srgbClr val="FFFFFF">
                  <a:lumMod val="50000"/>
                </a:srgbClr>
              </a:buClr>
              <a:buSzTx/>
              <a:buFont typeface="Arial" panose="020B0604020202020204" pitchFamily="34" charset="0"/>
              <a:buChar char="•"/>
              <a:tabLst/>
              <a:defRPr/>
            </a:pPr>
            <a:endParaRPr kumimoji="0" lang="en-US" sz="800" b="0" i="0" u="none" strike="noStrike" kern="1200" cap="none" spc="0" normalizeH="0" baseline="0" dirty="0">
              <a:ln>
                <a:noFill/>
              </a:ln>
              <a:solidFill>
                <a:srgbClr val="000000"/>
              </a:solidFill>
              <a:effectLst/>
              <a:uLnTx/>
              <a:uFillTx/>
              <a:latin typeface="Calibri"/>
              <a:ea typeface="+mn-ea"/>
              <a:cs typeface="+mn-cs"/>
            </a:endParaRPr>
          </a:p>
        </p:txBody>
      </p:sp>
      <p:sp>
        <p:nvSpPr>
          <p:cNvPr id="165" name="Rectangle: Rounded Corners 164">
            <a:extLst>
              <a:ext uri="{FF2B5EF4-FFF2-40B4-BE49-F238E27FC236}">
                <a16:creationId xmlns:a16="http://schemas.microsoft.com/office/drawing/2014/main" id="{C8212B2A-534F-0D66-1D90-EAD3583628F9}"/>
              </a:ext>
            </a:extLst>
          </p:cNvPr>
          <p:cNvSpPr/>
          <p:nvPr/>
        </p:nvSpPr>
        <p:spPr bwMode="gray">
          <a:xfrm>
            <a:off x="6620756" y="4907943"/>
            <a:ext cx="2351588" cy="1484065"/>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66" name="TextBox 165">
            <a:extLst>
              <a:ext uri="{FF2B5EF4-FFF2-40B4-BE49-F238E27FC236}">
                <a16:creationId xmlns:a16="http://schemas.microsoft.com/office/drawing/2014/main" id="{E10A06B5-A674-4DD9-215C-B0F71C02A331}"/>
              </a:ext>
            </a:extLst>
          </p:cNvPr>
          <p:cNvSpPr txBox="1"/>
          <p:nvPr/>
        </p:nvSpPr>
        <p:spPr>
          <a:xfrm>
            <a:off x="6697232" y="4930544"/>
            <a:ext cx="2064697"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Cyber Attack (Penetration Testing)</a:t>
            </a:r>
          </a:p>
        </p:txBody>
      </p:sp>
      <p:sp>
        <p:nvSpPr>
          <p:cNvPr id="167" name="TextBox 166">
            <a:extLst>
              <a:ext uri="{FF2B5EF4-FFF2-40B4-BE49-F238E27FC236}">
                <a16:creationId xmlns:a16="http://schemas.microsoft.com/office/drawing/2014/main" id="{CD924CCF-F456-4163-279E-7C349A853F75}"/>
              </a:ext>
            </a:extLst>
          </p:cNvPr>
          <p:cNvSpPr txBox="1"/>
          <p:nvPr/>
        </p:nvSpPr>
        <p:spPr>
          <a:xfrm>
            <a:off x="6710303" y="5054405"/>
            <a:ext cx="2248449" cy="1236236"/>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800" b="0" i="0" u="none" strike="noStrike" kern="1200" cap="none" spc="0" normalizeH="0" baseline="0" dirty="0">
                <a:ln>
                  <a:noFill/>
                </a:ln>
                <a:solidFill>
                  <a:srgbClr val="000000"/>
                </a:solidFill>
                <a:effectLst/>
                <a:uLnTx/>
                <a:uFillTx/>
                <a:latin typeface="Calibri"/>
                <a:ea typeface="+mn-ea"/>
                <a:cs typeface="+mn-cs"/>
              </a:rPr>
              <a:t>We offer web and mobile (Android and iOS) application penetration testing and conduct reverse engineering of applications written in programming languages with managed or unmanaged code (e.g. C#, Java or C++). Service also includes security testing of back-end service APIs.</a:t>
            </a:r>
          </a:p>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800" b="0" i="0" u="none" strike="noStrike" kern="1200" cap="none" spc="0" normalizeH="0" baseline="0" dirty="0">
                <a:ln>
                  <a:noFill/>
                </a:ln>
                <a:solidFill>
                  <a:srgbClr val="000000"/>
                </a:solidFill>
                <a:effectLst/>
                <a:uLnTx/>
                <a:uFillTx/>
                <a:latin typeface="Calibri"/>
                <a:ea typeface="+mn-ea"/>
                <a:cs typeface="+mn-cs"/>
              </a:rPr>
              <a:t>We also perform hardware testing and evaluation of off-the-shelf electronics products, IoT, automotive or healthcare devices and electronics. </a:t>
            </a: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40358" y="3760906"/>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3B57B1E-0FF2-81CE-6E4D-CC02BA27A2AE}"/>
              </a:ext>
            </a:extLst>
          </p:cNvPr>
          <p:cNvGrpSpPr/>
          <p:nvPr/>
        </p:nvGrpSpPr>
        <p:grpSpPr>
          <a:xfrm>
            <a:off x="2643598" y="236650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8A79F5A9-611B-8C89-8D9B-C6321AEE7097}"/>
                </a:ext>
              </a:extLst>
            </p:cNvPr>
            <p:cNvSpPr/>
            <p:nvPr/>
          </p:nvSpPr>
          <p:spPr bwMode="gray">
            <a:xfrm>
              <a:off x="6628013"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030" name="Group 1029">
            <a:extLst>
              <a:ext uri="{FF2B5EF4-FFF2-40B4-BE49-F238E27FC236}">
                <a16:creationId xmlns:a16="http://schemas.microsoft.com/office/drawing/2014/main" id="{8AAF2FCC-5E5D-E91D-209D-CA2E0085B2F9}"/>
              </a:ext>
            </a:extLst>
          </p:cNvPr>
          <p:cNvGrpSpPr/>
          <p:nvPr/>
        </p:nvGrpSpPr>
        <p:grpSpPr>
          <a:xfrm>
            <a:off x="2643598" y="4801007"/>
            <a:ext cx="6337440" cy="108000"/>
            <a:chOff x="2643598" y="3290138"/>
            <a:chExt cx="6337440" cy="108000"/>
          </a:xfrm>
        </p:grpSpPr>
        <p:cxnSp>
          <p:nvCxnSpPr>
            <p:cNvPr id="1031" name="Straight Connector 1030">
              <a:extLst>
                <a:ext uri="{FF2B5EF4-FFF2-40B4-BE49-F238E27FC236}">
                  <a16:creationId xmlns:a16="http://schemas.microsoft.com/office/drawing/2014/main" id="{E17B9138-B77D-5393-5DDF-FF48F05F5842}"/>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32" name="Oval 1031">
              <a:extLst>
                <a:ext uri="{FF2B5EF4-FFF2-40B4-BE49-F238E27FC236}">
                  <a16:creationId xmlns:a16="http://schemas.microsoft.com/office/drawing/2014/main" id="{FE2853AB-686B-03CC-7900-D4AE0B782346}"/>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033" name="Straight Connector 1032">
              <a:extLst>
                <a:ext uri="{FF2B5EF4-FFF2-40B4-BE49-F238E27FC236}">
                  <a16:creationId xmlns:a16="http://schemas.microsoft.com/office/drawing/2014/main" id="{E85799A8-4C49-90DA-4376-48A8D9F211D0}"/>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34" name="Oval 1033">
              <a:extLst>
                <a:ext uri="{FF2B5EF4-FFF2-40B4-BE49-F238E27FC236}">
                  <a16:creationId xmlns:a16="http://schemas.microsoft.com/office/drawing/2014/main" id="{51EAB5B7-75F6-CF7E-1B3D-D203C0681686}"/>
                </a:ext>
              </a:extLst>
            </p:cNvPr>
            <p:cNvSpPr/>
            <p:nvPr/>
          </p:nvSpPr>
          <p:spPr bwMode="gray">
            <a:xfrm>
              <a:off x="6620756"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pic>
        <p:nvPicPr>
          <p:cNvPr id="1036" name="Picture 4" descr="Linkedin logo png - greorder">
            <a:hlinkClick r:id="rId7"/>
            <a:extLst>
              <a:ext uri="{FF2B5EF4-FFF2-40B4-BE49-F238E27FC236}">
                <a16:creationId xmlns:a16="http://schemas.microsoft.com/office/drawing/2014/main" id="{1D1F8576-08B0-C2D3-E711-0C4E6C0D89E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524230" y="2069899"/>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108" name="Freeform: Shape 1107">
            <a:extLst>
              <a:ext uri="{FF2B5EF4-FFF2-40B4-BE49-F238E27FC236}">
                <a16:creationId xmlns:a16="http://schemas.microsoft.com/office/drawing/2014/main" id="{AD5D1342-2F33-36A0-EF26-97B4BB7DBC70}"/>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111" name="Rectangle 1110">
            <a:extLst>
              <a:ext uri="{FF2B5EF4-FFF2-40B4-BE49-F238E27FC236}">
                <a16:creationId xmlns:a16="http://schemas.microsoft.com/office/drawing/2014/main" id="{C3A7529B-FB76-569F-0DC1-C22DA82217DC}"/>
              </a:ext>
            </a:extLst>
          </p:cNvPr>
          <p:cNvSpPr/>
          <p:nvPr/>
        </p:nvSpPr>
        <p:spPr>
          <a:xfrm>
            <a:off x="11315684" y="4321416"/>
            <a:ext cx="906006" cy="183904"/>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600" b="0" i="1" u="none" strike="noStrike" kern="1200" cap="none" spc="300" normalizeH="0" baseline="0" dirty="0">
                <a:ln>
                  <a:noFill/>
                </a:ln>
                <a:solidFill>
                  <a:srgbClr val="000000"/>
                </a:solidFill>
                <a:effectLst/>
                <a:uLnTx/>
                <a:uFillTx/>
                <a:latin typeface="Open Sans"/>
                <a:ea typeface="+mn-ea"/>
                <a:cs typeface="+mn-cs"/>
              </a:rPr>
              <a:t>BUDPEST</a:t>
            </a: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D7615059-6B4F-F222-38A4-7C7D4098B526}"/>
              </a:ext>
            </a:extLst>
          </p:cNvPr>
          <p:cNvSpPr/>
          <p:nvPr/>
        </p:nvSpPr>
        <p:spPr>
          <a:xfrm>
            <a:off x="11270372" y="5563943"/>
            <a:ext cx="921628" cy="369332"/>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1" u="none" strike="noStrike" kern="1200" cap="none" spc="300" normalizeH="0" baseline="0" dirty="0">
                <a:ln>
                  <a:noFill/>
                </a:ln>
                <a:solidFill>
                  <a:srgbClr val="FFFFFF">
                    <a:lumMod val="50000"/>
                  </a:srgbClr>
                </a:solidFill>
                <a:effectLst/>
                <a:uLnTx/>
                <a:uFillTx/>
                <a:latin typeface="Open Sans"/>
              </a:rPr>
              <a:t>+</a:t>
            </a:r>
            <a:r>
              <a:rPr lang="en-US" b="1" i="1" spc="300" dirty="0">
                <a:solidFill>
                  <a:srgbClr val="FFFFFF">
                    <a:lumMod val="50000"/>
                  </a:srgbClr>
                </a:solidFill>
                <a:latin typeface="Open Sans"/>
              </a:rPr>
              <a:t>12</a:t>
            </a:r>
            <a:r>
              <a:rPr kumimoji="0" lang="en-US" sz="1800" b="1" i="1" u="none" strike="noStrike" kern="1200" cap="none" spc="300" normalizeH="0" baseline="0" dirty="0">
                <a:ln>
                  <a:noFill/>
                </a:ln>
                <a:solidFill>
                  <a:srgbClr val="FFFFFF">
                    <a:lumMod val="50000"/>
                  </a:srgbClr>
                </a:solidFill>
                <a:effectLst/>
                <a:uLnTx/>
                <a:uFillTx/>
                <a:latin typeface="Open Sans"/>
              </a:rPr>
              <a:t>0</a:t>
            </a:r>
          </a:p>
        </p:txBody>
      </p:sp>
      <p:sp>
        <p:nvSpPr>
          <p:cNvPr id="34" name="Rectangle 33">
            <a:extLst>
              <a:ext uri="{FF2B5EF4-FFF2-40B4-BE49-F238E27FC236}">
                <a16:creationId xmlns:a16="http://schemas.microsoft.com/office/drawing/2014/main" id="{02DE62AF-4526-6392-D4BC-A7AE7B1DEFD9}"/>
              </a:ext>
            </a:extLst>
          </p:cNvPr>
          <p:cNvSpPr/>
          <p:nvPr/>
        </p:nvSpPr>
        <p:spPr>
          <a:xfrm>
            <a:off x="11159174" y="5874426"/>
            <a:ext cx="1227236" cy="338554"/>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0" i="1" u="none" strike="noStrike" kern="1200" cap="none" spc="300" normalizeH="0" baseline="0" dirty="0">
                <a:ln>
                  <a:noFill/>
                </a:ln>
                <a:solidFill>
                  <a:srgbClr val="FFFFFF">
                    <a:lumMod val="50000"/>
                  </a:srgbClr>
                </a:solidFill>
                <a:effectLst/>
                <a:uLnTx/>
                <a:uFillTx/>
                <a:latin typeface="Open Sans"/>
                <a:ea typeface="+mn-ea"/>
                <a:cs typeface="+mn-cs"/>
              </a:rPr>
              <a:t>EXPERTS IN CE REGION</a:t>
            </a:r>
          </a:p>
        </p:txBody>
      </p:sp>
      <p:sp>
        <p:nvSpPr>
          <p:cNvPr id="4" name="Rectangle 3">
            <a:extLst>
              <a:ext uri="{FF2B5EF4-FFF2-40B4-BE49-F238E27FC236}">
                <a16:creationId xmlns:a16="http://schemas.microsoft.com/office/drawing/2014/main" id="{B88C12BF-C83A-D83A-08A4-81D19DD4007B}"/>
              </a:ext>
            </a:extLst>
          </p:cNvPr>
          <p:cNvSpPr/>
          <p:nvPr/>
        </p:nvSpPr>
        <p:spPr>
          <a:xfrm>
            <a:off x="9302968" y="2950327"/>
            <a:ext cx="2889029" cy="78483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srgbClr val="000000"/>
                </a:solidFill>
                <a:effectLst/>
                <a:uLnTx/>
                <a:uFillTx/>
                <a:latin typeface="Calibri"/>
              </a:rPr>
              <a:t>With </a:t>
            </a:r>
            <a:r>
              <a:rPr lang="en-US" sz="900" dirty="0">
                <a:solidFill>
                  <a:srgbClr val="000000"/>
                </a:solidFill>
                <a:latin typeface="Calibri"/>
              </a:rPr>
              <a:t>12+</a:t>
            </a:r>
            <a:r>
              <a:rPr kumimoji="0" lang="en-US" sz="900" b="0" i="0" u="none" strike="noStrike" kern="1200" cap="none" spc="0" normalizeH="0" baseline="0" dirty="0">
                <a:ln>
                  <a:noFill/>
                </a:ln>
                <a:solidFill>
                  <a:srgbClr val="000000"/>
                </a:solidFill>
                <a:effectLst/>
                <a:uLnTx/>
                <a:uFillTx/>
                <a:latin typeface="Calibri"/>
              </a:rPr>
              <a:t> years of experience at Deloitte, Zoltan is the leader of the Cyber Governance and Tech team</a:t>
            </a:r>
            <a:r>
              <a:rPr lang="en-US" sz="900" dirty="0">
                <a:solidFill>
                  <a:srgbClr val="000000"/>
                </a:solidFill>
                <a:latin typeface="Calibri"/>
              </a:rPr>
              <a:t> where he is responsible of leading advisory engagements for technological solutions such Identity and Access Management, IT Strategy and Cyber services.</a:t>
            </a:r>
            <a:endParaRPr kumimoji="0" lang="en-US" sz="900" b="0" i="0" u="none" strike="noStrike" kern="1200" cap="none" spc="0" normalizeH="0" baseline="0" dirty="0">
              <a:ln>
                <a:noFill/>
              </a:ln>
              <a:solidFill>
                <a:srgbClr val="000000"/>
              </a:solidFill>
              <a:effectLst/>
              <a:uLnTx/>
              <a:uFillTx/>
              <a:latin typeface="Calibri"/>
            </a:endParaRPr>
          </a:p>
        </p:txBody>
      </p:sp>
      <p:sp>
        <p:nvSpPr>
          <p:cNvPr id="11" name="Rectangle 10">
            <a:extLst>
              <a:ext uri="{FF2B5EF4-FFF2-40B4-BE49-F238E27FC236}">
                <a16:creationId xmlns:a16="http://schemas.microsoft.com/office/drawing/2014/main" id="{C695A72C-7C27-F987-2688-131C85183D2B}"/>
              </a:ext>
            </a:extLst>
          </p:cNvPr>
          <p:cNvSpPr/>
          <p:nvPr/>
        </p:nvSpPr>
        <p:spPr>
          <a:xfrm>
            <a:off x="9292664" y="2441825"/>
            <a:ext cx="2697252" cy="5078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dirty="0">
                <a:ln>
                  <a:noFill/>
                </a:ln>
                <a:solidFill>
                  <a:srgbClr val="000000"/>
                </a:solidFill>
                <a:effectLst/>
                <a:uLnTx/>
                <a:uFillTx/>
                <a:latin typeface="Calibri"/>
                <a:ea typeface="+mn-ea"/>
                <a:cs typeface="+mn-cs"/>
              </a:rPr>
              <a:t>“In the realm of technology, wisdom lies not in the mastery of machines, but in our ability to harness their power for the betterment of humanity.”</a:t>
            </a:r>
          </a:p>
        </p:txBody>
      </p:sp>
      <p:pic>
        <p:nvPicPr>
          <p:cNvPr id="12" name="Picture 11" descr="A person in a suit and tie&#10;&#10;Description automatically generated">
            <a:extLst>
              <a:ext uri="{FF2B5EF4-FFF2-40B4-BE49-F238E27FC236}">
                <a16:creationId xmlns:a16="http://schemas.microsoft.com/office/drawing/2014/main" id="{BF9ED95B-4DE3-BC11-2169-89A654D8EE1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449059" y="316290"/>
            <a:ext cx="1393584" cy="1393584"/>
          </a:xfrm>
          <a:prstGeom prst="rect">
            <a:avLst/>
          </a:prstGeom>
        </p:spPr>
      </p:pic>
    </p:spTree>
    <p:extLst>
      <p:ext uri="{BB962C8B-B14F-4D97-AF65-F5344CB8AC3E}">
        <p14:creationId xmlns:p14="http://schemas.microsoft.com/office/powerpoint/2010/main" val="356153245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2402092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1226" y="-84277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3741105"/>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4071651"/>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E35D33A-6811-BC69-383E-8FAB16E98661}"/>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47206" y="4986211"/>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37780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41" name="Rectangle: Rounded Corners 40">
            <a:extLst>
              <a:ext uri="{FF2B5EF4-FFF2-40B4-BE49-F238E27FC236}">
                <a16:creationId xmlns:a16="http://schemas.microsoft.com/office/drawing/2014/main" id="{9E1A5677-B5F0-B102-E3C6-47103D928637}"/>
              </a:ext>
            </a:extLst>
          </p:cNvPr>
          <p:cNvSpPr/>
          <p:nvPr/>
        </p:nvSpPr>
        <p:spPr bwMode="gray">
          <a:xfrm>
            <a:off x="4141468" y="2466748"/>
            <a:ext cx="4839570" cy="1293452"/>
          </a:xfrm>
          <a:prstGeom prst="roundRect">
            <a:avLst>
              <a:gd name="adj" fmla="val 9889"/>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dirty="0">
                <a:ln>
                  <a:noFill/>
                </a:ln>
                <a:solidFill>
                  <a:srgbClr val="000000"/>
                </a:solidFill>
                <a:effectLst/>
                <a:uLnTx/>
                <a:uFillTx/>
                <a:latin typeface="Calibri"/>
                <a:ea typeface="+mj-ea"/>
                <a:cs typeface="Calibri Light" panose="020F0302020204030204" pitchFamily="34" charset="0"/>
              </a:rPr>
              <a:t>Technology Consulting Services 2/3</a:t>
            </a:r>
          </a:p>
        </p:txBody>
      </p:sp>
      <p:sp>
        <p:nvSpPr>
          <p:cNvPr id="6" name="TextBox 5">
            <a:extLst>
              <a:ext uri="{FF2B5EF4-FFF2-40B4-BE49-F238E27FC236}">
                <a16:creationId xmlns:a16="http://schemas.microsoft.com/office/drawing/2014/main" id="{FAEF6724-E8B7-7C0B-158A-01A618E22EC0}"/>
              </a:ext>
            </a:extLst>
          </p:cNvPr>
          <p:cNvSpPr txBox="1"/>
          <p:nvPr/>
        </p:nvSpPr>
        <p:spPr>
          <a:xfrm>
            <a:off x="1109960" y="2404007"/>
            <a:ext cx="1932004"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DevOps</a:t>
            </a: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dirty="0">
                <a:ln>
                  <a:noFill/>
                </a:ln>
                <a:solidFill>
                  <a:srgbClr val="FFFFFF"/>
                </a:solidFill>
                <a:effectLst/>
                <a:uLnTx/>
                <a:uFillTx/>
                <a:latin typeface="Open Sans"/>
                <a:ea typeface="+mn-ea"/>
                <a:cs typeface="+mn-cs"/>
              </a:rPr>
              <a:t>SUBCHAPTERS</a:t>
            </a:r>
          </a:p>
        </p:txBody>
      </p:sp>
      <p:sp>
        <p:nvSpPr>
          <p:cNvPr id="15" name="Rectangle 14">
            <a:extLst>
              <a:ext uri="{FF2B5EF4-FFF2-40B4-BE49-F238E27FC236}">
                <a16:creationId xmlns:a16="http://schemas.microsoft.com/office/drawing/2014/main" id="{3EB57B1D-83EB-0D0B-449F-EC60EBAFDE32}"/>
              </a:ext>
            </a:extLst>
          </p:cNvPr>
          <p:cNvSpPr/>
          <p:nvPr/>
        </p:nvSpPr>
        <p:spPr>
          <a:xfrm>
            <a:off x="9292664" y="2012605"/>
            <a:ext cx="1361544"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ea typeface="Open Sans"/>
                <a:cs typeface="Open Sans"/>
              </a:rPr>
              <a:t>Zoltán </a:t>
            </a:r>
            <a:r>
              <a:rPr lang="en-US" sz="1200" b="1" dirty="0" err="1">
                <a:solidFill>
                  <a:srgbClr val="000000"/>
                </a:solidFill>
                <a:latin typeface="Open Sans"/>
                <a:ea typeface="Open Sans"/>
                <a:cs typeface="Open Sans"/>
              </a:rPr>
              <a:t>Szöllősi</a:t>
            </a:r>
            <a:endParaRPr kumimoji="0" lang="en-US" sz="1200" b="1" i="0" u="none" strike="noStrike" kern="1200" cap="none" spc="0" normalizeH="0" baseline="0" dirty="0">
              <a:ln>
                <a:noFill/>
              </a:ln>
              <a:solidFill>
                <a:srgbClr val="000000"/>
              </a:solidFill>
              <a:effectLst/>
              <a:uLnTx/>
              <a:uFillTx/>
              <a:latin typeface="Open Sans"/>
              <a:ea typeface="Open Sans"/>
              <a:cs typeface="Open Sans"/>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Calibri"/>
                <a:ea typeface="Open Sans"/>
                <a:cs typeface="Open Sans"/>
              </a:rPr>
              <a:t>Partner</a:t>
            </a:r>
            <a:endParaRPr kumimoji="0" lang="en-US" sz="1200" b="0" i="0" u="none" strike="noStrike" kern="1200" cap="none" spc="0" normalizeH="0" baseline="0" dirty="0">
              <a:ln>
                <a:noFill/>
              </a:ln>
              <a:solidFill>
                <a:srgbClr val="000000"/>
              </a:solidFill>
              <a:effectLst/>
              <a:uLnTx/>
              <a:uFillTx/>
              <a:latin typeface="Calibri"/>
              <a:ea typeface="Open Sans"/>
              <a:cs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600" normalizeH="0" baseline="0" dirty="0">
                <a:ln>
                  <a:noFill/>
                </a:ln>
                <a:solidFill>
                  <a:srgbClr val="000000"/>
                </a:solidFill>
                <a:effectLst/>
                <a:uLnTx/>
                <a:uFillTx/>
                <a:latin typeface="Open Sans"/>
                <a:ea typeface="+mn-ea"/>
                <a:cs typeface="+mn-cs"/>
              </a:rPr>
              <a:t>METHODOLOGIES</a:t>
            </a:r>
            <a:endParaRPr kumimoji="0" lang="en-US" sz="1200" b="0" i="1" u="none" strike="noStrike" kern="1200" cap="none" spc="600" normalizeH="0" baseline="0" dirty="0">
              <a:ln>
                <a:noFill/>
              </a:ln>
              <a:solidFill>
                <a:srgbClr val="000000"/>
              </a:solidFill>
              <a:effectLst/>
              <a:uLnTx/>
              <a:uFillTx/>
              <a:latin typeface="Open Sans"/>
              <a:ea typeface="+mn-ea"/>
              <a:cs typeface="+mn-c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a:off x="922093" y="2203798"/>
            <a:ext cx="0" cy="28158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7" y="1840423"/>
            <a:ext cx="278631" cy="278367"/>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945010"/>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889829"/>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67" name="TextBox 66">
            <a:extLst>
              <a:ext uri="{FF2B5EF4-FFF2-40B4-BE49-F238E27FC236}">
                <a16:creationId xmlns:a16="http://schemas.microsoft.com/office/drawing/2014/main" id="{D7A9173E-42C8-E19F-56C2-0DA2BD60D004}"/>
              </a:ext>
            </a:extLst>
          </p:cNvPr>
          <p:cNvSpPr txBox="1"/>
          <p:nvPr/>
        </p:nvSpPr>
        <p:spPr>
          <a:xfrm>
            <a:off x="4189845" y="2507046"/>
            <a:ext cx="2184971"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Consulting on DevOps practices</a:t>
            </a:r>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dirty="0">
                <a:ln>
                  <a:noFill/>
                </a:ln>
                <a:solidFill>
                  <a:srgbClr val="38B6FF"/>
                </a:solidFill>
                <a:effectLst/>
                <a:uLnTx/>
                <a:uFillTx/>
                <a:latin typeface="Open Sans"/>
                <a:ea typeface="+mn-ea"/>
                <a:cs typeface="+mn-cs"/>
              </a:rPr>
              <a:t>CHAPTER LEAD EXPERT</a:t>
            </a:r>
            <a:endParaRPr kumimoji="0" lang="en-US" sz="1200" b="0" i="1" u="none" strike="noStrike" kern="1200" cap="none" spc="300" normalizeH="0" baseline="0" dirty="0">
              <a:ln>
                <a:noFill/>
              </a:ln>
              <a:solidFill>
                <a:srgbClr val="38B6FF"/>
              </a:solidFill>
              <a:effectLst/>
              <a:uLnTx/>
              <a:uFillTx/>
              <a:latin typeface="Open Sans"/>
              <a:ea typeface="+mn-ea"/>
              <a:cs typeface="+mn-cs"/>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3727076"/>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852378"/>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1" name="Oval 20">
            <a:extLst>
              <a:ext uri="{FF2B5EF4-FFF2-40B4-BE49-F238E27FC236}">
                <a16:creationId xmlns:a16="http://schemas.microsoft.com/office/drawing/2014/main" id="{D219154D-E203-927A-E17E-7821D7AFA343}"/>
              </a:ext>
            </a:extLst>
          </p:cNvPr>
          <p:cNvSpPr/>
          <p:nvPr/>
        </p:nvSpPr>
        <p:spPr bwMode="gray">
          <a:xfrm>
            <a:off x="875786" y="4921558"/>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71042AB0-6C28-0519-0123-4B35425F7BBA}"/>
              </a:ext>
            </a:extLst>
          </p:cNvPr>
          <p:cNvSpPr txBox="1"/>
          <p:nvPr/>
        </p:nvSpPr>
        <p:spPr>
          <a:xfrm>
            <a:off x="1109961" y="3764841"/>
            <a:ext cx="1443116"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err="1">
                <a:ln>
                  <a:noFill/>
                </a:ln>
                <a:solidFill>
                  <a:srgbClr val="000000"/>
                </a:solidFill>
                <a:effectLst/>
                <a:uLnTx/>
                <a:uFillTx/>
                <a:latin typeface="Calibri"/>
                <a:ea typeface="Open Sans Light" panose="020B0306030504020204" pitchFamily="34" charset="0"/>
                <a:cs typeface="Open Sans Light" panose="020B0306030504020204" pitchFamily="34" charset="0"/>
              </a:rPr>
              <a:t>DataOps</a:t>
            </a:r>
            <a:endPar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id="{5C8FF9D1-C272-F408-C331-07E40145140C}"/>
              </a:ext>
            </a:extLst>
          </p:cNvPr>
          <p:cNvSpPr txBox="1"/>
          <p:nvPr/>
        </p:nvSpPr>
        <p:spPr>
          <a:xfrm>
            <a:off x="1109960" y="5040018"/>
            <a:ext cx="1232290"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Cloud Computing Services</a:t>
            </a:r>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1" u="none" strike="noStrike" kern="1200" cap="none" spc="300" normalizeH="0" baseline="0" dirty="0">
                <a:ln>
                  <a:noFill/>
                </a:ln>
                <a:solidFill>
                  <a:srgbClr val="000000"/>
                </a:solidFill>
                <a:effectLst/>
                <a:uLnTx/>
                <a:uFillTx/>
                <a:latin typeface="Open Sans"/>
                <a:ea typeface="+mn-ea"/>
                <a:cs typeface="+mn-cs"/>
              </a:rPr>
              <a:t>EXPERTS IN HUNGARY</a:t>
            </a: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800" b="1" i="1" u="none" strike="noStrike" kern="1200" cap="none" spc="300" normalizeH="0" baseline="0" dirty="0">
                <a:ln>
                  <a:noFill/>
                </a:ln>
                <a:solidFill>
                  <a:srgbClr val="000000"/>
                </a:solidFill>
                <a:effectLst/>
                <a:uLnTx/>
                <a:uFillTx/>
                <a:latin typeface="Open Sans"/>
                <a:ea typeface="+mn-ea"/>
                <a:cs typeface="+mn-cs"/>
              </a:rPr>
              <a:t>80</a:t>
            </a:r>
          </a:p>
        </p:txBody>
      </p:sp>
      <p:sp>
        <p:nvSpPr>
          <p:cNvPr id="79" name="TextBox 78">
            <a:extLst>
              <a:ext uri="{FF2B5EF4-FFF2-40B4-BE49-F238E27FC236}">
                <a16:creationId xmlns:a16="http://schemas.microsoft.com/office/drawing/2014/main" id="{85D465EA-B4B6-1092-E7DC-37C3BDDC7B4B}"/>
              </a:ext>
            </a:extLst>
          </p:cNvPr>
          <p:cNvSpPr txBox="1"/>
          <p:nvPr/>
        </p:nvSpPr>
        <p:spPr>
          <a:xfrm>
            <a:off x="4189844" y="2655130"/>
            <a:ext cx="4830876" cy="984885"/>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Deloitte offers comprehensive DevOps services to help our clients streamline their software development and IT operations. Our expert team is dedicated to implementing DevOps best practices, enabling organizations to accelerate their software delivery, improve collaboration, and enhance the overall efficiency of their IT processes. We provide end-to-end solutions, including</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continuous integration and continuous delivery (CI/CD) pipeline setup</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infrastructure as code (</a:t>
            </a:r>
            <a:r>
              <a:rPr kumimoji="0" lang="en-US" sz="800" b="0" i="0" u="none" strike="noStrike" kern="1200" cap="none" spc="0" normalizeH="0" baseline="0" dirty="0" err="1">
                <a:ln>
                  <a:noFill/>
                </a:ln>
                <a:solidFill>
                  <a:srgbClr val="000000"/>
                </a:solidFill>
                <a:effectLst/>
                <a:uLnTx/>
                <a:uFillTx/>
                <a:latin typeface="Open Sans" panose="020B0606030504020204" pitchFamily="34" charset="0"/>
                <a:ea typeface="+mn-ea"/>
                <a:cs typeface="+mn-cs"/>
              </a:rPr>
              <a:t>IaC</a:t>
            </a: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 implementation</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containerization and orchestration</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automation of testing and deployment. </a:t>
            </a:r>
            <a:endParaRPr kumimoji="0" lang="en-US" sz="800" b="0" i="0" u="none" strike="noStrike" kern="1200" cap="none" spc="0" normalizeH="0" baseline="0" dirty="0">
              <a:ln>
                <a:noFill/>
              </a:ln>
              <a:solidFill>
                <a:srgbClr val="000000"/>
              </a:solidFill>
              <a:effectLst/>
              <a:uLnTx/>
              <a:uFillTx/>
              <a:latin typeface="Calibri"/>
              <a:ea typeface="+mn-ea"/>
              <a:cs typeface="+mn-cs"/>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7" y="3887287"/>
            <a:ext cx="4839563" cy="1061229"/>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25" name="TextBox 124">
            <a:extLst>
              <a:ext uri="{FF2B5EF4-FFF2-40B4-BE49-F238E27FC236}">
                <a16:creationId xmlns:a16="http://schemas.microsoft.com/office/drawing/2014/main" id="{BFC289BE-3B1A-26AD-07CC-7670D2377D1C}"/>
              </a:ext>
            </a:extLst>
          </p:cNvPr>
          <p:cNvSpPr txBox="1"/>
          <p:nvPr/>
        </p:nvSpPr>
        <p:spPr>
          <a:xfrm>
            <a:off x="4189845" y="3927585"/>
            <a:ext cx="4010792"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err="1">
                <a:ln>
                  <a:noFill/>
                </a:ln>
                <a:solidFill>
                  <a:srgbClr val="000000"/>
                </a:solidFill>
                <a:effectLst/>
                <a:uLnTx/>
                <a:uFillTx/>
                <a:latin typeface="Calibri"/>
                <a:ea typeface="+mn-ea"/>
                <a:cs typeface="+mn-cs"/>
              </a:rPr>
              <a:t>DataOps</a:t>
            </a:r>
            <a:r>
              <a:rPr kumimoji="0" lang="en-US" sz="900" b="1" i="0" u="none" strike="noStrike" kern="1200" cap="none" spc="0" normalizeH="0" baseline="0" dirty="0">
                <a:ln>
                  <a:noFill/>
                </a:ln>
                <a:solidFill>
                  <a:srgbClr val="000000"/>
                </a:solidFill>
                <a:effectLst/>
                <a:uLnTx/>
                <a:uFillTx/>
                <a:latin typeface="Calibri"/>
                <a:ea typeface="+mn-ea"/>
                <a:cs typeface="+mn-cs"/>
              </a:rPr>
              <a:t> services</a:t>
            </a:r>
          </a:p>
        </p:txBody>
      </p:sp>
      <p:sp>
        <p:nvSpPr>
          <p:cNvPr id="126" name="TextBox 125">
            <a:extLst>
              <a:ext uri="{FF2B5EF4-FFF2-40B4-BE49-F238E27FC236}">
                <a16:creationId xmlns:a16="http://schemas.microsoft.com/office/drawing/2014/main" id="{BF7B5CCB-9160-DE5F-7993-F08D514E177C}"/>
              </a:ext>
            </a:extLst>
          </p:cNvPr>
          <p:cNvSpPr txBox="1"/>
          <p:nvPr/>
        </p:nvSpPr>
        <p:spPr>
          <a:xfrm>
            <a:off x="4189845" y="4075669"/>
            <a:ext cx="4830876" cy="1113125"/>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rPr>
              <a:t>We provide a wide range of services to help organizations around their data ecosystem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rPr>
              <a:t>Data Operations</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srgbClr val="000000"/>
                </a:solidFill>
                <a:latin typeface="Open Sans" panose="020B0606030504020204" pitchFamily="34" charset="0"/>
              </a:rPr>
              <a:t>Data Management</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rPr>
              <a:t>Data Distribution support</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srgbClr val="000000"/>
                </a:solidFill>
                <a:latin typeface="Open Sans" panose="020B0606030504020204" pitchFamily="34" charset="0"/>
              </a:rPr>
              <a:t>Data Platform management</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rPr>
              <a:t>Data Security</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srgbClr val="000000"/>
                </a:solidFill>
                <a:latin typeface="Open Sans" panose="020B0606030504020204" pitchFamily="34" charset="0"/>
              </a:rPr>
              <a:t>Data Engineering</a:t>
            </a:r>
            <a:endParaRPr kumimoji="0" lang="en-US" sz="800" b="0" i="0" u="none" strike="noStrike" kern="1200" cap="none" spc="0" normalizeH="0" baseline="0" dirty="0">
              <a:ln>
                <a:noFill/>
              </a:ln>
              <a:solidFill>
                <a:srgbClr val="000000"/>
              </a:solidFill>
              <a:effectLst/>
              <a:uLnTx/>
              <a:uFillTx/>
              <a:latin typeface="Open Sans" panose="020B0606030504020204" pitchFamily="34" charset="0"/>
            </a:endParaRPr>
          </a:p>
          <a:p>
            <a:pPr marL="171450" marR="0" lvl="0" indent="-171450" algn="l" defTabSz="914400" eaLnBrk="1" fontAlgn="auto" latinLnBrk="0" hangingPunct="1">
              <a:lnSpc>
                <a:spcPct val="100000"/>
              </a:lnSpc>
              <a:spcBef>
                <a:spcPts val="1000"/>
              </a:spcBef>
              <a:spcAft>
                <a:spcPts val="0"/>
              </a:spcAft>
              <a:buClr>
                <a:srgbClr val="FFFFFF">
                  <a:lumMod val="50000"/>
                </a:srgbClr>
              </a:buClr>
              <a:buSzTx/>
              <a:buFont typeface="Arial" panose="020B0604020202020204" pitchFamily="34" charset="0"/>
              <a:buChar char="•"/>
              <a:tabLst/>
              <a:defRPr/>
            </a:pPr>
            <a:endParaRPr kumimoji="0" lang="en-US" sz="800" b="0" i="0" u="none" strike="noStrike" kern="1200" cap="none" spc="0" normalizeH="0" baseline="0" dirty="0">
              <a:ln>
                <a:noFill/>
              </a:ln>
              <a:solidFill>
                <a:srgbClr val="000000"/>
              </a:solidFill>
              <a:effectLst/>
              <a:uLnTx/>
              <a:uFillTx/>
              <a:latin typeface="Calibri"/>
            </a:endParaRP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40358" y="3760906"/>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3B57B1E-0FF2-81CE-6E4D-CC02BA27A2AE}"/>
              </a:ext>
            </a:extLst>
          </p:cNvPr>
          <p:cNvGrpSpPr/>
          <p:nvPr/>
        </p:nvGrpSpPr>
        <p:grpSpPr>
          <a:xfrm>
            <a:off x="2643598" y="236650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8A79F5A9-611B-8C89-8D9B-C6321AEE7097}"/>
                </a:ext>
              </a:extLst>
            </p:cNvPr>
            <p:cNvSpPr/>
            <p:nvPr/>
          </p:nvSpPr>
          <p:spPr bwMode="gray">
            <a:xfrm>
              <a:off x="6628013"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030" name="Group 1029">
            <a:extLst>
              <a:ext uri="{FF2B5EF4-FFF2-40B4-BE49-F238E27FC236}">
                <a16:creationId xmlns:a16="http://schemas.microsoft.com/office/drawing/2014/main" id="{8AAF2FCC-5E5D-E91D-209D-CA2E0085B2F9}"/>
              </a:ext>
            </a:extLst>
          </p:cNvPr>
          <p:cNvGrpSpPr/>
          <p:nvPr/>
        </p:nvGrpSpPr>
        <p:grpSpPr>
          <a:xfrm>
            <a:off x="2643598" y="5003752"/>
            <a:ext cx="6337440" cy="108000"/>
            <a:chOff x="2643598" y="3290138"/>
            <a:chExt cx="6337440" cy="108000"/>
          </a:xfrm>
        </p:grpSpPr>
        <p:cxnSp>
          <p:nvCxnSpPr>
            <p:cNvPr id="1031" name="Straight Connector 1030">
              <a:extLst>
                <a:ext uri="{FF2B5EF4-FFF2-40B4-BE49-F238E27FC236}">
                  <a16:creationId xmlns:a16="http://schemas.microsoft.com/office/drawing/2014/main" id="{E17B9138-B77D-5393-5DDF-FF48F05F5842}"/>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32" name="Oval 1031">
              <a:extLst>
                <a:ext uri="{FF2B5EF4-FFF2-40B4-BE49-F238E27FC236}">
                  <a16:creationId xmlns:a16="http://schemas.microsoft.com/office/drawing/2014/main" id="{FE2853AB-686B-03CC-7900-D4AE0B782346}"/>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033" name="Straight Connector 1032">
              <a:extLst>
                <a:ext uri="{FF2B5EF4-FFF2-40B4-BE49-F238E27FC236}">
                  <a16:creationId xmlns:a16="http://schemas.microsoft.com/office/drawing/2014/main" id="{E85799A8-4C49-90DA-4376-48A8D9F211D0}"/>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pic>
        <p:nvPicPr>
          <p:cNvPr id="1036" name="Picture 4" descr="Linkedin logo png - greorder">
            <a:hlinkClick r:id="rId7"/>
            <a:extLst>
              <a:ext uri="{FF2B5EF4-FFF2-40B4-BE49-F238E27FC236}">
                <a16:creationId xmlns:a16="http://schemas.microsoft.com/office/drawing/2014/main" id="{1D1F8576-08B0-C2D3-E711-0C4E6C0D89E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524230" y="2069899"/>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108" name="Freeform: Shape 1107">
            <a:extLst>
              <a:ext uri="{FF2B5EF4-FFF2-40B4-BE49-F238E27FC236}">
                <a16:creationId xmlns:a16="http://schemas.microsoft.com/office/drawing/2014/main" id="{AD5D1342-2F33-36A0-EF26-97B4BB7DBC70}"/>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111" name="Rectangle 1110">
            <a:extLst>
              <a:ext uri="{FF2B5EF4-FFF2-40B4-BE49-F238E27FC236}">
                <a16:creationId xmlns:a16="http://schemas.microsoft.com/office/drawing/2014/main" id="{C3A7529B-FB76-569F-0DC1-C22DA82217DC}"/>
              </a:ext>
            </a:extLst>
          </p:cNvPr>
          <p:cNvSpPr/>
          <p:nvPr/>
        </p:nvSpPr>
        <p:spPr>
          <a:xfrm>
            <a:off x="11315684" y="4321416"/>
            <a:ext cx="906006" cy="183904"/>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600" b="0" i="1" u="none" strike="noStrike" kern="1200" cap="none" spc="300" normalizeH="0" baseline="0" dirty="0">
                <a:ln>
                  <a:noFill/>
                </a:ln>
                <a:solidFill>
                  <a:srgbClr val="000000"/>
                </a:solidFill>
                <a:effectLst/>
                <a:uLnTx/>
                <a:uFillTx/>
                <a:latin typeface="Open Sans"/>
                <a:ea typeface="+mn-ea"/>
                <a:cs typeface="+mn-cs"/>
              </a:rPr>
              <a:t>BUDPEST</a:t>
            </a: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D7615059-6B4F-F222-38A4-7C7D4098B526}"/>
              </a:ext>
            </a:extLst>
          </p:cNvPr>
          <p:cNvSpPr/>
          <p:nvPr/>
        </p:nvSpPr>
        <p:spPr>
          <a:xfrm>
            <a:off x="11270372" y="5563943"/>
            <a:ext cx="921628" cy="369332"/>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1" u="none" strike="noStrike" kern="1200" cap="none" spc="300" normalizeH="0" baseline="0" dirty="0">
                <a:ln>
                  <a:noFill/>
                </a:ln>
                <a:solidFill>
                  <a:srgbClr val="FFFFFF">
                    <a:lumMod val="50000"/>
                  </a:srgbClr>
                </a:solidFill>
                <a:effectLst/>
                <a:uLnTx/>
                <a:uFillTx/>
                <a:latin typeface="Open Sans"/>
              </a:rPr>
              <a:t>+</a:t>
            </a:r>
            <a:r>
              <a:rPr lang="en-US" b="1" i="1" spc="300" dirty="0">
                <a:solidFill>
                  <a:srgbClr val="FFFFFF">
                    <a:lumMod val="50000"/>
                  </a:srgbClr>
                </a:solidFill>
                <a:latin typeface="Open Sans"/>
              </a:rPr>
              <a:t>12</a:t>
            </a:r>
            <a:r>
              <a:rPr kumimoji="0" lang="en-US" sz="1800" b="1" i="1" u="none" strike="noStrike" kern="1200" cap="none" spc="300" normalizeH="0" baseline="0" dirty="0">
                <a:ln>
                  <a:noFill/>
                </a:ln>
                <a:solidFill>
                  <a:srgbClr val="FFFFFF">
                    <a:lumMod val="50000"/>
                  </a:srgbClr>
                </a:solidFill>
                <a:effectLst/>
                <a:uLnTx/>
                <a:uFillTx/>
                <a:latin typeface="Open Sans"/>
              </a:rPr>
              <a:t>0</a:t>
            </a:r>
          </a:p>
        </p:txBody>
      </p:sp>
      <p:sp>
        <p:nvSpPr>
          <p:cNvPr id="34" name="Rectangle 33">
            <a:extLst>
              <a:ext uri="{FF2B5EF4-FFF2-40B4-BE49-F238E27FC236}">
                <a16:creationId xmlns:a16="http://schemas.microsoft.com/office/drawing/2014/main" id="{02DE62AF-4526-6392-D4BC-A7AE7B1DEFD9}"/>
              </a:ext>
            </a:extLst>
          </p:cNvPr>
          <p:cNvSpPr/>
          <p:nvPr/>
        </p:nvSpPr>
        <p:spPr>
          <a:xfrm>
            <a:off x="11159174" y="5874426"/>
            <a:ext cx="1227236" cy="338554"/>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0" i="1" u="none" strike="noStrike" kern="1200" cap="none" spc="300" normalizeH="0" baseline="0" dirty="0">
                <a:ln>
                  <a:noFill/>
                </a:ln>
                <a:solidFill>
                  <a:srgbClr val="FFFFFF">
                    <a:lumMod val="50000"/>
                  </a:srgbClr>
                </a:solidFill>
                <a:effectLst/>
                <a:uLnTx/>
                <a:uFillTx/>
                <a:latin typeface="Open Sans"/>
                <a:ea typeface="+mn-ea"/>
                <a:cs typeface="+mn-cs"/>
              </a:rPr>
              <a:t>EXPERTS IN CE REGION</a:t>
            </a:r>
          </a:p>
        </p:txBody>
      </p:sp>
      <p:sp>
        <p:nvSpPr>
          <p:cNvPr id="4" name="Rectangle 3">
            <a:extLst>
              <a:ext uri="{FF2B5EF4-FFF2-40B4-BE49-F238E27FC236}">
                <a16:creationId xmlns:a16="http://schemas.microsoft.com/office/drawing/2014/main" id="{B88C12BF-C83A-D83A-08A4-81D19DD4007B}"/>
              </a:ext>
            </a:extLst>
          </p:cNvPr>
          <p:cNvSpPr/>
          <p:nvPr/>
        </p:nvSpPr>
        <p:spPr>
          <a:xfrm>
            <a:off x="9302968" y="2950327"/>
            <a:ext cx="2889029" cy="78483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srgbClr val="000000"/>
                </a:solidFill>
                <a:effectLst/>
                <a:uLnTx/>
                <a:uFillTx/>
                <a:latin typeface="Calibri"/>
              </a:rPr>
              <a:t>With </a:t>
            </a:r>
            <a:r>
              <a:rPr lang="en-US" sz="900" dirty="0">
                <a:solidFill>
                  <a:srgbClr val="000000"/>
                </a:solidFill>
                <a:latin typeface="Calibri"/>
              </a:rPr>
              <a:t>12+</a:t>
            </a:r>
            <a:r>
              <a:rPr kumimoji="0" lang="en-US" sz="900" b="0" i="0" u="none" strike="noStrike" kern="1200" cap="none" spc="0" normalizeH="0" baseline="0" dirty="0">
                <a:ln>
                  <a:noFill/>
                </a:ln>
                <a:solidFill>
                  <a:srgbClr val="000000"/>
                </a:solidFill>
                <a:effectLst/>
                <a:uLnTx/>
                <a:uFillTx/>
                <a:latin typeface="Calibri"/>
              </a:rPr>
              <a:t> years of experience at Deloitte, Zoltan is the leader of the Cyber Governance and Tech team</a:t>
            </a:r>
            <a:r>
              <a:rPr lang="en-US" sz="900" dirty="0">
                <a:solidFill>
                  <a:srgbClr val="000000"/>
                </a:solidFill>
                <a:latin typeface="Calibri"/>
              </a:rPr>
              <a:t> where he is responsible of leading advisory engagements for technological solutions such Identity and Access Management, IT Strategy and Cyber services.</a:t>
            </a:r>
            <a:endParaRPr kumimoji="0" lang="en-US" sz="900" b="0" i="0" u="none" strike="noStrike" kern="1200" cap="none" spc="0" normalizeH="0" baseline="0" dirty="0">
              <a:ln>
                <a:noFill/>
              </a:ln>
              <a:solidFill>
                <a:srgbClr val="000000"/>
              </a:solidFill>
              <a:effectLst/>
              <a:uLnTx/>
              <a:uFillTx/>
              <a:latin typeface="Calibri"/>
            </a:endParaRPr>
          </a:p>
        </p:txBody>
      </p:sp>
      <p:sp>
        <p:nvSpPr>
          <p:cNvPr id="11" name="Rectangle 10">
            <a:extLst>
              <a:ext uri="{FF2B5EF4-FFF2-40B4-BE49-F238E27FC236}">
                <a16:creationId xmlns:a16="http://schemas.microsoft.com/office/drawing/2014/main" id="{C695A72C-7C27-F987-2688-131C85183D2B}"/>
              </a:ext>
            </a:extLst>
          </p:cNvPr>
          <p:cNvSpPr/>
          <p:nvPr/>
        </p:nvSpPr>
        <p:spPr>
          <a:xfrm>
            <a:off x="9292664" y="2441825"/>
            <a:ext cx="2697252" cy="5078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dirty="0">
                <a:ln>
                  <a:noFill/>
                </a:ln>
                <a:solidFill>
                  <a:srgbClr val="000000"/>
                </a:solidFill>
                <a:effectLst/>
                <a:uLnTx/>
                <a:uFillTx/>
                <a:latin typeface="Calibri"/>
                <a:ea typeface="+mn-ea"/>
                <a:cs typeface="+mn-cs"/>
              </a:rPr>
              <a:t>“In the realm of technology, wisdom lies not in the mastery of machines, but in our ability to harness their power for the betterment of humanity.”</a:t>
            </a:r>
          </a:p>
        </p:txBody>
      </p:sp>
      <p:pic>
        <p:nvPicPr>
          <p:cNvPr id="12" name="Picture 11" descr="A person in a suit and tie&#10;&#10;Description automatically generated">
            <a:extLst>
              <a:ext uri="{FF2B5EF4-FFF2-40B4-BE49-F238E27FC236}">
                <a16:creationId xmlns:a16="http://schemas.microsoft.com/office/drawing/2014/main" id="{BF9ED95B-4DE3-BC11-2169-89A654D8EE1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449059" y="316290"/>
            <a:ext cx="1393584" cy="1393584"/>
          </a:xfrm>
          <a:prstGeom prst="rect">
            <a:avLst/>
          </a:prstGeom>
        </p:spPr>
      </p:pic>
      <p:sp>
        <p:nvSpPr>
          <p:cNvPr id="5" name="Rectangle: Rounded Corners 4">
            <a:extLst>
              <a:ext uri="{FF2B5EF4-FFF2-40B4-BE49-F238E27FC236}">
                <a16:creationId xmlns:a16="http://schemas.microsoft.com/office/drawing/2014/main" id="{8A81422A-3632-DD21-005E-92AEFBB34BF7}"/>
              </a:ext>
            </a:extLst>
          </p:cNvPr>
          <p:cNvSpPr/>
          <p:nvPr/>
        </p:nvSpPr>
        <p:spPr bwMode="gray">
          <a:xfrm>
            <a:off x="4150162" y="5247997"/>
            <a:ext cx="4830876" cy="146726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137F1E72-3536-F180-118A-A73D1B68E735}"/>
              </a:ext>
            </a:extLst>
          </p:cNvPr>
          <p:cNvSpPr txBox="1"/>
          <p:nvPr/>
        </p:nvSpPr>
        <p:spPr>
          <a:xfrm>
            <a:off x="4198539" y="5292434"/>
            <a:ext cx="4010792"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Cloud services</a:t>
            </a:r>
          </a:p>
        </p:txBody>
      </p:sp>
      <p:sp>
        <p:nvSpPr>
          <p:cNvPr id="14" name="TextBox 13">
            <a:extLst>
              <a:ext uri="{FF2B5EF4-FFF2-40B4-BE49-F238E27FC236}">
                <a16:creationId xmlns:a16="http://schemas.microsoft.com/office/drawing/2014/main" id="{FF924065-FA66-EA10-2506-2376725A9D2E}"/>
              </a:ext>
            </a:extLst>
          </p:cNvPr>
          <p:cNvSpPr txBox="1"/>
          <p:nvPr/>
        </p:nvSpPr>
        <p:spPr>
          <a:xfrm>
            <a:off x="4198539" y="5440518"/>
            <a:ext cx="4830876" cy="1231106"/>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Calibri"/>
              </a:rPr>
              <a:t>Deloitte Systems and Cloud Engineering helps our clients solve business problems using Cloud technologies. We bring together our industry insights, our business domain knowledge and our cloud engineering expertise to help UNICEF innovate faster and be more agile in the development of new products and services and how UNICEF runs its businesses. Our services include:</a:t>
            </a:r>
          </a:p>
          <a:p>
            <a:pPr marL="171450" marR="0" lvl="0" indent="-171450" algn="l" defTabSz="914400" eaLnBrk="1" fontAlgn="auto" latinLnBrk="0" hangingPunct="1">
              <a:lnSpc>
                <a:spcPct val="100000"/>
              </a:lnSpc>
              <a:spcAft>
                <a:spcPts val="0"/>
              </a:spcAft>
              <a:buClrTx/>
              <a:buSzTx/>
              <a:buFont typeface="Arial" panose="020B0604020202020204" pitchFamily="34" charset="0"/>
              <a:buChar char="•"/>
              <a:tabLst/>
              <a:defRPr/>
            </a:pPr>
            <a:r>
              <a:rPr lang="en-US" sz="800" dirty="0">
                <a:solidFill>
                  <a:srgbClr val="000000"/>
                </a:solidFill>
                <a:latin typeface="Calibri"/>
              </a:rPr>
              <a:t>Cloud Strategy &amp; Realization</a:t>
            </a:r>
          </a:p>
          <a:p>
            <a:pPr marL="171450" marR="0" lvl="0" indent="-171450" algn="l" defTabSz="914400" eaLnBrk="1" fontAlgn="auto" latinLnBrk="0" hangingPunct="1">
              <a:lnSpc>
                <a:spcPct val="100000"/>
              </a:lnSpc>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Calibri"/>
              </a:rPr>
              <a:t>Cloud Migration Support</a:t>
            </a:r>
          </a:p>
          <a:p>
            <a:pPr marL="171450" marR="0" lvl="0" indent="-171450" algn="l" defTabSz="914400" eaLnBrk="1" fontAlgn="auto" latinLnBrk="0" hangingPunct="1">
              <a:lnSpc>
                <a:spcPct val="100000"/>
              </a:lnSpc>
              <a:spcAft>
                <a:spcPts val="0"/>
              </a:spcAft>
              <a:buClrTx/>
              <a:buSzTx/>
              <a:buFont typeface="Arial" panose="020B0604020202020204" pitchFamily="34" charset="0"/>
              <a:buChar char="•"/>
              <a:tabLst/>
              <a:defRPr/>
            </a:pPr>
            <a:r>
              <a:rPr lang="en-US" sz="800" dirty="0">
                <a:solidFill>
                  <a:srgbClr val="000000"/>
                </a:solidFill>
                <a:latin typeface="Calibri"/>
              </a:rPr>
              <a:t>E2E Data Migration</a:t>
            </a:r>
          </a:p>
          <a:p>
            <a:pPr marL="171450" marR="0" lvl="0" indent="-171450" algn="l" defTabSz="914400" eaLnBrk="1" fontAlgn="auto" latinLnBrk="0" hangingPunct="1">
              <a:lnSpc>
                <a:spcPct val="100000"/>
              </a:lnSpc>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Calibri"/>
              </a:rPr>
              <a:t>Vendor Selection</a:t>
            </a:r>
          </a:p>
          <a:p>
            <a:pPr marL="171450" marR="0" lvl="0" indent="-171450" algn="l" defTabSz="914400" eaLnBrk="1" fontAlgn="auto" latinLnBrk="0" hangingPunct="1">
              <a:lnSpc>
                <a:spcPct val="100000"/>
              </a:lnSpc>
              <a:spcAft>
                <a:spcPts val="0"/>
              </a:spcAft>
              <a:buClrTx/>
              <a:buSzTx/>
              <a:buFont typeface="Arial" panose="020B0604020202020204" pitchFamily="34" charset="0"/>
              <a:buChar char="•"/>
              <a:tabLst/>
              <a:defRPr/>
            </a:pPr>
            <a:r>
              <a:rPr lang="en-US" sz="800" dirty="0">
                <a:solidFill>
                  <a:srgbClr val="000000"/>
                </a:solidFill>
                <a:latin typeface="Calibri"/>
              </a:rPr>
              <a:t>Cloud Development</a:t>
            </a:r>
          </a:p>
          <a:p>
            <a:pPr marL="171450" marR="0" lvl="0" indent="-171450" algn="l" defTabSz="914400" eaLnBrk="1" fontAlgn="auto" latinLnBrk="0" hangingPunct="1">
              <a:lnSpc>
                <a:spcPct val="100000"/>
              </a:lnSpc>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000000"/>
                </a:solidFill>
                <a:effectLst/>
                <a:uLnTx/>
                <a:uFillTx/>
                <a:latin typeface="Calibri"/>
              </a:rPr>
              <a:t>Risk &amp; Cyber</a:t>
            </a:r>
          </a:p>
        </p:txBody>
      </p:sp>
    </p:spTree>
    <p:extLst>
      <p:ext uri="{BB962C8B-B14F-4D97-AF65-F5344CB8AC3E}">
        <p14:creationId xmlns:p14="http://schemas.microsoft.com/office/powerpoint/2010/main" val="359488457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318466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1226" y="-84277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16" name="TextBox 115">
            <a:extLst>
              <a:ext uri="{FF2B5EF4-FFF2-40B4-BE49-F238E27FC236}">
                <a16:creationId xmlns:a16="http://schemas.microsoft.com/office/drawing/2014/main" id="{02E34383-661C-C618-987F-A3294B419082}"/>
              </a:ext>
            </a:extLst>
          </p:cNvPr>
          <p:cNvSpPr txBox="1"/>
          <p:nvPr/>
        </p:nvSpPr>
        <p:spPr>
          <a:xfrm>
            <a:off x="4825143" y="3741105"/>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4071651"/>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E35D33A-6811-BC69-383E-8FAB16E98661}"/>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47206" y="4783466"/>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5" y="237780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41" name="Rectangle: Rounded Corners 40">
            <a:extLst>
              <a:ext uri="{FF2B5EF4-FFF2-40B4-BE49-F238E27FC236}">
                <a16:creationId xmlns:a16="http://schemas.microsoft.com/office/drawing/2014/main" id="{9E1A5677-B5F0-B102-E3C6-47103D928637}"/>
              </a:ext>
            </a:extLst>
          </p:cNvPr>
          <p:cNvSpPr/>
          <p:nvPr/>
        </p:nvSpPr>
        <p:spPr bwMode="gray">
          <a:xfrm>
            <a:off x="4141467" y="2466748"/>
            <a:ext cx="4879253" cy="1068537"/>
          </a:xfrm>
          <a:prstGeom prst="roundRect">
            <a:avLst>
              <a:gd name="adj" fmla="val 9889"/>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dirty="0">
                <a:ln>
                  <a:noFill/>
                </a:ln>
                <a:solidFill>
                  <a:srgbClr val="000000"/>
                </a:solidFill>
                <a:effectLst/>
                <a:uLnTx/>
                <a:uFillTx/>
                <a:latin typeface="Calibri"/>
                <a:ea typeface="+mj-ea"/>
                <a:cs typeface="Calibri Light" panose="020F0302020204030204" pitchFamily="34" charset="0"/>
              </a:rPr>
              <a:t>Technology Consulting Services 3/3</a:t>
            </a:r>
          </a:p>
        </p:txBody>
      </p:sp>
      <p:sp>
        <p:nvSpPr>
          <p:cNvPr id="6" name="TextBox 5">
            <a:extLst>
              <a:ext uri="{FF2B5EF4-FFF2-40B4-BE49-F238E27FC236}">
                <a16:creationId xmlns:a16="http://schemas.microsoft.com/office/drawing/2014/main" id="{FAEF6724-E8B7-7C0B-158A-01A618E22EC0}"/>
              </a:ext>
            </a:extLst>
          </p:cNvPr>
          <p:cNvSpPr txBox="1"/>
          <p:nvPr/>
        </p:nvSpPr>
        <p:spPr>
          <a:xfrm>
            <a:off x="1109960" y="2404007"/>
            <a:ext cx="1932004"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Integration Services</a:t>
            </a: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dirty="0">
                <a:ln>
                  <a:noFill/>
                </a:ln>
                <a:solidFill>
                  <a:srgbClr val="FFFFFF"/>
                </a:solidFill>
                <a:effectLst/>
                <a:uLnTx/>
                <a:uFillTx/>
                <a:latin typeface="Open Sans"/>
                <a:ea typeface="+mn-ea"/>
                <a:cs typeface="+mn-cs"/>
              </a:rPr>
              <a:t>SUBCHAPTERS</a:t>
            </a:r>
          </a:p>
        </p:txBody>
      </p:sp>
      <p:sp>
        <p:nvSpPr>
          <p:cNvPr id="15" name="Rectangle 14">
            <a:extLst>
              <a:ext uri="{FF2B5EF4-FFF2-40B4-BE49-F238E27FC236}">
                <a16:creationId xmlns:a16="http://schemas.microsoft.com/office/drawing/2014/main" id="{3EB57B1D-83EB-0D0B-449F-EC60EBAFDE32}"/>
              </a:ext>
            </a:extLst>
          </p:cNvPr>
          <p:cNvSpPr/>
          <p:nvPr/>
        </p:nvSpPr>
        <p:spPr>
          <a:xfrm>
            <a:off x="9292664" y="2012605"/>
            <a:ext cx="1361544"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ea typeface="Open Sans"/>
                <a:cs typeface="Open Sans"/>
              </a:rPr>
              <a:t>Zoltán </a:t>
            </a:r>
            <a:r>
              <a:rPr lang="en-US" sz="1200" b="1" dirty="0" err="1">
                <a:solidFill>
                  <a:srgbClr val="000000"/>
                </a:solidFill>
                <a:latin typeface="Open Sans"/>
                <a:ea typeface="Open Sans"/>
                <a:cs typeface="Open Sans"/>
              </a:rPr>
              <a:t>Szöllősi</a:t>
            </a:r>
            <a:endParaRPr kumimoji="0" lang="en-US" sz="1200" b="1" i="0" u="none" strike="noStrike" kern="1200" cap="none" spc="0" normalizeH="0" baseline="0" dirty="0">
              <a:ln>
                <a:noFill/>
              </a:ln>
              <a:solidFill>
                <a:srgbClr val="000000"/>
              </a:solidFill>
              <a:effectLst/>
              <a:uLnTx/>
              <a:uFillTx/>
              <a:latin typeface="Open Sans"/>
              <a:ea typeface="Open Sans"/>
              <a:cs typeface="Open Sans"/>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Calibri"/>
                <a:ea typeface="Open Sans"/>
                <a:cs typeface="Open Sans"/>
              </a:rPr>
              <a:t>Partner</a:t>
            </a:r>
            <a:endParaRPr kumimoji="0" lang="en-US" sz="1200" b="0" i="0" u="none" strike="noStrike" kern="1200" cap="none" spc="0" normalizeH="0" baseline="0" dirty="0">
              <a:ln>
                <a:noFill/>
              </a:ln>
              <a:solidFill>
                <a:srgbClr val="000000"/>
              </a:solidFill>
              <a:effectLst/>
              <a:uLnTx/>
              <a:uFillTx/>
              <a:latin typeface="Calibri"/>
              <a:ea typeface="Open Sans"/>
              <a:cs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600" normalizeH="0" baseline="0" dirty="0">
                <a:ln>
                  <a:noFill/>
                </a:ln>
                <a:solidFill>
                  <a:srgbClr val="000000"/>
                </a:solidFill>
                <a:effectLst/>
                <a:uLnTx/>
                <a:uFillTx/>
                <a:latin typeface="Open Sans"/>
                <a:ea typeface="+mn-ea"/>
                <a:cs typeface="+mn-cs"/>
              </a:rPr>
              <a:t>METHODOLOGIES</a:t>
            </a:r>
            <a:endParaRPr kumimoji="0" lang="en-US" sz="1200" b="0" i="1" u="none" strike="noStrike" kern="1200" cap="none" spc="600" normalizeH="0" baseline="0" dirty="0">
              <a:ln>
                <a:noFill/>
              </a:ln>
              <a:solidFill>
                <a:srgbClr val="000000"/>
              </a:solidFill>
              <a:effectLst/>
              <a:uLnTx/>
              <a:uFillTx/>
              <a:latin typeface="Open Sans"/>
              <a:ea typeface="+mn-ea"/>
              <a:cs typeface="+mn-c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a:off x="922093" y="2203798"/>
            <a:ext cx="0" cy="28158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6" y="1840423"/>
            <a:ext cx="278631" cy="278367"/>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945010"/>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889829"/>
            <a:ext cx="0" cy="0"/>
          </a:xfrm>
          <a:prstGeom prst="rect">
            <a:avLst/>
          </a:prstGeom>
          <a:noFill/>
        </p:spPr>
        <p:txBody>
          <a:bodyPr wrap="none" lIns="0" tIns="0" rIns="0" bIns="0" rtlCol="0">
            <a:no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endParaRPr kumimoji="0" lang="en-US" sz="1200" b="0" i="0" u="none" strike="noStrike" kern="1200" cap="none" spc="0" normalizeH="0" baseline="0" dirty="0">
              <a:ln>
                <a:noFill/>
              </a:ln>
              <a:solidFill>
                <a:srgbClr val="000000"/>
              </a:solidFill>
              <a:effectLst/>
              <a:uLnTx/>
              <a:uFillTx/>
              <a:latin typeface="Calibri"/>
              <a:ea typeface="+mn-ea"/>
              <a:cs typeface="+mn-cs"/>
            </a:endParaRPr>
          </a:p>
        </p:txBody>
      </p:sp>
      <p:sp>
        <p:nvSpPr>
          <p:cNvPr id="67" name="TextBox 66">
            <a:extLst>
              <a:ext uri="{FF2B5EF4-FFF2-40B4-BE49-F238E27FC236}">
                <a16:creationId xmlns:a16="http://schemas.microsoft.com/office/drawing/2014/main" id="{D7A9173E-42C8-E19F-56C2-0DA2BD60D004}"/>
              </a:ext>
            </a:extLst>
          </p:cNvPr>
          <p:cNvSpPr txBox="1"/>
          <p:nvPr/>
        </p:nvSpPr>
        <p:spPr>
          <a:xfrm>
            <a:off x="4189845" y="2507046"/>
            <a:ext cx="3179143"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Integration Service strategy and implementation</a:t>
            </a:r>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8430F6A6-3853-F07E-1F9C-C07C76FE57E0}"/>
              </a:ext>
            </a:extLst>
          </p:cNvPr>
          <p:cNvSpPr/>
          <p:nvPr/>
        </p:nvSpPr>
        <p:spPr>
          <a:xfrm>
            <a:off x="9302968" y="1806315"/>
            <a:ext cx="2659044"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dirty="0">
                <a:ln>
                  <a:noFill/>
                </a:ln>
                <a:solidFill>
                  <a:srgbClr val="38B6FF"/>
                </a:solidFill>
                <a:effectLst/>
                <a:uLnTx/>
                <a:uFillTx/>
                <a:latin typeface="Open Sans"/>
                <a:ea typeface="+mn-ea"/>
                <a:cs typeface="+mn-cs"/>
              </a:rPr>
              <a:t>CHAPTER LEAD EXPERT</a:t>
            </a:r>
            <a:endParaRPr kumimoji="0" lang="en-US" sz="1200" b="0" i="1" u="none" strike="noStrike" kern="1200" cap="none" spc="300" normalizeH="0" baseline="0" dirty="0">
              <a:ln>
                <a:noFill/>
              </a:ln>
              <a:solidFill>
                <a:srgbClr val="38B6FF"/>
              </a:solidFill>
              <a:effectLst/>
              <a:uLnTx/>
              <a:uFillTx/>
              <a:latin typeface="Open Sans"/>
              <a:ea typeface="+mn-ea"/>
              <a:cs typeface="+mn-cs"/>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3727076"/>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852378"/>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1" name="Oval 20">
            <a:extLst>
              <a:ext uri="{FF2B5EF4-FFF2-40B4-BE49-F238E27FC236}">
                <a16:creationId xmlns:a16="http://schemas.microsoft.com/office/drawing/2014/main" id="{D219154D-E203-927A-E17E-7821D7AFA343}"/>
              </a:ext>
            </a:extLst>
          </p:cNvPr>
          <p:cNvSpPr/>
          <p:nvPr/>
        </p:nvSpPr>
        <p:spPr bwMode="gray">
          <a:xfrm>
            <a:off x="875786" y="4921558"/>
            <a:ext cx="108000" cy="108000"/>
          </a:xfrm>
          <a:prstGeom prst="ellipse">
            <a:avLst/>
          </a:prstGeom>
          <a:solidFill>
            <a:schemeClr val="bg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71042AB0-6C28-0519-0123-4B35425F7BBA}"/>
              </a:ext>
            </a:extLst>
          </p:cNvPr>
          <p:cNvSpPr txBox="1"/>
          <p:nvPr/>
        </p:nvSpPr>
        <p:spPr>
          <a:xfrm>
            <a:off x="1109961" y="3764841"/>
            <a:ext cx="1443116"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Emerging &amp; Nascent Technologies</a:t>
            </a:r>
          </a:p>
        </p:txBody>
      </p:sp>
      <p:sp>
        <p:nvSpPr>
          <p:cNvPr id="24" name="TextBox 23">
            <a:extLst>
              <a:ext uri="{FF2B5EF4-FFF2-40B4-BE49-F238E27FC236}">
                <a16:creationId xmlns:a16="http://schemas.microsoft.com/office/drawing/2014/main" id="{5C8FF9D1-C272-F408-C331-07E40145140C}"/>
              </a:ext>
            </a:extLst>
          </p:cNvPr>
          <p:cNvSpPr txBox="1"/>
          <p:nvPr/>
        </p:nvSpPr>
        <p:spPr>
          <a:xfrm>
            <a:off x="1109960" y="4833134"/>
            <a:ext cx="1232290" cy="246222"/>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dirty="0">
                <a:ln>
                  <a:noFill/>
                </a:ln>
                <a:solidFill>
                  <a:srgbClr val="000000"/>
                </a:solidFill>
                <a:effectLst/>
                <a:uLnTx/>
                <a:uFillTx/>
                <a:latin typeface="Calibri"/>
                <a:ea typeface="Open Sans Light" panose="020B0306030504020204" pitchFamily="34" charset="0"/>
                <a:cs typeface="Open Sans Light" panose="020B0306030504020204" pitchFamily="34" charset="0"/>
              </a:rPr>
              <a:t>Platform Maintenance</a:t>
            </a:r>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1" u="none" strike="noStrike" kern="1200" cap="none" spc="300" normalizeH="0" baseline="0" dirty="0">
                <a:ln>
                  <a:noFill/>
                </a:ln>
                <a:solidFill>
                  <a:srgbClr val="000000"/>
                </a:solidFill>
                <a:effectLst/>
                <a:uLnTx/>
                <a:uFillTx/>
                <a:latin typeface="Open Sans"/>
                <a:ea typeface="+mn-ea"/>
                <a:cs typeface="+mn-cs"/>
              </a:rPr>
              <a:t>EXPERTS IN HUNGARY</a:t>
            </a: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800" b="1" i="1" u="none" strike="noStrike" kern="1200" cap="none" spc="300" normalizeH="0" baseline="0" dirty="0">
                <a:ln>
                  <a:noFill/>
                </a:ln>
                <a:solidFill>
                  <a:srgbClr val="000000"/>
                </a:solidFill>
                <a:effectLst/>
                <a:uLnTx/>
                <a:uFillTx/>
                <a:latin typeface="Open Sans"/>
                <a:ea typeface="+mn-ea"/>
                <a:cs typeface="+mn-cs"/>
              </a:rPr>
              <a:t>80</a:t>
            </a:r>
          </a:p>
        </p:txBody>
      </p:sp>
      <p:sp>
        <p:nvSpPr>
          <p:cNvPr id="79" name="TextBox 78">
            <a:extLst>
              <a:ext uri="{FF2B5EF4-FFF2-40B4-BE49-F238E27FC236}">
                <a16:creationId xmlns:a16="http://schemas.microsoft.com/office/drawing/2014/main" id="{85D465EA-B4B6-1092-E7DC-37C3BDDC7B4B}"/>
              </a:ext>
            </a:extLst>
          </p:cNvPr>
          <p:cNvSpPr txBox="1"/>
          <p:nvPr/>
        </p:nvSpPr>
        <p:spPr>
          <a:xfrm>
            <a:off x="4189844" y="2655130"/>
            <a:ext cx="4726590" cy="492443"/>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System integration services involve the preparation, revision, and customization of strategies and regulatory frameworks to ensure seamless operations and compliance. We help with our specialized skills to prepare integration strategy and implement solutions based on several methodologies.</a:t>
            </a:r>
            <a:endParaRPr kumimoji="0" lang="en-US" sz="800" b="0" i="0" u="none" strike="noStrike" kern="1200" cap="none" spc="0" normalizeH="0" baseline="0" dirty="0">
              <a:ln>
                <a:noFill/>
              </a:ln>
              <a:solidFill>
                <a:srgbClr val="000000"/>
              </a:solidFill>
              <a:effectLst/>
              <a:uLnTx/>
              <a:uFillTx/>
              <a:latin typeface="Calibri"/>
              <a:ea typeface="+mn-ea"/>
              <a:cs typeface="+mn-cs"/>
            </a:endParaRP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8" y="3887288"/>
            <a:ext cx="4830876"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25" name="TextBox 124">
            <a:extLst>
              <a:ext uri="{FF2B5EF4-FFF2-40B4-BE49-F238E27FC236}">
                <a16:creationId xmlns:a16="http://schemas.microsoft.com/office/drawing/2014/main" id="{BFC289BE-3B1A-26AD-07CC-7670D2377D1C}"/>
              </a:ext>
            </a:extLst>
          </p:cNvPr>
          <p:cNvSpPr txBox="1"/>
          <p:nvPr/>
        </p:nvSpPr>
        <p:spPr>
          <a:xfrm>
            <a:off x="4189845" y="3927585"/>
            <a:ext cx="4010792"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Consulting on Emerging Technologies</a:t>
            </a:r>
          </a:p>
        </p:txBody>
      </p:sp>
      <p:sp>
        <p:nvSpPr>
          <p:cNvPr id="126" name="TextBox 125">
            <a:extLst>
              <a:ext uri="{FF2B5EF4-FFF2-40B4-BE49-F238E27FC236}">
                <a16:creationId xmlns:a16="http://schemas.microsoft.com/office/drawing/2014/main" id="{BF7B5CCB-9160-DE5F-7993-F08D514E177C}"/>
              </a:ext>
            </a:extLst>
          </p:cNvPr>
          <p:cNvSpPr txBox="1"/>
          <p:nvPr/>
        </p:nvSpPr>
        <p:spPr>
          <a:xfrm>
            <a:off x="4189845" y="4075669"/>
            <a:ext cx="4830876" cy="369332"/>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oitte is at the forefront of emerging technology consulting, offering our clients expert guidance in the rapidly evolving fields of 5G, IoT, cloud computing, AI, Fixed Mobile Convergence, App Modernizations and Migrations and more. </a:t>
            </a: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40358" y="3760906"/>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3B57B1E-0FF2-81CE-6E4D-CC02BA27A2AE}"/>
              </a:ext>
            </a:extLst>
          </p:cNvPr>
          <p:cNvGrpSpPr/>
          <p:nvPr/>
        </p:nvGrpSpPr>
        <p:grpSpPr>
          <a:xfrm>
            <a:off x="2643598" y="236650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8A79F5A9-611B-8C89-8D9B-C6321AEE7097}"/>
                </a:ext>
              </a:extLst>
            </p:cNvPr>
            <p:cNvSpPr/>
            <p:nvPr/>
          </p:nvSpPr>
          <p:spPr bwMode="gray">
            <a:xfrm>
              <a:off x="6628013"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030" name="Group 1029">
            <a:extLst>
              <a:ext uri="{FF2B5EF4-FFF2-40B4-BE49-F238E27FC236}">
                <a16:creationId xmlns:a16="http://schemas.microsoft.com/office/drawing/2014/main" id="{8AAF2FCC-5E5D-E91D-209D-CA2E0085B2F9}"/>
              </a:ext>
            </a:extLst>
          </p:cNvPr>
          <p:cNvGrpSpPr/>
          <p:nvPr/>
        </p:nvGrpSpPr>
        <p:grpSpPr>
          <a:xfrm>
            <a:off x="2643598" y="4801007"/>
            <a:ext cx="6337440" cy="108000"/>
            <a:chOff x="2643598" y="3290138"/>
            <a:chExt cx="6337440" cy="108000"/>
          </a:xfrm>
        </p:grpSpPr>
        <p:cxnSp>
          <p:nvCxnSpPr>
            <p:cNvPr id="1031" name="Straight Connector 1030">
              <a:extLst>
                <a:ext uri="{FF2B5EF4-FFF2-40B4-BE49-F238E27FC236}">
                  <a16:creationId xmlns:a16="http://schemas.microsoft.com/office/drawing/2014/main" id="{E17B9138-B77D-5393-5DDF-FF48F05F5842}"/>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32" name="Oval 1031">
              <a:extLst>
                <a:ext uri="{FF2B5EF4-FFF2-40B4-BE49-F238E27FC236}">
                  <a16:creationId xmlns:a16="http://schemas.microsoft.com/office/drawing/2014/main" id="{FE2853AB-686B-03CC-7900-D4AE0B782346}"/>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033" name="Straight Connector 1032">
              <a:extLst>
                <a:ext uri="{FF2B5EF4-FFF2-40B4-BE49-F238E27FC236}">
                  <a16:creationId xmlns:a16="http://schemas.microsoft.com/office/drawing/2014/main" id="{E85799A8-4C49-90DA-4376-48A8D9F211D0}"/>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pic>
        <p:nvPicPr>
          <p:cNvPr id="1036" name="Picture 4" descr="Linkedin logo png - greorder">
            <a:hlinkClick r:id="rId7"/>
            <a:extLst>
              <a:ext uri="{FF2B5EF4-FFF2-40B4-BE49-F238E27FC236}">
                <a16:creationId xmlns:a16="http://schemas.microsoft.com/office/drawing/2014/main" id="{1D1F8576-08B0-C2D3-E711-0C4E6C0D89E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524230" y="2069899"/>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108" name="Freeform: Shape 1107">
            <a:extLst>
              <a:ext uri="{FF2B5EF4-FFF2-40B4-BE49-F238E27FC236}">
                <a16:creationId xmlns:a16="http://schemas.microsoft.com/office/drawing/2014/main" id="{AD5D1342-2F33-36A0-EF26-97B4BB7DBC70}"/>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111" name="Rectangle 1110">
            <a:extLst>
              <a:ext uri="{FF2B5EF4-FFF2-40B4-BE49-F238E27FC236}">
                <a16:creationId xmlns:a16="http://schemas.microsoft.com/office/drawing/2014/main" id="{C3A7529B-FB76-569F-0DC1-C22DA82217DC}"/>
              </a:ext>
            </a:extLst>
          </p:cNvPr>
          <p:cNvSpPr/>
          <p:nvPr/>
        </p:nvSpPr>
        <p:spPr>
          <a:xfrm>
            <a:off x="11315684" y="4321416"/>
            <a:ext cx="906006" cy="183904"/>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600" b="0" i="1" u="none" strike="noStrike" kern="1200" cap="none" spc="300" normalizeH="0" baseline="0" dirty="0">
                <a:ln>
                  <a:noFill/>
                </a:ln>
                <a:solidFill>
                  <a:srgbClr val="000000"/>
                </a:solidFill>
                <a:effectLst/>
                <a:uLnTx/>
                <a:uFillTx/>
                <a:latin typeface="Open Sans"/>
                <a:ea typeface="+mn-ea"/>
                <a:cs typeface="+mn-cs"/>
              </a:rPr>
              <a:t>BUDPEST</a:t>
            </a: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D7615059-6B4F-F222-38A4-7C7D4098B526}"/>
              </a:ext>
            </a:extLst>
          </p:cNvPr>
          <p:cNvSpPr/>
          <p:nvPr/>
        </p:nvSpPr>
        <p:spPr>
          <a:xfrm>
            <a:off x="11270372" y="5563943"/>
            <a:ext cx="921628" cy="369332"/>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1" u="none" strike="noStrike" kern="1200" cap="none" spc="300" normalizeH="0" baseline="0" dirty="0">
                <a:ln>
                  <a:noFill/>
                </a:ln>
                <a:solidFill>
                  <a:srgbClr val="FFFFFF">
                    <a:lumMod val="50000"/>
                  </a:srgbClr>
                </a:solidFill>
                <a:effectLst/>
                <a:uLnTx/>
                <a:uFillTx/>
                <a:latin typeface="Open Sans"/>
              </a:rPr>
              <a:t>+</a:t>
            </a:r>
            <a:r>
              <a:rPr lang="en-US" b="1" i="1" spc="300" dirty="0">
                <a:solidFill>
                  <a:srgbClr val="FFFFFF">
                    <a:lumMod val="50000"/>
                  </a:srgbClr>
                </a:solidFill>
                <a:latin typeface="Open Sans"/>
              </a:rPr>
              <a:t>12</a:t>
            </a:r>
            <a:r>
              <a:rPr kumimoji="0" lang="en-US" sz="1800" b="1" i="1" u="none" strike="noStrike" kern="1200" cap="none" spc="300" normalizeH="0" baseline="0" dirty="0">
                <a:ln>
                  <a:noFill/>
                </a:ln>
                <a:solidFill>
                  <a:srgbClr val="FFFFFF">
                    <a:lumMod val="50000"/>
                  </a:srgbClr>
                </a:solidFill>
                <a:effectLst/>
                <a:uLnTx/>
                <a:uFillTx/>
                <a:latin typeface="Open Sans"/>
              </a:rPr>
              <a:t>0</a:t>
            </a:r>
          </a:p>
        </p:txBody>
      </p:sp>
      <p:sp>
        <p:nvSpPr>
          <p:cNvPr id="34" name="Rectangle 33">
            <a:extLst>
              <a:ext uri="{FF2B5EF4-FFF2-40B4-BE49-F238E27FC236}">
                <a16:creationId xmlns:a16="http://schemas.microsoft.com/office/drawing/2014/main" id="{02DE62AF-4526-6392-D4BC-A7AE7B1DEFD9}"/>
              </a:ext>
            </a:extLst>
          </p:cNvPr>
          <p:cNvSpPr/>
          <p:nvPr/>
        </p:nvSpPr>
        <p:spPr>
          <a:xfrm>
            <a:off x="11159174" y="5874426"/>
            <a:ext cx="1227236" cy="338554"/>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0" i="1" u="none" strike="noStrike" kern="1200" cap="none" spc="300" normalizeH="0" baseline="0" dirty="0">
                <a:ln>
                  <a:noFill/>
                </a:ln>
                <a:solidFill>
                  <a:srgbClr val="FFFFFF">
                    <a:lumMod val="50000"/>
                  </a:srgbClr>
                </a:solidFill>
                <a:effectLst/>
                <a:uLnTx/>
                <a:uFillTx/>
                <a:latin typeface="Open Sans"/>
                <a:ea typeface="+mn-ea"/>
                <a:cs typeface="+mn-cs"/>
              </a:rPr>
              <a:t>EXPERTS IN CE REGION</a:t>
            </a:r>
          </a:p>
        </p:txBody>
      </p:sp>
      <p:sp>
        <p:nvSpPr>
          <p:cNvPr id="4" name="Rectangle 3">
            <a:extLst>
              <a:ext uri="{FF2B5EF4-FFF2-40B4-BE49-F238E27FC236}">
                <a16:creationId xmlns:a16="http://schemas.microsoft.com/office/drawing/2014/main" id="{B88C12BF-C83A-D83A-08A4-81D19DD4007B}"/>
              </a:ext>
            </a:extLst>
          </p:cNvPr>
          <p:cNvSpPr/>
          <p:nvPr/>
        </p:nvSpPr>
        <p:spPr>
          <a:xfrm>
            <a:off x="9302968" y="2950327"/>
            <a:ext cx="2889029" cy="78483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srgbClr val="000000"/>
                </a:solidFill>
                <a:effectLst/>
                <a:uLnTx/>
                <a:uFillTx/>
                <a:latin typeface="Calibri"/>
              </a:rPr>
              <a:t>With </a:t>
            </a:r>
            <a:r>
              <a:rPr lang="en-US" sz="900" dirty="0">
                <a:solidFill>
                  <a:srgbClr val="000000"/>
                </a:solidFill>
                <a:latin typeface="Calibri"/>
              </a:rPr>
              <a:t>12+</a:t>
            </a:r>
            <a:r>
              <a:rPr kumimoji="0" lang="en-US" sz="900" b="0" i="0" u="none" strike="noStrike" kern="1200" cap="none" spc="0" normalizeH="0" baseline="0" dirty="0">
                <a:ln>
                  <a:noFill/>
                </a:ln>
                <a:solidFill>
                  <a:srgbClr val="000000"/>
                </a:solidFill>
                <a:effectLst/>
                <a:uLnTx/>
                <a:uFillTx/>
                <a:latin typeface="Calibri"/>
              </a:rPr>
              <a:t> years of experience at Deloitte, Zoltan is the leader of the Cyber Governance and Tech team</a:t>
            </a:r>
            <a:r>
              <a:rPr lang="en-US" sz="900" dirty="0">
                <a:solidFill>
                  <a:srgbClr val="000000"/>
                </a:solidFill>
                <a:latin typeface="Calibri"/>
              </a:rPr>
              <a:t> where he is responsible of leading advisory engagements for technological solutions such Identity and Access Management, IT Strategy and Cyber services.</a:t>
            </a:r>
            <a:endParaRPr kumimoji="0" lang="en-US" sz="900" b="0" i="0" u="none" strike="noStrike" kern="1200" cap="none" spc="0" normalizeH="0" baseline="0" dirty="0">
              <a:ln>
                <a:noFill/>
              </a:ln>
              <a:solidFill>
                <a:srgbClr val="000000"/>
              </a:solidFill>
              <a:effectLst/>
              <a:uLnTx/>
              <a:uFillTx/>
              <a:latin typeface="Calibri"/>
            </a:endParaRPr>
          </a:p>
        </p:txBody>
      </p:sp>
      <p:sp>
        <p:nvSpPr>
          <p:cNvPr id="11" name="Rectangle 10">
            <a:extLst>
              <a:ext uri="{FF2B5EF4-FFF2-40B4-BE49-F238E27FC236}">
                <a16:creationId xmlns:a16="http://schemas.microsoft.com/office/drawing/2014/main" id="{C695A72C-7C27-F987-2688-131C85183D2B}"/>
              </a:ext>
            </a:extLst>
          </p:cNvPr>
          <p:cNvSpPr/>
          <p:nvPr/>
        </p:nvSpPr>
        <p:spPr>
          <a:xfrm>
            <a:off x="9292664" y="2441825"/>
            <a:ext cx="2697252" cy="5078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dirty="0">
                <a:ln>
                  <a:noFill/>
                </a:ln>
                <a:solidFill>
                  <a:srgbClr val="000000"/>
                </a:solidFill>
                <a:effectLst/>
                <a:uLnTx/>
                <a:uFillTx/>
                <a:latin typeface="Calibri"/>
                <a:ea typeface="+mn-ea"/>
                <a:cs typeface="+mn-cs"/>
              </a:rPr>
              <a:t>“In the realm of technology, wisdom lies not in the mastery of machines, but in our ability to harness their power for the betterment of humanity.”</a:t>
            </a:r>
          </a:p>
        </p:txBody>
      </p:sp>
      <p:pic>
        <p:nvPicPr>
          <p:cNvPr id="12" name="Picture 11" descr="A person in a suit and tie&#10;&#10;Description automatically generated">
            <a:extLst>
              <a:ext uri="{FF2B5EF4-FFF2-40B4-BE49-F238E27FC236}">
                <a16:creationId xmlns:a16="http://schemas.microsoft.com/office/drawing/2014/main" id="{BF9ED95B-4DE3-BC11-2169-89A654D8EE1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449059" y="316290"/>
            <a:ext cx="1393584" cy="1393584"/>
          </a:xfrm>
          <a:prstGeom prst="rect">
            <a:avLst/>
          </a:prstGeom>
        </p:spPr>
      </p:pic>
      <p:sp>
        <p:nvSpPr>
          <p:cNvPr id="5" name="Rectangle: Rounded Corners 4">
            <a:extLst>
              <a:ext uri="{FF2B5EF4-FFF2-40B4-BE49-F238E27FC236}">
                <a16:creationId xmlns:a16="http://schemas.microsoft.com/office/drawing/2014/main" id="{8A81422A-3632-DD21-005E-92AEFBB34BF7}"/>
              </a:ext>
            </a:extLst>
          </p:cNvPr>
          <p:cNvSpPr/>
          <p:nvPr/>
        </p:nvSpPr>
        <p:spPr bwMode="gray">
          <a:xfrm>
            <a:off x="4150162" y="5045252"/>
            <a:ext cx="4830876" cy="568787"/>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137F1E72-3536-F180-118A-A73D1B68E735}"/>
              </a:ext>
            </a:extLst>
          </p:cNvPr>
          <p:cNvSpPr txBox="1"/>
          <p:nvPr/>
        </p:nvSpPr>
        <p:spPr>
          <a:xfrm>
            <a:off x="4198539" y="5085550"/>
            <a:ext cx="4010792" cy="138499"/>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1000"/>
              </a:spcBef>
              <a:spcAft>
                <a:spcPts val="0"/>
              </a:spcAft>
              <a:buClr>
                <a:srgbClr val="FFFFFF">
                  <a:lumMod val="50000"/>
                </a:srgbClr>
              </a:buClr>
              <a:buSzTx/>
              <a:buFontTx/>
              <a:buNone/>
              <a:tabLst/>
              <a:defRPr/>
            </a:pPr>
            <a:r>
              <a:rPr kumimoji="0" lang="en-US" sz="900" b="1" i="0" u="none" strike="noStrike" kern="1200" cap="none" spc="0" normalizeH="0" baseline="0" dirty="0">
                <a:ln>
                  <a:noFill/>
                </a:ln>
                <a:solidFill>
                  <a:srgbClr val="000000"/>
                </a:solidFill>
                <a:effectLst/>
                <a:uLnTx/>
                <a:uFillTx/>
                <a:latin typeface="Calibri"/>
                <a:ea typeface="+mn-ea"/>
                <a:cs typeface="+mn-cs"/>
              </a:rPr>
              <a:t>Support &amp; Maintenance</a:t>
            </a:r>
          </a:p>
        </p:txBody>
      </p:sp>
      <p:sp>
        <p:nvSpPr>
          <p:cNvPr id="14" name="TextBox 13">
            <a:extLst>
              <a:ext uri="{FF2B5EF4-FFF2-40B4-BE49-F238E27FC236}">
                <a16:creationId xmlns:a16="http://schemas.microsoft.com/office/drawing/2014/main" id="{FF924065-FA66-EA10-2506-2376725A9D2E}"/>
              </a:ext>
            </a:extLst>
          </p:cNvPr>
          <p:cNvSpPr txBox="1"/>
          <p:nvPr/>
        </p:nvSpPr>
        <p:spPr>
          <a:xfrm>
            <a:off x="4198539" y="5233634"/>
            <a:ext cx="4830876" cy="369332"/>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r practice deploys a proven, process-centric approach based upon industry best practices, including CMMI and ITIL-based service processes. With this approach we are able to cover all Maintenance and Support requirements as well as the needs for Enhancement implementation.​</a:t>
            </a:r>
          </a:p>
        </p:txBody>
      </p:sp>
    </p:spTree>
    <p:extLst>
      <p:ext uri="{BB962C8B-B14F-4D97-AF65-F5344CB8AC3E}">
        <p14:creationId xmlns:p14="http://schemas.microsoft.com/office/powerpoint/2010/main" val="268886692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29117764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18" name="Straight Connector 117">
            <a:extLst>
              <a:ext uri="{FF2B5EF4-FFF2-40B4-BE49-F238E27FC236}">
                <a16:creationId xmlns:a16="http://schemas.microsoft.com/office/drawing/2014/main" id="{3D143AE8-F938-2F38-502F-445BACDD92EE}"/>
              </a:ext>
            </a:extLst>
          </p:cNvPr>
          <p:cNvCxnSpPr>
            <a:cxnSpLocks/>
          </p:cNvCxnSpPr>
          <p:nvPr/>
        </p:nvCxnSpPr>
        <p:spPr>
          <a:xfrm flipV="1">
            <a:off x="1393056" y="3591699"/>
            <a:ext cx="8835015" cy="14209"/>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3810C416-9F60-3EB7-326A-4BFF525FAB4A}"/>
              </a:ext>
            </a:extLst>
          </p:cNvPr>
          <p:cNvCxnSpPr>
            <a:cxnSpLocks/>
          </p:cNvCxnSpPr>
          <p:nvPr/>
        </p:nvCxnSpPr>
        <p:spPr>
          <a:xfrm flipV="1">
            <a:off x="1393056" y="4986034"/>
            <a:ext cx="7027988" cy="11303"/>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C356AA8-4ADD-A241-8F1A-F91E1BC8B7CD}"/>
              </a:ext>
            </a:extLst>
          </p:cNvPr>
          <p:cNvCxnSpPr>
            <a:cxnSpLocks/>
          </p:cNvCxnSpPr>
          <p:nvPr/>
        </p:nvCxnSpPr>
        <p:spPr>
          <a:xfrm flipV="1">
            <a:off x="1393056" y="2179637"/>
            <a:ext cx="8835015" cy="14209"/>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897857" y="906411"/>
            <a:ext cx="10467780" cy="787400"/>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has a strong Technology Services Team in Hungary, Budapest with a relevant service portfolio, leveraging a wide range of tools and methodologies to create solutions that are effective, efficient and sustainable.</a:t>
            </a: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68580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chnology Consulting Services Teams 1/2</a:t>
            </a:r>
          </a:p>
        </p:txBody>
      </p:sp>
      <p:sp>
        <p:nvSpPr>
          <p:cNvPr id="5" name="Rectangle 4">
            <a:extLst>
              <a:ext uri="{FF2B5EF4-FFF2-40B4-BE49-F238E27FC236}">
                <a16:creationId xmlns:a16="http://schemas.microsoft.com/office/drawing/2014/main" id="{E43103C4-F4C2-17E8-E7B1-1A3A3CB90E2B}"/>
              </a:ext>
            </a:extLst>
          </p:cNvPr>
          <p:cNvSpPr/>
          <p:nvPr/>
        </p:nvSpPr>
        <p:spPr bwMode="gray">
          <a:xfrm>
            <a:off x="943129" y="1693812"/>
            <a:ext cx="2237205" cy="1006787"/>
          </a:xfrm>
          <a:prstGeom prst="rect">
            <a:avLst/>
          </a:prstGeom>
          <a:solidFill>
            <a:schemeClr val="accent3">
              <a:lumMod val="40000"/>
              <a:lumOff val="6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8DF60F61-383C-53B3-3718-67AFBDBAC3BA}"/>
              </a:ext>
            </a:extLst>
          </p:cNvPr>
          <p:cNvSpPr txBox="1"/>
          <p:nvPr/>
        </p:nvSpPr>
        <p:spPr>
          <a:xfrm>
            <a:off x="1759343" y="1824791"/>
            <a:ext cx="1484365" cy="738664"/>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zöllősi</a:t>
            </a: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Zoltán</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artn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0+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5124" name="Picture 4" descr="Hungary Large Flag | Gallery Yopriceville - High-Quality Free Images ...">
            <a:extLst>
              <a:ext uri="{FF2B5EF4-FFF2-40B4-BE49-F238E27FC236}">
                <a16:creationId xmlns:a16="http://schemas.microsoft.com/office/drawing/2014/main" id="{521CB28C-95F3-7454-4F91-EDA9D87240C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59779" y="246473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70FFB980-88EB-59B7-E1ED-001B72067921}"/>
              </a:ext>
            </a:extLst>
          </p:cNvPr>
          <p:cNvSpPr/>
          <p:nvPr/>
        </p:nvSpPr>
        <p:spPr bwMode="gray">
          <a:xfrm>
            <a:off x="2872767" y="2157054"/>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M</a:t>
            </a:r>
          </a:p>
        </p:txBody>
      </p:sp>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BA</a:t>
            </a: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siness Analyst (2-5 years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JC</a:t>
            </a: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Junior Consultant (2-5 years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anager               (8+ years of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C</a:t>
            </a: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 (5+ years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M</a:t>
            </a: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Manager (10+ years of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M</a:t>
            </a: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roject Manager (15+ years of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3" name="Picture 4" descr="Hungary Large Flag | Gallery Yopriceville - High-Quality Free Images ...">
            <a:extLst>
              <a:ext uri="{FF2B5EF4-FFF2-40B4-BE49-F238E27FC236}">
                <a16:creationId xmlns:a16="http://schemas.microsoft.com/office/drawing/2014/main" id="{019FA043-B4E8-B54D-4578-17BFFA1D25E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22134" y="6485356"/>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349386B-F880-0C53-DE2D-537CFCF784B6}"/>
              </a:ext>
            </a:extLst>
          </p:cNvPr>
          <p:cNvSpPr txBox="1"/>
          <p:nvPr/>
        </p:nvSpPr>
        <p:spPr>
          <a:xfrm>
            <a:off x="1181282" y="6481568"/>
            <a:ext cx="2483526" cy="284693"/>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300"/>
              </a:spcAft>
              <a:buClrTx/>
              <a:buSzPct val="100000"/>
              <a:buFontTx/>
              <a:buNone/>
              <a:tabLst/>
              <a:defRPr/>
            </a:pPr>
            <a:r>
              <a:rPr kumimoji="0" lang="en-US" sz="800" b="0" i="1"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Deloitte Hungary</a:t>
            </a:r>
          </a:p>
          <a:p>
            <a:pPr marL="0" marR="0" lvl="0" indent="0" algn="l" defTabSz="914400" eaLnBrk="1" fontAlgn="auto" latinLnBrk="0" hangingPunct="1">
              <a:lnSpc>
                <a:spcPct val="100000"/>
              </a:lnSpc>
              <a:spcBef>
                <a:spcPts val="0"/>
              </a:spcBef>
              <a:spcAft>
                <a:spcPts val="300"/>
              </a:spcAft>
              <a:buClrTx/>
              <a:buSzPct val="100000"/>
              <a:buFontTx/>
              <a:buNone/>
              <a:tabLst/>
              <a:defRPr/>
            </a:pPr>
            <a:r>
              <a:rPr kumimoji="0" lang="en-US" sz="800" b="0" i="1"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or detailed CVs see Appendix</a:t>
            </a:r>
            <a:endParaRPr kumimoji="0" lang="en-US" sz="700" b="0" i="1"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9" cstate="email">
            <a:duotone>
              <a:prstClr val="black"/>
              <a:schemeClr val="accent4">
                <a:tint val="45000"/>
                <a:satMod val="400000"/>
              </a:schemeClr>
            </a:duotone>
            <a:extLst>
              <a:ext uri="{BEBA8EAE-BF5A-486C-A8C5-ECC9F3942E4B}">
                <a14:imgProps xmlns:a14="http://schemas.microsoft.com/office/drawing/2010/main">
                  <a14:imgLayer r:embed="rId10">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pic>
        <p:nvPicPr>
          <p:cNvPr id="1026" name="Picture 2" descr="A person in a suit and tie&#10;&#10;Description automatically generated">
            <a:extLst>
              <a:ext uri="{FF2B5EF4-FFF2-40B4-BE49-F238E27FC236}">
                <a16:creationId xmlns:a16="http://schemas.microsoft.com/office/drawing/2014/main" id="{F76CD399-5914-1DCD-F53F-913BC2D7D324}"/>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32961" y="1865001"/>
            <a:ext cx="638229" cy="64008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F57B5EA6-E476-21BC-F9FE-4F2597E170B0}"/>
              </a:ext>
            </a:extLst>
          </p:cNvPr>
          <p:cNvSpPr/>
          <p:nvPr/>
        </p:nvSpPr>
        <p:spPr bwMode="gray">
          <a:xfrm>
            <a:off x="3638934" y="3099155"/>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a:extLst>
              <a:ext uri="{FF2B5EF4-FFF2-40B4-BE49-F238E27FC236}">
                <a16:creationId xmlns:a16="http://schemas.microsoft.com/office/drawing/2014/main" id="{7F99E5B4-B7F8-BDDD-CC47-80A66C867E0E}"/>
              </a:ext>
            </a:extLst>
          </p:cNvPr>
          <p:cNvSpPr/>
          <p:nvPr/>
        </p:nvSpPr>
        <p:spPr bwMode="gray">
          <a:xfrm>
            <a:off x="8936945" y="3100070"/>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TextBox 39">
            <a:extLst>
              <a:ext uri="{FF2B5EF4-FFF2-40B4-BE49-F238E27FC236}">
                <a16:creationId xmlns:a16="http://schemas.microsoft.com/office/drawing/2014/main" id="{C684D962-5D18-2B0A-8721-C68FF6691E4D}"/>
              </a:ext>
            </a:extLst>
          </p:cNvPr>
          <p:cNvSpPr txBox="1"/>
          <p:nvPr/>
        </p:nvSpPr>
        <p:spPr>
          <a:xfrm>
            <a:off x="4447062" y="3230134"/>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Róbert </a:t>
            </a:r>
            <a:r>
              <a:rPr kumimoji="0" lang="en-US" sz="105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ofán</a:t>
            </a:r>
            <a:endPar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Specialist Lead</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5+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sp>
        <p:nvSpPr>
          <p:cNvPr id="41" name="TextBox 40">
            <a:extLst>
              <a:ext uri="{FF2B5EF4-FFF2-40B4-BE49-F238E27FC236}">
                <a16:creationId xmlns:a16="http://schemas.microsoft.com/office/drawing/2014/main" id="{F69D6F4C-D59E-BB0A-70CB-8B6637BB9DAE}"/>
              </a:ext>
            </a:extLst>
          </p:cNvPr>
          <p:cNvSpPr txBox="1"/>
          <p:nvPr/>
        </p:nvSpPr>
        <p:spPr>
          <a:xfrm>
            <a:off x="9725220" y="3240102"/>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Hosszú Gábo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rector</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15</a:t>
            </a: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44" name="Picture 4" descr="Hungary Large Flag | Gallery Yopriceville - High-Quality Free Images ...">
            <a:extLst>
              <a:ext uri="{FF2B5EF4-FFF2-40B4-BE49-F238E27FC236}">
                <a16:creationId xmlns:a16="http://schemas.microsoft.com/office/drawing/2014/main" id="{6EB09C00-9DB4-149C-F204-E8A6C67CDA54}"/>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47337" y="3861858"/>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5" name="Picture 4" descr="Hungary Large Flag | Gallery Yopriceville - High-Quality Free Images ...">
            <a:extLst>
              <a:ext uri="{FF2B5EF4-FFF2-40B4-BE49-F238E27FC236}">
                <a16:creationId xmlns:a16="http://schemas.microsoft.com/office/drawing/2014/main" id="{6E3DA531-EDB8-9D0F-4A9C-41B7C1D28F2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868791" y="387221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6" name="Oval 45">
            <a:extLst>
              <a:ext uri="{FF2B5EF4-FFF2-40B4-BE49-F238E27FC236}">
                <a16:creationId xmlns:a16="http://schemas.microsoft.com/office/drawing/2014/main" id="{B94C213A-4CE6-50F8-0CEE-069091252D86}"/>
              </a:ext>
            </a:extLst>
          </p:cNvPr>
          <p:cNvSpPr/>
          <p:nvPr/>
        </p:nvSpPr>
        <p:spPr bwMode="gray">
          <a:xfrm>
            <a:off x="5573254" y="3562397"/>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P</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sp>
        <p:nvSpPr>
          <p:cNvPr id="52" name="Oval 51">
            <a:extLst>
              <a:ext uri="{FF2B5EF4-FFF2-40B4-BE49-F238E27FC236}">
                <a16:creationId xmlns:a16="http://schemas.microsoft.com/office/drawing/2014/main" id="{704A93D5-A7AE-2986-11E1-F04585E0D58A}"/>
              </a:ext>
            </a:extLst>
          </p:cNvPr>
          <p:cNvSpPr/>
          <p:nvPr/>
        </p:nvSpPr>
        <p:spPr bwMode="gray">
          <a:xfrm>
            <a:off x="10891144" y="3572366"/>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P</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sp>
        <p:nvSpPr>
          <p:cNvPr id="57" name="Rectangle 56">
            <a:extLst>
              <a:ext uri="{FF2B5EF4-FFF2-40B4-BE49-F238E27FC236}">
                <a16:creationId xmlns:a16="http://schemas.microsoft.com/office/drawing/2014/main" id="{48C8CB98-546E-649B-8689-975A456BF5B9}"/>
              </a:ext>
            </a:extLst>
          </p:cNvPr>
          <p:cNvSpPr/>
          <p:nvPr/>
        </p:nvSpPr>
        <p:spPr bwMode="gray">
          <a:xfrm>
            <a:off x="8936945" y="1692266"/>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TextBox 58">
            <a:extLst>
              <a:ext uri="{FF2B5EF4-FFF2-40B4-BE49-F238E27FC236}">
                <a16:creationId xmlns:a16="http://schemas.microsoft.com/office/drawing/2014/main" id="{E3218160-7EFB-8711-06FB-9A5DC213D79E}"/>
              </a:ext>
            </a:extLst>
          </p:cNvPr>
          <p:cNvSpPr txBox="1"/>
          <p:nvPr/>
        </p:nvSpPr>
        <p:spPr>
          <a:xfrm>
            <a:off x="9725220" y="1832298"/>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amás Eperjesi</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15+</a:t>
            </a: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64" name="Picture 4" descr="Hungary Large Flag | Gallery Yopriceville - High-Quality Free Images ...">
            <a:extLst>
              <a:ext uri="{FF2B5EF4-FFF2-40B4-BE49-F238E27FC236}">
                <a16:creationId xmlns:a16="http://schemas.microsoft.com/office/drawing/2014/main" id="{707AC763-1E3D-D020-FB73-9898330E430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868791" y="2464413"/>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6" name="Oval 65">
            <a:extLst>
              <a:ext uri="{FF2B5EF4-FFF2-40B4-BE49-F238E27FC236}">
                <a16:creationId xmlns:a16="http://schemas.microsoft.com/office/drawing/2014/main" id="{83D58123-E8BE-D011-B279-0D327FB32835}"/>
              </a:ext>
            </a:extLst>
          </p:cNvPr>
          <p:cNvSpPr/>
          <p:nvPr/>
        </p:nvSpPr>
        <p:spPr bwMode="gray">
          <a:xfrm>
            <a:off x="10891144" y="2155509"/>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M</a:t>
            </a:r>
          </a:p>
        </p:txBody>
      </p:sp>
      <p:sp>
        <p:nvSpPr>
          <p:cNvPr id="68" name="Rectangle 67">
            <a:extLst>
              <a:ext uri="{FF2B5EF4-FFF2-40B4-BE49-F238E27FC236}">
                <a16:creationId xmlns:a16="http://schemas.microsoft.com/office/drawing/2014/main" id="{53DE7644-CD83-2808-1C25-2E694F00940F}"/>
              </a:ext>
            </a:extLst>
          </p:cNvPr>
          <p:cNvSpPr/>
          <p:nvPr/>
        </p:nvSpPr>
        <p:spPr bwMode="gray">
          <a:xfrm>
            <a:off x="940054" y="3099155"/>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TextBox 68">
            <a:extLst>
              <a:ext uri="{FF2B5EF4-FFF2-40B4-BE49-F238E27FC236}">
                <a16:creationId xmlns:a16="http://schemas.microsoft.com/office/drawing/2014/main" id="{5C674D60-B4F4-E8BE-C521-77C8A57F151A}"/>
              </a:ext>
            </a:extLst>
          </p:cNvPr>
          <p:cNvSpPr txBox="1"/>
          <p:nvPr/>
        </p:nvSpPr>
        <p:spPr>
          <a:xfrm>
            <a:off x="1748182" y="3230134"/>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éter Suber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25+</a:t>
            </a: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70" name="Picture 4" descr="Hungary Large Flag | Gallery Yopriceville - High-Quality Free Images ...">
            <a:extLst>
              <a:ext uri="{FF2B5EF4-FFF2-40B4-BE49-F238E27FC236}">
                <a16:creationId xmlns:a16="http://schemas.microsoft.com/office/drawing/2014/main" id="{D300E58F-FFB5-6AE0-46AF-F32C0073443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48457" y="3861858"/>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3" name="Oval 72">
            <a:extLst>
              <a:ext uri="{FF2B5EF4-FFF2-40B4-BE49-F238E27FC236}">
                <a16:creationId xmlns:a16="http://schemas.microsoft.com/office/drawing/2014/main" id="{630AFECF-E80E-5E74-D25A-346C7A39A6B8}"/>
              </a:ext>
            </a:extLst>
          </p:cNvPr>
          <p:cNvSpPr/>
          <p:nvPr/>
        </p:nvSpPr>
        <p:spPr bwMode="gray">
          <a:xfrm>
            <a:off x="2874374" y="3562397"/>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P</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sp>
        <p:nvSpPr>
          <p:cNvPr id="75" name="Rectangle 74">
            <a:extLst>
              <a:ext uri="{FF2B5EF4-FFF2-40B4-BE49-F238E27FC236}">
                <a16:creationId xmlns:a16="http://schemas.microsoft.com/office/drawing/2014/main" id="{9F371C68-E368-46BF-7A46-A715A40B0359}"/>
              </a:ext>
            </a:extLst>
          </p:cNvPr>
          <p:cNvSpPr/>
          <p:nvPr/>
        </p:nvSpPr>
        <p:spPr bwMode="gray">
          <a:xfrm>
            <a:off x="6249414" y="3099155"/>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TextBox 76">
            <a:extLst>
              <a:ext uri="{FF2B5EF4-FFF2-40B4-BE49-F238E27FC236}">
                <a16:creationId xmlns:a16="http://schemas.microsoft.com/office/drawing/2014/main" id="{E768B94D-62DC-C536-9223-BE903B9A5F9B}"/>
              </a:ext>
            </a:extLst>
          </p:cNvPr>
          <p:cNvSpPr txBox="1"/>
          <p:nvPr/>
        </p:nvSpPr>
        <p:spPr>
          <a:xfrm>
            <a:off x="7057542" y="3230134"/>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József </a:t>
            </a:r>
            <a:r>
              <a:rPr kumimoji="0" lang="en-US" sz="105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irokai</a:t>
            </a:r>
            <a:endPar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recto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0+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79" name="Picture 4" descr="Hungary Large Flag | Gallery Yopriceville - High-Quality Free Images ...">
            <a:extLst>
              <a:ext uri="{FF2B5EF4-FFF2-40B4-BE49-F238E27FC236}">
                <a16:creationId xmlns:a16="http://schemas.microsoft.com/office/drawing/2014/main" id="{15F20BE5-C669-B2E3-3C5D-C1D830FF04A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157817" y="3853966"/>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1" name="Oval 80">
            <a:extLst>
              <a:ext uri="{FF2B5EF4-FFF2-40B4-BE49-F238E27FC236}">
                <a16:creationId xmlns:a16="http://schemas.microsoft.com/office/drawing/2014/main" id="{569C14E7-4B17-C17D-B544-DA44AFDBB2EA}"/>
              </a:ext>
            </a:extLst>
          </p:cNvPr>
          <p:cNvSpPr/>
          <p:nvPr/>
        </p:nvSpPr>
        <p:spPr bwMode="gray">
          <a:xfrm>
            <a:off x="8183734" y="3554505"/>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P</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sp>
        <p:nvSpPr>
          <p:cNvPr id="87" name="Rectangle 86">
            <a:extLst>
              <a:ext uri="{FF2B5EF4-FFF2-40B4-BE49-F238E27FC236}">
                <a16:creationId xmlns:a16="http://schemas.microsoft.com/office/drawing/2014/main" id="{2E4AEDD7-44AF-02DC-92D7-C1BF2AFFFE96}"/>
              </a:ext>
            </a:extLst>
          </p:cNvPr>
          <p:cNvSpPr/>
          <p:nvPr/>
        </p:nvSpPr>
        <p:spPr bwMode="gray">
          <a:xfrm>
            <a:off x="6249414" y="1692266"/>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TextBox 87">
            <a:extLst>
              <a:ext uri="{FF2B5EF4-FFF2-40B4-BE49-F238E27FC236}">
                <a16:creationId xmlns:a16="http://schemas.microsoft.com/office/drawing/2014/main" id="{32118AD4-68FA-F6AB-DE09-2A4FAB10FBE6}"/>
              </a:ext>
            </a:extLst>
          </p:cNvPr>
          <p:cNvSpPr txBox="1"/>
          <p:nvPr/>
        </p:nvSpPr>
        <p:spPr>
          <a:xfrm>
            <a:off x="7057542" y="1823245"/>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amás </a:t>
            </a:r>
            <a:r>
              <a:rPr kumimoji="0" lang="en-US" sz="105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örök</a:t>
            </a:r>
            <a:endPar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Specialist Lead</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5+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92" name="Picture 4" descr="Hungary Large Flag | Gallery Yopriceville - High-Quality Free Images ...">
            <a:extLst>
              <a:ext uri="{FF2B5EF4-FFF2-40B4-BE49-F238E27FC236}">
                <a16:creationId xmlns:a16="http://schemas.microsoft.com/office/drawing/2014/main" id="{FFC3902B-A45B-65F3-A837-2D541AB3CB6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157817" y="2454969"/>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7" name="Oval 96">
            <a:extLst>
              <a:ext uri="{FF2B5EF4-FFF2-40B4-BE49-F238E27FC236}">
                <a16:creationId xmlns:a16="http://schemas.microsoft.com/office/drawing/2014/main" id="{57EE48C1-D673-F76F-B5EF-74DED5BF6943}"/>
              </a:ext>
            </a:extLst>
          </p:cNvPr>
          <p:cNvSpPr/>
          <p:nvPr/>
        </p:nvSpPr>
        <p:spPr bwMode="gray">
          <a:xfrm>
            <a:off x="8183734" y="215550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P</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sp>
        <p:nvSpPr>
          <p:cNvPr id="8" name="Rectangle 7">
            <a:extLst>
              <a:ext uri="{FF2B5EF4-FFF2-40B4-BE49-F238E27FC236}">
                <a16:creationId xmlns:a16="http://schemas.microsoft.com/office/drawing/2014/main" id="{9A9194CE-E1D5-5986-A2A1-A0EB695DED6F}"/>
              </a:ext>
            </a:extLst>
          </p:cNvPr>
          <p:cNvSpPr/>
          <p:nvPr/>
        </p:nvSpPr>
        <p:spPr bwMode="gray">
          <a:xfrm>
            <a:off x="3642009" y="1693812"/>
            <a:ext cx="2237205" cy="1006787"/>
          </a:xfrm>
          <a:prstGeom prst="rect">
            <a:avLst/>
          </a:prstGeom>
          <a:solidFill>
            <a:schemeClr val="accent3">
              <a:lumMod val="40000"/>
              <a:lumOff val="6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AAF193AD-A4B2-51DB-F35F-5CA16505C5A1}"/>
              </a:ext>
            </a:extLst>
          </p:cNvPr>
          <p:cNvSpPr txBox="1"/>
          <p:nvPr/>
        </p:nvSpPr>
        <p:spPr>
          <a:xfrm>
            <a:off x="4458223" y="1824791"/>
            <a:ext cx="1484365" cy="738664"/>
          </a:xfrm>
          <a:prstGeom prst="rect">
            <a:avLst/>
          </a:prstGeom>
          <a:noFill/>
        </p:spPr>
        <p:txBody>
          <a:bodyPr wrap="square" lIns="0" tIns="0" rIns="0" bIns="0" rtlCol="0" anchor="t">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ndrás </a:t>
            </a:r>
            <a:r>
              <a:rPr kumimoji="0" lang="en-US" sz="105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zathmáry</a:t>
            </a:r>
            <a:endPar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rector</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1</a:t>
            </a: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5+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2" name="Picture 4" descr="Hungary Large Flag | Gallery Yopriceville - High-Quality Free Images ...">
            <a:extLst>
              <a:ext uri="{FF2B5EF4-FFF2-40B4-BE49-F238E27FC236}">
                <a16:creationId xmlns:a16="http://schemas.microsoft.com/office/drawing/2014/main" id="{847F6965-1E36-09C1-848C-D5398679C2C4}"/>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58659" y="246473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5598E6EE-7413-2901-5663-9DF77CDA7B2C}"/>
              </a:ext>
            </a:extLst>
          </p:cNvPr>
          <p:cNvSpPr/>
          <p:nvPr/>
        </p:nvSpPr>
        <p:spPr bwMode="gray">
          <a:xfrm>
            <a:off x="5571647" y="2157054"/>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M</a:t>
            </a:r>
          </a:p>
        </p:txBody>
      </p:sp>
      <p:pic>
        <p:nvPicPr>
          <p:cNvPr id="30" name="Picture Placeholder 21">
            <a:extLst>
              <a:ext uri="{FF2B5EF4-FFF2-40B4-BE49-F238E27FC236}">
                <a16:creationId xmlns:a16="http://schemas.microsoft.com/office/drawing/2014/main" id="{3903DA0B-C04C-8298-13C3-16DA7E72498E}"/>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3731256" y="1856172"/>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32" name="Picture Placeholder 21">
            <a:extLst>
              <a:ext uri="{FF2B5EF4-FFF2-40B4-BE49-F238E27FC236}">
                <a16:creationId xmlns:a16="http://schemas.microsoft.com/office/drawing/2014/main" id="{1D50A979-C7A4-17CD-D1C6-1271AC43C2D3}"/>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6339810" y="1864969"/>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42" name="Picture Placeholder 21">
            <a:extLst>
              <a:ext uri="{FF2B5EF4-FFF2-40B4-BE49-F238E27FC236}">
                <a16:creationId xmlns:a16="http://schemas.microsoft.com/office/drawing/2014/main" id="{B12419D5-5E84-6BB9-A8B2-69E3D98F2493}"/>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9010591" y="1858720"/>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43" name="Picture 42" descr="A person wearing glasses and a suit&#10;&#10;Description automatically generated">
            <a:extLst>
              <a:ext uri="{FF2B5EF4-FFF2-40B4-BE49-F238E27FC236}">
                <a16:creationId xmlns:a16="http://schemas.microsoft.com/office/drawing/2014/main" id="{30E96C66-EBF8-67D9-EF17-E270BF712BAC}"/>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331489" y="3275466"/>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53" name="Picture Placeholder 8" descr="A person in a suit and tie&#10;&#10;Description automatically generated">
            <a:extLst>
              <a:ext uri="{FF2B5EF4-FFF2-40B4-BE49-F238E27FC236}">
                <a16:creationId xmlns:a16="http://schemas.microsoft.com/office/drawing/2014/main" id="{E1B06B83-4B2C-B601-CDFC-FC31400A995D}"/>
              </a:ext>
            </a:extLst>
          </p:cNvPr>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a:xfrm>
            <a:off x="1028075" y="3275466"/>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54" name="Picture Placeholder 8" descr="A person with a goatee and a beard&#10;&#10;Description automatically generated">
            <a:extLst>
              <a:ext uri="{FF2B5EF4-FFF2-40B4-BE49-F238E27FC236}">
                <a16:creationId xmlns:a16="http://schemas.microsoft.com/office/drawing/2014/main" id="{CD8B671F-542A-BC2D-3118-A539223845D0}"/>
              </a:ext>
            </a:extLst>
          </p:cNvPr>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a:xfrm>
            <a:off x="3731256" y="3275466"/>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55" name="Picture Placeholder 21">
            <a:extLst>
              <a:ext uri="{FF2B5EF4-FFF2-40B4-BE49-F238E27FC236}">
                <a16:creationId xmlns:a16="http://schemas.microsoft.com/office/drawing/2014/main" id="{457721F6-5545-DAA7-8784-6E8FA542965D}"/>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9007083" y="3286443"/>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
        <p:nvSpPr>
          <p:cNvPr id="91" name="Rectangle 90">
            <a:extLst>
              <a:ext uri="{FF2B5EF4-FFF2-40B4-BE49-F238E27FC236}">
                <a16:creationId xmlns:a16="http://schemas.microsoft.com/office/drawing/2014/main" id="{3F8E78DE-A8AD-0330-5C09-6626B86D3300}"/>
              </a:ext>
            </a:extLst>
          </p:cNvPr>
          <p:cNvSpPr/>
          <p:nvPr/>
        </p:nvSpPr>
        <p:spPr bwMode="gray">
          <a:xfrm>
            <a:off x="940054" y="4498333"/>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TextBox 92">
            <a:extLst>
              <a:ext uri="{FF2B5EF4-FFF2-40B4-BE49-F238E27FC236}">
                <a16:creationId xmlns:a16="http://schemas.microsoft.com/office/drawing/2014/main" id="{42261BD0-9898-495E-A771-A787BF98BEF7}"/>
              </a:ext>
            </a:extLst>
          </p:cNvPr>
          <p:cNvSpPr txBox="1"/>
          <p:nvPr/>
        </p:nvSpPr>
        <p:spPr>
          <a:xfrm>
            <a:off x="1748182" y="4629312"/>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Zoltán Puskás</a:t>
            </a:r>
            <a:endPar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pecialist Lead</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5+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94" name="Picture 4" descr="Hungary Large Flag | Gallery Yopriceville - High-Quality Free Images ...">
            <a:extLst>
              <a:ext uri="{FF2B5EF4-FFF2-40B4-BE49-F238E27FC236}">
                <a16:creationId xmlns:a16="http://schemas.microsoft.com/office/drawing/2014/main" id="{C3CD1EA3-5657-4A58-5949-9E702088395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48457" y="5261036"/>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5" name="Oval 94">
            <a:extLst>
              <a:ext uri="{FF2B5EF4-FFF2-40B4-BE49-F238E27FC236}">
                <a16:creationId xmlns:a16="http://schemas.microsoft.com/office/drawing/2014/main" id="{33AB9759-9B2B-3E56-D43A-F1F82E1EC332}"/>
              </a:ext>
            </a:extLst>
          </p:cNvPr>
          <p:cNvSpPr/>
          <p:nvPr/>
        </p:nvSpPr>
        <p:spPr bwMode="gray">
          <a:xfrm>
            <a:off x="2874374" y="4961575"/>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P</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pic>
        <p:nvPicPr>
          <p:cNvPr id="98" name="Picture Placeholder 17" descr="A person in a checkered shirt&#10;&#10;Description automatically generated">
            <a:extLst>
              <a:ext uri="{FF2B5EF4-FFF2-40B4-BE49-F238E27FC236}">
                <a16:creationId xmlns:a16="http://schemas.microsoft.com/office/drawing/2014/main" id="{BB6F4604-5B1F-E574-D616-FABDD3B4514C}"/>
              </a:ext>
            </a:extLst>
          </p:cNvPr>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a:xfrm>
            <a:off x="1005942" y="4670123"/>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
        <p:nvSpPr>
          <p:cNvPr id="99" name="Rectangle 98">
            <a:extLst>
              <a:ext uri="{FF2B5EF4-FFF2-40B4-BE49-F238E27FC236}">
                <a16:creationId xmlns:a16="http://schemas.microsoft.com/office/drawing/2014/main" id="{2FD5C8C5-D3E3-3D7E-A6CC-82298176D936}"/>
              </a:ext>
            </a:extLst>
          </p:cNvPr>
          <p:cNvSpPr/>
          <p:nvPr/>
        </p:nvSpPr>
        <p:spPr bwMode="gray">
          <a:xfrm>
            <a:off x="3638934" y="4498333"/>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TextBox 99">
            <a:extLst>
              <a:ext uri="{FF2B5EF4-FFF2-40B4-BE49-F238E27FC236}">
                <a16:creationId xmlns:a16="http://schemas.microsoft.com/office/drawing/2014/main" id="{07AC7801-AEE3-D310-200E-292435530D32}"/>
              </a:ext>
            </a:extLst>
          </p:cNvPr>
          <p:cNvSpPr txBox="1"/>
          <p:nvPr/>
        </p:nvSpPr>
        <p:spPr>
          <a:xfrm>
            <a:off x="4447062" y="4629312"/>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1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Weisz </a:t>
            </a:r>
            <a:r>
              <a:rPr lang="en-US" sz="1100" b="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Lóránt</a:t>
            </a:r>
            <a:endPar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pecialist Lead</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20</a:t>
            </a: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01" name="Picture 4" descr="Hungary Large Flag | Gallery Yopriceville - High-Quality Free Images ...">
            <a:extLst>
              <a:ext uri="{FF2B5EF4-FFF2-40B4-BE49-F238E27FC236}">
                <a16:creationId xmlns:a16="http://schemas.microsoft.com/office/drawing/2014/main" id="{F8526B6B-D2D8-6495-DF3D-B4B8337FDEC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47337" y="5261036"/>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2" name="Oval 101">
            <a:extLst>
              <a:ext uri="{FF2B5EF4-FFF2-40B4-BE49-F238E27FC236}">
                <a16:creationId xmlns:a16="http://schemas.microsoft.com/office/drawing/2014/main" id="{21FD418B-9D8E-72BB-32CD-DD62C6E9D471}"/>
              </a:ext>
            </a:extLst>
          </p:cNvPr>
          <p:cNvSpPr/>
          <p:nvPr/>
        </p:nvSpPr>
        <p:spPr bwMode="gray">
          <a:xfrm>
            <a:off x="5573254" y="4961575"/>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P</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pic>
        <p:nvPicPr>
          <p:cNvPr id="109" name="Picture Placeholder 3">
            <a:extLst>
              <a:ext uri="{FF2B5EF4-FFF2-40B4-BE49-F238E27FC236}">
                <a16:creationId xmlns:a16="http://schemas.microsoft.com/office/drawing/2014/main" id="{A1865BB9-0CC0-A9D9-16D5-D2609797550C}"/>
              </a:ext>
            </a:extLst>
          </p:cNvPr>
          <p:cNvPicPr>
            <a:picLocks noChangeAspect="1"/>
          </p:cNvPicPr>
          <p:nvPr/>
        </p:nvPicPr>
        <p:blipFill>
          <a:blip r:embed="rId20" cstate="email">
            <a:extLst>
              <a:ext uri="{28A0092B-C50C-407E-A947-70E740481C1C}">
                <a14:useLocalDpi xmlns:a14="http://schemas.microsoft.com/office/drawing/2010/main"/>
              </a:ext>
            </a:extLst>
          </a:blip>
          <a:srcRect/>
          <a:stretch/>
        </p:blipFill>
        <p:spPr>
          <a:xfrm>
            <a:off x="3691147" y="4686840"/>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
        <p:nvSpPr>
          <p:cNvPr id="110" name="Rectangle 109">
            <a:extLst>
              <a:ext uri="{FF2B5EF4-FFF2-40B4-BE49-F238E27FC236}">
                <a16:creationId xmlns:a16="http://schemas.microsoft.com/office/drawing/2014/main" id="{FC06D853-AA5F-A8B5-17B8-DD0F948A5183}"/>
              </a:ext>
            </a:extLst>
          </p:cNvPr>
          <p:cNvSpPr/>
          <p:nvPr/>
        </p:nvSpPr>
        <p:spPr bwMode="gray">
          <a:xfrm>
            <a:off x="6249414" y="4498333"/>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TextBox 110">
            <a:extLst>
              <a:ext uri="{FF2B5EF4-FFF2-40B4-BE49-F238E27FC236}">
                <a16:creationId xmlns:a16="http://schemas.microsoft.com/office/drawing/2014/main" id="{AC220464-EB05-77A6-3DA4-8F2E4BB1565F}"/>
              </a:ext>
            </a:extLst>
          </p:cNvPr>
          <p:cNvSpPr txBox="1"/>
          <p:nvPr/>
        </p:nvSpPr>
        <p:spPr>
          <a:xfrm>
            <a:off x="7057542" y="4629312"/>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zabolcs László</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20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12" name="Picture 4" descr="Hungary Large Flag | Gallery Yopriceville - High-Quality Free Images ...">
            <a:extLst>
              <a:ext uri="{FF2B5EF4-FFF2-40B4-BE49-F238E27FC236}">
                <a16:creationId xmlns:a16="http://schemas.microsoft.com/office/drawing/2014/main" id="{9476373F-F489-101F-4F68-6B6C8249B0B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157817" y="5261036"/>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3" name="Oval 112">
            <a:extLst>
              <a:ext uri="{FF2B5EF4-FFF2-40B4-BE49-F238E27FC236}">
                <a16:creationId xmlns:a16="http://schemas.microsoft.com/office/drawing/2014/main" id="{62B95264-B87B-3B44-5F0F-DFF6C592247A}"/>
              </a:ext>
            </a:extLst>
          </p:cNvPr>
          <p:cNvSpPr/>
          <p:nvPr/>
        </p:nvSpPr>
        <p:spPr bwMode="gray">
          <a:xfrm>
            <a:off x="8183734" y="4961575"/>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P</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pic>
        <p:nvPicPr>
          <p:cNvPr id="115" name="Picture Placeholder 12" descr="A person in a white shirt and tie&#10;&#10;Description automatically generated">
            <a:extLst>
              <a:ext uri="{FF2B5EF4-FFF2-40B4-BE49-F238E27FC236}">
                <a16:creationId xmlns:a16="http://schemas.microsoft.com/office/drawing/2014/main" id="{507B1906-C68C-E265-57AE-DAAB9978253F}"/>
              </a:ext>
            </a:extLst>
          </p:cNvPr>
          <p:cNvPicPr>
            <a:picLocks noChangeAspect="1"/>
          </p:cNvPicPr>
          <p:nvPr/>
        </p:nvPicPr>
        <p:blipFill>
          <a:blip r:embed="rId21" cstate="email">
            <a:extLst>
              <a:ext uri="{28A0092B-C50C-407E-A947-70E740481C1C}">
                <a14:useLocalDpi xmlns:a14="http://schemas.microsoft.com/office/drawing/2010/main"/>
              </a:ext>
            </a:extLst>
          </a:blip>
          <a:srcRect/>
          <a:stretch>
            <a:fillRect/>
          </a:stretch>
        </p:blipFill>
        <p:spPr>
          <a:xfrm>
            <a:off x="6314229" y="4670123"/>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3846233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16055750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cxnSp>
        <p:nvCxnSpPr>
          <p:cNvPr id="1040" name="Straight Connector 1039">
            <a:extLst>
              <a:ext uri="{FF2B5EF4-FFF2-40B4-BE49-F238E27FC236}">
                <a16:creationId xmlns:a16="http://schemas.microsoft.com/office/drawing/2014/main" id="{CA382340-7096-DA34-44F1-37A7DF9F9CFA}"/>
              </a:ext>
            </a:extLst>
          </p:cNvPr>
          <p:cNvCxnSpPr>
            <a:cxnSpLocks/>
          </p:cNvCxnSpPr>
          <p:nvPr/>
        </p:nvCxnSpPr>
        <p:spPr>
          <a:xfrm flipV="1">
            <a:off x="1393056" y="3690778"/>
            <a:ext cx="9297048" cy="14952"/>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4F0AF901-B148-E776-80E7-03DE95A3AF76}"/>
              </a:ext>
            </a:extLst>
          </p:cNvPr>
          <p:cNvCxnSpPr>
            <a:cxnSpLocks/>
          </p:cNvCxnSpPr>
          <p:nvPr/>
        </p:nvCxnSpPr>
        <p:spPr>
          <a:xfrm flipV="1">
            <a:off x="1393056" y="5154294"/>
            <a:ext cx="9297048" cy="14952"/>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8" name="Straight Connector 1037">
            <a:extLst>
              <a:ext uri="{FF2B5EF4-FFF2-40B4-BE49-F238E27FC236}">
                <a16:creationId xmlns:a16="http://schemas.microsoft.com/office/drawing/2014/main" id="{3C9A5E2E-162A-EE9A-607E-265AF5CA8E83}"/>
              </a:ext>
            </a:extLst>
          </p:cNvPr>
          <p:cNvCxnSpPr>
            <a:cxnSpLocks/>
          </p:cNvCxnSpPr>
          <p:nvPr/>
        </p:nvCxnSpPr>
        <p:spPr>
          <a:xfrm flipV="1">
            <a:off x="1393056" y="2136862"/>
            <a:ext cx="9297048" cy="14952"/>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897857" y="906411"/>
            <a:ext cx="10467780" cy="787400"/>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has a strong Technology Services Team in Hungary, Budapest with a relevant service portfolio, leveraging a wide range of tools and methodologies to create solutions that are effective, efficient and sustainable.</a:t>
            </a: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68580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chnology Consulting Services Teams 2/2</a:t>
            </a:r>
          </a:p>
        </p:txBody>
      </p:sp>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BA</a:t>
            </a: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siness Analyst (2-5 years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JC</a:t>
            </a: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Junior Consultant (2-5 years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anager               (8+ years of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C</a:t>
            </a: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 (5+ years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M</a:t>
            </a: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Manager (10+ years of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M</a:t>
            </a: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roject Manager (15+ years of exp.)</a:t>
            </a:r>
            <a:endParaRPr kumimoji="0" lang="en-US" sz="7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3" name="Picture 4" descr="Hungary Large Flag | Gallery Yopriceville - High-Quality Free Images ...">
            <a:extLst>
              <a:ext uri="{FF2B5EF4-FFF2-40B4-BE49-F238E27FC236}">
                <a16:creationId xmlns:a16="http://schemas.microsoft.com/office/drawing/2014/main" id="{019FA043-B4E8-B54D-4578-17BFFA1D25E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22134" y="6485356"/>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349386B-F880-0C53-DE2D-537CFCF784B6}"/>
              </a:ext>
            </a:extLst>
          </p:cNvPr>
          <p:cNvSpPr txBox="1"/>
          <p:nvPr/>
        </p:nvSpPr>
        <p:spPr>
          <a:xfrm>
            <a:off x="1181282" y="6481568"/>
            <a:ext cx="2483526" cy="284693"/>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300"/>
              </a:spcAft>
              <a:buClrTx/>
              <a:buSzPct val="100000"/>
              <a:buFontTx/>
              <a:buNone/>
              <a:tabLst/>
              <a:defRPr/>
            </a:pPr>
            <a:r>
              <a:rPr kumimoji="0" lang="en-US" sz="800" b="0" i="1"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Deloitte Hungary</a:t>
            </a:r>
          </a:p>
          <a:p>
            <a:pPr marL="0" marR="0" lvl="0" indent="0" algn="l" defTabSz="914400" eaLnBrk="1" fontAlgn="auto" latinLnBrk="0" hangingPunct="1">
              <a:lnSpc>
                <a:spcPct val="100000"/>
              </a:lnSpc>
              <a:spcBef>
                <a:spcPts val="0"/>
              </a:spcBef>
              <a:spcAft>
                <a:spcPts val="300"/>
              </a:spcAft>
              <a:buClrTx/>
              <a:buSzPct val="100000"/>
              <a:buFontTx/>
              <a:buNone/>
              <a:tabLst/>
              <a:defRPr/>
            </a:pPr>
            <a:r>
              <a:rPr kumimoji="0" lang="en-US" sz="800" b="0" i="1"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or detailed CVs see Appendix</a:t>
            </a:r>
            <a:endParaRPr kumimoji="0" lang="en-US" sz="700" b="0" i="1"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9" cstate="email">
            <a:duotone>
              <a:prstClr val="black"/>
              <a:schemeClr val="accent4">
                <a:tint val="45000"/>
                <a:satMod val="400000"/>
              </a:schemeClr>
            </a:duotone>
            <a:extLst>
              <a:ext uri="{BEBA8EAE-BF5A-486C-A8C5-ECC9F3942E4B}">
                <a14:imgProps xmlns:a14="http://schemas.microsoft.com/office/drawing/2010/main">
                  <a14:imgLayer r:embed="rId10">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sp>
        <p:nvSpPr>
          <p:cNvPr id="56" name="Rectangle 55">
            <a:extLst>
              <a:ext uri="{FF2B5EF4-FFF2-40B4-BE49-F238E27FC236}">
                <a16:creationId xmlns:a16="http://schemas.microsoft.com/office/drawing/2014/main" id="{CEFB3348-A6B1-6073-0F8B-CA13F339C8AA}"/>
              </a:ext>
            </a:extLst>
          </p:cNvPr>
          <p:cNvSpPr/>
          <p:nvPr/>
        </p:nvSpPr>
        <p:spPr bwMode="gray">
          <a:xfrm>
            <a:off x="940054" y="1679518"/>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Rectangle 57">
            <a:extLst>
              <a:ext uri="{FF2B5EF4-FFF2-40B4-BE49-F238E27FC236}">
                <a16:creationId xmlns:a16="http://schemas.microsoft.com/office/drawing/2014/main" id="{B4634542-C71B-C36B-9024-8017DAF78E01}"/>
              </a:ext>
            </a:extLst>
          </p:cNvPr>
          <p:cNvSpPr/>
          <p:nvPr/>
        </p:nvSpPr>
        <p:spPr bwMode="gray">
          <a:xfrm>
            <a:off x="3644856" y="1679518"/>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TextBox 59">
            <a:extLst>
              <a:ext uri="{FF2B5EF4-FFF2-40B4-BE49-F238E27FC236}">
                <a16:creationId xmlns:a16="http://schemas.microsoft.com/office/drawing/2014/main" id="{0C38A452-D266-10F7-A978-C3404618BCAD}"/>
              </a:ext>
            </a:extLst>
          </p:cNvPr>
          <p:cNvSpPr txBox="1"/>
          <p:nvPr/>
        </p:nvSpPr>
        <p:spPr>
          <a:xfrm>
            <a:off x="1748182" y="1810497"/>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Gerg</a:t>
            </a:r>
            <a:r>
              <a:rPr lang="en-US" sz="1050" b="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ő</a:t>
            </a: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 Barta PhD.</a:t>
            </a:r>
            <a:endPar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0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sp>
        <p:nvSpPr>
          <p:cNvPr id="61" name="TextBox 60">
            <a:extLst>
              <a:ext uri="{FF2B5EF4-FFF2-40B4-BE49-F238E27FC236}">
                <a16:creationId xmlns:a16="http://schemas.microsoft.com/office/drawing/2014/main" id="{974A493C-4053-ED4A-7953-1BF19962DA07}"/>
              </a:ext>
            </a:extLst>
          </p:cNvPr>
          <p:cNvSpPr txBox="1"/>
          <p:nvPr/>
        </p:nvSpPr>
        <p:spPr>
          <a:xfrm>
            <a:off x="4433131" y="1819550"/>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lázs </a:t>
            </a:r>
            <a:r>
              <a:rPr kumimoji="0" lang="en-US" sz="105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gárdi</a:t>
            </a:r>
            <a:endPar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10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62" name="Picture 4" descr="Hungary Large Flag | Gallery Yopriceville - High-Quality Free Images ...">
            <a:extLst>
              <a:ext uri="{FF2B5EF4-FFF2-40B4-BE49-F238E27FC236}">
                <a16:creationId xmlns:a16="http://schemas.microsoft.com/office/drawing/2014/main" id="{BD71F445-54A5-4B42-A111-79475B8D3AA2}"/>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48457" y="244222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3" name="Picture 4" descr="Hungary Large Flag | Gallery Yopriceville - High-Quality Free Images ...">
            <a:extLst>
              <a:ext uri="{FF2B5EF4-FFF2-40B4-BE49-F238E27FC236}">
                <a16:creationId xmlns:a16="http://schemas.microsoft.com/office/drawing/2014/main" id="{973A4E77-9820-E63F-7440-9360DB38377B}"/>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576702" y="245166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5" name="Oval 64">
            <a:extLst>
              <a:ext uri="{FF2B5EF4-FFF2-40B4-BE49-F238E27FC236}">
                <a16:creationId xmlns:a16="http://schemas.microsoft.com/office/drawing/2014/main" id="{0AEB315A-50AA-9E45-55C3-64163D55E430}"/>
              </a:ext>
            </a:extLst>
          </p:cNvPr>
          <p:cNvSpPr/>
          <p:nvPr/>
        </p:nvSpPr>
        <p:spPr bwMode="gray">
          <a:xfrm>
            <a:off x="2874374" y="2142760"/>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M</a:t>
            </a:r>
          </a:p>
        </p:txBody>
      </p:sp>
      <p:sp>
        <p:nvSpPr>
          <p:cNvPr id="67" name="Oval 66">
            <a:extLst>
              <a:ext uri="{FF2B5EF4-FFF2-40B4-BE49-F238E27FC236}">
                <a16:creationId xmlns:a16="http://schemas.microsoft.com/office/drawing/2014/main" id="{364F5C58-962E-C137-0CD4-C1C546D8967E}"/>
              </a:ext>
            </a:extLst>
          </p:cNvPr>
          <p:cNvSpPr/>
          <p:nvPr/>
        </p:nvSpPr>
        <p:spPr bwMode="gray">
          <a:xfrm>
            <a:off x="5599055" y="2151814"/>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M</a:t>
            </a:r>
          </a:p>
        </p:txBody>
      </p:sp>
      <p:sp>
        <p:nvSpPr>
          <p:cNvPr id="71" name="Rectangle 70">
            <a:extLst>
              <a:ext uri="{FF2B5EF4-FFF2-40B4-BE49-F238E27FC236}">
                <a16:creationId xmlns:a16="http://schemas.microsoft.com/office/drawing/2014/main" id="{45843501-AFB2-728D-1CF7-43E40D6052DB}"/>
              </a:ext>
            </a:extLst>
          </p:cNvPr>
          <p:cNvSpPr/>
          <p:nvPr/>
        </p:nvSpPr>
        <p:spPr bwMode="gray">
          <a:xfrm>
            <a:off x="9100267" y="1675243"/>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TextBox 71">
            <a:extLst>
              <a:ext uri="{FF2B5EF4-FFF2-40B4-BE49-F238E27FC236}">
                <a16:creationId xmlns:a16="http://schemas.microsoft.com/office/drawing/2014/main" id="{3FE7CC57-018C-751F-5695-84A9B20E36BC}"/>
              </a:ext>
            </a:extLst>
          </p:cNvPr>
          <p:cNvSpPr txBox="1"/>
          <p:nvPr/>
        </p:nvSpPr>
        <p:spPr>
          <a:xfrm>
            <a:off x="9888542" y="1815275"/>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Zoltán Lengyel</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8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76" name="Picture 4" descr="Hungary Large Flag | Gallery Yopriceville - High-Quality Free Images ...">
            <a:extLst>
              <a:ext uri="{FF2B5EF4-FFF2-40B4-BE49-F238E27FC236}">
                <a16:creationId xmlns:a16="http://schemas.microsoft.com/office/drawing/2014/main" id="{24B8A50B-7284-E70A-FB5E-B3305F3508AE}"/>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1032113" y="244739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8" name="Oval 77">
            <a:extLst>
              <a:ext uri="{FF2B5EF4-FFF2-40B4-BE49-F238E27FC236}">
                <a16:creationId xmlns:a16="http://schemas.microsoft.com/office/drawing/2014/main" id="{D7119307-50D6-3392-365D-5BD9A37FAF80}"/>
              </a:ext>
            </a:extLst>
          </p:cNvPr>
          <p:cNvSpPr/>
          <p:nvPr/>
        </p:nvSpPr>
        <p:spPr bwMode="gray">
          <a:xfrm>
            <a:off x="11054466" y="2138486"/>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pic>
        <p:nvPicPr>
          <p:cNvPr id="80" name="Picture Placeholder 15" descr="A person in a suit and tie&#10;&#10;Description automatically generated">
            <a:extLst>
              <a:ext uri="{FF2B5EF4-FFF2-40B4-BE49-F238E27FC236}">
                <a16:creationId xmlns:a16="http://schemas.microsoft.com/office/drawing/2014/main" id="{F1543FB0-7CF5-B7EA-1558-483FDCBADBD4}"/>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a:xfrm>
            <a:off x="1639961" y="3302481"/>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82" name="Picture Placeholder 16" descr="A person in a suit and tie&#10;&#10;Description automatically generated">
            <a:extLst>
              <a:ext uri="{FF2B5EF4-FFF2-40B4-BE49-F238E27FC236}">
                <a16:creationId xmlns:a16="http://schemas.microsoft.com/office/drawing/2014/main" id="{2D3EA06E-CBEB-B929-C0C2-C4B211E44C3D}"/>
              </a:ext>
            </a:extLst>
          </p:cNvPr>
          <p:cNvPicPr>
            <a:picLocks noChangeAspect="1"/>
          </p:cNvPicPr>
          <p:nvPr/>
        </p:nvPicPr>
        <p:blipFill>
          <a:blip r:embed="rId13" cstate="email">
            <a:extLst>
              <a:ext uri="{28A0092B-C50C-407E-A947-70E740481C1C}">
                <a14:useLocalDpi xmlns:a14="http://schemas.microsoft.com/office/drawing/2010/main"/>
              </a:ext>
            </a:extLst>
          </a:blip>
          <a:srcRect/>
          <a:stretch>
            <a:fillRect/>
          </a:stretch>
        </p:blipFill>
        <p:spPr>
          <a:xfrm>
            <a:off x="3727408" y="1827814"/>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83" name="Picture 82">
            <a:extLst>
              <a:ext uri="{FF2B5EF4-FFF2-40B4-BE49-F238E27FC236}">
                <a16:creationId xmlns:a16="http://schemas.microsoft.com/office/drawing/2014/main" id="{FE31DA61-DFFF-9AAD-52BC-4126A935D592}"/>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1028938" y="1848287"/>
            <a:ext cx="661521"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D5E957AC-6C4B-7870-6FAA-F7C83DE0DBC0}"/>
              </a:ext>
            </a:extLst>
          </p:cNvPr>
          <p:cNvSpPr/>
          <p:nvPr/>
        </p:nvSpPr>
        <p:spPr bwMode="gray">
          <a:xfrm>
            <a:off x="6354087" y="1679518"/>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D2FA5D5C-3A60-A69C-74F3-DEAB26310896}"/>
              </a:ext>
            </a:extLst>
          </p:cNvPr>
          <p:cNvSpPr txBox="1"/>
          <p:nvPr/>
        </p:nvSpPr>
        <p:spPr>
          <a:xfrm>
            <a:off x="7142362" y="1819550"/>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stván </a:t>
            </a:r>
            <a:r>
              <a:rPr kumimoji="0" lang="en-US" sz="11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lla</a:t>
            </a:r>
            <a:endPar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15</a:t>
            </a: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28" name="Picture 4" descr="Hungary Large Flag | Gallery Yopriceville - High-Quality Free Images ...">
            <a:extLst>
              <a:ext uri="{FF2B5EF4-FFF2-40B4-BE49-F238E27FC236}">
                <a16:creationId xmlns:a16="http://schemas.microsoft.com/office/drawing/2014/main" id="{2814F52C-9306-78D4-1445-4E44835753BE}"/>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285933" y="245166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15A9F556-A776-DB91-12A7-87C12DDAF711}"/>
              </a:ext>
            </a:extLst>
          </p:cNvPr>
          <p:cNvSpPr/>
          <p:nvPr/>
        </p:nvSpPr>
        <p:spPr bwMode="gray">
          <a:xfrm>
            <a:off x="8308286" y="2151814"/>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M</a:t>
            </a:r>
          </a:p>
        </p:txBody>
      </p:sp>
      <p:pic>
        <p:nvPicPr>
          <p:cNvPr id="90" name="Picture Placeholder 16" descr="A person in a suit&#10;&#10;Description automatically generated">
            <a:extLst>
              <a:ext uri="{FF2B5EF4-FFF2-40B4-BE49-F238E27FC236}">
                <a16:creationId xmlns:a16="http://schemas.microsoft.com/office/drawing/2014/main" id="{27CDF4F4-0D4F-35FE-CD56-E4979B8C23E4}"/>
              </a:ext>
            </a:extLst>
          </p:cNvPr>
          <p:cNvPicPr>
            <a:picLocks noChangeAspect="1"/>
          </p:cNvPicPr>
          <p:nvPr/>
        </p:nvPicPr>
        <p:blipFill>
          <a:blip r:embed="rId15" cstate="email">
            <a:extLst>
              <a:ext uri="{28A0092B-C50C-407E-A947-70E740481C1C}">
                <a14:useLocalDpi xmlns:a14="http://schemas.microsoft.com/office/drawing/2010/main"/>
              </a:ext>
            </a:extLst>
          </a:blip>
          <a:srcRect/>
          <a:stretch>
            <a:fillRect/>
          </a:stretch>
        </p:blipFill>
        <p:spPr>
          <a:xfrm>
            <a:off x="6434271" y="1830037"/>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
        <p:nvSpPr>
          <p:cNvPr id="51" name="Rectangle 50">
            <a:extLst>
              <a:ext uri="{FF2B5EF4-FFF2-40B4-BE49-F238E27FC236}">
                <a16:creationId xmlns:a16="http://schemas.microsoft.com/office/drawing/2014/main" id="{0ED40BC0-493D-CBF2-CB8D-2E60BCF88D7E}"/>
              </a:ext>
            </a:extLst>
          </p:cNvPr>
          <p:cNvSpPr/>
          <p:nvPr/>
        </p:nvSpPr>
        <p:spPr bwMode="gray">
          <a:xfrm>
            <a:off x="940054" y="3180885"/>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TextBox 73">
            <a:extLst>
              <a:ext uri="{FF2B5EF4-FFF2-40B4-BE49-F238E27FC236}">
                <a16:creationId xmlns:a16="http://schemas.microsoft.com/office/drawing/2014/main" id="{1539F9BE-291A-2A74-1E81-5E50F722B99D}"/>
              </a:ext>
            </a:extLst>
          </p:cNvPr>
          <p:cNvSpPr txBox="1"/>
          <p:nvPr/>
        </p:nvSpPr>
        <p:spPr>
          <a:xfrm>
            <a:off x="1728329" y="3320917"/>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meter Nagy</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10</a:t>
            </a: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91" name="Picture 4" descr="Hungary Large Flag | Gallery Yopriceville - High-Quality Free Images ...">
            <a:extLst>
              <a:ext uri="{FF2B5EF4-FFF2-40B4-BE49-F238E27FC236}">
                <a16:creationId xmlns:a16="http://schemas.microsoft.com/office/drawing/2014/main" id="{3B9D3618-0B66-F295-F12B-CAF4AD714ECE}"/>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71900" y="395303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3" name="Oval 92">
            <a:extLst>
              <a:ext uri="{FF2B5EF4-FFF2-40B4-BE49-F238E27FC236}">
                <a16:creationId xmlns:a16="http://schemas.microsoft.com/office/drawing/2014/main" id="{769A26C8-25B4-1862-248E-2E96968059AA}"/>
              </a:ext>
            </a:extLst>
          </p:cNvPr>
          <p:cNvSpPr/>
          <p:nvPr/>
        </p:nvSpPr>
        <p:spPr bwMode="gray">
          <a:xfrm>
            <a:off x="2894253" y="3644128"/>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t>
            </a:r>
          </a:p>
        </p:txBody>
      </p:sp>
      <p:pic>
        <p:nvPicPr>
          <p:cNvPr id="100" name="Picture Placeholder 14" descr="A person in a suit and tie&#10;&#10;Description automatically generated">
            <a:extLst>
              <a:ext uri="{FF2B5EF4-FFF2-40B4-BE49-F238E27FC236}">
                <a16:creationId xmlns:a16="http://schemas.microsoft.com/office/drawing/2014/main" id="{E42F3949-60C0-2E3C-AA75-9758704BF5A3}"/>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l="-627"/>
          <a:stretch/>
        </p:blipFill>
        <p:spPr>
          <a:xfrm>
            <a:off x="1003463" y="3366249"/>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grpSp>
        <p:nvGrpSpPr>
          <p:cNvPr id="101" name="Group 100">
            <a:extLst>
              <a:ext uri="{FF2B5EF4-FFF2-40B4-BE49-F238E27FC236}">
                <a16:creationId xmlns:a16="http://schemas.microsoft.com/office/drawing/2014/main" id="{C720CC13-3E6A-3429-0C40-BECE1A7C2843}"/>
              </a:ext>
            </a:extLst>
          </p:cNvPr>
          <p:cNvGrpSpPr/>
          <p:nvPr/>
        </p:nvGrpSpPr>
        <p:grpSpPr>
          <a:xfrm>
            <a:off x="9307424" y="3186054"/>
            <a:ext cx="2356360" cy="1006787"/>
            <a:chOff x="6803160" y="1656453"/>
            <a:chExt cx="2356360" cy="1006787"/>
          </a:xfrm>
        </p:grpSpPr>
        <p:sp>
          <p:nvSpPr>
            <p:cNvPr id="102" name="Rectangle 101">
              <a:extLst>
                <a:ext uri="{FF2B5EF4-FFF2-40B4-BE49-F238E27FC236}">
                  <a16:creationId xmlns:a16="http://schemas.microsoft.com/office/drawing/2014/main" id="{D5AA4AA5-62F1-30F6-A013-42D280137104}"/>
                </a:ext>
              </a:extLst>
            </p:cNvPr>
            <p:cNvSpPr/>
            <p:nvPr/>
          </p:nvSpPr>
          <p:spPr bwMode="gray">
            <a:xfrm>
              <a:off x="6803160" y="1656453"/>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pic>
          <p:nvPicPr>
            <p:cNvPr id="103" name="Picture 4" descr="Hungary Large Flag | Gallery Yopriceville - High-Quality Free Images ...">
              <a:extLst>
                <a:ext uri="{FF2B5EF4-FFF2-40B4-BE49-F238E27FC236}">
                  <a16:creationId xmlns:a16="http://schemas.microsoft.com/office/drawing/2014/main" id="{41AA8AD3-1895-6378-AA07-20B67A5B0833}"/>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764650" y="2444103"/>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4" name="Oval 103">
              <a:extLst>
                <a:ext uri="{FF2B5EF4-FFF2-40B4-BE49-F238E27FC236}">
                  <a16:creationId xmlns:a16="http://schemas.microsoft.com/office/drawing/2014/main" id="{13DBDDAD-0293-437F-677C-1573FB8D6291}"/>
                </a:ext>
              </a:extLst>
            </p:cNvPr>
            <p:cNvSpPr/>
            <p:nvPr/>
          </p:nvSpPr>
          <p:spPr bwMode="gray">
            <a:xfrm>
              <a:off x="8776730" y="215590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105" name="TextBox 104">
              <a:extLst>
                <a:ext uri="{FF2B5EF4-FFF2-40B4-BE49-F238E27FC236}">
                  <a16:creationId xmlns:a16="http://schemas.microsoft.com/office/drawing/2014/main" id="{E5C1CF21-8985-F8D7-1E69-2249ADAE9EAB}"/>
                </a:ext>
              </a:extLst>
            </p:cNvPr>
            <p:cNvSpPr txBox="1"/>
            <p:nvPr/>
          </p:nvSpPr>
          <p:spPr>
            <a:xfrm>
              <a:off x="7675155" y="1775126"/>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100" b="1" dirty="0">
                  <a:solidFill>
                    <a:srgbClr val="313131"/>
                  </a:solidFill>
                  <a:latin typeface="Open Sans"/>
                  <a:ea typeface="Open Sans Light" panose="020B0306030504020204" pitchFamily="34" charset="0"/>
                  <a:cs typeface="Open Sans Light" panose="020B0306030504020204" pitchFamily="34" charset="0"/>
                </a:rPr>
                <a:t>Marko </a:t>
              </a:r>
              <a:r>
                <a:rPr lang="en-US" sz="1100" b="1" dirty="0" err="1">
                  <a:solidFill>
                    <a:srgbClr val="313131"/>
                  </a:solidFill>
                  <a:latin typeface="Open Sans"/>
                  <a:ea typeface="Open Sans Light" panose="020B0306030504020204" pitchFamily="34" charset="0"/>
                  <a:cs typeface="Open Sans Light" panose="020B0306030504020204" pitchFamily="34" charset="0"/>
                </a:rPr>
                <a:t>Rafajlovics</a:t>
              </a:r>
              <a:endParaRPr lang="en-US" sz="1100" b="1" dirty="0">
                <a:solidFill>
                  <a:srgbClr val="313131"/>
                </a:solidFill>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pecialist lead</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6+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106" name="Picture Placeholder 21">
              <a:extLst>
                <a:ext uri="{FF2B5EF4-FFF2-40B4-BE49-F238E27FC236}">
                  <a16:creationId xmlns:a16="http://schemas.microsoft.com/office/drawing/2014/main" id="{25147BDB-238B-E60A-36C6-1913F9FB48F4}"/>
                </a:ext>
              </a:extLst>
            </p:cNvPr>
            <p:cNvPicPr>
              <a:picLocks noChangeAspect="1"/>
            </p:cNvPicPr>
            <p:nvPr/>
          </p:nvPicPr>
          <p:blipFill>
            <a:blip r:embed="rId17" cstate="email">
              <a:extLst>
                <a:ext uri="{BEBA8EAE-BF5A-486C-A8C5-ECC9F3942E4B}">
                  <a14:imgProps xmlns:a14="http://schemas.microsoft.com/office/drawing/2010/main">
                    <a14:imgLayer r:embed="rId18">
                      <a14:imgEffect>
                        <a14:colorTemperature colorTemp="5300"/>
                      </a14:imgEffect>
                    </a14:imgLayer>
                  </a14:imgProps>
                </a:ext>
                <a:ext uri="{28A0092B-C50C-407E-A947-70E740481C1C}">
                  <a14:useLocalDpi xmlns:a14="http://schemas.microsoft.com/office/drawing/2010/main"/>
                </a:ext>
              </a:extLst>
            </a:blip>
            <a:srcRect/>
            <a:stretch/>
          </p:blipFill>
          <p:spPr>
            <a:xfrm>
              <a:off x="6888025" y="1835846"/>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grpSp>
      <p:grpSp>
        <p:nvGrpSpPr>
          <p:cNvPr id="107" name="Group 106">
            <a:extLst>
              <a:ext uri="{FF2B5EF4-FFF2-40B4-BE49-F238E27FC236}">
                <a16:creationId xmlns:a16="http://schemas.microsoft.com/office/drawing/2014/main" id="{33A5D8CB-E48E-0E2B-7DCE-B9ABD75E9A59}"/>
              </a:ext>
            </a:extLst>
          </p:cNvPr>
          <p:cNvGrpSpPr/>
          <p:nvPr/>
        </p:nvGrpSpPr>
        <p:grpSpPr>
          <a:xfrm>
            <a:off x="6506958" y="3186054"/>
            <a:ext cx="2283436" cy="1006787"/>
            <a:chOff x="4010076" y="1656453"/>
            <a:chExt cx="2283436" cy="1006787"/>
          </a:xfrm>
        </p:grpSpPr>
        <p:sp>
          <p:nvSpPr>
            <p:cNvPr id="108" name="Rectangle 107">
              <a:extLst>
                <a:ext uri="{FF2B5EF4-FFF2-40B4-BE49-F238E27FC236}">
                  <a16:creationId xmlns:a16="http://schemas.microsoft.com/office/drawing/2014/main" id="{F9FE8980-FD71-2EBA-CCA5-2E3B2DCEE803}"/>
                </a:ext>
              </a:extLst>
            </p:cNvPr>
            <p:cNvSpPr/>
            <p:nvPr/>
          </p:nvSpPr>
          <p:spPr bwMode="gray">
            <a:xfrm>
              <a:off x="4010076" y="1656453"/>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09" name="TextBox 108">
              <a:extLst>
                <a:ext uri="{FF2B5EF4-FFF2-40B4-BE49-F238E27FC236}">
                  <a16:creationId xmlns:a16="http://schemas.microsoft.com/office/drawing/2014/main" id="{488FF9DA-0EC6-FD17-F62E-A410626D40DD}"/>
                </a:ext>
              </a:extLst>
            </p:cNvPr>
            <p:cNvSpPr txBox="1"/>
            <p:nvPr/>
          </p:nvSpPr>
          <p:spPr>
            <a:xfrm>
              <a:off x="4809147" y="1775126"/>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Csaba </a:t>
              </a:r>
              <a:r>
                <a:rPr kumimoji="0" lang="en-US" sz="1100" b="1" i="0" u="none" strike="noStrike" kern="1200" cap="none" spc="0" normalizeH="0" baseline="0" dirty="0" err="1">
                  <a:ln>
                    <a:noFill/>
                  </a:ln>
                  <a:solidFill>
                    <a:srgbClr val="313131"/>
                  </a:solidFill>
                  <a:effectLst/>
                  <a:uLnTx/>
                  <a:uFillTx/>
                  <a:latin typeface="Open Sans"/>
                  <a:ea typeface="Open Sans Light" panose="020B0306030504020204" pitchFamily="34" charset="0"/>
                  <a:cs typeface="Open Sans Light" panose="020B0306030504020204" pitchFamily="34" charset="0"/>
                </a:rPr>
                <a:t>Békési</a:t>
              </a:r>
              <a:endPar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7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110" name="Picture 4" descr="Hungary Large Flag | Gallery Yopriceville - High-Quality Free Images ...">
              <a:extLst>
                <a:ext uri="{FF2B5EF4-FFF2-40B4-BE49-F238E27FC236}">
                  <a16:creationId xmlns:a16="http://schemas.microsoft.com/office/drawing/2014/main" id="{36A56373-871E-060F-2D0A-2578CC6EA86C}"/>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971566" y="2444103"/>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1" name="Oval 110">
              <a:extLst>
                <a:ext uri="{FF2B5EF4-FFF2-40B4-BE49-F238E27FC236}">
                  <a16:creationId xmlns:a16="http://schemas.microsoft.com/office/drawing/2014/main" id="{ABE59E69-F262-018F-CC6D-B2946664EE37}"/>
                </a:ext>
              </a:extLst>
            </p:cNvPr>
            <p:cNvSpPr/>
            <p:nvPr/>
          </p:nvSpPr>
          <p:spPr bwMode="gray">
            <a:xfrm>
              <a:off x="5983646" y="215590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pic>
          <p:nvPicPr>
            <p:cNvPr id="112" name="Picture 14">
              <a:extLst>
                <a:ext uri="{FF2B5EF4-FFF2-40B4-BE49-F238E27FC236}">
                  <a16:creationId xmlns:a16="http://schemas.microsoft.com/office/drawing/2014/main" id="{C1B23CBD-B7CD-9517-B30C-2273631A3E0D}"/>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t="-283"/>
            <a:stretch/>
          </p:blipFill>
          <p:spPr bwMode="auto">
            <a:xfrm>
              <a:off x="4125847" y="1835846"/>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13" name="Group 112">
            <a:extLst>
              <a:ext uri="{FF2B5EF4-FFF2-40B4-BE49-F238E27FC236}">
                <a16:creationId xmlns:a16="http://schemas.microsoft.com/office/drawing/2014/main" id="{BEA0FC53-F60E-0F23-3D22-EB38DB26BA36}"/>
              </a:ext>
            </a:extLst>
          </p:cNvPr>
          <p:cNvGrpSpPr/>
          <p:nvPr/>
        </p:nvGrpSpPr>
        <p:grpSpPr>
          <a:xfrm>
            <a:off x="939967" y="4689988"/>
            <a:ext cx="2283436" cy="1006787"/>
            <a:chOff x="9399337" y="1670408"/>
            <a:chExt cx="2283436" cy="1006787"/>
          </a:xfrm>
        </p:grpSpPr>
        <p:sp>
          <p:nvSpPr>
            <p:cNvPr id="114" name="Rectangle 113">
              <a:extLst>
                <a:ext uri="{FF2B5EF4-FFF2-40B4-BE49-F238E27FC236}">
                  <a16:creationId xmlns:a16="http://schemas.microsoft.com/office/drawing/2014/main" id="{C15F1514-974D-493D-F048-0CCAC677DC24}"/>
                </a:ext>
              </a:extLst>
            </p:cNvPr>
            <p:cNvSpPr/>
            <p:nvPr/>
          </p:nvSpPr>
          <p:spPr bwMode="gray">
            <a:xfrm>
              <a:off x="9399337" y="1670408"/>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TextBox 114">
              <a:extLst>
                <a:ext uri="{FF2B5EF4-FFF2-40B4-BE49-F238E27FC236}">
                  <a16:creationId xmlns:a16="http://schemas.microsoft.com/office/drawing/2014/main" id="{5E36D57B-EBB3-1F29-E5D2-F191BC3F7350}"/>
                </a:ext>
              </a:extLst>
            </p:cNvPr>
            <p:cNvSpPr txBox="1"/>
            <p:nvPr/>
          </p:nvSpPr>
          <p:spPr>
            <a:xfrm>
              <a:off x="10198408" y="1801387"/>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sanády</a:t>
              </a:r>
              <a:r>
                <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Gábo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5+</a:t>
              </a: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16" name="Picture 4" descr="Hungary Large Flag | Gallery Yopriceville - High-Quality Free Images ...">
              <a:extLst>
                <a:ext uri="{FF2B5EF4-FFF2-40B4-BE49-F238E27FC236}">
                  <a16:creationId xmlns:a16="http://schemas.microsoft.com/office/drawing/2014/main" id="{ED81010C-DD00-F8FB-A518-04D418480CFC}"/>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1360827" y="2458058"/>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7" name="Oval 116">
              <a:extLst>
                <a:ext uri="{FF2B5EF4-FFF2-40B4-BE49-F238E27FC236}">
                  <a16:creationId xmlns:a16="http://schemas.microsoft.com/office/drawing/2014/main" id="{C041C63F-AAC1-504B-57C5-D649C0E87656}"/>
                </a:ext>
              </a:extLst>
            </p:cNvPr>
            <p:cNvSpPr/>
            <p:nvPr/>
          </p:nvSpPr>
          <p:spPr bwMode="gray">
            <a:xfrm>
              <a:off x="11372907" y="2169855"/>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S</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a:t>
              </a:r>
            </a:p>
          </p:txBody>
        </p:sp>
        <p:pic>
          <p:nvPicPr>
            <p:cNvPr id="118" name="Picture Placeholder 7" descr="A person with a beard and mustache&#10;&#10;Description automatically generated">
              <a:extLst>
                <a:ext uri="{FF2B5EF4-FFF2-40B4-BE49-F238E27FC236}">
                  <a16:creationId xmlns:a16="http://schemas.microsoft.com/office/drawing/2014/main" id="{95FD512B-8DBB-6541-050D-8A0E60375178}"/>
                </a:ext>
              </a:extLst>
            </p:cNvPr>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a:xfrm>
              <a:off x="9478906" y="1849801"/>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grpSp>
      <p:grpSp>
        <p:nvGrpSpPr>
          <p:cNvPr id="119" name="Group 118">
            <a:extLst>
              <a:ext uri="{FF2B5EF4-FFF2-40B4-BE49-F238E27FC236}">
                <a16:creationId xmlns:a16="http://schemas.microsoft.com/office/drawing/2014/main" id="{C29A6F4B-CB7D-8579-CA80-F980E3847E50}"/>
              </a:ext>
            </a:extLst>
          </p:cNvPr>
          <p:cNvGrpSpPr/>
          <p:nvPr/>
        </p:nvGrpSpPr>
        <p:grpSpPr>
          <a:xfrm>
            <a:off x="3679334" y="3186054"/>
            <a:ext cx="2310594" cy="1006787"/>
            <a:chOff x="897857" y="1660759"/>
            <a:chExt cx="2310594" cy="1006787"/>
          </a:xfrm>
        </p:grpSpPr>
        <p:sp>
          <p:nvSpPr>
            <p:cNvPr id="120" name="Rectangle 119">
              <a:extLst>
                <a:ext uri="{FF2B5EF4-FFF2-40B4-BE49-F238E27FC236}">
                  <a16:creationId xmlns:a16="http://schemas.microsoft.com/office/drawing/2014/main" id="{40CC5ABD-44EF-2597-8425-D009CD2E8133}"/>
                </a:ext>
              </a:extLst>
            </p:cNvPr>
            <p:cNvSpPr/>
            <p:nvPr/>
          </p:nvSpPr>
          <p:spPr bwMode="gray">
            <a:xfrm>
              <a:off x="897857" y="1660759"/>
              <a:ext cx="224028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TextBox 120">
              <a:extLst>
                <a:ext uri="{FF2B5EF4-FFF2-40B4-BE49-F238E27FC236}">
                  <a16:creationId xmlns:a16="http://schemas.microsoft.com/office/drawing/2014/main" id="{3B534490-5A19-A3D1-266D-61EDC6C69751}"/>
                </a:ext>
              </a:extLst>
            </p:cNvPr>
            <p:cNvSpPr txBox="1"/>
            <p:nvPr/>
          </p:nvSpPr>
          <p:spPr>
            <a:xfrm>
              <a:off x="1724086" y="1791738"/>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1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Gselmann Bence</a:t>
              </a:r>
              <a:endPar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pecialist Lead</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7+</a:t>
              </a: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22" name="Picture 4" descr="Hungary Large Flag | Gallery Yopriceville - High-Quality Free Images ...">
              <a:extLst>
                <a:ext uri="{FF2B5EF4-FFF2-40B4-BE49-F238E27FC236}">
                  <a16:creationId xmlns:a16="http://schemas.microsoft.com/office/drawing/2014/main" id="{003861C0-FE13-82D7-7175-8FCCFB82B8EF}"/>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28057" y="2448409"/>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3" name="Oval 122">
              <a:extLst>
                <a:ext uri="{FF2B5EF4-FFF2-40B4-BE49-F238E27FC236}">
                  <a16:creationId xmlns:a16="http://schemas.microsoft.com/office/drawing/2014/main" id="{B4C18C0E-B779-ADB9-DD93-957BE289A2D8}"/>
                </a:ext>
              </a:extLst>
            </p:cNvPr>
            <p:cNvSpPr/>
            <p:nvPr/>
          </p:nvSpPr>
          <p:spPr bwMode="gray">
            <a:xfrm>
              <a:off x="2846289" y="2160206"/>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C</a:t>
              </a:r>
            </a:p>
          </p:txBody>
        </p:sp>
        <p:pic>
          <p:nvPicPr>
            <p:cNvPr id="124" name="Picture Placeholder 12" descr="A person in a suit and tie&#10;&#10;Description automatically generated">
              <a:extLst>
                <a:ext uri="{FF2B5EF4-FFF2-40B4-BE49-F238E27FC236}">
                  <a16:creationId xmlns:a16="http://schemas.microsoft.com/office/drawing/2014/main" id="{CE3DBB00-8EB4-271A-07F1-1F6FA94E24F8}"/>
                </a:ext>
              </a:extLst>
            </p:cNvPr>
            <p:cNvPicPr>
              <a:picLocks noChangeAspect="1"/>
            </p:cNvPicPr>
            <p:nvPr/>
          </p:nvPicPr>
          <p:blipFill>
            <a:blip r:embed="rId21" cstate="email">
              <a:extLst>
                <a:ext uri="{28A0092B-C50C-407E-A947-70E740481C1C}">
                  <a14:useLocalDpi xmlns:a14="http://schemas.microsoft.com/office/drawing/2010/main"/>
                </a:ext>
              </a:extLst>
            </a:blip>
            <a:srcRect/>
            <a:stretch>
              <a:fillRect/>
            </a:stretch>
          </p:blipFill>
          <p:spPr>
            <a:xfrm>
              <a:off x="960481" y="1826547"/>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grpSp>
      <p:grpSp>
        <p:nvGrpSpPr>
          <p:cNvPr id="125" name="Group 124">
            <a:extLst>
              <a:ext uri="{FF2B5EF4-FFF2-40B4-BE49-F238E27FC236}">
                <a16:creationId xmlns:a16="http://schemas.microsoft.com/office/drawing/2014/main" id="{FFC4BBE3-1AA2-6093-1A19-B17715EDF6B7}"/>
              </a:ext>
            </a:extLst>
          </p:cNvPr>
          <p:cNvGrpSpPr/>
          <p:nvPr/>
        </p:nvGrpSpPr>
        <p:grpSpPr>
          <a:xfrm>
            <a:off x="3739466" y="4689988"/>
            <a:ext cx="2283436" cy="1006787"/>
            <a:chOff x="897857" y="3155727"/>
            <a:chExt cx="2283436" cy="1006787"/>
          </a:xfrm>
        </p:grpSpPr>
        <p:sp>
          <p:nvSpPr>
            <p:cNvPr id="126" name="Rectangle 125">
              <a:extLst>
                <a:ext uri="{FF2B5EF4-FFF2-40B4-BE49-F238E27FC236}">
                  <a16:creationId xmlns:a16="http://schemas.microsoft.com/office/drawing/2014/main" id="{AE098D32-ABEC-0D5A-BA2C-9712BBAD0A7F}"/>
                </a:ext>
              </a:extLst>
            </p:cNvPr>
            <p:cNvSpPr/>
            <p:nvPr/>
          </p:nvSpPr>
          <p:spPr bwMode="gray">
            <a:xfrm>
              <a:off x="897857" y="3155727"/>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TextBox 126">
              <a:extLst>
                <a:ext uri="{FF2B5EF4-FFF2-40B4-BE49-F238E27FC236}">
                  <a16:creationId xmlns:a16="http://schemas.microsoft.com/office/drawing/2014/main" id="{EB1E9D65-E73E-564B-043E-91C460A32909}"/>
                </a:ext>
              </a:extLst>
            </p:cNvPr>
            <p:cNvSpPr txBox="1"/>
            <p:nvPr/>
          </p:nvSpPr>
          <p:spPr>
            <a:xfrm>
              <a:off x="1696928" y="3286706"/>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uskás Attila</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5+</a:t>
              </a: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dapest</a:t>
              </a:r>
            </a:p>
          </p:txBody>
        </p:sp>
        <p:pic>
          <p:nvPicPr>
            <p:cNvPr id="1024" name="Picture 4" descr="Hungary Large Flag | Gallery Yopriceville - High-Quality Free Images ...">
              <a:extLst>
                <a:ext uri="{FF2B5EF4-FFF2-40B4-BE49-F238E27FC236}">
                  <a16:creationId xmlns:a16="http://schemas.microsoft.com/office/drawing/2014/main" id="{CE04C879-4C25-4617-1DFC-06E56E2C996B}"/>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59347" y="394337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25" name="Oval 1024">
              <a:extLst>
                <a:ext uri="{FF2B5EF4-FFF2-40B4-BE49-F238E27FC236}">
                  <a16:creationId xmlns:a16="http://schemas.microsoft.com/office/drawing/2014/main" id="{3BC37B8C-5408-A94F-4538-C83AE8F4E14D}"/>
                </a:ext>
              </a:extLst>
            </p:cNvPr>
            <p:cNvSpPr/>
            <p:nvPr/>
          </p:nvSpPr>
          <p:spPr bwMode="gray">
            <a:xfrm>
              <a:off x="2871427" y="3655174"/>
              <a:ext cx="228600" cy="228600"/>
            </a:xfrm>
            <a:prstGeom prst="ellipse">
              <a:avLst/>
            </a:prstGeom>
            <a:solidFill>
              <a:srgbClr val="A3DEFF"/>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dirty="0">
                  <a:solidFill>
                    <a:srgbClr val="0D8390">
                      <a:lumMod val="50000"/>
                    </a:srgbClr>
                  </a:solidFill>
                  <a:latin typeface="Open Sans" panose="020B0606030504020204" pitchFamily="34" charset="0"/>
                  <a:ea typeface="Open Sans" panose="020B0606030504020204" pitchFamily="34" charset="0"/>
                  <a:cs typeface="Open Sans" panose="020B0606030504020204" pitchFamily="34" charset="0"/>
                </a:rPr>
                <a:t>S</a:t>
              </a:r>
              <a:r>
                <a:rPr kumimoji="0" lang="en-US" sz="800" b="1" i="0" u="none" strike="noStrike" kern="1200" cap="none" spc="0" normalizeH="0" baseline="0" dirty="0">
                  <a:ln>
                    <a:noFill/>
                  </a:ln>
                  <a:solidFill>
                    <a:srgbClr val="0D839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a:t>
              </a:r>
            </a:p>
          </p:txBody>
        </p:sp>
        <p:pic>
          <p:nvPicPr>
            <p:cNvPr id="1027" name="Picture Placeholder 10" descr="A person in a suit and tie&#10;&#10;Description automatically generated">
              <a:extLst>
                <a:ext uri="{FF2B5EF4-FFF2-40B4-BE49-F238E27FC236}">
                  <a16:creationId xmlns:a16="http://schemas.microsoft.com/office/drawing/2014/main" id="{904D4A93-D041-AD53-ED8C-0E3A9CF02D77}"/>
                </a:ext>
              </a:extLst>
            </p:cNvPr>
            <p:cNvPicPr>
              <a:picLocks noChangeAspect="1"/>
            </p:cNvPicPr>
            <p:nvPr/>
          </p:nvPicPr>
          <p:blipFill>
            <a:blip r:embed="rId22" cstate="email">
              <a:extLst>
                <a:ext uri="{28A0092B-C50C-407E-A947-70E740481C1C}">
                  <a14:useLocalDpi xmlns:a14="http://schemas.microsoft.com/office/drawing/2010/main"/>
                </a:ext>
              </a:extLst>
            </a:blip>
            <a:srcRect/>
            <a:stretch>
              <a:fillRect/>
            </a:stretch>
          </p:blipFill>
          <p:spPr>
            <a:xfrm>
              <a:off x="995736" y="3331174"/>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grpSp>
      <p:sp>
        <p:nvSpPr>
          <p:cNvPr id="1028" name="Rectangle 1027">
            <a:extLst>
              <a:ext uri="{FF2B5EF4-FFF2-40B4-BE49-F238E27FC236}">
                <a16:creationId xmlns:a16="http://schemas.microsoft.com/office/drawing/2014/main" id="{30EC0B67-14DF-7BF0-2AF8-97979F07FC10}"/>
              </a:ext>
            </a:extLst>
          </p:cNvPr>
          <p:cNvSpPr/>
          <p:nvPr/>
        </p:nvSpPr>
        <p:spPr bwMode="gray">
          <a:xfrm>
            <a:off x="6533889" y="4750354"/>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pic>
        <p:nvPicPr>
          <p:cNvPr id="1029" name="Picture 4" descr="Hungary Large Flag | Gallery Yopriceville - High-Quality Free Images ...">
            <a:extLst>
              <a:ext uri="{FF2B5EF4-FFF2-40B4-BE49-F238E27FC236}">
                <a16:creationId xmlns:a16="http://schemas.microsoft.com/office/drawing/2014/main" id="{762583E7-CD0B-CF8A-C9AB-5ADBE2DD1EA6}"/>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120404" y="543949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30" name="Oval 1029">
            <a:extLst>
              <a:ext uri="{FF2B5EF4-FFF2-40B4-BE49-F238E27FC236}">
                <a16:creationId xmlns:a16="http://schemas.microsoft.com/office/drawing/2014/main" id="{77AD47B5-EEE5-1895-FA45-72D8AEF4E879}"/>
              </a:ext>
            </a:extLst>
          </p:cNvPr>
          <p:cNvSpPr/>
          <p:nvPr/>
        </p:nvSpPr>
        <p:spPr bwMode="gray">
          <a:xfrm>
            <a:off x="8137063" y="513908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1031" name="TextBox 1030">
            <a:extLst>
              <a:ext uri="{FF2B5EF4-FFF2-40B4-BE49-F238E27FC236}">
                <a16:creationId xmlns:a16="http://schemas.microsoft.com/office/drawing/2014/main" id="{7739AC07-8560-4F7B-DEB4-1A649B0C6EFB}"/>
              </a:ext>
            </a:extLst>
          </p:cNvPr>
          <p:cNvSpPr txBox="1"/>
          <p:nvPr/>
        </p:nvSpPr>
        <p:spPr>
          <a:xfrm>
            <a:off x="7250796" y="4888940"/>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900" b="1" dirty="0">
                <a:solidFill>
                  <a:srgbClr val="313131"/>
                </a:solidFill>
                <a:latin typeface="Open Sans"/>
                <a:ea typeface="Open Sans Light" panose="020B0306030504020204" pitchFamily="34" charset="0"/>
                <a:cs typeface="Open Sans Light" panose="020B0306030504020204" pitchFamily="34" charset="0"/>
              </a:rPr>
              <a:t>Dániel Antunovics</a:t>
            </a:r>
            <a:endParaRPr kumimoji="0" lang="en-US" sz="9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2+</a:t>
            </a: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1032" name="Picture Placeholder 5">
            <a:extLst>
              <a:ext uri="{FF2B5EF4-FFF2-40B4-BE49-F238E27FC236}">
                <a16:creationId xmlns:a16="http://schemas.microsoft.com/office/drawing/2014/main" id="{E2F7FC9A-4FEA-6BEE-7827-2625CB2012D3}"/>
              </a:ext>
            </a:extLst>
          </p:cNvPr>
          <p:cNvPicPr>
            <a:picLocks noChangeAspect="1"/>
          </p:cNvPicPr>
          <p:nvPr/>
        </p:nvPicPr>
        <p:blipFill>
          <a:blip r:embed="rId23" cstate="email">
            <a:extLst>
              <a:ext uri="{28A0092B-C50C-407E-A947-70E740481C1C}">
                <a14:useLocalDpi xmlns:a14="http://schemas.microsoft.com/office/drawing/2010/main"/>
              </a:ext>
            </a:extLst>
          </a:blip>
          <a:srcRect/>
          <a:stretch/>
        </p:blipFill>
        <p:spPr>
          <a:xfrm>
            <a:off x="6613759" y="4925164"/>
            <a:ext cx="550800" cy="550800"/>
          </a:xfrm>
          <a:prstGeom prst="ellipse">
            <a:avLst/>
          </a:prstGeom>
          <a:effectLst>
            <a:outerShdw blurRad="50800" dist="38100" dir="2700000" algn="tl" rotWithShape="0">
              <a:prstClr val="black">
                <a:alpha val="40000"/>
              </a:prstClr>
            </a:outerShdw>
          </a:effectLst>
        </p:spPr>
      </p:pic>
      <p:sp>
        <p:nvSpPr>
          <p:cNvPr id="1033" name="Rectangle 1032">
            <a:extLst>
              <a:ext uri="{FF2B5EF4-FFF2-40B4-BE49-F238E27FC236}">
                <a16:creationId xmlns:a16="http://schemas.microsoft.com/office/drawing/2014/main" id="{A8EA4C1C-5AB3-6E5A-BFCC-D02082134997}"/>
              </a:ext>
            </a:extLst>
          </p:cNvPr>
          <p:cNvSpPr/>
          <p:nvPr/>
        </p:nvSpPr>
        <p:spPr bwMode="gray">
          <a:xfrm>
            <a:off x="9086930" y="4750354"/>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pic>
        <p:nvPicPr>
          <p:cNvPr id="1034" name="Picture 4" descr="Hungary Large Flag | Gallery Yopriceville - High-Quality Free Images ...">
            <a:extLst>
              <a:ext uri="{FF2B5EF4-FFF2-40B4-BE49-F238E27FC236}">
                <a16:creationId xmlns:a16="http://schemas.microsoft.com/office/drawing/2014/main" id="{C0BA0BEB-E312-B131-B882-74FA4C7FBDD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673445" y="543949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35" name="Oval 1034">
            <a:extLst>
              <a:ext uri="{FF2B5EF4-FFF2-40B4-BE49-F238E27FC236}">
                <a16:creationId xmlns:a16="http://schemas.microsoft.com/office/drawing/2014/main" id="{1D0F2170-E71A-0AB8-90CD-8810AB5A316A}"/>
              </a:ext>
            </a:extLst>
          </p:cNvPr>
          <p:cNvSpPr/>
          <p:nvPr/>
        </p:nvSpPr>
        <p:spPr bwMode="gray">
          <a:xfrm>
            <a:off x="10690104" y="513908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1036" name="TextBox 1035">
            <a:extLst>
              <a:ext uri="{FF2B5EF4-FFF2-40B4-BE49-F238E27FC236}">
                <a16:creationId xmlns:a16="http://schemas.microsoft.com/office/drawing/2014/main" id="{FD4F598A-274A-0135-0E85-DA9DC638BAB8}"/>
              </a:ext>
            </a:extLst>
          </p:cNvPr>
          <p:cNvSpPr txBox="1"/>
          <p:nvPr/>
        </p:nvSpPr>
        <p:spPr>
          <a:xfrm>
            <a:off x="9803837" y="4888940"/>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900" b="1" dirty="0">
                <a:solidFill>
                  <a:srgbClr val="313131"/>
                </a:solidFill>
                <a:latin typeface="Open Sans"/>
                <a:ea typeface="Open Sans Light" panose="020B0306030504020204" pitchFamily="34" charset="0"/>
                <a:cs typeface="Open Sans Light" panose="020B0306030504020204" pitchFamily="34" charset="0"/>
              </a:rPr>
              <a:t>Krisztina </a:t>
            </a:r>
            <a:r>
              <a:rPr lang="en-US" sz="900" b="1" dirty="0" err="1">
                <a:solidFill>
                  <a:srgbClr val="313131"/>
                </a:solidFill>
                <a:latin typeface="Open Sans"/>
                <a:ea typeface="Open Sans Light" panose="020B0306030504020204" pitchFamily="34" charset="0"/>
                <a:cs typeface="Open Sans Light" panose="020B0306030504020204" pitchFamily="34" charset="0"/>
              </a:rPr>
              <a:t>Vári</a:t>
            </a:r>
            <a:endParaRPr kumimoji="0" lang="en-US" sz="9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4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1037" name="Picture Placeholder 5">
            <a:extLst>
              <a:ext uri="{FF2B5EF4-FFF2-40B4-BE49-F238E27FC236}">
                <a16:creationId xmlns:a16="http://schemas.microsoft.com/office/drawing/2014/main" id="{2CD66118-961E-4E2B-5787-13B98F7CC305}"/>
              </a:ext>
            </a:extLst>
          </p:cNvPr>
          <p:cNvPicPr>
            <a:picLocks noChangeAspect="1"/>
          </p:cNvPicPr>
          <p:nvPr/>
        </p:nvPicPr>
        <p:blipFill>
          <a:blip r:embed="rId24" cstate="email">
            <a:extLst>
              <a:ext uri="{28A0092B-C50C-407E-A947-70E740481C1C}">
                <a14:useLocalDpi xmlns:a14="http://schemas.microsoft.com/office/drawing/2010/main"/>
              </a:ext>
            </a:extLst>
          </a:blip>
          <a:srcRect/>
          <a:stretch/>
        </p:blipFill>
        <p:spPr>
          <a:xfrm>
            <a:off x="9176630" y="4925164"/>
            <a:ext cx="550800" cy="5508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3" name="Picture Placeholder 16">
            <a:extLst>
              <a:ext uri="{FF2B5EF4-FFF2-40B4-BE49-F238E27FC236}">
                <a16:creationId xmlns:a16="http://schemas.microsoft.com/office/drawing/2014/main" id="{F21E90FD-B2DF-D80E-A344-D77CCE671897}"/>
              </a:ext>
            </a:extLst>
          </p:cNvPr>
          <p:cNvPicPr>
            <a:picLocks noChangeAspect="1"/>
          </p:cNvPicPr>
          <p:nvPr/>
        </p:nvPicPr>
        <p:blipFill>
          <a:blip r:embed="rId25" cstate="email">
            <a:extLst>
              <a:ext uri="{28A0092B-C50C-407E-A947-70E740481C1C}">
                <a14:useLocalDpi xmlns:a14="http://schemas.microsoft.com/office/drawing/2010/main"/>
              </a:ext>
            </a:extLst>
          </a:blip>
          <a:srcRect/>
          <a:stretch/>
        </p:blipFill>
        <p:spPr>
          <a:xfrm>
            <a:off x="9186996" y="1830037"/>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1994451"/>
      </p:ext>
    </p:extLst>
  </p:cSld>
  <p:clrMapOvr>
    <a:masterClrMapping/>
  </p:clrMapOvr>
  <p:transition>
    <p:fade/>
  </p:transition>
  <p:extLst>
    <p:ext uri="{6950BFC3-D8DA-4A85-94F7-54DA5524770B}">
      <p188:commentRel xmlns:p188="http://schemas.microsoft.com/office/powerpoint/2018/8/main" r:id="rId4"/>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pSp>
        <p:nvGrpSpPr>
          <p:cNvPr id="1112" name="Graphic 1771">
            <a:extLst>
              <a:ext uri="{FF2B5EF4-FFF2-40B4-BE49-F238E27FC236}">
                <a16:creationId xmlns:a16="http://schemas.microsoft.com/office/drawing/2014/main" id="{56A6C7B0-866B-C48F-6688-0C0DC2D360F9}"/>
              </a:ext>
            </a:extLst>
          </p:cNvPr>
          <p:cNvGrpSpPr/>
          <p:nvPr/>
        </p:nvGrpSpPr>
        <p:grpSpPr>
          <a:xfrm>
            <a:off x="4367523" y="3985629"/>
            <a:ext cx="1728477" cy="2590483"/>
            <a:chOff x="4528878" y="2688911"/>
            <a:chExt cx="1728477" cy="2590483"/>
          </a:xfrm>
          <a:solidFill>
            <a:srgbClr val="C4D600"/>
          </a:solidFill>
        </p:grpSpPr>
        <p:sp>
          <p:nvSpPr>
            <p:cNvPr id="1113" name="Freeform 1777">
              <a:extLst>
                <a:ext uri="{FF2B5EF4-FFF2-40B4-BE49-F238E27FC236}">
                  <a16:creationId xmlns:a16="http://schemas.microsoft.com/office/drawing/2014/main" id="{E5F8F3E1-7B50-8D6F-AD39-92BF04CFC750}"/>
                </a:ext>
              </a:extLst>
            </p:cNvPr>
            <p:cNvSpPr/>
            <p:nvPr/>
          </p:nvSpPr>
          <p:spPr>
            <a:xfrm>
              <a:off x="4528879" y="2688911"/>
              <a:ext cx="864238" cy="863494"/>
            </a:xfrm>
            <a:custGeom>
              <a:avLst/>
              <a:gdLst>
                <a:gd name="connsiteX0" fmla="*/ 864238 w 864238"/>
                <a:gd name="connsiteY0" fmla="*/ 863494 h 863494"/>
                <a:gd name="connsiteX1" fmla="*/ 0 w 864238"/>
                <a:gd name="connsiteY1" fmla="*/ 863494 h 863494"/>
                <a:gd name="connsiteX2" fmla="*/ 0 w 864238"/>
                <a:gd name="connsiteY2" fmla="*/ 41758 h 863494"/>
                <a:gd name="connsiteX3" fmla="*/ 41794 w 864238"/>
                <a:gd name="connsiteY3" fmla="*/ 0 h 863494"/>
                <a:gd name="connsiteX4" fmla="*/ 822444 w 864238"/>
                <a:gd name="connsiteY4" fmla="*/ 0 h 863494"/>
                <a:gd name="connsiteX5" fmla="*/ 864238 w 864238"/>
                <a:gd name="connsiteY5" fmla="*/ 41758 h 863494"/>
                <a:gd name="connsiteX6" fmla="*/ 864238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64238" y="863494"/>
                  </a:moveTo>
                  <a:lnTo>
                    <a:pt x="0" y="863494"/>
                  </a:lnTo>
                  <a:lnTo>
                    <a:pt x="0" y="41758"/>
                  </a:lnTo>
                  <a:cubicBezTo>
                    <a:pt x="0" y="17896"/>
                    <a:pt x="19404" y="0"/>
                    <a:pt x="41794" y="0"/>
                  </a:cubicBezTo>
                  <a:lnTo>
                    <a:pt x="822444" y="0"/>
                  </a:lnTo>
                  <a:cubicBezTo>
                    <a:pt x="846327" y="0"/>
                    <a:pt x="864238" y="19388"/>
                    <a:pt x="864238" y="41758"/>
                  </a:cubicBezTo>
                  <a:lnTo>
                    <a:pt x="864238" y="863494"/>
                  </a:lnTo>
                  <a:close/>
                </a:path>
              </a:pathLst>
            </a:custGeom>
            <a:solidFill>
              <a:srgbClr val="C4D600"/>
            </a:solidFill>
            <a:ln w="14807" cap="flat">
              <a:solidFill>
                <a:srgbClr val="FFFFFF"/>
              </a:solidFill>
              <a:prstDash val="solid"/>
              <a:round/>
            </a:ln>
          </p:spPr>
          <p:txBody>
            <a:bodyPr rtlCol="0" anchor="ctr"/>
            <a:lstStyle/>
            <a:p>
              <a:endParaRPr lang="en-GB"/>
            </a:p>
          </p:txBody>
        </p:sp>
        <p:sp>
          <p:nvSpPr>
            <p:cNvPr id="1114" name="Freeform 1778">
              <a:extLst>
                <a:ext uri="{FF2B5EF4-FFF2-40B4-BE49-F238E27FC236}">
                  <a16:creationId xmlns:a16="http://schemas.microsoft.com/office/drawing/2014/main" id="{3DADD061-8F54-2CCC-774F-D4A933FFEEC5}"/>
                </a:ext>
              </a:extLst>
            </p:cNvPr>
            <p:cNvSpPr/>
            <p:nvPr/>
          </p:nvSpPr>
          <p:spPr>
            <a:xfrm>
              <a:off x="5391624" y="2688911"/>
              <a:ext cx="864238" cy="863494"/>
            </a:xfrm>
            <a:custGeom>
              <a:avLst/>
              <a:gdLst>
                <a:gd name="connsiteX0" fmla="*/ 864238 w 864238"/>
                <a:gd name="connsiteY0" fmla="*/ 863494 h 863494"/>
                <a:gd name="connsiteX1" fmla="*/ 0 w 864238"/>
                <a:gd name="connsiteY1" fmla="*/ 863494 h 863494"/>
                <a:gd name="connsiteX2" fmla="*/ 0 w 864238"/>
                <a:gd name="connsiteY2" fmla="*/ 41758 h 863494"/>
                <a:gd name="connsiteX3" fmla="*/ 41794 w 864238"/>
                <a:gd name="connsiteY3" fmla="*/ 0 h 863494"/>
                <a:gd name="connsiteX4" fmla="*/ 822445 w 864238"/>
                <a:gd name="connsiteY4" fmla="*/ 0 h 863494"/>
                <a:gd name="connsiteX5" fmla="*/ 864238 w 864238"/>
                <a:gd name="connsiteY5" fmla="*/ 41758 h 863494"/>
                <a:gd name="connsiteX6" fmla="*/ 864238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64238" y="863494"/>
                  </a:moveTo>
                  <a:lnTo>
                    <a:pt x="0" y="863494"/>
                  </a:lnTo>
                  <a:lnTo>
                    <a:pt x="0" y="41758"/>
                  </a:lnTo>
                  <a:cubicBezTo>
                    <a:pt x="0" y="17896"/>
                    <a:pt x="19404" y="0"/>
                    <a:pt x="41794" y="0"/>
                  </a:cubicBezTo>
                  <a:lnTo>
                    <a:pt x="822445" y="0"/>
                  </a:lnTo>
                  <a:cubicBezTo>
                    <a:pt x="846327" y="0"/>
                    <a:pt x="864238" y="19388"/>
                    <a:pt x="864238" y="41758"/>
                  </a:cubicBezTo>
                  <a:lnTo>
                    <a:pt x="864238" y="863494"/>
                  </a:lnTo>
                  <a:close/>
                </a:path>
              </a:pathLst>
            </a:custGeom>
            <a:solidFill>
              <a:srgbClr val="C4D600"/>
            </a:solidFill>
            <a:ln w="14807" cap="flat">
              <a:solidFill>
                <a:srgbClr val="FFFFFF"/>
              </a:solidFill>
              <a:prstDash val="solid"/>
              <a:round/>
            </a:ln>
          </p:spPr>
          <p:txBody>
            <a:bodyPr rtlCol="0" anchor="ctr"/>
            <a:lstStyle/>
            <a:p>
              <a:endParaRPr lang="en-GB"/>
            </a:p>
          </p:txBody>
        </p:sp>
        <p:sp>
          <p:nvSpPr>
            <p:cNvPr id="1115" name="Freeform 1779">
              <a:extLst>
                <a:ext uri="{FF2B5EF4-FFF2-40B4-BE49-F238E27FC236}">
                  <a16:creationId xmlns:a16="http://schemas.microsoft.com/office/drawing/2014/main" id="{4449B06F-E6B6-A0D3-AB4F-0FD31012BBCA}"/>
                </a:ext>
              </a:extLst>
            </p:cNvPr>
            <p:cNvSpPr/>
            <p:nvPr/>
          </p:nvSpPr>
          <p:spPr>
            <a:xfrm>
              <a:off x="4528878" y="3552405"/>
              <a:ext cx="864238" cy="863494"/>
            </a:xfrm>
            <a:custGeom>
              <a:avLst/>
              <a:gdLst>
                <a:gd name="connsiteX0" fmla="*/ 0 w 864238"/>
                <a:gd name="connsiteY0" fmla="*/ 0 h 863494"/>
                <a:gd name="connsiteX1" fmla="*/ 864239 w 864238"/>
                <a:gd name="connsiteY1" fmla="*/ 0 h 863494"/>
                <a:gd name="connsiteX2" fmla="*/ 864239 w 864238"/>
                <a:gd name="connsiteY2" fmla="*/ 863494 h 863494"/>
                <a:gd name="connsiteX3" fmla="*/ 0 w 864238"/>
                <a:gd name="connsiteY3" fmla="*/ 863494 h 863494"/>
              </a:gdLst>
              <a:ahLst/>
              <a:cxnLst>
                <a:cxn ang="0">
                  <a:pos x="connsiteX0" y="connsiteY0"/>
                </a:cxn>
                <a:cxn ang="0">
                  <a:pos x="connsiteX1" y="connsiteY1"/>
                </a:cxn>
                <a:cxn ang="0">
                  <a:pos x="connsiteX2" y="connsiteY2"/>
                </a:cxn>
                <a:cxn ang="0">
                  <a:pos x="connsiteX3" y="connsiteY3"/>
                </a:cxn>
              </a:cxnLst>
              <a:rect l="l" t="t" r="r" b="b"/>
              <a:pathLst>
                <a:path w="864238" h="863494">
                  <a:moveTo>
                    <a:pt x="0" y="0"/>
                  </a:moveTo>
                  <a:lnTo>
                    <a:pt x="864239" y="0"/>
                  </a:lnTo>
                  <a:lnTo>
                    <a:pt x="864239" y="863494"/>
                  </a:lnTo>
                  <a:lnTo>
                    <a:pt x="0" y="863494"/>
                  </a:lnTo>
                  <a:close/>
                </a:path>
              </a:pathLst>
            </a:custGeom>
            <a:solidFill>
              <a:srgbClr val="C4D600"/>
            </a:solidFill>
            <a:ln w="14807" cap="flat">
              <a:solidFill>
                <a:srgbClr val="FFFFFF"/>
              </a:solidFill>
              <a:prstDash val="solid"/>
              <a:round/>
            </a:ln>
          </p:spPr>
          <p:txBody>
            <a:bodyPr rtlCol="0" anchor="ctr"/>
            <a:lstStyle/>
            <a:p>
              <a:endParaRPr lang="en-GB" dirty="0"/>
            </a:p>
          </p:txBody>
        </p:sp>
        <p:sp>
          <p:nvSpPr>
            <p:cNvPr id="1116" name="Freeform 1780">
              <a:extLst>
                <a:ext uri="{FF2B5EF4-FFF2-40B4-BE49-F238E27FC236}">
                  <a16:creationId xmlns:a16="http://schemas.microsoft.com/office/drawing/2014/main" id="{7AD5D910-2CD8-0EB9-98A8-F74E3FEA4F2E}"/>
                </a:ext>
              </a:extLst>
            </p:cNvPr>
            <p:cNvSpPr/>
            <p:nvPr/>
          </p:nvSpPr>
          <p:spPr>
            <a:xfrm>
              <a:off x="5393117" y="3552405"/>
              <a:ext cx="864238" cy="863494"/>
            </a:xfrm>
            <a:custGeom>
              <a:avLst/>
              <a:gdLst>
                <a:gd name="connsiteX0" fmla="*/ 0 w 864238"/>
                <a:gd name="connsiteY0" fmla="*/ 0 h 863494"/>
                <a:gd name="connsiteX1" fmla="*/ 864239 w 864238"/>
                <a:gd name="connsiteY1" fmla="*/ 0 h 863494"/>
                <a:gd name="connsiteX2" fmla="*/ 864239 w 864238"/>
                <a:gd name="connsiteY2" fmla="*/ 863494 h 863494"/>
                <a:gd name="connsiteX3" fmla="*/ 0 w 864238"/>
                <a:gd name="connsiteY3" fmla="*/ 863494 h 863494"/>
              </a:gdLst>
              <a:ahLst/>
              <a:cxnLst>
                <a:cxn ang="0">
                  <a:pos x="connsiteX0" y="connsiteY0"/>
                </a:cxn>
                <a:cxn ang="0">
                  <a:pos x="connsiteX1" y="connsiteY1"/>
                </a:cxn>
                <a:cxn ang="0">
                  <a:pos x="connsiteX2" y="connsiteY2"/>
                </a:cxn>
                <a:cxn ang="0">
                  <a:pos x="connsiteX3" y="connsiteY3"/>
                </a:cxn>
              </a:cxnLst>
              <a:rect l="l" t="t" r="r" b="b"/>
              <a:pathLst>
                <a:path w="864238" h="863494">
                  <a:moveTo>
                    <a:pt x="0" y="0"/>
                  </a:moveTo>
                  <a:lnTo>
                    <a:pt x="864239" y="0"/>
                  </a:lnTo>
                  <a:lnTo>
                    <a:pt x="864239" y="863494"/>
                  </a:lnTo>
                  <a:lnTo>
                    <a:pt x="0" y="863494"/>
                  </a:lnTo>
                  <a:close/>
                </a:path>
              </a:pathLst>
            </a:custGeom>
            <a:solidFill>
              <a:srgbClr val="C4D600"/>
            </a:solidFill>
            <a:ln w="14807" cap="flat">
              <a:solidFill>
                <a:srgbClr val="FFFFFF"/>
              </a:solidFill>
              <a:prstDash val="solid"/>
              <a:round/>
            </a:ln>
          </p:spPr>
          <p:txBody>
            <a:bodyPr rtlCol="0" anchor="ctr"/>
            <a:lstStyle/>
            <a:p>
              <a:endParaRPr lang="en-GB" dirty="0"/>
            </a:p>
          </p:txBody>
        </p:sp>
        <p:sp>
          <p:nvSpPr>
            <p:cNvPr id="1117" name="Freeform 1781">
              <a:extLst>
                <a:ext uri="{FF2B5EF4-FFF2-40B4-BE49-F238E27FC236}">
                  <a16:creationId xmlns:a16="http://schemas.microsoft.com/office/drawing/2014/main" id="{3F59C87A-4360-7748-0371-C9A01DDBBB82}"/>
                </a:ext>
              </a:extLst>
            </p:cNvPr>
            <p:cNvSpPr/>
            <p:nvPr/>
          </p:nvSpPr>
          <p:spPr>
            <a:xfrm>
              <a:off x="4528879" y="4415900"/>
              <a:ext cx="864238" cy="863494"/>
            </a:xfrm>
            <a:custGeom>
              <a:avLst/>
              <a:gdLst>
                <a:gd name="connsiteX0" fmla="*/ 820952 w 864238"/>
                <a:gd name="connsiteY0" fmla="*/ 863494 h 863494"/>
                <a:gd name="connsiteX1" fmla="*/ 41794 w 864238"/>
                <a:gd name="connsiteY1" fmla="*/ 863494 h 863494"/>
                <a:gd name="connsiteX2" fmla="*/ 0 w 864238"/>
                <a:gd name="connsiteY2" fmla="*/ 821736 h 863494"/>
                <a:gd name="connsiteX3" fmla="*/ 0 w 864238"/>
                <a:gd name="connsiteY3" fmla="*/ 0 h 863494"/>
                <a:gd name="connsiteX4" fmla="*/ 864238 w 864238"/>
                <a:gd name="connsiteY4" fmla="*/ 0 h 863494"/>
                <a:gd name="connsiteX5" fmla="*/ 864238 w 864238"/>
                <a:gd name="connsiteY5" fmla="*/ 821736 h 863494"/>
                <a:gd name="connsiteX6" fmla="*/ 820952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20952" y="863494"/>
                  </a:moveTo>
                  <a:lnTo>
                    <a:pt x="41794" y="863494"/>
                  </a:lnTo>
                  <a:cubicBezTo>
                    <a:pt x="17911" y="863494"/>
                    <a:pt x="0" y="844107"/>
                    <a:pt x="0" y="821736"/>
                  </a:cubicBezTo>
                  <a:lnTo>
                    <a:pt x="0" y="0"/>
                  </a:lnTo>
                  <a:lnTo>
                    <a:pt x="864238" y="0"/>
                  </a:lnTo>
                  <a:lnTo>
                    <a:pt x="864238" y="821736"/>
                  </a:lnTo>
                  <a:cubicBezTo>
                    <a:pt x="864238" y="844107"/>
                    <a:pt x="844834" y="863494"/>
                    <a:pt x="820952" y="863494"/>
                  </a:cubicBezTo>
                  <a:close/>
                </a:path>
              </a:pathLst>
            </a:custGeom>
            <a:solidFill>
              <a:srgbClr val="C4D600"/>
            </a:solidFill>
            <a:ln w="14807" cap="flat">
              <a:solidFill>
                <a:srgbClr val="FFFFFF"/>
              </a:solidFill>
              <a:prstDash val="solid"/>
              <a:round/>
            </a:ln>
          </p:spPr>
          <p:txBody>
            <a:bodyPr rtlCol="0" anchor="ctr"/>
            <a:lstStyle/>
            <a:p>
              <a:endParaRPr lang="en-GB"/>
            </a:p>
          </p:txBody>
        </p:sp>
        <p:sp>
          <p:nvSpPr>
            <p:cNvPr id="1118" name="Freeform 1782">
              <a:extLst>
                <a:ext uri="{FF2B5EF4-FFF2-40B4-BE49-F238E27FC236}">
                  <a16:creationId xmlns:a16="http://schemas.microsoft.com/office/drawing/2014/main" id="{5879E2E8-9D82-7D39-357D-BFE26B752784}"/>
                </a:ext>
              </a:extLst>
            </p:cNvPr>
            <p:cNvSpPr/>
            <p:nvPr/>
          </p:nvSpPr>
          <p:spPr>
            <a:xfrm>
              <a:off x="5391624" y="4415900"/>
              <a:ext cx="864238" cy="863494"/>
            </a:xfrm>
            <a:custGeom>
              <a:avLst/>
              <a:gdLst>
                <a:gd name="connsiteX0" fmla="*/ 822445 w 864238"/>
                <a:gd name="connsiteY0" fmla="*/ 863494 h 863494"/>
                <a:gd name="connsiteX1" fmla="*/ 41794 w 864238"/>
                <a:gd name="connsiteY1" fmla="*/ 863494 h 863494"/>
                <a:gd name="connsiteX2" fmla="*/ 0 w 864238"/>
                <a:gd name="connsiteY2" fmla="*/ 821736 h 863494"/>
                <a:gd name="connsiteX3" fmla="*/ 0 w 864238"/>
                <a:gd name="connsiteY3" fmla="*/ 0 h 863494"/>
                <a:gd name="connsiteX4" fmla="*/ 864238 w 864238"/>
                <a:gd name="connsiteY4" fmla="*/ 0 h 863494"/>
                <a:gd name="connsiteX5" fmla="*/ 864238 w 864238"/>
                <a:gd name="connsiteY5" fmla="*/ 821736 h 863494"/>
                <a:gd name="connsiteX6" fmla="*/ 822445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22445" y="863494"/>
                  </a:moveTo>
                  <a:lnTo>
                    <a:pt x="41794" y="863494"/>
                  </a:lnTo>
                  <a:cubicBezTo>
                    <a:pt x="17912" y="863494"/>
                    <a:pt x="0" y="844107"/>
                    <a:pt x="0" y="821736"/>
                  </a:cubicBezTo>
                  <a:lnTo>
                    <a:pt x="0" y="0"/>
                  </a:lnTo>
                  <a:lnTo>
                    <a:pt x="864238" y="0"/>
                  </a:lnTo>
                  <a:lnTo>
                    <a:pt x="864238" y="821736"/>
                  </a:lnTo>
                  <a:cubicBezTo>
                    <a:pt x="864238" y="844107"/>
                    <a:pt x="846327" y="863494"/>
                    <a:pt x="822445" y="863494"/>
                  </a:cubicBezTo>
                  <a:close/>
                </a:path>
              </a:pathLst>
            </a:custGeom>
            <a:solidFill>
              <a:srgbClr val="C4D600"/>
            </a:solidFill>
            <a:ln w="14807" cap="flat">
              <a:solidFill>
                <a:srgbClr val="FFFFFF"/>
              </a:solidFill>
              <a:prstDash val="solid"/>
              <a:round/>
            </a:ln>
          </p:spPr>
          <p:txBody>
            <a:bodyPr rtlCol="0" anchor="ctr"/>
            <a:lstStyle/>
            <a:p>
              <a:endParaRPr lang="en-GB"/>
            </a:p>
          </p:txBody>
        </p:sp>
      </p:grpSp>
      <p:grpSp>
        <p:nvGrpSpPr>
          <p:cNvPr id="1119" name="Graphic 1771">
            <a:extLst>
              <a:ext uri="{FF2B5EF4-FFF2-40B4-BE49-F238E27FC236}">
                <a16:creationId xmlns:a16="http://schemas.microsoft.com/office/drawing/2014/main" id="{4BD680CD-55D0-5106-3603-C2D0C630C40D}"/>
              </a:ext>
            </a:extLst>
          </p:cNvPr>
          <p:cNvGrpSpPr/>
          <p:nvPr/>
        </p:nvGrpSpPr>
        <p:grpSpPr>
          <a:xfrm>
            <a:off x="6109434" y="3985629"/>
            <a:ext cx="1728477" cy="2590483"/>
            <a:chOff x="6270789" y="2688911"/>
            <a:chExt cx="1728477" cy="2590483"/>
          </a:xfrm>
          <a:solidFill>
            <a:srgbClr val="9DD4CF"/>
          </a:solidFill>
        </p:grpSpPr>
        <p:sp>
          <p:nvSpPr>
            <p:cNvPr id="1120" name="Freeform 1784">
              <a:extLst>
                <a:ext uri="{FF2B5EF4-FFF2-40B4-BE49-F238E27FC236}">
                  <a16:creationId xmlns:a16="http://schemas.microsoft.com/office/drawing/2014/main" id="{89AC034A-040B-078B-A2CD-56311D5F7D7D}"/>
                </a:ext>
              </a:extLst>
            </p:cNvPr>
            <p:cNvSpPr/>
            <p:nvPr/>
          </p:nvSpPr>
          <p:spPr>
            <a:xfrm>
              <a:off x="6272282" y="2688911"/>
              <a:ext cx="862745" cy="863494"/>
            </a:xfrm>
            <a:custGeom>
              <a:avLst/>
              <a:gdLst>
                <a:gd name="connsiteX0" fmla="*/ 862746 w 862745"/>
                <a:gd name="connsiteY0" fmla="*/ 863494 h 863494"/>
                <a:gd name="connsiteX1" fmla="*/ 0 w 862745"/>
                <a:gd name="connsiteY1" fmla="*/ 863494 h 863494"/>
                <a:gd name="connsiteX2" fmla="*/ 0 w 862745"/>
                <a:gd name="connsiteY2" fmla="*/ 41758 h 863494"/>
                <a:gd name="connsiteX3" fmla="*/ 41794 w 862745"/>
                <a:gd name="connsiteY3" fmla="*/ 0 h 863494"/>
                <a:gd name="connsiteX4" fmla="*/ 820952 w 862745"/>
                <a:gd name="connsiteY4" fmla="*/ 0 h 863494"/>
                <a:gd name="connsiteX5" fmla="*/ 862746 w 862745"/>
                <a:gd name="connsiteY5" fmla="*/ 41758 h 863494"/>
                <a:gd name="connsiteX6" fmla="*/ 862746 w 862745"/>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2745" h="863494">
                  <a:moveTo>
                    <a:pt x="862746" y="863494"/>
                  </a:moveTo>
                  <a:lnTo>
                    <a:pt x="0" y="863494"/>
                  </a:lnTo>
                  <a:lnTo>
                    <a:pt x="0" y="41758"/>
                  </a:lnTo>
                  <a:cubicBezTo>
                    <a:pt x="0" y="17896"/>
                    <a:pt x="19404" y="0"/>
                    <a:pt x="41794" y="0"/>
                  </a:cubicBezTo>
                  <a:lnTo>
                    <a:pt x="820952" y="0"/>
                  </a:lnTo>
                  <a:cubicBezTo>
                    <a:pt x="844834" y="0"/>
                    <a:pt x="862746" y="19388"/>
                    <a:pt x="862746" y="41758"/>
                  </a:cubicBezTo>
                  <a:lnTo>
                    <a:pt x="862746" y="863494"/>
                  </a:lnTo>
                  <a:close/>
                </a:path>
              </a:pathLst>
            </a:custGeom>
            <a:solidFill>
              <a:srgbClr val="9DD4CF"/>
            </a:solidFill>
            <a:ln w="14807" cap="flat">
              <a:solidFill>
                <a:srgbClr val="FFFFFF"/>
              </a:solidFill>
              <a:prstDash val="solid"/>
              <a:round/>
            </a:ln>
          </p:spPr>
          <p:txBody>
            <a:bodyPr rtlCol="0" anchor="ctr"/>
            <a:lstStyle/>
            <a:p>
              <a:endParaRPr lang="en-GB" dirty="0"/>
            </a:p>
          </p:txBody>
        </p:sp>
        <p:sp>
          <p:nvSpPr>
            <p:cNvPr id="1121" name="Freeform 1785">
              <a:extLst>
                <a:ext uri="{FF2B5EF4-FFF2-40B4-BE49-F238E27FC236}">
                  <a16:creationId xmlns:a16="http://schemas.microsoft.com/office/drawing/2014/main" id="{23380C60-8EF8-D26B-6998-52CD9A96E1A7}"/>
                </a:ext>
              </a:extLst>
            </p:cNvPr>
            <p:cNvSpPr/>
            <p:nvPr/>
          </p:nvSpPr>
          <p:spPr>
            <a:xfrm>
              <a:off x="7135027" y="2688911"/>
              <a:ext cx="864238" cy="863494"/>
            </a:xfrm>
            <a:custGeom>
              <a:avLst/>
              <a:gdLst>
                <a:gd name="connsiteX0" fmla="*/ 864239 w 864238"/>
                <a:gd name="connsiteY0" fmla="*/ 863494 h 863494"/>
                <a:gd name="connsiteX1" fmla="*/ 0 w 864238"/>
                <a:gd name="connsiteY1" fmla="*/ 863494 h 863494"/>
                <a:gd name="connsiteX2" fmla="*/ 0 w 864238"/>
                <a:gd name="connsiteY2" fmla="*/ 41758 h 863494"/>
                <a:gd name="connsiteX3" fmla="*/ 41794 w 864238"/>
                <a:gd name="connsiteY3" fmla="*/ 0 h 863494"/>
                <a:gd name="connsiteX4" fmla="*/ 822445 w 864238"/>
                <a:gd name="connsiteY4" fmla="*/ 0 h 863494"/>
                <a:gd name="connsiteX5" fmla="*/ 864239 w 864238"/>
                <a:gd name="connsiteY5" fmla="*/ 41758 h 863494"/>
                <a:gd name="connsiteX6" fmla="*/ 864239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64239" y="863494"/>
                  </a:moveTo>
                  <a:lnTo>
                    <a:pt x="0" y="863494"/>
                  </a:lnTo>
                  <a:lnTo>
                    <a:pt x="0" y="41758"/>
                  </a:lnTo>
                  <a:cubicBezTo>
                    <a:pt x="0" y="17896"/>
                    <a:pt x="19405" y="0"/>
                    <a:pt x="41794" y="0"/>
                  </a:cubicBezTo>
                  <a:lnTo>
                    <a:pt x="822445" y="0"/>
                  </a:lnTo>
                  <a:cubicBezTo>
                    <a:pt x="846327" y="0"/>
                    <a:pt x="864239" y="19388"/>
                    <a:pt x="864239" y="41758"/>
                  </a:cubicBezTo>
                  <a:lnTo>
                    <a:pt x="864239" y="863494"/>
                  </a:lnTo>
                  <a:close/>
                </a:path>
              </a:pathLst>
            </a:custGeom>
            <a:solidFill>
              <a:srgbClr val="9DD4CF"/>
            </a:solidFill>
            <a:ln w="14807" cap="flat">
              <a:solidFill>
                <a:srgbClr val="FFFFFF"/>
              </a:solidFill>
              <a:prstDash val="solid"/>
              <a:round/>
            </a:ln>
          </p:spPr>
          <p:txBody>
            <a:bodyPr rtlCol="0" anchor="ctr"/>
            <a:lstStyle/>
            <a:p>
              <a:endParaRPr lang="en-GB"/>
            </a:p>
          </p:txBody>
        </p:sp>
        <p:sp>
          <p:nvSpPr>
            <p:cNvPr id="1122" name="Freeform 1786">
              <a:extLst>
                <a:ext uri="{FF2B5EF4-FFF2-40B4-BE49-F238E27FC236}">
                  <a16:creationId xmlns:a16="http://schemas.microsoft.com/office/drawing/2014/main" id="{7C9C80B9-F347-ACC3-93AB-1FEFE66801F7}"/>
                </a:ext>
              </a:extLst>
            </p:cNvPr>
            <p:cNvSpPr/>
            <p:nvPr/>
          </p:nvSpPr>
          <p:spPr>
            <a:xfrm>
              <a:off x="6272282" y="3552405"/>
              <a:ext cx="864238" cy="863494"/>
            </a:xfrm>
            <a:custGeom>
              <a:avLst/>
              <a:gdLst>
                <a:gd name="connsiteX0" fmla="*/ 0 w 864238"/>
                <a:gd name="connsiteY0" fmla="*/ 0 h 863494"/>
                <a:gd name="connsiteX1" fmla="*/ 864238 w 864238"/>
                <a:gd name="connsiteY1" fmla="*/ 0 h 863494"/>
                <a:gd name="connsiteX2" fmla="*/ 864238 w 864238"/>
                <a:gd name="connsiteY2" fmla="*/ 863494 h 863494"/>
                <a:gd name="connsiteX3" fmla="*/ 0 w 864238"/>
                <a:gd name="connsiteY3" fmla="*/ 863494 h 863494"/>
              </a:gdLst>
              <a:ahLst/>
              <a:cxnLst>
                <a:cxn ang="0">
                  <a:pos x="connsiteX0" y="connsiteY0"/>
                </a:cxn>
                <a:cxn ang="0">
                  <a:pos x="connsiteX1" y="connsiteY1"/>
                </a:cxn>
                <a:cxn ang="0">
                  <a:pos x="connsiteX2" y="connsiteY2"/>
                </a:cxn>
                <a:cxn ang="0">
                  <a:pos x="connsiteX3" y="connsiteY3"/>
                </a:cxn>
              </a:cxnLst>
              <a:rect l="l" t="t" r="r" b="b"/>
              <a:pathLst>
                <a:path w="864238" h="863494">
                  <a:moveTo>
                    <a:pt x="0" y="0"/>
                  </a:moveTo>
                  <a:lnTo>
                    <a:pt x="864238" y="0"/>
                  </a:lnTo>
                  <a:lnTo>
                    <a:pt x="864238" y="863494"/>
                  </a:lnTo>
                  <a:lnTo>
                    <a:pt x="0" y="863494"/>
                  </a:lnTo>
                  <a:close/>
                </a:path>
              </a:pathLst>
            </a:custGeom>
            <a:solidFill>
              <a:srgbClr val="9DD4CF"/>
            </a:solidFill>
            <a:ln w="14807" cap="flat">
              <a:solidFill>
                <a:srgbClr val="FFFFFF"/>
              </a:solidFill>
              <a:prstDash val="solid"/>
              <a:round/>
            </a:ln>
          </p:spPr>
          <p:txBody>
            <a:bodyPr rtlCol="0" anchor="ctr"/>
            <a:lstStyle/>
            <a:p>
              <a:endParaRPr lang="en-GB"/>
            </a:p>
          </p:txBody>
        </p:sp>
        <p:sp>
          <p:nvSpPr>
            <p:cNvPr id="1123" name="Freeform 1787">
              <a:extLst>
                <a:ext uri="{FF2B5EF4-FFF2-40B4-BE49-F238E27FC236}">
                  <a16:creationId xmlns:a16="http://schemas.microsoft.com/office/drawing/2014/main" id="{06700612-7EB6-C451-C15A-BA97DD4CB24A}"/>
                </a:ext>
              </a:extLst>
            </p:cNvPr>
            <p:cNvSpPr/>
            <p:nvPr/>
          </p:nvSpPr>
          <p:spPr>
            <a:xfrm>
              <a:off x="7135028" y="3552405"/>
              <a:ext cx="864238" cy="863494"/>
            </a:xfrm>
            <a:custGeom>
              <a:avLst/>
              <a:gdLst>
                <a:gd name="connsiteX0" fmla="*/ 0 w 864238"/>
                <a:gd name="connsiteY0" fmla="*/ 0 h 863494"/>
                <a:gd name="connsiteX1" fmla="*/ 864238 w 864238"/>
                <a:gd name="connsiteY1" fmla="*/ 0 h 863494"/>
                <a:gd name="connsiteX2" fmla="*/ 864238 w 864238"/>
                <a:gd name="connsiteY2" fmla="*/ 863494 h 863494"/>
                <a:gd name="connsiteX3" fmla="*/ 0 w 864238"/>
                <a:gd name="connsiteY3" fmla="*/ 863494 h 863494"/>
              </a:gdLst>
              <a:ahLst/>
              <a:cxnLst>
                <a:cxn ang="0">
                  <a:pos x="connsiteX0" y="connsiteY0"/>
                </a:cxn>
                <a:cxn ang="0">
                  <a:pos x="connsiteX1" y="connsiteY1"/>
                </a:cxn>
                <a:cxn ang="0">
                  <a:pos x="connsiteX2" y="connsiteY2"/>
                </a:cxn>
                <a:cxn ang="0">
                  <a:pos x="connsiteX3" y="connsiteY3"/>
                </a:cxn>
              </a:cxnLst>
              <a:rect l="l" t="t" r="r" b="b"/>
              <a:pathLst>
                <a:path w="864238" h="863494">
                  <a:moveTo>
                    <a:pt x="0" y="0"/>
                  </a:moveTo>
                  <a:lnTo>
                    <a:pt x="864238" y="0"/>
                  </a:lnTo>
                  <a:lnTo>
                    <a:pt x="864238" y="863494"/>
                  </a:lnTo>
                  <a:lnTo>
                    <a:pt x="0" y="863494"/>
                  </a:lnTo>
                  <a:close/>
                </a:path>
              </a:pathLst>
            </a:custGeom>
            <a:solidFill>
              <a:srgbClr val="9DD4CF"/>
            </a:solidFill>
            <a:ln w="14807" cap="flat">
              <a:solidFill>
                <a:srgbClr val="FFFFFF"/>
              </a:solidFill>
              <a:prstDash val="solid"/>
              <a:round/>
            </a:ln>
          </p:spPr>
          <p:txBody>
            <a:bodyPr rtlCol="0" anchor="ctr"/>
            <a:lstStyle/>
            <a:p>
              <a:endParaRPr lang="en-GB"/>
            </a:p>
          </p:txBody>
        </p:sp>
        <p:sp>
          <p:nvSpPr>
            <p:cNvPr id="1124" name="Freeform 1788">
              <a:extLst>
                <a:ext uri="{FF2B5EF4-FFF2-40B4-BE49-F238E27FC236}">
                  <a16:creationId xmlns:a16="http://schemas.microsoft.com/office/drawing/2014/main" id="{40FEF6CD-C698-CE06-5A97-F7B0E31D01EE}"/>
                </a:ext>
              </a:extLst>
            </p:cNvPr>
            <p:cNvSpPr/>
            <p:nvPr/>
          </p:nvSpPr>
          <p:spPr>
            <a:xfrm>
              <a:off x="6270789" y="4415900"/>
              <a:ext cx="864238" cy="863494"/>
            </a:xfrm>
            <a:custGeom>
              <a:avLst/>
              <a:gdLst>
                <a:gd name="connsiteX0" fmla="*/ 822445 w 864238"/>
                <a:gd name="connsiteY0" fmla="*/ 863494 h 863494"/>
                <a:gd name="connsiteX1" fmla="*/ 41794 w 864238"/>
                <a:gd name="connsiteY1" fmla="*/ 863494 h 863494"/>
                <a:gd name="connsiteX2" fmla="*/ 0 w 864238"/>
                <a:gd name="connsiteY2" fmla="*/ 821736 h 863494"/>
                <a:gd name="connsiteX3" fmla="*/ 0 w 864238"/>
                <a:gd name="connsiteY3" fmla="*/ 0 h 863494"/>
                <a:gd name="connsiteX4" fmla="*/ 864238 w 864238"/>
                <a:gd name="connsiteY4" fmla="*/ 0 h 863494"/>
                <a:gd name="connsiteX5" fmla="*/ 864238 w 864238"/>
                <a:gd name="connsiteY5" fmla="*/ 821736 h 863494"/>
                <a:gd name="connsiteX6" fmla="*/ 822445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22445" y="863494"/>
                  </a:moveTo>
                  <a:lnTo>
                    <a:pt x="41794" y="863494"/>
                  </a:lnTo>
                  <a:cubicBezTo>
                    <a:pt x="17912" y="863494"/>
                    <a:pt x="0" y="844107"/>
                    <a:pt x="0" y="821736"/>
                  </a:cubicBezTo>
                  <a:lnTo>
                    <a:pt x="0" y="0"/>
                  </a:lnTo>
                  <a:lnTo>
                    <a:pt x="864238" y="0"/>
                  </a:lnTo>
                  <a:lnTo>
                    <a:pt x="864238" y="821736"/>
                  </a:lnTo>
                  <a:cubicBezTo>
                    <a:pt x="864238" y="844107"/>
                    <a:pt x="846327" y="863494"/>
                    <a:pt x="822445" y="863494"/>
                  </a:cubicBezTo>
                  <a:close/>
                </a:path>
              </a:pathLst>
            </a:custGeom>
            <a:solidFill>
              <a:srgbClr val="9DD4CF"/>
            </a:solidFill>
            <a:ln w="14807" cap="flat">
              <a:solidFill>
                <a:srgbClr val="FFFFFF"/>
              </a:solidFill>
              <a:prstDash val="solid"/>
              <a:round/>
            </a:ln>
          </p:spPr>
          <p:txBody>
            <a:bodyPr rtlCol="0" anchor="ctr"/>
            <a:lstStyle/>
            <a:p>
              <a:endParaRPr lang="en-GB"/>
            </a:p>
          </p:txBody>
        </p:sp>
        <p:sp>
          <p:nvSpPr>
            <p:cNvPr id="1125" name="Freeform 1789">
              <a:extLst>
                <a:ext uri="{FF2B5EF4-FFF2-40B4-BE49-F238E27FC236}">
                  <a16:creationId xmlns:a16="http://schemas.microsoft.com/office/drawing/2014/main" id="{F9DB75C3-B695-69E7-3972-49E14050C17F}"/>
                </a:ext>
              </a:extLst>
            </p:cNvPr>
            <p:cNvSpPr/>
            <p:nvPr/>
          </p:nvSpPr>
          <p:spPr>
            <a:xfrm>
              <a:off x="7135027" y="4415900"/>
              <a:ext cx="864238" cy="863494"/>
            </a:xfrm>
            <a:custGeom>
              <a:avLst/>
              <a:gdLst>
                <a:gd name="connsiteX0" fmla="*/ 822445 w 864238"/>
                <a:gd name="connsiteY0" fmla="*/ 863494 h 863494"/>
                <a:gd name="connsiteX1" fmla="*/ 41794 w 864238"/>
                <a:gd name="connsiteY1" fmla="*/ 863494 h 863494"/>
                <a:gd name="connsiteX2" fmla="*/ 0 w 864238"/>
                <a:gd name="connsiteY2" fmla="*/ 821736 h 863494"/>
                <a:gd name="connsiteX3" fmla="*/ 0 w 864238"/>
                <a:gd name="connsiteY3" fmla="*/ 0 h 863494"/>
                <a:gd name="connsiteX4" fmla="*/ 864239 w 864238"/>
                <a:gd name="connsiteY4" fmla="*/ 0 h 863494"/>
                <a:gd name="connsiteX5" fmla="*/ 864239 w 864238"/>
                <a:gd name="connsiteY5" fmla="*/ 821736 h 863494"/>
                <a:gd name="connsiteX6" fmla="*/ 822445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22445" y="863494"/>
                  </a:moveTo>
                  <a:lnTo>
                    <a:pt x="41794" y="863494"/>
                  </a:lnTo>
                  <a:cubicBezTo>
                    <a:pt x="17912" y="863494"/>
                    <a:pt x="0" y="844107"/>
                    <a:pt x="0" y="821736"/>
                  </a:cubicBezTo>
                  <a:lnTo>
                    <a:pt x="0" y="0"/>
                  </a:lnTo>
                  <a:lnTo>
                    <a:pt x="864239" y="0"/>
                  </a:lnTo>
                  <a:lnTo>
                    <a:pt x="864239" y="821736"/>
                  </a:lnTo>
                  <a:cubicBezTo>
                    <a:pt x="864239" y="844107"/>
                    <a:pt x="846327" y="863494"/>
                    <a:pt x="822445" y="863494"/>
                  </a:cubicBezTo>
                  <a:close/>
                </a:path>
              </a:pathLst>
            </a:custGeom>
            <a:solidFill>
              <a:srgbClr val="9DD4CF"/>
            </a:solidFill>
            <a:ln w="14807" cap="flat">
              <a:solidFill>
                <a:srgbClr val="FFFFFF"/>
              </a:solidFill>
              <a:prstDash val="solid"/>
              <a:round/>
            </a:ln>
          </p:spPr>
          <p:txBody>
            <a:bodyPr rtlCol="0" anchor="ctr"/>
            <a:lstStyle/>
            <a:p>
              <a:endParaRPr lang="en-GB"/>
            </a:p>
          </p:txBody>
        </p:sp>
      </p:grpSp>
      <p:grpSp>
        <p:nvGrpSpPr>
          <p:cNvPr id="1126" name="Graphic 1771">
            <a:extLst>
              <a:ext uri="{FF2B5EF4-FFF2-40B4-BE49-F238E27FC236}">
                <a16:creationId xmlns:a16="http://schemas.microsoft.com/office/drawing/2014/main" id="{DA81664D-5F07-7D1F-D217-8E226C107223}"/>
              </a:ext>
            </a:extLst>
          </p:cNvPr>
          <p:cNvGrpSpPr/>
          <p:nvPr/>
        </p:nvGrpSpPr>
        <p:grpSpPr>
          <a:xfrm>
            <a:off x="7852838" y="3985629"/>
            <a:ext cx="1728477" cy="2590482"/>
            <a:chOff x="8014193" y="2688911"/>
            <a:chExt cx="1728477" cy="2590482"/>
          </a:xfrm>
          <a:solidFill>
            <a:srgbClr val="86BC25"/>
          </a:solidFill>
        </p:grpSpPr>
        <p:sp>
          <p:nvSpPr>
            <p:cNvPr id="1127" name="Freeform 1791">
              <a:extLst>
                <a:ext uri="{FF2B5EF4-FFF2-40B4-BE49-F238E27FC236}">
                  <a16:creationId xmlns:a16="http://schemas.microsoft.com/office/drawing/2014/main" id="{72A73A32-3A50-5B52-C051-BC16160BFD17}"/>
                </a:ext>
              </a:extLst>
            </p:cNvPr>
            <p:cNvSpPr/>
            <p:nvPr/>
          </p:nvSpPr>
          <p:spPr>
            <a:xfrm>
              <a:off x="8014193" y="2688911"/>
              <a:ext cx="864237" cy="863494"/>
            </a:xfrm>
            <a:custGeom>
              <a:avLst/>
              <a:gdLst>
                <a:gd name="connsiteX0" fmla="*/ 864238 w 864237"/>
                <a:gd name="connsiteY0" fmla="*/ 863494 h 863494"/>
                <a:gd name="connsiteX1" fmla="*/ 0 w 864237"/>
                <a:gd name="connsiteY1" fmla="*/ 863494 h 863494"/>
                <a:gd name="connsiteX2" fmla="*/ 0 w 864237"/>
                <a:gd name="connsiteY2" fmla="*/ 41758 h 863494"/>
                <a:gd name="connsiteX3" fmla="*/ 41794 w 864237"/>
                <a:gd name="connsiteY3" fmla="*/ 0 h 863494"/>
                <a:gd name="connsiteX4" fmla="*/ 822444 w 864237"/>
                <a:gd name="connsiteY4" fmla="*/ 0 h 863494"/>
                <a:gd name="connsiteX5" fmla="*/ 864238 w 864237"/>
                <a:gd name="connsiteY5" fmla="*/ 41758 h 863494"/>
                <a:gd name="connsiteX6" fmla="*/ 864238 w 864237"/>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7" h="863494">
                  <a:moveTo>
                    <a:pt x="864238" y="863494"/>
                  </a:moveTo>
                  <a:lnTo>
                    <a:pt x="0" y="863494"/>
                  </a:lnTo>
                  <a:lnTo>
                    <a:pt x="0" y="41758"/>
                  </a:lnTo>
                  <a:cubicBezTo>
                    <a:pt x="0" y="17896"/>
                    <a:pt x="19404" y="0"/>
                    <a:pt x="41794" y="0"/>
                  </a:cubicBezTo>
                  <a:lnTo>
                    <a:pt x="822444" y="0"/>
                  </a:lnTo>
                  <a:cubicBezTo>
                    <a:pt x="846327" y="0"/>
                    <a:pt x="864238" y="19388"/>
                    <a:pt x="864238" y="41758"/>
                  </a:cubicBezTo>
                  <a:lnTo>
                    <a:pt x="864238" y="863494"/>
                  </a:lnTo>
                  <a:close/>
                </a:path>
              </a:pathLst>
            </a:custGeom>
            <a:solidFill>
              <a:srgbClr val="86BC25"/>
            </a:solidFill>
            <a:ln w="14807" cap="flat">
              <a:solidFill>
                <a:srgbClr val="FFFFFF"/>
              </a:solidFill>
              <a:prstDash val="solid"/>
              <a:round/>
            </a:ln>
          </p:spPr>
          <p:txBody>
            <a:bodyPr rtlCol="0" anchor="ctr"/>
            <a:lstStyle/>
            <a:p>
              <a:endParaRPr lang="en-GB"/>
            </a:p>
          </p:txBody>
        </p:sp>
        <p:sp>
          <p:nvSpPr>
            <p:cNvPr id="1128" name="Freeform 1792">
              <a:extLst>
                <a:ext uri="{FF2B5EF4-FFF2-40B4-BE49-F238E27FC236}">
                  <a16:creationId xmlns:a16="http://schemas.microsoft.com/office/drawing/2014/main" id="{9A860530-123F-409B-38B6-391EC645A24A}"/>
                </a:ext>
              </a:extLst>
            </p:cNvPr>
            <p:cNvSpPr/>
            <p:nvPr/>
          </p:nvSpPr>
          <p:spPr>
            <a:xfrm>
              <a:off x="8878431" y="2688911"/>
              <a:ext cx="864238" cy="863494"/>
            </a:xfrm>
            <a:custGeom>
              <a:avLst/>
              <a:gdLst>
                <a:gd name="connsiteX0" fmla="*/ 864239 w 864238"/>
                <a:gd name="connsiteY0" fmla="*/ 863494 h 863494"/>
                <a:gd name="connsiteX1" fmla="*/ 0 w 864238"/>
                <a:gd name="connsiteY1" fmla="*/ 863494 h 863494"/>
                <a:gd name="connsiteX2" fmla="*/ 0 w 864238"/>
                <a:gd name="connsiteY2" fmla="*/ 41758 h 863494"/>
                <a:gd name="connsiteX3" fmla="*/ 41795 w 864238"/>
                <a:gd name="connsiteY3" fmla="*/ 0 h 863494"/>
                <a:gd name="connsiteX4" fmla="*/ 822445 w 864238"/>
                <a:gd name="connsiteY4" fmla="*/ 0 h 863494"/>
                <a:gd name="connsiteX5" fmla="*/ 864239 w 864238"/>
                <a:gd name="connsiteY5" fmla="*/ 41758 h 863494"/>
                <a:gd name="connsiteX6" fmla="*/ 864239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64239" y="863494"/>
                  </a:moveTo>
                  <a:lnTo>
                    <a:pt x="0" y="863494"/>
                  </a:lnTo>
                  <a:lnTo>
                    <a:pt x="0" y="41758"/>
                  </a:lnTo>
                  <a:cubicBezTo>
                    <a:pt x="0" y="17896"/>
                    <a:pt x="19405" y="0"/>
                    <a:pt x="41795" y="0"/>
                  </a:cubicBezTo>
                  <a:lnTo>
                    <a:pt x="822445" y="0"/>
                  </a:lnTo>
                  <a:cubicBezTo>
                    <a:pt x="846327" y="0"/>
                    <a:pt x="864239" y="19388"/>
                    <a:pt x="864239" y="41758"/>
                  </a:cubicBezTo>
                  <a:lnTo>
                    <a:pt x="864239" y="863494"/>
                  </a:lnTo>
                  <a:close/>
                </a:path>
              </a:pathLst>
            </a:custGeom>
            <a:solidFill>
              <a:srgbClr val="86BC25"/>
            </a:solidFill>
            <a:ln w="14807" cap="flat">
              <a:solidFill>
                <a:srgbClr val="FFFFFF"/>
              </a:solidFill>
              <a:prstDash val="solid"/>
              <a:round/>
            </a:ln>
          </p:spPr>
          <p:txBody>
            <a:bodyPr rtlCol="0" anchor="ctr"/>
            <a:lstStyle/>
            <a:p>
              <a:endParaRPr lang="en-GB"/>
            </a:p>
          </p:txBody>
        </p:sp>
        <p:sp>
          <p:nvSpPr>
            <p:cNvPr id="1129" name="Freeform 1793">
              <a:extLst>
                <a:ext uri="{FF2B5EF4-FFF2-40B4-BE49-F238E27FC236}">
                  <a16:creationId xmlns:a16="http://schemas.microsoft.com/office/drawing/2014/main" id="{17DF01C9-1051-BC67-9AD7-DD7268EBA426}"/>
                </a:ext>
              </a:extLst>
            </p:cNvPr>
            <p:cNvSpPr/>
            <p:nvPr/>
          </p:nvSpPr>
          <p:spPr>
            <a:xfrm>
              <a:off x="8014193" y="3552405"/>
              <a:ext cx="864238" cy="863494"/>
            </a:xfrm>
            <a:custGeom>
              <a:avLst/>
              <a:gdLst>
                <a:gd name="connsiteX0" fmla="*/ 0 w 864238"/>
                <a:gd name="connsiteY0" fmla="*/ 0 h 863494"/>
                <a:gd name="connsiteX1" fmla="*/ 864239 w 864238"/>
                <a:gd name="connsiteY1" fmla="*/ 0 h 863494"/>
                <a:gd name="connsiteX2" fmla="*/ 864239 w 864238"/>
                <a:gd name="connsiteY2" fmla="*/ 863494 h 863494"/>
                <a:gd name="connsiteX3" fmla="*/ 1 w 864238"/>
                <a:gd name="connsiteY3" fmla="*/ 863494 h 863494"/>
              </a:gdLst>
              <a:ahLst/>
              <a:cxnLst>
                <a:cxn ang="0">
                  <a:pos x="connsiteX0" y="connsiteY0"/>
                </a:cxn>
                <a:cxn ang="0">
                  <a:pos x="connsiteX1" y="connsiteY1"/>
                </a:cxn>
                <a:cxn ang="0">
                  <a:pos x="connsiteX2" y="connsiteY2"/>
                </a:cxn>
                <a:cxn ang="0">
                  <a:pos x="connsiteX3" y="connsiteY3"/>
                </a:cxn>
              </a:cxnLst>
              <a:rect l="l" t="t" r="r" b="b"/>
              <a:pathLst>
                <a:path w="864238" h="863494">
                  <a:moveTo>
                    <a:pt x="0" y="0"/>
                  </a:moveTo>
                  <a:lnTo>
                    <a:pt x="864239" y="0"/>
                  </a:lnTo>
                  <a:lnTo>
                    <a:pt x="864239" y="863494"/>
                  </a:lnTo>
                  <a:lnTo>
                    <a:pt x="1" y="863494"/>
                  </a:lnTo>
                  <a:close/>
                </a:path>
              </a:pathLst>
            </a:custGeom>
            <a:solidFill>
              <a:srgbClr val="86BC25"/>
            </a:solidFill>
            <a:ln w="14807" cap="flat">
              <a:solidFill>
                <a:srgbClr val="FFFFFF"/>
              </a:solidFill>
              <a:prstDash val="solid"/>
              <a:round/>
            </a:ln>
          </p:spPr>
          <p:txBody>
            <a:bodyPr rtlCol="0" anchor="ctr"/>
            <a:lstStyle/>
            <a:p>
              <a:endParaRPr lang="en-GB"/>
            </a:p>
          </p:txBody>
        </p:sp>
        <p:sp>
          <p:nvSpPr>
            <p:cNvPr id="1130" name="Freeform 1794">
              <a:extLst>
                <a:ext uri="{FF2B5EF4-FFF2-40B4-BE49-F238E27FC236}">
                  <a16:creationId xmlns:a16="http://schemas.microsoft.com/office/drawing/2014/main" id="{C5B6E198-EB2E-00F8-F6DC-B0DECE22BFC7}"/>
                </a:ext>
              </a:extLst>
            </p:cNvPr>
            <p:cNvSpPr/>
            <p:nvPr/>
          </p:nvSpPr>
          <p:spPr>
            <a:xfrm>
              <a:off x="8878431" y="3552405"/>
              <a:ext cx="864238" cy="863494"/>
            </a:xfrm>
            <a:custGeom>
              <a:avLst/>
              <a:gdLst>
                <a:gd name="connsiteX0" fmla="*/ 822445 w 864238"/>
                <a:gd name="connsiteY0" fmla="*/ 863494 h 863494"/>
                <a:gd name="connsiteX1" fmla="*/ 0 w 864238"/>
                <a:gd name="connsiteY1" fmla="*/ 863494 h 863494"/>
                <a:gd name="connsiteX2" fmla="*/ 0 w 864238"/>
                <a:gd name="connsiteY2" fmla="*/ 0 h 863494"/>
                <a:gd name="connsiteX3" fmla="*/ 864239 w 864238"/>
                <a:gd name="connsiteY3" fmla="*/ 0 h 863494"/>
                <a:gd name="connsiteX4" fmla="*/ 864239 w 864238"/>
                <a:gd name="connsiteY4" fmla="*/ 821736 h 863494"/>
                <a:gd name="connsiteX5" fmla="*/ 822445 w 864238"/>
                <a:gd name="connsiteY5"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238" h="863494">
                  <a:moveTo>
                    <a:pt x="822445" y="863494"/>
                  </a:moveTo>
                  <a:lnTo>
                    <a:pt x="0" y="863494"/>
                  </a:lnTo>
                  <a:lnTo>
                    <a:pt x="0" y="0"/>
                  </a:lnTo>
                  <a:lnTo>
                    <a:pt x="864239" y="0"/>
                  </a:lnTo>
                  <a:lnTo>
                    <a:pt x="864239" y="821736"/>
                  </a:lnTo>
                  <a:cubicBezTo>
                    <a:pt x="864239" y="844106"/>
                    <a:pt x="844835" y="863494"/>
                    <a:pt x="822445" y="863494"/>
                  </a:cubicBezTo>
                  <a:close/>
                </a:path>
              </a:pathLst>
            </a:custGeom>
            <a:solidFill>
              <a:srgbClr val="86BC25"/>
            </a:solidFill>
            <a:ln w="14807" cap="flat">
              <a:solidFill>
                <a:srgbClr val="FFFFFF"/>
              </a:solidFill>
              <a:prstDash val="solid"/>
              <a:round/>
            </a:ln>
          </p:spPr>
          <p:txBody>
            <a:bodyPr rtlCol="0" anchor="ctr"/>
            <a:lstStyle/>
            <a:p>
              <a:endParaRPr lang="en-GB"/>
            </a:p>
          </p:txBody>
        </p:sp>
        <p:sp>
          <p:nvSpPr>
            <p:cNvPr id="1131" name="Freeform 1795">
              <a:extLst>
                <a:ext uri="{FF2B5EF4-FFF2-40B4-BE49-F238E27FC236}">
                  <a16:creationId xmlns:a16="http://schemas.microsoft.com/office/drawing/2014/main" id="{3E6E5735-8353-D76E-2D09-A5605F3360A4}"/>
                </a:ext>
              </a:extLst>
            </p:cNvPr>
            <p:cNvSpPr/>
            <p:nvPr/>
          </p:nvSpPr>
          <p:spPr>
            <a:xfrm>
              <a:off x="8014193" y="4415900"/>
              <a:ext cx="864237" cy="863494"/>
            </a:xfrm>
            <a:custGeom>
              <a:avLst/>
              <a:gdLst>
                <a:gd name="connsiteX0" fmla="*/ 822444 w 864237"/>
                <a:gd name="connsiteY0" fmla="*/ 863494 h 863494"/>
                <a:gd name="connsiteX1" fmla="*/ 41794 w 864237"/>
                <a:gd name="connsiteY1" fmla="*/ 863494 h 863494"/>
                <a:gd name="connsiteX2" fmla="*/ 0 w 864237"/>
                <a:gd name="connsiteY2" fmla="*/ 821736 h 863494"/>
                <a:gd name="connsiteX3" fmla="*/ 0 w 864237"/>
                <a:gd name="connsiteY3" fmla="*/ 0 h 863494"/>
                <a:gd name="connsiteX4" fmla="*/ 864238 w 864237"/>
                <a:gd name="connsiteY4" fmla="*/ 0 h 863494"/>
                <a:gd name="connsiteX5" fmla="*/ 864238 w 864237"/>
                <a:gd name="connsiteY5" fmla="*/ 821736 h 863494"/>
                <a:gd name="connsiteX6" fmla="*/ 822444 w 864237"/>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7" h="863494">
                  <a:moveTo>
                    <a:pt x="822444" y="863494"/>
                  </a:moveTo>
                  <a:lnTo>
                    <a:pt x="41794" y="863494"/>
                  </a:lnTo>
                  <a:cubicBezTo>
                    <a:pt x="17911" y="863494"/>
                    <a:pt x="0" y="844107"/>
                    <a:pt x="0" y="821736"/>
                  </a:cubicBezTo>
                  <a:lnTo>
                    <a:pt x="0" y="0"/>
                  </a:lnTo>
                  <a:lnTo>
                    <a:pt x="864238" y="0"/>
                  </a:lnTo>
                  <a:lnTo>
                    <a:pt x="864238" y="821736"/>
                  </a:lnTo>
                  <a:cubicBezTo>
                    <a:pt x="864238" y="844107"/>
                    <a:pt x="846327" y="863494"/>
                    <a:pt x="822444" y="863494"/>
                  </a:cubicBezTo>
                  <a:close/>
                </a:path>
              </a:pathLst>
            </a:custGeom>
            <a:solidFill>
              <a:srgbClr val="86BC25"/>
            </a:solidFill>
            <a:ln w="14807" cap="flat">
              <a:solidFill>
                <a:srgbClr val="FFFFFF"/>
              </a:solidFill>
              <a:prstDash val="solid"/>
              <a:round/>
            </a:ln>
          </p:spPr>
          <p:txBody>
            <a:bodyPr rtlCol="0" anchor="ctr"/>
            <a:lstStyle/>
            <a:p>
              <a:endParaRPr lang="en-GB"/>
            </a:p>
          </p:txBody>
        </p:sp>
        <p:sp>
          <p:nvSpPr>
            <p:cNvPr id="1132" name="Freeform 1796">
              <a:extLst>
                <a:ext uri="{FF2B5EF4-FFF2-40B4-BE49-F238E27FC236}">
                  <a16:creationId xmlns:a16="http://schemas.microsoft.com/office/drawing/2014/main" id="{86430832-102A-8269-2158-973BCFB11494}"/>
                </a:ext>
              </a:extLst>
            </p:cNvPr>
            <p:cNvSpPr/>
            <p:nvPr/>
          </p:nvSpPr>
          <p:spPr>
            <a:xfrm>
              <a:off x="8878431" y="4415900"/>
              <a:ext cx="864238" cy="863494"/>
            </a:xfrm>
            <a:custGeom>
              <a:avLst/>
              <a:gdLst>
                <a:gd name="connsiteX0" fmla="*/ 822445 w 864238"/>
                <a:gd name="connsiteY0" fmla="*/ 863494 h 863494"/>
                <a:gd name="connsiteX1" fmla="*/ 41795 w 864238"/>
                <a:gd name="connsiteY1" fmla="*/ 863494 h 863494"/>
                <a:gd name="connsiteX2" fmla="*/ 0 w 864238"/>
                <a:gd name="connsiteY2" fmla="*/ 821736 h 863494"/>
                <a:gd name="connsiteX3" fmla="*/ 0 w 864238"/>
                <a:gd name="connsiteY3" fmla="*/ 0 h 863494"/>
                <a:gd name="connsiteX4" fmla="*/ 822445 w 864238"/>
                <a:gd name="connsiteY4" fmla="*/ 0 h 863494"/>
                <a:gd name="connsiteX5" fmla="*/ 864239 w 864238"/>
                <a:gd name="connsiteY5" fmla="*/ 41758 h 863494"/>
                <a:gd name="connsiteX6" fmla="*/ 864239 w 864238"/>
                <a:gd name="connsiteY6" fmla="*/ 821736 h 863494"/>
                <a:gd name="connsiteX7" fmla="*/ 822445 w 864238"/>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8" h="863494">
                  <a:moveTo>
                    <a:pt x="822445" y="863494"/>
                  </a:moveTo>
                  <a:lnTo>
                    <a:pt x="41795" y="863494"/>
                  </a:lnTo>
                  <a:cubicBezTo>
                    <a:pt x="17912" y="863494"/>
                    <a:pt x="0" y="844107"/>
                    <a:pt x="0" y="821736"/>
                  </a:cubicBezTo>
                  <a:lnTo>
                    <a:pt x="0" y="0"/>
                  </a:lnTo>
                  <a:lnTo>
                    <a:pt x="822445" y="0"/>
                  </a:lnTo>
                  <a:cubicBezTo>
                    <a:pt x="846327" y="0"/>
                    <a:pt x="864239" y="19387"/>
                    <a:pt x="864239" y="41758"/>
                  </a:cubicBezTo>
                  <a:lnTo>
                    <a:pt x="864239" y="821736"/>
                  </a:lnTo>
                  <a:cubicBezTo>
                    <a:pt x="864239" y="844107"/>
                    <a:pt x="844835" y="863494"/>
                    <a:pt x="822445" y="863494"/>
                  </a:cubicBezTo>
                  <a:close/>
                </a:path>
              </a:pathLst>
            </a:custGeom>
            <a:solidFill>
              <a:srgbClr val="86BC25"/>
            </a:solidFill>
            <a:ln w="14807" cap="flat">
              <a:solidFill>
                <a:srgbClr val="FFFFFF"/>
              </a:solidFill>
              <a:prstDash val="solid"/>
              <a:round/>
            </a:ln>
          </p:spPr>
          <p:txBody>
            <a:bodyPr rtlCol="0" anchor="ctr"/>
            <a:lstStyle/>
            <a:p>
              <a:endParaRPr lang="en-GB"/>
            </a:p>
          </p:txBody>
        </p:sp>
      </p:grpSp>
      <p:sp>
        <p:nvSpPr>
          <p:cNvPr id="1133" name="Freeform 1797">
            <a:extLst>
              <a:ext uri="{FF2B5EF4-FFF2-40B4-BE49-F238E27FC236}">
                <a16:creationId xmlns:a16="http://schemas.microsoft.com/office/drawing/2014/main" id="{F19C0F98-75EE-9DA7-D9AF-367553CBF0EC}"/>
              </a:ext>
            </a:extLst>
          </p:cNvPr>
          <p:cNvSpPr/>
          <p:nvPr/>
        </p:nvSpPr>
        <p:spPr>
          <a:xfrm>
            <a:off x="9596241" y="3122135"/>
            <a:ext cx="864238" cy="863494"/>
          </a:xfrm>
          <a:custGeom>
            <a:avLst/>
            <a:gdLst>
              <a:gd name="connsiteX0" fmla="*/ 864239 w 864238"/>
              <a:gd name="connsiteY0" fmla="*/ 863494 h 863494"/>
              <a:gd name="connsiteX1" fmla="*/ 41794 w 864238"/>
              <a:gd name="connsiteY1" fmla="*/ 863494 h 863494"/>
              <a:gd name="connsiteX2" fmla="*/ 0 w 864238"/>
              <a:gd name="connsiteY2" fmla="*/ 821736 h 863494"/>
              <a:gd name="connsiteX3" fmla="*/ 0 w 864238"/>
              <a:gd name="connsiteY3" fmla="*/ 41758 h 863494"/>
              <a:gd name="connsiteX4" fmla="*/ 41794 w 864238"/>
              <a:gd name="connsiteY4" fmla="*/ 0 h 863494"/>
              <a:gd name="connsiteX5" fmla="*/ 864239 w 864238"/>
              <a:gd name="connsiteY5" fmla="*/ 0 h 863494"/>
              <a:gd name="connsiteX6" fmla="*/ 864239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64239" y="863494"/>
                </a:moveTo>
                <a:lnTo>
                  <a:pt x="41794" y="863494"/>
                </a:lnTo>
                <a:cubicBezTo>
                  <a:pt x="17912" y="863494"/>
                  <a:pt x="0" y="844107"/>
                  <a:pt x="0" y="821736"/>
                </a:cubicBezTo>
                <a:lnTo>
                  <a:pt x="0" y="41758"/>
                </a:lnTo>
                <a:cubicBezTo>
                  <a:pt x="0" y="17896"/>
                  <a:pt x="19404" y="0"/>
                  <a:pt x="41794" y="0"/>
                </a:cubicBezTo>
                <a:lnTo>
                  <a:pt x="864239" y="0"/>
                </a:lnTo>
                <a:lnTo>
                  <a:pt x="864239" y="863494"/>
                </a:lnTo>
                <a:close/>
              </a:path>
            </a:pathLst>
          </a:custGeom>
          <a:solidFill>
            <a:srgbClr val="62B5E5"/>
          </a:solidFill>
          <a:ln w="14807" cap="flat">
            <a:solidFill>
              <a:srgbClr val="FFFFFF"/>
            </a:solidFill>
            <a:prstDash val="solid"/>
            <a:round/>
          </a:ln>
        </p:spPr>
        <p:txBody>
          <a:bodyPr rtlCol="0" anchor="ctr"/>
          <a:lstStyle/>
          <a:p>
            <a:endParaRPr lang="en-GB"/>
          </a:p>
        </p:txBody>
      </p:sp>
      <p:sp>
        <p:nvSpPr>
          <p:cNvPr id="1134" name="Freeform 1798">
            <a:extLst>
              <a:ext uri="{FF2B5EF4-FFF2-40B4-BE49-F238E27FC236}">
                <a16:creationId xmlns:a16="http://schemas.microsoft.com/office/drawing/2014/main" id="{FEF0122E-B833-4759-037C-F50BAB748D28}"/>
              </a:ext>
            </a:extLst>
          </p:cNvPr>
          <p:cNvSpPr/>
          <p:nvPr/>
        </p:nvSpPr>
        <p:spPr>
          <a:xfrm>
            <a:off x="10460480" y="3122135"/>
            <a:ext cx="864237" cy="863494"/>
          </a:xfrm>
          <a:custGeom>
            <a:avLst/>
            <a:gdLst>
              <a:gd name="connsiteX0" fmla="*/ 822444 w 864237"/>
              <a:gd name="connsiteY0" fmla="*/ 863494 h 863494"/>
              <a:gd name="connsiteX1" fmla="*/ 0 w 864237"/>
              <a:gd name="connsiteY1" fmla="*/ 863494 h 863494"/>
              <a:gd name="connsiteX2" fmla="*/ 0 w 864237"/>
              <a:gd name="connsiteY2" fmla="*/ 0 h 863494"/>
              <a:gd name="connsiteX3" fmla="*/ 822444 w 864237"/>
              <a:gd name="connsiteY3" fmla="*/ 0 h 863494"/>
              <a:gd name="connsiteX4" fmla="*/ 864238 w 864237"/>
              <a:gd name="connsiteY4" fmla="*/ 41758 h 863494"/>
              <a:gd name="connsiteX5" fmla="*/ 864238 w 864237"/>
              <a:gd name="connsiteY5" fmla="*/ 821736 h 863494"/>
              <a:gd name="connsiteX6" fmla="*/ 822444 w 864237"/>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7" h="863494">
                <a:moveTo>
                  <a:pt x="822444" y="863494"/>
                </a:moveTo>
                <a:lnTo>
                  <a:pt x="0" y="863494"/>
                </a:lnTo>
                <a:lnTo>
                  <a:pt x="0" y="0"/>
                </a:lnTo>
                <a:lnTo>
                  <a:pt x="822444" y="0"/>
                </a:lnTo>
                <a:cubicBezTo>
                  <a:pt x="846326" y="0"/>
                  <a:pt x="864238" y="19388"/>
                  <a:pt x="864238" y="41758"/>
                </a:cubicBezTo>
                <a:lnTo>
                  <a:pt x="864238" y="821736"/>
                </a:lnTo>
                <a:cubicBezTo>
                  <a:pt x="864238" y="844107"/>
                  <a:pt x="844834" y="863494"/>
                  <a:pt x="822444" y="863494"/>
                </a:cubicBezTo>
                <a:close/>
              </a:path>
            </a:pathLst>
          </a:custGeom>
          <a:solidFill>
            <a:srgbClr val="62B5E5"/>
          </a:solidFill>
          <a:ln w="14807" cap="flat">
            <a:solidFill>
              <a:srgbClr val="FFFFFF"/>
            </a:solidFill>
            <a:prstDash val="solid"/>
            <a:round/>
          </a:ln>
        </p:spPr>
        <p:txBody>
          <a:bodyPr rtlCol="0" anchor="ctr"/>
          <a:lstStyle/>
          <a:p>
            <a:endParaRPr lang="en-GB"/>
          </a:p>
        </p:txBody>
      </p:sp>
      <p:sp>
        <p:nvSpPr>
          <p:cNvPr id="1135" name="Freeform 1799">
            <a:extLst>
              <a:ext uri="{FF2B5EF4-FFF2-40B4-BE49-F238E27FC236}">
                <a16:creationId xmlns:a16="http://schemas.microsoft.com/office/drawing/2014/main" id="{936E4E22-7176-56B7-7B35-D7E5463AB56E}"/>
              </a:ext>
            </a:extLst>
          </p:cNvPr>
          <p:cNvSpPr/>
          <p:nvPr/>
        </p:nvSpPr>
        <p:spPr>
          <a:xfrm>
            <a:off x="10460480" y="2258641"/>
            <a:ext cx="864237" cy="863494"/>
          </a:xfrm>
          <a:custGeom>
            <a:avLst/>
            <a:gdLst>
              <a:gd name="connsiteX0" fmla="*/ 822444 w 864237"/>
              <a:gd name="connsiteY0" fmla="*/ 863494 h 863494"/>
              <a:gd name="connsiteX1" fmla="*/ 0 w 864237"/>
              <a:gd name="connsiteY1" fmla="*/ 863494 h 863494"/>
              <a:gd name="connsiteX2" fmla="*/ 0 w 864237"/>
              <a:gd name="connsiteY2" fmla="*/ 41758 h 863494"/>
              <a:gd name="connsiteX3" fmla="*/ 41794 w 864237"/>
              <a:gd name="connsiteY3" fmla="*/ 0 h 863494"/>
              <a:gd name="connsiteX4" fmla="*/ 822444 w 864237"/>
              <a:gd name="connsiteY4" fmla="*/ 0 h 863494"/>
              <a:gd name="connsiteX5" fmla="*/ 864238 w 864237"/>
              <a:gd name="connsiteY5" fmla="*/ 41758 h 863494"/>
              <a:gd name="connsiteX6" fmla="*/ 864238 w 864237"/>
              <a:gd name="connsiteY6" fmla="*/ 821736 h 863494"/>
              <a:gd name="connsiteX7" fmla="*/ 822444 w 864237"/>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7" h="863494">
                <a:moveTo>
                  <a:pt x="822444" y="863494"/>
                </a:moveTo>
                <a:lnTo>
                  <a:pt x="0" y="863494"/>
                </a:lnTo>
                <a:lnTo>
                  <a:pt x="0" y="41758"/>
                </a:lnTo>
                <a:cubicBezTo>
                  <a:pt x="0" y="17896"/>
                  <a:pt x="19404" y="0"/>
                  <a:pt x="41794" y="0"/>
                </a:cubicBezTo>
                <a:lnTo>
                  <a:pt x="822444" y="0"/>
                </a:lnTo>
                <a:cubicBezTo>
                  <a:pt x="846326" y="0"/>
                  <a:pt x="864238" y="19388"/>
                  <a:pt x="864238" y="41758"/>
                </a:cubicBezTo>
                <a:lnTo>
                  <a:pt x="864238" y="821736"/>
                </a:lnTo>
                <a:cubicBezTo>
                  <a:pt x="864238" y="844107"/>
                  <a:pt x="844834" y="863494"/>
                  <a:pt x="822444" y="863494"/>
                </a:cubicBezTo>
                <a:close/>
              </a:path>
            </a:pathLst>
          </a:custGeom>
          <a:solidFill>
            <a:srgbClr val="62B5E5"/>
          </a:solidFill>
          <a:ln w="14807" cap="flat">
            <a:solidFill>
              <a:srgbClr val="FFFFFF"/>
            </a:solidFill>
            <a:prstDash val="solid"/>
            <a:round/>
          </a:ln>
        </p:spPr>
        <p:txBody>
          <a:bodyPr rtlCol="0" anchor="ctr"/>
          <a:lstStyle/>
          <a:p>
            <a:endParaRPr lang="en-GB"/>
          </a:p>
        </p:txBody>
      </p:sp>
      <p:sp>
        <p:nvSpPr>
          <p:cNvPr id="1136" name="Freeform 1800">
            <a:extLst>
              <a:ext uri="{FF2B5EF4-FFF2-40B4-BE49-F238E27FC236}">
                <a16:creationId xmlns:a16="http://schemas.microsoft.com/office/drawing/2014/main" id="{4B4B3417-A841-E06D-4BDE-38642D1BE8A2}"/>
              </a:ext>
            </a:extLst>
          </p:cNvPr>
          <p:cNvSpPr/>
          <p:nvPr/>
        </p:nvSpPr>
        <p:spPr>
          <a:xfrm>
            <a:off x="9596241" y="3985629"/>
            <a:ext cx="864238" cy="863494"/>
          </a:xfrm>
          <a:custGeom>
            <a:avLst/>
            <a:gdLst>
              <a:gd name="connsiteX0" fmla="*/ 864239 w 864238"/>
              <a:gd name="connsiteY0" fmla="*/ 863494 h 863494"/>
              <a:gd name="connsiteX1" fmla="*/ 0 w 864238"/>
              <a:gd name="connsiteY1" fmla="*/ 863494 h 863494"/>
              <a:gd name="connsiteX2" fmla="*/ 0 w 864238"/>
              <a:gd name="connsiteY2" fmla="*/ 41758 h 863494"/>
              <a:gd name="connsiteX3" fmla="*/ 41794 w 864238"/>
              <a:gd name="connsiteY3" fmla="*/ 0 h 863494"/>
              <a:gd name="connsiteX4" fmla="*/ 864239 w 864238"/>
              <a:gd name="connsiteY4" fmla="*/ 0 h 863494"/>
              <a:gd name="connsiteX5" fmla="*/ 864239 w 864238"/>
              <a:gd name="connsiteY5"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238" h="863494">
                <a:moveTo>
                  <a:pt x="864239" y="863494"/>
                </a:moveTo>
                <a:lnTo>
                  <a:pt x="0" y="863494"/>
                </a:lnTo>
                <a:lnTo>
                  <a:pt x="0" y="41758"/>
                </a:lnTo>
                <a:cubicBezTo>
                  <a:pt x="0" y="17896"/>
                  <a:pt x="19404" y="0"/>
                  <a:pt x="41794" y="0"/>
                </a:cubicBezTo>
                <a:lnTo>
                  <a:pt x="864239" y="0"/>
                </a:lnTo>
                <a:lnTo>
                  <a:pt x="864239" y="863494"/>
                </a:lnTo>
                <a:close/>
              </a:path>
            </a:pathLst>
          </a:custGeom>
          <a:solidFill>
            <a:srgbClr val="62B5E5"/>
          </a:solidFill>
          <a:ln w="14807" cap="flat">
            <a:solidFill>
              <a:srgbClr val="FFFFFF"/>
            </a:solidFill>
            <a:prstDash val="solid"/>
            <a:round/>
          </a:ln>
        </p:spPr>
        <p:txBody>
          <a:bodyPr rtlCol="0" anchor="ctr"/>
          <a:lstStyle/>
          <a:p>
            <a:endParaRPr lang="en-GB"/>
          </a:p>
        </p:txBody>
      </p:sp>
      <p:sp>
        <p:nvSpPr>
          <p:cNvPr id="1137" name="Freeform 1801">
            <a:extLst>
              <a:ext uri="{FF2B5EF4-FFF2-40B4-BE49-F238E27FC236}">
                <a16:creationId xmlns:a16="http://schemas.microsoft.com/office/drawing/2014/main" id="{134616ED-3BDF-A6C2-F6CD-471486913C14}"/>
              </a:ext>
            </a:extLst>
          </p:cNvPr>
          <p:cNvSpPr/>
          <p:nvPr/>
        </p:nvSpPr>
        <p:spPr>
          <a:xfrm>
            <a:off x="10460480" y="3985629"/>
            <a:ext cx="864237" cy="863494"/>
          </a:xfrm>
          <a:custGeom>
            <a:avLst/>
            <a:gdLst>
              <a:gd name="connsiteX0" fmla="*/ 822444 w 864237"/>
              <a:gd name="connsiteY0" fmla="*/ 863494 h 863494"/>
              <a:gd name="connsiteX1" fmla="*/ 0 w 864237"/>
              <a:gd name="connsiteY1" fmla="*/ 863494 h 863494"/>
              <a:gd name="connsiteX2" fmla="*/ 0 w 864237"/>
              <a:gd name="connsiteY2" fmla="*/ 0 h 863494"/>
              <a:gd name="connsiteX3" fmla="*/ 822444 w 864237"/>
              <a:gd name="connsiteY3" fmla="*/ 0 h 863494"/>
              <a:gd name="connsiteX4" fmla="*/ 864238 w 864237"/>
              <a:gd name="connsiteY4" fmla="*/ 41758 h 863494"/>
              <a:gd name="connsiteX5" fmla="*/ 864238 w 864237"/>
              <a:gd name="connsiteY5" fmla="*/ 821736 h 863494"/>
              <a:gd name="connsiteX6" fmla="*/ 822444 w 864237"/>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7" h="863494">
                <a:moveTo>
                  <a:pt x="822444" y="863494"/>
                </a:moveTo>
                <a:lnTo>
                  <a:pt x="0" y="863494"/>
                </a:lnTo>
                <a:lnTo>
                  <a:pt x="0" y="0"/>
                </a:lnTo>
                <a:lnTo>
                  <a:pt x="822444" y="0"/>
                </a:lnTo>
                <a:cubicBezTo>
                  <a:pt x="846326" y="0"/>
                  <a:pt x="864238" y="19388"/>
                  <a:pt x="864238" y="41758"/>
                </a:cubicBezTo>
                <a:lnTo>
                  <a:pt x="864238" y="821736"/>
                </a:lnTo>
                <a:cubicBezTo>
                  <a:pt x="864238" y="844106"/>
                  <a:pt x="844834" y="863494"/>
                  <a:pt x="822444" y="863494"/>
                </a:cubicBezTo>
                <a:close/>
              </a:path>
            </a:pathLst>
          </a:custGeom>
          <a:solidFill>
            <a:srgbClr val="62B5E5"/>
          </a:solidFill>
          <a:ln w="14807" cap="flat">
            <a:solidFill>
              <a:srgbClr val="FFFFFF"/>
            </a:solidFill>
            <a:prstDash val="solid"/>
            <a:round/>
          </a:ln>
        </p:spPr>
        <p:txBody>
          <a:bodyPr rtlCol="0" anchor="ctr"/>
          <a:lstStyle/>
          <a:p>
            <a:endParaRPr lang="en-GB"/>
          </a:p>
        </p:txBody>
      </p:sp>
      <p:sp>
        <p:nvSpPr>
          <p:cNvPr id="1138" name="Freeform 1802">
            <a:extLst>
              <a:ext uri="{FF2B5EF4-FFF2-40B4-BE49-F238E27FC236}">
                <a16:creationId xmlns:a16="http://schemas.microsoft.com/office/drawing/2014/main" id="{C36F7BA6-1849-B71C-B0A6-32C26FB386AA}"/>
              </a:ext>
            </a:extLst>
          </p:cNvPr>
          <p:cNvSpPr/>
          <p:nvPr/>
        </p:nvSpPr>
        <p:spPr>
          <a:xfrm>
            <a:off x="9596241" y="4849123"/>
            <a:ext cx="864238" cy="863494"/>
          </a:xfrm>
          <a:custGeom>
            <a:avLst/>
            <a:gdLst>
              <a:gd name="connsiteX0" fmla="*/ 822444 w 864238"/>
              <a:gd name="connsiteY0" fmla="*/ 863494 h 863494"/>
              <a:gd name="connsiteX1" fmla="*/ 41794 w 864238"/>
              <a:gd name="connsiteY1" fmla="*/ 863494 h 863494"/>
              <a:gd name="connsiteX2" fmla="*/ 0 w 864238"/>
              <a:gd name="connsiteY2" fmla="*/ 821736 h 863494"/>
              <a:gd name="connsiteX3" fmla="*/ 0 w 864238"/>
              <a:gd name="connsiteY3" fmla="*/ 0 h 863494"/>
              <a:gd name="connsiteX4" fmla="*/ 864239 w 864238"/>
              <a:gd name="connsiteY4" fmla="*/ 0 h 863494"/>
              <a:gd name="connsiteX5" fmla="*/ 864239 w 864238"/>
              <a:gd name="connsiteY5" fmla="*/ 821736 h 863494"/>
              <a:gd name="connsiteX6" fmla="*/ 822444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22444" y="863494"/>
                </a:moveTo>
                <a:lnTo>
                  <a:pt x="41794" y="863494"/>
                </a:lnTo>
                <a:cubicBezTo>
                  <a:pt x="17912" y="863494"/>
                  <a:pt x="0" y="844106"/>
                  <a:pt x="0" y="821736"/>
                </a:cubicBezTo>
                <a:lnTo>
                  <a:pt x="0" y="0"/>
                </a:lnTo>
                <a:lnTo>
                  <a:pt x="864239" y="0"/>
                </a:lnTo>
                <a:lnTo>
                  <a:pt x="864239" y="821736"/>
                </a:lnTo>
                <a:cubicBezTo>
                  <a:pt x="864239" y="844106"/>
                  <a:pt x="844834" y="863494"/>
                  <a:pt x="822444" y="863494"/>
                </a:cubicBezTo>
                <a:close/>
              </a:path>
            </a:pathLst>
          </a:custGeom>
          <a:solidFill>
            <a:srgbClr val="62B5E5"/>
          </a:solidFill>
          <a:ln w="14807" cap="flat">
            <a:solidFill>
              <a:srgbClr val="FFFFFF"/>
            </a:solidFill>
            <a:prstDash val="solid"/>
            <a:round/>
          </a:ln>
        </p:spPr>
        <p:txBody>
          <a:bodyPr rtlCol="0" anchor="ctr"/>
          <a:lstStyle/>
          <a:p>
            <a:endParaRPr lang="en-GB"/>
          </a:p>
        </p:txBody>
      </p:sp>
      <p:sp>
        <p:nvSpPr>
          <p:cNvPr id="1139" name="Freeform 1803">
            <a:extLst>
              <a:ext uri="{FF2B5EF4-FFF2-40B4-BE49-F238E27FC236}">
                <a16:creationId xmlns:a16="http://schemas.microsoft.com/office/drawing/2014/main" id="{77DA8F71-CB4E-506A-9249-4B97EF84E17E}"/>
              </a:ext>
            </a:extLst>
          </p:cNvPr>
          <p:cNvSpPr/>
          <p:nvPr/>
        </p:nvSpPr>
        <p:spPr>
          <a:xfrm>
            <a:off x="10460480" y="4849123"/>
            <a:ext cx="864237" cy="863494"/>
          </a:xfrm>
          <a:custGeom>
            <a:avLst/>
            <a:gdLst>
              <a:gd name="connsiteX0" fmla="*/ 822444 w 864237"/>
              <a:gd name="connsiteY0" fmla="*/ 863494 h 863494"/>
              <a:gd name="connsiteX1" fmla="*/ 41794 w 864237"/>
              <a:gd name="connsiteY1" fmla="*/ 863494 h 863494"/>
              <a:gd name="connsiteX2" fmla="*/ 0 w 864237"/>
              <a:gd name="connsiteY2" fmla="*/ 821736 h 863494"/>
              <a:gd name="connsiteX3" fmla="*/ 0 w 864237"/>
              <a:gd name="connsiteY3" fmla="*/ 0 h 863494"/>
              <a:gd name="connsiteX4" fmla="*/ 822444 w 864237"/>
              <a:gd name="connsiteY4" fmla="*/ 0 h 863494"/>
              <a:gd name="connsiteX5" fmla="*/ 864238 w 864237"/>
              <a:gd name="connsiteY5" fmla="*/ 41758 h 863494"/>
              <a:gd name="connsiteX6" fmla="*/ 864238 w 864237"/>
              <a:gd name="connsiteY6" fmla="*/ 821736 h 863494"/>
              <a:gd name="connsiteX7" fmla="*/ 822444 w 864237"/>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7" h="863494">
                <a:moveTo>
                  <a:pt x="822444" y="863494"/>
                </a:moveTo>
                <a:lnTo>
                  <a:pt x="41794" y="863494"/>
                </a:lnTo>
                <a:cubicBezTo>
                  <a:pt x="17911" y="863494"/>
                  <a:pt x="0" y="844106"/>
                  <a:pt x="0" y="821736"/>
                </a:cubicBezTo>
                <a:lnTo>
                  <a:pt x="0" y="0"/>
                </a:lnTo>
                <a:lnTo>
                  <a:pt x="822444" y="0"/>
                </a:lnTo>
                <a:cubicBezTo>
                  <a:pt x="846326" y="0"/>
                  <a:pt x="864238" y="19388"/>
                  <a:pt x="864238" y="41758"/>
                </a:cubicBezTo>
                <a:lnTo>
                  <a:pt x="864238" y="821736"/>
                </a:lnTo>
                <a:cubicBezTo>
                  <a:pt x="864238" y="844106"/>
                  <a:pt x="844834" y="863494"/>
                  <a:pt x="822444" y="863494"/>
                </a:cubicBezTo>
                <a:close/>
              </a:path>
            </a:pathLst>
          </a:custGeom>
          <a:solidFill>
            <a:srgbClr val="62B5E5"/>
          </a:solidFill>
          <a:ln w="14807" cap="flat">
            <a:solidFill>
              <a:srgbClr val="FFFFFF"/>
            </a:solidFill>
            <a:prstDash val="solid"/>
            <a:round/>
          </a:ln>
        </p:spPr>
        <p:txBody>
          <a:bodyPr rtlCol="0" anchor="ctr"/>
          <a:lstStyle/>
          <a:p>
            <a:endParaRPr lang="en-GB"/>
          </a:p>
        </p:txBody>
      </p:sp>
      <p:sp>
        <p:nvSpPr>
          <p:cNvPr id="1140" name="Freeform 1805">
            <a:extLst>
              <a:ext uri="{FF2B5EF4-FFF2-40B4-BE49-F238E27FC236}">
                <a16:creationId xmlns:a16="http://schemas.microsoft.com/office/drawing/2014/main" id="{FCFDC6FD-B7EF-145E-8C9C-E33DB98D3236}"/>
              </a:ext>
            </a:extLst>
          </p:cNvPr>
          <p:cNvSpPr/>
          <p:nvPr/>
        </p:nvSpPr>
        <p:spPr>
          <a:xfrm>
            <a:off x="2624120" y="3122135"/>
            <a:ext cx="864238" cy="863494"/>
          </a:xfrm>
          <a:custGeom>
            <a:avLst/>
            <a:gdLst>
              <a:gd name="connsiteX0" fmla="*/ 864239 w 864238"/>
              <a:gd name="connsiteY0" fmla="*/ 863494 h 863494"/>
              <a:gd name="connsiteX1" fmla="*/ 0 w 864238"/>
              <a:gd name="connsiteY1" fmla="*/ 863494 h 863494"/>
              <a:gd name="connsiteX2" fmla="*/ 0 w 864238"/>
              <a:gd name="connsiteY2" fmla="*/ 41758 h 863494"/>
              <a:gd name="connsiteX3" fmla="*/ 41794 w 864238"/>
              <a:gd name="connsiteY3" fmla="*/ 0 h 863494"/>
              <a:gd name="connsiteX4" fmla="*/ 822445 w 864238"/>
              <a:gd name="connsiteY4" fmla="*/ 0 h 863494"/>
              <a:gd name="connsiteX5" fmla="*/ 864239 w 864238"/>
              <a:gd name="connsiteY5" fmla="*/ 41758 h 863494"/>
              <a:gd name="connsiteX6" fmla="*/ 864239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64239" y="863494"/>
                </a:moveTo>
                <a:lnTo>
                  <a:pt x="0" y="863494"/>
                </a:lnTo>
                <a:lnTo>
                  <a:pt x="0" y="41758"/>
                </a:lnTo>
                <a:cubicBezTo>
                  <a:pt x="0" y="17896"/>
                  <a:pt x="19404" y="0"/>
                  <a:pt x="41794" y="0"/>
                </a:cubicBezTo>
                <a:lnTo>
                  <a:pt x="822445" y="0"/>
                </a:lnTo>
                <a:cubicBezTo>
                  <a:pt x="846327" y="0"/>
                  <a:pt x="864239" y="19388"/>
                  <a:pt x="864239" y="41758"/>
                </a:cubicBezTo>
                <a:lnTo>
                  <a:pt x="864239" y="863494"/>
                </a:lnTo>
                <a:close/>
              </a:path>
            </a:pathLst>
          </a:custGeom>
          <a:solidFill>
            <a:srgbClr val="DDEFE8"/>
          </a:solidFill>
          <a:ln w="14807" cap="flat">
            <a:solidFill>
              <a:srgbClr val="FFFFFF"/>
            </a:solidFill>
            <a:prstDash val="solid"/>
            <a:round/>
          </a:ln>
        </p:spPr>
        <p:txBody>
          <a:bodyPr rtlCol="0" anchor="ctr"/>
          <a:lstStyle/>
          <a:p>
            <a:endParaRPr lang="en-GB"/>
          </a:p>
        </p:txBody>
      </p:sp>
      <p:sp>
        <p:nvSpPr>
          <p:cNvPr id="1141" name="Freeform 1806">
            <a:extLst>
              <a:ext uri="{FF2B5EF4-FFF2-40B4-BE49-F238E27FC236}">
                <a16:creationId xmlns:a16="http://schemas.microsoft.com/office/drawing/2014/main" id="{E9140B98-F897-D327-3AC8-2BE5A361AC92}"/>
              </a:ext>
            </a:extLst>
          </p:cNvPr>
          <p:cNvSpPr/>
          <p:nvPr/>
        </p:nvSpPr>
        <p:spPr>
          <a:xfrm>
            <a:off x="3488359" y="3122135"/>
            <a:ext cx="864238" cy="863494"/>
          </a:xfrm>
          <a:custGeom>
            <a:avLst/>
            <a:gdLst>
              <a:gd name="connsiteX0" fmla="*/ 822444 w 864238"/>
              <a:gd name="connsiteY0" fmla="*/ 863494 h 863494"/>
              <a:gd name="connsiteX1" fmla="*/ 0 w 864238"/>
              <a:gd name="connsiteY1" fmla="*/ 863494 h 863494"/>
              <a:gd name="connsiteX2" fmla="*/ 0 w 864238"/>
              <a:gd name="connsiteY2" fmla="*/ 41758 h 863494"/>
              <a:gd name="connsiteX3" fmla="*/ 41794 w 864238"/>
              <a:gd name="connsiteY3" fmla="*/ 0 h 863494"/>
              <a:gd name="connsiteX4" fmla="*/ 822444 w 864238"/>
              <a:gd name="connsiteY4" fmla="*/ 0 h 863494"/>
              <a:gd name="connsiteX5" fmla="*/ 864239 w 864238"/>
              <a:gd name="connsiteY5" fmla="*/ 41758 h 863494"/>
              <a:gd name="connsiteX6" fmla="*/ 864239 w 864238"/>
              <a:gd name="connsiteY6" fmla="*/ 821736 h 863494"/>
              <a:gd name="connsiteX7" fmla="*/ 822444 w 864238"/>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8" h="863494">
                <a:moveTo>
                  <a:pt x="822444" y="863494"/>
                </a:moveTo>
                <a:lnTo>
                  <a:pt x="0" y="863494"/>
                </a:lnTo>
                <a:lnTo>
                  <a:pt x="0" y="41758"/>
                </a:lnTo>
                <a:cubicBezTo>
                  <a:pt x="0" y="17896"/>
                  <a:pt x="19404" y="0"/>
                  <a:pt x="41794" y="0"/>
                </a:cubicBezTo>
                <a:lnTo>
                  <a:pt x="822444" y="0"/>
                </a:lnTo>
                <a:cubicBezTo>
                  <a:pt x="846327" y="0"/>
                  <a:pt x="864239" y="19388"/>
                  <a:pt x="864239" y="41758"/>
                </a:cubicBezTo>
                <a:lnTo>
                  <a:pt x="864239" y="821736"/>
                </a:lnTo>
                <a:cubicBezTo>
                  <a:pt x="864239" y="844107"/>
                  <a:pt x="844834" y="863494"/>
                  <a:pt x="822444" y="863494"/>
                </a:cubicBezTo>
                <a:close/>
              </a:path>
            </a:pathLst>
          </a:custGeom>
          <a:solidFill>
            <a:srgbClr val="DDEFE8"/>
          </a:solidFill>
          <a:ln w="14807" cap="flat">
            <a:solidFill>
              <a:srgbClr val="FFFFFF"/>
            </a:solidFill>
            <a:prstDash val="solid"/>
            <a:round/>
          </a:ln>
        </p:spPr>
        <p:txBody>
          <a:bodyPr rtlCol="0" anchor="ctr"/>
          <a:lstStyle/>
          <a:p>
            <a:endParaRPr lang="en-GB"/>
          </a:p>
        </p:txBody>
      </p:sp>
      <p:sp>
        <p:nvSpPr>
          <p:cNvPr id="1142" name="Freeform 1807">
            <a:extLst>
              <a:ext uri="{FF2B5EF4-FFF2-40B4-BE49-F238E27FC236}">
                <a16:creationId xmlns:a16="http://schemas.microsoft.com/office/drawing/2014/main" id="{8034C784-F6BA-D0BC-A25C-4846C00CD95E}"/>
              </a:ext>
            </a:extLst>
          </p:cNvPr>
          <p:cNvSpPr/>
          <p:nvPr/>
        </p:nvSpPr>
        <p:spPr>
          <a:xfrm>
            <a:off x="2624120" y="3985629"/>
            <a:ext cx="864238" cy="863494"/>
          </a:xfrm>
          <a:custGeom>
            <a:avLst/>
            <a:gdLst>
              <a:gd name="connsiteX0" fmla="*/ 0 w 864238"/>
              <a:gd name="connsiteY0" fmla="*/ 0 h 863494"/>
              <a:gd name="connsiteX1" fmla="*/ 864238 w 864238"/>
              <a:gd name="connsiteY1" fmla="*/ 0 h 863494"/>
              <a:gd name="connsiteX2" fmla="*/ 864238 w 864238"/>
              <a:gd name="connsiteY2" fmla="*/ 863494 h 863494"/>
              <a:gd name="connsiteX3" fmla="*/ 0 w 864238"/>
              <a:gd name="connsiteY3" fmla="*/ 863494 h 863494"/>
            </a:gdLst>
            <a:ahLst/>
            <a:cxnLst>
              <a:cxn ang="0">
                <a:pos x="connsiteX0" y="connsiteY0"/>
              </a:cxn>
              <a:cxn ang="0">
                <a:pos x="connsiteX1" y="connsiteY1"/>
              </a:cxn>
              <a:cxn ang="0">
                <a:pos x="connsiteX2" y="connsiteY2"/>
              </a:cxn>
              <a:cxn ang="0">
                <a:pos x="connsiteX3" y="connsiteY3"/>
              </a:cxn>
            </a:cxnLst>
            <a:rect l="l" t="t" r="r" b="b"/>
            <a:pathLst>
              <a:path w="864238" h="863494">
                <a:moveTo>
                  <a:pt x="0" y="0"/>
                </a:moveTo>
                <a:lnTo>
                  <a:pt x="864238" y="0"/>
                </a:lnTo>
                <a:lnTo>
                  <a:pt x="864238" y="863494"/>
                </a:lnTo>
                <a:lnTo>
                  <a:pt x="0" y="863494"/>
                </a:lnTo>
                <a:close/>
              </a:path>
            </a:pathLst>
          </a:custGeom>
          <a:solidFill>
            <a:srgbClr val="DDEFE8"/>
          </a:solidFill>
          <a:ln w="14807" cap="flat">
            <a:solidFill>
              <a:srgbClr val="FFFFFF"/>
            </a:solidFill>
            <a:prstDash val="solid"/>
            <a:round/>
          </a:ln>
        </p:spPr>
        <p:txBody>
          <a:bodyPr rtlCol="0" anchor="ctr"/>
          <a:lstStyle/>
          <a:p>
            <a:endParaRPr lang="en-GB"/>
          </a:p>
        </p:txBody>
      </p:sp>
      <p:sp>
        <p:nvSpPr>
          <p:cNvPr id="1143" name="Freeform 1808">
            <a:extLst>
              <a:ext uri="{FF2B5EF4-FFF2-40B4-BE49-F238E27FC236}">
                <a16:creationId xmlns:a16="http://schemas.microsoft.com/office/drawing/2014/main" id="{F35E6A9B-071C-D5A8-59CC-7A32E66110FF}"/>
              </a:ext>
            </a:extLst>
          </p:cNvPr>
          <p:cNvSpPr/>
          <p:nvPr/>
        </p:nvSpPr>
        <p:spPr>
          <a:xfrm>
            <a:off x="3488359" y="3985629"/>
            <a:ext cx="864238" cy="863494"/>
          </a:xfrm>
          <a:custGeom>
            <a:avLst/>
            <a:gdLst>
              <a:gd name="connsiteX0" fmla="*/ 864239 w 864238"/>
              <a:gd name="connsiteY0" fmla="*/ 863494 h 863494"/>
              <a:gd name="connsiteX1" fmla="*/ 0 w 864238"/>
              <a:gd name="connsiteY1" fmla="*/ 863494 h 863494"/>
              <a:gd name="connsiteX2" fmla="*/ 0 w 864238"/>
              <a:gd name="connsiteY2" fmla="*/ 0 h 863494"/>
              <a:gd name="connsiteX3" fmla="*/ 822444 w 864238"/>
              <a:gd name="connsiteY3" fmla="*/ 0 h 863494"/>
              <a:gd name="connsiteX4" fmla="*/ 864239 w 864238"/>
              <a:gd name="connsiteY4" fmla="*/ 41758 h 863494"/>
              <a:gd name="connsiteX5" fmla="*/ 864239 w 864238"/>
              <a:gd name="connsiteY5"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238" h="863494">
                <a:moveTo>
                  <a:pt x="864239" y="863494"/>
                </a:moveTo>
                <a:lnTo>
                  <a:pt x="0" y="863494"/>
                </a:lnTo>
                <a:lnTo>
                  <a:pt x="0" y="0"/>
                </a:lnTo>
                <a:lnTo>
                  <a:pt x="822444" y="0"/>
                </a:lnTo>
                <a:cubicBezTo>
                  <a:pt x="846327" y="0"/>
                  <a:pt x="864239" y="19388"/>
                  <a:pt x="864239" y="41758"/>
                </a:cubicBezTo>
                <a:lnTo>
                  <a:pt x="864239" y="863494"/>
                </a:lnTo>
                <a:close/>
              </a:path>
            </a:pathLst>
          </a:custGeom>
          <a:solidFill>
            <a:srgbClr val="DDEFE8"/>
          </a:solidFill>
          <a:ln w="14807" cap="flat">
            <a:solidFill>
              <a:srgbClr val="FFFFFF"/>
            </a:solidFill>
            <a:prstDash val="solid"/>
            <a:round/>
          </a:ln>
        </p:spPr>
        <p:txBody>
          <a:bodyPr rtlCol="0" anchor="ctr"/>
          <a:lstStyle/>
          <a:p>
            <a:endParaRPr lang="en-GB"/>
          </a:p>
        </p:txBody>
      </p:sp>
      <p:sp>
        <p:nvSpPr>
          <p:cNvPr id="1144" name="Freeform 1809">
            <a:extLst>
              <a:ext uri="{FF2B5EF4-FFF2-40B4-BE49-F238E27FC236}">
                <a16:creationId xmlns:a16="http://schemas.microsoft.com/office/drawing/2014/main" id="{A9D09C58-8533-710C-DC67-380816062ABF}"/>
              </a:ext>
            </a:extLst>
          </p:cNvPr>
          <p:cNvSpPr/>
          <p:nvPr/>
        </p:nvSpPr>
        <p:spPr>
          <a:xfrm>
            <a:off x="2624120" y="4849123"/>
            <a:ext cx="864238" cy="863494"/>
          </a:xfrm>
          <a:custGeom>
            <a:avLst/>
            <a:gdLst>
              <a:gd name="connsiteX0" fmla="*/ 864239 w 864238"/>
              <a:gd name="connsiteY0" fmla="*/ 863494 h 863494"/>
              <a:gd name="connsiteX1" fmla="*/ 41794 w 864238"/>
              <a:gd name="connsiteY1" fmla="*/ 863494 h 863494"/>
              <a:gd name="connsiteX2" fmla="*/ 0 w 864238"/>
              <a:gd name="connsiteY2" fmla="*/ 821736 h 863494"/>
              <a:gd name="connsiteX3" fmla="*/ 0 w 864238"/>
              <a:gd name="connsiteY3" fmla="*/ 0 h 863494"/>
              <a:gd name="connsiteX4" fmla="*/ 864239 w 864238"/>
              <a:gd name="connsiteY4" fmla="*/ 0 h 863494"/>
              <a:gd name="connsiteX5" fmla="*/ 864239 w 864238"/>
              <a:gd name="connsiteY5"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238" h="863494">
                <a:moveTo>
                  <a:pt x="864239" y="863494"/>
                </a:moveTo>
                <a:lnTo>
                  <a:pt x="41794" y="863494"/>
                </a:lnTo>
                <a:cubicBezTo>
                  <a:pt x="17912" y="863494"/>
                  <a:pt x="0" y="844106"/>
                  <a:pt x="0" y="821736"/>
                </a:cubicBezTo>
                <a:lnTo>
                  <a:pt x="0" y="0"/>
                </a:lnTo>
                <a:lnTo>
                  <a:pt x="864239" y="0"/>
                </a:lnTo>
                <a:lnTo>
                  <a:pt x="864239" y="863494"/>
                </a:lnTo>
                <a:close/>
              </a:path>
            </a:pathLst>
          </a:custGeom>
          <a:solidFill>
            <a:srgbClr val="DDEFE8"/>
          </a:solidFill>
          <a:ln w="14807" cap="flat">
            <a:solidFill>
              <a:srgbClr val="FFFFFF"/>
            </a:solidFill>
            <a:prstDash val="solid"/>
            <a:round/>
          </a:ln>
        </p:spPr>
        <p:txBody>
          <a:bodyPr rtlCol="0" anchor="ctr"/>
          <a:lstStyle/>
          <a:p>
            <a:endParaRPr lang="en-GB"/>
          </a:p>
        </p:txBody>
      </p:sp>
      <p:sp>
        <p:nvSpPr>
          <p:cNvPr id="1145" name="Freeform 1810">
            <a:extLst>
              <a:ext uri="{FF2B5EF4-FFF2-40B4-BE49-F238E27FC236}">
                <a16:creationId xmlns:a16="http://schemas.microsoft.com/office/drawing/2014/main" id="{EF4A0178-9938-0F38-CA69-445FBCB41F63}"/>
              </a:ext>
            </a:extLst>
          </p:cNvPr>
          <p:cNvSpPr/>
          <p:nvPr/>
        </p:nvSpPr>
        <p:spPr>
          <a:xfrm>
            <a:off x="3488359" y="4849123"/>
            <a:ext cx="864238" cy="863494"/>
          </a:xfrm>
          <a:custGeom>
            <a:avLst/>
            <a:gdLst>
              <a:gd name="connsiteX0" fmla="*/ 864239 w 864238"/>
              <a:gd name="connsiteY0" fmla="*/ 863494 h 863494"/>
              <a:gd name="connsiteX1" fmla="*/ 0 w 864238"/>
              <a:gd name="connsiteY1" fmla="*/ 863494 h 863494"/>
              <a:gd name="connsiteX2" fmla="*/ 0 w 864238"/>
              <a:gd name="connsiteY2" fmla="*/ 0 h 863494"/>
              <a:gd name="connsiteX3" fmla="*/ 822444 w 864238"/>
              <a:gd name="connsiteY3" fmla="*/ 0 h 863494"/>
              <a:gd name="connsiteX4" fmla="*/ 864239 w 864238"/>
              <a:gd name="connsiteY4" fmla="*/ 41758 h 863494"/>
              <a:gd name="connsiteX5" fmla="*/ 864239 w 864238"/>
              <a:gd name="connsiteY5"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238" h="863494">
                <a:moveTo>
                  <a:pt x="864239" y="863494"/>
                </a:moveTo>
                <a:lnTo>
                  <a:pt x="0" y="863494"/>
                </a:lnTo>
                <a:lnTo>
                  <a:pt x="0" y="0"/>
                </a:lnTo>
                <a:lnTo>
                  <a:pt x="822444" y="0"/>
                </a:lnTo>
                <a:cubicBezTo>
                  <a:pt x="846327" y="0"/>
                  <a:pt x="864239" y="19388"/>
                  <a:pt x="864239" y="41758"/>
                </a:cubicBezTo>
                <a:lnTo>
                  <a:pt x="864239" y="863494"/>
                </a:lnTo>
                <a:close/>
              </a:path>
            </a:pathLst>
          </a:custGeom>
          <a:solidFill>
            <a:srgbClr val="DDEFE8"/>
          </a:solidFill>
          <a:ln w="14807" cap="flat">
            <a:solidFill>
              <a:srgbClr val="FFFFFF"/>
            </a:solidFill>
            <a:prstDash val="solid"/>
            <a:round/>
          </a:ln>
        </p:spPr>
        <p:txBody>
          <a:bodyPr rtlCol="0" anchor="ctr"/>
          <a:lstStyle/>
          <a:p>
            <a:endParaRPr lang="en-GB"/>
          </a:p>
        </p:txBody>
      </p:sp>
      <p:sp>
        <p:nvSpPr>
          <p:cNvPr id="1146" name="Freeform 1811">
            <a:extLst>
              <a:ext uri="{FF2B5EF4-FFF2-40B4-BE49-F238E27FC236}">
                <a16:creationId xmlns:a16="http://schemas.microsoft.com/office/drawing/2014/main" id="{C560508A-EFB5-368B-94C6-5434A74AD3E9}"/>
              </a:ext>
            </a:extLst>
          </p:cNvPr>
          <p:cNvSpPr/>
          <p:nvPr/>
        </p:nvSpPr>
        <p:spPr>
          <a:xfrm>
            <a:off x="2624120" y="5712618"/>
            <a:ext cx="864238" cy="863494"/>
          </a:xfrm>
          <a:custGeom>
            <a:avLst/>
            <a:gdLst>
              <a:gd name="connsiteX0" fmla="*/ 822445 w 864238"/>
              <a:gd name="connsiteY0" fmla="*/ 863494 h 863494"/>
              <a:gd name="connsiteX1" fmla="*/ 41794 w 864238"/>
              <a:gd name="connsiteY1" fmla="*/ 863494 h 863494"/>
              <a:gd name="connsiteX2" fmla="*/ 0 w 864238"/>
              <a:gd name="connsiteY2" fmla="*/ 821736 h 863494"/>
              <a:gd name="connsiteX3" fmla="*/ 0 w 864238"/>
              <a:gd name="connsiteY3" fmla="*/ 41758 h 863494"/>
              <a:gd name="connsiteX4" fmla="*/ 41794 w 864238"/>
              <a:gd name="connsiteY4" fmla="*/ 0 h 863494"/>
              <a:gd name="connsiteX5" fmla="*/ 864239 w 864238"/>
              <a:gd name="connsiteY5" fmla="*/ 0 h 863494"/>
              <a:gd name="connsiteX6" fmla="*/ 864239 w 864238"/>
              <a:gd name="connsiteY6" fmla="*/ 821736 h 863494"/>
              <a:gd name="connsiteX7" fmla="*/ 822445 w 864238"/>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8" h="863494">
                <a:moveTo>
                  <a:pt x="822445" y="863494"/>
                </a:moveTo>
                <a:lnTo>
                  <a:pt x="41794" y="863494"/>
                </a:lnTo>
                <a:cubicBezTo>
                  <a:pt x="17912" y="863494"/>
                  <a:pt x="0" y="844107"/>
                  <a:pt x="0" y="821736"/>
                </a:cubicBezTo>
                <a:lnTo>
                  <a:pt x="0" y="41758"/>
                </a:lnTo>
                <a:cubicBezTo>
                  <a:pt x="0" y="17896"/>
                  <a:pt x="19404" y="0"/>
                  <a:pt x="41794" y="0"/>
                </a:cubicBezTo>
                <a:lnTo>
                  <a:pt x="864239" y="0"/>
                </a:lnTo>
                <a:lnTo>
                  <a:pt x="864239" y="821736"/>
                </a:lnTo>
                <a:cubicBezTo>
                  <a:pt x="864239" y="844107"/>
                  <a:pt x="844834" y="863494"/>
                  <a:pt x="822445" y="863494"/>
                </a:cubicBezTo>
                <a:close/>
              </a:path>
            </a:pathLst>
          </a:custGeom>
          <a:solidFill>
            <a:srgbClr val="DDEFE8"/>
          </a:solidFill>
          <a:ln w="14807" cap="flat">
            <a:solidFill>
              <a:srgbClr val="FFFFFF"/>
            </a:solidFill>
            <a:prstDash val="solid"/>
            <a:round/>
          </a:ln>
        </p:spPr>
        <p:txBody>
          <a:bodyPr rtlCol="0" anchor="ctr"/>
          <a:lstStyle/>
          <a:p>
            <a:endParaRPr lang="en-GB" dirty="0"/>
          </a:p>
        </p:txBody>
      </p:sp>
      <p:sp>
        <p:nvSpPr>
          <p:cNvPr id="1147" name="Freeform 1812">
            <a:extLst>
              <a:ext uri="{FF2B5EF4-FFF2-40B4-BE49-F238E27FC236}">
                <a16:creationId xmlns:a16="http://schemas.microsoft.com/office/drawing/2014/main" id="{D2030117-BB67-DD64-0736-EF64B70658C1}"/>
              </a:ext>
            </a:extLst>
          </p:cNvPr>
          <p:cNvSpPr/>
          <p:nvPr/>
        </p:nvSpPr>
        <p:spPr>
          <a:xfrm>
            <a:off x="3488359" y="5712618"/>
            <a:ext cx="864238" cy="863494"/>
          </a:xfrm>
          <a:custGeom>
            <a:avLst/>
            <a:gdLst>
              <a:gd name="connsiteX0" fmla="*/ 822444 w 864238"/>
              <a:gd name="connsiteY0" fmla="*/ 863494 h 863494"/>
              <a:gd name="connsiteX1" fmla="*/ 41794 w 864238"/>
              <a:gd name="connsiteY1" fmla="*/ 863494 h 863494"/>
              <a:gd name="connsiteX2" fmla="*/ 0 w 864238"/>
              <a:gd name="connsiteY2" fmla="*/ 821736 h 863494"/>
              <a:gd name="connsiteX3" fmla="*/ 0 w 864238"/>
              <a:gd name="connsiteY3" fmla="*/ 0 h 863494"/>
              <a:gd name="connsiteX4" fmla="*/ 864239 w 864238"/>
              <a:gd name="connsiteY4" fmla="*/ 0 h 863494"/>
              <a:gd name="connsiteX5" fmla="*/ 864239 w 864238"/>
              <a:gd name="connsiteY5" fmla="*/ 821736 h 863494"/>
              <a:gd name="connsiteX6" fmla="*/ 822444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22444" y="863494"/>
                </a:moveTo>
                <a:lnTo>
                  <a:pt x="41794" y="863494"/>
                </a:lnTo>
                <a:cubicBezTo>
                  <a:pt x="17912" y="863494"/>
                  <a:pt x="0" y="844107"/>
                  <a:pt x="0" y="821736"/>
                </a:cubicBezTo>
                <a:lnTo>
                  <a:pt x="0" y="0"/>
                </a:lnTo>
                <a:lnTo>
                  <a:pt x="864239" y="0"/>
                </a:lnTo>
                <a:lnTo>
                  <a:pt x="864239" y="821736"/>
                </a:lnTo>
                <a:cubicBezTo>
                  <a:pt x="864239" y="844107"/>
                  <a:pt x="844834" y="863494"/>
                  <a:pt x="822444" y="863494"/>
                </a:cubicBezTo>
                <a:close/>
              </a:path>
            </a:pathLst>
          </a:custGeom>
          <a:solidFill>
            <a:srgbClr val="DDEFE8"/>
          </a:solidFill>
          <a:ln w="14807" cap="flat">
            <a:solidFill>
              <a:srgbClr val="FFFFFF"/>
            </a:solidFill>
            <a:prstDash val="solid"/>
            <a:round/>
          </a:ln>
        </p:spPr>
        <p:txBody>
          <a:bodyPr rtlCol="0" anchor="ctr"/>
          <a:lstStyle/>
          <a:p>
            <a:endParaRPr lang="en-GB"/>
          </a:p>
        </p:txBody>
      </p:sp>
      <p:sp>
        <p:nvSpPr>
          <p:cNvPr id="1148" name="Freeform 1814">
            <a:extLst>
              <a:ext uri="{FF2B5EF4-FFF2-40B4-BE49-F238E27FC236}">
                <a16:creationId xmlns:a16="http://schemas.microsoft.com/office/drawing/2014/main" id="{2E59A977-FE4D-2133-AB15-F0D5AB6D4363}"/>
              </a:ext>
            </a:extLst>
          </p:cNvPr>
          <p:cNvSpPr/>
          <p:nvPr/>
        </p:nvSpPr>
        <p:spPr>
          <a:xfrm>
            <a:off x="1744955" y="3122135"/>
            <a:ext cx="864238" cy="863494"/>
          </a:xfrm>
          <a:custGeom>
            <a:avLst/>
            <a:gdLst>
              <a:gd name="connsiteX0" fmla="*/ 864238 w 864238"/>
              <a:gd name="connsiteY0" fmla="*/ 863494 h 863494"/>
              <a:gd name="connsiteX1" fmla="*/ 0 w 864238"/>
              <a:gd name="connsiteY1" fmla="*/ 863494 h 863494"/>
              <a:gd name="connsiteX2" fmla="*/ 0 w 864238"/>
              <a:gd name="connsiteY2" fmla="*/ 0 h 863494"/>
              <a:gd name="connsiteX3" fmla="*/ 822445 w 864238"/>
              <a:gd name="connsiteY3" fmla="*/ 0 h 863494"/>
              <a:gd name="connsiteX4" fmla="*/ 864238 w 864238"/>
              <a:gd name="connsiteY4" fmla="*/ 41758 h 863494"/>
              <a:gd name="connsiteX5" fmla="*/ 864238 w 864238"/>
              <a:gd name="connsiteY5"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238" h="863494">
                <a:moveTo>
                  <a:pt x="864238" y="863494"/>
                </a:moveTo>
                <a:lnTo>
                  <a:pt x="0" y="863494"/>
                </a:lnTo>
                <a:lnTo>
                  <a:pt x="0" y="0"/>
                </a:lnTo>
                <a:lnTo>
                  <a:pt x="822445" y="0"/>
                </a:lnTo>
                <a:cubicBezTo>
                  <a:pt x="846327" y="0"/>
                  <a:pt x="864238" y="19388"/>
                  <a:pt x="864238" y="41758"/>
                </a:cubicBezTo>
                <a:lnTo>
                  <a:pt x="864238" y="863494"/>
                </a:lnTo>
                <a:close/>
              </a:path>
            </a:pathLst>
          </a:custGeom>
          <a:solidFill>
            <a:srgbClr val="A0DCFF"/>
          </a:solidFill>
          <a:ln w="14807" cap="flat">
            <a:solidFill>
              <a:srgbClr val="FFFFFF"/>
            </a:solidFill>
            <a:prstDash val="solid"/>
            <a:round/>
          </a:ln>
        </p:spPr>
        <p:txBody>
          <a:bodyPr rtlCol="0" anchor="ctr"/>
          <a:lstStyle/>
          <a:p>
            <a:endParaRPr lang="en-GB"/>
          </a:p>
        </p:txBody>
      </p:sp>
      <p:sp>
        <p:nvSpPr>
          <p:cNvPr id="1149" name="Freeform 1815">
            <a:extLst>
              <a:ext uri="{FF2B5EF4-FFF2-40B4-BE49-F238E27FC236}">
                <a16:creationId xmlns:a16="http://schemas.microsoft.com/office/drawing/2014/main" id="{B8928859-8528-A2CB-CEDB-0E9EAA6E9ADC}"/>
              </a:ext>
            </a:extLst>
          </p:cNvPr>
          <p:cNvSpPr/>
          <p:nvPr/>
        </p:nvSpPr>
        <p:spPr>
          <a:xfrm>
            <a:off x="880716" y="2258641"/>
            <a:ext cx="864238" cy="863494"/>
          </a:xfrm>
          <a:custGeom>
            <a:avLst/>
            <a:gdLst>
              <a:gd name="connsiteX0" fmla="*/ 864239 w 864238"/>
              <a:gd name="connsiteY0" fmla="*/ 863494 h 863494"/>
              <a:gd name="connsiteX1" fmla="*/ 41794 w 864238"/>
              <a:gd name="connsiteY1" fmla="*/ 863494 h 863494"/>
              <a:gd name="connsiteX2" fmla="*/ 0 w 864238"/>
              <a:gd name="connsiteY2" fmla="*/ 821736 h 863494"/>
              <a:gd name="connsiteX3" fmla="*/ 0 w 864238"/>
              <a:gd name="connsiteY3" fmla="*/ 41758 h 863494"/>
              <a:gd name="connsiteX4" fmla="*/ 41794 w 864238"/>
              <a:gd name="connsiteY4" fmla="*/ 0 h 863494"/>
              <a:gd name="connsiteX5" fmla="*/ 822445 w 864238"/>
              <a:gd name="connsiteY5" fmla="*/ 0 h 863494"/>
              <a:gd name="connsiteX6" fmla="*/ 864239 w 864238"/>
              <a:gd name="connsiteY6" fmla="*/ 41758 h 863494"/>
              <a:gd name="connsiteX7" fmla="*/ 864239 w 864238"/>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8" h="863494">
                <a:moveTo>
                  <a:pt x="864239" y="863494"/>
                </a:moveTo>
                <a:lnTo>
                  <a:pt x="41794" y="863494"/>
                </a:lnTo>
                <a:cubicBezTo>
                  <a:pt x="17912" y="863494"/>
                  <a:pt x="0" y="844107"/>
                  <a:pt x="0" y="821736"/>
                </a:cubicBezTo>
                <a:lnTo>
                  <a:pt x="0" y="41758"/>
                </a:lnTo>
                <a:cubicBezTo>
                  <a:pt x="0" y="17896"/>
                  <a:pt x="19404" y="0"/>
                  <a:pt x="41794" y="0"/>
                </a:cubicBezTo>
                <a:lnTo>
                  <a:pt x="822445" y="0"/>
                </a:lnTo>
                <a:cubicBezTo>
                  <a:pt x="846327" y="0"/>
                  <a:pt x="864239" y="19388"/>
                  <a:pt x="864239" y="41758"/>
                </a:cubicBezTo>
                <a:lnTo>
                  <a:pt x="864239" y="863494"/>
                </a:lnTo>
                <a:close/>
              </a:path>
            </a:pathLst>
          </a:custGeom>
          <a:solidFill>
            <a:srgbClr val="A0DCFF"/>
          </a:solidFill>
          <a:ln w="14807" cap="flat">
            <a:solidFill>
              <a:srgbClr val="FFFFFF"/>
            </a:solidFill>
            <a:prstDash val="solid"/>
            <a:round/>
          </a:ln>
        </p:spPr>
        <p:txBody>
          <a:bodyPr rtlCol="0" anchor="ctr"/>
          <a:lstStyle/>
          <a:p>
            <a:endParaRPr lang="en-GB"/>
          </a:p>
        </p:txBody>
      </p:sp>
      <p:sp>
        <p:nvSpPr>
          <p:cNvPr id="1150" name="Freeform 1816">
            <a:extLst>
              <a:ext uri="{FF2B5EF4-FFF2-40B4-BE49-F238E27FC236}">
                <a16:creationId xmlns:a16="http://schemas.microsoft.com/office/drawing/2014/main" id="{DBCDA6AA-CEAA-A4D0-4EFC-B228D89051D8}"/>
              </a:ext>
            </a:extLst>
          </p:cNvPr>
          <p:cNvSpPr/>
          <p:nvPr/>
        </p:nvSpPr>
        <p:spPr>
          <a:xfrm>
            <a:off x="1744955" y="2258641"/>
            <a:ext cx="864238" cy="863494"/>
          </a:xfrm>
          <a:custGeom>
            <a:avLst/>
            <a:gdLst>
              <a:gd name="connsiteX0" fmla="*/ 822445 w 864238"/>
              <a:gd name="connsiteY0" fmla="*/ 863494 h 863494"/>
              <a:gd name="connsiteX1" fmla="*/ 0 w 864238"/>
              <a:gd name="connsiteY1" fmla="*/ 863494 h 863494"/>
              <a:gd name="connsiteX2" fmla="*/ 0 w 864238"/>
              <a:gd name="connsiteY2" fmla="*/ 41758 h 863494"/>
              <a:gd name="connsiteX3" fmla="*/ 41794 w 864238"/>
              <a:gd name="connsiteY3" fmla="*/ 0 h 863494"/>
              <a:gd name="connsiteX4" fmla="*/ 822445 w 864238"/>
              <a:gd name="connsiteY4" fmla="*/ 0 h 863494"/>
              <a:gd name="connsiteX5" fmla="*/ 864238 w 864238"/>
              <a:gd name="connsiteY5" fmla="*/ 41758 h 863494"/>
              <a:gd name="connsiteX6" fmla="*/ 864238 w 864238"/>
              <a:gd name="connsiteY6" fmla="*/ 821736 h 863494"/>
              <a:gd name="connsiteX7" fmla="*/ 822445 w 864238"/>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8" h="863494">
                <a:moveTo>
                  <a:pt x="822445" y="863494"/>
                </a:moveTo>
                <a:lnTo>
                  <a:pt x="0" y="863494"/>
                </a:lnTo>
                <a:lnTo>
                  <a:pt x="0" y="41758"/>
                </a:lnTo>
                <a:cubicBezTo>
                  <a:pt x="0" y="17896"/>
                  <a:pt x="19404" y="0"/>
                  <a:pt x="41794" y="0"/>
                </a:cubicBezTo>
                <a:lnTo>
                  <a:pt x="822445" y="0"/>
                </a:lnTo>
                <a:cubicBezTo>
                  <a:pt x="846327" y="0"/>
                  <a:pt x="864238" y="19388"/>
                  <a:pt x="864238" y="41758"/>
                </a:cubicBezTo>
                <a:lnTo>
                  <a:pt x="864238" y="821736"/>
                </a:lnTo>
                <a:cubicBezTo>
                  <a:pt x="864238" y="844107"/>
                  <a:pt x="844834" y="863494"/>
                  <a:pt x="822445" y="863494"/>
                </a:cubicBezTo>
                <a:close/>
              </a:path>
            </a:pathLst>
          </a:custGeom>
          <a:solidFill>
            <a:srgbClr val="A0DCFF"/>
          </a:solidFill>
          <a:ln w="14807" cap="flat">
            <a:solidFill>
              <a:srgbClr val="FFFFFF"/>
            </a:solidFill>
            <a:prstDash val="solid"/>
            <a:round/>
          </a:ln>
        </p:spPr>
        <p:txBody>
          <a:bodyPr rtlCol="0" anchor="ctr"/>
          <a:lstStyle/>
          <a:p>
            <a:endParaRPr lang="en-GB"/>
          </a:p>
        </p:txBody>
      </p:sp>
      <p:sp>
        <p:nvSpPr>
          <p:cNvPr id="1151" name="Freeform 1817">
            <a:extLst>
              <a:ext uri="{FF2B5EF4-FFF2-40B4-BE49-F238E27FC236}">
                <a16:creationId xmlns:a16="http://schemas.microsoft.com/office/drawing/2014/main" id="{5972F67E-7496-346E-F00E-4FAAA560C23B}"/>
              </a:ext>
            </a:extLst>
          </p:cNvPr>
          <p:cNvSpPr/>
          <p:nvPr/>
        </p:nvSpPr>
        <p:spPr>
          <a:xfrm>
            <a:off x="880716" y="3122135"/>
            <a:ext cx="864238" cy="863494"/>
          </a:xfrm>
          <a:custGeom>
            <a:avLst/>
            <a:gdLst>
              <a:gd name="connsiteX0" fmla="*/ 864239 w 864238"/>
              <a:gd name="connsiteY0" fmla="*/ 863494 h 863494"/>
              <a:gd name="connsiteX1" fmla="*/ 41794 w 864238"/>
              <a:gd name="connsiteY1" fmla="*/ 863494 h 863494"/>
              <a:gd name="connsiteX2" fmla="*/ 0 w 864238"/>
              <a:gd name="connsiteY2" fmla="*/ 821736 h 863494"/>
              <a:gd name="connsiteX3" fmla="*/ 0 w 864238"/>
              <a:gd name="connsiteY3" fmla="*/ 41758 h 863494"/>
              <a:gd name="connsiteX4" fmla="*/ 41794 w 864238"/>
              <a:gd name="connsiteY4" fmla="*/ 0 h 863494"/>
              <a:gd name="connsiteX5" fmla="*/ 864239 w 864238"/>
              <a:gd name="connsiteY5" fmla="*/ 0 h 863494"/>
              <a:gd name="connsiteX6" fmla="*/ 864239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64239" y="863494"/>
                </a:moveTo>
                <a:lnTo>
                  <a:pt x="41794" y="863494"/>
                </a:lnTo>
                <a:cubicBezTo>
                  <a:pt x="17912" y="863494"/>
                  <a:pt x="0" y="844107"/>
                  <a:pt x="0" y="821736"/>
                </a:cubicBezTo>
                <a:lnTo>
                  <a:pt x="0" y="41758"/>
                </a:lnTo>
                <a:cubicBezTo>
                  <a:pt x="0" y="17896"/>
                  <a:pt x="19404" y="0"/>
                  <a:pt x="41794" y="0"/>
                </a:cubicBezTo>
                <a:lnTo>
                  <a:pt x="864239" y="0"/>
                </a:lnTo>
                <a:lnTo>
                  <a:pt x="864239" y="863494"/>
                </a:lnTo>
                <a:close/>
              </a:path>
            </a:pathLst>
          </a:custGeom>
          <a:solidFill>
            <a:srgbClr val="A0DCFF"/>
          </a:solidFill>
          <a:ln w="14807" cap="flat">
            <a:solidFill>
              <a:srgbClr val="FFFFFF"/>
            </a:solidFill>
            <a:prstDash val="solid"/>
            <a:round/>
          </a:ln>
        </p:spPr>
        <p:txBody>
          <a:bodyPr rtlCol="0" anchor="ctr"/>
          <a:lstStyle/>
          <a:p>
            <a:endParaRPr lang="en-GB"/>
          </a:p>
        </p:txBody>
      </p:sp>
      <p:sp>
        <p:nvSpPr>
          <p:cNvPr id="1152" name="Freeform 1818">
            <a:extLst>
              <a:ext uri="{FF2B5EF4-FFF2-40B4-BE49-F238E27FC236}">
                <a16:creationId xmlns:a16="http://schemas.microsoft.com/office/drawing/2014/main" id="{1CB35853-9170-F52C-8C55-065196D7D8FD}"/>
              </a:ext>
            </a:extLst>
          </p:cNvPr>
          <p:cNvSpPr/>
          <p:nvPr/>
        </p:nvSpPr>
        <p:spPr>
          <a:xfrm>
            <a:off x="880716" y="3985629"/>
            <a:ext cx="864238" cy="863494"/>
          </a:xfrm>
          <a:custGeom>
            <a:avLst/>
            <a:gdLst>
              <a:gd name="connsiteX0" fmla="*/ 864239 w 864238"/>
              <a:gd name="connsiteY0" fmla="*/ 863494 h 863494"/>
              <a:gd name="connsiteX1" fmla="*/ 41794 w 864238"/>
              <a:gd name="connsiteY1" fmla="*/ 863494 h 863494"/>
              <a:gd name="connsiteX2" fmla="*/ 0 w 864238"/>
              <a:gd name="connsiteY2" fmla="*/ 821736 h 863494"/>
              <a:gd name="connsiteX3" fmla="*/ 0 w 864238"/>
              <a:gd name="connsiteY3" fmla="*/ 41758 h 863494"/>
              <a:gd name="connsiteX4" fmla="*/ 41794 w 864238"/>
              <a:gd name="connsiteY4" fmla="*/ 0 h 863494"/>
              <a:gd name="connsiteX5" fmla="*/ 864239 w 864238"/>
              <a:gd name="connsiteY5" fmla="*/ 0 h 863494"/>
              <a:gd name="connsiteX6" fmla="*/ 864239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64239" y="863494"/>
                </a:moveTo>
                <a:lnTo>
                  <a:pt x="41794" y="863494"/>
                </a:lnTo>
                <a:cubicBezTo>
                  <a:pt x="17912" y="863494"/>
                  <a:pt x="0" y="844106"/>
                  <a:pt x="0" y="821736"/>
                </a:cubicBezTo>
                <a:lnTo>
                  <a:pt x="0" y="41758"/>
                </a:lnTo>
                <a:cubicBezTo>
                  <a:pt x="0" y="17896"/>
                  <a:pt x="19404" y="0"/>
                  <a:pt x="41794" y="0"/>
                </a:cubicBezTo>
                <a:lnTo>
                  <a:pt x="864239" y="0"/>
                </a:lnTo>
                <a:lnTo>
                  <a:pt x="864239" y="863494"/>
                </a:lnTo>
                <a:close/>
              </a:path>
            </a:pathLst>
          </a:custGeom>
          <a:solidFill>
            <a:srgbClr val="A0DCFF"/>
          </a:solidFill>
          <a:ln w="14807" cap="flat">
            <a:solidFill>
              <a:srgbClr val="FFFFFF"/>
            </a:solidFill>
            <a:prstDash val="solid"/>
            <a:round/>
          </a:ln>
        </p:spPr>
        <p:txBody>
          <a:bodyPr rtlCol="0" anchor="ctr"/>
          <a:lstStyle/>
          <a:p>
            <a:endParaRPr lang="en-GB"/>
          </a:p>
        </p:txBody>
      </p:sp>
      <p:sp>
        <p:nvSpPr>
          <p:cNvPr id="1153" name="Freeform 1819">
            <a:extLst>
              <a:ext uri="{FF2B5EF4-FFF2-40B4-BE49-F238E27FC236}">
                <a16:creationId xmlns:a16="http://schemas.microsoft.com/office/drawing/2014/main" id="{C002FB91-A794-6703-F971-AE3F9A1609D3}"/>
              </a:ext>
            </a:extLst>
          </p:cNvPr>
          <p:cNvSpPr/>
          <p:nvPr/>
        </p:nvSpPr>
        <p:spPr>
          <a:xfrm>
            <a:off x="1744955" y="3985629"/>
            <a:ext cx="864238" cy="863494"/>
          </a:xfrm>
          <a:custGeom>
            <a:avLst/>
            <a:gdLst>
              <a:gd name="connsiteX0" fmla="*/ 0 w 864238"/>
              <a:gd name="connsiteY0" fmla="*/ 0 h 863494"/>
              <a:gd name="connsiteX1" fmla="*/ 864238 w 864238"/>
              <a:gd name="connsiteY1" fmla="*/ 0 h 863494"/>
              <a:gd name="connsiteX2" fmla="*/ 864238 w 864238"/>
              <a:gd name="connsiteY2" fmla="*/ 863494 h 863494"/>
              <a:gd name="connsiteX3" fmla="*/ 0 w 864238"/>
              <a:gd name="connsiteY3" fmla="*/ 863494 h 863494"/>
            </a:gdLst>
            <a:ahLst/>
            <a:cxnLst>
              <a:cxn ang="0">
                <a:pos x="connsiteX0" y="connsiteY0"/>
              </a:cxn>
              <a:cxn ang="0">
                <a:pos x="connsiteX1" y="connsiteY1"/>
              </a:cxn>
              <a:cxn ang="0">
                <a:pos x="connsiteX2" y="connsiteY2"/>
              </a:cxn>
              <a:cxn ang="0">
                <a:pos x="connsiteX3" y="connsiteY3"/>
              </a:cxn>
            </a:cxnLst>
            <a:rect l="l" t="t" r="r" b="b"/>
            <a:pathLst>
              <a:path w="864238" h="863494">
                <a:moveTo>
                  <a:pt x="0" y="0"/>
                </a:moveTo>
                <a:lnTo>
                  <a:pt x="864238" y="0"/>
                </a:lnTo>
                <a:lnTo>
                  <a:pt x="864238" y="863494"/>
                </a:lnTo>
                <a:lnTo>
                  <a:pt x="0" y="863494"/>
                </a:lnTo>
                <a:close/>
              </a:path>
            </a:pathLst>
          </a:custGeom>
          <a:solidFill>
            <a:srgbClr val="A0DCFF"/>
          </a:solidFill>
          <a:ln w="14807" cap="flat">
            <a:solidFill>
              <a:srgbClr val="FFFFFF"/>
            </a:solidFill>
            <a:prstDash val="solid"/>
            <a:round/>
          </a:ln>
        </p:spPr>
        <p:txBody>
          <a:bodyPr rtlCol="0" anchor="ctr"/>
          <a:lstStyle/>
          <a:p>
            <a:endParaRPr lang="en-GB"/>
          </a:p>
        </p:txBody>
      </p:sp>
      <p:sp>
        <p:nvSpPr>
          <p:cNvPr id="1154" name="Freeform 1820">
            <a:extLst>
              <a:ext uri="{FF2B5EF4-FFF2-40B4-BE49-F238E27FC236}">
                <a16:creationId xmlns:a16="http://schemas.microsoft.com/office/drawing/2014/main" id="{48D39848-5919-B5C7-579B-8C07C66D79C0}"/>
              </a:ext>
            </a:extLst>
          </p:cNvPr>
          <p:cNvSpPr/>
          <p:nvPr/>
        </p:nvSpPr>
        <p:spPr>
          <a:xfrm>
            <a:off x="880716" y="4849123"/>
            <a:ext cx="864238" cy="863494"/>
          </a:xfrm>
          <a:custGeom>
            <a:avLst/>
            <a:gdLst>
              <a:gd name="connsiteX0" fmla="*/ 822445 w 864238"/>
              <a:gd name="connsiteY0" fmla="*/ 863494 h 863494"/>
              <a:gd name="connsiteX1" fmla="*/ 41794 w 864238"/>
              <a:gd name="connsiteY1" fmla="*/ 863494 h 863494"/>
              <a:gd name="connsiteX2" fmla="*/ 0 w 864238"/>
              <a:gd name="connsiteY2" fmla="*/ 821736 h 863494"/>
              <a:gd name="connsiteX3" fmla="*/ 0 w 864238"/>
              <a:gd name="connsiteY3" fmla="*/ 41758 h 863494"/>
              <a:gd name="connsiteX4" fmla="*/ 41794 w 864238"/>
              <a:gd name="connsiteY4" fmla="*/ 0 h 863494"/>
              <a:gd name="connsiteX5" fmla="*/ 864239 w 864238"/>
              <a:gd name="connsiteY5" fmla="*/ 0 h 863494"/>
              <a:gd name="connsiteX6" fmla="*/ 864239 w 864238"/>
              <a:gd name="connsiteY6" fmla="*/ 821736 h 863494"/>
              <a:gd name="connsiteX7" fmla="*/ 822445 w 864238"/>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8" h="863494">
                <a:moveTo>
                  <a:pt x="822445" y="863494"/>
                </a:moveTo>
                <a:lnTo>
                  <a:pt x="41794" y="863494"/>
                </a:lnTo>
                <a:cubicBezTo>
                  <a:pt x="17912" y="863494"/>
                  <a:pt x="0" y="844106"/>
                  <a:pt x="0" y="821736"/>
                </a:cubicBezTo>
                <a:lnTo>
                  <a:pt x="0" y="41758"/>
                </a:lnTo>
                <a:cubicBezTo>
                  <a:pt x="0" y="17896"/>
                  <a:pt x="19404" y="0"/>
                  <a:pt x="41794" y="0"/>
                </a:cubicBezTo>
                <a:lnTo>
                  <a:pt x="864239" y="0"/>
                </a:lnTo>
                <a:lnTo>
                  <a:pt x="864239" y="821736"/>
                </a:lnTo>
                <a:cubicBezTo>
                  <a:pt x="864239" y="844106"/>
                  <a:pt x="844834" y="863494"/>
                  <a:pt x="822445" y="863494"/>
                </a:cubicBezTo>
                <a:close/>
              </a:path>
            </a:pathLst>
          </a:custGeom>
          <a:solidFill>
            <a:srgbClr val="A0DCFF"/>
          </a:solidFill>
          <a:ln w="14807" cap="flat">
            <a:solidFill>
              <a:srgbClr val="FFFFFF"/>
            </a:solidFill>
            <a:prstDash val="solid"/>
            <a:round/>
          </a:ln>
        </p:spPr>
        <p:txBody>
          <a:bodyPr rtlCol="0" anchor="ctr"/>
          <a:lstStyle/>
          <a:p>
            <a:endParaRPr lang="en-GB"/>
          </a:p>
        </p:txBody>
      </p:sp>
      <p:sp>
        <p:nvSpPr>
          <p:cNvPr id="1155" name="Freeform 1821">
            <a:extLst>
              <a:ext uri="{FF2B5EF4-FFF2-40B4-BE49-F238E27FC236}">
                <a16:creationId xmlns:a16="http://schemas.microsoft.com/office/drawing/2014/main" id="{DC41CB2C-9E92-532A-935B-2AFCA81C9ECD}"/>
              </a:ext>
            </a:extLst>
          </p:cNvPr>
          <p:cNvSpPr/>
          <p:nvPr/>
        </p:nvSpPr>
        <p:spPr>
          <a:xfrm>
            <a:off x="1744955" y="4849123"/>
            <a:ext cx="864238" cy="863494"/>
          </a:xfrm>
          <a:custGeom>
            <a:avLst/>
            <a:gdLst>
              <a:gd name="connsiteX0" fmla="*/ 822445 w 864238"/>
              <a:gd name="connsiteY0" fmla="*/ 863494 h 863494"/>
              <a:gd name="connsiteX1" fmla="*/ 41794 w 864238"/>
              <a:gd name="connsiteY1" fmla="*/ 863494 h 863494"/>
              <a:gd name="connsiteX2" fmla="*/ 0 w 864238"/>
              <a:gd name="connsiteY2" fmla="*/ 821736 h 863494"/>
              <a:gd name="connsiteX3" fmla="*/ 0 w 864238"/>
              <a:gd name="connsiteY3" fmla="*/ 0 h 863494"/>
              <a:gd name="connsiteX4" fmla="*/ 864238 w 864238"/>
              <a:gd name="connsiteY4" fmla="*/ 0 h 863494"/>
              <a:gd name="connsiteX5" fmla="*/ 864238 w 864238"/>
              <a:gd name="connsiteY5" fmla="*/ 821736 h 863494"/>
              <a:gd name="connsiteX6" fmla="*/ 822445 w 864238"/>
              <a:gd name="connsiteY6"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238" h="863494">
                <a:moveTo>
                  <a:pt x="822445" y="863494"/>
                </a:moveTo>
                <a:lnTo>
                  <a:pt x="41794" y="863494"/>
                </a:lnTo>
                <a:cubicBezTo>
                  <a:pt x="17912" y="863494"/>
                  <a:pt x="0" y="844106"/>
                  <a:pt x="0" y="821736"/>
                </a:cubicBezTo>
                <a:lnTo>
                  <a:pt x="0" y="0"/>
                </a:lnTo>
                <a:lnTo>
                  <a:pt x="864238" y="0"/>
                </a:lnTo>
                <a:lnTo>
                  <a:pt x="864238" y="821736"/>
                </a:lnTo>
                <a:cubicBezTo>
                  <a:pt x="864238" y="844106"/>
                  <a:pt x="844834" y="863494"/>
                  <a:pt x="822445" y="863494"/>
                </a:cubicBezTo>
                <a:close/>
              </a:path>
            </a:pathLst>
          </a:custGeom>
          <a:solidFill>
            <a:srgbClr val="A0DCFF"/>
          </a:solidFill>
          <a:ln w="14807" cap="flat">
            <a:solidFill>
              <a:srgbClr val="FFFFFF"/>
            </a:solidFill>
            <a:prstDash val="solid"/>
            <a:round/>
          </a:ln>
        </p:spPr>
        <p:txBody>
          <a:bodyPr rtlCol="0" anchor="ctr"/>
          <a:lstStyle/>
          <a:p>
            <a:endParaRPr lang="en-GB"/>
          </a:p>
        </p:txBody>
      </p:sp>
      <p:sp>
        <p:nvSpPr>
          <p:cNvPr id="1156" name="Freeform 1839">
            <a:extLst>
              <a:ext uri="{FF2B5EF4-FFF2-40B4-BE49-F238E27FC236}">
                <a16:creationId xmlns:a16="http://schemas.microsoft.com/office/drawing/2014/main" id="{EC529DE3-1847-48DF-E31C-F1C106069429}"/>
              </a:ext>
            </a:extLst>
          </p:cNvPr>
          <p:cNvSpPr/>
          <p:nvPr/>
        </p:nvSpPr>
        <p:spPr>
          <a:xfrm>
            <a:off x="880717" y="2054325"/>
            <a:ext cx="1728477" cy="14913"/>
          </a:xfrm>
          <a:custGeom>
            <a:avLst/>
            <a:gdLst>
              <a:gd name="connsiteX0" fmla="*/ 0 w 1728477"/>
              <a:gd name="connsiteY0" fmla="*/ 0 h 14913"/>
              <a:gd name="connsiteX1" fmla="*/ 1728477 w 1728477"/>
              <a:gd name="connsiteY1" fmla="*/ 0 h 14913"/>
            </a:gdLst>
            <a:ahLst/>
            <a:cxnLst>
              <a:cxn ang="0">
                <a:pos x="connsiteX0" y="connsiteY0"/>
              </a:cxn>
              <a:cxn ang="0">
                <a:pos x="connsiteX1" y="connsiteY1"/>
              </a:cxn>
            </a:cxnLst>
            <a:rect l="l" t="t" r="r" b="b"/>
            <a:pathLst>
              <a:path w="1728477" h="14913">
                <a:moveTo>
                  <a:pt x="0" y="0"/>
                </a:moveTo>
                <a:lnTo>
                  <a:pt x="1728477" y="0"/>
                </a:lnTo>
              </a:path>
            </a:pathLst>
          </a:custGeom>
          <a:ln w="74033" cap="flat">
            <a:solidFill>
              <a:srgbClr val="A0DCFF"/>
            </a:solidFill>
            <a:prstDash val="solid"/>
            <a:miter/>
          </a:ln>
        </p:spPr>
        <p:txBody>
          <a:bodyPr rtlCol="0" anchor="ctr"/>
          <a:lstStyle/>
          <a:p>
            <a:endParaRPr lang="en-GB"/>
          </a:p>
        </p:txBody>
      </p:sp>
      <p:sp>
        <p:nvSpPr>
          <p:cNvPr id="1157" name="Freeform 1862">
            <a:extLst>
              <a:ext uri="{FF2B5EF4-FFF2-40B4-BE49-F238E27FC236}">
                <a16:creationId xmlns:a16="http://schemas.microsoft.com/office/drawing/2014/main" id="{17F3B211-8C1E-D24A-1568-9AAEFF771869}"/>
              </a:ext>
            </a:extLst>
          </p:cNvPr>
          <p:cNvSpPr/>
          <p:nvPr/>
        </p:nvSpPr>
        <p:spPr>
          <a:xfrm>
            <a:off x="2631583" y="2934224"/>
            <a:ext cx="1719521" cy="14913"/>
          </a:xfrm>
          <a:custGeom>
            <a:avLst/>
            <a:gdLst>
              <a:gd name="connsiteX0" fmla="*/ 0 w 1719521"/>
              <a:gd name="connsiteY0" fmla="*/ 0 h 14913"/>
              <a:gd name="connsiteX1" fmla="*/ 1719521 w 1719521"/>
              <a:gd name="connsiteY1" fmla="*/ 0 h 14913"/>
            </a:gdLst>
            <a:ahLst/>
            <a:cxnLst>
              <a:cxn ang="0">
                <a:pos x="connsiteX0" y="connsiteY0"/>
              </a:cxn>
              <a:cxn ang="0">
                <a:pos x="connsiteX1" y="connsiteY1"/>
              </a:cxn>
            </a:cxnLst>
            <a:rect l="l" t="t" r="r" b="b"/>
            <a:pathLst>
              <a:path w="1719521" h="14913">
                <a:moveTo>
                  <a:pt x="0" y="0"/>
                </a:moveTo>
                <a:lnTo>
                  <a:pt x="1719521" y="0"/>
                </a:lnTo>
              </a:path>
            </a:pathLst>
          </a:custGeom>
          <a:ln w="74033" cap="flat">
            <a:solidFill>
              <a:srgbClr val="DDEFE8"/>
            </a:solidFill>
            <a:prstDash val="solid"/>
            <a:miter/>
          </a:ln>
        </p:spPr>
        <p:txBody>
          <a:bodyPr rtlCol="0" anchor="ctr"/>
          <a:lstStyle/>
          <a:p>
            <a:endParaRPr lang="en-GB"/>
          </a:p>
        </p:txBody>
      </p:sp>
      <p:sp>
        <p:nvSpPr>
          <p:cNvPr id="1158" name="Freeform 1884">
            <a:extLst>
              <a:ext uri="{FF2B5EF4-FFF2-40B4-BE49-F238E27FC236}">
                <a16:creationId xmlns:a16="http://schemas.microsoft.com/office/drawing/2014/main" id="{15923DD1-6602-6DE2-AB92-794D98E91253}"/>
              </a:ext>
            </a:extLst>
          </p:cNvPr>
          <p:cNvSpPr/>
          <p:nvPr/>
        </p:nvSpPr>
        <p:spPr>
          <a:xfrm>
            <a:off x="4373494" y="3793245"/>
            <a:ext cx="1709072" cy="14913"/>
          </a:xfrm>
          <a:custGeom>
            <a:avLst/>
            <a:gdLst>
              <a:gd name="connsiteX0" fmla="*/ 0 w 1709072"/>
              <a:gd name="connsiteY0" fmla="*/ 0 h 14913"/>
              <a:gd name="connsiteX1" fmla="*/ 1709073 w 1709072"/>
              <a:gd name="connsiteY1" fmla="*/ 0 h 14913"/>
            </a:gdLst>
            <a:ahLst/>
            <a:cxnLst>
              <a:cxn ang="0">
                <a:pos x="connsiteX0" y="connsiteY0"/>
              </a:cxn>
              <a:cxn ang="0">
                <a:pos x="connsiteX1" y="connsiteY1"/>
              </a:cxn>
            </a:cxnLst>
            <a:rect l="l" t="t" r="r" b="b"/>
            <a:pathLst>
              <a:path w="1709072" h="14913">
                <a:moveTo>
                  <a:pt x="0" y="0"/>
                </a:moveTo>
                <a:lnTo>
                  <a:pt x="1709073" y="0"/>
                </a:lnTo>
              </a:path>
            </a:pathLst>
          </a:custGeom>
          <a:ln w="74033" cap="flat">
            <a:solidFill>
              <a:srgbClr val="C4D600"/>
            </a:solidFill>
            <a:prstDash val="solid"/>
            <a:miter/>
          </a:ln>
        </p:spPr>
        <p:txBody>
          <a:bodyPr rtlCol="0" anchor="ctr"/>
          <a:lstStyle/>
          <a:p>
            <a:endParaRPr lang="en-GB"/>
          </a:p>
        </p:txBody>
      </p:sp>
      <p:sp>
        <p:nvSpPr>
          <p:cNvPr id="1159" name="Freeform 1911">
            <a:extLst>
              <a:ext uri="{FF2B5EF4-FFF2-40B4-BE49-F238E27FC236}">
                <a16:creationId xmlns:a16="http://schemas.microsoft.com/office/drawing/2014/main" id="{B0A73BFD-A5D7-E04A-CA3E-C528E0552E95}"/>
              </a:ext>
            </a:extLst>
          </p:cNvPr>
          <p:cNvSpPr/>
          <p:nvPr/>
        </p:nvSpPr>
        <p:spPr>
          <a:xfrm>
            <a:off x="6118390" y="3793245"/>
            <a:ext cx="1710565" cy="14913"/>
          </a:xfrm>
          <a:custGeom>
            <a:avLst/>
            <a:gdLst>
              <a:gd name="connsiteX0" fmla="*/ 0 w 1710565"/>
              <a:gd name="connsiteY0" fmla="*/ 0 h 14913"/>
              <a:gd name="connsiteX1" fmla="*/ 1710566 w 1710565"/>
              <a:gd name="connsiteY1" fmla="*/ 0 h 14913"/>
            </a:gdLst>
            <a:ahLst/>
            <a:cxnLst>
              <a:cxn ang="0">
                <a:pos x="connsiteX0" y="connsiteY0"/>
              </a:cxn>
              <a:cxn ang="0">
                <a:pos x="connsiteX1" y="connsiteY1"/>
              </a:cxn>
            </a:cxnLst>
            <a:rect l="l" t="t" r="r" b="b"/>
            <a:pathLst>
              <a:path w="1710565" h="14913">
                <a:moveTo>
                  <a:pt x="0" y="0"/>
                </a:moveTo>
                <a:lnTo>
                  <a:pt x="1710566" y="0"/>
                </a:lnTo>
              </a:path>
            </a:pathLst>
          </a:custGeom>
          <a:ln w="74033" cap="flat">
            <a:solidFill>
              <a:srgbClr val="9DD4CF"/>
            </a:solidFill>
            <a:prstDash val="solid"/>
            <a:miter/>
          </a:ln>
        </p:spPr>
        <p:txBody>
          <a:bodyPr rtlCol="0" anchor="ctr"/>
          <a:lstStyle/>
          <a:p>
            <a:endParaRPr lang="en-GB"/>
          </a:p>
        </p:txBody>
      </p:sp>
      <p:sp>
        <p:nvSpPr>
          <p:cNvPr id="1160" name="Freeform 1940">
            <a:extLst>
              <a:ext uri="{FF2B5EF4-FFF2-40B4-BE49-F238E27FC236}">
                <a16:creationId xmlns:a16="http://schemas.microsoft.com/office/drawing/2014/main" id="{EABBF1C4-3C90-F1C5-0121-D1729F205FCE}"/>
              </a:ext>
            </a:extLst>
          </p:cNvPr>
          <p:cNvSpPr/>
          <p:nvPr/>
        </p:nvSpPr>
        <p:spPr>
          <a:xfrm>
            <a:off x="7861793" y="3793245"/>
            <a:ext cx="1712057" cy="14913"/>
          </a:xfrm>
          <a:custGeom>
            <a:avLst/>
            <a:gdLst>
              <a:gd name="connsiteX0" fmla="*/ 0 w 1712057"/>
              <a:gd name="connsiteY0" fmla="*/ 0 h 14913"/>
              <a:gd name="connsiteX1" fmla="*/ 1712058 w 1712057"/>
              <a:gd name="connsiteY1" fmla="*/ 0 h 14913"/>
            </a:gdLst>
            <a:ahLst/>
            <a:cxnLst>
              <a:cxn ang="0">
                <a:pos x="connsiteX0" y="connsiteY0"/>
              </a:cxn>
              <a:cxn ang="0">
                <a:pos x="connsiteX1" y="connsiteY1"/>
              </a:cxn>
            </a:cxnLst>
            <a:rect l="l" t="t" r="r" b="b"/>
            <a:pathLst>
              <a:path w="1712057" h="14913">
                <a:moveTo>
                  <a:pt x="0" y="0"/>
                </a:moveTo>
                <a:lnTo>
                  <a:pt x="1712058" y="0"/>
                </a:lnTo>
              </a:path>
            </a:pathLst>
          </a:custGeom>
          <a:ln w="74033" cap="flat">
            <a:solidFill>
              <a:srgbClr val="86BC25"/>
            </a:solidFill>
            <a:prstDash val="solid"/>
            <a:miter/>
          </a:ln>
        </p:spPr>
        <p:txBody>
          <a:bodyPr rtlCol="0" anchor="ctr"/>
          <a:lstStyle/>
          <a:p>
            <a:endParaRPr lang="en-GB"/>
          </a:p>
        </p:txBody>
      </p:sp>
      <p:sp>
        <p:nvSpPr>
          <p:cNvPr id="1161" name="Freeform 1966">
            <a:extLst>
              <a:ext uri="{FF2B5EF4-FFF2-40B4-BE49-F238E27FC236}">
                <a16:creationId xmlns:a16="http://schemas.microsoft.com/office/drawing/2014/main" id="{48303B81-B26D-B72B-8E40-A72D5FC9F287}"/>
              </a:ext>
            </a:extLst>
          </p:cNvPr>
          <p:cNvSpPr/>
          <p:nvPr/>
        </p:nvSpPr>
        <p:spPr>
          <a:xfrm>
            <a:off x="9638035" y="2091609"/>
            <a:ext cx="1685190" cy="14913"/>
          </a:xfrm>
          <a:custGeom>
            <a:avLst/>
            <a:gdLst>
              <a:gd name="connsiteX0" fmla="*/ 0 w 1685190"/>
              <a:gd name="connsiteY0" fmla="*/ 0 h 14913"/>
              <a:gd name="connsiteX1" fmla="*/ 1685191 w 1685190"/>
              <a:gd name="connsiteY1" fmla="*/ 0 h 14913"/>
            </a:gdLst>
            <a:ahLst/>
            <a:cxnLst>
              <a:cxn ang="0">
                <a:pos x="connsiteX0" y="connsiteY0"/>
              </a:cxn>
              <a:cxn ang="0">
                <a:pos x="connsiteX1" y="connsiteY1"/>
              </a:cxn>
            </a:cxnLst>
            <a:rect l="l" t="t" r="r" b="b"/>
            <a:pathLst>
              <a:path w="1685190" h="14913">
                <a:moveTo>
                  <a:pt x="0" y="0"/>
                </a:moveTo>
                <a:lnTo>
                  <a:pt x="1685191" y="0"/>
                </a:lnTo>
              </a:path>
            </a:pathLst>
          </a:custGeom>
          <a:ln w="74033" cap="flat">
            <a:solidFill>
              <a:srgbClr val="62B5E5"/>
            </a:solidFill>
            <a:prstDash val="solid"/>
            <a:miter/>
          </a:ln>
        </p:spPr>
        <p:txBody>
          <a:bodyPr rtlCol="0" anchor="ctr"/>
          <a:lstStyle/>
          <a:p>
            <a:endParaRPr lang="en-GB"/>
          </a:p>
        </p:txBody>
      </p:sp>
      <p:sp>
        <p:nvSpPr>
          <p:cNvPr id="1162" name="Freeform 2947">
            <a:extLst>
              <a:ext uri="{FF2B5EF4-FFF2-40B4-BE49-F238E27FC236}">
                <a16:creationId xmlns:a16="http://schemas.microsoft.com/office/drawing/2014/main" id="{2B696303-B2C0-519B-9AA1-982E92327F21}"/>
              </a:ext>
            </a:extLst>
          </p:cNvPr>
          <p:cNvSpPr/>
          <p:nvPr/>
        </p:nvSpPr>
        <p:spPr>
          <a:xfrm>
            <a:off x="9596241" y="2258641"/>
            <a:ext cx="864238" cy="863494"/>
          </a:xfrm>
          <a:custGeom>
            <a:avLst/>
            <a:gdLst>
              <a:gd name="connsiteX0" fmla="*/ 864239 w 864238"/>
              <a:gd name="connsiteY0" fmla="*/ 863494 h 863494"/>
              <a:gd name="connsiteX1" fmla="*/ 41794 w 864238"/>
              <a:gd name="connsiteY1" fmla="*/ 863494 h 863494"/>
              <a:gd name="connsiteX2" fmla="*/ 0 w 864238"/>
              <a:gd name="connsiteY2" fmla="*/ 821736 h 863494"/>
              <a:gd name="connsiteX3" fmla="*/ 0 w 864238"/>
              <a:gd name="connsiteY3" fmla="*/ 41758 h 863494"/>
              <a:gd name="connsiteX4" fmla="*/ 41794 w 864238"/>
              <a:gd name="connsiteY4" fmla="*/ 0 h 863494"/>
              <a:gd name="connsiteX5" fmla="*/ 822444 w 864238"/>
              <a:gd name="connsiteY5" fmla="*/ 0 h 863494"/>
              <a:gd name="connsiteX6" fmla="*/ 864239 w 864238"/>
              <a:gd name="connsiteY6" fmla="*/ 41758 h 863494"/>
              <a:gd name="connsiteX7" fmla="*/ 864239 w 864238"/>
              <a:gd name="connsiteY7" fmla="*/ 863494 h 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238" h="863494">
                <a:moveTo>
                  <a:pt x="864239" y="863494"/>
                </a:moveTo>
                <a:lnTo>
                  <a:pt x="41794" y="863494"/>
                </a:lnTo>
                <a:cubicBezTo>
                  <a:pt x="17912" y="863494"/>
                  <a:pt x="0" y="844107"/>
                  <a:pt x="0" y="821736"/>
                </a:cubicBezTo>
                <a:lnTo>
                  <a:pt x="0" y="41758"/>
                </a:lnTo>
                <a:cubicBezTo>
                  <a:pt x="0" y="17896"/>
                  <a:pt x="19404" y="0"/>
                  <a:pt x="41794" y="0"/>
                </a:cubicBezTo>
                <a:lnTo>
                  <a:pt x="822444" y="0"/>
                </a:lnTo>
                <a:cubicBezTo>
                  <a:pt x="846327" y="0"/>
                  <a:pt x="864239" y="19388"/>
                  <a:pt x="864239" y="41758"/>
                </a:cubicBezTo>
                <a:lnTo>
                  <a:pt x="864239" y="863494"/>
                </a:lnTo>
                <a:close/>
              </a:path>
            </a:pathLst>
          </a:custGeom>
          <a:solidFill>
            <a:srgbClr val="62B5E5"/>
          </a:solidFill>
          <a:ln w="14807" cap="flat">
            <a:solidFill>
              <a:srgbClr val="FFFFFF"/>
            </a:solidFill>
            <a:prstDash val="solid"/>
            <a:round/>
          </a:ln>
        </p:spPr>
        <p:txBody>
          <a:bodyPr rtlCol="0" anchor="ctr"/>
          <a:lstStyle/>
          <a:p>
            <a:endParaRPr lang="en-GB"/>
          </a:p>
        </p:txBody>
      </p:sp>
      <p:sp>
        <p:nvSpPr>
          <p:cNvPr id="1163" name="TextBox 1162">
            <a:extLst>
              <a:ext uri="{FF2B5EF4-FFF2-40B4-BE49-F238E27FC236}">
                <a16:creationId xmlns:a16="http://schemas.microsoft.com/office/drawing/2014/main" id="{0E1EE6BF-A9A3-7014-261A-DB62FF12F1DE}"/>
              </a:ext>
            </a:extLst>
          </p:cNvPr>
          <p:cNvSpPr txBox="1"/>
          <p:nvPr/>
        </p:nvSpPr>
        <p:spPr>
          <a:xfrm>
            <a:off x="892004" y="2277638"/>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Dac</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ata Acquisition &amp; collection</a:t>
            </a:r>
          </a:p>
        </p:txBody>
      </p:sp>
      <p:sp>
        <p:nvSpPr>
          <p:cNvPr id="1164" name="TextBox 1163">
            <a:extLst>
              <a:ext uri="{FF2B5EF4-FFF2-40B4-BE49-F238E27FC236}">
                <a16:creationId xmlns:a16="http://schemas.microsoft.com/office/drawing/2014/main" id="{9E264B7E-C076-6E64-5641-3F20D1EADE81}"/>
              </a:ext>
            </a:extLst>
          </p:cNvPr>
          <p:cNvSpPr txBox="1"/>
          <p:nvPr/>
        </p:nvSpPr>
        <p:spPr>
          <a:xfrm>
            <a:off x="892004" y="3131633"/>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D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ata storage</a:t>
            </a:r>
          </a:p>
        </p:txBody>
      </p:sp>
      <p:sp>
        <p:nvSpPr>
          <p:cNvPr id="1165" name="TextBox 1164">
            <a:extLst>
              <a:ext uri="{FF2B5EF4-FFF2-40B4-BE49-F238E27FC236}">
                <a16:creationId xmlns:a16="http://schemas.microsoft.com/office/drawing/2014/main" id="{96F65340-1A22-A675-7DE8-0868A8A2FB6F}"/>
              </a:ext>
            </a:extLst>
          </p:cNvPr>
          <p:cNvSpPr txBox="1"/>
          <p:nvPr/>
        </p:nvSpPr>
        <p:spPr>
          <a:xfrm>
            <a:off x="892004" y="3984585"/>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Dp</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ata processing</a:t>
            </a:r>
          </a:p>
        </p:txBody>
      </p:sp>
      <p:sp>
        <p:nvSpPr>
          <p:cNvPr id="1166" name="TextBox 1165">
            <a:extLst>
              <a:ext uri="{FF2B5EF4-FFF2-40B4-BE49-F238E27FC236}">
                <a16:creationId xmlns:a16="http://schemas.microsoft.com/office/drawing/2014/main" id="{BDC43A4D-E21E-23C8-79FB-91E5DBABAD7B}"/>
              </a:ext>
            </a:extLst>
          </p:cNvPr>
          <p:cNvSpPr txBox="1"/>
          <p:nvPr/>
        </p:nvSpPr>
        <p:spPr>
          <a:xfrm>
            <a:off x="892004" y="4860681"/>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4</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Di</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ata integration</a:t>
            </a:r>
          </a:p>
        </p:txBody>
      </p:sp>
      <p:sp>
        <p:nvSpPr>
          <p:cNvPr id="1167" name="TextBox 1166">
            <a:extLst>
              <a:ext uri="{FF2B5EF4-FFF2-40B4-BE49-F238E27FC236}">
                <a16:creationId xmlns:a16="http://schemas.microsoft.com/office/drawing/2014/main" id="{FCEAB111-8193-2E25-1213-0C31DF13DB4D}"/>
              </a:ext>
            </a:extLst>
          </p:cNvPr>
          <p:cNvSpPr txBox="1"/>
          <p:nvPr/>
        </p:nvSpPr>
        <p:spPr>
          <a:xfrm>
            <a:off x="1763379" y="2277638"/>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5</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Dq</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ata quality</a:t>
            </a:r>
          </a:p>
        </p:txBody>
      </p:sp>
      <p:sp>
        <p:nvSpPr>
          <p:cNvPr id="1168" name="TextBox 1167">
            <a:extLst>
              <a:ext uri="{FF2B5EF4-FFF2-40B4-BE49-F238E27FC236}">
                <a16:creationId xmlns:a16="http://schemas.microsoft.com/office/drawing/2014/main" id="{7948197F-1DF2-80C5-63DE-08CF11F8FFBF}"/>
              </a:ext>
            </a:extLst>
          </p:cNvPr>
          <p:cNvSpPr txBox="1"/>
          <p:nvPr/>
        </p:nvSpPr>
        <p:spPr>
          <a:xfrm>
            <a:off x="1763379" y="3131633"/>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6</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Dpr</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ata privacy</a:t>
            </a:r>
          </a:p>
        </p:txBody>
      </p:sp>
      <p:sp>
        <p:nvSpPr>
          <p:cNvPr id="1169" name="TextBox 1168">
            <a:extLst>
              <a:ext uri="{FF2B5EF4-FFF2-40B4-BE49-F238E27FC236}">
                <a16:creationId xmlns:a16="http://schemas.microsoft.com/office/drawing/2014/main" id="{584A53BA-19B0-2047-2942-5249A3FE388F}"/>
              </a:ext>
            </a:extLst>
          </p:cNvPr>
          <p:cNvSpPr txBox="1"/>
          <p:nvPr/>
        </p:nvSpPr>
        <p:spPr>
          <a:xfrm>
            <a:off x="1763379" y="3984585"/>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7</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Dsc</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ata security</a:t>
            </a:r>
          </a:p>
        </p:txBody>
      </p:sp>
      <p:sp>
        <p:nvSpPr>
          <p:cNvPr id="1170" name="TextBox 1169">
            <a:extLst>
              <a:ext uri="{FF2B5EF4-FFF2-40B4-BE49-F238E27FC236}">
                <a16:creationId xmlns:a16="http://schemas.microsoft.com/office/drawing/2014/main" id="{110ACE1C-10F5-2F3A-889C-A95FDD76EA2D}"/>
              </a:ext>
            </a:extLst>
          </p:cNvPr>
          <p:cNvSpPr txBox="1"/>
          <p:nvPr/>
        </p:nvSpPr>
        <p:spPr>
          <a:xfrm>
            <a:off x="1763379" y="4860681"/>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8</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De</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ata ethics</a:t>
            </a:r>
          </a:p>
        </p:txBody>
      </p:sp>
      <p:sp>
        <p:nvSpPr>
          <p:cNvPr id="1171" name="TextBox 1170">
            <a:extLst>
              <a:ext uri="{FF2B5EF4-FFF2-40B4-BE49-F238E27FC236}">
                <a16:creationId xmlns:a16="http://schemas.microsoft.com/office/drawing/2014/main" id="{8D0C8E3A-E347-97C4-F7C8-C1116683D26B}"/>
              </a:ext>
            </a:extLst>
          </p:cNvPr>
          <p:cNvSpPr txBox="1"/>
          <p:nvPr/>
        </p:nvSpPr>
        <p:spPr>
          <a:xfrm>
            <a:off x="2634798" y="3140862"/>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9</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A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I strategy</a:t>
            </a:r>
          </a:p>
        </p:txBody>
      </p:sp>
      <p:sp>
        <p:nvSpPr>
          <p:cNvPr id="1172" name="TextBox 1171">
            <a:extLst>
              <a:ext uri="{FF2B5EF4-FFF2-40B4-BE49-F238E27FC236}">
                <a16:creationId xmlns:a16="http://schemas.microsoft.com/office/drawing/2014/main" id="{59AA7012-C517-0EC3-3305-411EA34E1A54}"/>
              </a:ext>
            </a:extLst>
          </p:cNvPr>
          <p:cNvSpPr txBox="1"/>
          <p:nvPr/>
        </p:nvSpPr>
        <p:spPr>
          <a:xfrm>
            <a:off x="2634798" y="3994857"/>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0</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Rr</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Roles &amp; responsibilities</a:t>
            </a:r>
          </a:p>
        </p:txBody>
      </p:sp>
      <p:sp>
        <p:nvSpPr>
          <p:cNvPr id="1173" name="TextBox 1172">
            <a:extLst>
              <a:ext uri="{FF2B5EF4-FFF2-40B4-BE49-F238E27FC236}">
                <a16:creationId xmlns:a16="http://schemas.microsoft.com/office/drawing/2014/main" id="{18487EB9-0F65-450F-0FBD-67509EC26CD4}"/>
              </a:ext>
            </a:extLst>
          </p:cNvPr>
          <p:cNvSpPr txBox="1"/>
          <p:nvPr/>
        </p:nvSpPr>
        <p:spPr>
          <a:xfrm>
            <a:off x="2634798" y="4847809"/>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1</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Au</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cceptable </a:t>
            </a:r>
          </a:p>
          <a:p>
            <a:pPr algn="ctr"/>
            <a:r>
              <a:rPr lang="en-GB" sz="700" i="1" dirty="0">
                <a:latin typeface="Open Sans Light" panose="020B0306030504020204" pitchFamily="34" charset="0"/>
                <a:ea typeface="Open Sans Light" panose="020B0306030504020204" pitchFamily="34" charset="0"/>
                <a:cs typeface="Open Sans Light" panose="020B0306030504020204" pitchFamily="34" charset="0"/>
              </a:rPr>
              <a:t>usage</a:t>
            </a:r>
          </a:p>
        </p:txBody>
      </p:sp>
      <p:sp>
        <p:nvSpPr>
          <p:cNvPr id="1174" name="TextBox 1173">
            <a:extLst>
              <a:ext uri="{FF2B5EF4-FFF2-40B4-BE49-F238E27FC236}">
                <a16:creationId xmlns:a16="http://schemas.microsoft.com/office/drawing/2014/main" id="{BA085695-2D9D-CC75-255B-DFCF39D82BA3}"/>
              </a:ext>
            </a:extLst>
          </p:cNvPr>
          <p:cNvSpPr txBox="1"/>
          <p:nvPr/>
        </p:nvSpPr>
        <p:spPr>
          <a:xfrm>
            <a:off x="2634798" y="5723905"/>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2</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Sda</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System design </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mp; architecture</a:t>
            </a:r>
          </a:p>
        </p:txBody>
      </p:sp>
      <p:sp>
        <p:nvSpPr>
          <p:cNvPr id="1175" name="TextBox 1174">
            <a:extLst>
              <a:ext uri="{FF2B5EF4-FFF2-40B4-BE49-F238E27FC236}">
                <a16:creationId xmlns:a16="http://schemas.microsoft.com/office/drawing/2014/main" id="{FB1A727D-543A-61FB-6A7E-987EF423DCC2}"/>
              </a:ext>
            </a:extLst>
          </p:cNvPr>
          <p:cNvSpPr txBox="1"/>
          <p:nvPr/>
        </p:nvSpPr>
        <p:spPr>
          <a:xfrm>
            <a:off x="3506173" y="3140862"/>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3</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R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Requirements</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mp; specifications</a:t>
            </a:r>
          </a:p>
        </p:txBody>
      </p:sp>
      <p:sp>
        <p:nvSpPr>
          <p:cNvPr id="1176" name="TextBox 1175">
            <a:extLst>
              <a:ext uri="{FF2B5EF4-FFF2-40B4-BE49-F238E27FC236}">
                <a16:creationId xmlns:a16="http://schemas.microsoft.com/office/drawing/2014/main" id="{EF9AF06A-3F38-E9EC-BE92-0D1986776186}"/>
              </a:ext>
            </a:extLst>
          </p:cNvPr>
          <p:cNvSpPr txBox="1"/>
          <p:nvPr/>
        </p:nvSpPr>
        <p:spPr>
          <a:xfrm>
            <a:off x="3506173" y="3994857"/>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4</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Ia</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Impact assessment</a:t>
            </a:r>
          </a:p>
        </p:txBody>
      </p:sp>
      <p:sp>
        <p:nvSpPr>
          <p:cNvPr id="1177" name="TextBox 1176">
            <a:extLst>
              <a:ext uri="{FF2B5EF4-FFF2-40B4-BE49-F238E27FC236}">
                <a16:creationId xmlns:a16="http://schemas.microsoft.com/office/drawing/2014/main" id="{B709691D-6580-2DD5-5E1C-FF18952F7A87}"/>
              </a:ext>
            </a:extLst>
          </p:cNvPr>
          <p:cNvSpPr txBox="1"/>
          <p:nvPr/>
        </p:nvSpPr>
        <p:spPr>
          <a:xfrm>
            <a:off x="3506173" y="4847809"/>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5</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Rm</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Risk management</a:t>
            </a:r>
          </a:p>
        </p:txBody>
      </p:sp>
      <p:sp>
        <p:nvSpPr>
          <p:cNvPr id="1178" name="TextBox 1177">
            <a:extLst>
              <a:ext uri="{FF2B5EF4-FFF2-40B4-BE49-F238E27FC236}">
                <a16:creationId xmlns:a16="http://schemas.microsoft.com/office/drawing/2014/main" id="{FE4B884E-2253-5FD0-0A72-4D4BDFB15956}"/>
              </a:ext>
            </a:extLst>
          </p:cNvPr>
          <p:cNvSpPr txBox="1"/>
          <p:nvPr/>
        </p:nvSpPr>
        <p:spPr>
          <a:xfrm>
            <a:off x="3506173" y="5723905"/>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6</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S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System</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security</a:t>
            </a:r>
          </a:p>
        </p:txBody>
      </p:sp>
      <p:sp>
        <p:nvSpPr>
          <p:cNvPr id="1179" name="TextBox 1178">
            <a:extLst>
              <a:ext uri="{FF2B5EF4-FFF2-40B4-BE49-F238E27FC236}">
                <a16:creationId xmlns:a16="http://schemas.microsoft.com/office/drawing/2014/main" id="{CBC9FBDF-1B0A-772F-B0B3-F80DD36D0491}"/>
              </a:ext>
            </a:extLst>
          </p:cNvPr>
          <p:cNvSpPr txBox="1"/>
          <p:nvPr/>
        </p:nvSpPr>
        <p:spPr>
          <a:xfrm>
            <a:off x="4373238" y="4006548"/>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7</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Bu</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Business &amp;</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use-case analysis</a:t>
            </a:r>
          </a:p>
        </p:txBody>
      </p:sp>
      <p:sp>
        <p:nvSpPr>
          <p:cNvPr id="1180" name="TextBox 1179">
            <a:extLst>
              <a:ext uri="{FF2B5EF4-FFF2-40B4-BE49-F238E27FC236}">
                <a16:creationId xmlns:a16="http://schemas.microsoft.com/office/drawing/2014/main" id="{EEC61A2E-4A87-02D7-8FD6-58F8A27CF246}"/>
              </a:ext>
            </a:extLst>
          </p:cNvPr>
          <p:cNvSpPr txBox="1"/>
          <p:nvPr/>
        </p:nvSpPr>
        <p:spPr>
          <a:xfrm>
            <a:off x="4373238" y="4859500"/>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8</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Mdd</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Model design</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mp; development</a:t>
            </a:r>
          </a:p>
        </p:txBody>
      </p:sp>
      <p:sp>
        <p:nvSpPr>
          <p:cNvPr id="1181" name="TextBox 1180">
            <a:extLst>
              <a:ext uri="{FF2B5EF4-FFF2-40B4-BE49-F238E27FC236}">
                <a16:creationId xmlns:a16="http://schemas.microsoft.com/office/drawing/2014/main" id="{231EE6B3-C9FE-B541-7819-27F3412922EF}"/>
              </a:ext>
            </a:extLst>
          </p:cNvPr>
          <p:cNvSpPr txBox="1"/>
          <p:nvPr/>
        </p:nvSpPr>
        <p:spPr>
          <a:xfrm>
            <a:off x="4373238" y="5735596"/>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19</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Mtt</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Model training, tuning &amp; update</a:t>
            </a:r>
          </a:p>
        </p:txBody>
      </p:sp>
      <p:sp>
        <p:nvSpPr>
          <p:cNvPr id="1182" name="TextBox 1181">
            <a:extLst>
              <a:ext uri="{FF2B5EF4-FFF2-40B4-BE49-F238E27FC236}">
                <a16:creationId xmlns:a16="http://schemas.microsoft.com/office/drawing/2014/main" id="{90FEF6C7-BBE5-5C7E-4B08-08090804FFBA}"/>
              </a:ext>
            </a:extLst>
          </p:cNvPr>
          <p:cNvSpPr txBox="1"/>
          <p:nvPr/>
        </p:nvSpPr>
        <p:spPr>
          <a:xfrm>
            <a:off x="5244613" y="4006548"/>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0</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Et</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Evaluation</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mp; testing</a:t>
            </a:r>
          </a:p>
        </p:txBody>
      </p:sp>
      <p:sp>
        <p:nvSpPr>
          <p:cNvPr id="1183" name="TextBox 1182">
            <a:extLst>
              <a:ext uri="{FF2B5EF4-FFF2-40B4-BE49-F238E27FC236}">
                <a16:creationId xmlns:a16="http://schemas.microsoft.com/office/drawing/2014/main" id="{FC5B36C2-CEA9-10FF-57DE-F3E024D8ADC1}"/>
              </a:ext>
            </a:extLst>
          </p:cNvPr>
          <p:cNvSpPr txBox="1"/>
          <p:nvPr/>
        </p:nvSpPr>
        <p:spPr>
          <a:xfrm>
            <a:off x="5244613" y="4859500"/>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1</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Td</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Trustworthy</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by design</a:t>
            </a:r>
          </a:p>
        </p:txBody>
      </p:sp>
      <p:sp>
        <p:nvSpPr>
          <p:cNvPr id="1184" name="TextBox 1183">
            <a:extLst>
              <a:ext uri="{FF2B5EF4-FFF2-40B4-BE49-F238E27FC236}">
                <a16:creationId xmlns:a16="http://schemas.microsoft.com/office/drawing/2014/main" id="{1CF91A41-8AD5-CC65-9180-AA91F527B016}"/>
              </a:ext>
            </a:extLst>
          </p:cNvPr>
          <p:cNvSpPr txBox="1"/>
          <p:nvPr/>
        </p:nvSpPr>
        <p:spPr>
          <a:xfrm>
            <a:off x="5244613" y="5735596"/>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2</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XAl</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Explainable</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mp; Transparent</a:t>
            </a:r>
          </a:p>
        </p:txBody>
      </p:sp>
      <p:sp>
        <p:nvSpPr>
          <p:cNvPr id="1185" name="TextBox 1184">
            <a:extLst>
              <a:ext uri="{FF2B5EF4-FFF2-40B4-BE49-F238E27FC236}">
                <a16:creationId xmlns:a16="http://schemas.microsoft.com/office/drawing/2014/main" id="{153436A3-51B7-1F49-4392-E8B682C7D330}"/>
              </a:ext>
            </a:extLst>
          </p:cNvPr>
          <p:cNvSpPr txBox="1"/>
          <p:nvPr/>
        </p:nvSpPr>
        <p:spPr>
          <a:xfrm>
            <a:off x="6117223" y="4006548"/>
            <a:ext cx="846979" cy="861774"/>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3</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Cd</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600" i="1" spc="-10" dirty="0">
                <a:latin typeface="Open Sans Light" panose="020B0306030504020204" pitchFamily="34" charset="0"/>
                <a:ea typeface="Open Sans Light" panose="020B0306030504020204" pitchFamily="34" charset="0"/>
                <a:cs typeface="Open Sans Light" panose="020B0306030504020204" pitchFamily="34" charset="0"/>
              </a:rPr>
              <a:t>Continuous integration &amp; Continuous delivery</a:t>
            </a:r>
          </a:p>
        </p:txBody>
      </p:sp>
      <p:sp>
        <p:nvSpPr>
          <p:cNvPr id="1186" name="TextBox 1185">
            <a:extLst>
              <a:ext uri="{FF2B5EF4-FFF2-40B4-BE49-F238E27FC236}">
                <a16:creationId xmlns:a16="http://schemas.microsoft.com/office/drawing/2014/main" id="{CF94D319-0848-B80E-1B11-C86CA611F040}"/>
              </a:ext>
            </a:extLst>
          </p:cNvPr>
          <p:cNvSpPr txBox="1"/>
          <p:nvPr/>
        </p:nvSpPr>
        <p:spPr>
          <a:xfrm>
            <a:off x="6117223" y="4859500"/>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4</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Sd</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Secure development</a:t>
            </a:r>
          </a:p>
        </p:txBody>
      </p:sp>
      <p:sp>
        <p:nvSpPr>
          <p:cNvPr id="1187" name="TextBox 1186">
            <a:extLst>
              <a:ext uri="{FF2B5EF4-FFF2-40B4-BE49-F238E27FC236}">
                <a16:creationId xmlns:a16="http://schemas.microsoft.com/office/drawing/2014/main" id="{AE78C1A6-8A3C-C344-AD7D-824DA2458FF4}"/>
              </a:ext>
            </a:extLst>
          </p:cNvPr>
          <p:cNvSpPr txBox="1"/>
          <p:nvPr/>
        </p:nvSpPr>
        <p:spPr>
          <a:xfrm>
            <a:off x="6117223" y="5730410"/>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5</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In</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Interoperability</a:t>
            </a:r>
          </a:p>
        </p:txBody>
      </p:sp>
      <p:sp>
        <p:nvSpPr>
          <p:cNvPr id="1188" name="TextBox 1187">
            <a:extLst>
              <a:ext uri="{FF2B5EF4-FFF2-40B4-BE49-F238E27FC236}">
                <a16:creationId xmlns:a16="http://schemas.microsoft.com/office/drawing/2014/main" id="{F6C9A24C-ABAD-41C2-543C-D3F838302505}"/>
              </a:ext>
            </a:extLst>
          </p:cNvPr>
          <p:cNvSpPr txBox="1"/>
          <p:nvPr/>
        </p:nvSpPr>
        <p:spPr>
          <a:xfrm>
            <a:off x="6988598" y="4006548"/>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6</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Sa</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Sandboxing</a:t>
            </a:r>
          </a:p>
        </p:txBody>
      </p:sp>
      <p:sp>
        <p:nvSpPr>
          <p:cNvPr id="1189" name="TextBox 1188">
            <a:extLst>
              <a:ext uri="{FF2B5EF4-FFF2-40B4-BE49-F238E27FC236}">
                <a16:creationId xmlns:a16="http://schemas.microsoft.com/office/drawing/2014/main" id="{799802A3-CDAD-85ED-FDF9-86B9B2CEAC73}"/>
              </a:ext>
            </a:extLst>
          </p:cNvPr>
          <p:cNvSpPr txBox="1"/>
          <p:nvPr/>
        </p:nvSpPr>
        <p:spPr>
          <a:xfrm>
            <a:off x="6988598" y="4859500"/>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7</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Ml</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err="1">
                <a:latin typeface="Open Sans Light" panose="020B0306030504020204" pitchFamily="34" charset="0"/>
                <a:ea typeface="Open Sans Light" panose="020B0306030504020204" pitchFamily="34" charset="0"/>
                <a:cs typeface="Open Sans Light" panose="020B0306030504020204" pitchFamily="34" charset="0"/>
              </a:rPr>
              <a:t>MLOps</a:t>
            </a:r>
            <a:endParaRPr lang="en-GB" sz="700" i="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90" name="TextBox 1189">
            <a:extLst>
              <a:ext uri="{FF2B5EF4-FFF2-40B4-BE49-F238E27FC236}">
                <a16:creationId xmlns:a16="http://schemas.microsoft.com/office/drawing/2014/main" id="{0A41E489-EC0E-D63F-36DB-205230D9AAE5}"/>
              </a:ext>
            </a:extLst>
          </p:cNvPr>
          <p:cNvSpPr txBox="1"/>
          <p:nvPr/>
        </p:nvSpPr>
        <p:spPr>
          <a:xfrm>
            <a:off x="6988598" y="5730410"/>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8</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Md</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Model</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eployment</a:t>
            </a:r>
          </a:p>
        </p:txBody>
      </p:sp>
      <p:sp>
        <p:nvSpPr>
          <p:cNvPr id="1191" name="TextBox 1190">
            <a:extLst>
              <a:ext uri="{FF2B5EF4-FFF2-40B4-BE49-F238E27FC236}">
                <a16:creationId xmlns:a16="http://schemas.microsoft.com/office/drawing/2014/main" id="{1DEBD89B-F9ED-24D4-A736-9F642B50A357}"/>
              </a:ext>
            </a:extLst>
          </p:cNvPr>
          <p:cNvSpPr txBox="1"/>
          <p:nvPr/>
        </p:nvSpPr>
        <p:spPr>
          <a:xfrm>
            <a:off x="7860627" y="4000043"/>
            <a:ext cx="846979" cy="769441"/>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29</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Hi</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600" i="1" dirty="0">
                <a:latin typeface="Open Sans Light" panose="020B0306030504020204" pitchFamily="34" charset="0"/>
                <a:ea typeface="Open Sans Light" panose="020B0306030504020204" pitchFamily="34" charset="0"/>
                <a:cs typeface="Open Sans Light" panose="020B0306030504020204" pitchFamily="34" charset="0"/>
              </a:rPr>
              <a:t>Human involvement &amp; supervision</a:t>
            </a:r>
            <a:endParaRPr lang="en-GB" sz="700" i="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92" name="TextBox 1191">
            <a:extLst>
              <a:ext uri="{FF2B5EF4-FFF2-40B4-BE49-F238E27FC236}">
                <a16:creationId xmlns:a16="http://schemas.microsoft.com/office/drawing/2014/main" id="{41E2A2CC-FF0C-FC1B-86D8-3BDAF18F908D}"/>
              </a:ext>
            </a:extLst>
          </p:cNvPr>
          <p:cNvSpPr txBox="1"/>
          <p:nvPr/>
        </p:nvSpPr>
        <p:spPr>
          <a:xfrm>
            <a:off x="7860627" y="4852995"/>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0</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Si</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Stakeholder</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involvement</a:t>
            </a:r>
          </a:p>
        </p:txBody>
      </p:sp>
      <p:sp>
        <p:nvSpPr>
          <p:cNvPr id="1193" name="TextBox 1192">
            <a:extLst>
              <a:ext uri="{FF2B5EF4-FFF2-40B4-BE49-F238E27FC236}">
                <a16:creationId xmlns:a16="http://schemas.microsoft.com/office/drawing/2014/main" id="{5E2C9C13-F785-0630-79EA-203278A43104}"/>
              </a:ext>
            </a:extLst>
          </p:cNvPr>
          <p:cNvSpPr txBox="1"/>
          <p:nvPr/>
        </p:nvSpPr>
        <p:spPr>
          <a:xfrm>
            <a:off x="7860627" y="5723905"/>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1</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Cc</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Communication channels</a:t>
            </a:r>
          </a:p>
        </p:txBody>
      </p:sp>
      <p:sp>
        <p:nvSpPr>
          <p:cNvPr id="1194" name="TextBox 1193">
            <a:extLst>
              <a:ext uri="{FF2B5EF4-FFF2-40B4-BE49-F238E27FC236}">
                <a16:creationId xmlns:a16="http://schemas.microsoft.com/office/drawing/2014/main" id="{38EFCC6A-B11C-174E-19C8-95961DEB7525}"/>
              </a:ext>
            </a:extLst>
          </p:cNvPr>
          <p:cNvSpPr txBox="1"/>
          <p:nvPr/>
        </p:nvSpPr>
        <p:spPr>
          <a:xfrm>
            <a:off x="8732002" y="4000043"/>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2</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Ic</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Internal</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communication</a:t>
            </a:r>
          </a:p>
        </p:txBody>
      </p:sp>
      <p:sp>
        <p:nvSpPr>
          <p:cNvPr id="1195" name="TextBox 1194">
            <a:extLst>
              <a:ext uri="{FF2B5EF4-FFF2-40B4-BE49-F238E27FC236}">
                <a16:creationId xmlns:a16="http://schemas.microsoft.com/office/drawing/2014/main" id="{A2C79FFE-B93F-BCD3-1E5A-CFC7C3D7927D}"/>
              </a:ext>
            </a:extLst>
          </p:cNvPr>
          <p:cNvSpPr txBox="1"/>
          <p:nvPr/>
        </p:nvSpPr>
        <p:spPr>
          <a:xfrm>
            <a:off x="8732002" y="4852995"/>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3</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Ec</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External</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communication</a:t>
            </a:r>
          </a:p>
        </p:txBody>
      </p:sp>
      <p:sp>
        <p:nvSpPr>
          <p:cNvPr id="1196" name="TextBox 1195">
            <a:extLst>
              <a:ext uri="{FF2B5EF4-FFF2-40B4-BE49-F238E27FC236}">
                <a16:creationId xmlns:a16="http://schemas.microsoft.com/office/drawing/2014/main" id="{1B81159C-DC6B-65B2-15C0-BE35D1346895}"/>
              </a:ext>
            </a:extLst>
          </p:cNvPr>
          <p:cNvSpPr txBox="1"/>
          <p:nvPr/>
        </p:nvSpPr>
        <p:spPr>
          <a:xfrm>
            <a:off x="8732002" y="5723905"/>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4</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U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User support</a:t>
            </a:r>
          </a:p>
        </p:txBody>
      </p:sp>
      <p:sp>
        <p:nvSpPr>
          <p:cNvPr id="1197" name="TextBox 1196">
            <a:extLst>
              <a:ext uri="{FF2B5EF4-FFF2-40B4-BE49-F238E27FC236}">
                <a16:creationId xmlns:a16="http://schemas.microsoft.com/office/drawing/2014/main" id="{9B6A2F11-09BA-902D-CC0E-0AC2D440B171}"/>
              </a:ext>
            </a:extLst>
          </p:cNvPr>
          <p:cNvSpPr txBox="1"/>
          <p:nvPr/>
        </p:nvSpPr>
        <p:spPr>
          <a:xfrm>
            <a:off x="9607573" y="2271458"/>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5</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Qa</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Quality</a:t>
            </a:r>
          </a:p>
          <a:p>
            <a:pPr algn="ct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ssurance</a:t>
            </a:r>
          </a:p>
        </p:txBody>
      </p:sp>
      <p:sp>
        <p:nvSpPr>
          <p:cNvPr id="1198" name="TextBox 1197">
            <a:extLst>
              <a:ext uri="{FF2B5EF4-FFF2-40B4-BE49-F238E27FC236}">
                <a16:creationId xmlns:a16="http://schemas.microsoft.com/office/drawing/2014/main" id="{4330496D-D90A-5594-303E-D07930B1D4A9}"/>
              </a:ext>
            </a:extLst>
          </p:cNvPr>
          <p:cNvSpPr txBox="1"/>
          <p:nvPr/>
        </p:nvSpPr>
        <p:spPr>
          <a:xfrm>
            <a:off x="9607573" y="3125453"/>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6</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Pr</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Performance</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metrics</a:t>
            </a:r>
          </a:p>
        </p:txBody>
      </p:sp>
      <p:sp>
        <p:nvSpPr>
          <p:cNvPr id="1199" name="TextBox 1198">
            <a:extLst>
              <a:ext uri="{FF2B5EF4-FFF2-40B4-BE49-F238E27FC236}">
                <a16:creationId xmlns:a16="http://schemas.microsoft.com/office/drawing/2014/main" id="{D54D6A0F-9164-AD91-AD5F-85B72E2393C4}"/>
              </a:ext>
            </a:extLst>
          </p:cNvPr>
          <p:cNvSpPr txBox="1"/>
          <p:nvPr/>
        </p:nvSpPr>
        <p:spPr>
          <a:xfrm>
            <a:off x="9607573" y="3978405"/>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7</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Pa</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Performance</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ssessment</a:t>
            </a:r>
          </a:p>
        </p:txBody>
      </p:sp>
      <p:sp>
        <p:nvSpPr>
          <p:cNvPr id="1200" name="TextBox 1199">
            <a:extLst>
              <a:ext uri="{FF2B5EF4-FFF2-40B4-BE49-F238E27FC236}">
                <a16:creationId xmlns:a16="http://schemas.microsoft.com/office/drawing/2014/main" id="{859D832E-B0E6-9A52-8877-4ACDC86066FC}"/>
              </a:ext>
            </a:extLst>
          </p:cNvPr>
          <p:cNvSpPr txBox="1"/>
          <p:nvPr/>
        </p:nvSpPr>
        <p:spPr>
          <a:xfrm>
            <a:off x="9607573" y="4854501"/>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8</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Cm</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Continuous</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monitoring</a:t>
            </a:r>
          </a:p>
        </p:txBody>
      </p:sp>
      <p:sp>
        <p:nvSpPr>
          <p:cNvPr id="1201" name="TextBox 1200">
            <a:extLst>
              <a:ext uri="{FF2B5EF4-FFF2-40B4-BE49-F238E27FC236}">
                <a16:creationId xmlns:a16="http://schemas.microsoft.com/office/drawing/2014/main" id="{4C2FAA28-26C7-18A4-3E2D-B43DFDDBF2A3}"/>
              </a:ext>
            </a:extLst>
          </p:cNvPr>
          <p:cNvSpPr txBox="1"/>
          <p:nvPr/>
        </p:nvSpPr>
        <p:spPr>
          <a:xfrm>
            <a:off x="10478948" y="2271458"/>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39</a:t>
            </a:r>
          </a:p>
          <a:p>
            <a:pPr algn="ctr"/>
            <a:r>
              <a:rPr lang="en-GB" sz="1400" b="1" dirty="0" err="1">
                <a:latin typeface="Open Sans SemiBold" panose="020B0606030504020204" pitchFamily="34" charset="0"/>
                <a:ea typeface="Open Sans SemiBold" panose="020B0606030504020204" pitchFamily="34" charset="0"/>
                <a:cs typeface="Open Sans SemiBold" panose="020B0606030504020204" pitchFamily="34" charset="0"/>
              </a:rPr>
              <a:t>Cma</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Continuous</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maintenance</a:t>
            </a:r>
          </a:p>
        </p:txBody>
      </p:sp>
      <p:sp>
        <p:nvSpPr>
          <p:cNvPr id="1202" name="TextBox 1201">
            <a:extLst>
              <a:ext uri="{FF2B5EF4-FFF2-40B4-BE49-F238E27FC236}">
                <a16:creationId xmlns:a16="http://schemas.microsoft.com/office/drawing/2014/main" id="{BBFEF304-1F8C-4BC1-E363-E7650E6036E3}"/>
              </a:ext>
            </a:extLst>
          </p:cNvPr>
          <p:cNvSpPr txBox="1"/>
          <p:nvPr/>
        </p:nvSpPr>
        <p:spPr>
          <a:xfrm>
            <a:off x="10478948" y="3125453"/>
            <a:ext cx="846979" cy="692497"/>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40</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Ad</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Auditability</a:t>
            </a:r>
          </a:p>
        </p:txBody>
      </p:sp>
      <p:sp>
        <p:nvSpPr>
          <p:cNvPr id="1203" name="TextBox 1202">
            <a:extLst>
              <a:ext uri="{FF2B5EF4-FFF2-40B4-BE49-F238E27FC236}">
                <a16:creationId xmlns:a16="http://schemas.microsoft.com/office/drawing/2014/main" id="{DE416288-CF0F-4B3F-7252-CA1853E05DD0}"/>
              </a:ext>
            </a:extLst>
          </p:cNvPr>
          <p:cNvSpPr txBox="1"/>
          <p:nvPr/>
        </p:nvSpPr>
        <p:spPr>
          <a:xfrm>
            <a:off x="10478948" y="3978405"/>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41</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Ce</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Compliance</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evaluation</a:t>
            </a:r>
          </a:p>
        </p:txBody>
      </p:sp>
      <p:sp>
        <p:nvSpPr>
          <p:cNvPr id="1204" name="TextBox 1203">
            <a:extLst>
              <a:ext uri="{FF2B5EF4-FFF2-40B4-BE49-F238E27FC236}">
                <a16:creationId xmlns:a16="http://schemas.microsoft.com/office/drawing/2014/main" id="{1342BCF5-DEFA-A77C-C5CC-638DA11D806E}"/>
              </a:ext>
            </a:extLst>
          </p:cNvPr>
          <p:cNvSpPr txBox="1"/>
          <p:nvPr/>
        </p:nvSpPr>
        <p:spPr>
          <a:xfrm>
            <a:off x="10478948" y="4854501"/>
            <a:ext cx="846979" cy="800219"/>
          </a:xfrm>
          <a:prstGeom prst="rect">
            <a:avLst/>
          </a:prstGeom>
          <a:noFill/>
        </p:spPr>
        <p:txBody>
          <a:bodyPr wrap="square">
            <a:spAutoFit/>
          </a:bodyPr>
          <a:lstStyle/>
          <a:p>
            <a:r>
              <a:rPr lang="en-GB" sz="1100" b="1" dirty="0">
                <a:latin typeface="Open Sans SemiBold" panose="020B0606030504020204" pitchFamily="34" charset="0"/>
                <a:ea typeface="Open Sans SemiBold" panose="020B0606030504020204" pitchFamily="34" charset="0"/>
                <a:cs typeface="Open Sans SemiBold" panose="020B0606030504020204" pitchFamily="34" charset="0"/>
              </a:rPr>
              <a:t>42</a:t>
            </a:r>
          </a:p>
          <a:p>
            <a:pPr algn="ctr"/>
            <a:r>
              <a:rPr lang="en-GB" sz="1400" b="1" dirty="0">
                <a:latin typeface="Open Sans SemiBold" panose="020B0606030504020204" pitchFamily="34" charset="0"/>
                <a:ea typeface="Open Sans SemiBold" panose="020B0606030504020204" pitchFamily="34" charset="0"/>
                <a:cs typeface="Open Sans SemiBold" panose="020B0606030504020204" pitchFamily="34" charset="0"/>
              </a:rPr>
              <a:t>Bd</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a:p>
            <a:pPr algn="ct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Bias</a:t>
            </a:r>
            <a:br>
              <a:rPr lang="en-GB" sz="700" i="1" dirty="0">
                <a:latin typeface="Open Sans Light" panose="020B0306030504020204" pitchFamily="34" charset="0"/>
                <a:ea typeface="Open Sans Light" panose="020B0306030504020204" pitchFamily="34" charset="0"/>
                <a:cs typeface="Open Sans Light" panose="020B0306030504020204" pitchFamily="34" charset="0"/>
              </a:rPr>
            </a:br>
            <a:r>
              <a:rPr lang="en-GB" sz="700" i="1" dirty="0">
                <a:latin typeface="Open Sans Light" panose="020B0306030504020204" pitchFamily="34" charset="0"/>
                <a:ea typeface="Open Sans Light" panose="020B0306030504020204" pitchFamily="34" charset="0"/>
                <a:cs typeface="Open Sans Light" panose="020B0306030504020204" pitchFamily="34" charset="0"/>
              </a:rPr>
              <a:t>detection</a:t>
            </a:r>
          </a:p>
        </p:txBody>
      </p:sp>
      <p:sp>
        <p:nvSpPr>
          <p:cNvPr id="1205" name="TextBox 1204">
            <a:extLst>
              <a:ext uri="{FF2B5EF4-FFF2-40B4-BE49-F238E27FC236}">
                <a16:creationId xmlns:a16="http://schemas.microsoft.com/office/drawing/2014/main" id="{9CED803B-C78C-1628-9C53-DFE642CDD30A}"/>
              </a:ext>
            </a:extLst>
          </p:cNvPr>
          <p:cNvSpPr txBox="1"/>
          <p:nvPr/>
        </p:nvSpPr>
        <p:spPr>
          <a:xfrm>
            <a:off x="880716" y="1766612"/>
            <a:ext cx="1686730" cy="169277"/>
          </a:xfrm>
          <a:prstGeom prst="rect">
            <a:avLst/>
          </a:prstGeom>
          <a:noFill/>
        </p:spPr>
        <p:txBody>
          <a:bodyPr wrap="square" lIns="0" tIns="0" rIns="0" bIns="0">
            <a:spAutoFit/>
          </a:bodyPr>
          <a:lstStyle/>
          <a:p>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1. DATA GOVERNANCE</a:t>
            </a:r>
          </a:p>
        </p:txBody>
      </p:sp>
      <p:sp>
        <p:nvSpPr>
          <p:cNvPr id="1206" name="TextBox 1205">
            <a:extLst>
              <a:ext uri="{FF2B5EF4-FFF2-40B4-BE49-F238E27FC236}">
                <a16:creationId xmlns:a16="http://schemas.microsoft.com/office/drawing/2014/main" id="{B782314E-BD40-361B-519B-AF0010ECECE7}"/>
              </a:ext>
            </a:extLst>
          </p:cNvPr>
          <p:cNvSpPr txBox="1"/>
          <p:nvPr/>
        </p:nvSpPr>
        <p:spPr>
          <a:xfrm>
            <a:off x="2683963" y="2490827"/>
            <a:ext cx="1686730" cy="338554"/>
          </a:xfrm>
          <a:prstGeom prst="rect">
            <a:avLst/>
          </a:prstGeom>
          <a:noFill/>
        </p:spPr>
        <p:txBody>
          <a:bodyPr wrap="square" lIns="0" tIns="0" rIns="0" bIns="0">
            <a:spAutoFit/>
          </a:bodyPr>
          <a:lstStyle/>
          <a:p>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2. AI SYSTEMS</a:t>
            </a:r>
            <a:b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br>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amp; PROCESSES</a:t>
            </a:r>
          </a:p>
        </p:txBody>
      </p:sp>
      <p:sp>
        <p:nvSpPr>
          <p:cNvPr id="1207" name="TextBox 1206">
            <a:extLst>
              <a:ext uri="{FF2B5EF4-FFF2-40B4-BE49-F238E27FC236}">
                <a16:creationId xmlns:a16="http://schemas.microsoft.com/office/drawing/2014/main" id="{4EBBB0F0-5E1D-0288-81A9-C746A4258654}"/>
              </a:ext>
            </a:extLst>
          </p:cNvPr>
          <p:cNvSpPr txBox="1"/>
          <p:nvPr/>
        </p:nvSpPr>
        <p:spPr>
          <a:xfrm>
            <a:off x="4416732" y="3328997"/>
            <a:ext cx="1686730" cy="338554"/>
          </a:xfrm>
          <a:prstGeom prst="rect">
            <a:avLst/>
          </a:prstGeom>
          <a:noFill/>
        </p:spPr>
        <p:txBody>
          <a:bodyPr wrap="square" lIns="0" tIns="0" rIns="0" bIns="0">
            <a:spAutoFit/>
          </a:bodyPr>
          <a:lstStyle/>
          <a:p>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3. ALGORITHM </a:t>
            </a:r>
            <a:b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br>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ASSURANCE</a:t>
            </a:r>
          </a:p>
        </p:txBody>
      </p:sp>
      <p:sp>
        <p:nvSpPr>
          <p:cNvPr id="1208" name="TextBox 1207">
            <a:extLst>
              <a:ext uri="{FF2B5EF4-FFF2-40B4-BE49-F238E27FC236}">
                <a16:creationId xmlns:a16="http://schemas.microsoft.com/office/drawing/2014/main" id="{E766FA32-60D8-1101-E9AF-4C6AF03A68BC}"/>
              </a:ext>
            </a:extLst>
          </p:cNvPr>
          <p:cNvSpPr txBox="1"/>
          <p:nvPr/>
        </p:nvSpPr>
        <p:spPr>
          <a:xfrm>
            <a:off x="6116745" y="3328997"/>
            <a:ext cx="1686730" cy="338554"/>
          </a:xfrm>
          <a:prstGeom prst="rect">
            <a:avLst/>
          </a:prstGeom>
          <a:noFill/>
        </p:spPr>
        <p:txBody>
          <a:bodyPr wrap="square" lIns="0" tIns="0" rIns="0" bIns="0">
            <a:spAutoFit/>
          </a:bodyPr>
          <a:lstStyle/>
          <a:p>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4. INTEGRATION </a:t>
            </a:r>
            <a:b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br>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amp; DEVELOPMENT</a:t>
            </a:r>
          </a:p>
        </p:txBody>
      </p:sp>
      <p:sp>
        <p:nvSpPr>
          <p:cNvPr id="1209" name="TextBox 1208">
            <a:extLst>
              <a:ext uri="{FF2B5EF4-FFF2-40B4-BE49-F238E27FC236}">
                <a16:creationId xmlns:a16="http://schemas.microsoft.com/office/drawing/2014/main" id="{5DED8B7C-4940-CFB6-B156-26A01EDBF5B3}"/>
              </a:ext>
            </a:extLst>
          </p:cNvPr>
          <p:cNvSpPr txBox="1"/>
          <p:nvPr/>
        </p:nvSpPr>
        <p:spPr>
          <a:xfrm>
            <a:off x="7867055" y="3328997"/>
            <a:ext cx="1686730" cy="338554"/>
          </a:xfrm>
          <a:prstGeom prst="rect">
            <a:avLst/>
          </a:prstGeom>
          <a:noFill/>
        </p:spPr>
        <p:txBody>
          <a:bodyPr wrap="square" lIns="0" tIns="0" rIns="0" bIns="0">
            <a:spAutoFit/>
          </a:bodyPr>
          <a:lstStyle/>
          <a:p>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5. INTERACTION &amp; COMMUNICATION</a:t>
            </a:r>
          </a:p>
        </p:txBody>
      </p:sp>
      <p:sp>
        <p:nvSpPr>
          <p:cNvPr id="1210" name="TextBox 1209">
            <a:extLst>
              <a:ext uri="{FF2B5EF4-FFF2-40B4-BE49-F238E27FC236}">
                <a16:creationId xmlns:a16="http://schemas.microsoft.com/office/drawing/2014/main" id="{59AE6627-3AB1-DFB9-5E6F-2FBAAC6481A7}"/>
              </a:ext>
            </a:extLst>
          </p:cNvPr>
          <p:cNvSpPr txBox="1"/>
          <p:nvPr/>
        </p:nvSpPr>
        <p:spPr>
          <a:xfrm>
            <a:off x="9638035" y="1632847"/>
            <a:ext cx="1686730" cy="338554"/>
          </a:xfrm>
          <a:prstGeom prst="rect">
            <a:avLst/>
          </a:prstGeom>
          <a:noFill/>
        </p:spPr>
        <p:txBody>
          <a:bodyPr wrap="square" lIns="0" tIns="0" rIns="0" bIns="0">
            <a:spAutoFit/>
          </a:bodyPr>
          <a:lstStyle/>
          <a:p>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6. PERFORMANCE </a:t>
            </a:r>
            <a:b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br>
            <a:r>
              <a:rPr lang="en-GB" sz="1100" b="1" dirty="0">
                <a:latin typeface="Open Sans ExtraBold" panose="020B0606030504020204" pitchFamily="34" charset="0"/>
                <a:ea typeface="Open Sans ExtraBold" panose="020B0606030504020204" pitchFamily="34" charset="0"/>
                <a:cs typeface="Open Sans ExtraBold" panose="020B0606030504020204" pitchFamily="34" charset="0"/>
              </a:rPr>
              <a:t>&amp; MONITORING</a:t>
            </a:r>
          </a:p>
        </p:txBody>
      </p:sp>
      <p:sp>
        <p:nvSpPr>
          <p:cNvPr id="4" name="Title 1">
            <a:extLst>
              <a:ext uri="{FF2B5EF4-FFF2-40B4-BE49-F238E27FC236}">
                <a16:creationId xmlns:a16="http://schemas.microsoft.com/office/drawing/2014/main" id="{3F10FFA7-5439-CEDF-738B-0CA923B8AEDF}"/>
              </a:ext>
            </a:extLst>
          </p:cNvPr>
          <p:cNvSpPr txBox="1">
            <a:spLocks/>
          </p:cNvSpPr>
          <p:nvPr/>
        </p:nvSpPr>
        <p:spPr bwMode="gray">
          <a:xfrm>
            <a:off x="896400" y="906411"/>
            <a:ext cx="10467780" cy="787400"/>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r>
              <a:rPr lang="en-US" sz="1400" dirty="0">
                <a:solidFill>
                  <a:prstClr val="black"/>
                </a:solidFill>
                <a:latin typeface="Open Sans Light" panose="020B0306030504020204" pitchFamily="34" charset="0"/>
              </a:rPr>
              <a:t>Deloitte has developed a management framework that can help UNICEF to navigate in the terrains of the whole AI lifecycle from data governance till performance and monitoring. Our services include the design of AI strategies, business impact assessments, AI governance and risk management, Trustworthy AI development, and much more…</a:t>
            </a:r>
          </a:p>
        </p:txBody>
      </p:sp>
      <p:sp>
        <p:nvSpPr>
          <p:cNvPr id="5" name="Title 1">
            <a:extLst>
              <a:ext uri="{FF2B5EF4-FFF2-40B4-BE49-F238E27FC236}">
                <a16:creationId xmlns:a16="http://schemas.microsoft.com/office/drawing/2014/main" id="{E6628BDF-730E-A624-C559-CE2DD03E465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latin typeface="Open Sans Light"/>
                <a:ea typeface="Open Sans Light"/>
                <a:cs typeface="Calibri Light"/>
              </a:rPr>
              <a:t>Artificial Intelligence </a:t>
            </a:r>
            <a:r>
              <a:rPr lang="en-US" dirty="0">
                <a:latin typeface="Open Sans Light"/>
                <a:ea typeface="Open Sans Light"/>
                <a:cs typeface="Calibri Light"/>
              </a:rPr>
              <a:t>Consulting </a:t>
            </a:r>
            <a:r>
              <a:rPr lang="en-US">
                <a:latin typeface="Open Sans Light"/>
                <a:ea typeface="Open Sans Light"/>
                <a:cs typeface="Calibri Light"/>
              </a:rPr>
              <a:t>Services</a:t>
            </a:r>
            <a:r>
              <a:rPr lang="en-US" dirty="0">
                <a:latin typeface="Open Sans Light"/>
                <a:ea typeface="Open Sans Light"/>
                <a:cs typeface="Calibri Light"/>
              </a:rPr>
              <a:t> 1/2</a:t>
            </a:r>
            <a:endParaRPr lang="hu-HU">
              <a:latin typeface="Open Sans Light"/>
              <a:ea typeface="Open Sans Light"/>
              <a:cs typeface="Calibri Light"/>
            </a:endParaRPr>
          </a:p>
        </p:txBody>
      </p:sp>
    </p:spTree>
    <p:extLst>
      <p:ext uri="{BB962C8B-B14F-4D97-AF65-F5344CB8AC3E}">
        <p14:creationId xmlns:p14="http://schemas.microsoft.com/office/powerpoint/2010/main" val="3100872203"/>
      </p:ext>
    </p:extLst>
  </p:cSld>
  <p:clrMapOvr>
    <a:masterClrMapping/>
  </p:clrMapOvr>
  <p:extLst>
    <p:ext uri="{6950BFC3-D8DA-4A85-94F7-54DA5524770B}">
      <p188:commentRel xmlns:p188="http://schemas.microsoft.com/office/powerpoint/2018/8/main" r:id="rId4"/>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64" name="Title 1">
            <a:extLst>
              <a:ext uri="{FF2B5EF4-FFF2-40B4-BE49-F238E27FC236}">
                <a16:creationId xmlns:a16="http://schemas.microsoft.com/office/drawing/2014/main" id="{1F3B52A3-B03D-7D40-D424-16499B46190F}"/>
              </a:ext>
            </a:extLst>
          </p:cNvPr>
          <p:cNvSpPr>
            <a:spLocks noGrp="1"/>
          </p:cNvSpPr>
          <p:nvPr>
            <p:ph type="title"/>
          </p:nvPr>
        </p:nvSpPr>
        <p:spPr>
          <a:xfrm>
            <a:off x="896400" y="906411"/>
            <a:ext cx="10467780" cy="787400"/>
          </a:xfrm>
        </p:spPr>
        <p:txBody>
          <a:bodyPr vert="horz" anchor="t"/>
          <a:lstStyle/>
          <a:p>
            <a:r>
              <a:rPr lang="en-US" sz="1400" dirty="0">
                <a:solidFill>
                  <a:prstClr val="black"/>
                </a:solidFill>
                <a:latin typeface="Open Sans Light" panose="020B0306030504020204" pitchFamily="34" charset="0"/>
              </a:rPr>
              <a:t>We provide end-to-end support across the AI Transformation journey, helping continuously capture new sources  of AI value and transform organizations with AI Strategy</a:t>
            </a:r>
          </a:p>
        </p:txBody>
      </p:sp>
      <p:sp>
        <p:nvSpPr>
          <p:cNvPr id="1065" name="Title 1">
            <a:extLst>
              <a:ext uri="{FF2B5EF4-FFF2-40B4-BE49-F238E27FC236}">
                <a16:creationId xmlns:a16="http://schemas.microsoft.com/office/drawing/2014/main" id="{8C32C409-17A7-7830-F3B0-7E3C50591B1E}"/>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latin typeface="Open Sans Light"/>
                <a:ea typeface="Open Sans Light"/>
                <a:cs typeface="Calibri Light"/>
              </a:rPr>
              <a:t>Artificial Intelligence Consulting Services 2/2</a:t>
            </a:r>
            <a:endParaRPr lang="en-US" dirty="0">
              <a:cs typeface="Calibri Light"/>
            </a:endParaRPr>
          </a:p>
        </p:txBody>
      </p:sp>
      <p:sp>
        <p:nvSpPr>
          <p:cNvPr id="2" name="object 3">
            <a:extLst>
              <a:ext uri="{FF2B5EF4-FFF2-40B4-BE49-F238E27FC236}">
                <a16:creationId xmlns:a16="http://schemas.microsoft.com/office/drawing/2014/main" id="{9611946F-C867-55BF-1E3F-131152A969A8}"/>
              </a:ext>
            </a:extLst>
          </p:cNvPr>
          <p:cNvSpPr/>
          <p:nvPr/>
        </p:nvSpPr>
        <p:spPr>
          <a:xfrm>
            <a:off x="415290" y="1885950"/>
            <a:ext cx="1173480" cy="4479290"/>
          </a:xfrm>
          <a:custGeom>
            <a:avLst/>
            <a:gdLst/>
            <a:ahLst/>
            <a:cxnLst/>
            <a:rect l="l" t="t" r="r" b="b"/>
            <a:pathLst>
              <a:path w="1173480" h="4479290">
                <a:moveTo>
                  <a:pt x="1173480" y="0"/>
                </a:moveTo>
                <a:lnTo>
                  <a:pt x="0" y="0"/>
                </a:lnTo>
                <a:lnTo>
                  <a:pt x="0" y="4124528"/>
                </a:lnTo>
                <a:lnTo>
                  <a:pt x="586740" y="4479036"/>
                </a:lnTo>
                <a:lnTo>
                  <a:pt x="1173480" y="4124528"/>
                </a:lnTo>
                <a:lnTo>
                  <a:pt x="1173480"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4">
            <a:extLst>
              <a:ext uri="{FF2B5EF4-FFF2-40B4-BE49-F238E27FC236}">
                <a16:creationId xmlns:a16="http://schemas.microsoft.com/office/drawing/2014/main" id="{507A91B6-5C68-B996-E3A4-DE05AD7BDAFD}"/>
              </a:ext>
            </a:extLst>
          </p:cNvPr>
          <p:cNvSpPr/>
          <p:nvPr/>
        </p:nvSpPr>
        <p:spPr>
          <a:xfrm>
            <a:off x="415290" y="1885950"/>
            <a:ext cx="1173480" cy="4479290"/>
          </a:xfrm>
          <a:custGeom>
            <a:avLst/>
            <a:gdLst/>
            <a:ahLst/>
            <a:cxnLst/>
            <a:rect l="l" t="t" r="r" b="b"/>
            <a:pathLst>
              <a:path w="1173480" h="4479290">
                <a:moveTo>
                  <a:pt x="1173480" y="0"/>
                </a:moveTo>
                <a:lnTo>
                  <a:pt x="1173480" y="4124528"/>
                </a:lnTo>
                <a:lnTo>
                  <a:pt x="586740" y="4479036"/>
                </a:lnTo>
                <a:lnTo>
                  <a:pt x="0" y="4124528"/>
                </a:lnTo>
                <a:lnTo>
                  <a:pt x="0" y="0"/>
                </a:lnTo>
                <a:lnTo>
                  <a:pt x="1173480" y="0"/>
                </a:lnTo>
                <a:close/>
              </a:path>
            </a:pathLst>
          </a:custGeom>
          <a:ln w="19812">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5">
            <a:extLst>
              <a:ext uri="{FF2B5EF4-FFF2-40B4-BE49-F238E27FC236}">
                <a16:creationId xmlns:a16="http://schemas.microsoft.com/office/drawing/2014/main" id="{1F1850F4-D7DF-DDA7-91C8-14514107DA1B}"/>
              </a:ext>
            </a:extLst>
          </p:cNvPr>
          <p:cNvSpPr/>
          <p:nvPr/>
        </p:nvSpPr>
        <p:spPr>
          <a:xfrm>
            <a:off x="1703070" y="1885950"/>
            <a:ext cx="1173480" cy="4479290"/>
          </a:xfrm>
          <a:custGeom>
            <a:avLst/>
            <a:gdLst/>
            <a:ahLst/>
            <a:cxnLst/>
            <a:rect l="l" t="t" r="r" b="b"/>
            <a:pathLst>
              <a:path w="1173480" h="4479290">
                <a:moveTo>
                  <a:pt x="1173480" y="0"/>
                </a:moveTo>
                <a:lnTo>
                  <a:pt x="0" y="0"/>
                </a:lnTo>
                <a:lnTo>
                  <a:pt x="0" y="4124528"/>
                </a:lnTo>
                <a:lnTo>
                  <a:pt x="586740" y="4479036"/>
                </a:lnTo>
                <a:lnTo>
                  <a:pt x="1173480" y="4124528"/>
                </a:lnTo>
                <a:lnTo>
                  <a:pt x="1173480"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6">
            <a:extLst>
              <a:ext uri="{FF2B5EF4-FFF2-40B4-BE49-F238E27FC236}">
                <a16:creationId xmlns:a16="http://schemas.microsoft.com/office/drawing/2014/main" id="{85F2C23B-13AF-EFF0-329F-DAA590E79352}"/>
              </a:ext>
            </a:extLst>
          </p:cNvPr>
          <p:cNvSpPr/>
          <p:nvPr/>
        </p:nvSpPr>
        <p:spPr>
          <a:xfrm>
            <a:off x="1703070" y="1885950"/>
            <a:ext cx="1173480" cy="4479290"/>
          </a:xfrm>
          <a:custGeom>
            <a:avLst/>
            <a:gdLst/>
            <a:ahLst/>
            <a:cxnLst/>
            <a:rect l="l" t="t" r="r" b="b"/>
            <a:pathLst>
              <a:path w="1173480" h="4479290">
                <a:moveTo>
                  <a:pt x="1173480" y="0"/>
                </a:moveTo>
                <a:lnTo>
                  <a:pt x="1173480" y="4124528"/>
                </a:lnTo>
                <a:lnTo>
                  <a:pt x="586740" y="4479036"/>
                </a:lnTo>
                <a:lnTo>
                  <a:pt x="0" y="4124528"/>
                </a:lnTo>
                <a:lnTo>
                  <a:pt x="0" y="0"/>
                </a:lnTo>
                <a:lnTo>
                  <a:pt x="1173480" y="0"/>
                </a:lnTo>
                <a:close/>
              </a:path>
            </a:pathLst>
          </a:custGeom>
          <a:ln w="19812">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7">
            <a:extLst>
              <a:ext uri="{FF2B5EF4-FFF2-40B4-BE49-F238E27FC236}">
                <a16:creationId xmlns:a16="http://schemas.microsoft.com/office/drawing/2014/main" id="{1CC88B99-C0D9-D3DB-63AF-B2CABFCC80A0}"/>
              </a:ext>
            </a:extLst>
          </p:cNvPr>
          <p:cNvSpPr/>
          <p:nvPr/>
        </p:nvSpPr>
        <p:spPr>
          <a:xfrm>
            <a:off x="2989326" y="1885950"/>
            <a:ext cx="1173480" cy="4479290"/>
          </a:xfrm>
          <a:custGeom>
            <a:avLst/>
            <a:gdLst/>
            <a:ahLst/>
            <a:cxnLst/>
            <a:rect l="l" t="t" r="r" b="b"/>
            <a:pathLst>
              <a:path w="1173479" h="4479290">
                <a:moveTo>
                  <a:pt x="1173479" y="0"/>
                </a:moveTo>
                <a:lnTo>
                  <a:pt x="0" y="0"/>
                </a:lnTo>
                <a:lnTo>
                  <a:pt x="0" y="4124528"/>
                </a:lnTo>
                <a:lnTo>
                  <a:pt x="586739" y="4479036"/>
                </a:lnTo>
                <a:lnTo>
                  <a:pt x="1173479" y="4124528"/>
                </a:lnTo>
                <a:lnTo>
                  <a:pt x="1173479"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8">
            <a:extLst>
              <a:ext uri="{FF2B5EF4-FFF2-40B4-BE49-F238E27FC236}">
                <a16:creationId xmlns:a16="http://schemas.microsoft.com/office/drawing/2014/main" id="{69A287E9-5AB1-833C-7DFF-C0F7E128EB6E}"/>
              </a:ext>
            </a:extLst>
          </p:cNvPr>
          <p:cNvSpPr/>
          <p:nvPr/>
        </p:nvSpPr>
        <p:spPr>
          <a:xfrm>
            <a:off x="2989326" y="1885950"/>
            <a:ext cx="1173480" cy="4479290"/>
          </a:xfrm>
          <a:custGeom>
            <a:avLst/>
            <a:gdLst/>
            <a:ahLst/>
            <a:cxnLst/>
            <a:rect l="l" t="t" r="r" b="b"/>
            <a:pathLst>
              <a:path w="1173479" h="4479290">
                <a:moveTo>
                  <a:pt x="1173479" y="0"/>
                </a:moveTo>
                <a:lnTo>
                  <a:pt x="1173479" y="4124528"/>
                </a:lnTo>
                <a:lnTo>
                  <a:pt x="586739" y="4479036"/>
                </a:lnTo>
                <a:lnTo>
                  <a:pt x="0" y="4124528"/>
                </a:lnTo>
                <a:lnTo>
                  <a:pt x="0" y="0"/>
                </a:lnTo>
                <a:lnTo>
                  <a:pt x="1173479" y="0"/>
                </a:lnTo>
                <a:close/>
              </a:path>
            </a:pathLst>
          </a:custGeom>
          <a:ln w="19812">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9">
            <a:extLst>
              <a:ext uri="{FF2B5EF4-FFF2-40B4-BE49-F238E27FC236}">
                <a16:creationId xmlns:a16="http://schemas.microsoft.com/office/drawing/2014/main" id="{DC1D99C1-AF3F-1E5F-95F3-367E9B7FBCDC}"/>
              </a:ext>
            </a:extLst>
          </p:cNvPr>
          <p:cNvSpPr/>
          <p:nvPr/>
        </p:nvSpPr>
        <p:spPr>
          <a:xfrm>
            <a:off x="4277105" y="1885950"/>
            <a:ext cx="1173480" cy="4479290"/>
          </a:xfrm>
          <a:custGeom>
            <a:avLst/>
            <a:gdLst/>
            <a:ahLst/>
            <a:cxnLst/>
            <a:rect l="l" t="t" r="r" b="b"/>
            <a:pathLst>
              <a:path w="1173479" h="4479290">
                <a:moveTo>
                  <a:pt x="1173480" y="0"/>
                </a:moveTo>
                <a:lnTo>
                  <a:pt x="0" y="0"/>
                </a:lnTo>
                <a:lnTo>
                  <a:pt x="0" y="4124528"/>
                </a:lnTo>
                <a:lnTo>
                  <a:pt x="586740" y="4479036"/>
                </a:lnTo>
                <a:lnTo>
                  <a:pt x="1173480" y="4124528"/>
                </a:lnTo>
                <a:lnTo>
                  <a:pt x="1173480"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0">
            <a:extLst>
              <a:ext uri="{FF2B5EF4-FFF2-40B4-BE49-F238E27FC236}">
                <a16:creationId xmlns:a16="http://schemas.microsoft.com/office/drawing/2014/main" id="{1FBBD53F-F51D-7657-3765-D13957752D6A}"/>
              </a:ext>
            </a:extLst>
          </p:cNvPr>
          <p:cNvSpPr/>
          <p:nvPr/>
        </p:nvSpPr>
        <p:spPr>
          <a:xfrm>
            <a:off x="4277105" y="1885950"/>
            <a:ext cx="1173480" cy="4479290"/>
          </a:xfrm>
          <a:custGeom>
            <a:avLst/>
            <a:gdLst/>
            <a:ahLst/>
            <a:cxnLst/>
            <a:rect l="l" t="t" r="r" b="b"/>
            <a:pathLst>
              <a:path w="1173479" h="4479290">
                <a:moveTo>
                  <a:pt x="1173480" y="0"/>
                </a:moveTo>
                <a:lnTo>
                  <a:pt x="1173480" y="4124528"/>
                </a:lnTo>
                <a:lnTo>
                  <a:pt x="586740" y="4479036"/>
                </a:lnTo>
                <a:lnTo>
                  <a:pt x="0" y="4124528"/>
                </a:lnTo>
                <a:lnTo>
                  <a:pt x="0" y="0"/>
                </a:lnTo>
                <a:lnTo>
                  <a:pt x="1173480" y="0"/>
                </a:lnTo>
                <a:close/>
              </a:path>
            </a:pathLst>
          </a:custGeom>
          <a:ln w="19812">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1">
            <a:extLst>
              <a:ext uri="{FF2B5EF4-FFF2-40B4-BE49-F238E27FC236}">
                <a16:creationId xmlns:a16="http://schemas.microsoft.com/office/drawing/2014/main" id="{6A141D1F-4FBE-649A-D36D-A051746FB161}"/>
              </a:ext>
            </a:extLst>
          </p:cNvPr>
          <p:cNvSpPr/>
          <p:nvPr/>
        </p:nvSpPr>
        <p:spPr>
          <a:xfrm>
            <a:off x="5555741" y="1885950"/>
            <a:ext cx="1173480" cy="4479290"/>
          </a:xfrm>
          <a:custGeom>
            <a:avLst/>
            <a:gdLst/>
            <a:ahLst/>
            <a:cxnLst/>
            <a:rect l="l" t="t" r="r" b="b"/>
            <a:pathLst>
              <a:path w="1173479" h="4479290">
                <a:moveTo>
                  <a:pt x="1173480" y="0"/>
                </a:moveTo>
                <a:lnTo>
                  <a:pt x="0" y="0"/>
                </a:lnTo>
                <a:lnTo>
                  <a:pt x="0" y="4124528"/>
                </a:lnTo>
                <a:lnTo>
                  <a:pt x="586740" y="4479036"/>
                </a:lnTo>
                <a:lnTo>
                  <a:pt x="1173480" y="4124528"/>
                </a:lnTo>
                <a:lnTo>
                  <a:pt x="1173480"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2">
            <a:extLst>
              <a:ext uri="{FF2B5EF4-FFF2-40B4-BE49-F238E27FC236}">
                <a16:creationId xmlns:a16="http://schemas.microsoft.com/office/drawing/2014/main" id="{24216D30-EC36-9603-ADAF-BBA97CFF715F}"/>
              </a:ext>
            </a:extLst>
          </p:cNvPr>
          <p:cNvSpPr/>
          <p:nvPr/>
        </p:nvSpPr>
        <p:spPr>
          <a:xfrm>
            <a:off x="5555741" y="1885950"/>
            <a:ext cx="1173480" cy="4479290"/>
          </a:xfrm>
          <a:custGeom>
            <a:avLst/>
            <a:gdLst/>
            <a:ahLst/>
            <a:cxnLst/>
            <a:rect l="l" t="t" r="r" b="b"/>
            <a:pathLst>
              <a:path w="1173479" h="4479290">
                <a:moveTo>
                  <a:pt x="1173480" y="0"/>
                </a:moveTo>
                <a:lnTo>
                  <a:pt x="1173480" y="4124528"/>
                </a:lnTo>
                <a:lnTo>
                  <a:pt x="586740" y="4479036"/>
                </a:lnTo>
                <a:lnTo>
                  <a:pt x="0" y="4124528"/>
                </a:lnTo>
                <a:lnTo>
                  <a:pt x="0" y="0"/>
                </a:lnTo>
                <a:lnTo>
                  <a:pt x="1173480" y="0"/>
                </a:lnTo>
                <a:close/>
              </a:path>
            </a:pathLst>
          </a:custGeom>
          <a:ln w="19812">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3">
            <a:extLst>
              <a:ext uri="{FF2B5EF4-FFF2-40B4-BE49-F238E27FC236}">
                <a16:creationId xmlns:a16="http://schemas.microsoft.com/office/drawing/2014/main" id="{3EC31705-D65A-BE5A-AF67-B8FF017BD03F}"/>
              </a:ext>
            </a:extLst>
          </p:cNvPr>
          <p:cNvSpPr/>
          <p:nvPr/>
        </p:nvSpPr>
        <p:spPr>
          <a:xfrm>
            <a:off x="6851142" y="1885950"/>
            <a:ext cx="1173480" cy="4479290"/>
          </a:xfrm>
          <a:custGeom>
            <a:avLst/>
            <a:gdLst/>
            <a:ahLst/>
            <a:cxnLst/>
            <a:rect l="l" t="t" r="r" b="b"/>
            <a:pathLst>
              <a:path w="1173479" h="4479290">
                <a:moveTo>
                  <a:pt x="1173479" y="0"/>
                </a:moveTo>
                <a:lnTo>
                  <a:pt x="0" y="0"/>
                </a:lnTo>
                <a:lnTo>
                  <a:pt x="0" y="4124528"/>
                </a:lnTo>
                <a:lnTo>
                  <a:pt x="586739" y="4479036"/>
                </a:lnTo>
                <a:lnTo>
                  <a:pt x="1173479" y="4124528"/>
                </a:lnTo>
                <a:lnTo>
                  <a:pt x="1173479"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4">
            <a:extLst>
              <a:ext uri="{FF2B5EF4-FFF2-40B4-BE49-F238E27FC236}">
                <a16:creationId xmlns:a16="http://schemas.microsoft.com/office/drawing/2014/main" id="{0FEC9EF7-8B81-700C-3126-9E737F434850}"/>
              </a:ext>
            </a:extLst>
          </p:cNvPr>
          <p:cNvSpPr/>
          <p:nvPr/>
        </p:nvSpPr>
        <p:spPr>
          <a:xfrm>
            <a:off x="6851142" y="1885950"/>
            <a:ext cx="1173480" cy="4479290"/>
          </a:xfrm>
          <a:custGeom>
            <a:avLst/>
            <a:gdLst/>
            <a:ahLst/>
            <a:cxnLst/>
            <a:rect l="l" t="t" r="r" b="b"/>
            <a:pathLst>
              <a:path w="1173479" h="4479290">
                <a:moveTo>
                  <a:pt x="1173479" y="0"/>
                </a:moveTo>
                <a:lnTo>
                  <a:pt x="1173479" y="4124528"/>
                </a:lnTo>
                <a:lnTo>
                  <a:pt x="586739" y="4479036"/>
                </a:lnTo>
                <a:lnTo>
                  <a:pt x="0" y="4124528"/>
                </a:lnTo>
                <a:lnTo>
                  <a:pt x="0" y="0"/>
                </a:lnTo>
                <a:lnTo>
                  <a:pt x="1173479" y="0"/>
                </a:lnTo>
                <a:close/>
              </a:path>
            </a:pathLst>
          </a:custGeom>
          <a:ln w="19812">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5">
            <a:extLst>
              <a:ext uri="{FF2B5EF4-FFF2-40B4-BE49-F238E27FC236}">
                <a16:creationId xmlns:a16="http://schemas.microsoft.com/office/drawing/2014/main" id="{1E81BF95-F999-9243-6388-70CF00CCBED9}"/>
              </a:ext>
            </a:extLst>
          </p:cNvPr>
          <p:cNvSpPr/>
          <p:nvPr/>
        </p:nvSpPr>
        <p:spPr>
          <a:xfrm>
            <a:off x="8138921" y="1885950"/>
            <a:ext cx="1172210" cy="4479290"/>
          </a:xfrm>
          <a:custGeom>
            <a:avLst/>
            <a:gdLst/>
            <a:ahLst/>
            <a:cxnLst/>
            <a:rect l="l" t="t" r="r" b="b"/>
            <a:pathLst>
              <a:path w="1172209" h="4479290">
                <a:moveTo>
                  <a:pt x="1171955" y="0"/>
                </a:moveTo>
                <a:lnTo>
                  <a:pt x="0" y="0"/>
                </a:lnTo>
                <a:lnTo>
                  <a:pt x="0" y="4124985"/>
                </a:lnTo>
                <a:lnTo>
                  <a:pt x="585977" y="4479036"/>
                </a:lnTo>
                <a:lnTo>
                  <a:pt x="1171955" y="4124985"/>
                </a:lnTo>
                <a:lnTo>
                  <a:pt x="1171955"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6">
            <a:extLst>
              <a:ext uri="{FF2B5EF4-FFF2-40B4-BE49-F238E27FC236}">
                <a16:creationId xmlns:a16="http://schemas.microsoft.com/office/drawing/2014/main" id="{7F3A15D7-EC33-CA2C-EA45-4009C7801ADE}"/>
              </a:ext>
            </a:extLst>
          </p:cNvPr>
          <p:cNvSpPr/>
          <p:nvPr/>
        </p:nvSpPr>
        <p:spPr>
          <a:xfrm>
            <a:off x="8138921" y="1885950"/>
            <a:ext cx="1172210" cy="4479290"/>
          </a:xfrm>
          <a:custGeom>
            <a:avLst/>
            <a:gdLst/>
            <a:ahLst/>
            <a:cxnLst/>
            <a:rect l="l" t="t" r="r" b="b"/>
            <a:pathLst>
              <a:path w="1172209" h="4479290">
                <a:moveTo>
                  <a:pt x="1171955" y="0"/>
                </a:moveTo>
                <a:lnTo>
                  <a:pt x="1171955" y="4124985"/>
                </a:lnTo>
                <a:lnTo>
                  <a:pt x="585977" y="4479036"/>
                </a:lnTo>
                <a:lnTo>
                  <a:pt x="0" y="4124985"/>
                </a:lnTo>
                <a:lnTo>
                  <a:pt x="0" y="0"/>
                </a:lnTo>
                <a:lnTo>
                  <a:pt x="1171955" y="0"/>
                </a:lnTo>
                <a:close/>
              </a:path>
            </a:pathLst>
          </a:custGeom>
          <a:ln w="19811">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7">
            <a:extLst>
              <a:ext uri="{FF2B5EF4-FFF2-40B4-BE49-F238E27FC236}">
                <a16:creationId xmlns:a16="http://schemas.microsoft.com/office/drawing/2014/main" id="{3CA3DFCE-AEAC-A81A-7D47-562C99174182}"/>
              </a:ext>
            </a:extLst>
          </p:cNvPr>
          <p:cNvSpPr/>
          <p:nvPr/>
        </p:nvSpPr>
        <p:spPr>
          <a:xfrm>
            <a:off x="9449561" y="1885950"/>
            <a:ext cx="1172210" cy="4479290"/>
          </a:xfrm>
          <a:custGeom>
            <a:avLst/>
            <a:gdLst/>
            <a:ahLst/>
            <a:cxnLst/>
            <a:rect l="l" t="t" r="r" b="b"/>
            <a:pathLst>
              <a:path w="1172209" h="4479290">
                <a:moveTo>
                  <a:pt x="1171956" y="0"/>
                </a:moveTo>
                <a:lnTo>
                  <a:pt x="0" y="0"/>
                </a:lnTo>
                <a:lnTo>
                  <a:pt x="0" y="4124985"/>
                </a:lnTo>
                <a:lnTo>
                  <a:pt x="585978" y="4479036"/>
                </a:lnTo>
                <a:lnTo>
                  <a:pt x="1171956" y="4124985"/>
                </a:lnTo>
                <a:lnTo>
                  <a:pt x="1171956"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8">
            <a:extLst>
              <a:ext uri="{FF2B5EF4-FFF2-40B4-BE49-F238E27FC236}">
                <a16:creationId xmlns:a16="http://schemas.microsoft.com/office/drawing/2014/main" id="{3B3ED428-D973-349A-4132-65B37D0F2F5E}"/>
              </a:ext>
            </a:extLst>
          </p:cNvPr>
          <p:cNvSpPr/>
          <p:nvPr/>
        </p:nvSpPr>
        <p:spPr>
          <a:xfrm>
            <a:off x="9449561" y="1885950"/>
            <a:ext cx="1172210" cy="4479290"/>
          </a:xfrm>
          <a:custGeom>
            <a:avLst/>
            <a:gdLst/>
            <a:ahLst/>
            <a:cxnLst/>
            <a:rect l="l" t="t" r="r" b="b"/>
            <a:pathLst>
              <a:path w="1172209" h="4479290">
                <a:moveTo>
                  <a:pt x="1171956" y="0"/>
                </a:moveTo>
                <a:lnTo>
                  <a:pt x="1171956" y="4124985"/>
                </a:lnTo>
                <a:lnTo>
                  <a:pt x="585978" y="4479036"/>
                </a:lnTo>
                <a:lnTo>
                  <a:pt x="0" y="4124985"/>
                </a:lnTo>
                <a:lnTo>
                  <a:pt x="0" y="0"/>
                </a:lnTo>
                <a:lnTo>
                  <a:pt x="1171956" y="0"/>
                </a:lnTo>
                <a:close/>
              </a:path>
            </a:pathLst>
          </a:custGeom>
          <a:ln w="19812">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19">
            <a:extLst>
              <a:ext uri="{FF2B5EF4-FFF2-40B4-BE49-F238E27FC236}">
                <a16:creationId xmlns:a16="http://schemas.microsoft.com/office/drawing/2014/main" id="{49C94916-D811-6417-0A2C-4BBF5C04D5AE}"/>
              </a:ext>
            </a:extLst>
          </p:cNvPr>
          <p:cNvSpPr/>
          <p:nvPr/>
        </p:nvSpPr>
        <p:spPr>
          <a:xfrm>
            <a:off x="10712957" y="1885950"/>
            <a:ext cx="1173480" cy="4479290"/>
          </a:xfrm>
          <a:custGeom>
            <a:avLst/>
            <a:gdLst/>
            <a:ahLst/>
            <a:cxnLst/>
            <a:rect l="l" t="t" r="r" b="b"/>
            <a:pathLst>
              <a:path w="1173479" h="4479290">
                <a:moveTo>
                  <a:pt x="1173480" y="0"/>
                </a:moveTo>
                <a:lnTo>
                  <a:pt x="0" y="0"/>
                </a:lnTo>
                <a:lnTo>
                  <a:pt x="0" y="4124528"/>
                </a:lnTo>
                <a:lnTo>
                  <a:pt x="586740" y="4479036"/>
                </a:lnTo>
                <a:lnTo>
                  <a:pt x="1173480" y="4124528"/>
                </a:lnTo>
                <a:lnTo>
                  <a:pt x="1173480" y="0"/>
                </a:lnTo>
                <a:close/>
              </a:path>
            </a:pathLst>
          </a:custGeom>
          <a:solidFill>
            <a:srgbClr val="F1F1F1">
              <a:alpha val="89802"/>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0">
            <a:extLst>
              <a:ext uri="{FF2B5EF4-FFF2-40B4-BE49-F238E27FC236}">
                <a16:creationId xmlns:a16="http://schemas.microsoft.com/office/drawing/2014/main" id="{7B857E44-E753-6386-9DBA-54722D0BBED2}"/>
              </a:ext>
            </a:extLst>
          </p:cNvPr>
          <p:cNvSpPr/>
          <p:nvPr/>
        </p:nvSpPr>
        <p:spPr>
          <a:xfrm>
            <a:off x="10712957" y="1885950"/>
            <a:ext cx="1173480" cy="4479290"/>
          </a:xfrm>
          <a:custGeom>
            <a:avLst/>
            <a:gdLst/>
            <a:ahLst/>
            <a:cxnLst/>
            <a:rect l="l" t="t" r="r" b="b"/>
            <a:pathLst>
              <a:path w="1173479" h="4479290">
                <a:moveTo>
                  <a:pt x="1173480" y="0"/>
                </a:moveTo>
                <a:lnTo>
                  <a:pt x="1173480" y="4124528"/>
                </a:lnTo>
                <a:lnTo>
                  <a:pt x="586740" y="4479036"/>
                </a:lnTo>
                <a:lnTo>
                  <a:pt x="0" y="4124528"/>
                </a:lnTo>
                <a:lnTo>
                  <a:pt x="0" y="0"/>
                </a:lnTo>
                <a:lnTo>
                  <a:pt x="1173480" y="0"/>
                </a:lnTo>
                <a:close/>
              </a:path>
            </a:pathLst>
          </a:custGeom>
          <a:ln w="19811">
            <a:solidFill>
              <a:srgbClr val="F1F1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1">
            <a:extLst>
              <a:ext uri="{FF2B5EF4-FFF2-40B4-BE49-F238E27FC236}">
                <a16:creationId xmlns:a16="http://schemas.microsoft.com/office/drawing/2014/main" id="{F966DC41-2AAD-2256-E629-73FBFBD1E4C4}"/>
              </a:ext>
            </a:extLst>
          </p:cNvPr>
          <p:cNvSpPr txBox="1"/>
          <p:nvPr/>
        </p:nvSpPr>
        <p:spPr>
          <a:xfrm>
            <a:off x="584403" y="2428189"/>
            <a:ext cx="833755"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1.</a:t>
            </a:r>
            <a:r>
              <a:rPr kumimoji="0" sz="1050" b="1" i="0" u="none" strike="noStrike" kern="1200" cap="none" spc="-70" normalizeH="0" baseline="0" noProof="0" dirty="0">
                <a:ln>
                  <a:noFill/>
                </a:ln>
                <a:solidFill>
                  <a:prstClr val="black"/>
                </a:solidFill>
                <a:effectLst/>
                <a:uLnTx/>
                <a:uFillTx/>
                <a:latin typeface="Open Sans"/>
                <a:ea typeface="+mn-ea"/>
                <a:cs typeface="Open Sans"/>
              </a:rPr>
              <a:t> </a:t>
            </a:r>
            <a:r>
              <a:rPr kumimoji="0" sz="1050" b="1" i="0" u="none" strike="noStrike" kern="1200" cap="none" spc="0" normalizeH="0" baseline="0" noProof="0" dirty="0">
                <a:ln>
                  <a:noFill/>
                </a:ln>
                <a:solidFill>
                  <a:prstClr val="black"/>
                </a:solidFill>
                <a:effectLst/>
                <a:uLnTx/>
                <a:uFillTx/>
                <a:latin typeface="Open Sans"/>
                <a:ea typeface="+mn-ea"/>
                <a:cs typeface="Open Sans"/>
              </a:rPr>
              <a:t>DISCOVER</a:t>
            </a:r>
            <a:endParaRPr kumimoji="0" sz="1050" b="0" i="0" u="none" strike="noStrike" kern="1200" cap="none" spc="0" normalizeH="0" baseline="0" noProof="0" dirty="0">
              <a:ln>
                <a:noFill/>
              </a:ln>
              <a:solidFill>
                <a:prstClr val="black"/>
              </a:solidFill>
              <a:effectLst/>
              <a:uLnTx/>
              <a:uFillTx/>
              <a:latin typeface="Open Sans"/>
              <a:ea typeface="+mn-ea"/>
              <a:cs typeface="Open Sans"/>
            </a:endParaRPr>
          </a:p>
        </p:txBody>
      </p:sp>
      <p:sp>
        <p:nvSpPr>
          <p:cNvPr id="23" name="object 22">
            <a:extLst>
              <a:ext uri="{FF2B5EF4-FFF2-40B4-BE49-F238E27FC236}">
                <a16:creationId xmlns:a16="http://schemas.microsoft.com/office/drawing/2014/main" id="{825C37D2-1B92-34FD-9BEF-16DC59BB674E}"/>
              </a:ext>
            </a:extLst>
          </p:cNvPr>
          <p:cNvSpPr txBox="1"/>
          <p:nvPr/>
        </p:nvSpPr>
        <p:spPr>
          <a:xfrm>
            <a:off x="1876170" y="2428189"/>
            <a:ext cx="823594"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2.</a:t>
            </a:r>
            <a:r>
              <a:rPr kumimoji="0" sz="1050" b="1" i="0" u="none" strike="noStrike" kern="1200" cap="none" spc="-45" normalizeH="0" baseline="0" noProof="0" dirty="0">
                <a:ln>
                  <a:noFill/>
                </a:ln>
                <a:solidFill>
                  <a:prstClr val="black"/>
                </a:solidFill>
                <a:effectLst/>
                <a:uLnTx/>
                <a:uFillTx/>
                <a:latin typeface="Open Sans"/>
                <a:ea typeface="+mn-ea"/>
                <a:cs typeface="Open Sans"/>
              </a:rPr>
              <a:t> </a:t>
            </a:r>
            <a:r>
              <a:rPr kumimoji="0" sz="1050" b="1" i="0" u="none" strike="noStrike" kern="1200" cap="none" spc="-5" normalizeH="0" baseline="0" noProof="0" dirty="0">
                <a:ln>
                  <a:noFill/>
                </a:ln>
                <a:solidFill>
                  <a:prstClr val="black"/>
                </a:solidFill>
                <a:effectLst/>
                <a:uLnTx/>
                <a:uFillTx/>
                <a:latin typeface="Open Sans"/>
                <a:ea typeface="+mn-ea"/>
                <a:cs typeface="Open Sans"/>
              </a:rPr>
              <a:t>ENVISION</a:t>
            </a:r>
            <a:endParaRPr kumimoji="0" sz="1050" b="0" i="0" u="none" strike="noStrike" kern="1200" cap="none" spc="0" normalizeH="0" baseline="0" noProof="0">
              <a:ln>
                <a:noFill/>
              </a:ln>
              <a:solidFill>
                <a:prstClr val="black"/>
              </a:solidFill>
              <a:effectLst/>
              <a:uLnTx/>
              <a:uFillTx/>
              <a:latin typeface="Open Sans"/>
              <a:ea typeface="+mn-ea"/>
              <a:cs typeface="Open Sans"/>
            </a:endParaRPr>
          </a:p>
        </p:txBody>
      </p:sp>
      <p:sp>
        <p:nvSpPr>
          <p:cNvPr id="24" name="object 23">
            <a:extLst>
              <a:ext uri="{FF2B5EF4-FFF2-40B4-BE49-F238E27FC236}">
                <a16:creationId xmlns:a16="http://schemas.microsoft.com/office/drawing/2014/main" id="{44B18475-775F-E211-7095-FF8A295638FD}"/>
              </a:ext>
            </a:extLst>
          </p:cNvPr>
          <p:cNvSpPr txBox="1"/>
          <p:nvPr/>
        </p:nvSpPr>
        <p:spPr>
          <a:xfrm>
            <a:off x="3123945" y="2428189"/>
            <a:ext cx="905510"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3.</a:t>
            </a:r>
            <a:r>
              <a:rPr kumimoji="0" sz="1050" b="1" i="0" u="none" strike="noStrike" kern="1200" cap="none" spc="-45" normalizeH="0" baseline="0" noProof="0" dirty="0">
                <a:ln>
                  <a:noFill/>
                </a:ln>
                <a:solidFill>
                  <a:prstClr val="black"/>
                </a:solidFill>
                <a:effectLst/>
                <a:uLnTx/>
                <a:uFillTx/>
                <a:latin typeface="Open Sans"/>
                <a:ea typeface="+mn-ea"/>
                <a:cs typeface="Open Sans"/>
              </a:rPr>
              <a:t> </a:t>
            </a:r>
            <a:r>
              <a:rPr kumimoji="0" sz="1050" b="1" i="0" u="none" strike="noStrike" kern="1200" cap="none" spc="-5" normalizeH="0" baseline="0" noProof="0" dirty="0">
                <a:ln>
                  <a:noFill/>
                </a:ln>
                <a:solidFill>
                  <a:prstClr val="black"/>
                </a:solidFill>
                <a:effectLst/>
                <a:uLnTx/>
                <a:uFillTx/>
                <a:latin typeface="Open Sans"/>
                <a:ea typeface="+mn-ea"/>
                <a:cs typeface="Open Sans"/>
              </a:rPr>
              <a:t>PRIORITIZE</a:t>
            </a:r>
            <a:endParaRPr kumimoji="0" sz="1050" b="0" i="0" u="none" strike="noStrike" kern="1200" cap="none" spc="0" normalizeH="0" baseline="0" noProof="0">
              <a:ln>
                <a:noFill/>
              </a:ln>
              <a:solidFill>
                <a:prstClr val="black"/>
              </a:solidFill>
              <a:effectLst/>
              <a:uLnTx/>
              <a:uFillTx/>
              <a:latin typeface="Open Sans"/>
              <a:ea typeface="+mn-ea"/>
              <a:cs typeface="Open Sans"/>
            </a:endParaRPr>
          </a:p>
        </p:txBody>
      </p:sp>
      <p:sp>
        <p:nvSpPr>
          <p:cNvPr id="25" name="object 24">
            <a:extLst>
              <a:ext uri="{FF2B5EF4-FFF2-40B4-BE49-F238E27FC236}">
                <a16:creationId xmlns:a16="http://schemas.microsoft.com/office/drawing/2014/main" id="{B8678D05-39AF-11E4-2768-8EC6FCB38488}"/>
              </a:ext>
            </a:extLst>
          </p:cNvPr>
          <p:cNvSpPr txBox="1"/>
          <p:nvPr/>
        </p:nvSpPr>
        <p:spPr>
          <a:xfrm>
            <a:off x="4624578" y="2428189"/>
            <a:ext cx="478155"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4.</a:t>
            </a:r>
            <a:r>
              <a:rPr kumimoji="0" sz="1050" b="1" i="0" u="none" strike="noStrike" kern="1200" cap="none" spc="-60" normalizeH="0" baseline="0" noProof="0" dirty="0">
                <a:ln>
                  <a:noFill/>
                </a:ln>
                <a:solidFill>
                  <a:prstClr val="black"/>
                </a:solidFill>
                <a:effectLst/>
                <a:uLnTx/>
                <a:uFillTx/>
                <a:latin typeface="Open Sans"/>
                <a:ea typeface="+mn-ea"/>
                <a:cs typeface="Open Sans"/>
              </a:rPr>
              <a:t> </a:t>
            </a:r>
            <a:r>
              <a:rPr kumimoji="0" sz="1050" b="1" i="0" u="none" strike="noStrike" kern="1200" cap="none" spc="-5" normalizeH="0" baseline="0" noProof="0" dirty="0">
                <a:ln>
                  <a:noFill/>
                </a:ln>
                <a:solidFill>
                  <a:prstClr val="black"/>
                </a:solidFill>
                <a:effectLst/>
                <a:uLnTx/>
                <a:uFillTx/>
                <a:latin typeface="Open Sans"/>
                <a:ea typeface="+mn-ea"/>
                <a:cs typeface="Open Sans"/>
              </a:rPr>
              <a:t>TEST</a:t>
            </a:r>
            <a:endParaRPr kumimoji="0" sz="1050" b="0" i="0" u="none" strike="noStrike" kern="1200" cap="none" spc="0" normalizeH="0" baseline="0" noProof="0">
              <a:ln>
                <a:noFill/>
              </a:ln>
              <a:solidFill>
                <a:prstClr val="black"/>
              </a:solidFill>
              <a:effectLst/>
              <a:uLnTx/>
              <a:uFillTx/>
              <a:latin typeface="Open Sans"/>
              <a:ea typeface="+mn-ea"/>
              <a:cs typeface="Open Sans"/>
            </a:endParaRPr>
          </a:p>
        </p:txBody>
      </p:sp>
      <p:sp>
        <p:nvSpPr>
          <p:cNvPr id="26" name="object 25">
            <a:extLst>
              <a:ext uri="{FF2B5EF4-FFF2-40B4-BE49-F238E27FC236}">
                <a16:creationId xmlns:a16="http://schemas.microsoft.com/office/drawing/2014/main" id="{1197D1B9-6687-E7B5-5357-9628E9ACD13D}"/>
              </a:ext>
            </a:extLst>
          </p:cNvPr>
          <p:cNvSpPr txBox="1"/>
          <p:nvPr/>
        </p:nvSpPr>
        <p:spPr>
          <a:xfrm>
            <a:off x="5869304" y="2428189"/>
            <a:ext cx="563880"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5.</a:t>
            </a:r>
            <a:r>
              <a:rPr kumimoji="0" sz="1050" b="1" i="0" u="none" strike="noStrike" kern="1200" cap="none" spc="-55" normalizeH="0" baseline="0" noProof="0" dirty="0">
                <a:ln>
                  <a:noFill/>
                </a:ln>
                <a:solidFill>
                  <a:prstClr val="black"/>
                </a:solidFill>
                <a:effectLst/>
                <a:uLnTx/>
                <a:uFillTx/>
                <a:latin typeface="Open Sans"/>
                <a:ea typeface="+mn-ea"/>
                <a:cs typeface="Open Sans"/>
              </a:rPr>
              <a:t> </a:t>
            </a:r>
            <a:r>
              <a:rPr kumimoji="0" sz="1050" b="1" i="0" u="none" strike="noStrike" kern="1200" cap="none" spc="-5" normalizeH="0" baseline="0" noProof="0" dirty="0">
                <a:ln>
                  <a:noFill/>
                </a:ln>
                <a:solidFill>
                  <a:prstClr val="black"/>
                </a:solidFill>
                <a:effectLst/>
                <a:uLnTx/>
                <a:uFillTx/>
                <a:latin typeface="Open Sans"/>
                <a:ea typeface="+mn-ea"/>
                <a:cs typeface="Open Sans"/>
              </a:rPr>
              <a:t>PILOT</a:t>
            </a:r>
            <a:endParaRPr kumimoji="0" sz="1050" b="0" i="0" u="none" strike="noStrike" kern="1200" cap="none" spc="0" normalizeH="0" baseline="0" noProof="0">
              <a:ln>
                <a:noFill/>
              </a:ln>
              <a:solidFill>
                <a:prstClr val="black"/>
              </a:solidFill>
              <a:effectLst/>
              <a:uLnTx/>
              <a:uFillTx/>
              <a:latin typeface="Open Sans"/>
              <a:ea typeface="+mn-ea"/>
              <a:cs typeface="Open Sans"/>
            </a:endParaRPr>
          </a:p>
        </p:txBody>
      </p:sp>
      <p:sp>
        <p:nvSpPr>
          <p:cNvPr id="27" name="object 26">
            <a:extLst>
              <a:ext uri="{FF2B5EF4-FFF2-40B4-BE49-F238E27FC236}">
                <a16:creationId xmlns:a16="http://schemas.microsoft.com/office/drawing/2014/main" id="{2789C386-7C88-CDEF-B2BF-6C0BE97FDA30}"/>
              </a:ext>
            </a:extLst>
          </p:cNvPr>
          <p:cNvSpPr txBox="1"/>
          <p:nvPr/>
        </p:nvSpPr>
        <p:spPr>
          <a:xfrm>
            <a:off x="7148830" y="2428189"/>
            <a:ext cx="577850"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6.</a:t>
            </a:r>
            <a:r>
              <a:rPr kumimoji="0" sz="1050" b="1" i="0" u="none" strike="noStrike" kern="1200" cap="none" spc="-55" normalizeH="0" baseline="0" noProof="0" dirty="0">
                <a:ln>
                  <a:noFill/>
                </a:ln>
                <a:solidFill>
                  <a:prstClr val="black"/>
                </a:solidFill>
                <a:effectLst/>
                <a:uLnTx/>
                <a:uFillTx/>
                <a:latin typeface="Open Sans"/>
                <a:ea typeface="+mn-ea"/>
                <a:cs typeface="Open Sans"/>
              </a:rPr>
              <a:t> </a:t>
            </a:r>
            <a:r>
              <a:rPr kumimoji="0" sz="1050" b="1" i="0" u="none" strike="noStrike" kern="1200" cap="none" spc="-5" normalizeH="0" baseline="0" noProof="0" dirty="0">
                <a:ln>
                  <a:noFill/>
                </a:ln>
                <a:solidFill>
                  <a:prstClr val="black"/>
                </a:solidFill>
                <a:effectLst/>
                <a:uLnTx/>
                <a:uFillTx/>
                <a:latin typeface="Open Sans"/>
                <a:ea typeface="+mn-ea"/>
                <a:cs typeface="Open Sans"/>
              </a:rPr>
              <a:t>SCALE</a:t>
            </a:r>
            <a:endParaRPr kumimoji="0" sz="1050" b="0" i="0" u="none" strike="noStrike" kern="1200" cap="none" spc="0" normalizeH="0" baseline="0" noProof="0">
              <a:ln>
                <a:noFill/>
              </a:ln>
              <a:solidFill>
                <a:prstClr val="black"/>
              </a:solidFill>
              <a:effectLst/>
              <a:uLnTx/>
              <a:uFillTx/>
              <a:latin typeface="Open Sans"/>
              <a:ea typeface="+mn-ea"/>
              <a:cs typeface="Open Sans"/>
            </a:endParaRPr>
          </a:p>
        </p:txBody>
      </p:sp>
      <p:sp>
        <p:nvSpPr>
          <p:cNvPr id="28" name="object 27">
            <a:extLst>
              <a:ext uri="{FF2B5EF4-FFF2-40B4-BE49-F238E27FC236}">
                <a16:creationId xmlns:a16="http://schemas.microsoft.com/office/drawing/2014/main" id="{E1745136-7C47-3E86-D393-319C8D3CD9C4}"/>
              </a:ext>
            </a:extLst>
          </p:cNvPr>
          <p:cNvSpPr txBox="1"/>
          <p:nvPr/>
        </p:nvSpPr>
        <p:spPr>
          <a:xfrm>
            <a:off x="8341614" y="2428189"/>
            <a:ext cx="768350"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7.</a:t>
            </a:r>
            <a:r>
              <a:rPr kumimoji="0" sz="1050" b="1" i="0" u="none" strike="noStrike" kern="1200" cap="none" spc="-55" normalizeH="0" baseline="0" noProof="0" dirty="0">
                <a:ln>
                  <a:noFill/>
                </a:ln>
                <a:solidFill>
                  <a:prstClr val="black"/>
                </a:solidFill>
                <a:effectLst/>
                <a:uLnTx/>
                <a:uFillTx/>
                <a:latin typeface="Open Sans"/>
                <a:ea typeface="+mn-ea"/>
                <a:cs typeface="Open Sans"/>
              </a:rPr>
              <a:t> </a:t>
            </a:r>
            <a:r>
              <a:rPr kumimoji="0" sz="1050" b="1" i="0" u="none" strike="noStrike" kern="1200" cap="none" spc="0" normalizeH="0" baseline="0" noProof="0" dirty="0">
                <a:ln>
                  <a:noFill/>
                </a:ln>
                <a:solidFill>
                  <a:prstClr val="black"/>
                </a:solidFill>
                <a:effectLst/>
                <a:uLnTx/>
                <a:uFillTx/>
                <a:latin typeface="Open Sans"/>
                <a:ea typeface="+mn-ea"/>
                <a:cs typeface="Open Sans"/>
              </a:rPr>
              <a:t>MANAGE</a:t>
            </a:r>
            <a:endParaRPr kumimoji="0" sz="1050" b="0" i="0" u="none" strike="noStrike" kern="1200" cap="none" spc="0" normalizeH="0" baseline="0" noProof="0">
              <a:ln>
                <a:noFill/>
              </a:ln>
              <a:solidFill>
                <a:prstClr val="black"/>
              </a:solidFill>
              <a:effectLst/>
              <a:uLnTx/>
              <a:uFillTx/>
              <a:latin typeface="Open Sans"/>
              <a:ea typeface="+mn-ea"/>
              <a:cs typeface="Open Sans"/>
            </a:endParaRPr>
          </a:p>
        </p:txBody>
      </p:sp>
      <p:sp>
        <p:nvSpPr>
          <p:cNvPr id="29" name="object 28">
            <a:extLst>
              <a:ext uri="{FF2B5EF4-FFF2-40B4-BE49-F238E27FC236}">
                <a16:creationId xmlns:a16="http://schemas.microsoft.com/office/drawing/2014/main" id="{17300089-D1A3-6F27-0061-74A200A3C882}"/>
              </a:ext>
            </a:extLst>
          </p:cNvPr>
          <p:cNvSpPr txBox="1"/>
          <p:nvPr/>
        </p:nvSpPr>
        <p:spPr>
          <a:xfrm>
            <a:off x="9595484" y="2428189"/>
            <a:ext cx="835025"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8.</a:t>
            </a:r>
            <a:r>
              <a:rPr kumimoji="0" sz="1050" b="1" i="0" u="none" strike="noStrike" kern="1200" cap="none" spc="-60" normalizeH="0" baseline="0" noProof="0" dirty="0">
                <a:ln>
                  <a:noFill/>
                </a:ln>
                <a:solidFill>
                  <a:prstClr val="black"/>
                </a:solidFill>
                <a:effectLst/>
                <a:uLnTx/>
                <a:uFillTx/>
                <a:latin typeface="Open Sans"/>
                <a:ea typeface="+mn-ea"/>
                <a:cs typeface="Open Sans"/>
              </a:rPr>
              <a:t> </a:t>
            </a:r>
            <a:r>
              <a:rPr kumimoji="0" sz="1050" b="1" i="0" u="none" strike="noStrike" kern="1200" cap="none" spc="0" normalizeH="0" baseline="0" noProof="0" dirty="0">
                <a:ln>
                  <a:noFill/>
                </a:ln>
                <a:solidFill>
                  <a:prstClr val="black"/>
                </a:solidFill>
                <a:effectLst/>
                <a:uLnTx/>
                <a:uFillTx/>
                <a:latin typeface="Open Sans"/>
                <a:ea typeface="+mn-ea"/>
                <a:cs typeface="Open Sans"/>
              </a:rPr>
              <a:t>MONITOR</a:t>
            </a:r>
            <a:endParaRPr kumimoji="0" sz="1050" b="0" i="0" u="none" strike="noStrike" kern="1200" cap="none" spc="0" normalizeH="0" baseline="0" noProof="0">
              <a:ln>
                <a:noFill/>
              </a:ln>
              <a:solidFill>
                <a:prstClr val="black"/>
              </a:solidFill>
              <a:effectLst/>
              <a:uLnTx/>
              <a:uFillTx/>
              <a:latin typeface="Open Sans"/>
              <a:ea typeface="+mn-ea"/>
              <a:cs typeface="Open Sans"/>
            </a:endParaRPr>
          </a:p>
        </p:txBody>
      </p:sp>
      <p:sp>
        <p:nvSpPr>
          <p:cNvPr id="30" name="object 29">
            <a:extLst>
              <a:ext uri="{FF2B5EF4-FFF2-40B4-BE49-F238E27FC236}">
                <a16:creationId xmlns:a16="http://schemas.microsoft.com/office/drawing/2014/main" id="{6E7C68CF-F7FD-E2E2-020B-0748241F3D91}"/>
              </a:ext>
            </a:extLst>
          </p:cNvPr>
          <p:cNvSpPr txBox="1"/>
          <p:nvPr/>
        </p:nvSpPr>
        <p:spPr>
          <a:xfrm>
            <a:off x="10891773" y="2428189"/>
            <a:ext cx="817244" cy="18732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050" b="1" i="0" u="none" strike="noStrike" kern="1200" cap="none" spc="0" normalizeH="0" baseline="0" noProof="0" dirty="0">
                <a:ln>
                  <a:noFill/>
                </a:ln>
                <a:solidFill>
                  <a:prstClr val="black"/>
                </a:solidFill>
                <a:effectLst/>
                <a:uLnTx/>
                <a:uFillTx/>
                <a:latin typeface="Open Sans"/>
                <a:ea typeface="+mn-ea"/>
                <a:cs typeface="Open Sans"/>
              </a:rPr>
              <a:t>9.</a:t>
            </a:r>
            <a:r>
              <a:rPr kumimoji="0" sz="1050" b="1" i="0" u="none" strike="noStrike" kern="1200" cap="none" spc="-55" normalizeH="0" baseline="0" noProof="0" dirty="0">
                <a:ln>
                  <a:noFill/>
                </a:ln>
                <a:solidFill>
                  <a:prstClr val="black"/>
                </a:solidFill>
                <a:effectLst/>
                <a:uLnTx/>
                <a:uFillTx/>
                <a:latin typeface="Open Sans"/>
                <a:ea typeface="+mn-ea"/>
                <a:cs typeface="Open Sans"/>
              </a:rPr>
              <a:t> </a:t>
            </a:r>
            <a:r>
              <a:rPr kumimoji="0" sz="1050" b="1" i="0" u="none" strike="noStrike" kern="1200" cap="none" spc="0" normalizeH="0" baseline="0" noProof="0" dirty="0">
                <a:ln>
                  <a:noFill/>
                </a:ln>
                <a:solidFill>
                  <a:prstClr val="black"/>
                </a:solidFill>
                <a:effectLst/>
                <a:uLnTx/>
                <a:uFillTx/>
                <a:latin typeface="Open Sans"/>
                <a:ea typeface="+mn-ea"/>
                <a:cs typeface="Open Sans"/>
              </a:rPr>
              <a:t>ADVANCE</a:t>
            </a:r>
            <a:endParaRPr kumimoji="0" sz="1050" b="0" i="0" u="none" strike="noStrike" kern="1200" cap="none" spc="0" normalizeH="0" baseline="0" noProof="0">
              <a:ln>
                <a:noFill/>
              </a:ln>
              <a:solidFill>
                <a:prstClr val="black"/>
              </a:solidFill>
              <a:effectLst/>
              <a:uLnTx/>
              <a:uFillTx/>
              <a:latin typeface="Open Sans"/>
              <a:ea typeface="+mn-ea"/>
              <a:cs typeface="Open Sans"/>
            </a:endParaRPr>
          </a:p>
        </p:txBody>
      </p:sp>
      <p:sp>
        <p:nvSpPr>
          <p:cNvPr id="31" name="object 30">
            <a:extLst>
              <a:ext uri="{FF2B5EF4-FFF2-40B4-BE49-F238E27FC236}">
                <a16:creationId xmlns:a16="http://schemas.microsoft.com/office/drawing/2014/main" id="{A368B73B-1934-29D5-8D96-0A3393110263}"/>
              </a:ext>
            </a:extLst>
          </p:cNvPr>
          <p:cNvSpPr/>
          <p:nvPr/>
        </p:nvSpPr>
        <p:spPr>
          <a:xfrm>
            <a:off x="415290" y="1867661"/>
            <a:ext cx="1173480" cy="0"/>
          </a:xfrm>
          <a:custGeom>
            <a:avLst/>
            <a:gdLst/>
            <a:ahLst/>
            <a:cxnLst/>
            <a:rect l="l" t="t" r="r" b="b"/>
            <a:pathLst>
              <a:path w="1173480">
                <a:moveTo>
                  <a:pt x="0" y="0"/>
                </a:moveTo>
                <a:lnTo>
                  <a:pt x="1173226" y="0"/>
                </a:lnTo>
              </a:path>
            </a:pathLst>
          </a:custGeom>
          <a:ln w="19812">
            <a:solidFill>
              <a:schemeClr val="accent1">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1">
            <a:extLst>
              <a:ext uri="{FF2B5EF4-FFF2-40B4-BE49-F238E27FC236}">
                <a16:creationId xmlns:a16="http://schemas.microsoft.com/office/drawing/2014/main" id="{8FB06388-DE29-13B7-B45E-AE69AA0CBDCA}"/>
              </a:ext>
            </a:extLst>
          </p:cNvPr>
          <p:cNvSpPr/>
          <p:nvPr/>
        </p:nvSpPr>
        <p:spPr>
          <a:xfrm>
            <a:off x="1703070" y="1867661"/>
            <a:ext cx="1173480" cy="0"/>
          </a:xfrm>
          <a:custGeom>
            <a:avLst/>
            <a:gdLst/>
            <a:ahLst/>
            <a:cxnLst/>
            <a:rect l="l" t="t" r="r" b="b"/>
            <a:pathLst>
              <a:path w="1173480">
                <a:moveTo>
                  <a:pt x="0" y="0"/>
                </a:moveTo>
                <a:lnTo>
                  <a:pt x="1173226" y="0"/>
                </a:lnTo>
              </a:path>
            </a:pathLst>
          </a:custGeom>
          <a:ln w="19812">
            <a:solidFill>
              <a:schemeClr val="accent1">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2">
            <a:extLst>
              <a:ext uri="{FF2B5EF4-FFF2-40B4-BE49-F238E27FC236}">
                <a16:creationId xmlns:a16="http://schemas.microsoft.com/office/drawing/2014/main" id="{6E1224CD-7ACF-5BD5-9FA4-4292DBD3D188}"/>
              </a:ext>
            </a:extLst>
          </p:cNvPr>
          <p:cNvSpPr/>
          <p:nvPr/>
        </p:nvSpPr>
        <p:spPr>
          <a:xfrm>
            <a:off x="2989326" y="1867661"/>
            <a:ext cx="1173480" cy="0"/>
          </a:xfrm>
          <a:custGeom>
            <a:avLst/>
            <a:gdLst/>
            <a:ahLst/>
            <a:cxnLst/>
            <a:rect l="l" t="t" r="r" b="b"/>
            <a:pathLst>
              <a:path w="1173479">
                <a:moveTo>
                  <a:pt x="0" y="0"/>
                </a:moveTo>
                <a:lnTo>
                  <a:pt x="1173226" y="0"/>
                </a:lnTo>
              </a:path>
            </a:pathLst>
          </a:custGeom>
          <a:ln w="19812">
            <a:solidFill>
              <a:schemeClr val="accent1">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3">
            <a:extLst>
              <a:ext uri="{FF2B5EF4-FFF2-40B4-BE49-F238E27FC236}">
                <a16:creationId xmlns:a16="http://schemas.microsoft.com/office/drawing/2014/main" id="{23B7486B-CC16-0CA3-0CDA-E030430F7E84}"/>
              </a:ext>
            </a:extLst>
          </p:cNvPr>
          <p:cNvSpPr/>
          <p:nvPr/>
        </p:nvSpPr>
        <p:spPr>
          <a:xfrm>
            <a:off x="4277105" y="1867661"/>
            <a:ext cx="1173480" cy="0"/>
          </a:xfrm>
          <a:custGeom>
            <a:avLst/>
            <a:gdLst/>
            <a:ahLst/>
            <a:cxnLst/>
            <a:rect l="l" t="t" r="r" b="b"/>
            <a:pathLst>
              <a:path w="1173479">
                <a:moveTo>
                  <a:pt x="0" y="0"/>
                </a:moveTo>
                <a:lnTo>
                  <a:pt x="1173226" y="0"/>
                </a:lnTo>
              </a:path>
            </a:pathLst>
          </a:custGeom>
          <a:ln w="19812">
            <a:solidFill>
              <a:schemeClr val="accent3">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4">
            <a:extLst>
              <a:ext uri="{FF2B5EF4-FFF2-40B4-BE49-F238E27FC236}">
                <a16:creationId xmlns:a16="http://schemas.microsoft.com/office/drawing/2014/main" id="{E5634EAF-17B7-6279-316B-FDBCE04F3A66}"/>
              </a:ext>
            </a:extLst>
          </p:cNvPr>
          <p:cNvSpPr/>
          <p:nvPr/>
        </p:nvSpPr>
        <p:spPr>
          <a:xfrm>
            <a:off x="5564885" y="1867661"/>
            <a:ext cx="1173480" cy="0"/>
          </a:xfrm>
          <a:custGeom>
            <a:avLst/>
            <a:gdLst/>
            <a:ahLst/>
            <a:cxnLst/>
            <a:rect l="l" t="t" r="r" b="b"/>
            <a:pathLst>
              <a:path w="1173479">
                <a:moveTo>
                  <a:pt x="0" y="0"/>
                </a:moveTo>
                <a:lnTo>
                  <a:pt x="1173225" y="0"/>
                </a:lnTo>
              </a:path>
            </a:pathLst>
          </a:custGeom>
          <a:ln w="19812">
            <a:solidFill>
              <a:schemeClr val="accent3">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5">
            <a:extLst>
              <a:ext uri="{FF2B5EF4-FFF2-40B4-BE49-F238E27FC236}">
                <a16:creationId xmlns:a16="http://schemas.microsoft.com/office/drawing/2014/main" id="{D623FDEB-7894-62FD-8F5D-D8263DCAFA4D}"/>
              </a:ext>
            </a:extLst>
          </p:cNvPr>
          <p:cNvSpPr/>
          <p:nvPr/>
        </p:nvSpPr>
        <p:spPr>
          <a:xfrm>
            <a:off x="6851142" y="1867661"/>
            <a:ext cx="1173480" cy="0"/>
          </a:xfrm>
          <a:custGeom>
            <a:avLst/>
            <a:gdLst/>
            <a:ahLst/>
            <a:cxnLst/>
            <a:rect l="l" t="t" r="r" b="b"/>
            <a:pathLst>
              <a:path w="1173479">
                <a:moveTo>
                  <a:pt x="0" y="0"/>
                </a:moveTo>
                <a:lnTo>
                  <a:pt x="1173226" y="0"/>
                </a:lnTo>
              </a:path>
            </a:pathLst>
          </a:custGeom>
          <a:ln w="19812">
            <a:solidFill>
              <a:srgbClr val="00B0F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6">
            <a:extLst>
              <a:ext uri="{FF2B5EF4-FFF2-40B4-BE49-F238E27FC236}">
                <a16:creationId xmlns:a16="http://schemas.microsoft.com/office/drawing/2014/main" id="{D31C3A9E-7D7F-07E1-3D7B-99A713187621}"/>
              </a:ext>
            </a:extLst>
          </p:cNvPr>
          <p:cNvSpPr/>
          <p:nvPr/>
        </p:nvSpPr>
        <p:spPr>
          <a:xfrm>
            <a:off x="8138921" y="1867661"/>
            <a:ext cx="1173480" cy="0"/>
          </a:xfrm>
          <a:custGeom>
            <a:avLst/>
            <a:gdLst/>
            <a:ahLst/>
            <a:cxnLst/>
            <a:rect l="l" t="t" r="r" b="b"/>
            <a:pathLst>
              <a:path w="1173479">
                <a:moveTo>
                  <a:pt x="0" y="0"/>
                </a:moveTo>
                <a:lnTo>
                  <a:pt x="1173226" y="0"/>
                </a:lnTo>
              </a:path>
            </a:pathLst>
          </a:custGeom>
          <a:ln w="19812">
            <a:solidFill>
              <a:schemeClr val="accent3">
                <a:lumMod val="60000"/>
                <a:lumOff val="4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7">
            <a:extLst>
              <a:ext uri="{FF2B5EF4-FFF2-40B4-BE49-F238E27FC236}">
                <a16:creationId xmlns:a16="http://schemas.microsoft.com/office/drawing/2014/main" id="{6A2E3386-931D-B836-075D-16AF5C982689}"/>
              </a:ext>
            </a:extLst>
          </p:cNvPr>
          <p:cNvSpPr/>
          <p:nvPr/>
        </p:nvSpPr>
        <p:spPr>
          <a:xfrm>
            <a:off x="9425178" y="1867661"/>
            <a:ext cx="1173480" cy="0"/>
          </a:xfrm>
          <a:custGeom>
            <a:avLst/>
            <a:gdLst/>
            <a:ahLst/>
            <a:cxnLst/>
            <a:rect l="l" t="t" r="r" b="b"/>
            <a:pathLst>
              <a:path w="1173479">
                <a:moveTo>
                  <a:pt x="0" y="0"/>
                </a:moveTo>
                <a:lnTo>
                  <a:pt x="1173226" y="0"/>
                </a:lnTo>
              </a:path>
            </a:pathLst>
          </a:custGeom>
          <a:ln w="19812">
            <a:solidFill>
              <a:schemeClr val="accent3">
                <a:lumMod val="60000"/>
                <a:lumOff val="4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8">
            <a:extLst>
              <a:ext uri="{FF2B5EF4-FFF2-40B4-BE49-F238E27FC236}">
                <a16:creationId xmlns:a16="http://schemas.microsoft.com/office/drawing/2014/main" id="{448666D7-89CA-3D1E-3B70-75C7B37840DB}"/>
              </a:ext>
            </a:extLst>
          </p:cNvPr>
          <p:cNvSpPr/>
          <p:nvPr/>
        </p:nvSpPr>
        <p:spPr>
          <a:xfrm>
            <a:off x="10712957" y="1867661"/>
            <a:ext cx="1173480" cy="0"/>
          </a:xfrm>
          <a:custGeom>
            <a:avLst/>
            <a:gdLst/>
            <a:ahLst/>
            <a:cxnLst/>
            <a:rect l="l" t="t" r="r" b="b"/>
            <a:pathLst>
              <a:path w="1173479">
                <a:moveTo>
                  <a:pt x="0" y="0"/>
                </a:moveTo>
                <a:lnTo>
                  <a:pt x="1173226" y="0"/>
                </a:lnTo>
              </a:path>
            </a:pathLst>
          </a:custGeom>
          <a:ln w="19812">
            <a:solidFill>
              <a:schemeClr val="accent3">
                <a:lumMod val="60000"/>
                <a:lumOff val="4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39">
            <a:extLst>
              <a:ext uri="{FF2B5EF4-FFF2-40B4-BE49-F238E27FC236}">
                <a16:creationId xmlns:a16="http://schemas.microsoft.com/office/drawing/2014/main" id="{1A3E2BD8-8BA0-265B-807F-782796F758FE}"/>
              </a:ext>
            </a:extLst>
          </p:cNvPr>
          <p:cNvSpPr/>
          <p:nvPr/>
        </p:nvSpPr>
        <p:spPr>
          <a:xfrm>
            <a:off x="414527" y="2089404"/>
            <a:ext cx="11471275" cy="696595"/>
          </a:xfrm>
          <a:custGeom>
            <a:avLst/>
            <a:gdLst/>
            <a:ahLst/>
            <a:cxnLst/>
            <a:rect l="l" t="t" r="r" b="b"/>
            <a:pathLst>
              <a:path w="11471275" h="696594">
                <a:moveTo>
                  <a:pt x="0" y="696468"/>
                </a:moveTo>
                <a:lnTo>
                  <a:pt x="11471148" y="696468"/>
                </a:lnTo>
                <a:lnTo>
                  <a:pt x="11471148" y="0"/>
                </a:lnTo>
                <a:lnTo>
                  <a:pt x="0" y="0"/>
                </a:lnTo>
                <a:lnTo>
                  <a:pt x="0" y="696468"/>
                </a:lnTo>
                <a:close/>
              </a:path>
            </a:pathLst>
          </a:custGeom>
          <a:ln w="9144">
            <a:solidFill>
              <a:srgbClr val="000000"/>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0">
            <a:extLst>
              <a:ext uri="{FF2B5EF4-FFF2-40B4-BE49-F238E27FC236}">
                <a16:creationId xmlns:a16="http://schemas.microsoft.com/office/drawing/2014/main" id="{FF163B48-D8C1-A21D-F9CD-6B273470EA49}"/>
              </a:ext>
            </a:extLst>
          </p:cNvPr>
          <p:cNvSpPr/>
          <p:nvPr/>
        </p:nvSpPr>
        <p:spPr>
          <a:xfrm>
            <a:off x="854202" y="1980438"/>
            <a:ext cx="295910" cy="294640"/>
          </a:xfrm>
          <a:custGeom>
            <a:avLst/>
            <a:gdLst/>
            <a:ahLst/>
            <a:cxnLst/>
            <a:rect l="l" t="t" r="r" b="b"/>
            <a:pathLst>
              <a:path w="295909" h="294639">
                <a:moveTo>
                  <a:pt x="147828" y="0"/>
                </a:moveTo>
                <a:lnTo>
                  <a:pt x="101100" y="7491"/>
                </a:lnTo>
                <a:lnTo>
                  <a:pt x="60520" y="28358"/>
                </a:lnTo>
                <a:lnTo>
                  <a:pt x="28520" y="60185"/>
                </a:lnTo>
                <a:lnTo>
                  <a:pt x="7535" y="100559"/>
                </a:lnTo>
                <a:lnTo>
                  <a:pt x="0" y="147065"/>
                </a:lnTo>
                <a:lnTo>
                  <a:pt x="7535" y="193572"/>
                </a:lnTo>
                <a:lnTo>
                  <a:pt x="28520" y="233946"/>
                </a:lnTo>
                <a:lnTo>
                  <a:pt x="60520" y="265773"/>
                </a:lnTo>
                <a:lnTo>
                  <a:pt x="101100" y="286640"/>
                </a:lnTo>
                <a:lnTo>
                  <a:pt x="147828" y="294132"/>
                </a:lnTo>
                <a:lnTo>
                  <a:pt x="194555" y="286640"/>
                </a:lnTo>
                <a:lnTo>
                  <a:pt x="235135" y="265773"/>
                </a:lnTo>
                <a:lnTo>
                  <a:pt x="267135" y="233946"/>
                </a:lnTo>
                <a:lnTo>
                  <a:pt x="288120" y="193572"/>
                </a:lnTo>
                <a:lnTo>
                  <a:pt x="295656" y="147065"/>
                </a:lnTo>
                <a:lnTo>
                  <a:pt x="288120" y="100559"/>
                </a:lnTo>
                <a:lnTo>
                  <a:pt x="267135" y="60185"/>
                </a:lnTo>
                <a:lnTo>
                  <a:pt x="235135" y="28358"/>
                </a:lnTo>
                <a:lnTo>
                  <a:pt x="194555" y="7491"/>
                </a:lnTo>
                <a:lnTo>
                  <a:pt x="14782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1">
            <a:extLst>
              <a:ext uri="{FF2B5EF4-FFF2-40B4-BE49-F238E27FC236}">
                <a16:creationId xmlns:a16="http://schemas.microsoft.com/office/drawing/2014/main" id="{03C1E065-1E2E-18D2-3870-C996D491BD52}"/>
              </a:ext>
            </a:extLst>
          </p:cNvPr>
          <p:cNvSpPr/>
          <p:nvPr/>
        </p:nvSpPr>
        <p:spPr>
          <a:xfrm>
            <a:off x="854202" y="1980438"/>
            <a:ext cx="295910" cy="294640"/>
          </a:xfrm>
          <a:custGeom>
            <a:avLst/>
            <a:gdLst/>
            <a:ahLst/>
            <a:cxnLst/>
            <a:rect l="l" t="t" r="r" b="b"/>
            <a:pathLst>
              <a:path w="295909" h="294639">
                <a:moveTo>
                  <a:pt x="0" y="147065"/>
                </a:moveTo>
                <a:lnTo>
                  <a:pt x="7535" y="100559"/>
                </a:lnTo>
                <a:lnTo>
                  <a:pt x="28520" y="60185"/>
                </a:lnTo>
                <a:lnTo>
                  <a:pt x="60520" y="28358"/>
                </a:lnTo>
                <a:lnTo>
                  <a:pt x="101100" y="7491"/>
                </a:lnTo>
                <a:lnTo>
                  <a:pt x="147828" y="0"/>
                </a:lnTo>
                <a:lnTo>
                  <a:pt x="194555" y="7491"/>
                </a:lnTo>
                <a:lnTo>
                  <a:pt x="235135" y="28358"/>
                </a:lnTo>
                <a:lnTo>
                  <a:pt x="267135" y="60185"/>
                </a:lnTo>
                <a:lnTo>
                  <a:pt x="288120" y="100559"/>
                </a:lnTo>
                <a:lnTo>
                  <a:pt x="295656" y="147065"/>
                </a:lnTo>
                <a:lnTo>
                  <a:pt x="288120" y="193572"/>
                </a:lnTo>
                <a:lnTo>
                  <a:pt x="267135" y="233946"/>
                </a:lnTo>
                <a:lnTo>
                  <a:pt x="235135" y="265773"/>
                </a:lnTo>
                <a:lnTo>
                  <a:pt x="194555" y="286640"/>
                </a:lnTo>
                <a:lnTo>
                  <a:pt x="147828" y="294132"/>
                </a:lnTo>
                <a:lnTo>
                  <a:pt x="101100" y="286640"/>
                </a:lnTo>
                <a:lnTo>
                  <a:pt x="60520" y="265773"/>
                </a:lnTo>
                <a:lnTo>
                  <a:pt x="28520" y="233946"/>
                </a:lnTo>
                <a:lnTo>
                  <a:pt x="7535" y="193572"/>
                </a:lnTo>
                <a:lnTo>
                  <a:pt x="0" y="147065"/>
                </a:lnTo>
                <a:close/>
              </a:path>
            </a:pathLst>
          </a:custGeom>
          <a:ln w="19812">
            <a:solidFill>
              <a:schemeClr val="accent1">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2">
            <a:extLst>
              <a:ext uri="{FF2B5EF4-FFF2-40B4-BE49-F238E27FC236}">
                <a16:creationId xmlns:a16="http://schemas.microsoft.com/office/drawing/2014/main" id="{04EB1EF1-43D6-013E-4471-6BCB1ED01D96}"/>
              </a:ext>
            </a:extLst>
          </p:cNvPr>
          <p:cNvSpPr/>
          <p:nvPr/>
        </p:nvSpPr>
        <p:spPr>
          <a:xfrm>
            <a:off x="2141982" y="1980438"/>
            <a:ext cx="295910" cy="294640"/>
          </a:xfrm>
          <a:custGeom>
            <a:avLst/>
            <a:gdLst/>
            <a:ahLst/>
            <a:cxnLst/>
            <a:rect l="l" t="t" r="r" b="b"/>
            <a:pathLst>
              <a:path w="295910" h="294639">
                <a:moveTo>
                  <a:pt x="147828" y="0"/>
                </a:moveTo>
                <a:lnTo>
                  <a:pt x="101096" y="7491"/>
                </a:lnTo>
                <a:lnTo>
                  <a:pt x="60514" y="28358"/>
                </a:lnTo>
                <a:lnTo>
                  <a:pt x="28517" y="60185"/>
                </a:lnTo>
                <a:lnTo>
                  <a:pt x="7534" y="100559"/>
                </a:lnTo>
                <a:lnTo>
                  <a:pt x="0" y="147065"/>
                </a:lnTo>
                <a:lnTo>
                  <a:pt x="7534" y="193572"/>
                </a:lnTo>
                <a:lnTo>
                  <a:pt x="28517" y="233946"/>
                </a:lnTo>
                <a:lnTo>
                  <a:pt x="60514" y="265773"/>
                </a:lnTo>
                <a:lnTo>
                  <a:pt x="101096" y="286640"/>
                </a:lnTo>
                <a:lnTo>
                  <a:pt x="147828" y="294132"/>
                </a:lnTo>
                <a:lnTo>
                  <a:pt x="194559" y="286640"/>
                </a:lnTo>
                <a:lnTo>
                  <a:pt x="235141" y="265773"/>
                </a:lnTo>
                <a:lnTo>
                  <a:pt x="267138" y="233946"/>
                </a:lnTo>
                <a:lnTo>
                  <a:pt x="288121" y="193572"/>
                </a:lnTo>
                <a:lnTo>
                  <a:pt x="295656" y="147065"/>
                </a:lnTo>
                <a:lnTo>
                  <a:pt x="288121" y="100559"/>
                </a:lnTo>
                <a:lnTo>
                  <a:pt x="267138" y="60185"/>
                </a:lnTo>
                <a:lnTo>
                  <a:pt x="235141" y="28358"/>
                </a:lnTo>
                <a:lnTo>
                  <a:pt x="194559" y="7491"/>
                </a:lnTo>
                <a:lnTo>
                  <a:pt x="14782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3">
            <a:extLst>
              <a:ext uri="{FF2B5EF4-FFF2-40B4-BE49-F238E27FC236}">
                <a16:creationId xmlns:a16="http://schemas.microsoft.com/office/drawing/2014/main" id="{BC2AB52E-22A5-075B-CC40-34196EE745B3}"/>
              </a:ext>
            </a:extLst>
          </p:cNvPr>
          <p:cNvSpPr/>
          <p:nvPr/>
        </p:nvSpPr>
        <p:spPr>
          <a:xfrm>
            <a:off x="2141982" y="1980438"/>
            <a:ext cx="295910" cy="294640"/>
          </a:xfrm>
          <a:custGeom>
            <a:avLst/>
            <a:gdLst/>
            <a:ahLst/>
            <a:cxnLst/>
            <a:rect l="l" t="t" r="r" b="b"/>
            <a:pathLst>
              <a:path w="295910" h="294639">
                <a:moveTo>
                  <a:pt x="0" y="147065"/>
                </a:moveTo>
                <a:lnTo>
                  <a:pt x="7534" y="100559"/>
                </a:lnTo>
                <a:lnTo>
                  <a:pt x="28517" y="60185"/>
                </a:lnTo>
                <a:lnTo>
                  <a:pt x="60514" y="28358"/>
                </a:lnTo>
                <a:lnTo>
                  <a:pt x="101096" y="7491"/>
                </a:lnTo>
                <a:lnTo>
                  <a:pt x="147828" y="0"/>
                </a:lnTo>
                <a:lnTo>
                  <a:pt x="194559" y="7491"/>
                </a:lnTo>
                <a:lnTo>
                  <a:pt x="235141" y="28358"/>
                </a:lnTo>
                <a:lnTo>
                  <a:pt x="267138" y="60185"/>
                </a:lnTo>
                <a:lnTo>
                  <a:pt x="288121" y="100559"/>
                </a:lnTo>
                <a:lnTo>
                  <a:pt x="295656" y="147065"/>
                </a:lnTo>
                <a:lnTo>
                  <a:pt x="288121" y="193572"/>
                </a:lnTo>
                <a:lnTo>
                  <a:pt x="267138" y="233946"/>
                </a:lnTo>
                <a:lnTo>
                  <a:pt x="235141" y="265773"/>
                </a:lnTo>
                <a:lnTo>
                  <a:pt x="194559" y="286640"/>
                </a:lnTo>
                <a:lnTo>
                  <a:pt x="147828" y="294132"/>
                </a:lnTo>
                <a:lnTo>
                  <a:pt x="101096" y="286640"/>
                </a:lnTo>
                <a:lnTo>
                  <a:pt x="60514" y="265773"/>
                </a:lnTo>
                <a:lnTo>
                  <a:pt x="28517" y="233946"/>
                </a:lnTo>
                <a:lnTo>
                  <a:pt x="7534" y="193572"/>
                </a:lnTo>
                <a:lnTo>
                  <a:pt x="0" y="147065"/>
                </a:lnTo>
                <a:close/>
              </a:path>
            </a:pathLst>
          </a:custGeom>
          <a:ln w="19812">
            <a:solidFill>
              <a:schemeClr val="accent1">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4">
            <a:extLst>
              <a:ext uri="{FF2B5EF4-FFF2-40B4-BE49-F238E27FC236}">
                <a16:creationId xmlns:a16="http://schemas.microsoft.com/office/drawing/2014/main" id="{E9839FA5-CCCD-AE37-1714-CC70D91945A8}"/>
              </a:ext>
            </a:extLst>
          </p:cNvPr>
          <p:cNvSpPr/>
          <p:nvPr/>
        </p:nvSpPr>
        <p:spPr>
          <a:xfrm>
            <a:off x="3428238" y="1980438"/>
            <a:ext cx="295910" cy="294640"/>
          </a:xfrm>
          <a:custGeom>
            <a:avLst/>
            <a:gdLst/>
            <a:ahLst/>
            <a:cxnLst/>
            <a:rect l="l" t="t" r="r" b="b"/>
            <a:pathLst>
              <a:path w="295910" h="294639">
                <a:moveTo>
                  <a:pt x="147827" y="0"/>
                </a:moveTo>
                <a:lnTo>
                  <a:pt x="101096" y="7491"/>
                </a:lnTo>
                <a:lnTo>
                  <a:pt x="60514" y="28358"/>
                </a:lnTo>
                <a:lnTo>
                  <a:pt x="28517" y="60185"/>
                </a:lnTo>
                <a:lnTo>
                  <a:pt x="7534" y="100559"/>
                </a:lnTo>
                <a:lnTo>
                  <a:pt x="0" y="147065"/>
                </a:lnTo>
                <a:lnTo>
                  <a:pt x="7534" y="193572"/>
                </a:lnTo>
                <a:lnTo>
                  <a:pt x="28517" y="233946"/>
                </a:lnTo>
                <a:lnTo>
                  <a:pt x="60514" y="265773"/>
                </a:lnTo>
                <a:lnTo>
                  <a:pt x="101096" y="286640"/>
                </a:lnTo>
                <a:lnTo>
                  <a:pt x="147827" y="294132"/>
                </a:lnTo>
                <a:lnTo>
                  <a:pt x="194559" y="286640"/>
                </a:lnTo>
                <a:lnTo>
                  <a:pt x="235141" y="265773"/>
                </a:lnTo>
                <a:lnTo>
                  <a:pt x="267138" y="233946"/>
                </a:lnTo>
                <a:lnTo>
                  <a:pt x="288121" y="193572"/>
                </a:lnTo>
                <a:lnTo>
                  <a:pt x="295656" y="147065"/>
                </a:lnTo>
                <a:lnTo>
                  <a:pt x="288121" y="100559"/>
                </a:lnTo>
                <a:lnTo>
                  <a:pt x="267138" y="60185"/>
                </a:lnTo>
                <a:lnTo>
                  <a:pt x="235141" y="28358"/>
                </a:lnTo>
                <a:lnTo>
                  <a:pt x="194559" y="7491"/>
                </a:lnTo>
                <a:lnTo>
                  <a:pt x="14782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5">
            <a:extLst>
              <a:ext uri="{FF2B5EF4-FFF2-40B4-BE49-F238E27FC236}">
                <a16:creationId xmlns:a16="http://schemas.microsoft.com/office/drawing/2014/main" id="{886235C1-1201-BA79-2FE7-6C065A556250}"/>
              </a:ext>
            </a:extLst>
          </p:cNvPr>
          <p:cNvSpPr/>
          <p:nvPr/>
        </p:nvSpPr>
        <p:spPr>
          <a:xfrm>
            <a:off x="3428238" y="1980438"/>
            <a:ext cx="295910" cy="294640"/>
          </a:xfrm>
          <a:custGeom>
            <a:avLst/>
            <a:gdLst/>
            <a:ahLst/>
            <a:cxnLst/>
            <a:rect l="l" t="t" r="r" b="b"/>
            <a:pathLst>
              <a:path w="295910" h="294639">
                <a:moveTo>
                  <a:pt x="0" y="147065"/>
                </a:moveTo>
                <a:lnTo>
                  <a:pt x="7534" y="100559"/>
                </a:lnTo>
                <a:lnTo>
                  <a:pt x="28517" y="60185"/>
                </a:lnTo>
                <a:lnTo>
                  <a:pt x="60514" y="28358"/>
                </a:lnTo>
                <a:lnTo>
                  <a:pt x="101096" y="7491"/>
                </a:lnTo>
                <a:lnTo>
                  <a:pt x="147827" y="0"/>
                </a:lnTo>
                <a:lnTo>
                  <a:pt x="194559" y="7491"/>
                </a:lnTo>
                <a:lnTo>
                  <a:pt x="235141" y="28358"/>
                </a:lnTo>
                <a:lnTo>
                  <a:pt x="267138" y="60185"/>
                </a:lnTo>
                <a:lnTo>
                  <a:pt x="288121" y="100559"/>
                </a:lnTo>
                <a:lnTo>
                  <a:pt x="295656" y="147065"/>
                </a:lnTo>
                <a:lnTo>
                  <a:pt x="288121" y="193572"/>
                </a:lnTo>
                <a:lnTo>
                  <a:pt x="267138" y="233946"/>
                </a:lnTo>
                <a:lnTo>
                  <a:pt x="235141" y="265773"/>
                </a:lnTo>
                <a:lnTo>
                  <a:pt x="194559" y="286640"/>
                </a:lnTo>
                <a:lnTo>
                  <a:pt x="147827" y="294132"/>
                </a:lnTo>
                <a:lnTo>
                  <a:pt x="101096" y="286640"/>
                </a:lnTo>
                <a:lnTo>
                  <a:pt x="60514" y="265773"/>
                </a:lnTo>
                <a:lnTo>
                  <a:pt x="28517" y="233946"/>
                </a:lnTo>
                <a:lnTo>
                  <a:pt x="7534" y="193572"/>
                </a:lnTo>
                <a:lnTo>
                  <a:pt x="0" y="147065"/>
                </a:lnTo>
                <a:close/>
              </a:path>
            </a:pathLst>
          </a:custGeom>
          <a:ln w="19812">
            <a:solidFill>
              <a:schemeClr val="accent1">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46">
            <a:extLst>
              <a:ext uri="{FF2B5EF4-FFF2-40B4-BE49-F238E27FC236}">
                <a16:creationId xmlns:a16="http://schemas.microsoft.com/office/drawing/2014/main" id="{EB3AF3E4-633E-488F-D9F2-1B88B53B7A30}"/>
              </a:ext>
            </a:extLst>
          </p:cNvPr>
          <p:cNvSpPr/>
          <p:nvPr/>
        </p:nvSpPr>
        <p:spPr>
          <a:xfrm>
            <a:off x="4716017" y="1980438"/>
            <a:ext cx="295910" cy="294640"/>
          </a:xfrm>
          <a:custGeom>
            <a:avLst/>
            <a:gdLst/>
            <a:ahLst/>
            <a:cxnLst/>
            <a:rect l="l" t="t" r="r" b="b"/>
            <a:pathLst>
              <a:path w="295910" h="294639">
                <a:moveTo>
                  <a:pt x="147828" y="0"/>
                </a:moveTo>
                <a:lnTo>
                  <a:pt x="101096" y="7491"/>
                </a:lnTo>
                <a:lnTo>
                  <a:pt x="60514" y="28358"/>
                </a:lnTo>
                <a:lnTo>
                  <a:pt x="28517" y="60185"/>
                </a:lnTo>
                <a:lnTo>
                  <a:pt x="7534" y="100559"/>
                </a:lnTo>
                <a:lnTo>
                  <a:pt x="0" y="147065"/>
                </a:lnTo>
                <a:lnTo>
                  <a:pt x="7534" y="193572"/>
                </a:lnTo>
                <a:lnTo>
                  <a:pt x="28517" y="233946"/>
                </a:lnTo>
                <a:lnTo>
                  <a:pt x="60514" y="265773"/>
                </a:lnTo>
                <a:lnTo>
                  <a:pt x="101096" y="286640"/>
                </a:lnTo>
                <a:lnTo>
                  <a:pt x="147828" y="294132"/>
                </a:lnTo>
                <a:lnTo>
                  <a:pt x="194559" y="286640"/>
                </a:lnTo>
                <a:lnTo>
                  <a:pt x="235141" y="265773"/>
                </a:lnTo>
                <a:lnTo>
                  <a:pt x="267138" y="233946"/>
                </a:lnTo>
                <a:lnTo>
                  <a:pt x="288121" y="193572"/>
                </a:lnTo>
                <a:lnTo>
                  <a:pt x="295656" y="147065"/>
                </a:lnTo>
                <a:lnTo>
                  <a:pt x="288121" y="100559"/>
                </a:lnTo>
                <a:lnTo>
                  <a:pt x="267138" y="60185"/>
                </a:lnTo>
                <a:lnTo>
                  <a:pt x="235141" y="28358"/>
                </a:lnTo>
                <a:lnTo>
                  <a:pt x="194559" y="7491"/>
                </a:lnTo>
                <a:lnTo>
                  <a:pt x="14782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7">
            <a:extLst>
              <a:ext uri="{FF2B5EF4-FFF2-40B4-BE49-F238E27FC236}">
                <a16:creationId xmlns:a16="http://schemas.microsoft.com/office/drawing/2014/main" id="{F07FA47C-4E72-BC18-BFDB-F512E4C3B473}"/>
              </a:ext>
            </a:extLst>
          </p:cNvPr>
          <p:cNvSpPr/>
          <p:nvPr/>
        </p:nvSpPr>
        <p:spPr>
          <a:xfrm>
            <a:off x="4716017" y="1980438"/>
            <a:ext cx="295910" cy="294640"/>
          </a:xfrm>
          <a:custGeom>
            <a:avLst/>
            <a:gdLst/>
            <a:ahLst/>
            <a:cxnLst/>
            <a:rect l="l" t="t" r="r" b="b"/>
            <a:pathLst>
              <a:path w="295910" h="294639">
                <a:moveTo>
                  <a:pt x="0" y="147065"/>
                </a:moveTo>
                <a:lnTo>
                  <a:pt x="7534" y="100559"/>
                </a:lnTo>
                <a:lnTo>
                  <a:pt x="28517" y="60185"/>
                </a:lnTo>
                <a:lnTo>
                  <a:pt x="60514" y="28358"/>
                </a:lnTo>
                <a:lnTo>
                  <a:pt x="101096" y="7491"/>
                </a:lnTo>
                <a:lnTo>
                  <a:pt x="147828" y="0"/>
                </a:lnTo>
                <a:lnTo>
                  <a:pt x="194559" y="7491"/>
                </a:lnTo>
                <a:lnTo>
                  <a:pt x="235141" y="28358"/>
                </a:lnTo>
                <a:lnTo>
                  <a:pt x="267138" y="60185"/>
                </a:lnTo>
                <a:lnTo>
                  <a:pt x="288121" y="100559"/>
                </a:lnTo>
                <a:lnTo>
                  <a:pt x="295656" y="147065"/>
                </a:lnTo>
                <a:lnTo>
                  <a:pt x="288121" y="193572"/>
                </a:lnTo>
                <a:lnTo>
                  <a:pt x="267138" y="233946"/>
                </a:lnTo>
                <a:lnTo>
                  <a:pt x="235141" y="265773"/>
                </a:lnTo>
                <a:lnTo>
                  <a:pt x="194559" y="286640"/>
                </a:lnTo>
                <a:lnTo>
                  <a:pt x="147828" y="294132"/>
                </a:lnTo>
                <a:lnTo>
                  <a:pt x="101096" y="286640"/>
                </a:lnTo>
                <a:lnTo>
                  <a:pt x="60514" y="265773"/>
                </a:lnTo>
                <a:lnTo>
                  <a:pt x="28517" y="233946"/>
                </a:lnTo>
                <a:lnTo>
                  <a:pt x="7534" y="193572"/>
                </a:lnTo>
                <a:lnTo>
                  <a:pt x="0" y="147065"/>
                </a:lnTo>
                <a:close/>
              </a:path>
            </a:pathLst>
          </a:custGeom>
          <a:ln w="19812">
            <a:solidFill>
              <a:srgbClr val="00B0F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48">
            <a:extLst>
              <a:ext uri="{FF2B5EF4-FFF2-40B4-BE49-F238E27FC236}">
                <a16:creationId xmlns:a16="http://schemas.microsoft.com/office/drawing/2014/main" id="{8B232D5D-09E8-FF90-9FE2-E801CFCF345A}"/>
              </a:ext>
            </a:extLst>
          </p:cNvPr>
          <p:cNvSpPr/>
          <p:nvPr/>
        </p:nvSpPr>
        <p:spPr>
          <a:xfrm>
            <a:off x="6003797" y="1980438"/>
            <a:ext cx="294640" cy="294640"/>
          </a:xfrm>
          <a:custGeom>
            <a:avLst/>
            <a:gdLst/>
            <a:ahLst/>
            <a:cxnLst/>
            <a:rect l="l" t="t" r="r" b="b"/>
            <a:pathLst>
              <a:path w="294639" h="294639">
                <a:moveTo>
                  <a:pt x="147065" y="0"/>
                </a:moveTo>
                <a:lnTo>
                  <a:pt x="100559" y="7491"/>
                </a:lnTo>
                <a:lnTo>
                  <a:pt x="60185" y="28358"/>
                </a:lnTo>
                <a:lnTo>
                  <a:pt x="28358" y="60185"/>
                </a:lnTo>
                <a:lnTo>
                  <a:pt x="7491" y="100559"/>
                </a:lnTo>
                <a:lnTo>
                  <a:pt x="0" y="147065"/>
                </a:lnTo>
                <a:lnTo>
                  <a:pt x="7491" y="193572"/>
                </a:lnTo>
                <a:lnTo>
                  <a:pt x="28358" y="233946"/>
                </a:lnTo>
                <a:lnTo>
                  <a:pt x="60185" y="265773"/>
                </a:lnTo>
                <a:lnTo>
                  <a:pt x="100559" y="286640"/>
                </a:lnTo>
                <a:lnTo>
                  <a:pt x="147065" y="294132"/>
                </a:lnTo>
                <a:lnTo>
                  <a:pt x="193572" y="286640"/>
                </a:lnTo>
                <a:lnTo>
                  <a:pt x="233946" y="265773"/>
                </a:lnTo>
                <a:lnTo>
                  <a:pt x="265773" y="233946"/>
                </a:lnTo>
                <a:lnTo>
                  <a:pt x="286640" y="193572"/>
                </a:lnTo>
                <a:lnTo>
                  <a:pt x="294131" y="147065"/>
                </a:lnTo>
                <a:lnTo>
                  <a:pt x="286640" y="100559"/>
                </a:lnTo>
                <a:lnTo>
                  <a:pt x="265773" y="60185"/>
                </a:lnTo>
                <a:lnTo>
                  <a:pt x="233946" y="28358"/>
                </a:lnTo>
                <a:lnTo>
                  <a:pt x="193572" y="7491"/>
                </a:lnTo>
                <a:lnTo>
                  <a:pt x="147065"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49">
            <a:extLst>
              <a:ext uri="{FF2B5EF4-FFF2-40B4-BE49-F238E27FC236}">
                <a16:creationId xmlns:a16="http://schemas.microsoft.com/office/drawing/2014/main" id="{9B110D4A-377B-ED32-5861-FF9DFAF1811F}"/>
              </a:ext>
            </a:extLst>
          </p:cNvPr>
          <p:cNvSpPr/>
          <p:nvPr/>
        </p:nvSpPr>
        <p:spPr>
          <a:xfrm>
            <a:off x="6003797" y="1980438"/>
            <a:ext cx="294640" cy="294640"/>
          </a:xfrm>
          <a:custGeom>
            <a:avLst/>
            <a:gdLst/>
            <a:ahLst/>
            <a:cxnLst/>
            <a:rect l="l" t="t" r="r" b="b"/>
            <a:pathLst>
              <a:path w="294639" h="294639">
                <a:moveTo>
                  <a:pt x="0" y="147065"/>
                </a:moveTo>
                <a:lnTo>
                  <a:pt x="7491" y="100559"/>
                </a:lnTo>
                <a:lnTo>
                  <a:pt x="28358" y="60185"/>
                </a:lnTo>
                <a:lnTo>
                  <a:pt x="60185" y="28358"/>
                </a:lnTo>
                <a:lnTo>
                  <a:pt x="100559" y="7491"/>
                </a:lnTo>
                <a:lnTo>
                  <a:pt x="147065" y="0"/>
                </a:lnTo>
                <a:lnTo>
                  <a:pt x="193572" y="7491"/>
                </a:lnTo>
                <a:lnTo>
                  <a:pt x="233946" y="28358"/>
                </a:lnTo>
                <a:lnTo>
                  <a:pt x="265773" y="60185"/>
                </a:lnTo>
                <a:lnTo>
                  <a:pt x="286640" y="100559"/>
                </a:lnTo>
                <a:lnTo>
                  <a:pt x="294131" y="147065"/>
                </a:lnTo>
                <a:lnTo>
                  <a:pt x="286640" y="193572"/>
                </a:lnTo>
                <a:lnTo>
                  <a:pt x="265773" y="233946"/>
                </a:lnTo>
                <a:lnTo>
                  <a:pt x="233946" y="265773"/>
                </a:lnTo>
                <a:lnTo>
                  <a:pt x="193572" y="286640"/>
                </a:lnTo>
                <a:lnTo>
                  <a:pt x="147065" y="294132"/>
                </a:lnTo>
                <a:lnTo>
                  <a:pt x="100559" y="286640"/>
                </a:lnTo>
                <a:lnTo>
                  <a:pt x="60185" y="265773"/>
                </a:lnTo>
                <a:lnTo>
                  <a:pt x="28358" y="233946"/>
                </a:lnTo>
                <a:lnTo>
                  <a:pt x="7491" y="193572"/>
                </a:lnTo>
                <a:lnTo>
                  <a:pt x="0" y="147065"/>
                </a:lnTo>
                <a:close/>
              </a:path>
            </a:pathLst>
          </a:custGeom>
          <a:ln w="19812">
            <a:solidFill>
              <a:srgbClr val="00B0F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50">
            <a:extLst>
              <a:ext uri="{FF2B5EF4-FFF2-40B4-BE49-F238E27FC236}">
                <a16:creationId xmlns:a16="http://schemas.microsoft.com/office/drawing/2014/main" id="{A23135A1-C21C-99D6-75D6-A22820E01296}"/>
              </a:ext>
            </a:extLst>
          </p:cNvPr>
          <p:cNvSpPr/>
          <p:nvPr/>
        </p:nvSpPr>
        <p:spPr>
          <a:xfrm>
            <a:off x="7290054" y="1980438"/>
            <a:ext cx="295910" cy="294640"/>
          </a:xfrm>
          <a:custGeom>
            <a:avLst/>
            <a:gdLst/>
            <a:ahLst/>
            <a:cxnLst/>
            <a:rect l="l" t="t" r="r" b="b"/>
            <a:pathLst>
              <a:path w="295909" h="294639">
                <a:moveTo>
                  <a:pt x="147827" y="0"/>
                </a:moveTo>
                <a:lnTo>
                  <a:pt x="101096" y="7491"/>
                </a:lnTo>
                <a:lnTo>
                  <a:pt x="60514" y="28358"/>
                </a:lnTo>
                <a:lnTo>
                  <a:pt x="28517" y="60185"/>
                </a:lnTo>
                <a:lnTo>
                  <a:pt x="7534" y="100559"/>
                </a:lnTo>
                <a:lnTo>
                  <a:pt x="0" y="147065"/>
                </a:lnTo>
                <a:lnTo>
                  <a:pt x="7534" y="193572"/>
                </a:lnTo>
                <a:lnTo>
                  <a:pt x="28517" y="233946"/>
                </a:lnTo>
                <a:lnTo>
                  <a:pt x="60514" y="265773"/>
                </a:lnTo>
                <a:lnTo>
                  <a:pt x="101096" y="286640"/>
                </a:lnTo>
                <a:lnTo>
                  <a:pt x="147827" y="294132"/>
                </a:lnTo>
                <a:lnTo>
                  <a:pt x="194559" y="286640"/>
                </a:lnTo>
                <a:lnTo>
                  <a:pt x="235141" y="265773"/>
                </a:lnTo>
                <a:lnTo>
                  <a:pt x="267138" y="233946"/>
                </a:lnTo>
                <a:lnTo>
                  <a:pt x="288121" y="193572"/>
                </a:lnTo>
                <a:lnTo>
                  <a:pt x="295655" y="147065"/>
                </a:lnTo>
                <a:lnTo>
                  <a:pt x="288121" y="100559"/>
                </a:lnTo>
                <a:lnTo>
                  <a:pt x="267138" y="60185"/>
                </a:lnTo>
                <a:lnTo>
                  <a:pt x="235141" y="28358"/>
                </a:lnTo>
                <a:lnTo>
                  <a:pt x="194559" y="7491"/>
                </a:lnTo>
                <a:lnTo>
                  <a:pt x="147827" y="0"/>
                </a:lnTo>
                <a:close/>
              </a:path>
            </a:pathLst>
          </a:custGeom>
          <a:solidFill>
            <a:srgbClr val="FFFFFF"/>
          </a:solidFill>
          <a:ln>
            <a:solidFill>
              <a:srgbClr val="00B0F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51">
            <a:extLst>
              <a:ext uri="{FF2B5EF4-FFF2-40B4-BE49-F238E27FC236}">
                <a16:creationId xmlns:a16="http://schemas.microsoft.com/office/drawing/2014/main" id="{1E482AEA-59B8-1D21-FC57-0ED102A7517F}"/>
              </a:ext>
            </a:extLst>
          </p:cNvPr>
          <p:cNvSpPr/>
          <p:nvPr/>
        </p:nvSpPr>
        <p:spPr>
          <a:xfrm>
            <a:off x="7290054" y="1980438"/>
            <a:ext cx="295910" cy="294640"/>
          </a:xfrm>
          <a:custGeom>
            <a:avLst/>
            <a:gdLst/>
            <a:ahLst/>
            <a:cxnLst/>
            <a:rect l="l" t="t" r="r" b="b"/>
            <a:pathLst>
              <a:path w="295909" h="294639">
                <a:moveTo>
                  <a:pt x="0" y="147065"/>
                </a:moveTo>
                <a:lnTo>
                  <a:pt x="7534" y="100559"/>
                </a:lnTo>
                <a:lnTo>
                  <a:pt x="28517" y="60185"/>
                </a:lnTo>
                <a:lnTo>
                  <a:pt x="60514" y="28358"/>
                </a:lnTo>
                <a:lnTo>
                  <a:pt x="101096" y="7491"/>
                </a:lnTo>
                <a:lnTo>
                  <a:pt x="147827" y="0"/>
                </a:lnTo>
                <a:lnTo>
                  <a:pt x="194559" y="7491"/>
                </a:lnTo>
                <a:lnTo>
                  <a:pt x="235141" y="28358"/>
                </a:lnTo>
                <a:lnTo>
                  <a:pt x="267138" y="60185"/>
                </a:lnTo>
                <a:lnTo>
                  <a:pt x="288121" y="100559"/>
                </a:lnTo>
                <a:lnTo>
                  <a:pt x="295655" y="147065"/>
                </a:lnTo>
                <a:lnTo>
                  <a:pt x="288121" y="193572"/>
                </a:lnTo>
                <a:lnTo>
                  <a:pt x="267138" y="233946"/>
                </a:lnTo>
                <a:lnTo>
                  <a:pt x="235141" y="265773"/>
                </a:lnTo>
                <a:lnTo>
                  <a:pt x="194559" y="286640"/>
                </a:lnTo>
                <a:lnTo>
                  <a:pt x="147827" y="294132"/>
                </a:lnTo>
                <a:lnTo>
                  <a:pt x="101096" y="286640"/>
                </a:lnTo>
                <a:lnTo>
                  <a:pt x="60514" y="265773"/>
                </a:lnTo>
                <a:lnTo>
                  <a:pt x="28517" y="233946"/>
                </a:lnTo>
                <a:lnTo>
                  <a:pt x="7534" y="193572"/>
                </a:lnTo>
                <a:lnTo>
                  <a:pt x="0" y="147065"/>
                </a:lnTo>
                <a:close/>
              </a:path>
            </a:pathLst>
          </a:custGeom>
          <a:ln w="19811">
            <a:solidFill>
              <a:schemeClr val="accent3">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object 52">
            <a:extLst>
              <a:ext uri="{FF2B5EF4-FFF2-40B4-BE49-F238E27FC236}">
                <a16:creationId xmlns:a16="http://schemas.microsoft.com/office/drawing/2014/main" id="{16F870B2-AE89-F7F6-9DBE-23ED8E4C9F23}"/>
              </a:ext>
            </a:extLst>
          </p:cNvPr>
          <p:cNvSpPr/>
          <p:nvPr/>
        </p:nvSpPr>
        <p:spPr>
          <a:xfrm>
            <a:off x="8577833" y="1980438"/>
            <a:ext cx="294640" cy="294640"/>
          </a:xfrm>
          <a:custGeom>
            <a:avLst/>
            <a:gdLst/>
            <a:ahLst/>
            <a:cxnLst/>
            <a:rect l="l" t="t" r="r" b="b"/>
            <a:pathLst>
              <a:path w="294640" h="294639">
                <a:moveTo>
                  <a:pt x="147066" y="0"/>
                </a:moveTo>
                <a:lnTo>
                  <a:pt x="100559" y="7491"/>
                </a:lnTo>
                <a:lnTo>
                  <a:pt x="60185" y="28358"/>
                </a:lnTo>
                <a:lnTo>
                  <a:pt x="28358" y="60185"/>
                </a:lnTo>
                <a:lnTo>
                  <a:pt x="7491" y="100559"/>
                </a:lnTo>
                <a:lnTo>
                  <a:pt x="0" y="147065"/>
                </a:lnTo>
                <a:lnTo>
                  <a:pt x="7491" y="193572"/>
                </a:lnTo>
                <a:lnTo>
                  <a:pt x="28358" y="233946"/>
                </a:lnTo>
                <a:lnTo>
                  <a:pt x="60185" y="265773"/>
                </a:lnTo>
                <a:lnTo>
                  <a:pt x="100559" y="286640"/>
                </a:lnTo>
                <a:lnTo>
                  <a:pt x="147066" y="294132"/>
                </a:lnTo>
                <a:lnTo>
                  <a:pt x="193572" y="286640"/>
                </a:lnTo>
                <a:lnTo>
                  <a:pt x="233946" y="265773"/>
                </a:lnTo>
                <a:lnTo>
                  <a:pt x="265773" y="233946"/>
                </a:lnTo>
                <a:lnTo>
                  <a:pt x="286640" y="193572"/>
                </a:lnTo>
                <a:lnTo>
                  <a:pt x="294132" y="147065"/>
                </a:lnTo>
                <a:lnTo>
                  <a:pt x="286640" y="100559"/>
                </a:lnTo>
                <a:lnTo>
                  <a:pt x="265773" y="60185"/>
                </a:lnTo>
                <a:lnTo>
                  <a:pt x="233946" y="28358"/>
                </a:lnTo>
                <a:lnTo>
                  <a:pt x="193572" y="7491"/>
                </a:lnTo>
                <a:lnTo>
                  <a:pt x="14706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object 53">
            <a:extLst>
              <a:ext uri="{FF2B5EF4-FFF2-40B4-BE49-F238E27FC236}">
                <a16:creationId xmlns:a16="http://schemas.microsoft.com/office/drawing/2014/main" id="{D36BF526-FF05-F32D-3E3C-5CAB3561FC9B}"/>
              </a:ext>
            </a:extLst>
          </p:cNvPr>
          <p:cNvSpPr/>
          <p:nvPr/>
        </p:nvSpPr>
        <p:spPr>
          <a:xfrm>
            <a:off x="8577833" y="1980438"/>
            <a:ext cx="294640" cy="294640"/>
          </a:xfrm>
          <a:custGeom>
            <a:avLst/>
            <a:gdLst/>
            <a:ahLst/>
            <a:cxnLst/>
            <a:rect l="l" t="t" r="r" b="b"/>
            <a:pathLst>
              <a:path w="294640" h="294639">
                <a:moveTo>
                  <a:pt x="0" y="147065"/>
                </a:moveTo>
                <a:lnTo>
                  <a:pt x="7491" y="100559"/>
                </a:lnTo>
                <a:lnTo>
                  <a:pt x="28358" y="60185"/>
                </a:lnTo>
                <a:lnTo>
                  <a:pt x="60185" y="28358"/>
                </a:lnTo>
                <a:lnTo>
                  <a:pt x="100559" y="7491"/>
                </a:lnTo>
                <a:lnTo>
                  <a:pt x="147066" y="0"/>
                </a:lnTo>
                <a:lnTo>
                  <a:pt x="193572" y="7491"/>
                </a:lnTo>
                <a:lnTo>
                  <a:pt x="233946" y="28358"/>
                </a:lnTo>
                <a:lnTo>
                  <a:pt x="265773" y="60185"/>
                </a:lnTo>
                <a:lnTo>
                  <a:pt x="286640" y="100559"/>
                </a:lnTo>
                <a:lnTo>
                  <a:pt x="294132" y="147065"/>
                </a:lnTo>
                <a:lnTo>
                  <a:pt x="286640" y="193572"/>
                </a:lnTo>
                <a:lnTo>
                  <a:pt x="265773" y="233946"/>
                </a:lnTo>
                <a:lnTo>
                  <a:pt x="233946" y="265773"/>
                </a:lnTo>
                <a:lnTo>
                  <a:pt x="193572" y="286640"/>
                </a:lnTo>
                <a:lnTo>
                  <a:pt x="147066" y="294132"/>
                </a:lnTo>
                <a:lnTo>
                  <a:pt x="100559" y="286640"/>
                </a:lnTo>
                <a:lnTo>
                  <a:pt x="60185" y="265773"/>
                </a:lnTo>
                <a:lnTo>
                  <a:pt x="28358" y="233946"/>
                </a:lnTo>
                <a:lnTo>
                  <a:pt x="7491" y="193572"/>
                </a:lnTo>
                <a:lnTo>
                  <a:pt x="0" y="147065"/>
                </a:lnTo>
                <a:close/>
              </a:path>
            </a:pathLst>
          </a:custGeom>
          <a:ln w="19811">
            <a:solidFill>
              <a:schemeClr val="accent3">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object 54">
            <a:extLst>
              <a:ext uri="{FF2B5EF4-FFF2-40B4-BE49-F238E27FC236}">
                <a16:creationId xmlns:a16="http://schemas.microsoft.com/office/drawing/2014/main" id="{3E141D84-553A-F44E-C272-89E4BD8F5046}"/>
              </a:ext>
            </a:extLst>
          </p:cNvPr>
          <p:cNvSpPr/>
          <p:nvPr/>
        </p:nvSpPr>
        <p:spPr>
          <a:xfrm>
            <a:off x="9888473" y="1980438"/>
            <a:ext cx="294640" cy="294640"/>
          </a:xfrm>
          <a:custGeom>
            <a:avLst/>
            <a:gdLst/>
            <a:ahLst/>
            <a:cxnLst/>
            <a:rect l="l" t="t" r="r" b="b"/>
            <a:pathLst>
              <a:path w="294640" h="294639">
                <a:moveTo>
                  <a:pt x="147066" y="0"/>
                </a:moveTo>
                <a:lnTo>
                  <a:pt x="100559" y="7491"/>
                </a:lnTo>
                <a:lnTo>
                  <a:pt x="60185" y="28358"/>
                </a:lnTo>
                <a:lnTo>
                  <a:pt x="28358" y="60185"/>
                </a:lnTo>
                <a:lnTo>
                  <a:pt x="7491" y="100559"/>
                </a:lnTo>
                <a:lnTo>
                  <a:pt x="0" y="147065"/>
                </a:lnTo>
                <a:lnTo>
                  <a:pt x="7491" y="193572"/>
                </a:lnTo>
                <a:lnTo>
                  <a:pt x="28358" y="233946"/>
                </a:lnTo>
                <a:lnTo>
                  <a:pt x="60185" y="265773"/>
                </a:lnTo>
                <a:lnTo>
                  <a:pt x="100559" y="286640"/>
                </a:lnTo>
                <a:lnTo>
                  <a:pt x="147066" y="294132"/>
                </a:lnTo>
                <a:lnTo>
                  <a:pt x="193572" y="286640"/>
                </a:lnTo>
                <a:lnTo>
                  <a:pt x="233946" y="265773"/>
                </a:lnTo>
                <a:lnTo>
                  <a:pt x="265773" y="233946"/>
                </a:lnTo>
                <a:lnTo>
                  <a:pt x="286640" y="193572"/>
                </a:lnTo>
                <a:lnTo>
                  <a:pt x="294131" y="147065"/>
                </a:lnTo>
                <a:lnTo>
                  <a:pt x="286640" y="100559"/>
                </a:lnTo>
                <a:lnTo>
                  <a:pt x="265773" y="60185"/>
                </a:lnTo>
                <a:lnTo>
                  <a:pt x="233946" y="28358"/>
                </a:lnTo>
                <a:lnTo>
                  <a:pt x="193572" y="7491"/>
                </a:lnTo>
                <a:lnTo>
                  <a:pt x="14706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object 55">
            <a:extLst>
              <a:ext uri="{FF2B5EF4-FFF2-40B4-BE49-F238E27FC236}">
                <a16:creationId xmlns:a16="http://schemas.microsoft.com/office/drawing/2014/main" id="{4673868F-CFE5-AA0B-F66F-B8608728F331}"/>
              </a:ext>
            </a:extLst>
          </p:cNvPr>
          <p:cNvSpPr/>
          <p:nvPr/>
        </p:nvSpPr>
        <p:spPr>
          <a:xfrm>
            <a:off x="9888473" y="1980438"/>
            <a:ext cx="294640" cy="294640"/>
          </a:xfrm>
          <a:custGeom>
            <a:avLst/>
            <a:gdLst/>
            <a:ahLst/>
            <a:cxnLst/>
            <a:rect l="l" t="t" r="r" b="b"/>
            <a:pathLst>
              <a:path w="294640" h="294639">
                <a:moveTo>
                  <a:pt x="0" y="147065"/>
                </a:moveTo>
                <a:lnTo>
                  <a:pt x="7491" y="100559"/>
                </a:lnTo>
                <a:lnTo>
                  <a:pt x="28358" y="60185"/>
                </a:lnTo>
                <a:lnTo>
                  <a:pt x="60185" y="28358"/>
                </a:lnTo>
                <a:lnTo>
                  <a:pt x="100559" y="7491"/>
                </a:lnTo>
                <a:lnTo>
                  <a:pt x="147066" y="0"/>
                </a:lnTo>
                <a:lnTo>
                  <a:pt x="193572" y="7491"/>
                </a:lnTo>
                <a:lnTo>
                  <a:pt x="233946" y="28358"/>
                </a:lnTo>
                <a:lnTo>
                  <a:pt x="265773" y="60185"/>
                </a:lnTo>
                <a:lnTo>
                  <a:pt x="286640" y="100559"/>
                </a:lnTo>
                <a:lnTo>
                  <a:pt x="294131" y="147065"/>
                </a:lnTo>
                <a:lnTo>
                  <a:pt x="286640" y="193572"/>
                </a:lnTo>
                <a:lnTo>
                  <a:pt x="265773" y="233946"/>
                </a:lnTo>
                <a:lnTo>
                  <a:pt x="233946" y="265773"/>
                </a:lnTo>
                <a:lnTo>
                  <a:pt x="193572" y="286640"/>
                </a:lnTo>
                <a:lnTo>
                  <a:pt x="147066" y="294132"/>
                </a:lnTo>
                <a:lnTo>
                  <a:pt x="100559" y="286640"/>
                </a:lnTo>
                <a:lnTo>
                  <a:pt x="60185" y="265773"/>
                </a:lnTo>
                <a:lnTo>
                  <a:pt x="28358" y="233946"/>
                </a:lnTo>
                <a:lnTo>
                  <a:pt x="7491" y="193572"/>
                </a:lnTo>
                <a:lnTo>
                  <a:pt x="0" y="147065"/>
                </a:lnTo>
                <a:close/>
              </a:path>
            </a:pathLst>
          </a:custGeom>
          <a:ln w="19812">
            <a:solidFill>
              <a:schemeClr val="accent3">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object 56">
            <a:extLst>
              <a:ext uri="{FF2B5EF4-FFF2-40B4-BE49-F238E27FC236}">
                <a16:creationId xmlns:a16="http://schemas.microsoft.com/office/drawing/2014/main" id="{405AB613-E477-3E32-A69B-2F210EF57CDD}"/>
              </a:ext>
            </a:extLst>
          </p:cNvPr>
          <p:cNvSpPr/>
          <p:nvPr/>
        </p:nvSpPr>
        <p:spPr>
          <a:xfrm>
            <a:off x="11151869" y="1980438"/>
            <a:ext cx="295910" cy="294640"/>
          </a:xfrm>
          <a:custGeom>
            <a:avLst/>
            <a:gdLst/>
            <a:ahLst/>
            <a:cxnLst/>
            <a:rect l="l" t="t" r="r" b="b"/>
            <a:pathLst>
              <a:path w="295909" h="294639">
                <a:moveTo>
                  <a:pt x="147827" y="0"/>
                </a:moveTo>
                <a:lnTo>
                  <a:pt x="101096" y="7491"/>
                </a:lnTo>
                <a:lnTo>
                  <a:pt x="60514" y="28358"/>
                </a:lnTo>
                <a:lnTo>
                  <a:pt x="28517" y="60185"/>
                </a:lnTo>
                <a:lnTo>
                  <a:pt x="7534" y="100559"/>
                </a:lnTo>
                <a:lnTo>
                  <a:pt x="0" y="147065"/>
                </a:lnTo>
                <a:lnTo>
                  <a:pt x="7534" y="193572"/>
                </a:lnTo>
                <a:lnTo>
                  <a:pt x="28517" y="233946"/>
                </a:lnTo>
                <a:lnTo>
                  <a:pt x="60514" y="265773"/>
                </a:lnTo>
                <a:lnTo>
                  <a:pt x="101096" y="286640"/>
                </a:lnTo>
                <a:lnTo>
                  <a:pt x="147827" y="294132"/>
                </a:lnTo>
                <a:lnTo>
                  <a:pt x="194559" y="286640"/>
                </a:lnTo>
                <a:lnTo>
                  <a:pt x="235141" y="265773"/>
                </a:lnTo>
                <a:lnTo>
                  <a:pt x="267138" y="233946"/>
                </a:lnTo>
                <a:lnTo>
                  <a:pt x="288121" y="193572"/>
                </a:lnTo>
                <a:lnTo>
                  <a:pt x="295655" y="147065"/>
                </a:lnTo>
                <a:lnTo>
                  <a:pt x="288121" y="100559"/>
                </a:lnTo>
                <a:lnTo>
                  <a:pt x="267138" y="60185"/>
                </a:lnTo>
                <a:lnTo>
                  <a:pt x="235141" y="28358"/>
                </a:lnTo>
                <a:lnTo>
                  <a:pt x="194559" y="7491"/>
                </a:lnTo>
                <a:lnTo>
                  <a:pt x="14782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object 57">
            <a:extLst>
              <a:ext uri="{FF2B5EF4-FFF2-40B4-BE49-F238E27FC236}">
                <a16:creationId xmlns:a16="http://schemas.microsoft.com/office/drawing/2014/main" id="{A8D03EDE-DBB1-80B9-2EA9-3DA0EDCECA3E}"/>
              </a:ext>
            </a:extLst>
          </p:cNvPr>
          <p:cNvSpPr/>
          <p:nvPr/>
        </p:nvSpPr>
        <p:spPr>
          <a:xfrm>
            <a:off x="11151869" y="1980438"/>
            <a:ext cx="295910" cy="294640"/>
          </a:xfrm>
          <a:custGeom>
            <a:avLst/>
            <a:gdLst/>
            <a:ahLst/>
            <a:cxnLst/>
            <a:rect l="l" t="t" r="r" b="b"/>
            <a:pathLst>
              <a:path w="295909" h="294639">
                <a:moveTo>
                  <a:pt x="0" y="147065"/>
                </a:moveTo>
                <a:lnTo>
                  <a:pt x="7534" y="100559"/>
                </a:lnTo>
                <a:lnTo>
                  <a:pt x="28517" y="60185"/>
                </a:lnTo>
                <a:lnTo>
                  <a:pt x="60514" y="28358"/>
                </a:lnTo>
                <a:lnTo>
                  <a:pt x="101096" y="7491"/>
                </a:lnTo>
                <a:lnTo>
                  <a:pt x="147827" y="0"/>
                </a:lnTo>
                <a:lnTo>
                  <a:pt x="194559" y="7491"/>
                </a:lnTo>
                <a:lnTo>
                  <a:pt x="235141" y="28358"/>
                </a:lnTo>
                <a:lnTo>
                  <a:pt x="267138" y="60185"/>
                </a:lnTo>
                <a:lnTo>
                  <a:pt x="288121" y="100559"/>
                </a:lnTo>
                <a:lnTo>
                  <a:pt x="295655" y="147065"/>
                </a:lnTo>
                <a:lnTo>
                  <a:pt x="288121" y="193572"/>
                </a:lnTo>
                <a:lnTo>
                  <a:pt x="267138" y="233946"/>
                </a:lnTo>
                <a:lnTo>
                  <a:pt x="235141" y="265773"/>
                </a:lnTo>
                <a:lnTo>
                  <a:pt x="194559" y="286640"/>
                </a:lnTo>
                <a:lnTo>
                  <a:pt x="147827" y="294132"/>
                </a:lnTo>
                <a:lnTo>
                  <a:pt x="101096" y="286640"/>
                </a:lnTo>
                <a:lnTo>
                  <a:pt x="60514" y="265773"/>
                </a:lnTo>
                <a:lnTo>
                  <a:pt x="28517" y="233946"/>
                </a:lnTo>
                <a:lnTo>
                  <a:pt x="7534" y="193572"/>
                </a:lnTo>
                <a:lnTo>
                  <a:pt x="0" y="147065"/>
                </a:lnTo>
                <a:close/>
              </a:path>
            </a:pathLst>
          </a:custGeom>
          <a:ln w="19811">
            <a:solidFill>
              <a:schemeClr val="accent3">
                <a:lumMod val="40000"/>
                <a:lumOff val="6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object 58">
            <a:extLst>
              <a:ext uri="{FF2B5EF4-FFF2-40B4-BE49-F238E27FC236}">
                <a16:creationId xmlns:a16="http://schemas.microsoft.com/office/drawing/2014/main" id="{1FF23291-2177-0826-8308-89CAB7F9168E}"/>
              </a:ext>
            </a:extLst>
          </p:cNvPr>
          <p:cNvSpPr/>
          <p:nvPr/>
        </p:nvSpPr>
        <p:spPr>
          <a:xfrm>
            <a:off x="649223" y="2036064"/>
            <a:ext cx="60960" cy="111760"/>
          </a:xfrm>
          <a:custGeom>
            <a:avLst/>
            <a:gdLst/>
            <a:ahLst/>
            <a:cxnLst/>
            <a:rect l="l" t="t" r="r" b="b"/>
            <a:pathLst>
              <a:path w="60959" h="111760">
                <a:moveTo>
                  <a:pt x="6019" y="0"/>
                </a:moveTo>
                <a:lnTo>
                  <a:pt x="0" y="5841"/>
                </a:lnTo>
                <a:lnTo>
                  <a:pt x="50419" y="55499"/>
                </a:lnTo>
                <a:lnTo>
                  <a:pt x="0" y="104648"/>
                </a:lnTo>
                <a:lnTo>
                  <a:pt x="6019" y="111251"/>
                </a:lnTo>
                <a:lnTo>
                  <a:pt x="59448" y="58420"/>
                </a:lnTo>
                <a:lnTo>
                  <a:pt x="60579" y="56896"/>
                </a:lnTo>
                <a:lnTo>
                  <a:pt x="60960" y="55499"/>
                </a:lnTo>
                <a:lnTo>
                  <a:pt x="60579" y="53975"/>
                </a:lnTo>
                <a:lnTo>
                  <a:pt x="59448" y="52450"/>
                </a:lnTo>
                <a:lnTo>
                  <a:pt x="601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object 59">
            <a:extLst>
              <a:ext uri="{FF2B5EF4-FFF2-40B4-BE49-F238E27FC236}">
                <a16:creationId xmlns:a16="http://schemas.microsoft.com/office/drawing/2014/main" id="{3E9551BB-EEE4-884B-EB81-968D522E8D21}"/>
              </a:ext>
            </a:extLst>
          </p:cNvPr>
          <p:cNvSpPr/>
          <p:nvPr/>
        </p:nvSpPr>
        <p:spPr>
          <a:xfrm>
            <a:off x="1891283" y="2036064"/>
            <a:ext cx="60960" cy="111760"/>
          </a:xfrm>
          <a:custGeom>
            <a:avLst/>
            <a:gdLst/>
            <a:ahLst/>
            <a:cxnLst/>
            <a:rect l="l" t="t" r="r" b="b"/>
            <a:pathLst>
              <a:path w="60960" h="111760">
                <a:moveTo>
                  <a:pt x="5968" y="0"/>
                </a:moveTo>
                <a:lnTo>
                  <a:pt x="0" y="5841"/>
                </a:lnTo>
                <a:lnTo>
                  <a:pt x="50418" y="55499"/>
                </a:lnTo>
                <a:lnTo>
                  <a:pt x="0" y="104648"/>
                </a:lnTo>
                <a:lnTo>
                  <a:pt x="5968" y="111251"/>
                </a:lnTo>
                <a:lnTo>
                  <a:pt x="59436" y="58420"/>
                </a:lnTo>
                <a:lnTo>
                  <a:pt x="60579" y="56896"/>
                </a:lnTo>
                <a:lnTo>
                  <a:pt x="60960" y="55499"/>
                </a:lnTo>
                <a:lnTo>
                  <a:pt x="60579" y="53975"/>
                </a:lnTo>
                <a:lnTo>
                  <a:pt x="59436" y="52450"/>
                </a:lnTo>
                <a:lnTo>
                  <a:pt x="5968"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object 60">
            <a:extLst>
              <a:ext uri="{FF2B5EF4-FFF2-40B4-BE49-F238E27FC236}">
                <a16:creationId xmlns:a16="http://schemas.microsoft.com/office/drawing/2014/main" id="{689FB70A-6C76-40CD-AD34-3E880150A657}"/>
              </a:ext>
            </a:extLst>
          </p:cNvPr>
          <p:cNvSpPr/>
          <p:nvPr/>
        </p:nvSpPr>
        <p:spPr>
          <a:xfrm>
            <a:off x="3179064" y="2036064"/>
            <a:ext cx="59690" cy="111760"/>
          </a:xfrm>
          <a:custGeom>
            <a:avLst/>
            <a:gdLst/>
            <a:ahLst/>
            <a:cxnLst/>
            <a:rect l="l" t="t" r="r" b="b"/>
            <a:pathLst>
              <a:path w="59689" h="111760">
                <a:moveTo>
                  <a:pt x="5842" y="0"/>
                </a:moveTo>
                <a:lnTo>
                  <a:pt x="0" y="5841"/>
                </a:lnTo>
                <a:lnTo>
                  <a:pt x="49149" y="55499"/>
                </a:lnTo>
                <a:lnTo>
                  <a:pt x="0" y="104648"/>
                </a:lnTo>
                <a:lnTo>
                  <a:pt x="5842" y="111251"/>
                </a:lnTo>
                <a:lnTo>
                  <a:pt x="57912" y="58420"/>
                </a:lnTo>
                <a:lnTo>
                  <a:pt x="59055" y="56896"/>
                </a:lnTo>
                <a:lnTo>
                  <a:pt x="59436" y="55499"/>
                </a:lnTo>
                <a:lnTo>
                  <a:pt x="59055" y="53975"/>
                </a:lnTo>
                <a:lnTo>
                  <a:pt x="57912" y="52450"/>
                </a:lnTo>
                <a:lnTo>
                  <a:pt x="584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object 61">
            <a:extLst>
              <a:ext uri="{FF2B5EF4-FFF2-40B4-BE49-F238E27FC236}">
                <a16:creationId xmlns:a16="http://schemas.microsoft.com/office/drawing/2014/main" id="{4C0900B0-F080-33F2-13AA-BDAC592FE50A}"/>
              </a:ext>
            </a:extLst>
          </p:cNvPr>
          <p:cNvSpPr/>
          <p:nvPr/>
        </p:nvSpPr>
        <p:spPr>
          <a:xfrm>
            <a:off x="4465320" y="2036064"/>
            <a:ext cx="60960" cy="111760"/>
          </a:xfrm>
          <a:custGeom>
            <a:avLst/>
            <a:gdLst/>
            <a:ahLst/>
            <a:cxnLst/>
            <a:rect l="l" t="t" r="r" b="b"/>
            <a:pathLst>
              <a:path w="60960" h="111760">
                <a:moveTo>
                  <a:pt x="5968" y="0"/>
                </a:moveTo>
                <a:lnTo>
                  <a:pt x="0" y="5841"/>
                </a:lnTo>
                <a:lnTo>
                  <a:pt x="50418" y="55499"/>
                </a:lnTo>
                <a:lnTo>
                  <a:pt x="0" y="104648"/>
                </a:lnTo>
                <a:lnTo>
                  <a:pt x="5968" y="111251"/>
                </a:lnTo>
                <a:lnTo>
                  <a:pt x="59435" y="58420"/>
                </a:lnTo>
                <a:lnTo>
                  <a:pt x="60578" y="56896"/>
                </a:lnTo>
                <a:lnTo>
                  <a:pt x="60959" y="55499"/>
                </a:lnTo>
                <a:lnTo>
                  <a:pt x="60578" y="53975"/>
                </a:lnTo>
                <a:lnTo>
                  <a:pt x="59435" y="52450"/>
                </a:lnTo>
                <a:lnTo>
                  <a:pt x="5968"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object 62">
            <a:extLst>
              <a:ext uri="{FF2B5EF4-FFF2-40B4-BE49-F238E27FC236}">
                <a16:creationId xmlns:a16="http://schemas.microsoft.com/office/drawing/2014/main" id="{AB81EEEB-43C8-1065-80D9-558BF093183F}"/>
              </a:ext>
            </a:extLst>
          </p:cNvPr>
          <p:cNvSpPr/>
          <p:nvPr/>
        </p:nvSpPr>
        <p:spPr>
          <a:xfrm>
            <a:off x="5753100" y="2036064"/>
            <a:ext cx="59690" cy="111760"/>
          </a:xfrm>
          <a:custGeom>
            <a:avLst/>
            <a:gdLst/>
            <a:ahLst/>
            <a:cxnLst/>
            <a:rect l="l" t="t" r="r" b="b"/>
            <a:pathLst>
              <a:path w="59689" h="111760">
                <a:moveTo>
                  <a:pt x="5841" y="0"/>
                </a:moveTo>
                <a:lnTo>
                  <a:pt x="0" y="5841"/>
                </a:lnTo>
                <a:lnTo>
                  <a:pt x="49149" y="55499"/>
                </a:lnTo>
                <a:lnTo>
                  <a:pt x="0" y="104648"/>
                </a:lnTo>
                <a:lnTo>
                  <a:pt x="5841" y="111251"/>
                </a:lnTo>
                <a:lnTo>
                  <a:pt x="57912" y="58420"/>
                </a:lnTo>
                <a:lnTo>
                  <a:pt x="59054" y="56896"/>
                </a:lnTo>
                <a:lnTo>
                  <a:pt x="59436" y="55499"/>
                </a:lnTo>
                <a:lnTo>
                  <a:pt x="59054" y="53975"/>
                </a:lnTo>
                <a:lnTo>
                  <a:pt x="57912" y="52450"/>
                </a:lnTo>
                <a:lnTo>
                  <a:pt x="5841"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4" name="object 63">
            <a:extLst>
              <a:ext uri="{FF2B5EF4-FFF2-40B4-BE49-F238E27FC236}">
                <a16:creationId xmlns:a16="http://schemas.microsoft.com/office/drawing/2014/main" id="{EE72FA1E-BF7B-C71F-BC4A-2C61E5488327}"/>
              </a:ext>
            </a:extLst>
          </p:cNvPr>
          <p:cNvSpPr/>
          <p:nvPr/>
        </p:nvSpPr>
        <p:spPr>
          <a:xfrm>
            <a:off x="7039356" y="2036064"/>
            <a:ext cx="60960" cy="111760"/>
          </a:xfrm>
          <a:custGeom>
            <a:avLst/>
            <a:gdLst/>
            <a:ahLst/>
            <a:cxnLst/>
            <a:rect l="l" t="t" r="r" b="b"/>
            <a:pathLst>
              <a:path w="60959" h="111760">
                <a:moveTo>
                  <a:pt x="5969" y="0"/>
                </a:moveTo>
                <a:lnTo>
                  <a:pt x="0" y="5841"/>
                </a:lnTo>
                <a:lnTo>
                  <a:pt x="50419" y="55499"/>
                </a:lnTo>
                <a:lnTo>
                  <a:pt x="0" y="104648"/>
                </a:lnTo>
                <a:lnTo>
                  <a:pt x="5969" y="111251"/>
                </a:lnTo>
                <a:lnTo>
                  <a:pt x="59436" y="58420"/>
                </a:lnTo>
                <a:lnTo>
                  <a:pt x="60578" y="56896"/>
                </a:lnTo>
                <a:lnTo>
                  <a:pt x="60960" y="55499"/>
                </a:lnTo>
                <a:lnTo>
                  <a:pt x="60578" y="53975"/>
                </a:lnTo>
                <a:lnTo>
                  <a:pt x="59436" y="52450"/>
                </a:lnTo>
                <a:lnTo>
                  <a:pt x="596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5" name="object 64">
            <a:extLst>
              <a:ext uri="{FF2B5EF4-FFF2-40B4-BE49-F238E27FC236}">
                <a16:creationId xmlns:a16="http://schemas.microsoft.com/office/drawing/2014/main" id="{88C1AFFE-D11A-143F-C901-AD85B8731A11}"/>
              </a:ext>
            </a:extLst>
          </p:cNvPr>
          <p:cNvSpPr/>
          <p:nvPr/>
        </p:nvSpPr>
        <p:spPr>
          <a:xfrm>
            <a:off x="8327135" y="2036064"/>
            <a:ext cx="59690" cy="111760"/>
          </a:xfrm>
          <a:custGeom>
            <a:avLst/>
            <a:gdLst/>
            <a:ahLst/>
            <a:cxnLst/>
            <a:rect l="l" t="t" r="r" b="b"/>
            <a:pathLst>
              <a:path w="59690" h="111760">
                <a:moveTo>
                  <a:pt x="5842" y="0"/>
                </a:moveTo>
                <a:lnTo>
                  <a:pt x="0" y="5841"/>
                </a:lnTo>
                <a:lnTo>
                  <a:pt x="49149" y="55499"/>
                </a:lnTo>
                <a:lnTo>
                  <a:pt x="0" y="104648"/>
                </a:lnTo>
                <a:lnTo>
                  <a:pt x="5842" y="111251"/>
                </a:lnTo>
                <a:lnTo>
                  <a:pt x="57912" y="58420"/>
                </a:lnTo>
                <a:lnTo>
                  <a:pt x="59055" y="56896"/>
                </a:lnTo>
                <a:lnTo>
                  <a:pt x="59436" y="55499"/>
                </a:lnTo>
                <a:lnTo>
                  <a:pt x="59055" y="53975"/>
                </a:lnTo>
                <a:lnTo>
                  <a:pt x="57912" y="52450"/>
                </a:lnTo>
                <a:lnTo>
                  <a:pt x="584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6" name="object 65">
            <a:extLst>
              <a:ext uri="{FF2B5EF4-FFF2-40B4-BE49-F238E27FC236}">
                <a16:creationId xmlns:a16="http://schemas.microsoft.com/office/drawing/2014/main" id="{EC0BB749-9B0E-5943-F14D-669B02FB01D2}"/>
              </a:ext>
            </a:extLst>
          </p:cNvPr>
          <p:cNvSpPr/>
          <p:nvPr/>
        </p:nvSpPr>
        <p:spPr>
          <a:xfrm>
            <a:off x="9614916" y="2036064"/>
            <a:ext cx="59690" cy="111760"/>
          </a:xfrm>
          <a:custGeom>
            <a:avLst/>
            <a:gdLst/>
            <a:ahLst/>
            <a:cxnLst/>
            <a:rect l="l" t="t" r="r" b="b"/>
            <a:pathLst>
              <a:path w="59690" h="111760">
                <a:moveTo>
                  <a:pt x="5841" y="0"/>
                </a:moveTo>
                <a:lnTo>
                  <a:pt x="0" y="5841"/>
                </a:lnTo>
                <a:lnTo>
                  <a:pt x="49149" y="55499"/>
                </a:lnTo>
                <a:lnTo>
                  <a:pt x="0" y="104648"/>
                </a:lnTo>
                <a:lnTo>
                  <a:pt x="5841" y="111251"/>
                </a:lnTo>
                <a:lnTo>
                  <a:pt x="57911" y="58420"/>
                </a:lnTo>
                <a:lnTo>
                  <a:pt x="59054" y="56896"/>
                </a:lnTo>
                <a:lnTo>
                  <a:pt x="59435" y="55499"/>
                </a:lnTo>
                <a:lnTo>
                  <a:pt x="59054" y="53975"/>
                </a:lnTo>
                <a:lnTo>
                  <a:pt x="57911" y="52450"/>
                </a:lnTo>
                <a:lnTo>
                  <a:pt x="5841"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7" name="object 66">
            <a:extLst>
              <a:ext uri="{FF2B5EF4-FFF2-40B4-BE49-F238E27FC236}">
                <a16:creationId xmlns:a16="http://schemas.microsoft.com/office/drawing/2014/main" id="{ED4E7A51-8CF9-FBEB-78ED-CAF32118A409}"/>
              </a:ext>
            </a:extLst>
          </p:cNvPr>
          <p:cNvSpPr/>
          <p:nvPr/>
        </p:nvSpPr>
        <p:spPr>
          <a:xfrm>
            <a:off x="10901171" y="2036064"/>
            <a:ext cx="60960" cy="111760"/>
          </a:xfrm>
          <a:custGeom>
            <a:avLst/>
            <a:gdLst/>
            <a:ahLst/>
            <a:cxnLst/>
            <a:rect l="l" t="t" r="r" b="b"/>
            <a:pathLst>
              <a:path w="60959" h="111760">
                <a:moveTo>
                  <a:pt x="5969" y="0"/>
                </a:moveTo>
                <a:lnTo>
                  <a:pt x="0" y="5841"/>
                </a:lnTo>
                <a:lnTo>
                  <a:pt x="50419" y="55499"/>
                </a:lnTo>
                <a:lnTo>
                  <a:pt x="0" y="104648"/>
                </a:lnTo>
                <a:lnTo>
                  <a:pt x="5969" y="111251"/>
                </a:lnTo>
                <a:lnTo>
                  <a:pt x="59435" y="58420"/>
                </a:lnTo>
                <a:lnTo>
                  <a:pt x="60578" y="56896"/>
                </a:lnTo>
                <a:lnTo>
                  <a:pt x="60959" y="55499"/>
                </a:lnTo>
                <a:lnTo>
                  <a:pt x="60578" y="53975"/>
                </a:lnTo>
                <a:lnTo>
                  <a:pt x="59435" y="52450"/>
                </a:lnTo>
                <a:lnTo>
                  <a:pt x="596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8" name="object 67">
            <a:extLst>
              <a:ext uri="{FF2B5EF4-FFF2-40B4-BE49-F238E27FC236}">
                <a16:creationId xmlns:a16="http://schemas.microsoft.com/office/drawing/2014/main" id="{76B51FE9-29E5-9916-53B8-E54486959D99}"/>
              </a:ext>
            </a:extLst>
          </p:cNvPr>
          <p:cNvSpPr/>
          <p:nvPr/>
        </p:nvSpPr>
        <p:spPr>
          <a:xfrm>
            <a:off x="926591" y="2048255"/>
            <a:ext cx="132588" cy="134112"/>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9" name="object 68">
            <a:extLst>
              <a:ext uri="{FF2B5EF4-FFF2-40B4-BE49-F238E27FC236}">
                <a16:creationId xmlns:a16="http://schemas.microsoft.com/office/drawing/2014/main" id="{66FE051D-B6D8-08CC-868A-97BD94EF9470}"/>
              </a:ext>
            </a:extLst>
          </p:cNvPr>
          <p:cNvSpPr/>
          <p:nvPr/>
        </p:nvSpPr>
        <p:spPr>
          <a:xfrm>
            <a:off x="2238755" y="2051304"/>
            <a:ext cx="100583" cy="138684"/>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0" name="object 69">
            <a:extLst>
              <a:ext uri="{FF2B5EF4-FFF2-40B4-BE49-F238E27FC236}">
                <a16:creationId xmlns:a16="http://schemas.microsoft.com/office/drawing/2014/main" id="{BFA07CC6-4F07-0657-86A1-1CBE0C75C4B5}"/>
              </a:ext>
            </a:extLst>
          </p:cNvPr>
          <p:cNvSpPr/>
          <p:nvPr/>
        </p:nvSpPr>
        <p:spPr>
          <a:xfrm>
            <a:off x="3514344" y="2069592"/>
            <a:ext cx="123443" cy="118872"/>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1" name="object 70">
            <a:extLst>
              <a:ext uri="{FF2B5EF4-FFF2-40B4-BE49-F238E27FC236}">
                <a16:creationId xmlns:a16="http://schemas.microsoft.com/office/drawing/2014/main" id="{A58B70F5-7BB0-A965-57C7-90F916B16F59}"/>
              </a:ext>
            </a:extLst>
          </p:cNvPr>
          <p:cNvSpPr/>
          <p:nvPr/>
        </p:nvSpPr>
        <p:spPr>
          <a:xfrm>
            <a:off x="4835652" y="2031492"/>
            <a:ext cx="55244" cy="32384"/>
          </a:xfrm>
          <a:custGeom>
            <a:avLst/>
            <a:gdLst/>
            <a:ahLst/>
            <a:cxnLst/>
            <a:rect l="l" t="t" r="r" b="b"/>
            <a:pathLst>
              <a:path w="55245" h="32385">
                <a:moveTo>
                  <a:pt x="27432" y="0"/>
                </a:moveTo>
                <a:lnTo>
                  <a:pt x="25019" y="381"/>
                </a:lnTo>
                <a:lnTo>
                  <a:pt x="22098" y="762"/>
                </a:lnTo>
                <a:lnTo>
                  <a:pt x="19685" y="2032"/>
                </a:lnTo>
                <a:lnTo>
                  <a:pt x="13970" y="13335"/>
                </a:lnTo>
                <a:lnTo>
                  <a:pt x="0" y="13335"/>
                </a:lnTo>
                <a:lnTo>
                  <a:pt x="0" y="30353"/>
                </a:lnTo>
                <a:lnTo>
                  <a:pt x="381" y="30734"/>
                </a:lnTo>
                <a:lnTo>
                  <a:pt x="1650" y="31242"/>
                </a:lnTo>
                <a:lnTo>
                  <a:pt x="2412" y="32004"/>
                </a:lnTo>
                <a:lnTo>
                  <a:pt x="52832" y="32004"/>
                </a:lnTo>
                <a:lnTo>
                  <a:pt x="54101" y="31242"/>
                </a:lnTo>
                <a:lnTo>
                  <a:pt x="54483" y="30734"/>
                </a:lnTo>
                <a:lnTo>
                  <a:pt x="54863" y="30353"/>
                </a:lnTo>
                <a:lnTo>
                  <a:pt x="54863" y="18287"/>
                </a:lnTo>
                <a:lnTo>
                  <a:pt x="27432" y="18287"/>
                </a:lnTo>
                <a:lnTo>
                  <a:pt x="25781" y="17780"/>
                </a:lnTo>
                <a:lnTo>
                  <a:pt x="24130" y="16637"/>
                </a:lnTo>
                <a:lnTo>
                  <a:pt x="23368" y="14986"/>
                </a:lnTo>
                <a:lnTo>
                  <a:pt x="23368" y="11811"/>
                </a:lnTo>
                <a:lnTo>
                  <a:pt x="24130" y="10160"/>
                </a:lnTo>
                <a:lnTo>
                  <a:pt x="25781" y="9779"/>
                </a:lnTo>
                <a:lnTo>
                  <a:pt x="27432" y="8890"/>
                </a:lnTo>
                <a:lnTo>
                  <a:pt x="40533" y="8890"/>
                </a:lnTo>
                <a:lnTo>
                  <a:pt x="38862" y="5715"/>
                </a:lnTo>
                <a:lnTo>
                  <a:pt x="37211" y="3683"/>
                </a:lnTo>
                <a:lnTo>
                  <a:pt x="35178" y="2032"/>
                </a:lnTo>
                <a:lnTo>
                  <a:pt x="33147" y="762"/>
                </a:lnTo>
                <a:lnTo>
                  <a:pt x="27432" y="0"/>
                </a:lnTo>
                <a:close/>
              </a:path>
              <a:path w="55245" h="32385">
                <a:moveTo>
                  <a:pt x="40533" y="8890"/>
                </a:moveTo>
                <a:lnTo>
                  <a:pt x="27432" y="8890"/>
                </a:lnTo>
                <a:lnTo>
                  <a:pt x="29083" y="9779"/>
                </a:lnTo>
                <a:lnTo>
                  <a:pt x="30734" y="10160"/>
                </a:lnTo>
                <a:lnTo>
                  <a:pt x="31876" y="11811"/>
                </a:lnTo>
                <a:lnTo>
                  <a:pt x="32385" y="13335"/>
                </a:lnTo>
                <a:lnTo>
                  <a:pt x="31876" y="14986"/>
                </a:lnTo>
                <a:lnTo>
                  <a:pt x="30734" y="16637"/>
                </a:lnTo>
                <a:lnTo>
                  <a:pt x="29083" y="17780"/>
                </a:lnTo>
                <a:lnTo>
                  <a:pt x="27432" y="18287"/>
                </a:lnTo>
                <a:lnTo>
                  <a:pt x="54863" y="18287"/>
                </a:lnTo>
                <a:lnTo>
                  <a:pt x="54863" y="13335"/>
                </a:lnTo>
                <a:lnTo>
                  <a:pt x="41401" y="13335"/>
                </a:lnTo>
                <a:lnTo>
                  <a:pt x="41401" y="10541"/>
                </a:lnTo>
                <a:lnTo>
                  <a:pt x="40533" y="889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2" name="object 71">
            <a:extLst>
              <a:ext uri="{FF2B5EF4-FFF2-40B4-BE49-F238E27FC236}">
                <a16:creationId xmlns:a16="http://schemas.microsoft.com/office/drawing/2014/main" id="{DAD505C3-B806-9DCC-BADC-9C6159F8A314}"/>
              </a:ext>
            </a:extLst>
          </p:cNvPr>
          <p:cNvSpPr/>
          <p:nvPr/>
        </p:nvSpPr>
        <p:spPr>
          <a:xfrm>
            <a:off x="4838700" y="2090927"/>
            <a:ext cx="48895" cy="35560"/>
          </a:xfrm>
          <a:custGeom>
            <a:avLst/>
            <a:gdLst/>
            <a:ahLst/>
            <a:cxnLst/>
            <a:rect l="l" t="t" r="r" b="b"/>
            <a:pathLst>
              <a:path w="48895" h="35560">
                <a:moveTo>
                  <a:pt x="4825" y="12826"/>
                </a:moveTo>
                <a:lnTo>
                  <a:pt x="2032" y="12826"/>
                </a:lnTo>
                <a:lnTo>
                  <a:pt x="1270" y="13970"/>
                </a:lnTo>
                <a:lnTo>
                  <a:pt x="0" y="14859"/>
                </a:lnTo>
                <a:lnTo>
                  <a:pt x="0" y="17780"/>
                </a:lnTo>
                <a:lnTo>
                  <a:pt x="1270" y="18923"/>
                </a:lnTo>
                <a:lnTo>
                  <a:pt x="15748" y="33782"/>
                </a:lnTo>
                <a:lnTo>
                  <a:pt x="16510" y="35051"/>
                </a:lnTo>
                <a:lnTo>
                  <a:pt x="19303" y="35051"/>
                </a:lnTo>
                <a:lnTo>
                  <a:pt x="20574" y="33782"/>
                </a:lnTo>
                <a:lnTo>
                  <a:pt x="27398" y="26797"/>
                </a:lnTo>
                <a:lnTo>
                  <a:pt x="18541" y="26797"/>
                </a:lnTo>
                <a:lnTo>
                  <a:pt x="6096" y="13970"/>
                </a:lnTo>
                <a:lnTo>
                  <a:pt x="4825" y="12826"/>
                </a:lnTo>
                <a:close/>
              </a:path>
              <a:path w="48895" h="35560">
                <a:moveTo>
                  <a:pt x="45592" y="0"/>
                </a:moveTo>
                <a:lnTo>
                  <a:pt x="43941" y="762"/>
                </a:lnTo>
                <a:lnTo>
                  <a:pt x="42672" y="1270"/>
                </a:lnTo>
                <a:lnTo>
                  <a:pt x="18541" y="26797"/>
                </a:lnTo>
                <a:lnTo>
                  <a:pt x="27398" y="26797"/>
                </a:lnTo>
                <a:lnTo>
                  <a:pt x="47498" y="6223"/>
                </a:lnTo>
                <a:lnTo>
                  <a:pt x="48767" y="4952"/>
                </a:lnTo>
                <a:lnTo>
                  <a:pt x="48767" y="2412"/>
                </a:lnTo>
                <a:lnTo>
                  <a:pt x="47498" y="1270"/>
                </a:lnTo>
                <a:lnTo>
                  <a:pt x="46354" y="762"/>
                </a:lnTo>
                <a:lnTo>
                  <a:pt x="4559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3" name="object 72">
            <a:extLst>
              <a:ext uri="{FF2B5EF4-FFF2-40B4-BE49-F238E27FC236}">
                <a16:creationId xmlns:a16="http://schemas.microsoft.com/office/drawing/2014/main" id="{5F11FD30-10FE-88CB-098F-7C1C266ECB84}"/>
              </a:ext>
            </a:extLst>
          </p:cNvPr>
          <p:cNvSpPr/>
          <p:nvPr/>
        </p:nvSpPr>
        <p:spPr>
          <a:xfrm>
            <a:off x="4811395" y="2180463"/>
            <a:ext cx="104139" cy="0"/>
          </a:xfrm>
          <a:custGeom>
            <a:avLst/>
            <a:gdLst/>
            <a:ahLst/>
            <a:cxnLst/>
            <a:rect l="l" t="t" r="r" b="b"/>
            <a:pathLst>
              <a:path w="104139">
                <a:moveTo>
                  <a:pt x="0" y="0"/>
                </a:moveTo>
                <a:lnTo>
                  <a:pt x="103758" y="0"/>
                </a:lnTo>
              </a:path>
            </a:pathLst>
          </a:custGeom>
          <a:ln w="317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4" name="object 73">
            <a:extLst>
              <a:ext uri="{FF2B5EF4-FFF2-40B4-BE49-F238E27FC236}">
                <a16:creationId xmlns:a16="http://schemas.microsoft.com/office/drawing/2014/main" id="{D935EBA2-21A7-A58B-9D2A-F6150A3DF3D7}"/>
              </a:ext>
            </a:extLst>
          </p:cNvPr>
          <p:cNvSpPr/>
          <p:nvPr/>
        </p:nvSpPr>
        <p:spPr>
          <a:xfrm>
            <a:off x="4810505" y="2179954"/>
            <a:ext cx="105410" cy="0"/>
          </a:xfrm>
          <a:custGeom>
            <a:avLst/>
            <a:gdLst/>
            <a:ahLst/>
            <a:cxnLst/>
            <a:rect l="l" t="t" r="r" b="b"/>
            <a:pathLst>
              <a:path w="105410">
                <a:moveTo>
                  <a:pt x="0" y="0"/>
                </a:moveTo>
                <a:lnTo>
                  <a:pt x="105264" y="0"/>
                </a:lnTo>
              </a:path>
            </a:pathLst>
          </a:custGeom>
          <a:ln w="317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5" name="object 74">
            <a:extLst>
              <a:ext uri="{FF2B5EF4-FFF2-40B4-BE49-F238E27FC236}">
                <a16:creationId xmlns:a16="http://schemas.microsoft.com/office/drawing/2014/main" id="{1118BB6F-EE87-90F2-B9A8-B9365F270FEF}"/>
              </a:ext>
            </a:extLst>
          </p:cNvPr>
          <p:cNvSpPr/>
          <p:nvPr/>
        </p:nvSpPr>
        <p:spPr>
          <a:xfrm>
            <a:off x="4809997" y="2178685"/>
            <a:ext cx="106680" cy="0"/>
          </a:xfrm>
          <a:custGeom>
            <a:avLst/>
            <a:gdLst/>
            <a:ahLst/>
            <a:cxnLst/>
            <a:rect l="l" t="t" r="r" b="b"/>
            <a:pathLst>
              <a:path w="106679">
                <a:moveTo>
                  <a:pt x="0" y="0"/>
                </a:moveTo>
                <a:lnTo>
                  <a:pt x="106425" y="0"/>
                </a:lnTo>
              </a:path>
            </a:pathLst>
          </a:custGeom>
          <a:ln w="317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6" name="object 75">
            <a:extLst>
              <a:ext uri="{FF2B5EF4-FFF2-40B4-BE49-F238E27FC236}">
                <a16:creationId xmlns:a16="http://schemas.microsoft.com/office/drawing/2014/main" id="{AE597957-50EC-9203-8EB7-B904E514D23E}"/>
              </a:ext>
            </a:extLst>
          </p:cNvPr>
          <p:cNvSpPr/>
          <p:nvPr/>
        </p:nvSpPr>
        <p:spPr>
          <a:xfrm>
            <a:off x="4809744" y="2174875"/>
            <a:ext cx="106680" cy="0"/>
          </a:xfrm>
          <a:custGeom>
            <a:avLst/>
            <a:gdLst/>
            <a:ahLst/>
            <a:cxnLst/>
            <a:rect l="l" t="t" r="r" b="b"/>
            <a:pathLst>
              <a:path w="106679">
                <a:moveTo>
                  <a:pt x="0" y="0"/>
                </a:moveTo>
                <a:lnTo>
                  <a:pt x="106679" y="0"/>
                </a:lnTo>
              </a:path>
            </a:pathLst>
          </a:custGeom>
          <a:ln w="635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7" name="object 76">
            <a:extLst>
              <a:ext uri="{FF2B5EF4-FFF2-40B4-BE49-F238E27FC236}">
                <a16:creationId xmlns:a16="http://schemas.microsoft.com/office/drawing/2014/main" id="{602FD5C3-57F3-F79E-01F7-73D8712A4B6B}"/>
              </a:ext>
            </a:extLst>
          </p:cNvPr>
          <p:cNvSpPr/>
          <p:nvPr/>
        </p:nvSpPr>
        <p:spPr>
          <a:xfrm>
            <a:off x="4814189" y="2058670"/>
            <a:ext cx="0" cy="113030"/>
          </a:xfrm>
          <a:custGeom>
            <a:avLst/>
            <a:gdLst/>
            <a:ahLst/>
            <a:cxnLst/>
            <a:rect l="l" t="t" r="r" b="b"/>
            <a:pathLst>
              <a:path h="113030">
                <a:moveTo>
                  <a:pt x="0" y="0"/>
                </a:moveTo>
                <a:lnTo>
                  <a:pt x="0" y="113030"/>
                </a:lnTo>
              </a:path>
            </a:pathLst>
          </a:custGeom>
          <a:ln w="888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8" name="object 77">
            <a:extLst>
              <a:ext uri="{FF2B5EF4-FFF2-40B4-BE49-F238E27FC236}">
                <a16:creationId xmlns:a16="http://schemas.microsoft.com/office/drawing/2014/main" id="{6FA7AF3C-786E-20D8-9301-00BA8E960F1A}"/>
              </a:ext>
            </a:extLst>
          </p:cNvPr>
          <p:cNvSpPr/>
          <p:nvPr/>
        </p:nvSpPr>
        <p:spPr>
          <a:xfrm>
            <a:off x="4809744" y="2057400"/>
            <a:ext cx="9525" cy="1270"/>
          </a:xfrm>
          <a:custGeom>
            <a:avLst/>
            <a:gdLst/>
            <a:ahLst/>
            <a:cxnLst/>
            <a:rect l="l" t="t" r="r" b="b"/>
            <a:pathLst>
              <a:path w="9525" h="1269">
                <a:moveTo>
                  <a:pt x="0" y="1269"/>
                </a:moveTo>
                <a:lnTo>
                  <a:pt x="9053" y="1269"/>
                </a:lnTo>
                <a:lnTo>
                  <a:pt x="9053" y="0"/>
                </a:lnTo>
                <a:lnTo>
                  <a:pt x="0" y="0"/>
                </a:lnTo>
                <a:lnTo>
                  <a:pt x="0" y="1269"/>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9" name="object 78">
            <a:extLst>
              <a:ext uri="{FF2B5EF4-FFF2-40B4-BE49-F238E27FC236}">
                <a16:creationId xmlns:a16="http://schemas.microsoft.com/office/drawing/2014/main" id="{8FDF6015-65BE-1292-F5CB-73C34AADE992}"/>
              </a:ext>
            </a:extLst>
          </p:cNvPr>
          <p:cNvSpPr/>
          <p:nvPr/>
        </p:nvSpPr>
        <p:spPr>
          <a:xfrm>
            <a:off x="4809744" y="2051050"/>
            <a:ext cx="20955" cy="6350"/>
          </a:xfrm>
          <a:custGeom>
            <a:avLst/>
            <a:gdLst/>
            <a:ahLst/>
            <a:cxnLst/>
            <a:rect l="l" t="t" r="r" b="b"/>
            <a:pathLst>
              <a:path w="20954" h="6350">
                <a:moveTo>
                  <a:pt x="0" y="6350"/>
                </a:moveTo>
                <a:lnTo>
                  <a:pt x="20573" y="6350"/>
                </a:lnTo>
                <a:lnTo>
                  <a:pt x="20573" y="0"/>
                </a:lnTo>
                <a:lnTo>
                  <a:pt x="0" y="0"/>
                </a:lnTo>
                <a:lnTo>
                  <a:pt x="0" y="635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0" name="object 79">
            <a:extLst>
              <a:ext uri="{FF2B5EF4-FFF2-40B4-BE49-F238E27FC236}">
                <a16:creationId xmlns:a16="http://schemas.microsoft.com/office/drawing/2014/main" id="{F352336F-FFB3-74C5-B928-947148E5C592}"/>
              </a:ext>
            </a:extLst>
          </p:cNvPr>
          <p:cNvSpPr/>
          <p:nvPr/>
        </p:nvSpPr>
        <p:spPr>
          <a:xfrm>
            <a:off x="4809913" y="2049779"/>
            <a:ext cx="20955" cy="1270"/>
          </a:xfrm>
          <a:custGeom>
            <a:avLst/>
            <a:gdLst/>
            <a:ahLst/>
            <a:cxnLst/>
            <a:rect l="l" t="t" r="r" b="b"/>
            <a:pathLst>
              <a:path w="20954" h="1269">
                <a:moveTo>
                  <a:pt x="0" y="1270"/>
                </a:moveTo>
                <a:lnTo>
                  <a:pt x="20404" y="1270"/>
                </a:lnTo>
                <a:lnTo>
                  <a:pt x="20404" y="0"/>
                </a:lnTo>
                <a:lnTo>
                  <a:pt x="0" y="0"/>
                </a:lnTo>
                <a:lnTo>
                  <a:pt x="0" y="127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1" name="object 80">
            <a:extLst>
              <a:ext uri="{FF2B5EF4-FFF2-40B4-BE49-F238E27FC236}">
                <a16:creationId xmlns:a16="http://schemas.microsoft.com/office/drawing/2014/main" id="{BF9B5998-5543-DBB7-BD65-10DA8C05B417}"/>
              </a:ext>
            </a:extLst>
          </p:cNvPr>
          <p:cNvSpPr/>
          <p:nvPr/>
        </p:nvSpPr>
        <p:spPr>
          <a:xfrm>
            <a:off x="4810505" y="2048510"/>
            <a:ext cx="20320" cy="1270"/>
          </a:xfrm>
          <a:custGeom>
            <a:avLst/>
            <a:gdLst/>
            <a:ahLst/>
            <a:cxnLst/>
            <a:rect l="l" t="t" r="r" b="b"/>
            <a:pathLst>
              <a:path w="20320" h="1269">
                <a:moveTo>
                  <a:pt x="0" y="1270"/>
                </a:moveTo>
                <a:lnTo>
                  <a:pt x="19812" y="1270"/>
                </a:lnTo>
                <a:lnTo>
                  <a:pt x="19812" y="0"/>
                </a:lnTo>
                <a:lnTo>
                  <a:pt x="0" y="0"/>
                </a:lnTo>
                <a:lnTo>
                  <a:pt x="0" y="127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2" name="object 81">
            <a:extLst>
              <a:ext uri="{FF2B5EF4-FFF2-40B4-BE49-F238E27FC236}">
                <a16:creationId xmlns:a16="http://schemas.microsoft.com/office/drawing/2014/main" id="{024D8730-D6C0-BDD2-430D-4D5C228BC9E5}"/>
              </a:ext>
            </a:extLst>
          </p:cNvPr>
          <p:cNvSpPr/>
          <p:nvPr/>
        </p:nvSpPr>
        <p:spPr>
          <a:xfrm>
            <a:off x="4911978" y="2058670"/>
            <a:ext cx="0" cy="113030"/>
          </a:xfrm>
          <a:custGeom>
            <a:avLst/>
            <a:gdLst/>
            <a:ahLst/>
            <a:cxnLst/>
            <a:rect l="l" t="t" r="r" b="b"/>
            <a:pathLst>
              <a:path h="113030">
                <a:moveTo>
                  <a:pt x="0" y="0"/>
                </a:moveTo>
                <a:lnTo>
                  <a:pt x="0" y="113030"/>
                </a:lnTo>
              </a:path>
            </a:pathLst>
          </a:custGeom>
          <a:ln w="888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3" name="object 82">
            <a:extLst>
              <a:ext uri="{FF2B5EF4-FFF2-40B4-BE49-F238E27FC236}">
                <a16:creationId xmlns:a16="http://schemas.microsoft.com/office/drawing/2014/main" id="{E4490FEA-F07C-FEE2-34C9-9250C529DB81}"/>
              </a:ext>
            </a:extLst>
          </p:cNvPr>
          <p:cNvSpPr/>
          <p:nvPr/>
        </p:nvSpPr>
        <p:spPr>
          <a:xfrm>
            <a:off x="4907370" y="2057400"/>
            <a:ext cx="9525" cy="1270"/>
          </a:xfrm>
          <a:custGeom>
            <a:avLst/>
            <a:gdLst/>
            <a:ahLst/>
            <a:cxnLst/>
            <a:rect l="l" t="t" r="r" b="b"/>
            <a:pathLst>
              <a:path w="9525" h="1269">
                <a:moveTo>
                  <a:pt x="0" y="1269"/>
                </a:moveTo>
                <a:lnTo>
                  <a:pt x="9053" y="1269"/>
                </a:lnTo>
                <a:lnTo>
                  <a:pt x="9053" y="0"/>
                </a:lnTo>
                <a:lnTo>
                  <a:pt x="0" y="0"/>
                </a:lnTo>
                <a:lnTo>
                  <a:pt x="0" y="1269"/>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4" name="object 83">
            <a:extLst>
              <a:ext uri="{FF2B5EF4-FFF2-40B4-BE49-F238E27FC236}">
                <a16:creationId xmlns:a16="http://schemas.microsoft.com/office/drawing/2014/main" id="{9EE46579-93F7-E14C-5285-87109A601A64}"/>
              </a:ext>
            </a:extLst>
          </p:cNvPr>
          <p:cNvSpPr/>
          <p:nvPr/>
        </p:nvSpPr>
        <p:spPr>
          <a:xfrm>
            <a:off x="4896230" y="2049779"/>
            <a:ext cx="20320" cy="7620"/>
          </a:xfrm>
          <a:custGeom>
            <a:avLst/>
            <a:gdLst/>
            <a:ahLst/>
            <a:cxnLst/>
            <a:rect l="l" t="t" r="r" b="b"/>
            <a:pathLst>
              <a:path w="20320" h="7619">
                <a:moveTo>
                  <a:pt x="0" y="7620"/>
                </a:moveTo>
                <a:lnTo>
                  <a:pt x="20193" y="7620"/>
                </a:lnTo>
                <a:lnTo>
                  <a:pt x="20193" y="0"/>
                </a:lnTo>
                <a:lnTo>
                  <a:pt x="0" y="0"/>
                </a:lnTo>
                <a:lnTo>
                  <a:pt x="0" y="762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5" name="object 84">
            <a:extLst>
              <a:ext uri="{FF2B5EF4-FFF2-40B4-BE49-F238E27FC236}">
                <a16:creationId xmlns:a16="http://schemas.microsoft.com/office/drawing/2014/main" id="{12947AB7-431A-3DF8-1BF2-A6DA2D57B08E}"/>
              </a:ext>
            </a:extLst>
          </p:cNvPr>
          <p:cNvSpPr/>
          <p:nvPr/>
        </p:nvSpPr>
        <p:spPr>
          <a:xfrm>
            <a:off x="4896230" y="2048510"/>
            <a:ext cx="19685" cy="1270"/>
          </a:xfrm>
          <a:custGeom>
            <a:avLst/>
            <a:gdLst/>
            <a:ahLst/>
            <a:cxnLst/>
            <a:rect l="l" t="t" r="r" b="b"/>
            <a:pathLst>
              <a:path w="19685" h="1269">
                <a:moveTo>
                  <a:pt x="0" y="1270"/>
                </a:moveTo>
                <a:lnTo>
                  <a:pt x="19621" y="1270"/>
                </a:lnTo>
                <a:lnTo>
                  <a:pt x="19621" y="0"/>
                </a:lnTo>
                <a:lnTo>
                  <a:pt x="0" y="0"/>
                </a:lnTo>
                <a:lnTo>
                  <a:pt x="0" y="127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6" name="object 85">
            <a:extLst>
              <a:ext uri="{FF2B5EF4-FFF2-40B4-BE49-F238E27FC236}">
                <a16:creationId xmlns:a16="http://schemas.microsoft.com/office/drawing/2014/main" id="{7DC41BF8-0615-0971-E879-B363E0AFD75D}"/>
              </a:ext>
            </a:extLst>
          </p:cNvPr>
          <p:cNvSpPr/>
          <p:nvPr/>
        </p:nvSpPr>
        <p:spPr>
          <a:xfrm>
            <a:off x="6076188" y="2046732"/>
            <a:ext cx="131063" cy="131063"/>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7" name="object 86">
            <a:extLst>
              <a:ext uri="{FF2B5EF4-FFF2-40B4-BE49-F238E27FC236}">
                <a16:creationId xmlns:a16="http://schemas.microsoft.com/office/drawing/2014/main" id="{E7C917D7-801A-17AA-7D0C-59961AD5477B}"/>
              </a:ext>
            </a:extLst>
          </p:cNvPr>
          <p:cNvSpPr/>
          <p:nvPr/>
        </p:nvSpPr>
        <p:spPr>
          <a:xfrm>
            <a:off x="7380731" y="2065020"/>
            <a:ext cx="114300" cy="116839"/>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8" name="object 87">
            <a:extLst>
              <a:ext uri="{FF2B5EF4-FFF2-40B4-BE49-F238E27FC236}">
                <a16:creationId xmlns:a16="http://schemas.microsoft.com/office/drawing/2014/main" id="{8C58C601-4796-E34B-D0FB-9FB2D7C6BB84}"/>
              </a:ext>
            </a:extLst>
          </p:cNvPr>
          <p:cNvSpPr/>
          <p:nvPr/>
        </p:nvSpPr>
        <p:spPr>
          <a:xfrm>
            <a:off x="8653271" y="2051304"/>
            <a:ext cx="141731" cy="131063"/>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9" name="object 88">
            <a:extLst>
              <a:ext uri="{FF2B5EF4-FFF2-40B4-BE49-F238E27FC236}">
                <a16:creationId xmlns:a16="http://schemas.microsoft.com/office/drawing/2014/main" id="{BB3FC1D5-6C7A-6C71-561C-5C17DE82A437}"/>
              </a:ext>
            </a:extLst>
          </p:cNvPr>
          <p:cNvSpPr/>
          <p:nvPr/>
        </p:nvSpPr>
        <p:spPr>
          <a:xfrm>
            <a:off x="9959340" y="2051304"/>
            <a:ext cx="150875" cy="150875"/>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50" name="object 89">
            <a:extLst>
              <a:ext uri="{FF2B5EF4-FFF2-40B4-BE49-F238E27FC236}">
                <a16:creationId xmlns:a16="http://schemas.microsoft.com/office/drawing/2014/main" id="{4442B323-C86D-566F-D876-1B11E4414A33}"/>
              </a:ext>
            </a:extLst>
          </p:cNvPr>
          <p:cNvSpPr/>
          <p:nvPr/>
        </p:nvSpPr>
        <p:spPr>
          <a:xfrm>
            <a:off x="11242547" y="2078735"/>
            <a:ext cx="43180" cy="41275"/>
          </a:xfrm>
          <a:custGeom>
            <a:avLst/>
            <a:gdLst/>
            <a:ahLst/>
            <a:cxnLst/>
            <a:rect l="l" t="t" r="r" b="b"/>
            <a:pathLst>
              <a:path w="43179" h="41275">
                <a:moveTo>
                  <a:pt x="17272" y="12191"/>
                </a:moveTo>
                <a:lnTo>
                  <a:pt x="7111" y="12191"/>
                </a:lnTo>
                <a:lnTo>
                  <a:pt x="36829" y="41148"/>
                </a:lnTo>
                <a:lnTo>
                  <a:pt x="42672" y="36322"/>
                </a:lnTo>
                <a:lnTo>
                  <a:pt x="17272" y="12191"/>
                </a:lnTo>
                <a:close/>
              </a:path>
              <a:path w="43179" h="41275">
                <a:moveTo>
                  <a:pt x="41401" y="0"/>
                </a:moveTo>
                <a:lnTo>
                  <a:pt x="2031" y="0"/>
                </a:lnTo>
                <a:lnTo>
                  <a:pt x="888" y="1269"/>
                </a:lnTo>
                <a:lnTo>
                  <a:pt x="0" y="2412"/>
                </a:lnTo>
                <a:lnTo>
                  <a:pt x="0" y="40766"/>
                </a:lnTo>
                <a:lnTo>
                  <a:pt x="7111" y="40766"/>
                </a:lnTo>
                <a:lnTo>
                  <a:pt x="7111" y="12191"/>
                </a:lnTo>
                <a:lnTo>
                  <a:pt x="17272" y="12191"/>
                </a:lnTo>
                <a:lnTo>
                  <a:pt x="12192" y="7365"/>
                </a:lnTo>
                <a:lnTo>
                  <a:pt x="41401" y="7365"/>
                </a:lnTo>
                <a:lnTo>
                  <a:pt x="41401"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51" name="object 90">
            <a:extLst>
              <a:ext uri="{FF2B5EF4-FFF2-40B4-BE49-F238E27FC236}">
                <a16:creationId xmlns:a16="http://schemas.microsoft.com/office/drawing/2014/main" id="{BBD85A6A-7627-1244-9B99-47D956E7B3BD}"/>
              </a:ext>
            </a:extLst>
          </p:cNvPr>
          <p:cNvSpPr/>
          <p:nvPr/>
        </p:nvSpPr>
        <p:spPr>
          <a:xfrm>
            <a:off x="11312652" y="2147316"/>
            <a:ext cx="41275" cy="41275"/>
          </a:xfrm>
          <a:custGeom>
            <a:avLst/>
            <a:gdLst/>
            <a:ahLst/>
            <a:cxnLst/>
            <a:rect l="l" t="t" r="r" b="b"/>
            <a:pathLst>
              <a:path w="41275" h="41275">
                <a:moveTo>
                  <a:pt x="4825" y="0"/>
                </a:moveTo>
                <a:lnTo>
                  <a:pt x="0" y="4825"/>
                </a:lnTo>
                <a:lnTo>
                  <a:pt x="29464" y="33909"/>
                </a:lnTo>
                <a:lnTo>
                  <a:pt x="380" y="33909"/>
                </a:lnTo>
                <a:lnTo>
                  <a:pt x="380" y="41148"/>
                </a:lnTo>
                <a:lnTo>
                  <a:pt x="37465" y="41148"/>
                </a:lnTo>
                <a:lnTo>
                  <a:pt x="39116" y="40386"/>
                </a:lnTo>
                <a:lnTo>
                  <a:pt x="39877" y="39878"/>
                </a:lnTo>
                <a:lnTo>
                  <a:pt x="40767" y="38735"/>
                </a:lnTo>
                <a:lnTo>
                  <a:pt x="41148" y="37084"/>
                </a:lnTo>
                <a:lnTo>
                  <a:pt x="41148" y="29083"/>
                </a:lnTo>
                <a:lnTo>
                  <a:pt x="34290" y="29083"/>
                </a:lnTo>
                <a:lnTo>
                  <a:pt x="4825" y="0"/>
                </a:lnTo>
                <a:close/>
              </a:path>
              <a:path w="41275" h="41275">
                <a:moveTo>
                  <a:pt x="41148" y="381"/>
                </a:moveTo>
                <a:lnTo>
                  <a:pt x="34290" y="381"/>
                </a:lnTo>
                <a:lnTo>
                  <a:pt x="34290" y="29083"/>
                </a:lnTo>
                <a:lnTo>
                  <a:pt x="41148" y="29083"/>
                </a:lnTo>
                <a:lnTo>
                  <a:pt x="41148" y="38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52" name="object 91">
            <a:extLst>
              <a:ext uri="{FF2B5EF4-FFF2-40B4-BE49-F238E27FC236}">
                <a16:creationId xmlns:a16="http://schemas.microsoft.com/office/drawing/2014/main" id="{B2E6C387-9C42-868D-7CCE-13D9BB0D8769}"/>
              </a:ext>
            </a:extLst>
          </p:cNvPr>
          <p:cNvSpPr/>
          <p:nvPr/>
        </p:nvSpPr>
        <p:spPr>
          <a:xfrm>
            <a:off x="11312652" y="2078735"/>
            <a:ext cx="41275" cy="41275"/>
          </a:xfrm>
          <a:custGeom>
            <a:avLst/>
            <a:gdLst/>
            <a:ahLst/>
            <a:cxnLst/>
            <a:rect l="l" t="t" r="r" b="b"/>
            <a:pathLst>
              <a:path w="41275" h="41275">
                <a:moveTo>
                  <a:pt x="39116" y="0"/>
                </a:moveTo>
                <a:lnTo>
                  <a:pt x="380" y="0"/>
                </a:lnTo>
                <a:lnTo>
                  <a:pt x="380" y="7365"/>
                </a:lnTo>
                <a:lnTo>
                  <a:pt x="29464" y="7365"/>
                </a:lnTo>
                <a:lnTo>
                  <a:pt x="0" y="36322"/>
                </a:lnTo>
                <a:lnTo>
                  <a:pt x="4825" y="41148"/>
                </a:lnTo>
                <a:lnTo>
                  <a:pt x="34290" y="12191"/>
                </a:lnTo>
                <a:lnTo>
                  <a:pt x="41148" y="12191"/>
                </a:lnTo>
                <a:lnTo>
                  <a:pt x="41148" y="3301"/>
                </a:lnTo>
                <a:lnTo>
                  <a:pt x="40767" y="2412"/>
                </a:lnTo>
                <a:lnTo>
                  <a:pt x="39877" y="1269"/>
                </a:lnTo>
                <a:lnTo>
                  <a:pt x="39116" y="0"/>
                </a:lnTo>
                <a:close/>
              </a:path>
              <a:path w="41275" h="41275">
                <a:moveTo>
                  <a:pt x="41148" y="12191"/>
                </a:moveTo>
                <a:lnTo>
                  <a:pt x="34290" y="12191"/>
                </a:lnTo>
                <a:lnTo>
                  <a:pt x="34290" y="40766"/>
                </a:lnTo>
                <a:lnTo>
                  <a:pt x="41148" y="40766"/>
                </a:lnTo>
                <a:lnTo>
                  <a:pt x="41148" y="12191"/>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53" name="object 92">
            <a:extLst>
              <a:ext uri="{FF2B5EF4-FFF2-40B4-BE49-F238E27FC236}">
                <a16:creationId xmlns:a16="http://schemas.microsoft.com/office/drawing/2014/main" id="{0F22A290-55DB-2E88-8E7D-8F9B4E3BBD1E}"/>
              </a:ext>
            </a:extLst>
          </p:cNvPr>
          <p:cNvSpPr/>
          <p:nvPr/>
        </p:nvSpPr>
        <p:spPr>
          <a:xfrm>
            <a:off x="11242547" y="2147316"/>
            <a:ext cx="43180" cy="41275"/>
          </a:xfrm>
          <a:custGeom>
            <a:avLst/>
            <a:gdLst/>
            <a:ahLst/>
            <a:cxnLst/>
            <a:rect l="l" t="t" r="r" b="b"/>
            <a:pathLst>
              <a:path w="43179" h="41275">
                <a:moveTo>
                  <a:pt x="7111" y="381"/>
                </a:moveTo>
                <a:lnTo>
                  <a:pt x="0" y="381"/>
                </a:lnTo>
                <a:lnTo>
                  <a:pt x="0" y="38735"/>
                </a:lnTo>
                <a:lnTo>
                  <a:pt x="888" y="39878"/>
                </a:lnTo>
                <a:lnTo>
                  <a:pt x="2031" y="40386"/>
                </a:lnTo>
                <a:lnTo>
                  <a:pt x="3301" y="41148"/>
                </a:lnTo>
                <a:lnTo>
                  <a:pt x="41401" y="41148"/>
                </a:lnTo>
                <a:lnTo>
                  <a:pt x="41401" y="33909"/>
                </a:lnTo>
                <a:lnTo>
                  <a:pt x="12192" y="33909"/>
                </a:lnTo>
                <a:lnTo>
                  <a:pt x="17249" y="29083"/>
                </a:lnTo>
                <a:lnTo>
                  <a:pt x="7111" y="29083"/>
                </a:lnTo>
                <a:lnTo>
                  <a:pt x="7111" y="381"/>
                </a:lnTo>
                <a:close/>
              </a:path>
              <a:path w="43179" h="41275">
                <a:moveTo>
                  <a:pt x="36829" y="0"/>
                </a:moveTo>
                <a:lnTo>
                  <a:pt x="7111" y="29083"/>
                </a:lnTo>
                <a:lnTo>
                  <a:pt x="17249" y="29083"/>
                </a:lnTo>
                <a:lnTo>
                  <a:pt x="42672" y="4825"/>
                </a:lnTo>
                <a:lnTo>
                  <a:pt x="3682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83" name="object 120">
            <a:extLst>
              <a:ext uri="{FF2B5EF4-FFF2-40B4-BE49-F238E27FC236}">
                <a16:creationId xmlns:a16="http://schemas.microsoft.com/office/drawing/2014/main" id="{C198A717-CB38-3389-C538-66E74663C3EA}"/>
              </a:ext>
            </a:extLst>
          </p:cNvPr>
          <p:cNvSpPr/>
          <p:nvPr/>
        </p:nvSpPr>
        <p:spPr>
          <a:xfrm>
            <a:off x="410718" y="2894965"/>
            <a:ext cx="11475720" cy="2348788"/>
          </a:xfrm>
          <a:custGeom>
            <a:avLst/>
            <a:gdLst/>
            <a:ahLst/>
            <a:cxnLst/>
            <a:rect l="l" t="t" r="r" b="b"/>
            <a:pathLst>
              <a:path w="11475720" h="2155190">
                <a:moveTo>
                  <a:pt x="0" y="2154936"/>
                </a:moveTo>
                <a:lnTo>
                  <a:pt x="11475720" y="2154936"/>
                </a:lnTo>
                <a:lnTo>
                  <a:pt x="11475720" y="0"/>
                </a:lnTo>
                <a:lnTo>
                  <a:pt x="0" y="0"/>
                </a:lnTo>
                <a:lnTo>
                  <a:pt x="0" y="2154936"/>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84" name="object 121">
            <a:extLst>
              <a:ext uri="{FF2B5EF4-FFF2-40B4-BE49-F238E27FC236}">
                <a16:creationId xmlns:a16="http://schemas.microsoft.com/office/drawing/2014/main" id="{D1763A11-5DC6-561E-AEDA-0DBB11675B1A}"/>
              </a:ext>
            </a:extLst>
          </p:cNvPr>
          <p:cNvSpPr/>
          <p:nvPr/>
        </p:nvSpPr>
        <p:spPr>
          <a:xfrm>
            <a:off x="410718" y="2894965"/>
            <a:ext cx="11475720" cy="2348788"/>
          </a:xfrm>
          <a:custGeom>
            <a:avLst/>
            <a:gdLst/>
            <a:ahLst/>
            <a:cxnLst/>
            <a:rect l="l" t="t" r="r" b="b"/>
            <a:pathLst>
              <a:path w="11475720" h="2155190">
                <a:moveTo>
                  <a:pt x="0" y="2154936"/>
                </a:moveTo>
                <a:lnTo>
                  <a:pt x="11475720" y="2154936"/>
                </a:lnTo>
                <a:lnTo>
                  <a:pt x="11475720" y="0"/>
                </a:lnTo>
                <a:lnTo>
                  <a:pt x="0" y="0"/>
                </a:lnTo>
                <a:lnTo>
                  <a:pt x="0" y="2154936"/>
                </a:lnTo>
                <a:close/>
              </a:path>
            </a:pathLst>
          </a:custGeom>
          <a:ln w="19811">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92" name="object 130">
            <a:extLst>
              <a:ext uri="{FF2B5EF4-FFF2-40B4-BE49-F238E27FC236}">
                <a16:creationId xmlns:a16="http://schemas.microsoft.com/office/drawing/2014/main" id="{7B31B52F-57C5-E341-1FB1-8CBEE9C23354}"/>
              </a:ext>
            </a:extLst>
          </p:cNvPr>
          <p:cNvSpPr txBox="1"/>
          <p:nvPr/>
        </p:nvSpPr>
        <p:spPr>
          <a:xfrm>
            <a:off x="555447" y="5555691"/>
            <a:ext cx="866140" cy="369570"/>
          </a:xfrm>
          <a:prstGeom prst="rect">
            <a:avLst/>
          </a:prstGeom>
        </p:spPr>
        <p:txBody>
          <a:bodyPr vert="horz" wrap="square" lIns="0" tIns="13335" rIns="0" bIns="0" rtlCol="0">
            <a:spAutoFit/>
          </a:bodyPr>
          <a:lstStyle/>
          <a:p>
            <a:pPr marL="12700" marR="5080" lvl="0" indent="181610" algn="l"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0" normalizeH="0" baseline="0" noProof="0" dirty="0">
                <a:ln>
                  <a:noFill/>
                </a:ln>
                <a:solidFill>
                  <a:prstClr val="black"/>
                </a:solidFill>
                <a:effectLst/>
                <a:uLnTx/>
                <a:uFillTx/>
                <a:latin typeface="Open Sans"/>
                <a:ea typeface="+mn-ea"/>
                <a:cs typeface="Open Sans"/>
              </a:rPr>
              <a:t>DEEPER </a:t>
            </a:r>
            <a:r>
              <a:rPr kumimoji="0" sz="750" b="1" i="0" u="none" strike="noStrike" kern="1200" cap="none" spc="-5" normalizeH="0" baseline="0" noProof="0" dirty="0">
                <a:ln>
                  <a:noFill/>
                </a:ln>
                <a:solidFill>
                  <a:prstClr val="black"/>
                </a:solidFill>
                <a:effectLst/>
                <a:uLnTx/>
                <a:uFillTx/>
                <a:latin typeface="Open Sans"/>
                <a:ea typeface="+mn-ea"/>
                <a:cs typeface="Open Sans"/>
              </a:rPr>
              <a:t>AI  </a:t>
            </a:r>
            <a:r>
              <a:rPr kumimoji="0" sz="750" b="1" i="0" u="none" strike="noStrike" kern="1200" cap="none" spc="0" normalizeH="0" baseline="0" noProof="0" dirty="0">
                <a:ln>
                  <a:noFill/>
                </a:ln>
                <a:solidFill>
                  <a:prstClr val="black"/>
                </a:solidFill>
                <a:effectLst/>
                <a:uLnTx/>
                <a:uFillTx/>
                <a:latin typeface="Open Sans"/>
                <a:ea typeface="+mn-ea"/>
                <a:cs typeface="Open Sans"/>
              </a:rPr>
              <a:t>AWARENESS </a:t>
            </a:r>
            <a:r>
              <a:rPr kumimoji="0" sz="750" b="1" i="0" u="none" strike="noStrike" kern="1200" cap="none" spc="-5" normalizeH="0" baseline="0" noProof="0" dirty="0">
                <a:ln>
                  <a:noFill/>
                </a:ln>
                <a:solidFill>
                  <a:prstClr val="black"/>
                </a:solidFill>
                <a:effectLst/>
                <a:uLnTx/>
                <a:uFillTx/>
                <a:latin typeface="Open Sans"/>
                <a:ea typeface="+mn-ea"/>
                <a:cs typeface="Open Sans"/>
              </a:rPr>
              <a:t>AND  </a:t>
            </a:r>
            <a:r>
              <a:rPr kumimoji="0" sz="750" b="1" i="0" u="none" strike="noStrike" kern="1200" cap="none" spc="0" normalizeH="0" baseline="0" noProof="0" dirty="0">
                <a:ln>
                  <a:noFill/>
                </a:ln>
                <a:solidFill>
                  <a:prstClr val="black"/>
                </a:solidFill>
                <a:effectLst/>
                <a:uLnTx/>
                <a:uFillTx/>
                <a:latin typeface="Open Sans"/>
                <a:ea typeface="+mn-ea"/>
                <a:cs typeface="Open Sans"/>
              </a:rPr>
              <a:t>U</a:t>
            </a:r>
            <a:r>
              <a:rPr kumimoji="0" sz="750" b="1" i="0" u="none" strike="noStrike" kern="1200" cap="none" spc="-5" normalizeH="0" baseline="0" noProof="0" dirty="0">
                <a:ln>
                  <a:noFill/>
                </a:ln>
                <a:solidFill>
                  <a:prstClr val="black"/>
                </a:solidFill>
                <a:effectLst/>
                <a:uLnTx/>
                <a:uFillTx/>
                <a:latin typeface="Open Sans"/>
                <a:ea typeface="+mn-ea"/>
                <a:cs typeface="Open Sans"/>
              </a:rPr>
              <a:t>N</a:t>
            </a:r>
            <a:r>
              <a:rPr kumimoji="0" sz="750" b="1" i="0" u="none" strike="noStrike" kern="1200" cap="none" spc="0" normalizeH="0" baseline="0" noProof="0" dirty="0">
                <a:ln>
                  <a:noFill/>
                </a:ln>
                <a:solidFill>
                  <a:prstClr val="black"/>
                </a:solidFill>
                <a:effectLst/>
                <a:uLnTx/>
                <a:uFillTx/>
                <a:latin typeface="Open Sans"/>
                <a:ea typeface="+mn-ea"/>
                <a:cs typeface="Open Sans"/>
              </a:rPr>
              <a:t>D</a:t>
            </a:r>
            <a:r>
              <a:rPr kumimoji="0" sz="750" b="1" i="0" u="none" strike="noStrike" kern="1200" cap="none" spc="-5" normalizeH="0" baseline="0" noProof="0" dirty="0">
                <a:ln>
                  <a:noFill/>
                </a:ln>
                <a:solidFill>
                  <a:prstClr val="black"/>
                </a:solidFill>
                <a:effectLst/>
                <a:uLnTx/>
                <a:uFillTx/>
                <a:latin typeface="Open Sans"/>
                <a:ea typeface="+mn-ea"/>
                <a:cs typeface="Open Sans"/>
              </a:rPr>
              <a:t>E</a:t>
            </a:r>
            <a:r>
              <a:rPr kumimoji="0" sz="750" b="1" i="0" u="none" strike="noStrike" kern="1200" cap="none" spc="0" normalizeH="0" baseline="0" noProof="0" dirty="0">
                <a:ln>
                  <a:noFill/>
                </a:ln>
                <a:solidFill>
                  <a:prstClr val="black"/>
                </a:solidFill>
                <a:effectLst/>
                <a:uLnTx/>
                <a:uFillTx/>
                <a:latin typeface="Open Sans"/>
                <a:ea typeface="+mn-ea"/>
                <a:cs typeface="Open Sans"/>
              </a:rPr>
              <a:t>RS</a:t>
            </a:r>
            <a:r>
              <a:rPr kumimoji="0" sz="750" b="1" i="0" u="none" strike="noStrike" kern="1200" cap="none" spc="-10" normalizeH="0" baseline="0" noProof="0" dirty="0">
                <a:ln>
                  <a:noFill/>
                </a:ln>
                <a:solidFill>
                  <a:prstClr val="black"/>
                </a:solidFill>
                <a:effectLst/>
                <a:uLnTx/>
                <a:uFillTx/>
                <a:latin typeface="Open Sans"/>
                <a:ea typeface="+mn-ea"/>
                <a:cs typeface="Open Sans"/>
              </a:rPr>
              <a:t>TA</a:t>
            </a:r>
            <a:r>
              <a:rPr kumimoji="0" sz="750" b="1" i="0" u="none" strike="noStrike" kern="1200" cap="none" spc="-5" normalizeH="0" baseline="0" noProof="0" dirty="0">
                <a:ln>
                  <a:noFill/>
                </a:ln>
                <a:solidFill>
                  <a:prstClr val="black"/>
                </a:solidFill>
                <a:effectLst/>
                <a:uLnTx/>
                <a:uFillTx/>
                <a:latin typeface="Open Sans"/>
                <a:ea typeface="+mn-ea"/>
                <a:cs typeface="Open Sans"/>
              </a:rPr>
              <a:t>N</a:t>
            </a:r>
            <a:r>
              <a:rPr kumimoji="0" sz="750" b="1" i="0" u="none" strike="noStrike" kern="1200" cap="none" spc="-10" normalizeH="0" baseline="0" noProof="0" dirty="0">
                <a:ln>
                  <a:noFill/>
                </a:ln>
                <a:solidFill>
                  <a:prstClr val="black"/>
                </a:solidFill>
                <a:effectLst/>
                <a:uLnTx/>
                <a:uFillTx/>
                <a:latin typeface="Open Sans"/>
                <a:ea typeface="+mn-ea"/>
                <a:cs typeface="Open Sans"/>
              </a:rPr>
              <a:t>D</a:t>
            </a:r>
            <a:r>
              <a:rPr kumimoji="0" sz="750" b="1" i="0" u="none" strike="noStrike" kern="1200" cap="none" spc="0" normalizeH="0" baseline="0" noProof="0" dirty="0">
                <a:ln>
                  <a:noFill/>
                </a:ln>
                <a:solidFill>
                  <a:prstClr val="black"/>
                </a:solidFill>
                <a:effectLst/>
                <a:uLnTx/>
                <a:uFillTx/>
                <a:latin typeface="Open Sans"/>
                <a:ea typeface="+mn-ea"/>
                <a:cs typeface="Open Sans"/>
              </a:rPr>
              <a:t>ING</a:t>
            </a:r>
            <a:endParaRPr kumimoji="0" sz="750" b="0" i="0" u="none" strike="noStrike" kern="1200" cap="none" spc="0" normalizeH="0" baseline="0" noProof="0" dirty="0">
              <a:ln>
                <a:noFill/>
              </a:ln>
              <a:solidFill>
                <a:prstClr val="black"/>
              </a:solidFill>
              <a:effectLst/>
              <a:uLnTx/>
              <a:uFillTx/>
              <a:latin typeface="Open Sans"/>
              <a:ea typeface="+mn-ea"/>
              <a:cs typeface="Open Sans"/>
            </a:endParaRPr>
          </a:p>
        </p:txBody>
      </p:sp>
      <p:sp>
        <p:nvSpPr>
          <p:cNvPr id="1093" name="object 131">
            <a:extLst>
              <a:ext uri="{FF2B5EF4-FFF2-40B4-BE49-F238E27FC236}">
                <a16:creationId xmlns:a16="http://schemas.microsoft.com/office/drawing/2014/main" id="{94EB9F03-C476-A5E8-5D67-70D1170221E0}"/>
              </a:ext>
            </a:extLst>
          </p:cNvPr>
          <p:cNvSpPr/>
          <p:nvPr/>
        </p:nvSpPr>
        <p:spPr>
          <a:xfrm>
            <a:off x="849630" y="5360670"/>
            <a:ext cx="281940" cy="78105"/>
          </a:xfrm>
          <a:custGeom>
            <a:avLst/>
            <a:gdLst/>
            <a:ahLst/>
            <a:cxnLst/>
            <a:rect l="l" t="t" r="r" b="b"/>
            <a:pathLst>
              <a:path w="281940" h="78104">
                <a:moveTo>
                  <a:pt x="0" y="0"/>
                </a:moveTo>
                <a:lnTo>
                  <a:pt x="140969" y="77723"/>
                </a:lnTo>
                <a:lnTo>
                  <a:pt x="281939"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94" name="object 132">
            <a:extLst>
              <a:ext uri="{FF2B5EF4-FFF2-40B4-BE49-F238E27FC236}">
                <a16:creationId xmlns:a16="http://schemas.microsoft.com/office/drawing/2014/main" id="{EC4BD3FA-39B0-4624-0D04-A06F6E1FF6DD}"/>
              </a:ext>
            </a:extLst>
          </p:cNvPr>
          <p:cNvSpPr txBox="1"/>
          <p:nvPr/>
        </p:nvSpPr>
        <p:spPr>
          <a:xfrm>
            <a:off x="1786508" y="5555691"/>
            <a:ext cx="980440" cy="369570"/>
          </a:xfrm>
          <a:prstGeom prst="rect">
            <a:avLst/>
          </a:prstGeom>
        </p:spPr>
        <p:txBody>
          <a:bodyPr vert="horz" wrap="square" lIns="0" tIns="13335" rIns="0" bIns="0" rtlCol="0">
            <a:spAutoFit/>
          </a:bodyPr>
          <a:lstStyle/>
          <a:p>
            <a:pPr marL="12700" marR="5080" lvl="0" indent="0" algn="ctr"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0" normalizeH="0" baseline="0" noProof="0" dirty="0">
                <a:ln>
                  <a:noFill/>
                </a:ln>
                <a:solidFill>
                  <a:prstClr val="black"/>
                </a:solidFill>
                <a:effectLst/>
                <a:uLnTx/>
                <a:uFillTx/>
                <a:latin typeface="Open Sans"/>
                <a:ea typeface="+mn-ea"/>
                <a:cs typeface="Open Sans"/>
              </a:rPr>
              <a:t>TOP-LEVEL,</a:t>
            </a:r>
            <a:r>
              <a:rPr kumimoji="0" sz="750" b="1" i="0" u="none" strike="noStrike" kern="1200" cap="none" spc="-90" normalizeH="0" baseline="0" noProof="0" dirty="0">
                <a:ln>
                  <a:noFill/>
                </a:ln>
                <a:solidFill>
                  <a:prstClr val="black"/>
                </a:solidFill>
                <a:effectLst/>
                <a:uLnTx/>
                <a:uFillTx/>
                <a:latin typeface="Open Sans"/>
                <a:ea typeface="+mn-ea"/>
                <a:cs typeface="Open Sans"/>
              </a:rPr>
              <a:t> </a:t>
            </a:r>
            <a:r>
              <a:rPr kumimoji="0" sz="750" b="1" i="0" u="none" strike="noStrike" kern="1200" cap="none" spc="0" normalizeH="0" baseline="0" noProof="0" dirty="0">
                <a:ln>
                  <a:noFill/>
                </a:ln>
                <a:solidFill>
                  <a:prstClr val="black"/>
                </a:solidFill>
                <a:effectLst/>
                <a:uLnTx/>
                <a:uFillTx/>
                <a:latin typeface="Open Sans"/>
                <a:ea typeface="+mn-ea"/>
                <a:cs typeface="Open Sans"/>
              </a:rPr>
              <a:t>FUTURE-  READY </a:t>
            </a:r>
            <a:r>
              <a:rPr kumimoji="0" sz="750" b="1" i="0" u="none" strike="noStrike" kern="1200" cap="none" spc="-5" normalizeH="0" baseline="0" noProof="0" dirty="0">
                <a:ln>
                  <a:noFill/>
                </a:ln>
                <a:solidFill>
                  <a:prstClr val="black"/>
                </a:solidFill>
                <a:effectLst/>
                <a:uLnTx/>
                <a:uFillTx/>
                <a:latin typeface="Open Sans"/>
                <a:ea typeface="+mn-ea"/>
                <a:cs typeface="Open Sans"/>
              </a:rPr>
              <a:t>AI STRATEGY  AND</a:t>
            </a:r>
            <a:r>
              <a:rPr kumimoji="0" sz="750" b="1" i="0" u="none" strike="noStrike" kern="1200" cap="none" spc="-25" normalizeH="0" baseline="0" noProof="0" dirty="0">
                <a:ln>
                  <a:noFill/>
                </a:ln>
                <a:solidFill>
                  <a:prstClr val="black"/>
                </a:solidFill>
                <a:effectLst/>
                <a:uLnTx/>
                <a:uFillTx/>
                <a:latin typeface="Open Sans"/>
                <a:ea typeface="+mn-ea"/>
                <a:cs typeface="Open Sans"/>
              </a:rPr>
              <a:t> </a:t>
            </a:r>
            <a:r>
              <a:rPr kumimoji="0" sz="750" b="1" i="0" u="none" strike="noStrike" kern="1200" cap="none" spc="0" normalizeH="0" baseline="0" noProof="0" dirty="0">
                <a:ln>
                  <a:noFill/>
                </a:ln>
                <a:solidFill>
                  <a:prstClr val="black"/>
                </a:solidFill>
                <a:effectLst/>
                <a:uLnTx/>
                <a:uFillTx/>
                <a:latin typeface="Open Sans"/>
                <a:ea typeface="+mn-ea"/>
                <a:cs typeface="Open Sans"/>
              </a:rPr>
              <a:t>VISION</a:t>
            </a:r>
            <a:endParaRPr kumimoji="0" sz="750" b="0" i="0" u="none" strike="noStrike" kern="1200" cap="none" spc="0" normalizeH="0" baseline="0" noProof="0" dirty="0">
              <a:ln>
                <a:noFill/>
              </a:ln>
              <a:solidFill>
                <a:prstClr val="black"/>
              </a:solidFill>
              <a:effectLst/>
              <a:uLnTx/>
              <a:uFillTx/>
              <a:latin typeface="Open Sans"/>
              <a:ea typeface="+mn-ea"/>
              <a:cs typeface="Open Sans"/>
            </a:endParaRPr>
          </a:p>
        </p:txBody>
      </p:sp>
      <p:sp>
        <p:nvSpPr>
          <p:cNvPr id="1095" name="object 133">
            <a:extLst>
              <a:ext uri="{FF2B5EF4-FFF2-40B4-BE49-F238E27FC236}">
                <a16:creationId xmlns:a16="http://schemas.microsoft.com/office/drawing/2014/main" id="{EA12BE00-3208-DBE0-6215-6F879D5BEF35}"/>
              </a:ext>
            </a:extLst>
          </p:cNvPr>
          <p:cNvSpPr/>
          <p:nvPr/>
        </p:nvSpPr>
        <p:spPr>
          <a:xfrm>
            <a:off x="2135885" y="5360670"/>
            <a:ext cx="283845" cy="78105"/>
          </a:xfrm>
          <a:custGeom>
            <a:avLst/>
            <a:gdLst/>
            <a:ahLst/>
            <a:cxnLst/>
            <a:rect l="l" t="t" r="r" b="b"/>
            <a:pathLst>
              <a:path w="283844" h="78104">
                <a:moveTo>
                  <a:pt x="0" y="0"/>
                </a:moveTo>
                <a:lnTo>
                  <a:pt x="141731" y="77723"/>
                </a:lnTo>
                <a:lnTo>
                  <a:pt x="283463"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96" name="object 134">
            <a:extLst>
              <a:ext uri="{FF2B5EF4-FFF2-40B4-BE49-F238E27FC236}">
                <a16:creationId xmlns:a16="http://schemas.microsoft.com/office/drawing/2014/main" id="{960E14E2-7979-CD3B-D7ED-44B577430FF6}"/>
              </a:ext>
            </a:extLst>
          </p:cNvPr>
          <p:cNvSpPr txBox="1"/>
          <p:nvPr/>
        </p:nvSpPr>
        <p:spPr>
          <a:xfrm>
            <a:off x="3116326" y="5555691"/>
            <a:ext cx="894080" cy="598170"/>
          </a:xfrm>
          <a:prstGeom prst="rect">
            <a:avLst/>
          </a:prstGeom>
        </p:spPr>
        <p:txBody>
          <a:bodyPr vert="horz" wrap="square" lIns="0" tIns="13335" rIns="0" bIns="0" rtlCol="0">
            <a:spAutoFit/>
          </a:bodyPr>
          <a:lstStyle/>
          <a:p>
            <a:pPr marL="12700" marR="5080" lvl="0" indent="0" algn="ctr"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0" normalizeH="0" baseline="0" noProof="0" dirty="0">
                <a:ln>
                  <a:noFill/>
                </a:ln>
                <a:solidFill>
                  <a:prstClr val="black"/>
                </a:solidFill>
                <a:effectLst/>
                <a:uLnTx/>
                <a:uFillTx/>
                <a:latin typeface="Open Sans"/>
                <a:ea typeface="+mn-ea"/>
                <a:cs typeface="Open Sans"/>
              </a:rPr>
              <a:t>BUSINESS </a:t>
            </a:r>
            <a:r>
              <a:rPr kumimoji="0" sz="750" b="1" i="0" u="none" strike="noStrike" kern="1200" cap="none" spc="-5" normalizeH="0" baseline="0" noProof="0" dirty="0">
                <a:ln>
                  <a:noFill/>
                </a:ln>
                <a:solidFill>
                  <a:prstClr val="black"/>
                </a:solidFill>
                <a:effectLst/>
                <a:uLnTx/>
                <a:uFillTx/>
                <a:latin typeface="Open Sans"/>
                <a:ea typeface="+mn-ea"/>
                <a:cs typeface="Open Sans"/>
              </a:rPr>
              <a:t>CASE</a:t>
            </a:r>
            <a:r>
              <a:rPr kumimoji="0" sz="750" b="1" i="0" u="none" strike="noStrike" kern="1200" cap="none" spc="-100" normalizeH="0" baseline="0" noProof="0" dirty="0">
                <a:ln>
                  <a:noFill/>
                </a:ln>
                <a:solidFill>
                  <a:prstClr val="black"/>
                </a:solidFill>
                <a:effectLst/>
                <a:uLnTx/>
                <a:uFillTx/>
                <a:latin typeface="Open Sans"/>
                <a:ea typeface="+mn-ea"/>
                <a:cs typeface="Open Sans"/>
              </a:rPr>
              <a:t> </a:t>
            </a:r>
            <a:r>
              <a:rPr kumimoji="0" sz="750" b="1" i="0" u="none" strike="noStrike" kern="1200" cap="none" spc="-5" normalizeH="0" baseline="0" noProof="0" dirty="0">
                <a:ln>
                  <a:noFill/>
                </a:ln>
                <a:solidFill>
                  <a:prstClr val="black"/>
                </a:solidFill>
                <a:effectLst/>
                <a:uLnTx/>
                <a:uFillTx/>
                <a:latin typeface="Open Sans"/>
                <a:ea typeface="+mn-ea"/>
                <a:cs typeface="Open Sans"/>
              </a:rPr>
              <a:t>TO  </a:t>
            </a:r>
            <a:r>
              <a:rPr kumimoji="0" sz="750" b="1" i="0" u="none" strike="noStrike" kern="1200" cap="none" spc="0" normalizeH="0" baseline="0" noProof="0" dirty="0">
                <a:ln>
                  <a:noFill/>
                </a:ln>
                <a:solidFill>
                  <a:prstClr val="black"/>
                </a:solidFill>
                <a:effectLst/>
                <a:uLnTx/>
                <a:uFillTx/>
                <a:latin typeface="Open Sans"/>
                <a:ea typeface="+mn-ea"/>
                <a:cs typeface="Open Sans"/>
              </a:rPr>
              <a:t>PRIORITIZE </a:t>
            </a:r>
            <a:r>
              <a:rPr kumimoji="0" sz="750" b="1" i="0" u="none" strike="noStrike" kern="1200" cap="none" spc="-5" normalizeH="0" baseline="0" noProof="0" dirty="0">
                <a:ln>
                  <a:noFill/>
                </a:ln>
                <a:solidFill>
                  <a:prstClr val="black"/>
                </a:solidFill>
                <a:effectLst/>
                <a:uLnTx/>
                <a:uFillTx/>
                <a:latin typeface="Open Sans"/>
                <a:ea typeface="+mn-ea"/>
                <a:cs typeface="Open Sans"/>
              </a:rPr>
              <a:t>AI  </a:t>
            </a:r>
            <a:r>
              <a:rPr kumimoji="0" sz="750" b="1" i="0" u="none" strike="noStrike" kern="1200" cap="none" spc="0" normalizeH="0" baseline="0" noProof="0" dirty="0">
                <a:ln>
                  <a:noFill/>
                </a:ln>
                <a:solidFill>
                  <a:prstClr val="black"/>
                </a:solidFill>
                <a:effectLst/>
                <a:uLnTx/>
                <a:uFillTx/>
                <a:latin typeface="Open Sans"/>
                <a:ea typeface="+mn-ea"/>
                <a:cs typeface="Open Sans"/>
              </a:rPr>
              <a:t>SOLUTIONS / USE  </a:t>
            </a:r>
            <a:r>
              <a:rPr kumimoji="0" sz="750" b="1" i="0" u="none" strike="noStrike" kern="1200" cap="none" spc="-5" normalizeH="0" baseline="0" noProof="0" dirty="0">
                <a:ln>
                  <a:noFill/>
                </a:ln>
                <a:solidFill>
                  <a:prstClr val="black"/>
                </a:solidFill>
                <a:effectLst/>
                <a:uLnTx/>
                <a:uFillTx/>
                <a:latin typeface="Open Sans"/>
                <a:ea typeface="+mn-ea"/>
                <a:cs typeface="Open Sans"/>
              </a:rPr>
              <a:t>CASES AND </a:t>
            </a:r>
            <a:r>
              <a:rPr kumimoji="0" sz="750" b="1" i="0" u="none" strike="noStrike" kern="1200" cap="none" spc="0" normalizeH="0" baseline="0" noProof="0" dirty="0">
                <a:ln>
                  <a:noFill/>
                </a:ln>
                <a:solidFill>
                  <a:prstClr val="black"/>
                </a:solidFill>
                <a:effectLst/>
                <a:uLnTx/>
                <a:uFillTx/>
                <a:latin typeface="Open Sans"/>
                <a:ea typeface="+mn-ea"/>
                <a:cs typeface="Open Sans"/>
              </a:rPr>
              <a:t>SCOPE  DELIVERY</a:t>
            </a:r>
            <a:endParaRPr kumimoji="0" sz="750" b="0" i="0" u="none" strike="noStrike" kern="1200" cap="none" spc="0" normalizeH="0" baseline="0" noProof="0">
              <a:ln>
                <a:noFill/>
              </a:ln>
              <a:solidFill>
                <a:prstClr val="black"/>
              </a:solidFill>
              <a:effectLst/>
              <a:uLnTx/>
              <a:uFillTx/>
              <a:latin typeface="Open Sans"/>
              <a:ea typeface="+mn-ea"/>
              <a:cs typeface="Open Sans"/>
            </a:endParaRPr>
          </a:p>
        </p:txBody>
      </p:sp>
      <p:sp>
        <p:nvSpPr>
          <p:cNvPr id="1097" name="object 135">
            <a:extLst>
              <a:ext uri="{FF2B5EF4-FFF2-40B4-BE49-F238E27FC236}">
                <a16:creationId xmlns:a16="http://schemas.microsoft.com/office/drawing/2014/main" id="{CABAC3F7-7F6D-148C-B622-47ECB2C1E812}"/>
              </a:ext>
            </a:extLst>
          </p:cNvPr>
          <p:cNvSpPr/>
          <p:nvPr/>
        </p:nvSpPr>
        <p:spPr>
          <a:xfrm>
            <a:off x="3423665" y="5360670"/>
            <a:ext cx="281940" cy="78105"/>
          </a:xfrm>
          <a:custGeom>
            <a:avLst/>
            <a:gdLst/>
            <a:ahLst/>
            <a:cxnLst/>
            <a:rect l="l" t="t" r="r" b="b"/>
            <a:pathLst>
              <a:path w="281939" h="78104">
                <a:moveTo>
                  <a:pt x="0" y="0"/>
                </a:moveTo>
                <a:lnTo>
                  <a:pt x="140970" y="77723"/>
                </a:lnTo>
                <a:lnTo>
                  <a:pt x="281939"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98" name="object 136">
            <a:extLst>
              <a:ext uri="{FF2B5EF4-FFF2-40B4-BE49-F238E27FC236}">
                <a16:creationId xmlns:a16="http://schemas.microsoft.com/office/drawing/2014/main" id="{EA657822-7DC1-19A1-0BF1-2BE6D4B6612C}"/>
              </a:ext>
            </a:extLst>
          </p:cNvPr>
          <p:cNvSpPr txBox="1"/>
          <p:nvPr/>
        </p:nvSpPr>
        <p:spPr>
          <a:xfrm>
            <a:off x="4394708" y="5555691"/>
            <a:ext cx="914400" cy="483870"/>
          </a:xfrm>
          <a:prstGeom prst="rect">
            <a:avLst/>
          </a:prstGeom>
        </p:spPr>
        <p:txBody>
          <a:bodyPr vert="horz" wrap="square" lIns="0" tIns="13335" rIns="0" bIns="0" rtlCol="0">
            <a:spAutoFit/>
          </a:bodyPr>
          <a:lstStyle/>
          <a:p>
            <a:pPr marL="12700" marR="5080" lvl="0" indent="0" algn="ctr"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5" normalizeH="0" baseline="0" noProof="0" dirty="0">
                <a:ln>
                  <a:noFill/>
                </a:ln>
                <a:solidFill>
                  <a:prstClr val="black"/>
                </a:solidFill>
                <a:effectLst/>
                <a:uLnTx/>
                <a:uFillTx/>
                <a:latin typeface="Open Sans"/>
                <a:ea typeface="+mn-ea"/>
                <a:cs typeface="Open Sans"/>
              </a:rPr>
              <a:t>AI </a:t>
            </a:r>
            <a:r>
              <a:rPr kumimoji="0" sz="750" b="1" i="0" u="none" strike="noStrike" kern="1200" cap="none" spc="0" normalizeH="0" baseline="0" noProof="0" dirty="0">
                <a:ln>
                  <a:noFill/>
                </a:ln>
                <a:solidFill>
                  <a:prstClr val="black"/>
                </a:solidFill>
                <a:effectLst/>
                <a:uLnTx/>
                <a:uFillTx/>
                <a:latin typeface="Open Sans"/>
                <a:ea typeface="+mn-ea"/>
                <a:cs typeface="Open Sans"/>
              </a:rPr>
              <a:t>SOLUTION /</a:t>
            </a:r>
            <a:r>
              <a:rPr kumimoji="0" sz="750" b="1" i="0" u="none" strike="noStrike" kern="1200" cap="none" spc="-75" normalizeH="0" baseline="0" noProof="0" dirty="0">
                <a:ln>
                  <a:noFill/>
                </a:ln>
                <a:solidFill>
                  <a:prstClr val="black"/>
                </a:solidFill>
                <a:effectLst/>
                <a:uLnTx/>
                <a:uFillTx/>
                <a:latin typeface="Open Sans"/>
                <a:ea typeface="+mn-ea"/>
                <a:cs typeface="Open Sans"/>
              </a:rPr>
              <a:t> </a:t>
            </a:r>
            <a:r>
              <a:rPr kumimoji="0" sz="750" b="1" i="0" u="none" strike="noStrike" kern="1200" cap="none" spc="0" normalizeH="0" baseline="0" noProof="0" dirty="0">
                <a:ln>
                  <a:noFill/>
                </a:ln>
                <a:solidFill>
                  <a:prstClr val="black"/>
                </a:solidFill>
                <a:effectLst/>
                <a:uLnTx/>
                <a:uFillTx/>
                <a:latin typeface="Open Sans"/>
                <a:ea typeface="+mn-ea"/>
                <a:cs typeface="Open Sans"/>
              </a:rPr>
              <a:t>USE  </a:t>
            </a:r>
            <a:r>
              <a:rPr kumimoji="0" sz="750" b="1" i="0" u="none" strike="noStrike" kern="1200" cap="none" spc="-5" normalizeH="0" baseline="0" noProof="0" dirty="0">
                <a:ln>
                  <a:noFill/>
                </a:ln>
                <a:solidFill>
                  <a:prstClr val="black"/>
                </a:solidFill>
                <a:effectLst/>
                <a:uLnTx/>
                <a:uFillTx/>
                <a:latin typeface="Open Sans"/>
                <a:ea typeface="+mn-ea"/>
                <a:cs typeface="Open Sans"/>
              </a:rPr>
              <a:t>CASE </a:t>
            </a:r>
            <a:r>
              <a:rPr kumimoji="0" sz="750" b="1" i="0" u="none" strike="noStrike" kern="1200" cap="none" spc="0" normalizeH="0" baseline="0" noProof="0" dirty="0">
                <a:ln>
                  <a:noFill/>
                </a:ln>
                <a:solidFill>
                  <a:prstClr val="black"/>
                </a:solidFill>
                <a:effectLst/>
                <a:uLnTx/>
                <a:uFillTx/>
                <a:latin typeface="Open Sans"/>
                <a:ea typeface="+mn-ea"/>
                <a:cs typeface="Open Sans"/>
              </a:rPr>
              <a:t>VALIDATION  </a:t>
            </a:r>
            <a:r>
              <a:rPr kumimoji="0" sz="750" b="1" i="0" u="none" strike="noStrike" kern="1200" cap="none" spc="-5" normalizeH="0" baseline="0" noProof="0" dirty="0">
                <a:ln>
                  <a:noFill/>
                </a:ln>
                <a:solidFill>
                  <a:prstClr val="black"/>
                </a:solidFill>
                <a:effectLst/>
                <a:uLnTx/>
                <a:uFillTx/>
                <a:latin typeface="Open Sans"/>
                <a:ea typeface="+mn-ea"/>
                <a:cs typeface="Open Sans"/>
              </a:rPr>
              <a:t>AND </a:t>
            </a:r>
            <a:r>
              <a:rPr kumimoji="0" sz="750" b="1" i="0" u="none" strike="noStrike" kern="1200" cap="none" spc="0" normalizeH="0" baseline="0" noProof="0" dirty="0">
                <a:ln>
                  <a:noFill/>
                </a:ln>
                <a:solidFill>
                  <a:prstClr val="black"/>
                </a:solidFill>
                <a:effectLst/>
                <a:uLnTx/>
                <a:uFillTx/>
                <a:latin typeface="Open Sans"/>
                <a:ea typeface="+mn-ea"/>
                <a:cs typeface="Open Sans"/>
              </a:rPr>
              <a:t>PROTOTYPE  BUILD</a:t>
            </a:r>
            <a:endParaRPr kumimoji="0" sz="750" b="0" i="0" u="none" strike="noStrike" kern="1200" cap="none" spc="0" normalizeH="0" baseline="0" noProof="0">
              <a:ln>
                <a:noFill/>
              </a:ln>
              <a:solidFill>
                <a:prstClr val="black"/>
              </a:solidFill>
              <a:effectLst/>
              <a:uLnTx/>
              <a:uFillTx/>
              <a:latin typeface="Open Sans"/>
              <a:ea typeface="+mn-ea"/>
              <a:cs typeface="Open Sans"/>
            </a:endParaRPr>
          </a:p>
        </p:txBody>
      </p:sp>
      <p:sp>
        <p:nvSpPr>
          <p:cNvPr id="1099" name="object 137">
            <a:extLst>
              <a:ext uri="{FF2B5EF4-FFF2-40B4-BE49-F238E27FC236}">
                <a16:creationId xmlns:a16="http://schemas.microsoft.com/office/drawing/2014/main" id="{0329AB9F-B8BD-4012-EB27-7148A2513835}"/>
              </a:ext>
            </a:extLst>
          </p:cNvPr>
          <p:cNvSpPr/>
          <p:nvPr/>
        </p:nvSpPr>
        <p:spPr>
          <a:xfrm>
            <a:off x="4709921" y="5360670"/>
            <a:ext cx="283845" cy="78105"/>
          </a:xfrm>
          <a:custGeom>
            <a:avLst/>
            <a:gdLst/>
            <a:ahLst/>
            <a:cxnLst/>
            <a:rect l="l" t="t" r="r" b="b"/>
            <a:pathLst>
              <a:path w="283845" h="78104">
                <a:moveTo>
                  <a:pt x="0" y="0"/>
                </a:moveTo>
                <a:lnTo>
                  <a:pt x="141731" y="77723"/>
                </a:lnTo>
                <a:lnTo>
                  <a:pt x="283463"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00" name="object 138">
            <a:extLst>
              <a:ext uri="{FF2B5EF4-FFF2-40B4-BE49-F238E27FC236}">
                <a16:creationId xmlns:a16="http://schemas.microsoft.com/office/drawing/2014/main" id="{73334101-ED96-55A3-2007-C8D29A759287}"/>
              </a:ext>
            </a:extLst>
          </p:cNvPr>
          <p:cNvSpPr txBox="1"/>
          <p:nvPr/>
        </p:nvSpPr>
        <p:spPr>
          <a:xfrm>
            <a:off x="5758053" y="5555691"/>
            <a:ext cx="761365" cy="483870"/>
          </a:xfrm>
          <a:prstGeom prst="rect">
            <a:avLst/>
          </a:prstGeom>
        </p:spPr>
        <p:txBody>
          <a:bodyPr vert="horz" wrap="square" lIns="0" tIns="13335" rIns="0" bIns="0" rtlCol="0">
            <a:spAutoFit/>
          </a:bodyPr>
          <a:lstStyle/>
          <a:p>
            <a:pPr marL="12700" marR="5080" lvl="0" indent="0" algn="ctr"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0" normalizeH="0" baseline="0" noProof="0" dirty="0">
                <a:ln>
                  <a:noFill/>
                </a:ln>
                <a:solidFill>
                  <a:prstClr val="black"/>
                </a:solidFill>
                <a:effectLst/>
                <a:uLnTx/>
                <a:uFillTx/>
                <a:latin typeface="Open Sans"/>
                <a:ea typeface="+mn-ea"/>
                <a:cs typeface="Open Sans"/>
              </a:rPr>
              <a:t>EMBEDDED  SOLUTION</a:t>
            </a:r>
            <a:r>
              <a:rPr kumimoji="0" sz="750" b="1" i="0" u="none" strike="noStrike" kern="1200" cap="none" spc="-80" normalizeH="0" baseline="0" noProof="0" dirty="0">
                <a:ln>
                  <a:noFill/>
                </a:ln>
                <a:solidFill>
                  <a:prstClr val="black"/>
                </a:solidFill>
                <a:effectLst/>
                <a:uLnTx/>
                <a:uFillTx/>
                <a:latin typeface="Open Sans"/>
                <a:ea typeface="+mn-ea"/>
                <a:cs typeface="Open Sans"/>
              </a:rPr>
              <a:t> </a:t>
            </a:r>
            <a:r>
              <a:rPr kumimoji="0" sz="750" b="1" i="0" u="none" strike="noStrike" kern="1200" cap="none" spc="-5" normalizeH="0" baseline="0" noProof="0" dirty="0">
                <a:ln>
                  <a:noFill/>
                </a:ln>
                <a:solidFill>
                  <a:prstClr val="black"/>
                </a:solidFill>
                <a:effectLst/>
                <a:uLnTx/>
                <a:uFillTx/>
                <a:latin typeface="Open Sans"/>
                <a:ea typeface="+mn-ea"/>
                <a:cs typeface="Open Sans"/>
              </a:rPr>
              <a:t>AND  </a:t>
            </a:r>
            <a:r>
              <a:rPr kumimoji="0" sz="750" b="1" i="0" u="none" strike="noStrike" kern="1200" cap="none" spc="0" normalizeH="0" baseline="0" noProof="0" dirty="0">
                <a:ln>
                  <a:noFill/>
                </a:ln>
                <a:solidFill>
                  <a:prstClr val="black"/>
                </a:solidFill>
                <a:effectLst/>
                <a:uLnTx/>
                <a:uFillTx/>
                <a:latin typeface="Open Sans"/>
                <a:ea typeface="+mn-ea"/>
                <a:cs typeface="Open Sans"/>
              </a:rPr>
              <a:t>INITIAL VALUE  </a:t>
            </a:r>
            <a:r>
              <a:rPr kumimoji="0" sz="750" b="1" i="0" u="none" strike="noStrike" kern="1200" cap="none" spc="-5" normalizeH="0" baseline="0" noProof="0" dirty="0">
                <a:ln>
                  <a:noFill/>
                </a:ln>
                <a:solidFill>
                  <a:prstClr val="black"/>
                </a:solidFill>
                <a:effectLst/>
                <a:uLnTx/>
                <a:uFillTx/>
                <a:latin typeface="Open Sans"/>
                <a:ea typeface="+mn-ea"/>
                <a:cs typeface="Open Sans"/>
              </a:rPr>
              <a:t>ME</a:t>
            </a:r>
            <a:r>
              <a:rPr kumimoji="0" sz="750" b="1" i="0" u="none" strike="noStrike" kern="1200" cap="none" spc="-10" normalizeH="0" baseline="0" noProof="0" dirty="0">
                <a:ln>
                  <a:noFill/>
                </a:ln>
                <a:solidFill>
                  <a:prstClr val="black"/>
                </a:solidFill>
                <a:effectLst/>
                <a:uLnTx/>
                <a:uFillTx/>
                <a:latin typeface="Open Sans"/>
                <a:ea typeface="+mn-ea"/>
                <a:cs typeface="Open Sans"/>
              </a:rPr>
              <a:t>A</a:t>
            </a:r>
            <a:r>
              <a:rPr kumimoji="0" sz="750" b="1" i="0" u="none" strike="noStrike" kern="1200" cap="none" spc="0" normalizeH="0" baseline="0" noProof="0" dirty="0">
                <a:ln>
                  <a:noFill/>
                </a:ln>
                <a:solidFill>
                  <a:prstClr val="black"/>
                </a:solidFill>
                <a:effectLst/>
                <a:uLnTx/>
                <a:uFillTx/>
                <a:latin typeface="Open Sans"/>
                <a:ea typeface="+mn-ea"/>
                <a:cs typeface="Open Sans"/>
              </a:rPr>
              <a:t>SUR</a:t>
            </a:r>
            <a:r>
              <a:rPr kumimoji="0" sz="750" b="1" i="0" u="none" strike="noStrike" kern="1200" cap="none" spc="-5" normalizeH="0" baseline="0" noProof="0" dirty="0">
                <a:ln>
                  <a:noFill/>
                </a:ln>
                <a:solidFill>
                  <a:prstClr val="black"/>
                </a:solidFill>
                <a:effectLst/>
                <a:uLnTx/>
                <a:uFillTx/>
                <a:latin typeface="Open Sans"/>
                <a:ea typeface="+mn-ea"/>
                <a:cs typeface="Open Sans"/>
              </a:rPr>
              <a:t>EMEN</a:t>
            </a:r>
            <a:r>
              <a:rPr kumimoji="0" sz="750" b="1" i="0" u="none" strike="noStrike" kern="1200" cap="none" spc="0" normalizeH="0" baseline="0" noProof="0" dirty="0">
                <a:ln>
                  <a:noFill/>
                </a:ln>
                <a:solidFill>
                  <a:prstClr val="black"/>
                </a:solidFill>
                <a:effectLst/>
                <a:uLnTx/>
                <a:uFillTx/>
                <a:latin typeface="Open Sans"/>
                <a:ea typeface="+mn-ea"/>
                <a:cs typeface="Open Sans"/>
              </a:rPr>
              <a:t>T</a:t>
            </a:r>
            <a:endParaRPr kumimoji="0" sz="750" b="0" i="0" u="none" strike="noStrike" kern="1200" cap="none" spc="0" normalizeH="0" baseline="0" noProof="0">
              <a:ln>
                <a:noFill/>
              </a:ln>
              <a:solidFill>
                <a:prstClr val="black"/>
              </a:solidFill>
              <a:effectLst/>
              <a:uLnTx/>
              <a:uFillTx/>
              <a:latin typeface="Open Sans"/>
              <a:ea typeface="+mn-ea"/>
              <a:cs typeface="Open Sans"/>
            </a:endParaRPr>
          </a:p>
        </p:txBody>
      </p:sp>
      <p:sp>
        <p:nvSpPr>
          <p:cNvPr id="1101" name="object 139">
            <a:extLst>
              <a:ext uri="{FF2B5EF4-FFF2-40B4-BE49-F238E27FC236}">
                <a16:creationId xmlns:a16="http://schemas.microsoft.com/office/drawing/2014/main" id="{5A31EF5D-6697-4EDB-BCFE-688FCD4F59A8}"/>
              </a:ext>
            </a:extLst>
          </p:cNvPr>
          <p:cNvSpPr/>
          <p:nvPr/>
        </p:nvSpPr>
        <p:spPr>
          <a:xfrm>
            <a:off x="5997702" y="5360670"/>
            <a:ext cx="281940" cy="78105"/>
          </a:xfrm>
          <a:custGeom>
            <a:avLst/>
            <a:gdLst/>
            <a:ahLst/>
            <a:cxnLst/>
            <a:rect l="l" t="t" r="r" b="b"/>
            <a:pathLst>
              <a:path w="281939" h="78104">
                <a:moveTo>
                  <a:pt x="0" y="0"/>
                </a:moveTo>
                <a:lnTo>
                  <a:pt x="140970" y="77723"/>
                </a:lnTo>
                <a:lnTo>
                  <a:pt x="281939"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02" name="object 140">
            <a:extLst>
              <a:ext uri="{FF2B5EF4-FFF2-40B4-BE49-F238E27FC236}">
                <a16:creationId xmlns:a16="http://schemas.microsoft.com/office/drawing/2014/main" id="{E31DB194-A374-041E-84C5-FE3817D2A2B9}"/>
              </a:ext>
            </a:extLst>
          </p:cNvPr>
          <p:cNvSpPr txBox="1"/>
          <p:nvPr/>
        </p:nvSpPr>
        <p:spPr>
          <a:xfrm>
            <a:off x="6932803" y="5555691"/>
            <a:ext cx="987425" cy="483870"/>
          </a:xfrm>
          <a:prstGeom prst="rect">
            <a:avLst/>
          </a:prstGeom>
        </p:spPr>
        <p:txBody>
          <a:bodyPr vert="horz" wrap="square" lIns="0" tIns="13335" rIns="0" bIns="0" rtlCol="0">
            <a:spAutoFit/>
          </a:bodyPr>
          <a:lstStyle/>
          <a:p>
            <a:pPr marL="12700" marR="5080" lvl="0" indent="-1905" algn="ctr"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0" normalizeH="0" baseline="0" noProof="0" dirty="0">
                <a:ln>
                  <a:noFill/>
                </a:ln>
                <a:solidFill>
                  <a:prstClr val="black"/>
                </a:solidFill>
                <a:effectLst/>
                <a:uLnTx/>
                <a:uFillTx/>
                <a:latin typeface="Open Sans"/>
                <a:ea typeface="+mn-ea"/>
                <a:cs typeface="Open Sans"/>
              </a:rPr>
              <a:t>BROAD SOLUTION  APPLICATION  ACROSS</a:t>
            </a:r>
            <a:r>
              <a:rPr kumimoji="0" sz="750" b="1" i="0" u="none" strike="noStrike" kern="1200" cap="none" spc="-95" normalizeH="0" baseline="0" noProof="0" dirty="0">
                <a:ln>
                  <a:noFill/>
                </a:ln>
                <a:solidFill>
                  <a:prstClr val="black"/>
                </a:solidFill>
                <a:effectLst/>
                <a:uLnTx/>
                <a:uFillTx/>
                <a:latin typeface="Open Sans"/>
                <a:ea typeface="+mn-ea"/>
                <a:cs typeface="Open Sans"/>
              </a:rPr>
              <a:t> </a:t>
            </a:r>
            <a:r>
              <a:rPr kumimoji="0" sz="750" b="1" i="0" u="none" strike="noStrike" kern="1200" cap="none" spc="0" normalizeH="0" baseline="0" noProof="0" dirty="0">
                <a:ln>
                  <a:noFill/>
                </a:ln>
                <a:solidFill>
                  <a:prstClr val="black"/>
                </a:solidFill>
                <a:effectLst/>
                <a:uLnTx/>
                <a:uFillTx/>
                <a:latin typeface="Open Sans"/>
                <a:ea typeface="+mn-ea"/>
                <a:cs typeface="Open Sans"/>
              </a:rPr>
              <a:t>ENTERPRISE  </a:t>
            </a:r>
            <a:r>
              <a:rPr kumimoji="0" sz="750" b="1" i="0" u="none" strike="noStrike" kern="1200" cap="none" spc="-5" normalizeH="0" baseline="0" noProof="0" dirty="0">
                <a:ln>
                  <a:noFill/>
                </a:ln>
                <a:solidFill>
                  <a:prstClr val="black"/>
                </a:solidFill>
                <a:effectLst/>
                <a:uLnTx/>
                <a:uFillTx/>
                <a:latin typeface="Open Sans"/>
                <a:ea typeface="+mn-ea"/>
                <a:cs typeface="Open Sans"/>
              </a:rPr>
              <a:t>AND </a:t>
            </a:r>
            <a:r>
              <a:rPr kumimoji="0" sz="750" b="1" i="0" u="none" strike="noStrike" kern="1200" cap="none" spc="0" normalizeH="0" baseline="0" noProof="0" dirty="0">
                <a:ln>
                  <a:noFill/>
                </a:ln>
                <a:solidFill>
                  <a:prstClr val="black"/>
                </a:solidFill>
                <a:effectLst/>
                <a:uLnTx/>
                <a:uFillTx/>
                <a:latin typeface="Open Sans"/>
                <a:ea typeface="+mn-ea"/>
                <a:cs typeface="Open Sans"/>
              </a:rPr>
              <a:t>FULL</a:t>
            </a:r>
            <a:r>
              <a:rPr kumimoji="0" sz="750" b="1" i="0" u="none" strike="noStrike" kern="1200" cap="none" spc="-80" normalizeH="0" baseline="0" noProof="0" dirty="0">
                <a:ln>
                  <a:noFill/>
                </a:ln>
                <a:solidFill>
                  <a:prstClr val="black"/>
                </a:solidFill>
                <a:effectLst/>
                <a:uLnTx/>
                <a:uFillTx/>
                <a:latin typeface="Open Sans"/>
                <a:ea typeface="+mn-ea"/>
                <a:cs typeface="Open Sans"/>
              </a:rPr>
              <a:t> </a:t>
            </a:r>
            <a:r>
              <a:rPr kumimoji="0" sz="750" b="1" i="0" u="none" strike="noStrike" kern="1200" cap="none" spc="0" normalizeH="0" baseline="0" noProof="0" dirty="0">
                <a:ln>
                  <a:noFill/>
                </a:ln>
                <a:solidFill>
                  <a:prstClr val="black"/>
                </a:solidFill>
                <a:effectLst/>
                <a:uLnTx/>
                <a:uFillTx/>
                <a:latin typeface="Open Sans"/>
                <a:ea typeface="+mn-ea"/>
                <a:cs typeface="Open Sans"/>
              </a:rPr>
              <a:t>DELIVERY</a:t>
            </a:r>
            <a:endParaRPr kumimoji="0" sz="750" b="0" i="0" u="none" strike="noStrike" kern="1200" cap="none" spc="0" normalizeH="0" baseline="0" noProof="0">
              <a:ln>
                <a:noFill/>
              </a:ln>
              <a:solidFill>
                <a:prstClr val="black"/>
              </a:solidFill>
              <a:effectLst/>
              <a:uLnTx/>
              <a:uFillTx/>
              <a:latin typeface="Open Sans"/>
              <a:ea typeface="+mn-ea"/>
              <a:cs typeface="Open Sans"/>
            </a:endParaRPr>
          </a:p>
        </p:txBody>
      </p:sp>
      <p:sp>
        <p:nvSpPr>
          <p:cNvPr id="1103" name="object 141">
            <a:extLst>
              <a:ext uri="{FF2B5EF4-FFF2-40B4-BE49-F238E27FC236}">
                <a16:creationId xmlns:a16="http://schemas.microsoft.com/office/drawing/2014/main" id="{2F05BF8C-C416-0C6A-A0F3-56FD06131CA2}"/>
              </a:ext>
            </a:extLst>
          </p:cNvPr>
          <p:cNvSpPr/>
          <p:nvPr/>
        </p:nvSpPr>
        <p:spPr>
          <a:xfrm>
            <a:off x="7283957" y="5360670"/>
            <a:ext cx="283845" cy="78105"/>
          </a:xfrm>
          <a:custGeom>
            <a:avLst/>
            <a:gdLst/>
            <a:ahLst/>
            <a:cxnLst/>
            <a:rect l="l" t="t" r="r" b="b"/>
            <a:pathLst>
              <a:path w="283845" h="78104">
                <a:moveTo>
                  <a:pt x="0" y="0"/>
                </a:moveTo>
                <a:lnTo>
                  <a:pt x="141732" y="77723"/>
                </a:lnTo>
                <a:lnTo>
                  <a:pt x="283464"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04" name="object 142">
            <a:extLst>
              <a:ext uri="{FF2B5EF4-FFF2-40B4-BE49-F238E27FC236}">
                <a16:creationId xmlns:a16="http://schemas.microsoft.com/office/drawing/2014/main" id="{A53B168F-BEBB-5241-0598-3B2AB4515216}"/>
              </a:ext>
            </a:extLst>
          </p:cNvPr>
          <p:cNvSpPr txBox="1"/>
          <p:nvPr/>
        </p:nvSpPr>
        <p:spPr>
          <a:xfrm>
            <a:off x="8306816" y="5555691"/>
            <a:ext cx="811530" cy="483870"/>
          </a:xfrm>
          <a:prstGeom prst="rect">
            <a:avLst/>
          </a:prstGeom>
        </p:spPr>
        <p:txBody>
          <a:bodyPr vert="horz" wrap="square" lIns="0" tIns="13335" rIns="0" bIns="0" rtlCol="0">
            <a:spAutoFit/>
          </a:bodyPr>
          <a:lstStyle/>
          <a:p>
            <a:pPr marL="12700" marR="5080" lvl="0" indent="635" algn="ctr"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5" normalizeH="0" baseline="0" noProof="0" dirty="0">
                <a:ln>
                  <a:noFill/>
                </a:ln>
                <a:solidFill>
                  <a:prstClr val="black"/>
                </a:solidFill>
                <a:effectLst/>
                <a:uLnTx/>
                <a:uFillTx/>
                <a:latin typeface="Open Sans"/>
                <a:ea typeface="+mn-ea"/>
                <a:cs typeface="Open Sans"/>
              </a:rPr>
              <a:t>SUSTAINABLE  </a:t>
            </a:r>
            <a:r>
              <a:rPr kumimoji="0" sz="750" b="1" i="0" u="none" strike="noStrike" kern="1200" cap="none" spc="0" normalizeH="0" baseline="0" noProof="0" dirty="0">
                <a:ln>
                  <a:noFill/>
                </a:ln>
                <a:solidFill>
                  <a:prstClr val="black"/>
                </a:solidFill>
                <a:effectLst/>
                <a:uLnTx/>
                <a:uFillTx/>
                <a:latin typeface="Open Sans"/>
                <a:ea typeface="+mn-ea"/>
                <a:cs typeface="Open Sans"/>
              </a:rPr>
              <a:t>CAPABILITY</a:t>
            </a:r>
            <a:r>
              <a:rPr kumimoji="0" sz="750" b="1" i="0" u="none" strike="noStrike" kern="1200" cap="none" spc="-110" normalizeH="0" baseline="0" noProof="0" dirty="0">
                <a:ln>
                  <a:noFill/>
                </a:ln>
                <a:solidFill>
                  <a:prstClr val="black"/>
                </a:solidFill>
                <a:effectLst/>
                <a:uLnTx/>
                <a:uFillTx/>
                <a:latin typeface="Open Sans"/>
                <a:ea typeface="+mn-ea"/>
                <a:cs typeface="Open Sans"/>
              </a:rPr>
              <a:t> </a:t>
            </a:r>
            <a:r>
              <a:rPr kumimoji="0" sz="750" b="1" i="0" u="none" strike="noStrike" kern="1200" cap="none" spc="-5" normalizeH="0" baseline="0" noProof="0" dirty="0">
                <a:ln>
                  <a:noFill/>
                </a:ln>
                <a:solidFill>
                  <a:prstClr val="black"/>
                </a:solidFill>
                <a:effectLst/>
                <a:uLnTx/>
                <a:uFillTx/>
                <a:latin typeface="Open Sans"/>
                <a:ea typeface="+mn-ea"/>
                <a:cs typeface="Open Sans"/>
              </a:rPr>
              <a:t>AND  </a:t>
            </a:r>
            <a:r>
              <a:rPr kumimoji="0" sz="750" b="1" i="0" u="none" strike="noStrike" kern="1200" cap="none" spc="0" normalizeH="0" baseline="0" noProof="0" dirty="0">
                <a:ln>
                  <a:noFill/>
                </a:ln>
                <a:solidFill>
                  <a:prstClr val="black"/>
                </a:solidFill>
                <a:effectLst/>
                <a:uLnTx/>
                <a:uFillTx/>
                <a:latin typeface="Open Sans"/>
                <a:ea typeface="+mn-ea"/>
                <a:cs typeface="Open Sans"/>
              </a:rPr>
              <a:t>PERFORMANCE  </a:t>
            </a:r>
            <a:r>
              <a:rPr kumimoji="0" sz="750" b="1" i="0" u="none" strike="noStrike" kern="1200" cap="none" spc="-5" normalizeH="0" baseline="0" noProof="0" dirty="0">
                <a:ln>
                  <a:noFill/>
                </a:ln>
                <a:solidFill>
                  <a:prstClr val="black"/>
                </a:solidFill>
                <a:effectLst/>
                <a:uLnTx/>
                <a:uFillTx/>
                <a:latin typeface="Open Sans"/>
                <a:ea typeface="+mn-ea"/>
                <a:cs typeface="Open Sans"/>
              </a:rPr>
              <a:t>MANAGEMENT</a:t>
            </a:r>
            <a:endParaRPr kumimoji="0" sz="750" b="0" i="0" u="none" strike="noStrike" kern="1200" cap="none" spc="0" normalizeH="0" baseline="0" noProof="0">
              <a:ln>
                <a:noFill/>
              </a:ln>
              <a:solidFill>
                <a:prstClr val="black"/>
              </a:solidFill>
              <a:effectLst/>
              <a:uLnTx/>
              <a:uFillTx/>
              <a:latin typeface="Open Sans"/>
              <a:ea typeface="+mn-ea"/>
              <a:cs typeface="Open Sans"/>
            </a:endParaRPr>
          </a:p>
        </p:txBody>
      </p:sp>
      <p:sp>
        <p:nvSpPr>
          <p:cNvPr id="1105" name="object 143">
            <a:extLst>
              <a:ext uri="{FF2B5EF4-FFF2-40B4-BE49-F238E27FC236}">
                <a16:creationId xmlns:a16="http://schemas.microsoft.com/office/drawing/2014/main" id="{423106DD-E57A-9B6B-02D9-BE1883EF5D69}"/>
              </a:ext>
            </a:extLst>
          </p:cNvPr>
          <p:cNvSpPr/>
          <p:nvPr/>
        </p:nvSpPr>
        <p:spPr>
          <a:xfrm>
            <a:off x="8571738" y="5360670"/>
            <a:ext cx="281940" cy="78105"/>
          </a:xfrm>
          <a:custGeom>
            <a:avLst/>
            <a:gdLst/>
            <a:ahLst/>
            <a:cxnLst/>
            <a:rect l="l" t="t" r="r" b="b"/>
            <a:pathLst>
              <a:path w="281940" h="78104">
                <a:moveTo>
                  <a:pt x="0" y="0"/>
                </a:moveTo>
                <a:lnTo>
                  <a:pt x="140969" y="77723"/>
                </a:lnTo>
                <a:lnTo>
                  <a:pt x="281939"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06" name="object 144">
            <a:extLst>
              <a:ext uri="{FF2B5EF4-FFF2-40B4-BE49-F238E27FC236}">
                <a16:creationId xmlns:a16="http://schemas.microsoft.com/office/drawing/2014/main" id="{58AE0F4B-6E29-26CC-EEB7-D8F743D294B0}"/>
              </a:ext>
            </a:extLst>
          </p:cNvPr>
          <p:cNvSpPr txBox="1"/>
          <p:nvPr/>
        </p:nvSpPr>
        <p:spPr>
          <a:xfrm>
            <a:off x="9545193" y="5555691"/>
            <a:ext cx="909319" cy="483870"/>
          </a:xfrm>
          <a:prstGeom prst="rect">
            <a:avLst/>
          </a:prstGeom>
        </p:spPr>
        <p:txBody>
          <a:bodyPr vert="horz" wrap="square" lIns="0" tIns="13335" rIns="0" bIns="0" rtlCol="0">
            <a:spAutoFit/>
          </a:bodyPr>
          <a:lstStyle/>
          <a:p>
            <a:pPr marL="12065" marR="5080" lvl="0" indent="2540" algn="ctr"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5" normalizeH="0" baseline="0" noProof="0" dirty="0">
                <a:ln>
                  <a:noFill/>
                </a:ln>
                <a:solidFill>
                  <a:prstClr val="black"/>
                </a:solidFill>
                <a:effectLst/>
                <a:uLnTx/>
                <a:uFillTx/>
                <a:latin typeface="Open Sans"/>
                <a:ea typeface="+mn-ea"/>
                <a:cs typeface="Open Sans"/>
              </a:rPr>
              <a:t>IMPACT  </a:t>
            </a:r>
            <a:r>
              <a:rPr kumimoji="0" sz="750" b="1" i="0" u="none" strike="noStrike" kern="1200" cap="none" spc="0" normalizeH="0" baseline="0" noProof="0" dirty="0">
                <a:ln>
                  <a:noFill/>
                </a:ln>
                <a:solidFill>
                  <a:prstClr val="black"/>
                </a:solidFill>
                <a:effectLst/>
                <a:uLnTx/>
                <a:uFillTx/>
                <a:latin typeface="Open Sans"/>
                <a:ea typeface="+mn-ea"/>
                <a:cs typeface="Open Sans"/>
              </a:rPr>
              <a:t>MEASUREMENT</a:t>
            </a:r>
            <a:r>
              <a:rPr kumimoji="0" sz="750" b="1" i="0" u="none" strike="noStrike" kern="1200" cap="none" spc="-80" normalizeH="0" baseline="0" noProof="0" dirty="0">
                <a:ln>
                  <a:noFill/>
                </a:ln>
                <a:solidFill>
                  <a:prstClr val="black"/>
                </a:solidFill>
                <a:effectLst/>
                <a:uLnTx/>
                <a:uFillTx/>
                <a:latin typeface="Open Sans"/>
                <a:ea typeface="+mn-ea"/>
                <a:cs typeface="Open Sans"/>
              </a:rPr>
              <a:t> </a:t>
            </a:r>
            <a:r>
              <a:rPr kumimoji="0" sz="750" b="1" i="0" u="none" strike="noStrike" kern="1200" cap="none" spc="0" normalizeH="0" baseline="0" noProof="0" dirty="0">
                <a:ln>
                  <a:noFill/>
                </a:ln>
                <a:solidFill>
                  <a:prstClr val="black"/>
                </a:solidFill>
                <a:effectLst/>
                <a:uLnTx/>
                <a:uFillTx/>
                <a:latin typeface="Open Sans"/>
                <a:ea typeface="+mn-ea"/>
                <a:cs typeface="Open Sans"/>
              </a:rPr>
              <a:t>OF  IMPLEMENTED  SOLUTIONS</a:t>
            </a:r>
            <a:endParaRPr kumimoji="0" sz="750" b="0" i="0" u="none" strike="noStrike" kern="1200" cap="none" spc="0" normalizeH="0" baseline="0" noProof="0">
              <a:ln>
                <a:noFill/>
              </a:ln>
              <a:solidFill>
                <a:prstClr val="black"/>
              </a:solidFill>
              <a:effectLst/>
              <a:uLnTx/>
              <a:uFillTx/>
              <a:latin typeface="Open Sans"/>
              <a:ea typeface="+mn-ea"/>
              <a:cs typeface="Open Sans"/>
            </a:endParaRPr>
          </a:p>
        </p:txBody>
      </p:sp>
      <p:sp>
        <p:nvSpPr>
          <p:cNvPr id="1107" name="object 145">
            <a:extLst>
              <a:ext uri="{FF2B5EF4-FFF2-40B4-BE49-F238E27FC236}">
                <a16:creationId xmlns:a16="http://schemas.microsoft.com/office/drawing/2014/main" id="{A83514B6-92D4-6D81-C29E-00397722FD21}"/>
              </a:ext>
            </a:extLst>
          </p:cNvPr>
          <p:cNvSpPr/>
          <p:nvPr/>
        </p:nvSpPr>
        <p:spPr>
          <a:xfrm>
            <a:off x="9859518" y="5360670"/>
            <a:ext cx="281940" cy="78105"/>
          </a:xfrm>
          <a:custGeom>
            <a:avLst/>
            <a:gdLst/>
            <a:ahLst/>
            <a:cxnLst/>
            <a:rect l="l" t="t" r="r" b="b"/>
            <a:pathLst>
              <a:path w="281940" h="78104">
                <a:moveTo>
                  <a:pt x="0" y="0"/>
                </a:moveTo>
                <a:lnTo>
                  <a:pt x="140970" y="77723"/>
                </a:lnTo>
                <a:lnTo>
                  <a:pt x="281939"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08" name="object 146">
            <a:extLst>
              <a:ext uri="{FF2B5EF4-FFF2-40B4-BE49-F238E27FC236}">
                <a16:creationId xmlns:a16="http://schemas.microsoft.com/office/drawing/2014/main" id="{1AC00DDE-5AE1-F0B7-EE7B-5A471365F863}"/>
              </a:ext>
            </a:extLst>
          </p:cNvPr>
          <p:cNvSpPr txBox="1"/>
          <p:nvPr/>
        </p:nvSpPr>
        <p:spPr>
          <a:xfrm>
            <a:off x="10840339" y="5555691"/>
            <a:ext cx="895350" cy="483870"/>
          </a:xfrm>
          <a:prstGeom prst="rect">
            <a:avLst/>
          </a:prstGeom>
        </p:spPr>
        <p:txBody>
          <a:bodyPr vert="horz" wrap="square" lIns="0" tIns="13335" rIns="0" bIns="0" rtlCol="0">
            <a:spAutoFit/>
          </a:bodyPr>
          <a:lstStyle/>
          <a:p>
            <a:pPr marL="12700" marR="5080" lvl="0" indent="-635" algn="ctr" defTabSz="914400" rtl="0" eaLnBrk="1" fontAlgn="auto" latinLnBrk="0" hangingPunct="1">
              <a:lnSpc>
                <a:spcPct val="100000"/>
              </a:lnSpc>
              <a:spcBef>
                <a:spcPts val="105"/>
              </a:spcBef>
              <a:spcAft>
                <a:spcPts val="0"/>
              </a:spcAft>
              <a:buClrTx/>
              <a:buSzTx/>
              <a:buFontTx/>
              <a:buNone/>
              <a:tabLst/>
              <a:defRPr/>
            </a:pPr>
            <a:r>
              <a:rPr kumimoji="0" sz="750" b="1" i="0" u="none" strike="noStrike" kern="1200" cap="none" spc="0" normalizeH="0" baseline="0" noProof="0" dirty="0">
                <a:ln>
                  <a:noFill/>
                </a:ln>
                <a:solidFill>
                  <a:prstClr val="black"/>
                </a:solidFill>
                <a:effectLst/>
                <a:uLnTx/>
                <a:uFillTx/>
                <a:latin typeface="Open Sans"/>
                <a:ea typeface="+mn-ea"/>
                <a:cs typeface="Open Sans"/>
              </a:rPr>
              <a:t>ONGOING  IMPROVEMENT</a:t>
            </a:r>
            <a:r>
              <a:rPr kumimoji="0" sz="750" b="1" i="0" u="none" strike="noStrike" kern="1200" cap="none" spc="-70" normalizeH="0" baseline="0" noProof="0" dirty="0">
                <a:ln>
                  <a:noFill/>
                </a:ln>
                <a:solidFill>
                  <a:prstClr val="black"/>
                </a:solidFill>
                <a:effectLst/>
                <a:uLnTx/>
                <a:uFillTx/>
                <a:latin typeface="Open Sans"/>
                <a:ea typeface="+mn-ea"/>
                <a:cs typeface="Open Sans"/>
              </a:rPr>
              <a:t> </a:t>
            </a:r>
            <a:r>
              <a:rPr kumimoji="0" sz="750" b="1" i="0" u="none" strike="noStrike" kern="1200" cap="none" spc="0" normalizeH="0" baseline="0" noProof="0" dirty="0">
                <a:ln>
                  <a:noFill/>
                </a:ln>
                <a:solidFill>
                  <a:prstClr val="black"/>
                </a:solidFill>
                <a:effectLst/>
                <a:uLnTx/>
                <a:uFillTx/>
                <a:latin typeface="Open Sans"/>
                <a:ea typeface="+mn-ea"/>
                <a:cs typeface="Open Sans"/>
              </a:rPr>
              <a:t>OF  PROCESSES </a:t>
            </a:r>
            <a:r>
              <a:rPr kumimoji="0" sz="750" b="1" i="0" u="none" strike="noStrike" kern="1200" cap="none" spc="-5" normalizeH="0" baseline="0" noProof="0" dirty="0">
                <a:ln>
                  <a:noFill/>
                </a:ln>
                <a:solidFill>
                  <a:prstClr val="black"/>
                </a:solidFill>
                <a:effectLst/>
                <a:uLnTx/>
                <a:uFillTx/>
                <a:latin typeface="Open Sans"/>
                <a:ea typeface="+mn-ea"/>
                <a:cs typeface="Open Sans"/>
              </a:rPr>
              <a:t>AND  </a:t>
            </a:r>
            <a:r>
              <a:rPr kumimoji="0" sz="750" b="1" i="0" u="none" strike="noStrike" kern="1200" cap="none" spc="0" normalizeH="0" baseline="0" noProof="0" dirty="0">
                <a:ln>
                  <a:noFill/>
                </a:ln>
                <a:solidFill>
                  <a:prstClr val="black"/>
                </a:solidFill>
                <a:effectLst/>
                <a:uLnTx/>
                <a:uFillTx/>
                <a:latin typeface="Open Sans"/>
                <a:ea typeface="+mn-ea"/>
                <a:cs typeface="Open Sans"/>
              </a:rPr>
              <a:t>SOLUTIONS</a:t>
            </a:r>
            <a:endParaRPr kumimoji="0" sz="750" b="0" i="0" u="none" strike="noStrike" kern="1200" cap="none" spc="0" normalizeH="0" baseline="0" noProof="0">
              <a:ln>
                <a:noFill/>
              </a:ln>
              <a:solidFill>
                <a:prstClr val="black"/>
              </a:solidFill>
              <a:effectLst/>
              <a:uLnTx/>
              <a:uFillTx/>
              <a:latin typeface="Open Sans"/>
              <a:ea typeface="+mn-ea"/>
              <a:cs typeface="Open Sans"/>
            </a:endParaRPr>
          </a:p>
        </p:txBody>
      </p:sp>
      <p:sp>
        <p:nvSpPr>
          <p:cNvPr id="1109" name="object 147">
            <a:extLst>
              <a:ext uri="{FF2B5EF4-FFF2-40B4-BE49-F238E27FC236}">
                <a16:creationId xmlns:a16="http://schemas.microsoft.com/office/drawing/2014/main" id="{C9EB450D-3D9E-EFDD-FC00-5D64CCA910B9}"/>
              </a:ext>
            </a:extLst>
          </p:cNvPr>
          <p:cNvSpPr/>
          <p:nvPr/>
        </p:nvSpPr>
        <p:spPr>
          <a:xfrm>
            <a:off x="11145773" y="5360670"/>
            <a:ext cx="283845" cy="78105"/>
          </a:xfrm>
          <a:custGeom>
            <a:avLst/>
            <a:gdLst/>
            <a:ahLst/>
            <a:cxnLst/>
            <a:rect l="l" t="t" r="r" b="b"/>
            <a:pathLst>
              <a:path w="283845" h="78104">
                <a:moveTo>
                  <a:pt x="0" y="0"/>
                </a:moveTo>
                <a:lnTo>
                  <a:pt x="141731" y="77723"/>
                </a:lnTo>
                <a:lnTo>
                  <a:pt x="283464" y="0"/>
                </a:lnTo>
                <a:lnTo>
                  <a:pt x="0" y="0"/>
                </a:lnTo>
                <a:close/>
              </a:path>
            </a:pathLst>
          </a:custGeom>
          <a:ln w="1981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11" name="Title 3">
            <a:extLst>
              <a:ext uri="{FF2B5EF4-FFF2-40B4-BE49-F238E27FC236}">
                <a16:creationId xmlns:a16="http://schemas.microsoft.com/office/drawing/2014/main" id="{38BC6AEE-2C83-D378-8000-77FA3D45957A}"/>
              </a:ext>
            </a:extLst>
          </p:cNvPr>
          <p:cNvSpPr txBox="1">
            <a:spLocks/>
          </p:cNvSpPr>
          <p:nvPr/>
        </p:nvSpPr>
        <p:spPr>
          <a:xfrm>
            <a:off x="483483" y="2960084"/>
            <a:ext cx="1218063" cy="457200"/>
          </a:xfrm>
          <a:prstGeom prst="rect">
            <a:avLst/>
          </a:prstGeom>
          <a:solidFill>
            <a:schemeClr val="accent1"/>
          </a:solidFill>
        </p:spPr>
        <p:txBody>
          <a:bodyPr lIns="0" tIns="0" rIns="0" bIns="0" anchor="ctr"/>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050" b="1" i="0" u="none" strike="noStrike" kern="1200" cap="all" spc="100" normalizeH="0" baseline="0" noProof="0" dirty="0">
                <a:ln>
                  <a:noFill/>
                </a:ln>
                <a:solidFill>
                  <a:schemeClr val="bg1"/>
                </a:solidFill>
                <a:effectLst/>
                <a:uLnTx/>
                <a:uFillTx/>
                <a:latin typeface="Open Sans"/>
                <a:ea typeface="Verdana" panose="020B0604030504040204" pitchFamily="34" charset="0"/>
                <a:cs typeface="Verdana" panose="020B0604030504040204" pitchFamily="34" charset="0"/>
              </a:rPr>
              <a:t>Value</a:t>
            </a:r>
          </a:p>
        </p:txBody>
      </p:sp>
      <p:sp>
        <p:nvSpPr>
          <p:cNvPr id="1112" name="Title 3">
            <a:extLst>
              <a:ext uri="{FF2B5EF4-FFF2-40B4-BE49-F238E27FC236}">
                <a16:creationId xmlns:a16="http://schemas.microsoft.com/office/drawing/2014/main" id="{FD0F63DA-748F-A908-66FB-DB1A58B33052}"/>
              </a:ext>
            </a:extLst>
          </p:cNvPr>
          <p:cNvSpPr txBox="1">
            <a:spLocks/>
          </p:cNvSpPr>
          <p:nvPr/>
        </p:nvSpPr>
        <p:spPr>
          <a:xfrm>
            <a:off x="483483" y="3545998"/>
            <a:ext cx="1218063" cy="457200"/>
          </a:xfrm>
          <a:prstGeom prst="rect">
            <a:avLst/>
          </a:prstGeom>
          <a:solidFill>
            <a:schemeClr val="accent2"/>
          </a:solidFill>
        </p:spPr>
        <p:txBody>
          <a:bodyPr lIns="0" tIns="0" rIns="0" bIns="0" anchor="ctr"/>
          <a:lstStyle>
            <a:defPPr>
              <a:defRPr lang="en-US"/>
            </a:defPPr>
            <a:lvl1pPr marR="0" lvl="0" indent="0" algn="ctr" fontAlgn="auto">
              <a:lnSpc>
                <a:spcPct val="100000"/>
              </a:lnSpc>
              <a:spcBef>
                <a:spcPct val="0"/>
              </a:spcBef>
              <a:spcAft>
                <a:spcPts val="600"/>
              </a:spcAft>
              <a:buClrTx/>
              <a:buSzTx/>
              <a:buFontTx/>
              <a:buNone/>
              <a:tabLst/>
              <a:defRPr kumimoji="0" sz="1400" b="1" i="0" u="none" strike="noStrike" cap="all" spc="100" normalizeH="0" baseline="0">
                <a:ln>
                  <a:noFill/>
                </a:ln>
                <a:solidFill>
                  <a:srgbClr val="62B5E5">
                    <a:lumMod val="75000"/>
                  </a:srgbClr>
                </a:solidFill>
                <a:effectLst/>
                <a:uLnTx/>
                <a:uFillTx/>
                <a:latin typeface="Verdana"/>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050" b="1" i="0" u="none" strike="noStrike" kern="1200" cap="all" spc="100" normalizeH="0" baseline="0" noProof="0" dirty="0">
                <a:ln>
                  <a:noFill/>
                </a:ln>
                <a:solidFill>
                  <a:schemeClr val="bg1"/>
                </a:solidFill>
                <a:effectLst/>
                <a:uLnTx/>
                <a:uFillTx/>
                <a:latin typeface="Open Sans"/>
                <a:ea typeface="Verdana" panose="020B0604030504040204" pitchFamily="34" charset="0"/>
                <a:cs typeface="Verdana" panose="020B0604030504040204" pitchFamily="34" charset="0"/>
              </a:rPr>
              <a:t>ARCHITECTURE</a:t>
            </a:r>
          </a:p>
        </p:txBody>
      </p:sp>
      <p:sp>
        <p:nvSpPr>
          <p:cNvPr id="1113" name="Title 3">
            <a:extLst>
              <a:ext uri="{FF2B5EF4-FFF2-40B4-BE49-F238E27FC236}">
                <a16:creationId xmlns:a16="http://schemas.microsoft.com/office/drawing/2014/main" id="{6B11EDA1-7AEE-6FF9-F7E8-549227CFC200}"/>
              </a:ext>
            </a:extLst>
          </p:cNvPr>
          <p:cNvSpPr txBox="1">
            <a:spLocks/>
          </p:cNvSpPr>
          <p:nvPr/>
        </p:nvSpPr>
        <p:spPr>
          <a:xfrm>
            <a:off x="483483" y="4131912"/>
            <a:ext cx="1218063" cy="457200"/>
          </a:xfrm>
          <a:prstGeom prst="rect">
            <a:avLst/>
          </a:prstGeom>
          <a:solidFill>
            <a:schemeClr val="accent3"/>
          </a:solidFill>
        </p:spPr>
        <p:txBody>
          <a:bodyPr lIns="0" tIns="0" rIns="0" bIns="0" anchor="ctr"/>
          <a:lstStyle>
            <a:defPPr>
              <a:defRPr lang="en-US"/>
            </a:defPPr>
            <a:lvl1pPr marR="0" lvl="0" indent="0" algn="ctr" defTabSz="914400" fontAlgn="auto">
              <a:lnSpc>
                <a:spcPct val="100000"/>
              </a:lnSpc>
              <a:spcBef>
                <a:spcPct val="0"/>
              </a:spcBef>
              <a:spcAft>
                <a:spcPts val="600"/>
              </a:spcAft>
              <a:buClrTx/>
              <a:buSzTx/>
              <a:buFontTx/>
              <a:buNone/>
              <a:tabLst/>
              <a:defRPr kumimoji="0" sz="1400" b="1" i="0" u="none" strike="noStrike" cap="all" spc="100" normalizeH="0" baseline="0">
                <a:ln>
                  <a:noFill/>
                </a:ln>
                <a:solidFill>
                  <a:srgbClr val="62B5E5">
                    <a:lumMod val="75000"/>
                  </a:srgbClr>
                </a:solidFill>
                <a:effectLst/>
                <a:uLnTx/>
                <a:uFillTx/>
                <a:latin typeface="Verdana"/>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050" b="1" i="0" u="none" strike="noStrike" kern="1200" cap="all" spc="100" normalizeH="0" baseline="0" noProof="0" dirty="0">
                <a:ln>
                  <a:noFill/>
                </a:ln>
                <a:solidFill>
                  <a:schemeClr val="bg1"/>
                </a:solidFill>
                <a:effectLst/>
                <a:uLnTx/>
                <a:uFillTx/>
                <a:latin typeface="Open Sans"/>
                <a:ea typeface="Verdana" panose="020B0604030504040204" pitchFamily="34" charset="0"/>
                <a:cs typeface="Verdana" panose="020B0604030504040204" pitchFamily="34" charset="0"/>
              </a:rPr>
              <a:t>workforce</a:t>
            </a:r>
          </a:p>
        </p:txBody>
      </p:sp>
      <p:sp>
        <p:nvSpPr>
          <p:cNvPr id="1114" name="Title 3">
            <a:extLst>
              <a:ext uri="{FF2B5EF4-FFF2-40B4-BE49-F238E27FC236}">
                <a16:creationId xmlns:a16="http://schemas.microsoft.com/office/drawing/2014/main" id="{506E4F74-3986-F3FC-A2EE-C0355DEC9399}"/>
              </a:ext>
            </a:extLst>
          </p:cNvPr>
          <p:cNvSpPr txBox="1">
            <a:spLocks/>
          </p:cNvSpPr>
          <p:nvPr/>
        </p:nvSpPr>
        <p:spPr>
          <a:xfrm>
            <a:off x="483483" y="4717827"/>
            <a:ext cx="1218063" cy="457200"/>
          </a:xfrm>
          <a:prstGeom prst="rect">
            <a:avLst/>
          </a:prstGeom>
          <a:solidFill>
            <a:schemeClr val="accent4"/>
          </a:solidFill>
        </p:spPr>
        <p:txBody>
          <a:bodyPr lIns="0" tIns="0" rIns="0" bIns="0" anchor="ctr"/>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1050" b="1" i="0" u="none" strike="noStrike" kern="1200" cap="all" spc="100" normalizeH="0" baseline="0" noProof="0" dirty="0">
                <a:ln>
                  <a:noFill/>
                </a:ln>
                <a:solidFill>
                  <a:schemeClr val="bg1"/>
                </a:solidFill>
                <a:effectLst/>
                <a:uLnTx/>
                <a:uFillTx/>
                <a:latin typeface="Open Sans"/>
                <a:ea typeface="Verdana" panose="020B0604030504040204" pitchFamily="34" charset="0"/>
                <a:cs typeface="Verdana" panose="020B0604030504040204" pitchFamily="34" charset="0"/>
              </a:rPr>
              <a:t>Governance</a:t>
            </a:r>
          </a:p>
        </p:txBody>
      </p:sp>
      <p:sp>
        <p:nvSpPr>
          <p:cNvPr id="1115" name="Rectangle 1114">
            <a:extLst>
              <a:ext uri="{FF2B5EF4-FFF2-40B4-BE49-F238E27FC236}">
                <a16:creationId xmlns:a16="http://schemas.microsoft.com/office/drawing/2014/main" id="{35328337-B9FB-1127-735B-6064315C6700}"/>
              </a:ext>
            </a:extLst>
          </p:cNvPr>
          <p:cNvSpPr/>
          <p:nvPr/>
        </p:nvSpPr>
        <p:spPr bwMode="gray">
          <a:xfrm>
            <a:off x="2124033" y="2959225"/>
            <a:ext cx="5394960" cy="457200"/>
          </a:xfrm>
          <a:prstGeom prst="rect">
            <a:avLst/>
          </a:prstGeom>
          <a:solidFill>
            <a:schemeClr val="bg1"/>
          </a:solidFill>
          <a:ln w="19050" algn="ctr">
            <a:noFill/>
            <a:miter lim="800000"/>
            <a:headEnd/>
            <a:tailEnd/>
          </a:ln>
          <a:effectLst/>
        </p:spPr>
        <p:txBody>
          <a:bodyPr wrap="square" lIns="18288" tIns="88900" rIns="0" bIns="88900" numCol="3" rtlCol="0" anchor="t"/>
          <a:lstStyle/>
          <a:p>
            <a:pPr marL="171450" lvl="0"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Strategy &amp; Vision</a:t>
            </a:r>
          </a:p>
          <a:p>
            <a:pPr marL="171450" lvl="0"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Use Case Library</a:t>
            </a:r>
          </a:p>
          <a:p>
            <a:pPr marL="171450" lvl="0"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Prioritized Portfolio of Use Cases</a:t>
            </a:r>
          </a:p>
          <a:p>
            <a:pPr marL="171450" lvl="0"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Business Case</a:t>
            </a:r>
          </a:p>
          <a:p>
            <a:pPr marL="171450" lvl="0"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Execution Roadmap</a:t>
            </a:r>
            <a:endParaRPr kumimoji="0" lang="en-US" sz="9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16" name="Rectangle 1115">
            <a:extLst>
              <a:ext uri="{FF2B5EF4-FFF2-40B4-BE49-F238E27FC236}">
                <a16:creationId xmlns:a16="http://schemas.microsoft.com/office/drawing/2014/main" id="{5342B150-AA3B-6299-DFCB-BC1B85DD9B6E}"/>
              </a:ext>
            </a:extLst>
          </p:cNvPr>
          <p:cNvSpPr/>
          <p:nvPr/>
        </p:nvSpPr>
        <p:spPr bwMode="gray">
          <a:xfrm>
            <a:off x="7790486" y="2960084"/>
            <a:ext cx="4023360" cy="457200"/>
          </a:xfrm>
          <a:prstGeom prst="rect">
            <a:avLst/>
          </a:prstGeom>
          <a:noFill/>
          <a:ln w="19050" algn="ctr">
            <a:noFill/>
            <a:miter lim="800000"/>
            <a:headEnd/>
            <a:tailEnd/>
          </a:ln>
          <a:effectLst/>
        </p:spPr>
        <p:txBody>
          <a:bodyPr wrap="square" lIns="18288" tIns="88900" rIns="18288" bIns="88900" rtlCol="0" anchor="ct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Understand and envision ways in which AI can transform the enterprise and quantify the expected value that can be derived from AI</a:t>
            </a:r>
            <a:endParaRPr kumimoji="0" lang="en-US" sz="5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17" name="Rectangle 1116">
            <a:extLst>
              <a:ext uri="{FF2B5EF4-FFF2-40B4-BE49-F238E27FC236}">
                <a16:creationId xmlns:a16="http://schemas.microsoft.com/office/drawing/2014/main" id="{4C7372DA-A19F-F2FE-3457-16EB0BAB0C55}"/>
              </a:ext>
            </a:extLst>
          </p:cNvPr>
          <p:cNvSpPr/>
          <p:nvPr/>
        </p:nvSpPr>
        <p:spPr bwMode="gray">
          <a:xfrm>
            <a:off x="2124033" y="3545998"/>
            <a:ext cx="5394960" cy="457200"/>
          </a:xfrm>
          <a:prstGeom prst="rect">
            <a:avLst/>
          </a:prstGeom>
          <a:solidFill>
            <a:schemeClr val="bg1"/>
          </a:solidFill>
          <a:ln w="19050" algn="ctr">
            <a:noFill/>
            <a:miter lim="800000"/>
            <a:headEnd/>
            <a:tailEnd/>
          </a:ln>
          <a:effectLst/>
        </p:spPr>
        <p:txBody>
          <a:bodyPr wrap="square" lIns="18288" tIns="88900" rIns="0" bIns="88900" numCol="3" rtlCol="0" anchor="t"/>
          <a:lstStyle/>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ech/Data Architecture Gap Analysis</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arget Tech/Data Architecture</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Use Case Solution Design</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Architecture Roadmap </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PoCs (</a:t>
            </a:r>
            <a:r>
              <a:rPr lang="en-US" sz="900" i="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orking prototypes</a:t>
            </a: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1118" name="Rectangle 1117">
            <a:extLst>
              <a:ext uri="{FF2B5EF4-FFF2-40B4-BE49-F238E27FC236}">
                <a16:creationId xmlns:a16="http://schemas.microsoft.com/office/drawing/2014/main" id="{2D8F8F5F-2A71-70D7-DDB6-1C5D5D4EA332}"/>
              </a:ext>
            </a:extLst>
          </p:cNvPr>
          <p:cNvSpPr/>
          <p:nvPr/>
        </p:nvSpPr>
        <p:spPr bwMode="gray">
          <a:xfrm>
            <a:off x="7790486" y="3545998"/>
            <a:ext cx="4023360" cy="457200"/>
          </a:xfrm>
          <a:prstGeom prst="rect">
            <a:avLst/>
          </a:prstGeom>
          <a:noFill/>
          <a:ln w="19050" algn="ctr">
            <a:noFill/>
            <a:miter lim="800000"/>
            <a:headEnd/>
            <a:tailEnd/>
          </a:ln>
          <a:effectLst/>
        </p:spPr>
        <p:txBody>
          <a:bodyPr wrap="square" lIns="18288" tIns="88900" rIns="18288" bIns="88900" rtlCol="0" anchor="ctr"/>
          <a:lstStyle/>
          <a:p>
            <a:pPr defTabSz="1219170"/>
            <a:r>
              <a:rPr lang="en-US" sz="900" dirty="0">
                <a:latin typeface="Open Sans Light" panose="020B0306030504020204" pitchFamily="34" charset="0"/>
                <a:ea typeface="Open Sans Light" panose="020B0306030504020204" pitchFamily="34" charset="0"/>
                <a:cs typeface="Open Sans Light" panose="020B0306030504020204" pitchFamily="34" charset="0"/>
              </a:rPr>
              <a:t>Understand the required enterprise architecture and technologies needed to demonstrate AI technical feasibility</a:t>
            </a:r>
          </a:p>
        </p:txBody>
      </p:sp>
      <p:sp>
        <p:nvSpPr>
          <p:cNvPr id="1119" name="Rectangle 1118">
            <a:extLst>
              <a:ext uri="{FF2B5EF4-FFF2-40B4-BE49-F238E27FC236}">
                <a16:creationId xmlns:a16="http://schemas.microsoft.com/office/drawing/2014/main" id="{F74B348C-E736-0C66-F16E-988BC7A96AD8}"/>
              </a:ext>
            </a:extLst>
          </p:cNvPr>
          <p:cNvSpPr/>
          <p:nvPr/>
        </p:nvSpPr>
        <p:spPr bwMode="gray">
          <a:xfrm>
            <a:off x="2124033" y="4108749"/>
            <a:ext cx="5394960" cy="457200"/>
          </a:xfrm>
          <a:prstGeom prst="rect">
            <a:avLst/>
          </a:prstGeom>
          <a:solidFill>
            <a:schemeClr val="bg1"/>
          </a:solidFill>
          <a:ln w="19050" algn="ctr">
            <a:noFill/>
            <a:miter lim="800000"/>
            <a:headEnd/>
            <a:tailEnd/>
          </a:ln>
          <a:effectLst/>
        </p:spPr>
        <p:txBody>
          <a:bodyPr wrap="square" lIns="18288" tIns="88900" rIns="0" bIns="88900" numCol="3" rtlCol="0" anchor="t"/>
          <a:lstStyle/>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rganizational Maturity Assessment</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I Operating Model Design</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orkforce Transition Roadmap</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mmunication Plan </a:t>
            </a:r>
          </a:p>
        </p:txBody>
      </p:sp>
      <p:sp>
        <p:nvSpPr>
          <p:cNvPr id="1120" name="Rectangle 1119">
            <a:extLst>
              <a:ext uri="{FF2B5EF4-FFF2-40B4-BE49-F238E27FC236}">
                <a16:creationId xmlns:a16="http://schemas.microsoft.com/office/drawing/2014/main" id="{EB4927D1-125C-FE35-2A17-0913521C0A7A}"/>
              </a:ext>
            </a:extLst>
          </p:cNvPr>
          <p:cNvSpPr/>
          <p:nvPr/>
        </p:nvSpPr>
        <p:spPr bwMode="gray">
          <a:xfrm>
            <a:off x="7790486" y="4131912"/>
            <a:ext cx="4023360" cy="457200"/>
          </a:xfrm>
          <a:prstGeom prst="rect">
            <a:avLst/>
          </a:prstGeom>
          <a:noFill/>
          <a:ln w="19050" algn="ctr">
            <a:noFill/>
            <a:miter lim="800000"/>
            <a:headEnd/>
            <a:tailEnd/>
          </a:ln>
          <a:effectLst/>
        </p:spPr>
        <p:txBody>
          <a:bodyPr wrap="square" lIns="18288" tIns="88900" rIns="18288" bIns="88900" rtlCol="0" anchor="ctr"/>
          <a:lstStyle/>
          <a:p>
            <a:pPr defTabSz="1219170"/>
            <a:r>
              <a:rPr lang="en-US" sz="900" dirty="0">
                <a:latin typeface="Open Sans Light" panose="020B0306030504020204" pitchFamily="34" charset="0"/>
                <a:ea typeface="Open Sans Light" panose="020B0306030504020204" pitchFamily="34" charset="0"/>
                <a:cs typeface="Open Sans Light" panose="020B0306030504020204" pitchFamily="34" charset="0"/>
              </a:rPr>
              <a:t>Evaluate existing skillsets and op model for building and working with AI, and identify a path for closing skills gaps</a:t>
            </a:r>
          </a:p>
        </p:txBody>
      </p:sp>
      <p:sp>
        <p:nvSpPr>
          <p:cNvPr id="1121" name="Rectangle 1120">
            <a:extLst>
              <a:ext uri="{FF2B5EF4-FFF2-40B4-BE49-F238E27FC236}">
                <a16:creationId xmlns:a16="http://schemas.microsoft.com/office/drawing/2014/main" id="{86EC968B-44EE-3CF8-0B58-2302710B6F9E}"/>
              </a:ext>
            </a:extLst>
          </p:cNvPr>
          <p:cNvSpPr/>
          <p:nvPr/>
        </p:nvSpPr>
        <p:spPr bwMode="gray">
          <a:xfrm>
            <a:off x="2124033" y="4717827"/>
            <a:ext cx="5394960" cy="457200"/>
          </a:xfrm>
          <a:prstGeom prst="rect">
            <a:avLst/>
          </a:prstGeom>
          <a:solidFill>
            <a:schemeClr val="bg1"/>
          </a:solidFill>
          <a:ln w="19050" algn="ctr">
            <a:noFill/>
            <a:miter lim="800000"/>
            <a:headEnd/>
            <a:tailEnd/>
          </a:ln>
          <a:effectLst/>
        </p:spPr>
        <p:txBody>
          <a:bodyPr wrap="square" lIns="18288" tIns="88900" rIns="0" bIns="88900" numCol="3" rtlCol="0" anchor="t"/>
          <a:lstStyle/>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itial Trustworthy AI Gap Analysis</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ustomized Trustworthy AI Framework</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trol Framework Definition</a:t>
            </a:r>
          </a:p>
          <a:p>
            <a:pPr marL="171450" lvl="1" indent="-171450" defTabSz="1219170">
              <a:spcAft>
                <a:spcPts val="300"/>
              </a:spcAft>
              <a:buFont typeface="Arial" panose="020B0604020202020204" pitchFamily="34" charset="0"/>
              <a:buChar char="•"/>
              <a:defRPr/>
            </a:pPr>
            <a:r>
              <a:rPr lang="en-US" sz="9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Governance Model Definition</a:t>
            </a:r>
          </a:p>
        </p:txBody>
      </p:sp>
      <p:sp>
        <p:nvSpPr>
          <p:cNvPr id="1122" name="Rectangle 1121">
            <a:extLst>
              <a:ext uri="{FF2B5EF4-FFF2-40B4-BE49-F238E27FC236}">
                <a16:creationId xmlns:a16="http://schemas.microsoft.com/office/drawing/2014/main" id="{32811ED2-2F82-8C26-4D3E-D855FFBD4B50}"/>
              </a:ext>
            </a:extLst>
          </p:cNvPr>
          <p:cNvSpPr/>
          <p:nvPr/>
        </p:nvSpPr>
        <p:spPr bwMode="gray">
          <a:xfrm>
            <a:off x="7790486" y="4717827"/>
            <a:ext cx="4023360" cy="457200"/>
          </a:xfrm>
          <a:prstGeom prst="rect">
            <a:avLst/>
          </a:prstGeom>
          <a:noFill/>
          <a:ln w="19050" algn="ctr">
            <a:noFill/>
            <a:miter lim="800000"/>
            <a:headEnd/>
            <a:tailEnd/>
          </a:ln>
          <a:effectLst/>
        </p:spPr>
        <p:txBody>
          <a:bodyPr wrap="square" lIns="18288" tIns="88900" rIns="18288" bIns="88900" rtlCol="0" anchor="ctr"/>
          <a:lstStyle/>
          <a:p>
            <a:pPr defTabSz="1219170"/>
            <a:r>
              <a:rPr lang="en-US" sz="900" dirty="0">
                <a:latin typeface="Open Sans Light" panose="020B0306030504020204" pitchFamily="34" charset="0"/>
                <a:ea typeface="Open Sans Light" panose="020B0306030504020204" pitchFamily="34" charset="0"/>
                <a:cs typeface="Open Sans Light" panose="020B0306030504020204" pitchFamily="34" charset="0"/>
              </a:rPr>
              <a:t>Align AI ethical priorities and establish a control and governance framework to mitigate regulatory and legal risks without stifling innovation</a:t>
            </a:r>
          </a:p>
        </p:txBody>
      </p:sp>
      <p:cxnSp>
        <p:nvCxnSpPr>
          <p:cNvPr id="1128" name="Straight Connector 1127">
            <a:extLst>
              <a:ext uri="{FF2B5EF4-FFF2-40B4-BE49-F238E27FC236}">
                <a16:creationId xmlns:a16="http://schemas.microsoft.com/office/drawing/2014/main" id="{E1273A35-1CD8-4D34-CC46-43C3A16CB768}"/>
              </a:ext>
            </a:extLst>
          </p:cNvPr>
          <p:cNvCxnSpPr>
            <a:cxnSpLocks/>
          </p:cNvCxnSpPr>
          <p:nvPr/>
        </p:nvCxnSpPr>
        <p:spPr>
          <a:xfrm flipV="1">
            <a:off x="1891015" y="2881072"/>
            <a:ext cx="0" cy="2293955"/>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138" name="Straight Connector 1137">
            <a:extLst>
              <a:ext uri="{FF2B5EF4-FFF2-40B4-BE49-F238E27FC236}">
                <a16:creationId xmlns:a16="http://schemas.microsoft.com/office/drawing/2014/main" id="{02C93069-6A42-129A-7A00-7FA111711447}"/>
              </a:ext>
            </a:extLst>
          </p:cNvPr>
          <p:cNvCxnSpPr>
            <a:cxnSpLocks/>
          </p:cNvCxnSpPr>
          <p:nvPr/>
        </p:nvCxnSpPr>
        <p:spPr>
          <a:xfrm flipV="1">
            <a:off x="7565940" y="2910114"/>
            <a:ext cx="0" cy="2293955"/>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140" name="Straight Connector 1139">
            <a:extLst>
              <a:ext uri="{FF2B5EF4-FFF2-40B4-BE49-F238E27FC236}">
                <a16:creationId xmlns:a16="http://schemas.microsoft.com/office/drawing/2014/main" id="{231A34D7-502A-9670-DAED-E1F20EC18865}"/>
              </a:ext>
            </a:extLst>
          </p:cNvPr>
          <p:cNvCxnSpPr>
            <a:cxnSpLocks/>
          </p:cNvCxnSpPr>
          <p:nvPr/>
        </p:nvCxnSpPr>
        <p:spPr>
          <a:xfrm flipH="1" flipV="1">
            <a:off x="483483" y="3468679"/>
            <a:ext cx="11293227" cy="12575"/>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143" name="Straight Connector 1142">
            <a:extLst>
              <a:ext uri="{FF2B5EF4-FFF2-40B4-BE49-F238E27FC236}">
                <a16:creationId xmlns:a16="http://schemas.microsoft.com/office/drawing/2014/main" id="{1F8FDA7B-1DFD-9A7E-414A-12D89733F784}"/>
              </a:ext>
            </a:extLst>
          </p:cNvPr>
          <p:cNvCxnSpPr>
            <a:cxnSpLocks/>
          </p:cNvCxnSpPr>
          <p:nvPr/>
        </p:nvCxnSpPr>
        <p:spPr>
          <a:xfrm flipH="1" flipV="1">
            <a:off x="483483" y="4062988"/>
            <a:ext cx="11293227" cy="12575"/>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144" name="Straight Connector 1143">
            <a:extLst>
              <a:ext uri="{FF2B5EF4-FFF2-40B4-BE49-F238E27FC236}">
                <a16:creationId xmlns:a16="http://schemas.microsoft.com/office/drawing/2014/main" id="{0008AD9F-F5A1-CC8B-CBB6-4A57C2ADDE37}"/>
              </a:ext>
            </a:extLst>
          </p:cNvPr>
          <p:cNvCxnSpPr>
            <a:cxnSpLocks/>
          </p:cNvCxnSpPr>
          <p:nvPr/>
        </p:nvCxnSpPr>
        <p:spPr>
          <a:xfrm flipH="1" flipV="1">
            <a:off x="483483" y="4639357"/>
            <a:ext cx="11293227" cy="12575"/>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132" name="Rectangle 1131">
            <a:extLst>
              <a:ext uri="{FF2B5EF4-FFF2-40B4-BE49-F238E27FC236}">
                <a16:creationId xmlns:a16="http://schemas.microsoft.com/office/drawing/2014/main" id="{B7522674-F0AF-3A38-182E-9CD905F4B863}"/>
              </a:ext>
            </a:extLst>
          </p:cNvPr>
          <p:cNvSpPr/>
          <p:nvPr/>
        </p:nvSpPr>
        <p:spPr bwMode="gray">
          <a:xfrm>
            <a:off x="1771212" y="3468894"/>
            <a:ext cx="274320" cy="1188720"/>
          </a:xfrm>
          <a:prstGeom prst="rect">
            <a:avLst/>
          </a:prstGeom>
          <a:solidFill>
            <a:schemeClr val="bg1"/>
          </a:solidFill>
          <a:ln w="19050" algn="ctr">
            <a:solidFill>
              <a:schemeClr val="bg1">
                <a:lumMod val="50000"/>
              </a:schemeClr>
            </a:solidFill>
            <a:miter lim="800000"/>
            <a:headEnd/>
            <a:tailEnd/>
          </a:ln>
          <a:effectLst/>
        </p:spPr>
        <p:txBody>
          <a:bodyPr vert="vert270" wrap="square" lIns="45720" tIns="45720" rIns="4572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Outcomes</a:t>
            </a:r>
          </a:p>
        </p:txBody>
      </p:sp>
      <p:sp>
        <p:nvSpPr>
          <p:cNvPr id="1139" name="Rectangle 1138">
            <a:extLst>
              <a:ext uri="{FF2B5EF4-FFF2-40B4-BE49-F238E27FC236}">
                <a16:creationId xmlns:a16="http://schemas.microsoft.com/office/drawing/2014/main" id="{03A38302-B8E9-714C-630B-BB9911F175B6}"/>
              </a:ext>
            </a:extLst>
          </p:cNvPr>
          <p:cNvSpPr/>
          <p:nvPr/>
        </p:nvSpPr>
        <p:spPr bwMode="gray">
          <a:xfrm>
            <a:off x="7446137" y="3471809"/>
            <a:ext cx="274320" cy="1188720"/>
          </a:xfrm>
          <a:prstGeom prst="rect">
            <a:avLst/>
          </a:prstGeom>
          <a:solidFill>
            <a:schemeClr val="bg1"/>
          </a:solidFill>
          <a:ln w="19050" algn="ctr">
            <a:solidFill>
              <a:schemeClr val="bg1">
                <a:lumMod val="50000"/>
              </a:schemeClr>
            </a:solidFill>
            <a:miter lim="800000"/>
            <a:headEnd/>
            <a:tailEnd/>
          </a:ln>
          <a:effectLst/>
        </p:spPr>
        <p:txBody>
          <a:bodyPr vert="vert270" wrap="square" lIns="45720" tIns="45720" rIns="4572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Benefits</a:t>
            </a:r>
          </a:p>
        </p:txBody>
      </p:sp>
      <p:sp>
        <p:nvSpPr>
          <p:cNvPr id="1145" name="Arrow: Pentagon 1144">
            <a:extLst>
              <a:ext uri="{FF2B5EF4-FFF2-40B4-BE49-F238E27FC236}">
                <a16:creationId xmlns:a16="http://schemas.microsoft.com/office/drawing/2014/main" id="{5DCB4DEC-8ACE-57FD-E895-F80DB22B7E4D}"/>
              </a:ext>
            </a:extLst>
          </p:cNvPr>
          <p:cNvSpPr/>
          <p:nvPr/>
        </p:nvSpPr>
        <p:spPr bwMode="gray">
          <a:xfrm>
            <a:off x="406799" y="1611621"/>
            <a:ext cx="3840480" cy="182880"/>
          </a:xfrm>
          <a:prstGeom prst="homePlate">
            <a:avLst/>
          </a:prstGeom>
          <a:solidFill>
            <a:schemeClr val="accent1">
              <a:lumMod val="40000"/>
              <a:lumOff val="60000"/>
            </a:schemeClr>
          </a:solidFill>
          <a:ln w="19050" algn="ctr">
            <a:noFill/>
            <a:miter lim="800000"/>
            <a:headEnd/>
            <a:tailEnd/>
          </a:ln>
        </p:spPr>
        <p:txBody>
          <a:bodyPr wrap="square" lIns="0" tIns="0" rIns="0" bIns="0" rtlCol="0" anchor="ctr"/>
          <a:lstStyle/>
          <a:p>
            <a:pPr marL="0" marR="31115" lvl="0" indent="0" algn="ctr" defTabSz="914400" rtl="0" eaLnBrk="1" fontAlgn="auto" latinLnBrk="0" hangingPunct="1">
              <a:lnSpc>
                <a:spcPct val="100000"/>
              </a:lnSpc>
              <a:spcAft>
                <a:spcPts val="0"/>
              </a:spcAft>
              <a:buClrTx/>
              <a:buSzTx/>
              <a:buFontTx/>
              <a:buNone/>
              <a:tabLst/>
              <a:defRPr/>
            </a:pPr>
            <a:r>
              <a:rPr kumimoji="0" lang="pt-BR" sz="1050" b="1" i="0" u="none" strike="noStrike" kern="1200" cap="none" spc="0" normalizeH="0" baseline="0" noProof="0" dirty="0">
                <a:ln>
                  <a:noFill/>
                </a:ln>
                <a:solidFill>
                  <a:schemeClr val="bg1"/>
                </a:solidFill>
                <a:effectLst/>
                <a:uLnTx/>
                <a:uFillTx/>
                <a:latin typeface="Open Sans"/>
                <a:ea typeface="+mn-ea"/>
                <a:cs typeface="Open Sans"/>
              </a:rPr>
              <a:t>I </a:t>
            </a:r>
            <a:r>
              <a:rPr kumimoji="0" lang="pt-BR" sz="1050" b="1" i="0" u="none" strike="noStrike" kern="1200" cap="none" spc="5" normalizeH="0" baseline="0" noProof="0" dirty="0">
                <a:ln>
                  <a:noFill/>
                </a:ln>
                <a:solidFill>
                  <a:schemeClr val="bg1"/>
                </a:solidFill>
                <a:effectLst/>
                <a:uLnTx/>
                <a:uFillTx/>
                <a:latin typeface="Open Sans"/>
                <a:ea typeface="+mn-ea"/>
                <a:cs typeface="Open Sans"/>
              </a:rPr>
              <a:t>M </a:t>
            </a:r>
            <a:r>
              <a:rPr kumimoji="0" lang="pt-BR" sz="1050" b="1" i="0" u="none" strike="noStrike" kern="1200" cap="none" spc="0" normalizeH="0" baseline="0" noProof="0" dirty="0">
                <a:ln>
                  <a:noFill/>
                </a:ln>
                <a:solidFill>
                  <a:schemeClr val="bg1"/>
                </a:solidFill>
                <a:effectLst/>
                <a:uLnTx/>
                <a:uFillTx/>
                <a:latin typeface="Open Sans"/>
                <a:ea typeface="+mn-ea"/>
                <a:cs typeface="Open Sans"/>
              </a:rPr>
              <a:t>A G I N E   A</a:t>
            </a:r>
            <a:r>
              <a:rPr kumimoji="0" lang="pt-BR" sz="1050" b="1" i="0" u="none" strike="noStrike" kern="1200" cap="none" spc="170" normalizeH="0" baseline="0" noProof="0" dirty="0">
                <a:ln>
                  <a:noFill/>
                </a:ln>
                <a:solidFill>
                  <a:schemeClr val="bg1"/>
                </a:solidFill>
                <a:effectLst/>
                <a:uLnTx/>
                <a:uFillTx/>
                <a:latin typeface="Open Sans"/>
                <a:ea typeface="+mn-ea"/>
                <a:cs typeface="Open Sans"/>
              </a:rPr>
              <a:t> </a:t>
            </a:r>
            <a:r>
              <a:rPr kumimoji="0" lang="pt-BR" sz="1050" b="1" i="0" u="none" strike="noStrike" kern="1200" cap="none" spc="0" normalizeH="0" baseline="0" noProof="0" dirty="0">
                <a:ln>
                  <a:noFill/>
                </a:ln>
                <a:solidFill>
                  <a:schemeClr val="bg1"/>
                </a:solidFill>
                <a:effectLst/>
                <a:uLnTx/>
                <a:uFillTx/>
                <a:latin typeface="Open Sans"/>
                <a:ea typeface="+mn-ea"/>
                <a:cs typeface="Open Sans"/>
              </a:rPr>
              <a:t>I</a:t>
            </a:r>
            <a:endParaRPr kumimoji="0" lang="pt-BR" sz="1050" b="0" i="0" u="none" strike="noStrike" kern="1200" cap="none" spc="0" normalizeH="0" baseline="0" noProof="0" dirty="0">
              <a:ln>
                <a:noFill/>
              </a:ln>
              <a:solidFill>
                <a:schemeClr val="bg1"/>
              </a:solidFill>
              <a:effectLst/>
              <a:uLnTx/>
              <a:uFillTx/>
              <a:latin typeface="Open Sans"/>
              <a:ea typeface="+mn-ea"/>
              <a:cs typeface="Open Sans"/>
            </a:endParaRPr>
          </a:p>
        </p:txBody>
      </p:sp>
      <p:sp>
        <p:nvSpPr>
          <p:cNvPr id="1146" name="Arrow: Chevron 1145">
            <a:extLst>
              <a:ext uri="{FF2B5EF4-FFF2-40B4-BE49-F238E27FC236}">
                <a16:creationId xmlns:a16="http://schemas.microsoft.com/office/drawing/2014/main" id="{31D46966-1CD3-0E57-256D-6AB0CCCCB9F7}"/>
              </a:ext>
            </a:extLst>
          </p:cNvPr>
          <p:cNvSpPr/>
          <p:nvPr/>
        </p:nvSpPr>
        <p:spPr bwMode="gray">
          <a:xfrm>
            <a:off x="4272786" y="1611621"/>
            <a:ext cx="3840480" cy="182880"/>
          </a:xfrm>
          <a:prstGeom prst="chevron">
            <a:avLst/>
          </a:prstGeom>
          <a:solidFill>
            <a:srgbClr val="00B0F0"/>
          </a:solidFill>
          <a:ln w="19050" algn="ctr">
            <a:noFill/>
            <a:miter lim="800000"/>
            <a:headEnd/>
            <a:tailEnd/>
          </a:ln>
        </p:spPr>
        <p:txBody>
          <a:bodyPr wrap="square" lIns="0" tIns="0" rIns="0" bIns="0" rtlCol="0" anchor="ctr"/>
          <a:lstStyle/>
          <a:p>
            <a:pPr marL="0" marR="86995" lvl="0" indent="0" algn="ctr" defTabSz="914400" rtl="0" eaLnBrk="1" fontAlgn="auto" latinLnBrk="0" hangingPunct="1">
              <a:lnSpc>
                <a:spcPct val="100000"/>
              </a:lnSpc>
              <a:spcAft>
                <a:spcPts val="0"/>
              </a:spcAft>
              <a:buClrTx/>
              <a:buSzTx/>
              <a:buFontTx/>
              <a:buNone/>
              <a:tabLst/>
              <a:defRPr/>
            </a:pPr>
            <a:r>
              <a:rPr kumimoji="0" lang="pt-BR" sz="1050" b="1" i="0" u="none" strike="noStrike" kern="1200" cap="none" spc="0" normalizeH="0" baseline="0" noProof="0" dirty="0">
                <a:ln>
                  <a:noFill/>
                </a:ln>
                <a:solidFill>
                  <a:schemeClr val="bg1"/>
                </a:solidFill>
                <a:effectLst/>
                <a:uLnTx/>
                <a:uFillTx/>
                <a:latin typeface="Open Sans"/>
                <a:ea typeface="+mn-ea"/>
                <a:cs typeface="Open Sans"/>
              </a:rPr>
              <a:t>D E L I V E R   A</a:t>
            </a:r>
            <a:r>
              <a:rPr kumimoji="0" lang="pt-BR" sz="1050" b="1" i="0" u="none" strike="noStrike" kern="1200" cap="none" spc="165" normalizeH="0" baseline="0" noProof="0" dirty="0">
                <a:ln>
                  <a:noFill/>
                </a:ln>
                <a:solidFill>
                  <a:schemeClr val="bg1"/>
                </a:solidFill>
                <a:effectLst/>
                <a:uLnTx/>
                <a:uFillTx/>
                <a:latin typeface="Open Sans"/>
                <a:ea typeface="+mn-ea"/>
                <a:cs typeface="Open Sans"/>
              </a:rPr>
              <a:t> </a:t>
            </a:r>
            <a:r>
              <a:rPr kumimoji="0" lang="pt-BR" sz="1050" b="1" i="0" u="none" strike="noStrike" kern="1200" cap="none" spc="0" normalizeH="0" baseline="0" noProof="0" dirty="0">
                <a:ln>
                  <a:noFill/>
                </a:ln>
                <a:solidFill>
                  <a:schemeClr val="bg1"/>
                </a:solidFill>
                <a:effectLst/>
                <a:uLnTx/>
                <a:uFillTx/>
                <a:latin typeface="Open Sans"/>
                <a:ea typeface="+mn-ea"/>
                <a:cs typeface="Open Sans"/>
              </a:rPr>
              <a:t>I</a:t>
            </a:r>
            <a:endParaRPr kumimoji="0" lang="pt-BR" sz="1050" b="0" i="0" u="none" strike="noStrike" kern="1200" cap="none" spc="0" normalizeH="0" baseline="0" noProof="0" dirty="0">
              <a:ln>
                <a:noFill/>
              </a:ln>
              <a:solidFill>
                <a:schemeClr val="bg1"/>
              </a:solidFill>
              <a:effectLst/>
              <a:uLnTx/>
              <a:uFillTx/>
              <a:latin typeface="Open Sans"/>
              <a:ea typeface="+mn-ea"/>
              <a:cs typeface="Open Sans"/>
            </a:endParaRPr>
          </a:p>
        </p:txBody>
      </p:sp>
      <p:sp>
        <p:nvSpPr>
          <p:cNvPr id="1147" name="Arrow: Chevron 1146">
            <a:extLst>
              <a:ext uri="{FF2B5EF4-FFF2-40B4-BE49-F238E27FC236}">
                <a16:creationId xmlns:a16="http://schemas.microsoft.com/office/drawing/2014/main" id="{32D6CE10-AFFB-35B0-C198-441F48A2ECC7}"/>
              </a:ext>
            </a:extLst>
          </p:cNvPr>
          <p:cNvSpPr/>
          <p:nvPr/>
        </p:nvSpPr>
        <p:spPr bwMode="gray">
          <a:xfrm>
            <a:off x="8127744" y="1611621"/>
            <a:ext cx="3840480" cy="182880"/>
          </a:xfrm>
          <a:prstGeom prst="chevron">
            <a:avLst/>
          </a:prstGeom>
          <a:solidFill>
            <a:schemeClr val="accent3">
              <a:lumMod val="60000"/>
              <a:lumOff val="40000"/>
            </a:schemeClr>
          </a:solidFill>
          <a:ln w="19050" algn="ctr">
            <a:noFill/>
            <a:miter lim="800000"/>
            <a:headEnd/>
            <a:tailEnd/>
          </a:ln>
        </p:spPr>
        <p:txBody>
          <a:bodyPr wrap="square" lIns="0" tIns="0" rIns="0" bIns="0" rtlCol="0" anchor="ctr"/>
          <a:lstStyle/>
          <a:p>
            <a:pPr marL="0" marR="13335" lvl="0" indent="0" algn="ctr" defTabSz="914400" rtl="0" eaLnBrk="1" fontAlgn="auto" latinLnBrk="0" hangingPunct="1">
              <a:lnSpc>
                <a:spcPct val="100000"/>
              </a:lnSpc>
              <a:spcAft>
                <a:spcPts val="0"/>
              </a:spcAft>
              <a:buClrTx/>
              <a:buSzTx/>
              <a:buFontTx/>
              <a:buNone/>
              <a:tabLst/>
              <a:defRPr/>
            </a:pPr>
            <a:r>
              <a:rPr kumimoji="0" lang="pt-BR" sz="1050" b="1" i="0" u="none" strike="noStrike" kern="1200" cap="none" spc="0" normalizeH="0" baseline="0" noProof="0" dirty="0">
                <a:ln>
                  <a:noFill/>
                </a:ln>
                <a:solidFill>
                  <a:schemeClr val="bg1"/>
                </a:solidFill>
                <a:effectLst/>
                <a:uLnTx/>
                <a:uFillTx/>
                <a:latin typeface="Open Sans"/>
                <a:ea typeface="+mn-ea"/>
                <a:cs typeface="Open Sans"/>
              </a:rPr>
              <a:t>R U N   A</a:t>
            </a:r>
            <a:r>
              <a:rPr kumimoji="0" lang="pt-BR" sz="1050" b="1" i="0" u="none" strike="noStrike" kern="1200" cap="none" spc="80" normalizeH="0" baseline="0" noProof="0" dirty="0">
                <a:ln>
                  <a:noFill/>
                </a:ln>
                <a:solidFill>
                  <a:schemeClr val="bg1"/>
                </a:solidFill>
                <a:effectLst/>
                <a:uLnTx/>
                <a:uFillTx/>
                <a:latin typeface="Open Sans"/>
                <a:ea typeface="+mn-ea"/>
                <a:cs typeface="Open Sans"/>
              </a:rPr>
              <a:t> </a:t>
            </a:r>
            <a:r>
              <a:rPr kumimoji="0" lang="pt-BR" sz="1050" b="1" i="0" u="none" strike="noStrike" kern="1200" cap="none" spc="0" normalizeH="0" baseline="0" noProof="0" dirty="0">
                <a:ln>
                  <a:noFill/>
                </a:ln>
                <a:solidFill>
                  <a:schemeClr val="bg1"/>
                </a:solidFill>
                <a:effectLst/>
                <a:uLnTx/>
                <a:uFillTx/>
                <a:latin typeface="Open Sans"/>
                <a:ea typeface="+mn-ea"/>
                <a:cs typeface="Open Sans"/>
              </a:rPr>
              <a:t>I</a:t>
            </a:r>
            <a:endParaRPr kumimoji="0" lang="pt-BR" sz="1050" b="0" i="0" u="none" strike="noStrike" kern="1200" cap="none" spc="0" normalizeH="0" baseline="0" noProof="0" dirty="0">
              <a:ln>
                <a:noFill/>
              </a:ln>
              <a:solidFill>
                <a:schemeClr val="bg1"/>
              </a:solidFill>
              <a:effectLst/>
              <a:uLnTx/>
              <a:uFillTx/>
              <a:latin typeface="Open Sans"/>
              <a:ea typeface="+mn-ea"/>
              <a:cs typeface="Open Sans"/>
            </a:endParaRPr>
          </a:p>
        </p:txBody>
      </p:sp>
    </p:spTree>
    <p:extLst>
      <p:ext uri="{BB962C8B-B14F-4D97-AF65-F5344CB8AC3E}">
        <p14:creationId xmlns:p14="http://schemas.microsoft.com/office/powerpoint/2010/main" val="40976071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0" name="Rectangle 1049">
            <a:extLst>
              <a:ext uri="{FF2B5EF4-FFF2-40B4-BE49-F238E27FC236}">
                <a16:creationId xmlns:a16="http://schemas.microsoft.com/office/drawing/2014/main" id="{993A85D5-0804-9393-EED8-AFF5E8C9ACBC}"/>
              </a:ext>
            </a:extLst>
          </p:cNvPr>
          <p:cNvSpPr/>
          <p:nvPr/>
        </p:nvSpPr>
        <p:spPr>
          <a:xfrm>
            <a:off x="9203396" y="1903925"/>
            <a:ext cx="2443792" cy="2653472"/>
          </a:xfrm>
          <a:prstGeom prst="rect">
            <a:avLst/>
          </a:prstGeom>
          <a:solidFill>
            <a:srgbClr val="F2F2F2">
              <a:alpha val="50196"/>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82" name="Picture 1081" descr="A person sitting at a desk with two computer screens&#10;&#10;Description automatically generated">
            <a:extLst>
              <a:ext uri="{FF2B5EF4-FFF2-40B4-BE49-F238E27FC236}">
                <a16:creationId xmlns:a16="http://schemas.microsoft.com/office/drawing/2014/main" id="{52734081-CCDC-C2E7-8DD9-CDCB792F4E65}"/>
              </a:ext>
            </a:extLst>
          </p:cNvPr>
          <p:cNvPicPr>
            <a:picLocks noChangeAspect="1"/>
          </p:cNvPicPr>
          <p:nvPr/>
        </p:nvPicPr>
        <p:blipFill>
          <a:blip r:embed="rId4" cstate="email">
            <a:alphaModFix amt="85000"/>
            <a:extLst>
              <a:ext uri="{28A0092B-C50C-407E-A947-70E740481C1C}">
                <a14:useLocalDpi xmlns:a14="http://schemas.microsoft.com/office/drawing/2010/main"/>
              </a:ext>
            </a:extLst>
          </a:blip>
          <a:stretch>
            <a:fillRect/>
          </a:stretch>
        </p:blipFill>
        <p:spPr>
          <a:xfrm flipH="1">
            <a:off x="8602579" y="4466668"/>
            <a:ext cx="3734061" cy="2491482"/>
          </a:xfrm>
          <a:prstGeom prst="rect">
            <a:avLst/>
          </a:prstGeom>
          <a:effectLst>
            <a:softEdge rad="63500"/>
          </a:effectLst>
        </p:spPr>
      </p:pic>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064" name="Title 1">
            <a:extLst>
              <a:ext uri="{FF2B5EF4-FFF2-40B4-BE49-F238E27FC236}">
                <a16:creationId xmlns:a16="http://schemas.microsoft.com/office/drawing/2014/main" id="{1F3B52A3-B03D-7D40-D424-16499B46190F}"/>
              </a:ext>
            </a:extLst>
          </p:cNvPr>
          <p:cNvSpPr>
            <a:spLocks noGrp="1"/>
          </p:cNvSpPr>
          <p:nvPr>
            <p:ph type="title"/>
          </p:nvPr>
        </p:nvSpPr>
        <p:spPr>
          <a:xfrm>
            <a:off x="896400" y="906411"/>
            <a:ext cx="10467780" cy="787400"/>
          </a:xfrm>
        </p:spPr>
        <p:txBody>
          <a:bodyPr vert="horz" anchor="t"/>
          <a:lstStyle/>
          <a:p>
            <a:r>
              <a:rPr lang="en-US" sz="1400" dirty="0">
                <a:solidFill>
                  <a:prstClr val="black"/>
                </a:solidFill>
                <a:latin typeface="Open Sans Light" panose="020B0306030504020204" pitchFamily="34" charset="0"/>
              </a:rPr>
              <a:t>Our Machine Learning Methodology aids in implementing AI solutions that align with strategic objectives. By utilizing the appropriate tools at every stage, from pilot testing to broad deployment, we expedite the implementation timeline and amplify the immediate value to the public and stakeholders.</a:t>
            </a:r>
          </a:p>
        </p:txBody>
      </p:sp>
      <p:sp>
        <p:nvSpPr>
          <p:cNvPr id="1065" name="Title 1">
            <a:extLst>
              <a:ext uri="{FF2B5EF4-FFF2-40B4-BE49-F238E27FC236}">
                <a16:creationId xmlns:a16="http://schemas.microsoft.com/office/drawing/2014/main" id="{8C32C409-17A7-7830-F3B0-7E3C50591B1E}"/>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Machine Learning Consulting Services</a:t>
            </a:r>
          </a:p>
        </p:txBody>
      </p:sp>
      <p:grpSp>
        <p:nvGrpSpPr>
          <p:cNvPr id="14" name="Group 13">
            <a:extLst>
              <a:ext uri="{FF2B5EF4-FFF2-40B4-BE49-F238E27FC236}">
                <a16:creationId xmlns:a16="http://schemas.microsoft.com/office/drawing/2014/main" id="{3FDC8511-3771-E538-E6AE-91967AF4454B}"/>
              </a:ext>
            </a:extLst>
          </p:cNvPr>
          <p:cNvGrpSpPr/>
          <p:nvPr/>
        </p:nvGrpSpPr>
        <p:grpSpPr>
          <a:xfrm flipV="1">
            <a:off x="6128715" y="2768427"/>
            <a:ext cx="108000" cy="259132"/>
            <a:chOff x="1333536" y="4392165"/>
            <a:chExt cx="108000" cy="345067"/>
          </a:xfrm>
        </p:grpSpPr>
        <p:cxnSp>
          <p:nvCxnSpPr>
            <p:cNvPr id="52" name="Straight Connector 51">
              <a:extLst>
                <a:ext uri="{FF2B5EF4-FFF2-40B4-BE49-F238E27FC236}">
                  <a16:creationId xmlns:a16="http://schemas.microsoft.com/office/drawing/2014/main" id="{AEEEE886-C23B-7916-2878-B60D32DACEA2}"/>
                </a:ext>
              </a:extLst>
            </p:cNvPr>
            <p:cNvCxnSpPr/>
            <p:nvPr/>
          </p:nvCxnSpPr>
          <p:spPr>
            <a:xfrm flipV="1">
              <a:off x="1381020" y="4392165"/>
              <a:ext cx="0" cy="223258"/>
            </a:xfrm>
            <a:prstGeom prst="line">
              <a:avLst/>
            </a:prstGeom>
            <a:noFill/>
            <a:ln w="9525" cap="flat" cmpd="sng" algn="ctr">
              <a:solidFill>
                <a:srgbClr val="53565A">
                  <a:lumMod val="90000"/>
                </a:srgbClr>
              </a:solidFill>
              <a:prstDash val="solid"/>
              <a:miter lim="800000"/>
            </a:ln>
            <a:effectLst/>
          </p:spPr>
        </p:cxnSp>
        <p:sp>
          <p:nvSpPr>
            <p:cNvPr id="53" name="Oval 52">
              <a:extLst>
                <a:ext uri="{FF2B5EF4-FFF2-40B4-BE49-F238E27FC236}">
                  <a16:creationId xmlns:a16="http://schemas.microsoft.com/office/drawing/2014/main" id="{36DC9ED6-ECA6-2257-B265-E79885538D34}"/>
                </a:ext>
              </a:extLst>
            </p:cNvPr>
            <p:cNvSpPr>
              <a:spLocks/>
            </p:cNvSpPr>
            <p:nvPr/>
          </p:nvSpPr>
          <p:spPr>
            <a:xfrm flipV="1">
              <a:off x="1333536" y="4637749"/>
              <a:ext cx="108000" cy="99483"/>
            </a:xfrm>
            <a:prstGeom prst="ellipse">
              <a:avLst/>
            </a:prstGeom>
            <a:solidFill>
              <a:schemeClr val="accent3">
                <a:lumMod val="40000"/>
                <a:lumOff val="60000"/>
              </a:schemeClr>
            </a:solidFill>
            <a:ln w="28575"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Open Sans"/>
                <a:ea typeface="+mn-ea"/>
                <a:cs typeface="+mn-cs"/>
              </a:endParaRPr>
            </a:p>
          </p:txBody>
        </p:sp>
      </p:grpSp>
      <p:cxnSp>
        <p:nvCxnSpPr>
          <p:cNvPr id="15" name="Straight Connector 14">
            <a:extLst>
              <a:ext uri="{FF2B5EF4-FFF2-40B4-BE49-F238E27FC236}">
                <a16:creationId xmlns:a16="http://schemas.microsoft.com/office/drawing/2014/main" id="{55DF53D9-54BE-468B-F885-22B811E418FC}"/>
              </a:ext>
            </a:extLst>
          </p:cNvPr>
          <p:cNvCxnSpPr/>
          <p:nvPr/>
        </p:nvCxnSpPr>
        <p:spPr>
          <a:xfrm flipV="1">
            <a:off x="7103277" y="3972271"/>
            <a:ext cx="0" cy="167658"/>
          </a:xfrm>
          <a:prstGeom prst="line">
            <a:avLst/>
          </a:prstGeom>
          <a:noFill/>
          <a:ln w="9525" cap="flat" cmpd="sng" algn="ctr">
            <a:solidFill>
              <a:srgbClr val="53565A">
                <a:lumMod val="90000"/>
              </a:srgbClr>
            </a:solidFill>
            <a:prstDash val="solid"/>
            <a:miter lim="800000"/>
          </a:ln>
          <a:effectLst/>
        </p:spPr>
      </p:cxnSp>
      <p:grpSp>
        <p:nvGrpSpPr>
          <p:cNvPr id="16" name="Group 15">
            <a:extLst>
              <a:ext uri="{FF2B5EF4-FFF2-40B4-BE49-F238E27FC236}">
                <a16:creationId xmlns:a16="http://schemas.microsoft.com/office/drawing/2014/main" id="{0938B518-ACB8-0E2A-50A0-5E5A335B4DB8}"/>
              </a:ext>
            </a:extLst>
          </p:cNvPr>
          <p:cNvGrpSpPr>
            <a:grpSpLocks noChangeAspect="1"/>
          </p:cNvGrpSpPr>
          <p:nvPr/>
        </p:nvGrpSpPr>
        <p:grpSpPr bwMode="auto">
          <a:xfrm rot="16200000">
            <a:off x="4426809" y="791663"/>
            <a:ext cx="1375585" cy="5347693"/>
            <a:chOff x="296" y="1087"/>
            <a:chExt cx="730" cy="2767"/>
          </a:xfrm>
          <a:solidFill>
            <a:srgbClr val="009A44"/>
          </a:solidFill>
        </p:grpSpPr>
        <p:sp>
          <p:nvSpPr>
            <p:cNvPr id="48" name="Freeform 6">
              <a:extLst>
                <a:ext uri="{FF2B5EF4-FFF2-40B4-BE49-F238E27FC236}">
                  <a16:creationId xmlns:a16="http://schemas.microsoft.com/office/drawing/2014/main" id="{6930A007-7BF6-E940-C66C-5AC05D4B5FEC}"/>
                </a:ext>
              </a:extLst>
            </p:cNvPr>
            <p:cNvSpPr>
              <a:spLocks/>
            </p:cNvSpPr>
            <p:nvPr/>
          </p:nvSpPr>
          <p:spPr bwMode="auto">
            <a:xfrm>
              <a:off x="296" y="1087"/>
              <a:ext cx="389" cy="727"/>
            </a:xfrm>
            <a:custGeom>
              <a:avLst/>
              <a:gdLst>
                <a:gd name="T0" fmla="*/ 372 w 396"/>
                <a:gd name="T1" fmla="*/ 744 h 744"/>
                <a:gd name="T2" fmla="*/ 0 w 396"/>
                <a:gd name="T3" fmla="*/ 372 h 744"/>
                <a:gd name="T4" fmla="*/ 372 w 396"/>
                <a:gd name="T5" fmla="*/ 0 h 744"/>
                <a:gd name="T6" fmla="*/ 396 w 396"/>
                <a:gd name="T7" fmla="*/ 24 h 744"/>
                <a:gd name="T8" fmla="*/ 372 w 396"/>
                <a:gd name="T9" fmla="*/ 48 h 744"/>
                <a:gd name="T10" fmla="*/ 48 w 396"/>
                <a:gd name="T11" fmla="*/ 372 h 744"/>
                <a:gd name="T12" fmla="*/ 372 w 396"/>
                <a:gd name="T13" fmla="*/ 696 h 744"/>
                <a:gd name="T14" fmla="*/ 396 w 396"/>
                <a:gd name="T15" fmla="*/ 720 h 744"/>
                <a:gd name="T16" fmla="*/ 372 w 396"/>
                <a:gd name="T17"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744">
                  <a:moveTo>
                    <a:pt x="372" y="744"/>
                  </a:moveTo>
                  <a:cubicBezTo>
                    <a:pt x="167" y="744"/>
                    <a:pt x="0" y="577"/>
                    <a:pt x="0" y="372"/>
                  </a:cubicBezTo>
                  <a:cubicBezTo>
                    <a:pt x="0" y="167"/>
                    <a:pt x="167" y="0"/>
                    <a:pt x="372" y="0"/>
                  </a:cubicBezTo>
                  <a:cubicBezTo>
                    <a:pt x="385" y="0"/>
                    <a:pt x="396" y="11"/>
                    <a:pt x="396" y="24"/>
                  </a:cubicBezTo>
                  <a:cubicBezTo>
                    <a:pt x="396" y="37"/>
                    <a:pt x="385" y="48"/>
                    <a:pt x="372" y="48"/>
                  </a:cubicBezTo>
                  <a:cubicBezTo>
                    <a:pt x="193" y="48"/>
                    <a:pt x="48" y="193"/>
                    <a:pt x="48" y="372"/>
                  </a:cubicBezTo>
                  <a:cubicBezTo>
                    <a:pt x="48" y="551"/>
                    <a:pt x="193" y="696"/>
                    <a:pt x="372" y="696"/>
                  </a:cubicBezTo>
                  <a:cubicBezTo>
                    <a:pt x="385" y="696"/>
                    <a:pt x="396" y="707"/>
                    <a:pt x="396" y="720"/>
                  </a:cubicBezTo>
                  <a:cubicBezTo>
                    <a:pt x="396" y="733"/>
                    <a:pt x="385" y="744"/>
                    <a:pt x="372" y="744"/>
                  </a:cubicBezTo>
                  <a:close/>
                </a:path>
              </a:pathLst>
            </a:custGeom>
            <a:solidFill>
              <a:srgbClr val="1CABE3"/>
            </a:solidFill>
            <a:ln w="381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49" name="Freeform 7">
              <a:extLst>
                <a:ext uri="{FF2B5EF4-FFF2-40B4-BE49-F238E27FC236}">
                  <a16:creationId xmlns:a16="http://schemas.microsoft.com/office/drawing/2014/main" id="{AA8C084A-1762-0BA9-D28D-FD2E20FCCA02}"/>
                </a:ext>
              </a:extLst>
            </p:cNvPr>
            <p:cNvSpPr>
              <a:spLocks/>
            </p:cNvSpPr>
            <p:nvPr/>
          </p:nvSpPr>
          <p:spPr bwMode="auto">
            <a:xfrm>
              <a:off x="661" y="1767"/>
              <a:ext cx="365" cy="728"/>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accent3">
                <a:lumMod val="60000"/>
                <a:lumOff val="40000"/>
              </a:schemeClr>
            </a:solidFill>
            <a:ln w="381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0" name="Freeform 8">
              <a:extLst>
                <a:ext uri="{FF2B5EF4-FFF2-40B4-BE49-F238E27FC236}">
                  <a16:creationId xmlns:a16="http://schemas.microsoft.com/office/drawing/2014/main" id="{B8466A65-983C-07AD-5BBB-672F5F7E242F}"/>
                </a:ext>
              </a:extLst>
            </p:cNvPr>
            <p:cNvSpPr>
              <a:spLocks/>
            </p:cNvSpPr>
            <p:nvPr/>
          </p:nvSpPr>
          <p:spPr bwMode="auto">
            <a:xfrm>
              <a:off x="296" y="2448"/>
              <a:ext cx="365" cy="727"/>
            </a:xfrm>
            <a:custGeom>
              <a:avLst/>
              <a:gdLst>
                <a:gd name="T0" fmla="*/ 372 w 372"/>
                <a:gd name="T1" fmla="*/ 744 h 744"/>
                <a:gd name="T2" fmla="*/ 0 w 372"/>
                <a:gd name="T3" fmla="*/ 372 h 744"/>
                <a:gd name="T4" fmla="*/ 372 w 372"/>
                <a:gd name="T5" fmla="*/ 0 h 744"/>
                <a:gd name="T6" fmla="*/ 372 w 372"/>
                <a:gd name="T7" fmla="*/ 48 h 744"/>
                <a:gd name="T8" fmla="*/ 48 w 372"/>
                <a:gd name="T9" fmla="*/ 372 h 744"/>
                <a:gd name="T10" fmla="*/ 372 w 372"/>
                <a:gd name="T11" fmla="*/ 696 h 744"/>
                <a:gd name="T12" fmla="*/ 372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372" y="744"/>
                  </a:moveTo>
                  <a:cubicBezTo>
                    <a:pt x="167" y="744"/>
                    <a:pt x="0" y="577"/>
                    <a:pt x="0" y="372"/>
                  </a:cubicBezTo>
                  <a:cubicBezTo>
                    <a:pt x="0" y="167"/>
                    <a:pt x="167" y="0"/>
                    <a:pt x="372" y="0"/>
                  </a:cubicBezTo>
                  <a:cubicBezTo>
                    <a:pt x="372" y="48"/>
                    <a:pt x="372" y="48"/>
                    <a:pt x="372" y="48"/>
                  </a:cubicBezTo>
                  <a:cubicBezTo>
                    <a:pt x="193" y="48"/>
                    <a:pt x="48" y="193"/>
                    <a:pt x="48" y="372"/>
                  </a:cubicBezTo>
                  <a:cubicBezTo>
                    <a:pt x="48" y="551"/>
                    <a:pt x="193" y="696"/>
                    <a:pt x="372" y="696"/>
                  </a:cubicBezTo>
                  <a:lnTo>
                    <a:pt x="372" y="744"/>
                  </a:lnTo>
                  <a:close/>
                </a:path>
              </a:pathLst>
            </a:custGeom>
            <a:solidFill>
              <a:schemeClr val="accent3">
                <a:lumMod val="40000"/>
                <a:lumOff val="60000"/>
              </a:schemeClr>
            </a:solidFill>
            <a:ln w="381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1" name="Freeform 7">
              <a:extLst>
                <a:ext uri="{FF2B5EF4-FFF2-40B4-BE49-F238E27FC236}">
                  <a16:creationId xmlns:a16="http://schemas.microsoft.com/office/drawing/2014/main" id="{A9B23CAA-3044-6B3F-9ADC-106E79FDCD7B}"/>
                </a:ext>
              </a:extLst>
            </p:cNvPr>
            <p:cNvSpPr>
              <a:spLocks/>
            </p:cNvSpPr>
            <p:nvPr/>
          </p:nvSpPr>
          <p:spPr bwMode="auto">
            <a:xfrm>
              <a:off x="661" y="3126"/>
              <a:ext cx="365" cy="728"/>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rgbClr val="BBF8FF"/>
            </a:solidFill>
            <a:ln w="381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Open Sans"/>
                <a:ea typeface="+mn-ea"/>
                <a:cs typeface="+mn-cs"/>
              </a:endParaRPr>
            </a:p>
          </p:txBody>
        </p:sp>
      </p:grpSp>
      <p:sp>
        <p:nvSpPr>
          <p:cNvPr id="17" name="Rectangle 16">
            <a:extLst>
              <a:ext uri="{FF2B5EF4-FFF2-40B4-BE49-F238E27FC236}">
                <a16:creationId xmlns:a16="http://schemas.microsoft.com/office/drawing/2014/main" id="{29F6A9B1-E794-1FEF-73DC-219B7E133D50}"/>
              </a:ext>
            </a:extLst>
          </p:cNvPr>
          <p:cNvSpPr/>
          <p:nvPr/>
        </p:nvSpPr>
        <p:spPr>
          <a:xfrm>
            <a:off x="3791297" y="4557399"/>
            <a:ext cx="2193780" cy="707514"/>
          </a:xfrm>
          <a:prstGeom prst="rect">
            <a:avLst/>
          </a:prstGeom>
        </p:spPr>
        <p:txBody>
          <a:bodyPr wrap="square" lIns="0" tIns="0" rIns="0" bIns="0">
            <a:noAutofit/>
          </a:bodyPr>
          <a:lstStyle/>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reating prototype model</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Model optimization to task</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Evaluation of best-fit algorithms</a:t>
            </a:r>
            <a:endParaRPr kumimoji="0" lang="en-GB" sz="10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0F49CAB0-80E3-573F-6A1E-B916920CEAD5}"/>
              </a:ext>
            </a:extLst>
          </p:cNvPr>
          <p:cNvSpPr/>
          <p:nvPr/>
        </p:nvSpPr>
        <p:spPr>
          <a:xfrm>
            <a:off x="5161938" y="1987042"/>
            <a:ext cx="2058169" cy="733016"/>
          </a:xfrm>
          <a:prstGeom prst="rect">
            <a:avLst/>
          </a:prstGeom>
          <a:noFill/>
        </p:spPr>
        <p:txBody>
          <a:bodyPr wrap="square" lIns="0" tIns="0" rIns="0" bIns="0">
            <a:noAutofit/>
          </a:bodyPr>
          <a:lstStyle/>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lignment with success metrics</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del robustness</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lang="en-US" sz="1000" kern="0" dirty="0">
                <a:solidFill>
                  <a:prstClr val="black">
                    <a:lumMod val="50000"/>
                  </a:prstClr>
                </a:solidFill>
                <a:latin typeface="Open Sans Light" panose="020B0306030504020204" pitchFamily="34" charset="0"/>
                <a:ea typeface="Open Sans Light" panose="020B0306030504020204" pitchFamily="34" charset="0"/>
                <a:cs typeface="Open Sans Light" panose="020B0306030504020204" pitchFamily="34" charset="0"/>
              </a:rPr>
              <a:t>Ethical model assessment</a:t>
            </a:r>
            <a:endPar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Rectangle 19">
            <a:extLst>
              <a:ext uri="{FF2B5EF4-FFF2-40B4-BE49-F238E27FC236}">
                <a16:creationId xmlns:a16="http://schemas.microsoft.com/office/drawing/2014/main" id="{69EF6B8E-A113-8AD2-D7F1-447023AEC8CB}"/>
              </a:ext>
            </a:extLst>
          </p:cNvPr>
          <p:cNvSpPr/>
          <p:nvPr/>
        </p:nvSpPr>
        <p:spPr>
          <a:xfrm>
            <a:off x="2428027" y="1987042"/>
            <a:ext cx="2058169" cy="712692"/>
          </a:xfrm>
          <a:prstGeom prst="rect">
            <a:avLst/>
          </a:prstGeom>
          <a:noFill/>
          <a:effectLst/>
        </p:spPr>
        <p:txBody>
          <a:bodyPr wrap="square" lIns="0" tIns="0" rIns="0" bIns="0">
            <a:noAutofit/>
          </a:bodyPr>
          <a:lstStyle/>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Quality data for modeling</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cleansing &amp; transformation</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suring data relevancy</a:t>
            </a:r>
            <a:endParaRPr kumimoji="0" lang="en-GB"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1" name="Group 20">
            <a:extLst>
              <a:ext uri="{FF2B5EF4-FFF2-40B4-BE49-F238E27FC236}">
                <a16:creationId xmlns:a16="http://schemas.microsoft.com/office/drawing/2014/main" id="{BA6F12B1-FB8F-E663-79CE-394B8F917F5F}"/>
              </a:ext>
            </a:extLst>
          </p:cNvPr>
          <p:cNvGrpSpPr>
            <a:grpSpLocks noChangeAspect="1"/>
          </p:cNvGrpSpPr>
          <p:nvPr/>
        </p:nvGrpSpPr>
        <p:grpSpPr>
          <a:xfrm>
            <a:off x="2698644" y="3080221"/>
            <a:ext cx="886554" cy="864397"/>
            <a:chOff x="6170778" y="1014257"/>
            <a:chExt cx="365760" cy="365760"/>
          </a:xfrm>
        </p:grpSpPr>
        <p:sp>
          <p:nvSpPr>
            <p:cNvPr id="46" name="Oval 45">
              <a:extLst>
                <a:ext uri="{FF2B5EF4-FFF2-40B4-BE49-F238E27FC236}">
                  <a16:creationId xmlns:a16="http://schemas.microsoft.com/office/drawing/2014/main" id="{C165EFE6-0BB5-FAA7-4979-5C76F5433896}"/>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u="none" strike="noStrike" kern="0" cap="none" spc="0" normalizeH="0" baseline="0" noProof="0" dirty="0">
                <a:ln>
                  <a:noFill/>
                </a:ln>
                <a:solidFill>
                  <a:prstClr val="black"/>
                </a:solidFill>
                <a:effectLst/>
                <a:uLnTx/>
                <a:uFillTx/>
                <a:latin typeface="Open Sans" panose="020B0606030504020204" pitchFamily="34" charset="0"/>
                <a:ea typeface="+mn-ea"/>
                <a:cs typeface="+mn-cs"/>
              </a:endParaRPr>
            </a:p>
          </p:txBody>
        </p:sp>
        <p:sp>
          <p:nvSpPr>
            <p:cNvPr id="47" name="Oval 46">
              <a:extLst>
                <a:ext uri="{FF2B5EF4-FFF2-40B4-BE49-F238E27FC236}">
                  <a16:creationId xmlns:a16="http://schemas.microsoft.com/office/drawing/2014/main" id="{C15DF727-46D5-DDF0-1874-24046FB07A61}"/>
                </a:ext>
              </a:extLst>
            </p:cNvPr>
            <p:cNvSpPr>
              <a:spLocks/>
            </p:cNvSpPr>
            <p:nvPr/>
          </p:nvSpPr>
          <p:spPr bwMode="gray">
            <a:xfrm>
              <a:off x="6219844" y="1064549"/>
              <a:ext cx="267629" cy="265176"/>
            </a:xfrm>
            <a:prstGeom prst="ellipse">
              <a:avLst/>
            </a:prstGeom>
            <a:solidFill>
              <a:sysClr val="window" lastClr="FFFFFF"/>
            </a:solidFill>
            <a:ln w="28575" algn="ctr">
              <a:solidFill>
                <a:srgbClr val="1CABE3"/>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50000"/>
                      <a:lumOff val="50000"/>
                    </a:prstClr>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cxnSp>
        <p:nvCxnSpPr>
          <p:cNvPr id="22" name="Straight Connector 21">
            <a:extLst>
              <a:ext uri="{FF2B5EF4-FFF2-40B4-BE49-F238E27FC236}">
                <a16:creationId xmlns:a16="http://schemas.microsoft.com/office/drawing/2014/main" id="{BA76926F-99B2-7A83-7EA4-B8E530C53779}"/>
              </a:ext>
            </a:extLst>
          </p:cNvPr>
          <p:cNvCxnSpPr>
            <a:cxnSpLocks/>
          </p:cNvCxnSpPr>
          <p:nvPr/>
        </p:nvCxnSpPr>
        <p:spPr>
          <a:xfrm>
            <a:off x="2440742" y="1896328"/>
            <a:ext cx="2012805" cy="282"/>
          </a:xfrm>
          <a:prstGeom prst="line">
            <a:avLst/>
          </a:prstGeom>
          <a:noFill/>
          <a:ln w="19050" cap="flat" cmpd="sng" algn="ctr">
            <a:solidFill>
              <a:srgbClr val="1CABE3"/>
            </a:solidFill>
            <a:prstDash val="solid"/>
          </a:ln>
          <a:effectLst/>
        </p:spPr>
      </p:cxnSp>
      <p:sp>
        <p:nvSpPr>
          <p:cNvPr id="23" name="TextBox 22">
            <a:extLst>
              <a:ext uri="{FF2B5EF4-FFF2-40B4-BE49-F238E27FC236}">
                <a16:creationId xmlns:a16="http://schemas.microsoft.com/office/drawing/2014/main" id="{8BBE74F8-9D5B-635C-3E48-C30C8586A1B9}"/>
              </a:ext>
            </a:extLst>
          </p:cNvPr>
          <p:cNvSpPr txBox="1">
            <a:spLocks/>
          </p:cNvSpPr>
          <p:nvPr/>
        </p:nvSpPr>
        <p:spPr>
          <a:xfrm>
            <a:off x="2440742" y="1719156"/>
            <a:ext cx="1470916"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100" b="1" i="0" u="none" strike="noStrike" kern="1200" cap="small" spc="30" normalizeH="0" baseline="0" noProof="0" dirty="0">
                <a:ln>
                  <a:noFill/>
                </a:ln>
                <a:solidFill>
                  <a:srgbClr val="1CABE3"/>
                </a:solidFill>
                <a:effectLst/>
                <a:uLnTx/>
                <a:uFillTx/>
                <a:latin typeface="Open Sans" panose="020B0606030504020204" pitchFamily="34" charset="0"/>
                <a:ea typeface="Open Sans" panose="020B0606030504020204" pitchFamily="34" charset="0"/>
                <a:cs typeface="Open Sans" panose="020B0606030504020204" pitchFamily="34" charset="0"/>
              </a:rPr>
              <a:t>Data Collection</a:t>
            </a:r>
          </a:p>
        </p:txBody>
      </p:sp>
      <p:grpSp>
        <p:nvGrpSpPr>
          <p:cNvPr id="24" name="Group 23">
            <a:extLst>
              <a:ext uri="{FF2B5EF4-FFF2-40B4-BE49-F238E27FC236}">
                <a16:creationId xmlns:a16="http://schemas.microsoft.com/office/drawing/2014/main" id="{D5D801F0-6361-7C24-6CD8-4591EE158DFE}"/>
              </a:ext>
            </a:extLst>
          </p:cNvPr>
          <p:cNvGrpSpPr>
            <a:grpSpLocks noChangeAspect="1"/>
          </p:cNvGrpSpPr>
          <p:nvPr/>
        </p:nvGrpSpPr>
        <p:grpSpPr>
          <a:xfrm>
            <a:off x="4015170" y="3080221"/>
            <a:ext cx="886554" cy="864397"/>
            <a:chOff x="6170778" y="1014257"/>
            <a:chExt cx="365760" cy="365760"/>
          </a:xfrm>
        </p:grpSpPr>
        <p:sp>
          <p:nvSpPr>
            <p:cNvPr id="44" name="Oval 43">
              <a:extLst>
                <a:ext uri="{FF2B5EF4-FFF2-40B4-BE49-F238E27FC236}">
                  <a16:creationId xmlns:a16="http://schemas.microsoft.com/office/drawing/2014/main" id="{C156E57D-25A9-0981-6740-169845150027}"/>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u="none" strike="noStrike" kern="0" cap="none" spc="0" normalizeH="0" baseline="0" noProof="0" dirty="0">
                <a:ln>
                  <a:noFill/>
                </a:ln>
                <a:solidFill>
                  <a:prstClr val="black"/>
                </a:solidFill>
                <a:effectLst/>
                <a:uLnTx/>
                <a:uFillTx/>
                <a:latin typeface="Open Sans" panose="020B0606030504020204" pitchFamily="34" charset="0"/>
                <a:ea typeface="+mn-ea"/>
                <a:cs typeface="+mn-cs"/>
              </a:endParaRPr>
            </a:p>
          </p:txBody>
        </p:sp>
        <p:sp>
          <p:nvSpPr>
            <p:cNvPr id="45" name="Oval 44">
              <a:extLst>
                <a:ext uri="{FF2B5EF4-FFF2-40B4-BE49-F238E27FC236}">
                  <a16:creationId xmlns:a16="http://schemas.microsoft.com/office/drawing/2014/main" id="{C24569B1-CBD8-32D2-FEE1-D1F7D70D8420}"/>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3">
                  <a:lumMod val="60000"/>
                  <a:lumOff val="4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50000"/>
                      <a:lumOff val="50000"/>
                    </a:prstClr>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cxnSp>
        <p:nvCxnSpPr>
          <p:cNvPr id="25" name="Straight Connector 24">
            <a:extLst>
              <a:ext uri="{FF2B5EF4-FFF2-40B4-BE49-F238E27FC236}">
                <a16:creationId xmlns:a16="http://schemas.microsoft.com/office/drawing/2014/main" id="{04E46E28-27B7-9404-5BD2-3874D3DE94F2}"/>
              </a:ext>
            </a:extLst>
          </p:cNvPr>
          <p:cNvCxnSpPr>
            <a:cxnSpLocks/>
          </p:cNvCxnSpPr>
          <p:nvPr/>
        </p:nvCxnSpPr>
        <p:spPr>
          <a:xfrm>
            <a:off x="3794102" y="4472601"/>
            <a:ext cx="2194560" cy="0"/>
          </a:xfrm>
          <a:prstGeom prst="line">
            <a:avLst/>
          </a:prstGeom>
          <a:noFill/>
          <a:ln w="19050" cap="flat" cmpd="sng" algn="ctr">
            <a:solidFill>
              <a:schemeClr val="accent3">
                <a:lumMod val="60000"/>
                <a:lumOff val="40000"/>
              </a:schemeClr>
            </a:solidFill>
            <a:prstDash val="solid"/>
          </a:ln>
          <a:effectLst/>
        </p:spPr>
      </p:cxnSp>
      <p:sp>
        <p:nvSpPr>
          <p:cNvPr id="26" name="TextBox 25">
            <a:extLst>
              <a:ext uri="{FF2B5EF4-FFF2-40B4-BE49-F238E27FC236}">
                <a16:creationId xmlns:a16="http://schemas.microsoft.com/office/drawing/2014/main" id="{45AB4F9A-1E08-F543-8E19-815AB5ED8D7D}"/>
              </a:ext>
            </a:extLst>
          </p:cNvPr>
          <p:cNvSpPr txBox="1">
            <a:spLocks/>
          </p:cNvSpPr>
          <p:nvPr/>
        </p:nvSpPr>
        <p:spPr>
          <a:xfrm>
            <a:off x="3794103" y="4295428"/>
            <a:ext cx="2193784"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100" b="1" i="0" u="none" strike="noStrike" kern="1200" cap="small" spc="30" normalizeH="0" baseline="0" noProof="0" dirty="0">
                <a:ln>
                  <a:noFill/>
                </a:ln>
                <a:solidFill>
                  <a:schemeClr val="accent3">
                    <a:lumMod val="60000"/>
                    <a:lumOff val="4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Model Development &amp; Training</a:t>
            </a:r>
          </a:p>
        </p:txBody>
      </p:sp>
      <p:grpSp>
        <p:nvGrpSpPr>
          <p:cNvPr id="27" name="Group 26">
            <a:extLst>
              <a:ext uri="{FF2B5EF4-FFF2-40B4-BE49-F238E27FC236}">
                <a16:creationId xmlns:a16="http://schemas.microsoft.com/office/drawing/2014/main" id="{F6D75524-5463-A725-5958-BE011A214C02}"/>
              </a:ext>
            </a:extLst>
          </p:cNvPr>
          <p:cNvGrpSpPr>
            <a:grpSpLocks noChangeAspect="1"/>
          </p:cNvGrpSpPr>
          <p:nvPr/>
        </p:nvGrpSpPr>
        <p:grpSpPr>
          <a:xfrm>
            <a:off x="5332769" y="3078148"/>
            <a:ext cx="886554" cy="864397"/>
            <a:chOff x="6170778" y="1014257"/>
            <a:chExt cx="365760" cy="365760"/>
          </a:xfrm>
        </p:grpSpPr>
        <p:sp>
          <p:nvSpPr>
            <p:cNvPr id="42" name="Oval 41">
              <a:extLst>
                <a:ext uri="{FF2B5EF4-FFF2-40B4-BE49-F238E27FC236}">
                  <a16:creationId xmlns:a16="http://schemas.microsoft.com/office/drawing/2014/main" id="{4F205918-D236-5E6B-0A02-E25C3997DCA0}"/>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u="none" strike="noStrike" kern="0" cap="none" spc="0" normalizeH="0" baseline="0" noProof="0" dirty="0">
                <a:ln>
                  <a:noFill/>
                </a:ln>
                <a:solidFill>
                  <a:prstClr val="black"/>
                </a:solidFill>
                <a:effectLst/>
                <a:uLnTx/>
                <a:uFillTx/>
                <a:latin typeface="Open Sans" panose="020B0606030504020204" pitchFamily="34" charset="0"/>
                <a:ea typeface="+mn-ea"/>
                <a:cs typeface="+mn-cs"/>
              </a:endParaRPr>
            </a:p>
          </p:txBody>
        </p:sp>
        <p:sp>
          <p:nvSpPr>
            <p:cNvPr id="43" name="Oval 42">
              <a:extLst>
                <a:ext uri="{FF2B5EF4-FFF2-40B4-BE49-F238E27FC236}">
                  <a16:creationId xmlns:a16="http://schemas.microsoft.com/office/drawing/2014/main" id="{1713A275-1826-52E2-3CF3-F30D19913E37}"/>
                </a:ext>
              </a:extLst>
            </p:cNvPr>
            <p:cNvSpPr>
              <a:spLocks/>
            </p:cNvSpPr>
            <p:nvPr/>
          </p:nvSpPr>
          <p:spPr bwMode="gray">
            <a:xfrm>
              <a:off x="6219844" y="1064549"/>
              <a:ext cx="267629" cy="265176"/>
            </a:xfrm>
            <a:prstGeom prst="ellipse">
              <a:avLst/>
            </a:prstGeom>
            <a:solidFill>
              <a:sysClr val="window" lastClr="FFFFFF"/>
            </a:solidFill>
            <a:ln w="28575" algn="ctr">
              <a:solidFill>
                <a:schemeClr val="accent3">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50000"/>
                      <a:lumOff val="50000"/>
                    </a:prstClr>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cxnSp>
        <p:nvCxnSpPr>
          <p:cNvPr id="28" name="Straight Connector 27">
            <a:extLst>
              <a:ext uri="{FF2B5EF4-FFF2-40B4-BE49-F238E27FC236}">
                <a16:creationId xmlns:a16="http://schemas.microsoft.com/office/drawing/2014/main" id="{51C415E1-57C1-330A-EC12-52E436AEEB69}"/>
              </a:ext>
            </a:extLst>
          </p:cNvPr>
          <p:cNvCxnSpPr>
            <a:cxnSpLocks/>
          </p:cNvCxnSpPr>
          <p:nvPr/>
        </p:nvCxnSpPr>
        <p:spPr>
          <a:xfrm>
            <a:off x="5161939" y="1896609"/>
            <a:ext cx="2011680" cy="0"/>
          </a:xfrm>
          <a:prstGeom prst="line">
            <a:avLst/>
          </a:prstGeom>
          <a:noFill/>
          <a:ln w="19050" cap="flat" cmpd="sng" algn="ctr">
            <a:solidFill>
              <a:schemeClr val="accent3">
                <a:lumMod val="40000"/>
                <a:lumOff val="60000"/>
              </a:schemeClr>
            </a:solidFill>
            <a:prstDash val="solid"/>
          </a:ln>
          <a:effectLst/>
        </p:spPr>
      </p:cxnSp>
      <p:sp>
        <p:nvSpPr>
          <p:cNvPr id="29" name="TextBox 28">
            <a:extLst>
              <a:ext uri="{FF2B5EF4-FFF2-40B4-BE49-F238E27FC236}">
                <a16:creationId xmlns:a16="http://schemas.microsoft.com/office/drawing/2014/main" id="{AC43E9CD-11B5-D890-E376-3F1E6931C053}"/>
              </a:ext>
            </a:extLst>
          </p:cNvPr>
          <p:cNvSpPr txBox="1">
            <a:spLocks/>
          </p:cNvSpPr>
          <p:nvPr/>
        </p:nvSpPr>
        <p:spPr>
          <a:xfrm>
            <a:off x="5161938" y="1719438"/>
            <a:ext cx="2254025"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b="1" cap="small" spc="30" dirty="0">
                <a:solidFill>
                  <a:schemeClr val="accent3">
                    <a:lumMod val="40000"/>
                    <a:lumOff val="60000"/>
                  </a:schemeClr>
                </a:solidFill>
                <a:latin typeface="Open Sans" panose="020B0606030504020204" pitchFamily="34" charset="0"/>
                <a:ea typeface="Open Sans" panose="020B0606030504020204" pitchFamily="34" charset="0"/>
                <a:cs typeface="Open Sans" panose="020B0606030504020204" pitchFamily="34" charset="0"/>
              </a:rPr>
              <a:t>Model Validation</a:t>
            </a:r>
            <a:endParaRPr kumimoji="0" lang="en-GB" sz="1100" b="1" i="0" u="none" strike="noStrike" kern="1200" cap="small" spc="30" normalizeH="0" baseline="0" noProof="0" dirty="0">
              <a:ln>
                <a:noFill/>
              </a:ln>
              <a:solidFill>
                <a:schemeClr val="accent3">
                  <a:lumMod val="40000"/>
                  <a:lumOff val="6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0" name="Group 29">
            <a:extLst>
              <a:ext uri="{FF2B5EF4-FFF2-40B4-BE49-F238E27FC236}">
                <a16:creationId xmlns:a16="http://schemas.microsoft.com/office/drawing/2014/main" id="{A9737911-CC02-E6CB-F3C0-64739B579BA0}"/>
              </a:ext>
            </a:extLst>
          </p:cNvPr>
          <p:cNvGrpSpPr/>
          <p:nvPr/>
        </p:nvGrpSpPr>
        <p:grpSpPr>
          <a:xfrm>
            <a:off x="3125864" y="2759090"/>
            <a:ext cx="77521" cy="261774"/>
            <a:chOff x="1423613" y="2876674"/>
            <a:chExt cx="77521" cy="378428"/>
          </a:xfrm>
        </p:grpSpPr>
        <p:cxnSp>
          <p:nvCxnSpPr>
            <p:cNvPr id="40" name="Straight Connector 39">
              <a:extLst>
                <a:ext uri="{FF2B5EF4-FFF2-40B4-BE49-F238E27FC236}">
                  <a16:creationId xmlns:a16="http://schemas.microsoft.com/office/drawing/2014/main" id="{CE675EB6-2C45-B07C-0B1D-F51FCB7D94FD}"/>
                </a:ext>
              </a:extLst>
            </p:cNvPr>
            <p:cNvCxnSpPr/>
            <p:nvPr/>
          </p:nvCxnSpPr>
          <p:spPr>
            <a:xfrm>
              <a:off x="1463009" y="3012731"/>
              <a:ext cx="0" cy="242371"/>
            </a:xfrm>
            <a:prstGeom prst="line">
              <a:avLst/>
            </a:prstGeom>
            <a:noFill/>
            <a:ln w="9525" cap="flat" cmpd="sng" algn="ctr">
              <a:solidFill>
                <a:srgbClr val="53565A">
                  <a:lumMod val="90000"/>
                </a:srgbClr>
              </a:solidFill>
              <a:prstDash val="solid"/>
              <a:miter lim="800000"/>
            </a:ln>
            <a:effectLst/>
          </p:spPr>
        </p:cxnSp>
        <p:sp>
          <p:nvSpPr>
            <p:cNvPr id="41" name="Flowchart: Connector 40">
              <a:extLst>
                <a:ext uri="{FF2B5EF4-FFF2-40B4-BE49-F238E27FC236}">
                  <a16:creationId xmlns:a16="http://schemas.microsoft.com/office/drawing/2014/main" id="{EE1D1CAA-945A-4118-E880-E86E84DD9AC2}"/>
                </a:ext>
              </a:extLst>
            </p:cNvPr>
            <p:cNvSpPr/>
            <p:nvPr/>
          </p:nvSpPr>
          <p:spPr bwMode="gray">
            <a:xfrm>
              <a:off x="1423613" y="2876674"/>
              <a:ext cx="77521" cy="108000"/>
            </a:xfrm>
            <a:prstGeom prst="flowChartConnector">
              <a:avLst/>
            </a:prstGeom>
            <a:solidFill>
              <a:srgbClr val="1CABE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1" name="Group 30">
            <a:extLst>
              <a:ext uri="{FF2B5EF4-FFF2-40B4-BE49-F238E27FC236}">
                <a16:creationId xmlns:a16="http://schemas.microsoft.com/office/drawing/2014/main" id="{95366A7E-C182-CD68-D67F-7BE3889FD635}"/>
              </a:ext>
            </a:extLst>
          </p:cNvPr>
          <p:cNvGrpSpPr/>
          <p:nvPr/>
        </p:nvGrpSpPr>
        <p:grpSpPr>
          <a:xfrm>
            <a:off x="5379198" y="3972758"/>
            <a:ext cx="108000" cy="260029"/>
            <a:chOff x="3279856" y="4621507"/>
            <a:chExt cx="108000" cy="375905"/>
          </a:xfrm>
        </p:grpSpPr>
        <p:cxnSp>
          <p:nvCxnSpPr>
            <p:cNvPr id="38" name="Straight Connector 37">
              <a:extLst>
                <a:ext uri="{FF2B5EF4-FFF2-40B4-BE49-F238E27FC236}">
                  <a16:creationId xmlns:a16="http://schemas.microsoft.com/office/drawing/2014/main" id="{537E8E34-0E7D-725D-128D-1E9B549F0740}"/>
                </a:ext>
              </a:extLst>
            </p:cNvPr>
            <p:cNvCxnSpPr/>
            <p:nvPr/>
          </p:nvCxnSpPr>
          <p:spPr>
            <a:xfrm flipV="1">
              <a:off x="3325340" y="4621507"/>
              <a:ext cx="0" cy="242371"/>
            </a:xfrm>
            <a:prstGeom prst="line">
              <a:avLst/>
            </a:prstGeom>
            <a:noFill/>
            <a:ln w="9525" cap="flat" cmpd="sng" algn="ctr">
              <a:solidFill>
                <a:srgbClr val="53565A">
                  <a:lumMod val="90000"/>
                </a:srgbClr>
              </a:solidFill>
              <a:prstDash val="solid"/>
              <a:miter lim="800000"/>
            </a:ln>
            <a:effectLst/>
          </p:spPr>
        </p:cxnSp>
        <p:sp>
          <p:nvSpPr>
            <p:cNvPr id="39" name="Flowchart: Connector 38">
              <a:extLst>
                <a:ext uri="{FF2B5EF4-FFF2-40B4-BE49-F238E27FC236}">
                  <a16:creationId xmlns:a16="http://schemas.microsoft.com/office/drawing/2014/main" id="{BFC062BB-1C42-5D3B-E86B-FC9CEC428407}"/>
                </a:ext>
              </a:extLst>
            </p:cNvPr>
            <p:cNvSpPr/>
            <p:nvPr/>
          </p:nvSpPr>
          <p:spPr bwMode="gray">
            <a:xfrm>
              <a:off x="3279856" y="4889412"/>
              <a:ext cx="108000" cy="108000"/>
            </a:xfrm>
            <a:prstGeom prst="flowChartConnector">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5" name="Group 34">
            <a:extLst>
              <a:ext uri="{FF2B5EF4-FFF2-40B4-BE49-F238E27FC236}">
                <a16:creationId xmlns:a16="http://schemas.microsoft.com/office/drawing/2014/main" id="{1C1EF7F5-9D36-8ABF-C936-E595AF703960}"/>
              </a:ext>
            </a:extLst>
          </p:cNvPr>
          <p:cNvGrpSpPr>
            <a:grpSpLocks noChangeAspect="1"/>
          </p:cNvGrpSpPr>
          <p:nvPr/>
        </p:nvGrpSpPr>
        <p:grpSpPr>
          <a:xfrm>
            <a:off x="6648336" y="3080221"/>
            <a:ext cx="886554" cy="864397"/>
            <a:chOff x="6170778" y="1014257"/>
            <a:chExt cx="365760" cy="365760"/>
          </a:xfrm>
        </p:grpSpPr>
        <p:sp>
          <p:nvSpPr>
            <p:cNvPr id="36" name="Oval 35">
              <a:extLst>
                <a:ext uri="{FF2B5EF4-FFF2-40B4-BE49-F238E27FC236}">
                  <a16:creationId xmlns:a16="http://schemas.microsoft.com/office/drawing/2014/main" id="{BD761E19-54A7-DE64-970B-6E34A33E316B}"/>
                </a:ext>
              </a:extLst>
            </p:cNvPr>
            <p:cNvSpPr>
              <a:spLocks/>
            </p:cNvSpPr>
            <p:nvPr/>
          </p:nvSpPr>
          <p:spPr bwMode="gray">
            <a:xfrm>
              <a:off x="6170778" y="1014257"/>
              <a:ext cx="365760" cy="365760"/>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u="none" strike="noStrike" kern="0" cap="none" spc="0" normalizeH="0" baseline="0" noProof="0" dirty="0">
                <a:ln>
                  <a:noFill/>
                </a:ln>
                <a:solidFill>
                  <a:prstClr val="black"/>
                </a:solidFill>
                <a:effectLst/>
                <a:uLnTx/>
                <a:uFillTx/>
                <a:latin typeface="Open Sans" panose="020B0606030504020204" pitchFamily="34" charset="0"/>
                <a:ea typeface="+mn-ea"/>
                <a:cs typeface="+mn-cs"/>
              </a:endParaRPr>
            </a:p>
          </p:txBody>
        </p:sp>
        <p:sp>
          <p:nvSpPr>
            <p:cNvPr id="37" name="Oval 36">
              <a:extLst>
                <a:ext uri="{FF2B5EF4-FFF2-40B4-BE49-F238E27FC236}">
                  <a16:creationId xmlns:a16="http://schemas.microsoft.com/office/drawing/2014/main" id="{4947C5E0-0290-E25F-CB30-C39A7F5D3199}"/>
                </a:ext>
              </a:extLst>
            </p:cNvPr>
            <p:cNvSpPr>
              <a:spLocks/>
            </p:cNvSpPr>
            <p:nvPr/>
          </p:nvSpPr>
          <p:spPr bwMode="gray">
            <a:xfrm>
              <a:off x="6219844" y="1064549"/>
              <a:ext cx="267629" cy="265176"/>
            </a:xfrm>
            <a:prstGeom prst="ellipse">
              <a:avLst/>
            </a:prstGeom>
            <a:solidFill>
              <a:sysClr val="window" lastClr="FFFFFF"/>
            </a:solidFill>
            <a:ln w="28575" algn="ctr">
              <a:solidFill>
                <a:srgbClr val="9EE6EC"/>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50000"/>
                      <a:lumOff val="50000"/>
                    </a:prstClr>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sp>
        <p:nvSpPr>
          <p:cNvPr id="4" name="Freeform 7">
            <a:extLst>
              <a:ext uri="{FF2B5EF4-FFF2-40B4-BE49-F238E27FC236}">
                <a16:creationId xmlns:a16="http://schemas.microsoft.com/office/drawing/2014/main" id="{1946E280-0671-A540-075F-00B17CF19A3C}"/>
              </a:ext>
            </a:extLst>
          </p:cNvPr>
          <p:cNvSpPr>
            <a:spLocks/>
          </p:cNvSpPr>
          <p:nvPr/>
        </p:nvSpPr>
        <p:spPr bwMode="auto">
          <a:xfrm rot="16200000">
            <a:off x="1477575" y="2418124"/>
            <a:ext cx="687792" cy="1406982"/>
          </a:xfrm>
          <a:custGeom>
            <a:avLst/>
            <a:gdLst>
              <a:gd name="T0" fmla="*/ 0 w 372"/>
              <a:gd name="T1" fmla="*/ 744 h 744"/>
              <a:gd name="T2" fmla="*/ 0 w 372"/>
              <a:gd name="T3" fmla="*/ 696 h 744"/>
              <a:gd name="T4" fmla="*/ 324 w 372"/>
              <a:gd name="T5" fmla="*/ 372 h 744"/>
              <a:gd name="T6" fmla="*/ 0 w 372"/>
              <a:gd name="T7" fmla="*/ 48 h 744"/>
              <a:gd name="T8" fmla="*/ 0 w 372"/>
              <a:gd name="T9" fmla="*/ 0 h 744"/>
              <a:gd name="T10" fmla="*/ 372 w 372"/>
              <a:gd name="T11" fmla="*/ 372 h 744"/>
              <a:gd name="T12" fmla="*/ 0 w 372"/>
              <a:gd name="T13" fmla="*/ 744 h 744"/>
            </a:gdLst>
            <a:ahLst/>
            <a:cxnLst>
              <a:cxn ang="0">
                <a:pos x="T0" y="T1"/>
              </a:cxn>
              <a:cxn ang="0">
                <a:pos x="T2" y="T3"/>
              </a:cxn>
              <a:cxn ang="0">
                <a:pos x="T4" y="T5"/>
              </a:cxn>
              <a:cxn ang="0">
                <a:pos x="T6" y="T7"/>
              </a:cxn>
              <a:cxn ang="0">
                <a:pos x="T8" y="T9"/>
              </a:cxn>
              <a:cxn ang="0">
                <a:pos x="T10" y="T11"/>
              </a:cxn>
              <a:cxn ang="0">
                <a:pos x="T12" y="T13"/>
              </a:cxn>
            </a:cxnLst>
            <a:rect l="0" t="0" r="r" b="b"/>
            <a:pathLst>
              <a:path w="372" h="744">
                <a:moveTo>
                  <a:pt x="0" y="744"/>
                </a:moveTo>
                <a:cubicBezTo>
                  <a:pt x="0" y="696"/>
                  <a:pt x="0" y="696"/>
                  <a:pt x="0" y="696"/>
                </a:cubicBezTo>
                <a:cubicBezTo>
                  <a:pt x="178" y="696"/>
                  <a:pt x="324" y="551"/>
                  <a:pt x="324" y="372"/>
                </a:cubicBezTo>
                <a:cubicBezTo>
                  <a:pt x="324" y="193"/>
                  <a:pt x="178" y="48"/>
                  <a:pt x="0" y="48"/>
                </a:cubicBezTo>
                <a:cubicBezTo>
                  <a:pt x="0" y="0"/>
                  <a:pt x="0" y="0"/>
                  <a:pt x="0" y="0"/>
                </a:cubicBezTo>
                <a:cubicBezTo>
                  <a:pt x="205" y="0"/>
                  <a:pt x="372" y="167"/>
                  <a:pt x="372" y="372"/>
                </a:cubicBezTo>
                <a:cubicBezTo>
                  <a:pt x="372" y="577"/>
                  <a:pt x="205" y="744"/>
                  <a:pt x="0" y="744"/>
                </a:cubicBezTo>
                <a:close/>
              </a:path>
            </a:pathLst>
          </a:custGeom>
          <a:solidFill>
            <a:schemeClr val="accent3">
              <a:lumMod val="75000"/>
            </a:schemeClr>
          </a:solidFill>
          <a:ln w="381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 name="Oval 4">
            <a:extLst>
              <a:ext uri="{FF2B5EF4-FFF2-40B4-BE49-F238E27FC236}">
                <a16:creationId xmlns:a16="http://schemas.microsoft.com/office/drawing/2014/main" id="{21B9F970-85D7-D0F8-5AD1-7E943775B307}"/>
              </a:ext>
            </a:extLst>
          </p:cNvPr>
          <p:cNvSpPr>
            <a:spLocks/>
          </p:cNvSpPr>
          <p:nvPr/>
        </p:nvSpPr>
        <p:spPr bwMode="gray">
          <a:xfrm>
            <a:off x="1377358" y="3078148"/>
            <a:ext cx="886554" cy="864397"/>
          </a:xfrm>
          <a:prstGeom prst="ellipse">
            <a:avLst/>
          </a:prstGeom>
          <a:solidFill>
            <a:sysClr val="window" lastClr="FFFFFF">
              <a:lumMod val="95000"/>
            </a:sys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u="none" strike="noStrike" kern="0" cap="none" spc="0" normalizeH="0" baseline="0" noProof="0" dirty="0">
              <a:ln>
                <a:noFill/>
              </a:ln>
              <a:solidFill>
                <a:prstClr val="black"/>
              </a:solidFill>
              <a:effectLst/>
              <a:uLnTx/>
              <a:uFillTx/>
              <a:latin typeface="Open Sans" panose="020B0606030504020204" pitchFamily="34" charset="0"/>
              <a:ea typeface="+mn-ea"/>
              <a:cs typeface="+mn-cs"/>
            </a:endParaRPr>
          </a:p>
        </p:txBody>
      </p:sp>
      <p:sp>
        <p:nvSpPr>
          <p:cNvPr id="6" name="Oval 5">
            <a:extLst>
              <a:ext uri="{FF2B5EF4-FFF2-40B4-BE49-F238E27FC236}">
                <a16:creationId xmlns:a16="http://schemas.microsoft.com/office/drawing/2014/main" id="{14A19DE4-20F9-31FD-6476-1239DF736FFA}"/>
              </a:ext>
            </a:extLst>
          </p:cNvPr>
          <p:cNvSpPr>
            <a:spLocks/>
          </p:cNvSpPr>
          <p:nvPr/>
        </p:nvSpPr>
        <p:spPr bwMode="gray">
          <a:xfrm>
            <a:off x="1496288" y="3197003"/>
            <a:ext cx="648697" cy="626687"/>
          </a:xfrm>
          <a:prstGeom prst="ellipse">
            <a:avLst/>
          </a:prstGeom>
          <a:solidFill>
            <a:sysClr val="window" lastClr="FFFFFF"/>
          </a:solidFill>
          <a:ln w="28575" algn="ctr">
            <a:solidFill>
              <a:schemeClr val="accent3">
                <a:lumMod val="75000"/>
              </a:schemeClr>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50000"/>
                    <a:lumOff val="50000"/>
                  </a:prstClr>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0</a:t>
            </a:r>
          </a:p>
        </p:txBody>
      </p:sp>
      <p:cxnSp>
        <p:nvCxnSpPr>
          <p:cNvPr id="9" name="Straight Connector 8">
            <a:extLst>
              <a:ext uri="{FF2B5EF4-FFF2-40B4-BE49-F238E27FC236}">
                <a16:creationId xmlns:a16="http://schemas.microsoft.com/office/drawing/2014/main" id="{F1EEF7FA-02A6-6A2E-399C-94949A758B1F}"/>
              </a:ext>
            </a:extLst>
          </p:cNvPr>
          <p:cNvCxnSpPr/>
          <p:nvPr/>
        </p:nvCxnSpPr>
        <p:spPr>
          <a:xfrm flipV="1">
            <a:off x="1804871" y="3972271"/>
            <a:ext cx="0" cy="167658"/>
          </a:xfrm>
          <a:prstGeom prst="line">
            <a:avLst/>
          </a:prstGeom>
          <a:noFill/>
          <a:ln w="9525" cap="flat" cmpd="sng" algn="ctr">
            <a:solidFill>
              <a:srgbClr val="53565A">
                <a:lumMod val="90000"/>
              </a:srgbClr>
            </a:solidFill>
            <a:prstDash val="solid"/>
            <a:miter lim="800000"/>
          </a:ln>
          <a:effectLst/>
        </p:spPr>
      </p:cxnSp>
      <p:sp>
        <p:nvSpPr>
          <p:cNvPr id="10" name="Flowchart: Connector 9">
            <a:extLst>
              <a:ext uri="{FF2B5EF4-FFF2-40B4-BE49-F238E27FC236}">
                <a16:creationId xmlns:a16="http://schemas.microsoft.com/office/drawing/2014/main" id="{D48E1ACD-9D34-6CA1-4A3E-D3AABC3CFDD5}"/>
              </a:ext>
            </a:extLst>
          </p:cNvPr>
          <p:cNvSpPr/>
          <p:nvPr/>
        </p:nvSpPr>
        <p:spPr bwMode="gray">
          <a:xfrm>
            <a:off x="1772224" y="4157592"/>
            <a:ext cx="77520" cy="74708"/>
          </a:xfrm>
          <a:prstGeom prst="flowChartConnector">
            <a:avLst/>
          </a:prstGeom>
          <a:solidFill>
            <a:schemeClr val="accent3">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8428CFA7-9C1E-8A71-6ECE-2D4DFE1DCFF3}"/>
              </a:ext>
            </a:extLst>
          </p:cNvPr>
          <p:cNvSpPr/>
          <p:nvPr/>
        </p:nvSpPr>
        <p:spPr>
          <a:xfrm>
            <a:off x="1320921" y="4557399"/>
            <a:ext cx="1789771" cy="707514"/>
          </a:xfrm>
          <a:prstGeom prst="rect">
            <a:avLst/>
          </a:prstGeom>
        </p:spPr>
        <p:txBody>
          <a:bodyPr wrap="square" lIns="0" tIns="0" rIns="0" bIns="0">
            <a:noAutofit/>
          </a:bodyPr>
          <a:lstStyle/>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lear project objectives</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Understanding of business requirements</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Defined success metrics</a:t>
            </a:r>
            <a:endParaRPr kumimoji="0" lang="en-GB" sz="10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2" name="Straight Connector 11">
            <a:extLst>
              <a:ext uri="{FF2B5EF4-FFF2-40B4-BE49-F238E27FC236}">
                <a16:creationId xmlns:a16="http://schemas.microsoft.com/office/drawing/2014/main" id="{130F9FB5-9C86-D853-542A-92938EACB9FC}"/>
              </a:ext>
            </a:extLst>
          </p:cNvPr>
          <p:cNvCxnSpPr>
            <a:cxnSpLocks/>
          </p:cNvCxnSpPr>
          <p:nvPr/>
        </p:nvCxnSpPr>
        <p:spPr>
          <a:xfrm>
            <a:off x="1323727" y="4472601"/>
            <a:ext cx="1786966" cy="0"/>
          </a:xfrm>
          <a:prstGeom prst="line">
            <a:avLst/>
          </a:prstGeom>
          <a:noFill/>
          <a:ln w="19050" cap="flat" cmpd="sng" algn="ctr">
            <a:solidFill>
              <a:schemeClr val="accent3">
                <a:lumMod val="75000"/>
              </a:schemeClr>
            </a:solidFill>
            <a:prstDash val="solid"/>
          </a:ln>
          <a:effectLst/>
        </p:spPr>
      </p:cxnSp>
      <p:sp>
        <p:nvSpPr>
          <p:cNvPr id="13" name="TextBox 12">
            <a:extLst>
              <a:ext uri="{FF2B5EF4-FFF2-40B4-BE49-F238E27FC236}">
                <a16:creationId xmlns:a16="http://schemas.microsoft.com/office/drawing/2014/main" id="{DBB7F02C-A15B-D318-8E91-C72E0E2D4887}"/>
              </a:ext>
            </a:extLst>
          </p:cNvPr>
          <p:cNvSpPr txBox="1">
            <a:spLocks/>
          </p:cNvSpPr>
          <p:nvPr/>
        </p:nvSpPr>
        <p:spPr>
          <a:xfrm>
            <a:off x="1323727" y="4295428"/>
            <a:ext cx="1470917"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100" b="1" i="0" u="none" strike="noStrike" kern="1200" cap="small" spc="30" normalizeH="0" baseline="0" noProof="0" dirty="0">
                <a:ln>
                  <a:noFill/>
                </a:ln>
                <a:solidFill>
                  <a:schemeClr val="accent3">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hallenge Definition</a:t>
            </a:r>
          </a:p>
        </p:txBody>
      </p:sp>
      <p:sp>
        <p:nvSpPr>
          <p:cNvPr id="54" name="Rectangle 53">
            <a:extLst>
              <a:ext uri="{FF2B5EF4-FFF2-40B4-BE49-F238E27FC236}">
                <a16:creationId xmlns:a16="http://schemas.microsoft.com/office/drawing/2014/main" id="{DD040609-D81F-33B9-C42A-5C47662EF3D6}"/>
              </a:ext>
            </a:extLst>
          </p:cNvPr>
          <p:cNvSpPr/>
          <p:nvPr/>
        </p:nvSpPr>
        <p:spPr bwMode="gray">
          <a:xfrm>
            <a:off x="616927" y="1673420"/>
            <a:ext cx="235588" cy="3773597"/>
          </a:xfrm>
          <a:prstGeom prst="rect">
            <a:avLst/>
          </a:prstGeom>
          <a:solidFill>
            <a:srgbClr val="00B0F0"/>
          </a:solidFill>
          <a:ln w="19050" algn="ctr">
            <a:noFill/>
            <a:miter lim="800000"/>
            <a:headEnd/>
            <a:tailEnd/>
          </a:ln>
        </p:spPr>
        <p:txBody>
          <a:bodyPr vert="vert" wrap="square" lIns="0" tIns="0" rIns="0" bIns="0" rtlCol="0" anchor="ctr"/>
          <a:lstStyle/>
          <a:p>
            <a:pPr marL="0" marR="86995" lvl="0" indent="0" algn="ctr" defTabSz="914400" rtl="0" eaLnBrk="1" fontAlgn="auto" latinLnBrk="0" hangingPunct="1">
              <a:lnSpc>
                <a:spcPct val="100000"/>
              </a:lnSpc>
              <a:spcAft>
                <a:spcPts val="0"/>
              </a:spcAft>
              <a:buClrTx/>
              <a:buSzTx/>
              <a:buFontTx/>
              <a:buNone/>
              <a:tabLst/>
              <a:defRPr/>
            </a:pPr>
            <a:r>
              <a:rPr kumimoji="0" lang="pt-BR" sz="1050" b="1" i="0" u="none" strike="noStrike" kern="1200" cap="none" spc="0" normalizeH="0" baseline="0" noProof="0" dirty="0">
                <a:ln>
                  <a:noFill/>
                </a:ln>
                <a:solidFill>
                  <a:schemeClr val="tx1">
                    <a:lumMod val="75000"/>
                    <a:lumOff val="25000"/>
                  </a:schemeClr>
                </a:solidFill>
                <a:effectLst/>
                <a:uLnTx/>
                <a:uFillTx/>
                <a:latin typeface="Open Sans"/>
                <a:ea typeface="+mn-ea"/>
                <a:cs typeface="Open Sans"/>
              </a:rPr>
              <a:t>D E L I V E R   A</a:t>
            </a:r>
            <a:r>
              <a:rPr kumimoji="0" lang="pt-BR" sz="1050" b="1" i="0" u="none" strike="noStrike" kern="1200" cap="none" spc="165" normalizeH="0" baseline="0" noProof="0" dirty="0">
                <a:ln>
                  <a:noFill/>
                </a:ln>
                <a:solidFill>
                  <a:schemeClr val="tx1">
                    <a:lumMod val="75000"/>
                    <a:lumOff val="25000"/>
                  </a:schemeClr>
                </a:solidFill>
                <a:effectLst/>
                <a:uLnTx/>
                <a:uFillTx/>
                <a:latin typeface="Open Sans"/>
                <a:ea typeface="+mn-ea"/>
                <a:cs typeface="Open Sans"/>
              </a:rPr>
              <a:t> </a:t>
            </a:r>
            <a:r>
              <a:rPr kumimoji="0" lang="pt-BR" sz="1050" b="1" i="0" u="none" strike="noStrike" kern="1200" cap="none" spc="0" normalizeH="0" baseline="0" noProof="0" dirty="0">
                <a:ln>
                  <a:noFill/>
                </a:ln>
                <a:solidFill>
                  <a:schemeClr val="tx1">
                    <a:lumMod val="75000"/>
                    <a:lumOff val="25000"/>
                  </a:schemeClr>
                </a:solidFill>
                <a:effectLst/>
                <a:uLnTx/>
                <a:uFillTx/>
                <a:latin typeface="Open Sans"/>
                <a:ea typeface="+mn-ea"/>
                <a:cs typeface="Open Sans"/>
              </a:rPr>
              <a:t>I</a:t>
            </a:r>
            <a:endParaRPr kumimoji="0" lang="pt-BR" sz="1050" b="0" i="0" u="none" strike="noStrike" kern="1200" cap="none" spc="0" normalizeH="0" baseline="0" noProof="0" dirty="0">
              <a:ln>
                <a:noFill/>
              </a:ln>
              <a:solidFill>
                <a:schemeClr val="tx1">
                  <a:lumMod val="75000"/>
                  <a:lumOff val="25000"/>
                </a:schemeClr>
              </a:solidFill>
              <a:effectLst/>
              <a:uLnTx/>
              <a:uFillTx/>
              <a:latin typeface="Open Sans"/>
              <a:ea typeface="+mn-ea"/>
              <a:cs typeface="Open Sans"/>
            </a:endParaRPr>
          </a:p>
        </p:txBody>
      </p:sp>
      <p:grpSp>
        <p:nvGrpSpPr>
          <p:cNvPr id="1061" name="Group 1060">
            <a:extLst>
              <a:ext uri="{FF2B5EF4-FFF2-40B4-BE49-F238E27FC236}">
                <a16:creationId xmlns:a16="http://schemas.microsoft.com/office/drawing/2014/main" id="{9856F6F9-3AAE-BA27-533F-E2268B1456CA}"/>
              </a:ext>
            </a:extLst>
          </p:cNvPr>
          <p:cNvGrpSpPr/>
          <p:nvPr/>
        </p:nvGrpSpPr>
        <p:grpSpPr>
          <a:xfrm>
            <a:off x="8905120" y="1569512"/>
            <a:ext cx="691696" cy="691696"/>
            <a:chOff x="12945447" y="1803794"/>
            <a:chExt cx="691696" cy="691696"/>
          </a:xfrm>
        </p:grpSpPr>
        <p:sp>
          <p:nvSpPr>
            <p:cNvPr id="1052" name="Oval 1051">
              <a:extLst>
                <a:ext uri="{FF2B5EF4-FFF2-40B4-BE49-F238E27FC236}">
                  <a16:creationId xmlns:a16="http://schemas.microsoft.com/office/drawing/2014/main" id="{E88EB698-AF96-F136-B724-799D9D3EAD65}"/>
                </a:ext>
              </a:extLst>
            </p:cNvPr>
            <p:cNvSpPr/>
            <p:nvPr/>
          </p:nvSpPr>
          <p:spPr bwMode="gray">
            <a:xfrm>
              <a:off x="12945447" y="1803794"/>
              <a:ext cx="691696" cy="69169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457200" eaLnBrk="1" fontAlgn="base" latinLnBrk="0" hangingPunct="1">
                <a:lnSpc>
                  <a:spcPct val="106000"/>
                </a:lnSpc>
                <a:spcBef>
                  <a:spcPct val="0"/>
                </a:spcBef>
                <a:spcAft>
                  <a:spcPct val="0"/>
                </a:spcAft>
                <a:buClrTx/>
                <a:buSzTx/>
                <a:buFont typeface="Wingdings 2" pitchFamily="18" charset="2"/>
                <a:buNone/>
                <a:tabLst/>
                <a:defRPr/>
              </a:pPr>
              <a:endParaRPr kumimoji="0" lang="en-CZ" sz="1600" b="1" i="0" u="none" strike="noStrike" kern="0" cap="none" spc="0" normalizeH="0" baseline="0" noProof="0" dirty="0">
                <a:ln>
                  <a:noFill/>
                </a:ln>
                <a:solidFill>
                  <a:prstClr val="white"/>
                </a:solidFill>
                <a:effectLst/>
                <a:uLnTx/>
                <a:uFillTx/>
                <a:latin typeface="Verdana" panose="020B0604030504040204" pitchFamily="34" charset="0"/>
                <a:ea typeface="ヒラギノ角ゴ Pro W3" panose="020B0300000000000000" pitchFamily="34" charset="-128"/>
              </a:endParaRPr>
            </a:p>
          </p:txBody>
        </p:sp>
        <p:sp>
          <p:nvSpPr>
            <p:cNvPr id="1054" name="Freeform 827">
              <a:extLst>
                <a:ext uri="{FF2B5EF4-FFF2-40B4-BE49-F238E27FC236}">
                  <a16:creationId xmlns:a16="http://schemas.microsoft.com/office/drawing/2014/main" id="{E32A3B53-84DB-F490-6F01-0CAECFF11CCD}"/>
                </a:ext>
              </a:extLst>
            </p:cNvPr>
            <p:cNvSpPr>
              <a:spLocks noEditPoints="1"/>
            </p:cNvSpPr>
            <p:nvPr/>
          </p:nvSpPr>
          <p:spPr bwMode="auto">
            <a:xfrm rot="16200000">
              <a:off x="13023630" y="1881977"/>
              <a:ext cx="535330" cy="53533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ヒラギノ角ゴ Pro W3" panose="020B0300000000000000" pitchFamily="34" charset="-128"/>
                <a:cs typeface="Calibri" panose="020F0502020204030204" pitchFamily="34" charset="0"/>
              </a:endParaRPr>
            </a:p>
          </p:txBody>
        </p:sp>
        <p:pic>
          <p:nvPicPr>
            <p:cNvPr id="1060" name="Graphic 1059" descr="City with solid fill">
              <a:extLst>
                <a:ext uri="{FF2B5EF4-FFF2-40B4-BE49-F238E27FC236}">
                  <a16:creationId xmlns:a16="http://schemas.microsoft.com/office/drawing/2014/main" id="{AD820F8E-948D-C444-E892-6DEE68E0507B}"/>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3108415" y="1966762"/>
              <a:ext cx="365760" cy="365760"/>
            </a:xfrm>
            <a:prstGeom prst="rect">
              <a:avLst/>
            </a:prstGeom>
          </p:spPr>
        </p:pic>
      </p:grpSp>
      <p:sp>
        <p:nvSpPr>
          <p:cNvPr id="1076" name="Rectangle 1075">
            <a:extLst>
              <a:ext uri="{FF2B5EF4-FFF2-40B4-BE49-F238E27FC236}">
                <a16:creationId xmlns:a16="http://schemas.microsoft.com/office/drawing/2014/main" id="{BBF3F9CA-307F-2B85-EC65-FB1727C11861}"/>
              </a:ext>
            </a:extLst>
          </p:cNvPr>
          <p:cNvSpPr/>
          <p:nvPr/>
        </p:nvSpPr>
        <p:spPr bwMode="gray">
          <a:xfrm>
            <a:off x="616927" y="5556069"/>
            <a:ext cx="235588" cy="1181059"/>
          </a:xfrm>
          <a:prstGeom prst="rect">
            <a:avLst/>
          </a:prstGeom>
          <a:solidFill>
            <a:srgbClr val="A0DCFF"/>
          </a:solidFill>
          <a:ln w="19050" algn="ctr">
            <a:noFill/>
            <a:miter lim="800000"/>
            <a:headEnd/>
            <a:tailEnd/>
          </a:ln>
        </p:spPr>
        <p:txBody>
          <a:bodyPr vert="vert" wrap="square" lIns="0" tIns="0" rIns="0" bIns="0" rtlCol="0" anchor="ctr"/>
          <a:lstStyle/>
          <a:p>
            <a:pPr marR="13335" algn="ctr"/>
            <a:r>
              <a:rPr lang="pt-BR" sz="1050" b="1" dirty="0">
                <a:solidFill>
                  <a:schemeClr val="tx1">
                    <a:lumMod val="75000"/>
                    <a:lumOff val="25000"/>
                  </a:schemeClr>
                </a:solidFill>
                <a:latin typeface="Open Sans"/>
                <a:cs typeface="Open Sans"/>
              </a:rPr>
              <a:t>RUN AI</a:t>
            </a:r>
          </a:p>
        </p:txBody>
      </p:sp>
      <p:sp>
        <p:nvSpPr>
          <p:cNvPr id="1077" name="TextBox 1076">
            <a:extLst>
              <a:ext uri="{FF2B5EF4-FFF2-40B4-BE49-F238E27FC236}">
                <a16:creationId xmlns:a16="http://schemas.microsoft.com/office/drawing/2014/main" id="{F57339FD-5E09-D4F3-5D9D-BD4222F23244}"/>
              </a:ext>
            </a:extLst>
          </p:cNvPr>
          <p:cNvSpPr txBox="1"/>
          <p:nvPr/>
        </p:nvSpPr>
        <p:spPr>
          <a:xfrm>
            <a:off x="1117981" y="5768013"/>
            <a:ext cx="4711900" cy="969113"/>
          </a:xfrm>
          <a:prstGeom prst="rect">
            <a:avLst/>
          </a:prstGeom>
          <a:noFill/>
          <a:ln>
            <a:noFill/>
          </a:ln>
        </p:spPr>
        <p:txBody>
          <a:bodyPr wrap="square" lIns="0" tIns="91440" rIns="0" bIns="91440" rtlCol="0" anchor="t">
            <a:noAutofit/>
          </a:bodyPr>
          <a:lstStyle/>
          <a:p>
            <a:pPr marL="171450" indent="-171450">
              <a:spcBef>
                <a:spcPts val="600"/>
              </a:spcBef>
              <a:buSzPct val="100000"/>
              <a:buFont typeface="Arial" panose="020B0604020202020204" pitchFamily="34" charset="0"/>
              <a:buChar char="•"/>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With a dedicated </a:t>
            </a:r>
            <a:r>
              <a:rPr lang="en-US" sz="1000" dirty="0" err="1">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MLOps</a:t>
            </a: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 Team, we ensure that our models do not just serve immediate needs but keep running and adopting to their environment on the long term.</a:t>
            </a:r>
          </a:p>
          <a:p>
            <a:pPr marL="171450" indent="-171450">
              <a:spcBef>
                <a:spcPts val="600"/>
              </a:spcBef>
              <a:buSzPct val="100000"/>
              <a:buFont typeface="Arial" panose="020B0604020202020204" pitchFamily="34" charset="0"/>
              <a:buChar char="•"/>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y monitoring the model performance and the underlying data, the team is ready to intervene when reality deviates from expectations.</a:t>
            </a:r>
          </a:p>
        </p:txBody>
      </p:sp>
      <p:cxnSp>
        <p:nvCxnSpPr>
          <p:cNvPr id="1078" name="Straight Connector 1077">
            <a:extLst>
              <a:ext uri="{FF2B5EF4-FFF2-40B4-BE49-F238E27FC236}">
                <a16:creationId xmlns:a16="http://schemas.microsoft.com/office/drawing/2014/main" id="{BCAA8C4C-2B40-45F2-8399-690FFBE81C25}"/>
              </a:ext>
            </a:extLst>
          </p:cNvPr>
          <p:cNvCxnSpPr>
            <a:cxnSpLocks/>
          </p:cNvCxnSpPr>
          <p:nvPr/>
        </p:nvCxnSpPr>
        <p:spPr>
          <a:xfrm>
            <a:off x="1150640" y="5760117"/>
            <a:ext cx="2202166" cy="0"/>
          </a:xfrm>
          <a:prstGeom prst="line">
            <a:avLst/>
          </a:prstGeom>
          <a:noFill/>
          <a:ln w="19050" cap="flat" cmpd="sng" algn="ctr">
            <a:solidFill>
              <a:srgbClr val="A0DCFF"/>
            </a:solidFill>
            <a:prstDash val="solid"/>
          </a:ln>
          <a:effectLst/>
        </p:spPr>
      </p:cxnSp>
      <p:sp>
        <p:nvSpPr>
          <p:cNvPr id="1079" name="TextBox 1078">
            <a:extLst>
              <a:ext uri="{FF2B5EF4-FFF2-40B4-BE49-F238E27FC236}">
                <a16:creationId xmlns:a16="http://schemas.microsoft.com/office/drawing/2014/main" id="{01AE4196-578B-6F04-258B-2A339B38E081}"/>
              </a:ext>
            </a:extLst>
          </p:cNvPr>
          <p:cNvSpPr txBox="1">
            <a:spLocks/>
          </p:cNvSpPr>
          <p:nvPr/>
        </p:nvSpPr>
        <p:spPr>
          <a:xfrm>
            <a:off x="1150640" y="5582944"/>
            <a:ext cx="2202166"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100" b="1" i="0" u="none" strike="noStrike" kern="1200" cap="small" spc="30" normalizeH="0" baseline="0" noProof="0" dirty="0">
                <a:ln>
                  <a:noFill/>
                </a:ln>
                <a:solidFill>
                  <a:srgbClr val="A0DCFF"/>
                </a:solidFill>
                <a:effectLst/>
                <a:uLnTx/>
                <a:uFillTx/>
                <a:latin typeface="Open Sans" panose="020B0606030504020204" pitchFamily="34" charset="0"/>
                <a:ea typeface="Open Sans" panose="020B0606030504020204" pitchFamily="34" charset="0"/>
                <a:cs typeface="Open Sans" panose="020B0606030504020204" pitchFamily="34" charset="0"/>
              </a:rPr>
              <a:t>Machine Learning Operations</a:t>
            </a:r>
          </a:p>
        </p:txBody>
      </p:sp>
      <p:sp>
        <p:nvSpPr>
          <p:cNvPr id="1083" name="Rectangle 1082">
            <a:extLst>
              <a:ext uri="{FF2B5EF4-FFF2-40B4-BE49-F238E27FC236}">
                <a16:creationId xmlns:a16="http://schemas.microsoft.com/office/drawing/2014/main" id="{82988F3A-B36F-03D0-5EDC-9A0340748CCF}"/>
              </a:ext>
            </a:extLst>
          </p:cNvPr>
          <p:cNvSpPr/>
          <p:nvPr/>
        </p:nvSpPr>
        <p:spPr bwMode="gray">
          <a:xfrm>
            <a:off x="8605390" y="4496568"/>
            <a:ext cx="3586607" cy="2371925"/>
          </a:xfrm>
          <a:prstGeom prst="rect">
            <a:avLst/>
          </a:prstGeom>
          <a:gradFill flip="none" rotWithShape="1">
            <a:gsLst>
              <a:gs pos="0">
                <a:schemeClr val="bg1"/>
              </a:gs>
              <a:gs pos="50000">
                <a:schemeClr val="bg1">
                  <a:alpha val="50000"/>
                </a:schemeClr>
              </a:gs>
              <a:gs pos="100000">
                <a:schemeClr val="bg1">
                  <a:alpha val="0"/>
                </a:schemeClr>
              </a:gs>
            </a:gsLst>
            <a:path path="circle">
              <a:fillToRect r="100000" b="100000"/>
            </a:path>
            <a:tileRect l="-100000" t="-10000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 name="Straight Connector 31">
            <a:extLst>
              <a:ext uri="{FF2B5EF4-FFF2-40B4-BE49-F238E27FC236}">
                <a16:creationId xmlns:a16="http://schemas.microsoft.com/office/drawing/2014/main" id="{267BA19D-519C-51EB-70A0-219D54A90A25}"/>
              </a:ext>
            </a:extLst>
          </p:cNvPr>
          <p:cNvCxnSpPr>
            <a:cxnSpLocks/>
          </p:cNvCxnSpPr>
          <p:nvPr/>
        </p:nvCxnSpPr>
        <p:spPr>
          <a:xfrm>
            <a:off x="6381457" y="4471508"/>
            <a:ext cx="2468880" cy="1"/>
          </a:xfrm>
          <a:prstGeom prst="line">
            <a:avLst/>
          </a:prstGeom>
          <a:noFill/>
          <a:ln w="19050" cap="flat" cmpd="sng" algn="ctr">
            <a:solidFill>
              <a:srgbClr val="9EE6EC"/>
            </a:solidFill>
            <a:prstDash val="solid"/>
          </a:ln>
          <a:effectLst/>
        </p:spPr>
      </p:cxnSp>
      <p:sp>
        <p:nvSpPr>
          <p:cNvPr id="33" name="TextBox 32">
            <a:extLst>
              <a:ext uri="{FF2B5EF4-FFF2-40B4-BE49-F238E27FC236}">
                <a16:creationId xmlns:a16="http://schemas.microsoft.com/office/drawing/2014/main" id="{3C636210-4873-68CF-8F8E-EAF8CBCBAAC4}"/>
              </a:ext>
            </a:extLst>
          </p:cNvPr>
          <p:cNvSpPr txBox="1">
            <a:spLocks/>
          </p:cNvSpPr>
          <p:nvPr/>
        </p:nvSpPr>
        <p:spPr>
          <a:xfrm>
            <a:off x="6381979" y="4295428"/>
            <a:ext cx="2469853"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100" b="1" i="0" u="none" strike="noStrike" kern="1200" cap="small" spc="30" normalizeH="0" baseline="0" noProof="0" dirty="0">
                <a:ln>
                  <a:noFill/>
                </a:ln>
                <a:solidFill>
                  <a:srgbClr val="9EE6EC"/>
                </a:solidFill>
                <a:effectLst/>
                <a:uLnTx/>
                <a:uFillTx/>
                <a:latin typeface="Open Sans" panose="020B0606030504020204" pitchFamily="34" charset="0"/>
                <a:ea typeface="Open Sans" panose="020B0606030504020204" pitchFamily="34" charset="0"/>
                <a:cs typeface="Open Sans" panose="020B0606030504020204" pitchFamily="34" charset="0"/>
              </a:rPr>
              <a:t>Deployment, Automation &amp; Scaling</a:t>
            </a:r>
          </a:p>
        </p:txBody>
      </p:sp>
      <p:sp>
        <p:nvSpPr>
          <p:cNvPr id="34" name="Flowchart: Connector 33">
            <a:extLst>
              <a:ext uri="{FF2B5EF4-FFF2-40B4-BE49-F238E27FC236}">
                <a16:creationId xmlns:a16="http://schemas.microsoft.com/office/drawing/2014/main" id="{A6215B7D-94EE-9996-3102-D2052FB41293}"/>
              </a:ext>
            </a:extLst>
          </p:cNvPr>
          <p:cNvSpPr/>
          <p:nvPr/>
        </p:nvSpPr>
        <p:spPr bwMode="gray">
          <a:xfrm flipV="1">
            <a:off x="7071160" y="4158071"/>
            <a:ext cx="76623" cy="74708"/>
          </a:xfrm>
          <a:prstGeom prst="flowChartConnector">
            <a:avLst/>
          </a:prstGeom>
          <a:solidFill>
            <a:srgbClr val="9EE6E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7232B5F7-9D3D-D340-5BB8-D4652E280856}"/>
              </a:ext>
            </a:extLst>
          </p:cNvPr>
          <p:cNvSpPr/>
          <p:nvPr/>
        </p:nvSpPr>
        <p:spPr>
          <a:xfrm>
            <a:off x="6381456" y="4557399"/>
            <a:ext cx="2468875" cy="643440"/>
          </a:xfrm>
          <a:prstGeom prst="rect">
            <a:avLst/>
          </a:prstGeom>
        </p:spPr>
        <p:txBody>
          <a:bodyPr wrap="square" lIns="0" tIns="0" rIns="0" bIns="0">
            <a:noAutofit/>
          </a:bodyPr>
          <a:lstStyle/>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al-time predictions</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obust solutions that adapt to demand</a:t>
            </a:r>
          </a:p>
          <a:p>
            <a:pPr marL="144000" marR="0" lvl="0" indent="-144000"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amless integration into business operations</a:t>
            </a:r>
            <a:endParaRPr kumimoji="0" lang="en-GB" sz="1000" b="0" i="0" u="none" strike="noStrike" kern="0" cap="none" spc="0" normalizeH="0" baseline="0" noProof="0" dirty="0">
              <a:ln>
                <a:noFill/>
              </a:ln>
              <a:solidFill>
                <a:prstClr val="black">
                  <a:lumMod val="50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56" name="Rectangle 1055">
            <a:extLst>
              <a:ext uri="{FF2B5EF4-FFF2-40B4-BE49-F238E27FC236}">
                <a16:creationId xmlns:a16="http://schemas.microsoft.com/office/drawing/2014/main" id="{C03E3102-02D6-AAD4-FE62-A528D6B52FAE}"/>
              </a:ext>
            </a:extLst>
          </p:cNvPr>
          <p:cNvSpPr/>
          <p:nvPr/>
        </p:nvSpPr>
        <p:spPr bwMode="gray">
          <a:xfrm>
            <a:off x="9320281" y="2593135"/>
            <a:ext cx="2164294" cy="1086964"/>
          </a:xfrm>
          <a:prstGeom prst="rect">
            <a:avLst/>
          </a:prstGeom>
          <a:noFill/>
          <a:ln w="28575" algn="ctr">
            <a:noFill/>
            <a:miter lim="800000"/>
            <a:headEnd/>
            <a:tailEnd/>
          </a:ln>
        </p:spPr>
        <p:txBody>
          <a:bodyPr wrap="square" lIns="91440" tIns="73152" rIns="88900" bIns="88900" numCol="1" rtlCol="0" anchor="t">
            <a:spAutoFit/>
          </a:bodyPr>
          <a:lstStyle/>
          <a:p>
            <a:pPr defTabSz="1341150">
              <a:defRPr/>
            </a:pPr>
            <a:r>
              <a:rPr lang="en-US" sz="1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By working with all the largest technology vendors, we can choose the ML tools that are the best fir for both our client and the task at hand.</a:t>
            </a:r>
          </a:p>
          <a:p>
            <a:pPr defTabSz="1341150">
              <a:defRPr/>
            </a:pPr>
            <a:endParaRPr lang="en-US" sz="1000" b="1" dirty="0">
              <a:solidFill>
                <a:srgbClr val="53565A"/>
              </a:solidFill>
              <a:ea typeface="ヒラギノ角ゴ Pro W3" panose="020B0300000000000000" pitchFamily="34" charset="-128"/>
            </a:endParaRPr>
          </a:p>
        </p:txBody>
      </p:sp>
      <p:sp>
        <p:nvSpPr>
          <p:cNvPr id="1058" name="TextBox 1057">
            <a:extLst>
              <a:ext uri="{FF2B5EF4-FFF2-40B4-BE49-F238E27FC236}">
                <a16:creationId xmlns:a16="http://schemas.microsoft.com/office/drawing/2014/main" id="{3E33237F-100E-53CF-AD52-FCB7B5E053D7}"/>
              </a:ext>
            </a:extLst>
          </p:cNvPr>
          <p:cNvSpPr txBox="1"/>
          <p:nvPr/>
        </p:nvSpPr>
        <p:spPr>
          <a:xfrm>
            <a:off x="9320281" y="2234231"/>
            <a:ext cx="1825014" cy="430887"/>
          </a:xfrm>
          <a:prstGeom prst="rect">
            <a:avLst/>
          </a:prstGeom>
          <a:noFill/>
        </p:spPr>
        <p:txBody>
          <a:bodyPr wrap="square">
            <a:spAutoFit/>
          </a:bodyPr>
          <a:lstStyle/>
          <a:p>
            <a:pPr defTabSz="1341150">
              <a:defRPr/>
            </a:pPr>
            <a:r>
              <a:rPr lang="en-US" sz="1100" b="1" cap="small" spc="30" dirty="0">
                <a:solidFill>
                  <a:schemeClr val="accent3">
                    <a:lumMod val="75000"/>
                  </a:schemeClr>
                </a:solidFill>
                <a:latin typeface="Open Sans" panose="020B0606030504020204" pitchFamily="34" charset="0"/>
                <a:ea typeface="Open Sans" panose="020B0606030504020204" pitchFamily="34" charset="0"/>
                <a:cs typeface="Open Sans" panose="020B0606030504020204" pitchFamily="34" charset="0"/>
              </a:rPr>
              <a:t>Our Alliances</a:t>
            </a:r>
            <a:r>
              <a:rPr lang="hu-HU" sz="1100" b="1" cap="small" spc="30" dirty="0">
                <a:solidFill>
                  <a:schemeClr val="accent3">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b="1" cap="small" spc="30" dirty="0">
                <a:solidFill>
                  <a:schemeClr val="accent3">
                    <a:lumMod val="75000"/>
                  </a:schemeClr>
                </a:solidFill>
                <a:latin typeface="Open Sans" panose="020B0606030504020204" pitchFamily="34" charset="0"/>
                <a:ea typeface="Open Sans" panose="020B0606030504020204" pitchFamily="34" charset="0"/>
                <a:cs typeface="Open Sans" panose="020B0606030504020204" pitchFamily="34" charset="0"/>
              </a:rPr>
              <a:t>&amp; Vendor relations</a:t>
            </a:r>
          </a:p>
        </p:txBody>
      </p:sp>
      <p:grpSp>
        <p:nvGrpSpPr>
          <p:cNvPr id="1075" name="Group 1074">
            <a:extLst>
              <a:ext uri="{FF2B5EF4-FFF2-40B4-BE49-F238E27FC236}">
                <a16:creationId xmlns:a16="http://schemas.microsoft.com/office/drawing/2014/main" id="{6147D1E9-EF98-8BF6-98E4-BC3688C647E8}"/>
              </a:ext>
            </a:extLst>
          </p:cNvPr>
          <p:cNvGrpSpPr/>
          <p:nvPr/>
        </p:nvGrpSpPr>
        <p:grpSpPr>
          <a:xfrm>
            <a:off x="10592325" y="3827419"/>
            <a:ext cx="820892" cy="192301"/>
            <a:chOff x="10624147" y="3439143"/>
            <a:chExt cx="820892" cy="192301"/>
          </a:xfrm>
        </p:grpSpPr>
        <p:sp>
          <p:nvSpPr>
            <p:cNvPr id="1062" name="object 74">
              <a:extLst>
                <a:ext uri="{FF2B5EF4-FFF2-40B4-BE49-F238E27FC236}">
                  <a16:creationId xmlns:a16="http://schemas.microsoft.com/office/drawing/2014/main" id="{409BB9E4-3A22-1152-635B-CF6F30993CFF}"/>
                </a:ext>
              </a:extLst>
            </p:cNvPr>
            <p:cNvSpPr/>
            <p:nvPr/>
          </p:nvSpPr>
          <p:spPr>
            <a:xfrm>
              <a:off x="10624147" y="3439143"/>
              <a:ext cx="197190" cy="192301"/>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effectLst/>
                <a:uLnTx/>
                <a:uFillTx/>
                <a:latin typeface="Calibri"/>
                <a:ea typeface="+mn-ea"/>
                <a:cs typeface="+mn-cs"/>
              </a:endParaRPr>
            </a:p>
          </p:txBody>
        </p:sp>
        <p:sp>
          <p:nvSpPr>
            <p:cNvPr id="1063" name="object 75">
              <a:extLst>
                <a:ext uri="{FF2B5EF4-FFF2-40B4-BE49-F238E27FC236}">
                  <a16:creationId xmlns:a16="http://schemas.microsoft.com/office/drawing/2014/main" id="{AAC39294-D4FA-5DC1-3E51-429B41D42B40}"/>
                </a:ext>
              </a:extLst>
            </p:cNvPr>
            <p:cNvSpPr/>
            <p:nvPr/>
          </p:nvSpPr>
          <p:spPr>
            <a:xfrm>
              <a:off x="10845551" y="3484181"/>
              <a:ext cx="599488" cy="102225"/>
            </a:xfrm>
            <a:custGeom>
              <a:avLst/>
              <a:gdLst/>
              <a:ahLst/>
              <a:cxnLst/>
              <a:rect l="l" t="t" r="r" b="b"/>
              <a:pathLst>
                <a:path w="659130" h="112394">
                  <a:moveTo>
                    <a:pt x="617258" y="36512"/>
                  </a:moveTo>
                  <a:lnTo>
                    <a:pt x="602901" y="41030"/>
                  </a:lnTo>
                  <a:lnTo>
                    <a:pt x="591718" y="50323"/>
                  </a:lnTo>
                  <a:lnTo>
                    <a:pt x="584850" y="63083"/>
                  </a:lnTo>
                  <a:lnTo>
                    <a:pt x="583438" y="78003"/>
                  </a:lnTo>
                  <a:lnTo>
                    <a:pt x="587319" y="91468"/>
                  </a:lnTo>
                  <a:lnTo>
                    <a:pt x="595555" y="102231"/>
                  </a:lnTo>
                  <a:lnTo>
                    <a:pt x="607089" y="109446"/>
                  </a:lnTo>
                  <a:lnTo>
                    <a:pt x="620864" y="112268"/>
                  </a:lnTo>
                  <a:lnTo>
                    <a:pt x="624471" y="112268"/>
                  </a:lnTo>
                  <a:lnTo>
                    <a:pt x="634219" y="110179"/>
                  </a:lnTo>
                  <a:lnTo>
                    <a:pt x="642951" y="106064"/>
                  </a:lnTo>
                  <a:lnTo>
                    <a:pt x="645314" y="104152"/>
                  </a:lnTo>
                  <a:lnTo>
                    <a:pt x="620852" y="104152"/>
                  </a:lnTo>
                  <a:lnTo>
                    <a:pt x="609355" y="101592"/>
                  </a:lnTo>
                  <a:lnTo>
                    <a:pt x="599887" y="95189"/>
                  </a:lnTo>
                  <a:lnTo>
                    <a:pt x="593463" y="85828"/>
                  </a:lnTo>
                  <a:lnTo>
                    <a:pt x="591096" y="74396"/>
                  </a:lnTo>
                  <a:lnTo>
                    <a:pt x="656932" y="74396"/>
                  </a:lnTo>
                  <a:lnTo>
                    <a:pt x="658736" y="73037"/>
                  </a:lnTo>
                  <a:lnTo>
                    <a:pt x="658736" y="70332"/>
                  </a:lnTo>
                  <a:lnTo>
                    <a:pt x="657600" y="66725"/>
                  </a:lnTo>
                  <a:lnTo>
                    <a:pt x="591553" y="66725"/>
                  </a:lnTo>
                  <a:lnTo>
                    <a:pt x="595250" y="56976"/>
                  </a:lnTo>
                  <a:lnTo>
                    <a:pt x="601864" y="49593"/>
                  </a:lnTo>
                  <a:lnTo>
                    <a:pt x="610761" y="44915"/>
                  </a:lnTo>
                  <a:lnTo>
                    <a:pt x="621309" y="43281"/>
                  </a:lnTo>
                  <a:lnTo>
                    <a:pt x="642102" y="43281"/>
                  </a:lnTo>
                  <a:lnTo>
                    <a:pt x="632170" y="37932"/>
                  </a:lnTo>
                  <a:lnTo>
                    <a:pt x="617258" y="36512"/>
                  </a:lnTo>
                  <a:close/>
                </a:path>
                <a:path w="659130" h="112394">
                  <a:moveTo>
                    <a:pt x="652868" y="86118"/>
                  </a:moveTo>
                  <a:lnTo>
                    <a:pt x="650621" y="86563"/>
                  </a:lnTo>
                  <a:lnTo>
                    <a:pt x="649706" y="88366"/>
                  </a:lnTo>
                  <a:lnTo>
                    <a:pt x="645195" y="94572"/>
                  </a:lnTo>
                  <a:lnTo>
                    <a:pt x="639289" y="99469"/>
                  </a:lnTo>
                  <a:lnTo>
                    <a:pt x="632282" y="102761"/>
                  </a:lnTo>
                  <a:lnTo>
                    <a:pt x="624471" y="104152"/>
                  </a:lnTo>
                  <a:lnTo>
                    <a:pt x="645314" y="104152"/>
                  </a:lnTo>
                  <a:lnTo>
                    <a:pt x="650333" y="100091"/>
                  </a:lnTo>
                  <a:lnTo>
                    <a:pt x="656031" y="92430"/>
                  </a:lnTo>
                  <a:lnTo>
                    <a:pt x="656932" y="90627"/>
                  </a:lnTo>
                  <a:lnTo>
                    <a:pt x="656475" y="88366"/>
                  </a:lnTo>
                  <a:lnTo>
                    <a:pt x="654672" y="87020"/>
                  </a:lnTo>
                  <a:lnTo>
                    <a:pt x="652868" y="86118"/>
                  </a:lnTo>
                  <a:close/>
                </a:path>
                <a:path w="659130" h="112394">
                  <a:moveTo>
                    <a:pt x="642102" y="43281"/>
                  </a:moveTo>
                  <a:lnTo>
                    <a:pt x="621309" y="43281"/>
                  </a:lnTo>
                  <a:lnTo>
                    <a:pt x="631657" y="44915"/>
                  </a:lnTo>
                  <a:lnTo>
                    <a:pt x="640527" y="49593"/>
                  </a:lnTo>
                  <a:lnTo>
                    <a:pt x="647116" y="56976"/>
                  </a:lnTo>
                  <a:lnTo>
                    <a:pt x="650621" y="66725"/>
                  </a:lnTo>
                  <a:lnTo>
                    <a:pt x="657600" y="66725"/>
                  </a:lnTo>
                  <a:lnTo>
                    <a:pt x="654218" y="55982"/>
                  </a:lnTo>
                  <a:lnTo>
                    <a:pt x="644926" y="44802"/>
                  </a:lnTo>
                  <a:lnTo>
                    <a:pt x="642102" y="43281"/>
                  </a:lnTo>
                  <a:close/>
                </a:path>
                <a:path w="659130" h="112394">
                  <a:moveTo>
                    <a:pt x="522566" y="0"/>
                  </a:moveTo>
                  <a:lnTo>
                    <a:pt x="518058" y="0"/>
                  </a:lnTo>
                  <a:lnTo>
                    <a:pt x="516255" y="1803"/>
                  </a:lnTo>
                  <a:lnTo>
                    <a:pt x="516255" y="110007"/>
                  </a:lnTo>
                  <a:lnTo>
                    <a:pt x="518058" y="111810"/>
                  </a:lnTo>
                  <a:lnTo>
                    <a:pt x="522566" y="111810"/>
                  </a:lnTo>
                  <a:lnTo>
                    <a:pt x="524370" y="110007"/>
                  </a:lnTo>
                  <a:lnTo>
                    <a:pt x="524370" y="89725"/>
                  </a:lnTo>
                  <a:lnTo>
                    <a:pt x="534746" y="79349"/>
                  </a:lnTo>
                  <a:lnTo>
                    <a:pt x="524370" y="79349"/>
                  </a:lnTo>
                  <a:lnTo>
                    <a:pt x="524370" y="1803"/>
                  </a:lnTo>
                  <a:lnTo>
                    <a:pt x="522566" y="0"/>
                  </a:lnTo>
                  <a:close/>
                </a:path>
                <a:path w="659130" h="112394">
                  <a:moveTo>
                    <a:pt x="550486" y="73939"/>
                  </a:moveTo>
                  <a:lnTo>
                    <a:pt x="540156" y="73939"/>
                  </a:lnTo>
                  <a:lnTo>
                    <a:pt x="569912" y="110007"/>
                  </a:lnTo>
                  <a:lnTo>
                    <a:pt x="570357" y="110909"/>
                  </a:lnTo>
                  <a:lnTo>
                    <a:pt x="571715" y="111366"/>
                  </a:lnTo>
                  <a:lnTo>
                    <a:pt x="575322" y="111366"/>
                  </a:lnTo>
                  <a:lnTo>
                    <a:pt x="576668" y="110007"/>
                  </a:lnTo>
                  <a:lnTo>
                    <a:pt x="577126" y="107759"/>
                  </a:lnTo>
                  <a:lnTo>
                    <a:pt x="577126" y="106857"/>
                  </a:lnTo>
                  <a:lnTo>
                    <a:pt x="576668" y="105498"/>
                  </a:lnTo>
                  <a:lnTo>
                    <a:pt x="576224" y="105054"/>
                  </a:lnTo>
                  <a:lnTo>
                    <a:pt x="550486" y="73939"/>
                  </a:lnTo>
                  <a:close/>
                </a:path>
                <a:path w="659130" h="112394">
                  <a:moveTo>
                    <a:pt x="574421" y="32905"/>
                  </a:moveTo>
                  <a:lnTo>
                    <a:pt x="572160" y="32905"/>
                  </a:lnTo>
                  <a:lnTo>
                    <a:pt x="570814" y="34264"/>
                  </a:lnTo>
                  <a:lnTo>
                    <a:pt x="524370" y="79349"/>
                  </a:lnTo>
                  <a:lnTo>
                    <a:pt x="534746" y="79349"/>
                  </a:lnTo>
                  <a:lnTo>
                    <a:pt x="540156" y="73939"/>
                  </a:lnTo>
                  <a:lnTo>
                    <a:pt x="550486" y="73939"/>
                  </a:lnTo>
                  <a:lnTo>
                    <a:pt x="546011" y="68529"/>
                  </a:lnTo>
                  <a:lnTo>
                    <a:pt x="576224" y="39674"/>
                  </a:lnTo>
                  <a:lnTo>
                    <a:pt x="577570" y="37871"/>
                  </a:lnTo>
                  <a:lnTo>
                    <a:pt x="577570" y="35610"/>
                  </a:lnTo>
                  <a:lnTo>
                    <a:pt x="575767" y="34264"/>
                  </a:lnTo>
                  <a:lnTo>
                    <a:pt x="574421" y="32905"/>
                  </a:lnTo>
                  <a:close/>
                </a:path>
                <a:path w="659130" h="112394">
                  <a:moveTo>
                    <a:pt x="461695" y="33362"/>
                  </a:moveTo>
                  <a:lnTo>
                    <a:pt x="426891" y="58982"/>
                  </a:lnTo>
                  <a:lnTo>
                    <a:pt x="424831" y="74841"/>
                  </a:lnTo>
                  <a:lnTo>
                    <a:pt x="428093" y="88602"/>
                  </a:lnTo>
                  <a:lnTo>
                    <a:pt x="436110" y="100149"/>
                  </a:lnTo>
                  <a:lnTo>
                    <a:pt x="447677" y="108061"/>
                  </a:lnTo>
                  <a:lnTo>
                    <a:pt x="461695" y="111366"/>
                  </a:lnTo>
                  <a:lnTo>
                    <a:pt x="470269" y="110301"/>
                  </a:lnTo>
                  <a:lnTo>
                    <a:pt x="478208" y="107249"/>
                  </a:lnTo>
                  <a:lnTo>
                    <a:pt x="482062" y="104597"/>
                  </a:lnTo>
                  <a:lnTo>
                    <a:pt x="464400" y="104597"/>
                  </a:lnTo>
                  <a:lnTo>
                    <a:pt x="452033" y="102994"/>
                  </a:lnTo>
                  <a:lnTo>
                    <a:pt x="441861" y="96824"/>
                  </a:lnTo>
                  <a:lnTo>
                    <a:pt x="434732" y="87102"/>
                  </a:lnTo>
                  <a:lnTo>
                    <a:pt x="431495" y="74841"/>
                  </a:lnTo>
                  <a:lnTo>
                    <a:pt x="432880" y="62398"/>
                  </a:lnTo>
                  <a:lnTo>
                    <a:pt x="438537" y="52073"/>
                  </a:lnTo>
                  <a:lnTo>
                    <a:pt x="447661" y="44790"/>
                  </a:lnTo>
                  <a:lnTo>
                    <a:pt x="459447" y="41478"/>
                  </a:lnTo>
                  <a:lnTo>
                    <a:pt x="484018" y="41478"/>
                  </a:lnTo>
                  <a:lnTo>
                    <a:pt x="478208" y="37479"/>
                  </a:lnTo>
                  <a:lnTo>
                    <a:pt x="470269" y="34427"/>
                  </a:lnTo>
                  <a:lnTo>
                    <a:pt x="461695" y="33362"/>
                  </a:lnTo>
                  <a:close/>
                </a:path>
                <a:path w="659130" h="112394">
                  <a:moveTo>
                    <a:pt x="498665" y="96037"/>
                  </a:moveTo>
                  <a:lnTo>
                    <a:pt x="491007" y="96037"/>
                  </a:lnTo>
                  <a:lnTo>
                    <a:pt x="491066" y="108061"/>
                  </a:lnTo>
                  <a:lnTo>
                    <a:pt x="491451" y="110020"/>
                  </a:lnTo>
                  <a:lnTo>
                    <a:pt x="493255" y="111366"/>
                  </a:lnTo>
                  <a:lnTo>
                    <a:pt x="496862" y="111366"/>
                  </a:lnTo>
                  <a:lnTo>
                    <a:pt x="498220" y="109562"/>
                  </a:lnTo>
                  <a:lnTo>
                    <a:pt x="498591" y="108061"/>
                  </a:lnTo>
                  <a:lnTo>
                    <a:pt x="498665" y="96037"/>
                  </a:lnTo>
                  <a:close/>
                </a:path>
                <a:path w="659130" h="112394">
                  <a:moveTo>
                    <a:pt x="484018" y="41478"/>
                  </a:moveTo>
                  <a:lnTo>
                    <a:pt x="459447" y="41478"/>
                  </a:lnTo>
                  <a:lnTo>
                    <a:pt x="471667" y="43016"/>
                  </a:lnTo>
                  <a:lnTo>
                    <a:pt x="481480" y="49033"/>
                  </a:lnTo>
                  <a:lnTo>
                    <a:pt x="488167" y="58599"/>
                  </a:lnTo>
                  <a:lnTo>
                    <a:pt x="491007" y="70789"/>
                  </a:lnTo>
                  <a:lnTo>
                    <a:pt x="491007" y="73037"/>
                  </a:lnTo>
                  <a:lnTo>
                    <a:pt x="488961" y="84875"/>
                  </a:lnTo>
                  <a:lnTo>
                    <a:pt x="482776" y="94681"/>
                  </a:lnTo>
                  <a:lnTo>
                    <a:pt x="473378" y="101444"/>
                  </a:lnTo>
                  <a:lnTo>
                    <a:pt x="461695" y="104152"/>
                  </a:lnTo>
                  <a:lnTo>
                    <a:pt x="464400" y="104152"/>
                  </a:lnTo>
                  <a:lnTo>
                    <a:pt x="464400" y="104597"/>
                  </a:lnTo>
                  <a:lnTo>
                    <a:pt x="482062" y="104597"/>
                  </a:lnTo>
                  <a:lnTo>
                    <a:pt x="485220" y="102424"/>
                  </a:lnTo>
                  <a:lnTo>
                    <a:pt x="491007" y="96037"/>
                  </a:lnTo>
                  <a:lnTo>
                    <a:pt x="498665" y="96037"/>
                  </a:lnTo>
                  <a:lnTo>
                    <a:pt x="498665" y="48691"/>
                  </a:lnTo>
                  <a:lnTo>
                    <a:pt x="491007" y="48691"/>
                  </a:lnTo>
                  <a:lnTo>
                    <a:pt x="485220" y="42305"/>
                  </a:lnTo>
                  <a:lnTo>
                    <a:pt x="484018" y="41478"/>
                  </a:lnTo>
                  <a:close/>
                </a:path>
                <a:path w="659130" h="112394">
                  <a:moveTo>
                    <a:pt x="496862" y="33807"/>
                  </a:moveTo>
                  <a:lnTo>
                    <a:pt x="492810" y="33807"/>
                  </a:lnTo>
                  <a:lnTo>
                    <a:pt x="491451" y="35610"/>
                  </a:lnTo>
                  <a:lnTo>
                    <a:pt x="491081" y="37111"/>
                  </a:lnTo>
                  <a:lnTo>
                    <a:pt x="491007" y="48691"/>
                  </a:lnTo>
                  <a:lnTo>
                    <a:pt x="498665" y="48691"/>
                  </a:lnTo>
                  <a:lnTo>
                    <a:pt x="498665" y="35610"/>
                  </a:lnTo>
                  <a:lnTo>
                    <a:pt x="496862" y="33807"/>
                  </a:lnTo>
                  <a:close/>
                </a:path>
                <a:path w="659130" h="112394">
                  <a:moveTo>
                    <a:pt x="408495" y="0"/>
                  </a:moveTo>
                  <a:lnTo>
                    <a:pt x="403987" y="0"/>
                  </a:lnTo>
                  <a:lnTo>
                    <a:pt x="402183" y="1803"/>
                  </a:lnTo>
                  <a:lnTo>
                    <a:pt x="402183" y="110007"/>
                  </a:lnTo>
                  <a:lnTo>
                    <a:pt x="403987" y="111810"/>
                  </a:lnTo>
                  <a:lnTo>
                    <a:pt x="408495" y="111810"/>
                  </a:lnTo>
                  <a:lnTo>
                    <a:pt x="410298" y="110007"/>
                  </a:lnTo>
                  <a:lnTo>
                    <a:pt x="410298" y="1803"/>
                  </a:lnTo>
                  <a:lnTo>
                    <a:pt x="408495" y="0"/>
                  </a:lnTo>
                  <a:close/>
                </a:path>
                <a:path w="659130" h="112394">
                  <a:moveTo>
                    <a:pt x="290219" y="66281"/>
                  </a:moveTo>
                  <a:lnTo>
                    <a:pt x="282244" y="66281"/>
                  </a:lnTo>
                  <a:lnTo>
                    <a:pt x="300278" y="109562"/>
                  </a:lnTo>
                  <a:lnTo>
                    <a:pt x="300735" y="110909"/>
                  </a:lnTo>
                  <a:lnTo>
                    <a:pt x="302082" y="111810"/>
                  </a:lnTo>
                  <a:lnTo>
                    <a:pt x="303441" y="112268"/>
                  </a:lnTo>
                  <a:lnTo>
                    <a:pt x="304787" y="112268"/>
                  </a:lnTo>
                  <a:lnTo>
                    <a:pt x="305688" y="111810"/>
                  </a:lnTo>
                  <a:lnTo>
                    <a:pt x="307047" y="110464"/>
                  </a:lnTo>
                  <a:lnTo>
                    <a:pt x="307492" y="109562"/>
                  </a:lnTo>
                  <a:lnTo>
                    <a:pt x="311542" y="98742"/>
                  </a:lnTo>
                  <a:lnTo>
                    <a:pt x="303885" y="98742"/>
                  </a:lnTo>
                  <a:lnTo>
                    <a:pt x="290219" y="66281"/>
                  </a:lnTo>
                  <a:close/>
                </a:path>
                <a:path w="659130" h="112394">
                  <a:moveTo>
                    <a:pt x="234899" y="34264"/>
                  </a:moveTo>
                  <a:lnTo>
                    <a:pt x="233095" y="34709"/>
                  </a:lnTo>
                  <a:lnTo>
                    <a:pt x="231305" y="35623"/>
                  </a:lnTo>
                  <a:lnTo>
                    <a:pt x="230403" y="37871"/>
                  </a:lnTo>
                  <a:lnTo>
                    <a:pt x="231305" y="39674"/>
                  </a:lnTo>
                  <a:lnTo>
                    <a:pt x="257454" y="109562"/>
                  </a:lnTo>
                  <a:lnTo>
                    <a:pt x="257898" y="110464"/>
                  </a:lnTo>
                  <a:lnTo>
                    <a:pt x="259257" y="111810"/>
                  </a:lnTo>
                  <a:lnTo>
                    <a:pt x="260159" y="111366"/>
                  </a:lnTo>
                  <a:lnTo>
                    <a:pt x="263077" y="111366"/>
                  </a:lnTo>
                  <a:lnTo>
                    <a:pt x="263766" y="110909"/>
                  </a:lnTo>
                  <a:lnTo>
                    <a:pt x="264210" y="109562"/>
                  </a:lnTo>
                  <a:lnTo>
                    <a:pt x="264210" y="109105"/>
                  </a:lnTo>
                  <a:lnTo>
                    <a:pt x="268574" y="98742"/>
                  </a:lnTo>
                  <a:lnTo>
                    <a:pt x="260603" y="98742"/>
                  </a:lnTo>
                  <a:lnTo>
                    <a:pt x="238061" y="36969"/>
                  </a:lnTo>
                  <a:lnTo>
                    <a:pt x="237159" y="35166"/>
                  </a:lnTo>
                  <a:lnTo>
                    <a:pt x="234899" y="34264"/>
                  </a:lnTo>
                  <a:close/>
                </a:path>
                <a:path w="659130" h="112394">
                  <a:moveTo>
                    <a:pt x="263077" y="111366"/>
                  </a:moveTo>
                  <a:lnTo>
                    <a:pt x="260603" y="111366"/>
                  </a:lnTo>
                  <a:lnTo>
                    <a:pt x="261048" y="111810"/>
                  </a:lnTo>
                  <a:lnTo>
                    <a:pt x="262407" y="111810"/>
                  </a:lnTo>
                  <a:lnTo>
                    <a:pt x="263077" y="111366"/>
                  </a:lnTo>
                  <a:close/>
                </a:path>
                <a:path w="659130" h="112394">
                  <a:moveTo>
                    <a:pt x="283603" y="53657"/>
                  </a:moveTo>
                  <a:lnTo>
                    <a:pt x="280898" y="53657"/>
                  </a:lnTo>
                  <a:lnTo>
                    <a:pt x="279095" y="54559"/>
                  </a:lnTo>
                  <a:lnTo>
                    <a:pt x="278638" y="55905"/>
                  </a:lnTo>
                  <a:lnTo>
                    <a:pt x="260603" y="98742"/>
                  </a:lnTo>
                  <a:lnTo>
                    <a:pt x="268574" y="98742"/>
                  </a:lnTo>
                  <a:lnTo>
                    <a:pt x="282244" y="66281"/>
                  </a:lnTo>
                  <a:lnTo>
                    <a:pt x="290219" y="66281"/>
                  </a:lnTo>
                  <a:lnTo>
                    <a:pt x="285851" y="55905"/>
                  </a:lnTo>
                  <a:lnTo>
                    <a:pt x="284949" y="54559"/>
                  </a:lnTo>
                  <a:lnTo>
                    <a:pt x="283603" y="53657"/>
                  </a:lnTo>
                  <a:close/>
                </a:path>
                <a:path w="659130" h="112394">
                  <a:moveTo>
                    <a:pt x="329590" y="33807"/>
                  </a:moveTo>
                  <a:lnTo>
                    <a:pt x="327329" y="34709"/>
                  </a:lnTo>
                  <a:lnTo>
                    <a:pt x="326428" y="36969"/>
                  </a:lnTo>
                  <a:lnTo>
                    <a:pt x="303885" y="98742"/>
                  </a:lnTo>
                  <a:lnTo>
                    <a:pt x="311542" y="98742"/>
                  </a:lnTo>
                  <a:lnTo>
                    <a:pt x="333654" y="39674"/>
                  </a:lnTo>
                  <a:lnTo>
                    <a:pt x="334556" y="37871"/>
                  </a:lnTo>
                  <a:lnTo>
                    <a:pt x="333654" y="35623"/>
                  </a:lnTo>
                  <a:lnTo>
                    <a:pt x="331393" y="34709"/>
                  </a:lnTo>
                  <a:lnTo>
                    <a:pt x="329590" y="33807"/>
                  </a:lnTo>
                  <a:close/>
                </a:path>
                <a:path w="659130" h="112394">
                  <a:moveTo>
                    <a:pt x="185305" y="33807"/>
                  </a:moveTo>
                  <a:lnTo>
                    <a:pt x="170979" y="37338"/>
                  </a:lnTo>
                  <a:lnTo>
                    <a:pt x="159272" y="45816"/>
                  </a:lnTo>
                  <a:lnTo>
                    <a:pt x="151453" y="58097"/>
                  </a:lnTo>
                  <a:lnTo>
                    <a:pt x="148793" y="73037"/>
                  </a:lnTo>
                  <a:lnTo>
                    <a:pt x="152377" y="87214"/>
                  </a:lnTo>
                  <a:lnTo>
                    <a:pt x="160907" y="98513"/>
                  </a:lnTo>
                  <a:lnTo>
                    <a:pt x="173073" y="105756"/>
                  </a:lnTo>
                  <a:lnTo>
                    <a:pt x="187566" y="107759"/>
                  </a:lnTo>
                  <a:lnTo>
                    <a:pt x="201737" y="104172"/>
                  </a:lnTo>
                  <a:lnTo>
                    <a:pt x="205951" y="100990"/>
                  </a:lnTo>
                  <a:lnTo>
                    <a:pt x="184861" y="100990"/>
                  </a:lnTo>
                  <a:lnTo>
                    <a:pt x="173319" y="98095"/>
                  </a:lnTo>
                  <a:lnTo>
                    <a:pt x="164231" y="91354"/>
                  </a:lnTo>
                  <a:lnTo>
                    <a:pt x="158356" y="81655"/>
                  </a:lnTo>
                  <a:lnTo>
                    <a:pt x="156451" y="69888"/>
                  </a:lnTo>
                  <a:lnTo>
                    <a:pt x="159410" y="58474"/>
                  </a:lnTo>
                  <a:lnTo>
                    <a:pt x="166260" y="49258"/>
                  </a:lnTo>
                  <a:lnTo>
                    <a:pt x="175984" y="43254"/>
                  </a:lnTo>
                  <a:lnTo>
                    <a:pt x="187566" y="41478"/>
                  </a:lnTo>
                  <a:lnTo>
                    <a:pt x="207037" y="41478"/>
                  </a:lnTo>
                  <a:lnTo>
                    <a:pt x="199324" y="36514"/>
                  </a:lnTo>
                  <a:lnTo>
                    <a:pt x="185305" y="33807"/>
                  </a:lnTo>
                  <a:close/>
                </a:path>
                <a:path w="659130" h="112394">
                  <a:moveTo>
                    <a:pt x="207037" y="41478"/>
                  </a:moveTo>
                  <a:lnTo>
                    <a:pt x="187566" y="41478"/>
                  </a:lnTo>
                  <a:lnTo>
                    <a:pt x="198836" y="44578"/>
                  </a:lnTo>
                  <a:lnTo>
                    <a:pt x="207738" y="51738"/>
                  </a:lnTo>
                  <a:lnTo>
                    <a:pt x="213428" y="61771"/>
                  </a:lnTo>
                  <a:lnTo>
                    <a:pt x="215061" y="73494"/>
                  </a:lnTo>
                  <a:lnTo>
                    <a:pt x="212118" y="84257"/>
                  </a:lnTo>
                  <a:lnTo>
                    <a:pt x="205371" y="92990"/>
                  </a:lnTo>
                  <a:lnTo>
                    <a:pt x="195920" y="98849"/>
                  </a:lnTo>
                  <a:lnTo>
                    <a:pt x="184861" y="100990"/>
                  </a:lnTo>
                  <a:lnTo>
                    <a:pt x="205951" y="100990"/>
                  </a:lnTo>
                  <a:lnTo>
                    <a:pt x="213036" y="95640"/>
                  </a:lnTo>
                  <a:lnTo>
                    <a:pt x="220277" y="83474"/>
                  </a:lnTo>
                  <a:lnTo>
                    <a:pt x="222275" y="68986"/>
                  </a:lnTo>
                  <a:lnTo>
                    <a:pt x="218908" y="55120"/>
                  </a:lnTo>
                  <a:lnTo>
                    <a:pt x="210891" y="43957"/>
                  </a:lnTo>
                  <a:lnTo>
                    <a:pt x="207037" y="41478"/>
                  </a:lnTo>
                  <a:close/>
                </a:path>
                <a:path w="659130" h="112394">
                  <a:moveTo>
                    <a:pt x="367919" y="40576"/>
                  </a:moveTo>
                  <a:lnTo>
                    <a:pt x="360248" y="40576"/>
                  </a:lnTo>
                  <a:lnTo>
                    <a:pt x="360248" y="110909"/>
                  </a:lnTo>
                  <a:lnTo>
                    <a:pt x="362051" y="112268"/>
                  </a:lnTo>
                  <a:lnTo>
                    <a:pt x="364312" y="112268"/>
                  </a:lnTo>
                  <a:lnTo>
                    <a:pt x="366560" y="111810"/>
                  </a:lnTo>
                  <a:lnTo>
                    <a:pt x="367919" y="110464"/>
                  </a:lnTo>
                  <a:lnTo>
                    <a:pt x="367919" y="40576"/>
                  </a:lnTo>
                  <a:close/>
                </a:path>
                <a:path w="659130" h="112394">
                  <a:moveTo>
                    <a:pt x="380987" y="32905"/>
                  </a:moveTo>
                  <a:lnTo>
                    <a:pt x="347624" y="32905"/>
                  </a:lnTo>
                  <a:lnTo>
                    <a:pt x="345820" y="34264"/>
                  </a:lnTo>
                  <a:lnTo>
                    <a:pt x="345820" y="38773"/>
                  </a:lnTo>
                  <a:lnTo>
                    <a:pt x="347624" y="40576"/>
                  </a:lnTo>
                  <a:lnTo>
                    <a:pt x="380987" y="40576"/>
                  </a:lnTo>
                  <a:lnTo>
                    <a:pt x="382790" y="38773"/>
                  </a:lnTo>
                  <a:lnTo>
                    <a:pt x="382790" y="36512"/>
                  </a:lnTo>
                  <a:lnTo>
                    <a:pt x="382346" y="34264"/>
                  </a:lnTo>
                  <a:lnTo>
                    <a:pt x="380987" y="32905"/>
                  </a:lnTo>
                  <a:close/>
                </a:path>
                <a:path w="659130" h="112394">
                  <a:moveTo>
                    <a:pt x="374675" y="444"/>
                  </a:moveTo>
                  <a:lnTo>
                    <a:pt x="368820" y="2705"/>
                  </a:lnTo>
                  <a:lnTo>
                    <a:pt x="364756" y="6756"/>
                  </a:lnTo>
                  <a:lnTo>
                    <a:pt x="361149" y="11722"/>
                  </a:lnTo>
                  <a:lnTo>
                    <a:pt x="359346" y="18478"/>
                  </a:lnTo>
                  <a:lnTo>
                    <a:pt x="359803" y="24790"/>
                  </a:lnTo>
                  <a:lnTo>
                    <a:pt x="359803" y="32905"/>
                  </a:lnTo>
                  <a:lnTo>
                    <a:pt x="367919" y="32905"/>
                  </a:lnTo>
                  <a:lnTo>
                    <a:pt x="367919" y="24790"/>
                  </a:lnTo>
                  <a:lnTo>
                    <a:pt x="367461" y="20281"/>
                  </a:lnTo>
                  <a:lnTo>
                    <a:pt x="368363" y="15773"/>
                  </a:lnTo>
                  <a:lnTo>
                    <a:pt x="371068" y="11722"/>
                  </a:lnTo>
                  <a:lnTo>
                    <a:pt x="373773" y="9017"/>
                  </a:lnTo>
                  <a:lnTo>
                    <a:pt x="377380" y="8115"/>
                  </a:lnTo>
                  <a:lnTo>
                    <a:pt x="385495" y="8115"/>
                  </a:lnTo>
                  <a:lnTo>
                    <a:pt x="386397" y="7213"/>
                  </a:lnTo>
                  <a:lnTo>
                    <a:pt x="386397" y="2705"/>
                  </a:lnTo>
                  <a:lnTo>
                    <a:pt x="384594" y="901"/>
                  </a:lnTo>
                  <a:lnTo>
                    <a:pt x="380085" y="901"/>
                  </a:lnTo>
                  <a:lnTo>
                    <a:pt x="374675" y="444"/>
                  </a:lnTo>
                  <a:close/>
                </a:path>
                <a:path w="659130" h="112394">
                  <a:moveTo>
                    <a:pt x="385495" y="8115"/>
                  </a:moveTo>
                  <a:lnTo>
                    <a:pt x="377380" y="8115"/>
                  </a:lnTo>
                  <a:lnTo>
                    <a:pt x="380987" y="8559"/>
                  </a:lnTo>
                  <a:lnTo>
                    <a:pt x="381444" y="8559"/>
                  </a:lnTo>
                  <a:lnTo>
                    <a:pt x="382346" y="9017"/>
                  </a:lnTo>
                  <a:lnTo>
                    <a:pt x="384594" y="9017"/>
                  </a:lnTo>
                  <a:lnTo>
                    <a:pt x="385495" y="8115"/>
                  </a:lnTo>
                  <a:close/>
                </a:path>
                <a:path w="659130" h="112394">
                  <a:moveTo>
                    <a:pt x="77101" y="34264"/>
                  </a:moveTo>
                  <a:lnTo>
                    <a:pt x="73494" y="34264"/>
                  </a:lnTo>
                  <a:lnTo>
                    <a:pt x="71691" y="36068"/>
                  </a:lnTo>
                  <a:lnTo>
                    <a:pt x="71691" y="110007"/>
                  </a:lnTo>
                  <a:lnTo>
                    <a:pt x="72136" y="110909"/>
                  </a:lnTo>
                  <a:lnTo>
                    <a:pt x="73037" y="111810"/>
                  </a:lnTo>
                  <a:lnTo>
                    <a:pt x="74396" y="112268"/>
                  </a:lnTo>
                  <a:lnTo>
                    <a:pt x="77101" y="112268"/>
                  </a:lnTo>
                  <a:lnTo>
                    <a:pt x="78003" y="111810"/>
                  </a:lnTo>
                  <a:lnTo>
                    <a:pt x="78447" y="110909"/>
                  </a:lnTo>
                  <a:lnTo>
                    <a:pt x="79349" y="110007"/>
                  </a:lnTo>
                  <a:lnTo>
                    <a:pt x="79349" y="65824"/>
                  </a:lnTo>
                  <a:lnTo>
                    <a:pt x="81251" y="56576"/>
                  </a:lnTo>
                  <a:lnTo>
                    <a:pt x="86450" y="48972"/>
                  </a:lnTo>
                  <a:lnTo>
                    <a:pt x="91599" y="45542"/>
                  </a:lnTo>
                  <a:lnTo>
                    <a:pt x="78905" y="45542"/>
                  </a:lnTo>
                  <a:lnTo>
                    <a:pt x="78905" y="35610"/>
                  </a:lnTo>
                  <a:lnTo>
                    <a:pt x="77101" y="34264"/>
                  </a:lnTo>
                  <a:close/>
                </a:path>
                <a:path w="659130" h="112394">
                  <a:moveTo>
                    <a:pt x="123348" y="41922"/>
                  </a:moveTo>
                  <a:lnTo>
                    <a:pt x="103695" y="41922"/>
                  </a:lnTo>
                  <a:lnTo>
                    <a:pt x="112948" y="43819"/>
                  </a:lnTo>
                  <a:lnTo>
                    <a:pt x="120551" y="48972"/>
                  </a:lnTo>
                  <a:lnTo>
                    <a:pt x="125701" y="56576"/>
                  </a:lnTo>
                  <a:lnTo>
                    <a:pt x="127596" y="65824"/>
                  </a:lnTo>
                  <a:lnTo>
                    <a:pt x="127139" y="108204"/>
                  </a:lnTo>
                  <a:lnTo>
                    <a:pt x="127596" y="110464"/>
                  </a:lnTo>
                  <a:lnTo>
                    <a:pt x="129400" y="111810"/>
                  </a:lnTo>
                  <a:lnTo>
                    <a:pt x="133007" y="111810"/>
                  </a:lnTo>
                  <a:lnTo>
                    <a:pt x="134365" y="110007"/>
                  </a:lnTo>
                  <a:lnTo>
                    <a:pt x="134810" y="108204"/>
                  </a:lnTo>
                  <a:lnTo>
                    <a:pt x="134810" y="65824"/>
                  </a:lnTo>
                  <a:lnTo>
                    <a:pt x="132351" y="53472"/>
                  </a:lnTo>
                  <a:lnTo>
                    <a:pt x="125622" y="43448"/>
                  </a:lnTo>
                  <a:lnTo>
                    <a:pt x="123348" y="41922"/>
                  </a:lnTo>
                  <a:close/>
                </a:path>
                <a:path w="659130" h="112394">
                  <a:moveTo>
                    <a:pt x="103250" y="34264"/>
                  </a:moveTo>
                  <a:lnTo>
                    <a:pt x="96273" y="35010"/>
                  </a:lnTo>
                  <a:lnTo>
                    <a:pt x="89720" y="37193"/>
                  </a:lnTo>
                  <a:lnTo>
                    <a:pt x="83846" y="40731"/>
                  </a:lnTo>
                  <a:lnTo>
                    <a:pt x="78905" y="45542"/>
                  </a:lnTo>
                  <a:lnTo>
                    <a:pt x="91599" y="45542"/>
                  </a:lnTo>
                  <a:lnTo>
                    <a:pt x="94185" y="43819"/>
                  </a:lnTo>
                  <a:lnTo>
                    <a:pt x="103695" y="41922"/>
                  </a:lnTo>
                  <a:lnTo>
                    <a:pt x="123348" y="41922"/>
                  </a:lnTo>
                  <a:lnTo>
                    <a:pt x="115597" y="36722"/>
                  </a:lnTo>
                  <a:lnTo>
                    <a:pt x="103250" y="34264"/>
                  </a:lnTo>
                  <a:close/>
                </a:path>
                <a:path w="659130" h="112394">
                  <a:moveTo>
                    <a:pt x="6019" y="97562"/>
                  </a:moveTo>
                  <a:lnTo>
                    <a:pt x="3149" y="97840"/>
                  </a:lnTo>
                  <a:lnTo>
                    <a:pt x="0" y="100990"/>
                  </a:lnTo>
                  <a:lnTo>
                    <a:pt x="3606" y="104152"/>
                  </a:lnTo>
                  <a:lnTo>
                    <a:pt x="11722" y="108204"/>
                  </a:lnTo>
                  <a:lnTo>
                    <a:pt x="16675" y="110464"/>
                  </a:lnTo>
                  <a:lnTo>
                    <a:pt x="22542" y="111810"/>
                  </a:lnTo>
                  <a:lnTo>
                    <a:pt x="27952" y="111810"/>
                  </a:lnTo>
                  <a:lnTo>
                    <a:pt x="34721" y="112268"/>
                  </a:lnTo>
                  <a:lnTo>
                    <a:pt x="41922" y="110007"/>
                  </a:lnTo>
                  <a:lnTo>
                    <a:pt x="47345" y="105956"/>
                  </a:lnTo>
                  <a:lnTo>
                    <a:pt x="49383" y="104597"/>
                  </a:lnTo>
                  <a:lnTo>
                    <a:pt x="28397" y="104597"/>
                  </a:lnTo>
                  <a:lnTo>
                    <a:pt x="17669" y="103096"/>
                  </a:lnTo>
                  <a:lnTo>
                    <a:pt x="10534" y="100033"/>
                  </a:lnTo>
                  <a:lnTo>
                    <a:pt x="6019" y="97562"/>
                  </a:lnTo>
                  <a:close/>
                </a:path>
                <a:path w="659130" h="112394">
                  <a:moveTo>
                    <a:pt x="22542" y="33362"/>
                  </a:moveTo>
                  <a:lnTo>
                    <a:pt x="15773" y="35166"/>
                  </a:lnTo>
                  <a:lnTo>
                    <a:pt x="10363" y="38773"/>
                  </a:lnTo>
                  <a:lnTo>
                    <a:pt x="4953" y="41935"/>
                  </a:lnTo>
                  <a:lnTo>
                    <a:pt x="1346" y="47790"/>
                  </a:lnTo>
                  <a:lnTo>
                    <a:pt x="1803" y="54559"/>
                  </a:lnTo>
                  <a:lnTo>
                    <a:pt x="4703" y="64150"/>
                  </a:lnTo>
                  <a:lnTo>
                    <a:pt x="12171" y="70108"/>
                  </a:lnTo>
                  <a:lnTo>
                    <a:pt x="21332" y="73702"/>
                  </a:lnTo>
                  <a:lnTo>
                    <a:pt x="29311" y="76200"/>
                  </a:lnTo>
                  <a:lnTo>
                    <a:pt x="37871" y="79349"/>
                  </a:lnTo>
                  <a:lnTo>
                    <a:pt x="47345" y="82511"/>
                  </a:lnTo>
                  <a:lnTo>
                    <a:pt x="47764" y="89725"/>
                  </a:lnTo>
                  <a:lnTo>
                    <a:pt x="47790" y="100990"/>
                  </a:lnTo>
                  <a:lnTo>
                    <a:pt x="34264" y="104597"/>
                  </a:lnTo>
                  <a:lnTo>
                    <a:pt x="49383" y="104597"/>
                  </a:lnTo>
                  <a:lnTo>
                    <a:pt x="52755" y="102349"/>
                  </a:lnTo>
                  <a:lnTo>
                    <a:pt x="55905" y="96037"/>
                  </a:lnTo>
                  <a:lnTo>
                    <a:pt x="55905" y="89725"/>
                  </a:lnTo>
                  <a:lnTo>
                    <a:pt x="53652" y="80557"/>
                  </a:lnTo>
                  <a:lnTo>
                    <a:pt x="47680" y="74563"/>
                  </a:lnTo>
                  <a:lnTo>
                    <a:pt x="39172" y="70514"/>
                  </a:lnTo>
                  <a:lnTo>
                    <a:pt x="29311" y="67183"/>
                  </a:lnTo>
                  <a:lnTo>
                    <a:pt x="20294" y="64020"/>
                  </a:lnTo>
                  <a:lnTo>
                    <a:pt x="10363" y="61772"/>
                  </a:lnTo>
                  <a:lnTo>
                    <a:pt x="10363" y="44640"/>
                  </a:lnTo>
                  <a:lnTo>
                    <a:pt x="22085" y="40576"/>
                  </a:lnTo>
                  <a:lnTo>
                    <a:pt x="46556" y="40576"/>
                  </a:lnTo>
                  <a:lnTo>
                    <a:pt x="46102" y="40125"/>
                  </a:lnTo>
                  <a:lnTo>
                    <a:pt x="38086" y="35697"/>
                  </a:lnTo>
                  <a:lnTo>
                    <a:pt x="29311" y="33807"/>
                  </a:lnTo>
                  <a:lnTo>
                    <a:pt x="22542" y="33362"/>
                  </a:lnTo>
                  <a:close/>
                </a:path>
                <a:path w="659130" h="112394">
                  <a:moveTo>
                    <a:pt x="46556" y="40576"/>
                  </a:moveTo>
                  <a:lnTo>
                    <a:pt x="28397" y="40576"/>
                  </a:lnTo>
                  <a:lnTo>
                    <a:pt x="37893" y="42423"/>
                  </a:lnTo>
                  <a:lnTo>
                    <a:pt x="44130" y="46215"/>
                  </a:lnTo>
                  <a:lnTo>
                    <a:pt x="48251" y="49331"/>
                  </a:lnTo>
                  <a:lnTo>
                    <a:pt x="51396" y="49149"/>
                  </a:lnTo>
                  <a:lnTo>
                    <a:pt x="51244" y="45230"/>
                  </a:lnTo>
                  <a:lnTo>
                    <a:pt x="46556" y="40576"/>
                  </a:lnTo>
                  <a:close/>
                </a:path>
              </a:pathLst>
            </a:custGeom>
            <a:solidFill>
              <a:srgbClr val="00C2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effectLst/>
                <a:uLnTx/>
                <a:uFillTx/>
                <a:latin typeface="Calibri"/>
                <a:ea typeface="+mn-ea"/>
                <a:cs typeface="+mn-cs"/>
              </a:endParaRPr>
            </a:p>
          </p:txBody>
        </p:sp>
      </p:grpSp>
      <p:grpSp>
        <p:nvGrpSpPr>
          <p:cNvPr id="1066" name="Group 1065">
            <a:extLst>
              <a:ext uri="{FF2B5EF4-FFF2-40B4-BE49-F238E27FC236}">
                <a16:creationId xmlns:a16="http://schemas.microsoft.com/office/drawing/2014/main" id="{E6871AE0-AC46-15E1-508C-B62A3098ED30}"/>
              </a:ext>
            </a:extLst>
          </p:cNvPr>
          <p:cNvGrpSpPr/>
          <p:nvPr/>
        </p:nvGrpSpPr>
        <p:grpSpPr>
          <a:xfrm>
            <a:off x="9403896" y="4078098"/>
            <a:ext cx="495278" cy="143722"/>
            <a:chOff x="1231705" y="4225727"/>
            <a:chExt cx="544552" cy="158021"/>
          </a:xfrm>
        </p:grpSpPr>
        <p:sp>
          <p:nvSpPr>
            <p:cNvPr id="1067" name="object 93">
              <a:extLst>
                <a:ext uri="{FF2B5EF4-FFF2-40B4-BE49-F238E27FC236}">
                  <a16:creationId xmlns:a16="http://schemas.microsoft.com/office/drawing/2014/main" id="{258A9B43-2EE4-73C1-CC34-F8454FC6F673}"/>
                </a:ext>
              </a:extLst>
            </p:cNvPr>
            <p:cNvSpPr/>
            <p:nvPr/>
          </p:nvSpPr>
          <p:spPr>
            <a:xfrm>
              <a:off x="1231705" y="4225727"/>
              <a:ext cx="202531" cy="158021"/>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effectLst/>
                <a:uLnTx/>
                <a:uFillTx/>
                <a:latin typeface="Calibri"/>
                <a:ea typeface="+mn-ea"/>
                <a:cs typeface="+mn-cs"/>
              </a:endParaRPr>
            </a:p>
          </p:txBody>
        </p:sp>
        <p:sp>
          <p:nvSpPr>
            <p:cNvPr id="1068" name="object 94">
              <a:extLst>
                <a:ext uri="{FF2B5EF4-FFF2-40B4-BE49-F238E27FC236}">
                  <a16:creationId xmlns:a16="http://schemas.microsoft.com/office/drawing/2014/main" id="{6F5AC13F-BFBF-2BF8-9C28-5EBB6CE7F1BF}"/>
                </a:ext>
              </a:extLst>
            </p:cNvPr>
            <p:cNvSpPr/>
            <p:nvPr/>
          </p:nvSpPr>
          <p:spPr>
            <a:xfrm>
              <a:off x="1458757" y="4286664"/>
              <a:ext cx="317500" cy="82550"/>
            </a:xfrm>
            <a:custGeom>
              <a:avLst/>
              <a:gdLst/>
              <a:ahLst/>
              <a:cxnLst/>
              <a:rect l="l" t="t" r="r" b="b"/>
              <a:pathLst>
                <a:path w="317500" h="82550">
                  <a:moveTo>
                    <a:pt x="300228" y="21717"/>
                  </a:moveTo>
                  <a:lnTo>
                    <a:pt x="284200" y="21717"/>
                  </a:lnTo>
                  <a:lnTo>
                    <a:pt x="277482" y="24549"/>
                  </a:lnTo>
                  <a:lnTo>
                    <a:pt x="266674" y="35826"/>
                  </a:lnTo>
                  <a:lnTo>
                    <a:pt x="263982" y="43129"/>
                  </a:lnTo>
                  <a:lnTo>
                    <a:pt x="263982" y="61582"/>
                  </a:lnTo>
                  <a:lnTo>
                    <a:pt x="266458" y="68948"/>
                  </a:lnTo>
                  <a:lnTo>
                    <a:pt x="271447" y="74256"/>
                  </a:lnTo>
                  <a:lnTo>
                    <a:pt x="276339" y="79413"/>
                  </a:lnTo>
                  <a:lnTo>
                    <a:pt x="283146" y="82029"/>
                  </a:lnTo>
                  <a:lnTo>
                    <a:pt x="300647" y="82029"/>
                  </a:lnTo>
                  <a:lnTo>
                    <a:pt x="307771" y="80187"/>
                  </a:lnTo>
                  <a:lnTo>
                    <a:pt x="313156" y="76517"/>
                  </a:lnTo>
                  <a:lnTo>
                    <a:pt x="313156" y="74256"/>
                  </a:lnTo>
                  <a:lnTo>
                    <a:pt x="287985" y="74256"/>
                  </a:lnTo>
                  <a:lnTo>
                    <a:pt x="283159" y="72517"/>
                  </a:lnTo>
                  <a:lnTo>
                    <a:pt x="276148" y="65544"/>
                  </a:lnTo>
                  <a:lnTo>
                    <a:pt x="274307" y="60591"/>
                  </a:lnTo>
                  <a:lnTo>
                    <a:pt x="274154" y="54178"/>
                  </a:lnTo>
                  <a:lnTo>
                    <a:pt x="317398" y="54178"/>
                  </a:lnTo>
                  <a:lnTo>
                    <a:pt x="317398" y="46355"/>
                  </a:lnTo>
                  <a:lnTo>
                    <a:pt x="274269" y="46355"/>
                  </a:lnTo>
                  <a:lnTo>
                    <a:pt x="275031" y="41325"/>
                  </a:lnTo>
                  <a:lnTo>
                    <a:pt x="277025" y="37261"/>
                  </a:lnTo>
                  <a:lnTo>
                    <a:pt x="283476" y="31026"/>
                  </a:lnTo>
                  <a:lnTo>
                    <a:pt x="287413" y="29476"/>
                  </a:lnTo>
                  <a:lnTo>
                    <a:pt x="311219" y="29476"/>
                  </a:lnTo>
                  <a:lnTo>
                    <a:pt x="306438" y="24155"/>
                  </a:lnTo>
                  <a:lnTo>
                    <a:pt x="300228" y="21717"/>
                  </a:lnTo>
                  <a:close/>
                </a:path>
                <a:path w="317500" h="82550">
                  <a:moveTo>
                    <a:pt x="313156" y="67843"/>
                  </a:moveTo>
                  <a:lnTo>
                    <a:pt x="307365" y="72123"/>
                  </a:lnTo>
                  <a:lnTo>
                    <a:pt x="301028" y="74256"/>
                  </a:lnTo>
                  <a:lnTo>
                    <a:pt x="313156" y="74256"/>
                  </a:lnTo>
                  <a:lnTo>
                    <a:pt x="313156" y="67843"/>
                  </a:lnTo>
                  <a:close/>
                </a:path>
                <a:path w="317500" h="82550">
                  <a:moveTo>
                    <a:pt x="311219" y="29476"/>
                  </a:moveTo>
                  <a:lnTo>
                    <a:pt x="296824" y="29476"/>
                  </a:lnTo>
                  <a:lnTo>
                    <a:pt x="300558" y="30962"/>
                  </a:lnTo>
                  <a:lnTo>
                    <a:pt x="303225" y="33921"/>
                  </a:lnTo>
                  <a:lnTo>
                    <a:pt x="305930" y="36880"/>
                  </a:lnTo>
                  <a:lnTo>
                    <a:pt x="307314" y="41033"/>
                  </a:lnTo>
                  <a:lnTo>
                    <a:pt x="307352" y="46355"/>
                  </a:lnTo>
                  <a:lnTo>
                    <a:pt x="317398" y="46355"/>
                  </a:lnTo>
                  <a:lnTo>
                    <a:pt x="317398" y="40678"/>
                  </a:lnTo>
                  <a:lnTo>
                    <a:pt x="315201" y="33909"/>
                  </a:lnTo>
                  <a:lnTo>
                    <a:pt x="311219" y="29476"/>
                  </a:lnTo>
                  <a:close/>
                </a:path>
                <a:path w="317500" h="82550">
                  <a:moveTo>
                    <a:pt x="158076" y="23063"/>
                  </a:moveTo>
                  <a:lnTo>
                    <a:pt x="148323" y="23063"/>
                  </a:lnTo>
                  <a:lnTo>
                    <a:pt x="148323" y="57492"/>
                  </a:lnTo>
                  <a:lnTo>
                    <a:pt x="149692" y="68227"/>
                  </a:lnTo>
                  <a:lnTo>
                    <a:pt x="153798" y="75895"/>
                  </a:lnTo>
                  <a:lnTo>
                    <a:pt x="160640" y="80495"/>
                  </a:lnTo>
                  <a:lnTo>
                    <a:pt x="170218" y="82029"/>
                  </a:lnTo>
                  <a:lnTo>
                    <a:pt x="178752" y="82029"/>
                  </a:lnTo>
                  <a:lnTo>
                    <a:pt x="185051" y="78536"/>
                  </a:lnTo>
                  <a:lnTo>
                    <a:pt x="187546" y="74256"/>
                  </a:lnTo>
                  <a:lnTo>
                    <a:pt x="163017" y="74256"/>
                  </a:lnTo>
                  <a:lnTo>
                    <a:pt x="158110" y="68227"/>
                  </a:lnTo>
                  <a:lnTo>
                    <a:pt x="158076" y="23063"/>
                  </a:lnTo>
                  <a:close/>
                </a:path>
                <a:path w="317500" h="82550">
                  <a:moveTo>
                    <a:pt x="199174" y="71564"/>
                  </a:moveTo>
                  <a:lnTo>
                    <a:pt x="189357" y="71564"/>
                  </a:lnTo>
                  <a:lnTo>
                    <a:pt x="189357" y="80670"/>
                  </a:lnTo>
                  <a:lnTo>
                    <a:pt x="199174" y="80670"/>
                  </a:lnTo>
                  <a:lnTo>
                    <a:pt x="199174" y="71564"/>
                  </a:lnTo>
                  <a:close/>
                </a:path>
                <a:path w="317500" h="82550">
                  <a:moveTo>
                    <a:pt x="199174" y="23063"/>
                  </a:moveTo>
                  <a:lnTo>
                    <a:pt x="189357" y="23063"/>
                  </a:lnTo>
                  <a:lnTo>
                    <a:pt x="189357" y="61620"/>
                  </a:lnTo>
                  <a:lnTo>
                    <a:pt x="187807" y="65976"/>
                  </a:lnTo>
                  <a:lnTo>
                    <a:pt x="181622" y="72605"/>
                  </a:lnTo>
                  <a:lnTo>
                    <a:pt x="177698" y="74256"/>
                  </a:lnTo>
                  <a:lnTo>
                    <a:pt x="187546" y="74256"/>
                  </a:lnTo>
                  <a:lnTo>
                    <a:pt x="189115" y="71564"/>
                  </a:lnTo>
                  <a:lnTo>
                    <a:pt x="199174" y="71564"/>
                  </a:lnTo>
                  <a:lnTo>
                    <a:pt x="199174" y="23063"/>
                  </a:lnTo>
                  <a:close/>
                </a:path>
                <a:path w="317500" h="82550">
                  <a:moveTo>
                    <a:pt x="133565" y="23063"/>
                  </a:moveTo>
                  <a:lnTo>
                    <a:pt x="86309" y="23063"/>
                  </a:lnTo>
                  <a:lnTo>
                    <a:pt x="86309" y="30937"/>
                  </a:lnTo>
                  <a:lnTo>
                    <a:pt x="119151" y="30937"/>
                  </a:lnTo>
                  <a:lnTo>
                    <a:pt x="82892" y="77812"/>
                  </a:lnTo>
                  <a:lnTo>
                    <a:pt x="82892" y="80670"/>
                  </a:lnTo>
                  <a:lnTo>
                    <a:pt x="133210" y="80670"/>
                  </a:lnTo>
                  <a:lnTo>
                    <a:pt x="133210" y="72796"/>
                  </a:lnTo>
                  <a:lnTo>
                    <a:pt x="97320" y="72796"/>
                  </a:lnTo>
                  <a:lnTo>
                    <a:pt x="133565" y="25704"/>
                  </a:lnTo>
                  <a:lnTo>
                    <a:pt x="133565" y="23063"/>
                  </a:lnTo>
                  <a:close/>
                </a:path>
                <a:path w="317500" h="82550">
                  <a:moveTo>
                    <a:pt x="232117" y="23063"/>
                  </a:moveTo>
                  <a:lnTo>
                    <a:pt x="222300" y="23063"/>
                  </a:lnTo>
                  <a:lnTo>
                    <a:pt x="222300" y="80670"/>
                  </a:lnTo>
                  <a:lnTo>
                    <a:pt x="232117" y="80670"/>
                  </a:lnTo>
                  <a:lnTo>
                    <a:pt x="232117" y="44894"/>
                  </a:lnTo>
                  <a:lnTo>
                    <a:pt x="233514" y="39827"/>
                  </a:lnTo>
                  <a:lnTo>
                    <a:pt x="237209" y="34937"/>
                  </a:lnTo>
                  <a:lnTo>
                    <a:pt x="232117" y="34937"/>
                  </a:lnTo>
                  <a:lnTo>
                    <a:pt x="232117" y="23063"/>
                  </a:lnTo>
                  <a:close/>
                </a:path>
                <a:path w="317500" h="82550">
                  <a:moveTo>
                    <a:pt x="250939" y="22047"/>
                  </a:moveTo>
                  <a:lnTo>
                    <a:pt x="244830" y="22047"/>
                  </a:lnTo>
                  <a:lnTo>
                    <a:pt x="241630" y="23190"/>
                  </a:lnTo>
                  <a:lnTo>
                    <a:pt x="238760" y="25476"/>
                  </a:lnTo>
                  <a:lnTo>
                    <a:pt x="235877" y="27736"/>
                  </a:lnTo>
                  <a:lnTo>
                    <a:pt x="233756" y="30886"/>
                  </a:lnTo>
                  <a:lnTo>
                    <a:pt x="232359" y="34937"/>
                  </a:lnTo>
                  <a:lnTo>
                    <a:pt x="237209" y="34937"/>
                  </a:lnTo>
                  <a:lnTo>
                    <a:pt x="239128" y="32397"/>
                  </a:lnTo>
                  <a:lnTo>
                    <a:pt x="242646" y="30543"/>
                  </a:lnTo>
                  <a:lnTo>
                    <a:pt x="254254" y="30543"/>
                  </a:lnTo>
                  <a:lnTo>
                    <a:pt x="254254" y="22834"/>
                  </a:lnTo>
                  <a:lnTo>
                    <a:pt x="252895" y="22313"/>
                  </a:lnTo>
                  <a:lnTo>
                    <a:pt x="250939" y="22047"/>
                  </a:lnTo>
                  <a:close/>
                </a:path>
                <a:path w="317500" h="82550">
                  <a:moveTo>
                    <a:pt x="254254" y="30543"/>
                  </a:moveTo>
                  <a:lnTo>
                    <a:pt x="250063" y="30543"/>
                  </a:lnTo>
                  <a:lnTo>
                    <a:pt x="252539" y="31165"/>
                  </a:lnTo>
                  <a:lnTo>
                    <a:pt x="254254" y="32397"/>
                  </a:lnTo>
                  <a:lnTo>
                    <a:pt x="254254" y="30543"/>
                  </a:lnTo>
                  <a:close/>
                </a:path>
                <a:path w="317500" h="82550">
                  <a:moveTo>
                    <a:pt x="43307" y="0"/>
                  </a:moveTo>
                  <a:lnTo>
                    <a:pt x="32905" y="0"/>
                  </a:lnTo>
                  <a:lnTo>
                    <a:pt x="0" y="80670"/>
                  </a:lnTo>
                  <a:lnTo>
                    <a:pt x="11188" y="80670"/>
                  </a:lnTo>
                  <a:lnTo>
                    <a:pt x="19748" y="58051"/>
                  </a:lnTo>
                  <a:lnTo>
                    <a:pt x="67077" y="58051"/>
                  </a:lnTo>
                  <a:lnTo>
                    <a:pt x="63604" y="49568"/>
                  </a:lnTo>
                  <a:lnTo>
                    <a:pt x="23088" y="49568"/>
                  </a:lnTo>
                  <a:lnTo>
                    <a:pt x="36957" y="13868"/>
                  </a:lnTo>
                  <a:lnTo>
                    <a:pt x="37414" y="12065"/>
                  </a:lnTo>
                  <a:lnTo>
                    <a:pt x="37807" y="9779"/>
                  </a:lnTo>
                  <a:lnTo>
                    <a:pt x="47311" y="9779"/>
                  </a:lnTo>
                  <a:lnTo>
                    <a:pt x="43307" y="0"/>
                  </a:lnTo>
                  <a:close/>
                </a:path>
                <a:path w="317500" h="82550">
                  <a:moveTo>
                    <a:pt x="67077" y="58051"/>
                  </a:moveTo>
                  <a:lnTo>
                    <a:pt x="56121" y="58051"/>
                  </a:lnTo>
                  <a:lnTo>
                    <a:pt x="65214" y="80670"/>
                  </a:lnTo>
                  <a:lnTo>
                    <a:pt x="76339" y="80670"/>
                  </a:lnTo>
                  <a:lnTo>
                    <a:pt x="67077" y="58051"/>
                  </a:lnTo>
                  <a:close/>
                </a:path>
                <a:path w="317500" h="82550">
                  <a:moveTo>
                    <a:pt x="47311" y="9779"/>
                  </a:moveTo>
                  <a:lnTo>
                    <a:pt x="38049" y="9779"/>
                  </a:lnTo>
                  <a:lnTo>
                    <a:pt x="38493" y="12255"/>
                  </a:lnTo>
                  <a:lnTo>
                    <a:pt x="38925" y="14058"/>
                  </a:lnTo>
                  <a:lnTo>
                    <a:pt x="52819" y="49568"/>
                  </a:lnTo>
                  <a:lnTo>
                    <a:pt x="63604" y="49568"/>
                  </a:lnTo>
                  <a:lnTo>
                    <a:pt x="47311" y="9779"/>
                  </a:lnTo>
                  <a:close/>
                </a:path>
              </a:pathLst>
            </a:custGeom>
            <a:solidFill>
              <a:srgbClr val="2A64A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effectLst/>
                <a:uLnTx/>
                <a:uFillTx/>
                <a:latin typeface="Calibri"/>
                <a:ea typeface="+mn-ea"/>
                <a:cs typeface="+mn-cs"/>
              </a:endParaRPr>
            </a:p>
          </p:txBody>
        </p:sp>
      </p:grpSp>
      <p:sp>
        <p:nvSpPr>
          <p:cNvPr id="1069" name="object 95">
            <a:extLst>
              <a:ext uri="{FF2B5EF4-FFF2-40B4-BE49-F238E27FC236}">
                <a16:creationId xmlns:a16="http://schemas.microsoft.com/office/drawing/2014/main" id="{CC25875E-FFF2-C4ED-E84A-4147EBA18FCA}"/>
              </a:ext>
            </a:extLst>
          </p:cNvPr>
          <p:cNvSpPr/>
          <p:nvPr/>
        </p:nvSpPr>
        <p:spPr>
          <a:xfrm>
            <a:off x="9403896" y="3834530"/>
            <a:ext cx="912509" cy="14318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effectLst/>
              <a:uLnTx/>
              <a:uFillTx/>
              <a:latin typeface="Calibri"/>
              <a:ea typeface="+mn-ea"/>
              <a:cs typeface="+mn-cs"/>
            </a:endParaRPr>
          </a:p>
        </p:txBody>
      </p:sp>
      <p:pic>
        <p:nvPicPr>
          <p:cNvPr id="1070" name="Picture 1069">
            <a:extLst>
              <a:ext uri="{FF2B5EF4-FFF2-40B4-BE49-F238E27FC236}">
                <a16:creationId xmlns:a16="http://schemas.microsoft.com/office/drawing/2014/main" id="{780016FB-2C76-CD5B-A086-9A0032FF938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403896" y="3545184"/>
            <a:ext cx="497143" cy="188967"/>
          </a:xfrm>
          <a:prstGeom prst="rect">
            <a:avLst/>
          </a:prstGeom>
        </p:spPr>
      </p:pic>
      <p:sp>
        <p:nvSpPr>
          <p:cNvPr id="1071" name="object 98">
            <a:extLst>
              <a:ext uri="{FF2B5EF4-FFF2-40B4-BE49-F238E27FC236}">
                <a16:creationId xmlns:a16="http://schemas.microsoft.com/office/drawing/2014/main" id="{196183EB-8335-B404-3B8C-3B26FE9B0C1E}"/>
              </a:ext>
            </a:extLst>
          </p:cNvPr>
          <p:cNvSpPr/>
          <p:nvPr/>
        </p:nvSpPr>
        <p:spPr>
          <a:xfrm>
            <a:off x="10592325" y="4131319"/>
            <a:ext cx="620626" cy="107183"/>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effectLst/>
              <a:uLnTx/>
              <a:uFillTx/>
              <a:latin typeface="Calibri"/>
              <a:ea typeface="+mn-ea"/>
              <a:cs typeface="+mn-cs"/>
            </a:endParaRPr>
          </a:p>
        </p:txBody>
      </p:sp>
      <p:grpSp>
        <p:nvGrpSpPr>
          <p:cNvPr id="1072" name="object 99">
            <a:extLst>
              <a:ext uri="{FF2B5EF4-FFF2-40B4-BE49-F238E27FC236}">
                <a16:creationId xmlns:a16="http://schemas.microsoft.com/office/drawing/2014/main" id="{BB2E9632-902C-E4F4-64AA-8C604088DF0B}"/>
              </a:ext>
            </a:extLst>
          </p:cNvPr>
          <p:cNvGrpSpPr/>
          <p:nvPr/>
        </p:nvGrpSpPr>
        <p:grpSpPr>
          <a:xfrm>
            <a:off x="10592325" y="3556995"/>
            <a:ext cx="346525" cy="158824"/>
            <a:chOff x="1313569" y="4622800"/>
            <a:chExt cx="381000" cy="174625"/>
          </a:xfrm>
        </p:grpSpPr>
        <p:sp>
          <p:nvSpPr>
            <p:cNvPr id="1073" name="object 100">
              <a:extLst>
                <a:ext uri="{FF2B5EF4-FFF2-40B4-BE49-F238E27FC236}">
                  <a16:creationId xmlns:a16="http://schemas.microsoft.com/office/drawing/2014/main" id="{CCE34A4D-1016-C945-B69C-F044959F3E26}"/>
                </a:ext>
              </a:extLst>
            </p:cNvPr>
            <p:cNvSpPr/>
            <p:nvPr/>
          </p:nvSpPr>
          <p:spPr>
            <a:xfrm>
              <a:off x="1313561" y="4622799"/>
              <a:ext cx="173355" cy="173355"/>
            </a:xfrm>
            <a:custGeom>
              <a:avLst/>
              <a:gdLst/>
              <a:ahLst/>
              <a:cxnLst/>
              <a:rect l="l" t="t" r="r" b="b"/>
              <a:pathLst>
                <a:path w="173355" h="173354">
                  <a:moveTo>
                    <a:pt x="121920" y="47942"/>
                  </a:moveTo>
                  <a:lnTo>
                    <a:pt x="121881" y="45847"/>
                  </a:lnTo>
                  <a:lnTo>
                    <a:pt x="120205" y="44170"/>
                  </a:lnTo>
                  <a:lnTo>
                    <a:pt x="118110" y="44132"/>
                  </a:lnTo>
                  <a:lnTo>
                    <a:pt x="116611" y="44145"/>
                  </a:lnTo>
                  <a:lnTo>
                    <a:pt x="115265" y="45008"/>
                  </a:lnTo>
                  <a:lnTo>
                    <a:pt x="114617" y="46355"/>
                  </a:lnTo>
                  <a:lnTo>
                    <a:pt x="113995" y="47790"/>
                  </a:lnTo>
                  <a:lnTo>
                    <a:pt x="114376" y="49466"/>
                  </a:lnTo>
                  <a:lnTo>
                    <a:pt x="116713" y="51460"/>
                  </a:lnTo>
                  <a:lnTo>
                    <a:pt x="118249" y="51816"/>
                  </a:lnTo>
                  <a:lnTo>
                    <a:pt x="119697" y="51435"/>
                  </a:lnTo>
                  <a:lnTo>
                    <a:pt x="121043" y="50787"/>
                  </a:lnTo>
                  <a:lnTo>
                    <a:pt x="121907" y="49441"/>
                  </a:lnTo>
                  <a:lnTo>
                    <a:pt x="121920" y="47942"/>
                  </a:lnTo>
                  <a:close/>
                </a:path>
                <a:path w="173355" h="173354">
                  <a:moveTo>
                    <a:pt x="173355" y="86677"/>
                  </a:moveTo>
                  <a:lnTo>
                    <a:pt x="166585" y="52971"/>
                  </a:lnTo>
                  <a:lnTo>
                    <a:pt x="158076" y="40322"/>
                  </a:lnTo>
                  <a:lnTo>
                    <a:pt x="156032" y="37274"/>
                  </a:lnTo>
                  <a:lnTo>
                    <a:pt x="148069" y="25438"/>
                  </a:lnTo>
                  <a:lnTo>
                    <a:pt x="136842" y="17856"/>
                  </a:lnTo>
                  <a:lnTo>
                    <a:pt x="136842" y="40322"/>
                  </a:lnTo>
                  <a:lnTo>
                    <a:pt x="135255" y="41859"/>
                  </a:lnTo>
                  <a:lnTo>
                    <a:pt x="135255" y="107315"/>
                  </a:lnTo>
                  <a:lnTo>
                    <a:pt x="135255" y="114300"/>
                  </a:lnTo>
                  <a:lnTo>
                    <a:pt x="92392" y="114300"/>
                  </a:lnTo>
                  <a:lnTo>
                    <a:pt x="92392" y="107315"/>
                  </a:lnTo>
                  <a:lnTo>
                    <a:pt x="135255" y="107315"/>
                  </a:lnTo>
                  <a:lnTo>
                    <a:pt x="135255" y="41859"/>
                  </a:lnTo>
                  <a:lnTo>
                    <a:pt x="128587" y="48260"/>
                  </a:lnTo>
                  <a:lnTo>
                    <a:pt x="125412" y="52705"/>
                  </a:lnTo>
                  <a:lnTo>
                    <a:pt x="127000" y="63500"/>
                  </a:lnTo>
                  <a:lnTo>
                    <a:pt x="126860" y="77901"/>
                  </a:lnTo>
                  <a:lnTo>
                    <a:pt x="122047" y="90055"/>
                  </a:lnTo>
                  <a:lnTo>
                    <a:pt x="113118" y="98463"/>
                  </a:lnTo>
                  <a:lnTo>
                    <a:pt x="100647" y="101600"/>
                  </a:lnTo>
                  <a:lnTo>
                    <a:pt x="86677" y="101600"/>
                  </a:lnTo>
                  <a:lnTo>
                    <a:pt x="86677" y="106997"/>
                  </a:lnTo>
                  <a:lnTo>
                    <a:pt x="72707" y="106997"/>
                  </a:lnTo>
                  <a:lnTo>
                    <a:pt x="67310" y="106680"/>
                  </a:lnTo>
                  <a:lnTo>
                    <a:pt x="65087" y="108902"/>
                  </a:lnTo>
                  <a:lnTo>
                    <a:pt x="49949" y="123596"/>
                  </a:lnTo>
                  <a:lnTo>
                    <a:pt x="40678" y="133083"/>
                  </a:lnTo>
                  <a:lnTo>
                    <a:pt x="35750" y="138328"/>
                  </a:lnTo>
                  <a:lnTo>
                    <a:pt x="33655" y="140335"/>
                  </a:lnTo>
                  <a:lnTo>
                    <a:pt x="32702" y="140970"/>
                  </a:lnTo>
                  <a:lnTo>
                    <a:pt x="32385" y="139700"/>
                  </a:lnTo>
                  <a:lnTo>
                    <a:pt x="103505" y="51752"/>
                  </a:lnTo>
                  <a:lnTo>
                    <a:pt x="106299" y="42125"/>
                  </a:lnTo>
                  <a:lnTo>
                    <a:pt x="112953" y="37274"/>
                  </a:lnTo>
                  <a:lnTo>
                    <a:pt x="120916" y="37604"/>
                  </a:lnTo>
                  <a:lnTo>
                    <a:pt x="127635" y="43497"/>
                  </a:lnTo>
                  <a:lnTo>
                    <a:pt x="136842" y="40322"/>
                  </a:lnTo>
                  <a:lnTo>
                    <a:pt x="136842" y="17856"/>
                  </a:lnTo>
                  <a:lnTo>
                    <a:pt x="120561" y="6845"/>
                  </a:lnTo>
                  <a:lnTo>
                    <a:pt x="86868" y="0"/>
                  </a:lnTo>
                  <a:lnTo>
                    <a:pt x="86677" y="0"/>
                  </a:lnTo>
                  <a:lnTo>
                    <a:pt x="52946" y="6819"/>
                  </a:lnTo>
                  <a:lnTo>
                    <a:pt x="25387" y="25400"/>
                  </a:lnTo>
                  <a:lnTo>
                    <a:pt x="6807" y="52971"/>
                  </a:lnTo>
                  <a:lnTo>
                    <a:pt x="0" y="86677"/>
                  </a:lnTo>
                  <a:lnTo>
                    <a:pt x="6819" y="120421"/>
                  </a:lnTo>
                  <a:lnTo>
                    <a:pt x="25387" y="147967"/>
                  </a:lnTo>
                  <a:lnTo>
                    <a:pt x="52946" y="166547"/>
                  </a:lnTo>
                  <a:lnTo>
                    <a:pt x="86677" y="173355"/>
                  </a:lnTo>
                  <a:lnTo>
                    <a:pt x="120421" y="166547"/>
                  </a:lnTo>
                  <a:lnTo>
                    <a:pt x="147967" y="147967"/>
                  </a:lnTo>
                  <a:lnTo>
                    <a:pt x="152692" y="140970"/>
                  </a:lnTo>
                  <a:lnTo>
                    <a:pt x="166547" y="120421"/>
                  </a:lnTo>
                  <a:lnTo>
                    <a:pt x="167779" y="114300"/>
                  </a:lnTo>
                  <a:lnTo>
                    <a:pt x="169189" y="107315"/>
                  </a:lnTo>
                  <a:lnTo>
                    <a:pt x="169252" y="106997"/>
                  </a:lnTo>
                  <a:lnTo>
                    <a:pt x="173355" y="86677"/>
                  </a:lnTo>
                  <a:close/>
                </a:path>
              </a:pathLst>
            </a:custGeom>
            <a:solidFill>
              <a:srgbClr val="24B6A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effectLst/>
                <a:uLnTx/>
                <a:uFillTx/>
                <a:latin typeface="Calibri"/>
                <a:ea typeface="+mn-ea"/>
                <a:cs typeface="+mn-cs"/>
              </a:endParaRPr>
            </a:p>
          </p:txBody>
        </p:sp>
        <p:sp>
          <p:nvSpPr>
            <p:cNvPr id="1074" name="object 101">
              <a:extLst>
                <a:ext uri="{FF2B5EF4-FFF2-40B4-BE49-F238E27FC236}">
                  <a16:creationId xmlns:a16="http://schemas.microsoft.com/office/drawing/2014/main" id="{1A4EC1FB-557A-0787-171D-8B2ED7A2EF50}"/>
                </a:ext>
              </a:extLst>
            </p:cNvPr>
            <p:cNvSpPr/>
            <p:nvPr/>
          </p:nvSpPr>
          <p:spPr>
            <a:xfrm>
              <a:off x="1521533" y="4622800"/>
              <a:ext cx="172719" cy="174345"/>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effectLst/>
                <a:uLnTx/>
                <a:uFillTx/>
                <a:latin typeface="Calibri"/>
                <a:ea typeface="+mn-ea"/>
                <a:cs typeface="+mn-cs"/>
              </a:endParaRPr>
            </a:p>
          </p:txBody>
        </p:sp>
      </p:grpSp>
    </p:spTree>
    <p:extLst>
      <p:ext uri="{BB962C8B-B14F-4D97-AF65-F5344CB8AC3E}">
        <p14:creationId xmlns:p14="http://schemas.microsoft.com/office/powerpoint/2010/main" val="557458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40E20A4-C5FF-4256-B3AE-AF0319E7236D}"/>
              </a:ext>
            </a:extLst>
          </p:cNvPr>
          <p:cNvGraphicFramePr>
            <a:graphicFrameLocks noChangeAspect="1"/>
          </p:cNvGraphicFramePr>
          <p:nvPr>
            <p:custDataLst>
              <p:tags r:id="rId1"/>
            </p:custDataLst>
            <p:extLst>
              <p:ext uri="{D42A27DB-BD31-4B8C-83A1-F6EECF244321}">
                <p14:modId xmlns:p14="http://schemas.microsoft.com/office/powerpoint/2010/main" val="3186506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9" name="Object 8" hidden="1">
                        <a:extLst>
                          <a:ext uri="{FF2B5EF4-FFF2-40B4-BE49-F238E27FC236}">
                            <a16:creationId xmlns:a16="http://schemas.microsoft.com/office/drawing/2014/main" id="{440E20A4-C5FF-4256-B3AE-AF0319E723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C59544-DB39-C145-BAAA-B4C9CB85E8C9}"/>
              </a:ext>
            </a:extLst>
          </p:cNvPr>
          <p:cNvSpPr>
            <a:spLocks noGrp="1"/>
          </p:cNvSpPr>
          <p:nvPr>
            <p:ph type="title"/>
          </p:nvPr>
        </p:nvSpPr>
        <p:spPr>
          <a:xfrm>
            <a:off x="914400" y="393707"/>
            <a:ext cx="5105400" cy="668019"/>
          </a:xfrm>
        </p:spPr>
        <p:txBody>
          <a:bodyPr vert="horz" anchor="b"/>
          <a:lstStyle/>
          <a:p>
            <a:r>
              <a:rPr lang="en-GB" sz="2800" dirty="0"/>
              <a:t>Contents</a:t>
            </a:r>
          </a:p>
        </p:txBody>
      </p:sp>
      <p:graphicFrame>
        <p:nvGraphicFramePr>
          <p:cNvPr id="16" name="Table 16">
            <a:extLst>
              <a:ext uri="{FF2B5EF4-FFF2-40B4-BE49-F238E27FC236}">
                <a16:creationId xmlns:a16="http://schemas.microsoft.com/office/drawing/2014/main" id="{AB313C9C-E231-47FB-B715-28D7939D5400}"/>
              </a:ext>
            </a:extLst>
          </p:cNvPr>
          <p:cNvGraphicFramePr>
            <a:graphicFrameLocks noGrp="1"/>
          </p:cNvGraphicFramePr>
          <p:nvPr>
            <p:extLst>
              <p:ext uri="{D42A27DB-BD31-4B8C-83A1-F6EECF244321}">
                <p14:modId xmlns:p14="http://schemas.microsoft.com/office/powerpoint/2010/main" val="3411769786"/>
              </p:ext>
            </p:extLst>
          </p:nvPr>
        </p:nvGraphicFramePr>
        <p:xfrm>
          <a:off x="914400" y="1931624"/>
          <a:ext cx="5542961" cy="3513888"/>
        </p:xfrm>
        <a:graphic>
          <a:graphicData uri="http://schemas.openxmlformats.org/drawingml/2006/table">
            <a:tbl>
              <a:tblPr firstRow="1" bandRow="1">
                <a:tableStyleId>{2D5ABB26-0587-4C30-8999-92F81FD0307C}</a:tableStyleId>
              </a:tblPr>
              <a:tblGrid>
                <a:gridCol w="518474">
                  <a:extLst>
                    <a:ext uri="{9D8B030D-6E8A-4147-A177-3AD203B41FA5}">
                      <a16:colId xmlns:a16="http://schemas.microsoft.com/office/drawing/2014/main" val="4031434609"/>
                    </a:ext>
                  </a:extLst>
                </a:gridCol>
                <a:gridCol w="5024487">
                  <a:extLst>
                    <a:ext uri="{9D8B030D-6E8A-4147-A177-3AD203B41FA5}">
                      <a16:colId xmlns:a16="http://schemas.microsoft.com/office/drawing/2014/main" val="3605828426"/>
                    </a:ext>
                  </a:extLst>
                </a:gridCol>
              </a:tblGrid>
              <a:tr h="439236">
                <a:tc>
                  <a:txBody>
                    <a:bodyPr/>
                    <a:lstStyle/>
                    <a:p>
                      <a:pPr rtl="0"/>
                      <a:r>
                        <a:rPr lang="en-GB" noProof="0" dirty="0">
                          <a:solidFill>
                            <a:schemeClr val="accent6"/>
                          </a:solidFill>
                        </a:rPr>
                        <a:t>0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noProof="0" dirty="0"/>
                        <a:t>About Deloitte</a:t>
                      </a:r>
                      <a:endParaRPr lang="en-GB" noProof="0" dirty="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6299992"/>
                  </a:ext>
                </a:extLst>
              </a:tr>
              <a:tr h="439236">
                <a:tc>
                  <a:txBody>
                    <a:bodyPr/>
                    <a:lstStyle/>
                    <a:p>
                      <a:pPr rtl="0"/>
                      <a:r>
                        <a:rPr lang="en-GB" noProof="0" dirty="0">
                          <a:solidFill>
                            <a:schemeClr val="accent6"/>
                          </a:solidFill>
                        </a:rPr>
                        <a:t>0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noProof="0" dirty="0"/>
                        <a:t>Our shared values</a:t>
                      </a:r>
                      <a:endParaRPr lang="en-GB" noProof="0" dirty="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9128921"/>
                  </a:ext>
                </a:extLst>
              </a:tr>
              <a:tr h="439236">
                <a:tc>
                  <a:txBody>
                    <a:bodyPr/>
                    <a:lstStyle/>
                    <a:p>
                      <a:pPr rtl="0"/>
                      <a:r>
                        <a:rPr lang="en-GB" noProof="0" dirty="0">
                          <a:solidFill>
                            <a:schemeClr val="accent6"/>
                          </a:solidFill>
                        </a:rPr>
                        <a:t>0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noProof="0" dirty="0"/>
                        <a:t>Our previous work with UN</a:t>
                      </a:r>
                      <a:endParaRPr lang="en-GB" noProof="0" dirty="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0662839"/>
                  </a:ext>
                </a:extLst>
              </a:tr>
              <a:tr h="439236">
                <a:tc>
                  <a:txBody>
                    <a:bodyPr/>
                    <a:lstStyle/>
                    <a:p>
                      <a:pPr rtl="0"/>
                      <a:r>
                        <a:rPr lang="en-GB" noProof="0" dirty="0">
                          <a:solidFill>
                            <a:schemeClr val="accent6"/>
                          </a:solidFill>
                        </a:rPr>
                        <a:t>0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noProof="0" dirty="0"/>
                        <a:t>Our understanding of your needs</a:t>
                      </a:r>
                      <a:endParaRPr lang="en-GB" noProof="0" dirty="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1573935"/>
                  </a:ext>
                </a:extLst>
              </a:tr>
              <a:tr h="439236">
                <a:tc>
                  <a:txBody>
                    <a:bodyPr/>
                    <a:lstStyle/>
                    <a:p>
                      <a:pPr rtl="0"/>
                      <a:r>
                        <a:rPr lang="en-GB" noProof="0" dirty="0">
                          <a:solidFill>
                            <a:schemeClr val="accent6"/>
                          </a:solidFill>
                        </a:rPr>
                        <a:t>0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noProof="0"/>
                        <a:t>Our proposed services</a:t>
                      </a:r>
                      <a:endParaRPr lang="en-GB" noProof="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5500749"/>
                  </a:ext>
                </a:extLst>
              </a:tr>
              <a:tr h="439236">
                <a:tc>
                  <a:txBody>
                    <a:bodyPr/>
                    <a:lstStyle/>
                    <a:p>
                      <a:pPr rtl="0"/>
                      <a:r>
                        <a:rPr lang="en-GB" noProof="0" dirty="0">
                          <a:solidFill>
                            <a:schemeClr val="accent6"/>
                          </a:solidFill>
                        </a:rPr>
                        <a:t>0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i="0" noProof="0" dirty="0"/>
                        <a:t>Our selected credentials</a:t>
                      </a:r>
                      <a:endParaRPr lang="en-GB" i="0" noProof="0" dirty="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0828182"/>
                  </a:ext>
                </a:extLst>
              </a:tr>
              <a:tr h="439236">
                <a:tc>
                  <a:txBody>
                    <a:bodyPr/>
                    <a:lstStyle/>
                    <a:p>
                      <a:pPr rtl="0"/>
                      <a:r>
                        <a:rPr lang="en-GB" noProof="0" dirty="0">
                          <a:solidFill>
                            <a:schemeClr val="accent6"/>
                          </a:solidFill>
                        </a:rPr>
                        <a:t>0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noProof="0" dirty="0"/>
                        <a:t>CVs of our experts</a:t>
                      </a:r>
                      <a:endParaRPr lang="en-GB" i="1" noProof="0" dirty="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0405181"/>
                  </a:ext>
                </a:extLst>
              </a:tr>
              <a:tr h="439236">
                <a:tc>
                  <a:txBody>
                    <a:bodyPr/>
                    <a:lstStyle/>
                    <a:p>
                      <a:pPr rtl="0"/>
                      <a:r>
                        <a:rPr lang="en-GB" noProof="0">
                          <a:solidFill>
                            <a:schemeClr val="accent6"/>
                          </a:solidFill>
                        </a:rPr>
                        <a:t>08</a:t>
                      </a:r>
                      <a:endParaRPr lang="en-GB" noProof="0" dirty="0">
                        <a:solidFill>
                          <a:schemeClr val="accent6"/>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noProof="0" dirty="0"/>
                        <a:t>Appendices</a:t>
                      </a:r>
                      <a:endParaRPr lang="en-GB" noProof="0" dirty="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2789227"/>
                  </a:ext>
                </a:extLst>
              </a:tr>
            </a:tbl>
          </a:graphicData>
        </a:graphic>
      </p:graphicFrame>
      <p:pic>
        <p:nvPicPr>
          <p:cNvPr id="10" name="Picture 9">
            <a:extLst>
              <a:ext uri="{FF2B5EF4-FFF2-40B4-BE49-F238E27FC236}">
                <a16:creationId xmlns:a16="http://schemas.microsoft.com/office/drawing/2014/main" id="{5C09D0C4-272B-4AFC-A1B3-621E0DC61B5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457361" y="949424"/>
            <a:ext cx="5106223" cy="4819260"/>
          </a:xfrm>
          <a:prstGeom prst="rect">
            <a:avLst/>
          </a:prstGeom>
        </p:spPr>
      </p:pic>
    </p:spTree>
    <p:extLst>
      <p:ext uri="{BB962C8B-B14F-4D97-AF65-F5344CB8AC3E}">
        <p14:creationId xmlns:p14="http://schemas.microsoft.com/office/powerpoint/2010/main" val="1853277486"/>
      </p:ext>
    </p:extLst>
  </p:cSld>
  <p:clrMapOvr>
    <a:masterClrMapping/>
  </p:clrMapOvr>
  <p:transition>
    <p:fade/>
  </p:transition>
  <p:extLst>
    <p:ext uri="{6950BFC3-D8DA-4A85-94F7-54DA5524770B}">
      <p188:commentRel xmlns:p188="http://schemas.microsoft.com/office/powerpoint/2018/8/main" r:id="rId4"/>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CC0A158-507D-267E-DD0F-2359B3CCD69A}"/>
              </a:ext>
            </a:extLst>
          </p:cNvPr>
          <p:cNvSpPr/>
          <p:nvPr/>
        </p:nvSpPr>
        <p:spPr bwMode="gray">
          <a:xfrm>
            <a:off x="941558" y="2004081"/>
            <a:ext cx="3078181" cy="1552857"/>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cxnSp>
        <p:nvCxnSpPr>
          <p:cNvPr id="123" name="Straight Connector 122">
            <a:extLst>
              <a:ext uri="{FF2B5EF4-FFF2-40B4-BE49-F238E27FC236}">
                <a16:creationId xmlns:a16="http://schemas.microsoft.com/office/drawing/2014/main" id="{F3A90063-C707-9E5C-B30C-EF6E8A19A903}"/>
              </a:ext>
            </a:extLst>
          </p:cNvPr>
          <p:cNvCxnSpPr>
            <a:cxnSpLocks/>
          </p:cNvCxnSpPr>
          <p:nvPr/>
        </p:nvCxnSpPr>
        <p:spPr>
          <a:xfrm>
            <a:off x="936407"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a:ea typeface="+mn-ea"/>
                <a:cs typeface="+mn-cs"/>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sp>
        <p:nvSpPr>
          <p:cNvPr id="8" name="TextBox 7">
            <a:extLst>
              <a:ext uri="{FF2B5EF4-FFF2-40B4-BE49-F238E27FC236}">
                <a16:creationId xmlns:a16="http://schemas.microsoft.com/office/drawing/2014/main" id="{63282888-74DB-BEEA-8796-97E3A9B3F7BD}"/>
              </a:ext>
            </a:extLst>
          </p:cNvPr>
          <p:cNvSpPr txBox="1"/>
          <p:nvPr/>
        </p:nvSpPr>
        <p:spPr>
          <a:xfrm>
            <a:off x="944741" y="1647794"/>
            <a:ext cx="2424997" cy="246222"/>
          </a:xfrm>
          <a:prstGeom prst="rect">
            <a:avLst/>
          </a:prstGeom>
          <a:noFill/>
        </p:spPr>
        <p:txBody>
          <a:bodyPr wrap="square" lIns="0" tIns="0" rIns="0" bIns="0" rtlCol="0" anchor="t">
            <a:noAutofit/>
          </a:bodyPr>
          <a:lstStyle/>
          <a:p>
            <a: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STRATEGIC RECOMMENDATIONS FOR</a:t>
            </a:r>
            <a:b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br>
            <a: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AI &amp; DATA TRANSFORMATION</a:t>
            </a: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23" name="TextBox 22">
            <a:extLst>
              <a:ext uri="{FF2B5EF4-FFF2-40B4-BE49-F238E27FC236}">
                <a16:creationId xmlns:a16="http://schemas.microsoft.com/office/drawing/2014/main" id="{F397ADD9-787F-C7DB-9AD3-5E29BF05A29B}"/>
              </a:ext>
            </a:extLst>
          </p:cNvPr>
          <p:cNvSpPr txBox="1"/>
          <p:nvPr/>
        </p:nvSpPr>
        <p:spPr>
          <a:xfrm>
            <a:off x="1090348" y="2300472"/>
            <a:ext cx="2598774" cy="382825"/>
          </a:xfrm>
          <a:prstGeom prst="rect">
            <a:avLst/>
          </a:prstGeom>
          <a:noFill/>
        </p:spPr>
        <p:txBody>
          <a:bodyPr wrap="square" lIns="0" tIns="0" rIns="0" bIns="0" rtlCol="0" anchor="t">
            <a:noAutofit/>
          </a:bodyPr>
          <a:lstStyle/>
          <a:p>
            <a:pPr>
              <a:spcAft>
                <a:spcPts val="300"/>
              </a:spcAft>
            </a:pPr>
            <a:r>
              <a:rPr lang="en-US" sz="900" b="1" dirty="0">
                <a:latin typeface="Open Sans Light" panose="020B0306030504020204" pitchFamily="34" charset="0"/>
                <a:ea typeface="Open Sans Light" panose="020B0306030504020204" pitchFamily="34" charset="0"/>
                <a:cs typeface="Open Sans Light" panose="020B0306030504020204" pitchFamily="34" charset="0"/>
              </a:rPr>
              <a:t>CLIENT: </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A</a:t>
            </a:r>
            <a:r>
              <a:rPr lang="en-US" sz="900" b="1" dirty="0">
                <a:latin typeface="Open Sans Light" panose="020B0306030504020204" pitchFamily="34" charset="0"/>
                <a:ea typeface="Open Sans Light" panose="020B0306030504020204" pitchFamily="34" charset="0"/>
                <a:cs typeface="Open Sans Light" panose="020B0306030504020204" pitchFamily="34" charset="0"/>
              </a:rPr>
              <a:t> </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retail client that was looking for help in establishing their analytics maturity</a:t>
            </a:r>
          </a:p>
        </p:txBody>
      </p:sp>
      <p:sp>
        <p:nvSpPr>
          <p:cNvPr id="24" name="Rectangle 23">
            <a:extLst>
              <a:ext uri="{FF2B5EF4-FFF2-40B4-BE49-F238E27FC236}">
                <a16:creationId xmlns:a16="http://schemas.microsoft.com/office/drawing/2014/main" id="{7F4040CD-0AB5-785C-D67A-F45B7060A196}"/>
              </a:ext>
            </a:extLst>
          </p:cNvPr>
          <p:cNvSpPr/>
          <p:nvPr/>
        </p:nvSpPr>
        <p:spPr bwMode="gray">
          <a:xfrm>
            <a:off x="4613950" y="1996256"/>
            <a:ext cx="3078181" cy="1568506"/>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5" name="TextBox 24">
            <a:extLst>
              <a:ext uri="{FF2B5EF4-FFF2-40B4-BE49-F238E27FC236}">
                <a16:creationId xmlns:a16="http://schemas.microsoft.com/office/drawing/2014/main" id="{476B0DBC-412C-41C1-B982-90E5FBEC2273}"/>
              </a:ext>
            </a:extLst>
          </p:cNvPr>
          <p:cNvSpPr txBox="1"/>
          <p:nvPr/>
        </p:nvSpPr>
        <p:spPr>
          <a:xfrm>
            <a:off x="4613950" y="164779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INSURANCE ANALYTICS TRANSFORMATION</a:t>
            </a:r>
          </a:p>
        </p:txBody>
      </p:sp>
      <p:sp>
        <p:nvSpPr>
          <p:cNvPr id="44" name="Flowchart: Connector 43">
            <a:extLst>
              <a:ext uri="{FF2B5EF4-FFF2-40B4-BE49-F238E27FC236}">
                <a16:creationId xmlns:a16="http://schemas.microsoft.com/office/drawing/2014/main" id="{A08E6A24-E3E1-2E18-5302-29E195DBCB15}"/>
              </a:ext>
            </a:extLst>
          </p:cNvPr>
          <p:cNvSpPr/>
          <p:nvPr/>
        </p:nvSpPr>
        <p:spPr bwMode="gray">
          <a:xfrm>
            <a:off x="3625393" y="1927730"/>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45" name="Flowchart: Connector 44">
            <a:extLst>
              <a:ext uri="{FF2B5EF4-FFF2-40B4-BE49-F238E27FC236}">
                <a16:creationId xmlns:a16="http://schemas.microsoft.com/office/drawing/2014/main" id="{7BBAA843-77FB-55C3-6537-67B56E8AD7F6}"/>
              </a:ext>
            </a:extLst>
          </p:cNvPr>
          <p:cNvSpPr/>
          <p:nvPr/>
        </p:nvSpPr>
        <p:spPr bwMode="gray">
          <a:xfrm>
            <a:off x="7321584" y="1943873"/>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47" name="Group 531">
            <a:extLst>
              <a:ext uri="{FF2B5EF4-FFF2-40B4-BE49-F238E27FC236}">
                <a16:creationId xmlns:a16="http://schemas.microsoft.com/office/drawing/2014/main" id="{A3EDCFE8-7889-17DF-6591-6A851EF283FC}"/>
              </a:ext>
            </a:extLst>
          </p:cNvPr>
          <p:cNvGrpSpPr>
            <a:grpSpLocks noChangeAspect="1"/>
          </p:cNvGrpSpPr>
          <p:nvPr/>
        </p:nvGrpSpPr>
        <p:grpSpPr bwMode="auto">
          <a:xfrm>
            <a:off x="3607934" y="1876402"/>
            <a:ext cx="489164" cy="489164"/>
            <a:chOff x="3061" y="1953"/>
            <a:chExt cx="340" cy="340"/>
          </a:xfrm>
          <a:solidFill>
            <a:srgbClr val="9DD4CF"/>
          </a:solidFill>
        </p:grpSpPr>
        <p:sp>
          <p:nvSpPr>
            <p:cNvPr id="48"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a:extLst>
              <a:ext uri="{FF2B5EF4-FFF2-40B4-BE49-F238E27FC236}">
                <a16:creationId xmlns:a16="http://schemas.microsoft.com/office/drawing/2014/main" id="{232FD53E-6D12-E4EA-4D91-E99A8F5F8E42}"/>
              </a:ext>
            </a:extLst>
          </p:cNvPr>
          <p:cNvSpPr/>
          <p:nvPr/>
        </p:nvSpPr>
        <p:spPr bwMode="gray">
          <a:xfrm>
            <a:off x="941558" y="4486197"/>
            <a:ext cx="3078181" cy="1520381"/>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3" name="TextBox 2">
            <a:extLst>
              <a:ext uri="{FF2B5EF4-FFF2-40B4-BE49-F238E27FC236}">
                <a16:creationId xmlns:a16="http://schemas.microsoft.com/office/drawing/2014/main" id="{A1971568-07A4-EE83-40E9-F0C7FA0542DC}"/>
              </a:ext>
            </a:extLst>
          </p:cNvPr>
          <p:cNvSpPr txBox="1"/>
          <p:nvPr/>
        </p:nvSpPr>
        <p:spPr>
          <a:xfrm>
            <a:off x="4626320" y="4149013"/>
            <a:ext cx="2964100" cy="246222"/>
          </a:xfrm>
          <a:prstGeom prst="rect">
            <a:avLst/>
          </a:prstGeom>
          <a:noFill/>
        </p:spPr>
        <p:txBody>
          <a:bodyPr wrap="square" lIns="0" tIns="0" rIns="0" bIns="0" rtlCol="0" anchor="t">
            <a:noAutofit/>
          </a:bodyPr>
          <a:lstStyle/>
          <a:p>
            <a:pPr>
              <a:spcAft>
                <a:spcPts val="1000"/>
              </a:spcAft>
            </a:pPr>
            <a: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INSIGHTS GENERATION SUPPORT</a:t>
            </a:r>
          </a:p>
        </p:txBody>
      </p:sp>
      <p:sp>
        <p:nvSpPr>
          <p:cNvPr id="6" name="Rectangle 5">
            <a:extLst>
              <a:ext uri="{FF2B5EF4-FFF2-40B4-BE49-F238E27FC236}">
                <a16:creationId xmlns:a16="http://schemas.microsoft.com/office/drawing/2014/main" id="{C05A928F-39E3-8B93-BA78-48C9C88B1E18}"/>
              </a:ext>
            </a:extLst>
          </p:cNvPr>
          <p:cNvSpPr/>
          <p:nvPr/>
        </p:nvSpPr>
        <p:spPr bwMode="gray">
          <a:xfrm>
            <a:off x="4613950" y="4486198"/>
            <a:ext cx="3078181" cy="152037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7" name="TextBox 6">
            <a:extLst>
              <a:ext uri="{FF2B5EF4-FFF2-40B4-BE49-F238E27FC236}">
                <a16:creationId xmlns:a16="http://schemas.microsoft.com/office/drawing/2014/main" id="{5BFA29A6-0FDD-2AF0-85EF-C487648ED458}"/>
              </a:ext>
            </a:extLst>
          </p:cNvPr>
          <p:cNvSpPr txBox="1"/>
          <p:nvPr/>
        </p:nvSpPr>
        <p:spPr>
          <a:xfrm>
            <a:off x="936407" y="4149013"/>
            <a:ext cx="2964100" cy="246222"/>
          </a:xfrm>
          <a:prstGeom prst="rect">
            <a:avLst/>
          </a:prstGeom>
          <a:noFill/>
        </p:spPr>
        <p:txBody>
          <a:bodyPr wrap="square" lIns="0" tIns="0" rIns="0" bIns="0" rtlCol="0" anchor="t">
            <a:noAutofit/>
          </a:bodyPr>
          <a:lstStyle/>
          <a:p>
            <a: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AUTOMATIC CLASSIFICATION OF GOODS &amp; SERVICES FOR PROCUREMENT</a:t>
            </a:r>
          </a:p>
        </p:txBody>
      </p:sp>
      <p:sp>
        <p:nvSpPr>
          <p:cNvPr id="15" name="Flowchart: Connector 14">
            <a:extLst>
              <a:ext uri="{FF2B5EF4-FFF2-40B4-BE49-F238E27FC236}">
                <a16:creationId xmlns:a16="http://schemas.microsoft.com/office/drawing/2014/main" id="{118F51FE-FC01-3FA7-F009-CF92B097BE5D}"/>
              </a:ext>
            </a:extLst>
          </p:cNvPr>
          <p:cNvSpPr/>
          <p:nvPr/>
        </p:nvSpPr>
        <p:spPr bwMode="gray">
          <a:xfrm>
            <a:off x="3625393" y="4422163"/>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17" name="Flowchart: Connector 16">
            <a:extLst>
              <a:ext uri="{FF2B5EF4-FFF2-40B4-BE49-F238E27FC236}">
                <a16:creationId xmlns:a16="http://schemas.microsoft.com/office/drawing/2014/main" id="{1B994640-3DD2-3B34-E066-DF16BFB2E55E}"/>
              </a:ext>
            </a:extLst>
          </p:cNvPr>
          <p:cNvSpPr/>
          <p:nvPr/>
        </p:nvSpPr>
        <p:spPr bwMode="gray">
          <a:xfrm>
            <a:off x="7321584" y="443830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43" name="Freeform 859">
            <a:extLst>
              <a:ext uri="{FF2B5EF4-FFF2-40B4-BE49-F238E27FC236}">
                <a16:creationId xmlns:a16="http://schemas.microsoft.com/office/drawing/2014/main" id="{B9FCD103-75D7-8258-438F-62B8F76731AB}"/>
              </a:ext>
            </a:extLst>
          </p:cNvPr>
          <p:cNvSpPr>
            <a:spLocks noChangeAspect="1" noEditPoints="1"/>
          </p:cNvSpPr>
          <p:nvPr/>
        </p:nvSpPr>
        <p:spPr bwMode="auto">
          <a:xfrm>
            <a:off x="7264496" y="1898529"/>
            <a:ext cx="489164" cy="489164"/>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AI &amp; ML Consulting Credential Tombstones</a:t>
            </a:r>
          </a:p>
        </p:txBody>
      </p:sp>
      <p:grpSp>
        <p:nvGrpSpPr>
          <p:cNvPr id="5" name="Group 4">
            <a:extLst>
              <a:ext uri="{FF2B5EF4-FFF2-40B4-BE49-F238E27FC236}">
                <a16:creationId xmlns:a16="http://schemas.microsoft.com/office/drawing/2014/main" id="{976A92AB-A70B-EB48-2A0A-B65411449D4C}"/>
              </a:ext>
            </a:extLst>
          </p:cNvPr>
          <p:cNvGrpSpPr/>
          <p:nvPr/>
        </p:nvGrpSpPr>
        <p:grpSpPr>
          <a:xfrm>
            <a:off x="5920034" y="5907362"/>
            <a:ext cx="1704190" cy="246222"/>
            <a:chOff x="5859071" y="5933303"/>
            <a:chExt cx="1704190" cy="246222"/>
          </a:xfrm>
          <a:solidFill>
            <a:srgbClr val="CCEEEE"/>
          </a:solidFill>
        </p:grpSpPr>
        <p:sp>
          <p:nvSpPr>
            <p:cNvPr id="4" name="Rectangle: Rounded Corners 3">
              <a:extLst>
                <a:ext uri="{FF2B5EF4-FFF2-40B4-BE49-F238E27FC236}">
                  <a16:creationId xmlns:a16="http://schemas.microsoft.com/office/drawing/2014/main" id="{877049C1-056B-A9DA-71CA-B53FF0283C38}"/>
                </a:ext>
              </a:extLst>
            </p:cNvPr>
            <p:cNvSpPr/>
            <p:nvPr/>
          </p:nvSpPr>
          <p:spPr bwMode="gray">
            <a:xfrm>
              <a:off x="5859071" y="5940176"/>
              <a:ext cx="1704190" cy="232476"/>
            </a:xfrm>
            <a:prstGeom prst="roundRect">
              <a:avLst/>
            </a:prstGeom>
            <a:grp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9A993CCD-8450-FD57-88FA-FB759A6CB07C}"/>
                </a:ext>
              </a:extLst>
            </p:cNvPr>
            <p:cNvSpPr txBox="1"/>
            <p:nvPr/>
          </p:nvSpPr>
          <p:spPr>
            <a:xfrm>
              <a:off x="5934543" y="5933303"/>
              <a:ext cx="1553247" cy="246222"/>
            </a:xfrm>
            <a:prstGeom prst="rect">
              <a:avLst/>
            </a:prstGeom>
            <a:grpFill/>
          </p:spPr>
          <p:txBody>
            <a:bodyPr wrap="square" lIns="0" tIns="0" rIns="0" bIns="0" rtlCol="0" anchor="ctr">
              <a:noAutofit/>
            </a:bodyPr>
            <a:lstStyle/>
            <a:p>
              <a:pPr algn="ctr">
                <a:spcAft>
                  <a:spcPts val="1000"/>
                </a:spcAft>
              </a:pPr>
              <a:r>
                <a:rPr lang="en-US" sz="800" b="1" dirty="0">
                  <a:latin typeface="Open Sans" panose="020B0606030504020204" pitchFamily="34" charset="0"/>
                  <a:ea typeface="Open Sans" panose="020B0606030504020204" pitchFamily="34" charset="0"/>
                  <a:cs typeface="Open Sans" panose="020B0606030504020204" pitchFamily="34" charset="0"/>
                </a:rPr>
                <a:t>ML CONSULTING SERVICES</a:t>
              </a:r>
            </a:p>
          </p:txBody>
        </p:sp>
      </p:gr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27" name="Straight Connector 126">
            <a:extLst>
              <a:ext uri="{FF2B5EF4-FFF2-40B4-BE49-F238E27FC236}">
                <a16:creationId xmlns:a16="http://schemas.microsoft.com/office/drawing/2014/main" id="{2EF9A407-39B6-A6A8-1433-F0E7FE122460}"/>
              </a:ext>
            </a:extLst>
          </p:cNvPr>
          <p:cNvCxnSpPr>
            <a:cxnSpLocks/>
          </p:cNvCxnSpPr>
          <p:nvPr/>
        </p:nvCxnSpPr>
        <p:spPr>
          <a:xfrm>
            <a:off x="4613950"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F6720CED-99DC-CB5D-9D77-BC1B3A169F99}"/>
              </a:ext>
            </a:extLst>
          </p:cNvPr>
          <p:cNvSpPr txBox="1"/>
          <p:nvPr/>
        </p:nvSpPr>
        <p:spPr>
          <a:xfrm>
            <a:off x="4738308" y="2291419"/>
            <a:ext cx="2515806" cy="461037"/>
          </a:xfrm>
          <a:prstGeom prst="rect">
            <a:avLst/>
          </a:prstGeom>
          <a:noFill/>
        </p:spPr>
        <p:txBody>
          <a:bodyPr wrap="square" lIns="0" tIns="0" rIns="0" bIns="0" rtlCol="0" anchor="t">
            <a:noAutofit/>
          </a:bodyPr>
          <a:lstStyle/>
          <a:p>
            <a:pPr>
              <a:spcAft>
                <a:spcPts val="300"/>
              </a:spcAft>
            </a:pPr>
            <a:r>
              <a:rPr lang="en-US" sz="900" b="1" dirty="0">
                <a:latin typeface="Open Sans Light" panose="020B0306030504020204" pitchFamily="34" charset="0"/>
                <a:ea typeface="Open Sans Light" panose="020B0306030504020204" pitchFamily="34" charset="0"/>
                <a:cs typeface="Open Sans Light" panose="020B0306030504020204" pitchFamily="34" charset="0"/>
              </a:rPr>
              <a:t>CLIENT: </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International Insurance Company struggling with siloed analytics talent</a:t>
            </a:r>
          </a:p>
        </p:txBody>
      </p:sp>
      <p:sp>
        <p:nvSpPr>
          <p:cNvPr id="129" name="TextBox 128">
            <a:extLst>
              <a:ext uri="{FF2B5EF4-FFF2-40B4-BE49-F238E27FC236}">
                <a16:creationId xmlns:a16="http://schemas.microsoft.com/office/drawing/2014/main" id="{7D51D67F-A064-D48F-02D5-A2115A22C22D}"/>
              </a:ext>
            </a:extLst>
          </p:cNvPr>
          <p:cNvSpPr txBox="1"/>
          <p:nvPr/>
        </p:nvSpPr>
        <p:spPr>
          <a:xfrm>
            <a:off x="1090348" y="2760104"/>
            <a:ext cx="2846482" cy="588764"/>
          </a:xfrm>
          <a:prstGeom prst="rect">
            <a:avLst/>
          </a:prstGeom>
          <a:noFill/>
        </p:spPr>
        <p:txBody>
          <a:bodyPr wrap="square" lIns="0" tIns="0" rIns="0" bIns="0" rtlCol="0" anchor="t">
            <a:noAutofit/>
          </a:bodyPr>
          <a:lstStyle/>
          <a:p>
            <a:pPr>
              <a:spcAft>
                <a:spcPts val="300"/>
              </a:spcAft>
            </a:pPr>
            <a:r>
              <a:rPr lang="en-US" sz="900" b="1" dirty="0">
                <a:latin typeface="Open Sans Light" panose="020B0306030504020204" pitchFamily="34" charset="0"/>
                <a:ea typeface="Open Sans Light" panose="020B0306030504020204" pitchFamily="34" charset="0"/>
                <a:cs typeface="Open Sans Light" panose="020B0306030504020204" pitchFamily="34" charset="0"/>
              </a:rPr>
              <a:t>AIM OF THE PROJECT: </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Assess the organizations current maturity level, identify roadblocks and prioritize AI use cases for implementation</a:t>
            </a:r>
          </a:p>
        </p:txBody>
      </p:sp>
      <p:sp>
        <p:nvSpPr>
          <p:cNvPr id="130" name="TextBox 129">
            <a:extLst>
              <a:ext uri="{FF2B5EF4-FFF2-40B4-BE49-F238E27FC236}">
                <a16:creationId xmlns:a16="http://schemas.microsoft.com/office/drawing/2014/main" id="{32427F07-1165-8065-82F9-CA0CDD6AB2E4}"/>
              </a:ext>
            </a:extLst>
          </p:cNvPr>
          <p:cNvSpPr txBox="1"/>
          <p:nvPr/>
        </p:nvSpPr>
        <p:spPr>
          <a:xfrm>
            <a:off x="4738307" y="2759534"/>
            <a:ext cx="2846482" cy="540369"/>
          </a:xfrm>
          <a:prstGeom prst="rect">
            <a:avLst/>
          </a:prstGeom>
          <a:noFill/>
        </p:spPr>
        <p:txBody>
          <a:bodyPr wrap="square" lIns="0" tIns="0" rIns="0" bIns="0" rtlCol="0" anchor="t">
            <a:noAutofit/>
          </a:bodyPr>
          <a:lstStyle/>
          <a:p>
            <a:pPr>
              <a:spcAft>
                <a:spcPts val="300"/>
              </a:spcAft>
            </a:pPr>
            <a:r>
              <a:rPr lang="en-US" sz="900" b="1" dirty="0">
                <a:latin typeface="Open Sans Light" panose="020B0306030504020204" pitchFamily="34" charset="0"/>
                <a:ea typeface="Open Sans Light" panose="020B0306030504020204" pitchFamily="34" charset="0"/>
                <a:cs typeface="Open Sans Light" panose="020B0306030504020204" pitchFamily="34" charset="0"/>
              </a:rPr>
              <a:t>AIM OF THE PROJECT: </a:t>
            </a:r>
            <a:r>
              <a:rPr kumimoji="0" lang="en-US" sz="9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trengthen the internal analytics maturity and expand the analytics reach beyond core business functions and reporting</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a:spcAft>
                <a:spcPts val="300"/>
              </a:spcAft>
            </a:pP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3" name="TextBox 132">
            <a:extLst>
              <a:ext uri="{FF2B5EF4-FFF2-40B4-BE49-F238E27FC236}">
                <a16:creationId xmlns:a16="http://schemas.microsoft.com/office/drawing/2014/main" id="{C2238001-CA4F-1971-125E-243024A38685}"/>
              </a:ext>
            </a:extLst>
          </p:cNvPr>
          <p:cNvSpPr txBox="1"/>
          <p:nvPr/>
        </p:nvSpPr>
        <p:spPr>
          <a:xfrm>
            <a:off x="1090348" y="4784612"/>
            <a:ext cx="2598774" cy="382825"/>
          </a:xfrm>
          <a:prstGeom prst="rect">
            <a:avLst/>
          </a:prstGeom>
          <a:noFill/>
        </p:spPr>
        <p:txBody>
          <a:bodyPr wrap="square" lIns="0" tIns="0" rIns="0" bIns="0" rtlCol="0" anchor="t">
            <a:noAutofit/>
          </a:bodyPr>
          <a:lstStyle/>
          <a:p>
            <a:pPr>
              <a:spcAft>
                <a:spcPts val="300"/>
              </a:spcAft>
            </a:pPr>
            <a:r>
              <a:rPr lang="en-US" sz="900" b="1" dirty="0">
                <a:latin typeface="Open Sans Light" panose="020B0306030504020204" pitchFamily="34" charset="0"/>
                <a:ea typeface="Open Sans Light" panose="020B0306030504020204" pitchFamily="34" charset="0"/>
                <a:cs typeface="Open Sans Light" panose="020B0306030504020204" pitchFamily="34" charset="0"/>
              </a:rPr>
              <a:t>CLIENT:</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 A global manufacturing company with 1M+ manually classified transactions annually</a:t>
            </a:r>
          </a:p>
        </p:txBody>
      </p:sp>
      <p:sp>
        <p:nvSpPr>
          <p:cNvPr id="134" name="TextBox 133">
            <a:extLst>
              <a:ext uri="{FF2B5EF4-FFF2-40B4-BE49-F238E27FC236}">
                <a16:creationId xmlns:a16="http://schemas.microsoft.com/office/drawing/2014/main" id="{F0EA7E86-F4C0-3CFF-AC73-4A092F285551}"/>
              </a:ext>
            </a:extLst>
          </p:cNvPr>
          <p:cNvSpPr txBox="1"/>
          <p:nvPr/>
        </p:nvSpPr>
        <p:spPr>
          <a:xfrm>
            <a:off x="1090348" y="5244244"/>
            <a:ext cx="2846482" cy="588764"/>
          </a:xfrm>
          <a:prstGeom prst="rect">
            <a:avLst/>
          </a:prstGeom>
          <a:noFill/>
        </p:spPr>
        <p:txBody>
          <a:bodyPr wrap="square" lIns="0" tIns="0" rIns="0" bIns="0" rtlCol="0" anchor="t">
            <a:noAutofit/>
          </a:bodyPr>
          <a:lstStyle/>
          <a:p>
            <a:pPr>
              <a:spcAft>
                <a:spcPts val="300"/>
              </a:spcAft>
            </a:pPr>
            <a:r>
              <a:rPr lang="en-US" sz="900" b="1" dirty="0">
                <a:latin typeface="Open Sans Light" panose="020B0306030504020204" pitchFamily="34" charset="0"/>
                <a:ea typeface="Open Sans Light" panose="020B0306030504020204" pitchFamily="34" charset="0"/>
                <a:cs typeface="Open Sans Light" panose="020B0306030504020204" pitchFamily="34" charset="0"/>
              </a:rPr>
              <a:t>AIM OF THE PROJECT: </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Automate the classification of spend transactions for reporting, using Machine Learning models trained on historical data</a:t>
            </a:r>
          </a:p>
        </p:txBody>
      </p:sp>
      <p:cxnSp>
        <p:nvCxnSpPr>
          <p:cNvPr id="136" name="Straight Connector 135">
            <a:extLst>
              <a:ext uri="{FF2B5EF4-FFF2-40B4-BE49-F238E27FC236}">
                <a16:creationId xmlns:a16="http://schemas.microsoft.com/office/drawing/2014/main" id="{91018F2B-F2E7-C723-66B4-FC4EAB1B335D}"/>
              </a:ext>
            </a:extLst>
          </p:cNvPr>
          <p:cNvCxnSpPr>
            <a:cxnSpLocks/>
          </p:cNvCxnSpPr>
          <p:nvPr/>
        </p:nvCxnSpPr>
        <p:spPr>
          <a:xfrm>
            <a:off x="935688" y="4501447"/>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761E0D26-2B09-083E-F165-D291810B0394}"/>
              </a:ext>
            </a:extLst>
          </p:cNvPr>
          <p:cNvSpPr txBox="1"/>
          <p:nvPr/>
        </p:nvSpPr>
        <p:spPr>
          <a:xfrm>
            <a:off x="4763452" y="4784612"/>
            <a:ext cx="2636800" cy="382825"/>
          </a:xfrm>
          <a:prstGeom prst="rect">
            <a:avLst/>
          </a:prstGeom>
          <a:noFill/>
        </p:spPr>
        <p:txBody>
          <a:bodyPr wrap="square" lIns="0" tIns="0" rIns="0" bIns="0" rtlCol="0" anchor="t">
            <a:noAutofit/>
          </a:bodyPr>
          <a:lstStyle/>
          <a:p>
            <a:pPr>
              <a:spcAft>
                <a:spcPts val="300"/>
              </a:spcAft>
            </a:pPr>
            <a:r>
              <a:rPr lang="en-US" sz="900" b="1" dirty="0">
                <a:latin typeface="Open Sans Light" panose="020B0306030504020204" pitchFamily="34" charset="0"/>
                <a:ea typeface="Open Sans Light" panose="020B0306030504020204" pitchFamily="34" charset="0"/>
                <a:cs typeface="Open Sans Light" panose="020B0306030504020204" pitchFamily="34" charset="0"/>
              </a:rPr>
              <a:t>CLIENT: </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A public sector organization with a new data platform on GCP</a:t>
            </a:r>
          </a:p>
        </p:txBody>
      </p:sp>
      <p:sp>
        <p:nvSpPr>
          <p:cNvPr id="138" name="TextBox 137">
            <a:extLst>
              <a:ext uri="{FF2B5EF4-FFF2-40B4-BE49-F238E27FC236}">
                <a16:creationId xmlns:a16="http://schemas.microsoft.com/office/drawing/2014/main" id="{04ED30F6-4CA3-3C1E-20FE-A82BD76084A8}"/>
              </a:ext>
            </a:extLst>
          </p:cNvPr>
          <p:cNvSpPr txBox="1"/>
          <p:nvPr/>
        </p:nvSpPr>
        <p:spPr>
          <a:xfrm>
            <a:off x="4763453" y="5244244"/>
            <a:ext cx="2846482" cy="588764"/>
          </a:xfrm>
          <a:prstGeom prst="rect">
            <a:avLst/>
          </a:prstGeom>
          <a:noFill/>
        </p:spPr>
        <p:txBody>
          <a:bodyPr wrap="square" lIns="0" tIns="0" rIns="0" bIns="0" rtlCol="0" anchor="t">
            <a:noAutofit/>
          </a:bodyPr>
          <a:lstStyle/>
          <a:p>
            <a:pPr>
              <a:spcAft>
                <a:spcPts val="300"/>
              </a:spcAft>
            </a:pPr>
            <a:r>
              <a:rPr lang="en-US" sz="900" b="1" dirty="0">
                <a:latin typeface="Open Sans Light" panose="020B0306030504020204" pitchFamily="34" charset="0"/>
                <a:ea typeface="Open Sans Light" panose="020B0306030504020204" pitchFamily="34" charset="0"/>
                <a:cs typeface="Open Sans Light" panose="020B0306030504020204" pitchFamily="34" charset="0"/>
              </a:rPr>
              <a:t>AIM OF THE PROJECT:</a:t>
            </a:r>
            <a:r>
              <a:rPr lang="en-US" sz="900" dirty="0">
                <a:latin typeface="Open Sans Light" panose="020B0306030504020204" pitchFamily="34" charset="0"/>
                <a:ea typeface="Open Sans Light" panose="020B0306030504020204" pitchFamily="34" charset="0"/>
                <a:cs typeface="Open Sans Light" panose="020B0306030504020204" pitchFamily="34" charset="0"/>
              </a:rPr>
              <a:t> Set up and integrate the Vertex AI platform into the client ecosystem, deliver prototype models while training users</a:t>
            </a:r>
          </a:p>
        </p:txBody>
      </p:sp>
      <p:cxnSp>
        <p:nvCxnSpPr>
          <p:cNvPr id="139" name="Straight Connector 138">
            <a:extLst>
              <a:ext uri="{FF2B5EF4-FFF2-40B4-BE49-F238E27FC236}">
                <a16:creationId xmlns:a16="http://schemas.microsoft.com/office/drawing/2014/main" id="{6F83FBA3-7B36-E95B-0BD4-BB45A2F39A8A}"/>
              </a:ext>
            </a:extLst>
          </p:cNvPr>
          <p:cNvCxnSpPr>
            <a:cxnSpLocks/>
          </p:cNvCxnSpPr>
          <p:nvPr/>
        </p:nvCxnSpPr>
        <p:spPr>
          <a:xfrm>
            <a:off x="4607032" y="4501447"/>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Artificial Intelligence and Machine Learning Consulting Services</a:t>
            </a:r>
          </a:p>
        </p:txBody>
      </p:sp>
      <p:grpSp>
        <p:nvGrpSpPr>
          <p:cNvPr id="11" name="Group 10">
            <a:extLst>
              <a:ext uri="{FF2B5EF4-FFF2-40B4-BE49-F238E27FC236}">
                <a16:creationId xmlns:a16="http://schemas.microsoft.com/office/drawing/2014/main" id="{51CF9F38-444C-7C9D-FBE9-29EE1A9A2415}"/>
              </a:ext>
            </a:extLst>
          </p:cNvPr>
          <p:cNvGrpSpPr/>
          <p:nvPr/>
        </p:nvGrpSpPr>
        <p:grpSpPr>
          <a:xfrm>
            <a:off x="2250058" y="3441650"/>
            <a:ext cx="1704190" cy="246222"/>
            <a:chOff x="5859071" y="5933303"/>
            <a:chExt cx="1704190" cy="246222"/>
          </a:xfrm>
          <a:solidFill>
            <a:srgbClr val="CCEEEE"/>
          </a:solidFill>
        </p:grpSpPr>
        <p:sp>
          <p:nvSpPr>
            <p:cNvPr id="13" name="Rectangle: Rounded Corners 12">
              <a:extLst>
                <a:ext uri="{FF2B5EF4-FFF2-40B4-BE49-F238E27FC236}">
                  <a16:creationId xmlns:a16="http://schemas.microsoft.com/office/drawing/2014/main" id="{A82A43DB-35E1-4F8D-A670-B86EEAE08EF1}"/>
                </a:ext>
              </a:extLst>
            </p:cNvPr>
            <p:cNvSpPr/>
            <p:nvPr/>
          </p:nvSpPr>
          <p:spPr bwMode="gray">
            <a:xfrm>
              <a:off x="5859071" y="5940176"/>
              <a:ext cx="1704190" cy="232476"/>
            </a:xfrm>
            <a:prstGeom prst="roundRect">
              <a:avLst/>
            </a:prstGeom>
            <a:grp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11FEC63-8614-C6EF-0672-3CAAC562F072}"/>
                </a:ext>
              </a:extLst>
            </p:cNvPr>
            <p:cNvSpPr txBox="1"/>
            <p:nvPr/>
          </p:nvSpPr>
          <p:spPr>
            <a:xfrm>
              <a:off x="5934543" y="5933303"/>
              <a:ext cx="1553247" cy="246222"/>
            </a:xfrm>
            <a:prstGeom prst="rect">
              <a:avLst/>
            </a:prstGeom>
            <a:grpFill/>
          </p:spPr>
          <p:txBody>
            <a:bodyPr wrap="square" lIns="0" tIns="0" rIns="0" bIns="0" rtlCol="0" anchor="ctr">
              <a:noAutofit/>
            </a:bodyPr>
            <a:lstStyle/>
            <a:p>
              <a:pPr algn="ctr">
                <a:spcAft>
                  <a:spcPts val="1000"/>
                </a:spcAft>
              </a:pPr>
              <a:r>
                <a:rPr lang="en-US" sz="800" b="1" dirty="0">
                  <a:latin typeface="Open Sans" panose="020B0606030504020204" pitchFamily="34" charset="0"/>
                  <a:ea typeface="Open Sans" panose="020B0606030504020204" pitchFamily="34" charset="0"/>
                  <a:cs typeface="Open Sans" panose="020B0606030504020204" pitchFamily="34" charset="0"/>
                </a:rPr>
                <a:t>AI CONSULTING SERVICES</a:t>
              </a:r>
            </a:p>
          </p:txBody>
        </p:sp>
      </p:grpSp>
      <p:grpSp>
        <p:nvGrpSpPr>
          <p:cNvPr id="39" name="Group 38">
            <a:extLst>
              <a:ext uri="{FF2B5EF4-FFF2-40B4-BE49-F238E27FC236}">
                <a16:creationId xmlns:a16="http://schemas.microsoft.com/office/drawing/2014/main" id="{EC870899-59F0-FDC3-3C17-98A045F940CB}"/>
              </a:ext>
            </a:extLst>
          </p:cNvPr>
          <p:cNvGrpSpPr/>
          <p:nvPr/>
        </p:nvGrpSpPr>
        <p:grpSpPr>
          <a:xfrm>
            <a:off x="5914454" y="3441650"/>
            <a:ext cx="1704190" cy="246222"/>
            <a:chOff x="5859071" y="5933303"/>
            <a:chExt cx="1704190" cy="246222"/>
          </a:xfrm>
          <a:solidFill>
            <a:srgbClr val="CCEEEE"/>
          </a:solidFill>
        </p:grpSpPr>
        <p:sp>
          <p:nvSpPr>
            <p:cNvPr id="40" name="Rectangle: Rounded Corners 39">
              <a:extLst>
                <a:ext uri="{FF2B5EF4-FFF2-40B4-BE49-F238E27FC236}">
                  <a16:creationId xmlns:a16="http://schemas.microsoft.com/office/drawing/2014/main" id="{1CE15153-69F0-EA2C-AAF0-95000CA6E467}"/>
                </a:ext>
              </a:extLst>
            </p:cNvPr>
            <p:cNvSpPr/>
            <p:nvPr/>
          </p:nvSpPr>
          <p:spPr bwMode="gray">
            <a:xfrm>
              <a:off x="5859071" y="5940176"/>
              <a:ext cx="1704190" cy="232476"/>
            </a:xfrm>
            <a:prstGeom prst="roundRect">
              <a:avLst/>
            </a:prstGeom>
            <a:grp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2" name="TextBox 121">
              <a:extLst>
                <a:ext uri="{FF2B5EF4-FFF2-40B4-BE49-F238E27FC236}">
                  <a16:creationId xmlns:a16="http://schemas.microsoft.com/office/drawing/2014/main" id="{177BC7DE-1EA8-B24B-53AD-209CD0A6C85A}"/>
                </a:ext>
              </a:extLst>
            </p:cNvPr>
            <p:cNvSpPr txBox="1"/>
            <p:nvPr/>
          </p:nvSpPr>
          <p:spPr>
            <a:xfrm>
              <a:off x="5934543" y="5933303"/>
              <a:ext cx="1553247" cy="246222"/>
            </a:xfrm>
            <a:prstGeom prst="rect">
              <a:avLst/>
            </a:prstGeom>
            <a:grpFill/>
          </p:spPr>
          <p:txBody>
            <a:bodyPr wrap="square" lIns="0" tIns="0" rIns="0" bIns="0" rtlCol="0" anchor="ctr">
              <a:noAutofit/>
            </a:bodyPr>
            <a:lstStyle/>
            <a:p>
              <a:pPr algn="ctr">
                <a:spcAft>
                  <a:spcPts val="1000"/>
                </a:spcAft>
              </a:pPr>
              <a:r>
                <a:rPr lang="en-US" sz="800" b="1" dirty="0">
                  <a:latin typeface="Open Sans" panose="020B0606030504020204" pitchFamily="34" charset="0"/>
                  <a:ea typeface="Open Sans" panose="020B0606030504020204" pitchFamily="34" charset="0"/>
                  <a:cs typeface="Open Sans" panose="020B0606030504020204" pitchFamily="34" charset="0"/>
                </a:rPr>
                <a:t>AI CONSULTING SERVICES</a:t>
              </a:r>
            </a:p>
          </p:txBody>
        </p:sp>
      </p:grpSp>
      <p:grpSp>
        <p:nvGrpSpPr>
          <p:cNvPr id="142" name="Group 141">
            <a:extLst>
              <a:ext uri="{FF2B5EF4-FFF2-40B4-BE49-F238E27FC236}">
                <a16:creationId xmlns:a16="http://schemas.microsoft.com/office/drawing/2014/main" id="{1D1E2ECA-D067-C3AD-2932-1E250670D675}"/>
              </a:ext>
            </a:extLst>
          </p:cNvPr>
          <p:cNvGrpSpPr/>
          <p:nvPr/>
        </p:nvGrpSpPr>
        <p:grpSpPr>
          <a:xfrm>
            <a:off x="2250058" y="5907362"/>
            <a:ext cx="1704190" cy="246222"/>
            <a:chOff x="5859071" y="5933303"/>
            <a:chExt cx="1704190" cy="246222"/>
          </a:xfrm>
          <a:solidFill>
            <a:srgbClr val="CCEEEE"/>
          </a:solidFill>
        </p:grpSpPr>
        <p:sp>
          <p:nvSpPr>
            <p:cNvPr id="143" name="Rectangle: Rounded Corners 142">
              <a:extLst>
                <a:ext uri="{FF2B5EF4-FFF2-40B4-BE49-F238E27FC236}">
                  <a16:creationId xmlns:a16="http://schemas.microsoft.com/office/drawing/2014/main" id="{6D53C93B-A6EE-CF80-4074-0B1071D49457}"/>
                </a:ext>
              </a:extLst>
            </p:cNvPr>
            <p:cNvSpPr/>
            <p:nvPr/>
          </p:nvSpPr>
          <p:spPr bwMode="gray">
            <a:xfrm>
              <a:off x="5859071" y="5940176"/>
              <a:ext cx="1704190" cy="232476"/>
            </a:xfrm>
            <a:prstGeom prst="roundRect">
              <a:avLst/>
            </a:prstGeom>
            <a:grp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4" name="TextBox 143">
              <a:extLst>
                <a:ext uri="{FF2B5EF4-FFF2-40B4-BE49-F238E27FC236}">
                  <a16:creationId xmlns:a16="http://schemas.microsoft.com/office/drawing/2014/main" id="{EDB08157-C198-F869-CF75-DC6D495109A4}"/>
                </a:ext>
              </a:extLst>
            </p:cNvPr>
            <p:cNvSpPr txBox="1"/>
            <p:nvPr/>
          </p:nvSpPr>
          <p:spPr>
            <a:xfrm>
              <a:off x="5934543" y="5933303"/>
              <a:ext cx="1553247" cy="246222"/>
            </a:xfrm>
            <a:prstGeom prst="rect">
              <a:avLst/>
            </a:prstGeom>
            <a:grpFill/>
          </p:spPr>
          <p:txBody>
            <a:bodyPr wrap="square" lIns="0" tIns="0" rIns="0" bIns="0" rtlCol="0" anchor="ctr">
              <a:noAutofit/>
            </a:bodyPr>
            <a:lstStyle/>
            <a:p>
              <a:pPr algn="ctr">
                <a:spcAft>
                  <a:spcPts val="1000"/>
                </a:spcAft>
              </a:pPr>
              <a:r>
                <a:rPr lang="en-US" sz="800" b="1" dirty="0">
                  <a:latin typeface="Open Sans" panose="020B0606030504020204" pitchFamily="34" charset="0"/>
                  <a:ea typeface="Open Sans" panose="020B0606030504020204" pitchFamily="34" charset="0"/>
                  <a:cs typeface="Open Sans" panose="020B0606030504020204" pitchFamily="34" charset="0"/>
                </a:rPr>
                <a:t>ML CONSULTING SERVICES</a:t>
              </a:r>
            </a:p>
          </p:txBody>
        </p:sp>
      </p:grpSp>
      <p:grpSp>
        <p:nvGrpSpPr>
          <p:cNvPr id="145" name="Graphic 4">
            <a:extLst>
              <a:ext uri="{FF2B5EF4-FFF2-40B4-BE49-F238E27FC236}">
                <a16:creationId xmlns:a16="http://schemas.microsoft.com/office/drawing/2014/main" id="{80532992-F428-99E2-3443-04017FFB8D72}"/>
              </a:ext>
            </a:extLst>
          </p:cNvPr>
          <p:cNvGrpSpPr>
            <a:grpSpLocks noChangeAspect="1"/>
          </p:cNvGrpSpPr>
          <p:nvPr/>
        </p:nvGrpSpPr>
        <p:grpSpPr>
          <a:xfrm>
            <a:off x="7262190" y="4392307"/>
            <a:ext cx="493776" cy="493968"/>
            <a:chOff x="2998797" y="1402244"/>
            <a:chExt cx="362309" cy="362450"/>
          </a:xfrm>
          <a:solidFill>
            <a:srgbClr val="0076A8"/>
          </a:solidFill>
        </p:grpSpPr>
        <p:sp>
          <p:nvSpPr>
            <p:cNvPr id="146" name="Graphic 4">
              <a:extLst>
                <a:ext uri="{FF2B5EF4-FFF2-40B4-BE49-F238E27FC236}">
                  <a16:creationId xmlns:a16="http://schemas.microsoft.com/office/drawing/2014/main" id="{51E5FF98-DF8F-055F-5400-0409B45DD6A9}"/>
                </a:ext>
              </a:extLst>
            </p:cNvPr>
            <p:cNvSpPr/>
            <p:nvPr/>
          </p:nvSpPr>
          <p:spPr>
            <a:xfrm>
              <a:off x="3171325" y="1516996"/>
              <a:ext cx="15974" cy="16598"/>
            </a:xfrm>
            <a:custGeom>
              <a:avLst/>
              <a:gdLst>
                <a:gd name="connsiteX0" fmla="*/ 3195 w 15974"/>
                <a:gd name="connsiteY0" fmla="*/ 16598 h 16598"/>
                <a:gd name="connsiteX1" fmla="*/ 7668 w 15974"/>
                <a:gd name="connsiteY1" fmla="*/ 16598 h 16598"/>
                <a:gd name="connsiteX2" fmla="*/ 8946 w 15974"/>
                <a:gd name="connsiteY2" fmla="*/ 16598 h 16598"/>
                <a:gd name="connsiteX3" fmla="*/ 13419 w 15974"/>
                <a:gd name="connsiteY3" fmla="*/ 16598 h 16598"/>
                <a:gd name="connsiteX4" fmla="*/ 15975 w 15974"/>
                <a:gd name="connsiteY4" fmla="*/ 16598 h 16598"/>
                <a:gd name="connsiteX5" fmla="*/ 15975 w 15974"/>
                <a:gd name="connsiteY5" fmla="*/ 0 h 16598"/>
                <a:gd name="connsiteX6" fmla="*/ 0 w 15974"/>
                <a:gd name="connsiteY6" fmla="*/ 0 h 16598"/>
                <a:gd name="connsiteX7" fmla="*/ 0 w 15974"/>
                <a:gd name="connsiteY7" fmla="*/ 16598 h 16598"/>
                <a:gd name="connsiteX8" fmla="*/ 3195 w 15974"/>
                <a:gd name="connsiteY8" fmla="*/ 16598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74" h="16598">
                  <a:moveTo>
                    <a:pt x="3195" y="16598"/>
                  </a:moveTo>
                  <a:cubicBezTo>
                    <a:pt x="4473" y="16598"/>
                    <a:pt x="6390" y="16598"/>
                    <a:pt x="7668" y="16598"/>
                  </a:cubicBezTo>
                  <a:lnTo>
                    <a:pt x="8946" y="16598"/>
                  </a:lnTo>
                  <a:cubicBezTo>
                    <a:pt x="10863" y="16598"/>
                    <a:pt x="12141" y="16598"/>
                    <a:pt x="13419" y="16598"/>
                  </a:cubicBezTo>
                  <a:lnTo>
                    <a:pt x="15975" y="16598"/>
                  </a:lnTo>
                  <a:lnTo>
                    <a:pt x="15975" y="0"/>
                  </a:lnTo>
                  <a:lnTo>
                    <a:pt x="0" y="0"/>
                  </a:lnTo>
                  <a:lnTo>
                    <a:pt x="0" y="16598"/>
                  </a:lnTo>
                  <a:lnTo>
                    <a:pt x="3195" y="16598"/>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Graphic 4">
              <a:extLst>
                <a:ext uri="{FF2B5EF4-FFF2-40B4-BE49-F238E27FC236}">
                  <a16:creationId xmlns:a16="http://schemas.microsoft.com/office/drawing/2014/main" id="{1C5FD1FC-9A74-F3B2-D9F8-986C81267E9A}"/>
                </a:ext>
              </a:extLst>
            </p:cNvPr>
            <p:cNvSpPr/>
            <p:nvPr/>
          </p:nvSpPr>
          <p:spPr>
            <a:xfrm>
              <a:off x="3100397" y="1546363"/>
              <a:ext cx="158470" cy="67031"/>
            </a:xfrm>
            <a:custGeom>
              <a:avLst/>
              <a:gdLst>
                <a:gd name="connsiteX0" fmla="*/ 92654 w 158470"/>
                <a:gd name="connsiteY0" fmla="*/ 1277 h 67031"/>
                <a:gd name="connsiteX1" fmla="*/ 87542 w 158470"/>
                <a:gd name="connsiteY1" fmla="*/ 638 h 67031"/>
                <a:gd name="connsiteX2" fmla="*/ 83069 w 158470"/>
                <a:gd name="connsiteY2" fmla="*/ 0 h 67031"/>
                <a:gd name="connsiteX3" fmla="*/ 79235 w 158470"/>
                <a:gd name="connsiteY3" fmla="*/ 0 h 67031"/>
                <a:gd name="connsiteX4" fmla="*/ 78596 w 158470"/>
                <a:gd name="connsiteY4" fmla="*/ 0 h 67031"/>
                <a:gd name="connsiteX5" fmla="*/ 74762 w 158470"/>
                <a:gd name="connsiteY5" fmla="*/ 0 h 67031"/>
                <a:gd name="connsiteX6" fmla="*/ 70928 w 158470"/>
                <a:gd name="connsiteY6" fmla="*/ 638 h 67031"/>
                <a:gd name="connsiteX7" fmla="*/ 65816 w 158470"/>
                <a:gd name="connsiteY7" fmla="*/ 1277 h 67031"/>
                <a:gd name="connsiteX8" fmla="*/ 0 w 158470"/>
                <a:gd name="connsiteY8" fmla="*/ 67032 h 67031"/>
                <a:gd name="connsiteX9" fmla="*/ 158470 w 158470"/>
                <a:gd name="connsiteY9" fmla="*/ 67032 h 67031"/>
                <a:gd name="connsiteX10" fmla="*/ 92654 w 158470"/>
                <a:gd name="connsiteY10" fmla="*/ 1277 h 6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470" h="67031">
                  <a:moveTo>
                    <a:pt x="92654" y="1277"/>
                  </a:moveTo>
                  <a:lnTo>
                    <a:pt x="87542" y="638"/>
                  </a:lnTo>
                  <a:lnTo>
                    <a:pt x="83069" y="0"/>
                  </a:lnTo>
                  <a:cubicBezTo>
                    <a:pt x="81791" y="0"/>
                    <a:pt x="80513" y="0"/>
                    <a:pt x="79235" y="0"/>
                  </a:cubicBezTo>
                  <a:lnTo>
                    <a:pt x="78596" y="0"/>
                  </a:lnTo>
                  <a:lnTo>
                    <a:pt x="74762" y="0"/>
                  </a:lnTo>
                  <a:lnTo>
                    <a:pt x="70928" y="638"/>
                  </a:lnTo>
                  <a:lnTo>
                    <a:pt x="65816" y="1277"/>
                  </a:lnTo>
                  <a:cubicBezTo>
                    <a:pt x="31950" y="7022"/>
                    <a:pt x="5751" y="33197"/>
                    <a:pt x="0" y="67032"/>
                  </a:cubicBezTo>
                  <a:lnTo>
                    <a:pt x="158470" y="67032"/>
                  </a:lnTo>
                  <a:cubicBezTo>
                    <a:pt x="152719" y="33197"/>
                    <a:pt x="126521" y="7022"/>
                    <a:pt x="92654" y="1277"/>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Graphic 4">
              <a:extLst>
                <a:ext uri="{FF2B5EF4-FFF2-40B4-BE49-F238E27FC236}">
                  <a16:creationId xmlns:a16="http://schemas.microsoft.com/office/drawing/2014/main" id="{32BB3F62-6F37-B48D-DEF4-3F226CD542D5}"/>
                </a:ext>
              </a:extLst>
            </p:cNvPr>
            <p:cNvSpPr/>
            <p:nvPr/>
          </p:nvSpPr>
          <p:spPr>
            <a:xfrm>
              <a:off x="2998797" y="1402244"/>
              <a:ext cx="362309" cy="362450"/>
            </a:xfrm>
            <a:custGeom>
              <a:avLst/>
              <a:gdLst>
                <a:gd name="connsiteX0" fmla="*/ 180835 w 362309"/>
                <a:gd name="connsiteY0" fmla="*/ 479 h 362450"/>
                <a:gd name="connsiteX1" fmla="*/ 0 w 362309"/>
                <a:gd name="connsiteY1" fmla="*/ 181784 h 362450"/>
                <a:gd name="connsiteX2" fmla="*/ 181474 w 362309"/>
                <a:gd name="connsiteY2" fmla="*/ 362451 h 362450"/>
                <a:gd name="connsiteX3" fmla="*/ 362310 w 362309"/>
                <a:gd name="connsiteY3" fmla="*/ 181145 h 362450"/>
                <a:gd name="connsiteX4" fmla="*/ 180835 w 362309"/>
                <a:gd name="connsiteY4" fmla="*/ 479 h 362450"/>
                <a:gd name="connsiteX5" fmla="*/ 180835 w 362309"/>
                <a:gd name="connsiteY5" fmla="*/ 479 h 362450"/>
                <a:gd name="connsiteX6" fmla="*/ 115019 w 362309"/>
                <a:gd name="connsiteY6" fmla="*/ 267968 h 362450"/>
                <a:gd name="connsiteX7" fmla="*/ 108629 w 362309"/>
                <a:gd name="connsiteY7" fmla="*/ 274352 h 362450"/>
                <a:gd name="connsiteX8" fmla="*/ 102239 w 362309"/>
                <a:gd name="connsiteY8" fmla="*/ 267968 h 362450"/>
                <a:gd name="connsiteX9" fmla="*/ 102239 w 362309"/>
                <a:gd name="connsiteY9" fmla="*/ 246262 h 362450"/>
                <a:gd name="connsiteX10" fmla="*/ 108629 w 362309"/>
                <a:gd name="connsiteY10" fmla="*/ 239878 h 362450"/>
                <a:gd name="connsiteX11" fmla="*/ 115019 w 362309"/>
                <a:gd name="connsiteY11" fmla="*/ 246262 h 362450"/>
                <a:gd name="connsiteX12" fmla="*/ 115019 w 362309"/>
                <a:gd name="connsiteY12" fmla="*/ 267968 h 362450"/>
                <a:gd name="connsiteX13" fmla="*/ 143774 w 362309"/>
                <a:gd name="connsiteY13" fmla="*/ 267968 h 362450"/>
                <a:gd name="connsiteX14" fmla="*/ 137384 w 362309"/>
                <a:gd name="connsiteY14" fmla="*/ 274352 h 362450"/>
                <a:gd name="connsiteX15" fmla="*/ 130994 w 362309"/>
                <a:gd name="connsiteY15" fmla="*/ 267968 h 362450"/>
                <a:gd name="connsiteX16" fmla="*/ 130994 w 362309"/>
                <a:gd name="connsiteY16" fmla="*/ 246262 h 362450"/>
                <a:gd name="connsiteX17" fmla="*/ 137384 w 362309"/>
                <a:gd name="connsiteY17" fmla="*/ 239878 h 362450"/>
                <a:gd name="connsiteX18" fmla="*/ 143774 w 362309"/>
                <a:gd name="connsiteY18" fmla="*/ 246262 h 362450"/>
                <a:gd name="connsiteX19" fmla="*/ 143774 w 362309"/>
                <a:gd name="connsiteY19" fmla="*/ 267968 h 362450"/>
                <a:gd name="connsiteX20" fmla="*/ 172528 w 362309"/>
                <a:gd name="connsiteY20" fmla="*/ 267968 h 362450"/>
                <a:gd name="connsiteX21" fmla="*/ 166138 w 362309"/>
                <a:gd name="connsiteY21" fmla="*/ 274352 h 362450"/>
                <a:gd name="connsiteX22" fmla="*/ 159748 w 362309"/>
                <a:gd name="connsiteY22" fmla="*/ 267968 h 362450"/>
                <a:gd name="connsiteX23" fmla="*/ 159748 w 362309"/>
                <a:gd name="connsiteY23" fmla="*/ 246262 h 362450"/>
                <a:gd name="connsiteX24" fmla="*/ 166138 w 362309"/>
                <a:gd name="connsiteY24" fmla="*/ 239878 h 362450"/>
                <a:gd name="connsiteX25" fmla="*/ 172528 w 362309"/>
                <a:gd name="connsiteY25" fmla="*/ 246262 h 362450"/>
                <a:gd name="connsiteX26" fmla="*/ 172528 w 362309"/>
                <a:gd name="connsiteY26" fmla="*/ 267968 h 362450"/>
                <a:gd name="connsiteX27" fmla="*/ 201922 w 362309"/>
                <a:gd name="connsiteY27" fmla="*/ 267968 h 362450"/>
                <a:gd name="connsiteX28" fmla="*/ 195532 w 362309"/>
                <a:gd name="connsiteY28" fmla="*/ 274352 h 362450"/>
                <a:gd name="connsiteX29" fmla="*/ 189142 w 362309"/>
                <a:gd name="connsiteY29" fmla="*/ 267968 h 362450"/>
                <a:gd name="connsiteX30" fmla="*/ 189142 w 362309"/>
                <a:gd name="connsiteY30" fmla="*/ 246262 h 362450"/>
                <a:gd name="connsiteX31" fmla="*/ 195532 w 362309"/>
                <a:gd name="connsiteY31" fmla="*/ 239878 h 362450"/>
                <a:gd name="connsiteX32" fmla="*/ 201922 w 362309"/>
                <a:gd name="connsiteY32" fmla="*/ 246262 h 362450"/>
                <a:gd name="connsiteX33" fmla="*/ 201922 w 362309"/>
                <a:gd name="connsiteY33" fmla="*/ 267968 h 362450"/>
                <a:gd name="connsiteX34" fmla="*/ 230677 w 362309"/>
                <a:gd name="connsiteY34" fmla="*/ 267968 h 362450"/>
                <a:gd name="connsiteX35" fmla="*/ 224287 w 362309"/>
                <a:gd name="connsiteY35" fmla="*/ 274352 h 362450"/>
                <a:gd name="connsiteX36" fmla="*/ 217897 w 362309"/>
                <a:gd name="connsiteY36" fmla="*/ 267968 h 362450"/>
                <a:gd name="connsiteX37" fmla="*/ 217897 w 362309"/>
                <a:gd name="connsiteY37" fmla="*/ 246262 h 362450"/>
                <a:gd name="connsiteX38" fmla="*/ 224287 w 362309"/>
                <a:gd name="connsiteY38" fmla="*/ 239878 h 362450"/>
                <a:gd name="connsiteX39" fmla="*/ 230677 w 362309"/>
                <a:gd name="connsiteY39" fmla="*/ 246262 h 362450"/>
                <a:gd name="connsiteX40" fmla="*/ 230677 w 362309"/>
                <a:gd name="connsiteY40" fmla="*/ 267968 h 362450"/>
                <a:gd name="connsiteX41" fmla="*/ 260071 w 362309"/>
                <a:gd name="connsiteY41" fmla="*/ 267968 h 362450"/>
                <a:gd name="connsiteX42" fmla="*/ 253681 w 362309"/>
                <a:gd name="connsiteY42" fmla="*/ 274352 h 362450"/>
                <a:gd name="connsiteX43" fmla="*/ 247291 w 362309"/>
                <a:gd name="connsiteY43" fmla="*/ 267968 h 362450"/>
                <a:gd name="connsiteX44" fmla="*/ 247291 w 362309"/>
                <a:gd name="connsiteY44" fmla="*/ 246262 h 362450"/>
                <a:gd name="connsiteX45" fmla="*/ 253681 w 362309"/>
                <a:gd name="connsiteY45" fmla="*/ 239878 h 362450"/>
                <a:gd name="connsiteX46" fmla="*/ 260071 w 362309"/>
                <a:gd name="connsiteY46" fmla="*/ 246262 h 362450"/>
                <a:gd name="connsiteX47" fmla="*/ 260071 w 362309"/>
                <a:gd name="connsiteY47" fmla="*/ 267968 h 362450"/>
                <a:gd name="connsiteX48" fmla="*/ 288825 w 362309"/>
                <a:gd name="connsiteY48" fmla="*/ 267968 h 362450"/>
                <a:gd name="connsiteX49" fmla="*/ 282435 w 362309"/>
                <a:gd name="connsiteY49" fmla="*/ 274352 h 362450"/>
                <a:gd name="connsiteX50" fmla="*/ 276045 w 362309"/>
                <a:gd name="connsiteY50" fmla="*/ 267968 h 362450"/>
                <a:gd name="connsiteX51" fmla="*/ 276045 w 362309"/>
                <a:gd name="connsiteY51" fmla="*/ 223918 h 362450"/>
                <a:gd name="connsiteX52" fmla="*/ 85625 w 362309"/>
                <a:gd name="connsiteY52" fmla="*/ 223918 h 362450"/>
                <a:gd name="connsiteX53" fmla="*/ 85625 w 362309"/>
                <a:gd name="connsiteY53" fmla="*/ 267968 h 362450"/>
                <a:gd name="connsiteX54" fmla="*/ 79235 w 362309"/>
                <a:gd name="connsiteY54" fmla="*/ 274352 h 362450"/>
                <a:gd name="connsiteX55" fmla="*/ 72845 w 362309"/>
                <a:gd name="connsiteY55" fmla="*/ 267968 h 362450"/>
                <a:gd name="connsiteX56" fmla="*/ 72845 w 362309"/>
                <a:gd name="connsiteY56" fmla="*/ 217534 h 362450"/>
                <a:gd name="connsiteX57" fmla="*/ 79235 w 362309"/>
                <a:gd name="connsiteY57" fmla="*/ 211150 h 362450"/>
                <a:gd name="connsiteX58" fmla="*/ 88181 w 362309"/>
                <a:gd name="connsiteY58" fmla="*/ 211150 h 362450"/>
                <a:gd name="connsiteX59" fmla="*/ 159748 w 362309"/>
                <a:gd name="connsiteY59" fmla="*/ 133904 h 362450"/>
                <a:gd name="connsiteX60" fmla="*/ 159748 w 362309"/>
                <a:gd name="connsiteY60" fmla="*/ 109007 h 362450"/>
                <a:gd name="connsiteX61" fmla="*/ 166138 w 362309"/>
                <a:gd name="connsiteY61" fmla="*/ 102623 h 362450"/>
                <a:gd name="connsiteX62" fmla="*/ 174445 w 362309"/>
                <a:gd name="connsiteY62" fmla="*/ 102623 h 362450"/>
                <a:gd name="connsiteX63" fmla="*/ 174445 w 362309"/>
                <a:gd name="connsiteY63" fmla="*/ 94323 h 362450"/>
                <a:gd name="connsiteX64" fmla="*/ 180835 w 362309"/>
                <a:gd name="connsiteY64" fmla="*/ 87939 h 362450"/>
                <a:gd name="connsiteX65" fmla="*/ 187225 w 362309"/>
                <a:gd name="connsiteY65" fmla="*/ 94323 h 362450"/>
                <a:gd name="connsiteX66" fmla="*/ 187225 w 362309"/>
                <a:gd name="connsiteY66" fmla="*/ 102623 h 362450"/>
                <a:gd name="connsiteX67" fmla="*/ 195532 w 362309"/>
                <a:gd name="connsiteY67" fmla="*/ 102623 h 362450"/>
                <a:gd name="connsiteX68" fmla="*/ 201922 w 362309"/>
                <a:gd name="connsiteY68" fmla="*/ 109007 h 362450"/>
                <a:gd name="connsiteX69" fmla="*/ 201922 w 362309"/>
                <a:gd name="connsiteY69" fmla="*/ 133904 h 362450"/>
                <a:gd name="connsiteX70" fmla="*/ 272850 w 362309"/>
                <a:gd name="connsiteY70" fmla="*/ 211150 h 362450"/>
                <a:gd name="connsiteX71" fmla="*/ 281796 w 362309"/>
                <a:gd name="connsiteY71" fmla="*/ 211150 h 362450"/>
                <a:gd name="connsiteX72" fmla="*/ 288186 w 362309"/>
                <a:gd name="connsiteY72" fmla="*/ 217534 h 362450"/>
                <a:gd name="connsiteX73" fmla="*/ 288825 w 362309"/>
                <a:gd name="connsiteY73" fmla="*/ 267968 h 3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62309" h="362450">
                  <a:moveTo>
                    <a:pt x="180835" y="479"/>
                  </a:moveTo>
                  <a:cubicBezTo>
                    <a:pt x="80513" y="479"/>
                    <a:pt x="0" y="81555"/>
                    <a:pt x="0" y="181784"/>
                  </a:cubicBezTo>
                  <a:cubicBezTo>
                    <a:pt x="0" y="282013"/>
                    <a:pt x="81152" y="362451"/>
                    <a:pt x="181474" y="362451"/>
                  </a:cubicBezTo>
                  <a:cubicBezTo>
                    <a:pt x="281157" y="362451"/>
                    <a:pt x="362310" y="281374"/>
                    <a:pt x="362310" y="181145"/>
                  </a:cubicBezTo>
                  <a:cubicBezTo>
                    <a:pt x="362310" y="80917"/>
                    <a:pt x="281157" y="-160"/>
                    <a:pt x="180835" y="479"/>
                  </a:cubicBezTo>
                  <a:cubicBezTo>
                    <a:pt x="180835" y="-160"/>
                    <a:pt x="180835" y="-160"/>
                    <a:pt x="180835" y="479"/>
                  </a:cubicBezTo>
                  <a:close/>
                  <a:moveTo>
                    <a:pt x="115019" y="267968"/>
                  </a:moveTo>
                  <a:cubicBezTo>
                    <a:pt x="115019" y="271798"/>
                    <a:pt x="112463" y="274352"/>
                    <a:pt x="108629" y="274352"/>
                  </a:cubicBezTo>
                  <a:cubicBezTo>
                    <a:pt x="104795" y="274352"/>
                    <a:pt x="102239" y="271798"/>
                    <a:pt x="102239" y="267968"/>
                  </a:cubicBezTo>
                  <a:lnTo>
                    <a:pt x="102239" y="246262"/>
                  </a:lnTo>
                  <a:cubicBezTo>
                    <a:pt x="102239" y="242432"/>
                    <a:pt x="104795" y="239878"/>
                    <a:pt x="108629" y="239878"/>
                  </a:cubicBezTo>
                  <a:cubicBezTo>
                    <a:pt x="112463" y="239878"/>
                    <a:pt x="115019" y="242432"/>
                    <a:pt x="115019" y="246262"/>
                  </a:cubicBezTo>
                  <a:lnTo>
                    <a:pt x="115019" y="267968"/>
                  </a:lnTo>
                  <a:close/>
                  <a:moveTo>
                    <a:pt x="143774" y="267968"/>
                  </a:moveTo>
                  <a:cubicBezTo>
                    <a:pt x="143774" y="271798"/>
                    <a:pt x="141218" y="274352"/>
                    <a:pt x="137384" y="274352"/>
                  </a:cubicBezTo>
                  <a:cubicBezTo>
                    <a:pt x="133550" y="274352"/>
                    <a:pt x="130994" y="271798"/>
                    <a:pt x="130994" y="267968"/>
                  </a:cubicBezTo>
                  <a:lnTo>
                    <a:pt x="130994" y="246262"/>
                  </a:lnTo>
                  <a:cubicBezTo>
                    <a:pt x="130994" y="242432"/>
                    <a:pt x="133550" y="239878"/>
                    <a:pt x="137384" y="239878"/>
                  </a:cubicBezTo>
                  <a:cubicBezTo>
                    <a:pt x="141218" y="239878"/>
                    <a:pt x="143774" y="242432"/>
                    <a:pt x="143774" y="246262"/>
                  </a:cubicBezTo>
                  <a:lnTo>
                    <a:pt x="143774" y="267968"/>
                  </a:lnTo>
                  <a:close/>
                  <a:moveTo>
                    <a:pt x="172528" y="267968"/>
                  </a:moveTo>
                  <a:cubicBezTo>
                    <a:pt x="172528" y="271798"/>
                    <a:pt x="169972" y="274352"/>
                    <a:pt x="166138" y="274352"/>
                  </a:cubicBezTo>
                  <a:cubicBezTo>
                    <a:pt x="162305" y="274352"/>
                    <a:pt x="159748" y="271798"/>
                    <a:pt x="159748" y="267968"/>
                  </a:cubicBezTo>
                  <a:lnTo>
                    <a:pt x="159748" y="246262"/>
                  </a:lnTo>
                  <a:cubicBezTo>
                    <a:pt x="159748" y="242432"/>
                    <a:pt x="162305" y="239878"/>
                    <a:pt x="166138" y="239878"/>
                  </a:cubicBezTo>
                  <a:cubicBezTo>
                    <a:pt x="169972" y="239878"/>
                    <a:pt x="172528" y="242432"/>
                    <a:pt x="172528" y="246262"/>
                  </a:cubicBezTo>
                  <a:lnTo>
                    <a:pt x="172528" y="267968"/>
                  </a:lnTo>
                  <a:close/>
                  <a:moveTo>
                    <a:pt x="201922" y="267968"/>
                  </a:moveTo>
                  <a:cubicBezTo>
                    <a:pt x="201922" y="271798"/>
                    <a:pt x="199366" y="274352"/>
                    <a:pt x="195532" y="274352"/>
                  </a:cubicBezTo>
                  <a:cubicBezTo>
                    <a:pt x="191698" y="274352"/>
                    <a:pt x="189142" y="271798"/>
                    <a:pt x="189142" y="267968"/>
                  </a:cubicBezTo>
                  <a:lnTo>
                    <a:pt x="189142" y="246262"/>
                  </a:lnTo>
                  <a:cubicBezTo>
                    <a:pt x="189142" y="242432"/>
                    <a:pt x="191698" y="239878"/>
                    <a:pt x="195532" y="239878"/>
                  </a:cubicBezTo>
                  <a:cubicBezTo>
                    <a:pt x="199366" y="239878"/>
                    <a:pt x="201922" y="242432"/>
                    <a:pt x="201922" y="246262"/>
                  </a:cubicBezTo>
                  <a:lnTo>
                    <a:pt x="201922" y="267968"/>
                  </a:lnTo>
                  <a:close/>
                  <a:moveTo>
                    <a:pt x="230677" y="267968"/>
                  </a:moveTo>
                  <a:cubicBezTo>
                    <a:pt x="230677" y="271798"/>
                    <a:pt x="228121" y="274352"/>
                    <a:pt x="224287" y="274352"/>
                  </a:cubicBezTo>
                  <a:cubicBezTo>
                    <a:pt x="220453" y="274352"/>
                    <a:pt x="217897" y="271798"/>
                    <a:pt x="217897" y="267968"/>
                  </a:cubicBezTo>
                  <a:lnTo>
                    <a:pt x="217897" y="246262"/>
                  </a:lnTo>
                  <a:cubicBezTo>
                    <a:pt x="217897" y="242432"/>
                    <a:pt x="220453" y="239878"/>
                    <a:pt x="224287" y="239878"/>
                  </a:cubicBezTo>
                  <a:cubicBezTo>
                    <a:pt x="228121" y="239878"/>
                    <a:pt x="230677" y="242432"/>
                    <a:pt x="230677" y="246262"/>
                  </a:cubicBezTo>
                  <a:lnTo>
                    <a:pt x="230677" y="267968"/>
                  </a:lnTo>
                  <a:close/>
                  <a:moveTo>
                    <a:pt x="260071" y="267968"/>
                  </a:moveTo>
                  <a:cubicBezTo>
                    <a:pt x="260071" y="271798"/>
                    <a:pt x="257515" y="274352"/>
                    <a:pt x="253681" y="274352"/>
                  </a:cubicBezTo>
                  <a:cubicBezTo>
                    <a:pt x="249847" y="274352"/>
                    <a:pt x="247291" y="271798"/>
                    <a:pt x="247291" y="267968"/>
                  </a:cubicBezTo>
                  <a:lnTo>
                    <a:pt x="247291" y="246262"/>
                  </a:lnTo>
                  <a:cubicBezTo>
                    <a:pt x="247291" y="242432"/>
                    <a:pt x="249847" y="239878"/>
                    <a:pt x="253681" y="239878"/>
                  </a:cubicBezTo>
                  <a:cubicBezTo>
                    <a:pt x="257515" y="239878"/>
                    <a:pt x="260071" y="242432"/>
                    <a:pt x="260071" y="246262"/>
                  </a:cubicBezTo>
                  <a:lnTo>
                    <a:pt x="260071" y="267968"/>
                  </a:lnTo>
                  <a:close/>
                  <a:moveTo>
                    <a:pt x="288825" y="267968"/>
                  </a:moveTo>
                  <a:cubicBezTo>
                    <a:pt x="288825" y="271798"/>
                    <a:pt x="286269" y="274352"/>
                    <a:pt x="282435" y="274352"/>
                  </a:cubicBezTo>
                  <a:cubicBezTo>
                    <a:pt x="278602" y="274352"/>
                    <a:pt x="276045" y="271798"/>
                    <a:pt x="276045" y="267968"/>
                  </a:cubicBezTo>
                  <a:lnTo>
                    <a:pt x="276045" y="223918"/>
                  </a:lnTo>
                  <a:lnTo>
                    <a:pt x="85625" y="223918"/>
                  </a:lnTo>
                  <a:lnTo>
                    <a:pt x="85625" y="267968"/>
                  </a:lnTo>
                  <a:cubicBezTo>
                    <a:pt x="85625" y="271798"/>
                    <a:pt x="83069" y="274352"/>
                    <a:pt x="79235" y="274352"/>
                  </a:cubicBezTo>
                  <a:cubicBezTo>
                    <a:pt x="75401" y="274352"/>
                    <a:pt x="72845" y="271798"/>
                    <a:pt x="72845" y="267968"/>
                  </a:cubicBezTo>
                  <a:lnTo>
                    <a:pt x="72845" y="217534"/>
                  </a:lnTo>
                  <a:cubicBezTo>
                    <a:pt x="72845" y="213704"/>
                    <a:pt x="75401" y="211150"/>
                    <a:pt x="79235" y="211150"/>
                  </a:cubicBezTo>
                  <a:lnTo>
                    <a:pt x="88181" y="211150"/>
                  </a:lnTo>
                  <a:cubicBezTo>
                    <a:pt x="93932" y="173485"/>
                    <a:pt x="122048" y="142842"/>
                    <a:pt x="159748" y="133904"/>
                  </a:cubicBezTo>
                  <a:lnTo>
                    <a:pt x="159748" y="109007"/>
                  </a:lnTo>
                  <a:cubicBezTo>
                    <a:pt x="159748" y="105176"/>
                    <a:pt x="162305" y="102623"/>
                    <a:pt x="166138" y="102623"/>
                  </a:cubicBezTo>
                  <a:lnTo>
                    <a:pt x="174445" y="102623"/>
                  </a:lnTo>
                  <a:lnTo>
                    <a:pt x="174445" y="94323"/>
                  </a:lnTo>
                  <a:cubicBezTo>
                    <a:pt x="174445" y="90493"/>
                    <a:pt x="177001" y="87939"/>
                    <a:pt x="180835" y="87939"/>
                  </a:cubicBezTo>
                  <a:cubicBezTo>
                    <a:pt x="184669" y="87939"/>
                    <a:pt x="187225" y="90493"/>
                    <a:pt x="187225" y="94323"/>
                  </a:cubicBezTo>
                  <a:lnTo>
                    <a:pt x="187225" y="102623"/>
                  </a:lnTo>
                  <a:lnTo>
                    <a:pt x="195532" y="102623"/>
                  </a:lnTo>
                  <a:cubicBezTo>
                    <a:pt x="199366" y="102623"/>
                    <a:pt x="201922" y="105176"/>
                    <a:pt x="201922" y="109007"/>
                  </a:cubicBezTo>
                  <a:lnTo>
                    <a:pt x="201922" y="133904"/>
                  </a:lnTo>
                  <a:cubicBezTo>
                    <a:pt x="238984" y="142203"/>
                    <a:pt x="267739" y="172846"/>
                    <a:pt x="272850" y="211150"/>
                  </a:cubicBezTo>
                  <a:lnTo>
                    <a:pt x="281796" y="211150"/>
                  </a:lnTo>
                  <a:cubicBezTo>
                    <a:pt x="285630" y="211150"/>
                    <a:pt x="288186" y="213704"/>
                    <a:pt x="288186" y="217534"/>
                  </a:cubicBezTo>
                  <a:lnTo>
                    <a:pt x="288825" y="267968"/>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9" name="Graphic 4">
            <a:extLst>
              <a:ext uri="{FF2B5EF4-FFF2-40B4-BE49-F238E27FC236}">
                <a16:creationId xmlns:a16="http://schemas.microsoft.com/office/drawing/2014/main" id="{F923ED8B-D080-0E27-2C91-15CFA702ADC5}"/>
              </a:ext>
            </a:extLst>
          </p:cNvPr>
          <p:cNvGrpSpPr>
            <a:grpSpLocks noChangeAspect="1"/>
          </p:cNvGrpSpPr>
          <p:nvPr/>
        </p:nvGrpSpPr>
        <p:grpSpPr>
          <a:xfrm>
            <a:off x="3607934" y="4361171"/>
            <a:ext cx="493776" cy="493315"/>
            <a:chOff x="905454" y="918179"/>
            <a:chExt cx="362309" cy="361971"/>
          </a:xfrm>
          <a:solidFill>
            <a:srgbClr val="0076A8"/>
          </a:solidFill>
        </p:grpSpPr>
        <p:sp>
          <p:nvSpPr>
            <p:cNvPr id="150" name="Graphic 4">
              <a:extLst>
                <a:ext uri="{FF2B5EF4-FFF2-40B4-BE49-F238E27FC236}">
                  <a16:creationId xmlns:a16="http://schemas.microsoft.com/office/drawing/2014/main" id="{A682C0E2-3287-052B-367D-4D823AC29151}"/>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289464 w 362309"/>
                <a:gd name="connsiteY6" fmla="*/ 265574 h 361971"/>
                <a:gd name="connsiteX7" fmla="*/ 283074 w 362309"/>
                <a:gd name="connsiteY7" fmla="*/ 271958 h 361971"/>
                <a:gd name="connsiteX8" fmla="*/ 79235 w 362309"/>
                <a:gd name="connsiteY8" fmla="*/ 271958 h 361971"/>
                <a:gd name="connsiteX9" fmla="*/ 72845 w 362309"/>
                <a:gd name="connsiteY9" fmla="*/ 265574 h 361971"/>
                <a:gd name="connsiteX10" fmla="*/ 72845 w 362309"/>
                <a:gd name="connsiteY10" fmla="*/ 189604 h 361971"/>
                <a:gd name="connsiteX11" fmla="*/ 76679 w 362309"/>
                <a:gd name="connsiteY11" fmla="*/ 183859 h 361971"/>
                <a:gd name="connsiteX12" fmla="*/ 88181 w 362309"/>
                <a:gd name="connsiteY12" fmla="*/ 178752 h 361971"/>
                <a:gd name="connsiteX13" fmla="*/ 96488 w 362309"/>
                <a:gd name="connsiteY13" fmla="*/ 95121 h 361971"/>
                <a:gd name="connsiteX14" fmla="*/ 102878 w 362309"/>
                <a:gd name="connsiteY14" fmla="*/ 89376 h 361971"/>
                <a:gd name="connsiteX15" fmla="*/ 130994 w 362309"/>
                <a:gd name="connsiteY15" fmla="*/ 89376 h 361971"/>
                <a:gd name="connsiteX16" fmla="*/ 137384 w 362309"/>
                <a:gd name="connsiteY16" fmla="*/ 95121 h 361971"/>
                <a:gd name="connsiteX17" fmla="*/ 146330 w 362309"/>
                <a:gd name="connsiteY17" fmla="*/ 176836 h 361971"/>
                <a:gd name="connsiteX18" fmla="*/ 151441 w 362309"/>
                <a:gd name="connsiteY18" fmla="*/ 123849 h 361971"/>
                <a:gd name="connsiteX19" fmla="*/ 157831 w 362309"/>
                <a:gd name="connsiteY19" fmla="*/ 118104 h 361971"/>
                <a:gd name="connsiteX20" fmla="*/ 181474 w 362309"/>
                <a:gd name="connsiteY20" fmla="*/ 118104 h 361971"/>
                <a:gd name="connsiteX21" fmla="*/ 187864 w 362309"/>
                <a:gd name="connsiteY21" fmla="*/ 123849 h 361971"/>
                <a:gd name="connsiteX22" fmla="*/ 193615 w 362309"/>
                <a:gd name="connsiteY22" fmla="*/ 183859 h 361971"/>
                <a:gd name="connsiteX23" fmla="*/ 196810 w 362309"/>
                <a:gd name="connsiteY23" fmla="*/ 183859 h 361971"/>
                <a:gd name="connsiteX24" fmla="*/ 196810 w 362309"/>
                <a:gd name="connsiteY24" fmla="*/ 172368 h 361971"/>
                <a:gd name="connsiteX25" fmla="*/ 203200 w 362309"/>
                <a:gd name="connsiteY25" fmla="*/ 165984 h 361971"/>
                <a:gd name="connsiteX26" fmla="*/ 232594 w 362309"/>
                <a:gd name="connsiteY26" fmla="*/ 165984 h 361971"/>
                <a:gd name="connsiteX27" fmla="*/ 232594 w 362309"/>
                <a:gd name="connsiteY27" fmla="*/ 153216 h 361971"/>
                <a:gd name="connsiteX28" fmla="*/ 228760 w 362309"/>
                <a:gd name="connsiteY28" fmla="*/ 153216 h 361971"/>
                <a:gd name="connsiteX29" fmla="*/ 222370 w 362309"/>
                <a:gd name="connsiteY29" fmla="*/ 146832 h 361971"/>
                <a:gd name="connsiteX30" fmla="*/ 228760 w 362309"/>
                <a:gd name="connsiteY30" fmla="*/ 140448 h 361971"/>
                <a:gd name="connsiteX31" fmla="*/ 278601 w 362309"/>
                <a:gd name="connsiteY31" fmla="*/ 140448 h 361971"/>
                <a:gd name="connsiteX32" fmla="*/ 284991 w 362309"/>
                <a:gd name="connsiteY32" fmla="*/ 146832 h 361971"/>
                <a:gd name="connsiteX33" fmla="*/ 278601 w 362309"/>
                <a:gd name="connsiteY33" fmla="*/ 153216 h 361971"/>
                <a:gd name="connsiteX34" fmla="*/ 272211 w 362309"/>
                <a:gd name="connsiteY34" fmla="*/ 153216 h 361971"/>
                <a:gd name="connsiteX35" fmla="*/ 272211 w 362309"/>
                <a:gd name="connsiteY35" fmla="*/ 172368 h 361971"/>
                <a:gd name="connsiteX36" fmla="*/ 283713 w 362309"/>
                <a:gd name="connsiteY36" fmla="*/ 172368 h 361971"/>
                <a:gd name="connsiteX37" fmla="*/ 290103 w 362309"/>
                <a:gd name="connsiteY37" fmla="*/ 178752 h 361971"/>
                <a:gd name="connsiteX38" fmla="*/ 290103 w 362309"/>
                <a:gd name="connsiteY38" fmla="*/ 2655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289464" y="265574"/>
                  </a:moveTo>
                  <a:cubicBezTo>
                    <a:pt x="289464" y="269404"/>
                    <a:pt x="286908" y="271958"/>
                    <a:pt x="283074" y="271958"/>
                  </a:cubicBezTo>
                  <a:lnTo>
                    <a:pt x="79235" y="271958"/>
                  </a:lnTo>
                  <a:cubicBezTo>
                    <a:pt x="75401" y="271958"/>
                    <a:pt x="72845" y="269404"/>
                    <a:pt x="72845" y="265574"/>
                  </a:cubicBezTo>
                  <a:lnTo>
                    <a:pt x="72845" y="189604"/>
                  </a:lnTo>
                  <a:cubicBezTo>
                    <a:pt x="72845" y="187051"/>
                    <a:pt x="74123" y="184497"/>
                    <a:pt x="76679" y="183859"/>
                  </a:cubicBezTo>
                  <a:lnTo>
                    <a:pt x="88181" y="178752"/>
                  </a:lnTo>
                  <a:lnTo>
                    <a:pt x="96488" y="95121"/>
                  </a:lnTo>
                  <a:cubicBezTo>
                    <a:pt x="97127" y="91929"/>
                    <a:pt x="99683" y="89376"/>
                    <a:pt x="102878" y="89376"/>
                  </a:cubicBezTo>
                  <a:lnTo>
                    <a:pt x="130994" y="89376"/>
                  </a:lnTo>
                  <a:cubicBezTo>
                    <a:pt x="134189" y="89376"/>
                    <a:pt x="136745" y="91929"/>
                    <a:pt x="137384" y="95121"/>
                  </a:cubicBezTo>
                  <a:lnTo>
                    <a:pt x="146330" y="176836"/>
                  </a:lnTo>
                  <a:lnTo>
                    <a:pt x="151441" y="123849"/>
                  </a:lnTo>
                  <a:cubicBezTo>
                    <a:pt x="151441" y="120657"/>
                    <a:pt x="154636" y="118104"/>
                    <a:pt x="157831" y="118104"/>
                  </a:cubicBezTo>
                  <a:lnTo>
                    <a:pt x="181474" y="118104"/>
                  </a:lnTo>
                  <a:cubicBezTo>
                    <a:pt x="184669" y="118104"/>
                    <a:pt x="187225" y="120657"/>
                    <a:pt x="187864" y="123849"/>
                  </a:cubicBezTo>
                  <a:lnTo>
                    <a:pt x="193615" y="183859"/>
                  </a:lnTo>
                  <a:lnTo>
                    <a:pt x="196810" y="183859"/>
                  </a:lnTo>
                  <a:lnTo>
                    <a:pt x="196810" y="172368"/>
                  </a:lnTo>
                  <a:cubicBezTo>
                    <a:pt x="196810" y="168537"/>
                    <a:pt x="199366" y="165984"/>
                    <a:pt x="203200" y="165984"/>
                  </a:cubicBezTo>
                  <a:lnTo>
                    <a:pt x="232594" y="165984"/>
                  </a:lnTo>
                  <a:lnTo>
                    <a:pt x="232594" y="153216"/>
                  </a:lnTo>
                  <a:lnTo>
                    <a:pt x="228760" y="153216"/>
                  </a:lnTo>
                  <a:cubicBezTo>
                    <a:pt x="224926" y="153216"/>
                    <a:pt x="222370" y="150662"/>
                    <a:pt x="222370" y="146832"/>
                  </a:cubicBezTo>
                  <a:cubicBezTo>
                    <a:pt x="222370" y="143001"/>
                    <a:pt x="224926" y="140448"/>
                    <a:pt x="228760" y="140448"/>
                  </a:cubicBezTo>
                  <a:lnTo>
                    <a:pt x="278601" y="140448"/>
                  </a:lnTo>
                  <a:cubicBezTo>
                    <a:pt x="282435" y="140448"/>
                    <a:pt x="284991" y="143001"/>
                    <a:pt x="284991" y="146832"/>
                  </a:cubicBezTo>
                  <a:cubicBezTo>
                    <a:pt x="284991" y="150662"/>
                    <a:pt x="282435" y="153216"/>
                    <a:pt x="278601" y="153216"/>
                  </a:cubicBezTo>
                  <a:lnTo>
                    <a:pt x="272211" y="153216"/>
                  </a:lnTo>
                  <a:lnTo>
                    <a:pt x="272211" y="172368"/>
                  </a:lnTo>
                  <a:lnTo>
                    <a:pt x="283713" y="172368"/>
                  </a:lnTo>
                  <a:cubicBezTo>
                    <a:pt x="287547" y="172368"/>
                    <a:pt x="290103" y="174921"/>
                    <a:pt x="290103" y="178752"/>
                  </a:cubicBezTo>
                  <a:lnTo>
                    <a:pt x="290103" y="265574"/>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sp>
          <p:nvSpPr>
            <p:cNvPr id="151" name="Graphic 4">
              <a:extLst>
                <a:ext uri="{FF2B5EF4-FFF2-40B4-BE49-F238E27FC236}">
                  <a16:creationId xmlns:a16="http://schemas.microsoft.com/office/drawing/2014/main" id="{BD625135-F6CF-D417-504C-2F6A47D972AE}"/>
                </a:ext>
              </a:extLst>
            </p:cNvPr>
            <p:cNvSpPr/>
            <p:nvPr/>
          </p:nvSpPr>
          <p:spPr>
            <a:xfrm>
              <a:off x="991079" y="1020961"/>
              <a:ext cx="191059" cy="156407"/>
            </a:xfrm>
            <a:custGeom>
              <a:avLst/>
              <a:gdLst>
                <a:gd name="connsiteX0" fmla="*/ 173806 w 191059"/>
                <a:gd name="connsiteY0" fmla="*/ 75969 h 156407"/>
                <a:gd name="connsiteX1" fmla="*/ 173806 w 191059"/>
                <a:gd name="connsiteY1" fmla="*/ 50433 h 156407"/>
                <a:gd name="connsiteX2" fmla="*/ 159748 w 191059"/>
                <a:gd name="connsiteY2" fmla="*/ 50433 h 156407"/>
                <a:gd name="connsiteX3" fmla="*/ 159748 w 191059"/>
                <a:gd name="connsiteY3" fmla="*/ 69585 h 156407"/>
                <a:gd name="connsiteX4" fmla="*/ 153358 w 191059"/>
                <a:gd name="connsiteY4" fmla="*/ 75969 h 156407"/>
                <a:gd name="connsiteX5" fmla="*/ 123965 w 191059"/>
                <a:gd name="connsiteY5" fmla="*/ 75969 h 156407"/>
                <a:gd name="connsiteX6" fmla="*/ 123965 w 191059"/>
                <a:gd name="connsiteY6" fmla="*/ 87461 h 156407"/>
                <a:gd name="connsiteX7" fmla="*/ 117575 w 191059"/>
                <a:gd name="connsiteY7" fmla="*/ 93845 h 156407"/>
                <a:gd name="connsiteX8" fmla="*/ 101600 w 191059"/>
                <a:gd name="connsiteY8" fmla="*/ 93845 h 156407"/>
                <a:gd name="connsiteX9" fmla="*/ 95210 w 191059"/>
                <a:gd name="connsiteY9" fmla="*/ 88099 h 156407"/>
                <a:gd name="connsiteX10" fmla="*/ 89459 w 191059"/>
                <a:gd name="connsiteY10" fmla="*/ 28089 h 156407"/>
                <a:gd name="connsiteX11" fmla="*/ 77318 w 191059"/>
                <a:gd name="connsiteY11" fmla="*/ 28089 h 156407"/>
                <a:gd name="connsiteX12" fmla="*/ 72206 w 191059"/>
                <a:gd name="connsiteY12" fmla="*/ 87461 h 156407"/>
                <a:gd name="connsiteX13" fmla="*/ 65816 w 191059"/>
                <a:gd name="connsiteY13" fmla="*/ 93206 h 156407"/>
                <a:gd name="connsiteX14" fmla="*/ 55592 w 191059"/>
                <a:gd name="connsiteY14" fmla="*/ 93206 h 156407"/>
                <a:gd name="connsiteX15" fmla="*/ 49202 w 191059"/>
                <a:gd name="connsiteY15" fmla="*/ 87461 h 156407"/>
                <a:gd name="connsiteX16" fmla="*/ 39618 w 191059"/>
                <a:gd name="connsiteY16" fmla="*/ 0 h 156407"/>
                <a:gd name="connsiteX17" fmla="*/ 23004 w 191059"/>
                <a:gd name="connsiteY17" fmla="*/ 0 h 156407"/>
                <a:gd name="connsiteX18" fmla="*/ 15336 w 191059"/>
                <a:gd name="connsiteY18" fmla="*/ 81077 h 156407"/>
                <a:gd name="connsiteX19" fmla="*/ 11502 w 191059"/>
                <a:gd name="connsiteY19" fmla="*/ 86184 h 156407"/>
                <a:gd name="connsiteX20" fmla="*/ 0 w 191059"/>
                <a:gd name="connsiteY20" fmla="*/ 91291 h 156407"/>
                <a:gd name="connsiteX21" fmla="*/ 0 w 191059"/>
                <a:gd name="connsiteY21" fmla="*/ 156408 h 156407"/>
                <a:gd name="connsiteX22" fmla="*/ 191059 w 191059"/>
                <a:gd name="connsiteY22" fmla="*/ 156408 h 156407"/>
                <a:gd name="connsiteX23" fmla="*/ 191059 w 191059"/>
                <a:gd name="connsiteY23" fmla="*/ 82353 h 156407"/>
                <a:gd name="connsiteX24" fmla="*/ 180196 w 191059"/>
                <a:gd name="connsiteY24" fmla="*/ 82353 h 156407"/>
                <a:gd name="connsiteX25" fmla="*/ 173806 w 191059"/>
                <a:gd name="connsiteY25" fmla="*/ 75969 h 156407"/>
                <a:gd name="connsiteX26" fmla="*/ 173806 w 191059"/>
                <a:gd name="connsiteY26" fmla="*/ 75969 h 156407"/>
                <a:gd name="connsiteX27" fmla="*/ 46646 w 191059"/>
                <a:gd name="connsiteY27" fmla="*/ 135979 h 156407"/>
                <a:gd name="connsiteX28" fmla="*/ 20448 w 191059"/>
                <a:gd name="connsiteY28" fmla="*/ 135979 h 156407"/>
                <a:gd name="connsiteX29" fmla="*/ 14058 w 191059"/>
                <a:gd name="connsiteY29" fmla="*/ 129595 h 156407"/>
                <a:gd name="connsiteX30" fmla="*/ 20448 w 191059"/>
                <a:gd name="connsiteY30" fmla="*/ 123211 h 156407"/>
                <a:gd name="connsiteX31" fmla="*/ 46646 w 191059"/>
                <a:gd name="connsiteY31" fmla="*/ 123211 h 156407"/>
                <a:gd name="connsiteX32" fmla="*/ 53036 w 191059"/>
                <a:gd name="connsiteY32" fmla="*/ 129595 h 156407"/>
                <a:gd name="connsiteX33" fmla="*/ 46646 w 191059"/>
                <a:gd name="connsiteY33" fmla="*/ 135979 h 156407"/>
                <a:gd name="connsiteX34" fmla="*/ 120770 w 191059"/>
                <a:gd name="connsiteY34" fmla="*/ 135979 h 156407"/>
                <a:gd name="connsiteX35" fmla="*/ 78596 w 191059"/>
                <a:gd name="connsiteY35" fmla="*/ 135979 h 156407"/>
                <a:gd name="connsiteX36" fmla="*/ 72206 w 191059"/>
                <a:gd name="connsiteY36" fmla="*/ 129595 h 156407"/>
                <a:gd name="connsiteX37" fmla="*/ 78596 w 191059"/>
                <a:gd name="connsiteY37" fmla="*/ 123211 h 156407"/>
                <a:gd name="connsiteX38" fmla="*/ 120770 w 191059"/>
                <a:gd name="connsiteY38" fmla="*/ 123211 h 156407"/>
                <a:gd name="connsiteX39" fmla="*/ 127160 w 191059"/>
                <a:gd name="connsiteY39" fmla="*/ 129595 h 156407"/>
                <a:gd name="connsiteX40" fmla="*/ 120770 w 191059"/>
                <a:gd name="connsiteY40" fmla="*/ 135979 h 156407"/>
                <a:gd name="connsiteX41" fmla="*/ 120770 w 191059"/>
                <a:gd name="connsiteY41" fmla="*/ 135979 h 156407"/>
                <a:gd name="connsiteX42" fmla="*/ 174445 w 191059"/>
                <a:gd name="connsiteY42" fmla="*/ 135979 h 156407"/>
                <a:gd name="connsiteX43" fmla="*/ 156553 w 191059"/>
                <a:gd name="connsiteY43" fmla="*/ 135979 h 156407"/>
                <a:gd name="connsiteX44" fmla="*/ 150164 w 191059"/>
                <a:gd name="connsiteY44" fmla="*/ 129595 h 156407"/>
                <a:gd name="connsiteX45" fmla="*/ 156553 w 191059"/>
                <a:gd name="connsiteY45" fmla="*/ 123211 h 156407"/>
                <a:gd name="connsiteX46" fmla="*/ 174445 w 191059"/>
                <a:gd name="connsiteY46" fmla="*/ 123211 h 156407"/>
                <a:gd name="connsiteX47" fmla="*/ 180835 w 191059"/>
                <a:gd name="connsiteY47" fmla="*/ 129595 h 156407"/>
                <a:gd name="connsiteX48" fmla="*/ 174445 w 191059"/>
                <a:gd name="connsiteY48" fmla="*/ 135979 h 15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1059" h="156407">
                  <a:moveTo>
                    <a:pt x="173806" y="75969"/>
                  </a:moveTo>
                  <a:lnTo>
                    <a:pt x="173806" y="50433"/>
                  </a:lnTo>
                  <a:lnTo>
                    <a:pt x="159748" y="50433"/>
                  </a:lnTo>
                  <a:lnTo>
                    <a:pt x="159748" y="69585"/>
                  </a:lnTo>
                  <a:cubicBezTo>
                    <a:pt x="159748" y="73416"/>
                    <a:pt x="157192" y="75969"/>
                    <a:pt x="153358" y="75969"/>
                  </a:cubicBezTo>
                  <a:lnTo>
                    <a:pt x="123965" y="75969"/>
                  </a:lnTo>
                  <a:lnTo>
                    <a:pt x="123965" y="87461"/>
                  </a:lnTo>
                  <a:cubicBezTo>
                    <a:pt x="123965" y="91291"/>
                    <a:pt x="121409" y="93845"/>
                    <a:pt x="117575" y="93845"/>
                  </a:cubicBezTo>
                  <a:lnTo>
                    <a:pt x="101600" y="93845"/>
                  </a:lnTo>
                  <a:cubicBezTo>
                    <a:pt x="98405" y="93845"/>
                    <a:pt x="95849" y="91291"/>
                    <a:pt x="95210" y="88099"/>
                  </a:cubicBezTo>
                  <a:lnTo>
                    <a:pt x="89459" y="28089"/>
                  </a:lnTo>
                  <a:lnTo>
                    <a:pt x="77318" y="28089"/>
                  </a:lnTo>
                  <a:lnTo>
                    <a:pt x="72206" y="87461"/>
                  </a:lnTo>
                  <a:cubicBezTo>
                    <a:pt x="72206" y="90653"/>
                    <a:pt x="69011" y="93206"/>
                    <a:pt x="65816" y="93206"/>
                  </a:cubicBezTo>
                  <a:lnTo>
                    <a:pt x="55592" y="93206"/>
                  </a:lnTo>
                  <a:cubicBezTo>
                    <a:pt x="52397" y="93206"/>
                    <a:pt x="49841" y="90653"/>
                    <a:pt x="49202" y="87461"/>
                  </a:cubicBezTo>
                  <a:lnTo>
                    <a:pt x="39618" y="0"/>
                  </a:lnTo>
                  <a:lnTo>
                    <a:pt x="23004" y="0"/>
                  </a:lnTo>
                  <a:lnTo>
                    <a:pt x="15336" y="81077"/>
                  </a:lnTo>
                  <a:cubicBezTo>
                    <a:pt x="15336" y="83630"/>
                    <a:pt x="13419" y="85545"/>
                    <a:pt x="11502" y="86184"/>
                  </a:cubicBezTo>
                  <a:lnTo>
                    <a:pt x="0" y="91291"/>
                  </a:lnTo>
                  <a:lnTo>
                    <a:pt x="0" y="156408"/>
                  </a:lnTo>
                  <a:lnTo>
                    <a:pt x="191059" y="156408"/>
                  </a:lnTo>
                  <a:lnTo>
                    <a:pt x="191059" y="82353"/>
                  </a:lnTo>
                  <a:lnTo>
                    <a:pt x="180196" y="82353"/>
                  </a:lnTo>
                  <a:cubicBezTo>
                    <a:pt x="176362" y="82353"/>
                    <a:pt x="173806" y="79800"/>
                    <a:pt x="173806" y="75969"/>
                  </a:cubicBezTo>
                  <a:cubicBezTo>
                    <a:pt x="173806" y="75969"/>
                    <a:pt x="173806" y="75969"/>
                    <a:pt x="173806" y="75969"/>
                  </a:cubicBezTo>
                  <a:close/>
                  <a:moveTo>
                    <a:pt x="46646" y="135979"/>
                  </a:moveTo>
                  <a:lnTo>
                    <a:pt x="20448" y="135979"/>
                  </a:lnTo>
                  <a:cubicBezTo>
                    <a:pt x="16614" y="135979"/>
                    <a:pt x="14058" y="133425"/>
                    <a:pt x="14058" y="129595"/>
                  </a:cubicBezTo>
                  <a:cubicBezTo>
                    <a:pt x="14058" y="125764"/>
                    <a:pt x="16614" y="123211"/>
                    <a:pt x="20448" y="123211"/>
                  </a:cubicBezTo>
                  <a:lnTo>
                    <a:pt x="46646" y="123211"/>
                  </a:lnTo>
                  <a:cubicBezTo>
                    <a:pt x="50480" y="123211"/>
                    <a:pt x="53036" y="125764"/>
                    <a:pt x="53036" y="129595"/>
                  </a:cubicBezTo>
                  <a:cubicBezTo>
                    <a:pt x="53036" y="133425"/>
                    <a:pt x="50480" y="135979"/>
                    <a:pt x="46646" y="135979"/>
                  </a:cubicBezTo>
                  <a:close/>
                  <a:moveTo>
                    <a:pt x="120770" y="135979"/>
                  </a:moveTo>
                  <a:lnTo>
                    <a:pt x="78596" y="135979"/>
                  </a:lnTo>
                  <a:cubicBezTo>
                    <a:pt x="74762" y="135979"/>
                    <a:pt x="72206" y="133425"/>
                    <a:pt x="72206" y="129595"/>
                  </a:cubicBezTo>
                  <a:cubicBezTo>
                    <a:pt x="72206" y="125764"/>
                    <a:pt x="74762" y="123211"/>
                    <a:pt x="78596" y="123211"/>
                  </a:cubicBezTo>
                  <a:lnTo>
                    <a:pt x="120770" y="123211"/>
                  </a:lnTo>
                  <a:cubicBezTo>
                    <a:pt x="124604" y="123211"/>
                    <a:pt x="127160" y="125764"/>
                    <a:pt x="127160" y="129595"/>
                  </a:cubicBezTo>
                  <a:cubicBezTo>
                    <a:pt x="127160" y="133425"/>
                    <a:pt x="124604" y="135979"/>
                    <a:pt x="120770" y="135979"/>
                  </a:cubicBezTo>
                  <a:lnTo>
                    <a:pt x="120770" y="135979"/>
                  </a:lnTo>
                  <a:close/>
                  <a:moveTo>
                    <a:pt x="174445" y="135979"/>
                  </a:moveTo>
                  <a:lnTo>
                    <a:pt x="156553" y="135979"/>
                  </a:lnTo>
                  <a:cubicBezTo>
                    <a:pt x="152719" y="135979"/>
                    <a:pt x="150164" y="133425"/>
                    <a:pt x="150164" y="129595"/>
                  </a:cubicBezTo>
                  <a:cubicBezTo>
                    <a:pt x="150164" y="125764"/>
                    <a:pt x="152719" y="123211"/>
                    <a:pt x="156553" y="123211"/>
                  </a:cubicBezTo>
                  <a:lnTo>
                    <a:pt x="174445" y="123211"/>
                  </a:lnTo>
                  <a:cubicBezTo>
                    <a:pt x="178279" y="123211"/>
                    <a:pt x="180835" y="125764"/>
                    <a:pt x="180835" y="129595"/>
                  </a:cubicBezTo>
                  <a:cubicBezTo>
                    <a:pt x="180835" y="133425"/>
                    <a:pt x="178279" y="135979"/>
                    <a:pt x="174445" y="135979"/>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8" name="Rectangle 17">
            <a:extLst>
              <a:ext uri="{FF2B5EF4-FFF2-40B4-BE49-F238E27FC236}">
                <a16:creationId xmlns:a16="http://schemas.microsoft.com/office/drawing/2014/main" id="{4DDDDDD5-A9A1-C295-7117-D3FD3AB15DB5}"/>
              </a:ext>
            </a:extLst>
          </p:cNvPr>
          <p:cNvSpPr/>
          <p:nvPr/>
        </p:nvSpPr>
        <p:spPr bwMode="gray">
          <a:xfrm>
            <a:off x="8423949" y="1967501"/>
            <a:ext cx="3078181" cy="1568506"/>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 name="TextBox 18">
            <a:extLst>
              <a:ext uri="{FF2B5EF4-FFF2-40B4-BE49-F238E27FC236}">
                <a16:creationId xmlns:a16="http://schemas.microsoft.com/office/drawing/2014/main" id="{EE619EB2-419A-F540-B144-011784AB8ADE}"/>
              </a:ext>
            </a:extLst>
          </p:cNvPr>
          <p:cNvSpPr txBox="1"/>
          <p:nvPr/>
        </p:nvSpPr>
        <p:spPr>
          <a:xfrm>
            <a:off x="8423949" y="1619039"/>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a:solidFill>
                  <a:srgbClr val="00B0F2"/>
                </a:solidFill>
                <a:latin typeface="Open Sans"/>
                <a:ea typeface="Open Sans"/>
                <a:cs typeface="Open Sans"/>
              </a:rPr>
              <a:t>AI GOVERNANCE ON </a:t>
            </a:r>
            <a:r>
              <a:rPr lang="en-US" dirty="0">
                <a:solidFill>
                  <a:srgbClr val="00B0F2"/>
                </a:solidFill>
                <a:latin typeface="Open Sans"/>
                <a:ea typeface="Open Sans"/>
                <a:cs typeface="Open Sans"/>
              </a:rPr>
              <a:t>PROJECTS</a:t>
            </a:r>
            <a:endParaRPr lang="en-US"/>
          </a:p>
        </p:txBody>
      </p:sp>
      <p:sp>
        <p:nvSpPr>
          <p:cNvPr id="22" name="Flowchart: Connector 21">
            <a:extLst>
              <a:ext uri="{FF2B5EF4-FFF2-40B4-BE49-F238E27FC236}">
                <a16:creationId xmlns:a16="http://schemas.microsoft.com/office/drawing/2014/main" id="{ED6EF616-433F-EF9D-6AB5-9DDDE5B7EB46}"/>
              </a:ext>
            </a:extLst>
          </p:cNvPr>
          <p:cNvSpPr/>
          <p:nvPr/>
        </p:nvSpPr>
        <p:spPr bwMode="gray">
          <a:xfrm>
            <a:off x="11131583" y="191511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26" name="Freeform 859">
            <a:extLst>
              <a:ext uri="{FF2B5EF4-FFF2-40B4-BE49-F238E27FC236}">
                <a16:creationId xmlns:a16="http://schemas.microsoft.com/office/drawing/2014/main" id="{665D034F-7C2A-02C4-E42B-2C127F81C647}"/>
              </a:ext>
            </a:extLst>
          </p:cNvPr>
          <p:cNvSpPr>
            <a:spLocks noChangeAspect="1" noEditPoints="1"/>
          </p:cNvSpPr>
          <p:nvPr/>
        </p:nvSpPr>
        <p:spPr bwMode="auto">
          <a:xfrm>
            <a:off x="11074495" y="1869774"/>
            <a:ext cx="489164" cy="489164"/>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27" name="Straight Connector 26">
            <a:extLst>
              <a:ext uri="{FF2B5EF4-FFF2-40B4-BE49-F238E27FC236}">
                <a16:creationId xmlns:a16="http://schemas.microsoft.com/office/drawing/2014/main" id="{41C22037-EA74-FE4A-E001-BC01D344A51A}"/>
              </a:ext>
            </a:extLst>
          </p:cNvPr>
          <p:cNvCxnSpPr>
            <a:cxnSpLocks/>
          </p:cNvCxnSpPr>
          <p:nvPr/>
        </p:nvCxnSpPr>
        <p:spPr>
          <a:xfrm>
            <a:off x="8423949" y="1963009"/>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82F202E-EC88-54BE-20D0-6C44EBCB36AA}"/>
              </a:ext>
            </a:extLst>
          </p:cNvPr>
          <p:cNvSpPr txBox="1"/>
          <p:nvPr/>
        </p:nvSpPr>
        <p:spPr>
          <a:xfrm>
            <a:off x="8548306" y="2262664"/>
            <a:ext cx="2661945" cy="461037"/>
          </a:xfrm>
          <a:prstGeom prst="rect">
            <a:avLst/>
          </a:prstGeom>
          <a:noFill/>
        </p:spPr>
        <p:txBody>
          <a:bodyPr wrap="square" lIns="0" tIns="0" rIns="0" bIns="0" rtlCol="0" anchor="t">
            <a:noAutofit/>
          </a:bodyPr>
          <a:lstStyle/>
          <a:p>
            <a:pPr>
              <a:spcAft>
                <a:spcPts val="300"/>
              </a:spcAft>
            </a:pPr>
            <a:r>
              <a:rPr lang="en-US" sz="900" b="1" dirty="0">
                <a:latin typeface="Open Sans Light"/>
                <a:ea typeface="Open Sans Light"/>
                <a:cs typeface="Open Sans Light"/>
              </a:rPr>
              <a:t>CLIENT: </a:t>
            </a:r>
            <a:r>
              <a:rPr lang="en-US" sz="900">
                <a:latin typeface="Open Sans Light"/>
                <a:ea typeface="Open Sans Light"/>
                <a:cs typeface="Open Sans Light"/>
              </a:rPr>
              <a:t>International Technology Company</a:t>
            </a: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extBox 28">
            <a:extLst>
              <a:ext uri="{FF2B5EF4-FFF2-40B4-BE49-F238E27FC236}">
                <a16:creationId xmlns:a16="http://schemas.microsoft.com/office/drawing/2014/main" id="{0E222756-EE96-1211-9F48-C413ECD62AFD}"/>
              </a:ext>
            </a:extLst>
          </p:cNvPr>
          <p:cNvSpPr txBox="1"/>
          <p:nvPr/>
        </p:nvSpPr>
        <p:spPr>
          <a:xfrm>
            <a:off x="8548306" y="2730779"/>
            <a:ext cx="2846482" cy="540369"/>
          </a:xfrm>
          <a:prstGeom prst="rect">
            <a:avLst/>
          </a:prstGeom>
          <a:noFill/>
        </p:spPr>
        <p:txBody>
          <a:bodyPr wrap="square" lIns="0" tIns="0" rIns="0" bIns="0" rtlCol="0" anchor="t">
            <a:noAutofit/>
          </a:bodyPr>
          <a:lstStyle/>
          <a:p>
            <a:pPr>
              <a:spcAft>
                <a:spcPts val="300"/>
              </a:spcAft>
            </a:pPr>
            <a:r>
              <a:rPr lang="en-US" sz="900" b="1" dirty="0">
                <a:latin typeface="Open Sans Light"/>
                <a:ea typeface="Open Sans Light"/>
                <a:cs typeface="Open Sans Light"/>
              </a:rPr>
              <a:t>AIM OF THE PROJECT: </a:t>
            </a:r>
            <a:r>
              <a:rPr lang="en-US" sz="900" kern="0">
                <a:solidFill>
                  <a:prstClr val="black"/>
                </a:solidFill>
                <a:latin typeface="Open Sans Light"/>
                <a:ea typeface="Open Sans Light"/>
                <a:cs typeface="Open Sans Light"/>
              </a:rPr>
              <a:t>Perform</a:t>
            </a:r>
            <a:r>
              <a:rPr lang="en-US" sz="900" kern="0" dirty="0">
                <a:solidFill>
                  <a:prstClr val="black"/>
                </a:solidFill>
                <a:latin typeface="Open Sans Light"/>
                <a:ea typeface="Open Sans Light"/>
                <a:cs typeface="Open Sans Light"/>
              </a:rPr>
              <a:t> audit on AI solutions to </a:t>
            </a:r>
            <a:r>
              <a:rPr lang="en-US" sz="900" kern="0">
                <a:solidFill>
                  <a:prstClr val="black"/>
                </a:solidFill>
                <a:latin typeface="Open Sans Light"/>
                <a:ea typeface="Open Sans Light"/>
                <a:cs typeface="Open Sans Light"/>
              </a:rPr>
              <a:t>give recommendations on AI governance practices.</a:t>
            </a:r>
            <a:endParaRPr lang="en-US" sz="900" ker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a:spcAft>
                <a:spcPts val="300"/>
              </a:spcAft>
            </a:pP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38" name="Group 37">
            <a:extLst>
              <a:ext uri="{FF2B5EF4-FFF2-40B4-BE49-F238E27FC236}">
                <a16:creationId xmlns:a16="http://schemas.microsoft.com/office/drawing/2014/main" id="{1B04156C-445D-ED34-346A-C68F92252794}"/>
              </a:ext>
            </a:extLst>
          </p:cNvPr>
          <p:cNvGrpSpPr/>
          <p:nvPr/>
        </p:nvGrpSpPr>
        <p:grpSpPr>
          <a:xfrm>
            <a:off x="9724453" y="3412895"/>
            <a:ext cx="1704190" cy="246222"/>
            <a:chOff x="5859071" y="5933303"/>
            <a:chExt cx="1704190" cy="246222"/>
          </a:xfrm>
          <a:solidFill>
            <a:srgbClr val="CCEEEE"/>
          </a:solidFill>
        </p:grpSpPr>
        <p:sp>
          <p:nvSpPr>
            <p:cNvPr id="41" name="Rectangle: Rounded Corners 40">
              <a:extLst>
                <a:ext uri="{FF2B5EF4-FFF2-40B4-BE49-F238E27FC236}">
                  <a16:creationId xmlns:a16="http://schemas.microsoft.com/office/drawing/2014/main" id="{D0043BB7-125C-D21B-A8AC-93991391416A}"/>
                </a:ext>
              </a:extLst>
            </p:cNvPr>
            <p:cNvSpPr/>
            <p:nvPr/>
          </p:nvSpPr>
          <p:spPr bwMode="gray">
            <a:xfrm>
              <a:off x="5859071" y="5940176"/>
              <a:ext cx="1704190" cy="232476"/>
            </a:xfrm>
            <a:prstGeom prst="roundRect">
              <a:avLst/>
            </a:prstGeom>
            <a:grp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 name="TextBox 49">
              <a:extLst>
                <a:ext uri="{FF2B5EF4-FFF2-40B4-BE49-F238E27FC236}">
                  <a16:creationId xmlns:a16="http://schemas.microsoft.com/office/drawing/2014/main" id="{E830D9EB-A76B-6F86-53DA-9C93F8183E32}"/>
                </a:ext>
              </a:extLst>
            </p:cNvPr>
            <p:cNvSpPr txBox="1"/>
            <p:nvPr/>
          </p:nvSpPr>
          <p:spPr>
            <a:xfrm>
              <a:off x="5934543" y="5933303"/>
              <a:ext cx="1553247" cy="246222"/>
            </a:xfrm>
            <a:prstGeom prst="rect">
              <a:avLst/>
            </a:prstGeom>
            <a:grpFill/>
          </p:spPr>
          <p:txBody>
            <a:bodyPr wrap="square" lIns="0" tIns="0" rIns="0" bIns="0" rtlCol="0" anchor="ctr">
              <a:noAutofit/>
            </a:bodyPr>
            <a:lstStyle/>
            <a:p>
              <a:pPr algn="ctr">
                <a:spcAft>
                  <a:spcPts val="1000"/>
                </a:spcAft>
              </a:pPr>
              <a:r>
                <a:rPr lang="en-US" sz="800" b="1" dirty="0">
                  <a:latin typeface="Open Sans" panose="020B0606030504020204" pitchFamily="34" charset="0"/>
                  <a:ea typeface="Open Sans" panose="020B0606030504020204" pitchFamily="34" charset="0"/>
                  <a:cs typeface="Open Sans" panose="020B0606030504020204" pitchFamily="34" charset="0"/>
                </a:rPr>
                <a:t>AI CONSULTING SERVICES</a:t>
              </a:r>
            </a:p>
          </p:txBody>
        </p:sp>
      </p:grpSp>
      <p:grpSp>
        <p:nvGrpSpPr>
          <p:cNvPr id="112" name="Graphic 1039">
            <a:extLst>
              <a:ext uri="{FF2B5EF4-FFF2-40B4-BE49-F238E27FC236}">
                <a16:creationId xmlns:a16="http://schemas.microsoft.com/office/drawing/2014/main" id="{98D03975-5792-5D71-F63F-44696148F106}"/>
              </a:ext>
            </a:extLst>
          </p:cNvPr>
          <p:cNvGrpSpPr/>
          <p:nvPr/>
        </p:nvGrpSpPr>
        <p:grpSpPr>
          <a:xfrm>
            <a:off x="3610114" y="1888146"/>
            <a:ext cx="493781" cy="493778"/>
            <a:chOff x="1952764" y="3824168"/>
            <a:chExt cx="361670" cy="361333"/>
          </a:xfrm>
          <a:solidFill>
            <a:srgbClr val="00B0F2"/>
          </a:solidFill>
        </p:grpSpPr>
        <p:sp>
          <p:nvSpPr>
            <p:cNvPr id="114" name="Graphic 1039">
              <a:extLst>
                <a:ext uri="{FF2B5EF4-FFF2-40B4-BE49-F238E27FC236}">
                  <a16:creationId xmlns:a16="http://schemas.microsoft.com/office/drawing/2014/main" id="{ECDEAFD8-27B4-C64B-5EA0-866B982C2AED}"/>
                </a:ext>
              </a:extLst>
            </p:cNvPr>
            <p:cNvSpPr/>
            <p:nvPr/>
          </p:nvSpPr>
          <p:spPr>
            <a:xfrm>
              <a:off x="2074812" y="4034200"/>
              <a:ext cx="30032" cy="58732"/>
            </a:xfrm>
            <a:custGeom>
              <a:avLst/>
              <a:gdLst>
                <a:gd name="connsiteX0" fmla="*/ 0 w 30032"/>
                <a:gd name="connsiteY0" fmla="*/ 0 h 58732"/>
                <a:gd name="connsiteX1" fmla="*/ 0 w 30032"/>
                <a:gd name="connsiteY1" fmla="*/ 58733 h 58732"/>
                <a:gd name="connsiteX2" fmla="*/ 30033 w 30032"/>
                <a:gd name="connsiteY2" fmla="*/ 58733 h 58732"/>
                <a:gd name="connsiteX3" fmla="*/ 30033 w 30032"/>
                <a:gd name="connsiteY3" fmla="*/ 0 h 58732"/>
                <a:gd name="connsiteX4" fmla="*/ 0 w 30032"/>
                <a:gd name="connsiteY4" fmla="*/ 0 h 58732"/>
                <a:gd name="connsiteX5" fmla="*/ 14697 w 30032"/>
                <a:gd name="connsiteY5" fmla="*/ 40219 h 58732"/>
                <a:gd name="connsiteX6" fmla="*/ 8307 w 30032"/>
                <a:gd name="connsiteY6" fmla="*/ 46603 h 58732"/>
                <a:gd name="connsiteX7" fmla="*/ 1917 w 30032"/>
                <a:gd name="connsiteY7" fmla="*/ 40219 h 58732"/>
                <a:gd name="connsiteX8" fmla="*/ 1917 w 30032"/>
                <a:gd name="connsiteY8" fmla="*/ 28728 h 58732"/>
                <a:gd name="connsiteX9" fmla="*/ 8307 w 30032"/>
                <a:gd name="connsiteY9" fmla="*/ 22344 h 58732"/>
                <a:gd name="connsiteX10" fmla="*/ 14697 w 30032"/>
                <a:gd name="connsiteY10" fmla="*/ 28728 h 58732"/>
                <a:gd name="connsiteX11" fmla="*/ 14697 w 30032"/>
                <a:gd name="connsiteY11" fmla="*/ 40219 h 5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032" h="58732">
                  <a:moveTo>
                    <a:pt x="0" y="0"/>
                  </a:moveTo>
                  <a:lnTo>
                    <a:pt x="0" y="58733"/>
                  </a:lnTo>
                  <a:lnTo>
                    <a:pt x="30033" y="58733"/>
                  </a:lnTo>
                  <a:lnTo>
                    <a:pt x="30033" y="0"/>
                  </a:lnTo>
                  <a:lnTo>
                    <a:pt x="0" y="0"/>
                  </a:lnTo>
                  <a:close/>
                  <a:moveTo>
                    <a:pt x="14697" y="40219"/>
                  </a:moveTo>
                  <a:cubicBezTo>
                    <a:pt x="14697" y="44050"/>
                    <a:pt x="12141" y="46603"/>
                    <a:pt x="8307" y="46603"/>
                  </a:cubicBezTo>
                  <a:cubicBezTo>
                    <a:pt x="4473" y="46603"/>
                    <a:pt x="1917" y="44050"/>
                    <a:pt x="1917" y="40219"/>
                  </a:cubicBezTo>
                  <a:lnTo>
                    <a:pt x="1917" y="28728"/>
                  </a:lnTo>
                  <a:cubicBezTo>
                    <a:pt x="1917" y="24898"/>
                    <a:pt x="4473" y="22344"/>
                    <a:pt x="8307" y="22344"/>
                  </a:cubicBezTo>
                  <a:cubicBezTo>
                    <a:pt x="12141" y="22344"/>
                    <a:pt x="14697" y="24898"/>
                    <a:pt x="14697" y="28728"/>
                  </a:cubicBezTo>
                  <a:lnTo>
                    <a:pt x="14697" y="40219"/>
                  </a:lnTo>
                  <a:close/>
                </a:path>
              </a:pathLst>
            </a:custGeom>
            <a:grpFill/>
            <a:ln w="6390" cap="flat">
              <a:noFill/>
              <a:prstDash val="solid"/>
              <a:miter/>
            </a:ln>
          </p:spPr>
          <p:txBody>
            <a:bodyPr rtlCol="0" anchor="ctr"/>
            <a:lstStyle/>
            <a:p>
              <a:endParaRPr lang="en-US"/>
            </a:p>
          </p:txBody>
        </p:sp>
        <p:sp>
          <p:nvSpPr>
            <p:cNvPr id="115" name="Graphic 1039">
              <a:extLst>
                <a:ext uri="{FF2B5EF4-FFF2-40B4-BE49-F238E27FC236}">
                  <a16:creationId xmlns:a16="http://schemas.microsoft.com/office/drawing/2014/main" id="{A09D37CA-764F-6D8B-D70D-6C3E24E76C40}"/>
                </a:ext>
              </a:extLst>
            </p:cNvPr>
            <p:cNvSpPr/>
            <p:nvPr/>
          </p:nvSpPr>
          <p:spPr>
            <a:xfrm>
              <a:off x="2140628" y="3916735"/>
              <a:ext cx="32588" cy="72138"/>
            </a:xfrm>
            <a:custGeom>
              <a:avLst/>
              <a:gdLst>
                <a:gd name="connsiteX0" fmla="*/ 15975 w 32588"/>
                <a:gd name="connsiteY0" fmla="*/ 72139 h 72138"/>
                <a:gd name="connsiteX1" fmla="*/ 32589 w 32588"/>
                <a:gd name="connsiteY1" fmla="*/ 60648 h 72138"/>
                <a:gd name="connsiteX2" fmla="*/ 28116 w 32588"/>
                <a:gd name="connsiteY2" fmla="*/ 0 h 72138"/>
                <a:gd name="connsiteX3" fmla="*/ 0 w 32588"/>
                <a:gd name="connsiteY3" fmla="*/ 0 h 72138"/>
                <a:gd name="connsiteX4" fmla="*/ 0 w 32588"/>
                <a:gd name="connsiteY4" fmla="*/ 61286 h 72138"/>
                <a:gd name="connsiteX5" fmla="*/ 15975 w 32588"/>
                <a:gd name="connsiteY5" fmla="*/ 72139 h 7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88" h="72138">
                  <a:moveTo>
                    <a:pt x="15975" y="72139"/>
                  </a:moveTo>
                  <a:cubicBezTo>
                    <a:pt x="22365" y="72139"/>
                    <a:pt x="30033" y="67670"/>
                    <a:pt x="32589" y="60648"/>
                  </a:cubicBezTo>
                  <a:lnTo>
                    <a:pt x="28116" y="0"/>
                  </a:lnTo>
                  <a:lnTo>
                    <a:pt x="0" y="0"/>
                  </a:lnTo>
                  <a:lnTo>
                    <a:pt x="0" y="61286"/>
                  </a:lnTo>
                  <a:cubicBezTo>
                    <a:pt x="1917" y="67670"/>
                    <a:pt x="8946" y="72139"/>
                    <a:pt x="15975" y="72139"/>
                  </a:cubicBezTo>
                  <a:close/>
                </a:path>
              </a:pathLst>
            </a:custGeom>
            <a:grpFill/>
            <a:ln w="6390" cap="flat">
              <a:noFill/>
              <a:prstDash val="solid"/>
              <a:miter/>
            </a:ln>
          </p:spPr>
          <p:txBody>
            <a:bodyPr rtlCol="0" anchor="ctr"/>
            <a:lstStyle/>
            <a:p>
              <a:endParaRPr lang="en-US"/>
            </a:p>
          </p:txBody>
        </p:sp>
        <p:sp>
          <p:nvSpPr>
            <p:cNvPr id="116" name="Graphic 1039">
              <a:extLst>
                <a:ext uri="{FF2B5EF4-FFF2-40B4-BE49-F238E27FC236}">
                  <a16:creationId xmlns:a16="http://schemas.microsoft.com/office/drawing/2014/main" id="{A20C3A9A-4AAA-02A8-9428-DEB974DA8335}"/>
                </a:ext>
              </a:extLst>
            </p:cNvPr>
            <p:cNvSpPr/>
            <p:nvPr/>
          </p:nvSpPr>
          <p:spPr>
            <a:xfrm>
              <a:off x="2049891" y="3917374"/>
              <a:ext cx="35144" cy="71500"/>
            </a:xfrm>
            <a:custGeom>
              <a:avLst/>
              <a:gdLst>
                <a:gd name="connsiteX0" fmla="*/ 14697 w 35144"/>
                <a:gd name="connsiteY0" fmla="*/ 71501 h 71500"/>
                <a:gd name="connsiteX1" fmla="*/ 31311 w 35144"/>
                <a:gd name="connsiteY1" fmla="*/ 60010 h 71500"/>
                <a:gd name="connsiteX2" fmla="*/ 35145 w 35144"/>
                <a:gd name="connsiteY2" fmla="*/ 0 h 71500"/>
                <a:gd name="connsiteX3" fmla="*/ 6390 w 35144"/>
                <a:gd name="connsiteY3" fmla="*/ 0 h 71500"/>
                <a:gd name="connsiteX4" fmla="*/ 0 w 35144"/>
                <a:gd name="connsiteY4" fmla="*/ 56818 h 71500"/>
                <a:gd name="connsiteX5" fmla="*/ 14697 w 35144"/>
                <a:gd name="connsiteY5" fmla="*/ 71501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44" h="71500">
                  <a:moveTo>
                    <a:pt x="14697" y="71501"/>
                  </a:moveTo>
                  <a:cubicBezTo>
                    <a:pt x="21087" y="71501"/>
                    <a:pt x="29394" y="67032"/>
                    <a:pt x="31311" y="60010"/>
                  </a:cubicBezTo>
                  <a:lnTo>
                    <a:pt x="35145" y="0"/>
                  </a:lnTo>
                  <a:lnTo>
                    <a:pt x="6390" y="0"/>
                  </a:lnTo>
                  <a:lnTo>
                    <a:pt x="0" y="56818"/>
                  </a:lnTo>
                  <a:cubicBezTo>
                    <a:pt x="0" y="65117"/>
                    <a:pt x="6390" y="71501"/>
                    <a:pt x="14697" y="71501"/>
                  </a:cubicBezTo>
                  <a:close/>
                </a:path>
              </a:pathLst>
            </a:custGeom>
            <a:grpFill/>
            <a:ln w="6390" cap="flat">
              <a:noFill/>
              <a:prstDash val="solid"/>
              <a:miter/>
            </a:ln>
          </p:spPr>
          <p:txBody>
            <a:bodyPr rtlCol="0" anchor="ctr"/>
            <a:lstStyle/>
            <a:p>
              <a:endParaRPr lang="en-US"/>
            </a:p>
          </p:txBody>
        </p:sp>
        <p:sp>
          <p:nvSpPr>
            <p:cNvPr id="117" name="Graphic 1039">
              <a:extLst>
                <a:ext uri="{FF2B5EF4-FFF2-40B4-BE49-F238E27FC236}">
                  <a16:creationId xmlns:a16="http://schemas.microsoft.com/office/drawing/2014/main" id="{51CC6286-ADD7-B029-9E04-AE87E840B1B3}"/>
                </a:ext>
              </a:extLst>
            </p:cNvPr>
            <p:cNvSpPr/>
            <p:nvPr/>
          </p:nvSpPr>
          <p:spPr>
            <a:xfrm>
              <a:off x="2180885" y="3917374"/>
              <a:ext cx="36422" cy="71500"/>
            </a:xfrm>
            <a:custGeom>
              <a:avLst/>
              <a:gdLst>
                <a:gd name="connsiteX0" fmla="*/ 5112 w 36422"/>
                <a:gd name="connsiteY0" fmla="*/ 60010 h 71500"/>
                <a:gd name="connsiteX1" fmla="*/ 21726 w 36422"/>
                <a:gd name="connsiteY1" fmla="*/ 71501 h 71500"/>
                <a:gd name="connsiteX2" fmla="*/ 36423 w 36422"/>
                <a:gd name="connsiteY2" fmla="*/ 56818 h 71500"/>
                <a:gd name="connsiteX3" fmla="*/ 30033 w 36422"/>
                <a:gd name="connsiteY3" fmla="*/ 0 h 71500"/>
                <a:gd name="connsiteX4" fmla="*/ 0 w 36422"/>
                <a:gd name="connsiteY4" fmla="*/ 0 h 71500"/>
                <a:gd name="connsiteX5" fmla="*/ 5112 w 36422"/>
                <a:gd name="connsiteY5" fmla="*/ 60010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422" h="71500">
                  <a:moveTo>
                    <a:pt x="5112" y="60010"/>
                  </a:moveTo>
                  <a:cubicBezTo>
                    <a:pt x="7029" y="67032"/>
                    <a:pt x="15336" y="71501"/>
                    <a:pt x="21726" y="71501"/>
                  </a:cubicBezTo>
                  <a:cubicBezTo>
                    <a:pt x="30033" y="71501"/>
                    <a:pt x="36423" y="65117"/>
                    <a:pt x="36423" y="56818"/>
                  </a:cubicBezTo>
                  <a:lnTo>
                    <a:pt x="30033" y="0"/>
                  </a:lnTo>
                  <a:lnTo>
                    <a:pt x="0" y="0"/>
                  </a:lnTo>
                  <a:lnTo>
                    <a:pt x="5112" y="60010"/>
                  </a:lnTo>
                  <a:close/>
                </a:path>
              </a:pathLst>
            </a:custGeom>
            <a:grpFill/>
            <a:ln w="6390" cap="flat">
              <a:noFill/>
              <a:prstDash val="solid"/>
              <a:miter/>
            </a:ln>
          </p:spPr>
          <p:txBody>
            <a:bodyPr rtlCol="0" anchor="ctr"/>
            <a:lstStyle/>
            <a:p>
              <a:endParaRPr lang="en-US"/>
            </a:p>
          </p:txBody>
        </p:sp>
        <p:sp>
          <p:nvSpPr>
            <p:cNvPr id="118" name="Graphic 1039">
              <a:extLst>
                <a:ext uri="{FF2B5EF4-FFF2-40B4-BE49-F238E27FC236}">
                  <a16:creationId xmlns:a16="http://schemas.microsoft.com/office/drawing/2014/main" id="{350AD513-58EF-C4F5-76F0-DC755C727F35}"/>
                </a:ext>
              </a:extLst>
            </p:cNvPr>
            <p:cNvSpPr/>
            <p:nvPr/>
          </p:nvSpPr>
          <p:spPr>
            <a:xfrm>
              <a:off x="2094621" y="3917374"/>
              <a:ext cx="33227" cy="71500"/>
            </a:xfrm>
            <a:custGeom>
              <a:avLst/>
              <a:gdLst>
                <a:gd name="connsiteX0" fmla="*/ 16614 w 33227"/>
                <a:gd name="connsiteY0" fmla="*/ 71501 h 71500"/>
                <a:gd name="connsiteX1" fmla="*/ 33228 w 33227"/>
                <a:gd name="connsiteY1" fmla="*/ 60648 h 71500"/>
                <a:gd name="connsiteX2" fmla="*/ 33228 w 33227"/>
                <a:gd name="connsiteY2" fmla="*/ 0 h 71500"/>
                <a:gd name="connsiteX3" fmla="*/ 3834 w 33227"/>
                <a:gd name="connsiteY3" fmla="*/ 0 h 71500"/>
                <a:gd name="connsiteX4" fmla="*/ 0 w 33227"/>
                <a:gd name="connsiteY4" fmla="*/ 60010 h 71500"/>
                <a:gd name="connsiteX5" fmla="*/ 16614 w 33227"/>
                <a:gd name="connsiteY5" fmla="*/ 71501 h 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27" h="71500">
                  <a:moveTo>
                    <a:pt x="16614" y="71501"/>
                  </a:moveTo>
                  <a:cubicBezTo>
                    <a:pt x="23643" y="71501"/>
                    <a:pt x="30672" y="67032"/>
                    <a:pt x="33228" y="60648"/>
                  </a:cubicBezTo>
                  <a:lnTo>
                    <a:pt x="33228" y="0"/>
                  </a:lnTo>
                  <a:lnTo>
                    <a:pt x="3834" y="0"/>
                  </a:lnTo>
                  <a:lnTo>
                    <a:pt x="0" y="60010"/>
                  </a:lnTo>
                  <a:cubicBezTo>
                    <a:pt x="1917" y="67032"/>
                    <a:pt x="10224" y="71501"/>
                    <a:pt x="16614" y="71501"/>
                  </a:cubicBezTo>
                  <a:close/>
                </a:path>
              </a:pathLst>
            </a:custGeom>
            <a:grpFill/>
            <a:ln w="6390" cap="flat">
              <a:noFill/>
              <a:prstDash val="solid"/>
              <a:miter/>
            </a:ln>
          </p:spPr>
          <p:txBody>
            <a:bodyPr rtlCol="0" anchor="ctr"/>
            <a:lstStyle/>
            <a:p>
              <a:endParaRPr lang="en-US"/>
            </a:p>
          </p:txBody>
        </p:sp>
        <p:sp>
          <p:nvSpPr>
            <p:cNvPr id="119" name="Graphic 1039">
              <a:extLst>
                <a:ext uri="{FF2B5EF4-FFF2-40B4-BE49-F238E27FC236}">
                  <a16:creationId xmlns:a16="http://schemas.microsoft.com/office/drawing/2014/main" id="{3D8D143E-A9A5-CE79-A21A-D5E3759FC67D}"/>
                </a:ext>
              </a:extLst>
            </p:cNvPr>
            <p:cNvSpPr/>
            <p:nvPr/>
          </p:nvSpPr>
          <p:spPr>
            <a:xfrm>
              <a:off x="2137433" y="4022071"/>
              <a:ext cx="55592" cy="42772"/>
            </a:xfrm>
            <a:custGeom>
              <a:avLst/>
              <a:gdLst>
                <a:gd name="connsiteX0" fmla="*/ 0 w 55592"/>
                <a:gd name="connsiteY0" fmla="*/ 0 h 42772"/>
                <a:gd name="connsiteX1" fmla="*/ 55593 w 55592"/>
                <a:gd name="connsiteY1" fmla="*/ 0 h 42772"/>
                <a:gd name="connsiteX2" fmla="*/ 55593 w 55592"/>
                <a:gd name="connsiteY2" fmla="*/ 42773 h 42772"/>
                <a:gd name="connsiteX3" fmla="*/ 0 w 55592"/>
                <a:gd name="connsiteY3" fmla="*/ 42773 h 42772"/>
              </a:gdLst>
              <a:ahLst/>
              <a:cxnLst>
                <a:cxn ang="0">
                  <a:pos x="connsiteX0" y="connsiteY0"/>
                </a:cxn>
                <a:cxn ang="0">
                  <a:pos x="connsiteX1" y="connsiteY1"/>
                </a:cxn>
                <a:cxn ang="0">
                  <a:pos x="connsiteX2" y="connsiteY2"/>
                </a:cxn>
                <a:cxn ang="0">
                  <a:pos x="connsiteX3" y="connsiteY3"/>
                </a:cxn>
              </a:cxnLst>
              <a:rect l="l" t="t" r="r" b="b"/>
              <a:pathLst>
                <a:path w="55592" h="42772">
                  <a:moveTo>
                    <a:pt x="0" y="0"/>
                  </a:moveTo>
                  <a:lnTo>
                    <a:pt x="55593" y="0"/>
                  </a:lnTo>
                  <a:lnTo>
                    <a:pt x="55593" y="42773"/>
                  </a:lnTo>
                  <a:lnTo>
                    <a:pt x="0" y="42773"/>
                  </a:lnTo>
                  <a:close/>
                </a:path>
              </a:pathLst>
            </a:custGeom>
            <a:grpFill/>
            <a:ln w="6390" cap="flat">
              <a:noFill/>
              <a:prstDash val="solid"/>
              <a:miter/>
            </a:ln>
          </p:spPr>
          <p:txBody>
            <a:bodyPr rtlCol="0" anchor="ctr"/>
            <a:lstStyle/>
            <a:p>
              <a:endParaRPr lang="en-US"/>
            </a:p>
          </p:txBody>
        </p:sp>
        <p:sp>
          <p:nvSpPr>
            <p:cNvPr id="120" name="Graphic 1039">
              <a:extLst>
                <a:ext uri="{FF2B5EF4-FFF2-40B4-BE49-F238E27FC236}">
                  <a16:creationId xmlns:a16="http://schemas.microsoft.com/office/drawing/2014/main" id="{6EBBB37B-F466-D6CE-F5AF-F30F3075DF1E}"/>
                </a:ext>
              </a:extLst>
            </p:cNvPr>
            <p:cNvSpPr/>
            <p:nvPr/>
          </p:nvSpPr>
          <p:spPr>
            <a:xfrm>
              <a:off x="2055003" y="3991428"/>
              <a:ext cx="156553" cy="100867"/>
            </a:xfrm>
            <a:custGeom>
              <a:avLst/>
              <a:gdLst>
                <a:gd name="connsiteX0" fmla="*/ 147608 w 156553"/>
                <a:gd name="connsiteY0" fmla="*/ 10215 h 100867"/>
                <a:gd name="connsiteX1" fmla="*/ 124604 w 156553"/>
                <a:gd name="connsiteY1" fmla="*/ 0 h 100867"/>
                <a:gd name="connsiteX2" fmla="*/ 101600 w 156553"/>
                <a:gd name="connsiteY2" fmla="*/ 10215 h 100867"/>
                <a:gd name="connsiteX3" fmla="*/ 78596 w 156553"/>
                <a:gd name="connsiteY3" fmla="*/ 0 h 100867"/>
                <a:gd name="connsiteX4" fmla="*/ 55592 w 156553"/>
                <a:gd name="connsiteY4" fmla="*/ 10215 h 100867"/>
                <a:gd name="connsiteX5" fmla="*/ 32589 w 156553"/>
                <a:gd name="connsiteY5" fmla="*/ 0 h 100867"/>
                <a:gd name="connsiteX6" fmla="*/ 9585 w 156553"/>
                <a:gd name="connsiteY6" fmla="*/ 10215 h 100867"/>
                <a:gd name="connsiteX7" fmla="*/ 0 w 156553"/>
                <a:gd name="connsiteY7" fmla="*/ 8299 h 100867"/>
                <a:gd name="connsiteX8" fmla="*/ 0 w 156553"/>
                <a:gd name="connsiteY8" fmla="*/ 100867 h 100867"/>
                <a:gd name="connsiteX9" fmla="*/ 6390 w 156553"/>
                <a:gd name="connsiteY9" fmla="*/ 100867 h 100867"/>
                <a:gd name="connsiteX10" fmla="*/ 6390 w 156553"/>
                <a:gd name="connsiteY10" fmla="*/ 35751 h 100867"/>
                <a:gd name="connsiteX11" fmla="*/ 12780 w 156553"/>
                <a:gd name="connsiteY11" fmla="*/ 29367 h 100867"/>
                <a:gd name="connsiteX12" fmla="*/ 55592 w 156553"/>
                <a:gd name="connsiteY12" fmla="*/ 29367 h 100867"/>
                <a:gd name="connsiteX13" fmla="*/ 61982 w 156553"/>
                <a:gd name="connsiteY13" fmla="*/ 35751 h 100867"/>
                <a:gd name="connsiteX14" fmla="*/ 61982 w 156553"/>
                <a:gd name="connsiteY14" fmla="*/ 100867 h 100867"/>
                <a:gd name="connsiteX15" fmla="*/ 156553 w 156553"/>
                <a:gd name="connsiteY15" fmla="*/ 100867 h 100867"/>
                <a:gd name="connsiteX16" fmla="*/ 156553 w 156553"/>
                <a:gd name="connsiteY16" fmla="*/ 8938 h 100867"/>
                <a:gd name="connsiteX17" fmla="*/ 147608 w 156553"/>
                <a:gd name="connsiteY17" fmla="*/ 10215 h 100867"/>
                <a:gd name="connsiteX18" fmla="*/ 150803 w 156553"/>
                <a:gd name="connsiteY18" fmla="*/ 79800 h 100867"/>
                <a:gd name="connsiteX19" fmla="*/ 144413 w 156553"/>
                <a:gd name="connsiteY19" fmla="*/ 86184 h 100867"/>
                <a:gd name="connsiteX20" fmla="*/ 76040 w 156553"/>
                <a:gd name="connsiteY20" fmla="*/ 86184 h 100867"/>
                <a:gd name="connsiteX21" fmla="*/ 69650 w 156553"/>
                <a:gd name="connsiteY21" fmla="*/ 79800 h 100867"/>
                <a:gd name="connsiteX22" fmla="*/ 69650 w 156553"/>
                <a:gd name="connsiteY22" fmla="*/ 24259 h 100867"/>
                <a:gd name="connsiteX23" fmla="*/ 76040 w 156553"/>
                <a:gd name="connsiteY23" fmla="*/ 17875 h 100867"/>
                <a:gd name="connsiteX24" fmla="*/ 144413 w 156553"/>
                <a:gd name="connsiteY24" fmla="*/ 17875 h 100867"/>
                <a:gd name="connsiteX25" fmla="*/ 150803 w 156553"/>
                <a:gd name="connsiteY25" fmla="*/ 24259 h 100867"/>
                <a:gd name="connsiteX26" fmla="*/ 150803 w 156553"/>
                <a:gd name="connsiteY26" fmla="*/ 79800 h 10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53" h="100867">
                  <a:moveTo>
                    <a:pt x="147608" y="10215"/>
                  </a:moveTo>
                  <a:cubicBezTo>
                    <a:pt x="138662" y="10215"/>
                    <a:pt x="130355" y="5746"/>
                    <a:pt x="124604" y="0"/>
                  </a:cubicBezTo>
                  <a:cubicBezTo>
                    <a:pt x="118853" y="6384"/>
                    <a:pt x="109907" y="10215"/>
                    <a:pt x="101600" y="10215"/>
                  </a:cubicBezTo>
                  <a:cubicBezTo>
                    <a:pt x="93293" y="10215"/>
                    <a:pt x="84347" y="6384"/>
                    <a:pt x="78596" y="0"/>
                  </a:cubicBezTo>
                  <a:cubicBezTo>
                    <a:pt x="72845" y="6384"/>
                    <a:pt x="64538" y="10215"/>
                    <a:pt x="55592" y="10215"/>
                  </a:cubicBezTo>
                  <a:cubicBezTo>
                    <a:pt x="46646" y="10215"/>
                    <a:pt x="38340" y="5746"/>
                    <a:pt x="32589" y="0"/>
                  </a:cubicBezTo>
                  <a:cubicBezTo>
                    <a:pt x="26838" y="6384"/>
                    <a:pt x="17892" y="10215"/>
                    <a:pt x="9585" y="10215"/>
                  </a:cubicBezTo>
                  <a:cubicBezTo>
                    <a:pt x="6390" y="10215"/>
                    <a:pt x="3195" y="9576"/>
                    <a:pt x="0" y="8299"/>
                  </a:cubicBezTo>
                  <a:lnTo>
                    <a:pt x="0" y="100867"/>
                  </a:lnTo>
                  <a:lnTo>
                    <a:pt x="6390" y="100867"/>
                  </a:lnTo>
                  <a:lnTo>
                    <a:pt x="6390" y="35751"/>
                  </a:lnTo>
                  <a:cubicBezTo>
                    <a:pt x="6390" y="31920"/>
                    <a:pt x="8946" y="29367"/>
                    <a:pt x="12780" y="29367"/>
                  </a:cubicBezTo>
                  <a:lnTo>
                    <a:pt x="55592" y="29367"/>
                  </a:lnTo>
                  <a:cubicBezTo>
                    <a:pt x="59426" y="29367"/>
                    <a:pt x="61982" y="31920"/>
                    <a:pt x="61982" y="35751"/>
                  </a:cubicBezTo>
                  <a:lnTo>
                    <a:pt x="61982" y="100867"/>
                  </a:lnTo>
                  <a:lnTo>
                    <a:pt x="156553" y="100867"/>
                  </a:lnTo>
                  <a:lnTo>
                    <a:pt x="156553" y="8938"/>
                  </a:lnTo>
                  <a:cubicBezTo>
                    <a:pt x="153998" y="9576"/>
                    <a:pt x="151441" y="10215"/>
                    <a:pt x="147608" y="10215"/>
                  </a:cubicBezTo>
                  <a:close/>
                  <a:moveTo>
                    <a:pt x="150803" y="79800"/>
                  </a:moveTo>
                  <a:cubicBezTo>
                    <a:pt x="150803" y="83630"/>
                    <a:pt x="148246" y="86184"/>
                    <a:pt x="144413" y="86184"/>
                  </a:cubicBezTo>
                  <a:lnTo>
                    <a:pt x="76040" y="86184"/>
                  </a:lnTo>
                  <a:cubicBezTo>
                    <a:pt x="72206" y="86184"/>
                    <a:pt x="69650" y="83630"/>
                    <a:pt x="69650" y="79800"/>
                  </a:cubicBezTo>
                  <a:lnTo>
                    <a:pt x="69650" y="24259"/>
                  </a:lnTo>
                  <a:cubicBezTo>
                    <a:pt x="69650" y="20429"/>
                    <a:pt x="72206" y="17875"/>
                    <a:pt x="76040" y="17875"/>
                  </a:cubicBezTo>
                  <a:lnTo>
                    <a:pt x="144413" y="17875"/>
                  </a:lnTo>
                  <a:cubicBezTo>
                    <a:pt x="148246" y="17875"/>
                    <a:pt x="150803" y="20429"/>
                    <a:pt x="150803" y="24259"/>
                  </a:cubicBezTo>
                  <a:lnTo>
                    <a:pt x="150803" y="79800"/>
                  </a:lnTo>
                  <a:close/>
                </a:path>
              </a:pathLst>
            </a:custGeom>
            <a:grpFill/>
            <a:ln w="6390" cap="flat">
              <a:noFill/>
              <a:prstDash val="solid"/>
              <a:miter/>
            </a:ln>
          </p:spPr>
          <p:txBody>
            <a:bodyPr rtlCol="0" anchor="ctr"/>
            <a:lstStyle/>
            <a:p>
              <a:endParaRPr lang="en-US"/>
            </a:p>
          </p:txBody>
        </p:sp>
        <p:sp>
          <p:nvSpPr>
            <p:cNvPr id="121" name="Graphic 1039">
              <a:extLst>
                <a:ext uri="{FF2B5EF4-FFF2-40B4-BE49-F238E27FC236}">
                  <a16:creationId xmlns:a16="http://schemas.microsoft.com/office/drawing/2014/main" id="{6AD050D5-8F9B-BD9D-0F81-3107040A32EF}"/>
                </a:ext>
              </a:extLst>
            </p:cNvPr>
            <p:cNvSpPr/>
            <p:nvPr/>
          </p:nvSpPr>
          <p:spPr>
            <a:xfrm>
              <a:off x="1952764" y="3824168"/>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74767 w 361670"/>
                <a:gd name="connsiteY5" fmla="*/ 281533 h 361333"/>
                <a:gd name="connsiteX6" fmla="*/ 265821 w 361670"/>
                <a:gd name="connsiteY6" fmla="*/ 281533 h 361333"/>
                <a:gd name="connsiteX7" fmla="*/ 158470 w 361670"/>
                <a:gd name="connsiteY7" fmla="*/ 281533 h 361333"/>
                <a:gd name="connsiteX8" fmla="*/ 115658 w 361670"/>
                <a:gd name="connsiteY8" fmla="*/ 281533 h 361333"/>
                <a:gd name="connsiteX9" fmla="*/ 96488 w 361670"/>
                <a:gd name="connsiteY9" fmla="*/ 281533 h 361333"/>
                <a:gd name="connsiteX10" fmla="*/ 87542 w 361670"/>
                <a:gd name="connsiteY10" fmla="*/ 281533 h 361333"/>
                <a:gd name="connsiteX11" fmla="*/ 81152 w 361670"/>
                <a:gd name="connsiteY11" fmla="*/ 275149 h 361333"/>
                <a:gd name="connsiteX12" fmla="*/ 87542 w 361670"/>
                <a:gd name="connsiteY12" fmla="*/ 268766 h 361333"/>
                <a:gd name="connsiteX13" fmla="*/ 90098 w 361670"/>
                <a:gd name="connsiteY13" fmla="*/ 268766 h 361333"/>
                <a:gd name="connsiteX14" fmla="*/ 90098 w 361670"/>
                <a:gd name="connsiteY14" fmla="*/ 166622 h 361333"/>
                <a:gd name="connsiteX15" fmla="*/ 84347 w 361670"/>
                <a:gd name="connsiteY15" fmla="*/ 150024 h 361333"/>
                <a:gd name="connsiteX16" fmla="*/ 84347 w 361670"/>
                <a:gd name="connsiteY16" fmla="*/ 149385 h 361333"/>
                <a:gd name="connsiteX17" fmla="*/ 91376 w 361670"/>
                <a:gd name="connsiteY17" fmla="*/ 86184 h 361333"/>
                <a:gd name="connsiteX18" fmla="*/ 97766 w 361670"/>
                <a:gd name="connsiteY18" fmla="*/ 80438 h 361333"/>
                <a:gd name="connsiteX19" fmla="*/ 264543 w 361670"/>
                <a:gd name="connsiteY19" fmla="*/ 80438 h 361333"/>
                <a:gd name="connsiteX20" fmla="*/ 270933 w 361670"/>
                <a:gd name="connsiteY20" fmla="*/ 86184 h 361333"/>
                <a:gd name="connsiteX21" fmla="*/ 277962 w 361670"/>
                <a:gd name="connsiteY21" fmla="*/ 149385 h 361333"/>
                <a:gd name="connsiteX22" fmla="*/ 277962 w 361670"/>
                <a:gd name="connsiteY22" fmla="*/ 150024 h 361333"/>
                <a:gd name="connsiteX23" fmla="*/ 272211 w 361670"/>
                <a:gd name="connsiteY23" fmla="*/ 166622 h 361333"/>
                <a:gd name="connsiteX24" fmla="*/ 272211 w 361670"/>
                <a:gd name="connsiteY24" fmla="*/ 268766 h 361333"/>
                <a:gd name="connsiteX25" fmla="*/ 274767 w 361670"/>
                <a:gd name="connsiteY25" fmla="*/ 268766 h 361333"/>
                <a:gd name="connsiteX26" fmla="*/ 281157 w 361670"/>
                <a:gd name="connsiteY26" fmla="*/ 275149 h 361333"/>
                <a:gd name="connsiteX27" fmla="*/ 274767 w 361670"/>
                <a:gd name="connsiteY27" fmla="*/ 28153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1670" h="361333">
                  <a:moveTo>
                    <a:pt x="180835" y="0"/>
                  </a:moveTo>
                  <a:cubicBezTo>
                    <a:pt x="80513" y="0"/>
                    <a:pt x="0" y="81076"/>
                    <a:pt x="0" y="180667"/>
                  </a:cubicBezTo>
                  <a:cubicBezTo>
                    <a:pt x="0" y="280257"/>
                    <a:pt x="81152" y="361333"/>
                    <a:pt x="180835" y="361333"/>
                  </a:cubicBezTo>
                  <a:cubicBezTo>
                    <a:pt x="280518" y="361333"/>
                    <a:pt x="361670" y="280257"/>
                    <a:pt x="361670" y="180667"/>
                  </a:cubicBezTo>
                  <a:cubicBezTo>
                    <a:pt x="361670" y="81076"/>
                    <a:pt x="281157" y="0"/>
                    <a:pt x="180835" y="0"/>
                  </a:cubicBezTo>
                  <a:close/>
                  <a:moveTo>
                    <a:pt x="274767" y="281533"/>
                  </a:moveTo>
                  <a:lnTo>
                    <a:pt x="265821" y="281533"/>
                  </a:lnTo>
                  <a:lnTo>
                    <a:pt x="158470" y="281533"/>
                  </a:lnTo>
                  <a:lnTo>
                    <a:pt x="115658" y="281533"/>
                  </a:lnTo>
                  <a:lnTo>
                    <a:pt x="96488" y="281533"/>
                  </a:lnTo>
                  <a:lnTo>
                    <a:pt x="87542" y="281533"/>
                  </a:lnTo>
                  <a:cubicBezTo>
                    <a:pt x="83708" y="281533"/>
                    <a:pt x="81152" y="278980"/>
                    <a:pt x="81152" y="275149"/>
                  </a:cubicBezTo>
                  <a:cubicBezTo>
                    <a:pt x="81152" y="271319"/>
                    <a:pt x="83708" y="268766"/>
                    <a:pt x="87542" y="268766"/>
                  </a:cubicBezTo>
                  <a:lnTo>
                    <a:pt x="90098" y="268766"/>
                  </a:lnTo>
                  <a:lnTo>
                    <a:pt x="90098" y="166622"/>
                  </a:lnTo>
                  <a:cubicBezTo>
                    <a:pt x="86903" y="162153"/>
                    <a:pt x="84347" y="156408"/>
                    <a:pt x="84347" y="150024"/>
                  </a:cubicBezTo>
                  <a:cubicBezTo>
                    <a:pt x="84347" y="150024"/>
                    <a:pt x="84347" y="149385"/>
                    <a:pt x="84347" y="149385"/>
                  </a:cubicBezTo>
                  <a:lnTo>
                    <a:pt x="91376" y="86184"/>
                  </a:lnTo>
                  <a:cubicBezTo>
                    <a:pt x="92015" y="82992"/>
                    <a:pt x="94571" y="80438"/>
                    <a:pt x="97766" y="80438"/>
                  </a:cubicBezTo>
                  <a:lnTo>
                    <a:pt x="264543" y="80438"/>
                  </a:lnTo>
                  <a:cubicBezTo>
                    <a:pt x="267738" y="80438"/>
                    <a:pt x="270294" y="82992"/>
                    <a:pt x="270933" y="86184"/>
                  </a:cubicBezTo>
                  <a:lnTo>
                    <a:pt x="277962" y="149385"/>
                  </a:lnTo>
                  <a:cubicBezTo>
                    <a:pt x="277962" y="149385"/>
                    <a:pt x="277962" y="150024"/>
                    <a:pt x="277962" y="150024"/>
                  </a:cubicBezTo>
                  <a:cubicBezTo>
                    <a:pt x="277962" y="156408"/>
                    <a:pt x="276045" y="162153"/>
                    <a:pt x="272211" y="166622"/>
                  </a:cubicBezTo>
                  <a:lnTo>
                    <a:pt x="272211" y="268766"/>
                  </a:lnTo>
                  <a:lnTo>
                    <a:pt x="274767" y="268766"/>
                  </a:lnTo>
                  <a:cubicBezTo>
                    <a:pt x="278601" y="268766"/>
                    <a:pt x="281157" y="271319"/>
                    <a:pt x="281157" y="275149"/>
                  </a:cubicBezTo>
                  <a:cubicBezTo>
                    <a:pt x="281157" y="278980"/>
                    <a:pt x="278601" y="281533"/>
                    <a:pt x="274767" y="281533"/>
                  </a:cubicBez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487387606"/>
      </p:ext>
    </p:extLst>
  </p:cSld>
  <p:clrMapOvr>
    <a:masterClrMapping/>
  </p:clrMapOvr>
  <p:transition>
    <p:fade/>
  </p:transition>
  <p:extLst>
    <p:ext uri="{6950BFC3-D8DA-4A85-94F7-54DA5524770B}">
      <p188:commentRel xmlns:p188="http://schemas.microsoft.com/office/powerpoint/2018/8/main" r:id="rId4"/>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extLst>
              <p:ext uri="{D42A27DB-BD31-4B8C-83A1-F6EECF244321}">
                <p14:modId xmlns:p14="http://schemas.microsoft.com/office/powerpoint/2010/main" val="37552209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46D186D-3950-355A-7727-D4279B1E92D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99324" y="0"/>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438090"/>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4" y="4606467"/>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731896"/>
            <a:ext cx="6851894" cy="13593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ver the course of the six weeks, we have conducted:</a:t>
            </a:r>
          </a:p>
          <a:p>
            <a:pPr marL="228600" marR="0" lvl="3" indent="-228600" algn="l" defTabSz="914400" rtl="0" eaLnBrk="1" fontAlgn="auto" latinLnBrk="0" hangingPunct="1">
              <a:lnSpc>
                <a:spcPct val="100000"/>
              </a:lnSpc>
              <a:spcBef>
                <a:spcPts val="0"/>
              </a:spcBef>
              <a:spcAft>
                <a:spcPts val="200"/>
              </a:spcAft>
              <a:buClr>
                <a:srgbClr val="00ABAB">
                  <a:lumMod val="50000"/>
                </a:srgbClr>
              </a:buClr>
              <a:buSzTx/>
              <a:buFontTx/>
              <a:buAutoNum type="arabicParenBoth"/>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0 one-to-one interviews with regional leaders of different business operations,</a:t>
            </a:r>
          </a:p>
          <a:p>
            <a:pPr marL="228600" marR="0" lvl="3" indent="-228600" algn="l" defTabSz="914400" rtl="0" eaLnBrk="1" fontAlgn="auto" latinLnBrk="0" hangingPunct="1">
              <a:lnSpc>
                <a:spcPct val="100000"/>
              </a:lnSpc>
              <a:spcBef>
                <a:spcPts val="0"/>
              </a:spcBef>
              <a:spcAft>
                <a:spcPts val="200"/>
              </a:spcAft>
              <a:buClr>
                <a:srgbClr val="00ABAB">
                  <a:lumMod val="50000"/>
                </a:srgbClr>
              </a:buClr>
              <a:buSzTx/>
              <a:buFontTx/>
              <a:buAutoNum type="arabicParenBoth"/>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7 functional workshops, and</a:t>
            </a:r>
          </a:p>
          <a:p>
            <a:pPr marL="228600" marR="0" lvl="3" indent="-228600" algn="l" defTabSz="914400" rtl="0" eaLnBrk="1" fontAlgn="auto" latinLnBrk="0" hangingPunct="1">
              <a:lnSpc>
                <a:spcPct val="100000"/>
              </a:lnSpc>
              <a:spcBef>
                <a:spcPts val="0"/>
              </a:spcBef>
              <a:spcAft>
                <a:spcPts val="200"/>
              </a:spcAft>
              <a:buClr>
                <a:srgbClr val="00ABAB">
                  <a:lumMod val="50000"/>
                </a:srgbClr>
              </a:buClr>
              <a:buSzTx/>
              <a:buFontTx/>
              <a:buAutoNum type="arabicParenBoth"/>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series of ad hoc consultations with functional team members and leaders of IT &amp; Data teams.</a:t>
            </a:r>
          </a:p>
          <a:p>
            <a:pPr marL="228600" marR="0" lvl="3" indent="-228600" algn="l" defTabSz="914400" rtl="0" eaLnBrk="1" fontAlgn="auto" latinLnBrk="0" hangingPunct="1">
              <a:lnSpc>
                <a:spcPct val="100000"/>
              </a:lnSpc>
              <a:spcBef>
                <a:spcPts val="0"/>
              </a:spcBef>
              <a:spcAft>
                <a:spcPts val="200"/>
              </a:spcAft>
              <a:buClr>
                <a:srgbClr val="00ABAB">
                  <a:lumMod val="50000"/>
                </a:srgbClr>
              </a:buClr>
              <a:buSzTx/>
              <a:buFontTx/>
              <a:buAutoNum type="arabicParenBoth"/>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ased on that, a general assessment of data setup based on Deloitte’s own IDO methodology was conducted, resulting in enabling recommendations on optimizing the operating model, strengthening and promoting CEE data culture, modernizing Power BI landscape, and harmonizing data sources.</a:t>
            </a: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788873"/>
            <a:ext cx="6851896" cy="6155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6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leading food group in dairy food, nutrition, and beverage in CEE region has initiated a data landscape transformation. Facing disconnected, unharmonized sources cross-functionally and within the region as well as hindered decision-making, the company strived for gaining insights into the current state of data and analytics in their business operations.</a:t>
            </a:r>
          </a:p>
        </p:txBody>
      </p:sp>
      <p:sp>
        <p:nvSpPr>
          <p:cNvPr id="14" name="TextBox 13">
            <a:extLst>
              <a:ext uri="{FF2B5EF4-FFF2-40B4-BE49-F238E27FC236}">
                <a16:creationId xmlns:a16="http://schemas.microsoft.com/office/drawing/2014/main" id="{242EC6AF-8C25-A375-FF99-2FB0991EC69E}"/>
              </a:ext>
            </a:extLst>
          </p:cNvPr>
          <p:cNvSpPr txBox="1"/>
          <p:nvPr/>
        </p:nvSpPr>
        <p:spPr>
          <a:xfrm>
            <a:off x="526665" y="4877147"/>
            <a:ext cx="6748358"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67945" marR="0" lvl="0" indent="-67945" algn="l" defTabSz="914400" rtl="0" eaLnBrk="1" fontAlgn="auto" latinLnBrk="0" hangingPunct="1">
              <a:lnSpc>
                <a:spcPct val="100000"/>
              </a:lnSpc>
              <a:spcBef>
                <a:spcPts val="0"/>
              </a:spcBef>
              <a:spcAft>
                <a:spcPts val="600"/>
              </a:spcAft>
              <a:buClrTx/>
              <a:buSzPct val="75000"/>
              <a:buFont typeface="Arial" panose="020B0604020202020204" pitchFamily="34" charset="0"/>
              <a:buChar char="•"/>
              <a:tabLst/>
              <a:defRPr/>
            </a:pPr>
            <a:r>
              <a:rPr kumimoji="0" lang="en-US" sz="1000" b="0" i="0" u="none" strike="noStrike" kern="1200" cap="none" spc="-30" normalizeH="0" baseline="0" noProof="0" dirty="0">
                <a:ln>
                  <a:noFill/>
                </a:ln>
                <a:solidFill>
                  <a:prstClr val="black"/>
                </a:solidFill>
                <a:effectLst/>
                <a:uLnTx/>
                <a:uFillTx/>
                <a:latin typeface="Open Sans"/>
                <a:ea typeface="Open Sans Light"/>
                <a:cs typeface="Open Sans Light"/>
              </a:rPr>
              <a:t>To cater to the demand from business operations, </a:t>
            </a:r>
            <a:r>
              <a:rPr kumimoji="0" lang="en-GB" sz="1000" b="0" i="0" u="none" strike="noStrike" kern="1200" cap="none" spc="0" normalizeH="0" baseline="0" noProof="0" dirty="0">
                <a:ln>
                  <a:noFill/>
                </a:ln>
                <a:solidFill>
                  <a:prstClr val="black"/>
                </a:solidFill>
                <a:effectLst/>
                <a:uLnTx/>
                <a:uFillTx/>
                <a:latin typeface="Open Sans"/>
                <a:ea typeface="Open Sans" charset="0"/>
                <a:cs typeface="Open Sans" charset="0"/>
              </a:rPr>
              <a:t>a new target operating model was drafted, including a job description for a newly established role of the CEE Data Powerhouse lead.</a:t>
            </a:r>
            <a:endParaRPr kumimoji="0" lang="en-US" sz="1000" b="0" i="0" u="none" strike="noStrike" kern="1200" cap="none" spc="-30" normalizeH="0" baseline="0" noProof="0" dirty="0">
              <a:ln>
                <a:noFill/>
              </a:ln>
              <a:solidFill>
                <a:prstClr val="black"/>
              </a:solidFill>
              <a:effectLst/>
              <a:uLnTx/>
              <a:uFillTx/>
              <a:latin typeface="Open Sans"/>
              <a:ea typeface="Open Sans Light"/>
              <a:cs typeface="Open Sans Light"/>
            </a:endParaRPr>
          </a:p>
          <a:p>
            <a:pPr marL="67945" marR="0" lvl="0" indent="-67945" algn="l" defTabSz="914400" rtl="0" eaLnBrk="1" fontAlgn="auto" latinLnBrk="0" hangingPunct="1">
              <a:lnSpc>
                <a:spcPct val="100000"/>
              </a:lnSpc>
              <a:spcBef>
                <a:spcPts val="0"/>
              </a:spcBef>
              <a:spcAft>
                <a:spcPts val="600"/>
              </a:spcAft>
              <a:buClrTx/>
              <a:buSzPct val="75000"/>
              <a:buFont typeface="Arial" panose="020B0604020202020204" pitchFamily="34" charset="0"/>
              <a:buChar char="•"/>
              <a:tabLst/>
              <a:defRPr/>
            </a:pPr>
            <a:r>
              <a:rPr kumimoji="0" lang="en-US" sz="1000" b="0" i="0" u="none" strike="noStrike" kern="1200" cap="none" spc="-30" normalizeH="0" baseline="0" noProof="0" dirty="0">
                <a:ln>
                  <a:noFill/>
                </a:ln>
                <a:solidFill>
                  <a:prstClr val="black"/>
                </a:solidFill>
                <a:effectLst/>
                <a:uLnTx/>
                <a:uFillTx/>
                <a:latin typeface="Open Sans"/>
                <a:ea typeface="Open Sans Light"/>
                <a:cs typeface="Open Sans Light"/>
              </a:rPr>
              <a:t>A summary of recommendations on a high-level timeline was proposed as well as prioritization of use cases based on their impact and complexity, with hints on how to approach it in the future.</a:t>
            </a:r>
          </a:p>
          <a:p>
            <a:pPr marL="67945" marR="0" lvl="0" indent="-67945" algn="l" defTabSz="914400" rtl="0" eaLnBrk="1" fontAlgn="auto" latinLnBrk="0" hangingPunct="1">
              <a:lnSpc>
                <a:spcPct val="100000"/>
              </a:lnSpc>
              <a:spcBef>
                <a:spcPts val="0"/>
              </a:spcBef>
              <a:spcAft>
                <a:spcPts val="600"/>
              </a:spcAft>
              <a:buClrTx/>
              <a:buSzPct val="75000"/>
              <a:buFont typeface="Arial" panose="020B0604020202020204" pitchFamily="34" charset="0"/>
              <a:buChar char="•"/>
              <a:tabLst/>
              <a:defRPr/>
            </a:pPr>
            <a:r>
              <a:rPr kumimoji="0" lang="en-US" sz="1000" b="0" i="0" u="none" strike="noStrike" kern="1200" cap="none" spc="-30" normalizeH="0" baseline="0" noProof="0" dirty="0">
                <a:ln>
                  <a:noFill/>
                </a:ln>
                <a:solidFill>
                  <a:prstClr val="black"/>
                </a:solidFill>
                <a:effectLst/>
                <a:uLnTx/>
                <a:uFillTx/>
                <a:latin typeface="Open Sans"/>
                <a:ea typeface="Open Sans Light"/>
                <a:cs typeface="Open Sans Light"/>
              </a:rPr>
              <a:t>Estimates of required effort on what could be executed first and how to carry out the initial steps were proposed.</a:t>
            </a:r>
          </a:p>
        </p:txBody>
      </p:sp>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4" y="417911"/>
            <a:ext cx="6210879"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STRATEGIC RECOMMENDATIONS FOR</a:t>
            </a:r>
            <a:b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br>
            <a: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AI &amp; DATA TRANSFORMATION</a:t>
            </a: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International Food &amp; Beverage Company</a:t>
            </a:r>
            <a:r>
              <a:rPr kumimoji="0" lang="hu-HU"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202</a:t>
            </a: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0747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extLst>
              <p:ext uri="{D42A27DB-BD31-4B8C-83A1-F6EECF244321}">
                <p14:modId xmlns:p14="http://schemas.microsoft.com/office/powerpoint/2010/main" val="16129973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46D186D-3950-355A-7727-D4279B1E92D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99324" y="0"/>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438090"/>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4" y="4106849"/>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731896"/>
            <a:ext cx="6851894" cy="13593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y following the Insights Driven Organization approach, Deloitte team refined the insurer’s strategy in three main area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alytics skill assessment,</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alytics maturity assessment,</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view of a long list of over 50 analytics use-cases to identify a short-list of analytics / AI use-cases.</a:t>
            </a: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fter the initial workshops the data infrastructure and data availability was assessed to arrive at a final roadmap with prioritized use-cases for future implementation was created.</a:t>
            </a: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788873"/>
            <a:ext cx="6851896"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6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leading insurer in Latvia was looking to strengthen the internal analytics maturity and expand the analytics reach beyond core business functions and reporting. Analytics talent was scattered in silos across the organization and the existing data infrastructure was restricting new analytics use-case adoption.</a:t>
            </a:r>
          </a:p>
        </p:txBody>
      </p:sp>
      <p:sp>
        <p:nvSpPr>
          <p:cNvPr id="14" name="TextBox 13">
            <a:extLst>
              <a:ext uri="{FF2B5EF4-FFF2-40B4-BE49-F238E27FC236}">
                <a16:creationId xmlns:a16="http://schemas.microsoft.com/office/drawing/2014/main" id="{242EC6AF-8C25-A375-FF99-2FB0991EC69E}"/>
              </a:ext>
            </a:extLst>
          </p:cNvPr>
          <p:cNvSpPr txBox="1"/>
          <p:nvPr/>
        </p:nvSpPr>
        <p:spPr>
          <a:xfrm>
            <a:off x="526665" y="4377529"/>
            <a:ext cx="6748358"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insights obtained served as a critical input for analytics roadmap creation and guidance for the newly appointed analytics lead. A firsts follow-up project for churn analytics was conducted in a cross-functional analytics Scrum team co-developed with Deloitte for effective knowledge transfer.</a:t>
            </a:r>
          </a:p>
        </p:txBody>
      </p:sp>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INSURANCE ANALYTICS TRANSFORMATION</a:t>
            </a: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uropean Insurance Company</a:t>
            </a:r>
            <a:r>
              <a:rPr kumimoji="0" lang="hu-HU"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202</a:t>
            </a: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661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46D186D-3950-355A-7727-D4279B1E92D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99324" y="0"/>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438090"/>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4" y="5473737"/>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731896"/>
            <a:ext cx="6851894" cy="20518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oitte had been tasked to create a Machine Learning (ML) model that classified all future transactions and also to use this model on two years of historical data.</a:t>
            </a: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r team had:</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orked with their procurement BI team to identify all potential data source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quired historical transaction data for three years from four different sources with different format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leaned the data and worked with the client's stakeholders to create a valid dataset for training the model</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ed ML model that identifies relevant keywords in descriptions and together with all other inputs generates the most likely category</a:t>
            </a: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s one million transactions per year covered seven geographies and six languages. More than 600 product and service categories were used in the classification and these were organized into six hierarchical levels.</a:t>
            </a: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788873"/>
            <a:ext cx="6851896" cy="6155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6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s procurement team asked Deloitte to deliver a Machine Learning (ML) algorithm that automatically classifies their spend transactions into categories. They have only been able to manually categorize suppliers in the past. As many of them provided products and services under different categories, these details were lost in the spend reporting. </a:t>
            </a:r>
          </a:p>
        </p:txBody>
      </p:sp>
      <p:sp>
        <p:nvSpPr>
          <p:cNvPr id="14" name="TextBox 13">
            <a:extLst>
              <a:ext uri="{FF2B5EF4-FFF2-40B4-BE49-F238E27FC236}">
                <a16:creationId xmlns:a16="http://schemas.microsoft.com/office/drawing/2014/main" id="{242EC6AF-8C25-A375-FF99-2FB0991EC69E}"/>
              </a:ext>
            </a:extLst>
          </p:cNvPr>
          <p:cNvSpPr txBox="1"/>
          <p:nvPr/>
        </p:nvSpPr>
        <p:spPr>
          <a:xfrm>
            <a:off x="526665" y="5744417"/>
            <a:ext cx="6748358"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555555"/>
                </a:solidFill>
                <a:effectLst/>
                <a:uLnTx/>
                <a:uFillTx/>
                <a:latin typeface="Open Sans" panose="020B0606030504020204" pitchFamily="34" charset="0"/>
                <a:ea typeface="+mn-ea"/>
                <a:cs typeface="+mn-cs"/>
              </a:rPr>
              <a:t>The model had achieved the targeted 90% accuracy on product categories on average, however this varied between data sources. Despite this, the model helped the client to improve their procurement reporting and reduce their costs by being able to more proactively manage goods and services categories in sourcing.</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AUTOMATIC CLASSIFICATION OF GOODS &amp; SERVICES</a:t>
            </a: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Global Manufacturing Company</a:t>
            </a:r>
            <a:r>
              <a:rPr kumimoji="0" lang="hu-HU"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202</a:t>
            </a: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2190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46D186D-3950-355A-7727-D4279B1E92D3}"/>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7799324" y="0"/>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438090"/>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4" y="5473737"/>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731896"/>
            <a:ext cx="6851894" cy="18210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r technical team was able to help the client’s IT experts create and configure the Vertex AI environment, integrate it into their existing GCP architecture, and train both administrator and user roles.</a:t>
            </a: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r AI experts assisted with the development and implementation of various types of models over structured and unstructured data.</a:t>
            </a: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 addition to standard data scientists, we have provided specialists working on NLP (language processing), computer vision and MLOPs.</a:t>
            </a: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ce the functionality of the developed models has been verified, our team transformed the individual components of the self-contained model into dedicated Vertex AI services that provide a higher level of performance, reliability, and efficiency compared to the test version developed in the workbench.</a:t>
            </a: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788873"/>
            <a:ext cx="6851896"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6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 wanted to introduce the Vertex AI development environment from GCP into their Data &amp; AI team’s toolset. They wanted to build up the skillset and the necessary knowledge as well, therefore they reached out to Deloitte.</a:t>
            </a:r>
          </a:p>
        </p:txBody>
      </p:sp>
      <p:sp>
        <p:nvSpPr>
          <p:cNvPr id="14" name="TextBox 13">
            <a:extLst>
              <a:ext uri="{FF2B5EF4-FFF2-40B4-BE49-F238E27FC236}">
                <a16:creationId xmlns:a16="http://schemas.microsoft.com/office/drawing/2014/main" id="{242EC6AF-8C25-A375-FF99-2FB0991EC69E}"/>
              </a:ext>
            </a:extLst>
          </p:cNvPr>
          <p:cNvSpPr txBox="1"/>
          <p:nvPr/>
        </p:nvSpPr>
        <p:spPr>
          <a:xfrm>
            <a:off x="526665" y="5744417"/>
            <a:ext cx="6748358"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 successfully started using the new tool and after the first models developed jointly with Deloitte’s help, they took over the development processes.</a:t>
            </a:r>
          </a:p>
        </p:txBody>
      </p:sp>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INSIGHTS GENERATION SUPPORT</a:t>
            </a: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entral European Public Sector Organization</a:t>
            </a:r>
            <a:r>
              <a:rPr kumimoji="0" lang="hu-HU"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202</a:t>
            </a: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48219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064" name="Title 1">
            <a:extLst>
              <a:ext uri="{FF2B5EF4-FFF2-40B4-BE49-F238E27FC236}">
                <a16:creationId xmlns:a16="http://schemas.microsoft.com/office/drawing/2014/main" id="{1F3B52A3-B03D-7D40-D424-16499B46190F}"/>
              </a:ext>
            </a:extLst>
          </p:cNvPr>
          <p:cNvSpPr>
            <a:spLocks noGrp="1"/>
          </p:cNvSpPr>
          <p:nvPr>
            <p:ph type="title"/>
          </p:nvPr>
        </p:nvSpPr>
        <p:spPr>
          <a:xfrm>
            <a:off x="896400" y="906411"/>
            <a:ext cx="10467780" cy="334099"/>
          </a:xfrm>
        </p:spPr>
        <p:txBody>
          <a:bodyPr vert="horz" anchor="t"/>
          <a:lstStyle/>
          <a:p>
            <a:r>
              <a:rPr lang="en-US" sz="1400" dirty="0">
                <a:solidFill>
                  <a:prstClr val="black"/>
                </a:solidFill>
                <a:latin typeface="Open Sans Light" panose="020B0306030504020204" pitchFamily="34" charset="0"/>
              </a:rPr>
              <a:t>Digital Identity by Deloitte integrates and operates</a:t>
            </a:r>
            <a:r>
              <a:rPr lang="hu-HU" sz="1400" dirty="0">
                <a:solidFill>
                  <a:prstClr val="black"/>
                </a:solidFill>
                <a:latin typeface="Open Sans Light" panose="020B0306030504020204" pitchFamily="34" charset="0"/>
              </a:rPr>
              <a:t> </a:t>
            </a:r>
            <a:r>
              <a:rPr lang="en-US" sz="1400" dirty="0">
                <a:solidFill>
                  <a:prstClr val="black"/>
                </a:solidFill>
                <a:latin typeface="Open Sans Light" panose="020B0306030504020204" pitchFamily="34" charset="0"/>
              </a:rPr>
              <a:t>the entire identity lifecycle under one umbrella</a:t>
            </a:r>
            <a:r>
              <a:rPr lang="hu-HU" sz="1400" dirty="0">
                <a:solidFill>
                  <a:prstClr val="black"/>
                </a:solidFill>
                <a:latin typeface="Open Sans Light" panose="020B0306030504020204" pitchFamily="34" charset="0"/>
              </a:rPr>
              <a:t>.</a:t>
            </a:r>
            <a:endParaRPr lang="en-GB" sz="1400" dirty="0">
              <a:solidFill>
                <a:prstClr val="black"/>
              </a:solidFill>
              <a:latin typeface="Open Sans Light" panose="020B0306030504020204" pitchFamily="34" charset="0"/>
            </a:endParaRPr>
          </a:p>
        </p:txBody>
      </p:sp>
      <p:sp>
        <p:nvSpPr>
          <p:cNvPr id="1065" name="Title 1">
            <a:extLst>
              <a:ext uri="{FF2B5EF4-FFF2-40B4-BE49-F238E27FC236}">
                <a16:creationId xmlns:a16="http://schemas.microsoft.com/office/drawing/2014/main" id="{8C32C409-17A7-7830-F3B0-7E3C50591B1E}"/>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hu-HU" dirty="0">
                <a:cs typeface="Calibri Light"/>
              </a:rPr>
              <a:t>Identity and Access Management</a:t>
            </a:r>
          </a:p>
        </p:txBody>
      </p:sp>
      <p:grpSp>
        <p:nvGrpSpPr>
          <p:cNvPr id="14" name="Group 13">
            <a:extLst>
              <a:ext uri="{FF2B5EF4-FFF2-40B4-BE49-F238E27FC236}">
                <a16:creationId xmlns:a16="http://schemas.microsoft.com/office/drawing/2014/main" id="{99131158-C65E-1F96-B2EF-7E7DB80F3ABE}"/>
              </a:ext>
            </a:extLst>
          </p:cNvPr>
          <p:cNvGrpSpPr/>
          <p:nvPr/>
        </p:nvGrpSpPr>
        <p:grpSpPr>
          <a:xfrm>
            <a:off x="786095" y="2106399"/>
            <a:ext cx="5533281" cy="3444321"/>
            <a:chOff x="5985456" y="2236052"/>
            <a:chExt cx="5533281" cy="3444321"/>
          </a:xfrm>
        </p:grpSpPr>
        <p:sp>
          <p:nvSpPr>
            <p:cNvPr id="2" name="Rectangle 1">
              <a:extLst>
                <a:ext uri="{FF2B5EF4-FFF2-40B4-BE49-F238E27FC236}">
                  <a16:creationId xmlns:a16="http://schemas.microsoft.com/office/drawing/2014/main" id="{962074C4-A7DB-4D7B-A2BE-FD296531B20E}"/>
                </a:ext>
              </a:extLst>
            </p:cNvPr>
            <p:cNvSpPr/>
            <p:nvPr/>
          </p:nvSpPr>
          <p:spPr>
            <a:xfrm>
              <a:off x="5985457" y="2933979"/>
              <a:ext cx="1828800" cy="2746394"/>
            </a:xfrm>
            <a:prstGeom prst="rect">
              <a:avLst/>
            </a:prstGeom>
            <a:solidFill>
              <a:schemeClr val="bg1"/>
            </a:solidFill>
          </p:spPr>
          <p:txBody>
            <a:bodyPr wrap="square" lIns="182880" tIns="274320" rIns="182880" bIns="182880" anchor="t" anchorCtr="0">
              <a:noAutofit/>
            </a:bodyPr>
            <a:lstStyle/>
            <a:p>
              <a:pPr algn="ctr">
                <a:lnSpc>
                  <a:spcPct val="110000"/>
                </a:lnSpc>
                <a:defRPr/>
              </a:pPr>
              <a:r>
                <a:rPr lang="en-US" sz="1200" dirty="0">
                  <a:solidFill>
                    <a:schemeClr val="tx2"/>
                  </a:solidFill>
                  <a:latin typeface="Open Sans" panose="020B0606030504020204" pitchFamily="34" charset="0"/>
                  <a:ea typeface="Open Sans" panose="020B0606030504020204" pitchFamily="34" charset="0"/>
                  <a:cs typeface="Open Sans" panose="020B0606030504020204" pitchFamily="34" charset="0"/>
                </a:rPr>
                <a:t>Manages the complete lifecycle of identities,</a:t>
              </a:r>
              <a:br>
                <a:rPr lang="en-US" sz="12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200" dirty="0">
                  <a:solidFill>
                    <a:schemeClr val="tx2"/>
                  </a:solidFill>
                  <a:latin typeface="Open Sans" panose="020B0606030504020204" pitchFamily="34" charset="0"/>
                  <a:ea typeface="Open Sans" panose="020B0606030504020204" pitchFamily="34" charset="0"/>
                  <a:cs typeface="Open Sans" panose="020B0606030504020204" pitchFamily="34" charset="0"/>
                </a:rPr>
                <a:t>by orchestrating Hire to Retire events to help ensure the right access for the right people at the</a:t>
              </a:r>
              <a:br>
                <a:rPr lang="en-US" sz="12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200" dirty="0">
                  <a:solidFill>
                    <a:schemeClr val="tx2"/>
                  </a:solidFill>
                  <a:latin typeface="Open Sans" panose="020B0606030504020204" pitchFamily="34" charset="0"/>
                  <a:ea typeface="Open Sans" panose="020B0606030504020204" pitchFamily="34" charset="0"/>
                  <a:cs typeface="Open Sans" panose="020B0606030504020204" pitchFamily="34" charset="0"/>
                </a:rPr>
                <a:t>right time.</a:t>
              </a:r>
            </a:p>
          </p:txBody>
        </p:sp>
        <p:sp>
          <p:nvSpPr>
            <p:cNvPr id="3" name="Rectangle 2">
              <a:extLst>
                <a:ext uri="{FF2B5EF4-FFF2-40B4-BE49-F238E27FC236}">
                  <a16:creationId xmlns:a16="http://schemas.microsoft.com/office/drawing/2014/main" id="{8701CC4E-5F26-6CCB-981A-F439446B80E5}"/>
                </a:ext>
              </a:extLst>
            </p:cNvPr>
            <p:cNvSpPr/>
            <p:nvPr/>
          </p:nvSpPr>
          <p:spPr>
            <a:xfrm>
              <a:off x="7820637" y="2933979"/>
              <a:ext cx="1828800" cy="2746394"/>
            </a:xfrm>
            <a:prstGeom prst="rect">
              <a:avLst/>
            </a:prstGeom>
            <a:solidFill>
              <a:schemeClr val="bg1"/>
            </a:solidFill>
          </p:spPr>
          <p:txBody>
            <a:bodyPr wrap="square" lIns="137160" tIns="274320" rIns="137160" bIns="182880" anchor="t" anchorCtr="0">
              <a:noAutofit/>
            </a:bodyPr>
            <a:lstStyle/>
            <a:p>
              <a:pPr algn="ctr">
                <a:lnSpc>
                  <a:spcPct val="110000"/>
                </a:lnSpc>
                <a:defRPr/>
              </a:pPr>
              <a:r>
                <a:rPr lang="en-US" sz="1200" dirty="0">
                  <a:solidFill>
                    <a:schemeClr val="tx2"/>
                  </a:solidFill>
                  <a:latin typeface="Open Sans" panose="020B0606030504020204" pitchFamily="34" charset="0"/>
                  <a:ea typeface="Open Sans" panose="020B0606030504020204" pitchFamily="34" charset="0"/>
                  <a:cs typeface="Open Sans" panose="020B0606030504020204" pitchFamily="34" charset="0"/>
                </a:rPr>
                <a:t>Identity lifecycle-driven SSO with Multi-factor Authentication (MFA) and password-less options to ensure the workforce has simple yet highly secure access.</a:t>
              </a:r>
            </a:p>
          </p:txBody>
        </p:sp>
        <p:sp>
          <p:nvSpPr>
            <p:cNvPr id="4" name="Rectangle 3">
              <a:extLst>
                <a:ext uri="{FF2B5EF4-FFF2-40B4-BE49-F238E27FC236}">
                  <a16:creationId xmlns:a16="http://schemas.microsoft.com/office/drawing/2014/main" id="{2E03ED07-CF6E-52F7-2C31-9D1FF7544968}"/>
                </a:ext>
              </a:extLst>
            </p:cNvPr>
            <p:cNvSpPr/>
            <p:nvPr/>
          </p:nvSpPr>
          <p:spPr>
            <a:xfrm>
              <a:off x="9689937" y="2933979"/>
              <a:ext cx="1828800" cy="2746394"/>
            </a:xfrm>
            <a:prstGeom prst="rect">
              <a:avLst/>
            </a:prstGeom>
            <a:solidFill>
              <a:schemeClr val="bg1"/>
            </a:solidFill>
          </p:spPr>
          <p:txBody>
            <a:bodyPr wrap="square" lIns="182880" tIns="274320" rIns="182880" bIns="182880" anchor="t" anchorCtr="0">
              <a:noAutofit/>
            </a:bodyPr>
            <a:lstStyle/>
            <a:p>
              <a:pPr algn="ctr">
                <a:lnSpc>
                  <a:spcPct val="110000"/>
                </a:lnSpc>
                <a:defRPr/>
              </a:pPr>
              <a:r>
                <a:rPr lang="en-US" sz="1200" dirty="0">
                  <a:solidFill>
                    <a:schemeClr val="tx2"/>
                  </a:solidFill>
                  <a:latin typeface="Open Sans" panose="020B0606030504020204" pitchFamily="34" charset="0"/>
                  <a:ea typeface="Open Sans" panose="020B0606030504020204" pitchFamily="34" charset="0"/>
                  <a:cs typeface="Open Sans" panose="020B0606030504020204" pitchFamily="34" charset="0"/>
                </a:rPr>
                <a:t>Protects critical assets by enforcing Least Privilege and providing vaulted credential storage, management, and secure access to endpoints with session monitoring, reporting, and auditing.</a:t>
              </a: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a:extLst>
                <a:ext uri="{FF2B5EF4-FFF2-40B4-BE49-F238E27FC236}">
                  <a16:creationId xmlns:a16="http://schemas.microsoft.com/office/drawing/2014/main" id="{BE8F86EB-969C-D98A-E662-2FBF8D7D3BF1}"/>
                </a:ext>
              </a:extLst>
            </p:cNvPr>
            <p:cNvSpPr/>
            <p:nvPr/>
          </p:nvSpPr>
          <p:spPr>
            <a:xfrm>
              <a:off x="5985456" y="2236052"/>
              <a:ext cx="1828799" cy="830997"/>
            </a:xfrm>
            <a:prstGeom prst="rect">
              <a:avLst/>
            </a:prstGeom>
            <a:solidFill>
              <a:schemeClr val="bg1"/>
            </a:solidFill>
          </p:spPr>
          <p:txBody>
            <a:bodyPr wrap="square" lIns="91440" tIns="91440" rIns="91440" bIns="91440" anchor="ctr" anchorCtr="0">
              <a:noAutofit/>
            </a:bodyPr>
            <a:lstStyle/>
            <a:p>
              <a:pPr algn="ctr">
                <a:defRPr/>
              </a:pPr>
              <a:r>
                <a:rPr lang="en-US" sz="1400" b="1" dirty="0">
                  <a:solidFill>
                    <a:srgbClr val="0097A9"/>
                  </a:solidFill>
                  <a:latin typeface="Open Sans" panose="020B0606030504020204" pitchFamily="34" charset="0"/>
                  <a:ea typeface="Open Sans" panose="020B0606030504020204" pitchFamily="34" charset="0"/>
                  <a:cs typeface="Open Sans" panose="020B0606030504020204" pitchFamily="34" charset="0"/>
                </a:rPr>
                <a:t>Identity Governance</a:t>
              </a:r>
              <a:br>
                <a:rPr lang="en-US" sz="1400" b="1" dirty="0">
                  <a:solidFill>
                    <a:srgbClr val="0097A9"/>
                  </a:solidFill>
                  <a:latin typeface="Open Sans" panose="020B0606030504020204" pitchFamily="34" charset="0"/>
                  <a:ea typeface="Open Sans" panose="020B0606030504020204" pitchFamily="34" charset="0"/>
                  <a:cs typeface="Open Sans" panose="020B0606030504020204" pitchFamily="34" charset="0"/>
                </a:rPr>
              </a:br>
              <a:r>
                <a:rPr lang="en-US" sz="1400" b="1" dirty="0">
                  <a:solidFill>
                    <a:srgbClr val="0097A9"/>
                  </a:solidFill>
                  <a:latin typeface="Open Sans" panose="020B0606030504020204" pitchFamily="34" charset="0"/>
                  <a:ea typeface="Open Sans" panose="020B0606030504020204" pitchFamily="34" charset="0"/>
                  <a:cs typeface="Open Sans" panose="020B0606030504020204" pitchFamily="34" charset="0"/>
                </a:rPr>
                <a:t>&amp; Administration</a:t>
              </a:r>
            </a:p>
          </p:txBody>
        </p:sp>
        <p:sp>
          <p:nvSpPr>
            <p:cNvPr id="6" name="Rectangle 5">
              <a:extLst>
                <a:ext uri="{FF2B5EF4-FFF2-40B4-BE49-F238E27FC236}">
                  <a16:creationId xmlns:a16="http://schemas.microsoft.com/office/drawing/2014/main" id="{7F73DB7D-3077-3549-F953-72D227CE4E72}"/>
                </a:ext>
              </a:extLst>
            </p:cNvPr>
            <p:cNvSpPr/>
            <p:nvPr/>
          </p:nvSpPr>
          <p:spPr>
            <a:xfrm>
              <a:off x="7820636" y="2236052"/>
              <a:ext cx="1828799" cy="830997"/>
            </a:xfrm>
            <a:prstGeom prst="rect">
              <a:avLst/>
            </a:prstGeom>
            <a:solidFill>
              <a:schemeClr val="bg1"/>
            </a:solidFill>
          </p:spPr>
          <p:txBody>
            <a:bodyPr wrap="square" lIns="91440" tIns="91440" rIns="91440" bIns="91440" anchor="ctr" anchorCtr="0">
              <a:noAutofit/>
            </a:bodyPr>
            <a:lstStyle/>
            <a:p>
              <a:pPr algn="ctr">
                <a:defRPr/>
              </a:pPr>
              <a:r>
                <a:rPr lang="en-US" sz="1400" b="1" dirty="0">
                  <a:solidFill>
                    <a:srgbClr val="0097A9"/>
                  </a:solidFill>
                  <a:latin typeface="Open Sans" panose="020B0606030504020204" pitchFamily="34" charset="0"/>
                  <a:ea typeface="Open Sans" panose="020B0606030504020204" pitchFamily="34" charset="0"/>
                  <a:cs typeface="Open Sans" panose="020B0606030504020204" pitchFamily="34" charset="0"/>
                </a:rPr>
                <a:t>Access</a:t>
              </a:r>
              <a:br>
                <a:rPr lang="en-US" sz="1400" b="1" dirty="0">
                  <a:solidFill>
                    <a:srgbClr val="0097A9"/>
                  </a:solidFill>
                  <a:latin typeface="Open Sans" panose="020B0606030504020204" pitchFamily="34" charset="0"/>
                  <a:ea typeface="Open Sans" panose="020B0606030504020204" pitchFamily="34" charset="0"/>
                  <a:cs typeface="Open Sans" panose="020B0606030504020204" pitchFamily="34" charset="0"/>
                </a:rPr>
              </a:br>
              <a:r>
                <a:rPr lang="en-US" sz="1400" b="1" dirty="0">
                  <a:solidFill>
                    <a:srgbClr val="0097A9"/>
                  </a:solidFill>
                  <a:latin typeface="Open Sans" panose="020B0606030504020204" pitchFamily="34" charset="0"/>
                  <a:ea typeface="Open Sans" panose="020B0606030504020204" pitchFamily="34" charset="0"/>
                  <a:cs typeface="Open Sans" panose="020B0606030504020204" pitchFamily="34" charset="0"/>
                </a:rPr>
                <a:t>Management</a:t>
              </a:r>
            </a:p>
          </p:txBody>
        </p:sp>
        <p:sp>
          <p:nvSpPr>
            <p:cNvPr id="9" name="Rectangle 8">
              <a:extLst>
                <a:ext uri="{FF2B5EF4-FFF2-40B4-BE49-F238E27FC236}">
                  <a16:creationId xmlns:a16="http://schemas.microsoft.com/office/drawing/2014/main" id="{1A37E52F-D800-0DDB-1752-64BE2E8E116C}"/>
                </a:ext>
              </a:extLst>
            </p:cNvPr>
            <p:cNvSpPr/>
            <p:nvPr/>
          </p:nvSpPr>
          <p:spPr>
            <a:xfrm>
              <a:off x="9689935" y="2236052"/>
              <a:ext cx="1828799" cy="830997"/>
            </a:xfrm>
            <a:prstGeom prst="rect">
              <a:avLst/>
            </a:prstGeom>
            <a:solidFill>
              <a:schemeClr val="bg1"/>
            </a:solidFill>
          </p:spPr>
          <p:txBody>
            <a:bodyPr wrap="square" lIns="91440" tIns="91440" rIns="91440" bIns="91440" anchor="ctr" anchorCtr="0">
              <a:noAutofit/>
            </a:bodyPr>
            <a:lstStyle/>
            <a:p>
              <a:pPr algn="ctr">
                <a:defRPr/>
              </a:pPr>
              <a:r>
                <a:rPr lang="en-US" sz="1400" b="1" dirty="0">
                  <a:solidFill>
                    <a:srgbClr val="0097A9"/>
                  </a:solidFill>
                  <a:latin typeface="Open Sans" panose="020B0606030504020204" pitchFamily="34" charset="0"/>
                  <a:ea typeface="Open Sans" panose="020B0606030504020204" pitchFamily="34" charset="0"/>
                  <a:cs typeface="Open Sans" panose="020B0606030504020204" pitchFamily="34" charset="0"/>
                </a:rPr>
                <a:t>Privileged Access Management</a:t>
              </a:r>
            </a:p>
          </p:txBody>
        </p:sp>
      </p:grpSp>
      <p:sp>
        <p:nvSpPr>
          <p:cNvPr id="13" name="TextBox 12">
            <a:extLst>
              <a:ext uri="{FF2B5EF4-FFF2-40B4-BE49-F238E27FC236}">
                <a16:creationId xmlns:a16="http://schemas.microsoft.com/office/drawing/2014/main" id="{142BC78B-9E01-5857-B8AC-C5C61F5453FE}"/>
              </a:ext>
            </a:extLst>
          </p:cNvPr>
          <p:cNvSpPr txBox="1"/>
          <p:nvPr/>
        </p:nvSpPr>
        <p:spPr>
          <a:xfrm>
            <a:off x="6516807" y="1607705"/>
            <a:ext cx="5063320" cy="4642970"/>
          </a:xfrm>
          <a:prstGeom prst="rect">
            <a:avLst/>
          </a:prstGeom>
          <a:noFill/>
        </p:spPr>
        <p:txBody>
          <a:bodyPr wrap="square" lIns="0" tIns="0" rIns="0" bIns="0" rtlCol="0">
            <a:normAutofit fontScale="77500" lnSpcReduction="20000"/>
          </a:bodyPr>
          <a:lstStyle/>
          <a:p>
            <a:pPr marL="203200" indent="-203200">
              <a:spcBef>
                <a:spcPts val="600"/>
              </a:spcBef>
              <a:buSzPct val="100000"/>
              <a:buFont typeface="Arial"/>
              <a:buChar char="•"/>
            </a:pPr>
            <a:r>
              <a:rPr lang="en-US" dirty="0">
                <a:solidFill>
                  <a:srgbClr val="313131"/>
                </a:solidFill>
              </a:rPr>
              <a:t>To keep pace in an increasingly competitive market landscape, organizations of every sector are exploring paths towards digital transformation. Effective digital identity management is essential to ensure that this process can run smoothly, providing a seamless user experience, and keeping the business side running fluently.</a:t>
            </a:r>
          </a:p>
          <a:p>
            <a:pPr marL="203200" indent="-203200">
              <a:spcBef>
                <a:spcPts val="600"/>
              </a:spcBef>
              <a:buSzPct val="100000"/>
              <a:buFont typeface="Arial"/>
              <a:buChar char="•"/>
            </a:pPr>
            <a:r>
              <a:rPr lang="en-US" dirty="0">
                <a:solidFill>
                  <a:srgbClr val="313131"/>
                </a:solidFill>
              </a:rPr>
              <a:t>As organizations transitioned to remote work and cloud computing, their traditional identity and access management systems have no longer met expectations, organizations have suddenly had to find new ways to authenticate employees, verify identities, confirm network permissions and detect intrusion attempts. They weren’t consistently successful, which is partly why cyberattacks escalated suddenly throughout 2020.</a:t>
            </a:r>
          </a:p>
          <a:p>
            <a:pPr marL="203200" indent="-203200">
              <a:spcBef>
                <a:spcPts val="600"/>
              </a:spcBef>
              <a:buSzPct val="100000"/>
              <a:buFont typeface="Arial"/>
              <a:buChar char="•"/>
            </a:pPr>
            <a:r>
              <a:rPr lang="en-US" dirty="0">
                <a:solidFill>
                  <a:srgbClr val="313131"/>
                </a:solidFill>
              </a:rPr>
              <a:t>In response, regulators around the world began tightening local privacy and data protection rules, making it difficult for companies to comply with the already complex regulations. Add in a low digital identity maturity, and poorly implemented systems, and it comes as no surprise that digital identity has become a source of major organizational frustration.</a:t>
            </a:r>
          </a:p>
          <a:p>
            <a:pPr marL="203200" indent="-203200">
              <a:spcBef>
                <a:spcPts val="600"/>
              </a:spcBef>
              <a:buSzPct val="100000"/>
              <a:buFont typeface="Arial"/>
              <a:buChar char="•"/>
            </a:pPr>
            <a:r>
              <a:rPr lang="en-US" dirty="0">
                <a:solidFill>
                  <a:srgbClr val="313131"/>
                </a:solidFill>
              </a:rPr>
              <a:t>Digital Identity by Deloitte was designed to resolve those issues. By bringing together experienced identity specialists, market-leading technology, and proven, agile processes, we’ve created a solution that allows clients to strengthen their security posture within a reasonable period of timeframe, while reducing implementation risk, improving cost efficiencies, and enhancing digital identity maturity.</a:t>
            </a:r>
          </a:p>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3695953649"/>
      </p:ext>
    </p:extLst>
  </p:cSld>
  <p:clrMapOvr>
    <a:masterClrMapping/>
  </p:clrMapOvr>
  <p:transition>
    <p:fade/>
  </p:transition>
  <p:extLst>
    <p:ext uri="{6950BFC3-D8DA-4A85-94F7-54DA5524770B}">
      <p188:commentRel xmlns:p188="http://schemas.microsoft.com/office/powerpoint/2018/8/main" r:id="rId4"/>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extLst>
              <p:ext uri="{D42A27DB-BD31-4B8C-83A1-F6EECF244321}">
                <p14:modId xmlns:p14="http://schemas.microsoft.com/office/powerpoint/2010/main" val="38813969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64" name="Title 1">
            <a:extLst>
              <a:ext uri="{FF2B5EF4-FFF2-40B4-BE49-F238E27FC236}">
                <a16:creationId xmlns:a16="http://schemas.microsoft.com/office/drawing/2014/main" id="{1F3B52A3-B03D-7D40-D424-16499B46190F}"/>
              </a:ext>
            </a:extLst>
          </p:cNvPr>
          <p:cNvSpPr>
            <a:spLocks noGrp="1"/>
          </p:cNvSpPr>
          <p:nvPr>
            <p:ph type="title"/>
          </p:nvPr>
        </p:nvSpPr>
        <p:spPr>
          <a:xfrm>
            <a:off x="896400" y="906411"/>
            <a:ext cx="10467780" cy="787400"/>
          </a:xfrm>
        </p:spPr>
        <p:txBody>
          <a:bodyPr vert="horz" anchor="t"/>
          <a:lstStyle/>
          <a:p>
            <a:r>
              <a:rPr lang="en-US" sz="1400" dirty="0">
                <a:solidFill>
                  <a:prstClr val="black"/>
                </a:solidFill>
                <a:latin typeface="Open Sans Light" panose="020B0306030504020204" pitchFamily="34" charset="0"/>
              </a:rPr>
              <a:t>Digital Identity by Deloitte integrates and operates the entire identity lifecycle under one umbrella.</a:t>
            </a:r>
          </a:p>
        </p:txBody>
      </p:sp>
      <p:sp>
        <p:nvSpPr>
          <p:cNvPr id="1065" name="Title 1">
            <a:extLst>
              <a:ext uri="{FF2B5EF4-FFF2-40B4-BE49-F238E27FC236}">
                <a16:creationId xmlns:a16="http://schemas.microsoft.com/office/drawing/2014/main" id="{8C32C409-17A7-7830-F3B0-7E3C50591B1E}"/>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Identity and Access Management</a:t>
            </a:r>
          </a:p>
        </p:txBody>
      </p:sp>
      <p:pic>
        <p:nvPicPr>
          <p:cNvPr id="14" name="Picture 13">
            <a:extLst>
              <a:ext uri="{FF2B5EF4-FFF2-40B4-BE49-F238E27FC236}">
                <a16:creationId xmlns:a16="http://schemas.microsoft.com/office/drawing/2014/main" id="{D6318025-5FDC-B29F-9AA0-AAF73B6CB48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38168" y="1379052"/>
            <a:ext cx="4984390" cy="4984390"/>
          </a:xfrm>
          <a:prstGeom prst="ellipse">
            <a:avLst/>
          </a:prstGeom>
        </p:spPr>
      </p:pic>
      <p:sp>
        <p:nvSpPr>
          <p:cNvPr id="15" name="TextBox 14">
            <a:extLst>
              <a:ext uri="{FF2B5EF4-FFF2-40B4-BE49-F238E27FC236}">
                <a16:creationId xmlns:a16="http://schemas.microsoft.com/office/drawing/2014/main" id="{279CB51D-7072-6936-B985-4DFC51C8C8F9}"/>
              </a:ext>
            </a:extLst>
          </p:cNvPr>
          <p:cNvSpPr txBox="1"/>
          <p:nvPr/>
        </p:nvSpPr>
        <p:spPr>
          <a:xfrm>
            <a:off x="6571397" y="1388821"/>
            <a:ext cx="5384042" cy="4984390"/>
          </a:xfrm>
          <a:prstGeom prst="rect">
            <a:avLst/>
          </a:prstGeom>
          <a:noFill/>
        </p:spPr>
        <p:txBody>
          <a:bodyPr wrap="square" lIns="0" tIns="0" rIns="0" bIns="0" rtlCol="0">
            <a:normAutofit fontScale="70000" lnSpcReduction="20000"/>
          </a:bodyPr>
          <a:lstStyle/>
          <a:p>
            <a:pPr marL="203200" indent="-203200">
              <a:spcBef>
                <a:spcPts val="600"/>
              </a:spcBef>
              <a:buSzPct val="100000"/>
              <a:buFont typeface="Arial"/>
              <a:buChar char="•"/>
            </a:pPr>
            <a:r>
              <a:rPr lang="en-US" b="1" dirty="0">
                <a:solidFill>
                  <a:srgbClr val="313131"/>
                </a:solidFill>
              </a:rPr>
              <a:t>Password Management </a:t>
            </a:r>
            <a:r>
              <a:rPr lang="en-US" dirty="0">
                <a:solidFill>
                  <a:srgbClr val="313131"/>
                </a:solidFill>
              </a:rPr>
              <a:t>- Managing the lifecycle of user passwords. This includes policy-based password rules, securely storing and transmitting passwords and offering users intuitive processes for recovering lost or forgotten passwords. </a:t>
            </a:r>
          </a:p>
          <a:p>
            <a:pPr marL="203200" indent="-203200">
              <a:spcBef>
                <a:spcPts val="600"/>
              </a:spcBef>
              <a:buSzPct val="100000"/>
              <a:buFont typeface="Arial"/>
              <a:buChar char="•"/>
            </a:pPr>
            <a:r>
              <a:rPr lang="en-US" b="1" dirty="0">
                <a:solidFill>
                  <a:srgbClr val="313131"/>
                </a:solidFill>
              </a:rPr>
              <a:t>Access Management </a:t>
            </a:r>
            <a:r>
              <a:rPr lang="en-US" dirty="0">
                <a:solidFill>
                  <a:srgbClr val="313131"/>
                </a:solidFill>
              </a:rPr>
              <a:t>- Securing access to applications, systems and services using authentication and authorization services. Applications may be web-based, desktop-based or mobile. Services may include APIs or web services that need securing. Often Access Management involves improving the user access experience through single sign on or federation to social/Government login services (e.g. Google, Facebook).</a:t>
            </a:r>
          </a:p>
          <a:p>
            <a:pPr marL="203200" indent="-203200">
              <a:spcBef>
                <a:spcPts val="600"/>
              </a:spcBef>
              <a:buSzPct val="100000"/>
              <a:buFont typeface="Arial"/>
              <a:buChar char="•"/>
            </a:pPr>
            <a:r>
              <a:rPr lang="en-US" b="1" dirty="0">
                <a:solidFill>
                  <a:srgbClr val="313131"/>
                </a:solidFill>
              </a:rPr>
              <a:t>Privileged Account Management </a:t>
            </a:r>
            <a:r>
              <a:rPr lang="en-US" dirty="0">
                <a:solidFill>
                  <a:srgbClr val="313131"/>
                </a:solidFill>
              </a:rPr>
              <a:t>- Managing access to privileged accounts. Privileged accounts include accounts such as “root” access on UNIX servers. These accounts are not associated with any human actor but are generic and often shared. These accounts often carry extreme levels of privilege and pose some of the greatest risks to organizations if misused. PAM solutions securely manage these accounts to manage this risk and provide an audit trail/nonrepudiation.</a:t>
            </a:r>
          </a:p>
          <a:p>
            <a:pPr marL="203200" indent="-203200">
              <a:spcBef>
                <a:spcPts val="600"/>
              </a:spcBef>
              <a:buSzPct val="100000"/>
              <a:buFont typeface="Arial"/>
              <a:buChar char="•"/>
            </a:pPr>
            <a:r>
              <a:rPr lang="en-US" b="1" dirty="0">
                <a:solidFill>
                  <a:srgbClr val="313131"/>
                </a:solidFill>
              </a:rPr>
              <a:t>Access Governance </a:t>
            </a:r>
            <a:r>
              <a:rPr lang="en-US" dirty="0">
                <a:solidFill>
                  <a:srgbClr val="313131"/>
                </a:solidFill>
              </a:rPr>
              <a:t>- Governance is focused on establishing the elements (i.e. alignment and coordination of disparate teams and activities) required to effectively achieve goals of the IAM program. </a:t>
            </a:r>
          </a:p>
          <a:p>
            <a:pPr marL="203200" indent="-203200">
              <a:spcBef>
                <a:spcPts val="600"/>
              </a:spcBef>
              <a:buSzPct val="100000"/>
              <a:buFont typeface="Arial"/>
              <a:buChar char="•"/>
            </a:pPr>
            <a:r>
              <a:rPr lang="en-US" b="1" dirty="0">
                <a:solidFill>
                  <a:srgbClr val="313131"/>
                </a:solidFill>
              </a:rPr>
              <a:t>Role Based Access Control </a:t>
            </a:r>
            <a:r>
              <a:rPr lang="en-US" dirty="0">
                <a:solidFill>
                  <a:srgbClr val="313131"/>
                </a:solidFill>
              </a:rPr>
              <a:t>- Providing user access based on roles. Roles and their associated access is defined and managed, allowing access to be granted to users automatically based on defined rules. This helps to achieve consistency and standardization for user access.</a:t>
            </a:r>
          </a:p>
          <a:p>
            <a:pPr marL="203200" indent="-203200">
              <a:spcBef>
                <a:spcPts val="600"/>
              </a:spcBef>
              <a:buSzPct val="100000"/>
              <a:buFont typeface="Arial"/>
              <a:buChar char="•"/>
            </a:pPr>
            <a:r>
              <a:rPr lang="en-US" b="1" dirty="0">
                <a:solidFill>
                  <a:srgbClr val="313131"/>
                </a:solidFill>
              </a:rPr>
              <a:t>Identity Administration </a:t>
            </a:r>
            <a:r>
              <a:rPr lang="en-US" dirty="0">
                <a:solidFill>
                  <a:srgbClr val="313131"/>
                </a:solidFill>
              </a:rPr>
              <a:t>- Managing the user lifecycle, including roles, privileges and other related areas. Includes synchronizing identity information from trusted sources and creating and managing user accounts in applications and systems. </a:t>
            </a:r>
          </a:p>
        </p:txBody>
      </p:sp>
    </p:spTree>
    <p:extLst>
      <p:ext uri="{BB962C8B-B14F-4D97-AF65-F5344CB8AC3E}">
        <p14:creationId xmlns:p14="http://schemas.microsoft.com/office/powerpoint/2010/main" val="39339319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27830917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a:ea typeface="+mn-ea"/>
                <a:cs typeface="+mn-cs"/>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IAM Credential Tombstones</a:t>
            </a:r>
          </a:p>
        </p:txBody>
      </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61AC10FD-8464-1517-C4D7-8750B667C79C}"/>
              </a:ext>
            </a:extLst>
          </p:cNvPr>
          <p:cNvGrpSpPr/>
          <p:nvPr/>
        </p:nvGrpSpPr>
        <p:grpSpPr>
          <a:xfrm>
            <a:off x="936407" y="1806235"/>
            <a:ext cx="3533128" cy="1944832"/>
            <a:chOff x="936407" y="1806235"/>
            <a:chExt cx="3533128" cy="1944832"/>
          </a:xfrm>
        </p:grpSpPr>
        <p:sp>
          <p:nvSpPr>
            <p:cNvPr id="20" name="Rectangle 19">
              <a:extLst>
                <a:ext uri="{FF2B5EF4-FFF2-40B4-BE49-F238E27FC236}">
                  <a16:creationId xmlns:a16="http://schemas.microsoft.com/office/drawing/2014/main" id="{2CC0A158-507D-267E-DD0F-2359B3CCD69A}"/>
                </a:ext>
              </a:extLst>
            </p:cNvPr>
            <p:cNvSpPr/>
            <p:nvPr/>
          </p:nvSpPr>
          <p:spPr bwMode="gray">
            <a:xfrm>
              <a:off x="941558" y="1991764"/>
              <a:ext cx="3078181" cy="1552857"/>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cxnSp>
          <p:nvCxnSpPr>
            <p:cNvPr id="123" name="Straight Connector 122">
              <a:extLst>
                <a:ext uri="{FF2B5EF4-FFF2-40B4-BE49-F238E27FC236}">
                  <a16:creationId xmlns:a16="http://schemas.microsoft.com/office/drawing/2014/main" id="{F3A90063-C707-9E5C-B30C-EF6E8A19A903}"/>
                </a:ext>
              </a:extLst>
            </p:cNvPr>
            <p:cNvCxnSpPr>
              <a:cxnSpLocks/>
            </p:cNvCxnSpPr>
            <p:nvPr/>
          </p:nvCxnSpPr>
          <p:spPr>
            <a:xfrm>
              <a:off x="936407"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3282888-74DB-BEEA-8796-97E3A9B3F7BD}"/>
                </a:ext>
              </a:extLst>
            </p:cNvPr>
            <p:cNvSpPr txBox="1"/>
            <p:nvPr/>
          </p:nvSpPr>
          <p:spPr>
            <a:xfrm>
              <a:off x="944741" y="1806235"/>
              <a:ext cx="2964100" cy="246222"/>
            </a:xfrm>
            <a:prstGeom prst="rect">
              <a:avLst/>
            </a:prstGeom>
            <a:noFill/>
          </p:spPr>
          <p:txBody>
            <a:bodyPr wrap="square" lIns="0" tIns="0" rIns="0" bIns="0" rtlCol="0" anchor="t">
              <a:noAutofit/>
            </a:bodyPr>
            <a:lstStyle/>
            <a:p>
              <a:r>
                <a:rPr lang="en-US" sz="900" b="1" dirty="0">
                  <a:solidFill>
                    <a:srgbClr val="00B0F2"/>
                  </a:solidFill>
                </a:rPr>
                <a:t>IMPLEMENTATION OF ONE IDENTITY MANAGER</a:t>
              </a:r>
            </a:p>
          </p:txBody>
        </p:sp>
        <p:sp>
          <p:nvSpPr>
            <p:cNvPr id="23" name="TextBox 22">
              <a:extLst>
                <a:ext uri="{FF2B5EF4-FFF2-40B4-BE49-F238E27FC236}">
                  <a16:creationId xmlns:a16="http://schemas.microsoft.com/office/drawing/2014/main" id="{F397ADD9-787F-C7DB-9AD3-5E29BF05A29B}"/>
                </a:ext>
              </a:extLst>
            </p:cNvPr>
            <p:cNvSpPr txBox="1"/>
            <p:nvPr/>
          </p:nvSpPr>
          <p:spPr>
            <a:xfrm>
              <a:off x="1090348" y="2300472"/>
              <a:ext cx="2598774" cy="382825"/>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a:t>
              </a:r>
              <a:r>
                <a:rPr lang="en-US" sz="900" dirty="0">
                  <a:ea typeface="Open Sans Light" panose="020B0306030504020204" pitchFamily="34" charset="0"/>
                  <a:cs typeface="Open Sans Light" panose="020B0306030504020204" pitchFamily="34" charset="0"/>
                </a:rPr>
                <a:t>One of the largest</a:t>
              </a:r>
              <a:r>
                <a:rPr lang="en-US" sz="900" b="1" dirty="0">
                  <a:ea typeface="Open Sans Light" panose="020B0306030504020204" pitchFamily="34" charset="0"/>
                  <a:cs typeface="Open Sans Light" panose="020B0306030504020204" pitchFamily="34" charset="0"/>
                </a:rPr>
                <a:t> </a:t>
              </a:r>
              <a:r>
                <a:rPr lang="en-US" sz="900" dirty="0">
                  <a:ea typeface="Open Sans Light" panose="020B0306030504020204" pitchFamily="34" charset="0"/>
                  <a:cs typeface="Open Sans Light" panose="020B0306030504020204" pitchFamily="34" charset="0"/>
                </a:rPr>
                <a:t>banks on the Hungarian market</a:t>
              </a:r>
            </a:p>
          </p:txBody>
        </p:sp>
        <p:sp>
          <p:nvSpPr>
            <p:cNvPr id="44" name="Flowchart: Connector 43">
              <a:extLst>
                <a:ext uri="{FF2B5EF4-FFF2-40B4-BE49-F238E27FC236}">
                  <a16:creationId xmlns:a16="http://schemas.microsoft.com/office/drawing/2014/main" id="{A08E6A24-E3E1-2E18-5302-29E195DBCB15}"/>
                </a:ext>
              </a:extLst>
            </p:cNvPr>
            <p:cNvSpPr/>
            <p:nvPr/>
          </p:nvSpPr>
          <p:spPr bwMode="gray">
            <a:xfrm>
              <a:off x="3625393" y="1927730"/>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47" name="Group 531">
              <a:extLst>
                <a:ext uri="{FF2B5EF4-FFF2-40B4-BE49-F238E27FC236}">
                  <a16:creationId xmlns:a16="http://schemas.microsoft.com/office/drawing/2014/main" id="{A3EDCFE8-7889-17DF-6591-6A851EF283FC}"/>
                </a:ext>
              </a:extLst>
            </p:cNvPr>
            <p:cNvGrpSpPr>
              <a:grpSpLocks noChangeAspect="1"/>
            </p:cNvGrpSpPr>
            <p:nvPr/>
          </p:nvGrpSpPr>
          <p:grpSpPr bwMode="auto">
            <a:xfrm>
              <a:off x="3607934" y="1876402"/>
              <a:ext cx="489164" cy="489164"/>
              <a:chOff x="3061" y="1953"/>
              <a:chExt cx="340" cy="340"/>
            </a:xfrm>
            <a:solidFill>
              <a:srgbClr val="9DD4CF"/>
            </a:solidFill>
          </p:grpSpPr>
          <p:sp>
            <p:nvSpPr>
              <p:cNvPr id="48"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68CAB38A-8D40-D640-8DBC-A743DCC161D4}"/>
                </a:ext>
              </a:extLst>
            </p:cNvPr>
            <p:cNvGrpSpPr/>
            <p:nvPr/>
          </p:nvGrpSpPr>
          <p:grpSpPr>
            <a:xfrm>
              <a:off x="1918818" y="3437957"/>
              <a:ext cx="2550717" cy="313110"/>
              <a:chOff x="1759788" y="3519440"/>
              <a:chExt cx="2741556" cy="313110"/>
            </a:xfrm>
          </p:grpSpPr>
          <p:sp>
            <p:nvSpPr>
              <p:cNvPr id="18" name="Rectangle: Rounded Corners 17">
                <a:extLst>
                  <a:ext uri="{FF2B5EF4-FFF2-40B4-BE49-F238E27FC236}">
                    <a16:creationId xmlns:a16="http://schemas.microsoft.com/office/drawing/2014/main" id="{5FBED754-A311-3D18-C57B-0CD5A35A1707}"/>
                  </a:ext>
                </a:extLst>
              </p:cNvPr>
              <p:cNvSpPr/>
              <p:nvPr/>
            </p:nvSpPr>
            <p:spPr bwMode="gray">
              <a:xfrm>
                <a:off x="1759788" y="3519440"/>
                <a:ext cx="1995378"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 name="TextBox 18">
                <a:extLst>
                  <a:ext uri="{FF2B5EF4-FFF2-40B4-BE49-F238E27FC236}">
                    <a16:creationId xmlns:a16="http://schemas.microsoft.com/office/drawing/2014/main" id="{CB5E46A5-34D1-0CFA-C99E-7F55BA48EDCE}"/>
                  </a:ext>
                </a:extLst>
              </p:cNvPr>
              <p:cNvSpPr txBox="1"/>
              <p:nvPr/>
            </p:nvSpPr>
            <p:spPr>
              <a:xfrm>
                <a:off x="1811955" y="3586328"/>
                <a:ext cx="2689389"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PLANNING AND IMPLEMENTATION</a:t>
                </a:r>
                <a:endParaRPr lang="en-US" sz="800" b="1" dirty="0">
                  <a:latin typeface="+mj-lt"/>
                  <a:ea typeface="Open Sans Light" panose="020B0306030504020204" pitchFamily="34" charset="0"/>
                  <a:cs typeface="Open Sans Light" panose="020B0306030504020204" pitchFamily="34" charset="0"/>
                </a:endParaRPr>
              </a:p>
            </p:txBody>
          </p:sp>
        </p:grpSp>
        <p:sp>
          <p:nvSpPr>
            <p:cNvPr id="129" name="TextBox 128">
              <a:extLst>
                <a:ext uri="{FF2B5EF4-FFF2-40B4-BE49-F238E27FC236}">
                  <a16:creationId xmlns:a16="http://schemas.microsoft.com/office/drawing/2014/main" id="{7D51D67F-A064-D48F-02D5-A2115A22C22D}"/>
                </a:ext>
              </a:extLst>
            </p:cNvPr>
            <p:cNvSpPr txBox="1"/>
            <p:nvPr/>
          </p:nvSpPr>
          <p:spPr>
            <a:xfrm>
              <a:off x="1090348" y="2712338"/>
              <a:ext cx="2846482" cy="588764"/>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 </a:t>
              </a:r>
              <a:r>
                <a:rPr lang="en-US" sz="900" dirty="0">
                  <a:ea typeface="Open Sans Light" panose="020B0306030504020204" pitchFamily="34" charset="0"/>
                  <a:cs typeface="Open Sans Light" panose="020B0306030504020204" pitchFamily="34" charset="0"/>
                </a:rPr>
                <a:t>Define and implement basic lifecycle processes (joiner, mover, leaver)</a:t>
              </a:r>
            </a:p>
            <a:p>
              <a:pPr>
                <a:spcAft>
                  <a:spcPts val="300"/>
                </a:spcAft>
              </a:pPr>
              <a:r>
                <a:rPr lang="en-US" sz="900" dirty="0">
                  <a:ea typeface="Open Sans Light" panose="020B0306030504020204" pitchFamily="34" charset="0"/>
                  <a:cs typeface="Open Sans Light" panose="020B0306030504020204" pitchFamily="34" charset="0"/>
                </a:rPr>
                <a:t>Implement HR and Active Directory integration</a:t>
              </a:r>
            </a:p>
          </p:txBody>
        </p:sp>
      </p:gr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Identity and Access Management</a:t>
            </a:r>
          </a:p>
        </p:txBody>
      </p:sp>
      <p:grpSp>
        <p:nvGrpSpPr>
          <p:cNvPr id="11" name="Group 10">
            <a:extLst>
              <a:ext uri="{FF2B5EF4-FFF2-40B4-BE49-F238E27FC236}">
                <a16:creationId xmlns:a16="http://schemas.microsoft.com/office/drawing/2014/main" id="{CBEA486E-47B8-9BC2-194D-1640DAEFB87B}"/>
              </a:ext>
            </a:extLst>
          </p:cNvPr>
          <p:cNvGrpSpPr/>
          <p:nvPr/>
        </p:nvGrpSpPr>
        <p:grpSpPr>
          <a:xfrm>
            <a:off x="5060305" y="1806235"/>
            <a:ext cx="3533128" cy="1944832"/>
            <a:chOff x="936407" y="1806235"/>
            <a:chExt cx="3533128" cy="1944832"/>
          </a:xfrm>
        </p:grpSpPr>
        <p:sp>
          <p:nvSpPr>
            <p:cNvPr id="13" name="Rectangle 12">
              <a:extLst>
                <a:ext uri="{FF2B5EF4-FFF2-40B4-BE49-F238E27FC236}">
                  <a16:creationId xmlns:a16="http://schemas.microsoft.com/office/drawing/2014/main" id="{3D4951A2-F3A1-0774-F297-D041757ED4AC}"/>
                </a:ext>
              </a:extLst>
            </p:cNvPr>
            <p:cNvSpPr/>
            <p:nvPr/>
          </p:nvSpPr>
          <p:spPr bwMode="gray">
            <a:xfrm>
              <a:off x="941558" y="1991764"/>
              <a:ext cx="3078181" cy="1552857"/>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cxnSp>
          <p:nvCxnSpPr>
            <p:cNvPr id="14" name="Straight Connector 13">
              <a:extLst>
                <a:ext uri="{FF2B5EF4-FFF2-40B4-BE49-F238E27FC236}">
                  <a16:creationId xmlns:a16="http://schemas.microsoft.com/office/drawing/2014/main" id="{72AED26D-2CEE-F6FF-C97F-E8ACFFADA867}"/>
                </a:ext>
              </a:extLst>
            </p:cNvPr>
            <p:cNvCxnSpPr>
              <a:cxnSpLocks/>
            </p:cNvCxnSpPr>
            <p:nvPr/>
          </p:nvCxnSpPr>
          <p:spPr>
            <a:xfrm>
              <a:off x="936407"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44517F75-9DBC-5302-1218-7D3FCDFB5098}"/>
                </a:ext>
              </a:extLst>
            </p:cNvPr>
            <p:cNvSpPr txBox="1"/>
            <p:nvPr/>
          </p:nvSpPr>
          <p:spPr>
            <a:xfrm>
              <a:off x="944741" y="1806235"/>
              <a:ext cx="2964100" cy="246222"/>
            </a:xfrm>
            <a:prstGeom prst="rect">
              <a:avLst/>
            </a:prstGeom>
            <a:noFill/>
          </p:spPr>
          <p:txBody>
            <a:bodyPr wrap="square" lIns="0" tIns="0" rIns="0" bIns="0" rtlCol="0" anchor="t">
              <a:noAutofit/>
            </a:bodyPr>
            <a:lstStyle/>
            <a:p>
              <a:r>
                <a:rPr lang="en-US" sz="900" b="1" dirty="0">
                  <a:solidFill>
                    <a:srgbClr val="00B0F2"/>
                  </a:solidFill>
                </a:rPr>
                <a:t>IMPLEMENTATION OF ONE IDENTITY MANAGER</a:t>
              </a:r>
            </a:p>
          </p:txBody>
        </p:sp>
        <p:sp>
          <p:nvSpPr>
            <p:cNvPr id="40" name="TextBox 39">
              <a:extLst>
                <a:ext uri="{FF2B5EF4-FFF2-40B4-BE49-F238E27FC236}">
                  <a16:creationId xmlns:a16="http://schemas.microsoft.com/office/drawing/2014/main" id="{99D8BFFB-2AE6-2BF3-5E22-21CE0B8B15B4}"/>
                </a:ext>
              </a:extLst>
            </p:cNvPr>
            <p:cNvSpPr txBox="1"/>
            <p:nvPr/>
          </p:nvSpPr>
          <p:spPr>
            <a:xfrm>
              <a:off x="1090348" y="2300472"/>
              <a:ext cx="2598774" cy="382825"/>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a:t>
              </a:r>
              <a:r>
                <a:rPr lang="en-US" sz="900" dirty="0">
                  <a:ea typeface="Open Sans Light" panose="020B0306030504020204" pitchFamily="34" charset="0"/>
                  <a:cs typeface="Open Sans Light" panose="020B0306030504020204" pitchFamily="34" charset="0"/>
                </a:rPr>
                <a:t>One of the major</a:t>
              </a:r>
              <a:r>
                <a:rPr lang="en-US" sz="900" b="1" dirty="0">
                  <a:ea typeface="Open Sans Light" panose="020B0306030504020204" pitchFamily="34" charset="0"/>
                  <a:cs typeface="Open Sans Light" panose="020B0306030504020204" pitchFamily="34" charset="0"/>
                </a:rPr>
                <a:t> </a:t>
              </a:r>
              <a:r>
                <a:rPr lang="en-US" sz="900" dirty="0">
                  <a:ea typeface="Open Sans Light" panose="020B0306030504020204" pitchFamily="34" charset="0"/>
                  <a:cs typeface="Open Sans Light" panose="020B0306030504020204" pitchFamily="34" charset="0"/>
                </a:rPr>
                <a:t>banks on the Hungarian market</a:t>
              </a:r>
            </a:p>
          </p:txBody>
        </p:sp>
        <p:sp>
          <p:nvSpPr>
            <p:cNvPr id="122" name="Flowchart: Connector 121">
              <a:extLst>
                <a:ext uri="{FF2B5EF4-FFF2-40B4-BE49-F238E27FC236}">
                  <a16:creationId xmlns:a16="http://schemas.microsoft.com/office/drawing/2014/main" id="{2A37B24B-5585-CBEF-7F50-37F5D8BFC70A}"/>
                </a:ext>
              </a:extLst>
            </p:cNvPr>
            <p:cNvSpPr/>
            <p:nvPr/>
          </p:nvSpPr>
          <p:spPr bwMode="gray">
            <a:xfrm>
              <a:off x="3625393" y="1927730"/>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24" name="Group 531">
              <a:extLst>
                <a:ext uri="{FF2B5EF4-FFF2-40B4-BE49-F238E27FC236}">
                  <a16:creationId xmlns:a16="http://schemas.microsoft.com/office/drawing/2014/main" id="{2C528917-11EF-B55F-F47F-6A4E9C47ACF9}"/>
                </a:ext>
              </a:extLst>
            </p:cNvPr>
            <p:cNvGrpSpPr>
              <a:grpSpLocks noChangeAspect="1"/>
            </p:cNvGrpSpPr>
            <p:nvPr/>
          </p:nvGrpSpPr>
          <p:grpSpPr bwMode="auto">
            <a:xfrm>
              <a:off x="3607934" y="1876402"/>
              <a:ext cx="489164" cy="489164"/>
              <a:chOff x="3061" y="1953"/>
              <a:chExt cx="340" cy="340"/>
            </a:xfrm>
            <a:solidFill>
              <a:srgbClr val="9DD4CF"/>
            </a:solidFill>
          </p:grpSpPr>
          <p:sp>
            <p:nvSpPr>
              <p:cNvPr id="144" name="Freeform 532">
                <a:extLst>
                  <a:ext uri="{FF2B5EF4-FFF2-40B4-BE49-F238E27FC236}">
                    <a16:creationId xmlns:a16="http://schemas.microsoft.com/office/drawing/2014/main" id="{8C5DBA90-1BD3-AB18-DAC1-8B3978B15EC1}"/>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533">
                <a:extLst>
                  <a:ext uri="{FF2B5EF4-FFF2-40B4-BE49-F238E27FC236}">
                    <a16:creationId xmlns:a16="http://schemas.microsoft.com/office/drawing/2014/main" id="{30CCD20E-3894-F956-366F-2C7C59F84119}"/>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5" name="Group 124">
              <a:extLst>
                <a:ext uri="{FF2B5EF4-FFF2-40B4-BE49-F238E27FC236}">
                  <a16:creationId xmlns:a16="http://schemas.microsoft.com/office/drawing/2014/main" id="{DEB6E5BE-2E66-53F3-8A61-47DE36BDC3A0}"/>
                </a:ext>
              </a:extLst>
            </p:cNvPr>
            <p:cNvGrpSpPr/>
            <p:nvPr/>
          </p:nvGrpSpPr>
          <p:grpSpPr>
            <a:xfrm>
              <a:off x="1918818" y="3437957"/>
              <a:ext cx="2550717" cy="313110"/>
              <a:chOff x="1759788" y="3519440"/>
              <a:chExt cx="2741556" cy="313110"/>
            </a:xfrm>
          </p:grpSpPr>
          <p:sp>
            <p:nvSpPr>
              <p:cNvPr id="142" name="Rectangle: Rounded Corners 141">
                <a:extLst>
                  <a:ext uri="{FF2B5EF4-FFF2-40B4-BE49-F238E27FC236}">
                    <a16:creationId xmlns:a16="http://schemas.microsoft.com/office/drawing/2014/main" id="{264D532F-50FC-2ED2-E60C-1B9FB083F46B}"/>
                  </a:ext>
                </a:extLst>
              </p:cNvPr>
              <p:cNvSpPr/>
              <p:nvPr/>
            </p:nvSpPr>
            <p:spPr bwMode="gray">
              <a:xfrm>
                <a:off x="1759788" y="3519440"/>
                <a:ext cx="1995378"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3" name="TextBox 142">
                <a:extLst>
                  <a:ext uri="{FF2B5EF4-FFF2-40B4-BE49-F238E27FC236}">
                    <a16:creationId xmlns:a16="http://schemas.microsoft.com/office/drawing/2014/main" id="{22487C58-1987-0BDC-2AD4-5C9096654DBA}"/>
                  </a:ext>
                </a:extLst>
              </p:cNvPr>
              <p:cNvSpPr txBox="1"/>
              <p:nvPr/>
            </p:nvSpPr>
            <p:spPr>
              <a:xfrm>
                <a:off x="1811955" y="3586328"/>
                <a:ext cx="2689389"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PLANNING AND IMPLEMENTATION</a:t>
                </a:r>
                <a:endParaRPr lang="en-US" sz="800" b="1" dirty="0">
                  <a:latin typeface="+mj-lt"/>
                  <a:ea typeface="Open Sans Light" panose="020B0306030504020204" pitchFamily="34" charset="0"/>
                  <a:cs typeface="Open Sans Light" panose="020B0306030504020204" pitchFamily="34" charset="0"/>
                </a:endParaRPr>
              </a:p>
            </p:txBody>
          </p:sp>
        </p:grpSp>
        <p:sp>
          <p:nvSpPr>
            <p:cNvPr id="126" name="TextBox 125">
              <a:extLst>
                <a:ext uri="{FF2B5EF4-FFF2-40B4-BE49-F238E27FC236}">
                  <a16:creationId xmlns:a16="http://schemas.microsoft.com/office/drawing/2014/main" id="{86C48F92-5733-396D-8147-FF49660963C0}"/>
                </a:ext>
              </a:extLst>
            </p:cNvPr>
            <p:cNvSpPr txBox="1"/>
            <p:nvPr/>
          </p:nvSpPr>
          <p:spPr>
            <a:xfrm>
              <a:off x="1090348" y="2712338"/>
              <a:ext cx="2846482" cy="588764"/>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 </a:t>
              </a:r>
              <a:r>
                <a:rPr lang="en-US" sz="900" dirty="0">
                  <a:ea typeface="Open Sans Light" panose="020B0306030504020204" pitchFamily="34" charset="0"/>
                  <a:cs typeface="Open Sans Light" panose="020B0306030504020204" pitchFamily="34" charset="0"/>
                </a:rPr>
                <a:t>Replace existing legacy IAM system with One Identity Manager</a:t>
              </a:r>
            </a:p>
            <a:p>
              <a:pPr>
                <a:spcAft>
                  <a:spcPts val="300"/>
                </a:spcAft>
              </a:pPr>
              <a:r>
                <a:rPr lang="en-US" sz="900" dirty="0">
                  <a:ea typeface="Open Sans Light" panose="020B0306030504020204" pitchFamily="34" charset="0"/>
                  <a:cs typeface="Open Sans Light" panose="020B0306030504020204" pitchFamily="34" charset="0"/>
                </a:rPr>
                <a:t>Implement lifecycle processes (joiner, mover, leaver)</a:t>
              </a:r>
            </a:p>
            <a:p>
              <a:pPr>
                <a:spcAft>
                  <a:spcPts val="300"/>
                </a:spcAft>
              </a:pPr>
              <a:r>
                <a:rPr lang="en-US" sz="900" dirty="0">
                  <a:ea typeface="Open Sans Light" panose="020B0306030504020204" pitchFamily="34" charset="0"/>
                  <a:cs typeface="Open Sans Light" panose="020B0306030504020204" pitchFamily="34" charset="0"/>
                </a:rPr>
                <a:t>Implement HR and Active Directory integration</a:t>
              </a:r>
            </a:p>
          </p:txBody>
        </p:sp>
      </p:grpSp>
      <p:grpSp>
        <p:nvGrpSpPr>
          <p:cNvPr id="146" name="Group 145">
            <a:extLst>
              <a:ext uri="{FF2B5EF4-FFF2-40B4-BE49-F238E27FC236}">
                <a16:creationId xmlns:a16="http://schemas.microsoft.com/office/drawing/2014/main" id="{3FE7C8E6-893C-61B4-4E40-8A2FF3629A85}"/>
              </a:ext>
            </a:extLst>
          </p:cNvPr>
          <p:cNvGrpSpPr/>
          <p:nvPr/>
        </p:nvGrpSpPr>
        <p:grpSpPr>
          <a:xfrm>
            <a:off x="936407" y="4144730"/>
            <a:ext cx="3533128" cy="1944832"/>
            <a:chOff x="936407" y="1806235"/>
            <a:chExt cx="3533128" cy="1944832"/>
          </a:xfrm>
        </p:grpSpPr>
        <p:sp>
          <p:nvSpPr>
            <p:cNvPr id="147" name="Rectangle 146">
              <a:extLst>
                <a:ext uri="{FF2B5EF4-FFF2-40B4-BE49-F238E27FC236}">
                  <a16:creationId xmlns:a16="http://schemas.microsoft.com/office/drawing/2014/main" id="{238C9FF7-97F2-9FDA-AB5B-A8521FEE0447}"/>
                </a:ext>
              </a:extLst>
            </p:cNvPr>
            <p:cNvSpPr/>
            <p:nvPr/>
          </p:nvSpPr>
          <p:spPr bwMode="gray">
            <a:xfrm>
              <a:off x="941558" y="1991764"/>
              <a:ext cx="3078181" cy="1552857"/>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cxnSp>
          <p:nvCxnSpPr>
            <p:cNvPr id="148" name="Straight Connector 147">
              <a:extLst>
                <a:ext uri="{FF2B5EF4-FFF2-40B4-BE49-F238E27FC236}">
                  <a16:creationId xmlns:a16="http://schemas.microsoft.com/office/drawing/2014/main" id="{FDC4DCFE-B76F-D194-D2C0-E5F71FF8A3D2}"/>
                </a:ext>
              </a:extLst>
            </p:cNvPr>
            <p:cNvCxnSpPr>
              <a:cxnSpLocks/>
            </p:cNvCxnSpPr>
            <p:nvPr/>
          </p:nvCxnSpPr>
          <p:spPr>
            <a:xfrm>
              <a:off x="936407"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57806B10-EB67-0DC6-94E3-DAC9EA66A822}"/>
                </a:ext>
              </a:extLst>
            </p:cNvPr>
            <p:cNvSpPr txBox="1"/>
            <p:nvPr/>
          </p:nvSpPr>
          <p:spPr>
            <a:xfrm>
              <a:off x="944741" y="1806235"/>
              <a:ext cx="2964100" cy="246222"/>
            </a:xfrm>
            <a:prstGeom prst="rect">
              <a:avLst/>
            </a:prstGeom>
            <a:noFill/>
          </p:spPr>
          <p:txBody>
            <a:bodyPr wrap="square" lIns="0" tIns="0" rIns="0" bIns="0" rtlCol="0" anchor="t">
              <a:noAutofit/>
            </a:bodyPr>
            <a:lstStyle/>
            <a:p>
              <a:r>
                <a:rPr lang="en-US" sz="900" b="1" dirty="0">
                  <a:solidFill>
                    <a:srgbClr val="00B0F2"/>
                  </a:solidFill>
                </a:rPr>
                <a:t>IMPLEMENTATION OF SAILPOINT IIQ</a:t>
              </a:r>
            </a:p>
          </p:txBody>
        </p:sp>
        <p:sp>
          <p:nvSpPr>
            <p:cNvPr id="150" name="TextBox 149">
              <a:extLst>
                <a:ext uri="{FF2B5EF4-FFF2-40B4-BE49-F238E27FC236}">
                  <a16:creationId xmlns:a16="http://schemas.microsoft.com/office/drawing/2014/main" id="{6635BA1F-DC7D-5FAC-2357-60F25F824546}"/>
                </a:ext>
              </a:extLst>
            </p:cNvPr>
            <p:cNvSpPr txBox="1"/>
            <p:nvPr/>
          </p:nvSpPr>
          <p:spPr>
            <a:xfrm>
              <a:off x="1090348" y="2300472"/>
              <a:ext cx="2598774" cy="382825"/>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a:t>
              </a:r>
              <a:r>
                <a:rPr lang="en-US" sz="900" dirty="0">
                  <a:ea typeface="Open Sans Light" panose="020B0306030504020204" pitchFamily="34" charset="0"/>
                  <a:cs typeface="Open Sans Light" panose="020B0306030504020204" pitchFamily="34" charset="0"/>
                </a:rPr>
                <a:t>A Hungarian bank with more than 3000 employees</a:t>
              </a:r>
            </a:p>
          </p:txBody>
        </p:sp>
        <p:sp>
          <p:nvSpPr>
            <p:cNvPr id="151" name="Flowchart: Connector 150">
              <a:extLst>
                <a:ext uri="{FF2B5EF4-FFF2-40B4-BE49-F238E27FC236}">
                  <a16:creationId xmlns:a16="http://schemas.microsoft.com/office/drawing/2014/main" id="{EF126CED-E115-8A98-DF83-0D4DF8B1552D}"/>
                </a:ext>
              </a:extLst>
            </p:cNvPr>
            <p:cNvSpPr/>
            <p:nvPr/>
          </p:nvSpPr>
          <p:spPr bwMode="gray">
            <a:xfrm>
              <a:off x="3625393" y="1927730"/>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52" name="Group 531">
              <a:extLst>
                <a:ext uri="{FF2B5EF4-FFF2-40B4-BE49-F238E27FC236}">
                  <a16:creationId xmlns:a16="http://schemas.microsoft.com/office/drawing/2014/main" id="{F88A76D3-49E6-2DB6-1E56-70DBA9B290F4}"/>
                </a:ext>
              </a:extLst>
            </p:cNvPr>
            <p:cNvGrpSpPr>
              <a:grpSpLocks noChangeAspect="1"/>
            </p:cNvGrpSpPr>
            <p:nvPr/>
          </p:nvGrpSpPr>
          <p:grpSpPr bwMode="auto">
            <a:xfrm>
              <a:off x="3607934" y="1876402"/>
              <a:ext cx="489164" cy="489164"/>
              <a:chOff x="3061" y="1953"/>
              <a:chExt cx="340" cy="340"/>
            </a:xfrm>
            <a:solidFill>
              <a:srgbClr val="9DD4CF"/>
            </a:solidFill>
          </p:grpSpPr>
          <p:sp>
            <p:nvSpPr>
              <p:cNvPr id="157" name="Freeform 532">
                <a:extLst>
                  <a:ext uri="{FF2B5EF4-FFF2-40B4-BE49-F238E27FC236}">
                    <a16:creationId xmlns:a16="http://schemas.microsoft.com/office/drawing/2014/main" id="{1BBAEE88-CDAA-E28B-4A0C-6E6398782908}"/>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533">
                <a:extLst>
                  <a:ext uri="{FF2B5EF4-FFF2-40B4-BE49-F238E27FC236}">
                    <a16:creationId xmlns:a16="http://schemas.microsoft.com/office/drawing/2014/main" id="{B7D76864-8BE9-6CF5-83D1-22C448A180F9}"/>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3" name="Group 152">
              <a:extLst>
                <a:ext uri="{FF2B5EF4-FFF2-40B4-BE49-F238E27FC236}">
                  <a16:creationId xmlns:a16="http://schemas.microsoft.com/office/drawing/2014/main" id="{1C3AA458-667F-675E-6BB1-9C392410522E}"/>
                </a:ext>
              </a:extLst>
            </p:cNvPr>
            <p:cNvGrpSpPr/>
            <p:nvPr/>
          </p:nvGrpSpPr>
          <p:grpSpPr>
            <a:xfrm>
              <a:off x="1918818" y="3437957"/>
              <a:ext cx="2550717" cy="313110"/>
              <a:chOff x="1759788" y="3519440"/>
              <a:chExt cx="2741556" cy="313110"/>
            </a:xfrm>
          </p:grpSpPr>
          <p:sp>
            <p:nvSpPr>
              <p:cNvPr id="155" name="Rectangle: Rounded Corners 154">
                <a:extLst>
                  <a:ext uri="{FF2B5EF4-FFF2-40B4-BE49-F238E27FC236}">
                    <a16:creationId xmlns:a16="http://schemas.microsoft.com/office/drawing/2014/main" id="{65FA1F38-F5DE-ABD7-5471-34DF55FE45FC}"/>
                  </a:ext>
                </a:extLst>
              </p:cNvPr>
              <p:cNvSpPr/>
              <p:nvPr/>
            </p:nvSpPr>
            <p:spPr bwMode="gray">
              <a:xfrm>
                <a:off x="1759788" y="3519440"/>
                <a:ext cx="1995378"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56" name="TextBox 155">
                <a:extLst>
                  <a:ext uri="{FF2B5EF4-FFF2-40B4-BE49-F238E27FC236}">
                    <a16:creationId xmlns:a16="http://schemas.microsoft.com/office/drawing/2014/main" id="{CD652D28-8457-D083-FBA0-CD27253CC4C6}"/>
                  </a:ext>
                </a:extLst>
              </p:cNvPr>
              <p:cNvSpPr txBox="1"/>
              <p:nvPr/>
            </p:nvSpPr>
            <p:spPr>
              <a:xfrm>
                <a:off x="1811955" y="3586328"/>
                <a:ext cx="2689389"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PLANNING AND IMPLEMENTATION</a:t>
                </a:r>
                <a:endParaRPr lang="en-US" sz="800" b="1" dirty="0">
                  <a:latin typeface="+mj-lt"/>
                  <a:ea typeface="Open Sans Light" panose="020B0306030504020204" pitchFamily="34" charset="0"/>
                  <a:cs typeface="Open Sans Light" panose="020B0306030504020204" pitchFamily="34" charset="0"/>
                </a:endParaRPr>
              </a:p>
            </p:txBody>
          </p:sp>
        </p:grpSp>
        <p:sp>
          <p:nvSpPr>
            <p:cNvPr id="154" name="TextBox 153">
              <a:extLst>
                <a:ext uri="{FF2B5EF4-FFF2-40B4-BE49-F238E27FC236}">
                  <a16:creationId xmlns:a16="http://schemas.microsoft.com/office/drawing/2014/main" id="{5F7E1803-F480-DA16-3329-92568CABD9A9}"/>
                </a:ext>
              </a:extLst>
            </p:cNvPr>
            <p:cNvSpPr txBox="1"/>
            <p:nvPr/>
          </p:nvSpPr>
          <p:spPr>
            <a:xfrm>
              <a:off x="1090348" y="2712338"/>
              <a:ext cx="2846482" cy="588764"/>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 </a:t>
              </a:r>
              <a:r>
                <a:rPr lang="en-US" sz="900" dirty="0" err="1">
                  <a:ea typeface="Open Sans Light" panose="020B0306030504020204" pitchFamily="34" charset="0"/>
                  <a:cs typeface="Open Sans Light" panose="020B0306030504020204" pitchFamily="34" charset="0"/>
                </a:rPr>
                <a:t>Replaye</a:t>
              </a:r>
              <a:r>
                <a:rPr lang="en-US" sz="900" dirty="0">
                  <a:ea typeface="Open Sans Light" panose="020B0306030504020204" pitchFamily="34" charset="0"/>
                  <a:cs typeface="Open Sans Light" panose="020B0306030504020204" pitchFamily="34" charset="0"/>
                </a:rPr>
                <a:t> legacy IAM system with SailPoint IIQ </a:t>
              </a:r>
            </a:p>
            <a:p>
              <a:pPr>
                <a:spcAft>
                  <a:spcPts val="300"/>
                </a:spcAft>
              </a:pPr>
              <a:r>
                <a:rPr lang="en-US" sz="900" dirty="0">
                  <a:ea typeface="Open Sans Light" panose="020B0306030504020204" pitchFamily="34" charset="0"/>
                  <a:cs typeface="Open Sans Light" panose="020B0306030504020204" pitchFamily="34" charset="0"/>
                </a:rPr>
                <a:t>Migration of existing access rights</a:t>
              </a:r>
            </a:p>
            <a:p>
              <a:pPr>
                <a:spcAft>
                  <a:spcPts val="300"/>
                </a:spcAft>
              </a:pPr>
              <a:r>
                <a:rPr lang="en-US" sz="900" dirty="0">
                  <a:ea typeface="Open Sans Light" panose="020B0306030504020204" pitchFamily="34" charset="0"/>
                  <a:cs typeface="Open Sans Light" panose="020B0306030504020204" pitchFamily="34" charset="0"/>
                </a:rPr>
                <a:t>Implement HR, AD, LDAP and SNOW integrations</a:t>
              </a:r>
            </a:p>
          </p:txBody>
        </p:sp>
      </p:grpSp>
      <p:grpSp>
        <p:nvGrpSpPr>
          <p:cNvPr id="159" name="Group 158">
            <a:extLst>
              <a:ext uri="{FF2B5EF4-FFF2-40B4-BE49-F238E27FC236}">
                <a16:creationId xmlns:a16="http://schemas.microsoft.com/office/drawing/2014/main" id="{26E9C787-B332-B7A9-A376-F7066E128D3C}"/>
              </a:ext>
            </a:extLst>
          </p:cNvPr>
          <p:cNvGrpSpPr/>
          <p:nvPr/>
        </p:nvGrpSpPr>
        <p:grpSpPr>
          <a:xfrm>
            <a:off x="5065637" y="4144730"/>
            <a:ext cx="3533128" cy="1944832"/>
            <a:chOff x="936407" y="1806235"/>
            <a:chExt cx="3533128" cy="1944832"/>
          </a:xfrm>
        </p:grpSpPr>
        <p:sp>
          <p:nvSpPr>
            <p:cNvPr id="160" name="Rectangle 159">
              <a:extLst>
                <a:ext uri="{FF2B5EF4-FFF2-40B4-BE49-F238E27FC236}">
                  <a16:creationId xmlns:a16="http://schemas.microsoft.com/office/drawing/2014/main" id="{60192182-B8E0-21F8-63AE-F1C03A24C92F}"/>
                </a:ext>
              </a:extLst>
            </p:cNvPr>
            <p:cNvSpPr/>
            <p:nvPr/>
          </p:nvSpPr>
          <p:spPr bwMode="gray">
            <a:xfrm>
              <a:off x="941558" y="1991764"/>
              <a:ext cx="3078181" cy="1552857"/>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cxnSp>
          <p:nvCxnSpPr>
            <p:cNvPr id="161" name="Straight Connector 160">
              <a:extLst>
                <a:ext uri="{FF2B5EF4-FFF2-40B4-BE49-F238E27FC236}">
                  <a16:creationId xmlns:a16="http://schemas.microsoft.com/office/drawing/2014/main" id="{931DD9A8-091F-A13F-DCDB-F65D6B5983C2}"/>
                </a:ext>
              </a:extLst>
            </p:cNvPr>
            <p:cNvCxnSpPr>
              <a:cxnSpLocks/>
            </p:cNvCxnSpPr>
            <p:nvPr/>
          </p:nvCxnSpPr>
          <p:spPr>
            <a:xfrm>
              <a:off x="936407"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CB376518-4083-14F2-1BBD-70B679DE1E15}"/>
                </a:ext>
              </a:extLst>
            </p:cNvPr>
            <p:cNvSpPr txBox="1"/>
            <p:nvPr/>
          </p:nvSpPr>
          <p:spPr>
            <a:xfrm>
              <a:off x="944741" y="1806235"/>
              <a:ext cx="2964100" cy="246222"/>
            </a:xfrm>
            <a:prstGeom prst="rect">
              <a:avLst/>
            </a:prstGeom>
            <a:noFill/>
          </p:spPr>
          <p:txBody>
            <a:bodyPr wrap="square" lIns="0" tIns="0" rIns="0" bIns="0" rtlCol="0" anchor="t">
              <a:noAutofit/>
            </a:bodyPr>
            <a:lstStyle/>
            <a:p>
              <a:r>
                <a:rPr lang="en-US" sz="900" b="1" dirty="0">
                  <a:solidFill>
                    <a:srgbClr val="00B0F2"/>
                  </a:solidFill>
                </a:rPr>
                <a:t>IMPLEMENTATION OF SAILPOINT</a:t>
              </a:r>
            </a:p>
          </p:txBody>
        </p:sp>
        <p:sp>
          <p:nvSpPr>
            <p:cNvPr id="163" name="TextBox 162">
              <a:extLst>
                <a:ext uri="{FF2B5EF4-FFF2-40B4-BE49-F238E27FC236}">
                  <a16:creationId xmlns:a16="http://schemas.microsoft.com/office/drawing/2014/main" id="{1988D663-5757-28BA-7D97-E9938438D0E9}"/>
                </a:ext>
              </a:extLst>
            </p:cNvPr>
            <p:cNvSpPr txBox="1"/>
            <p:nvPr/>
          </p:nvSpPr>
          <p:spPr>
            <a:xfrm>
              <a:off x="1090348" y="2300472"/>
              <a:ext cx="2598774" cy="382825"/>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Major Romanian </a:t>
              </a:r>
              <a:r>
                <a:rPr lang="en-US" sz="900" dirty="0">
                  <a:ea typeface="Open Sans Light" panose="020B0306030504020204" pitchFamily="34" charset="0"/>
                  <a:cs typeface="Open Sans Light" panose="020B0306030504020204" pitchFamily="34" charset="0"/>
                </a:rPr>
                <a:t>bank</a:t>
              </a:r>
            </a:p>
          </p:txBody>
        </p:sp>
        <p:sp>
          <p:nvSpPr>
            <p:cNvPr id="164" name="Flowchart: Connector 163">
              <a:extLst>
                <a:ext uri="{FF2B5EF4-FFF2-40B4-BE49-F238E27FC236}">
                  <a16:creationId xmlns:a16="http://schemas.microsoft.com/office/drawing/2014/main" id="{4904262B-2249-7A5A-1BD6-DD294C5A0556}"/>
                </a:ext>
              </a:extLst>
            </p:cNvPr>
            <p:cNvSpPr/>
            <p:nvPr/>
          </p:nvSpPr>
          <p:spPr bwMode="gray">
            <a:xfrm>
              <a:off x="3625393" y="1927730"/>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65" name="Group 531">
              <a:extLst>
                <a:ext uri="{FF2B5EF4-FFF2-40B4-BE49-F238E27FC236}">
                  <a16:creationId xmlns:a16="http://schemas.microsoft.com/office/drawing/2014/main" id="{17829685-B733-AD9D-7DDA-E189C97FA8FB}"/>
                </a:ext>
              </a:extLst>
            </p:cNvPr>
            <p:cNvGrpSpPr>
              <a:grpSpLocks noChangeAspect="1"/>
            </p:cNvGrpSpPr>
            <p:nvPr/>
          </p:nvGrpSpPr>
          <p:grpSpPr bwMode="auto">
            <a:xfrm>
              <a:off x="3607934" y="1876402"/>
              <a:ext cx="489164" cy="489164"/>
              <a:chOff x="3061" y="1953"/>
              <a:chExt cx="340" cy="340"/>
            </a:xfrm>
            <a:solidFill>
              <a:srgbClr val="9DD4CF"/>
            </a:solidFill>
          </p:grpSpPr>
          <p:sp>
            <p:nvSpPr>
              <p:cNvPr id="170" name="Freeform 532">
                <a:extLst>
                  <a:ext uri="{FF2B5EF4-FFF2-40B4-BE49-F238E27FC236}">
                    <a16:creationId xmlns:a16="http://schemas.microsoft.com/office/drawing/2014/main" id="{A1A817C5-BF24-83C0-680E-B8FE8242A59D}"/>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533">
                <a:extLst>
                  <a:ext uri="{FF2B5EF4-FFF2-40B4-BE49-F238E27FC236}">
                    <a16:creationId xmlns:a16="http://schemas.microsoft.com/office/drawing/2014/main" id="{8984EF35-54A1-A860-B199-28855D834531}"/>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6" name="Group 165">
              <a:extLst>
                <a:ext uri="{FF2B5EF4-FFF2-40B4-BE49-F238E27FC236}">
                  <a16:creationId xmlns:a16="http://schemas.microsoft.com/office/drawing/2014/main" id="{A01A9D87-C3DF-DF0A-81B8-01794050CCB3}"/>
                </a:ext>
              </a:extLst>
            </p:cNvPr>
            <p:cNvGrpSpPr/>
            <p:nvPr/>
          </p:nvGrpSpPr>
          <p:grpSpPr>
            <a:xfrm>
              <a:off x="1918818" y="3437957"/>
              <a:ext cx="2550717" cy="313110"/>
              <a:chOff x="1759788" y="3519440"/>
              <a:chExt cx="2741556" cy="313110"/>
            </a:xfrm>
          </p:grpSpPr>
          <p:sp>
            <p:nvSpPr>
              <p:cNvPr id="168" name="Rectangle: Rounded Corners 167">
                <a:extLst>
                  <a:ext uri="{FF2B5EF4-FFF2-40B4-BE49-F238E27FC236}">
                    <a16:creationId xmlns:a16="http://schemas.microsoft.com/office/drawing/2014/main" id="{AB654002-E379-DB5C-9664-30ADC5425F7E}"/>
                  </a:ext>
                </a:extLst>
              </p:cNvPr>
              <p:cNvSpPr/>
              <p:nvPr/>
            </p:nvSpPr>
            <p:spPr bwMode="gray">
              <a:xfrm>
                <a:off x="1759788" y="3519440"/>
                <a:ext cx="1995378"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9" name="TextBox 168">
                <a:extLst>
                  <a:ext uri="{FF2B5EF4-FFF2-40B4-BE49-F238E27FC236}">
                    <a16:creationId xmlns:a16="http://schemas.microsoft.com/office/drawing/2014/main" id="{CD513E07-A5DD-6883-FF68-61B1E017B8D2}"/>
                  </a:ext>
                </a:extLst>
              </p:cNvPr>
              <p:cNvSpPr txBox="1"/>
              <p:nvPr/>
            </p:nvSpPr>
            <p:spPr>
              <a:xfrm>
                <a:off x="1811955" y="3586328"/>
                <a:ext cx="2689389"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PLANNING AND IMPLEMENTATION</a:t>
                </a:r>
                <a:endParaRPr lang="en-US" sz="800" b="1" dirty="0">
                  <a:latin typeface="+mj-lt"/>
                  <a:ea typeface="Open Sans Light" panose="020B0306030504020204" pitchFamily="34" charset="0"/>
                  <a:cs typeface="Open Sans Light" panose="020B0306030504020204" pitchFamily="34" charset="0"/>
                </a:endParaRPr>
              </a:p>
            </p:txBody>
          </p:sp>
        </p:grpSp>
        <p:sp>
          <p:nvSpPr>
            <p:cNvPr id="167" name="TextBox 166">
              <a:extLst>
                <a:ext uri="{FF2B5EF4-FFF2-40B4-BE49-F238E27FC236}">
                  <a16:creationId xmlns:a16="http://schemas.microsoft.com/office/drawing/2014/main" id="{C9C09F02-5B70-AD83-87A5-EB7C5F0499E0}"/>
                </a:ext>
              </a:extLst>
            </p:cNvPr>
            <p:cNvSpPr txBox="1"/>
            <p:nvPr/>
          </p:nvSpPr>
          <p:spPr>
            <a:xfrm>
              <a:off x="1090348" y="2712338"/>
              <a:ext cx="2846482" cy="588764"/>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 </a:t>
              </a:r>
              <a:r>
                <a:rPr lang="en-US" sz="900" dirty="0">
                  <a:ea typeface="Open Sans Light" panose="020B0306030504020204" pitchFamily="34" charset="0"/>
                  <a:cs typeface="Open Sans Light" panose="020B0306030504020204" pitchFamily="34" charset="0"/>
                </a:rPr>
                <a:t>Define and implement basic lifecycle processes (joiner, mover, leaver)</a:t>
              </a:r>
            </a:p>
            <a:p>
              <a:pPr>
                <a:spcAft>
                  <a:spcPts val="300"/>
                </a:spcAft>
              </a:pPr>
              <a:r>
                <a:rPr lang="en-US" sz="900" dirty="0">
                  <a:ea typeface="Open Sans Light" panose="020B0306030504020204" pitchFamily="34" charset="0"/>
                  <a:cs typeface="Open Sans Light" panose="020B0306030504020204" pitchFamily="34" charset="0"/>
                </a:rPr>
                <a:t>Implement HR, AD, LDAP and SNOW integrations</a:t>
              </a:r>
            </a:p>
          </p:txBody>
        </p:sp>
      </p:grpSp>
    </p:spTree>
    <p:extLst>
      <p:ext uri="{BB962C8B-B14F-4D97-AF65-F5344CB8AC3E}">
        <p14:creationId xmlns:p14="http://schemas.microsoft.com/office/powerpoint/2010/main" val="60298074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extLst>
              <p:ext uri="{D42A27DB-BD31-4B8C-83A1-F6EECF244321}">
                <p14:modId xmlns:p14="http://schemas.microsoft.com/office/powerpoint/2010/main" val="2118002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3F10FFA7-5439-CEDF-738B-0CA923B8AEDF}"/>
              </a:ext>
            </a:extLst>
          </p:cNvPr>
          <p:cNvSpPr txBox="1">
            <a:spLocks/>
          </p:cNvSpPr>
          <p:nvPr/>
        </p:nvSpPr>
        <p:spPr bwMode="gray">
          <a:xfrm>
            <a:off x="896400" y="906411"/>
            <a:ext cx="10467780" cy="787400"/>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r>
              <a:rPr lang="en-US" sz="1400" dirty="0">
                <a:solidFill>
                  <a:prstClr val="black"/>
                </a:solidFill>
                <a:latin typeface="Open Sans Light" panose="020B0306030504020204" pitchFamily="34" charset="0"/>
              </a:rPr>
              <a:t>We can serve UNICEF from the strategy development and transformation, to implementation and operations across all cyber capabilities</a:t>
            </a:r>
          </a:p>
        </p:txBody>
      </p:sp>
      <p:sp>
        <p:nvSpPr>
          <p:cNvPr id="5" name="Title 1">
            <a:extLst>
              <a:ext uri="{FF2B5EF4-FFF2-40B4-BE49-F238E27FC236}">
                <a16:creationId xmlns:a16="http://schemas.microsoft.com/office/drawing/2014/main" id="{E6628BDF-730E-A624-C559-CE2DD03E465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Deloitte Cyber | Our Capabilities</a:t>
            </a:r>
          </a:p>
        </p:txBody>
      </p:sp>
      <p:grpSp>
        <p:nvGrpSpPr>
          <p:cNvPr id="88" name="Group 87">
            <a:extLst>
              <a:ext uri="{FF2B5EF4-FFF2-40B4-BE49-F238E27FC236}">
                <a16:creationId xmlns:a16="http://schemas.microsoft.com/office/drawing/2014/main" id="{0025FFA3-8484-743C-559A-EF04F79A75F6}"/>
              </a:ext>
            </a:extLst>
          </p:cNvPr>
          <p:cNvGrpSpPr/>
          <p:nvPr/>
        </p:nvGrpSpPr>
        <p:grpSpPr>
          <a:xfrm>
            <a:off x="4123884" y="1743856"/>
            <a:ext cx="4001685" cy="4001685"/>
            <a:chOff x="4123884" y="1743856"/>
            <a:chExt cx="4001685" cy="4001685"/>
          </a:xfrm>
        </p:grpSpPr>
        <p:sp>
          <p:nvSpPr>
            <p:cNvPr id="89" name="object 2">
              <a:extLst>
                <a:ext uri="{FF2B5EF4-FFF2-40B4-BE49-F238E27FC236}">
                  <a16:creationId xmlns:a16="http://schemas.microsoft.com/office/drawing/2014/main" id="{22FF4965-ABFF-A0AB-38E3-583B91E2CADE}"/>
                </a:ext>
              </a:extLst>
            </p:cNvPr>
            <p:cNvSpPr/>
            <p:nvPr/>
          </p:nvSpPr>
          <p:spPr>
            <a:xfrm rot="18900000">
              <a:off x="4123884" y="1743856"/>
              <a:ext cx="4001685" cy="4001685"/>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ap="rnd" cmpd="sng">
              <a:solidFill>
                <a:sysClr val="window" lastClr="FFFFFF">
                  <a:lumMod val="85000"/>
                </a:sysClr>
              </a:solidFill>
              <a:prstDash val="sysDot"/>
            </a:ln>
          </p:spPr>
          <p:txBody>
            <a:bodyPr wrap="square" lIns="0" tIns="0" rIns="0" bIns="0" rtlCol="0"/>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dirty="0">
                <a:ln>
                  <a:noFill/>
                </a:ln>
                <a:solidFill>
                  <a:srgbClr val="999999"/>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0" name="object 4">
              <a:extLst>
                <a:ext uri="{FF2B5EF4-FFF2-40B4-BE49-F238E27FC236}">
                  <a16:creationId xmlns:a16="http://schemas.microsoft.com/office/drawing/2014/main" id="{9FF35294-92DF-5685-39FD-53950715C6E8}"/>
                </a:ext>
              </a:extLst>
            </p:cNvPr>
            <p:cNvSpPr/>
            <p:nvPr/>
          </p:nvSpPr>
          <p:spPr>
            <a:xfrm rot="18900000">
              <a:off x="7424806" y="2314912"/>
              <a:ext cx="399301" cy="199651"/>
            </a:xfrm>
            <a:custGeom>
              <a:avLst/>
              <a:gdLst/>
              <a:ahLst/>
              <a:cxnLst/>
              <a:rect l="l" t="t" r="r" b="b"/>
              <a:pathLst>
                <a:path w="175259" h="87629">
                  <a:moveTo>
                    <a:pt x="0" y="87617"/>
                  </a:moveTo>
                  <a:lnTo>
                    <a:pt x="87617" y="0"/>
                  </a:lnTo>
                  <a:lnTo>
                    <a:pt x="175221" y="87591"/>
                  </a:lnTo>
                </a:path>
              </a:pathLst>
            </a:custGeom>
            <a:ln w="38100" cap="rnd" cmpd="sng">
              <a:solidFill>
                <a:sysClr val="window" lastClr="FFFFFF">
                  <a:lumMod val="85000"/>
                </a:sysClr>
              </a:solidFill>
              <a:prstDash val="sysDot"/>
            </a:ln>
          </p:spPr>
          <p:txBody>
            <a:bodyPr wrap="square" lIns="0" tIns="0" rIns="0" bIns="0" rtlCol="0"/>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dirty="0">
                <a:ln>
                  <a:noFill/>
                </a:ln>
                <a:solidFill>
                  <a:srgbClr val="999999"/>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1" name="object 6">
              <a:extLst>
                <a:ext uri="{FF2B5EF4-FFF2-40B4-BE49-F238E27FC236}">
                  <a16:creationId xmlns:a16="http://schemas.microsoft.com/office/drawing/2014/main" id="{63FD403B-9A65-50E9-E920-96674D9E29B3}"/>
                </a:ext>
              </a:extLst>
            </p:cNvPr>
            <p:cNvSpPr/>
            <p:nvPr/>
          </p:nvSpPr>
          <p:spPr>
            <a:xfrm rot="18900000">
              <a:off x="4425432" y="4974782"/>
              <a:ext cx="399301" cy="199651"/>
            </a:xfrm>
            <a:custGeom>
              <a:avLst/>
              <a:gdLst/>
              <a:ahLst/>
              <a:cxnLst/>
              <a:rect l="l" t="t" r="r" b="b"/>
              <a:pathLst>
                <a:path w="175260" h="87629">
                  <a:moveTo>
                    <a:pt x="175221" y="0"/>
                  </a:moveTo>
                  <a:lnTo>
                    <a:pt x="87591" y="87617"/>
                  </a:lnTo>
                  <a:lnTo>
                    <a:pt x="0" y="25"/>
                  </a:lnTo>
                </a:path>
              </a:pathLst>
            </a:custGeom>
            <a:ln w="38100" cap="rnd" cmpd="sng">
              <a:solidFill>
                <a:sysClr val="window" lastClr="FFFFFF">
                  <a:lumMod val="85000"/>
                </a:sysClr>
              </a:solidFill>
              <a:prstDash val="sysDot"/>
            </a:ln>
          </p:spPr>
          <p:txBody>
            <a:bodyPr wrap="square" lIns="0" tIns="0" rIns="0" bIns="0" rtlCol="0"/>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dirty="0">
                <a:ln>
                  <a:noFill/>
                </a:ln>
                <a:solidFill>
                  <a:srgbClr val="999999"/>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92" name="TextBox 91">
            <a:extLst>
              <a:ext uri="{FF2B5EF4-FFF2-40B4-BE49-F238E27FC236}">
                <a16:creationId xmlns:a16="http://schemas.microsoft.com/office/drawing/2014/main" id="{8082B9AD-F5CC-69E1-3E78-9F48C83E1FC3}"/>
              </a:ext>
            </a:extLst>
          </p:cNvPr>
          <p:cNvSpPr txBox="1"/>
          <p:nvPr/>
        </p:nvSpPr>
        <p:spPr>
          <a:xfrm rot="16200000">
            <a:off x="3567259" y="3702031"/>
            <a:ext cx="1190776" cy="307777"/>
          </a:xfrm>
          <a:prstGeom prst="rect">
            <a:avLst/>
          </a:prstGeom>
          <a:solidFill>
            <a:sysClr val="window" lastClr="FFFFFF"/>
          </a:solidFill>
        </p:spPr>
        <p:txBody>
          <a:bodyPr wrap="square">
            <a:spAutoFit/>
          </a:bodyP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0" cap="none" spc="0" normalizeH="0" baseline="0" dirty="0">
                <a:ln>
                  <a:noFill/>
                </a:ln>
                <a:solidFill>
                  <a:prstClr val="white">
                    <a:lumMod val="75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perate</a:t>
            </a:r>
            <a:endParaRPr kumimoji="0" lang="en-US" sz="2400" b="1" i="0" u="none" strike="noStrike" kern="0" cap="none" spc="0" normalizeH="0" baseline="0" dirty="0">
              <a:ln>
                <a:noFill/>
              </a:ln>
              <a:solidFill>
                <a:prstClr val="white">
                  <a:lumMod val="75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3" name="TextBox 92">
            <a:extLst>
              <a:ext uri="{FF2B5EF4-FFF2-40B4-BE49-F238E27FC236}">
                <a16:creationId xmlns:a16="http://schemas.microsoft.com/office/drawing/2014/main" id="{0EDC26AA-3C7E-6565-5B24-B90E55A1FC74}"/>
              </a:ext>
            </a:extLst>
          </p:cNvPr>
          <p:cNvSpPr txBox="1"/>
          <p:nvPr/>
        </p:nvSpPr>
        <p:spPr>
          <a:xfrm rot="5400000">
            <a:off x="7509512" y="3679428"/>
            <a:ext cx="1190776" cy="307777"/>
          </a:xfrm>
          <a:prstGeom prst="rect">
            <a:avLst/>
          </a:prstGeom>
          <a:solidFill>
            <a:sysClr val="window" lastClr="FFFFFF"/>
          </a:solidFill>
        </p:spPr>
        <p:txBody>
          <a:bodyPr wrap="square">
            <a:spAutoFit/>
          </a:bodyP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0" cap="none" spc="0" normalizeH="0" baseline="0" dirty="0">
                <a:ln>
                  <a:noFill/>
                </a:ln>
                <a:solidFill>
                  <a:prstClr val="white">
                    <a:lumMod val="75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mplement</a:t>
            </a:r>
            <a:endParaRPr kumimoji="0" lang="en-US" sz="2400" b="1" i="0" u="none" strike="noStrike" kern="0" cap="none" spc="0" normalizeH="0" baseline="0" dirty="0">
              <a:ln>
                <a:noFill/>
              </a:ln>
              <a:solidFill>
                <a:prstClr val="white">
                  <a:lumMod val="75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4" name="object 3">
            <a:extLst>
              <a:ext uri="{FF2B5EF4-FFF2-40B4-BE49-F238E27FC236}">
                <a16:creationId xmlns:a16="http://schemas.microsoft.com/office/drawing/2014/main" id="{FC7A1E34-D52F-CD5F-E1B9-752FEE88D358}"/>
              </a:ext>
            </a:extLst>
          </p:cNvPr>
          <p:cNvSpPr/>
          <p:nvPr/>
        </p:nvSpPr>
        <p:spPr>
          <a:xfrm rot="18900000">
            <a:off x="7327786" y="2148481"/>
            <a:ext cx="277774" cy="273429"/>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ysClr val="window" lastClr="FFFFFF"/>
          </a:solidFill>
          <a:ln w="12700" cmpd="sng">
            <a:noFill/>
          </a:ln>
        </p:spPr>
        <p:txBody>
          <a:bodyPr wrap="square" lIns="0" tIns="0" rIns="0" bIns="0" rtlCol="0"/>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dirty="0">
              <a:ln>
                <a:noFill/>
              </a:ln>
              <a:solidFill>
                <a:srgbClr val="999999"/>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5" name="object 5">
            <a:extLst>
              <a:ext uri="{FF2B5EF4-FFF2-40B4-BE49-F238E27FC236}">
                <a16:creationId xmlns:a16="http://schemas.microsoft.com/office/drawing/2014/main" id="{DFC52B59-79C1-63D6-1B32-D899EF439AB3}"/>
              </a:ext>
            </a:extLst>
          </p:cNvPr>
          <p:cNvSpPr/>
          <p:nvPr/>
        </p:nvSpPr>
        <p:spPr>
          <a:xfrm rot="18900000">
            <a:off x="4645815" y="5067475"/>
            <a:ext cx="277774" cy="273429"/>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ysClr val="window" lastClr="FFFFFF"/>
          </a:solidFill>
          <a:ln w="12700" cmpd="sng">
            <a:noFill/>
          </a:ln>
        </p:spPr>
        <p:txBody>
          <a:bodyPr wrap="square" lIns="0" tIns="0" rIns="0" bIns="0" rtlCol="0"/>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dirty="0">
              <a:ln>
                <a:noFill/>
              </a:ln>
              <a:solidFill>
                <a:srgbClr val="999999"/>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6" name="TextBox 95">
            <a:extLst>
              <a:ext uri="{FF2B5EF4-FFF2-40B4-BE49-F238E27FC236}">
                <a16:creationId xmlns:a16="http://schemas.microsoft.com/office/drawing/2014/main" id="{708D3E94-FA60-D670-60DF-5D9FE489B66A}"/>
              </a:ext>
            </a:extLst>
          </p:cNvPr>
          <p:cNvSpPr txBox="1"/>
          <p:nvPr/>
        </p:nvSpPr>
        <p:spPr>
          <a:xfrm>
            <a:off x="8295636" y="2097331"/>
            <a:ext cx="3896364" cy="596404"/>
          </a:xfrm>
          <a:prstGeom prst="rect">
            <a:avLst/>
          </a:prstGeom>
          <a:noFill/>
        </p:spPr>
        <p:txBody>
          <a:bodyPr wrap="square" numCol="2">
            <a:noAutofit/>
          </a:bodyPr>
          <a:lstStyle/>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ehicle Security (CSMS, SUMS, Fleet Security)</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CS/OT/SCADA security assessments</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oT Security</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echnology Advisory (Product Security)</a:t>
            </a:r>
          </a:p>
        </p:txBody>
      </p:sp>
      <p:sp>
        <p:nvSpPr>
          <p:cNvPr id="97" name="Rectangle 96">
            <a:extLst>
              <a:ext uri="{FF2B5EF4-FFF2-40B4-BE49-F238E27FC236}">
                <a16:creationId xmlns:a16="http://schemas.microsoft.com/office/drawing/2014/main" id="{F88C55CA-C0FA-6F40-78E8-FAD1CE6D7621}"/>
              </a:ext>
            </a:extLst>
          </p:cNvPr>
          <p:cNvSpPr/>
          <p:nvPr/>
        </p:nvSpPr>
        <p:spPr>
          <a:xfrm>
            <a:off x="905775" y="1262884"/>
            <a:ext cx="6665912" cy="323165"/>
          </a:xfrm>
          <a:prstGeom prst="rect">
            <a:avLst/>
          </a:prstGeom>
        </p:spPr>
        <p:txBody>
          <a:bodyPr wrap="square" lIns="0" tIns="0" rIns="0" bIns="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loitte Cyber provides cyber capabilities designed with each individual client in mind. The following 8 offerings allow us to advise, implement, and manage the full spectrum of our clients’ challenges.</a:t>
            </a:r>
          </a:p>
        </p:txBody>
      </p:sp>
      <p:cxnSp>
        <p:nvCxnSpPr>
          <p:cNvPr id="98" name="Straight Connector 97">
            <a:extLst>
              <a:ext uri="{FF2B5EF4-FFF2-40B4-BE49-F238E27FC236}">
                <a16:creationId xmlns:a16="http://schemas.microsoft.com/office/drawing/2014/main" id="{A3338A54-1788-36AD-A71D-CCDB51CFAD44}"/>
              </a:ext>
            </a:extLst>
          </p:cNvPr>
          <p:cNvCxnSpPr>
            <a:cxnSpLocks/>
          </p:cNvCxnSpPr>
          <p:nvPr/>
        </p:nvCxnSpPr>
        <p:spPr>
          <a:xfrm flipH="1" flipV="1">
            <a:off x="4067232" y="2085517"/>
            <a:ext cx="1036852" cy="281929"/>
          </a:xfrm>
          <a:prstGeom prst="line">
            <a:avLst/>
          </a:prstGeom>
          <a:noFill/>
          <a:ln w="38100" cap="flat" cmpd="sng" algn="ctr">
            <a:solidFill>
              <a:srgbClr val="A0DCFF"/>
            </a:solidFill>
            <a:prstDash val="solid"/>
          </a:ln>
          <a:effectLst/>
        </p:spPr>
      </p:cxnSp>
      <p:cxnSp>
        <p:nvCxnSpPr>
          <p:cNvPr id="99" name="Straight Connector 98">
            <a:extLst>
              <a:ext uri="{FF2B5EF4-FFF2-40B4-BE49-F238E27FC236}">
                <a16:creationId xmlns:a16="http://schemas.microsoft.com/office/drawing/2014/main" id="{866A44B4-BF5F-2C7B-2605-E22563C415F8}"/>
              </a:ext>
            </a:extLst>
          </p:cNvPr>
          <p:cNvCxnSpPr>
            <a:cxnSpLocks/>
          </p:cNvCxnSpPr>
          <p:nvPr/>
        </p:nvCxnSpPr>
        <p:spPr>
          <a:xfrm flipH="1">
            <a:off x="579642" y="2085518"/>
            <a:ext cx="3496679" cy="0"/>
          </a:xfrm>
          <a:prstGeom prst="line">
            <a:avLst/>
          </a:prstGeom>
          <a:noFill/>
          <a:ln w="38100" cap="flat" cmpd="sng" algn="ctr">
            <a:solidFill>
              <a:srgbClr val="A0DCFF"/>
            </a:solidFill>
            <a:prstDash val="solid"/>
          </a:ln>
          <a:effectLst/>
        </p:spPr>
      </p:cxnSp>
      <p:sp>
        <p:nvSpPr>
          <p:cNvPr id="100" name="TextBox 99">
            <a:extLst>
              <a:ext uri="{FF2B5EF4-FFF2-40B4-BE49-F238E27FC236}">
                <a16:creationId xmlns:a16="http://schemas.microsoft.com/office/drawing/2014/main" id="{670BB4D4-C5C8-AA50-51CC-BF0B603A0C7E}"/>
              </a:ext>
            </a:extLst>
          </p:cNvPr>
          <p:cNvSpPr txBox="1"/>
          <p:nvPr/>
        </p:nvSpPr>
        <p:spPr>
          <a:xfrm>
            <a:off x="618744" y="1770687"/>
            <a:ext cx="2081501" cy="307777"/>
          </a:xfrm>
          <a:prstGeom prst="rect">
            <a:avLst/>
          </a:prstGeom>
          <a:noFill/>
        </p:spPr>
        <p:txBody>
          <a:bodyPr wrap="square">
            <a:spAutoFit/>
          </a:bodyPr>
          <a:lstStyle/>
          <a:p>
            <a:pPr marL="0" marR="0" lvl="0" indent="0"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pplication Security</a:t>
            </a:r>
          </a:p>
        </p:txBody>
      </p:sp>
      <p:sp>
        <p:nvSpPr>
          <p:cNvPr id="101" name="TextBox 100">
            <a:extLst>
              <a:ext uri="{FF2B5EF4-FFF2-40B4-BE49-F238E27FC236}">
                <a16:creationId xmlns:a16="http://schemas.microsoft.com/office/drawing/2014/main" id="{8DBB6F29-22B2-4A73-2DEF-F93553378D7B}"/>
              </a:ext>
            </a:extLst>
          </p:cNvPr>
          <p:cNvSpPr txBox="1"/>
          <p:nvPr/>
        </p:nvSpPr>
        <p:spPr>
          <a:xfrm>
            <a:off x="477363" y="2097331"/>
            <a:ext cx="3654265" cy="798062"/>
          </a:xfrm>
          <a:prstGeom prst="rect">
            <a:avLst/>
          </a:prstGeom>
          <a:noFill/>
        </p:spPr>
        <p:txBody>
          <a:bodyPr wrap="square" numCol="2">
            <a:noAutofit/>
          </a:bodyPr>
          <a:lstStyle/>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olistic approach to security with E2E services (advise, implement, operate, retire)</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P Security &amp; GRC</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oles &amp; Authorizations concepts (e.g. in SAP)</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gregation of Duties (</a:t>
            </a:r>
            <a:r>
              <a:rPr kumimoji="0" lang="en-US" sz="1050" b="0" i="0" u="none" strike="noStrike" kern="0" cap="none" spc="0" normalizeH="0" baseline="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oD</a:t>
            </a: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p:txBody>
      </p:sp>
      <p:cxnSp>
        <p:nvCxnSpPr>
          <p:cNvPr id="102" name="Straight Connector 101">
            <a:extLst>
              <a:ext uri="{FF2B5EF4-FFF2-40B4-BE49-F238E27FC236}">
                <a16:creationId xmlns:a16="http://schemas.microsoft.com/office/drawing/2014/main" id="{0D16A0EF-4181-8B1A-0A42-E6B564E092B5}"/>
              </a:ext>
            </a:extLst>
          </p:cNvPr>
          <p:cNvCxnSpPr>
            <a:cxnSpLocks/>
          </p:cNvCxnSpPr>
          <p:nvPr/>
        </p:nvCxnSpPr>
        <p:spPr>
          <a:xfrm flipH="1" flipV="1">
            <a:off x="579642" y="3236124"/>
            <a:ext cx="3216526" cy="1"/>
          </a:xfrm>
          <a:prstGeom prst="line">
            <a:avLst/>
          </a:prstGeom>
          <a:noFill/>
          <a:ln w="38100" cap="flat" cmpd="sng" algn="ctr">
            <a:solidFill>
              <a:srgbClr val="A0DCFF"/>
            </a:solidFill>
            <a:prstDash val="solid"/>
          </a:ln>
          <a:effectLst/>
        </p:spPr>
      </p:cxnSp>
      <p:sp>
        <p:nvSpPr>
          <p:cNvPr id="103" name="TextBox 102">
            <a:extLst>
              <a:ext uri="{FF2B5EF4-FFF2-40B4-BE49-F238E27FC236}">
                <a16:creationId xmlns:a16="http://schemas.microsoft.com/office/drawing/2014/main" id="{B4D4C090-F952-DCD0-7C3A-DF0C96CB5F92}"/>
              </a:ext>
            </a:extLst>
          </p:cNvPr>
          <p:cNvSpPr txBox="1"/>
          <p:nvPr/>
        </p:nvSpPr>
        <p:spPr>
          <a:xfrm>
            <a:off x="618744" y="2912467"/>
            <a:ext cx="1662112" cy="307777"/>
          </a:xfrm>
          <a:prstGeom prst="rect">
            <a:avLst/>
          </a:prstGeom>
          <a:noFill/>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 Cloud</a:t>
            </a:r>
          </a:p>
        </p:txBody>
      </p:sp>
      <p:sp>
        <p:nvSpPr>
          <p:cNvPr id="104" name="TextBox 103">
            <a:extLst>
              <a:ext uri="{FF2B5EF4-FFF2-40B4-BE49-F238E27FC236}">
                <a16:creationId xmlns:a16="http://schemas.microsoft.com/office/drawing/2014/main" id="{CED9377A-6717-1962-76A5-07B2512F124C}"/>
              </a:ext>
            </a:extLst>
          </p:cNvPr>
          <p:cNvSpPr txBox="1"/>
          <p:nvPr/>
        </p:nvSpPr>
        <p:spPr>
          <a:xfrm>
            <a:off x="477363" y="3261067"/>
            <a:ext cx="3546048" cy="838374"/>
          </a:xfrm>
          <a:prstGeom prst="rect">
            <a:avLst/>
          </a:prstGeom>
          <a:noFill/>
        </p:spPr>
        <p:txBody>
          <a:bodyPr wrap="square" numCol="2">
            <a:noAutofit/>
          </a:bodyPr>
          <a:lstStyle/>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loud security, governance, orchestration and automation</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cure Cloud architecture</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trategy and planning</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orkload migration and protection</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Zero Trust</a:t>
            </a:r>
          </a:p>
        </p:txBody>
      </p:sp>
      <p:cxnSp>
        <p:nvCxnSpPr>
          <p:cNvPr id="105" name="Straight Connector 104">
            <a:extLst>
              <a:ext uri="{FF2B5EF4-FFF2-40B4-BE49-F238E27FC236}">
                <a16:creationId xmlns:a16="http://schemas.microsoft.com/office/drawing/2014/main" id="{F2678AE3-7B26-3870-AB01-96847EA46ED1}"/>
              </a:ext>
            </a:extLst>
          </p:cNvPr>
          <p:cNvCxnSpPr>
            <a:cxnSpLocks/>
          </p:cNvCxnSpPr>
          <p:nvPr/>
        </p:nvCxnSpPr>
        <p:spPr>
          <a:xfrm flipH="1">
            <a:off x="579642" y="4465108"/>
            <a:ext cx="3354183" cy="0"/>
          </a:xfrm>
          <a:prstGeom prst="line">
            <a:avLst/>
          </a:prstGeom>
          <a:noFill/>
          <a:ln w="38100" cap="flat" cmpd="sng" algn="ctr">
            <a:solidFill>
              <a:srgbClr val="A0DCFF"/>
            </a:solidFill>
            <a:prstDash val="solid"/>
          </a:ln>
          <a:effectLst/>
        </p:spPr>
      </p:cxnSp>
      <p:sp>
        <p:nvSpPr>
          <p:cNvPr id="106" name="TextBox 105">
            <a:extLst>
              <a:ext uri="{FF2B5EF4-FFF2-40B4-BE49-F238E27FC236}">
                <a16:creationId xmlns:a16="http://schemas.microsoft.com/office/drawing/2014/main" id="{EA5F108A-95DF-F8B3-6D8A-08B2498EDA16}"/>
              </a:ext>
            </a:extLst>
          </p:cNvPr>
          <p:cNvSpPr txBox="1"/>
          <p:nvPr/>
        </p:nvSpPr>
        <p:spPr>
          <a:xfrm>
            <a:off x="618744" y="4166116"/>
            <a:ext cx="2470361" cy="307777"/>
          </a:xfrm>
          <a:prstGeom prst="rect">
            <a:avLst/>
          </a:prstGeom>
          <a:noFill/>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Protection &amp; Privacy </a:t>
            </a:r>
          </a:p>
        </p:txBody>
      </p:sp>
      <p:sp>
        <p:nvSpPr>
          <p:cNvPr id="107" name="TextBox 106">
            <a:extLst>
              <a:ext uri="{FF2B5EF4-FFF2-40B4-BE49-F238E27FC236}">
                <a16:creationId xmlns:a16="http://schemas.microsoft.com/office/drawing/2014/main" id="{67DE4FF5-D45C-1DA3-85FB-1664FC607126}"/>
              </a:ext>
            </a:extLst>
          </p:cNvPr>
          <p:cNvSpPr txBox="1"/>
          <p:nvPr/>
        </p:nvSpPr>
        <p:spPr>
          <a:xfrm>
            <a:off x="477363" y="4498480"/>
            <a:ext cx="3726228" cy="744721"/>
          </a:xfrm>
          <a:prstGeom prst="rect">
            <a:avLst/>
          </a:prstGeom>
          <a:noFill/>
        </p:spPr>
        <p:txBody>
          <a:bodyPr wrap="square" numCol="2">
            <a:noAutofit/>
          </a:bodyPr>
          <a:lstStyle/>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discovery, classification,</a:t>
            </a:r>
            <a:b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d loss prevention</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access governance </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ights, certificate, consent management</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tention and destruction </a:t>
            </a:r>
          </a:p>
        </p:txBody>
      </p:sp>
      <p:cxnSp>
        <p:nvCxnSpPr>
          <p:cNvPr id="108" name="Straight Connector 107">
            <a:extLst>
              <a:ext uri="{FF2B5EF4-FFF2-40B4-BE49-F238E27FC236}">
                <a16:creationId xmlns:a16="http://schemas.microsoft.com/office/drawing/2014/main" id="{827CCE23-3332-FFEA-65B2-F653BD70E468}"/>
              </a:ext>
            </a:extLst>
          </p:cNvPr>
          <p:cNvCxnSpPr>
            <a:cxnSpLocks/>
          </p:cNvCxnSpPr>
          <p:nvPr/>
        </p:nvCxnSpPr>
        <p:spPr>
          <a:xfrm flipH="1">
            <a:off x="4553124" y="5133425"/>
            <a:ext cx="630047" cy="623198"/>
          </a:xfrm>
          <a:prstGeom prst="line">
            <a:avLst/>
          </a:prstGeom>
          <a:noFill/>
          <a:ln w="38100" cap="flat" cmpd="sng" algn="ctr">
            <a:solidFill>
              <a:srgbClr val="A0DCFF"/>
            </a:solidFill>
            <a:prstDash val="solid"/>
          </a:ln>
          <a:effectLst/>
        </p:spPr>
      </p:cxnSp>
      <p:cxnSp>
        <p:nvCxnSpPr>
          <p:cNvPr id="109" name="Straight Connector 108">
            <a:extLst>
              <a:ext uri="{FF2B5EF4-FFF2-40B4-BE49-F238E27FC236}">
                <a16:creationId xmlns:a16="http://schemas.microsoft.com/office/drawing/2014/main" id="{1B96B116-4223-86D3-829E-5F3EC1BB942A}"/>
              </a:ext>
            </a:extLst>
          </p:cNvPr>
          <p:cNvCxnSpPr>
            <a:cxnSpLocks/>
          </p:cNvCxnSpPr>
          <p:nvPr/>
        </p:nvCxnSpPr>
        <p:spPr>
          <a:xfrm flipH="1">
            <a:off x="636671" y="5753643"/>
            <a:ext cx="3916453" cy="0"/>
          </a:xfrm>
          <a:prstGeom prst="line">
            <a:avLst/>
          </a:prstGeom>
          <a:noFill/>
          <a:ln w="38100" cap="flat" cmpd="sng" algn="ctr">
            <a:solidFill>
              <a:srgbClr val="A0DCFF"/>
            </a:solidFill>
            <a:prstDash val="solid"/>
          </a:ln>
          <a:effectLst/>
        </p:spPr>
      </p:cxnSp>
      <p:sp>
        <p:nvSpPr>
          <p:cNvPr id="110" name="TextBox 109">
            <a:extLst>
              <a:ext uri="{FF2B5EF4-FFF2-40B4-BE49-F238E27FC236}">
                <a16:creationId xmlns:a16="http://schemas.microsoft.com/office/drawing/2014/main" id="{1AED46C6-BB46-D3FD-A5A5-1991E825D5E7}"/>
              </a:ext>
            </a:extLst>
          </p:cNvPr>
          <p:cNvSpPr txBox="1"/>
          <p:nvPr/>
        </p:nvSpPr>
        <p:spPr>
          <a:xfrm>
            <a:off x="618744" y="5420659"/>
            <a:ext cx="2470361" cy="307777"/>
          </a:xfrm>
          <a:prstGeom prst="rect">
            <a:avLst/>
          </a:prstGeom>
          <a:noFill/>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tect &amp; Respond</a:t>
            </a:r>
          </a:p>
        </p:txBody>
      </p:sp>
      <p:sp>
        <p:nvSpPr>
          <p:cNvPr id="111" name="TextBox 110">
            <a:extLst>
              <a:ext uri="{FF2B5EF4-FFF2-40B4-BE49-F238E27FC236}">
                <a16:creationId xmlns:a16="http://schemas.microsoft.com/office/drawing/2014/main" id="{1F8621BD-61AD-554B-E023-1532E374921F}"/>
              </a:ext>
            </a:extLst>
          </p:cNvPr>
          <p:cNvSpPr txBox="1"/>
          <p:nvPr/>
        </p:nvSpPr>
        <p:spPr>
          <a:xfrm>
            <a:off x="477363" y="5753024"/>
            <a:ext cx="4447397" cy="546842"/>
          </a:xfrm>
          <a:prstGeom prst="rect">
            <a:avLst/>
          </a:prstGeom>
          <a:noFill/>
        </p:spPr>
        <p:txBody>
          <a:bodyPr wrap="square" numCol="2">
            <a:noAutofit/>
          </a:bodyPr>
          <a:lstStyle/>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OC Operations and Engineering</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IEM/SOAR</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ulnerability Management</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tect &amp; Respond Strategy</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tect &amp; Respond Architecture</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12" name="Straight Connector 111">
            <a:extLst>
              <a:ext uri="{FF2B5EF4-FFF2-40B4-BE49-F238E27FC236}">
                <a16:creationId xmlns:a16="http://schemas.microsoft.com/office/drawing/2014/main" id="{2FE73795-4139-5C05-84A6-6F249C137061}"/>
              </a:ext>
            </a:extLst>
          </p:cNvPr>
          <p:cNvCxnSpPr>
            <a:cxnSpLocks/>
          </p:cNvCxnSpPr>
          <p:nvPr/>
        </p:nvCxnSpPr>
        <p:spPr>
          <a:xfrm flipH="1" flipV="1">
            <a:off x="3796168" y="3240136"/>
            <a:ext cx="625283" cy="206886"/>
          </a:xfrm>
          <a:prstGeom prst="line">
            <a:avLst/>
          </a:prstGeom>
          <a:noFill/>
          <a:ln w="38100" cap="flat" cmpd="sng" algn="ctr">
            <a:solidFill>
              <a:srgbClr val="A0DCFF"/>
            </a:solidFill>
            <a:prstDash val="solid"/>
          </a:ln>
          <a:effectLst/>
        </p:spPr>
      </p:cxnSp>
      <p:cxnSp>
        <p:nvCxnSpPr>
          <p:cNvPr id="113" name="Straight Connector 112">
            <a:extLst>
              <a:ext uri="{FF2B5EF4-FFF2-40B4-BE49-F238E27FC236}">
                <a16:creationId xmlns:a16="http://schemas.microsoft.com/office/drawing/2014/main" id="{A4393865-37E4-2254-AA83-D63515104D17}"/>
              </a:ext>
            </a:extLst>
          </p:cNvPr>
          <p:cNvCxnSpPr>
            <a:cxnSpLocks/>
          </p:cNvCxnSpPr>
          <p:nvPr/>
        </p:nvCxnSpPr>
        <p:spPr>
          <a:xfrm flipH="1">
            <a:off x="3933825" y="4288964"/>
            <a:ext cx="582028" cy="175163"/>
          </a:xfrm>
          <a:prstGeom prst="line">
            <a:avLst/>
          </a:prstGeom>
          <a:noFill/>
          <a:ln w="38100" cap="flat" cmpd="sng" algn="ctr">
            <a:solidFill>
              <a:srgbClr val="A0DCFF"/>
            </a:solidFill>
            <a:prstDash val="solid"/>
          </a:ln>
          <a:effectLst/>
        </p:spPr>
      </p:cxnSp>
      <p:cxnSp>
        <p:nvCxnSpPr>
          <p:cNvPr id="114" name="Straight Connector 113">
            <a:extLst>
              <a:ext uri="{FF2B5EF4-FFF2-40B4-BE49-F238E27FC236}">
                <a16:creationId xmlns:a16="http://schemas.microsoft.com/office/drawing/2014/main" id="{463DA3DA-08FC-1DAF-A40A-43D8EA53749A}"/>
              </a:ext>
            </a:extLst>
          </p:cNvPr>
          <p:cNvCxnSpPr>
            <a:cxnSpLocks/>
          </p:cNvCxnSpPr>
          <p:nvPr/>
        </p:nvCxnSpPr>
        <p:spPr>
          <a:xfrm flipV="1">
            <a:off x="7167500" y="2113507"/>
            <a:ext cx="808374" cy="225851"/>
          </a:xfrm>
          <a:prstGeom prst="line">
            <a:avLst/>
          </a:prstGeom>
          <a:noFill/>
          <a:ln w="38100" cap="flat" cmpd="sng" algn="ctr">
            <a:solidFill>
              <a:srgbClr val="A0DCFF"/>
            </a:solidFill>
            <a:prstDash val="solid"/>
          </a:ln>
          <a:effectLst/>
        </p:spPr>
      </p:cxnSp>
      <p:cxnSp>
        <p:nvCxnSpPr>
          <p:cNvPr id="115" name="Straight Connector 114">
            <a:extLst>
              <a:ext uri="{FF2B5EF4-FFF2-40B4-BE49-F238E27FC236}">
                <a16:creationId xmlns:a16="http://schemas.microsoft.com/office/drawing/2014/main" id="{E92EC953-4756-B1B2-BEB0-CCB62C511EC2}"/>
              </a:ext>
            </a:extLst>
          </p:cNvPr>
          <p:cNvCxnSpPr>
            <a:cxnSpLocks/>
          </p:cNvCxnSpPr>
          <p:nvPr/>
        </p:nvCxnSpPr>
        <p:spPr>
          <a:xfrm>
            <a:off x="7967359" y="2113508"/>
            <a:ext cx="3538841" cy="0"/>
          </a:xfrm>
          <a:prstGeom prst="line">
            <a:avLst/>
          </a:prstGeom>
          <a:noFill/>
          <a:ln w="38100" cap="flat" cmpd="sng" algn="ctr">
            <a:solidFill>
              <a:srgbClr val="A0DCFF"/>
            </a:solidFill>
            <a:prstDash val="solid"/>
          </a:ln>
          <a:effectLst/>
        </p:spPr>
      </p:cxnSp>
      <p:cxnSp>
        <p:nvCxnSpPr>
          <p:cNvPr id="116" name="Straight Connector 115">
            <a:extLst>
              <a:ext uri="{FF2B5EF4-FFF2-40B4-BE49-F238E27FC236}">
                <a16:creationId xmlns:a16="http://schemas.microsoft.com/office/drawing/2014/main" id="{4CB9391C-3315-7338-53F4-9E88FF537D67}"/>
              </a:ext>
            </a:extLst>
          </p:cNvPr>
          <p:cNvCxnSpPr>
            <a:cxnSpLocks/>
          </p:cNvCxnSpPr>
          <p:nvPr/>
        </p:nvCxnSpPr>
        <p:spPr>
          <a:xfrm>
            <a:off x="8295636" y="3236799"/>
            <a:ext cx="3276365" cy="0"/>
          </a:xfrm>
          <a:prstGeom prst="line">
            <a:avLst/>
          </a:prstGeom>
          <a:noFill/>
          <a:ln w="38100" cap="flat" cmpd="sng" algn="ctr">
            <a:solidFill>
              <a:srgbClr val="A0DCFF"/>
            </a:solidFill>
            <a:prstDash val="solid"/>
          </a:ln>
          <a:effectLst/>
        </p:spPr>
      </p:cxnSp>
      <p:cxnSp>
        <p:nvCxnSpPr>
          <p:cNvPr id="117" name="Straight Connector 116">
            <a:extLst>
              <a:ext uri="{FF2B5EF4-FFF2-40B4-BE49-F238E27FC236}">
                <a16:creationId xmlns:a16="http://schemas.microsoft.com/office/drawing/2014/main" id="{975519F0-8B7C-85D6-0B90-0841505ED64B}"/>
              </a:ext>
            </a:extLst>
          </p:cNvPr>
          <p:cNvCxnSpPr>
            <a:cxnSpLocks/>
          </p:cNvCxnSpPr>
          <p:nvPr/>
        </p:nvCxnSpPr>
        <p:spPr>
          <a:xfrm>
            <a:off x="8295636" y="4493098"/>
            <a:ext cx="3405336" cy="0"/>
          </a:xfrm>
          <a:prstGeom prst="line">
            <a:avLst/>
          </a:prstGeom>
          <a:noFill/>
          <a:ln w="38100" cap="flat" cmpd="sng" algn="ctr">
            <a:solidFill>
              <a:srgbClr val="A0DCFF"/>
            </a:solidFill>
            <a:prstDash val="solid"/>
          </a:ln>
          <a:effectLst/>
        </p:spPr>
      </p:cxnSp>
      <p:cxnSp>
        <p:nvCxnSpPr>
          <p:cNvPr id="118" name="Straight Connector 117">
            <a:extLst>
              <a:ext uri="{FF2B5EF4-FFF2-40B4-BE49-F238E27FC236}">
                <a16:creationId xmlns:a16="http://schemas.microsoft.com/office/drawing/2014/main" id="{A11C1C93-5396-9DD0-F594-E072ADE2CA40}"/>
              </a:ext>
            </a:extLst>
          </p:cNvPr>
          <p:cNvCxnSpPr>
            <a:cxnSpLocks/>
          </p:cNvCxnSpPr>
          <p:nvPr/>
        </p:nvCxnSpPr>
        <p:spPr>
          <a:xfrm>
            <a:off x="6968471" y="5132805"/>
            <a:ext cx="590293" cy="623198"/>
          </a:xfrm>
          <a:prstGeom prst="line">
            <a:avLst/>
          </a:prstGeom>
          <a:noFill/>
          <a:ln w="38100" cap="flat" cmpd="sng" algn="ctr">
            <a:solidFill>
              <a:srgbClr val="A0DCFF"/>
            </a:solidFill>
            <a:prstDash val="solid"/>
          </a:ln>
          <a:effectLst/>
        </p:spPr>
      </p:cxnSp>
      <p:cxnSp>
        <p:nvCxnSpPr>
          <p:cNvPr id="119" name="Straight Connector 118">
            <a:extLst>
              <a:ext uri="{FF2B5EF4-FFF2-40B4-BE49-F238E27FC236}">
                <a16:creationId xmlns:a16="http://schemas.microsoft.com/office/drawing/2014/main" id="{34611EB2-220B-F050-F3FB-196DD1AC9CCC}"/>
              </a:ext>
            </a:extLst>
          </p:cNvPr>
          <p:cNvCxnSpPr>
            <a:cxnSpLocks/>
          </p:cNvCxnSpPr>
          <p:nvPr/>
        </p:nvCxnSpPr>
        <p:spPr>
          <a:xfrm>
            <a:off x="7558764" y="5753023"/>
            <a:ext cx="3947436" cy="0"/>
          </a:xfrm>
          <a:prstGeom prst="line">
            <a:avLst/>
          </a:prstGeom>
          <a:noFill/>
          <a:ln w="38100" cap="flat" cmpd="sng" algn="ctr">
            <a:solidFill>
              <a:srgbClr val="A0DCFF"/>
            </a:solidFill>
            <a:prstDash val="solid"/>
          </a:ln>
          <a:effectLst/>
        </p:spPr>
      </p:cxnSp>
      <p:cxnSp>
        <p:nvCxnSpPr>
          <p:cNvPr id="120" name="Straight Connector 119">
            <a:extLst>
              <a:ext uri="{FF2B5EF4-FFF2-40B4-BE49-F238E27FC236}">
                <a16:creationId xmlns:a16="http://schemas.microsoft.com/office/drawing/2014/main" id="{8B9CEF9B-B714-B4E2-72E1-6361CCBB6001}"/>
              </a:ext>
            </a:extLst>
          </p:cNvPr>
          <p:cNvCxnSpPr>
            <a:cxnSpLocks/>
          </p:cNvCxnSpPr>
          <p:nvPr/>
        </p:nvCxnSpPr>
        <p:spPr>
          <a:xfrm flipV="1">
            <a:off x="7739256" y="3235258"/>
            <a:ext cx="577937" cy="230229"/>
          </a:xfrm>
          <a:prstGeom prst="line">
            <a:avLst/>
          </a:prstGeom>
          <a:noFill/>
          <a:ln w="38100" cap="flat" cmpd="sng" algn="ctr">
            <a:solidFill>
              <a:srgbClr val="A0DCFF"/>
            </a:solidFill>
            <a:prstDash val="solid"/>
          </a:ln>
          <a:effectLst/>
        </p:spPr>
      </p:cxnSp>
      <p:cxnSp>
        <p:nvCxnSpPr>
          <p:cNvPr id="121" name="Straight Connector 120">
            <a:extLst>
              <a:ext uri="{FF2B5EF4-FFF2-40B4-BE49-F238E27FC236}">
                <a16:creationId xmlns:a16="http://schemas.microsoft.com/office/drawing/2014/main" id="{89B9D556-02E1-1933-140B-92421C1BEC0E}"/>
              </a:ext>
            </a:extLst>
          </p:cNvPr>
          <p:cNvCxnSpPr>
            <a:cxnSpLocks/>
          </p:cNvCxnSpPr>
          <p:nvPr/>
        </p:nvCxnSpPr>
        <p:spPr>
          <a:xfrm>
            <a:off x="7753218" y="4316954"/>
            <a:ext cx="545304" cy="175163"/>
          </a:xfrm>
          <a:prstGeom prst="line">
            <a:avLst/>
          </a:prstGeom>
          <a:noFill/>
          <a:ln w="38100" cap="flat" cmpd="sng" algn="ctr">
            <a:solidFill>
              <a:srgbClr val="A0DCFF"/>
            </a:solidFill>
            <a:prstDash val="solid"/>
          </a:ln>
          <a:effectLst/>
        </p:spPr>
      </p:cxnSp>
      <p:sp>
        <p:nvSpPr>
          <p:cNvPr id="122" name="TextBox 121">
            <a:extLst>
              <a:ext uri="{FF2B5EF4-FFF2-40B4-BE49-F238E27FC236}">
                <a16:creationId xmlns:a16="http://schemas.microsoft.com/office/drawing/2014/main" id="{D6169489-6567-BB74-E17D-6043DE624260}"/>
              </a:ext>
            </a:extLst>
          </p:cNvPr>
          <p:cNvSpPr txBox="1"/>
          <p:nvPr/>
        </p:nvSpPr>
        <p:spPr>
          <a:xfrm>
            <a:off x="8295636" y="1770687"/>
            <a:ext cx="2081501" cy="307777"/>
          </a:xfrm>
          <a:prstGeom prst="rect">
            <a:avLst/>
          </a:prstGeom>
          <a:noFill/>
        </p:spPr>
        <p:txBody>
          <a:bodyPr wrap="square">
            <a:spAutoFit/>
          </a:bodyPr>
          <a:lstStyle/>
          <a:p>
            <a:pPr marL="0" marR="0" lvl="0" indent="0"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merging Technologies</a:t>
            </a:r>
          </a:p>
        </p:txBody>
      </p:sp>
      <p:sp>
        <p:nvSpPr>
          <p:cNvPr id="123" name="TextBox 122">
            <a:extLst>
              <a:ext uri="{FF2B5EF4-FFF2-40B4-BE49-F238E27FC236}">
                <a16:creationId xmlns:a16="http://schemas.microsoft.com/office/drawing/2014/main" id="{9A2B2642-D310-A66B-324C-8F7DC89E3F0A}"/>
              </a:ext>
            </a:extLst>
          </p:cNvPr>
          <p:cNvSpPr txBox="1"/>
          <p:nvPr/>
        </p:nvSpPr>
        <p:spPr>
          <a:xfrm>
            <a:off x="8420370" y="4189929"/>
            <a:ext cx="1662112" cy="307777"/>
          </a:xfrm>
          <a:prstGeom prst="rect">
            <a:avLst/>
          </a:prstGeom>
          <a:noFill/>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dentity</a:t>
            </a:r>
          </a:p>
        </p:txBody>
      </p:sp>
      <p:sp>
        <p:nvSpPr>
          <p:cNvPr id="124" name="TextBox 123">
            <a:extLst>
              <a:ext uri="{FF2B5EF4-FFF2-40B4-BE49-F238E27FC236}">
                <a16:creationId xmlns:a16="http://schemas.microsoft.com/office/drawing/2014/main" id="{742D16A6-2457-EF08-5030-3D7D3C3B0EA3}"/>
              </a:ext>
            </a:extLst>
          </p:cNvPr>
          <p:cNvSpPr txBox="1"/>
          <p:nvPr/>
        </p:nvSpPr>
        <p:spPr>
          <a:xfrm>
            <a:off x="8295636" y="4572485"/>
            <a:ext cx="3405336" cy="838374"/>
          </a:xfrm>
          <a:prstGeom prst="rect">
            <a:avLst/>
          </a:prstGeom>
          <a:noFill/>
        </p:spPr>
        <p:txBody>
          <a:bodyPr wrap="square" numCol="2">
            <a:noAutofit/>
          </a:bodyPr>
          <a:lstStyle/>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dentity Governance and Administration</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dvanced</a:t>
            </a:r>
            <a:b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uthentication</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ivileged Access </a:t>
            </a:r>
            <a:b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nagement</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dentity analytics</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mer Identity</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M Strategy &amp; Roadmap</a:t>
            </a:r>
          </a:p>
        </p:txBody>
      </p:sp>
      <p:sp>
        <p:nvSpPr>
          <p:cNvPr id="125" name="TextBox 124">
            <a:extLst>
              <a:ext uri="{FF2B5EF4-FFF2-40B4-BE49-F238E27FC236}">
                <a16:creationId xmlns:a16="http://schemas.microsoft.com/office/drawing/2014/main" id="{490A6B24-0F48-5253-D551-66785C33E68C}"/>
              </a:ext>
            </a:extLst>
          </p:cNvPr>
          <p:cNvSpPr txBox="1"/>
          <p:nvPr/>
        </p:nvSpPr>
        <p:spPr>
          <a:xfrm>
            <a:off x="8295636" y="5441476"/>
            <a:ext cx="2470361" cy="307777"/>
          </a:xfrm>
          <a:prstGeom prst="rect">
            <a:avLst/>
          </a:prstGeom>
          <a:noFill/>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frastructure Security</a:t>
            </a:r>
          </a:p>
        </p:txBody>
      </p:sp>
      <p:sp>
        <p:nvSpPr>
          <p:cNvPr id="126" name="TextBox 125">
            <a:extLst>
              <a:ext uri="{FF2B5EF4-FFF2-40B4-BE49-F238E27FC236}">
                <a16:creationId xmlns:a16="http://schemas.microsoft.com/office/drawing/2014/main" id="{77575D69-4F0A-C782-E8E6-3F609080729B}"/>
              </a:ext>
            </a:extLst>
          </p:cNvPr>
          <p:cNvSpPr txBox="1"/>
          <p:nvPr/>
        </p:nvSpPr>
        <p:spPr>
          <a:xfrm>
            <a:off x="8295636" y="5825138"/>
            <a:ext cx="3419001" cy="744721"/>
          </a:xfrm>
          <a:prstGeom prst="rect">
            <a:avLst/>
          </a:prstGeom>
          <a:noFill/>
        </p:spPr>
        <p:txBody>
          <a:bodyPr wrap="square" numCol="2">
            <a:noAutofit/>
          </a:bodyPr>
          <a:lstStyle/>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re infrastructure security</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sset management</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bile and endpoint security</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echnical resilience</a:t>
            </a:r>
          </a:p>
        </p:txBody>
      </p:sp>
      <p:sp>
        <p:nvSpPr>
          <p:cNvPr id="127" name="TextBox 126">
            <a:extLst>
              <a:ext uri="{FF2B5EF4-FFF2-40B4-BE49-F238E27FC236}">
                <a16:creationId xmlns:a16="http://schemas.microsoft.com/office/drawing/2014/main" id="{D79D2876-17EE-53B5-7395-386CED1E1F61}"/>
              </a:ext>
            </a:extLst>
          </p:cNvPr>
          <p:cNvSpPr txBox="1"/>
          <p:nvPr/>
        </p:nvSpPr>
        <p:spPr>
          <a:xfrm>
            <a:off x="8295636" y="2883087"/>
            <a:ext cx="2470361" cy="307777"/>
          </a:xfrm>
          <a:prstGeom prst="rect">
            <a:avLst/>
          </a:prstGeom>
          <a:noFill/>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 Strategy</a:t>
            </a:r>
          </a:p>
        </p:txBody>
      </p:sp>
      <p:sp>
        <p:nvSpPr>
          <p:cNvPr id="128" name="TextBox 127">
            <a:extLst>
              <a:ext uri="{FF2B5EF4-FFF2-40B4-BE49-F238E27FC236}">
                <a16:creationId xmlns:a16="http://schemas.microsoft.com/office/drawing/2014/main" id="{100B8A38-E722-54D0-5F9A-5582E937AEC3}"/>
              </a:ext>
            </a:extLst>
          </p:cNvPr>
          <p:cNvSpPr txBox="1"/>
          <p:nvPr/>
        </p:nvSpPr>
        <p:spPr>
          <a:xfrm>
            <a:off x="8295636" y="3260532"/>
            <a:ext cx="3405336" cy="955167"/>
          </a:xfrm>
          <a:prstGeom prst="rect">
            <a:avLst/>
          </a:prstGeom>
          <a:noFill/>
        </p:spPr>
        <p:txBody>
          <a:bodyPr wrap="square" numCol="2">
            <a:noAutofit/>
          </a:bodyPr>
          <a:lstStyle/>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 strategy, transformation</a:t>
            </a:r>
            <a:b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d assessments </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 resilience and simulation</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 risk management</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 training and awareness </a:t>
            </a:r>
          </a:p>
          <a:p>
            <a:pPr marL="171450" marR="0" lvl="0" indent="-1714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pliance with NIST, DORA, NIS2, ISO 27001</a:t>
            </a:r>
          </a:p>
        </p:txBody>
      </p:sp>
      <p:sp>
        <p:nvSpPr>
          <p:cNvPr id="129" name="TextBox 128">
            <a:extLst>
              <a:ext uri="{FF2B5EF4-FFF2-40B4-BE49-F238E27FC236}">
                <a16:creationId xmlns:a16="http://schemas.microsoft.com/office/drawing/2014/main" id="{DB560CB3-1369-7828-2F77-0200C2C0D093}"/>
              </a:ext>
            </a:extLst>
          </p:cNvPr>
          <p:cNvSpPr txBox="1"/>
          <p:nvPr/>
        </p:nvSpPr>
        <p:spPr>
          <a:xfrm>
            <a:off x="5562876" y="1586050"/>
            <a:ext cx="1190776" cy="307777"/>
          </a:xfrm>
          <a:prstGeom prst="rect">
            <a:avLst/>
          </a:prstGeom>
          <a:solidFill>
            <a:sysClr val="window" lastClr="FFFFFF"/>
          </a:solidFill>
        </p:spPr>
        <p:txBody>
          <a:bodyPr wrap="square">
            <a:spAutoFit/>
          </a:bodyP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0" cap="none" spc="0" normalizeH="0" baseline="0" dirty="0">
                <a:ln>
                  <a:noFill/>
                </a:ln>
                <a:solidFill>
                  <a:prstClr val="white">
                    <a:lumMod val="75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dvise</a:t>
            </a:r>
            <a:endParaRPr kumimoji="0" lang="en-US" sz="2400" b="1" i="0" u="none" strike="noStrike" kern="0" cap="none" spc="0" normalizeH="0" baseline="0" dirty="0">
              <a:ln>
                <a:noFill/>
              </a:ln>
              <a:solidFill>
                <a:prstClr val="white">
                  <a:lumMod val="75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30" name="Group 129">
            <a:extLst>
              <a:ext uri="{FF2B5EF4-FFF2-40B4-BE49-F238E27FC236}">
                <a16:creationId xmlns:a16="http://schemas.microsoft.com/office/drawing/2014/main" id="{387C02B5-D8B7-851E-356A-AD2E2F62B61B}"/>
              </a:ext>
            </a:extLst>
          </p:cNvPr>
          <p:cNvGrpSpPr/>
          <p:nvPr/>
        </p:nvGrpSpPr>
        <p:grpSpPr>
          <a:xfrm>
            <a:off x="3494387" y="1418079"/>
            <a:ext cx="5203226" cy="5075619"/>
            <a:chOff x="3494387" y="1418079"/>
            <a:chExt cx="5203226" cy="5075619"/>
          </a:xfrm>
        </p:grpSpPr>
        <p:graphicFrame>
          <p:nvGraphicFramePr>
            <p:cNvPr id="131" name="Chart Placeholder 19">
              <a:extLst>
                <a:ext uri="{FF2B5EF4-FFF2-40B4-BE49-F238E27FC236}">
                  <a16:creationId xmlns:a16="http://schemas.microsoft.com/office/drawing/2014/main" id="{ABF98A45-583B-AE9F-C3D5-1496E9AD3F94}"/>
                </a:ext>
              </a:extLst>
            </p:cNvPr>
            <p:cNvGraphicFramePr>
              <a:graphicFrameLocks/>
            </p:cNvGraphicFramePr>
            <p:nvPr/>
          </p:nvGraphicFramePr>
          <p:xfrm>
            <a:off x="3494387" y="1418079"/>
            <a:ext cx="5203226" cy="5075619"/>
          </p:xfrm>
          <a:graphic>
            <a:graphicData uri="http://schemas.openxmlformats.org/drawingml/2006/chart">
              <c:chart xmlns:c="http://schemas.openxmlformats.org/drawingml/2006/chart" xmlns:r="http://schemas.openxmlformats.org/officeDocument/2006/relationships" r:id="rId6"/>
            </a:graphicData>
          </a:graphic>
        </p:graphicFrame>
        <p:sp>
          <p:nvSpPr>
            <p:cNvPr id="132" name="Oval 131">
              <a:extLst>
                <a:ext uri="{FF2B5EF4-FFF2-40B4-BE49-F238E27FC236}">
                  <a16:creationId xmlns:a16="http://schemas.microsoft.com/office/drawing/2014/main" id="{A94D9062-DBE0-BEA0-1D36-81D1CE86F2C6}"/>
                </a:ext>
              </a:extLst>
            </p:cNvPr>
            <p:cNvSpPr/>
            <p:nvPr/>
          </p:nvSpPr>
          <p:spPr bwMode="gray">
            <a:xfrm>
              <a:off x="5299908" y="2909585"/>
              <a:ext cx="1670335" cy="1615068"/>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33" name="Graphic 4">
              <a:extLst>
                <a:ext uri="{FF2B5EF4-FFF2-40B4-BE49-F238E27FC236}">
                  <a16:creationId xmlns:a16="http://schemas.microsoft.com/office/drawing/2014/main" id="{5D92AF24-344A-97F8-2942-D069EA171F97}"/>
                </a:ext>
              </a:extLst>
            </p:cNvPr>
            <p:cNvGrpSpPr>
              <a:grpSpLocks noChangeAspect="1"/>
            </p:cNvGrpSpPr>
            <p:nvPr/>
          </p:nvGrpSpPr>
          <p:grpSpPr>
            <a:xfrm>
              <a:off x="5339186" y="2288677"/>
              <a:ext cx="548184" cy="548640"/>
              <a:chOff x="467743" y="1402723"/>
              <a:chExt cx="361670" cy="361971"/>
            </a:xfrm>
            <a:solidFill>
              <a:srgbClr val="A0DCFF"/>
            </a:solidFill>
          </p:grpSpPr>
          <p:sp>
            <p:nvSpPr>
              <p:cNvPr id="165" name="Graphic 4">
                <a:extLst>
                  <a:ext uri="{FF2B5EF4-FFF2-40B4-BE49-F238E27FC236}">
                    <a16:creationId xmlns:a16="http://schemas.microsoft.com/office/drawing/2014/main" id="{3DCB63B1-4FC3-F97F-3BB8-44EB9E54B60C}"/>
                  </a:ext>
                </a:extLst>
              </p:cNvPr>
              <p:cNvSpPr/>
              <p:nvPr/>
            </p:nvSpPr>
            <p:spPr>
              <a:xfrm>
                <a:off x="467743" y="1402723"/>
                <a:ext cx="361670" cy="361971"/>
              </a:xfrm>
              <a:custGeom>
                <a:avLst/>
                <a:gdLst>
                  <a:gd name="connsiteX0" fmla="*/ 180835 w 361670"/>
                  <a:gd name="connsiteY0" fmla="*/ 0 h 361971"/>
                  <a:gd name="connsiteX1" fmla="*/ 0 w 361670"/>
                  <a:gd name="connsiteY1" fmla="*/ 181305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028 h 361971"/>
                  <a:gd name="connsiteX9" fmla="*/ 180835 w 361670"/>
                  <a:gd name="connsiteY9" fmla="*/ 12130 h 361971"/>
                  <a:gd name="connsiteX10" fmla="*/ 348891 w 361670"/>
                  <a:gd name="connsiteY10" fmla="*/ 180028 h 361971"/>
                  <a:gd name="connsiteX11" fmla="*/ 180835 w 361670"/>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5" y="0"/>
                    </a:moveTo>
                    <a:cubicBezTo>
                      <a:pt x="80513" y="0"/>
                      <a:pt x="0" y="81077"/>
                      <a:pt x="0" y="181305"/>
                    </a:cubicBezTo>
                    <a:cubicBezTo>
                      <a:pt x="0" y="281534"/>
                      <a:pt x="81152" y="361972"/>
                      <a:pt x="180835" y="361972"/>
                    </a:cubicBezTo>
                    <a:cubicBezTo>
                      <a:pt x="280518" y="361972"/>
                      <a:pt x="361670" y="280895"/>
                      <a:pt x="361670" y="181305"/>
                    </a:cubicBezTo>
                    <a:cubicBezTo>
                      <a:pt x="361670" y="181305"/>
                      <a:pt x="361670" y="181305"/>
                      <a:pt x="361670" y="181305"/>
                    </a:cubicBezTo>
                    <a:cubicBezTo>
                      <a:pt x="361670" y="80438"/>
                      <a:pt x="281157" y="0"/>
                      <a:pt x="180835" y="0"/>
                    </a:cubicBezTo>
                    <a:cubicBezTo>
                      <a:pt x="180835" y="0"/>
                      <a:pt x="180835" y="0"/>
                      <a:pt x="180835" y="0"/>
                    </a:cubicBezTo>
                    <a:close/>
                    <a:moveTo>
                      <a:pt x="180835" y="348565"/>
                    </a:moveTo>
                    <a:cubicBezTo>
                      <a:pt x="87542" y="348565"/>
                      <a:pt x="12780" y="273234"/>
                      <a:pt x="12780" y="180028"/>
                    </a:cubicBezTo>
                    <a:cubicBezTo>
                      <a:pt x="12780" y="86822"/>
                      <a:pt x="87542" y="12130"/>
                      <a:pt x="180835" y="12130"/>
                    </a:cubicBezTo>
                    <a:cubicBezTo>
                      <a:pt x="274128" y="12130"/>
                      <a:pt x="348891" y="87461"/>
                      <a:pt x="348891" y="180028"/>
                    </a:cubicBezTo>
                    <a:cubicBezTo>
                      <a:pt x="348891" y="273234"/>
                      <a:pt x="273489" y="348565"/>
                      <a:pt x="180835" y="348565"/>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6" name="Graphic 4">
                <a:extLst>
                  <a:ext uri="{FF2B5EF4-FFF2-40B4-BE49-F238E27FC236}">
                    <a16:creationId xmlns:a16="http://schemas.microsoft.com/office/drawing/2014/main" id="{8F594AA5-C15D-35DB-EC7A-AD50D64D9C1C}"/>
                  </a:ext>
                </a:extLst>
              </p:cNvPr>
              <p:cNvSpPr/>
              <p:nvPr/>
            </p:nvSpPr>
            <p:spPr>
              <a:xfrm>
                <a:off x="579095" y="1568672"/>
                <a:ext cx="137248" cy="118776"/>
              </a:xfrm>
              <a:custGeom>
                <a:avLst/>
                <a:gdLst>
                  <a:gd name="connsiteX0" fmla="*/ 118047 w 137248"/>
                  <a:gd name="connsiteY0" fmla="*/ 56852 h 118776"/>
                  <a:gd name="connsiteX1" fmla="*/ 109740 w 137248"/>
                  <a:gd name="connsiteY1" fmla="*/ 58767 h 118776"/>
                  <a:gd name="connsiteX2" fmla="*/ 89931 w 137248"/>
                  <a:gd name="connsiteY2" fmla="*/ 43445 h 118776"/>
                  <a:gd name="connsiteX3" fmla="*/ 82263 w 137248"/>
                  <a:gd name="connsiteY3" fmla="*/ 44722 h 118776"/>
                  <a:gd name="connsiteX4" fmla="*/ 82263 w 137248"/>
                  <a:gd name="connsiteY4" fmla="*/ 21740 h 118776"/>
                  <a:gd name="connsiteX5" fmla="*/ 63093 w 137248"/>
                  <a:gd name="connsiteY5" fmla="*/ 34 h 118776"/>
                  <a:gd name="connsiteX6" fmla="*/ 41367 w 137248"/>
                  <a:gd name="connsiteY6" fmla="*/ 19186 h 118776"/>
                  <a:gd name="connsiteX7" fmla="*/ 41367 w 137248"/>
                  <a:gd name="connsiteY7" fmla="*/ 21740 h 118776"/>
                  <a:gd name="connsiteX8" fmla="*/ 41367 w 137248"/>
                  <a:gd name="connsiteY8" fmla="*/ 79834 h 118776"/>
                  <a:gd name="connsiteX9" fmla="*/ 28588 w 137248"/>
                  <a:gd name="connsiteY9" fmla="*/ 67066 h 118776"/>
                  <a:gd name="connsiteX10" fmla="*/ 12613 w 137248"/>
                  <a:gd name="connsiteY10" fmla="*/ 65151 h 118776"/>
                  <a:gd name="connsiteX11" fmla="*/ 1111 w 137248"/>
                  <a:gd name="connsiteY11" fmla="*/ 75365 h 118776"/>
                  <a:gd name="connsiteX12" fmla="*/ 6223 w 137248"/>
                  <a:gd name="connsiteY12" fmla="*/ 102178 h 118776"/>
                  <a:gd name="connsiteX13" fmla="*/ 12613 w 137248"/>
                  <a:gd name="connsiteY13" fmla="*/ 114946 h 118776"/>
                  <a:gd name="connsiteX14" fmla="*/ 18364 w 137248"/>
                  <a:gd name="connsiteY14" fmla="*/ 118777 h 118776"/>
                  <a:gd name="connsiteX15" fmla="*/ 20920 w 137248"/>
                  <a:gd name="connsiteY15" fmla="*/ 118138 h 118776"/>
                  <a:gd name="connsiteX16" fmla="*/ 24115 w 137248"/>
                  <a:gd name="connsiteY16" fmla="*/ 109839 h 118776"/>
                  <a:gd name="connsiteX17" fmla="*/ 24115 w 137248"/>
                  <a:gd name="connsiteY17" fmla="*/ 109839 h 118776"/>
                  <a:gd name="connsiteX18" fmla="*/ 17725 w 137248"/>
                  <a:gd name="connsiteY18" fmla="*/ 96433 h 118776"/>
                  <a:gd name="connsiteX19" fmla="*/ 17086 w 137248"/>
                  <a:gd name="connsiteY19" fmla="*/ 95794 h 118776"/>
                  <a:gd name="connsiteX20" fmla="*/ 12613 w 137248"/>
                  <a:gd name="connsiteY20" fmla="*/ 80473 h 118776"/>
                  <a:gd name="connsiteX21" fmla="*/ 15808 w 137248"/>
                  <a:gd name="connsiteY21" fmla="*/ 77919 h 118776"/>
                  <a:gd name="connsiteX22" fmla="*/ 17086 w 137248"/>
                  <a:gd name="connsiteY22" fmla="*/ 77281 h 118776"/>
                  <a:gd name="connsiteX23" fmla="*/ 22198 w 137248"/>
                  <a:gd name="connsiteY23" fmla="*/ 78557 h 118776"/>
                  <a:gd name="connsiteX24" fmla="*/ 31782 w 137248"/>
                  <a:gd name="connsiteY24" fmla="*/ 90049 h 118776"/>
                  <a:gd name="connsiteX25" fmla="*/ 41367 w 137248"/>
                  <a:gd name="connsiteY25" fmla="*/ 111116 h 118776"/>
                  <a:gd name="connsiteX26" fmla="*/ 49674 w 137248"/>
                  <a:gd name="connsiteY26" fmla="*/ 114308 h 118776"/>
                  <a:gd name="connsiteX27" fmla="*/ 52869 w 137248"/>
                  <a:gd name="connsiteY27" fmla="*/ 107285 h 118776"/>
                  <a:gd name="connsiteX28" fmla="*/ 52869 w 137248"/>
                  <a:gd name="connsiteY28" fmla="*/ 106009 h 118776"/>
                  <a:gd name="connsiteX29" fmla="*/ 52869 w 137248"/>
                  <a:gd name="connsiteY29" fmla="*/ 23017 h 118776"/>
                  <a:gd name="connsiteX30" fmla="*/ 59898 w 137248"/>
                  <a:gd name="connsiteY30" fmla="*/ 14718 h 118776"/>
                  <a:gd name="connsiteX31" fmla="*/ 68205 w 137248"/>
                  <a:gd name="connsiteY31" fmla="*/ 21740 h 118776"/>
                  <a:gd name="connsiteX32" fmla="*/ 68205 w 137248"/>
                  <a:gd name="connsiteY32" fmla="*/ 23017 h 118776"/>
                  <a:gd name="connsiteX33" fmla="*/ 68205 w 137248"/>
                  <a:gd name="connsiteY33" fmla="*/ 85580 h 118776"/>
                  <a:gd name="connsiteX34" fmla="*/ 74595 w 137248"/>
                  <a:gd name="connsiteY34" fmla="*/ 91964 h 118776"/>
                  <a:gd name="connsiteX35" fmla="*/ 80985 w 137248"/>
                  <a:gd name="connsiteY35" fmla="*/ 85580 h 118776"/>
                  <a:gd name="connsiteX36" fmla="*/ 80985 w 137248"/>
                  <a:gd name="connsiteY36" fmla="*/ 63236 h 118776"/>
                  <a:gd name="connsiteX37" fmla="*/ 88014 w 137248"/>
                  <a:gd name="connsiteY37" fmla="*/ 54937 h 118776"/>
                  <a:gd name="connsiteX38" fmla="*/ 96321 w 137248"/>
                  <a:gd name="connsiteY38" fmla="*/ 61959 h 118776"/>
                  <a:gd name="connsiteX39" fmla="*/ 96321 w 137248"/>
                  <a:gd name="connsiteY39" fmla="*/ 63236 h 118776"/>
                  <a:gd name="connsiteX40" fmla="*/ 96321 w 137248"/>
                  <a:gd name="connsiteY40" fmla="*/ 84303 h 118776"/>
                  <a:gd name="connsiteX41" fmla="*/ 102711 w 137248"/>
                  <a:gd name="connsiteY41" fmla="*/ 90687 h 118776"/>
                  <a:gd name="connsiteX42" fmla="*/ 109101 w 137248"/>
                  <a:gd name="connsiteY42" fmla="*/ 84303 h 118776"/>
                  <a:gd name="connsiteX43" fmla="*/ 109101 w 137248"/>
                  <a:gd name="connsiteY43" fmla="*/ 77281 h 118776"/>
                  <a:gd name="connsiteX44" fmla="*/ 117408 w 137248"/>
                  <a:gd name="connsiteY44" fmla="*/ 70258 h 118776"/>
                  <a:gd name="connsiteX45" fmla="*/ 124437 w 137248"/>
                  <a:gd name="connsiteY45" fmla="*/ 77281 h 118776"/>
                  <a:gd name="connsiteX46" fmla="*/ 124437 w 137248"/>
                  <a:gd name="connsiteY46" fmla="*/ 91325 h 118776"/>
                  <a:gd name="connsiteX47" fmla="*/ 130827 w 137248"/>
                  <a:gd name="connsiteY47" fmla="*/ 97709 h 118776"/>
                  <a:gd name="connsiteX48" fmla="*/ 137216 w 137248"/>
                  <a:gd name="connsiteY48" fmla="*/ 91325 h 118776"/>
                  <a:gd name="connsiteX49" fmla="*/ 137216 w 137248"/>
                  <a:gd name="connsiteY49" fmla="*/ 77281 h 118776"/>
                  <a:gd name="connsiteX50" fmla="*/ 118047 w 137248"/>
                  <a:gd name="connsiteY50" fmla="*/ 56852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7248" h="118776">
                    <a:moveTo>
                      <a:pt x="118047" y="56852"/>
                    </a:moveTo>
                    <a:cubicBezTo>
                      <a:pt x="115491" y="56852"/>
                      <a:pt x="112296" y="57490"/>
                      <a:pt x="109740" y="58767"/>
                    </a:cubicBezTo>
                    <a:cubicBezTo>
                      <a:pt x="107823" y="49829"/>
                      <a:pt x="99516" y="43445"/>
                      <a:pt x="89931" y="43445"/>
                    </a:cubicBezTo>
                    <a:cubicBezTo>
                      <a:pt x="87375" y="43445"/>
                      <a:pt x="84819" y="44084"/>
                      <a:pt x="82263" y="44722"/>
                    </a:cubicBezTo>
                    <a:lnTo>
                      <a:pt x="82263" y="21740"/>
                    </a:lnTo>
                    <a:cubicBezTo>
                      <a:pt x="82902" y="10249"/>
                      <a:pt x="74595" y="673"/>
                      <a:pt x="63093" y="34"/>
                    </a:cubicBezTo>
                    <a:cubicBezTo>
                      <a:pt x="51591" y="-604"/>
                      <a:pt x="42006" y="7695"/>
                      <a:pt x="41367" y="19186"/>
                    </a:cubicBezTo>
                    <a:cubicBezTo>
                      <a:pt x="41367" y="19825"/>
                      <a:pt x="41367" y="20463"/>
                      <a:pt x="41367" y="21740"/>
                    </a:cubicBezTo>
                    <a:lnTo>
                      <a:pt x="41367" y="79834"/>
                    </a:lnTo>
                    <a:cubicBezTo>
                      <a:pt x="38172" y="74727"/>
                      <a:pt x="33699" y="70258"/>
                      <a:pt x="28588" y="67066"/>
                    </a:cubicBezTo>
                    <a:cubicBezTo>
                      <a:pt x="24115" y="63874"/>
                      <a:pt x="17725" y="63236"/>
                      <a:pt x="12613" y="65151"/>
                    </a:cubicBezTo>
                    <a:cubicBezTo>
                      <a:pt x="7501" y="66428"/>
                      <a:pt x="3028" y="70258"/>
                      <a:pt x="1111" y="75365"/>
                    </a:cubicBezTo>
                    <a:cubicBezTo>
                      <a:pt x="-1445" y="84303"/>
                      <a:pt x="472" y="94517"/>
                      <a:pt x="6223" y="102178"/>
                    </a:cubicBezTo>
                    <a:lnTo>
                      <a:pt x="12613" y="114946"/>
                    </a:lnTo>
                    <a:cubicBezTo>
                      <a:pt x="13891" y="117500"/>
                      <a:pt x="15808" y="118777"/>
                      <a:pt x="18364" y="118777"/>
                    </a:cubicBezTo>
                    <a:cubicBezTo>
                      <a:pt x="19003" y="118777"/>
                      <a:pt x="20281" y="118777"/>
                      <a:pt x="20920" y="118138"/>
                    </a:cubicBezTo>
                    <a:cubicBezTo>
                      <a:pt x="24115" y="116861"/>
                      <a:pt x="25393" y="113031"/>
                      <a:pt x="24115" y="109839"/>
                    </a:cubicBezTo>
                    <a:cubicBezTo>
                      <a:pt x="24115" y="109839"/>
                      <a:pt x="24115" y="109839"/>
                      <a:pt x="24115" y="109839"/>
                    </a:cubicBezTo>
                    <a:lnTo>
                      <a:pt x="17725" y="96433"/>
                    </a:lnTo>
                    <a:lnTo>
                      <a:pt x="17086" y="95794"/>
                    </a:lnTo>
                    <a:cubicBezTo>
                      <a:pt x="13252" y="91325"/>
                      <a:pt x="11974" y="86218"/>
                      <a:pt x="12613" y="80473"/>
                    </a:cubicBezTo>
                    <a:cubicBezTo>
                      <a:pt x="13252" y="79196"/>
                      <a:pt x="14530" y="77919"/>
                      <a:pt x="15808" y="77919"/>
                    </a:cubicBezTo>
                    <a:cubicBezTo>
                      <a:pt x="16447" y="77919"/>
                      <a:pt x="16447" y="77919"/>
                      <a:pt x="17086" y="77281"/>
                    </a:cubicBezTo>
                    <a:cubicBezTo>
                      <a:pt x="18364" y="76642"/>
                      <a:pt x="19642" y="77281"/>
                      <a:pt x="22198" y="78557"/>
                    </a:cubicBezTo>
                    <a:cubicBezTo>
                      <a:pt x="26671" y="81111"/>
                      <a:pt x="29866" y="84941"/>
                      <a:pt x="31782" y="90049"/>
                    </a:cubicBezTo>
                    <a:lnTo>
                      <a:pt x="41367" y="111116"/>
                    </a:lnTo>
                    <a:cubicBezTo>
                      <a:pt x="42645" y="114308"/>
                      <a:pt x="46479" y="115585"/>
                      <a:pt x="49674" y="114308"/>
                    </a:cubicBezTo>
                    <a:cubicBezTo>
                      <a:pt x="52230" y="113031"/>
                      <a:pt x="53508" y="109839"/>
                      <a:pt x="52869" y="107285"/>
                    </a:cubicBezTo>
                    <a:cubicBezTo>
                      <a:pt x="52869" y="106647"/>
                      <a:pt x="52869" y="106647"/>
                      <a:pt x="52869" y="106009"/>
                    </a:cubicBezTo>
                    <a:lnTo>
                      <a:pt x="52869" y="23017"/>
                    </a:lnTo>
                    <a:cubicBezTo>
                      <a:pt x="52230" y="19186"/>
                      <a:pt x="55425" y="15356"/>
                      <a:pt x="59898" y="14718"/>
                    </a:cubicBezTo>
                    <a:cubicBezTo>
                      <a:pt x="63732" y="14079"/>
                      <a:pt x="67566" y="17271"/>
                      <a:pt x="68205" y="21740"/>
                    </a:cubicBezTo>
                    <a:cubicBezTo>
                      <a:pt x="68205" y="22378"/>
                      <a:pt x="68205" y="22378"/>
                      <a:pt x="68205" y="23017"/>
                    </a:cubicBezTo>
                    <a:lnTo>
                      <a:pt x="68205" y="85580"/>
                    </a:lnTo>
                    <a:cubicBezTo>
                      <a:pt x="68205" y="89410"/>
                      <a:pt x="70761" y="91964"/>
                      <a:pt x="74595" y="91964"/>
                    </a:cubicBezTo>
                    <a:cubicBezTo>
                      <a:pt x="78429" y="91964"/>
                      <a:pt x="80985" y="89410"/>
                      <a:pt x="80985" y="85580"/>
                    </a:cubicBezTo>
                    <a:lnTo>
                      <a:pt x="80985" y="63236"/>
                    </a:lnTo>
                    <a:cubicBezTo>
                      <a:pt x="80346" y="59405"/>
                      <a:pt x="83541" y="55575"/>
                      <a:pt x="88014" y="54937"/>
                    </a:cubicBezTo>
                    <a:cubicBezTo>
                      <a:pt x="91848" y="54298"/>
                      <a:pt x="95682" y="57490"/>
                      <a:pt x="96321" y="61959"/>
                    </a:cubicBezTo>
                    <a:cubicBezTo>
                      <a:pt x="96321" y="62597"/>
                      <a:pt x="96321" y="62597"/>
                      <a:pt x="96321" y="63236"/>
                    </a:cubicBezTo>
                    <a:lnTo>
                      <a:pt x="96321" y="84303"/>
                    </a:lnTo>
                    <a:cubicBezTo>
                      <a:pt x="96321" y="88133"/>
                      <a:pt x="98877" y="90687"/>
                      <a:pt x="102711" y="90687"/>
                    </a:cubicBezTo>
                    <a:cubicBezTo>
                      <a:pt x="106545" y="90687"/>
                      <a:pt x="109101" y="88133"/>
                      <a:pt x="109101" y="84303"/>
                    </a:cubicBezTo>
                    <a:lnTo>
                      <a:pt x="109101" y="77281"/>
                    </a:lnTo>
                    <a:cubicBezTo>
                      <a:pt x="109740" y="73450"/>
                      <a:pt x="112935" y="70258"/>
                      <a:pt x="117408" y="70258"/>
                    </a:cubicBezTo>
                    <a:cubicBezTo>
                      <a:pt x="121242" y="70897"/>
                      <a:pt x="123798" y="73450"/>
                      <a:pt x="124437" y="77281"/>
                    </a:cubicBezTo>
                    <a:lnTo>
                      <a:pt x="124437" y="91325"/>
                    </a:lnTo>
                    <a:cubicBezTo>
                      <a:pt x="124437" y="95156"/>
                      <a:pt x="126993" y="97709"/>
                      <a:pt x="130827" y="97709"/>
                    </a:cubicBezTo>
                    <a:cubicBezTo>
                      <a:pt x="134660" y="97709"/>
                      <a:pt x="137216" y="95156"/>
                      <a:pt x="137216" y="91325"/>
                    </a:cubicBezTo>
                    <a:lnTo>
                      <a:pt x="137216" y="77281"/>
                    </a:lnTo>
                    <a:cubicBezTo>
                      <a:pt x="137855" y="65789"/>
                      <a:pt x="128910" y="56852"/>
                      <a:pt x="118047" y="56852"/>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7" name="Graphic 4">
                <a:extLst>
                  <a:ext uri="{FF2B5EF4-FFF2-40B4-BE49-F238E27FC236}">
                    <a16:creationId xmlns:a16="http://schemas.microsoft.com/office/drawing/2014/main" id="{2AE2BC07-6566-D8BF-6495-0EA844CDF877}"/>
                  </a:ext>
                </a:extLst>
              </p:cNvPr>
              <p:cNvSpPr/>
              <p:nvPr/>
            </p:nvSpPr>
            <p:spPr>
              <a:xfrm>
                <a:off x="579567" y="1480554"/>
                <a:ext cx="25608" cy="25589"/>
              </a:xfrm>
              <a:custGeom>
                <a:avLst/>
                <a:gdLst>
                  <a:gd name="connsiteX0" fmla="*/ 13419 w 25608"/>
                  <a:gd name="connsiteY0" fmla="*/ 25590 h 25589"/>
                  <a:gd name="connsiteX1" fmla="*/ 25560 w 25608"/>
                  <a:gd name="connsiteY1" fmla="*/ 12183 h 25589"/>
                  <a:gd name="connsiteX2" fmla="*/ 12141 w 25608"/>
                  <a:gd name="connsiteY2" fmla="*/ 54 h 25589"/>
                  <a:gd name="connsiteX3" fmla="*/ 0 w 25608"/>
                  <a:gd name="connsiteY3" fmla="*/ 12183 h 25589"/>
                  <a:gd name="connsiteX4" fmla="*/ 13419 w 25608"/>
                  <a:gd name="connsiteY4" fmla="*/ 25590 h 25589"/>
                  <a:gd name="connsiteX5" fmla="*/ 13419 w 25608"/>
                  <a:gd name="connsiteY5" fmla="*/ 25590 h 2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08" h="25589">
                    <a:moveTo>
                      <a:pt x="13419" y="25590"/>
                    </a:moveTo>
                    <a:cubicBezTo>
                      <a:pt x="20448" y="25590"/>
                      <a:pt x="26199" y="19844"/>
                      <a:pt x="25560" y="12183"/>
                    </a:cubicBezTo>
                    <a:cubicBezTo>
                      <a:pt x="24921" y="4523"/>
                      <a:pt x="19809" y="-585"/>
                      <a:pt x="12141" y="54"/>
                    </a:cubicBezTo>
                    <a:cubicBezTo>
                      <a:pt x="5112" y="54"/>
                      <a:pt x="0" y="5799"/>
                      <a:pt x="0" y="12183"/>
                    </a:cubicBezTo>
                    <a:cubicBezTo>
                      <a:pt x="0" y="19844"/>
                      <a:pt x="6390" y="25590"/>
                      <a:pt x="13419" y="25590"/>
                    </a:cubicBezTo>
                    <a:lnTo>
                      <a:pt x="13419" y="25590"/>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8" name="Graphic 4">
                <a:extLst>
                  <a:ext uri="{FF2B5EF4-FFF2-40B4-BE49-F238E27FC236}">
                    <a16:creationId xmlns:a16="http://schemas.microsoft.com/office/drawing/2014/main" id="{5AFBEB4B-975E-FA53-AA39-7F197DB6AC0F}"/>
                  </a:ext>
                </a:extLst>
              </p:cNvPr>
              <p:cNvSpPr/>
              <p:nvPr/>
            </p:nvSpPr>
            <p:spPr>
              <a:xfrm>
                <a:off x="628130" y="1479969"/>
                <a:ext cx="26198" cy="26174"/>
              </a:xfrm>
              <a:custGeom>
                <a:avLst/>
                <a:gdLst>
                  <a:gd name="connsiteX0" fmla="*/ 13419 w 26198"/>
                  <a:gd name="connsiteY0" fmla="*/ 26174 h 26174"/>
                  <a:gd name="connsiteX1" fmla="*/ 26199 w 26198"/>
                  <a:gd name="connsiteY1" fmla="*/ 12768 h 26174"/>
                  <a:gd name="connsiteX2" fmla="*/ 12780 w 26198"/>
                  <a:gd name="connsiteY2" fmla="*/ 0 h 26174"/>
                  <a:gd name="connsiteX3" fmla="*/ 0 w 26198"/>
                  <a:gd name="connsiteY3" fmla="*/ 12768 h 26174"/>
                  <a:gd name="connsiteX4" fmla="*/ 13419 w 26198"/>
                  <a:gd name="connsiteY4" fmla="*/ 26174 h 26174"/>
                  <a:gd name="connsiteX5" fmla="*/ 13419 w 26198"/>
                  <a:gd name="connsiteY5" fmla="*/ 26174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8" h="26174">
                    <a:moveTo>
                      <a:pt x="13419" y="26174"/>
                    </a:moveTo>
                    <a:cubicBezTo>
                      <a:pt x="20448" y="26174"/>
                      <a:pt x="26199" y="20429"/>
                      <a:pt x="26199" y="12768"/>
                    </a:cubicBezTo>
                    <a:cubicBezTo>
                      <a:pt x="26199" y="5107"/>
                      <a:pt x="20448" y="0"/>
                      <a:pt x="12780" y="0"/>
                    </a:cubicBezTo>
                    <a:cubicBezTo>
                      <a:pt x="5751" y="0"/>
                      <a:pt x="0" y="5746"/>
                      <a:pt x="0" y="12768"/>
                    </a:cubicBezTo>
                    <a:cubicBezTo>
                      <a:pt x="0" y="20429"/>
                      <a:pt x="6390" y="26174"/>
                      <a:pt x="13419" y="26174"/>
                    </a:cubicBezTo>
                    <a:cubicBezTo>
                      <a:pt x="13419" y="26174"/>
                      <a:pt x="13419" y="26174"/>
                      <a:pt x="13419" y="26174"/>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9" name="Graphic 4">
                <a:extLst>
                  <a:ext uri="{FF2B5EF4-FFF2-40B4-BE49-F238E27FC236}">
                    <a16:creationId xmlns:a16="http://schemas.microsoft.com/office/drawing/2014/main" id="{6B9E54C3-D810-9ADE-5A95-77ED1A5995E9}"/>
                  </a:ext>
                </a:extLst>
              </p:cNvPr>
              <p:cNvSpPr/>
              <p:nvPr/>
            </p:nvSpPr>
            <p:spPr>
              <a:xfrm>
                <a:off x="677333" y="1480608"/>
                <a:ext cx="25559" cy="25535"/>
              </a:xfrm>
              <a:custGeom>
                <a:avLst/>
                <a:gdLst>
                  <a:gd name="connsiteX0" fmla="*/ 12780 w 25559"/>
                  <a:gd name="connsiteY0" fmla="*/ 25536 h 25535"/>
                  <a:gd name="connsiteX1" fmla="*/ 25560 w 25559"/>
                  <a:gd name="connsiteY1" fmla="*/ 12768 h 25535"/>
                  <a:gd name="connsiteX2" fmla="*/ 12780 w 25559"/>
                  <a:gd name="connsiteY2" fmla="*/ 0 h 25535"/>
                  <a:gd name="connsiteX3" fmla="*/ 0 w 25559"/>
                  <a:gd name="connsiteY3" fmla="*/ 12130 h 25535"/>
                  <a:gd name="connsiteX4" fmla="*/ 12780 w 25559"/>
                  <a:gd name="connsiteY4" fmla="*/ 25536 h 2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59" h="25535">
                    <a:moveTo>
                      <a:pt x="12780" y="25536"/>
                    </a:moveTo>
                    <a:cubicBezTo>
                      <a:pt x="19809" y="25536"/>
                      <a:pt x="25560" y="19790"/>
                      <a:pt x="25560" y="12768"/>
                    </a:cubicBezTo>
                    <a:cubicBezTo>
                      <a:pt x="25560" y="5746"/>
                      <a:pt x="19809" y="0"/>
                      <a:pt x="12780" y="0"/>
                    </a:cubicBezTo>
                    <a:cubicBezTo>
                      <a:pt x="5751" y="0"/>
                      <a:pt x="0" y="5746"/>
                      <a:pt x="0" y="12130"/>
                    </a:cubicBezTo>
                    <a:cubicBezTo>
                      <a:pt x="0" y="19152"/>
                      <a:pt x="5751" y="25536"/>
                      <a:pt x="12780" y="25536"/>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0" name="Graphic 4">
                <a:extLst>
                  <a:ext uri="{FF2B5EF4-FFF2-40B4-BE49-F238E27FC236}">
                    <a16:creationId xmlns:a16="http://schemas.microsoft.com/office/drawing/2014/main" id="{C8A2B330-88AC-9671-676C-10FCD14214F7}"/>
                  </a:ext>
                </a:extLst>
              </p:cNvPr>
              <p:cNvSpPr/>
              <p:nvPr/>
            </p:nvSpPr>
            <p:spPr>
              <a:xfrm>
                <a:off x="580157" y="1528487"/>
                <a:ext cx="26247" cy="26174"/>
              </a:xfrm>
              <a:custGeom>
                <a:avLst/>
                <a:gdLst>
                  <a:gd name="connsiteX0" fmla="*/ 12828 w 26247"/>
                  <a:gd name="connsiteY0" fmla="*/ 26174 h 26174"/>
                  <a:gd name="connsiteX1" fmla="*/ 26247 w 26247"/>
                  <a:gd name="connsiteY1" fmla="*/ 13406 h 26174"/>
                  <a:gd name="connsiteX2" fmla="*/ 13467 w 26247"/>
                  <a:gd name="connsiteY2" fmla="*/ 0 h 26174"/>
                  <a:gd name="connsiteX3" fmla="*/ 49 w 26247"/>
                  <a:gd name="connsiteY3" fmla="*/ 12768 h 26174"/>
                  <a:gd name="connsiteX4" fmla="*/ 49 w 26247"/>
                  <a:gd name="connsiteY4" fmla="*/ 12768 h 26174"/>
                  <a:gd name="connsiteX5" fmla="*/ 12828 w 26247"/>
                  <a:gd name="connsiteY5" fmla="*/ 26174 h 26174"/>
                  <a:gd name="connsiteX6" fmla="*/ 12828 w 26247"/>
                  <a:gd name="connsiteY6" fmla="*/ 26174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47" h="26174">
                    <a:moveTo>
                      <a:pt x="12828" y="26174"/>
                    </a:moveTo>
                    <a:cubicBezTo>
                      <a:pt x="19857" y="26174"/>
                      <a:pt x="26247" y="20429"/>
                      <a:pt x="26247" y="13406"/>
                    </a:cubicBezTo>
                    <a:cubicBezTo>
                      <a:pt x="26247" y="6384"/>
                      <a:pt x="20496" y="0"/>
                      <a:pt x="13467" y="0"/>
                    </a:cubicBezTo>
                    <a:cubicBezTo>
                      <a:pt x="6438" y="0"/>
                      <a:pt x="49" y="5746"/>
                      <a:pt x="49" y="12768"/>
                    </a:cubicBezTo>
                    <a:cubicBezTo>
                      <a:pt x="49" y="12768"/>
                      <a:pt x="49" y="12768"/>
                      <a:pt x="49" y="12768"/>
                    </a:cubicBezTo>
                    <a:cubicBezTo>
                      <a:pt x="-591" y="20429"/>
                      <a:pt x="5160" y="26174"/>
                      <a:pt x="12828" y="26174"/>
                    </a:cubicBezTo>
                    <a:cubicBezTo>
                      <a:pt x="12828" y="26174"/>
                      <a:pt x="12828" y="26174"/>
                      <a:pt x="12828" y="26174"/>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1" name="Graphic 4">
                <a:extLst>
                  <a:ext uri="{FF2B5EF4-FFF2-40B4-BE49-F238E27FC236}">
                    <a16:creationId xmlns:a16="http://schemas.microsoft.com/office/drawing/2014/main" id="{5B044030-DB00-8CF2-DAEA-3F6EFB9480DA}"/>
                  </a:ext>
                </a:extLst>
              </p:cNvPr>
              <p:cNvSpPr/>
              <p:nvPr/>
            </p:nvSpPr>
            <p:spPr>
              <a:xfrm>
                <a:off x="579567" y="1577006"/>
                <a:ext cx="26837" cy="26812"/>
              </a:xfrm>
              <a:custGeom>
                <a:avLst/>
                <a:gdLst>
                  <a:gd name="connsiteX0" fmla="*/ 26838 w 26837"/>
                  <a:gd name="connsiteY0" fmla="*/ 13406 h 26812"/>
                  <a:gd name="connsiteX1" fmla="*/ 13419 w 26837"/>
                  <a:gd name="connsiteY1" fmla="*/ 26813 h 26812"/>
                  <a:gd name="connsiteX2" fmla="*/ 0 w 26837"/>
                  <a:gd name="connsiteY2" fmla="*/ 13406 h 26812"/>
                  <a:gd name="connsiteX3" fmla="*/ 13419 w 26837"/>
                  <a:gd name="connsiteY3" fmla="*/ 0 h 26812"/>
                  <a:gd name="connsiteX4" fmla="*/ 26838 w 26837"/>
                  <a:gd name="connsiteY4" fmla="*/ 13406 h 2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7" h="26812">
                    <a:moveTo>
                      <a:pt x="26838" y="13406"/>
                    </a:moveTo>
                    <a:cubicBezTo>
                      <a:pt x="26838" y="20811"/>
                      <a:pt x="20830" y="26813"/>
                      <a:pt x="13419" y="26813"/>
                    </a:cubicBezTo>
                    <a:cubicBezTo>
                      <a:pt x="6008" y="26813"/>
                      <a:pt x="0" y="20811"/>
                      <a:pt x="0" y="13406"/>
                    </a:cubicBezTo>
                    <a:cubicBezTo>
                      <a:pt x="0" y="6002"/>
                      <a:pt x="6008" y="0"/>
                      <a:pt x="13419" y="0"/>
                    </a:cubicBezTo>
                    <a:cubicBezTo>
                      <a:pt x="20830" y="0"/>
                      <a:pt x="26838" y="6002"/>
                      <a:pt x="26838" y="13406"/>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2" name="Graphic 4">
                <a:extLst>
                  <a:ext uri="{FF2B5EF4-FFF2-40B4-BE49-F238E27FC236}">
                    <a16:creationId xmlns:a16="http://schemas.microsoft.com/office/drawing/2014/main" id="{9BF71A94-6B50-A3B9-74E3-A60E36F7AA87}"/>
                  </a:ext>
                </a:extLst>
              </p:cNvPr>
              <p:cNvSpPr/>
              <p:nvPr/>
            </p:nvSpPr>
            <p:spPr>
              <a:xfrm>
                <a:off x="628130" y="1527849"/>
                <a:ext cx="26837" cy="26812"/>
              </a:xfrm>
              <a:custGeom>
                <a:avLst/>
                <a:gdLst>
                  <a:gd name="connsiteX0" fmla="*/ 13419 w 26837"/>
                  <a:gd name="connsiteY0" fmla="*/ 26813 h 26812"/>
                  <a:gd name="connsiteX1" fmla="*/ 26838 w 26837"/>
                  <a:gd name="connsiteY1" fmla="*/ 13406 h 26812"/>
                  <a:gd name="connsiteX2" fmla="*/ 13419 w 26837"/>
                  <a:gd name="connsiteY2" fmla="*/ 0 h 26812"/>
                  <a:gd name="connsiteX3" fmla="*/ 0 w 26837"/>
                  <a:gd name="connsiteY3" fmla="*/ 13406 h 26812"/>
                  <a:gd name="connsiteX4" fmla="*/ 0 w 26837"/>
                  <a:gd name="connsiteY4" fmla="*/ 13406 h 26812"/>
                  <a:gd name="connsiteX5" fmla="*/ 13419 w 26837"/>
                  <a:gd name="connsiteY5" fmla="*/ 26813 h 26812"/>
                  <a:gd name="connsiteX6" fmla="*/ 13419 w 26837"/>
                  <a:gd name="connsiteY6" fmla="*/ 26813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37" h="26812">
                    <a:moveTo>
                      <a:pt x="13419" y="26813"/>
                    </a:moveTo>
                    <a:cubicBezTo>
                      <a:pt x="20448" y="26813"/>
                      <a:pt x="26838" y="21067"/>
                      <a:pt x="26838" y="13406"/>
                    </a:cubicBezTo>
                    <a:cubicBezTo>
                      <a:pt x="26838" y="6384"/>
                      <a:pt x="21087" y="0"/>
                      <a:pt x="13419" y="0"/>
                    </a:cubicBezTo>
                    <a:cubicBezTo>
                      <a:pt x="6390" y="0"/>
                      <a:pt x="0" y="5746"/>
                      <a:pt x="0" y="13406"/>
                    </a:cubicBezTo>
                    <a:lnTo>
                      <a:pt x="0" y="13406"/>
                    </a:lnTo>
                    <a:cubicBezTo>
                      <a:pt x="0" y="21067"/>
                      <a:pt x="6390" y="26813"/>
                      <a:pt x="13419" y="26813"/>
                    </a:cubicBezTo>
                    <a:cubicBezTo>
                      <a:pt x="13419" y="26813"/>
                      <a:pt x="13419" y="26813"/>
                      <a:pt x="13419" y="26813"/>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3" name="Graphic 4">
                <a:extLst>
                  <a:ext uri="{FF2B5EF4-FFF2-40B4-BE49-F238E27FC236}">
                    <a16:creationId xmlns:a16="http://schemas.microsoft.com/office/drawing/2014/main" id="{BF9607B2-F1B6-0CB3-44D6-C1AEB02602A0}"/>
                  </a:ext>
                </a:extLst>
              </p:cNvPr>
              <p:cNvSpPr/>
              <p:nvPr/>
            </p:nvSpPr>
            <p:spPr>
              <a:xfrm>
                <a:off x="677333" y="1528487"/>
                <a:ext cx="26198" cy="26174"/>
              </a:xfrm>
              <a:custGeom>
                <a:avLst/>
                <a:gdLst>
                  <a:gd name="connsiteX0" fmla="*/ 12780 w 26198"/>
                  <a:gd name="connsiteY0" fmla="*/ 26174 h 26174"/>
                  <a:gd name="connsiteX1" fmla="*/ 26199 w 26198"/>
                  <a:gd name="connsiteY1" fmla="*/ 13406 h 26174"/>
                  <a:gd name="connsiteX2" fmla="*/ 13419 w 26198"/>
                  <a:gd name="connsiteY2" fmla="*/ 0 h 26174"/>
                  <a:gd name="connsiteX3" fmla="*/ 0 w 26198"/>
                  <a:gd name="connsiteY3" fmla="*/ 12768 h 26174"/>
                  <a:gd name="connsiteX4" fmla="*/ 0 w 26198"/>
                  <a:gd name="connsiteY4" fmla="*/ 13406 h 26174"/>
                  <a:gd name="connsiteX5" fmla="*/ 12780 w 26198"/>
                  <a:gd name="connsiteY5" fmla="*/ 26174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8" h="26174">
                    <a:moveTo>
                      <a:pt x="12780" y="26174"/>
                    </a:moveTo>
                    <a:cubicBezTo>
                      <a:pt x="19809" y="26174"/>
                      <a:pt x="26199" y="20429"/>
                      <a:pt x="26199" y="13406"/>
                    </a:cubicBezTo>
                    <a:cubicBezTo>
                      <a:pt x="26199" y="6384"/>
                      <a:pt x="20448" y="0"/>
                      <a:pt x="13419" y="0"/>
                    </a:cubicBezTo>
                    <a:cubicBezTo>
                      <a:pt x="6390" y="0"/>
                      <a:pt x="0" y="5746"/>
                      <a:pt x="0" y="12768"/>
                    </a:cubicBezTo>
                    <a:cubicBezTo>
                      <a:pt x="0" y="12768"/>
                      <a:pt x="0" y="12768"/>
                      <a:pt x="0" y="13406"/>
                    </a:cubicBezTo>
                    <a:cubicBezTo>
                      <a:pt x="0" y="20429"/>
                      <a:pt x="5751" y="26174"/>
                      <a:pt x="12780" y="26174"/>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4" name="Graphic 4">
                <a:extLst>
                  <a:ext uri="{FF2B5EF4-FFF2-40B4-BE49-F238E27FC236}">
                    <a16:creationId xmlns:a16="http://schemas.microsoft.com/office/drawing/2014/main" id="{303145FD-447A-B034-B90F-7B7DA65AA709}"/>
                  </a:ext>
                </a:extLst>
              </p:cNvPr>
              <p:cNvSpPr/>
              <p:nvPr/>
            </p:nvSpPr>
            <p:spPr>
              <a:xfrm>
                <a:off x="677333" y="1577006"/>
                <a:ext cx="26198" cy="26174"/>
              </a:xfrm>
              <a:custGeom>
                <a:avLst/>
                <a:gdLst>
                  <a:gd name="connsiteX0" fmla="*/ 12780 w 26198"/>
                  <a:gd name="connsiteY0" fmla="*/ 26174 h 26174"/>
                  <a:gd name="connsiteX1" fmla="*/ 26199 w 26198"/>
                  <a:gd name="connsiteY1" fmla="*/ 13406 h 26174"/>
                  <a:gd name="connsiteX2" fmla="*/ 13419 w 26198"/>
                  <a:gd name="connsiteY2" fmla="*/ 0 h 26174"/>
                  <a:gd name="connsiteX3" fmla="*/ 0 w 26198"/>
                  <a:gd name="connsiteY3" fmla="*/ 12768 h 26174"/>
                  <a:gd name="connsiteX4" fmla="*/ 0 w 26198"/>
                  <a:gd name="connsiteY4" fmla="*/ 13406 h 26174"/>
                  <a:gd name="connsiteX5" fmla="*/ 12780 w 26198"/>
                  <a:gd name="connsiteY5" fmla="*/ 26174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8" h="26174">
                    <a:moveTo>
                      <a:pt x="12780" y="26174"/>
                    </a:moveTo>
                    <a:cubicBezTo>
                      <a:pt x="19809" y="26174"/>
                      <a:pt x="26199" y="20429"/>
                      <a:pt x="26199" y="13406"/>
                    </a:cubicBezTo>
                    <a:cubicBezTo>
                      <a:pt x="26199" y="6384"/>
                      <a:pt x="20448" y="0"/>
                      <a:pt x="13419" y="0"/>
                    </a:cubicBezTo>
                    <a:cubicBezTo>
                      <a:pt x="6390" y="0"/>
                      <a:pt x="0" y="5746"/>
                      <a:pt x="0" y="12768"/>
                    </a:cubicBezTo>
                    <a:cubicBezTo>
                      <a:pt x="0" y="12768"/>
                      <a:pt x="0" y="13406"/>
                      <a:pt x="0" y="13406"/>
                    </a:cubicBezTo>
                    <a:cubicBezTo>
                      <a:pt x="0" y="20429"/>
                      <a:pt x="5751" y="26174"/>
                      <a:pt x="12780" y="26174"/>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34" name="Graphic 4">
              <a:extLst>
                <a:ext uri="{FF2B5EF4-FFF2-40B4-BE49-F238E27FC236}">
                  <a16:creationId xmlns:a16="http://schemas.microsoft.com/office/drawing/2014/main" id="{3EE3FFD1-7DE6-E646-839D-416F32E527FC}"/>
                </a:ext>
              </a:extLst>
            </p:cNvPr>
            <p:cNvGrpSpPr>
              <a:grpSpLocks noChangeAspect="1"/>
            </p:cNvGrpSpPr>
            <p:nvPr/>
          </p:nvGrpSpPr>
          <p:grpSpPr>
            <a:xfrm>
              <a:off x="4628955" y="3010493"/>
              <a:ext cx="549152" cy="548640"/>
              <a:chOff x="1515054" y="4308712"/>
              <a:chExt cx="362309" cy="361971"/>
            </a:xfrm>
            <a:solidFill>
              <a:srgbClr val="A0DCFF"/>
            </a:solidFill>
          </p:grpSpPr>
          <p:sp>
            <p:nvSpPr>
              <p:cNvPr id="162" name="Graphic 4">
                <a:extLst>
                  <a:ext uri="{FF2B5EF4-FFF2-40B4-BE49-F238E27FC236}">
                    <a16:creationId xmlns:a16="http://schemas.microsoft.com/office/drawing/2014/main" id="{5D5DB0FB-13E3-0996-9D5E-8B7B68BA5E25}"/>
                  </a:ext>
                </a:extLst>
              </p:cNvPr>
              <p:cNvSpPr/>
              <p:nvPr/>
            </p:nvSpPr>
            <p:spPr>
              <a:xfrm>
                <a:off x="1515054" y="4308712"/>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0 h 361971"/>
                  <a:gd name="connsiteX7" fmla="*/ 180835 w 362309"/>
                  <a:gd name="connsiteY7" fmla="*/ 349204 h 361971"/>
                  <a:gd name="connsiteX8" fmla="*/ 12780 w 362309"/>
                  <a:gd name="connsiteY8" fmla="*/ 180667 h 361971"/>
                  <a:gd name="connsiteX9" fmla="*/ 180835 w 362309"/>
                  <a:gd name="connsiteY9" fmla="*/ 12768 h 361971"/>
                  <a:gd name="connsiteX10" fmla="*/ 349529 w 362309"/>
                  <a:gd name="connsiteY10" fmla="*/ 181305 h 361971"/>
                  <a:gd name="connsiteX11" fmla="*/ 349529 w 362309"/>
                  <a:gd name="connsiteY11" fmla="*/ 181305 h 361971"/>
                  <a:gd name="connsiteX12" fmla="*/ 180835 w 362309"/>
                  <a:gd name="connsiteY12" fmla="*/ 349204 h 361971"/>
                  <a:gd name="connsiteX13" fmla="*/ 180835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3" name="Graphic 4">
                <a:extLst>
                  <a:ext uri="{FF2B5EF4-FFF2-40B4-BE49-F238E27FC236}">
                    <a16:creationId xmlns:a16="http://schemas.microsoft.com/office/drawing/2014/main" id="{0FFD26F7-2313-FCF8-1872-366695E1A192}"/>
                  </a:ext>
                </a:extLst>
              </p:cNvPr>
              <p:cNvSpPr/>
              <p:nvPr/>
            </p:nvSpPr>
            <p:spPr>
              <a:xfrm>
                <a:off x="1664578" y="4458257"/>
                <a:ext cx="62621" cy="127520"/>
              </a:xfrm>
              <a:custGeom>
                <a:avLst/>
                <a:gdLst>
                  <a:gd name="connsiteX0" fmla="*/ 60704 w 62621"/>
                  <a:gd name="connsiteY0" fmla="*/ 26653 h 127520"/>
                  <a:gd name="connsiteX1" fmla="*/ 35784 w 62621"/>
                  <a:gd name="connsiteY1" fmla="*/ 1756 h 127520"/>
                  <a:gd name="connsiteX2" fmla="*/ 33867 w 62621"/>
                  <a:gd name="connsiteY2" fmla="*/ 479 h 127520"/>
                  <a:gd name="connsiteX3" fmla="*/ 28755 w 62621"/>
                  <a:gd name="connsiteY3" fmla="*/ 479 h 127520"/>
                  <a:gd name="connsiteX4" fmla="*/ 26838 w 62621"/>
                  <a:gd name="connsiteY4" fmla="*/ 1756 h 127520"/>
                  <a:gd name="connsiteX5" fmla="*/ 1917 w 62621"/>
                  <a:gd name="connsiteY5" fmla="*/ 26653 h 127520"/>
                  <a:gd name="connsiteX6" fmla="*/ 1917 w 62621"/>
                  <a:gd name="connsiteY6" fmla="*/ 35591 h 127520"/>
                  <a:gd name="connsiteX7" fmla="*/ 10863 w 62621"/>
                  <a:gd name="connsiteY7" fmla="*/ 35591 h 127520"/>
                  <a:gd name="connsiteX8" fmla="*/ 10863 w 62621"/>
                  <a:gd name="connsiteY8" fmla="*/ 35591 h 127520"/>
                  <a:gd name="connsiteX9" fmla="*/ 24921 w 62621"/>
                  <a:gd name="connsiteY9" fmla="*/ 21546 h 127520"/>
                  <a:gd name="connsiteX10" fmla="*/ 24921 w 62621"/>
                  <a:gd name="connsiteY10" fmla="*/ 121136 h 127520"/>
                  <a:gd name="connsiteX11" fmla="*/ 31311 w 62621"/>
                  <a:gd name="connsiteY11" fmla="*/ 127520 h 127520"/>
                  <a:gd name="connsiteX12" fmla="*/ 37701 w 62621"/>
                  <a:gd name="connsiteY12" fmla="*/ 121136 h 127520"/>
                  <a:gd name="connsiteX13" fmla="*/ 37701 w 62621"/>
                  <a:gd name="connsiteY13" fmla="*/ 21546 h 127520"/>
                  <a:gd name="connsiteX14" fmla="*/ 51759 w 62621"/>
                  <a:gd name="connsiteY14" fmla="*/ 35591 h 127520"/>
                  <a:gd name="connsiteX15" fmla="*/ 56231 w 62621"/>
                  <a:gd name="connsiteY15" fmla="*/ 37506 h 127520"/>
                  <a:gd name="connsiteX16" fmla="*/ 62621 w 62621"/>
                  <a:gd name="connsiteY16" fmla="*/ 31122 h 127520"/>
                  <a:gd name="connsiteX17" fmla="*/ 60704 w 62621"/>
                  <a:gd name="connsiteY17" fmla="*/ 26653 h 127520"/>
                  <a:gd name="connsiteX18" fmla="*/ 60704 w 62621"/>
                  <a:gd name="connsiteY18" fmla="*/ 26653 h 12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621" h="127520">
                    <a:moveTo>
                      <a:pt x="60704" y="26653"/>
                    </a:moveTo>
                    <a:lnTo>
                      <a:pt x="35784" y="1756"/>
                    </a:lnTo>
                    <a:cubicBezTo>
                      <a:pt x="35145" y="1117"/>
                      <a:pt x="34506" y="479"/>
                      <a:pt x="33867" y="479"/>
                    </a:cubicBezTo>
                    <a:cubicBezTo>
                      <a:pt x="32589" y="-160"/>
                      <a:pt x="30672" y="-160"/>
                      <a:pt x="28755" y="479"/>
                    </a:cubicBezTo>
                    <a:cubicBezTo>
                      <a:pt x="28116" y="1117"/>
                      <a:pt x="27477" y="1117"/>
                      <a:pt x="26838" y="1756"/>
                    </a:cubicBezTo>
                    <a:lnTo>
                      <a:pt x="1917" y="26653"/>
                    </a:lnTo>
                    <a:cubicBezTo>
                      <a:pt x="-639" y="29207"/>
                      <a:pt x="-639" y="33037"/>
                      <a:pt x="1917" y="35591"/>
                    </a:cubicBezTo>
                    <a:cubicBezTo>
                      <a:pt x="4473" y="38144"/>
                      <a:pt x="8307" y="38144"/>
                      <a:pt x="10863" y="35591"/>
                    </a:cubicBezTo>
                    <a:cubicBezTo>
                      <a:pt x="10863" y="35591"/>
                      <a:pt x="10863" y="35591"/>
                      <a:pt x="10863" y="35591"/>
                    </a:cubicBezTo>
                    <a:lnTo>
                      <a:pt x="24921" y="21546"/>
                    </a:lnTo>
                    <a:lnTo>
                      <a:pt x="24921" y="121136"/>
                    </a:lnTo>
                    <a:cubicBezTo>
                      <a:pt x="24921" y="124966"/>
                      <a:pt x="27477" y="127520"/>
                      <a:pt x="31311" y="127520"/>
                    </a:cubicBezTo>
                    <a:cubicBezTo>
                      <a:pt x="35145" y="127520"/>
                      <a:pt x="37701" y="124966"/>
                      <a:pt x="37701" y="121136"/>
                    </a:cubicBezTo>
                    <a:lnTo>
                      <a:pt x="37701" y="21546"/>
                    </a:lnTo>
                    <a:lnTo>
                      <a:pt x="51759" y="35591"/>
                    </a:lnTo>
                    <a:cubicBezTo>
                      <a:pt x="53036" y="36867"/>
                      <a:pt x="54315" y="37506"/>
                      <a:pt x="56231" y="37506"/>
                    </a:cubicBezTo>
                    <a:cubicBezTo>
                      <a:pt x="60065" y="37506"/>
                      <a:pt x="62621" y="34314"/>
                      <a:pt x="62621" y="31122"/>
                    </a:cubicBezTo>
                    <a:cubicBezTo>
                      <a:pt x="62621" y="29207"/>
                      <a:pt x="61983" y="27930"/>
                      <a:pt x="60704" y="26653"/>
                    </a:cubicBezTo>
                    <a:lnTo>
                      <a:pt x="60704" y="26653"/>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4" name="Graphic 4">
                <a:extLst>
                  <a:ext uri="{FF2B5EF4-FFF2-40B4-BE49-F238E27FC236}">
                    <a16:creationId xmlns:a16="http://schemas.microsoft.com/office/drawing/2014/main" id="{2595C47C-DC61-337A-B2C5-0D62C2B2CD93}"/>
                  </a:ext>
                </a:extLst>
              </p:cNvPr>
              <p:cNvSpPr/>
              <p:nvPr/>
            </p:nvSpPr>
            <p:spPr>
              <a:xfrm>
                <a:off x="1574480" y="4392980"/>
                <a:ext cx="243474" cy="144934"/>
              </a:xfrm>
              <a:custGeom>
                <a:avLst/>
                <a:gdLst>
                  <a:gd name="connsiteX0" fmla="*/ 203839 w 243474"/>
                  <a:gd name="connsiteY0" fmla="*/ 65755 h 144934"/>
                  <a:gd name="connsiteX1" fmla="*/ 198727 w 243474"/>
                  <a:gd name="connsiteY1" fmla="*/ 66394 h 144934"/>
                  <a:gd name="connsiteX2" fmla="*/ 198727 w 243474"/>
                  <a:gd name="connsiteY2" fmla="*/ 64478 h 144934"/>
                  <a:gd name="connsiteX3" fmla="*/ 134189 w 243474"/>
                  <a:gd name="connsiteY3" fmla="*/ 0 h 144934"/>
                  <a:gd name="connsiteX4" fmla="*/ 72206 w 243474"/>
                  <a:gd name="connsiteY4" fmla="*/ 43411 h 144934"/>
                  <a:gd name="connsiteX5" fmla="*/ 53036 w 243474"/>
                  <a:gd name="connsiteY5" fmla="*/ 38942 h 144934"/>
                  <a:gd name="connsiteX6" fmla="*/ 0 w 243474"/>
                  <a:gd name="connsiteY6" fmla="*/ 91930 h 144934"/>
                  <a:gd name="connsiteX7" fmla="*/ 53036 w 243474"/>
                  <a:gd name="connsiteY7" fmla="*/ 144916 h 144934"/>
                  <a:gd name="connsiteX8" fmla="*/ 53036 w 243474"/>
                  <a:gd name="connsiteY8" fmla="*/ 144916 h 144934"/>
                  <a:gd name="connsiteX9" fmla="*/ 86903 w 243474"/>
                  <a:gd name="connsiteY9" fmla="*/ 144916 h 144934"/>
                  <a:gd name="connsiteX10" fmla="*/ 93293 w 243474"/>
                  <a:gd name="connsiteY10" fmla="*/ 138533 h 144934"/>
                  <a:gd name="connsiteX11" fmla="*/ 86903 w 243474"/>
                  <a:gd name="connsiteY11" fmla="*/ 132149 h 144934"/>
                  <a:gd name="connsiteX12" fmla="*/ 53036 w 243474"/>
                  <a:gd name="connsiteY12" fmla="*/ 132149 h 144934"/>
                  <a:gd name="connsiteX13" fmla="*/ 12780 w 243474"/>
                  <a:gd name="connsiteY13" fmla="*/ 91930 h 144934"/>
                  <a:gd name="connsiteX14" fmla="*/ 53036 w 243474"/>
                  <a:gd name="connsiteY14" fmla="*/ 51710 h 144934"/>
                  <a:gd name="connsiteX15" fmla="*/ 53036 w 243474"/>
                  <a:gd name="connsiteY15" fmla="*/ 51710 h 144934"/>
                  <a:gd name="connsiteX16" fmla="*/ 72845 w 243474"/>
                  <a:gd name="connsiteY16" fmla="*/ 58094 h 144934"/>
                  <a:gd name="connsiteX17" fmla="*/ 72845 w 243474"/>
                  <a:gd name="connsiteY17" fmla="*/ 58094 h 144934"/>
                  <a:gd name="connsiteX18" fmla="*/ 73484 w 243474"/>
                  <a:gd name="connsiteY18" fmla="*/ 58733 h 144934"/>
                  <a:gd name="connsiteX19" fmla="*/ 74762 w 243474"/>
                  <a:gd name="connsiteY19" fmla="*/ 59371 h 144934"/>
                  <a:gd name="connsiteX20" fmla="*/ 74762 w 243474"/>
                  <a:gd name="connsiteY20" fmla="*/ 59371 h 144934"/>
                  <a:gd name="connsiteX21" fmla="*/ 79874 w 243474"/>
                  <a:gd name="connsiteY21" fmla="*/ 58094 h 144934"/>
                  <a:gd name="connsiteX22" fmla="*/ 81152 w 243474"/>
                  <a:gd name="connsiteY22" fmla="*/ 56818 h 144934"/>
                  <a:gd name="connsiteX23" fmla="*/ 81152 w 243474"/>
                  <a:gd name="connsiteY23" fmla="*/ 56818 h 144934"/>
                  <a:gd name="connsiteX24" fmla="*/ 81791 w 243474"/>
                  <a:gd name="connsiteY24" fmla="*/ 56179 h 144934"/>
                  <a:gd name="connsiteX25" fmla="*/ 82430 w 243474"/>
                  <a:gd name="connsiteY25" fmla="*/ 54902 h 144934"/>
                  <a:gd name="connsiteX26" fmla="*/ 134189 w 243474"/>
                  <a:gd name="connsiteY26" fmla="*/ 13406 h 144934"/>
                  <a:gd name="connsiteX27" fmla="*/ 185947 w 243474"/>
                  <a:gd name="connsiteY27" fmla="*/ 65117 h 144934"/>
                  <a:gd name="connsiteX28" fmla="*/ 185308 w 243474"/>
                  <a:gd name="connsiteY28" fmla="*/ 72139 h 144934"/>
                  <a:gd name="connsiteX29" fmla="*/ 184669 w 243474"/>
                  <a:gd name="connsiteY29" fmla="*/ 75331 h 144934"/>
                  <a:gd name="connsiteX30" fmla="*/ 184669 w 243474"/>
                  <a:gd name="connsiteY30" fmla="*/ 75970 h 144934"/>
                  <a:gd name="connsiteX31" fmla="*/ 184669 w 243474"/>
                  <a:gd name="connsiteY31" fmla="*/ 77246 h 144934"/>
                  <a:gd name="connsiteX32" fmla="*/ 185308 w 243474"/>
                  <a:gd name="connsiteY32" fmla="*/ 78523 h 144934"/>
                  <a:gd name="connsiteX33" fmla="*/ 185308 w 243474"/>
                  <a:gd name="connsiteY33" fmla="*/ 79162 h 144934"/>
                  <a:gd name="connsiteX34" fmla="*/ 185308 w 243474"/>
                  <a:gd name="connsiteY34" fmla="*/ 79162 h 144934"/>
                  <a:gd name="connsiteX35" fmla="*/ 185947 w 243474"/>
                  <a:gd name="connsiteY35" fmla="*/ 80438 h 144934"/>
                  <a:gd name="connsiteX36" fmla="*/ 186586 w 243474"/>
                  <a:gd name="connsiteY36" fmla="*/ 81077 h 144934"/>
                  <a:gd name="connsiteX37" fmla="*/ 187864 w 243474"/>
                  <a:gd name="connsiteY37" fmla="*/ 81715 h 144934"/>
                  <a:gd name="connsiteX38" fmla="*/ 189142 w 243474"/>
                  <a:gd name="connsiteY38" fmla="*/ 82354 h 144934"/>
                  <a:gd name="connsiteX39" fmla="*/ 189142 w 243474"/>
                  <a:gd name="connsiteY39" fmla="*/ 82354 h 144934"/>
                  <a:gd name="connsiteX40" fmla="*/ 190420 w 243474"/>
                  <a:gd name="connsiteY40" fmla="*/ 82354 h 144934"/>
                  <a:gd name="connsiteX41" fmla="*/ 190420 w 243474"/>
                  <a:gd name="connsiteY41" fmla="*/ 82354 h 144934"/>
                  <a:gd name="connsiteX42" fmla="*/ 191059 w 243474"/>
                  <a:gd name="connsiteY42" fmla="*/ 82354 h 144934"/>
                  <a:gd name="connsiteX43" fmla="*/ 192337 w 243474"/>
                  <a:gd name="connsiteY43" fmla="*/ 81715 h 144934"/>
                  <a:gd name="connsiteX44" fmla="*/ 192976 w 243474"/>
                  <a:gd name="connsiteY44" fmla="*/ 81715 h 144934"/>
                  <a:gd name="connsiteX45" fmla="*/ 202561 w 243474"/>
                  <a:gd name="connsiteY45" fmla="*/ 78523 h 144934"/>
                  <a:gd name="connsiteX46" fmla="*/ 230677 w 243474"/>
                  <a:gd name="connsiteY46" fmla="*/ 104059 h 144934"/>
                  <a:gd name="connsiteX47" fmla="*/ 205117 w 243474"/>
                  <a:gd name="connsiteY47" fmla="*/ 132149 h 144934"/>
                  <a:gd name="connsiteX48" fmla="*/ 202561 w 243474"/>
                  <a:gd name="connsiteY48" fmla="*/ 132149 h 144934"/>
                  <a:gd name="connsiteX49" fmla="*/ 155276 w 243474"/>
                  <a:gd name="connsiteY49" fmla="*/ 132149 h 144934"/>
                  <a:gd name="connsiteX50" fmla="*/ 148886 w 243474"/>
                  <a:gd name="connsiteY50" fmla="*/ 138533 h 144934"/>
                  <a:gd name="connsiteX51" fmla="*/ 155276 w 243474"/>
                  <a:gd name="connsiteY51" fmla="*/ 144916 h 144934"/>
                  <a:gd name="connsiteX52" fmla="*/ 202561 w 243474"/>
                  <a:gd name="connsiteY52" fmla="*/ 144916 h 144934"/>
                  <a:gd name="connsiteX53" fmla="*/ 243457 w 243474"/>
                  <a:gd name="connsiteY53" fmla="*/ 107251 h 144934"/>
                  <a:gd name="connsiteX54" fmla="*/ 205756 w 243474"/>
                  <a:gd name="connsiteY54" fmla="*/ 66394 h 144934"/>
                  <a:gd name="connsiteX55" fmla="*/ 202561 w 243474"/>
                  <a:gd name="connsiteY55" fmla="*/ 66394 h 144934"/>
                  <a:gd name="connsiteX56" fmla="*/ 203839 w 243474"/>
                  <a:gd name="connsiteY56" fmla="*/ 65755 h 14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3474" h="144934">
                    <a:moveTo>
                      <a:pt x="203839" y="65755"/>
                    </a:moveTo>
                    <a:cubicBezTo>
                      <a:pt x="201922" y="65755"/>
                      <a:pt x="200005" y="65755"/>
                      <a:pt x="198727" y="66394"/>
                    </a:cubicBezTo>
                    <a:cubicBezTo>
                      <a:pt x="198727" y="65755"/>
                      <a:pt x="198727" y="65117"/>
                      <a:pt x="198727" y="64478"/>
                    </a:cubicBezTo>
                    <a:cubicBezTo>
                      <a:pt x="198727" y="28728"/>
                      <a:pt x="169972" y="0"/>
                      <a:pt x="134189" y="0"/>
                    </a:cubicBezTo>
                    <a:cubicBezTo>
                      <a:pt x="106712" y="0"/>
                      <a:pt x="81791" y="17237"/>
                      <a:pt x="72206" y="43411"/>
                    </a:cubicBezTo>
                    <a:cubicBezTo>
                      <a:pt x="66455" y="40219"/>
                      <a:pt x="59426" y="38942"/>
                      <a:pt x="53036" y="38942"/>
                    </a:cubicBezTo>
                    <a:cubicBezTo>
                      <a:pt x="23643" y="38942"/>
                      <a:pt x="0" y="62563"/>
                      <a:pt x="0" y="91930"/>
                    </a:cubicBezTo>
                    <a:cubicBezTo>
                      <a:pt x="0" y="121296"/>
                      <a:pt x="23643" y="144916"/>
                      <a:pt x="53036" y="144916"/>
                    </a:cubicBezTo>
                    <a:cubicBezTo>
                      <a:pt x="53036" y="144916"/>
                      <a:pt x="53036" y="144916"/>
                      <a:pt x="53036" y="144916"/>
                    </a:cubicBezTo>
                    <a:lnTo>
                      <a:pt x="86903" y="144916"/>
                    </a:lnTo>
                    <a:cubicBezTo>
                      <a:pt x="90737" y="144916"/>
                      <a:pt x="93293" y="142363"/>
                      <a:pt x="93293" y="138533"/>
                    </a:cubicBezTo>
                    <a:cubicBezTo>
                      <a:pt x="93293" y="134702"/>
                      <a:pt x="90737" y="132149"/>
                      <a:pt x="86903" y="132149"/>
                    </a:cubicBezTo>
                    <a:lnTo>
                      <a:pt x="53036" y="132149"/>
                    </a:lnTo>
                    <a:cubicBezTo>
                      <a:pt x="30672" y="132149"/>
                      <a:pt x="12780" y="114273"/>
                      <a:pt x="12780" y="91930"/>
                    </a:cubicBezTo>
                    <a:cubicBezTo>
                      <a:pt x="12780" y="69586"/>
                      <a:pt x="30672" y="51710"/>
                      <a:pt x="53036" y="51710"/>
                    </a:cubicBezTo>
                    <a:cubicBezTo>
                      <a:pt x="53036" y="51710"/>
                      <a:pt x="53036" y="51710"/>
                      <a:pt x="53036" y="51710"/>
                    </a:cubicBezTo>
                    <a:cubicBezTo>
                      <a:pt x="60065" y="51710"/>
                      <a:pt x="67094" y="53626"/>
                      <a:pt x="72845" y="58094"/>
                    </a:cubicBezTo>
                    <a:lnTo>
                      <a:pt x="72845" y="58094"/>
                    </a:lnTo>
                    <a:cubicBezTo>
                      <a:pt x="72845" y="58094"/>
                      <a:pt x="73484" y="58094"/>
                      <a:pt x="73484" y="58733"/>
                    </a:cubicBezTo>
                    <a:cubicBezTo>
                      <a:pt x="74123" y="58733"/>
                      <a:pt x="74123" y="59371"/>
                      <a:pt x="74762" y="59371"/>
                    </a:cubicBezTo>
                    <a:lnTo>
                      <a:pt x="74762" y="59371"/>
                    </a:lnTo>
                    <a:cubicBezTo>
                      <a:pt x="76679" y="60010"/>
                      <a:pt x="78596" y="59371"/>
                      <a:pt x="79874" y="58094"/>
                    </a:cubicBezTo>
                    <a:cubicBezTo>
                      <a:pt x="80513" y="57456"/>
                      <a:pt x="80513" y="57456"/>
                      <a:pt x="81152" y="56818"/>
                    </a:cubicBezTo>
                    <a:lnTo>
                      <a:pt x="81152" y="56818"/>
                    </a:lnTo>
                    <a:cubicBezTo>
                      <a:pt x="81152" y="56818"/>
                      <a:pt x="81152" y="56179"/>
                      <a:pt x="81791" y="56179"/>
                    </a:cubicBezTo>
                    <a:cubicBezTo>
                      <a:pt x="81791" y="55541"/>
                      <a:pt x="82430" y="55541"/>
                      <a:pt x="82430" y="54902"/>
                    </a:cubicBezTo>
                    <a:cubicBezTo>
                      <a:pt x="88181" y="30643"/>
                      <a:pt x="109268" y="13406"/>
                      <a:pt x="134189" y="13406"/>
                    </a:cubicBezTo>
                    <a:cubicBezTo>
                      <a:pt x="162943" y="13406"/>
                      <a:pt x="185947" y="36389"/>
                      <a:pt x="185947" y="65117"/>
                    </a:cubicBezTo>
                    <a:cubicBezTo>
                      <a:pt x="185947" y="67670"/>
                      <a:pt x="185947" y="69586"/>
                      <a:pt x="185308" y="72139"/>
                    </a:cubicBezTo>
                    <a:cubicBezTo>
                      <a:pt x="185308" y="73416"/>
                      <a:pt x="185308" y="74693"/>
                      <a:pt x="184669" y="75331"/>
                    </a:cubicBezTo>
                    <a:cubicBezTo>
                      <a:pt x="184669" y="75331"/>
                      <a:pt x="184669" y="75970"/>
                      <a:pt x="184669" y="75970"/>
                    </a:cubicBezTo>
                    <a:cubicBezTo>
                      <a:pt x="184669" y="76608"/>
                      <a:pt x="184669" y="76608"/>
                      <a:pt x="184669" y="77246"/>
                    </a:cubicBezTo>
                    <a:cubicBezTo>
                      <a:pt x="184669" y="77885"/>
                      <a:pt x="184669" y="77885"/>
                      <a:pt x="185308" y="78523"/>
                    </a:cubicBezTo>
                    <a:cubicBezTo>
                      <a:pt x="185308" y="78523"/>
                      <a:pt x="185308" y="79162"/>
                      <a:pt x="185308" y="79162"/>
                    </a:cubicBezTo>
                    <a:lnTo>
                      <a:pt x="185308" y="79162"/>
                    </a:lnTo>
                    <a:cubicBezTo>
                      <a:pt x="185308" y="79800"/>
                      <a:pt x="185947" y="79800"/>
                      <a:pt x="185947" y="80438"/>
                    </a:cubicBezTo>
                    <a:cubicBezTo>
                      <a:pt x="185947" y="80438"/>
                      <a:pt x="186586" y="81077"/>
                      <a:pt x="186586" y="81077"/>
                    </a:cubicBezTo>
                    <a:cubicBezTo>
                      <a:pt x="186586" y="81077"/>
                      <a:pt x="187225" y="81715"/>
                      <a:pt x="187864" y="81715"/>
                    </a:cubicBezTo>
                    <a:cubicBezTo>
                      <a:pt x="188503" y="81715"/>
                      <a:pt x="188503" y="82354"/>
                      <a:pt x="189142" y="82354"/>
                    </a:cubicBezTo>
                    <a:lnTo>
                      <a:pt x="189142" y="82354"/>
                    </a:lnTo>
                    <a:cubicBezTo>
                      <a:pt x="189781" y="82354"/>
                      <a:pt x="189781" y="82354"/>
                      <a:pt x="190420" y="82354"/>
                    </a:cubicBezTo>
                    <a:lnTo>
                      <a:pt x="190420" y="82354"/>
                    </a:lnTo>
                    <a:lnTo>
                      <a:pt x="191059" y="82354"/>
                    </a:lnTo>
                    <a:lnTo>
                      <a:pt x="192337" y="81715"/>
                    </a:lnTo>
                    <a:lnTo>
                      <a:pt x="192976" y="81715"/>
                    </a:lnTo>
                    <a:cubicBezTo>
                      <a:pt x="196171" y="79800"/>
                      <a:pt x="199366" y="79162"/>
                      <a:pt x="202561" y="78523"/>
                    </a:cubicBezTo>
                    <a:cubicBezTo>
                      <a:pt x="217258" y="77885"/>
                      <a:pt x="229399" y="89376"/>
                      <a:pt x="230677" y="104059"/>
                    </a:cubicBezTo>
                    <a:cubicBezTo>
                      <a:pt x="231316" y="118742"/>
                      <a:pt x="219814" y="130872"/>
                      <a:pt x="205117" y="132149"/>
                    </a:cubicBezTo>
                    <a:cubicBezTo>
                      <a:pt x="204478" y="132149"/>
                      <a:pt x="203200" y="132149"/>
                      <a:pt x="202561" y="132149"/>
                    </a:cubicBezTo>
                    <a:lnTo>
                      <a:pt x="155276" y="132149"/>
                    </a:lnTo>
                    <a:cubicBezTo>
                      <a:pt x="151442" y="132149"/>
                      <a:pt x="148886" y="134702"/>
                      <a:pt x="148886" y="138533"/>
                    </a:cubicBezTo>
                    <a:cubicBezTo>
                      <a:pt x="148886" y="142363"/>
                      <a:pt x="151442" y="144916"/>
                      <a:pt x="155276" y="144916"/>
                    </a:cubicBezTo>
                    <a:lnTo>
                      <a:pt x="202561" y="144916"/>
                    </a:lnTo>
                    <a:cubicBezTo>
                      <a:pt x="224287" y="145555"/>
                      <a:pt x="242818" y="128957"/>
                      <a:pt x="243457" y="107251"/>
                    </a:cubicBezTo>
                    <a:cubicBezTo>
                      <a:pt x="244096" y="85546"/>
                      <a:pt x="227482" y="67032"/>
                      <a:pt x="205756" y="66394"/>
                    </a:cubicBezTo>
                    <a:cubicBezTo>
                      <a:pt x="204478" y="66394"/>
                      <a:pt x="203839" y="66394"/>
                      <a:pt x="202561" y="66394"/>
                    </a:cubicBezTo>
                    <a:lnTo>
                      <a:pt x="203839" y="65755"/>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35" name="Graphic 4">
              <a:extLst>
                <a:ext uri="{FF2B5EF4-FFF2-40B4-BE49-F238E27FC236}">
                  <a16:creationId xmlns:a16="http://schemas.microsoft.com/office/drawing/2014/main" id="{664101F8-62CD-823D-C52F-84CF0741A366}"/>
                </a:ext>
              </a:extLst>
            </p:cNvPr>
            <p:cNvGrpSpPr>
              <a:grpSpLocks noChangeAspect="1"/>
            </p:cNvGrpSpPr>
            <p:nvPr/>
          </p:nvGrpSpPr>
          <p:grpSpPr>
            <a:xfrm>
              <a:off x="4682574" y="3932945"/>
              <a:ext cx="549152" cy="548640"/>
              <a:chOff x="467104" y="918179"/>
              <a:chExt cx="362309" cy="361971"/>
            </a:xfrm>
            <a:solidFill>
              <a:srgbClr val="A0DCFF"/>
            </a:solidFill>
          </p:grpSpPr>
          <p:sp>
            <p:nvSpPr>
              <p:cNvPr id="160" name="Graphic 4">
                <a:extLst>
                  <a:ext uri="{FF2B5EF4-FFF2-40B4-BE49-F238E27FC236}">
                    <a16:creationId xmlns:a16="http://schemas.microsoft.com/office/drawing/2014/main" id="{CFE23775-CCAC-96EF-29FE-EF11CFB19E9C}"/>
                  </a:ext>
                </a:extLst>
              </p:cNvPr>
              <p:cNvSpPr/>
              <p:nvPr/>
            </p:nvSpPr>
            <p:spPr>
              <a:xfrm>
                <a:off x="467104" y="918179"/>
                <a:ext cx="362309" cy="361971"/>
              </a:xfrm>
              <a:custGeom>
                <a:avLst/>
                <a:gdLst>
                  <a:gd name="connsiteX0" fmla="*/ 181474 w 362309"/>
                  <a:gd name="connsiteY0" fmla="*/ 0 h 361971"/>
                  <a:gd name="connsiteX1" fmla="*/ 0 w 362309"/>
                  <a:gd name="connsiteY1" fmla="*/ 181305 h 361971"/>
                  <a:gd name="connsiteX2" fmla="*/ 181474 w 362309"/>
                  <a:gd name="connsiteY2" fmla="*/ 361972 h 361971"/>
                  <a:gd name="connsiteX3" fmla="*/ 362309 w 362309"/>
                  <a:gd name="connsiteY3" fmla="*/ 181305 h 361971"/>
                  <a:gd name="connsiteX4" fmla="*/ 181474 w 362309"/>
                  <a:gd name="connsiteY4" fmla="*/ 0 h 361971"/>
                  <a:gd name="connsiteX5" fmla="*/ 181474 w 362309"/>
                  <a:gd name="connsiteY5" fmla="*/ 0 h 361971"/>
                  <a:gd name="connsiteX6" fmla="*/ 181474 w 362309"/>
                  <a:gd name="connsiteY6" fmla="*/ 349204 h 361971"/>
                  <a:gd name="connsiteX7" fmla="*/ 13419 w 362309"/>
                  <a:gd name="connsiteY7" fmla="*/ 180667 h 361971"/>
                  <a:gd name="connsiteX8" fmla="*/ 181474 w 362309"/>
                  <a:gd name="connsiteY8" fmla="*/ 12768 h 361971"/>
                  <a:gd name="connsiteX9" fmla="*/ 349530 w 362309"/>
                  <a:gd name="connsiteY9" fmla="*/ 180667 h 361971"/>
                  <a:gd name="connsiteX10" fmla="*/ 181474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close/>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1" name="Graphic 4">
                <a:extLst>
                  <a:ext uri="{FF2B5EF4-FFF2-40B4-BE49-F238E27FC236}">
                    <a16:creationId xmlns:a16="http://schemas.microsoft.com/office/drawing/2014/main" id="{E2DA7E8E-DDEE-F90E-0A8D-217A7D789F4E}"/>
                  </a:ext>
                </a:extLst>
              </p:cNvPr>
              <p:cNvSpPr/>
              <p:nvPr/>
            </p:nvSpPr>
            <p:spPr>
              <a:xfrm>
                <a:off x="552594" y="1003724"/>
                <a:ext cx="190800" cy="203010"/>
              </a:xfrm>
              <a:custGeom>
                <a:avLst/>
                <a:gdLst>
                  <a:gd name="connsiteX0" fmla="*/ 186721 w 190800"/>
                  <a:gd name="connsiteY0" fmla="*/ 15322 h 203010"/>
                  <a:gd name="connsiteX1" fmla="*/ 180970 w 190800"/>
                  <a:gd name="connsiteY1" fmla="*/ 15322 h 203010"/>
                  <a:gd name="connsiteX2" fmla="*/ 100457 w 190800"/>
                  <a:gd name="connsiteY2" fmla="*/ 1915 h 203010"/>
                  <a:gd name="connsiteX3" fmla="*/ 91511 w 190800"/>
                  <a:gd name="connsiteY3" fmla="*/ 1915 h 203010"/>
                  <a:gd name="connsiteX4" fmla="*/ 10998 w 190800"/>
                  <a:gd name="connsiteY4" fmla="*/ 15322 h 203010"/>
                  <a:gd name="connsiteX5" fmla="*/ 2052 w 190800"/>
                  <a:gd name="connsiteY5" fmla="*/ 17875 h 203010"/>
                  <a:gd name="connsiteX6" fmla="*/ 1413 w 190800"/>
                  <a:gd name="connsiteY6" fmla="*/ 20429 h 203010"/>
                  <a:gd name="connsiteX7" fmla="*/ 92789 w 190800"/>
                  <a:gd name="connsiteY7" fmla="*/ 202372 h 203010"/>
                  <a:gd name="connsiteX8" fmla="*/ 93428 w 190800"/>
                  <a:gd name="connsiteY8" fmla="*/ 203011 h 203010"/>
                  <a:gd name="connsiteX9" fmla="*/ 94067 w 190800"/>
                  <a:gd name="connsiteY9" fmla="*/ 203011 h 203010"/>
                  <a:gd name="connsiteX10" fmla="*/ 95345 w 190800"/>
                  <a:gd name="connsiteY10" fmla="*/ 203011 h 203010"/>
                  <a:gd name="connsiteX11" fmla="*/ 95345 w 190800"/>
                  <a:gd name="connsiteY11" fmla="*/ 203011 h 203010"/>
                  <a:gd name="connsiteX12" fmla="*/ 96623 w 190800"/>
                  <a:gd name="connsiteY12" fmla="*/ 203011 h 203010"/>
                  <a:gd name="connsiteX13" fmla="*/ 97262 w 190800"/>
                  <a:gd name="connsiteY13" fmla="*/ 203011 h 203010"/>
                  <a:gd name="connsiteX14" fmla="*/ 97901 w 190800"/>
                  <a:gd name="connsiteY14" fmla="*/ 202372 h 203010"/>
                  <a:gd name="connsiteX15" fmla="*/ 189277 w 190800"/>
                  <a:gd name="connsiteY15" fmla="*/ 20429 h 203010"/>
                  <a:gd name="connsiteX16" fmla="*/ 186721 w 190800"/>
                  <a:gd name="connsiteY16" fmla="*/ 15322 h 203010"/>
                  <a:gd name="connsiteX17" fmla="*/ 13554 w 190800"/>
                  <a:gd name="connsiteY17" fmla="*/ 30643 h 203010"/>
                  <a:gd name="connsiteX18" fmla="*/ 95984 w 190800"/>
                  <a:gd name="connsiteY18" fmla="*/ 15322 h 203010"/>
                  <a:gd name="connsiteX19" fmla="*/ 126655 w 190800"/>
                  <a:gd name="connsiteY19" fmla="*/ 32558 h 203010"/>
                  <a:gd name="connsiteX20" fmla="*/ 33362 w 190800"/>
                  <a:gd name="connsiteY20" fmla="*/ 125764 h 203010"/>
                  <a:gd name="connsiteX21" fmla="*/ 13554 w 190800"/>
                  <a:gd name="connsiteY21" fmla="*/ 30643 h 203010"/>
                  <a:gd name="connsiteX22" fmla="*/ 13554 w 190800"/>
                  <a:gd name="connsiteY22" fmla="*/ 30643 h 203010"/>
                  <a:gd name="connsiteX23" fmla="*/ 48059 w 190800"/>
                  <a:gd name="connsiteY23" fmla="*/ 147470 h 203010"/>
                  <a:gd name="connsiteX24" fmla="*/ 40391 w 190800"/>
                  <a:gd name="connsiteY24" fmla="*/ 136617 h 203010"/>
                  <a:gd name="connsiteX25" fmla="*/ 141991 w 190800"/>
                  <a:gd name="connsiteY25" fmla="*/ 35112 h 203010"/>
                  <a:gd name="connsiteX26" fmla="*/ 161161 w 190800"/>
                  <a:gd name="connsiteY26" fmla="*/ 34474 h 203010"/>
                  <a:gd name="connsiteX27" fmla="*/ 48059 w 190800"/>
                  <a:gd name="connsiteY27" fmla="*/ 147470 h 203010"/>
                  <a:gd name="connsiteX28" fmla="*/ 95345 w 190800"/>
                  <a:gd name="connsiteY28" fmla="*/ 189604 h 203010"/>
                  <a:gd name="connsiteX29" fmla="*/ 55727 w 190800"/>
                  <a:gd name="connsiteY29" fmla="*/ 157684 h 203010"/>
                  <a:gd name="connsiteX30" fmla="*/ 177775 w 190800"/>
                  <a:gd name="connsiteY30" fmla="*/ 35750 h 203010"/>
                  <a:gd name="connsiteX31" fmla="*/ 95345 w 190800"/>
                  <a:gd name="connsiteY31" fmla="*/ 189604 h 203010"/>
                  <a:gd name="connsiteX32" fmla="*/ 95345 w 190800"/>
                  <a:gd name="connsiteY32" fmla="*/ 189604 h 2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00" h="203010">
                    <a:moveTo>
                      <a:pt x="186721" y="15322"/>
                    </a:moveTo>
                    <a:cubicBezTo>
                      <a:pt x="184804" y="14045"/>
                      <a:pt x="182248" y="14045"/>
                      <a:pt x="180970" y="15322"/>
                    </a:cubicBezTo>
                    <a:cubicBezTo>
                      <a:pt x="154132" y="29366"/>
                      <a:pt x="121543" y="23621"/>
                      <a:pt x="100457" y="1915"/>
                    </a:cubicBezTo>
                    <a:cubicBezTo>
                      <a:pt x="97901" y="-638"/>
                      <a:pt x="94067" y="-638"/>
                      <a:pt x="91511" y="1915"/>
                    </a:cubicBezTo>
                    <a:cubicBezTo>
                      <a:pt x="71063" y="24259"/>
                      <a:pt x="37835" y="29366"/>
                      <a:pt x="10998" y="15322"/>
                    </a:cubicBezTo>
                    <a:cubicBezTo>
                      <a:pt x="7803" y="13406"/>
                      <a:pt x="3969" y="14683"/>
                      <a:pt x="2052" y="17875"/>
                    </a:cubicBezTo>
                    <a:cubicBezTo>
                      <a:pt x="1413" y="18514"/>
                      <a:pt x="1413" y="19152"/>
                      <a:pt x="1413" y="20429"/>
                    </a:cubicBezTo>
                    <a:cubicBezTo>
                      <a:pt x="-13284" y="146193"/>
                      <a:pt x="91511" y="201734"/>
                      <a:pt x="92789" y="202372"/>
                    </a:cubicBezTo>
                    <a:lnTo>
                      <a:pt x="93428" y="203011"/>
                    </a:lnTo>
                    <a:lnTo>
                      <a:pt x="94067" y="203011"/>
                    </a:lnTo>
                    <a:lnTo>
                      <a:pt x="95345" y="203011"/>
                    </a:lnTo>
                    <a:lnTo>
                      <a:pt x="95345" y="203011"/>
                    </a:lnTo>
                    <a:lnTo>
                      <a:pt x="96623" y="203011"/>
                    </a:lnTo>
                    <a:lnTo>
                      <a:pt x="97262" y="203011"/>
                    </a:lnTo>
                    <a:lnTo>
                      <a:pt x="97901" y="202372"/>
                    </a:lnTo>
                    <a:cubicBezTo>
                      <a:pt x="99179" y="201734"/>
                      <a:pt x="204613" y="146193"/>
                      <a:pt x="189277" y="20429"/>
                    </a:cubicBezTo>
                    <a:cubicBezTo>
                      <a:pt x="189916" y="17875"/>
                      <a:pt x="188638" y="15960"/>
                      <a:pt x="186721" y="15322"/>
                    </a:cubicBezTo>
                    <a:close/>
                    <a:moveTo>
                      <a:pt x="13554" y="30643"/>
                    </a:moveTo>
                    <a:cubicBezTo>
                      <a:pt x="41669" y="41496"/>
                      <a:pt x="73619" y="35750"/>
                      <a:pt x="95984" y="15322"/>
                    </a:cubicBezTo>
                    <a:cubicBezTo>
                      <a:pt x="104930" y="23621"/>
                      <a:pt x="115154" y="29366"/>
                      <a:pt x="126655" y="32558"/>
                    </a:cubicBezTo>
                    <a:lnTo>
                      <a:pt x="33362" y="125764"/>
                    </a:lnTo>
                    <a:cubicBezTo>
                      <a:pt x="17387" y="96398"/>
                      <a:pt x="10359" y="63201"/>
                      <a:pt x="13554" y="30643"/>
                    </a:cubicBezTo>
                    <a:lnTo>
                      <a:pt x="13554" y="30643"/>
                    </a:lnTo>
                    <a:close/>
                    <a:moveTo>
                      <a:pt x="48059" y="147470"/>
                    </a:moveTo>
                    <a:cubicBezTo>
                      <a:pt x="45503" y="144278"/>
                      <a:pt x="42947" y="140448"/>
                      <a:pt x="40391" y="136617"/>
                    </a:cubicBezTo>
                    <a:lnTo>
                      <a:pt x="141991" y="35112"/>
                    </a:lnTo>
                    <a:cubicBezTo>
                      <a:pt x="148381" y="35750"/>
                      <a:pt x="154771" y="35112"/>
                      <a:pt x="161161" y="34474"/>
                    </a:cubicBezTo>
                    <a:lnTo>
                      <a:pt x="48059" y="147470"/>
                    </a:lnTo>
                    <a:close/>
                    <a:moveTo>
                      <a:pt x="95345" y="189604"/>
                    </a:moveTo>
                    <a:cubicBezTo>
                      <a:pt x="80648" y="180667"/>
                      <a:pt x="67229" y="170452"/>
                      <a:pt x="55727" y="157684"/>
                    </a:cubicBezTo>
                    <a:lnTo>
                      <a:pt x="177775" y="35750"/>
                    </a:lnTo>
                    <a:cubicBezTo>
                      <a:pt x="183526" y="132787"/>
                      <a:pt x="111959" y="180667"/>
                      <a:pt x="95345" y="189604"/>
                    </a:cubicBezTo>
                    <a:lnTo>
                      <a:pt x="95345" y="189604"/>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36" name="Graphic 4">
              <a:extLst>
                <a:ext uri="{FF2B5EF4-FFF2-40B4-BE49-F238E27FC236}">
                  <a16:creationId xmlns:a16="http://schemas.microsoft.com/office/drawing/2014/main" id="{FFEB22CC-B3FA-512E-33E1-D66BC81C67CE}"/>
                </a:ext>
              </a:extLst>
            </p:cNvPr>
            <p:cNvGrpSpPr>
              <a:grpSpLocks noChangeAspect="1"/>
            </p:cNvGrpSpPr>
            <p:nvPr/>
          </p:nvGrpSpPr>
          <p:grpSpPr>
            <a:xfrm>
              <a:off x="5412251" y="4642726"/>
              <a:ext cx="549152" cy="548640"/>
              <a:chOff x="1515054" y="1402723"/>
              <a:chExt cx="362309" cy="361971"/>
            </a:xfrm>
            <a:solidFill>
              <a:srgbClr val="A0DCFF"/>
            </a:solidFill>
          </p:grpSpPr>
          <p:sp>
            <p:nvSpPr>
              <p:cNvPr id="156" name="Graphic 4">
                <a:extLst>
                  <a:ext uri="{FF2B5EF4-FFF2-40B4-BE49-F238E27FC236}">
                    <a16:creationId xmlns:a16="http://schemas.microsoft.com/office/drawing/2014/main" id="{A16D147C-E7EB-874F-EE7E-7FFDA59002F1}"/>
                  </a:ext>
                </a:extLst>
              </p:cNvPr>
              <p:cNvSpPr/>
              <p:nvPr/>
            </p:nvSpPr>
            <p:spPr>
              <a:xfrm>
                <a:off x="1515054" y="1402723"/>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362309 w 362309"/>
                  <a:gd name="connsiteY4" fmla="*/ 181305 h 361971"/>
                  <a:gd name="connsiteX5" fmla="*/ 180835 w 362309"/>
                  <a:gd name="connsiteY5" fmla="*/ 0 h 361971"/>
                  <a:gd name="connsiteX6" fmla="*/ 180835 w 362309"/>
                  <a:gd name="connsiteY6" fmla="*/ 0 h 361971"/>
                  <a:gd name="connsiteX7" fmla="*/ 180835 w 362309"/>
                  <a:gd name="connsiteY7" fmla="*/ 348565 h 361971"/>
                  <a:gd name="connsiteX8" fmla="*/ 12780 w 362309"/>
                  <a:gd name="connsiteY8" fmla="*/ 180028 h 361971"/>
                  <a:gd name="connsiteX9" fmla="*/ 180835 w 362309"/>
                  <a:gd name="connsiteY9" fmla="*/ 12130 h 361971"/>
                  <a:gd name="connsiteX10" fmla="*/ 349529 w 362309"/>
                  <a:gd name="connsiteY10" fmla="*/ 180028 h 361971"/>
                  <a:gd name="connsiteX11" fmla="*/ 180835 w 362309"/>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181305"/>
                      <a:pt x="362309" y="181305"/>
                      <a:pt x="362309" y="181305"/>
                    </a:cubicBezTo>
                    <a:cubicBezTo>
                      <a:pt x="361670" y="80438"/>
                      <a:pt x="281157" y="0"/>
                      <a:pt x="180835" y="0"/>
                    </a:cubicBezTo>
                    <a:cubicBezTo>
                      <a:pt x="180835" y="0"/>
                      <a:pt x="180835" y="0"/>
                      <a:pt x="180835" y="0"/>
                    </a:cubicBezTo>
                    <a:close/>
                    <a:moveTo>
                      <a:pt x="180835" y="348565"/>
                    </a:moveTo>
                    <a:cubicBezTo>
                      <a:pt x="87542" y="348565"/>
                      <a:pt x="12780" y="273234"/>
                      <a:pt x="12780" y="180028"/>
                    </a:cubicBezTo>
                    <a:cubicBezTo>
                      <a:pt x="12780" y="86822"/>
                      <a:pt x="88181" y="12130"/>
                      <a:pt x="180835" y="12130"/>
                    </a:cubicBezTo>
                    <a:cubicBezTo>
                      <a:pt x="274128" y="12130"/>
                      <a:pt x="349529" y="87461"/>
                      <a:pt x="349529" y="180028"/>
                    </a:cubicBezTo>
                    <a:cubicBezTo>
                      <a:pt x="348891" y="273234"/>
                      <a:pt x="273489" y="348565"/>
                      <a:pt x="180835" y="348565"/>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7" name="Graphic 4">
                <a:extLst>
                  <a:ext uri="{FF2B5EF4-FFF2-40B4-BE49-F238E27FC236}">
                    <a16:creationId xmlns:a16="http://schemas.microsoft.com/office/drawing/2014/main" id="{68B49A26-BF4B-14DE-94B9-FBF010B61518}"/>
                  </a:ext>
                </a:extLst>
              </p:cNvPr>
              <p:cNvSpPr/>
              <p:nvPr/>
            </p:nvSpPr>
            <p:spPr>
              <a:xfrm>
                <a:off x="1615376" y="1472947"/>
                <a:ext cx="191059" cy="190881"/>
              </a:xfrm>
              <a:custGeom>
                <a:avLst/>
                <a:gdLst>
                  <a:gd name="connsiteX0" fmla="*/ 162943 w 191059"/>
                  <a:gd name="connsiteY0" fmla="*/ 114273 h 190881"/>
                  <a:gd name="connsiteX1" fmla="*/ 160387 w 191059"/>
                  <a:gd name="connsiteY1" fmla="*/ 112996 h 190881"/>
                  <a:gd name="connsiteX2" fmla="*/ 121409 w 191059"/>
                  <a:gd name="connsiteY2" fmla="*/ 98313 h 190881"/>
                  <a:gd name="connsiteX3" fmla="*/ 134828 w 191059"/>
                  <a:gd name="connsiteY3" fmla="*/ 84907 h 190881"/>
                  <a:gd name="connsiteX4" fmla="*/ 134828 w 191059"/>
                  <a:gd name="connsiteY4" fmla="*/ 67032 h 190881"/>
                  <a:gd name="connsiteX5" fmla="*/ 134828 w 191059"/>
                  <a:gd name="connsiteY5" fmla="*/ 67032 h 190881"/>
                  <a:gd name="connsiteX6" fmla="*/ 123965 w 191059"/>
                  <a:gd name="connsiteY6" fmla="*/ 56179 h 190881"/>
                  <a:gd name="connsiteX7" fmla="*/ 106073 w 191059"/>
                  <a:gd name="connsiteY7" fmla="*/ 56179 h 190881"/>
                  <a:gd name="connsiteX8" fmla="*/ 106073 w 191059"/>
                  <a:gd name="connsiteY8" fmla="*/ 56179 h 190881"/>
                  <a:gd name="connsiteX9" fmla="*/ 92654 w 191059"/>
                  <a:gd name="connsiteY9" fmla="*/ 69585 h 190881"/>
                  <a:gd name="connsiteX10" fmla="*/ 77957 w 191059"/>
                  <a:gd name="connsiteY10" fmla="*/ 30643 h 190881"/>
                  <a:gd name="connsiteX11" fmla="*/ 76679 w 191059"/>
                  <a:gd name="connsiteY11" fmla="*/ 28089 h 190881"/>
                  <a:gd name="connsiteX12" fmla="*/ 50481 w 191059"/>
                  <a:gd name="connsiteY12" fmla="*/ 1915 h 190881"/>
                  <a:gd name="connsiteX13" fmla="*/ 46008 w 191059"/>
                  <a:gd name="connsiteY13" fmla="*/ 0 h 190881"/>
                  <a:gd name="connsiteX14" fmla="*/ 41534 w 191059"/>
                  <a:gd name="connsiteY14" fmla="*/ 1915 h 190881"/>
                  <a:gd name="connsiteX15" fmla="*/ 1917 w 191059"/>
                  <a:gd name="connsiteY15" fmla="*/ 41496 h 190881"/>
                  <a:gd name="connsiteX16" fmla="*/ 0 w 191059"/>
                  <a:gd name="connsiteY16" fmla="*/ 45965 h 190881"/>
                  <a:gd name="connsiteX17" fmla="*/ 1917 w 191059"/>
                  <a:gd name="connsiteY17" fmla="*/ 50433 h 190881"/>
                  <a:gd name="connsiteX18" fmla="*/ 28116 w 191059"/>
                  <a:gd name="connsiteY18" fmla="*/ 76608 h 190881"/>
                  <a:gd name="connsiteX19" fmla="*/ 30672 w 191059"/>
                  <a:gd name="connsiteY19" fmla="*/ 77885 h 190881"/>
                  <a:gd name="connsiteX20" fmla="*/ 69650 w 191059"/>
                  <a:gd name="connsiteY20" fmla="*/ 92568 h 190881"/>
                  <a:gd name="connsiteX21" fmla="*/ 56231 w 191059"/>
                  <a:gd name="connsiteY21" fmla="*/ 105974 h 190881"/>
                  <a:gd name="connsiteX22" fmla="*/ 56231 w 191059"/>
                  <a:gd name="connsiteY22" fmla="*/ 105974 h 190881"/>
                  <a:gd name="connsiteX23" fmla="*/ 56231 w 191059"/>
                  <a:gd name="connsiteY23" fmla="*/ 123849 h 190881"/>
                  <a:gd name="connsiteX24" fmla="*/ 56231 w 191059"/>
                  <a:gd name="connsiteY24" fmla="*/ 123849 h 190881"/>
                  <a:gd name="connsiteX25" fmla="*/ 67094 w 191059"/>
                  <a:gd name="connsiteY25" fmla="*/ 134702 h 190881"/>
                  <a:gd name="connsiteX26" fmla="*/ 76040 w 191059"/>
                  <a:gd name="connsiteY26" fmla="*/ 138532 h 190881"/>
                  <a:gd name="connsiteX27" fmla="*/ 84986 w 191059"/>
                  <a:gd name="connsiteY27" fmla="*/ 134702 h 190881"/>
                  <a:gd name="connsiteX28" fmla="*/ 98405 w 191059"/>
                  <a:gd name="connsiteY28" fmla="*/ 121296 h 190881"/>
                  <a:gd name="connsiteX29" fmla="*/ 113102 w 191059"/>
                  <a:gd name="connsiteY29" fmla="*/ 160238 h 190881"/>
                  <a:gd name="connsiteX30" fmla="*/ 114380 w 191059"/>
                  <a:gd name="connsiteY30" fmla="*/ 162792 h 190881"/>
                  <a:gd name="connsiteX31" fmla="*/ 140579 w 191059"/>
                  <a:gd name="connsiteY31" fmla="*/ 188966 h 190881"/>
                  <a:gd name="connsiteX32" fmla="*/ 149525 w 191059"/>
                  <a:gd name="connsiteY32" fmla="*/ 188966 h 190881"/>
                  <a:gd name="connsiteX33" fmla="*/ 149525 w 191059"/>
                  <a:gd name="connsiteY33" fmla="*/ 188966 h 190881"/>
                  <a:gd name="connsiteX34" fmla="*/ 189142 w 191059"/>
                  <a:gd name="connsiteY34" fmla="*/ 149385 h 190881"/>
                  <a:gd name="connsiteX35" fmla="*/ 191059 w 191059"/>
                  <a:gd name="connsiteY35" fmla="*/ 144916 h 190881"/>
                  <a:gd name="connsiteX36" fmla="*/ 189142 w 191059"/>
                  <a:gd name="connsiteY36" fmla="*/ 140448 h 190881"/>
                  <a:gd name="connsiteX37" fmla="*/ 162943 w 191059"/>
                  <a:gd name="connsiteY37" fmla="*/ 114273 h 190881"/>
                  <a:gd name="connsiteX38" fmla="*/ 35784 w 191059"/>
                  <a:gd name="connsiteY38" fmla="*/ 66393 h 190881"/>
                  <a:gd name="connsiteX39" fmla="*/ 15336 w 191059"/>
                  <a:gd name="connsiteY39" fmla="*/ 45965 h 190881"/>
                  <a:gd name="connsiteX40" fmla="*/ 46008 w 191059"/>
                  <a:gd name="connsiteY40" fmla="*/ 15322 h 190881"/>
                  <a:gd name="connsiteX41" fmla="*/ 66455 w 191059"/>
                  <a:gd name="connsiteY41" fmla="*/ 35750 h 190881"/>
                  <a:gd name="connsiteX42" fmla="*/ 82430 w 191059"/>
                  <a:gd name="connsiteY42" fmla="*/ 79161 h 190881"/>
                  <a:gd name="connsiteX43" fmla="*/ 79235 w 191059"/>
                  <a:gd name="connsiteY43" fmla="*/ 82353 h 190881"/>
                  <a:gd name="connsiteX44" fmla="*/ 35784 w 191059"/>
                  <a:gd name="connsiteY44" fmla="*/ 66393 h 190881"/>
                  <a:gd name="connsiteX45" fmla="*/ 75401 w 191059"/>
                  <a:gd name="connsiteY45" fmla="*/ 125764 h 190881"/>
                  <a:gd name="connsiteX46" fmla="*/ 64538 w 191059"/>
                  <a:gd name="connsiteY46" fmla="*/ 114912 h 190881"/>
                  <a:gd name="connsiteX47" fmla="*/ 115019 w 191059"/>
                  <a:gd name="connsiteY47" fmla="*/ 64478 h 190881"/>
                  <a:gd name="connsiteX48" fmla="*/ 125882 w 191059"/>
                  <a:gd name="connsiteY48" fmla="*/ 75331 h 190881"/>
                  <a:gd name="connsiteX49" fmla="*/ 75401 w 191059"/>
                  <a:gd name="connsiteY49" fmla="*/ 125764 h 190881"/>
                  <a:gd name="connsiteX50" fmla="*/ 144413 w 191059"/>
                  <a:gd name="connsiteY50" fmla="*/ 174921 h 190881"/>
                  <a:gd name="connsiteX51" fmla="*/ 123965 w 191059"/>
                  <a:gd name="connsiteY51" fmla="*/ 154492 h 190881"/>
                  <a:gd name="connsiteX52" fmla="*/ 107990 w 191059"/>
                  <a:gd name="connsiteY52" fmla="*/ 111081 h 190881"/>
                  <a:gd name="connsiteX53" fmla="*/ 111185 w 191059"/>
                  <a:gd name="connsiteY53" fmla="*/ 107889 h 190881"/>
                  <a:gd name="connsiteX54" fmla="*/ 154636 w 191059"/>
                  <a:gd name="connsiteY54" fmla="*/ 124488 h 190881"/>
                  <a:gd name="connsiteX55" fmla="*/ 175084 w 191059"/>
                  <a:gd name="connsiteY55" fmla="*/ 144916 h 190881"/>
                  <a:gd name="connsiteX56" fmla="*/ 144413 w 191059"/>
                  <a:gd name="connsiteY56" fmla="*/ 174921 h 190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91059" h="190881">
                    <a:moveTo>
                      <a:pt x="162943" y="114273"/>
                    </a:moveTo>
                    <a:cubicBezTo>
                      <a:pt x="162304" y="113635"/>
                      <a:pt x="161665" y="112996"/>
                      <a:pt x="160387" y="112996"/>
                    </a:cubicBezTo>
                    <a:lnTo>
                      <a:pt x="121409" y="98313"/>
                    </a:lnTo>
                    <a:lnTo>
                      <a:pt x="134828" y="84907"/>
                    </a:lnTo>
                    <a:cubicBezTo>
                      <a:pt x="139940" y="79800"/>
                      <a:pt x="139940" y="72139"/>
                      <a:pt x="134828" y="67032"/>
                    </a:cubicBezTo>
                    <a:cubicBezTo>
                      <a:pt x="134828" y="67032"/>
                      <a:pt x="134828" y="67032"/>
                      <a:pt x="134828" y="67032"/>
                    </a:cubicBezTo>
                    <a:lnTo>
                      <a:pt x="123965" y="56179"/>
                    </a:lnTo>
                    <a:cubicBezTo>
                      <a:pt x="118853" y="51072"/>
                      <a:pt x="111185" y="51072"/>
                      <a:pt x="106073" y="56179"/>
                    </a:cubicBezTo>
                    <a:cubicBezTo>
                      <a:pt x="106073" y="56179"/>
                      <a:pt x="106073" y="56179"/>
                      <a:pt x="106073" y="56179"/>
                    </a:cubicBezTo>
                    <a:lnTo>
                      <a:pt x="92654" y="69585"/>
                    </a:lnTo>
                    <a:lnTo>
                      <a:pt x="77957" y="30643"/>
                    </a:lnTo>
                    <a:cubicBezTo>
                      <a:pt x="77318" y="30005"/>
                      <a:pt x="77318" y="28728"/>
                      <a:pt x="76679" y="28089"/>
                    </a:cubicBezTo>
                    <a:lnTo>
                      <a:pt x="50481" y="1915"/>
                    </a:lnTo>
                    <a:cubicBezTo>
                      <a:pt x="49202" y="638"/>
                      <a:pt x="47924" y="0"/>
                      <a:pt x="46008" y="0"/>
                    </a:cubicBezTo>
                    <a:cubicBezTo>
                      <a:pt x="44091" y="0"/>
                      <a:pt x="42813" y="638"/>
                      <a:pt x="41534" y="1915"/>
                    </a:cubicBezTo>
                    <a:lnTo>
                      <a:pt x="1917" y="41496"/>
                    </a:lnTo>
                    <a:cubicBezTo>
                      <a:pt x="639" y="42773"/>
                      <a:pt x="0" y="44049"/>
                      <a:pt x="0" y="45965"/>
                    </a:cubicBezTo>
                    <a:cubicBezTo>
                      <a:pt x="0" y="47880"/>
                      <a:pt x="639" y="49157"/>
                      <a:pt x="1917" y="50433"/>
                    </a:cubicBezTo>
                    <a:lnTo>
                      <a:pt x="28116" y="76608"/>
                    </a:lnTo>
                    <a:cubicBezTo>
                      <a:pt x="28755" y="77246"/>
                      <a:pt x="29394" y="77885"/>
                      <a:pt x="30672" y="77885"/>
                    </a:cubicBezTo>
                    <a:lnTo>
                      <a:pt x="69650" y="92568"/>
                    </a:lnTo>
                    <a:lnTo>
                      <a:pt x="56231" y="105974"/>
                    </a:lnTo>
                    <a:lnTo>
                      <a:pt x="56231" y="105974"/>
                    </a:lnTo>
                    <a:cubicBezTo>
                      <a:pt x="51119" y="111081"/>
                      <a:pt x="51119" y="118742"/>
                      <a:pt x="56231" y="123849"/>
                    </a:cubicBezTo>
                    <a:cubicBezTo>
                      <a:pt x="56231" y="123849"/>
                      <a:pt x="56231" y="123849"/>
                      <a:pt x="56231" y="123849"/>
                    </a:cubicBezTo>
                    <a:lnTo>
                      <a:pt x="67094" y="134702"/>
                    </a:lnTo>
                    <a:cubicBezTo>
                      <a:pt x="69650" y="137256"/>
                      <a:pt x="72845" y="138532"/>
                      <a:pt x="76040" y="138532"/>
                    </a:cubicBezTo>
                    <a:cubicBezTo>
                      <a:pt x="79235" y="138532"/>
                      <a:pt x="82430" y="137256"/>
                      <a:pt x="84986" y="134702"/>
                    </a:cubicBezTo>
                    <a:lnTo>
                      <a:pt x="98405" y="121296"/>
                    </a:lnTo>
                    <a:lnTo>
                      <a:pt x="113102" y="160238"/>
                    </a:lnTo>
                    <a:cubicBezTo>
                      <a:pt x="113741" y="160876"/>
                      <a:pt x="113741" y="162153"/>
                      <a:pt x="114380" y="162792"/>
                    </a:cubicBezTo>
                    <a:lnTo>
                      <a:pt x="140579" y="188966"/>
                    </a:lnTo>
                    <a:cubicBezTo>
                      <a:pt x="143135" y="191519"/>
                      <a:pt x="146968" y="191519"/>
                      <a:pt x="149525" y="188966"/>
                    </a:cubicBezTo>
                    <a:cubicBezTo>
                      <a:pt x="149525" y="188966"/>
                      <a:pt x="149525" y="188966"/>
                      <a:pt x="149525" y="188966"/>
                    </a:cubicBezTo>
                    <a:lnTo>
                      <a:pt x="189142" y="149385"/>
                    </a:lnTo>
                    <a:cubicBezTo>
                      <a:pt x="190420" y="148108"/>
                      <a:pt x="191059" y="146832"/>
                      <a:pt x="191059" y="144916"/>
                    </a:cubicBezTo>
                    <a:cubicBezTo>
                      <a:pt x="191059" y="143001"/>
                      <a:pt x="190420" y="141724"/>
                      <a:pt x="189142" y="140448"/>
                    </a:cubicBezTo>
                    <a:lnTo>
                      <a:pt x="162943" y="114273"/>
                    </a:lnTo>
                    <a:close/>
                    <a:moveTo>
                      <a:pt x="35784" y="66393"/>
                    </a:moveTo>
                    <a:lnTo>
                      <a:pt x="15336" y="45965"/>
                    </a:lnTo>
                    <a:lnTo>
                      <a:pt x="46008" y="15322"/>
                    </a:lnTo>
                    <a:lnTo>
                      <a:pt x="66455" y="35750"/>
                    </a:lnTo>
                    <a:lnTo>
                      <a:pt x="82430" y="79161"/>
                    </a:lnTo>
                    <a:lnTo>
                      <a:pt x="79235" y="82353"/>
                    </a:lnTo>
                    <a:lnTo>
                      <a:pt x="35784" y="66393"/>
                    </a:lnTo>
                    <a:close/>
                    <a:moveTo>
                      <a:pt x="75401" y="125764"/>
                    </a:moveTo>
                    <a:lnTo>
                      <a:pt x="64538" y="114912"/>
                    </a:lnTo>
                    <a:lnTo>
                      <a:pt x="115019" y="64478"/>
                    </a:lnTo>
                    <a:lnTo>
                      <a:pt x="125882" y="75331"/>
                    </a:lnTo>
                    <a:lnTo>
                      <a:pt x="75401" y="125764"/>
                    </a:lnTo>
                    <a:close/>
                    <a:moveTo>
                      <a:pt x="144413" y="174921"/>
                    </a:moveTo>
                    <a:lnTo>
                      <a:pt x="123965" y="154492"/>
                    </a:lnTo>
                    <a:lnTo>
                      <a:pt x="107990" y="111081"/>
                    </a:lnTo>
                    <a:lnTo>
                      <a:pt x="111185" y="107889"/>
                    </a:lnTo>
                    <a:lnTo>
                      <a:pt x="154636" y="124488"/>
                    </a:lnTo>
                    <a:lnTo>
                      <a:pt x="175084" y="144916"/>
                    </a:lnTo>
                    <a:lnTo>
                      <a:pt x="144413" y="174921"/>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8" name="Graphic 4">
                <a:extLst>
                  <a:ext uri="{FF2B5EF4-FFF2-40B4-BE49-F238E27FC236}">
                    <a16:creationId xmlns:a16="http://schemas.microsoft.com/office/drawing/2014/main" id="{DAF71F47-EBBE-E214-007B-F8016F04AD30}"/>
                  </a:ext>
                </a:extLst>
              </p:cNvPr>
              <p:cNvSpPr/>
              <p:nvPr/>
            </p:nvSpPr>
            <p:spPr>
              <a:xfrm>
                <a:off x="1585982" y="1586582"/>
                <a:ext cx="106072" cy="106087"/>
              </a:xfrm>
              <a:custGeom>
                <a:avLst/>
                <a:gdLst>
                  <a:gd name="connsiteX0" fmla="*/ 99683 w 106072"/>
                  <a:gd name="connsiteY0" fmla="*/ 93845 h 106087"/>
                  <a:gd name="connsiteX1" fmla="*/ 99683 w 106072"/>
                  <a:gd name="connsiteY1" fmla="*/ 93845 h 106087"/>
                  <a:gd name="connsiteX2" fmla="*/ 40257 w 106072"/>
                  <a:gd name="connsiteY2" fmla="*/ 70862 h 106087"/>
                  <a:gd name="connsiteX3" fmla="*/ 12780 w 106072"/>
                  <a:gd name="connsiteY3" fmla="*/ 6384 h 106087"/>
                  <a:gd name="connsiteX4" fmla="*/ 6390 w 106072"/>
                  <a:gd name="connsiteY4" fmla="*/ 0 h 106087"/>
                  <a:gd name="connsiteX5" fmla="*/ 0 w 106072"/>
                  <a:gd name="connsiteY5" fmla="*/ 6384 h 106087"/>
                  <a:gd name="connsiteX6" fmla="*/ 31311 w 106072"/>
                  <a:gd name="connsiteY6" fmla="*/ 79800 h 106087"/>
                  <a:gd name="connsiteX7" fmla="*/ 99683 w 106072"/>
                  <a:gd name="connsiteY7" fmla="*/ 105974 h 106087"/>
                  <a:gd name="connsiteX8" fmla="*/ 99683 w 106072"/>
                  <a:gd name="connsiteY8" fmla="*/ 105974 h 106087"/>
                  <a:gd name="connsiteX9" fmla="*/ 106073 w 106072"/>
                  <a:gd name="connsiteY9" fmla="*/ 99590 h 106087"/>
                  <a:gd name="connsiteX10" fmla="*/ 99683 w 106072"/>
                  <a:gd name="connsiteY10" fmla="*/ 93845 h 106087"/>
                  <a:gd name="connsiteX11" fmla="*/ 99683 w 106072"/>
                  <a:gd name="connsiteY11" fmla="*/ 93845 h 1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72" h="106087">
                    <a:moveTo>
                      <a:pt x="99683" y="93845"/>
                    </a:moveTo>
                    <a:lnTo>
                      <a:pt x="99683" y="93845"/>
                    </a:lnTo>
                    <a:cubicBezTo>
                      <a:pt x="77318" y="95121"/>
                      <a:pt x="55592" y="86822"/>
                      <a:pt x="40257" y="70862"/>
                    </a:cubicBezTo>
                    <a:cubicBezTo>
                      <a:pt x="23004" y="53625"/>
                      <a:pt x="13419" y="30643"/>
                      <a:pt x="12780" y="6384"/>
                    </a:cubicBezTo>
                    <a:cubicBezTo>
                      <a:pt x="12780" y="2554"/>
                      <a:pt x="10224" y="0"/>
                      <a:pt x="6390" y="0"/>
                    </a:cubicBezTo>
                    <a:cubicBezTo>
                      <a:pt x="2556" y="0"/>
                      <a:pt x="0" y="2554"/>
                      <a:pt x="0" y="6384"/>
                    </a:cubicBezTo>
                    <a:cubicBezTo>
                      <a:pt x="639" y="33835"/>
                      <a:pt x="12141" y="60009"/>
                      <a:pt x="31311" y="79800"/>
                    </a:cubicBezTo>
                    <a:cubicBezTo>
                      <a:pt x="49202" y="97675"/>
                      <a:pt x="74123" y="107251"/>
                      <a:pt x="99683" y="105974"/>
                    </a:cubicBezTo>
                    <a:lnTo>
                      <a:pt x="99683" y="105974"/>
                    </a:lnTo>
                    <a:cubicBezTo>
                      <a:pt x="103517" y="105974"/>
                      <a:pt x="106073" y="103421"/>
                      <a:pt x="106073" y="99590"/>
                    </a:cubicBezTo>
                    <a:cubicBezTo>
                      <a:pt x="106073" y="95760"/>
                      <a:pt x="103517" y="93845"/>
                      <a:pt x="99683" y="93845"/>
                    </a:cubicBezTo>
                    <a:lnTo>
                      <a:pt x="99683" y="93845"/>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9" name="Graphic 4">
                <a:extLst>
                  <a:ext uri="{FF2B5EF4-FFF2-40B4-BE49-F238E27FC236}">
                    <a16:creationId xmlns:a16="http://schemas.microsoft.com/office/drawing/2014/main" id="{9300904C-DE9E-2B9D-AB5D-6B629C47DB59}"/>
                  </a:ext>
                </a:extLst>
              </p:cNvPr>
              <p:cNvSpPr/>
              <p:nvPr/>
            </p:nvSpPr>
            <p:spPr>
              <a:xfrm>
                <a:off x="1628155" y="1593604"/>
                <a:ext cx="61982" cy="62562"/>
              </a:xfrm>
              <a:custGeom>
                <a:avLst/>
                <a:gdLst>
                  <a:gd name="connsiteX0" fmla="*/ 55592 w 61982"/>
                  <a:gd name="connsiteY0" fmla="*/ 62563 h 62562"/>
                  <a:gd name="connsiteX1" fmla="*/ 61982 w 61982"/>
                  <a:gd name="connsiteY1" fmla="*/ 56179 h 62562"/>
                  <a:gd name="connsiteX2" fmla="*/ 55592 w 61982"/>
                  <a:gd name="connsiteY2" fmla="*/ 49795 h 62562"/>
                  <a:gd name="connsiteX3" fmla="*/ 55592 w 61982"/>
                  <a:gd name="connsiteY3" fmla="*/ 49795 h 62562"/>
                  <a:gd name="connsiteX4" fmla="*/ 12780 w 61982"/>
                  <a:gd name="connsiteY4" fmla="*/ 6384 h 62562"/>
                  <a:gd name="connsiteX5" fmla="*/ 6390 w 61982"/>
                  <a:gd name="connsiteY5" fmla="*/ 0 h 62562"/>
                  <a:gd name="connsiteX6" fmla="*/ 6390 w 61982"/>
                  <a:gd name="connsiteY6" fmla="*/ 0 h 62562"/>
                  <a:gd name="connsiteX7" fmla="*/ 0 w 61982"/>
                  <a:gd name="connsiteY7" fmla="*/ 6384 h 62562"/>
                  <a:gd name="connsiteX8" fmla="*/ 16614 w 61982"/>
                  <a:gd name="connsiteY8" fmla="*/ 45326 h 62562"/>
                  <a:gd name="connsiteX9" fmla="*/ 55592 w 61982"/>
                  <a:gd name="connsiteY9" fmla="*/ 62563 h 62562"/>
                  <a:gd name="connsiteX10" fmla="*/ 55592 w 61982"/>
                  <a:gd name="connsiteY10" fmla="*/ 62563 h 6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982" h="62562">
                    <a:moveTo>
                      <a:pt x="55592" y="62563"/>
                    </a:moveTo>
                    <a:cubicBezTo>
                      <a:pt x="59426" y="62563"/>
                      <a:pt x="61982" y="60009"/>
                      <a:pt x="61982" y="56179"/>
                    </a:cubicBezTo>
                    <a:cubicBezTo>
                      <a:pt x="61982" y="52349"/>
                      <a:pt x="59426" y="49795"/>
                      <a:pt x="55592" y="49795"/>
                    </a:cubicBezTo>
                    <a:lnTo>
                      <a:pt x="55592" y="49795"/>
                    </a:lnTo>
                    <a:cubicBezTo>
                      <a:pt x="31950" y="49157"/>
                      <a:pt x="13419" y="30005"/>
                      <a:pt x="12780" y="6384"/>
                    </a:cubicBezTo>
                    <a:cubicBezTo>
                      <a:pt x="12780" y="2554"/>
                      <a:pt x="10224" y="0"/>
                      <a:pt x="6390" y="0"/>
                    </a:cubicBezTo>
                    <a:lnTo>
                      <a:pt x="6390" y="0"/>
                    </a:lnTo>
                    <a:cubicBezTo>
                      <a:pt x="2556" y="0"/>
                      <a:pt x="0" y="2554"/>
                      <a:pt x="0" y="6384"/>
                    </a:cubicBezTo>
                    <a:cubicBezTo>
                      <a:pt x="639" y="21067"/>
                      <a:pt x="6390" y="35112"/>
                      <a:pt x="16614" y="45326"/>
                    </a:cubicBezTo>
                    <a:cubicBezTo>
                      <a:pt x="26838" y="55541"/>
                      <a:pt x="40896" y="61925"/>
                      <a:pt x="55592" y="62563"/>
                    </a:cubicBezTo>
                    <a:lnTo>
                      <a:pt x="55592" y="62563"/>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37" name="Graphic 1100">
              <a:extLst>
                <a:ext uri="{FF2B5EF4-FFF2-40B4-BE49-F238E27FC236}">
                  <a16:creationId xmlns:a16="http://schemas.microsoft.com/office/drawing/2014/main" id="{6AB2EAAB-E0DD-C090-92EE-7BA8E4D98E2C}"/>
                </a:ext>
              </a:extLst>
            </p:cNvPr>
            <p:cNvGrpSpPr/>
            <p:nvPr/>
          </p:nvGrpSpPr>
          <p:grpSpPr>
            <a:xfrm>
              <a:off x="6324608" y="4646606"/>
              <a:ext cx="551937" cy="551422"/>
              <a:chOff x="1515054" y="4312706"/>
              <a:chExt cx="362309" cy="361971"/>
            </a:xfrm>
            <a:solidFill>
              <a:srgbClr val="A0DCFF"/>
            </a:solidFill>
          </p:grpSpPr>
          <p:sp>
            <p:nvSpPr>
              <p:cNvPr id="154" name="Graphic 1100">
                <a:extLst>
                  <a:ext uri="{FF2B5EF4-FFF2-40B4-BE49-F238E27FC236}">
                    <a16:creationId xmlns:a16="http://schemas.microsoft.com/office/drawing/2014/main" id="{00DBED27-0E74-BA16-3539-396B63514B6B}"/>
                  </a:ext>
                </a:extLst>
              </p:cNvPr>
              <p:cNvSpPr/>
              <p:nvPr/>
            </p:nvSpPr>
            <p:spPr>
              <a:xfrm>
                <a:off x="1515054" y="431270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0 h 361971"/>
                  <a:gd name="connsiteX7" fmla="*/ 180835 w 362309"/>
                  <a:gd name="connsiteY7" fmla="*/ 349204 h 361971"/>
                  <a:gd name="connsiteX8" fmla="*/ 12780 w 362309"/>
                  <a:gd name="connsiteY8" fmla="*/ 180667 h 361971"/>
                  <a:gd name="connsiteX9" fmla="*/ 180835 w 362309"/>
                  <a:gd name="connsiteY9" fmla="*/ 12768 h 361971"/>
                  <a:gd name="connsiteX10" fmla="*/ 349529 w 362309"/>
                  <a:gd name="connsiteY10" fmla="*/ 181305 h 361971"/>
                  <a:gd name="connsiteX11" fmla="*/ 349529 w 362309"/>
                  <a:gd name="connsiteY11" fmla="*/ 181305 h 361971"/>
                  <a:gd name="connsiteX12" fmla="*/ 180835 w 362309"/>
                  <a:gd name="connsiteY12" fmla="*/ 349204 h 361971"/>
                  <a:gd name="connsiteX13" fmla="*/ 180835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5" name="Graphic 1100">
                <a:extLst>
                  <a:ext uri="{FF2B5EF4-FFF2-40B4-BE49-F238E27FC236}">
                    <a16:creationId xmlns:a16="http://schemas.microsoft.com/office/drawing/2014/main" id="{801943CE-F05B-BE7C-6E32-3E7A9E1677D8}"/>
                  </a:ext>
                </a:extLst>
              </p:cNvPr>
              <p:cNvSpPr/>
              <p:nvPr/>
            </p:nvSpPr>
            <p:spPr>
              <a:xfrm>
                <a:off x="1567962" y="4417914"/>
                <a:ext cx="254617" cy="151427"/>
              </a:xfrm>
              <a:custGeom>
                <a:avLst/>
                <a:gdLst>
                  <a:gd name="connsiteX0" fmla="*/ 252530 w 254617"/>
                  <a:gd name="connsiteY0" fmla="*/ 70351 h 151427"/>
                  <a:gd name="connsiteX1" fmla="*/ 218025 w 254617"/>
                  <a:gd name="connsiteY1" fmla="*/ 44815 h 151427"/>
                  <a:gd name="connsiteX2" fmla="*/ 209079 w 254617"/>
                  <a:gd name="connsiteY2" fmla="*/ 46092 h 151427"/>
                  <a:gd name="connsiteX3" fmla="*/ 207801 w 254617"/>
                  <a:gd name="connsiteY3" fmla="*/ 49922 h 151427"/>
                  <a:gd name="connsiteX4" fmla="*/ 207801 w 254617"/>
                  <a:gd name="connsiteY4" fmla="*/ 69074 h 151427"/>
                  <a:gd name="connsiteX5" fmla="*/ 74251 w 254617"/>
                  <a:gd name="connsiteY5" fmla="*/ 69074 h 151427"/>
                  <a:gd name="connsiteX6" fmla="*/ 106201 w 254617"/>
                  <a:gd name="connsiteY6" fmla="*/ 37155 h 151427"/>
                  <a:gd name="connsiteX7" fmla="*/ 127288 w 254617"/>
                  <a:gd name="connsiteY7" fmla="*/ 30132 h 151427"/>
                  <a:gd name="connsiteX8" fmla="*/ 130482 w 254617"/>
                  <a:gd name="connsiteY8" fmla="*/ 30132 h 151427"/>
                  <a:gd name="connsiteX9" fmla="*/ 159876 w 254617"/>
                  <a:gd name="connsiteY9" fmla="*/ 46730 h 151427"/>
                  <a:gd name="connsiteX10" fmla="*/ 176490 w 254617"/>
                  <a:gd name="connsiteY10" fmla="*/ 17364 h 151427"/>
                  <a:gd name="connsiteX11" fmla="*/ 147096 w 254617"/>
                  <a:gd name="connsiteY11" fmla="*/ 766 h 151427"/>
                  <a:gd name="connsiteX12" fmla="*/ 130482 w 254617"/>
                  <a:gd name="connsiteY12" fmla="*/ 17364 h 151427"/>
                  <a:gd name="connsiteX13" fmla="*/ 127288 w 254617"/>
                  <a:gd name="connsiteY13" fmla="*/ 17364 h 151427"/>
                  <a:gd name="connsiteX14" fmla="*/ 96616 w 254617"/>
                  <a:gd name="connsiteY14" fmla="*/ 27579 h 151427"/>
                  <a:gd name="connsiteX15" fmla="*/ 55720 w 254617"/>
                  <a:gd name="connsiteY15" fmla="*/ 69074 h 151427"/>
                  <a:gd name="connsiteX16" fmla="*/ 46774 w 254617"/>
                  <a:gd name="connsiteY16" fmla="*/ 69074 h 151427"/>
                  <a:gd name="connsiteX17" fmla="*/ 17381 w 254617"/>
                  <a:gd name="connsiteY17" fmla="*/ 52476 h 151427"/>
                  <a:gd name="connsiteX18" fmla="*/ 767 w 254617"/>
                  <a:gd name="connsiteY18" fmla="*/ 81842 h 151427"/>
                  <a:gd name="connsiteX19" fmla="*/ 30161 w 254617"/>
                  <a:gd name="connsiteY19" fmla="*/ 98441 h 151427"/>
                  <a:gd name="connsiteX20" fmla="*/ 46774 w 254617"/>
                  <a:gd name="connsiteY20" fmla="*/ 81842 h 151427"/>
                  <a:gd name="connsiteX21" fmla="*/ 64666 w 254617"/>
                  <a:gd name="connsiteY21" fmla="*/ 81842 h 151427"/>
                  <a:gd name="connsiteX22" fmla="*/ 106201 w 254617"/>
                  <a:gd name="connsiteY22" fmla="*/ 123338 h 151427"/>
                  <a:gd name="connsiteX23" fmla="*/ 136234 w 254617"/>
                  <a:gd name="connsiteY23" fmla="*/ 134191 h 151427"/>
                  <a:gd name="connsiteX24" fmla="*/ 138790 w 254617"/>
                  <a:gd name="connsiteY24" fmla="*/ 134191 h 151427"/>
                  <a:gd name="connsiteX25" fmla="*/ 138790 w 254617"/>
                  <a:gd name="connsiteY25" fmla="*/ 145044 h 151427"/>
                  <a:gd name="connsiteX26" fmla="*/ 145179 w 254617"/>
                  <a:gd name="connsiteY26" fmla="*/ 151428 h 151427"/>
                  <a:gd name="connsiteX27" fmla="*/ 179685 w 254617"/>
                  <a:gd name="connsiteY27" fmla="*/ 151428 h 151427"/>
                  <a:gd name="connsiteX28" fmla="*/ 186075 w 254617"/>
                  <a:gd name="connsiteY28" fmla="*/ 145044 h 151427"/>
                  <a:gd name="connsiteX29" fmla="*/ 186075 w 254617"/>
                  <a:gd name="connsiteY29" fmla="*/ 109932 h 151427"/>
                  <a:gd name="connsiteX30" fmla="*/ 179685 w 254617"/>
                  <a:gd name="connsiteY30" fmla="*/ 103548 h 151427"/>
                  <a:gd name="connsiteX31" fmla="*/ 144540 w 254617"/>
                  <a:gd name="connsiteY31" fmla="*/ 103548 h 151427"/>
                  <a:gd name="connsiteX32" fmla="*/ 138150 w 254617"/>
                  <a:gd name="connsiteY32" fmla="*/ 109932 h 151427"/>
                  <a:gd name="connsiteX33" fmla="*/ 138150 w 254617"/>
                  <a:gd name="connsiteY33" fmla="*/ 120785 h 151427"/>
                  <a:gd name="connsiteX34" fmla="*/ 135595 w 254617"/>
                  <a:gd name="connsiteY34" fmla="*/ 120785 h 151427"/>
                  <a:gd name="connsiteX35" fmla="*/ 114508 w 254617"/>
                  <a:gd name="connsiteY35" fmla="*/ 114401 h 151427"/>
                  <a:gd name="connsiteX36" fmla="*/ 82558 w 254617"/>
                  <a:gd name="connsiteY36" fmla="*/ 82481 h 151427"/>
                  <a:gd name="connsiteX37" fmla="*/ 207162 w 254617"/>
                  <a:gd name="connsiteY37" fmla="*/ 82481 h 151427"/>
                  <a:gd name="connsiteX38" fmla="*/ 207162 w 254617"/>
                  <a:gd name="connsiteY38" fmla="*/ 101633 h 151427"/>
                  <a:gd name="connsiteX39" fmla="*/ 213552 w 254617"/>
                  <a:gd name="connsiteY39" fmla="*/ 108017 h 151427"/>
                  <a:gd name="connsiteX40" fmla="*/ 217386 w 254617"/>
                  <a:gd name="connsiteY40" fmla="*/ 106740 h 151427"/>
                  <a:gd name="connsiteX41" fmla="*/ 251891 w 254617"/>
                  <a:gd name="connsiteY41" fmla="*/ 81204 h 151427"/>
                  <a:gd name="connsiteX42" fmla="*/ 254447 w 254617"/>
                  <a:gd name="connsiteY42" fmla="*/ 76097 h 151427"/>
                  <a:gd name="connsiteX43" fmla="*/ 252530 w 254617"/>
                  <a:gd name="connsiteY43" fmla="*/ 70351 h 151427"/>
                  <a:gd name="connsiteX44" fmla="*/ 153486 w 254617"/>
                  <a:gd name="connsiteY44" fmla="*/ 12895 h 151427"/>
                  <a:gd name="connsiteX45" fmla="*/ 164349 w 254617"/>
                  <a:gd name="connsiteY45" fmla="*/ 23748 h 151427"/>
                  <a:gd name="connsiteX46" fmla="*/ 153486 w 254617"/>
                  <a:gd name="connsiteY46" fmla="*/ 34601 h 151427"/>
                  <a:gd name="connsiteX47" fmla="*/ 142624 w 254617"/>
                  <a:gd name="connsiteY47" fmla="*/ 23748 h 151427"/>
                  <a:gd name="connsiteX48" fmla="*/ 153486 w 254617"/>
                  <a:gd name="connsiteY48" fmla="*/ 12895 h 151427"/>
                  <a:gd name="connsiteX49" fmla="*/ 153486 w 254617"/>
                  <a:gd name="connsiteY49" fmla="*/ 12895 h 151427"/>
                  <a:gd name="connsiteX50" fmla="*/ 151569 w 254617"/>
                  <a:gd name="connsiteY50" fmla="*/ 116316 h 151427"/>
                  <a:gd name="connsiteX51" fmla="*/ 173295 w 254617"/>
                  <a:gd name="connsiteY51" fmla="*/ 116316 h 151427"/>
                  <a:gd name="connsiteX52" fmla="*/ 173295 w 254617"/>
                  <a:gd name="connsiteY52" fmla="*/ 138022 h 151427"/>
                  <a:gd name="connsiteX53" fmla="*/ 151569 w 254617"/>
                  <a:gd name="connsiteY53" fmla="*/ 138022 h 151427"/>
                  <a:gd name="connsiteX54" fmla="*/ 151569 w 254617"/>
                  <a:gd name="connsiteY54" fmla="*/ 116316 h 151427"/>
                  <a:gd name="connsiteX55" fmla="*/ 24410 w 254617"/>
                  <a:gd name="connsiteY55" fmla="*/ 86311 h 151427"/>
                  <a:gd name="connsiteX56" fmla="*/ 13547 w 254617"/>
                  <a:gd name="connsiteY56" fmla="*/ 75458 h 151427"/>
                  <a:gd name="connsiteX57" fmla="*/ 24410 w 254617"/>
                  <a:gd name="connsiteY57" fmla="*/ 64606 h 151427"/>
                  <a:gd name="connsiteX58" fmla="*/ 35272 w 254617"/>
                  <a:gd name="connsiteY58" fmla="*/ 75458 h 151427"/>
                  <a:gd name="connsiteX59" fmla="*/ 35272 w 254617"/>
                  <a:gd name="connsiteY59" fmla="*/ 75458 h 151427"/>
                  <a:gd name="connsiteX60" fmla="*/ 24410 w 254617"/>
                  <a:gd name="connsiteY60" fmla="*/ 86311 h 151427"/>
                  <a:gd name="connsiteX61" fmla="*/ 24410 w 254617"/>
                  <a:gd name="connsiteY61" fmla="*/ 86311 h 151427"/>
                  <a:gd name="connsiteX62" fmla="*/ 24410 w 254617"/>
                  <a:gd name="connsiteY62" fmla="*/ 86311 h 151427"/>
                  <a:gd name="connsiteX63" fmla="*/ 220581 w 254617"/>
                  <a:gd name="connsiteY63" fmla="*/ 88226 h 151427"/>
                  <a:gd name="connsiteX64" fmla="*/ 220581 w 254617"/>
                  <a:gd name="connsiteY64" fmla="*/ 62052 h 151427"/>
                  <a:gd name="connsiteX65" fmla="*/ 237834 w 254617"/>
                  <a:gd name="connsiteY65" fmla="*/ 74820 h 151427"/>
                  <a:gd name="connsiteX66" fmla="*/ 220581 w 254617"/>
                  <a:gd name="connsiteY66" fmla="*/ 88226 h 15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54617" h="151427">
                    <a:moveTo>
                      <a:pt x="252530" y="70351"/>
                    </a:moveTo>
                    <a:lnTo>
                      <a:pt x="218025" y="44815"/>
                    </a:lnTo>
                    <a:cubicBezTo>
                      <a:pt x="215469" y="42900"/>
                      <a:pt x="210996" y="43538"/>
                      <a:pt x="209079" y="46092"/>
                    </a:cubicBezTo>
                    <a:cubicBezTo>
                      <a:pt x="208440" y="47369"/>
                      <a:pt x="207801" y="48646"/>
                      <a:pt x="207801" y="49922"/>
                    </a:cubicBezTo>
                    <a:lnTo>
                      <a:pt x="207801" y="69074"/>
                    </a:lnTo>
                    <a:lnTo>
                      <a:pt x="74251" y="69074"/>
                    </a:lnTo>
                    <a:lnTo>
                      <a:pt x="106201" y="37155"/>
                    </a:lnTo>
                    <a:cubicBezTo>
                      <a:pt x="112591" y="32686"/>
                      <a:pt x="119620" y="30132"/>
                      <a:pt x="127288" y="30132"/>
                    </a:cubicBezTo>
                    <a:lnTo>
                      <a:pt x="130482" y="30132"/>
                    </a:lnTo>
                    <a:cubicBezTo>
                      <a:pt x="134316" y="42900"/>
                      <a:pt x="147096" y="49922"/>
                      <a:pt x="159876" y="46730"/>
                    </a:cubicBezTo>
                    <a:cubicBezTo>
                      <a:pt x="172656" y="42900"/>
                      <a:pt x="179685" y="30132"/>
                      <a:pt x="176490" y="17364"/>
                    </a:cubicBezTo>
                    <a:cubicBezTo>
                      <a:pt x="173295" y="4596"/>
                      <a:pt x="159876" y="-2426"/>
                      <a:pt x="147096" y="766"/>
                    </a:cubicBezTo>
                    <a:cubicBezTo>
                      <a:pt x="139429" y="2681"/>
                      <a:pt x="133039" y="9065"/>
                      <a:pt x="130482" y="17364"/>
                    </a:cubicBezTo>
                    <a:lnTo>
                      <a:pt x="127288" y="17364"/>
                    </a:lnTo>
                    <a:cubicBezTo>
                      <a:pt x="126649" y="17364"/>
                      <a:pt x="107479" y="16726"/>
                      <a:pt x="96616" y="27579"/>
                    </a:cubicBezTo>
                    <a:lnTo>
                      <a:pt x="55720" y="69074"/>
                    </a:lnTo>
                    <a:lnTo>
                      <a:pt x="46774" y="69074"/>
                    </a:lnTo>
                    <a:cubicBezTo>
                      <a:pt x="42940" y="56306"/>
                      <a:pt x="30161" y="49284"/>
                      <a:pt x="17381" y="52476"/>
                    </a:cubicBezTo>
                    <a:cubicBezTo>
                      <a:pt x="4601" y="56306"/>
                      <a:pt x="-2428" y="69074"/>
                      <a:pt x="767" y="81842"/>
                    </a:cubicBezTo>
                    <a:cubicBezTo>
                      <a:pt x="4601" y="94610"/>
                      <a:pt x="17381" y="101633"/>
                      <a:pt x="30161" y="98441"/>
                    </a:cubicBezTo>
                    <a:cubicBezTo>
                      <a:pt x="37828" y="96526"/>
                      <a:pt x="44218" y="90142"/>
                      <a:pt x="46774" y="81842"/>
                    </a:cubicBezTo>
                    <a:lnTo>
                      <a:pt x="64666" y="81842"/>
                    </a:lnTo>
                    <a:lnTo>
                      <a:pt x="106201" y="123338"/>
                    </a:lnTo>
                    <a:cubicBezTo>
                      <a:pt x="114508" y="130361"/>
                      <a:pt x="125371" y="134191"/>
                      <a:pt x="136234" y="134191"/>
                    </a:cubicBezTo>
                    <a:lnTo>
                      <a:pt x="138790" y="134191"/>
                    </a:lnTo>
                    <a:lnTo>
                      <a:pt x="138790" y="145044"/>
                    </a:lnTo>
                    <a:cubicBezTo>
                      <a:pt x="138790" y="148874"/>
                      <a:pt x="141345" y="151428"/>
                      <a:pt x="145179" y="151428"/>
                    </a:cubicBezTo>
                    <a:lnTo>
                      <a:pt x="179685" y="151428"/>
                    </a:lnTo>
                    <a:cubicBezTo>
                      <a:pt x="183519" y="151428"/>
                      <a:pt x="186075" y="148874"/>
                      <a:pt x="186075" y="145044"/>
                    </a:cubicBezTo>
                    <a:lnTo>
                      <a:pt x="186075" y="109932"/>
                    </a:lnTo>
                    <a:cubicBezTo>
                      <a:pt x="186075" y="106102"/>
                      <a:pt x="183519" y="103548"/>
                      <a:pt x="179685" y="103548"/>
                    </a:cubicBezTo>
                    <a:lnTo>
                      <a:pt x="144540" y="103548"/>
                    </a:lnTo>
                    <a:cubicBezTo>
                      <a:pt x="140706" y="103548"/>
                      <a:pt x="138150" y="106102"/>
                      <a:pt x="138150" y="109932"/>
                    </a:cubicBezTo>
                    <a:lnTo>
                      <a:pt x="138150" y="120785"/>
                    </a:lnTo>
                    <a:lnTo>
                      <a:pt x="135595" y="120785"/>
                    </a:lnTo>
                    <a:cubicBezTo>
                      <a:pt x="127927" y="121423"/>
                      <a:pt x="120259" y="118870"/>
                      <a:pt x="114508" y="114401"/>
                    </a:cubicBezTo>
                    <a:lnTo>
                      <a:pt x="82558" y="82481"/>
                    </a:lnTo>
                    <a:lnTo>
                      <a:pt x="207162" y="82481"/>
                    </a:lnTo>
                    <a:lnTo>
                      <a:pt x="207162" y="101633"/>
                    </a:lnTo>
                    <a:cubicBezTo>
                      <a:pt x="207162" y="105463"/>
                      <a:pt x="209718" y="108017"/>
                      <a:pt x="213552" y="108017"/>
                    </a:cubicBezTo>
                    <a:cubicBezTo>
                      <a:pt x="214830" y="108017"/>
                      <a:pt x="216108" y="107378"/>
                      <a:pt x="217386" y="106740"/>
                    </a:cubicBezTo>
                    <a:lnTo>
                      <a:pt x="251891" y="81204"/>
                    </a:lnTo>
                    <a:cubicBezTo>
                      <a:pt x="253808" y="79927"/>
                      <a:pt x="254447" y="78012"/>
                      <a:pt x="254447" y="76097"/>
                    </a:cubicBezTo>
                    <a:cubicBezTo>
                      <a:pt x="255086" y="73543"/>
                      <a:pt x="253808" y="71628"/>
                      <a:pt x="252530" y="70351"/>
                    </a:cubicBezTo>
                    <a:close/>
                    <a:moveTo>
                      <a:pt x="153486" y="12895"/>
                    </a:moveTo>
                    <a:cubicBezTo>
                      <a:pt x="159237" y="12895"/>
                      <a:pt x="164349" y="18003"/>
                      <a:pt x="164349" y="23748"/>
                    </a:cubicBezTo>
                    <a:cubicBezTo>
                      <a:pt x="164349" y="29494"/>
                      <a:pt x="159237" y="34601"/>
                      <a:pt x="153486" y="34601"/>
                    </a:cubicBezTo>
                    <a:cubicBezTo>
                      <a:pt x="147735" y="34601"/>
                      <a:pt x="142624" y="29494"/>
                      <a:pt x="142624" y="23748"/>
                    </a:cubicBezTo>
                    <a:cubicBezTo>
                      <a:pt x="142624" y="18003"/>
                      <a:pt x="147735" y="12895"/>
                      <a:pt x="153486" y="12895"/>
                    </a:cubicBezTo>
                    <a:lnTo>
                      <a:pt x="153486" y="12895"/>
                    </a:lnTo>
                    <a:close/>
                    <a:moveTo>
                      <a:pt x="151569" y="116316"/>
                    </a:moveTo>
                    <a:lnTo>
                      <a:pt x="173295" y="116316"/>
                    </a:lnTo>
                    <a:lnTo>
                      <a:pt x="173295" y="138022"/>
                    </a:lnTo>
                    <a:lnTo>
                      <a:pt x="151569" y="138022"/>
                    </a:lnTo>
                    <a:lnTo>
                      <a:pt x="151569" y="116316"/>
                    </a:lnTo>
                    <a:close/>
                    <a:moveTo>
                      <a:pt x="24410" y="86311"/>
                    </a:moveTo>
                    <a:cubicBezTo>
                      <a:pt x="18659" y="86311"/>
                      <a:pt x="13547" y="81204"/>
                      <a:pt x="13547" y="75458"/>
                    </a:cubicBezTo>
                    <a:cubicBezTo>
                      <a:pt x="13547" y="69713"/>
                      <a:pt x="18659" y="64606"/>
                      <a:pt x="24410" y="64606"/>
                    </a:cubicBezTo>
                    <a:cubicBezTo>
                      <a:pt x="30161" y="64606"/>
                      <a:pt x="35272" y="69713"/>
                      <a:pt x="35272" y="75458"/>
                    </a:cubicBezTo>
                    <a:cubicBezTo>
                      <a:pt x="35272" y="75458"/>
                      <a:pt x="35272" y="75458"/>
                      <a:pt x="35272" y="75458"/>
                    </a:cubicBezTo>
                    <a:cubicBezTo>
                      <a:pt x="35272" y="81204"/>
                      <a:pt x="30800" y="86311"/>
                      <a:pt x="24410" y="86311"/>
                    </a:cubicBezTo>
                    <a:cubicBezTo>
                      <a:pt x="24410" y="86311"/>
                      <a:pt x="24410" y="86311"/>
                      <a:pt x="24410" y="86311"/>
                    </a:cubicBezTo>
                    <a:lnTo>
                      <a:pt x="24410" y="86311"/>
                    </a:lnTo>
                    <a:close/>
                    <a:moveTo>
                      <a:pt x="220581" y="88226"/>
                    </a:moveTo>
                    <a:lnTo>
                      <a:pt x="220581" y="62052"/>
                    </a:lnTo>
                    <a:lnTo>
                      <a:pt x="237834" y="74820"/>
                    </a:lnTo>
                    <a:lnTo>
                      <a:pt x="220581" y="88226"/>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38" name="Graphic 4">
              <a:extLst>
                <a:ext uri="{FF2B5EF4-FFF2-40B4-BE49-F238E27FC236}">
                  <a16:creationId xmlns:a16="http://schemas.microsoft.com/office/drawing/2014/main" id="{0E172B2A-E7E0-D629-7F6E-014C7C5A937F}"/>
                </a:ext>
              </a:extLst>
            </p:cNvPr>
            <p:cNvGrpSpPr>
              <a:grpSpLocks noChangeAspect="1"/>
            </p:cNvGrpSpPr>
            <p:nvPr/>
          </p:nvGrpSpPr>
          <p:grpSpPr>
            <a:xfrm>
              <a:off x="7025631" y="3965145"/>
              <a:ext cx="549157" cy="548640"/>
              <a:chOff x="4660820" y="1893013"/>
              <a:chExt cx="362312" cy="361971"/>
            </a:xfrm>
            <a:solidFill>
              <a:srgbClr val="A0DCFF"/>
            </a:solidFill>
          </p:grpSpPr>
          <p:sp>
            <p:nvSpPr>
              <p:cNvPr id="146" name="Graphic 4">
                <a:extLst>
                  <a:ext uri="{FF2B5EF4-FFF2-40B4-BE49-F238E27FC236}">
                    <a16:creationId xmlns:a16="http://schemas.microsoft.com/office/drawing/2014/main" id="{B894AFC8-7620-5566-C16C-C160ABB5F38B}"/>
                  </a:ext>
                </a:extLst>
              </p:cNvPr>
              <p:cNvSpPr/>
              <p:nvPr/>
            </p:nvSpPr>
            <p:spPr>
              <a:xfrm>
                <a:off x="4660820" y="1893013"/>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737"/>
                      <a:pt x="88181" y="12768"/>
                      <a:pt x="180835" y="12768"/>
                    </a:cubicBezTo>
                    <a:cubicBezTo>
                      <a:pt x="274128" y="12768"/>
                      <a:pt x="349529" y="88099"/>
                      <a:pt x="349529" y="180667"/>
                    </a:cubicBezTo>
                    <a:cubicBezTo>
                      <a:pt x="349529" y="180667"/>
                      <a:pt x="349529" y="180667"/>
                      <a:pt x="349529" y="180667"/>
                    </a:cubicBezTo>
                    <a:cubicBezTo>
                      <a:pt x="349529" y="273873"/>
                      <a:pt x="274767" y="349204"/>
                      <a:pt x="181474" y="349204"/>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7" name="Graphic 4">
                <a:extLst>
                  <a:ext uri="{FF2B5EF4-FFF2-40B4-BE49-F238E27FC236}">
                    <a16:creationId xmlns:a16="http://schemas.microsoft.com/office/drawing/2014/main" id="{BFC0ABF1-BAB6-ECAF-DC83-895CFFAAD337}"/>
                  </a:ext>
                </a:extLst>
              </p:cNvPr>
              <p:cNvSpPr/>
              <p:nvPr/>
            </p:nvSpPr>
            <p:spPr>
              <a:xfrm>
                <a:off x="4768809" y="1961207"/>
                <a:ext cx="153997" cy="130986"/>
              </a:xfrm>
              <a:custGeom>
                <a:avLst/>
                <a:gdLst>
                  <a:gd name="connsiteX0" fmla="*/ 144413 w 153997"/>
                  <a:gd name="connsiteY0" fmla="*/ 108643 h 130986"/>
                  <a:gd name="connsiteX1" fmla="*/ 143135 w 153997"/>
                  <a:gd name="connsiteY1" fmla="*/ 99705 h 130986"/>
                  <a:gd name="connsiteX2" fmla="*/ 142496 w 153997"/>
                  <a:gd name="connsiteY2" fmla="*/ 80553 h 130986"/>
                  <a:gd name="connsiteX3" fmla="*/ 135467 w 153997"/>
                  <a:gd name="connsiteY3" fmla="*/ 38419 h 130986"/>
                  <a:gd name="connsiteX4" fmla="*/ 116297 w 153997"/>
                  <a:gd name="connsiteY4" fmla="*/ 14798 h 130986"/>
                  <a:gd name="connsiteX5" fmla="*/ 30033 w 153997"/>
                  <a:gd name="connsiteY5" fmla="*/ 10329 h 130986"/>
                  <a:gd name="connsiteX6" fmla="*/ 0 w 153997"/>
                  <a:gd name="connsiteY6" fmla="*/ 68424 h 130986"/>
                  <a:gd name="connsiteX7" fmla="*/ 6390 w 153997"/>
                  <a:gd name="connsiteY7" fmla="*/ 74807 h 130986"/>
                  <a:gd name="connsiteX8" fmla="*/ 12780 w 153997"/>
                  <a:gd name="connsiteY8" fmla="*/ 68424 h 130986"/>
                  <a:gd name="connsiteX9" fmla="*/ 37062 w 153997"/>
                  <a:gd name="connsiteY9" fmla="*/ 20544 h 130986"/>
                  <a:gd name="connsiteX10" fmla="*/ 77318 w 153997"/>
                  <a:gd name="connsiteY10" fmla="*/ 12883 h 130986"/>
                  <a:gd name="connsiteX11" fmla="*/ 108629 w 153997"/>
                  <a:gd name="connsiteY11" fmla="*/ 24374 h 130986"/>
                  <a:gd name="connsiteX12" fmla="*/ 123965 w 153997"/>
                  <a:gd name="connsiteY12" fmla="*/ 42888 h 130986"/>
                  <a:gd name="connsiteX13" fmla="*/ 129716 w 153997"/>
                  <a:gd name="connsiteY13" fmla="*/ 79276 h 130986"/>
                  <a:gd name="connsiteX14" fmla="*/ 130355 w 153997"/>
                  <a:gd name="connsiteY14" fmla="*/ 100343 h 130986"/>
                  <a:gd name="connsiteX15" fmla="*/ 132272 w 153997"/>
                  <a:gd name="connsiteY15" fmla="*/ 112473 h 130986"/>
                  <a:gd name="connsiteX16" fmla="*/ 143135 w 153997"/>
                  <a:gd name="connsiteY16" fmla="*/ 129071 h 130986"/>
                  <a:gd name="connsiteX17" fmla="*/ 147608 w 153997"/>
                  <a:gd name="connsiteY17" fmla="*/ 130987 h 130986"/>
                  <a:gd name="connsiteX18" fmla="*/ 152080 w 153997"/>
                  <a:gd name="connsiteY18" fmla="*/ 129071 h 130986"/>
                  <a:gd name="connsiteX19" fmla="*/ 152080 w 153997"/>
                  <a:gd name="connsiteY19" fmla="*/ 120134 h 130986"/>
                  <a:gd name="connsiteX20" fmla="*/ 144413 w 153997"/>
                  <a:gd name="connsiteY20" fmla="*/ 108643 h 130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997" h="130986">
                    <a:moveTo>
                      <a:pt x="144413" y="108643"/>
                    </a:moveTo>
                    <a:cubicBezTo>
                      <a:pt x="143774" y="105451"/>
                      <a:pt x="143135" y="102897"/>
                      <a:pt x="143135" y="99705"/>
                    </a:cubicBezTo>
                    <a:cubicBezTo>
                      <a:pt x="141857" y="88852"/>
                      <a:pt x="142496" y="80553"/>
                      <a:pt x="142496" y="80553"/>
                    </a:cubicBezTo>
                    <a:cubicBezTo>
                      <a:pt x="143774" y="65870"/>
                      <a:pt x="141218" y="51825"/>
                      <a:pt x="135467" y="38419"/>
                    </a:cubicBezTo>
                    <a:cubicBezTo>
                      <a:pt x="130994" y="29481"/>
                      <a:pt x="124604" y="21182"/>
                      <a:pt x="116297" y="14798"/>
                    </a:cubicBezTo>
                    <a:cubicBezTo>
                      <a:pt x="90737" y="-3077"/>
                      <a:pt x="56871" y="-4992"/>
                      <a:pt x="30033" y="10329"/>
                    </a:cubicBezTo>
                    <a:cubicBezTo>
                      <a:pt x="2556" y="28843"/>
                      <a:pt x="0" y="62040"/>
                      <a:pt x="0" y="68424"/>
                    </a:cubicBezTo>
                    <a:cubicBezTo>
                      <a:pt x="0" y="72254"/>
                      <a:pt x="2556" y="74807"/>
                      <a:pt x="6390" y="74807"/>
                    </a:cubicBezTo>
                    <a:cubicBezTo>
                      <a:pt x="10224" y="74807"/>
                      <a:pt x="12780" y="72254"/>
                      <a:pt x="12780" y="68424"/>
                    </a:cubicBezTo>
                    <a:cubicBezTo>
                      <a:pt x="12780" y="65232"/>
                      <a:pt x="14058" y="35865"/>
                      <a:pt x="37062" y="20544"/>
                    </a:cubicBezTo>
                    <a:cubicBezTo>
                      <a:pt x="49203" y="13521"/>
                      <a:pt x="63261" y="10968"/>
                      <a:pt x="77318" y="12883"/>
                    </a:cubicBezTo>
                    <a:cubicBezTo>
                      <a:pt x="88820" y="13521"/>
                      <a:pt x="99683" y="17990"/>
                      <a:pt x="108629" y="24374"/>
                    </a:cubicBezTo>
                    <a:cubicBezTo>
                      <a:pt x="115019" y="29481"/>
                      <a:pt x="120770" y="35865"/>
                      <a:pt x="123965" y="42888"/>
                    </a:cubicBezTo>
                    <a:cubicBezTo>
                      <a:pt x="128438" y="54379"/>
                      <a:pt x="130355" y="67147"/>
                      <a:pt x="129716" y="79276"/>
                    </a:cubicBezTo>
                    <a:cubicBezTo>
                      <a:pt x="129716" y="86299"/>
                      <a:pt x="129716" y="93321"/>
                      <a:pt x="130355" y="100343"/>
                    </a:cubicBezTo>
                    <a:cubicBezTo>
                      <a:pt x="130355" y="104174"/>
                      <a:pt x="130994" y="108643"/>
                      <a:pt x="132272" y="112473"/>
                    </a:cubicBezTo>
                    <a:cubicBezTo>
                      <a:pt x="134189" y="118857"/>
                      <a:pt x="138023" y="124603"/>
                      <a:pt x="143135" y="129071"/>
                    </a:cubicBezTo>
                    <a:cubicBezTo>
                      <a:pt x="144413" y="130348"/>
                      <a:pt x="145690" y="130987"/>
                      <a:pt x="147608" y="130987"/>
                    </a:cubicBezTo>
                    <a:cubicBezTo>
                      <a:pt x="149525" y="130987"/>
                      <a:pt x="150803" y="130348"/>
                      <a:pt x="152080" y="129071"/>
                    </a:cubicBezTo>
                    <a:cubicBezTo>
                      <a:pt x="154637" y="126518"/>
                      <a:pt x="154637" y="122687"/>
                      <a:pt x="152080" y="120134"/>
                    </a:cubicBezTo>
                    <a:cubicBezTo>
                      <a:pt x="148247" y="116942"/>
                      <a:pt x="145690" y="113111"/>
                      <a:pt x="144413" y="108643"/>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8" name="Graphic 4">
                <a:extLst>
                  <a:ext uri="{FF2B5EF4-FFF2-40B4-BE49-F238E27FC236}">
                    <a16:creationId xmlns:a16="http://schemas.microsoft.com/office/drawing/2014/main" id="{F394669C-4483-7791-7E2C-3B24A23A40CD}"/>
                  </a:ext>
                </a:extLst>
              </p:cNvPr>
              <p:cNvSpPr/>
              <p:nvPr/>
            </p:nvSpPr>
            <p:spPr>
              <a:xfrm>
                <a:off x="4762420" y="1982946"/>
                <a:ext cx="150163" cy="131590"/>
              </a:xfrm>
              <a:custGeom>
                <a:avLst/>
                <a:gdLst>
                  <a:gd name="connsiteX0" fmla="*/ 130994 w 150163"/>
                  <a:gd name="connsiteY0" fmla="*/ 99671 h 131590"/>
                  <a:gd name="connsiteX1" fmla="*/ 126521 w 150163"/>
                  <a:gd name="connsiteY1" fmla="*/ 70943 h 131590"/>
                  <a:gd name="connsiteX2" fmla="*/ 126521 w 150163"/>
                  <a:gd name="connsiteY2" fmla="*/ 51152 h 131590"/>
                  <a:gd name="connsiteX3" fmla="*/ 123965 w 150163"/>
                  <a:gd name="connsiteY3" fmla="*/ 30085 h 131590"/>
                  <a:gd name="connsiteX4" fmla="*/ 104156 w 150163"/>
                  <a:gd name="connsiteY4" fmla="*/ 8380 h 131590"/>
                  <a:gd name="connsiteX5" fmla="*/ 67094 w 150163"/>
                  <a:gd name="connsiteY5" fmla="*/ 81 h 131590"/>
                  <a:gd name="connsiteX6" fmla="*/ 30033 w 150163"/>
                  <a:gd name="connsiteY6" fmla="*/ 38384 h 131590"/>
                  <a:gd name="connsiteX7" fmla="*/ 25560 w 150163"/>
                  <a:gd name="connsiteY7" fmla="*/ 51152 h 131590"/>
                  <a:gd name="connsiteX8" fmla="*/ 5751 w 150163"/>
                  <a:gd name="connsiteY8" fmla="*/ 67751 h 131590"/>
                  <a:gd name="connsiteX9" fmla="*/ 0 w 150163"/>
                  <a:gd name="connsiteY9" fmla="*/ 74773 h 131590"/>
                  <a:gd name="connsiteX10" fmla="*/ 7029 w 150163"/>
                  <a:gd name="connsiteY10" fmla="*/ 80519 h 131590"/>
                  <a:gd name="connsiteX11" fmla="*/ 37062 w 150163"/>
                  <a:gd name="connsiteY11" fmla="*/ 56260 h 131590"/>
                  <a:gd name="connsiteX12" fmla="*/ 42174 w 150163"/>
                  <a:gd name="connsiteY12" fmla="*/ 42215 h 131590"/>
                  <a:gd name="connsiteX13" fmla="*/ 67734 w 150163"/>
                  <a:gd name="connsiteY13" fmla="*/ 13487 h 131590"/>
                  <a:gd name="connsiteX14" fmla="*/ 97766 w 150163"/>
                  <a:gd name="connsiteY14" fmla="*/ 19871 h 131590"/>
                  <a:gd name="connsiteX15" fmla="*/ 111824 w 150163"/>
                  <a:gd name="connsiteY15" fmla="*/ 35192 h 131590"/>
                  <a:gd name="connsiteX16" fmla="*/ 113741 w 150163"/>
                  <a:gd name="connsiteY16" fmla="*/ 51152 h 131590"/>
                  <a:gd name="connsiteX17" fmla="*/ 113741 w 150163"/>
                  <a:gd name="connsiteY17" fmla="*/ 72219 h 131590"/>
                  <a:gd name="connsiteX18" fmla="*/ 118853 w 150163"/>
                  <a:gd name="connsiteY18" fmla="*/ 105416 h 131590"/>
                  <a:gd name="connsiteX19" fmla="*/ 139940 w 150163"/>
                  <a:gd name="connsiteY19" fmla="*/ 130314 h 131590"/>
                  <a:gd name="connsiteX20" fmla="*/ 143774 w 150163"/>
                  <a:gd name="connsiteY20" fmla="*/ 131591 h 131590"/>
                  <a:gd name="connsiteX21" fmla="*/ 150164 w 150163"/>
                  <a:gd name="connsiteY21" fmla="*/ 125207 h 131590"/>
                  <a:gd name="connsiteX22" fmla="*/ 147608 w 150163"/>
                  <a:gd name="connsiteY22" fmla="*/ 120099 h 131590"/>
                  <a:gd name="connsiteX23" fmla="*/ 130994 w 150163"/>
                  <a:gd name="connsiteY23" fmla="*/ 99671 h 13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163" h="131590">
                    <a:moveTo>
                      <a:pt x="130994" y="99671"/>
                    </a:moveTo>
                    <a:cubicBezTo>
                      <a:pt x="127799" y="92648"/>
                      <a:pt x="127160" y="86264"/>
                      <a:pt x="126521" y="70943"/>
                    </a:cubicBezTo>
                    <a:cubicBezTo>
                      <a:pt x="125882" y="62005"/>
                      <a:pt x="126521" y="55621"/>
                      <a:pt x="126521" y="51152"/>
                    </a:cubicBezTo>
                    <a:cubicBezTo>
                      <a:pt x="127160" y="44130"/>
                      <a:pt x="126521" y="36469"/>
                      <a:pt x="123965" y="30085"/>
                    </a:cubicBezTo>
                    <a:cubicBezTo>
                      <a:pt x="120131" y="21148"/>
                      <a:pt x="113102" y="13487"/>
                      <a:pt x="104156" y="8380"/>
                    </a:cubicBezTo>
                    <a:cubicBezTo>
                      <a:pt x="92654" y="2634"/>
                      <a:pt x="79874" y="-558"/>
                      <a:pt x="67094" y="81"/>
                    </a:cubicBezTo>
                    <a:cubicBezTo>
                      <a:pt x="41535" y="1996"/>
                      <a:pt x="35145" y="21786"/>
                      <a:pt x="30033" y="38384"/>
                    </a:cubicBezTo>
                    <a:cubicBezTo>
                      <a:pt x="28755" y="42853"/>
                      <a:pt x="27477" y="47322"/>
                      <a:pt x="25560" y="51152"/>
                    </a:cubicBezTo>
                    <a:cubicBezTo>
                      <a:pt x="22365" y="60090"/>
                      <a:pt x="14697" y="66474"/>
                      <a:pt x="5751" y="67751"/>
                    </a:cubicBezTo>
                    <a:cubicBezTo>
                      <a:pt x="1917" y="68389"/>
                      <a:pt x="0" y="71581"/>
                      <a:pt x="0" y="74773"/>
                    </a:cubicBezTo>
                    <a:cubicBezTo>
                      <a:pt x="0" y="77965"/>
                      <a:pt x="3834" y="80519"/>
                      <a:pt x="7029" y="80519"/>
                    </a:cubicBezTo>
                    <a:cubicBezTo>
                      <a:pt x="21087" y="78603"/>
                      <a:pt x="32589" y="69666"/>
                      <a:pt x="37062" y="56260"/>
                    </a:cubicBezTo>
                    <a:cubicBezTo>
                      <a:pt x="38979" y="51791"/>
                      <a:pt x="40257" y="46684"/>
                      <a:pt x="42174" y="42215"/>
                    </a:cubicBezTo>
                    <a:cubicBezTo>
                      <a:pt x="47925" y="24340"/>
                      <a:pt x="51759" y="14125"/>
                      <a:pt x="67734" y="13487"/>
                    </a:cubicBezTo>
                    <a:cubicBezTo>
                      <a:pt x="77957" y="12849"/>
                      <a:pt x="88181" y="14764"/>
                      <a:pt x="97766" y="19871"/>
                    </a:cubicBezTo>
                    <a:cubicBezTo>
                      <a:pt x="104156" y="23063"/>
                      <a:pt x="109268" y="28808"/>
                      <a:pt x="111824" y="35192"/>
                    </a:cubicBezTo>
                    <a:cubicBezTo>
                      <a:pt x="113741" y="40300"/>
                      <a:pt x="114380" y="46045"/>
                      <a:pt x="113741" y="51152"/>
                    </a:cubicBezTo>
                    <a:cubicBezTo>
                      <a:pt x="113741" y="56260"/>
                      <a:pt x="113741" y="62644"/>
                      <a:pt x="113741" y="72219"/>
                    </a:cubicBezTo>
                    <a:cubicBezTo>
                      <a:pt x="113102" y="83711"/>
                      <a:pt x="115019" y="94563"/>
                      <a:pt x="118853" y="105416"/>
                    </a:cubicBezTo>
                    <a:cubicBezTo>
                      <a:pt x="123326" y="115631"/>
                      <a:pt x="130994" y="123930"/>
                      <a:pt x="139940" y="130314"/>
                    </a:cubicBezTo>
                    <a:cubicBezTo>
                      <a:pt x="141218" y="130952"/>
                      <a:pt x="142496" y="131591"/>
                      <a:pt x="143774" y="131591"/>
                    </a:cubicBezTo>
                    <a:cubicBezTo>
                      <a:pt x="147608" y="131591"/>
                      <a:pt x="150164" y="128399"/>
                      <a:pt x="150164" y="125207"/>
                    </a:cubicBezTo>
                    <a:cubicBezTo>
                      <a:pt x="150164" y="123291"/>
                      <a:pt x="148885" y="121376"/>
                      <a:pt x="147608" y="120099"/>
                    </a:cubicBezTo>
                    <a:cubicBezTo>
                      <a:pt x="140579" y="113715"/>
                      <a:pt x="134828" y="107331"/>
                      <a:pt x="130994" y="99671"/>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9" name="Graphic 4">
                <a:extLst>
                  <a:ext uri="{FF2B5EF4-FFF2-40B4-BE49-F238E27FC236}">
                    <a16:creationId xmlns:a16="http://schemas.microsoft.com/office/drawing/2014/main" id="{67146E91-CDAF-192B-0165-82D9CB671075}"/>
                  </a:ext>
                </a:extLst>
              </p:cNvPr>
              <p:cNvSpPr/>
              <p:nvPr/>
            </p:nvSpPr>
            <p:spPr>
              <a:xfrm>
                <a:off x="4761781" y="2009201"/>
                <a:ext cx="141856" cy="126203"/>
              </a:xfrm>
              <a:custGeom>
                <a:avLst/>
                <a:gdLst>
                  <a:gd name="connsiteX0" fmla="*/ 139301 w 141856"/>
                  <a:gd name="connsiteY0" fmla="*/ 114273 h 126203"/>
                  <a:gd name="connsiteX1" fmla="*/ 113741 w 141856"/>
                  <a:gd name="connsiteY1" fmla="*/ 87460 h 126203"/>
                  <a:gd name="connsiteX2" fmla="*/ 105434 w 141856"/>
                  <a:gd name="connsiteY2" fmla="*/ 60648 h 126203"/>
                  <a:gd name="connsiteX3" fmla="*/ 105434 w 141856"/>
                  <a:gd name="connsiteY3" fmla="*/ 54264 h 126203"/>
                  <a:gd name="connsiteX4" fmla="*/ 105434 w 141856"/>
                  <a:gd name="connsiteY4" fmla="*/ 37665 h 126203"/>
                  <a:gd name="connsiteX5" fmla="*/ 100322 w 141856"/>
                  <a:gd name="connsiteY5" fmla="*/ 13406 h 126203"/>
                  <a:gd name="connsiteX6" fmla="*/ 74123 w 141856"/>
                  <a:gd name="connsiteY6" fmla="*/ 0 h 126203"/>
                  <a:gd name="connsiteX7" fmla="*/ 53675 w 141856"/>
                  <a:gd name="connsiteY7" fmla="*/ 13406 h 126203"/>
                  <a:gd name="connsiteX8" fmla="*/ 48563 w 141856"/>
                  <a:gd name="connsiteY8" fmla="*/ 26813 h 126203"/>
                  <a:gd name="connsiteX9" fmla="*/ 40257 w 141856"/>
                  <a:gd name="connsiteY9" fmla="*/ 45965 h 126203"/>
                  <a:gd name="connsiteX10" fmla="*/ 30033 w 141856"/>
                  <a:gd name="connsiteY10" fmla="*/ 55541 h 126203"/>
                  <a:gd name="connsiteX11" fmla="*/ 5751 w 141856"/>
                  <a:gd name="connsiteY11" fmla="*/ 65117 h 126203"/>
                  <a:gd name="connsiteX12" fmla="*/ 0 w 141856"/>
                  <a:gd name="connsiteY12" fmla="*/ 72139 h 126203"/>
                  <a:gd name="connsiteX13" fmla="*/ 7029 w 141856"/>
                  <a:gd name="connsiteY13" fmla="*/ 77884 h 126203"/>
                  <a:gd name="connsiteX14" fmla="*/ 37062 w 141856"/>
                  <a:gd name="connsiteY14" fmla="*/ 65755 h 126203"/>
                  <a:gd name="connsiteX15" fmla="*/ 49841 w 141856"/>
                  <a:gd name="connsiteY15" fmla="*/ 52987 h 126203"/>
                  <a:gd name="connsiteX16" fmla="*/ 59426 w 141856"/>
                  <a:gd name="connsiteY16" fmla="*/ 30643 h 126203"/>
                  <a:gd name="connsiteX17" fmla="*/ 63899 w 141856"/>
                  <a:gd name="connsiteY17" fmla="*/ 18514 h 126203"/>
                  <a:gd name="connsiteX18" fmla="*/ 72845 w 141856"/>
                  <a:gd name="connsiteY18" fmla="*/ 12768 h 126203"/>
                  <a:gd name="connsiteX19" fmla="*/ 72845 w 141856"/>
                  <a:gd name="connsiteY19" fmla="*/ 12768 h 126203"/>
                  <a:gd name="connsiteX20" fmla="*/ 88181 w 141856"/>
                  <a:gd name="connsiteY20" fmla="*/ 20429 h 126203"/>
                  <a:gd name="connsiteX21" fmla="*/ 90737 w 141856"/>
                  <a:gd name="connsiteY21" fmla="*/ 37027 h 126203"/>
                  <a:gd name="connsiteX22" fmla="*/ 90737 w 141856"/>
                  <a:gd name="connsiteY22" fmla="*/ 37665 h 126203"/>
                  <a:gd name="connsiteX23" fmla="*/ 70928 w 141856"/>
                  <a:gd name="connsiteY23" fmla="*/ 81076 h 126203"/>
                  <a:gd name="connsiteX24" fmla="*/ 58788 w 141856"/>
                  <a:gd name="connsiteY24" fmla="*/ 88737 h 126203"/>
                  <a:gd name="connsiteX25" fmla="*/ 39618 w 141856"/>
                  <a:gd name="connsiteY25" fmla="*/ 98313 h 126203"/>
                  <a:gd name="connsiteX26" fmla="*/ 28115 w 141856"/>
                  <a:gd name="connsiteY26" fmla="*/ 103420 h 126203"/>
                  <a:gd name="connsiteX27" fmla="*/ 12141 w 141856"/>
                  <a:gd name="connsiteY27" fmla="*/ 111081 h 126203"/>
                  <a:gd name="connsiteX28" fmla="*/ 8946 w 141856"/>
                  <a:gd name="connsiteY28" fmla="*/ 119380 h 126203"/>
                  <a:gd name="connsiteX29" fmla="*/ 14697 w 141856"/>
                  <a:gd name="connsiteY29" fmla="*/ 123211 h 126203"/>
                  <a:gd name="connsiteX30" fmla="*/ 17253 w 141856"/>
                  <a:gd name="connsiteY30" fmla="*/ 122572 h 126203"/>
                  <a:gd name="connsiteX31" fmla="*/ 33228 w 141856"/>
                  <a:gd name="connsiteY31" fmla="*/ 114912 h 126203"/>
                  <a:gd name="connsiteX32" fmla="*/ 44090 w 141856"/>
                  <a:gd name="connsiteY32" fmla="*/ 109804 h 126203"/>
                  <a:gd name="connsiteX33" fmla="*/ 64538 w 141856"/>
                  <a:gd name="connsiteY33" fmla="*/ 99590 h 126203"/>
                  <a:gd name="connsiteX34" fmla="*/ 77957 w 141856"/>
                  <a:gd name="connsiteY34" fmla="*/ 90652 h 126203"/>
                  <a:gd name="connsiteX35" fmla="*/ 92015 w 141856"/>
                  <a:gd name="connsiteY35" fmla="*/ 73416 h 126203"/>
                  <a:gd name="connsiteX36" fmla="*/ 100322 w 141856"/>
                  <a:gd name="connsiteY36" fmla="*/ 93206 h 126203"/>
                  <a:gd name="connsiteX37" fmla="*/ 129716 w 141856"/>
                  <a:gd name="connsiteY37" fmla="*/ 125126 h 126203"/>
                  <a:gd name="connsiteX38" fmla="*/ 138662 w 141856"/>
                  <a:gd name="connsiteY38" fmla="*/ 123211 h 126203"/>
                  <a:gd name="connsiteX39" fmla="*/ 139301 w 141856"/>
                  <a:gd name="connsiteY39" fmla="*/ 114273 h 12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1856" h="126203">
                    <a:moveTo>
                      <a:pt x="139301" y="114273"/>
                    </a:moveTo>
                    <a:cubicBezTo>
                      <a:pt x="128438" y="107251"/>
                      <a:pt x="120131" y="98313"/>
                      <a:pt x="113741" y="87460"/>
                    </a:cubicBezTo>
                    <a:cubicBezTo>
                      <a:pt x="109268" y="79161"/>
                      <a:pt x="106073" y="70224"/>
                      <a:pt x="105434" y="60648"/>
                    </a:cubicBezTo>
                    <a:cubicBezTo>
                      <a:pt x="105434" y="58733"/>
                      <a:pt x="105434" y="56179"/>
                      <a:pt x="105434" y="54264"/>
                    </a:cubicBezTo>
                    <a:cubicBezTo>
                      <a:pt x="105434" y="51072"/>
                      <a:pt x="105434" y="46603"/>
                      <a:pt x="105434" y="37665"/>
                    </a:cubicBezTo>
                    <a:cubicBezTo>
                      <a:pt x="105434" y="26813"/>
                      <a:pt x="104795" y="19790"/>
                      <a:pt x="100322" y="13406"/>
                    </a:cubicBezTo>
                    <a:cubicBezTo>
                      <a:pt x="94571" y="5107"/>
                      <a:pt x="84347" y="0"/>
                      <a:pt x="74123" y="0"/>
                    </a:cubicBezTo>
                    <a:cubicBezTo>
                      <a:pt x="65177" y="0"/>
                      <a:pt x="56870" y="5107"/>
                      <a:pt x="53675" y="13406"/>
                    </a:cubicBezTo>
                    <a:cubicBezTo>
                      <a:pt x="51758" y="17875"/>
                      <a:pt x="49841" y="22344"/>
                      <a:pt x="48563" y="26813"/>
                    </a:cubicBezTo>
                    <a:cubicBezTo>
                      <a:pt x="46646" y="33197"/>
                      <a:pt x="44090" y="39581"/>
                      <a:pt x="40257" y="45965"/>
                    </a:cubicBezTo>
                    <a:cubicBezTo>
                      <a:pt x="37700" y="49795"/>
                      <a:pt x="33867" y="52987"/>
                      <a:pt x="30033" y="55541"/>
                    </a:cubicBezTo>
                    <a:cubicBezTo>
                      <a:pt x="23004" y="60648"/>
                      <a:pt x="14697" y="64478"/>
                      <a:pt x="5751" y="65117"/>
                    </a:cubicBezTo>
                    <a:cubicBezTo>
                      <a:pt x="1917" y="65755"/>
                      <a:pt x="0" y="68947"/>
                      <a:pt x="0" y="72139"/>
                    </a:cubicBezTo>
                    <a:cubicBezTo>
                      <a:pt x="0" y="75331"/>
                      <a:pt x="3834" y="77884"/>
                      <a:pt x="7029" y="77884"/>
                    </a:cubicBezTo>
                    <a:cubicBezTo>
                      <a:pt x="17892" y="76608"/>
                      <a:pt x="28115" y="72139"/>
                      <a:pt x="37062" y="65755"/>
                    </a:cubicBezTo>
                    <a:cubicBezTo>
                      <a:pt x="42173" y="61925"/>
                      <a:pt x="46008" y="58094"/>
                      <a:pt x="49841" y="52987"/>
                    </a:cubicBezTo>
                    <a:cubicBezTo>
                      <a:pt x="54314" y="45965"/>
                      <a:pt x="57509" y="38942"/>
                      <a:pt x="59426" y="30643"/>
                    </a:cubicBezTo>
                    <a:cubicBezTo>
                      <a:pt x="60704" y="26174"/>
                      <a:pt x="61982" y="22344"/>
                      <a:pt x="63899" y="18514"/>
                    </a:cubicBezTo>
                    <a:cubicBezTo>
                      <a:pt x="65177" y="14683"/>
                      <a:pt x="69011" y="12768"/>
                      <a:pt x="72845" y="12768"/>
                    </a:cubicBezTo>
                    <a:lnTo>
                      <a:pt x="72845" y="12768"/>
                    </a:lnTo>
                    <a:cubicBezTo>
                      <a:pt x="79235" y="12768"/>
                      <a:pt x="84986" y="15960"/>
                      <a:pt x="88181" y="20429"/>
                    </a:cubicBezTo>
                    <a:cubicBezTo>
                      <a:pt x="90098" y="23621"/>
                      <a:pt x="90737" y="26813"/>
                      <a:pt x="90737" y="37027"/>
                    </a:cubicBezTo>
                    <a:cubicBezTo>
                      <a:pt x="90737" y="37027"/>
                      <a:pt x="90737" y="37665"/>
                      <a:pt x="90737" y="37665"/>
                    </a:cubicBezTo>
                    <a:cubicBezTo>
                      <a:pt x="88181" y="57456"/>
                      <a:pt x="81152" y="72777"/>
                      <a:pt x="70928" y="81076"/>
                    </a:cubicBezTo>
                    <a:cubicBezTo>
                      <a:pt x="67094" y="83630"/>
                      <a:pt x="63260" y="86822"/>
                      <a:pt x="58788" y="88737"/>
                    </a:cubicBezTo>
                    <a:cubicBezTo>
                      <a:pt x="52398" y="91929"/>
                      <a:pt x="46008" y="95121"/>
                      <a:pt x="39618" y="98313"/>
                    </a:cubicBezTo>
                    <a:lnTo>
                      <a:pt x="28115" y="103420"/>
                    </a:lnTo>
                    <a:cubicBezTo>
                      <a:pt x="24282" y="105336"/>
                      <a:pt x="18531" y="107889"/>
                      <a:pt x="12141" y="111081"/>
                    </a:cubicBezTo>
                    <a:cubicBezTo>
                      <a:pt x="8946" y="112358"/>
                      <a:pt x="7668" y="116188"/>
                      <a:pt x="8946" y="119380"/>
                    </a:cubicBezTo>
                    <a:cubicBezTo>
                      <a:pt x="10224" y="121934"/>
                      <a:pt x="12141" y="123211"/>
                      <a:pt x="14697" y="123211"/>
                    </a:cubicBezTo>
                    <a:cubicBezTo>
                      <a:pt x="15336" y="123211"/>
                      <a:pt x="16614" y="123211"/>
                      <a:pt x="17253" y="122572"/>
                    </a:cubicBezTo>
                    <a:cubicBezTo>
                      <a:pt x="24282" y="119380"/>
                      <a:pt x="30033" y="116827"/>
                      <a:pt x="33228" y="114912"/>
                    </a:cubicBezTo>
                    <a:lnTo>
                      <a:pt x="44090" y="109804"/>
                    </a:lnTo>
                    <a:cubicBezTo>
                      <a:pt x="51119" y="106612"/>
                      <a:pt x="58148" y="103420"/>
                      <a:pt x="64538" y="99590"/>
                    </a:cubicBezTo>
                    <a:cubicBezTo>
                      <a:pt x="69011" y="97036"/>
                      <a:pt x="73484" y="93844"/>
                      <a:pt x="77957" y="90652"/>
                    </a:cubicBezTo>
                    <a:cubicBezTo>
                      <a:pt x="83708" y="86184"/>
                      <a:pt x="88820" y="79800"/>
                      <a:pt x="92015" y="73416"/>
                    </a:cubicBezTo>
                    <a:cubicBezTo>
                      <a:pt x="93932" y="80438"/>
                      <a:pt x="96488" y="86822"/>
                      <a:pt x="100322" y="93206"/>
                    </a:cubicBezTo>
                    <a:cubicBezTo>
                      <a:pt x="107351" y="105974"/>
                      <a:pt x="117575" y="116827"/>
                      <a:pt x="129716" y="125126"/>
                    </a:cubicBezTo>
                    <a:cubicBezTo>
                      <a:pt x="132911" y="127041"/>
                      <a:pt x="136744" y="126403"/>
                      <a:pt x="138662" y="123211"/>
                    </a:cubicBezTo>
                    <a:cubicBezTo>
                      <a:pt x="143134" y="120657"/>
                      <a:pt x="142496" y="116188"/>
                      <a:pt x="139301" y="114273"/>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0" name="Graphic 4">
                <a:extLst>
                  <a:ext uri="{FF2B5EF4-FFF2-40B4-BE49-F238E27FC236}">
                    <a16:creationId xmlns:a16="http://schemas.microsoft.com/office/drawing/2014/main" id="{58ACE0BC-3FCD-A34E-5E3F-0C732D0B2657}"/>
                  </a:ext>
                </a:extLst>
              </p:cNvPr>
              <p:cNvSpPr/>
              <p:nvPr/>
            </p:nvSpPr>
            <p:spPr>
              <a:xfrm>
                <a:off x="4767131" y="2035916"/>
                <a:ext cx="76539" cy="74152"/>
              </a:xfrm>
              <a:custGeom>
                <a:avLst/>
                <a:gdLst>
                  <a:gd name="connsiteX0" fmla="*/ 9346 w 76539"/>
                  <a:gd name="connsiteY0" fmla="*/ 73514 h 74152"/>
                  <a:gd name="connsiteX1" fmla="*/ 55354 w 76539"/>
                  <a:gd name="connsiteY1" fmla="*/ 46702 h 74152"/>
                  <a:gd name="connsiteX2" fmla="*/ 76441 w 76539"/>
                  <a:gd name="connsiteY2" fmla="*/ 7759 h 74152"/>
                  <a:gd name="connsiteX3" fmla="*/ 71329 w 76539"/>
                  <a:gd name="connsiteY3" fmla="*/ 98 h 74152"/>
                  <a:gd name="connsiteX4" fmla="*/ 71329 w 76539"/>
                  <a:gd name="connsiteY4" fmla="*/ 98 h 74152"/>
                  <a:gd name="connsiteX5" fmla="*/ 63661 w 76539"/>
                  <a:gd name="connsiteY5" fmla="*/ 5206 h 74152"/>
                  <a:gd name="connsiteX6" fmla="*/ 46408 w 76539"/>
                  <a:gd name="connsiteY6" fmla="*/ 37126 h 74152"/>
                  <a:gd name="connsiteX7" fmla="*/ 4234 w 76539"/>
                  <a:gd name="connsiteY7" fmla="*/ 61385 h 74152"/>
                  <a:gd name="connsiteX8" fmla="*/ 400 w 76539"/>
                  <a:gd name="connsiteY8" fmla="*/ 69684 h 74152"/>
                  <a:gd name="connsiteX9" fmla="*/ 6151 w 76539"/>
                  <a:gd name="connsiteY9" fmla="*/ 74153 h 74152"/>
                  <a:gd name="connsiteX10" fmla="*/ 9346 w 76539"/>
                  <a:gd name="connsiteY10" fmla="*/ 73514 h 7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39" h="74152">
                    <a:moveTo>
                      <a:pt x="9346" y="73514"/>
                    </a:moveTo>
                    <a:cubicBezTo>
                      <a:pt x="26599" y="67769"/>
                      <a:pt x="41935" y="58831"/>
                      <a:pt x="55354" y="46702"/>
                    </a:cubicBezTo>
                    <a:cubicBezTo>
                      <a:pt x="66856" y="36487"/>
                      <a:pt x="73884" y="22442"/>
                      <a:pt x="76441" y="7759"/>
                    </a:cubicBezTo>
                    <a:cubicBezTo>
                      <a:pt x="77079" y="4567"/>
                      <a:pt x="74524" y="737"/>
                      <a:pt x="71329" y="98"/>
                    </a:cubicBezTo>
                    <a:cubicBezTo>
                      <a:pt x="71329" y="98"/>
                      <a:pt x="71329" y="98"/>
                      <a:pt x="71329" y="98"/>
                    </a:cubicBezTo>
                    <a:cubicBezTo>
                      <a:pt x="68134" y="-540"/>
                      <a:pt x="64300" y="2014"/>
                      <a:pt x="63661" y="5206"/>
                    </a:cubicBezTo>
                    <a:cubicBezTo>
                      <a:pt x="61744" y="17335"/>
                      <a:pt x="55993" y="28826"/>
                      <a:pt x="46408" y="37126"/>
                    </a:cubicBezTo>
                    <a:cubicBezTo>
                      <a:pt x="34267" y="47978"/>
                      <a:pt x="19570" y="55639"/>
                      <a:pt x="4234" y="61385"/>
                    </a:cubicBezTo>
                    <a:cubicBezTo>
                      <a:pt x="1039" y="62662"/>
                      <a:pt x="-878" y="66492"/>
                      <a:pt x="400" y="69684"/>
                    </a:cubicBezTo>
                    <a:cubicBezTo>
                      <a:pt x="1039" y="72238"/>
                      <a:pt x="3595" y="74153"/>
                      <a:pt x="6151" y="74153"/>
                    </a:cubicBezTo>
                    <a:cubicBezTo>
                      <a:pt x="8068" y="74153"/>
                      <a:pt x="8707" y="74153"/>
                      <a:pt x="9346" y="73514"/>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1" name="Graphic 4">
                <a:extLst>
                  <a:ext uri="{FF2B5EF4-FFF2-40B4-BE49-F238E27FC236}">
                    <a16:creationId xmlns:a16="http://schemas.microsoft.com/office/drawing/2014/main" id="{D947F637-F887-6F53-0D23-4557643F46B9}"/>
                  </a:ext>
                </a:extLst>
              </p:cNvPr>
              <p:cNvSpPr/>
              <p:nvPr/>
            </p:nvSpPr>
            <p:spPr>
              <a:xfrm>
                <a:off x="4779411" y="2119159"/>
                <a:ext cx="118475" cy="40065"/>
              </a:xfrm>
              <a:custGeom>
                <a:avLst/>
                <a:gdLst>
                  <a:gd name="connsiteX0" fmla="*/ 93555 w 118475"/>
                  <a:gd name="connsiteY0" fmla="*/ 10699 h 40065"/>
                  <a:gd name="connsiteX1" fmla="*/ 53298 w 118475"/>
                  <a:gd name="connsiteY1" fmla="*/ 485 h 40065"/>
                  <a:gd name="connsiteX2" fmla="*/ 3457 w 118475"/>
                  <a:gd name="connsiteY2" fmla="*/ 22190 h 40065"/>
                  <a:gd name="connsiteX3" fmla="*/ 901 w 118475"/>
                  <a:gd name="connsiteY3" fmla="*/ 31128 h 40065"/>
                  <a:gd name="connsiteX4" fmla="*/ 9847 w 118475"/>
                  <a:gd name="connsiteY4" fmla="*/ 33682 h 40065"/>
                  <a:gd name="connsiteX5" fmla="*/ 10486 w 118475"/>
                  <a:gd name="connsiteY5" fmla="*/ 33043 h 40065"/>
                  <a:gd name="connsiteX6" fmla="*/ 54576 w 118475"/>
                  <a:gd name="connsiteY6" fmla="*/ 13253 h 40065"/>
                  <a:gd name="connsiteX7" fmla="*/ 87165 w 118475"/>
                  <a:gd name="connsiteY7" fmla="*/ 21552 h 40065"/>
                  <a:gd name="connsiteX8" fmla="*/ 107613 w 118475"/>
                  <a:gd name="connsiteY8" fmla="*/ 38150 h 40065"/>
                  <a:gd name="connsiteX9" fmla="*/ 112086 w 118475"/>
                  <a:gd name="connsiteY9" fmla="*/ 40066 h 40065"/>
                  <a:gd name="connsiteX10" fmla="*/ 116559 w 118475"/>
                  <a:gd name="connsiteY10" fmla="*/ 38150 h 40065"/>
                  <a:gd name="connsiteX11" fmla="*/ 116559 w 118475"/>
                  <a:gd name="connsiteY11" fmla="*/ 29213 h 40065"/>
                  <a:gd name="connsiteX12" fmla="*/ 116559 w 118475"/>
                  <a:gd name="connsiteY12" fmla="*/ 29213 h 40065"/>
                  <a:gd name="connsiteX13" fmla="*/ 93555 w 118475"/>
                  <a:gd name="connsiteY13" fmla="*/ 10699 h 4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475" h="40065">
                    <a:moveTo>
                      <a:pt x="93555" y="10699"/>
                    </a:moveTo>
                    <a:cubicBezTo>
                      <a:pt x="82053" y="2400"/>
                      <a:pt x="67356" y="-1430"/>
                      <a:pt x="53298" y="485"/>
                    </a:cubicBezTo>
                    <a:cubicBezTo>
                      <a:pt x="36684" y="1762"/>
                      <a:pt x="7291" y="20275"/>
                      <a:pt x="3457" y="22190"/>
                    </a:cubicBezTo>
                    <a:cubicBezTo>
                      <a:pt x="262" y="24106"/>
                      <a:pt x="-1016" y="27936"/>
                      <a:pt x="901" y="31128"/>
                    </a:cubicBezTo>
                    <a:cubicBezTo>
                      <a:pt x="2818" y="34320"/>
                      <a:pt x="6652" y="35597"/>
                      <a:pt x="9847" y="33682"/>
                    </a:cubicBezTo>
                    <a:cubicBezTo>
                      <a:pt x="9847" y="33682"/>
                      <a:pt x="10486" y="33682"/>
                      <a:pt x="10486" y="33043"/>
                    </a:cubicBezTo>
                    <a:cubicBezTo>
                      <a:pt x="18793" y="27936"/>
                      <a:pt x="43074" y="13891"/>
                      <a:pt x="54576" y="13253"/>
                    </a:cubicBezTo>
                    <a:cubicBezTo>
                      <a:pt x="66078" y="11338"/>
                      <a:pt x="77580" y="14530"/>
                      <a:pt x="87165" y="21552"/>
                    </a:cubicBezTo>
                    <a:cubicBezTo>
                      <a:pt x="94194" y="26659"/>
                      <a:pt x="101223" y="31766"/>
                      <a:pt x="107613" y="38150"/>
                    </a:cubicBezTo>
                    <a:cubicBezTo>
                      <a:pt x="108891" y="39427"/>
                      <a:pt x="110169" y="40066"/>
                      <a:pt x="112086" y="40066"/>
                    </a:cubicBezTo>
                    <a:cubicBezTo>
                      <a:pt x="114003" y="40066"/>
                      <a:pt x="115281" y="39427"/>
                      <a:pt x="116559" y="38150"/>
                    </a:cubicBezTo>
                    <a:cubicBezTo>
                      <a:pt x="119114" y="35597"/>
                      <a:pt x="119114" y="31766"/>
                      <a:pt x="116559" y="29213"/>
                    </a:cubicBezTo>
                    <a:cubicBezTo>
                      <a:pt x="116559" y="29213"/>
                      <a:pt x="116559" y="29213"/>
                      <a:pt x="116559" y="29213"/>
                    </a:cubicBezTo>
                    <a:cubicBezTo>
                      <a:pt x="109530" y="22190"/>
                      <a:pt x="101862" y="15806"/>
                      <a:pt x="93555" y="10699"/>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2" name="Graphic 4">
                <a:extLst>
                  <a:ext uri="{FF2B5EF4-FFF2-40B4-BE49-F238E27FC236}">
                    <a16:creationId xmlns:a16="http://schemas.microsoft.com/office/drawing/2014/main" id="{77B7E76C-268F-63E5-35FF-D84E7AB1F7E5}"/>
                  </a:ext>
                </a:extLst>
              </p:cNvPr>
              <p:cNvSpPr/>
              <p:nvPr/>
            </p:nvSpPr>
            <p:spPr>
              <a:xfrm>
                <a:off x="4792616" y="2141944"/>
                <a:ext cx="89934" cy="28771"/>
              </a:xfrm>
              <a:custGeom>
                <a:avLst/>
                <a:gdLst>
                  <a:gd name="connsiteX0" fmla="*/ 40732 w 89934"/>
                  <a:gd name="connsiteY0" fmla="*/ 44 h 28771"/>
                  <a:gd name="connsiteX1" fmla="*/ 2393 w 89934"/>
                  <a:gd name="connsiteY1" fmla="*/ 15365 h 28771"/>
                  <a:gd name="connsiteX2" fmla="*/ 1115 w 89934"/>
                  <a:gd name="connsiteY2" fmla="*/ 24303 h 28771"/>
                  <a:gd name="connsiteX3" fmla="*/ 10060 w 89934"/>
                  <a:gd name="connsiteY3" fmla="*/ 25580 h 28771"/>
                  <a:gd name="connsiteX4" fmla="*/ 10700 w 89934"/>
                  <a:gd name="connsiteY4" fmla="*/ 24941 h 28771"/>
                  <a:gd name="connsiteX5" fmla="*/ 41371 w 89934"/>
                  <a:gd name="connsiteY5" fmla="*/ 12812 h 28771"/>
                  <a:gd name="connsiteX6" fmla="*/ 79072 w 89934"/>
                  <a:gd name="connsiteY6" fmla="*/ 26856 h 28771"/>
                  <a:gd name="connsiteX7" fmla="*/ 83545 w 89934"/>
                  <a:gd name="connsiteY7" fmla="*/ 28772 h 28771"/>
                  <a:gd name="connsiteX8" fmla="*/ 88018 w 89934"/>
                  <a:gd name="connsiteY8" fmla="*/ 26856 h 28771"/>
                  <a:gd name="connsiteX9" fmla="*/ 88018 w 89934"/>
                  <a:gd name="connsiteY9" fmla="*/ 17919 h 28771"/>
                  <a:gd name="connsiteX10" fmla="*/ 40732 w 89934"/>
                  <a:gd name="connsiteY10" fmla="*/ 44 h 28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934" h="28771">
                    <a:moveTo>
                      <a:pt x="40732" y="44"/>
                    </a:moveTo>
                    <a:cubicBezTo>
                      <a:pt x="26674" y="682"/>
                      <a:pt x="13255" y="5789"/>
                      <a:pt x="2393" y="15365"/>
                    </a:cubicBezTo>
                    <a:cubicBezTo>
                      <a:pt x="-163" y="17280"/>
                      <a:pt x="-802" y="21111"/>
                      <a:pt x="1115" y="24303"/>
                    </a:cubicBezTo>
                    <a:cubicBezTo>
                      <a:pt x="3032" y="26856"/>
                      <a:pt x="6865" y="27495"/>
                      <a:pt x="10060" y="25580"/>
                    </a:cubicBezTo>
                    <a:cubicBezTo>
                      <a:pt x="10060" y="25580"/>
                      <a:pt x="10700" y="24941"/>
                      <a:pt x="10700" y="24941"/>
                    </a:cubicBezTo>
                    <a:cubicBezTo>
                      <a:pt x="19645" y="17919"/>
                      <a:pt x="30508" y="13450"/>
                      <a:pt x="41371" y="12812"/>
                    </a:cubicBezTo>
                    <a:cubicBezTo>
                      <a:pt x="55429" y="12173"/>
                      <a:pt x="68848" y="17280"/>
                      <a:pt x="79072" y="26856"/>
                    </a:cubicBezTo>
                    <a:cubicBezTo>
                      <a:pt x="80350" y="28133"/>
                      <a:pt x="81628" y="28772"/>
                      <a:pt x="83545" y="28772"/>
                    </a:cubicBezTo>
                    <a:cubicBezTo>
                      <a:pt x="85462" y="28772"/>
                      <a:pt x="86740" y="28133"/>
                      <a:pt x="88018" y="26856"/>
                    </a:cubicBezTo>
                    <a:cubicBezTo>
                      <a:pt x="90574" y="24303"/>
                      <a:pt x="90574" y="20472"/>
                      <a:pt x="88018" y="17919"/>
                    </a:cubicBezTo>
                    <a:cubicBezTo>
                      <a:pt x="75238" y="5789"/>
                      <a:pt x="58624" y="-595"/>
                      <a:pt x="40732" y="44"/>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3" name="Graphic 4">
                <a:extLst>
                  <a:ext uri="{FF2B5EF4-FFF2-40B4-BE49-F238E27FC236}">
                    <a16:creationId xmlns:a16="http://schemas.microsoft.com/office/drawing/2014/main" id="{39BFFB46-BF5B-4169-1D7C-7D7B6D5223C4}"/>
                  </a:ext>
                </a:extLst>
              </p:cNvPr>
              <p:cNvSpPr/>
              <p:nvPr/>
            </p:nvSpPr>
            <p:spPr>
              <a:xfrm>
                <a:off x="4806035" y="2164252"/>
                <a:ext cx="59189" cy="22424"/>
              </a:xfrm>
              <a:custGeom>
                <a:avLst/>
                <a:gdLst>
                  <a:gd name="connsiteX0" fmla="*/ 31147 w 59189"/>
                  <a:gd name="connsiteY0" fmla="*/ 80 h 22424"/>
                  <a:gd name="connsiteX1" fmla="*/ 2393 w 59189"/>
                  <a:gd name="connsiteY1" fmla="*/ 9018 h 22424"/>
                  <a:gd name="connsiteX2" fmla="*/ 1115 w 59189"/>
                  <a:gd name="connsiteY2" fmla="*/ 17955 h 22424"/>
                  <a:gd name="connsiteX3" fmla="*/ 10061 w 59189"/>
                  <a:gd name="connsiteY3" fmla="*/ 19232 h 22424"/>
                  <a:gd name="connsiteX4" fmla="*/ 30509 w 59189"/>
                  <a:gd name="connsiteY4" fmla="*/ 12848 h 22424"/>
                  <a:gd name="connsiteX5" fmla="*/ 48400 w 59189"/>
                  <a:gd name="connsiteY5" fmla="*/ 20509 h 22424"/>
                  <a:gd name="connsiteX6" fmla="*/ 52873 w 59189"/>
                  <a:gd name="connsiteY6" fmla="*/ 22424 h 22424"/>
                  <a:gd name="connsiteX7" fmla="*/ 57346 w 59189"/>
                  <a:gd name="connsiteY7" fmla="*/ 20509 h 22424"/>
                  <a:gd name="connsiteX8" fmla="*/ 56707 w 59189"/>
                  <a:gd name="connsiteY8" fmla="*/ 11571 h 22424"/>
                  <a:gd name="connsiteX9" fmla="*/ 56707 w 59189"/>
                  <a:gd name="connsiteY9" fmla="*/ 11571 h 22424"/>
                  <a:gd name="connsiteX10" fmla="*/ 31147 w 59189"/>
                  <a:gd name="connsiteY10" fmla="*/ 80 h 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189" h="22424">
                    <a:moveTo>
                      <a:pt x="31147" y="80"/>
                    </a:moveTo>
                    <a:cubicBezTo>
                      <a:pt x="20924" y="-558"/>
                      <a:pt x="10700" y="2634"/>
                      <a:pt x="2393" y="9018"/>
                    </a:cubicBezTo>
                    <a:cubicBezTo>
                      <a:pt x="-163" y="10933"/>
                      <a:pt x="-802" y="15402"/>
                      <a:pt x="1115" y="17955"/>
                    </a:cubicBezTo>
                    <a:cubicBezTo>
                      <a:pt x="3032" y="20509"/>
                      <a:pt x="7505" y="21147"/>
                      <a:pt x="10061" y="19232"/>
                    </a:cubicBezTo>
                    <a:cubicBezTo>
                      <a:pt x="15811" y="14763"/>
                      <a:pt x="22841" y="12210"/>
                      <a:pt x="30509" y="12848"/>
                    </a:cubicBezTo>
                    <a:cubicBezTo>
                      <a:pt x="37537" y="13487"/>
                      <a:pt x="43927" y="16040"/>
                      <a:pt x="48400" y="20509"/>
                    </a:cubicBezTo>
                    <a:cubicBezTo>
                      <a:pt x="49678" y="21786"/>
                      <a:pt x="50956" y="22424"/>
                      <a:pt x="52873" y="22424"/>
                    </a:cubicBezTo>
                    <a:cubicBezTo>
                      <a:pt x="54790" y="22424"/>
                      <a:pt x="56068" y="21786"/>
                      <a:pt x="57346" y="20509"/>
                    </a:cubicBezTo>
                    <a:cubicBezTo>
                      <a:pt x="59902" y="17955"/>
                      <a:pt x="59902" y="14125"/>
                      <a:pt x="56707" y="11571"/>
                    </a:cubicBezTo>
                    <a:cubicBezTo>
                      <a:pt x="56707" y="11571"/>
                      <a:pt x="56707" y="11571"/>
                      <a:pt x="56707" y="11571"/>
                    </a:cubicBezTo>
                    <a:cubicBezTo>
                      <a:pt x="49678" y="4549"/>
                      <a:pt x="40732" y="719"/>
                      <a:pt x="31147" y="80"/>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39" name="Graphic 4">
              <a:extLst>
                <a:ext uri="{FF2B5EF4-FFF2-40B4-BE49-F238E27FC236}">
                  <a16:creationId xmlns:a16="http://schemas.microsoft.com/office/drawing/2014/main" id="{39391A9F-2114-1097-E34C-A35D59E50AB7}"/>
                </a:ext>
              </a:extLst>
            </p:cNvPr>
            <p:cNvGrpSpPr>
              <a:grpSpLocks noChangeAspect="1"/>
            </p:cNvGrpSpPr>
            <p:nvPr/>
          </p:nvGrpSpPr>
          <p:grpSpPr>
            <a:xfrm>
              <a:off x="7058058" y="2992475"/>
              <a:ext cx="548184" cy="548640"/>
              <a:chOff x="467743" y="4793256"/>
              <a:chExt cx="361670" cy="361971"/>
            </a:xfrm>
            <a:solidFill>
              <a:srgbClr val="A0DCFF"/>
            </a:solidFill>
          </p:grpSpPr>
          <p:sp>
            <p:nvSpPr>
              <p:cNvPr id="144" name="Graphic 4">
                <a:extLst>
                  <a:ext uri="{FF2B5EF4-FFF2-40B4-BE49-F238E27FC236}">
                    <a16:creationId xmlns:a16="http://schemas.microsoft.com/office/drawing/2014/main" id="{6B1BC6D3-946D-2483-A204-27C410DA0EE5}"/>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5" name="Graphic 4">
                <a:extLst>
                  <a:ext uri="{FF2B5EF4-FFF2-40B4-BE49-F238E27FC236}">
                    <a16:creationId xmlns:a16="http://schemas.microsoft.com/office/drawing/2014/main" id="{7D6B5059-6D25-809C-247F-216972B5113B}"/>
                  </a:ext>
                </a:extLst>
              </p:cNvPr>
              <p:cNvSpPr/>
              <p:nvPr/>
            </p:nvSpPr>
            <p:spPr>
              <a:xfrm>
                <a:off x="540176" y="4865395"/>
                <a:ext cx="217670" cy="217055"/>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40" name="Graphic 4">
              <a:extLst>
                <a:ext uri="{FF2B5EF4-FFF2-40B4-BE49-F238E27FC236}">
                  <a16:creationId xmlns:a16="http://schemas.microsoft.com/office/drawing/2014/main" id="{17F509B6-1304-3555-ABFA-1C404B7D72D5}"/>
                </a:ext>
              </a:extLst>
            </p:cNvPr>
            <p:cNvGrpSpPr>
              <a:grpSpLocks noChangeAspect="1"/>
            </p:cNvGrpSpPr>
            <p:nvPr/>
          </p:nvGrpSpPr>
          <p:grpSpPr>
            <a:xfrm>
              <a:off x="6343678" y="2286862"/>
              <a:ext cx="549152" cy="548640"/>
              <a:chOff x="1515054" y="1402723"/>
              <a:chExt cx="362309" cy="361971"/>
            </a:xfrm>
            <a:solidFill>
              <a:sysClr val="window" lastClr="FFFFFF"/>
            </a:solidFill>
          </p:grpSpPr>
          <p:sp>
            <p:nvSpPr>
              <p:cNvPr id="141" name="Graphic 4">
                <a:extLst>
                  <a:ext uri="{FF2B5EF4-FFF2-40B4-BE49-F238E27FC236}">
                    <a16:creationId xmlns:a16="http://schemas.microsoft.com/office/drawing/2014/main" id="{CFCC3A68-2850-C378-00AA-50DCC3BED904}"/>
                  </a:ext>
                </a:extLst>
              </p:cNvPr>
              <p:cNvSpPr/>
              <p:nvPr/>
            </p:nvSpPr>
            <p:spPr>
              <a:xfrm>
                <a:off x="1515054" y="1402723"/>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362309 w 362309"/>
                  <a:gd name="connsiteY4" fmla="*/ 181305 h 361971"/>
                  <a:gd name="connsiteX5" fmla="*/ 180835 w 362309"/>
                  <a:gd name="connsiteY5" fmla="*/ 0 h 361971"/>
                  <a:gd name="connsiteX6" fmla="*/ 180835 w 362309"/>
                  <a:gd name="connsiteY6" fmla="*/ 0 h 361971"/>
                  <a:gd name="connsiteX7" fmla="*/ 180835 w 362309"/>
                  <a:gd name="connsiteY7" fmla="*/ 348565 h 361971"/>
                  <a:gd name="connsiteX8" fmla="*/ 12780 w 362309"/>
                  <a:gd name="connsiteY8" fmla="*/ 180028 h 361971"/>
                  <a:gd name="connsiteX9" fmla="*/ 180835 w 362309"/>
                  <a:gd name="connsiteY9" fmla="*/ 12130 h 361971"/>
                  <a:gd name="connsiteX10" fmla="*/ 349529 w 362309"/>
                  <a:gd name="connsiteY10" fmla="*/ 180028 h 361971"/>
                  <a:gd name="connsiteX11" fmla="*/ 180835 w 362309"/>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181305"/>
                      <a:pt x="362309" y="181305"/>
                      <a:pt x="362309" y="181305"/>
                    </a:cubicBezTo>
                    <a:cubicBezTo>
                      <a:pt x="361670" y="80438"/>
                      <a:pt x="281157" y="0"/>
                      <a:pt x="180835" y="0"/>
                    </a:cubicBezTo>
                    <a:cubicBezTo>
                      <a:pt x="180835" y="0"/>
                      <a:pt x="180835" y="0"/>
                      <a:pt x="180835" y="0"/>
                    </a:cubicBezTo>
                    <a:close/>
                    <a:moveTo>
                      <a:pt x="180835" y="348565"/>
                    </a:moveTo>
                    <a:cubicBezTo>
                      <a:pt x="87542" y="348565"/>
                      <a:pt x="12780" y="273234"/>
                      <a:pt x="12780" y="180028"/>
                    </a:cubicBezTo>
                    <a:cubicBezTo>
                      <a:pt x="12780" y="86822"/>
                      <a:pt x="88181" y="12130"/>
                      <a:pt x="180835" y="12130"/>
                    </a:cubicBezTo>
                    <a:cubicBezTo>
                      <a:pt x="274128" y="12130"/>
                      <a:pt x="349529" y="87461"/>
                      <a:pt x="349529" y="180028"/>
                    </a:cubicBezTo>
                    <a:cubicBezTo>
                      <a:pt x="348891" y="273234"/>
                      <a:pt x="273489" y="348565"/>
                      <a:pt x="180835" y="348565"/>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2" name="Graphic 4">
                <a:extLst>
                  <a:ext uri="{FF2B5EF4-FFF2-40B4-BE49-F238E27FC236}">
                    <a16:creationId xmlns:a16="http://schemas.microsoft.com/office/drawing/2014/main" id="{60D34C5E-7611-654D-F50F-5B938DEC74C3}"/>
                  </a:ext>
                </a:extLst>
              </p:cNvPr>
              <p:cNvSpPr/>
              <p:nvPr/>
            </p:nvSpPr>
            <p:spPr>
              <a:xfrm>
                <a:off x="1579592" y="1458902"/>
                <a:ext cx="232036" cy="222800"/>
              </a:xfrm>
              <a:custGeom>
                <a:avLst/>
                <a:gdLst>
                  <a:gd name="connsiteX0" fmla="*/ 225565 w 232036"/>
                  <a:gd name="connsiteY0" fmla="*/ 194711 h 222800"/>
                  <a:gd name="connsiteX1" fmla="*/ 219175 w 232036"/>
                  <a:gd name="connsiteY1" fmla="*/ 194711 h 222800"/>
                  <a:gd name="connsiteX2" fmla="*/ 219175 w 232036"/>
                  <a:gd name="connsiteY2" fmla="*/ 74054 h 222800"/>
                  <a:gd name="connsiteX3" fmla="*/ 200644 w 232036"/>
                  <a:gd name="connsiteY3" fmla="*/ 55541 h 222800"/>
                  <a:gd name="connsiteX4" fmla="*/ 200644 w 232036"/>
                  <a:gd name="connsiteY4" fmla="*/ 55541 h 222800"/>
                  <a:gd name="connsiteX5" fmla="*/ 189781 w 232036"/>
                  <a:gd name="connsiteY5" fmla="*/ 55541 h 222800"/>
                  <a:gd name="connsiteX6" fmla="*/ 178279 w 232036"/>
                  <a:gd name="connsiteY6" fmla="*/ 3830 h 222800"/>
                  <a:gd name="connsiteX7" fmla="*/ 171889 w 232036"/>
                  <a:gd name="connsiteY7" fmla="*/ 0 h 222800"/>
                  <a:gd name="connsiteX8" fmla="*/ 93932 w 232036"/>
                  <a:gd name="connsiteY8" fmla="*/ 54902 h 222800"/>
                  <a:gd name="connsiteX9" fmla="*/ 31311 w 232036"/>
                  <a:gd name="connsiteY9" fmla="*/ 54902 h 222800"/>
                  <a:gd name="connsiteX10" fmla="*/ 12780 w 232036"/>
                  <a:gd name="connsiteY10" fmla="*/ 73416 h 222800"/>
                  <a:gd name="connsiteX11" fmla="*/ 12780 w 232036"/>
                  <a:gd name="connsiteY11" fmla="*/ 73416 h 222800"/>
                  <a:gd name="connsiteX12" fmla="*/ 12780 w 232036"/>
                  <a:gd name="connsiteY12" fmla="*/ 194073 h 222800"/>
                  <a:gd name="connsiteX13" fmla="*/ 6390 w 232036"/>
                  <a:gd name="connsiteY13" fmla="*/ 194073 h 222800"/>
                  <a:gd name="connsiteX14" fmla="*/ 0 w 232036"/>
                  <a:gd name="connsiteY14" fmla="*/ 200457 h 222800"/>
                  <a:gd name="connsiteX15" fmla="*/ 22365 w 232036"/>
                  <a:gd name="connsiteY15" fmla="*/ 222801 h 222800"/>
                  <a:gd name="connsiteX16" fmla="*/ 209590 w 232036"/>
                  <a:gd name="connsiteY16" fmla="*/ 222801 h 222800"/>
                  <a:gd name="connsiteX17" fmla="*/ 231955 w 232036"/>
                  <a:gd name="connsiteY17" fmla="*/ 200457 h 222800"/>
                  <a:gd name="connsiteX18" fmla="*/ 225565 w 232036"/>
                  <a:gd name="connsiteY18" fmla="*/ 194711 h 222800"/>
                  <a:gd name="connsiteX19" fmla="*/ 225565 w 232036"/>
                  <a:gd name="connsiteY19" fmla="*/ 194711 h 222800"/>
                  <a:gd name="connsiteX20" fmla="*/ 168694 w 232036"/>
                  <a:gd name="connsiteY20" fmla="*/ 13406 h 222800"/>
                  <a:gd name="connsiteX21" fmla="*/ 162304 w 232036"/>
                  <a:gd name="connsiteY21" fmla="*/ 118104 h 222800"/>
                  <a:gd name="connsiteX22" fmla="*/ 162304 w 232036"/>
                  <a:gd name="connsiteY22" fmla="*/ 123849 h 222800"/>
                  <a:gd name="connsiteX23" fmla="*/ 159110 w 232036"/>
                  <a:gd name="connsiteY23" fmla="*/ 171729 h 222800"/>
                  <a:gd name="connsiteX24" fmla="*/ 125882 w 232036"/>
                  <a:gd name="connsiteY24" fmla="*/ 156408 h 222800"/>
                  <a:gd name="connsiteX25" fmla="*/ 123326 w 232036"/>
                  <a:gd name="connsiteY25" fmla="*/ 155769 h 222800"/>
                  <a:gd name="connsiteX26" fmla="*/ 118214 w 232036"/>
                  <a:gd name="connsiteY26" fmla="*/ 158323 h 222800"/>
                  <a:gd name="connsiteX27" fmla="*/ 95849 w 232036"/>
                  <a:gd name="connsiteY27" fmla="*/ 165345 h 222800"/>
                  <a:gd name="connsiteX28" fmla="*/ 86264 w 232036"/>
                  <a:gd name="connsiteY28" fmla="*/ 141724 h 222800"/>
                  <a:gd name="connsiteX29" fmla="*/ 82430 w 232036"/>
                  <a:gd name="connsiteY29" fmla="*/ 134702 h 222800"/>
                  <a:gd name="connsiteX30" fmla="*/ 49842 w 232036"/>
                  <a:gd name="connsiteY30" fmla="*/ 119381 h 222800"/>
                  <a:gd name="connsiteX31" fmla="*/ 84986 w 232036"/>
                  <a:gd name="connsiteY31" fmla="*/ 89376 h 222800"/>
                  <a:gd name="connsiteX32" fmla="*/ 90737 w 232036"/>
                  <a:gd name="connsiteY32" fmla="*/ 85545 h 222800"/>
                  <a:gd name="connsiteX33" fmla="*/ 100322 w 232036"/>
                  <a:gd name="connsiteY33" fmla="*/ 67032 h 222800"/>
                  <a:gd name="connsiteX34" fmla="*/ 102878 w 232036"/>
                  <a:gd name="connsiteY34" fmla="*/ 63201 h 222800"/>
                  <a:gd name="connsiteX35" fmla="*/ 168694 w 232036"/>
                  <a:gd name="connsiteY35" fmla="*/ 13406 h 222800"/>
                  <a:gd name="connsiteX36" fmla="*/ 25560 w 232036"/>
                  <a:gd name="connsiteY36" fmla="*/ 73416 h 222800"/>
                  <a:gd name="connsiteX37" fmla="*/ 31311 w 232036"/>
                  <a:gd name="connsiteY37" fmla="*/ 67670 h 222800"/>
                  <a:gd name="connsiteX38" fmla="*/ 31311 w 232036"/>
                  <a:gd name="connsiteY38" fmla="*/ 67670 h 222800"/>
                  <a:gd name="connsiteX39" fmla="*/ 86264 w 232036"/>
                  <a:gd name="connsiteY39" fmla="*/ 67670 h 222800"/>
                  <a:gd name="connsiteX40" fmla="*/ 82430 w 232036"/>
                  <a:gd name="connsiteY40" fmla="*/ 75969 h 222800"/>
                  <a:gd name="connsiteX41" fmla="*/ 37701 w 232036"/>
                  <a:gd name="connsiteY41" fmla="*/ 120657 h 222800"/>
                  <a:gd name="connsiteX42" fmla="*/ 41535 w 232036"/>
                  <a:gd name="connsiteY42" fmla="*/ 127680 h 222800"/>
                  <a:gd name="connsiteX43" fmla="*/ 74762 w 232036"/>
                  <a:gd name="connsiteY43" fmla="*/ 143640 h 222800"/>
                  <a:gd name="connsiteX44" fmla="*/ 92015 w 232036"/>
                  <a:gd name="connsiteY44" fmla="*/ 176198 h 222800"/>
                  <a:gd name="connsiteX45" fmla="*/ 125882 w 232036"/>
                  <a:gd name="connsiteY45" fmla="*/ 169176 h 222800"/>
                  <a:gd name="connsiteX46" fmla="*/ 159749 w 232036"/>
                  <a:gd name="connsiteY46" fmla="*/ 185135 h 222800"/>
                  <a:gd name="connsiteX47" fmla="*/ 162304 w 232036"/>
                  <a:gd name="connsiteY47" fmla="*/ 185774 h 222800"/>
                  <a:gd name="connsiteX48" fmla="*/ 167416 w 232036"/>
                  <a:gd name="connsiteY48" fmla="*/ 183220 h 222800"/>
                  <a:gd name="connsiteX49" fmla="*/ 176362 w 232036"/>
                  <a:gd name="connsiteY49" fmla="*/ 120657 h 222800"/>
                  <a:gd name="connsiteX50" fmla="*/ 190420 w 232036"/>
                  <a:gd name="connsiteY50" fmla="*/ 67670 h 222800"/>
                  <a:gd name="connsiteX51" fmla="*/ 201922 w 232036"/>
                  <a:gd name="connsiteY51" fmla="*/ 67670 h 222800"/>
                  <a:gd name="connsiteX52" fmla="*/ 207673 w 232036"/>
                  <a:gd name="connsiteY52" fmla="*/ 73416 h 222800"/>
                  <a:gd name="connsiteX53" fmla="*/ 207673 w 232036"/>
                  <a:gd name="connsiteY53" fmla="*/ 73416 h 222800"/>
                  <a:gd name="connsiteX54" fmla="*/ 207673 w 232036"/>
                  <a:gd name="connsiteY54" fmla="*/ 194073 h 222800"/>
                  <a:gd name="connsiteX55" fmla="*/ 26838 w 232036"/>
                  <a:gd name="connsiteY55" fmla="*/ 194073 h 222800"/>
                  <a:gd name="connsiteX56" fmla="*/ 25560 w 232036"/>
                  <a:gd name="connsiteY56" fmla="*/ 73416 h 222800"/>
                  <a:gd name="connsiteX57" fmla="*/ 209590 w 232036"/>
                  <a:gd name="connsiteY57" fmla="*/ 210033 h 222800"/>
                  <a:gd name="connsiteX58" fmla="*/ 22365 w 232036"/>
                  <a:gd name="connsiteY58" fmla="*/ 210033 h 222800"/>
                  <a:gd name="connsiteX59" fmla="*/ 15336 w 232036"/>
                  <a:gd name="connsiteY59" fmla="*/ 206841 h 222800"/>
                  <a:gd name="connsiteX60" fmla="*/ 216619 w 232036"/>
                  <a:gd name="connsiteY60" fmla="*/ 206841 h 222800"/>
                  <a:gd name="connsiteX61" fmla="*/ 209590 w 232036"/>
                  <a:gd name="connsiteY61" fmla="*/ 210033 h 222800"/>
                  <a:gd name="connsiteX62" fmla="*/ 209590 w 232036"/>
                  <a:gd name="connsiteY62" fmla="*/ 210033 h 2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32036" h="222800">
                    <a:moveTo>
                      <a:pt x="225565" y="194711"/>
                    </a:moveTo>
                    <a:lnTo>
                      <a:pt x="219175" y="194711"/>
                    </a:lnTo>
                    <a:lnTo>
                      <a:pt x="219175" y="74054"/>
                    </a:lnTo>
                    <a:cubicBezTo>
                      <a:pt x="219175" y="63840"/>
                      <a:pt x="210868" y="55541"/>
                      <a:pt x="200644" y="55541"/>
                    </a:cubicBezTo>
                    <a:cubicBezTo>
                      <a:pt x="200644" y="55541"/>
                      <a:pt x="200644" y="55541"/>
                      <a:pt x="200644" y="55541"/>
                    </a:cubicBezTo>
                    <a:lnTo>
                      <a:pt x="189781" y="55541"/>
                    </a:lnTo>
                    <a:cubicBezTo>
                      <a:pt x="189781" y="37666"/>
                      <a:pt x="185947" y="19790"/>
                      <a:pt x="178279" y="3830"/>
                    </a:cubicBezTo>
                    <a:cubicBezTo>
                      <a:pt x="177001" y="1277"/>
                      <a:pt x="174445" y="0"/>
                      <a:pt x="171889" y="0"/>
                    </a:cubicBezTo>
                    <a:cubicBezTo>
                      <a:pt x="169972" y="0"/>
                      <a:pt x="125882" y="5107"/>
                      <a:pt x="93932" y="54902"/>
                    </a:cubicBezTo>
                    <a:lnTo>
                      <a:pt x="31311" y="54902"/>
                    </a:lnTo>
                    <a:cubicBezTo>
                      <a:pt x="21087" y="54902"/>
                      <a:pt x="12780" y="63201"/>
                      <a:pt x="12780" y="73416"/>
                    </a:cubicBezTo>
                    <a:lnTo>
                      <a:pt x="12780" y="73416"/>
                    </a:lnTo>
                    <a:lnTo>
                      <a:pt x="12780" y="194073"/>
                    </a:lnTo>
                    <a:lnTo>
                      <a:pt x="6390" y="194073"/>
                    </a:lnTo>
                    <a:cubicBezTo>
                      <a:pt x="2556" y="194073"/>
                      <a:pt x="0" y="196627"/>
                      <a:pt x="0" y="200457"/>
                    </a:cubicBezTo>
                    <a:cubicBezTo>
                      <a:pt x="0" y="212587"/>
                      <a:pt x="10224" y="222801"/>
                      <a:pt x="22365" y="222801"/>
                    </a:cubicBezTo>
                    <a:lnTo>
                      <a:pt x="209590" y="222801"/>
                    </a:lnTo>
                    <a:cubicBezTo>
                      <a:pt x="221731" y="222801"/>
                      <a:pt x="231955" y="212587"/>
                      <a:pt x="231955" y="200457"/>
                    </a:cubicBezTo>
                    <a:cubicBezTo>
                      <a:pt x="232594" y="197265"/>
                      <a:pt x="229399" y="194711"/>
                      <a:pt x="225565" y="194711"/>
                    </a:cubicBezTo>
                    <a:cubicBezTo>
                      <a:pt x="226204" y="194711"/>
                      <a:pt x="226204" y="194711"/>
                      <a:pt x="225565" y="194711"/>
                    </a:cubicBezTo>
                    <a:close/>
                    <a:moveTo>
                      <a:pt x="168694" y="13406"/>
                    </a:moveTo>
                    <a:cubicBezTo>
                      <a:pt x="189781" y="62563"/>
                      <a:pt x="162944" y="117465"/>
                      <a:pt x="162304" y="118104"/>
                    </a:cubicBezTo>
                    <a:cubicBezTo>
                      <a:pt x="161665" y="120019"/>
                      <a:pt x="161665" y="121934"/>
                      <a:pt x="162304" y="123849"/>
                    </a:cubicBezTo>
                    <a:cubicBezTo>
                      <a:pt x="169333" y="139171"/>
                      <a:pt x="168055" y="157046"/>
                      <a:pt x="159110" y="171729"/>
                    </a:cubicBezTo>
                    <a:lnTo>
                      <a:pt x="125882" y="156408"/>
                    </a:lnTo>
                    <a:cubicBezTo>
                      <a:pt x="125243" y="155769"/>
                      <a:pt x="123965" y="155769"/>
                      <a:pt x="123326" y="155769"/>
                    </a:cubicBezTo>
                    <a:cubicBezTo>
                      <a:pt x="121409" y="155769"/>
                      <a:pt x="119492" y="156408"/>
                      <a:pt x="118214" y="158323"/>
                    </a:cubicBezTo>
                    <a:cubicBezTo>
                      <a:pt x="118214" y="158323"/>
                      <a:pt x="107990" y="170452"/>
                      <a:pt x="95849" y="165345"/>
                    </a:cubicBezTo>
                    <a:cubicBezTo>
                      <a:pt x="83708" y="160238"/>
                      <a:pt x="86264" y="141724"/>
                      <a:pt x="86264" y="141724"/>
                    </a:cubicBezTo>
                    <a:cubicBezTo>
                      <a:pt x="86903" y="139171"/>
                      <a:pt x="84986" y="135979"/>
                      <a:pt x="82430" y="134702"/>
                    </a:cubicBezTo>
                    <a:lnTo>
                      <a:pt x="49842" y="119381"/>
                    </a:lnTo>
                    <a:cubicBezTo>
                      <a:pt x="53676" y="102782"/>
                      <a:pt x="67733" y="90014"/>
                      <a:pt x="84986" y="89376"/>
                    </a:cubicBezTo>
                    <a:cubicBezTo>
                      <a:pt x="87542" y="89376"/>
                      <a:pt x="90098" y="88099"/>
                      <a:pt x="90737" y="85545"/>
                    </a:cubicBezTo>
                    <a:cubicBezTo>
                      <a:pt x="93293" y="79161"/>
                      <a:pt x="96488" y="72777"/>
                      <a:pt x="100322" y="67032"/>
                    </a:cubicBezTo>
                    <a:cubicBezTo>
                      <a:pt x="101600" y="66393"/>
                      <a:pt x="102239" y="65117"/>
                      <a:pt x="102878" y="63201"/>
                    </a:cubicBezTo>
                    <a:cubicBezTo>
                      <a:pt x="127799" y="26174"/>
                      <a:pt x="157831" y="15960"/>
                      <a:pt x="168694" y="13406"/>
                    </a:cubicBezTo>
                    <a:close/>
                    <a:moveTo>
                      <a:pt x="25560" y="73416"/>
                    </a:moveTo>
                    <a:cubicBezTo>
                      <a:pt x="25560" y="70224"/>
                      <a:pt x="28116" y="67670"/>
                      <a:pt x="31311" y="67670"/>
                    </a:cubicBezTo>
                    <a:lnTo>
                      <a:pt x="31311" y="67670"/>
                    </a:lnTo>
                    <a:lnTo>
                      <a:pt x="86264" y="67670"/>
                    </a:lnTo>
                    <a:cubicBezTo>
                      <a:pt x="84986" y="70224"/>
                      <a:pt x="83708" y="72777"/>
                      <a:pt x="82430" y="75969"/>
                    </a:cubicBezTo>
                    <a:cubicBezTo>
                      <a:pt x="67733" y="77246"/>
                      <a:pt x="44091" y="88099"/>
                      <a:pt x="37701" y="120657"/>
                    </a:cubicBezTo>
                    <a:cubicBezTo>
                      <a:pt x="37062" y="123211"/>
                      <a:pt x="38340" y="126403"/>
                      <a:pt x="41535" y="127680"/>
                    </a:cubicBezTo>
                    <a:lnTo>
                      <a:pt x="74762" y="143640"/>
                    </a:lnTo>
                    <a:cubicBezTo>
                      <a:pt x="74762" y="151939"/>
                      <a:pt x="76040" y="169176"/>
                      <a:pt x="92015" y="176198"/>
                    </a:cubicBezTo>
                    <a:cubicBezTo>
                      <a:pt x="103517" y="181305"/>
                      <a:pt x="116936" y="178752"/>
                      <a:pt x="125882" y="169176"/>
                    </a:cubicBezTo>
                    <a:lnTo>
                      <a:pt x="159749" y="185135"/>
                    </a:lnTo>
                    <a:cubicBezTo>
                      <a:pt x="160387" y="185774"/>
                      <a:pt x="161665" y="185774"/>
                      <a:pt x="162304" y="185774"/>
                    </a:cubicBezTo>
                    <a:cubicBezTo>
                      <a:pt x="164221" y="185774"/>
                      <a:pt x="166138" y="185135"/>
                      <a:pt x="167416" y="183220"/>
                    </a:cubicBezTo>
                    <a:cubicBezTo>
                      <a:pt x="180835" y="165345"/>
                      <a:pt x="184669" y="141724"/>
                      <a:pt x="176362" y="120657"/>
                    </a:cubicBezTo>
                    <a:cubicBezTo>
                      <a:pt x="184030" y="104059"/>
                      <a:pt x="188503" y="86184"/>
                      <a:pt x="190420" y="67670"/>
                    </a:cubicBezTo>
                    <a:lnTo>
                      <a:pt x="201922" y="67670"/>
                    </a:lnTo>
                    <a:cubicBezTo>
                      <a:pt x="205117" y="67670"/>
                      <a:pt x="207673" y="70224"/>
                      <a:pt x="207673" y="73416"/>
                    </a:cubicBezTo>
                    <a:cubicBezTo>
                      <a:pt x="207673" y="73416"/>
                      <a:pt x="207673" y="73416"/>
                      <a:pt x="207673" y="73416"/>
                    </a:cubicBezTo>
                    <a:lnTo>
                      <a:pt x="207673" y="194073"/>
                    </a:lnTo>
                    <a:lnTo>
                      <a:pt x="26838" y="194073"/>
                    </a:lnTo>
                    <a:lnTo>
                      <a:pt x="25560" y="73416"/>
                    </a:lnTo>
                    <a:close/>
                    <a:moveTo>
                      <a:pt x="209590" y="210033"/>
                    </a:moveTo>
                    <a:lnTo>
                      <a:pt x="22365" y="210033"/>
                    </a:lnTo>
                    <a:cubicBezTo>
                      <a:pt x="19809" y="210033"/>
                      <a:pt x="17253" y="208756"/>
                      <a:pt x="15336" y="206841"/>
                    </a:cubicBezTo>
                    <a:lnTo>
                      <a:pt x="216619" y="206841"/>
                    </a:lnTo>
                    <a:cubicBezTo>
                      <a:pt x="215341" y="209395"/>
                      <a:pt x="212785" y="210671"/>
                      <a:pt x="209590" y="210033"/>
                    </a:cubicBezTo>
                    <a:lnTo>
                      <a:pt x="209590" y="210033"/>
                    </a:ln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3" name="Graphic 4">
                <a:extLst>
                  <a:ext uri="{FF2B5EF4-FFF2-40B4-BE49-F238E27FC236}">
                    <a16:creationId xmlns:a16="http://schemas.microsoft.com/office/drawing/2014/main" id="{6F1A800A-28E4-617C-58CD-DDD921398BB0}"/>
                  </a:ext>
                </a:extLst>
              </p:cNvPr>
              <p:cNvSpPr/>
              <p:nvPr/>
            </p:nvSpPr>
            <p:spPr>
              <a:xfrm>
                <a:off x="1675441" y="1536787"/>
                <a:ext cx="54953" cy="54902"/>
              </a:xfrm>
              <a:custGeom>
                <a:avLst/>
                <a:gdLst>
                  <a:gd name="connsiteX0" fmla="*/ 0 w 54953"/>
                  <a:gd name="connsiteY0" fmla="*/ 27451 h 54902"/>
                  <a:gd name="connsiteX1" fmla="*/ 27477 w 54953"/>
                  <a:gd name="connsiteY1" fmla="*/ 54902 h 54902"/>
                  <a:gd name="connsiteX2" fmla="*/ 54953 w 54953"/>
                  <a:gd name="connsiteY2" fmla="*/ 27451 h 54902"/>
                  <a:gd name="connsiteX3" fmla="*/ 27477 w 54953"/>
                  <a:gd name="connsiteY3" fmla="*/ 0 h 54902"/>
                  <a:gd name="connsiteX4" fmla="*/ 0 w 54953"/>
                  <a:gd name="connsiteY4" fmla="*/ 27451 h 54902"/>
                  <a:gd name="connsiteX5" fmla="*/ 27477 w 54953"/>
                  <a:gd name="connsiteY5" fmla="*/ 12768 h 54902"/>
                  <a:gd name="connsiteX6" fmla="*/ 42173 w 54953"/>
                  <a:gd name="connsiteY6" fmla="*/ 27451 h 54902"/>
                  <a:gd name="connsiteX7" fmla="*/ 27477 w 54953"/>
                  <a:gd name="connsiteY7" fmla="*/ 42134 h 54902"/>
                  <a:gd name="connsiteX8" fmla="*/ 12780 w 54953"/>
                  <a:gd name="connsiteY8" fmla="*/ 27451 h 54902"/>
                  <a:gd name="connsiteX9" fmla="*/ 27477 w 54953"/>
                  <a:gd name="connsiteY9" fmla="*/ 12768 h 5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53" h="54902">
                    <a:moveTo>
                      <a:pt x="0" y="27451"/>
                    </a:moveTo>
                    <a:cubicBezTo>
                      <a:pt x="0" y="42773"/>
                      <a:pt x="12141" y="54902"/>
                      <a:pt x="27477" y="54902"/>
                    </a:cubicBezTo>
                    <a:cubicBezTo>
                      <a:pt x="42812" y="54902"/>
                      <a:pt x="54953" y="42773"/>
                      <a:pt x="54953" y="27451"/>
                    </a:cubicBezTo>
                    <a:cubicBezTo>
                      <a:pt x="54953" y="12130"/>
                      <a:pt x="42812" y="0"/>
                      <a:pt x="27477" y="0"/>
                    </a:cubicBezTo>
                    <a:cubicBezTo>
                      <a:pt x="12780" y="0"/>
                      <a:pt x="639" y="12130"/>
                      <a:pt x="0" y="27451"/>
                    </a:cubicBezTo>
                    <a:close/>
                    <a:moveTo>
                      <a:pt x="27477" y="12768"/>
                    </a:moveTo>
                    <a:cubicBezTo>
                      <a:pt x="35783" y="12768"/>
                      <a:pt x="42173" y="19152"/>
                      <a:pt x="42173" y="27451"/>
                    </a:cubicBezTo>
                    <a:cubicBezTo>
                      <a:pt x="42173" y="35750"/>
                      <a:pt x="35783" y="42134"/>
                      <a:pt x="27477" y="42134"/>
                    </a:cubicBezTo>
                    <a:cubicBezTo>
                      <a:pt x="19170" y="42134"/>
                      <a:pt x="12780" y="35750"/>
                      <a:pt x="12780" y="27451"/>
                    </a:cubicBezTo>
                    <a:cubicBezTo>
                      <a:pt x="13419" y="19152"/>
                      <a:pt x="19809" y="12768"/>
                      <a:pt x="27477" y="12768"/>
                    </a:cubicBezTo>
                    <a:close/>
                  </a:path>
                </a:pathLst>
              </a:custGeom>
              <a:grpFill/>
              <a:ln w="6390" cap="flat">
                <a:noFill/>
                <a:prstDash val="solid"/>
                <a:miter/>
              </a:ln>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spTree>
    <p:extLst>
      <p:ext uri="{BB962C8B-B14F-4D97-AF65-F5344CB8AC3E}">
        <p14:creationId xmlns:p14="http://schemas.microsoft.com/office/powerpoint/2010/main" val="12722620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3F10FFA7-5439-CEDF-738B-0CA923B8AEDF}"/>
              </a:ext>
            </a:extLst>
          </p:cNvPr>
          <p:cNvSpPr txBox="1">
            <a:spLocks/>
          </p:cNvSpPr>
          <p:nvPr/>
        </p:nvSpPr>
        <p:spPr bwMode="gray">
          <a:xfrm>
            <a:off x="896400" y="906411"/>
            <a:ext cx="10467780" cy="436242"/>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R="171450">
              <a:lnSpc>
                <a:spcPts val="1300"/>
              </a:lnSpc>
              <a:spcAft>
                <a:spcPts val="450"/>
              </a:spcAft>
            </a:pPr>
            <a:r>
              <a:rPr lang="en-US" sz="1400" dirty="0">
                <a:latin typeface="Open Sans Light" panose="020B0306030504020204" pitchFamily="34" charset="0"/>
                <a:ea typeface="Open Sans Light" panose="020B0306030504020204" pitchFamily="34" charset="0"/>
                <a:cs typeface="Open Sans Light" panose="020B0306030504020204" pitchFamily="34" charset="0"/>
              </a:rPr>
              <a:t>Our cyber security audit and control services provide attestation or advisory on IT procedures and controls, thus we help UNICEF to demonstrate their sound internal IT controls. Forms and aim of assurance (or advisory) can vary on a wide range, our experts are ready to help selecting the right one, meeting your needs. </a:t>
            </a:r>
          </a:p>
        </p:txBody>
      </p:sp>
      <p:graphicFrame>
        <p:nvGraphicFramePr>
          <p:cNvPr id="3" name="Chart 2">
            <a:extLst>
              <a:ext uri="{FF2B5EF4-FFF2-40B4-BE49-F238E27FC236}">
                <a16:creationId xmlns:a16="http://schemas.microsoft.com/office/drawing/2014/main" id="{E76C3B79-934D-A5A6-A184-BF2B10661FF9}"/>
              </a:ext>
            </a:extLst>
          </p:cNvPr>
          <p:cNvGraphicFramePr/>
          <p:nvPr>
            <p:extLst>
              <p:ext uri="{D42A27DB-BD31-4B8C-83A1-F6EECF244321}">
                <p14:modId xmlns:p14="http://schemas.microsoft.com/office/powerpoint/2010/main" val="4153284647"/>
              </p:ext>
            </p:extLst>
          </p:nvPr>
        </p:nvGraphicFramePr>
        <p:xfrm>
          <a:off x="5933199" y="3297680"/>
          <a:ext cx="4875330" cy="3250220"/>
        </p:xfrm>
        <a:graphic>
          <a:graphicData uri="http://schemas.openxmlformats.org/drawingml/2006/chart">
            <c:chart xmlns:c="http://schemas.openxmlformats.org/drawingml/2006/chart" xmlns:r="http://schemas.openxmlformats.org/officeDocument/2006/relationships" r:id="rId6"/>
          </a:graphicData>
        </a:graphic>
      </p:graphicFrame>
      <p:sp>
        <p:nvSpPr>
          <p:cNvPr id="6" name="Freeform 73">
            <a:extLst>
              <a:ext uri="{FF2B5EF4-FFF2-40B4-BE49-F238E27FC236}">
                <a16:creationId xmlns:a16="http://schemas.microsoft.com/office/drawing/2014/main" id="{FA4CF4E6-0C3D-970D-9238-791D9A019EDD}"/>
              </a:ext>
            </a:extLst>
          </p:cNvPr>
          <p:cNvSpPr>
            <a:spLocks/>
          </p:cNvSpPr>
          <p:nvPr/>
        </p:nvSpPr>
        <p:spPr bwMode="gray">
          <a:xfrm>
            <a:off x="5272234" y="5585699"/>
            <a:ext cx="1854708" cy="142734"/>
          </a:xfrm>
          <a:custGeom>
            <a:avLst/>
            <a:gdLst>
              <a:gd name="T0" fmla="*/ 317996 w 2692400"/>
              <a:gd name="T1" fmla="*/ 0 h 1276350"/>
              <a:gd name="T2" fmla="*/ 241497 w 2692400"/>
              <a:gd name="T3" fmla="*/ 0 h 1276350"/>
              <a:gd name="T4" fmla="*/ 0 w 2692400"/>
              <a:gd name="T5" fmla="*/ 0 h 1276350"/>
              <a:gd name="T6" fmla="*/ 0 60000 65536"/>
              <a:gd name="T7" fmla="*/ 0 60000 65536"/>
              <a:gd name="T8" fmla="*/ 0 60000 65536"/>
              <a:gd name="connsiteX0" fmla="*/ 2809138 w 2809138"/>
              <a:gd name="connsiteY0" fmla="*/ 0 h 1548848"/>
              <a:gd name="connsiteX1" fmla="*/ 2044700 w 2809138"/>
              <a:gd name="connsiteY1" fmla="*/ 1548848 h 1548848"/>
              <a:gd name="connsiteX2" fmla="*/ 0 w 2809138"/>
              <a:gd name="connsiteY2" fmla="*/ 1548848 h 1548848"/>
              <a:gd name="connsiteX0" fmla="*/ 5297774 w 5297774"/>
              <a:gd name="connsiteY0" fmla="*/ 0 h 1548848"/>
              <a:gd name="connsiteX1" fmla="*/ 4533336 w 5297774"/>
              <a:gd name="connsiteY1" fmla="*/ 1548848 h 1548848"/>
              <a:gd name="connsiteX2" fmla="*/ 0 w 5297774"/>
              <a:gd name="connsiteY2" fmla="*/ 1518570 h 1548848"/>
            </a:gdLst>
            <a:ahLst/>
            <a:cxnLst>
              <a:cxn ang="0">
                <a:pos x="connsiteX0" y="connsiteY0"/>
              </a:cxn>
              <a:cxn ang="0">
                <a:pos x="connsiteX1" y="connsiteY1"/>
              </a:cxn>
              <a:cxn ang="0">
                <a:pos x="connsiteX2" y="connsiteY2"/>
              </a:cxn>
            </a:cxnLst>
            <a:rect l="l" t="t" r="r" b="b"/>
            <a:pathLst>
              <a:path w="5297774" h="1548848">
                <a:moveTo>
                  <a:pt x="5297774" y="0"/>
                </a:moveTo>
                <a:lnTo>
                  <a:pt x="4533336" y="1548848"/>
                </a:lnTo>
                <a:lnTo>
                  <a:pt x="0" y="1518570"/>
                </a:lnTo>
              </a:path>
            </a:pathLst>
          </a:custGeom>
          <a:noFill/>
          <a:ln w="12700" algn="ctr">
            <a:solidFill>
              <a:srgbClr val="00A3E0"/>
            </a:solidFill>
            <a:miter lim="800000"/>
            <a:headEnd type="none"/>
            <a:tailEnd type="oval"/>
          </a:ln>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Freeform 76">
            <a:extLst>
              <a:ext uri="{FF2B5EF4-FFF2-40B4-BE49-F238E27FC236}">
                <a16:creationId xmlns:a16="http://schemas.microsoft.com/office/drawing/2014/main" id="{3F584C4A-9D47-6566-2976-3D4FD9042E2A}"/>
              </a:ext>
            </a:extLst>
          </p:cNvPr>
          <p:cNvSpPr>
            <a:spLocks/>
          </p:cNvSpPr>
          <p:nvPr/>
        </p:nvSpPr>
        <p:spPr bwMode="gray">
          <a:xfrm>
            <a:off x="5296647" y="6260758"/>
            <a:ext cx="2525505" cy="205506"/>
          </a:xfrm>
          <a:custGeom>
            <a:avLst/>
            <a:gdLst>
              <a:gd name="T0" fmla="*/ 5545886 w 2692400"/>
              <a:gd name="T1" fmla="*/ 0 h 1276350"/>
              <a:gd name="T2" fmla="*/ 4211733 w 2692400"/>
              <a:gd name="T3" fmla="*/ 15 h 1276350"/>
              <a:gd name="T4" fmla="*/ 0 w 2692400"/>
              <a:gd name="T5" fmla="*/ 15 h 1276350"/>
              <a:gd name="T6" fmla="*/ 0 60000 65536"/>
              <a:gd name="T7" fmla="*/ 0 60000 65536"/>
              <a:gd name="T8" fmla="*/ 0 60000 65536"/>
              <a:gd name="connsiteX0" fmla="*/ 2743121 w 2743121"/>
              <a:gd name="connsiteY0" fmla="*/ 0 h 1383940"/>
              <a:gd name="connsiteX1" fmla="*/ 2044700 w 2743121"/>
              <a:gd name="connsiteY1" fmla="*/ 1383940 h 1383940"/>
              <a:gd name="connsiteX2" fmla="*/ 0 w 2743121"/>
              <a:gd name="connsiteY2" fmla="*/ 1383940 h 1383940"/>
              <a:gd name="connsiteX0" fmla="*/ 4690816 w 4690816"/>
              <a:gd name="connsiteY0" fmla="*/ 0 h 1399310"/>
              <a:gd name="connsiteX1" fmla="*/ 3992395 w 4690816"/>
              <a:gd name="connsiteY1" fmla="*/ 1383940 h 1399310"/>
              <a:gd name="connsiteX2" fmla="*/ 0 w 4690816"/>
              <a:gd name="connsiteY2" fmla="*/ 1399310 h 1399310"/>
            </a:gdLst>
            <a:ahLst/>
            <a:cxnLst>
              <a:cxn ang="0">
                <a:pos x="connsiteX0" y="connsiteY0"/>
              </a:cxn>
              <a:cxn ang="0">
                <a:pos x="connsiteX1" y="connsiteY1"/>
              </a:cxn>
              <a:cxn ang="0">
                <a:pos x="connsiteX2" y="connsiteY2"/>
              </a:cxn>
            </a:cxnLst>
            <a:rect l="l" t="t" r="r" b="b"/>
            <a:pathLst>
              <a:path w="4690816" h="1399310">
                <a:moveTo>
                  <a:pt x="4690816" y="0"/>
                </a:moveTo>
                <a:lnTo>
                  <a:pt x="3992395" y="1383940"/>
                </a:lnTo>
                <a:lnTo>
                  <a:pt x="0" y="1399310"/>
                </a:lnTo>
              </a:path>
            </a:pathLst>
          </a:custGeom>
          <a:noFill/>
          <a:ln w="12700" algn="ctr">
            <a:solidFill>
              <a:srgbClr val="0076A8"/>
            </a:solidFill>
            <a:miter lim="800000"/>
            <a:headEnd/>
            <a:tailEnd type="oval"/>
          </a:ln>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 name="Freeform 77">
            <a:extLst>
              <a:ext uri="{FF2B5EF4-FFF2-40B4-BE49-F238E27FC236}">
                <a16:creationId xmlns:a16="http://schemas.microsoft.com/office/drawing/2014/main" id="{CF1E35BC-3C0C-2D50-E3A3-53473BAB245C}"/>
              </a:ext>
            </a:extLst>
          </p:cNvPr>
          <p:cNvSpPr>
            <a:spLocks/>
          </p:cNvSpPr>
          <p:nvPr/>
        </p:nvSpPr>
        <p:spPr bwMode="gray">
          <a:xfrm flipV="1">
            <a:off x="5296647" y="3538256"/>
            <a:ext cx="2508282" cy="261006"/>
          </a:xfrm>
          <a:custGeom>
            <a:avLst/>
            <a:gdLst>
              <a:gd name="T0" fmla="*/ 6702926 w 2692400"/>
              <a:gd name="T1" fmla="*/ 0 h 1276350"/>
              <a:gd name="T2" fmla="*/ 5090428 w 2692400"/>
              <a:gd name="T3" fmla="*/ 23 h 1276350"/>
              <a:gd name="T4" fmla="*/ 0 w 2692400"/>
              <a:gd name="T5" fmla="*/ 23 h 1276350"/>
              <a:gd name="T6" fmla="*/ 0 60000 65536"/>
              <a:gd name="T7" fmla="*/ 0 60000 65536"/>
              <a:gd name="T8" fmla="*/ 0 60000 65536"/>
              <a:gd name="connsiteX0" fmla="*/ 2788334 w 2788334"/>
              <a:gd name="connsiteY0" fmla="*/ 0 h 1459308"/>
              <a:gd name="connsiteX1" fmla="*/ 2044700 w 2788334"/>
              <a:gd name="connsiteY1" fmla="*/ 1459308 h 1459308"/>
              <a:gd name="connsiteX2" fmla="*/ 0 w 2788334"/>
              <a:gd name="connsiteY2" fmla="*/ 1459308 h 1459308"/>
              <a:gd name="connsiteX0" fmla="*/ 3189201 w 3189201"/>
              <a:gd name="connsiteY0" fmla="*/ 0 h 1459308"/>
              <a:gd name="connsiteX1" fmla="*/ 2445567 w 3189201"/>
              <a:gd name="connsiteY1" fmla="*/ 1459308 h 1459308"/>
              <a:gd name="connsiteX2" fmla="*/ 0 w 3189201"/>
              <a:gd name="connsiteY2" fmla="*/ 1438979 h 1459308"/>
              <a:gd name="connsiteX0" fmla="*/ 3192627 w 3192627"/>
              <a:gd name="connsiteY0" fmla="*/ 0 h 1459308"/>
              <a:gd name="connsiteX1" fmla="*/ 2448993 w 3192627"/>
              <a:gd name="connsiteY1" fmla="*/ 1459308 h 1459308"/>
              <a:gd name="connsiteX2" fmla="*/ 0 w 3192627"/>
              <a:gd name="connsiteY2" fmla="*/ 1459308 h 1459308"/>
            </a:gdLst>
            <a:ahLst/>
            <a:cxnLst>
              <a:cxn ang="0">
                <a:pos x="connsiteX0" y="connsiteY0"/>
              </a:cxn>
              <a:cxn ang="0">
                <a:pos x="connsiteX1" y="connsiteY1"/>
              </a:cxn>
              <a:cxn ang="0">
                <a:pos x="connsiteX2" y="connsiteY2"/>
              </a:cxn>
            </a:cxnLst>
            <a:rect l="l" t="t" r="r" b="b"/>
            <a:pathLst>
              <a:path w="3192627" h="1459308">
                <a:moveTo>
                  <a:pt x="3192627" y="0"/>
                </a:moveTo>
                <a:lnTo>
                  <a:pt x="2448993" y="1459308"/>
                </a:lnTo>
                <a:lnTo>
                  <a:pt x="0" y="1459308"/>
                </a:lnTo>
              </a:path>
            </a:pathLst>
          </a:custGeom>
          <a:noFill/>
          <a:ln w="12700" algn="ctr">
            <a:solidFill>
              <a:srgbClr val="00A3E0"/>
            </a:solidFill>
            <a:miter lim="800000"/>
            <a:headEnd type="none"/>
            <a:tailEnd type="oval"/>
          </a:ln>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Freeform 77">
            <a:extLst>
              <a:ext uri="{FF2B5EF4-FFF2-40B4-BE49-F238E27FC236}">
                <a16:creationId xmlns:a16="http://schemas.microsoft.com/office/drawing/2014/main" id="{3B2EFC5A-775A-32B0-BF8D-678ECEE4D35C}"/>
              </a:ext>
            </a:extLst>
          </p:cNvPr>
          <p:cNvSpPr>
            <a:spLocks/>
          </p:cNvSpPr>
          <p:nvPr/>
        </p:nvSpPr>
        <p:spPr bwMode="gray">
          <a:xfrm flipH="1" flipV="1">
            <a:off x="8939918" y="3535900"/>
            <a:ext cx="2579863" cy="223295"/>
          </a:xfrm>
          <a:custGeom>
            <a:avLst/>
            <a:gdLst>
              <a:gd name="T0" fmla="*/ 6702926 w 2692400"/>
              <a:gd name="T1" fmla="*/ 0 h 1276350"/>
              <a:gd name="T2" fmla="*/ 5090428 w 2692400"/>
              <a:gd name="T3" fmla="*/ 23 h 1276350"/>
              <a:gd name="T4" fmla="*/ 0 w 2692400"/>
              <a:gd name="T5" fmla="*/ 23 h 1276350"/>
              <a:gd name="T6" fmla="*/ 0 60000 65536"/>
              <a:gd name="T7" fmla="*/ 0 60000 65536"/>
              <a:gd name="T8" fmla="*/ 0 60000 65536"/>
              <a:gd name="connsiteX0" fmla="*/ 2788334 w 2788334"/>
              <a:gd name="connsiteY0" fmla="*/ 0 h 1459308"/>
              <a:gd name="connsiteX1" fmla="*/ 2044700 w 2788334"/>
              <a:gd name="connsiteY1" fmla="*/ 1459308 h 1459308"/>
              <a:gd name="connsiteX2" fmla="*/ 0 w 2788334"/>
              <a:gd name="connsiteY2" fmla="*/ 1459308 h 1459308"/>
              <a:gd name="connsiteX0" fmla="*/ 3189201 w 3189201"/>
              <a:gd name="connsiteY0" fmla="*/ 0 h 1459308"/>
              <a:gd name="connsiteX1" fmla="*/ 2445567 w 3189201"/>
              <a:gd name="connsiteY1" fmla="*/ 1459308 h 1459308"/>
              <a:gd name="connsiteX2" fmla="*/ 0 w 3189201"/>
              <a:gd name="connsiteY2" fmla="*/ 1438979 h 1459308"/>
              <a:gd name="connsiteX0" fmla="*/ 3192627 w 3192627"/>
              <a:gd name="connsiteY0" fmla="*/ 0 h 1459308"/>
              <a:gd name="connsiteX1" fmla="*/ 2448993 w 3192627"/>
              <a:gd name="connsiteY1" fmla="*/ 1459308 h 1459308"/>
              <a:gd name="connsiteX2" fmla="*/ 0 w 3192627"/>
              <a:gd name="connsiteY2" fmla="*/ 1459308 h 1459308"/>
            </a:gdLst>
            <a:ahLst/>
            <a:cxnLst>
              <a:cxn ang="0">
                <a:pos x="connsiteX0" y="connsiteY0"/>
              </a:cxn>
              <a:cxn ang="0">
                <a:pos x="connsiteX1" y="connsiteY1"/>
              </a:cxn>
              <a:cxn ang="0">
                <a:pos x="connsiteX2" y="connsiteY2"/>
              </a:cxn>
            </a:cxnLst>
            <a:rect l="l" t="t" r="r" b="b"/>
            <a:pathLst>
              <a:path w="3192627" h="1459308">
                <a:moveTo>
                  <a:pt x="3192627" y="0"/>
                </a:moveTo>
                <a:lnTo>
                  <a:pt x="2448993" y="1459308"/>
                </a:lnTo>
                <a:lnTo>
                  <a:pt x="0" y="1459308"/>
                </a:lnTo>
              </a:path>
            </a:pathLst>
          </a:custGeom>
          <a:noFill/>
          <a:ln w="12700" algn="ctr">
            <a:solidFill>
              <a:srgbClr val="0076A8"/>
            </a:solidFill>
            <a:miter lim="800000"/>
            <a:headEnd/>
            <a:tailEnd type="oval"/>
          </a:ln>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Freeform 73">
            <a:extLst>
              <a:ext uri="{FF2B5EF4-FFF2-40B4-BE49-F238E27FC236}">
                <a16:creationId xmlns:a16="http://schemas.microsoft.com/office/drawing/2014/main" id="{6586F6AC-7E26-E3B1-57BE-D74FA721FEB1}"/>
              </a:ext>
            </a:extLst>
          </p:cNvPr>
          <p:cNvSpPr>
            <a:spLocks/>
          </p:cNvSpPr>
          <p:nvPr/>
        </p:nvSpPr>
        <p:spPr bwMode="gray">
          <a:xfrm flipH="1">
            <a:off x="9564455" y="5661899"/>
            <a:ext cx="1955327" cy="108229"/>
          </a:xfrm>
          <a:custGeom>
            <a:avLst/>
            <a:gdLst>
              <a:gd name="T0" fmla="*/ 317996 w 2692400"/>
              <a:gd name="T1" fmla="*/ 0 h 1276350"/>
              <a:gd name="T2" fmla="*/ 241497 w 2692400"/>
              <a:gd name="T3" fmla="*/ 0 h 1276350"/>
              <a:gd name="T4" fmla="*/ 0 w 2692400"/>
              <a:gd name="T5" fmla="*/ 0 h 1276350"/>
              <a:gd name="T6" fmla="*/ 0 60000 65536"/>
              <a:gd name="T7" fmla="*/ 0 60000 65536"/>
              <a:gd name="T8" fmla="*/ 0 60000 65536"/>
              <a:gd name="connsiteX0" fmla="*/ 2809138 w 2809138"/>
              <a:gd name="connsiteY0" fmla="*/ 0 h 1548848"/>
              <a:gd name="connsiteX1" fmla="*/ 2044700 w 2809138"/>
              <a:gd name="connsiteY1" fmla="*/ 1548848 h 1548848"/>
              <a:gd name="connsiteX2" fmla="*/ 0 w 2809138"/>
              <a:gd name="connsiteY2" fmla="*/ 1548848 h 1548848"/>
              <a:gd name="connsiteX0" fmla="*/ 5297774 w 5297774"/>
              <a:gd name="connsiteY0" fmla="*/ 0 h 1548848"/>
              <a:gd name="connsiteX1" fmla="*/ 4533336 w 5297774"/>
              <a:gd name="connsiteY1" fmla="*/ 1548848 h 1548848"/>
              <a:gd name="connsiteX2" fmla="*/ 0 w 5297774"/>
              <a:gd name="connsiteY2" fmla="*/ 1518570 h 1548848"/>
            </a:gdLst>
            <a:ahLst/>
            <a:cxnLst>
              <a:cxn ang="0">
                <a:pos x="connsiteX0" y="connsiteY0"/>
              </a:cxn>
              <a:cxn ang="0">
                <a:pos x="connsiteX1" y="connsiteY1"/>
              </a:cxn>
              <a:cxn ang="0">
                <a:pos x="connsiteX2" y="connsiteY2"/>
              </a:cxn>
            </a:cxnLst>
            <a:rect l="l" t="t" r="r" b="b"/>
            <a:pathLst>
              <a:path w="5297774" h="1548848">
                <a:moveTo>
                  <a:pt x="5297774" y="0"/>
                </a:moveTo>
                <a:lnTo>
                  <a:pt x="4533336" y="1548848"/>
                </a:lnTo>
                <a:lnTo>
                  <a:pt x="0" y="1518570"/>
                </a:lnTo>
              </a:path>
            </a:pathLst>
          </a:custGeom>
          <a:noFill/>
          <a:ln w="12700" algn="ctr">
            <a:solidFill>
              <a:srgbClr val="0076A8"/>
            </a:solidFill>
            <a:miter lim="800000"/>
            <a:headEnd/>
            <a:tailEnd type="oval"/>
          </a:ln>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Freeform 76">
            <a:extLst>
              <a:ext uri="{FF2B5EF4-FFF2-40B4-BE49-F238E27FC236}">
                <a16:creationId xmlns:a16="http://schemas.microsoft.com/office/drawing/2014/main" id="{9111DAA6-A317-0803-E901-9FE67403227D}"/>
              </a:ext>
            </a:extLst>
          </p:cNvPr>
          <p:cNvSpPr>
            <a:spLocks/>
          </p:cNvSpPr>
          <p:nvPr/>
        </p:nvSpPr>
        <p:spPr bwMode="gray">
          <a:xfrm flipH="1">
            <a:off x="9003669" y="6222010"/>
            <a:ext cx="2516111" cy="205506"/>
          </a:xfrm>
          <a:custGeom>
            <a:avLst/>
            <a:gdLst>
              <a:gd name="T0" fmla="*/ 5545886 w 2692400"/>
              <a:gd name="T1" fmla="*/ 0 h 1276350"/>
              <a:gd name="T2" fmla="*/ 4211733 w 2692400"/>
              <a:gd name="T3" fmla="*/ 15 h 1276350"/>
              <a:gd name="T4" fmla="*/ 0 w 2692400"/>
              <a:gd name="T5" fmla="*/ 15 h 1276350"/>
              <a:gd name="T6" fmla="*/ 0 60000 65536"/>
              <a:gd name="T7" fmla="*/ 0 60000 65536"/>
              <a:gd name="T8" fmla="*/ 0 60000 65536"/>
              <a:gd name="connsiteX0" fmla="*/ 2743121 w 2743121"/>
              <a:gd name="connsiteY0" fmla="*/ 0 h 1383940"/>
              <a:gd name="connsiteX1" fmla="*/ 2044700 w 2743121"/>
              <a:gd name="connsiteY1" fmla="*/ 1383940 h 1383940"/>
              <a:gd name="connsiteX2" fmla="*/ 0 w 2743121"/>
              <a:gd name="connsiteY2" fmla="*/ 1383940 h 1383940"/>
              <a:gd name="connsiteX0" fmla="*/ 4690816 w 4690816"/>
              <a:gd name="connsiteY0" fmla="*/ 0 h 1399310"/>
              <a:gd name="connsiteX1" fmla="*/ 3992395 w 4690816"/>
              <a:gd name="connsiteY1" fmla="*/ 1383940 h 1399310"/>
              <a:gd name="connsiteX2" fmla="*/ 0 w 4690816"/>
              <a:gd name="connsiteY2" fmla="*/ 1399310 h 1399310"/>
            </a:gdLst>
            <a:ahLst/>
            <a:cxnLst>
              <a:cxn ang="0">
                <a:pos x="connsiteX0" y="connsiteY0"/>
              </a:cxn>
              <a:cxn ang="0">
                <a:pos x="connsiteX1" y="connsiteY1"/>
              </a:cxn>
              <a:cxn ang="0">
                <a:pos x="connsiteX2" y="connsiteY2"/>
              </a:cxn>
            </a:cxnLst>
            <a:rect l="l" t="t" r="r" b="b"/>
            <a:pathLst>
              <a:path w="4690816" h="1399310">
                <a:moveTo>
                  <a:pt x="4690816" y="0"/>
                </a:moveTo>
                <a:lnTo>
                  <a:pt x="3992395" y="1383940"/>
                </a:lnTo>
                <a:lnTo>
                  <a:pt x="0" y="1399310"/>
                </a:lnTo>
              </a:path>
            </a:pathLst>
          </a:custGeom>
          <a:noFill/>
          <a:ln w="12700" algn="ctr">
            <a:solidFill>
              <a:srgbClr val="00A3E0"/>
            </a:solidFill>
            <a:miter lim="800000"/>
            <a:headEnd type="none"/>
            <a:tailEnd type="oval"/>
          </a:ln>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Freeform 77">
            <a:extLst>
              <a:ext uri="{FF2B5EF4-FFF2-40B4-BE49-F238E27FC236}">
                <a16:creationId xmlns:a16="http://schemas.microsoft.com/office/drawing/2014/main" id="{7C8A0E1F-DBDF-B9D5-CDAC-0D9E7815F2F4}"/>
              </a:ext>
            </a:extLst>
          </p:cNvPr>
          <p:cNvSpPr>
            <a:spLocks/>
          </p:cNvSpPr>
          <p:nvPr/>
        </p:nvSpPr>
        <p:spPr bwMode="gray">
          <a:xfrm flipV="1">
            <a:off x="5272234" y="4441065"/>
            <a:ext cx="2112873" cy="261006"/>
          </a:xfrm>
          <a:custGeom>
            <a:avLst/>
            <a:gdLst>
              <a:gd name="T0" fmla="*/ 6702926 w 2692400"/>
              <a:gd name="T1" fmla="*/ 0 h 1276350"/>
              <a:gd name="T2" fmla="*/ 5090428 w 2692400"/>
              <a:gd name="T3" fmla="*/ 23 h 1276350"/>
              <a:gd name="T4" fmla="*/ 0 w 2692400"/>
              <a:gd name="T5" fmla="*/ 23 h 1276350"/>
              <a:gd name="T6" fmla="*/ 0 60000 65536"/>
              <a:gd name="T7" fmla="*/ 0 60000 65536"/>
              <a:gd name="T8" fmla="*/ 0 60000 65536"/>
              <a:gd name="connsiteX0" fmla="*/ 2788334 w 2788334"/>
              <a:gd name="connsiteY0" fmla="*/ 0 h 1459308"/>
              <a:gd name="connsiteX1" fmla="*/ 2044700 w 2788334"/>
              <a:gd name="connsiteY1" fmla="*/ 1459308 h 1459308"/>
              <a:gd name="connsiteX2" fmla="*/ 0 w 2788334"/>
              <a:gd name="connsiteY2" fmla="*/ 1459308 h 1459308"/>
              <a:gd name="connsiteX0" fmla="*/ 3189201 w 3189201"/>
              <a:gd name="connsiteY0" fmla="*/ 0 h 1459308"/>
              <a:gd name="connsiteX1" fmla="*/ 2445567 w 3189201"/>
              <a:gd name="connsiteY1" fmla="*/ 1459308 h 1459308"/>
              <a:gd name="connsiteX2" fmla="*/ 0 w 3189201"/>
              <a:gd name="connsiteY2" fmla="*/ 1438979 h 1459308"/>
              <a:gd name="connsiteX0" fmla="*/ 3192627 w 3192627"/>
              <a:gd name="connsiteY0" fmla="*/ 0 h 1459308"/>
              <a:gd name="connsiteX1" fmla="*/ 2448993 w 3192627"/>
              <a:gd name="connsiteY1" fmla="*/ 1459308 h 1459308"/>
              <a:gd name="connsiteX2" fmla="*/ 0 w 3192627"/>
              <a:gd name="connsiteY2" fmla="*/ 1459308 h 1459308"/>
            </a:gdLst>
            <a:ahLst/>
            <a:cxnLst>
              <a:cxn ang="0">
                <a:pos x="connsiteX0" y="connsiteY0"/>
              </a:cxn>
              <a:cxn ang="0">
                <a:pos x="connsiteX1" y="connsiteY1"/>
              </a:cxn>
              <a:cxn ang="0">
                <a:pos x="connsiteX2" y="connsiteY2"/>
              </a:cxn>
            </a:cxnLst>
            <a:rect l="l" t="t" r="r" b="b"/>
            <a:pathLst>
              <a:path w="3192627" h="1459308">
                <a:moveTo>
                  <a:pt x="3192627" y="0"/>
                </a:moveTo>
                <a:lnTo>
                  <a:pt x="2448993" y="1459308"/>
                </a:lnTo>
                <a:lnTo>
                  <a:pt x="0" y="1459308"/>
                </a:lnTo>
              </a:path>
            </a:pathLst>
          </a:custGeom>
          <a:noFill/>
          <a:ln w="12700" algn="ctr">
            <a:solidFill>
              <a:srgbClr val="0076A8"/>
            </a:solidFill>
            <a:miter lim="800000"/>
            <a:headEnd type="none"/>
            <a:tailEnd type="oval"/>
          </a:ln>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reeform 77">
            <a:extLst>
              <a:ext uri="{FF2B5EF4-FFF2-40B4-BE49-F238E27FC236}">
                <a16:creationId xmlns:a16="http://schemas.microsoft.com/office/drawing/2014/main" id="{FA083401-4828-5EE1-D8BD-A57700DDFCAB}"/>
              </a:ext>
            </a:extLst>
          </p:cNvPr>
          <p:cNvSpPr>
            <a:spLocks/>
          </p:cNvSpPr>
          <p:nvPr/>
        </p:nvSpPr>
        <p:spPr bwMode="gray">
          <a:xfrm flipH="1" flipV="1">
            <a:off x="9412309" y="4441574"/>
            <a:ext cx="2107471" cy="261006"/>
          </a:xfrm>
          <a:custGeom>
            <a:avLst/>
            <a:gdLst>
              <a:gd name="T0" fmla="*/ 6702926 w 2692400"/>
              <a:gd name="T1" fmla="*/ 0 h 1276350"/>
              <a:gd name="T2" fmla="*/ 5090428 w 2692400"/>
              <a:gd name="T3" fmla="*/ 23 h 1276350"/>
              <a:gd name="T4" fmla="*/ 0 w 2692400"/>
              <a:gd name="T5" fmla="*/ 23 h 1276350"/>
              <a:gd name="T6" fmla="*/ 0 60000 65536"/>
              <a:gd name="T7" fmla="*/ 0 60000 65536"/>
              <a:gd name="T8" fmla="*/ 0 60000 65536"/>
              <a:gd name="connsiteX0" fmla="*/ 2788334 w 2788334"/>
              <a:gd name="connsiteY0" fmla="*/ 0 h 1459308"/>
              <a:gd name="connsiteX1" fmla="*/ 2044700 w 2788334"/>
              <a:gd name="connsiteY1" fmla="*/ 1459308 h 1459308"/>
              <a:gd name="connsiteX2" fmla="*/ 0 w 2788334"/>
              <a:gd name="connsiteY2" fmla="*/ 1459308 h 1459308"/>
              <a:gd name="connsiteX0" fmla="*/ 3189201 w 3189201"/>
              <a:gd name="connsiteY0" fmla="*/ 0 h 1459308"/>
              <a:gd name="connsiteX1" fmla="*/ 2445567 w 3189201"/>
              <a:gd name="connsiteY1" fmla="*/ 1459308 h 1459308"/>
              <a:gd name="connsiteX2" fmla="*/ 0 w 3189201"/>
              <a:gd name="connsiteY2" fmla="*/ 1438979 h 1459308"/>
              <a:gd name="connsiteX0" fmla="*/ 3192627 w 3192627"/>
              <a:gd name="connsiteY0" fmla="*/ 0 h 1459308"/>
              <a:gd name="connsiteX1" fmla="*/ 2448993 w 3192627"/>
              <a:gd name="connsiteY1" fmla="*/ 1459308 h 1459308"/>
              <a:gd name="connsiteX2" fmla="*/ 0 w 3192627"/>
              <a:gd name="connsiteY2" fmla="*/ 1459308 h 1459308"/>
            </a:gdLst>
            <a:ahLst/>
            <a:cxnLst>
              <a:cxn ang="0">
                <a:pos x="connsiteX0" y="connsiteY0"/>
              </a:cxn>
              <a:cxn ang="0">
                <a:pos x="connsiteX1" y="connsiteY1"/>
              </a:cxn>
              <a:cxn ang="0">
                <a:pos x="connsiteX2" y="connsiteY2"/>
              </a:cxn>
            </a:cxnLst>
            <a:rect l="l" t="t" r="r" b="b"/>
            <a:pathLst>
              <a:path w="3192627" h="1459308">
                <a:moveTo>
                  <a:pt x="3192627" y="0"/>
                </a:moveTo>
                <a:lnTo>
                  <a:pt x="2448993" y="1459308"/>
                </a:lnTo>
                <a:lnTo>
                  <a:pt x="0" y="1459308"/>
                </a:lnTo>
              </a:path>
            </a:pathLst>
          </a:custGeom>
          <a:noFill/>
          <a:ln w="12700" algn="ctr">
            <a:solidFill>
              <a:srgbClr val="00A3E0"/>
            </a:solidFill>
            <a:miter lim="800000"/>
            <a:headEnd type="none"/>
            <a:tailEnd type="oval"/>
          </a:ln>
          <a:extLst>
            <a:ext uri="{909E8E84-426E-40DD-AFC4-6F175D3DCCD1}">
              <a14:hiddenFill xmlns:a14="http://schemas.microsoft.com/office/drawing/2010/main">
                <a:solidFill>
                  <a:srgbClr val="FFFFFF"/>
                </a:solidFill>
              </a14:hiddenFill>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Rectangle 80">
            <a:extLst>
              <a:ext uri="{FF2B5EF4-FFF2-40B4-BE49-F238E27FC236}">
                <a16:creationId xmlns:a16="http://schemas.microsoft.com/office/drawing/2014/main" id="{42F9B486-5F7E-C1D5-9B1B-3EE15AEC31D2}"/>
              </a:ext>
            </a:extLst>
          </p:cNvPr>
          <p:cNvSpPr>
            <a:spLocks noChangeArrowheads="1"/>
          </p:cNvSpPr>
          <p:nvPr/>
        </p:nvSpPr>
        <p:spPr bwMode="auto">
          <a:xfrm>
            <a:off x="5244727" y="5176744"/>
            <a:ext cx="1758775" cy="57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72000" rIns="72000" bIns="7200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Threat simulation with real-life-like scenarios and threat intelligence</a:t>
            </a:r>
            <a:r>
              <a:rPr kumimoji="0" lang="hu-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based attack vectors, in collaboration with Blue Team.</a:t>
            </a:r>
          </a:p>
        </p:txBody>
      </p:sp>
      <p:sp>
        <p:nvSpPr>
          <p:cNvPr id="17" name="Rectangle 78">
            <a:extLst>
              <a:ext uri="{FF2B5EF4-FFF2-40B4-BE49-F238E27FC236}">
                <a16:creationId xmlns:a16="http://schemas.microsoft.com/office/drawing/2014/main" id="{A529D001-5B8C-73BD-ACD7-60B2CE3D0FB4}"/>
              </a:ext>
            </a:extLst>
          </p:cNvPr>
          <p:cNvSpPr>
            <a:spLocks noChangeArrowheads="1"/>
          </p:cNvSpPr>
          <p:nvPr/>
        </p:nvSpPr>
        <p:spPr bwMode="auto">
          <a:xfrm>
            <a:off x="5272234" y="3528002"/>
            <a:ext cx="2076435" cy="555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Application level penetration testing of web applications, mobile applications and desktop applications. Depending on scope, service may be based on reverse engineering and source code security analysis. </a:t>
            </a:r>
          </a:p>
        </p:txBody>
      </p:sp>
      <p:sp>
        <p:nvSpPr>
          <p:cNvPr id="18" name="Rectangle 79">
            <a:extLst>
              <a:ext uri="{FF2B5EF4-FFF2-40B4-BE49-F238E27FC236}">
                <a16:creationId xmlns:a16="http://schemas.microsoft.com/office/drawing/2014/main" id="{19A0DFB9-2DCF-05E3-E8B8-BE268FF0C0F1}"/>
              </a:ext>
            </a:extLst>
          </p:cNvPr>
          <p:cNvSpPr>
            <a:spLocks noChangeArrowheads="1"/>
          </p:cNvSpPr>
          <p:nvPr/>
        </p:nvSpPr>
        <p:spPr bwMode="auto">
          <a:xfrm>
            <a:off x="5258547" y="4428761"/>
            <a:ext cx="1624100" cy="51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Infrastructure level security testing of enterprise networks and connected appliances, revealing network level issues and attack vectors, including cloud environ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Rectangle 81">
            <a:extLst>
              <a:ext uri="{FF2B5EF4-FFF2-40B4-BE49-F238E27FC236}">
                <a16:creationId xmlns:a16="http://schemas.microsoft.com/office/drawing/2014/main" id="{FA1C2A91-BB36-4A55-AE67-8D44A7AB100B}"/>
              </a:ext>
            </a:extLst>
          </p:cNvPr>
          <p:cNvSpPr>
            <a:spLocks noChangeArrowheads="1"/>
          </p:cNvSpPr>
          <p:nvPr/>
        </p:nvSpPr>
        <p:spPr bwMode="auto">
          <a:xfrm>
            <a:off x="9525263" y="3510315"/>
            <a:ext cx="1982457" cy="40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72000" rIns="72000" bIns="72000">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omplete support </a:t>
            </a:r>
            <a:r>
              <a:rPr kumimoji="0" lang="en-HU" altLang="it-IT" sz="7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for forensic </a:t>
            </a:r>
            <a:r>
              <a:rPr kumimoji="0" lang="en-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scenarios that include digital evidence acquisition, handling and analysis.</a:t>
            </a:r>
            <a:endPar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Rectangle 82">
            <a:extLst>
              <a:ext uri="{FF2B5EF4-FFF2-40B4-BE49-F238E27FC236}">
                <a16:creationId xmlns:a16="http://schemas.microsoft.com/office/drawing/2014/main" id="{2F54DF7F-4879-FA02-C7EE-F146A74A6A7A}"/>
              </a:ext>
            </a:extLst>
          </p:cNvPr>
          <p:cNvSpPr>
            <a:spLocks noChangeArrowheads="1"/>
          </p:cNvSpPr>
          <p:nvPr/>
        </p:nvSpPr>
        <p:spPr bwMode="auto">
          <a:xfrm>
            <a:off x="9802623" y="4443216"/>
            <a:ext cx="1741183" cy="550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24/7 readiness to help clients with on-site security support and service</a:t>
            </a:r>
            <a:r>
              <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data</a:t>
            </a:r>
            <a:r>
              <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 and </a:t>
            </a:r>
            <a:r>
              <a:rPr kumimoji="0" lang="en-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system</a:t>
            </a:r>
            <a:r>
              <a:rPr kumimoji="0" lang="hu-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br>
              <a:rPr kumimoji="0" lang="hu-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HU"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recovery.</a:t>
            </a:r>
            <a:endPar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Rectangle 83">
            <a:extLst>
              <a:ext uri="{FF2B5EF4-FFF2-40B4-BE49-F238E27FC236}">
                <a16:creationId xmlns:a16="http://schemas.microsoft.com/office/drawing/2014/main" id="{2C82C8C4-464D-BCF0-B07E-F1D1FC2DA7A1}"/>
              </a:ext>
            </a:extLst>
          </p:cNvPr>
          <p:cNvSpPr>
            <a:spLocks noChangeArrowheads="1"/>
          </p:cNvSpPr>
          <p:nvPr/>
        </p:nvSpPr>
        <p:spPr bwMode="auto">
          <a:xfrm>
            <a:off x="9801762" y="5242010"/>
            <a:ext cx="1736962" cy="5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b">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Hardware level investigation and attack of components, focusing on the electronics, low level debug interfaces, firmware extraction and other attacks.</a:t>
            </a:r>
          </a:p>
        </p:txBody>
      </p:sp>
      <p:sp>
        <p:nvSpPr>
          <p:cNvPr id="22" name="Rectangle 84">
            <a:extLst>
              <a:ext uri="{FF2B5EF4-FFF2-40B4-BE49-F238E27FC236}">
                <a16:creationId xmlns:a16="http://schemas.microsoft.com/office/drawing/2014/main" id="{78A3EBD6-5B43-CACC-FB92-3D0344E6EAFD}"/>
              </a:ext>
            </a:extLst>
          </p:cNvPr>
          <p:cNvSpPr>
            <a:spLocks noChangeArrowheads="1"/>
          </p:cNvSpPr>
          <p:nvPr/>
        </p:nvSpPr>
        <p:spPr bwMode="auto">
          <a:xfrm>
            <a:off x="9408887" y="6094442"/>
            <a:ext cx="2134716" cy="342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b">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Cyber strategy maturity assessment and advisory. Support in designing cyber security roadmaps and action plans.</a:t>
            </a:r>
          </a:p>
        </p:txBody>
      </p:sp>
      <p:sp>
        <p:nvSpPr>
          <p:cNvPr id="23" name="Rectangle 85">
            <a:extLst>
              <a:ext uri="{FF2B5EF4-FFF2-40B4-BE49-F238E27FC236}">
                <a16:creationId xmlns:a16="http://schemas.microsoft.com/office/drawing/2014/main" id="{88B95538-2071-FC18-F086-B60E68945084}"/>
              </a:ext>
            </a:extLst>
          </p:cNvPr>
          <p:cNvSpPr>
            <a:spLocks noChangeArrowheads="1"/>
          </p:cNvSpPr>
          <p:nvPr/>
        </p:nvSpPr>
        <p:spPr bwMode="auto">
          <a:xfrm>
            <a:off x="5244728" y="6042762"/>
            <a:ext cx="2089274" cy="42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72000" rIns="72000" bIns="72000" anchor="b">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altLang="it-IT" sz="700" dirty="0">
                <a:latin typeface="Open Sans Light" panose="020B0306030504020204" pitchFamily="34" charset="0"/>
                <a:ea typeface="Open Sans Light" panose="020B0306030504020204" pitchFamily="34" charset="0"/>
                <a:cs typeface="Open Sans Light" panose="020B0306030504020204" pitchFamily="34" charset="0"/>
              </a:rPr>
              <a:t>S</a:t>
            </a:r>
            <a:r>
              <a:rPr kumimoji="0" lang="en-GB"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election and implementation of </a:t>
            </a:r>
            <a:r>
              <a:rPr lang="en-GB" altLang="it-IT" sz="700" dirty="0">
                <a:latin typeface="Open Sans Light" panose="020B0306030504020204" pitchFamily="34" charset="0"/>
                <a:ea typeface="Open Sans Light" panose="020B0306030504020204" pitchFamily="34" charset="0"/>
                <a:cs typeface="Open Sans Light" panose="020B0306030504020204" pitchFamily="34" charset="0"/>
              </a:rPr>
              <a:t>systems and solutions supporting the cyber security operations, including identity management, log analysis, data leakage prevention or fraud prevention.</a:t>
            </a:r>
            <a:endParaRPr kumimoji="0" lang="en-US" altLang="it-IT" sz="7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5" name="Oval 54">
            <a:extLst>
              <a:ext uri="{FF2B5EF4-FFF2-40B4-BE49-F238E27FC236}">
                <a16:creationId xmlns:a16="http://schemas.microsoft.com/office/drawing/2014/main" id="{04A3DA05-915B-4FF1-EE6E-3CF7FBD92429}"/>
              </a:ext>
            </a:extLst>
          </p:cNvPr>
          <p:cNvSpPr/>
          <p:nvPr/>
        </p:nvSpPr>
        <p:spPr bwMode="gray">
          <a:xfrm>
            <a:off x="7489495" y="4030663"/>
            <a:ext cx="1762738" cy="17627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u-HU" sz="1600" b="1" dirty="0">
              <a:solidFill>
                <a:schemeClr val="bg1"/>
              </a:solidFill>
            </a:endParaRPr>
          </a:p>
        </p:txBody>
      </p:sp>
      <p:sp>
        <p:nvSpPr>
          <p:cNvPr id="56" name="Rectangle 55">
            <a:extLst>
              <a:ext uri="{FF2B5EF4-FFF2-40B4-BE49-F238E27FC236}">
                <a16:creationId xmlns:a16="http://schemas.microsoft.com/office/drawing/2014/main" id="{639E7C18-FFD7-F97C-5D3C-3EC8C32C2E5C}"/>
              </a:ext>
            </a:extLst>
          </p:cNvPr>
          <p:cNvSpPr>
            <a:spLocks noChangeArrowheads="1"/>
          </p:cNvSpPr>
          <p:nvPr/>
        </p:nvSpPr>
        <p:spPr bwMode="auto">
          <a:xfrm>
            <a:off x="7558864" y="3787497"/>
            <a:ext cx="76577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pplication</a:t>
            </a:r>
          </a:p>
        </p:txBody>
      </p:sp>
      <p:sp>
        <p:nvSpPr>
          <p:cNvPr id="57" name="Rectangle 57">
            <a:extLst>
              <a:ext uri="{FF2B5EF4-FFF2-40B4-BE49-F238E27FC236}">
                <a16:creationId xmlns:a16="http://schemas.microsoft.com/office/drawing/2014/main" id="{2A22EB58-BEDD-0625-4F60-77607356DDAE}"/>
              </a:ext>
            </a:extLst>
          </p:cNvPr>
          <p:cNvSpPr>
            <a:spLocks noChangeArrowheads="1"/>
          </p:cNvSpPr>
          <p:nvPr/>
        </p:nvSpPr>
        <p:spPr bwMode="auto">
          <a:xfrm>
            <a:off x="9156261" y="4399155"/>
            <a:ext cx="6234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Incident response</a:t>
            </a:r>
          </a:p>
        </p:txBody>
      </p:sp>
      <p:sp>
        <p:nvSpPr>
          <p:cNvPr id="58" name="Rectangle 58">
            <a:extLst>
              <a:ext uri="{FF2B5EF4-FFF2-40B4-BE49-F238E27FC236}">
                <a16:creationId xmlns:a16="http://schemas.microsoft.com/office/drawing/2014/main" id="{39E9670A-B215-99A2-4C79-9DD87DEF3F8C}"/>
              </a:ext>
            </a:extLst>
          </p:cNvPr>
          <p:cNvSpPr>
            <a:spLocks noChangeArrowheads="1"/>
          </p:cNvSpPr>
          <p:nvPr/>
        </p:nvSpPr>
        <p:spPr bwMode="auto">
          <a:xfrm>
            <a:off x="9188257" y="5272773"/>
            <a:ext cx="57431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Hardware &amp; IoT</a:t>
            </a:r>
          </a:p>
        </p:txBody>
      </p:sp>
      <p:sp>
        <p:nvSpPr>
          <p:cNvPr id="59" name="Rectangle 59">
            <a:extLst>
              <a:ext uri="{FF2B5EF4-FFF2-40B4-BE49-F238E27FC236}">
                <a16:creationId xmlns:a16="http://schemas.microsoft.com/office/drawing/2014/main" id="{B12EAC09-BF58-B4A7-E043-7ECCA0E1A7AB}"/>
              </a:ext>
            </a:extLst>
          </p:cNvPr>
          <p:cNvSpPr>
            <a:spLocks noChangeArrowheads="1"/>
          </p:cNvSpPr>
          <p:nvPr/>
        </p:nvSpPr>
        <p:spPr bwMode="auto">
          <a:xfrm>
            <a:off x="8363817" y="5932444"/>
            <a:ext cx="8711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trategy and Advisory</a:t>
            </a:r>
          </a:p>
        </p:txBody>
      </p:sp>
      <p:sp>
        <p:nvSpPr>
          <p:cNvPr id="60" name="Rectangle 61">
            <a:extLst>
              <a:ext uri="{FF2B5EF4-FFF2-40B4-BE49-F238E27FC236}">
                <a16:creationId xmlns:a16="http://schemas.microsoft.com/office/drawing/2014/main" id="{E5B5545F-B242-A3C6-3ED9-E6A28DE79AC5}"/>
              </a:ext>
            </a:extLst>
          </p:cNvPr>
          <p:cNvSpPr>
            <a:spLocks noChangeArrowheads="1"/>
          </p:cNvSpPr>
          <p:nvPr/>
        </p:nvSpPr>
        <p:spPr bwMode="auto">
          <a:xfrm>
            <a:off x="7462357" y="5935756"/>
            <a:ext cx="89383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it-IT" sz="700" b="1" dirty="0">
                <a:solidFill>
                  <a:srgbClr val="FFFFFF"/>
                </a:solidFill>
                <a:latin typeface="Verdana" panose="020B0604030504040204" pitchFamily="34" charset="0"/>
                <a:ea typeface="Verdana" panose="020B0604030504040204" pitchFamily="34" charset="0"/>
                <a:cs typeface="Verdana" panose="020B0604030504040204" pitchFamily="34" charset="0"/>
              </a:rPr>
              <a:t>Cyber solution implementation</a:t>
            </a:r>
          </a:p>
        </p:txBody>
      </p:sp>
      <p:sp>
        <p:nvSpPr>
          <p:cNvPr id="61" name="Rectangle 62">
            <a:extLst>
              <a:ext uri="{FF2B5EF4-FFF2-40B4-BE49-F238E27FC236}">
                <a16:creationId xmlns:a16="http://schemas.microsoft.com/office/drawing/2014/main" id="{316B3F58-3D2E-AAE5-9D16-FD276F9C2937}"/>
              </a:ext>
            </a:extLst>
          </p:cNvPr>
          <p:cNvSpPr>
            <a:spLocks noChangeArrowheads="1"/>
          </p:cNvSpPr>
          <p:nvPr/>
        </p:nvSpPr>
        <p:spPr bwMode="auto">
          <a:xfrm>
            <a:off x="6943450" y="5297340"/>
            <a:ext cx="68056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Red Team</a:t>
            </a:r>
          </a:p>
        </p:txBody>
      </p:sp>
      <p:sp>
        <p:nvSpPr>
          <p:cNvPr id="62" name="Rectangle 63">
            <a:extLst>
              <a:ext uri="{FF2B5EF4-FFF2-40B4-BE49-F238E27FC236}">
                <a16:creationId xmlns:a16="http://schemas.microsoft.com/office/drawing/2014/main" id="{03AEAB0D-15A5-1ABD-4A71-4587678A3053}"/>
              </a:ext>
            </a:extLst>
          </p:cNvPr>
          <p:cNvSpPr>
            <a:spLocks noChangeArrowheads="1"/>
          </p:cNvSpPr>
          <p:nvPr/>
        </p:nvSpPr>
        <p:spPr bwMode="auto">
          <a:xfrm>
            <a:off x="6951157" y="4437301"/>
            <a:ext cx="56576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Infra</a:t>
            </a:r>
            <a:r>
              <a:rPr kumimoji="0" lang="hu-HU"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tructure</a:t>
            </a:r>
          </a:p>
        </p:txBody>
      </p:sp>
      <p:sp>
        <p:nvSpPr>
          <p:cNvPr id="63" name="Rectangle 87">
            <a:extLst>
              <a:ext uri="{FF2B5EF4-FFF2-40B4-BE49-F238E27FC236}">
                <a16:creationId xmlns:a16="http://schemas.microsoft.com/office/drawing/2014/main" id="{D04B6765-D69F-A9E9-DD51-BC573B5E0CB7}"/>
              </a:ext>
            </a:extLst>
          </p:cNvPr>
          <p:cNvSpPr>
            <a:spLocks noChangeArrowheads="1"/>
          </p:cNvSpPr>
          <p:nvPr/>
        </p:nvSpPr>
        <p:spPr bwMode="auto">
          <a:xfrm>
            <a:off x="8472845" y="3786776"/>
            <a:ext cx="72674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it-IT" sz="7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Forensics</a:t>
            </a:r>
          </a:p>
        </p:txBody>
      </p:sp>
      <p:grpSp>
        <p:nvGrpSpPr>
          <p:cNvPr id="64" name="Group 63">
            <a:extLst>
              <a:ext uri="{FF2B5EF4-FFF2-40B4-BE49-F238E27FC236}">
                <a16:creationId xmlns:a16="http://schemas.microsoft.com/office/drawing/2014/main" id="{7493D2A1-139C-383B-6FA7-55845793AA36}"/>
              </a:ext>
            </a:extLst>
          </p:cNvPr>
          <p:cNvGrpSpPr/>
          <p:nvPr/>
        </p:nvGrpSpPr>
        <p:grpSpPr>
          <a:xfrm>
            <a:off x="7397268" y="4005270"/>
            <a:ext cx="1869408" cy="1827640"/>
            <a:chOff x="403135" y="4039112"/>
            <a:chExt cx="1776413" cy="1736725"/>
          </a:xfrm>
          <a:solidFill>
            <a:schemeClr val="accent3">
              <a:lumMod val="40000"/>
              <a:lumOff val="60000"/>
            </a:schemeClr>
          </a:solidFill>
        </p:grpSpPr>
        <p:sp>
          <p:nvSpPr>
            <p:cNvPr id="65" name="Freeform 365">
              <a:extLst>
                <a:ext uri="{FF2B5EF4-FFF2-40B4-BE49-F238E27FC236}">
                  <a16:creationId xmlns:a16="http://schemas.microsoft.com/office/drawing/2014/main" id="{E9E243B7-29DC-31AE-5D59-177DD0CD1EB4}"/>
                </a:ext>
              </a:extLst>
            </p:cNvPr>
            <p:cNvSpPr>
              <a:spLocks/>
            </p:cNvSpPr>
            <p:nvPr/>
          </p:nvSpPr>
          <p:spPr bwMode="auto">
            <a:xfrm>
              <a:off x="498385" y="4983675"/>
              <a:ext cx="725488" cy="739775"/>
            </a:xfrm>
            <a:custGeom>
              <a:avLst/>
              <a:gdLst>
                <a:gd name="T0" fmla="*/ 445 w 450"/>
                <a:gd name="T1" fmla="*/ 458 h 458"/>
                <a:gd name="T2" fmla="*/ 143 w 450"/>
                <a:gd name="T3" fmla="*/ 310 h 458"/>
                <a:gd name="T4" fmla="*/ 0 w 450"/>
                <a:gd name="T5" fmla="*/ 4 h 458"/>
                <a:gd name="T6" fmla="*/ 43 w 450"/>
                <a:gd name="T7" fmla="*/ 0 h 458"/>
                <a:gd name="T8" fmla="*/ 450 w 450"/>
                <a:gd name="T9" fmla="*/ 415 h 458"/>
                <a:gd name="T10" fmla="*/ 445 w 450"/>
                <a:gd name="T11" fmla="*/ 458 h 458"/>
              </a:gdLst>
              <a:ahLst/>
              <a:cxnLst>
                <a:cxn ang="0">
                  <a:pos x="T0" y="T1"/>
                </a:cxn>
                <a:cxn ang="0">
                  <a:pos x="T2" y="T3"/>
                </a:cxn>
                <a:cxn ang="0">
                  <a:pos x="T4" y="T5"/>
                </a:cxn>
                <a:cxn ang="0">
                  <a:pos x="T6" y="T7"/>
                </a:cxn>
                <a:cxn ang="0">
                  <a:pos x="T8" y="T9"/>
                </a:cxn>
                <a:cxn ang="0">
                  <a:pos x="T10" y="T11"/>
                </a:cxn>
              </a:cxnLst>
              <a:rect l="0" t="0" r="r" b="b"/>
              <a:pathLst>
                <a:path w="450" h="458">
                  <a:moveTo>
                    <a:pt x="445" y="458"/>
                  </a:moveTo>
                  <a:cubicBezTo>
                    <a:pt x="331" y="445"/>
                    <a:pt x="224" y="392"/>
                    <a:pt x="143" y="310"/>
                  </a:cubicBezTo>
                  <a:cubicBezTo>
                    <a:pt x="62" y="227"/>
                    <a:pt x="11" y="119"/>
                    <a:pt x="0" y="4"/>
                  </a:cubicBezTo>
                  <a:cubicBezTo>
                    <a:pt x="43" y="0"/>
                    <a:pt x="43" y="0"/>
                    <a:pt x="43" y="0"/>
                  </a:cubicBezTo>
                  <a:cubicBezTo>
                    <a:pt x="65" y="215"/>
                    <a:pt x="236" y="389"/>
                    <a:pt x="450" y="415"/>
                  </a:cubicBezTo>
                  <a:lnTo>
                    <a:pt x="445" y="4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66" name="Freeform 366">
              <a:extLst>
                <a:ext uri="{FF2B5EF4-FFF2-40B4-BE49-F238E27FC236}">
                  <a16:creationId xmlns:a16="http://schemas.microsoft.com/office/drawing/2014/main" id="{5DCA2082-70CC-060D-9FFB-62431AC08953}"/>
                </a:ext>
              </a:extLst>
            </p:cNvPr>
            <p:cNvSpPr>
              <a:spLocks/>
            </p:cNvSpPr>
            <p:nvPr/>
          </p:nvSpPr>
          <p:spPr bwMode="auto">
            <a:xfrm>
              <a:off x="1963647" y="4496312"/>
              <a:ext cx="155575" cy="268288"/>
            </a:xfrm>
            <a:custGeom>
              <a:avLst/>
              <a:gdLst>
                <a:gd name="T0" fmla="*/ 38 w 97"/>
                <a:gd name="T1" fmla="*/ 0 h 166"/>
                <a:gd name="T2" fmla="*/ 0 w 97"/>
                <a:gd name="T3" fmla="*/ 22 h 166"/>
                <a:gd name="T4" fmla="*/ 54 w 97"/>
                <a:gd name="T5" fmla="*/ 166 h 166"/>
                <a:gd name="T6" fmla="*/ 97 w 97"/>
                <a:gd name="T7" fmla="*/ 158 h 166"/>
                <a:gd name="T8" fmla="*/ 38 w 97"/>
                <a:gd name="T9" fmla="*/ 0 h 166"/>
              </a:gdLst>
              <a:ahLst/>
              <a:cxnLst>
                <a:cxn ang="0">
                  <a:pos x="T0" y="T1"/>
                </a:cxn>
                <a:cxn ang="0">
                  <a:pos x="T2" y="T3"/>
                </a:cxn>
                <a:cxn ang="0">
                  <a:pos x="T4" y="T5"/>
                </a:cxn>
                <a:cxn ang="0">
                  <a:pos x="T6" y="T7"/>
                </a:cxn>
                <a:cxn ang="0">
                  <a:pos x="T8" y="T9"/>
                </a:cxn>
              </a:cxnLst>
              <a:rect l="0" t="0" r="r" b="b"/>
              <a:pathLst>
                <a:path w="97" h="166">
                  <a:moveTo>
                    <a:pt x="38" y="0"/>
                  </a:moveTo>
                  <a:cubicBezTo>
                    <a:pt x="0" y="22"/>
                    <a:pt x="0" y="22"/>
                    <a:pt x="0" y="22"/>
                  </a:cubicBezTo>
                  <a:cubicBezTo>
                    <a:pt x="26" y="66"/>
                    <a:pt x="44" y="114"/>
                    <a:pt x="54" y="166"/>
                  </a:cubicBezTo>
                  <a:cubicBezTo>
                    <a:pt x="97" y="158"/>
                    <a:pt x="97" y="158"/>
                    <a:pt x="97" y="158"/>
                  </a:cubicBezTo>
                  <a:cubicBezTo>
                    <a:pt x="86" y="101"/>
                    <a:pt x="66" y="48"/>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67" name="Freeform 367">
              <a:extLst>
                <a:ext uri="{FF2B5EF4-FFF2-40B4-BE49-F238E27FC236}">
                  <a16:creationId xmlns:a16="http://schemas.microsoft.com/office/drawing/2014/main" id="{9E9C0372-94AB-C64F-26A0-0D8B183A6ACD}"/>
                </a:ext>
              </a:extLst>
            </p:cNvPr>
            <p:cNvSpPr>
              <a:spLocks/>
            </p:cNvSpPr>
            <p:nvPr/>
          </p:nvSpPr>
          <p:spPr bwMode="auto">
            <a:xfrm>
              <a:off x="1366747" y="4088325"/>
              <a:ext cx="531813" cy="292100"/>
            </a:xfrm>
            <a:custGeom>
              <a:avLst/>
              <a:gdLst>
                <a:gd name="T0" fmla="*/ 4 w 330"/>
                <a:gd name="T1" fmla="*/ 0 h 181"/>
                <a:gd name="T2" fmla="*/ 0 w 330"/>
                <a:gd name="T3" fmla="*/ 44 h 181"/>
                <a:gd name="T4" fmla="*/ 0 w 330"/>
                <a:gd name="T5" fmla="*/ 44 h 181"/>
                <a:gd name="T6" fmla="*/ 298 w 330"/>
                <a:gd name="T7" fmla="*/ 181 h 181"/>
                <a:gd name="T8" fmla="*/ 330 w 330"/>
                <a:gd name="T9" fmla="*/ 150 h 181"/>
                <a:gd name="T10" fmla="*/ 4 w 330"/>
                <a:gd name="T11" fmla="*/ 0 h 181"/>
              </a:gdLst>
              <a:ahLst/>
              <a:cxnLst>
                <a:cxn ang="0">
                  <a:pos x="T0" y="T1"/>
                </a:cxn>
                <a:cxn ang="0">
                  <a:pos x="T2" y="T3"/>
                </a:cxn>
                <a:cxn ang="0">
                  <a:pos x="T4" y="T5"/>
                </a:cxn>
                <a:cxn ang="0">
                  <a:pos x="T6" y="T7"/>
                </a:cxn>
                <a:cxn ang="0">
                  <a:pos x="T8" y="T9"/>
                </a:cxn>
                <a:cxn ang="0">
                  <a:pos x="T10" y="T11"/>
                </a:cxn>
              </a:cxnLst>
              <a:rect l="0" t="0" r="r" b="b"/>
              <a:pathLst>
                <a:path w="330" h="181">
                  <a:moveTo>
                    <a:pt x="4" y="0"/>
                  </a:moveTo>
                  <a:cubicBezTo>
                    <a:pt x="0" y="44"/>
                    <a:pt x="0" y="44"/>
                    <a:pt x="0" y="44"/>
                  </a:cubicBezTo>
                  <a:cubicBezTo>
                    <a:pt x="0" y="44"/>
                    <a:pt x="0" y="44"/>
                    <a:pt x="0" y="44"/>
                  </a:cubicBezTo>
                  <a:cubicBezTo>
                    <a:pt x="117" y="52"/>
                    <a:pt x="221" y="103"/>
                    <a:pt x="298" y="181"/>
                  </a:cubicBezTo>
                  <a:cubicBezTo>
                    <a:pt x="330" y="150"/>
                    <a:pt x="330" y="150"/>
                    <a:pt x="330" y="150"/>
                  </a:cubicBezTo>
                  <a:cubicBezTo>
                    <a:pt x="245" y="65"/>
                    <a:pt x="131" y="9"/>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68" name="Freeform 368">
              <a:extLst>
                <a:ext uri="{FF2B5EF4-FFF2-40B4-BE49-F238E27FC236}">
                  <a16:creationId xmlns:a16="http://schemas.microsoft.com/office/drawing/2014/main" id="{3A914706-E07A-AD08-FC85-14A2DB297432}"/>
                </a:ext>
              </a:extLst>
            </p:cNvPr>
            <p:cNvSpPr>
              <a:spLocks/>
            </p:cNvSpPr>
            <p:nvPr/>
          </p:nvSpPr>
          <p:spPr bwMode="auto">
            <a:xfrm>
              <a:off x="471397" y="4859850"/>
              <a:ext cx="100013" cy="30163"/>
            </a:xfrm>
            <a:custGeom>
              <a:avLst/>
              <a:gdLst>
                <a:gd name="T0" fmla="*/ 62 w 62"/>
                <a:gd name="T1" fmla="*/ 3 h 19"/>
                <a:gd name="T2" fmla="*/ 62 w 62"/>
                <a:gd name="T3" fmla="*/ 6 h 19"/>
                <a:gd name="T4" fmla="*/ 62 w 62"/>
                <a:gd name="T5" fmla="*/ 11 h 19"/>
                <a:gd name="T6" fmla="*/ 62 w 62"/>
                <a:gd name="T7" fmla="*/ 19 h 19"/>
                <a:gd name="T8" fmla="*/ 0 w 62"/>
                <a:gd name="T9" fmla="*/ 17 h 19"/>
                <a:gd name="T10" fmla="*/ 0 w 62"/>
                <a:gd name="T11" fmla="*/ 8 h 19"/>
                <a:gd name="T12" fmla="*/ 0 w 62"/>
                <a:gd name="T13" fmla="*/ 3 h 19"/>
                <a:gd name="T14" fmla="*/ 0 w 62"/>
                <a:gd name="T15" fmla="*/ 0 h 19"/>
                <a:gd name="T16" fmla="*/ 62 w 62"/>
                <a:gd name="T17"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9">
                  <a:moveTo>
                    <a:pt x="62" y="3"/>
                  </a:moveTo>
                  <a:cubicBezTo>
                    <a:pt x="62" y="3"/>
                    <a:pt x="62" y="4"/>
                    <a:pt x="62" y="6"/>
                  </a:cubicBezTo>
                  <a:cubicBezTo>
                    <a:pt x="62" y="7"/>
                    <a:pt x="62" y="9"/>
                    <a:pt x="62" y="11"/>
                  </a:cubicBezTo>
                  <a:cubicBezTo>
                    <a:pt x="62" y="15"/>
                    <a:pt x="62" y="19"/>
                    <a:pt x="62" y="19"/>
                  </a:cubicBezTo>
                  <a:cubicBezTo>
                    <a:pt x="0" y="17"/>
                    <a:pt x="0" y="17"/>
                    <a:pt x="0" y="17"/>
                  </a:cubicBezTo>
                  <a:cubicBezTo>
                    <a:pt x="0" y="17"/>
                    <a:pt x="0" y="13"/>
                    <a:pt x="0" y="8"/>
                  </a:cubicBezTo>
                  <a:cubicBezTo>
                    <a:pt x="0" y="6"/>
                    <a:pt x="0" y="4"/>
                    <a:pt x="0" y="3"/>
                  </a:cubicBezTo>
                  <a:cubicBezTo>
                    <a:pt x="0" y="1"/>
                    <a:pt x="0" y="0"/>
                    <a:pt x="0" y="0"/>
                  </a:cubicBezTo>
                  <a:lnTo>
                    <a:pt x="6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69" name="Freeform 369">
              <a:extLst>
                <a:ext uri="{FF2B5EF4-FFF2-40B4-BE49-F238E27FC236}">
                  <a16:creationId xmlns:a16="http://schemas.microsoft.com/office/drawing/2014/main" id="{EFFFD915-C0B8-50F9-B3B9-8EEE00F0C885}"/>
                </a:ext>
              </a:extLst>
            </p:cNvPr>
            <p:cNvSpPr>
              <a:spLocks/>
            </p:cNvSpPr>
            <p:nvPr/>
          </p:nvSpPr>
          <p:spPr bwMode="auto">
            <a:xfrm>
              <a:off x="472985" y="4810637"/>
              <a:ext cx="103188" cy="36513"/>
            </a:xfrm>
            <a:custGeom>
              <a:avLst/>
              <a:gdLst>
                <a:gd name="T0" fmla="*/ 64 w 64"/>
                <a:gd name="T1" fmla="*/ 7 h 22"/>
                <a:gd name="T2" fmla="*/ 63 w 64"/>
                <a:gd name="T3" fmla="*/ 9 h 22"/>
                <a:gd name="T4" fmla="*/ 63 w 64"/>
                <a:gd name="T5" fmla="*/ 15 h 22"/>
                <a:gd name="T6" fmla="*/ 62 w 64"/>
                <a:gd name="T7" fmla="*/ 22 h 22"/>
                <a:gd name="T8" fmla="*/ 0 w 64"/>
                <a:gd name="T9" fmla="*/ 17 h 22"/>
                <a:gd name="T10" fmla="*/ 1 w 64"/>
                <a:gd name="T11" fmla="*/ 9 h 22"/>
                <a:gd name="T12" fmla="*/ 2 w 64"/>
                <a:gd name="T13" fmla="*/ 3 h 22"/>
                <a:gd name="T14" fmla="*/ 2 w 64"/>
                <a:gd name="T15" fmla="*/ 0 h 22"/>
                <a:gd name="T16" fmla="*/ 64 w 64"/>
                <a:gd name="T1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2">
                  <a:moveTo>
                    <a:pt x="64" y="7"/>
                  </a:moveTo>
                  <a:cubicBezTo>
                    <a:pt x="64" y="7"/>
                    <a:pt x="63" y="8"/>
                    <a:pt x="63" y="9"/>
                  </a:cubicBezTo>
                  <a:cubicBezTo>
                    <a:pt x="63" y="11"/>
                    <a:pt x="63" y="13"/>
                    <a:pt x="63" y="15"/>
                  </a:cubicBezTo>
                  <a:cubicBezTo>
                    <a:pt x="62" y="18"/>
                    <a:pt x="62" y="22"/>
                    <a:pt x="62" y="22"/>
                  </a:cubicBezTo>
                  <a:cubicBezTo>
                    <a:pt x="0" y="17"/>
                    <a:pt x="0" y="17"/>
                    <a:pt x="0" y="17"/>
                  </a:cubicBezTo>
                  <a:cubicBezTo>
                    <a:pt x="0" y="17"/>
                    <a:pt x="1" y="13"/>
                    <a:pt x="1" y="9"/>
                  </a:cubicBezTo>
                  <a:cubicBezTo>
                    <a:pt x="1" y="6"/>
                    <a:pt x="1" y="4"/>
                    <a:pt x="2" y="3"/>
                  </a:cubicBezTo>
                  <a:cubicBezTo>
                    <a:pt x="2" y="1"/>
                    <a:pt x="2" y="0"/>
                    <a:pt x="2" y="0"/>
                  </a:cubicBezTo>
                  <a:lnTo>
                    <a:pt x="6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0" name="Freeform 370">
              <a:extLst>
                <a:ext uri="{FF2B5EF4-FFF2-40B4-BE49-F238E27FC236}">
                  <a16:creationId xmlns:a16="http://schemas.microsoft.com/office/drawing/2014/main" id="{37667BCE-F83E-2674-616B-0B79DBEA887B}"/>
                </a:ext>
              </a:extLst>
            </p:cNvPr>
            <p:cNvSpPr>
              <a:spLocks/>
            </p:cNvSpPr>
            <p:nvPr/>
          </p:nvSpPr>
          <p:spPr bwMode="auto">
            <a:xfrm>
              <a:off x="479335" y="4763012"/>
              <a:ext cx="101600" cy="41275"/>
            </a:xfrm>
            <a:custGeom>
              <a:avLst/>
              <a:gdLst>
                <a:gd name="T0" fmla="*/ 63 w 63"/>
                <a:gd name="T1" fmla="*/ 11 h 26"/>
                <a:gd name="T2" fmla="*/ 62 w 63"/>
                <a:gd name="T3" fmla="*/ 18 h 26"/>
                <a:gd name="T4" fmla="*/ 61 w 63"/>
                <a:gd name="T5" fmla="*/ 26 h 26"/>
                <a:gd name="T6" fmla="*/ 0 w 63"/>
                <a:gd name="T7" fmla="*/ 17 h 26"/>
                <a:gd name="T8" fmla="*/ 1 w 63"/>
                <a:gd name="T9" fmla="*/ 9 h 26"/>
                <a:gd name="T10" fmla="*/ 2 w 63"/>
                <a:gd name="T11" fmla="*/ 0 h 26"/>
                <a:gd name="T12" fmla="*/ 63 w 63"/>
                <a:gd name="T13" fmla="*/ 11 h 26"/>
              </a:gdLst>
              <a:ahLst/>
              <a:cxnLst>
                <a:cxn ang="0">
                  <a:pos x="T0" y="T1"/>
                </a:cxn>
                <a:cxn ang="0">
                  <a:pos x="T2" y="T3"/>
                </a:cxn>
                <a:cxn ang="0">
                  <a:pos x="T4" y="T5"/>
                </a:cxn>
                <a:cxn ang="0">
                  <a:pos x="T6" y="T7"/>
                </a:cxn>
                <a:cxn ang="0">
                  <a:pos x="T8" y="T9"/>
                </a:cxn>
                <a:cxn ang="0">
                  <a:pos x="T10" y="T11"/>
                </a:cxn>
                <a:cxn ang="0">
                  <a:pos x="T12" y="T13"/>
                </a:cxn>
              </a:cxnLst>
              <a:rect l="0" t="0" r="r" b="b"/>
              <a:pathLst>
                <a:path w="63" h="26">
                  <a:moveTo>
                    <a:pt x="63" y="11"/>
                  </a:moveTo>
                  <a:cubicBezTo>
                    <a:pt x="63" y="11"/>
                    <a:pt x="63" y="15"/>
                    <a:pt x="62" y="18"/>
                  </a:cubicBezTo>
                  <a:cubicBezTo>
                    <a:pt x="61" y="22"/>
                    <a:pt x="61" y="26"/>
                    <a:pt x="61" y="26"/>
                  </a:cubicBezTo>
                  <a:cubicBezTo>
                    <a:pt x="0" y="17"/>
                    <a:pt x="0" y="17"/>
                    <a:pt x="0" y="17"/>
                  </a:cubicBezTo>
                  <a:cubicBezTo>
                    <a:pt x="0" y="17"/>
                    <a:pt x="0" y="13"/>
                    <a:pt x="1" y="9"/>
                  </a:cubicBezTo>
                  <a:cubicBezTo>
                    <a:pt x="1" y="5"/>
                    <a:pt x="2" y="0"/>
                    <a:pt x="2" y="0"/>
                  </a:cubicBezTo>
                  <a:lnTo>
                    <a:pt x="6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1" name="Freeform 371">
              <a:extLst>
                <a:ext uri="{FF2B5EF4-FFF2-40B4-BE49-F238E27FC236}">
                  <a16:creationId xmlns:a16="http://schemas.microsoft.com/office/drawing/2014/main" id="{6F17DE01-1D20-15D8-ED97-AC45D48378D1}"/>
                </a:ext>
              </a:extLst>
            </p:cNvPr>
            <p:cNvSpPr>
              <a:spLocks/>
            </p:cNvSpPr>
            <p:nvPr/>
          </p:nvSpPr>
          <p:spPr bwMode="auto">
            <a:xfrm>
              <a:off x="485685" y="4715387"/>
              <a:ext cx="104775" cy="47625"/>
            </a:xfrm>
            <a:custGeom>
              <a:avLst/>
              <a:gdLst>
                <a:gd name="T0" fmla="*/ 65 w 65"/>
                <a:gd name="T1" fmla="*/ 14 h 29"/>
                <a:gd name="T2" fmla="*/ 63 w 65"/>
                <a:gd name="T3" fmla="*/ 21 h 29"/>
                <a:gd name="T4" fmla="*/ 61 w 65"/>
                <a:gd name="T5" fmla="*/ 29 h 29"/>
                <a:gd name="T6" fmla="*/ 0 w 65"/>
                <a:gd name="T7" fmla="*/ 17 h 29"/>
                <a:gd name="T8" fmla="*/ 2 w 65"/>
                <a:gd name="T9" fmla="*/ 8 h 29"/>
                <a:gd name="T10" fmla="*/ 4 w 65"/>
                <a:gd name="T11" fmla="*/ 0 h 29"/>
                <a:gd name="T12" fmla="*/ 65 w 65"/>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65" h="29">
                  <a:moveTo>
                    <a:pt x="65" y="14"/>
                  </a:moveTo>
                  <a:cubicBezTo>
                    <a:pt x="65" y="14"/>
                    <a:pt x="64" y="18"/>
                    <a:pt x="63" y="21"/>
                  </a:cubicBezTo>
                  <a:cubicBezTo>
                    <a:pt x="62" y="25"/>
                    <a:pt x="61" y="29"/>
                    <a:pt x="61" y="29"/>
                  </a:cubicBezTo>
                  <a:cubicBezTo>
                    <a:pt x="0" y="17"/>
                    <a:pt x="0" y="17"/>
                    <a:pt x="0" y="17"/>
                  </a:cubicBezTo>
                  <a:cubicBezTo>
                    <a:pt x="0" y="17"/>
                    <a:pt x="1" y="12"/>
                    <a:pt x="2" y="8"/>
                  </a:cubicBezTo>
                  <a:cubicBezTo>
                    <a:pt x="3" y="4"/>
                    <a:pt x="4" y="0"/>
                    <a:pt x="4" y="0"/>
                  </a:cubicBezTo>
                  <a:lnTo>
                    <a:pt x="6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2" name="Freeform 372">
              <a:extLst>
                <a:ext uri="{FF2B5EF4-FFF2-40B4-BE49-F238E27FC236}">
                  <a16:creationId xmlns:a16="http://schemas.microsoft.com/office/drawing/2014/main" id="{4F6760AA-50F4-A520-28BB-9ED9F75BC2BE}"/>
                </a:ext>
              </a:extLst>
            </p:cNvPr>
            <p:cNvSpPr>
              <a:spLocks/>
            </p:cNvSpPr>
            <p:nvPr/>
          </p:nvSpPr>
          <p:spPr bwMode="auto">
            <a:xfrm>
              <a:off x="496797" y="4669350"/>
              <a:ext cx="103188" cy="50800"/>
            </a:xfrm>
            <a:custGeom>
              <a:avLst/>
              <a:gdLst>
                <a:gd name="T0" fmla="*/ 65 w 65"/>
                <a:gd name="T1" fmla="*/ 17 h 32"/>
                <a:gd name="T2" fmla="*/ 61 w 65"/>
                <a:gd name="T3" fmla="*/ 32 h 32"/>
                <a:gd name="T4" fmla="*/ 0 w 65"/>
                <a:gd name="T5" fmla="*/ 16 h 32"/>
                <a:gd name="T6" fmla="*/ 6 w 65"/>
                <a:gd name="T7" fmla="*/ 0 h 32"/>
                <a:gd name="T8" fmla="*/ 65 w 65"/>
                <a:gd name="T9" fmla="*/ 17 h 32"/>
              </a:gdLst>
              <a:ahLst/>
              <a:cxnLst>
                <a:cxn ang="0">
                  <a:pos x="T0" y="T1"/>
                </a:cxn>
                <a:cxn ang="0">
                  <a:pos x="T2" y="T3"/>
                </a:cxn>
                <a:cxn ang="0">
                  <a:pos x="T4" y="T5"/>
                </a:cxn>
                <a:cxn ang="0">
                  <a:pos x="T6" y="T7"/>
                </a:cxn>
                <a:cxn ang="0">
                  <a:pos x="T8" y="T9"/>
                </a:cxn>
              </a:cxnLst>
              <a:rect l="0" t="0" r="r" b="b"/>
              <a:pathLst>
                <a:path w="65" h="32">
                  <a:moveTo>
                    <a:pt x="65" y="17"/>
                  </a:moveTo>
                  <a:lnTo>
                    <a:pt x="61" y="32"/>
                  </a:lnTo>
                  <a:lnTo>
                    <a:pt x="0" y="16"/>
                  </a:lnTo>
                  <a:lnTo>
                    <a:pt x="6" y="0"/>
                  </a:lnTo>
                  <a:lnTo>
                    <a:pt x="6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3" name="Freeform 373">
              <a:extLst>
                <a:ext uri="{FF2B5EF4-FFF2-40B4-BE49-F238E27FC236}">
                  <a16:creationId xmlns:a16="http://schemas.microsoft.com/office/drawing/2014/main" id="{B270D307-C24E-E4D3-8910-496B51EB7105}"/>
                </a:ext>
              </a:extLst>
            </p:cNvPr>
            <p:cNvSpPr>
              <a:spLocks/>
            </p:cNvSpPr>
            <p:nvPr/>
          </p:nvSpPr>
          <p:spPr bwMode="auto">
            <a:xfrm>
              <a:off x="512672" y="4621725"/>
              <a:ext cx="100013" cy="58738"/>
            </a:xfrm>
            <a:custGeom>
              <a:avLst/>
              <a:gdLst>
                <a:gd name="T0" fmla="*/ 63 w 63"/>
                <a:gd name="T1" fmla="*/ 22 h 37"/>
                <a:gd name="T2" fmla="*/ 59 w 63"/>
                <a:gd name="T3" fmla="*/ 37 h 37"/>
                <a:gd name="T4" fmla="*/ 0 w 63"/>
                <a:gd name="T5" fmla="*/ 17 h 37"/>
                <a:gd name="T6" fmla="*/ 5 w 63"/>
                <a:gd name="T7" fmla="*/ 0 h 37"/>
                <a:gd name="T8" fmla="*/ 63 w 63"/>
                <a:gd name="T9" fmla="*/ 22 h 37"/>
              </a:gdLst>
              <a:ahLst/>
              <a:cxnLst>
                <a:cxn ang="0">
                  <a:pos x="T0" y="T1"/>
                </a:cxn>
                <a:cxn ang="0">
                  <a:pos x="T2" y="T3"/>
                </a:cxn>
                <a:cxn ang="0">
                  <a:pos x="T4" y="T5"/>
                </a:cxn>
                <a:cxn ang="0">
                  <a:pos x="T6" y="T7"/>
                </a:cxn>
                <a:cxn ang="0">
                  <a:pos x="T8" y="T9"/>
                </a:cxn>
              </a:cxnLst>
              <a:rect l="0" t="0" r="r" b="b"/>
              <a:pathLst>
                <a:path w="63" h="37">
                  <a:moveTo>
                    <a:pt x="63" y="22"/>
                  </a:moveTo>
                  <a:lnTo>
                    <a:pt x="59" y="37"/>
                  </a:lnTo>
                  <a:lnTo>
                    <a:pt x="0" y="17"/>
                  </a:lnTo>
                  <a:lnTo>
                    <a:pt x="5" y="0"/>
                  </a:lnTo>
                  <a:lnTo>
                    <a:pt x="6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4" name="Freeform 374">
              <a:extLst>
                <a:ext uri="{FF2B5EF4-FFF2-40B4-BE49-F238E27FC236}">
                  <a16:creationId xmlns:a16="http://schemas.microsoft.com/office/drawing/2014/main" id="{361A76AA-3DB5-1B99-BC6A-047A901C830D}"/>
                </a:ext>
              </a:extLst>
            </p:cNvPr>
            <p:cNvSpPr>
              <a:spLocks/>
            </p:cNvSpPr>
            <p:nvPr/>
          </p:nvSpPr>
          <p:spPr bwMode="auto">
            <a:xfrm>
              <a:off x="528547" y="4577275"/>
              <a:ext cx="101600" cy="61913"/>
            </a:xfrm>
            <a:custGeom>
              <a:avLst/>
              <a:gdLst>
                <a:gd name="T0" fmla="*/ 64 w 64"/>
                <a:gd name="T1" fmla="*/ 25 h 39"/>
                <a:gd name="T2" fmla="*/ 58 w 64"/>
                <a:gd name="T3" fmla="*/ 39 h 39"/>
                <a:gd name="T4" fmla="*/ 0 w 64"/>
                <a:gd name="T5" fmla="*/ 16 h 39"/>
                <a:gd name="T6" fmla="*/ 6 w 64"/>
                <a:gd name="T7" fmla="*/ 0 h 39"/>
                <a:gd name="T8" fmla="*/ 64 w 64"/>
                <a:gd name="T9" fmla="*/ 25 h 39"/>
              </a:gdLst>
              <a:ahLst/>
              <a:cxnLst>
                <a:cxn ang="0">
                  <a:pos x="T0" y="T1"/>
                </a:cxn>
                <a:cxn ang="0">
                  <a:pos x="T2" y="T3"/>
                </a:cxn>
                <a:cxn ang="0">
                  <a:pos x="T4" y="T5"/>
                </a:cxn>
                <a:cxn ang="0">
                  <a:pos x="T6" y="T7"/>
                </a:cxn>
                <a:cxn ang="0">
                  <a:pos x="T8" y="T9"/>
                </a:cxn>
              </a:cxnLst>
              <a:rect l="0" t="0" r="r" b="b"/>
              <a:pathLst>
                <a:path w="64" h="39">
                  <a:moveTo>
                    <a:pt x="64" y="25"/>
                  </a:moveTo>
                  <a:lnTo>
                    <a:pt x="58" y="39"/>
                  </a:lnTo>
                  <a:lnTo>
                    <a:pt x="0" y="16"/>
                  </a:lnTo>
                  <a:lnTo>
                    <a:pt x="6" y="0"/>
                  </a:lnTo>
                  <a:lnTo>
                    <a:pt x="6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5" name="Freeform 375">
              <a:extLst>
                <a:ext uri="{FF2B5EF4-FFF2-40B4-BE49-F238E27FC236}">
                  <a16:creationId xmlns:a16="http://schemas.microsoft.com/office/drawing/2014/main" id="{91E99D16-9511-F121-4BC8-FFB9A63BFA6B}"/>
                </a:ext>
              </a:extLst>
            </p:cNvPr>
            <p:cNvSpPr>
              <a:spLocks/>
            </p:cNvSpPr>
            <p:nvPr/>
          </p:nvSpPr>
          <p:spPr bwMode="auto">
            <a:xfrm>
              <a:off x="546010" y="4532825"/>
              <a:ext cx="101600" cy="66675"/>
            </a:xfrm>
            <a:custGeom>
              <a:avLst/>
              <a:gdLst>
                <a:gd name="T0" fmla="*/ 63 w 63"/>
                <a:gd name="T1" fmla="*/ 28 h 41"/>
                <a:gd name="T2" fmla="*/ 62 w 63"/>
                <a:gd name="T3" fmla="*/ 30 h 41"/>
                <a:gd name="T4" fmla="*/ 60 w 63"/>
                <a:gd name="T5" fmla="*/ 34 h 41"/>
                <a:gd name="T6" fmla="*/ 57 w 63"/>
                <a:gd name="T7" fmla="*/ 41 h 41"/>
                <a:gd name="T8" fmla="*/ 0 w 63"/>
                <a:gd name="T9" fmla="*/ 16 h 41"/>
                <a:gd name="T10" fmla="*/ 4 w 63"/>
                <a:gd name="T11" fmla="*/ 8 h 41"/>
                <a:gd name="T12" fmla="*/ 6 w 63"/>
                <a:gd name="T13" fmla="*/ 3 h 41"/>
                <a:gd name="T14" fmla="*/ 7 w 63"/>
                <a:gd name="T15" fmla="*/ 0 h 41"/>
                <a:gd name="T16" fmla="*/ 63 w 63"/>
                <a:gd name="T17"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28"/>
                  </a:moveTo>
                  <a:cubicBezTo>
                    <a:pt x="63" y="28"/>
                    <a:pt x="63" y="28"/>
                    <a:pt x="62" y="30"/>
                  </a:cubicBezTo>
                  <a:cubicBezTo>
                    <a:pt x="61" y="31"/>
                    <a:pt x="60" y="33"/>
                    <a:pt x="60" y="34"/>
                  </a:cubicBezTo>
                  <a:cubicBezTo>
                    <a:pt x="58" y="38"/>
                    <a:pt x="57" y="41"/>
                    <a:pt x="57" y="41"/>
                  </a:cubicBezTo>
                  <a:cubicBezTo>
                    <a:pt x="0" y="16"/>
                    <a:pt x="0" y="16"/>
                    <a:pt x="0" y="16"/>
                  </a:cubicBezTo>
                  <a:cubicBezTo>
                    <a:pt x="0" y="16"/>
                    <a:pt x="2" y="12"/>
                    <a:pt x="4" y="8"/>
                  </a:cubicBezTo>
                  <a:cubicBezTo>
                    <a:pt x="5" y="6"/>
                    <a:pt x="5" y="4"/>
                    <a:pt x="6" y="3"/>
                  </a:cubicBezTo>
                  <a:cubicBezTo>
                    <a:pt x="7" y="1"/>
                    <a:pt x="7" y="0"/>
                    <a:pt x="7" y="0"/>
                  </a:cubicBezTo>
                  <a:lnTo>
                    <a:pt x="63"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6" name="Freeform 376">
              <a:extLst>
                <a:ext uri="{FF2B5EF4-FFF2-40B4-BE49-F238E27FC236}">
                  <a16:creationId xmlns:a16="http://schemas.microsoft.com/office/drawing/2014/main" id="{25A761FD-0CAF-0752-FECC-2EC875B710CF}"/>
                </a:ext>
              </a:extLst>
            </p:cNvPr>
            <p:cNvSpPr>
              <a:spLocks/>
            </p:cNvSpPr>
            <p:nvPr/>
          </p:nvSpPr>
          <p:spPr bwMode="auto">
            <a:xfrm>
              <a:off x="566647" y="4491550"/>
              <a:ext cx="100013" cy="71438"/>
            </a:xfrm>
            <a:custGeom>
              <a:avLst/>
              <a:gdLst>
                <a:gd name="T0" fmla="*/ 62 w 62"/>
                <a:gd name="T1" fmla="*/ 30 h 44"/>
                <a:gd name="T2" fmla="*/ 59 w 62"/>
                <a:gd name="T3" fmla="*/ 37 h 44"/>
                <a:gd name="T4" fmla="*/ 55 w 62"/>
                <a:gd name="T5" fmla="*/ 44 h 44"/>
                <a:gd name="T6" fmla="*/ 0 w 62"/>
                <a:gd name="T7" fmla="*/ 15 h 44"/>
                <a:gd name="T8" fmla="*/ 4 w 62"/>
                <a:gd name="T9" fmla="*/ 7 h 44"/>
                <a:gd name="T10" fmla="*/ 9 w 62"/>
                <a:gd name="T11" fmla="*/ 0 h 44"/>
                <a:gd name="T12" fmla="*/ 62 w 62"/>
                <a:gd name="T13" fmla="*/ 30 h 44"/>
              </a:gdLst>
              <a:ahLst/>
              <a:cxnLst>
                <a:cxn ang="0">
                  <a:pos x="T0" y="T1"/>
                </a:cxn>
                <a:cxn ang="0">
                  <a:pos x="T2" y="T3"/>
                </a:cxn>
                <a:cxn ang="0">
                  <a:pos x="T4" y="T5"/>
                </a:cxn>
                <a:cxn ang="0">
                  <a:pos x="T6" y="T7"/>
                </a:cxn>
                <a:cxn ang="0">
                  <a:pos x="T8" y="T9"/>
                </a:cxn>
                <a:cxn ang="0">
                  <a:pos x="T10" y="T11"/>
                </a:cxn>
                <a:cxn ang="0">
                  <a:pos x="T12" y="T13"/>
                </a:cxn>
              </a:cxnLst>
              <a:rect l="0" t="0" r="r" b="b"/>
              <a:pathLst>
                <a:path w="62" h="44">
                  <a:moveTo>
                    <a:pt x="62" y="30"/>
                  </a:moveTo>
                  <a:cubicBezTo>
                    <a:pt x="62" y="30"/>
                    <a:pt x="61" y="34"/>
                    <a:pt x="59" y="37"/>
                  </a:cubicBezTo>
                  <a:cubicBezTo>
                    <a:pt x="57" y="40"/>
                    <a:pt x="55" y="44"/>
                    <a:pt x="55" y="44"/>
                  </a:cubicBezTo>
                  <a:cubicBezTo>
                    <a:pt x="0" y="15"/>
                    <a:pt x="0" y="15"/>
                    <a:pt x="0" y="15"/>
                  </a:cubicBezTo>
                  <a:cubicBezTo>
                    <a:pt x="0" y="15"/>
                    <a:pt x="2" y="11"/>
                    <a:pt x="4" y="7"/>
                  </a:cubicBezTo>
                  <a:cubicBezTo>
                    <a:pt x="6" y="3"/>
                    <a:pt x="9" y="0"/>
                    <a:pt x="9" y="0"/>
                  </a:cubicBezTo>
                  <a:lnTo>
                    <a:pt x="6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7" name="Freeform 377">
              <a:extLst>
                <a:ext uri="{FF2B5EF4-FFF2-40B4-BE49-F238E27FC236}">
                  <a16:creationId xmlns:a16="http://schemas.microsoft.com/office/drawing/2014/main" id="{7C1BB9B9-DAF3-12AE-4FD1-54C0402D4509}"/>
                </a:ext>
              </a:extLst>
            </p:cNvPr>
            <p:cNvSpPr>
              <a:spLocks/>
            </p:cNvSpPr>
            <p:nvPr/>
          </p:nvSpPr>
          <p:spPr bwMode="auto">
            <a:xfrm>
              <a:off x="590460" y="4448687"/>
              <a:ext cx="98425" cy="74613"/>
            </a:xfrm>
            <a:custGeom>
              <a:avLst/>
              <a:gdLst>
                <a:gd name="T0" fmla="*/ 61 w 61"/>
                <a:gd name="T1" fmla="*/ 34 h 46"/>
                <a:gd name="T2" fmla="*/ 57 w 61"/>
                <a:gd name="T3" fmla="*/ 40 h 46"/>
                <a:gd name="T4" fmla="*/ 54 w 61"/>
                <a:gd name="T5" fmla="*/ 44 h 46"/>
                <a:gd name="T6" fmla="*/ 53 w 61"/>
                <a:gd name="T7" fmla="*/ 46 h 46"/>
                <a:gd name="T8" fmla="*/ 0 w 61"/>
                <a:gd name="T9" fmla="*/ 15 h 46"/>
                <a:gd name="T10" fmla="*/ 1 w 61"/>
                <a:gd name="T11" fmla="*/ 12 h 46"/>
                <a:gd name="T12" fmla="*/ 4 w 61"/>
                <a:gd name="T13" fmla="*/ 7 h 46"/>
                <a:gd name="T14" fmla="*/ 9 w 61"/>
                <a:gd name="T15" fmla="*/ 0 h 46"/>
                <a:gd name="T16" fmla="*/ 61 w 61"/>
                <a:gd name="T17"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6">
                  <a:moveTo>
                    <a:pt x="61" y="34"/>
                  </a:moveTo>
                  <a:cubicBezTo>
                    <a:pt x="61" y="34"/>
                    <a:pt x="59" y="37"/>
                    <a:pt x="57" y="40"/>
                  </a:cubicBezTo>
                  <a:cubicBezTo>
                    <a:pt x="56" y="42"/>
                    <a:pt x="55" y="43"/>
                    <a:pt x="54" y="44"/>
                  </a:cubicBezTo>
                  <a:cubicBezTo>
                    <a:pt x="54" y="46"/>
                    <a:pt x="53" y="46"/>
                    <a:pt x="53" y="46"/>
                  </a:cubicBezTo>
                  <a:cubicBezTo>
                    <a:pt x="0" y="15"/>
                    <a:pt x="0" y="15"/>
                    <a:pt x="0" y="15"/>
                  </a:cubicBezTo>
                  <a:cubicBezTo>
                    <a:pt x="0" y="15"/>
                    <a:pt x="1" y="14"/>
                    <a:pt x="1" y="12"/>
                  </a:cubicBezTo>
                  <a:cubicBezTo>
                    <a:pt x="2" y="11"/>
                    <a:pt x="3" y="9"/>
                    <a:pt x="4" y="7"/>
                  </a:cubicBezTo>
                  <a:cubicBezTo>
                    <a:pt x="7" y="4"/>
                    <a:pt x="9" y="0"/>
                    <a:pt x="9" y="0"/>
                  </a:cubicBezTo>
                  <a:lnTo>
                    <a:pt x="6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8" name="Freeform 378">
              <a:extLst>
                <a:ext uri="{FF2B5EF4-FFF2-40B4-BE49-F238E27FC236}">
                  <a16:creationId xmlns:a16="http://schemas.microsoft.com/office/drawing/2014/main" id="{93FA2883-B355-4254-60FE-2BEFABEBC471}"/>
                </a:ext>
              </a:extLst>
            </p:cNvPr>
            <p:cNvSpPr>
              <a:spLocks/>
            </p:cNvSpPr>
            <p:nvPr/>
          </p:nvSpPr>
          <p:spPr bwMode="auto">
            <a:xfrm>
              <a:off x="617447" y="4409000"/>
              <a:ext cx="95250" cy="79375"/>
            </a:xfrm>
            <a:custGeom>
              <a:avLst/>
              <a:gdLst>
                <a:gd name="T0" fmla="*/ 60 w 60"/>
                <a:gd name="T1" fmla="*/ 38 h 50"/>
                <a:gd name="T2" fmla="*/ 51 w 60"/>
                <a:gd name="T3" fmla="*/ 50 h 50"/>
                <a:gd name="T4" fmla="*/ 0 w 60"/>
                <a:gd name="T5" fmla="*/ 14 h 50"/>
                <a:gd name="T6" fmla="*/ 10 w 60"/>
                <a:gd name="T7" fmla="*/ 0 h 50"/>
                <a:gd name="T8" fmla="*/ 60 w 60"/>
                <a:gd name="T9" fmla="*/ 38 h 50"/>
              </a:gdLst>
              <a:ahLst/>
              <a:cxnLst>
                <a:cxn ang="0">
                  <a:pos x="T0" y="T1"/>
                </a:cxn>
                <a:cxn ang="0">
                  <a:pos x="T2" y="T3"/>
                </a:cxn>
                <a:cxn ang="0">
                  <a:pos x="T4" y="T5"/>
                </a:cxn>
                <a:cxn ang="0">
                  <a:pos x="T6" y="T7"/>
                </a:cxn>
                <a:cxn ang="0">
                  <a:pos x="T8" y="T9"/>
                </a:cxn>
              </a:cxnLst>
              <a:rect l="0" t="0" r="r" b="b"/>
              <a:pathLst>
                <a:path w="60" h="50">
                  <a:moveTo>
                    <a:pt x="60" y="38"/>
                  </a:moveTo>
                  <a:lnTo>
                    <a:pt x="51" y="50"/>
                  </a:lnTo>
                  <a:lnTo>
                    <a:pt x="0" y="14"/>
                  </a:lnTo>
                  <a:lnTo>
                    <a:pt x="10" y="0"/>
                  </a:lnTo>
                  <a:lnTo>
                    <a:pt x="6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79" name="Freeform 379">
              <a:extLst>
                <a:ext uri="{FF2B5EF4-FFF2-40B4-BE49-F238E27FC236}">
                  <a16:creationId xmlns:a16="http://schemas.microsoft.com/office/drawing/2014/main" id="{5FA6A488-4748-E3A1-3769-4277706AC013}"/>
                </a:ext>
              </a:extLst>
            </p:cNvPr>
            <p:cNvSpPr>
              <a:spLocks/>
            </p:cNvSpPr>
            <p:nvPr/>
          </p:nvSpPr>
          <p:spPr bwMode="auto">
            <a:xfrm>
              <a:off x="646022" y="4372487"/>
              <a:ext cx="93663" cy="80963"/>
            </a:xfrm>
            <a:custGeom>
              <a:avLst/>
              <a:gdLst>
                <a:gd name="T0" fmla="*/ 59 w 59"/>
                <a:gd name="T1" fmla="*/ 39 h 51"/>
                <a:gd name="T2" fmla="*/ 49 w 59"/>
                <a:gd name="T3" fmla="*/ 51 h 51"/>
                <a:gd name="T4" fmla="*/ 0 w 59"/>
                <a:gd name="T5" fmla="*/ 13 h 51"/>
                <a:gd name="T6" fmla="*/ 10 w 59"/>
                <a:gd name="T7" fmla="*/ 0 h 51"/>
                <a:gd name="T8" fmla="*/ 59 w 59"/>
                <a:gd name="T9" fmla="*/ 39 h 51"/>
              </a:gdLst>
              <a:ahLst/>
              <a:cxnLst>
                <a:cxn ang="0">
                  <a:pos x="T0" y="T1"/>
                </a:cxn>
                <a:cxn ang="0">
                  <a:pos x="T2" y="T3"/>
                </a:cxn>
                <a:cxn ang="0">
                  <a:pos x="T4" y="T5"/>
                </a:cxn>
                <a:cxn ang="0">
                  <a:pos x="T6" y="T7"/>
                </a:cxn>
                <a:cxn ang="0">
                  <a:pos x="T8" y="T9"/>
                </a:cxn>
              </a:cxnLst>
              <a:rect l="0" t="0" r="r" b="b"/>
              <a:pathLst>
                <a:path w="59" h="51">
                  <a:moveTo>
                    <a:pt x="59" y="39"/>
                  </a:moveTo>
                  <a:lnTo>
                    <a:pt x="49" y="51"/>
                  </a:lnTo>
                  <a:lnTo>
                    <a:pt x="0" y="13"/>
                  </a:lnTo>
                  <a:lnTo>
                    <a:pt x="10" y="0"/>
                  </a:lnTo>
                  <a:lnTo>
                    <a:pt x="59"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0" name="Freeform 380">
              <a:extLst>
                <a:ext uri="{FF2B5EF4-FFF2-40B4-BE49-F238E27FC236}">
                  <a16:creationId xmlns:a16="http://schemas.microsoft.com/office/drawing/2014/main" id="{7772E3AA-3552-C064-BEE7-3711698508F3}"/>
                </a:ext>
              </a:extLst>
            </p:cNvPr>
            <p:cNvSpPr>
              <a:spLocks/>
            </p:cNvSpPr>
            <p:nvPr/>
          </p:nvSpPr>
          <p:spPr bwMode="auto">
            <a:xfrm>
              <a:off x="676185" y="4334387"/>
              <a:ext cx="92075" cy="85725"/>
            </a:xfrm>
            <a:custGeom>
              <a:avLst/>
              <a:gdLst>
                <a:gd name="T0" fmla="*/ 57 w 57"/>
                <a:gd name="T1" fmla="*/ 42 h 53"/>
                <a:gd name="T2" fmla="*/ 52 w 57"/>
                <a:gd name="T3" fmla="*/ 48 h 53"/>
                <a:gd name="T4" fmla="*/ 47 w 57"/>
                <a:gd name="T5" fmla="*/ 53 h 53"/>
                <a:gd name="T6" fmla="*/ 0 w 57"/>
                <a:gd name="T7" fmla="*/ 13 h 53"/>
                <a:gd name="T8" fmla="*/ 5 w 57"/>
                <a:gd name="T9" fmla="*/ 6 h 53"/>
                <a:gd name="T10" fmla="*/ 11 w 57"/>
                <a:gd name="T11" fmla="*/ 0 h 53"/>
                <a:gd name="T12" fmla="*/ 57 w 57"/>
                <a:gd name="T13" fmla="*/ 42 h 53"/>
              </a:gdLst>
              <a:ahLst/>
              <a:cxnLst>
                <a:cxn ang="0">
                  <a:pos x="T0" y="T1"/>
                </a:cxn>
                <a:cxn ang="0">
                  <a:pos x="T2" y="T3"/>
                </a:cxn>
                <a:cxn ang="0">
                  <a:pos x="T4" y="T5"/>
                </a:cxn>
                <a:cxn ang="0">
                  <a:pos x="T6" y="T7"/>
                </a:cxn>
                <a:cxn ang="0">
                  <a:pos x="T8" y="T9"/>
                </a:cxn>
                <a:cxn ang="0">
                  <a:pos x="T10" y="T11"/>
                </a:cxn>
                <a:cxn ang="0">
                  <a:pos x="T12" y="T13"/>
                </a:cxn>
              </a:cxnLst>
              <a:rect l="0" t="0" r="r" b="b"/>
              <a:pathLst>
                <a:path w="57" h="53">
                  <a:moveTo>
                    <a:pt x="57" y="42"/>
                  </a:moveTo>
                  <a:cubicBezTo>
                    <a:pt x="57" y="42"/>
                    <a:pt x="54" y="45"/>
                    <a:pt x="52" y="48"/>
                  </a:cubicBezTo>
                  <a:cubicBezTo>
                    <a:pt x="49" y="50"/>
                    <a:pt x="47" y="53"/>
                    <a:pt x="47" y="53"/>
                  </a:cubicBezTo>
                  <a:cubicBezTo>
                    <a:pt x="0" y="13"/>
                    <a:pt x="0" y="13"/>
                    <a:pt x="0" y="13"/>
                  </a:cubicBezTo>
                  <a:cubicBezTo>
                    <a:pt x="0" y="13"/>
                    <a:pt x="3" y="10"/>
                    <a:pt x="5" y="6"/>
                  </a:cubicBezTo>
                  <a:cubicBezTo>
                    <a:pt x="8" y="3"/>
                    <a:pt x="11" y="0"/>
                    <a:pt x="11" y="0"/>
                  </a:cubicBezTo>
                  <a:lnTo>
                    <a:pt x="57"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1" name="Freeform 381">
              <a:extLst>
                <a:ext uri="{FF2B5EF4-FFF2-40B4-BE49-F238E27FC236}">
                  <a16:creationId xmlns:a16="http://schemas.microsoft.com/office/drawing/2014/main" id="{F3F1993E-8E23-4D1B-38B9-FB3F9F3FC307}"/>
                </a:ext>
              </a:extLst>
            </p:cNvPr>
            <p:cNvSpPr>
              <a:spLocks/>
            </p:cNvSpPr>
            <p:nvPr/>
          </p:nvSpPr>
          <p:spPr bwMode="auto">
            <a:xfrm>
              <a:off x="707935" y="4301050"/>
              <a:ext cx="88900" cy="88900"/>
            </a:xfrm>
            <a:custGeom>
              <a:avLst/>
              <a:gdLst>
                <a:gd name="T0" fmla="*/ 55 w 55"/>
                <a:gd name="T1" fmla="*/ 44 h 55"/>
                <a:gd name="T2" fmla="*/ 50 w 55"/>
                <a:gd name="T3" fmla="*/ 49 h 55"/>
                <a:gd name="T4" fmla="*/ 45 w 55"/>
                <a:gd name="T5" fmla="*/ 55 h 55"/>
                <a:gd name="T6" fmla="*/ 0 w 55"/>
                <a:gd name="T7" fmla="*/ 12 h 55"/>
                <a:gd name="T8" fmla="*/ 6 w 55"/>
                <a:gd name="T9" fmla="*/ 5 h 55"/>
                <a:gd name="T10" fmla="*/ 12 w 55"/>
                <a:gd name="T11" fmla="*/ 0 h 55"/>
                <a:gd name="T12" fmla="*/ 55 w 55"/>
                <a:gd name="T13" fmla="*/ 44 h 55"/>
              </a:gdLst>
              <a:ahLst/>
              <a:cxnLst>
                <a:cxn ang="0">
                  <a:pos x="T0" y="T1"/>
                </a:cxn>
                <a:cxn ang="0">
                  <a:pos x="T2" y="T3"/>
                </a:cxn>
                <a:cxn ang="0">
                  <a:pos x="T4" y="T5"/>
                </a:cxn>
                <a:cxn ang="0">
                  <a:pos x="T6" y="T7"/>
                </a:cxn>
                <a:cxn ang="0">
                  <a:pos x="T8" y="T9"/>
                </a:cxn>
                <a:cxn ang="0">
                  <a:pos x="T10" y="T11"/>
                </a:cxn>
                <a:cxn ang="0">
                  <a:pos x="T12" y="T13"/>
                </a:cxn>
              </a:cxnLst>
              <a:rect l="0" t="0" r="r" b="b"/>
              <a:pathLst>
                <a:path w="55" h="55">
                  <a:moveTo>
                    <a:pt x="55" y="44"/>
                  </a:moveTo>
                  <a:cubicBezTo>
                    <a:pt x="55" y="44"/>
                    <a:pt x="52" y="47"/>
                    <a:pt x="50" y="49"/>
                  </a:cubicBezTo>
                  <a:cubicBezTo>
                    <a:pt x="47" y="52"/>
                    <a:pt x="45" y="55"/>
                    <a:pt x="45" y="55"/>
                  </a:cubicBezTo>
                  <a:cubicBezTo>
                    <a:pt x="0" y="12"/>
                    <a:pt x="0" y="12"/>
                    <a:pt x="0" y="12"/>
                  </a:cubicBezTo>
                  <a:cubicBezTo>
                    <a:pt x="0" y="12"/>
                    <a:pt x="3" y="9"/>
                    <a:pt x="6" y="5"/>
                  </a:cubicBezTo>
                  <a:cubicBezTo>
                    <a:pt x="9" y="3"/>
                    <a:pt x="12" y="0"/>
                    <a:pt x="12" y="0"/>
                  </a:cubicBezTo>
                  <a:lnTo>
                    <a:pt x="55"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2" name="Freeform 382">
              <a:extLst>
                <a:ext uri="{FF2B5EF4-FFF2-40B4-BE49-F238E27FC236}">
                  <a16:creationId xmlns:a16="http://schemas.microsoft.com/office/drawing/2014/main" id="{19E39A42-6CF2-66D2-47D7-E3BEF87262A1}"/>
                </a:ext>
              </a:extLst>
            </p:cNvPr>
            <p:cNvSpPr>
              <a:spLocks/>
            </p:cNvSpPr>
            <p:nvPr/>
          </p:nvSpPr>
          <p:spPr bwMode="auto">
            <a:xfrm>
              <a:off x="742860" y="4266125"/>
              <a:ext cx="85725" cy="92075"/>
            </a:xfrm>
            <a:custGeom>
              <a:avLst/>
              <a:gdLst>
                <a:gd name="T0" fmla="*/ 54 w 54"/>
                <a:gd name="T1" fmla="*/ 47 h 57"/>
                <a:gd name="T2" fmla="*/ 48 w 54"/>
                <a:gd name="T3" fmla="*/ 52 h 57"/>
                <a:gd name="T4" fmla="*/ 42 w 54"/>
                <a:gd name="T5" fmla="*/ 57 h 57"/>
                <a:gd name="T6" fmla="*/ 0 w 54"/>
                <a:gd name="T7" fmla="*/ 12 h 57"/>
                <a:gd name="T8" fmla="*/ 7 w 54"/>
                <a:gd name="T9" fmla="*/ 6 h 57"/>
                <a:gd name="T10" fmla="*/ 13 w 54"/>
                <a:gd name="T11" fmla="*/ 0 h 57"/>
                <a:gd name="T12" fmla="*/ 54 w 54"/>
                <a:gd name="T13" fmla="*/ 47 h 57"/>
              </a:gdLst>
              <a:ahLst/>
              <a:cxnLst>
                <a:cxn ang="0">
                  <a:pos x="T0" y="T1"/>
                </a:cxn>
                <a:cxn ang="0">
                  <a:pos x="T2" y="T3"/>
                </a:cxn>
                <a:cxn ang="0">
                  <a:pos x="T4" y="T5"/>
                </a:cxn>
                <a:cxn ang="0">
                  <a:pos x="T6" y="T7"/>
                </a:cxn>
                <a:cxn ang="0">
                  <a:pos x="T8" y="T9"/>
                </a:cxn>
                <a:cxn ang="0">
                  <a:pos x="T10" y="T11"/>
                </a:cxn>
                <a:cxn ang="0">
                  <a:pos x="T12" y="T13"/>
                </a:cxn>
              </a:cxnLst>
              <a:rect l="0" t="0" r="r" b="b"/>
              <a:pathLst>
                <a:path w="54" h="57">
                  <a:moveTo>
                    <a:pt x="54" y="47"/>
                  </a:moveTo>
                  <a:cubicBezTo>
                    <a:pt x="54" y="47"/>
                    <a:pt x="51" y="50"/>
                    <a:pt x="48" y="52"/>
                  </a:cubicBezTo>
                  <a:cubicBezTo>
                    <a:pt x="45" y="55"/>
                    <a:pt x="42" y="57"/>
                    <a:pt x="42" y="57"/>
                  </a:cubicBezTo>
                  <a:cubicBezTo>
                    <a:pt x="0" y="12"/>
                    <a:pt x="0" y="12"/>
                    <a:pt x="0" y="12"/>
                  </a:cubicBezTo>
                  <a:cubicBezTo>
                    <a:pt x="0" y="12"/>
                    <a:pt x="3" y="9"/>
                    <a:pt x="7" y="6"/>
                  </a:cubicBezTo>
                  <a:cubicBezTo>
                    <a:pt x="10" y="3"/>
                    <a:pt x="13" y="0"/>
                    <a:pt x="13" y="0"/>
                  </a:cubicBezTo>
                  <a:lnTo>
                    <a:pt x="54"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3" name="Freeform 383">
              <a:extLst>
                <a:ext uri="{FF2B5EF4-FFF2-40B4-BE49-F238E27FC236}">
                  <a16:creationId xmlns:a16="http://schemas.microsoft.com/office/drawing/2014/main" id="{FD7A4D5E-447F-807A-CF0F-42A5EA415F19}"/>
                </a:ext>
              </a:extLst>
            </p:cNvPr>
            <p:cNvSpPr>
              <a:spLocks/>
            </p:cNvSpPr>
            <p:nvPr/>
          </p:nvSpPr>
          <p:spPr bwMode="auto">
            <a:xfrm>
              <a:off x="779372" y="4235962"/>
              <a:ext cx="82550" cy="95250"/>
            </a:xfrm>
            <a:custGeom>
              <a:avLst/>
              <a:gdLst>
                <a:gd name="T0" fmla="*/ 52 w 52"/>
                <a:gd name="T1" fmla="*/ 51 h 60"/>
                <a:gd name="T2" fmla="*/ 40 w 52"/>
                <a:gd name="T3" fmla="*/ 60 h 60"/>
                <a:gd name="T4" fmla="*/ 0 w 52"/>
                <a:gd name="T5" fmla="*/ 11 h 60"/>
                <a:gd name="T6" fmla="*/ 13 w 52"/>
                <a:gd name="T7" fmla="*/ 0 h 60"/>
                <a:gd name="T8" fmla="*/ 52 w 52"/>
                <a:gd name="T9" fmla="*/ 51 h 60"/>
              </a:gdLst>
              <a:ahLst/>
              <a:cxnLst>
                <a:cxn ang="0">
                  <a:pos x="T0" y="T1"/>
                </a:cxn>
                <a:cxn ang="0">
                  <a:pos x="T2" y="T3"/>
                </a:cxn>
                <a:cxn ang="0">
                  <a:pos x="T4" y="T5"/>
                </a:cxn>
                <a:cxn ang="0">
                  <a:pos x="T6" y="T7"/>
                </a:cxn>
                <a:cxn ang="0">
                  <a:pos x="T8" y="T9"/>
                </a:cxn>
              </a:cxnLst>
              <a:rect l="0" t="0" r="r" b="b"/>
              <a:pathLst>
                <a:path w="52" h="60">
                  <a:moveTo>
                    <a:pt x="52" y="51"/>
                  </a:moveTo>
                  <a:lnTo>
                    <a:pt x="40" y="60"/>
                  </a:lnTo>
                  <a:lnTo>
                    <a:pt x="0" y="11"/>
                  </a:lnTo>
                  <a:lnTo>
                    <a:pt x="13" y="0"/>
                  </a:ln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4" name="Freeform 384">
              <a:extLst>
                <a:ext uri="{FF2B5EF4-FFF2-40B4-BE49-F238E27FC236}">
                  <a16:creationId xmlns:a16="http://schemas.microsoft.com/office/drawing/2014/main" id="{6336F4BE-A3EF-394D-6117-3E956E50D9D6}"/>
                </a:ext>
              </a:extLst>
            </p:cNvPr>
            <p:cNvSpPr>
              <a:spLocks/>
            </p:cNvSpPr>
            <p:nvPr/>
          </p:nvSpPr>
          <p:spPr bwMode="auto">
            <a:xfrm>
              <a:off x="817472" y="4208975"/>
              <a:ext cx="79375" cy="96838"/>
            </a:xfrm>
            <a:custGeom>
              <a:avLst/>
              <a:gdLst>
                <a:gd name="T0" fmla="*/ 50 w 50"/>
                <a:gd name="T1" fmla="*/ 52 h 61"/>
                <a:gd name="T2" fmla="*/ 37 w 50"/>
                <a:gd name="T3" fmla="*/ 61 h 61"/>
                <a:gd name="T4" fmla="*/ 0 w 50"/>
                <a:gd name="T5" fmla="*/ 10 h 61"/>
                <a:gd name="T6" fmla="*/ 15 w 50"/>
                <a:gd name="T7" fmla="*/ 0 h 61"/>
                <a:gd name="T8" fmla="*/ 50 w 50"/>
                <a:gd name="T9" fmla="*/ 52 h 61"/>
              </a:gdLst>
              <a:ahLst/>
              <a:cxnLst>
                <a:cxn ang="0">
                  <a:pos x="T0" y="T1"/>
                </a:cxn>
                <a:cxn ang="0">
                  <a:pos x="T2" y="T3"/>
                </a:cxn>
                <a:cxn ang="0">
                  <a:pos x="T4" y="T5"/>
                </a:cxn>
                <a:cxn ang="0">
                  <a:pos x="T6" y="T7"/>
                </a:cxn>
                <a:cxn ang="0">
                  <a:pos x="T8" y="T9"/>
                </a:cxn>
              </a:cxnLst>
              <a:rect l="0" t="0" r="r" b="b"/>
              <a:pathLst>
                <a:path w="50" h="61">
                  <a:moveTo>
                    <a:pt x="50" y="52"/>
                  </a:moveTo>
                  <a:lnTo>
                    <a:pt x="37" y="61"/>
                  </a:lnTo>
                  <a:lnTo>
                    <a:pt x="0" y="10"/>
                  </a:lnTo>
                  <a:lnTo>
                    <a:pt x="15" y="0"/>
                  </a:lnTo>
                  <a:lnTo>
                    <a:pt x="5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5" name="Freeform 385">
              <a:extLst>
                <a:ext uri="{FF2B5EF4-FFF2-40B4-BE49-F238E27FC236}">
                  <a16:creationId xmlns:a16="http://schemas.microsoft.com/office/drawing/2014/main" id="{D7463A86-410A-5764-0BBD-D2468AAC6A83}"/>
                </a:ext>
              </a:extLst>
            </p:cNvPr>
            <p:cNvSpPr>
              <a:spLocks/>
            </p:cNvSpPr>
            <p:nvPr/>
          </p:nvSpPr>
          <p:spPr bwMode="auto">
            <a:xfrm>
              <a:off x="857160" y="4183575"/>
              <a:ext cx="74613" cy="98425"/>
            </a:xfrm>
            <a:custGeom>
              <a:avLst/>
              <a:gdLst>
                <a:gd name="T0" fmla="*/ 47 w 47"/>
                <a:gd name="T1" fmla="*/ 53 h 61"/>
                <a:gd name="T2" fmla="*/ 45 w 47"/>
                <a:gd name="T3" fmla="*/ 54 h 61"/>
                <a:gd name="T4" fmla="*/ 40 w 47"/>
                <a:gd name="T5" fmla="*/ 57 h 61"/>
                <a:gd name="T6" fmla="*/ 34 w 47"/>
                <a:gd name="T7" fmla="*/ 61 h 61"/>
                <a:gd name="T8" fmla="*/ 0 w 47"/>
                <a:gd name="T9" fmla="*/ 9 h 61"/>
                <a:gd name="T10" fmla="*/ 8 w 47"/>
                <a:gd name="T11" fmla="*/ 4 h 61"/>
                <a:gd name="T12" fmla="*/ 13 w 47"/>
                <a:gd name="T13" fmla="*/ 1 h 61"/>
                <a:gd name="T14" fmla="*/ 15 w 47"/>
                <a:gd name="T15" fmla="*/ 0 h 61"/>
                <a:gd name="T16" fmla="*/ 47 w 47"/>
                <a:gd name="T17"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61">
                  <a:moveTo>
                    <a:pt x="47" y="53"/>
                  </a:moveTo>
                  <a:cubicBezTo>
                    <a:pt x="47" y="53"/>
                    <a:pt x="46" y="53"/>
                    <a:pt x="45" y="54"/>
                  </a:cubicBezTo>
                  <a:cubicBezTo>
                    <a:pt x="44" y="55"/>
                    <a:pt x="42" y="56"/>
                    <a:pt x="40" y="57"/>
                  </a:cubicBezTo>
                  <a:cubicBezTo>
                    <a:pt x="37" y="59"/>
                    <a:pt x="34" y="61"/>
                    <a:pt x="34" y="61"/>
                  </a:cubicBezTo>
                  <a:cubicBezTo>
                    <a:pt x="0" y="9"/>
                    <a:pt x="0" y="9"/>
                    <a:pt x="0" y="9"/>
                  </a:cubicBezTo>
                  <a:cubicBezTo>
                    <a:pt x="0" y="9"/>
                    <a:pt x="4" y="6"/>
                    <a:pt x="8" y="4"/>
                  </a:cubicBezTo>
                  <a:cubicBezTo>
                    <a:pt x="9" y="3"/>
                    <a:pt x="11" y="2"/>
                    <a:pt x="13" y="1"/>
                  </a:cubicBezTo>
                  <a:cubicBezTo>
                    <a:pt x="14" y="0"/>
                    <a:pt x="15" y="0"/>
                    <a:pt x="15" y="0"/>
                  </a:cubicBezTo>
                  <a:lnTo>
                    <a:pt x="4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6" name="Freeform 386">
              <a:extLst>
                <a:ext uri="{FF2B5EF4-FFF2-40B4-BE49-F238E27FC236}">
                  <a16:creationId xmlns:a16="http://schemas.microsoft.com/office/drawing/2014/main" id="{E7D25530-9FF4-E649-A870-7F1CEDAB1F30}"/>
                </a:ext>
              </a:extLst>
            </p:cNvPr>
            <p:cNvSpPr>
              <a:spLocks/>
            </p:cNvSpPr>
            <p:nvPr/>
          </p:nvSpPr>
          <p:spPr bwMode="auto">
            <a:xfrm>
              <a:off x="898435" y="4158175"/>
              <a:ext cx="71438" cy="100013"/>
            </a:xfrm>
            <a:custGeom>
              <a:avLst/>
              <a:gdLst>
                <a:gd name="T0" fmla="*/ 44 w 44"/>
                <a:gd name="T1" fmla="*/ 55 h 62"/>
                <a:gd name="T2" fmla="*/ 37 w 44"/>
                <a:gd name="T3" fmla="*/ 58 h 62"/>
                <a:gd name="T4" fmla="*/ 31 w 44"/>
                <a:gd name="T5" fmla="*/ 62 h 62"/>
                <a:gd name="T6" fmla="*/ 0 w 44"/>
                <a:gd name="T7" fmla="*/ 8 h 62"/>
                <a:gd name="T8" fmla="*/ 8 w 44"/>
                <a:gd name="T9" fmla="*/ 4 h 62"/>
                <a:gd name="T10" fmla="*/ 15 w 44"/>
                <a:gd name="T11" fmla="*/ 0 h 62"/>
                <a:gd name="T12" fmla="*/ 44 w 44"/>
                <a:gd name="T13" fmla="*/ 55 h 62"/>
              </a:gdLst>
              <a:ahLst/>
              <a:cxnLst>
                <a:cxn ang="0">
                  <a:pos x="T0" y="T1"/>
                </a:cxn>
                <a:cxn ang="0">
                  <a:pos x="T2" y="T3"/>
                </a:cxn>
                <a:cxn ang="0">
                  <a:pos x="T4" y="T5"/>
                </a:cxn>
                <a:cxn ang="0">
                  <a:pos x="T6" y="T7"/>
                </a:cxn>
                <a:cxn ang="0">
                  <a:pos x="T8" y="T9"/>
                </a:cxn>
                <a:cxn ang="0">
                  <a:pos x="T10" y="T11"/>
                </a:cxn>
                <a:cxn ang="0">
                  <a:pos x="T12" y="T13"/>
                </a:cxn>
              </a:cxnLst>
              <a:rect l="0" t="0" r="r" b="b"/>
              <a:pathLst>
                <a:path w="44" h="62">
                  <a:moveTo>
                    <a:pt x="44" y="55"/>
                  </a:moveTo>
                  <a:cubicBezTo>
                    <a:pt x="44" y="55"/>
                    <a:pt x="41" y="56"/>
                    <a:pt x="37" y="58"/>
                  </a:cubicBezTo>
                  <a:cubicBezTo>
                    <a:pt x="34" y="60"/>
                    <a:pt x="31" y="62"/>
                    <a:pt x="31" y="62"/>
                  </a:cubicBezTo>
                  <a:cubicBezTo>
                    <a:pt x="0" y="8"/>
                    <a:pt x="0" y="8"/>
                    <a:pt x="0" y="8"/>
                  </a:cubicBezTo>
                  <a:cubicBezTo>
                    <a:pt x="0" y="8"/>
                    <a:pt x="4" y="6"/>
                    <a:pt x="8" y="4"/>
                  </a:cubicBezTo>
                  <a:cubicBezTo>
                    <a:pt x="11" y="2"/>
                    <a:pt x="15" y="0"/>
                    <a:pt x="15" y="0"/>
                  </a:cubicBezTo>
                  <a:lnTo>
                    <a:pt x="44"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7" name="Freeform 387">
              <a:extLst>
                <a:ext uri="{FF2B5EF4-FFF2-40B4-BE49-F238E27FC236}">
                  <a16:creationId xmlns:a16="http://schemas.microsoft.com/office/drawing/2014/main" id="{5BBFB524-3950-9577-999F-B4DD7A8C5B21}"/>
                </a:ext>
              </a:extLst>
            </p:cNvPr>
            <p:cNvSpPr>
              <a:spLocks/>
            </p:cNvSpPr>
            <p:nvPr/>
          </p:nvSpPr>
          <p:spPr bwMode="auto">
            <a:xfrm>
              <a:off x="941297" y="4137537"/>
              <a:ext cx="66675" cy="101600"/>
            </a:xfrm>
            <a:custGeom>
              <a:avLst/>
              <a:gdLst>
                <a:gd name="T0" fmla="*/ 41 w 41"/>
                <a:gd name="T1" fmla="*/ 56 h 63"/>
                <a:gd name="T2" fmla="*/ 34 w 41"/>
                <a:gd name="T3" fmla="*/ 59 h 63"/>
                <a:gd name="T4" fmla="*/ 29 w 41"/>
                <a:gd name="T5" fmla="*/ 62 h 63"/>
                <a:gd name="T6" fmla="*/ 27 w 41"/>
                <a:gd name="T7" fmla="*/ 63 h 63"/>
                <a:gd name="T8" fmla="*/ 0 w 41"/>
                <a:gd name="T9" fmla="*/ 7 h 63"/>
                <a:gd name="T10" fmla="*/ 2 w 41"/>
                <a:gd name="T11" fmla="*/ 6 h 63"/>
                <a:gd name="T12" fmla="*/ 7 w 41"/>
                <a:gd name="T13" fmla="*/ 3 h 63"/>
                <a:gd name="T14" fmla="*/ 15 w 41"/>
                <a:gd name="T15" fmla="*/ 0 h 63"/>
                <a:gd name="T16" fmla="*/ 41 w 41"/>
                <a:gd name="T17"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3">
                  <a:moveTo>
                    <a:pt x="41" y="56"/>
                  </a:moveTo>
                  <a:cubicBezTo>
                    <a:pt x="41" y="56"/>
                    <a:pt x="37" y="58"/>
                    <a:pt x="34" y="59"/>
                  </a:cubicBezTo>
                  <a:cubicBezTo>
                    <a:pt x="32" y="60"/>
                    <a:pt x="30" y="61"/>
                    <a:pt x="29" y="62"/>
                  </a:cubicBezTo>
                  <a:cubicBezTo>
                    <a:pt x="28" y="62"/>
                    <a:pt x="27" y="63"/>
                    <a:pt x="27" y="63"/>
                  </a:cubicBezTo>
                  <a:cubicBezTo>
                    <a:pt x="0" y="7"/>
                    <a:pt x="0" y="7"/>
                    <a:pt x="0" y="7"/>
                  </a:cubicBezTo>
                  <a:cubicBezTo>
                    <a:pt x="0" y="7"/>
                    <a:pt x="1" y="7"/>
                    <a:pt x="2" y="6"/>
                  </a:cubicBezTo>
                  <a:cubicBezTo>
                    <a:pt x="3" y="5"/>
                    <a:pt x="5" y="4"/>
                    <a:pt x="7" y="3"/>
                  </a:cubicBezTo>
                  <a:cubicBezTo>
                    <a:pt x="11" y="2"/>
                    <a:pt x="15" y="0"/>
                    <a:pt x="15" y="0"/>
                  </a:cubicBezTo>
                  <a:lnTo>
                    <a:pt x="41"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388">
              <a:extLst>
                <a:ext uri="{FF2B5EF4-FFF2-40B4-BE49-F238E27FC236}">
                  <a16:creationId xmlns:a16="http://schemas.microsoft.com/office/drawing/2014/main" id="{4BE8BFEB-2143-02AC-0C2D-62BFB9C19DA8}"/>
                </a:ext>
              </a:extLst>
            </p:cNvPr>
            <p:cNvSpPr>
              <a:spLocks/>
            </p:cNvSpPr>
            <p:nvPr/>
          </p:nvSpPr>
          <p:spPr bwMode="auto">
            <a:xfrm>
              <a:off x="985747" y="4118487"/>
              <a:ext cx="60325" cy="103188"/>
            </a:xfrm>
            <a:custGeom>
              <a:avLst/>
              <a:gdLst>
                <a:gd name="T0" fmla="*/ 38 w 38"/>
                <a:gd name="T1" fmla="*/ 59 h 65"/>
                <a:gd name="T2" fmla="*/ 24 w 38"/>
                <a:gd name="T3" fmla="*/ 65 h 65"/>
                <a:gd name="T4" fmla="*/ 0 w 38"/>
                <a:gd name="T5" fmla="*/ 6 h 65"/>
                <a:gd name="T6" fmla="*/ 16 w 38"/>
                <a:gd name="T7" fmla="*/ 0 h 65"/>
                <a:gd name="T8" fmla="*/ 38 w 38"/>
                <a:gd name="T9" fmla="*/ 59 h 65"/>
              </a:gdLst>
              <a:ahLst/>
              <a:cxnLst>
                <a:cxn ang="0">
                  <a:pos x="T0" y="T1"/>
                </a:cxn>
                <a:cxn ang="0">
                  <a:pos x="T2" y="T3"/>
                </a:cxn>
                <a:cxn ang="0">
                  <a:pos x="T4" y="T5"/>
                </a:cxn>
                <a:cxn ang="0">
                  <a:pos x="T6" y="T7"/>
                </a:cxn>
                <a:cxn ang="0">
                  <a:pos x="T8" y="T9"/>
                </a:cxn>
              </a:cxnLst>
              <a:rect l="0" t="0" r="r" b="b"/>
              <a:pathLst>
                <a:path w="38" h="65">
                  <a:moveTo>
                    <a:pt x="38" y="59"/>
                  </a:moveTo>
                  <a:lnTo>
                    <a:pt x="24" y="65"/>
                  </a:lnTo>
                  <a:lnTo>
                    <a:pt x="0" y="6"/>
                  </a:lnTo>
                  <a:lnTo>
                    <a:pt x="16" y="0"/>
                  </a:lnTo>
                  <a:lnTo>
                    <a:pt x="38"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389">
              <a:extLst>
                <a:ext uri="{FF2B5EF4-FFF2-40B4-BE49-F238E27FC236}">
                  <a16:creationId xmlns:a16="http://schemas.microsoft.com/office/drawing/2014/main" id="{45995B89-8987-EE12-E403-4F2BEA80150A}"/>
                </a:ext>
              </a:extLst>
            </p:cNvPr>
            <p:cNvSpPr>
              <a:spLocks/>
            </p:cNvSpPr>
            <p:nvPr/>
          </p:nvSpPr>
          <p:spPr bwMode="auto">
            <a:xfrm>
              <a:off x="1030197" y="4102612"/>
              <a:ext cx="57150" cy="103188"/>
            </a:xfrm>
            <a:custGeom>
              <a:avLst/>
              <a:gdLst>
                <a:gd name="T0" fmla="*/ 36 w 36"/>
                <a:gd name="T1" fmla="*/ 60 h 65"/>
                <a:gd name="T2" fmla="*/ 22 w 36"/>
                <a:gd name="T3" fmla="*/ 65 h 65"/>
                <a:gd name="T4" fmla="*/ 0 w 36"/>
                <a:gd name="T5" fmla="*/ 6 h 65"/>
                <a:gd name="T6" fmla="*/ 16 w 36"/>
                <a:gd name="T7" fmla="*/ 0 h 65"/>
                <a:gd name="T8" fmla="*/ 36 w 36"/>
                <a:gd name="T9" fmla="*/ 60 h 65"/>
              </a:gdLst>
              <a:ahLst/>
              <a:cxnLst>
                <a:cxn ang="0">
                  <a:pos x="T0" y="T1"/>
                </a:cxn>
                <a:cxn ang="0">
                  <a:pos x="T2" y="T3"/>
                </a:cxn>
                <a:cxn ang="0">
                  <a:pos x="T4" y="T5"/>
                </a:cxn>
                <a:cxn ang="0">
                  <a:pos x="T6" y="T7"/>
                </a:cxn>
                <a:cxn ang="0">
                  <a:pos x="T8" y="T9"/>
                </a:cxn>
              </a:cxnLst>
              <a:rect l="0" t="0" r="r" b="b"/>
              <a:pathLst>
                <a:path w="36" h="65">
                  <a:moveTo>
                    <a:pt x="36" y="60"/>
                  </a:moveTo>
                  <a:lnTo>
                    <a:pt x="22" y="65"/>
                  </a:lnTo>
                  <a:lnTo>
                    <a:pt x="0" y="6"/>
                  </a:lnTo>
                  <a:lnTo>
                    <a:pt x="16" y="0"/>
                  </a:lnTo>
                  <a:lnTo>
                    <a:pt x="3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0" name="Freeform 390">
              <a:extLst>
                <a:ext uri="{FF2B5EF4-FFF2-40B4-BE49-F238E27FC236}">
                  <a16:creationId xmlns:a16="http://schemas.microsoft.com/office/drawing/2014/main" id="{0D90A4F4-7A3E-FDCB-9F3B-45B31BA58185}"/>
                </a:ext>
              </a:extLst>
            </p:cNvPr>
            <p:cNvSpPr>
              <a:spLocks/>
            </p:cNvSpPr>
            <p:nvPr/>
          </p:nvSpPr>
          <p:spPr bwMode="auto">
            <a:xfrm>
              <a:off x="1076235" y="4089912"/>
              <a:ext cx="50800" cy="103188"/>
            </a:xfrm>
            <a:custGeom>
              <a:avLst/>
              <a:gdLst>
                <a:gd name="T0" fmla="*/ 32 w 32"/>
                <a:gd name="T1" fmla="*/ 61 h 65"/>
                <a:gd name="T2" fmla="*/ 18 w 32"/>
                <a:gd name="T3" fmla="*/ 65 h 65"/>
                <a:gd name="T4" fmla="*/ 0 w 32"/>
                <a:gd name="T5" fmla="*/ 4 h 65"/>
                <a:gd name="T6" fmla="*/ 17 w 32"/>
                <a:gd name="T7" fmla="*/ 0 h 65"/>
                <a:gd name="T8" fmla="*/ 32 w 32"/>
                <a:gd name="T9" fmla="*/ 61 h 65"/>
              </a:gdLst>
              <a:ahLst/>
              <a:cxnLst>
                <a:cxn ang="0">
                  <a:pos x="T0" y="T1"/>
                </a:cxn>
                <a:cxn ang="0">
                  <a:pos x="T2" y="T3"/>
                </a:cxn>
                <a:cxn ang="0">
                  <a:pos x="T4" y="T5"/>
                </a:cxn>
                <a:cxn ang="0">
                  <a:pos x="T6" y="T7"/>
                </a:cxn>
                <a:cxn ang="0">
                  <a:pos x="T8" y="T9"/>
                </a:cxn>
              </a:cxnLst>
              <a:rect l="0" t="0" r="r" b="b"/>
              <a:pathLst>
                <a:path w="32" h="65">
                  <a:moveTo>
                    <a:pt x="32" y="61"/>
                  </a:moveTo>
                  <a:lnTo>
                    <a:pt x="18" y="65"/>
                  </a:lnTo>
                  <a:lnTo>
                    <a:pt x="0" y="4"/>
                  </a:lnTo>
                  <a:lnTo>
                    <a:pt x="17" y="0"/>
                  </a:lnTo>
                  <a:lnTo>
                    <a:pt x="3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391">
              <a:extLst>
                <a:ext uri="{FF2B5EF4-FFF2-40B4-BE49-F238E27FC236}">
                  <a16:creationId xmlns:a16="http://schemas.microsoft.com/office/drawing/2014/main" id="{8B426E49-39FD-E956-EBE7-0DE1A4317BBC}"/>
                </a:ext>
              </a:extLst>
            </p:cNvPr>
            <p:cNvSpPr>
              <a:spLocks/>
            </p:cNvSpPr>
            <p:nvPr/>
          </p:nvSpPr>
          <p:spPr bwMode="auto">
            <a:xfrm>
              <a:off x="1122272" y="4077212"/>
              <a:ext cx="46038" cy="104775"/>
            </a:xfrm>
            <a:custGeom>
              <a:avLst/>
              <a:gdLst>
                <a:gd name="T0" fmla="*/ 29 w 29"/>
                <a:gd name="T1" fmla="*/ 61 h 64"/>
                <a:gd name="T2" fmla="*/ 22 w 29"/>
                <a:gd name="T3" fmla="*/ 62 h 64"/>
                <a:gd name="T4" fmla="*/ 14 w 29"/>
                <a:gd name="T5" fmla="*/ 64 h 64"/>
                <a:gd name="T6" fmla="*/ 0 w 29"/>
                <a:gd name="T7" fmla="*/ 4 h 64"/>
                <a:gd name="T8" fmla="*/ 9 w 29"/>
                <a:gd name="T9" fmla="*/ 2 h 64"/>
                <a:gd name="T10" fmla="*/ 17 w 29"/>
                <a:gd name="T11" fmla="*/ 0 h 64"/>
                <a:gd name="T12" fmla="*/ 29 w 29"/>
                <a:gd name="T13" fmla="*/ 61 h 64"/>
              </a:gdLst>
              <a:ahLst/>
              <a:cxnLst>
                <a:cxn ang="0">
                  <a:pos x="T0" y="T1"/>
                </a:cxn>
                <a:cxn ang="0">
                  <a:pos x="T2" y="T3"/>
                </a:cxn>
                <a:cxn ang="0">
                  <a:pos x="T4" y="T5"/>
                </a:cxn>
                <a:cxn ang="0">
                  <a:pos x="T6" y="T7"/>
                </a:cxn>
                <a:cxn ang="0">
                  <a:pos x="T8" y="T9"/>
                </a:cxn>
                <a:cxn ang="0">
                  <a:pos x="T10" y="T11"/>
                </a:cxn>
                <a:cxn ang="0">
                  <a:pos x="T12" y="T13"/>
                </a:cxn>
              </a:cxnLst>
              <a:rect l="0" t="0" r="r" b="b"/>
              <a:pathLst>
                <a:path w="29" h="64">
                  <a:moveTo>
                    <a:pt x="29" y="61"/>
                  </a:moveTo>
                  <a:cubicBezTo>
                    <a:pt x="29" y="61"/>
                    <a:pt x="25" y="62"/>
                    <a:pt x="22" y="62"/>
                  </a:cubicBezTo>
                  <a:cubicBezTo>
                    <a:pt x="18" y="63"/>
                    <a:pt x="14" y="64"/>
                    <a:pt x="14" y="64"/>
                  </a:cubicBezTo>
                  <a:cubicBezTo>
                    <a:pt x="0" y="4"/>
                    <a:pt x="0" y="4"/>
                    <a:pt x="0" y="4"/>
                  </a:cubicBezTo>
                  <a:cubicBezTo>
                    <a:pt x="0" y="4"/>
                    <a:pt x="5" y="3"/>
                    <a:pt x="9" y="2"/>
                  </a:cubicBezTo>
                  <a:cubicBezTo>
                    <a:pt x="13" y="1"/>
                    <a:pt x="17" y="0"/>
                    <a:pt x="17" y="0"/>
                  </a:cubicBezTo>
                  <a:lnTo>
                    <a:pt x="2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2" name="Freeform 392">
              <a:extLst>
                <a:ext uri="{FF2B5EF4-FFF2-40B4-BE49-F238E27FC236}">
                  <a16:creationId xmlns:a16="http://schemas.microsoft.com/office/drawing/2014/main" id="{C3D61C36-905E-C70D-7829-39A2DBA7AF1D}"/>
                </a:ext>
              </a:extLst>
            </p:cNvPr>
            <p:cNvSpPr>
              <a:spLocks/>
            </p:cNvSpPr>
            <p:nvPr/>
          </p:nvSpPr>
          <p:spPr bwMode="auto">
            <a:xfrm>
              <a:off x="1169897" y="4069275"/>
              <a:ext cx="41275" cy="103188"/>
            </a:xfrm>
            <a:custGeom>
              <a:avLst/>
              <a:gdLst>
                <a:gd name="T0" fmla="*/ 25 w 25"/>
                <a:gd name="T1" fmla="*/ 62 h 64"/>
                <a:gd name="T2" fmla="*/ 18 w 25"/>
                <a:gd name="T3" fmla="*/ 63 h 64"/>
                <a:gd name="T4" fmla="*/ 10 w 25"/>
                <a:gd name="T5" fmla="*/ 64 h 64"/>
                <a:gd name="T6" fmla="*/ 0 w 25"/>
                <a:gd name="T7" fmla="*/ 3 h 64"/>
                <a:gd name="T8" fmla="*/ 8 w 25"/>
                <a:gd name="T9" fmla="*/ 1 h 64"/>
                <a:gd name="T10" fmla="*/ 17 w 25"/>
                <a:gd name="T11" fmla="*/ 0 h 64"/>
                <a:gd name="T12" fmla="*/ 25 w 25"/>
                <a:gd name="T13" fmla="*/ 62 h 64"/>
              </a:gdLst>
              <a:ahLst/>
              <a:cxnLst>
                <a:cxn ang="0">
                  <a:pos x="T0" y="T1"/>
                </a:cxn>
                <a:cxn ang="0">
                  <a:pos x="T2" y="T3"/>
                </a:cxn>
                <a:cxn ang="0">
                  <a:pos x="T4" y="T5"/>
                </a:cxn>
                <a:cxn ang="0">
                  <a:pos x="T6" y="T7"/>
                </a:cxn>
                <a:cxn ang="0">
                  <a:pos x="T8" y="T9"/>
                </a:cxn>
                <a:cxn ang="0">
                  <a:pos x="T10" y="T11"/>
                </a:cxn>
                <a:cxn ang="0">
                  <a:pos x="T12" y="T13"/>
                </a:cxn>
              </a:cxnLst>
              <a:rect l="0" t="0" r="r" b="b"/>
              <a:pathLst>
                <a:path w="25" h="64">
                  <a:moveTo>
                    <a:pt x="25" y="62"/>
                  </a:moveTo>
                  <a:cubicBezTo>
                    <a:pt x="25" y="62"/>
                    <a:pt x="21" y="62"/>
                    <a:pt x="18" y="63"/>
                  </a:cubicBezTo>
                  <a:cubicBezTo>
                    <a:pt x="14" y="63"/>
                    <a:pt x="10" y="64"/>
                    <a:pt x="10" y="64"/>
                  </a:cubicBezTo>
                  <a:cubicBezTo>
                    <a:pt x="0" y="3"/>
                    <a:pt x="0" y="3"/>
                    <a:pt x="0" y="3"/>
                  </a:cubicBezTo>
                  <a:cubicBezTo>
                    <a:pt x="0" y="3"/>
                    <a:pt x="4" y="2"/>
                    <a:pt x="8" y="1"/>
                  </a:cubicBezTo>
                  <a:cubicBezTo>
                    <a:pt x="12" y="1"/>
                    <a:pt x="17" y="0"/>
                    <a:pt x="17" y="0"/>
                  </a:cubicBezTo>
                  <a:lnTo>
                    <a:pt x="25"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3" name="Freeform 393">
              <a:extLst>
                <a:ext uri="{FF2B5EF4-FFF2-40B4-BE49-F238E27FC236}">
                  <a16:creationId xmlns:a16="http://schemas.microsoft.com/office/drawing/2014/main" id="{E0726AC0-90D8-E206-37A2-F7153FEECAE7}"/>
                </a:ext>
              </a:extLst>
            </p:cNvPr>
            <p:cNvSpPr>
              <a:spLocks/>
            </p:cNvSpPr>
            <p:nvPr/>
          </p:nvSpPr>
          <p:spPr bwMode="auto">
            <a:xfrm>
              <a:off x="1217522" y="4064512"/>
              <a:ext cx="36513" cy="101600"/>
            </a:xfrm>
            <a:custGeom>
              <a:avLst/>
              <a:gdLst>
                <a:gd name="T0" fmla="*/ 23 w 23"/>
                <a:gd name="T1" fmla="*/ 62 h 63"/>
                <a:gd name="T2" fmla="*/ 15 w 23"/>
                <a:gd name="T3" fmla="*/ 62 h 63"/>
                <a:gd name="T4" fmla="*/ 10 w 23"/>
                <a:gd name="T5" fmla="*/ 63 h 63"/>
                <a:gd name="T6" fmla="*/ 7 w 23"/>
                <a:gd name="T7" fmla="*/ 63 h 63"/>
                <a:gd name="T8" fmla="*/ 0 w 23"/>
                <a:gd name="T9" fmla="*/ 2 h 63"/>
                <a:gd name="T10" fmla="*/ 3 w 23"/>
                <a:gd name="T11" fmla="*/ 1 h 63"/>
                <a:gd name="T12" fmla="*/ 9 w 23"/>
                <a:gd name="T13" fmla="*/ 1 h 63"/>
                <a:gd name="T14" fmla="*/ 18 w 23"/>
                <a:gd name="T15" fmla="*/ 0 h 63"/>
                <a:gd name="T16" fmla="*/ 23 w 23"/>
                <a:gd name="T1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63">
                  <a:moveTo>
                    <a:pt x="23" y="62"/>
                  </a:moveTo>
                  <a:cubicBezTo>
                    <a:pt x="23" y="62"/>
                    <a:pt x="19" y="62"/>
                    <a:pt x="15" y="62"/>
                  </a:cubicBezTo>
                  <a:cubicBezTo>
                    <a:pt x="13" y="62"/>
                    <a:pt x="11" y="63"/>
                    <a:pt x="10" y="63"/>
                  </a:cubicBezTo>
                  <a:cubicBezTo>
                    <a:pt x="8" y="63"/>
                    <a:pt x="7" y="63"/>
                    <a:pt x="7" y="63"/>
                  </a:cubicBezTo>
                  <a:cubicBezTo>
                    <a:pt x="0" y="2"/>
                    <a:pt x="0" y="2"/>
                    <a:pt x="0" y="2"/>
                  </a:cubicBezTo>
                  <a:cubicBezTo>
                    <a:pt x="0" y="2"/>
                    <a:pt x="2" y="1"/>
                    <a:pt x="3" y="1"/>
                  </a:cubicBezTo>
                  <a:cubicBezTo>
                    <a:pt x="5" y="1"/>
                    <a:pt x="7" y="1"/>
                    <a:pt x="9" y="1"/>
                  </a:cubicBezTo>
                  <a:cubicBezTo>
                    <a:pt x="13" y="0"/>
                    <a:pt x="18" y="0"/>
                    <a:pt x="18" y="0"/>
                  </a:cubicBezTo>
                  <a:lnTo>
                    <a:pt x="2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4" name="Freeform 394">
              <a:extLst>
                <a:ext uri="{FF2B5EF4-FFF2-40B4-BE49-F238E27FC236}">
                  <a16:creationId xmlns:a16="http://schemas.microsoft.com/office/drawing/2014/main" id="{E688E1D0-16EC-683A-BC1B-B3A16424407A}"/>
                </a:ext>
              </a:extLst>
            </p:cNvPr>
            <p:cNvSpPr>
              <a:spLocks/>
            </p:cNvSpPr>
            <p:nvPr/>
          </p:nvSpPr>
          <p:spPr bwMode="auto">
            <a:xfrm>
              <a:off x="1265147" y="4061337"/>
              <a:ext cx="31750" cy="101600"/>
            </a:xfrm>
            <a:custGeom>
              <a:avLst/>
              <a:gdLst>
                <a:gd name="T0" fmla="*/ 19 w 19"/>
                <a:gd name="T1" fmla="*/ 62 h 63"/>
                <a:gd name="T2" fmla="*/ 11 w 19"/>
                <a:gd name="T3" fmla="*/ 63 h 63"/>
                <a:gd name="T4" fmla="*/ 6 w 19"/>
                <a:gd name="T5" fmla="*/ 63 h 63"/>
                <a:gd name="T6" fmla="*/ 4 w 19"/>
                <a:gd name="T7" fmla="*/ 63 h 63"/>
                <a:gd name="T8" fmla="*/ 0 w 19"/>
                <a:gd name="T9" fmla="*/ 1 h 63"/>
                <a:gd name="T10" fmla="*/ 3 w 19"/>
                <a:gd name="T11" fmla="*/ 1 h 63"/>
                <a:gd name="T12" fmla="*/ 9 w 19"/>
                <a:gd name="T13" fmla="*/ 1 h 63"/>
                <a:gd name="T14" fmla="*/ 17 w 19"/>
                <a:gd name="T15" fmla="*/ 0 h 63"/>
                <a:gd name="T16" fmla="*/ 19 w 19"/>
                <a:gd name="T1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3">
                  <a:moveTo>
                    <a:pt x="19" y="62"/>
                  </a:moveTo>
                  <a:cubicBezTo>
                    <a:pt x="19" y="62"/>
                    <a:pt x="15" y="62"/>
                    <a:pt x="11" y="63"/>
                  </a:cubicBezTo>
                  <a:cubicBezTo>
                    <a:pt x="9" y="63"/>
                    <a:pt x="8" y="63"/>
                    <a:pt x="6" y="63"/>
                  </a:cubicBezTo>
                  <a:cubicBezTo>
                    <a:pt x="5" y="63"/>
                    <a:pt x="4" y="63"/>
                    <a:pt x="4" y="63"/>
                  </a:cubicBezTo>
                  <a:cubicBezTo>
                    <a:pt x="0" y="1"/>
                    <a:pt x="0" y="1"/>
                    <a:pt x="0" y="1"/>
                  </a:cubicBezTo>
                  <a:cubicBezTo>
                    <a:pt x="0" y="1"/>
                    <a:pt x="1" y="1"/>
                    <a:pt x="3" y="1"/>
                  </a:cubicBezTo>
                  <a:cubicBezTo>
                    <a:pt x="5" y="1"/>
                    <a:pt x="7" y="1"/>
                    <a:pt x="9" y="1"/>
                  </a:cubicBezTo>
                  <a:cubicBezTo>
                    <a:pt x="13" y="0"/>
                    <a:pt x="17" y="0"/>
                    <a:pt x="17" y="0"/>
                  </a:cubicBezTo>
                  <a:lnTo>
                    <a:pt x="19"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395">
              <a:extLst>
                <a:ext uri="{FF2B5EF4-FFF2-40B4-BE49-F238E27FC236}">
                  <a16:creationId xmlns:a16="http://schemas.microsoft.com/office/drawing/2014/main" id="{F2EAE798-2C38-64C3-E58C-CB83A550838B}"/>
                </a:ext>
              </a:extLst>
            </p:cNvPr>
            <p:cNvSpPr>
              <a:spLocks/>
            </p:cNvSpPr>
            <p:nvPr/>
          </p:nvSpPr>
          <p:spPr bwMode="auto">
            <a:xfrm>
              <a:off x="2055722" y="4924937"/>
              <a:ext cx="101600" cy="31750"/>
            </a:xfrm>
            <a:custGeom>
              <a:avLst/>
              <a:gdLst>
                <a:gd name="T0" fmla="*/ 0 w 63"/>
                <a:gd name="T1" fmla="*/ 15 h 19"/>
                <a:gd name="T2" fmla="*/ 0 w 63"/>
                <a:gd name="T3" fmla="*/ 13 h 19"/>
                <a:gd name="T4" fmla="*/ 1 w 63"/>
                <a:gd name="T5" fmla="*/ 8 h 19"/>
                <a:gd name="T6" fmla="*/ 1 w 63"/>
                <a:gd name="T7" fmla="*/ 0 h 19"/>
                <a:gd name="T8" fmla="*/ 63 w 63"/>
                <a:gd name="T9" fmla="*/ 2 h 19"/>
                <a:gd name="T10" fmla="*/ 63 w 63"/>
                <a:gd name="T11" fmla="*/ 10 h 19"/>
                <a:gd name="T12" fmla="*/ 62 w 63"/>
                <a:gd name="T13" fmla="*/ 16 h 19"/>
                <a:gd name="T14" fmla="*/ 62 w 63"/>
                <a:gd name="T15" fmla="*/ 19 h 19"/>
                <a:gd name="T16" fmla="*/ 0 w 63"/>
                <a:gd name="T1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9">
                  <a:moveTo>
                    <a:pt x="0" y="15"/>
                  </a:moveTo>
                  <a:cubicBezTo>
                    <a:pt x="0" y="15"/>
                    <a:pt x="0" y="14"/>
                    <a:pt x="0" y="13"/>
                  </a:cubicBezTo>
                  <a:cubicBezTo>
                    <a:pt x="1" y="12"/>
                    <a:pt x="1" y="10"/>
                    <a:pt x="1" y="8"/>
                  </a:cubicBezTo>
                  <a:cubicBezTo>
                    <a:pt x="1" y="4"/>
                    <a:pt x="1" y="0"/>
                    <a:pt x="1" y="0"/>
                  </a:cubicBezTo>
                  <a:cubicBezTo>
                    <a:pt x="63" y="2"/>
                    <a:pt x="63" y="2"/>
                    <a:pt x="63" y="2"/>
                  </a:cubicBezTo>
                  <a:cubicBezTo>
                    <a:pt x="63" y="2"/>
                    <a:pt x="63" y="6"/>
                    <a:pt x="63" y="10"/>
                  </a:cubicBezTo>
                  <a:cubicBezTo>
                    <a:pt x="63" y="12"/>
                    <a:pt x="62" y="15"/>
                    <a:pt x="62" y="16"/>
                  </a:cubicBezTo>
                  <a:cubicBezTo>
                    <a:pt x="62" y="18"/>
                    <a:pt x="62" y="19"/>
                    <a:pt x="62" y="19"/>
                  </a:cubicBez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396">
              <a:extLst>
                <a:ext uri="{FF2B5EF4-FFF2-40B4-BE49-F238E27FC236}">
                  <a16:creationId xmlns:a16="http://schemas.microsoft.com/office/drawing/2014/main" id="{26A5788D-3603-9C96-D840-43C54E4957B5}"/>
                </a:ext>
              </a:extLst>
            </p:cNvPr>
            <p:cNvSpPr>
              <a:spLocks/>
            </p:cNvSpPr>
            <p:nvPr/>
          </p:nvSpPr>
          <p:spPr bwMode="auto">
            <a:xfrm>
              <a:off x="2052547" y="4969387"/>
              <a:ext cx="101600" cy="34925"/>
            </a:xfrm>
            <a:custGeom>
              <a:avLst/>
              <a:gdLst>
                <a:gd name="T0" fmla="*/ 0 w 63"/>
                <a:gd name="T1" fmla="*/ 15 h 22"/>
                <a:gd name="T2" fmla="*/ 0 w 63"/>
                <a:gd name="T3" fmla="*/ 12 h 22"/>
                <a:gd name="T4" fmla="*/ 1 w 63"/>
                <a:gd name="T5" fmla="*/ 7 h 22"/>
                <a:gd name="T6" fmla="*/ 1 w 63"/>
                <a:gd name="T7" fmla="*/ 0 h 22"/>
                <a:gd name="T8" fmla="*/ 63 w 63"/>
                <a:gd name="T9" fmla="*/ 5 h 22"/>
                <a:gd name="T10" fmla="*/ 63 w 63"/>
                <a:gd name="T11" fmla="*/ 13 h 22"/>
                <a:gd name="T12" fmla="*/ 62 w 63"/>
                <a:gd name="T13" fmla="*/ 19 h 22"/>
                <a:gd name="T14" fmla="*/ 62 w 63"/>
                <a:gd name="T15" fmla="*/ 22 h 22"/>
                <a:gd name="T16" fmla="*/ 0 w 63"/>
                <a:gd name="T17"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2">
                  <a:moveTo>
                    <a:pt x="0" y="15"/>
                  </a:moveTo>
                  <a:cubicBezTo>
                    <a:pt x="0" y="15"/>
                    <a:pt x="0" y="14"/>
                    <a:pt x="0" y="12"/>
                  </a:cubicBezTo>
                  <a:cubicBezTo>
                    <a:pt x="0" y="11"/>
                    <a:pt x="1" y="9"/>
                    <a:pt x="1" y="7"/>
                  </a:cubicBezTo>
                  <a:cubicBezTo>
                    <a:pt x="1" y="3"/>
                    <a:pt x="1" y="0"/>
                    <a:pt x="1" y="0"/>
                  </a:cubicBezTo>
                  <a:cubicBezTo>
                    <a:pt x="63" y="5"/>
                    <a:pt x="63" y="5"/>
                    <a:pt x="63" y="5"/>
                  </a:cubicBezTo>
                  <a:cubicBezTo>
                    <a:pt x="63" y="5"/>
                    <a:pt x="63" y="9"/>
                    <a:pt x="63" y="13"/>
                  </a:cubicBezTo>
                  <a:cubicBezTo>
                    <a:pt x="62" y="15"/>
                    <a:pt x="62" y="17"/>
                    <a:pt x="62" y="19"/>
                  </a:cubicBezTo>
                  <a:cubicBezTo>
                    <a:pt x="62" y="21"/>
                    <a:pt x="62" y="22"/>
                    <a:pt x="62" y="22"/>
                  </a:cubicBez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397">
              <a:extLst>
                <a:ext uri="{FF2B5EF4-FFF2-40B4-BE49-F238E27FC236}">
                  <a16:creationId xmlns:a16="http://schemas.microsoft.com/office/drawing/2014/main" id="{F32E78F3-A7CD-A8C9-E767-EC7E1DFE9AC3}"/>
                </a:ext>
              </a:extLst>
            </p:cNvPr>
            <p:cNvSpPr>
              <a:spLocks/>
            </p:cNvSpPr>
            <p:nvPr/>
          </p:nvSpPr>
          <p:spPr bwMode="auto">
            <a:xfrm>
              <a:off x="2046197" y="5010662"/>
              <a:ext cx="103188" cy="41275"/>
            </a:xfrm>
            <a:custGeom>
              <a:avLst/>
              <a:gdLst>
                <a:gd name="T0" fmla="*/ 0 w 64"/>
                <a:gd name="T1" fmla="*/ 15 h 25"/>
                <a:gd name="T2" fmla="*/ 2 w 64"/>
                <a:gd name="T3" fmla="*/ 7 h 25"/>
                <a:gd name="T4" fmla="*/ 3 w 64"/>
                <a:gd name="T5" fmla="*/ 0 h 25"/>
                <a:gd name="T6" fmla="*/ 64 w 64"/>
                <a:gd name="T7" fmla="*/ 8 h 25"/>
                <a:gd name="T8" fmla="*/ 63 w 64"/>
                <a:gd name="T9" fmla="*/ 17 h 25"/>
                <a:gd name="T10" fmla="*/ 61 w 64"/>
                <a:gd name="T11" fmla="*/ 25 h 25"/>
                <a:gd name="T12" fmla="*/ 0 w 64"/>
                <a:gd name="T13" fmla="*/ 15 h 25"/>
              </a:gdLst>
              <a:ahLst/>
              <a:cxnLst>
                <a:cxn ang="0">
                  <a:pos x="T0" y="T1"/>
                </a:cxn>
                <a:cxn ang="0">
                  <a:pos x="T2" y="T3"/>
                </a:cxn>
                <a:cxn ang="0">
                  <a:pos x="T4" y="T5"/>
                </a:cxn>
                <a:cxn ang="0">
                  <a:pos x="T6" y="T7"/>
                </a:cxn>
                <a:cxn ang="0">
                  <a:pos x="T8" y="T9"/>
                </a:cxn>
                <a:cxn ang="0">
                  <a:pos x="T10" y="T11"/>
                </a:cxn>
                <a:cxn ang="0">
                  <a:pos x="T12" y="T13"/>
                </a:cxn>
              </a:cxnLst>
              <a:rect l="0" t="0" r="r" b="b"/>
              <a:pathLst>
                <a:path w="64" h="25">
                  <a:moveTo>
                    <a:pt x="0" y="15"/>
                  </a:moveTo>
                  <a:cubicBezTo>
                    <a:pt x="0" y="15"/>
                    <a:pt x="1" y="11"/>
                    <a:pt x="2" y="7"/>
                  </a:cubicBezTo>
                  <a:cubicBezTo>
                    <a:pt x="2" y="4"/>
                    <a:pt x="3" y="0"/>
                    <a:pt x="3" y="0"/>
                  </a:cubicBezTo>
                  <a:cubicBezTo>
                    <a:pt x="64" y="8"/>
                    <a:pt x="64" y="8"/>
                    <a:pt x="64" y="8"/>
                  </a:cubicBezTo>
                  <a:cubicBezTo>
                    <a:pt x="64" y="8"/>
                    <a:pt x="64" y="13"/>
                    <a:pt x="63" y="17"/>
                  </a:cubicBezTo>
                  <a:cubicBezTo>
                    <a:pt x="62" y="21"/>
                    <a:pt x="61" y="25"/>
                    <a:pt x="61" y="25"/>
                  </a:cubicBez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398">
              <a:extLst>
                <a:ext uri="{FF2B5EF4-FFF2-40B4-BE49-F238E27FC236}">
                  <a16:creationId xmlns:a16="http://schemas.microsoft.com/office/drawing/2014/main" id="{1F283F7A-DCBE-868F-9B45-190CFF7B1D53}"/>
                </a:ext>
              </a:extLst>
            </p:cNvPr>
            <p:cNvSpPr>
              <a:spLocks/>
            </p:cNvSpPr>
            <p:nvPr/>
          </p:nvSpPr>
          <p:spPr bwMode="auto">
            <a:xfrm>
              <a:off x="2038260" y="5053525"/>
              <a:ext cx="103188" cy="46038"/>
            </a:xfrm>
            <a:custGeom>
              <a:avLst/>
              <a:gdLst>
                <a:gd name="T0" fmla="*/ 0 w 64"/>
                <a:gd name="T1" fmla="*/ 15 h 29"/>
                <a:gd name="T2" fmla="*/ 2 w 64"/>
                <a:gd name="T3" fmla="*/ 7 h 29"/>
                <a:gd name="T4" fmla="*/ 3 w 64"/>
                <a:gd name="T5" fmla="*/ 0 h 29"/>
                <a:gd name="T6" fmla="*/ 64 w 64"/>
                <a:gd name="T7" fmla="*/ 12 h 29"/>
                <a:gd name="T8" fmla="*/ 62 w 64"/>
                <a:gd name="T9" fmla="*/ 20 h 29"/>
                <a:gd name="T10" fmla="*/ 60 w 64"/>
                <a:gd name="T11" fmla="*/ 29 h 29"/>
                <a:gd name="T12" fmla="*/ 0 w 64"/>
                <a:gd name="T13" fmla="*/ 15 h 29"/>
              </a:gdLst>
              <a:ahLst/>
              <a:cxnLst>
                <a:cxn ang="0">
                  <a:pos x="T0" y="T1"/>
                </a:cxn>
                <a:cxn ang="0">
                  <a:pos x="T2" y="T3"/>
                </a:cxn>
                <a:cxn ang="0">
                  <a:pos x="T4" y="T5"/>
                </a:cxn>
                <a:cxn ang="0">
                  <a:pos x="T6" y="T7"/>
                </a:cxn>
                <a:cxn ang="0">
                  <a:pos x="T8" y="T9"/>
                </a:cxn>
                <a:cxn ang="0">
                  <a:pos x="T10" y="T11"/>
                </a:cxn>
                <a:cxn ang="0">
                  <a:pos x="T12" y="T13"/>
                </a:cxn>
              </a:cxnLst>
              <a:rect l="0" t="0" r="r" b="b"/>
              <a:pathLst>
                <a:path w="64" h="29">
                  <a:moveTo>
                    <a:pt x="0" y="15"/>
                  </a:moveTo>
                  <a:cubicBezTo>
                    <a:pt x="0" y="15"/>
                    <a:pt x="1" y="11"/>
                    <a:pt x="2" y="7"/>
                  </a:cubicBezTo>
                  <a:cubicBezTo>
                    <a:pt x="3" y="4"/>
                    <a:pt x="3" y="0"/>
                    <a:pt x="3" y="0"/>
                  </a:cubicBezTo>
                  <a:cubicBezTo>
                    <a:pt x="64" y="12"/>
                    <a:pt x="64" y="12"/>
                    <a:pt x="64" y="12"/>
                  </a:cubicBezTo>
                  <a:cubicBezTo>
                    <a:pt x="64" y="12"/>
                    <a:pt x="63" y="16"/>
                    <a:pt x="62" y="20"/>
                  </a:cubicBezTo>
                  <a:cubicBezTo>
                    <a:pt x="61" y="25"/>
                    <a:pt x="60" y="29"/>
                    <a:pt x="60" y="29"/>
                  </a:cubicBez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399">
              <a:extLst>
                <a:ext uri="{FF2B5EF4-FFF2-40B4-BE49-F238E27FC236}">
                  <a16:creationId xmlns:a16="http://schemas.microsoft.com/office/drawing/2014/main" id="{961F2408-3A44-7D86-4700-5510FD12C565}"/>
                </a:ext>
              </a:extLst>
            </p:cNvPr>
            <p:cNvSpPr>
              <a:spLocks/>
            </p:cNvSpPr>
            <p:nvPr/>
          </p:nvSpPr>
          <p:spPr bwMode="auto">
            <a:xfrm>
              <a:off x="2027147" y="5094800"/>
              <a:ext cx="103188" cy="52388"/>
            </a:xfrm>
            <a:custGeom>
              <a:avLst/>
              <a:gdLst>
                <a:gd name="T0" fmla="*/ 0 w 65"/>
                <a:gd name="T1" fmla="*/ 14 h 33"/>
                <a:gd name="T2" fmla="*/ 4 w 65"/>
                <a:gd name="T3" fmla="*/ 0 h 33"/>
                <a:gd name="T4" fmla="*/ 65 w 65"/>
                <a:gd name="T5" fmla="*/ 15 h 33"/>
                <a:gd name="T6" fmla="*/ 61 w 65"/>
                <a:gd name="T7" fmla="*/ 33 h 33"/>
                <a:gd name="T8" fmla="*/ 0 w 65"/>
                <a:gd name="T9" fmla="*/ 14 h 33"/>
              </a:gdLst>
              <a:ahLst/>
              <a:cxnLst>
                <a:cxn ang="0">
                  <a:pos x="T0" y="T1"/>
                </a:cxn>
                <a:cxn ang="0">
                  <a:pos x="T2" y="T3"/>
                </a:cxn>
                <a:cxn ang="0">
                  <a:pos x="T4" y="T5"/>
                </a:cxn>
                <a:cxn ang="0">
                  <a:pos x="T6" y="T7"/>
                </a:cxn>
                <a:cxn ang="0">
                  <a:pos x="T8" y="T9"/>
                </a:cxn>
              </a:cxnLst>
              <a:rect l="0" t="0" r="r" b="b"/>
              <a:pathLst>
                <a:path w="65" h="33">
                  <a:moveTo>
                    <a:pt x="0" y="14"/>
                  </a:moveTo>
                  <a:lnTo>
                    <a:pt x="4" y="0"/>
                  </a:lnTo>
                  <a:lnTo>
                    <a:pt x="65" y="15"/>
                  </a:lnTo>
                  <a:lnTo>
                    <a:pt x="61" y="33"/>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0" name="Freeform 400">
              <a:extLst>
                <a:ext uri="{FF2B5EF4-FFF2-40B4-BE49-F238E27FC236}">
                  <a16:creationId xmlns:a16="http://schemas.microsoft.com/office/drawing/2014/main" id="{DA288829-DECA-0FA5-65EC-B13D0E7D61D8}"/>
                </a:ext>
              </a:extLst>
            </p:cNvPr>
            <p:cNvSpPr>
              <a:spLocks/>
            </p:cNvSpPr>
            <p:nvPr/>
          </p:nvSpPr>
          <p:spPr bwMode="auto">
            <a:xfrm>
              <a:off x="2014447" y="5136075"/>
              <a:ext cx="103188" cy="55563"/>
            </a:xfrm>
            <a:custGeom>
              <a:avLst/>
              <a:gdLst>
                <a:gd name="T0" fmla="*/ 0 w 65"/>
                <a:gd name="T1" fmla="*/ 14 h 35"/>
                <a:gd name="T2" fmla="*/ 5 w 65"/>
                <a:gd name="T3" fmla="*/ 0 h 35"/>
                <a:gd name="T4" fmla="*/ 65 w 65"/>
                <a:gd name="T5" fmla="*/ 19 h 35"/>
                <a:gd name="T6" fmla="*/ 60 w 65"/>
                <a:gd name="T7" fmla="*/ 35 h 35"/>
                <a:gd name="T8" fmla="*/ 0 w 65"/>
                <a:gd name="T9" fmla="*/ 14 h 35"/>
              </a:gdLst>
              <a:ahLst/>
              <a:cxnLst>
                <a:cxn ang="0">
                  <a:pos x="T0" y="T1"/>
                </a:cxn>
                <a:cxn ang="0">
                  <a:pos x="T2" y="T3"/>
                </a:cxn>
                <a:cxn ang="0">
                  <a:pos x="T4" y="T5"/>
                </a:cxn>
                <a:cxn ang="0">
                  <a:pos x="T6" y="T7"/>
                </a:cxn>
                <a:cxn ang="0">
                  <a:pos x="T8" y="T9"/>
                </a:cxn>
              </a:cxnLst>
              <a:rect l="0" t="0" r="r" b="b"/>
              <a:pathLst>
                <a:path w="65" h="35">
                  <a:moveTo>
                    <a:pt x="0" y="14"/>
                  </a:moveTo>
                  <a:lnTo>
                    <a:pt x="5" y="0"/>
                  </a:lnTo>
                  <a:lnTo>
                    <a:pt x="65" y="19"/>
                  </a:lnTo>
                  <a:lnTo>
                    <a:pt x="60" y="35"/>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401">
              <a:extLst>
                <a:ext uri="{FF2B5EF4-FFF2-40B4-BE49-F238E27FC236}">
                  <a16:creationId xmlns:a16="http://schemas.microsoft.com/office/drawing/2014/main" id="{F45D7608-2734-17F8-B321-04F3B6A94209}"/>
                </a:ext>
              </a:extLst>
            </p:cNvPr>
            <p:cNvSpPr>
              <a:spLocks/>
            </p:cNvSpPr>
            <p:nvPr/>
          </p:nvSpPr>
          <p:spPr bwMode="auto">
            <a:xfrm>
              <a:off x="2000160" y="5175762"/>
              <a:ext cx="101600" cy="61913"/>
            </a:xfrm>
            <a:custGeom>
              <a:avLst/>
              <a:gdLst>
                <a:gd name="T0" fmla="*/ 0 w 64"/>
                <a:gd name="T1" fmla="*/ 14 h 39"/>
                <a:gd name="T2" fmla="*/ 5 w 64"/>
                <a:gd name="T3" fmla="*/ 0 h 39"/>
                <a:gd name="T4" fmla="*/ 64 w 64"/>
                <a:gd name="T5" fmla="*/ 22 h 39"/>
                <a:gd name="T6" fmla="*/ 58 w 64"/>
                <a:gd name="T7" fmla="*/ 39 h 39"/>
                <a:gd name="T8" fmla="*/ 0 w 64"/>
                <a:gd name="T9" fmla="*/ 14 h 39"/>
              </a:gdLst>
              <a:ahLst/>
              <a:cxnLst>
                <a:cxn ang="0">
                  <a:pos x="T0" y="T1"/>
                </a:cxn>
                <a:cxn ang="0">
                  <a:pos x="T2" y="T3"/>
                </a:cxn>
                <a:cxn ang="0">
                  <a:pos x="T4" y="T5"/>
                </a:cxn>
                <a:cxn ang="0">
                  <a:pos x="T6" y="T7"/>
                </a:cxn>
                <a:cxn ang="0">
                  <a:pos x="T8" y="T9"/>
                </a:cxn>
              </a:cxnLst>
              <a:rect l="0" t="0" r="r" b="b"/>
              <a:pathLst>
                <a:path w="64" h="39">
                  <a:moveTo>
                    <a:pt x="0" y="14"/>
                  </a:moveTo>
                  <a:lnTo>
                    <a:pt x="5" y="0"/>
                  </a:lnTo>
                  <a:lnTo>
                    <a:pt x="64" y="22"/>
                  </a:lnTo>
                  <a:lnTo>
                    <a:pt x="58" y="39"/>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402">
              <a:extLst>
                <a:ext uri="{FF2B5EF4-FFF2-40B4-BE49-F238E27FC236}">
                  <a16:creationId xmlns:a16="http://schemas.microsoft.com/office/drawing/2014/main" id="{FF41E555-52AC-903E-3525-BC6EDBEF6992}"/>
                </a:ext>
              </a:extLst>
            </p:cNvPr>
            <p:cNvSpPr>
              <a:spLocks/>
            </p:cNvSpPr>
            <p:nvPr/>
          </p:nvSpPr>
          <p:spPr bwMode="auto">
            <a:xfrm>
              <a:off x="1982697" y="5213862"/>
              <a:ext cx="100013" cy="68263"/>
            </a:xfrm>
            <a:custGeom>
              <a:avLst/>
              <a:gdLst>
                <a:gd name="T0" fmla="*/ 0 w 62"/>
                <a:gd name="T1" fmla="*/ 14 h 42"/>
                <a:gd name="T2" fmla="*/ 1 w 62"/>
                <a:gd name="T3" fmla="*/ 12 h 42"/>
                <a:gd name="T4" fmla="*/ 3 w 62"/>
                <a:gd name="T5" fmla="*/ 7 h 42"/>
                <a:gd name="T6" fmla="*/ 6 w 62"/>
                <a:gd name="T7" fmla="*/ 0 h 42"/>
                <a:gd name="T8" fmla="*/ 62 w 62"/>
                <a:gd name="T9" fmla="*/ 26 h 42"/>
                <a:gd name="T10" fmla="*/ 59 w 62"/>
                <a:gd name="T11" fmla="*/ 34 h 42"/>
                <a:gd name="T12" fmla="*/ 56 w 62"/>
                <a:gd name="T13" fmla="*/ 39 h 42"/>
                <a:gd name="T14" fmla="*/ 55 w 62"/>
                <a:gd name="T15" fmla="*/ 42 h 42"/>
                <a:gd name="T16" fmla="*/ 0 w 62"/>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2">
                  <a:moveTo>
                    <a:pt x="0" y="14"/>
                  </a:moveTo>
                  <a:cubicBezTo>
                    <a:pt x="0" y="14"/>
                    <a:pt x="0" y="13"/>
                    <a:pt x="1" y="12"/>
                  </a:cubicBezTo>
                  <a:cubicBezTo>
                    <a:pt x="1" y="11"/>
                    <a:pt x="2" y="9"/>
                    <a:pt x="3" y="7"/>
                  </a:cubicBezTo>
                  <a:cubicBezTo>
                    <a:pt x="4" y="4"/>
                    <a:pt x="6" y="0"/>
                    <a:pt x="6" y="0"/>
                  </a:cubicBezTo>
                  <a:cubicBezTo>
                    <a:pt x="62" y="26"/>
                    <a:pt x="62" y="26"/>
                    <a:pt x="62" y="26"/>
                  </a:cubicBezTo>
                  <a:cubicBezTo>
                    <a:pt x="62" y="26"/>
                    <a:pt x="61" y="30"/>
                    <a:pt x="59" y="34"/>
                  </a:cubicBezTo>
                  <a:cubicBezTo>
                    <a:pt x="58" y="36"/>
                    <a:pt x="57" y="38"/>
                    <a:pt x="56" y="39"/>
                  </a:cubicBezTo>
                  <a:cubicBezTo>
                    <a:pt x="56" y="41"/>
                    <a:pt x="55" y="42"/>
                    <a:pt x="55" y="42"/>
                  </a:cubicBez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403">
              <a:extLst>
                <a:ext uri="{FF2B5EF4-FFF2-40B4-BE49-F238E27FC236}">
                  <a16:creationId xmlns:a16="http://schemas.microsoft.com/office/drawing/2014/main" id="{44A4F73B-F88E-AEEC-5624-42B5755E42BD}"/>
                </a:ext>
              </a:extLst>
            </p:cNvPr>
            <p:cNvSpPr>
              <a:spLocks/>
            </p:cNvSpPr>
            <p:nvPr/>
          </p:nvSpPr>
          <p:spPr bwMode="auto">
            <a:xfrm>
              <a:off x="1962060" y="5253550"/>
              <a:ext cx="98425" cy="71438"/>
            </a:xfrm>
            <a:custGeom>
              <a:avLst/>
              <a:gdLst>
                <a:gd name="T0" fmla="*/ 0 w 62"/>
                <a:gd name="T1" fmla="*/ 13 h 44"/>
                <a:gd name="T2" fmla="*/ 4 w 62"/>
                <a:gd name="T3" fmla="*/ 7 h 44"/>
                <a:gd name="T4" fmla="*/ 7 w 62"/>
                <a:gd name="T5" fmla="*/ 0 h 44"/>
                <a:gd name="T6" fmla="*/ 62 w 62"/>
                <a:gd name="T7" fmla="*/ 29 h 44"/>
                <a:gd name="T8" fmla="*/ 58 w 62"/>
                <a:gd name="T9" fmla="*/ 37 h 44"/>
                <a:gd name="T10" fmla="*/ 54 w 62"/>
                <a:gd name="T11" fmla="*/ 44 h 44"/>
                <a:gd name="T12" fmla="*/ 0 w 62"/>
                <a:gd name="T13" fmla="*/ 13 h 44"/>
              </a:gdLst>
              <a:ahLst/>
              <a:cxnLst>
                <a:cxn ang="0">
                  <a:pos x="T0" y="T1"/>
                </a:cxn>
                <a:cxn ang="0">
                  <a:pos x="T2" y="T3"/>
                </a:cxn>
                <a:cxn ang="0">
                  <a:pos x="T4" y="T5"/>
                </a:cxn>
                <a:cxn ang="0">
                  <a:pos x="T6" y="T7"/>
                </a:cxn>
                <a:cxn ang="0">
                  <a:pos x="T8" y="T9"/>
                </a:cxn>
                <a:cxn ang="0">
                  <a:pos x="T10" y="T11"/>
                </a:cxn>
                <a:cxn ang="0">
                  <a:pos x="T12" y="T13"/>
                </a:cxn>
              </a:cxnLst>
              <a:rect l="0" t="0" r="r" b="b"/>
              <a:pathLst>
                <a:path w="62" h="44">
                  <a:moveTo>
                    <a:pt x="0" y="13"/>
                  </a:moveTo>
                  <a:cubicBezTo>
                    <a:pt x="0" y="13"/>
                    <a:pt x="2" y="10"/>
                    <a:pt x="4" y="7"/>
                  </a:cubicBezTo>
                  <a:cubicBezTo>
                    <a:pt x="6" y="4"/>
                    <a:pt x="7" y="0"/>
                    <a:pt x="7" y="0"/>
                  </a:cubicBezTo>
                  <a:cubicBezTo>
                    <a:pt x="62" y="29"/>
                    <a:pt x="62" y="29"/>
                    <a:pt x="62" y="29"/>
                  </a:cubicBezTo>
                  <a:cubicBezTo>
                    <a:pt x="62" y="29"/>
                    <a:pt x="60" y="33"/>
                    <a:pt x="58" y="37"/>
                  </a:cubicBezTo>
                  <a:cubicBezTo>
                    <a:pt x="56" y="40"/>
                    <a:pt x="54" y="44"/>
                    <a:pt x="54" y="44"/>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404">
              <a:extLst>
                <a:ext uri="{FF2B5EF4-FFF2-40B4-BE49-F238E27FC236}">
                  <a16:creationId xmlns:a16="http://schemas.microsoft.com/office/drawing/2014/main" id="{429634A5-E470-58E9-EDFF-CD6DB60AB4A0}"/>
                </a:ext>
              </a:extLst>
            </p:cNvPr>
            <p:cNvSpPr>
              <a:spLocks/>
            </p:cNvSpPr>
            <p:nvPr/>
          </p:nvSpPr>
          <p:spPr bwMode="auto">
            <a:xfrm>
              <a:off x="1938247" y="5290062"/>
              <a:ext cx="100013" cy="76200"/>
            </a:xfrm>
            <a:custGeom>
              <a:avLst/>
              <a:gdLst>
                <a:gd name="T0" fmla="*/ 0 w 62"/>
                <a:gd name="T1" fmla="*/ 13 h 47"/>
                <a:gd name="T2" fmla="*/ 4 w 62"/>
                <a:gd name="T3" fmla="*/ 7 h 47"/>
                <a:gd name="T4" fmla="*/ 7 w 62"/>
                <a:gd name="T5" fmla="*/ 2 h 47"/>
                <a:gd name="T6" fmla="*/ 8 w 62"/>
                <a:gd name="T7" fmla="*/ 0 h 47"/>
                <a:gd name="T8" fmla="*/ 62 w 62"/>
                <a:gd name="T9" fmla="*/ 32 h 47"/>
                <a:gd name="T10" fmla="*/ 60 w 62"/>
                <a:gd name="T11" fmla="*/ 35 h 47"/>
                <a:gd name="T12" fmla="*/ 57 w 62"/>
                <a:gd name="T13" fmla="*/ 39 h 47"/>
                <a:gd name="T14" fmla="*/ 52 w 62"/>
                <a:gd name="T15" fmla="*/ 47 h 47"/>
                <a:gd name="T16" fmla="*/ 0 w 62"/>
                <a:gd name="T17"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7">
                  <a:moveTo>
                    <a:pt x="0" y="13"/>
                  </a:moveTo>
                  <a:cubicBezTo>
                    <a:pt x="0" y="13"/>
                    <a:pt x="2" y="10"/>
                    <a:pt x="4" y="7"/>
                  </a:cubicBezTo>
                  <a:cubicBezTo>
                    <a:pt x="5" y="5"/>
                    <a:pt x="7" y="4"/>
                    <a:pt x="7" y="2"/>
                  </a:cubicBezTo>
                  <a:cubicBezTo>
                    <a:pt x="8" y="1"/>
                    <a:pt x="8" y="0"/>
                    <a:pt x="8" y="0"/>
                  </a:cubicBezTo>
                  <a:cubicBezTo>
                    <a:pt x="62" y="32"/>
                    <a:pt x="62" y="32"/>
                    <a:pt x="62" y="32"/>
                  </a:cubicBezTo>
                  <a:cubicBezTo>
                    <a:pt x="62" y="32"/>
                    <a:pt x="61" y="33"/>
                    <a:pt x="60" y="35"/>
                  </a:cubicBezTo>
                  <a:cubicBezTo>
                    <a:pt x="59" y="36"/>
                    <a:pt x="58" y="38"/>
                    <a:pt x="57" y="39"/>
                  </a:cubicBezTo>
                  <a:cubicBezTo>
                    <a:pt x="55" y="43"/>
                    <a:pt x="52" y="47"/>
                    <a:pt x="52" y="4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5" name="Freeform 405">
              <a:extLst>
                <a:ext uri="{FF2B5EF4-FFF2-40B4-BE49-F238E27FC236}">
                  <a16:creationId xmlns:a16="http://schemas.microsoft.com/office/drawing/2014/main" id="{97D0A2DA-C69D-A7BD-D9FD-9E993F59B46F}"/>
                </a:ext>
              </a:extLst>
            </p:cNvPr>
            <p:cNvSpPr>
              <a:spLocks/>
            </p:cNvSpPr>
            <p:nvPr/>
          </p:nvSpPr>
          <p:spPr bwMode="auto">
            <a:xfrm>
              <a:off x="1914435" y="5328162"/>
              <a:ext cx="96838" cy="76200"/>
            </a:xfrm>
            <a:custGeom>
              <a:avLst/>
              <a:gdLst>
                <a:gd name="T0" fmla="*/ 0 w 61"/>
                <a:gd name="T1" fmla="*/ 12 h 48"/>
                <a:gd name="T2" fmla="*/ 9 w 61"/>
                <a:gd name="T3" fmla="*/ 0 h 48"/>
                <a:gd name="T4" fmla="*/ 61 w 61"/>
                <a:gd name="T5" fmla="*/ 34 h 48"/>
                <a:gd name="T6" fmla="*/ 51 w 61"/>
                <a:gd name="T7" fmla="*/ 48 h 48"/>
                <a:gd name="T8" fmla="*/ 0 w 61"/>
                <a:gd name="T9" fmla="*/ 12 h 48"/>
              </a:gdLst>
              <a:ahLst/>
              <a:cxnLst>
                <a:cxn ang="0">
                  <a:pos x="T0" y="T1"/>
                </a:cxn>
                <a:cxn ang="0">
                  <a:pos x="T2" y="T3"/>
                </a:cxn>
                <a:cxn ang="0">
                  <a:pos x="T4" y="T5"/>
                </a:cxn>
                <a:cxn ang="0">
                  <a:pos x="T6" y="T7"/>
                </a:cxn>
                <a:cxn ang="0">
                  <a:pos x="T8" y="T9"/>
                </a:cxn>
              </a:cxnLst>
              <a:rect l="0" t="0" r="r" b="b"/>
              <a:pathLst>
                <a:path w="61" h="48">
                  <a:moveTo>
                    <a:pt x="0" y="12"/>
                  </a:moveTo>
                  <a:lnTo>
                    <a:pt x="9" y="0"/>
                  </a:lnTo>
                  <a:lnTo>
                    <a:pt x="61" y="34"/>
                  </a:lnTo>
                  <a:lnTo>
                    <a:pt x="51" y="48"/>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406">
              <a:extLst>
                <a:ext uri="{FF2B5EF4-FFF2-40B4-BE49-F238E27FC236}">
                  <a16:creationId xmlns:a16="http://schemas.microsoft.com/office/drawing/2014/main" id="{7948D540-E66C-B82A-E22B-8A04C395BE90}"/>
                </a:ext>
              </a:extLst>
            </p:cNvPr>
            <p:cNvSpPr>
              <a:spLocks/>
            </p:cNvSpPr>
            <p:nvPr/>
          </p:nvSpPr>
          <p:spPr bwMode="auto">
            <a:xfrm>
              <a:off x="1889035" y="5361500"/>
              <a:ext cx="95250" cy="82550"/>
            </a:xfrm>
            <a:custGeom>
              <a:avLst/>
              <a:gdLst>
                <a:gd name="T0" fmla="*/ 0 w 60"/>
                <a:gd name="T1" fmla="*/ 12 h 52"/>
                <a:gd name="T2" fmla="*/ 10 w 60"/>
                <a:gd name="T3" fmla="*/ 0 h 52"/>
                <a:gd name="T4" fmla="*/ 60 w 60"/>
                <a:gd name="T5" fmla="*/ 39 h 52"/>
                <a:gd name="T6" fmla="*/ 49 w 60"/>
                <a:gd name="T7" fmla="*/ 52 h 52"/>
                <a:gd name="T8" fmla="*/ 0 w 60"/>
                <a:gd name="T9" fmla="*/ 12 h 52"/>
              </a:gdLst>
              <a:ahLst/>
              <a:cxnLst>
                <a:cxn ang="0">
                  <a:pos x="T0" y="T1"/>
                </a:cxn>
                <a:cxn ang="0">
                  <a:pos x="T2" y="T3"/>
                </a:cxn>
                <a:cxn ang="0">
                  <a:pos x="T4" y="T5"/>
                </a:cxn>
                <a:cxn ang="0">
                  <a:pos x="T6" y="T7"/>
                </a:cxn>
                <a:cxn ang="0">
                  <a:pos x="T8" y="T9"/>
                </a:cxn>
              </a:cxnLst>
              <a:rect l="0" t="0" r="r" b="b"/>
              <a:pathLst>
                <a:path w="60" h="52">
                  <a:moveTo>
                    <a:pt x="0" y="12"/>
                  </a:moveTo>
                  <a:lnTo>
                    <a:pt x="10" y="0"/>
                  </a:lnTo>
                  <a:lnTo>
                    <a:pt x="60" y="39"/>
                  </a:lnTo>
                  <a:lnTo>
                    <a:pt x="49" y="5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407">
              <a:extLst>
                <a:ext uri="{FF2B5EF4-FFF2-40B4-BE49-F238E27FC236}">
                  <a16:creationId xmlns:a16="http://schemas.microsoft.com/office/drawing/2014/main" id="{1F16D358-AB56-ED36-A294-97C79C986602}"/>
                </a:ext>
              </a:extLst>
            </p:cNvPr>
            <p:cNvSpPr>
              <a:spLocks/>
            </p:cNvSpPr>
            <p:nvPr/>
          </p:nvSpPr>
          <p:spPr bwMode="auto">
            <a:xfrm>
              <a:off x="1862047" y="5393250"/>
              <a:ext cx="90488" cy="87313"/>
            </a:xfrm>
            <a:custGeom>
              <a:avLst/>
              <a:gdLst>
                <a:gd name="T0" fmla="*/ 0 w 57"/>
                <a:gd name="T1" fmla="*/ 12 h 54"/>
                <a:gd name="T2" fmla="*/ 5 w 57"/>
                <a:gd name="T3" fmla="*/ 6 h 54"/>
                <a:gd name="T4" fmla="*/ 10 w 57"/>
                <a:gd name="T5" fmla="*/ 0 h 54"/>
                <a:gd name="T6" fmla="*/ 57 w 57"/>
                <a:gd name="T7" fmla="*/ 41 h 54"/>
                <a:gd name="T8" fmla="*/ 51 w 57"/>
                <a:gd name="T9" fmla="*/ 47 h 54"/>
                <a:gd name="T10" fmla="*/ 45 w 57"/>
                <a:gd name="T11" fmla="*/ 54 h 54"/>
                <a:gd name="T12" fmla="*/ 0 w 57"/>
                <a:gd name="T13" fmla="*/ 12 h 54"/>
              </a:gdLst>
              <a:ahLst/>
              <a:cxnLst>
                <a:cxn ang="0">
                  <a:pos x="T0" y="T1"/>
                </a:cxn>
                <a:cxn ang="0">
                  <a:pos x="T2" y="T3"/>
                </a:cxn>
                <a:cxn ang="0">
                  <a:pos x="T4" y="T5"/>
                </a:cxn>
                <a:cxn ang="0">
                  <a:pos x="T6" y="T7"/>
                </a:cxn>
                <a:cxn ang="0">
                  <a:pos x="T8" y="T9"/>
                </a:cxn>
                <a:cxn ang="0">
                  <a:pos x="T10" y="T11"/>
                </a:cxn>
                <a:cxn ang="0">
                  <a:pos x="T12" y="T13"/>
                </a:cxn>
              </a:cxnLst>
              <a:rect l="0" t="0" r="r" b="b"/>
              <a:pathLst>
                <a:path w="57" h="54">
                  <a:moveTo>
                    <a:pt x="0" y="12"/>
                  </a:moveTo>
                  <a:cubicBezTo>
                    <a:pt x="0" y="12"/>
                    <a:pt x="3" y="9"/>
                    <a:pt x="5" y="6"/>
                  </a:cubicBezTo>
                  <a:cubicBezTo>
                    <a:pt x="7" y="3"/>
                    <a:pt x="10" y="0"/>
                    <a:pt x="10" y="0"/>
                  </a:cubicBezTo>
                  <a:cubicBezTo>
                    <a:pt x="57" y="41"/>
                    <a:pt x="57" y="41"/>
                    <a:pt x="57" y="41"/>
                  </a:cubicBezTo>
                  <a:cubicBezTo>
                    <a:pt x="57" y="41"/>
                    <a:pt x="54" y="44"/>
                    <a:pt x="51" y="47"/>
                  </a:cubicBezTo>
                  <a:cubicBezTo>
                    <a:pt x="48" y="51"/>
                    <a:pt x="45" y="54"/>
                    <a:pt x="45" y="54"/>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8" name="Freeform 408">
              <a:extLst>
                <a:ext uri="{FF2B5EF4-FFF2-40B4-BE49-F238E27FC236}">
                  <a16:creationId xmlns:a16="http://schemas.microsoft.com/office/drawing/2014/main" id="{39CC2DE7-4762-B1E7-443E-E5B07F8804B4}"/>
                </a:ext>
              </a:extLst>
            </p:cNvPr>
            <p:cNvSpPr>
              <a:spLocks/>
            </p:cNvSpPr>
            <p:nvPr/>
          </p:nvSpPr>
          <p:spPr bwMode="auto">
            <a:xfrm>
              <a:off x="1830297" y="5426587"/>
              <a:ext cx="90488" cy="88900"/>
            </a:xfrm>
            <a:custGeom>
              <a:avLst/>
              <a:gdLst>
                <a:gd name="T0" fmla="*/ 0 w 56"/>
                <a:gd name="T1" fmla="*/ 11 h 55"/>
                <a:gd name="T2" fmla="*/ 6 w 56"/>
                <a:gd name="T3" fmla="*/ 5 h 55"/>
                <a:gd name="T4" fmla="*/ 11 w 56"/>
                <a:gd name="T5" fmla="*/ 0 h 55"/>
                <a:gd name="T6" fmla="*/ 56 w 56"/>
                <a:gd name="T7" fmla="*/ 43 h 55"/>
                <a:gd name="T8" fmla="*/ 50 w 56"/>
                <a:gd name="T9" fmla="*/ 49 h 55"/>
                <a:gd name="T10" fmla="*/ 43 w 56"/>
                <a:gd name="T11" fmla="*/ 55 h 55"/>
                <a:gd name="T12" fmla="*/ 0 w 56"/>
                <a:gd name="T13" fmla="*/ 11 h 55"/>
              </a:gdLst>
              <a:ahLst/>
              <a:cxnLst>
                <a:cxn ang="0">
                  <a:pos x="T0" y="T1"/>
                </a:cxn>
                <a:cxn ang="0">
                  <a:pos x="T2" y="T3"/>
                </a:cxn>
                <a:cxn ang="0">
                  <a:pos x="T4" y="T5"/>
                </a:cxn>
                <a:cxn ang="0">
                  <a:pos x="T6" y="T7"/>
                </a:cxn>
                <a:cxn ang="0">
                  <a:pos x="T8" y="T9"/>
                </a:cxn>
                <a:cxn ang="0">
                  <a:pos x="T10" y="T11"/>
                </a:cxn>
                <a:cxn ang="0">
                  <a:pos x="T12" y="T13"/>
                </a:cxn>
              </a:cxnLst>
              <a:rect l="0" t="0" r="r" b="b"/>
              <a:pathLst>
                <a:path w="56" h="55">
                  <a:moveTo>
                    <a:pt x="0" y="11"/>
                  </a:moveTo>
                  <a:cubicBezTo>
                    <a:pt x="0" y="11"/>
                    <a:pt x="3" y="8"/>
                    <a:pt x="6" y="5"/>
                  </a:cubicBezTo>
                  <a:cubicBezTo>
                    <a:pt x="8" y="3"/>
                    <a:pt x="11" y="0"/>
                    <a:pt x="11" y="0"/>
                  </a:cubicBezTo>
                  <a:cubicBezTo>
                    <a:pt x="56" y="43"/>
                    <a:pt x="56" y="43"/>
                    <a:pt x="56" y="43"/>
                  </a:cubicBezTo>
                  <a:cubicBezTo>
                    <a:pt x="56" y="43"/>
                    <a:pt x="53" y="46"/>
                    <a:pt x="50" y="49"/>
                  </a:cubicBezTo>
                  <a:cubicBezTo>
                    <a:pt x="47" y="52"/>
                    <a:pt x="43" y="55"/>
                    <a:pt x="43" y="55"/>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09" name="Freeform 409">
              <a:extLst>
                <a:ext uri="{FF2B5EF4-FFF2-40B4-BE49-F238E27FC236}">
                  <a16:creationId xmlns:a16="http://schemas.microsoft.com/office/drawing/2014/main" id="{8B7332A2-8BE0-DA4B-5A8E-77288D4367D9}"/>
                </a:ext>
              </a:extLst>
            </p:cNvPr>
            <p:cNvSpPr>
              <a:spLocks/>
            </p:cNvSpPr>
            <p:nvPr/>
          </p:nvSpPr>
          <p:spPr bwMode="auto">
            <a:xfrm>
              <a:off x="1800135" y="5455162"/>
              <a:ext cx="85725" cy="92075"/>
            </a:xfrm>
            <a:custGeom>
              <a:avLst/>
              <a:gdLst>
                <a:gd name="T0" fmla="*/ 0 w 53"/>
                <a:gd name="T1" fmla="*/ 10 h 57"/>
                <a:gd name="T2" fmla="*/ 6 w 53"/>
                <a:gd name="T3" fmla="*/ 6 h 57"/>
                <a:gd name="T4" fmla="*/ 11 w 53"/>
                <a:gd name="T5" fmla="*/ 0 h 57"/>
                <a:gd name="T6" fmla="*/ 53 w 53"/>
                <a:gd name="T7" fmla="*/ 46 h 57"/>
                <a:gd name="T8" fmla="*/ 47 w 53"/>
                <a:gd name="T9" fmla="*/ 52 h 57"/>
                <a:gd name="T10" fmla="*/ 40 w 53"/>
                <a:gd name="T11" fmla="*/ 57 h 57"/>
                <a:gd name="T12" fmla="*/ 0 w 53"/>
                <a:gd name="T13" fmla="*/ 10 h 57"/>
              </a:gdLst>
              <a:ahLst/>
              <a:cxnLst>
                <a:cxn ang="0">
                  <a:pos x="T0" y="T1"/>
                </a:cxn>
                <a:cxn ang="0">
                  <a:pos x="T2" y="T3"/>
                </a:cxn>
                <a:cxn ang="0">
                  <a:pos x="T4" y="T5"/>
                </a:cxn>
                <a:cxn ang="0">
                  <a:pos x="T6" y="T7"/>
                </a:cxn>
                <a:cxn ang="0">
                  <a:pos x="T8" y="T9"/>
                </a:cxn>
                <a:cxn ang="0">
                  <a:pos x="T10" y="T11"/>
                </a:cxn>
                <a:cxn ang="0">
                  <a:pos x="T12" y="T13"/>
                </a:cxn>
              </a:cxnLst>
              <a:rect l="0" t="0" r="r" b="b"/>
              <a:pathLst>
                <a:path w="53" h="57">
                  <a:moveTo>
                    <a:pt x="0" y="10"/>
                  </a:moveTo>
                  <a:cubicBezTo>
                    <a:pt x="0" y="10"/>
                    <a:pt x="3" y="8"/>
                    <a:pt x="6" y="6"/>
                  </a:cubicBezTo>
                  <a:cubicBezTo>
                    <a:pt x="8" y="3"/>
                    <a:pt x="11" y="0"/>
                    <a:pt x="11" y="0"/>
                  </a:cubicBezTo>
                  <a:cubicBezTo>
                    <a:pt x="53" y="46"/>
                    <a:pt x="53" y="46"/>
                    <a:pt x="53" y="46"/>
                  </a:cubicBezTo>
                  <a:cubicBezTo>
                    <a:pt x="53" y="46"/>
                    <a:pt x="50" y="49"/>
                    <a:pt x="47" y="52"/>
                  </a:cubicBezTo>
                  <a:cubicBezTo>
                    <a:pt x="44" y="55"/>
                    <a:pt x="40" y="57"/>
                    <a:pt x="40" y="57"/>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410">
              <a:extLst>
                <a:ext uri="{FF2B5EF4-FFF2-40B4-BE49-F238E27FC236}">
                  <a16:creationId xmlns:a16="http://schemas.microsoft.com/office/drawing/2014/main" id="{FEC5528C-4F6A-4949-BF49-65F8E17FE216}"/>
                </a:ext>
              </a:extLst>
            </p:cNvPr>
            <p:cNvSpPr>
              <a:spLocks/>
            </p:cNvSpPr>
            <p:nvPr/>
          </p:nvSpPr>
          <p:spPr bwMode="auto">
            <a:xfrm>
              <a:off x="1766797" y="5483737"/>
              <a:ext cx="84138" cy="93663"/>
            </a:xfrm>
            <a:custGeom>
              <a:avLst/>
              <a:gdLst>
                <a:gd name="T0" fmla="*/ 0 w 53"/>
                <a:gd name="T1" fmla="*/ 9 h 59"/>
                <a:gd name="T2" fmla="*/ 12 w 53"/>
                <a:gd name="T3" fmla="*/ 0 h 59"/>
                <a:gd name="T4" fmla="*/ 53 w 53"/>
                <a:gd name="T5" fmla="*/ 49 h 59"/>
                <a:gd name="T6" fmla="*/ 38 w 53"/>
                <a:gd name="T7" fmla="*/ 59 h 59"/>
                <a:gd name="T8" fmla="*/ 0 w 53"/>
                <a:gd name="T9" fmla="*/ 9 h 59"/>
              </a:gdLst>
              <a:ahLst/>
              <a:cxnLst>
                <a:cxn ang="0">
                  <a:pos x="T0" y="T1"/>
                </a:cxn>
                <a:cxn ang="0">
                  <a:pos x="T2" y="T3"/>
                </a:cxn>
                <a:cxn ang="0">
                  <a:pos x="T4" y="T5"/>
                </a:cxn>
                <a:cxn ang="0">
                  <a:pos x="T6" y="T7"/>
                </a:cxn>
                <a:cxn ang="0">
                  <a:pos x="T8" y="T9"/>
                </a:cxn>
              </a:cxnLst>
              <a:rect l="0" t="0" r="r" b="b"/>
              <a:pathLst>
                <a:path w="53" h="59">
                  <a:moveTo>
                    <a:pt x="0" y="9"/>
                  </a:moveTo>
                  <a:lnTo>
                    <a:pt x="12" y="0"/>
                  </a:lnTo>
                  <a:lnTo>
                    <a:pt x="53" y="49"/>
                  </a:lnTo>
                  <a:lnTo>
                    <a:pt x="38" y="5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1" name="Freeform 411">
              <a:extLst>
                <a:ext uri="{FF2B5EF4-FFF2-40B4-BE49-F238E27FC236}">
                  <a16:creationId xmlns:a16="http://schemas.microsoft.com/office/drawing/2014/main" id="{D1A04782-D878-DC74-7A6D-2C48F73D767B}"/>
                </a:ext>
              </a:extLst>
            </p:cNvPr>
            <p:cNvSpPr>
              <a:spLocks/>
            </p:cNvSpPr>
            <p:nvPr/>
          </p:nvSpPr>
          <p:spPr bwMode="auto">
            <a:xfrm>
              <a:off x="1731872" y="5510725"/>
              <a:ext cx="79375" cy="96838"/>
            </a:xfrm>
            <a:custGeom>
              <a:avLst/>
              <a:gdLst>
                <a:gd name="T0" fmla="*/ 0 w 50"/>
                <a:gd name="T1" fmla="*/ 9 h 61"/>
                <a:gd name="T2" fmla="*/ 13 w 50"/>
                <a:gd name="T3" fmla="*/ 0 h 61"/>
                <a:gd name="T4" fmla="*/ 50 w 50"/>
                <a:gd name="T5" fmla="*/ 50 h 61"/>
                <a:gd name="T6" fmla="*/ 36 w 50"/>
                <a:gd name="T7" fmla="*/ 61 h 61"/>
                <a:gd name="T8" fmla="*/ 0 w 50"/>
                <a:gd name="T9" fmla="*/ 9 h 61"/>
              </a:gdLst>
              <a:ahLst/>
              <a:cxnLst>
                <a:cxn ang="0">
                  <a:pos x="T0" y="T1"/>
                </a:cxn>
                <a:cxn ang="0">
                  <a:pos x="T2" y="T3"/>
                </a:cxn>
                <a:cxn ang="0">
                  <a:pos x="T4" y="T5"/>
                </a:cxn>
                <a:cxn ang="0">
                  <a:pos x="T6" y="T7"/>
                </a:cxn>
                <a:cxn ang="0">
                  <a:pos x="T8" y="T9"/>
                </a:cxn>
              </a:cxnLst>
              <a:rect l="0" t="0" r="r" b="b"/>
              <a:pathLst>
                <a:path w="50" h="61">
                  <a:moveTo>
                    <a:pt x="0" y="9"/>
                  </a:moveTo>
                  <a:lnTo>
                    <a:pt x="13" y="0"/>
                  </a:lnTo>
                  <a:lnTo>
                    <a:pt x="50" y="50"/>
                  </a:lnTo>
                  <a:lnTo>
                    <a:pt x="36" y="61"/>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2" name="Freeform 412">
              <a:extLst>
                <a:ext uri="{FF2B5EF4-FFF2-40B4-BE49-F238E27FC236}">
                  <a16:creationId xmlns:a16="http://schemas.microsoft.com/office/drawing/2014/main" id="{6D3C077A-8A53-01E6-6DFC-D3E071D07409}"/>
                </a:ext>
              </a:extLst>
            </p:cNvPr>
            <p:cNvSpPr>
              <a:spLocks/>
            </p:cNvSpPr>
            <p:nvPr/>
          </p:nvSpPr>
          <p:spPr bwMode="auto">
            <a:xfrm>
              <a:off x="1696947" y="5534537"/>
              <a:ext cx="74613" cy="98425"/>
            </a:xfrm>
            <a:custGeom>
              <a:avLst/>
              <a:gdLst>
                <a:gd name="T0" fmla="*/ 0 w 46"/>
                <a:gd name="T1" fmla="*/ 8 h 61"/>
                <a:gd name="T2" fmla="*/ 2 w 46"/>
                <a:gd name="T3" fmla="*/ 7 h 61"/>
                <a:gd name="T4" fmla="*/ 6 w 46"/>
                <a:gd name="T5" fmla="*/ 4 h 61"/>
                <a:gd name="T6" fmla="*/ 12 w 46"/>
                <a:gd name="T7" fmla="*/ 0 h 61"/>
                <a:gd name="T8" fmla="*/ 46 w 46"/>
                <a:gd name="T9" fmla="*/ 52 h 61"/>
                <a:gd name="T10" fmla="*/ 39 w 46"/>
                <a:gd name="T11" fmla="*/ 57 h 61"/>
                <a:gd name="T12" fmla="*/ 34 w 46"/>
                <a:gd name="T13" fmla="*/ 60 h 61"/>
                <a:gd name="T14" fmla="*/ 32 w 46"/>
                <a:gd name="T15" fmla="*/ 61 h 61"/>
                <a:gd name="T16" fmla="*/ 0 w 46"/>
                <a:gd name="T1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1">
                  <a:moveTo>
                    <a:pt x="0" y="8"/>
                  </a:moveTo>
                  <a:cubicBezTo>
                    <a:pt x="0" y="8"/>
                    <a:pt x="1" y="8"/>
                    <a:pt x="2" y="7"/>
                  </a:cubicBezTo>
                  <a:cubicBezTo>
                    <a:pt x="3" y="6"/>
                    <a:pt x="5" y="5"/>
                    <a:pt x="6" y="4"/>
                  </a:cubicBezTo>
                  <a:cubicBezTo>
                    <a:pt x="9" y="2"/>
                    <a:pt x="12" y="0"/>
                    <a:pt x="12" y="0"/>
                  </a:cubicBezTo>
                  <a:cubicBezTo>
                    <a:pt x="46" y="52"/>
                    <a:pt x="46" y="52"/>
                    <a:pt x="46" y="52"/>
                  </a:cubicBezTo>
                  <a:cubicBezTo>
                    <a:pt x="46" y="52"/>
                    <a:pt x="43" y="54"/>
                    <a:pt x="39" y="57"/>
                  </a:cubicBezTo>
                  <a:cubicBezTo>
                    <a:pt x="37" y="58"/>
                    <a:pt x="35" y="59"/>
                    <a:pt x="34" y="60"/>
                  </a:cubicBezTo>
                  <a:cubicBezTo>
                    <a:pt x="33" y="61"/>
                    <a:pt x="32" y="61"/>
                    <a:pt x="32" y="6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3" name="Freeform 413">
              <a:extLst>
                <a:ext uri="{FF2B5EF4-FFF2-40B4-BE49-F238E27FC236}">
                  <a16:creationId xmlns:a16="http://schemas.microsoft.com/office/drawing/2014/main" id="{BEC6674F-7512-540F-37C6-2E2E239EEA61}"/>
                </a:ext>
              </a:extLst>
            </p:cNvPr>
            <p:cNvSpPr>
              <a:spLocks/>
            </p:cNvSpPr>
            <p:nvPr/>
          </p:nvSpPr>
          <p:spPr bwMode="auto">
            <a:xfrm>
              <a:off x="1660435" y="5556762"/>
              <a:ext cx="68263" cy="100013"/>
            </a:xfrm>
            <a:custGeom>
              <a:avLst/>
              <a:gdLst>
                <a:gd name="T0" fmla="*/ 0 w 43"/>
                <a:gd name="T1" fmla="*/ 7 h 62"/>
                <a:gd name="T2" fmla="*/ 6 w 43"/>
                <a:gd name="T3" fmla="*/ 3 h 62"/>
                <a:gd name="T4" fmla="*/ 13 w 43"/>
                <a:gd name="T5" fmla="*/ 0 h 62"/>
                <a:gd name="T6" fmla="*/ 43 w 43"/>
                <a:gd name="T7" fmla="*/ 54 h 62"/>
                <a:gd name="T8" fmla="*/ 36 w 43"/>
                <a:gd name="T9" fmla="*/ 58 h 62"/>
                <a:gd name="T10" fmla="*/ 28 w 43"/>
                <a:gd name="T11" fmla="*/ 62 h 62"/>
                <a:gd name="T12" fmla="*/ 0 w 43"/>
                <a:gd name="T13" fmla="*/ 7 h 62"/>
              </a:gdLst>
              <a:ahLst/>
              <a:cxnLst>
                <a:cxn ang="0">
                  <a:pos x="T0" y="T1"/>
                </a:cxn>
                <a:cxn ang="0">
                  <a:pos x="T2" y="T3"/>
                </a:cxn>
                <a:cxn ang="0">
                  <a:pos x="T4" y="T5"/>
                </a:cxn>
                <a:cxn ang="0">
                  <a:pos x="T6" y="T7"/>
                </a:cxn>
                <a:cxn ang="0">
                  <a:pos x="T8" y="T9"/>
                </a:cxn>
                <a:cxn ang="0">
                  <a:pos x="T10" y="T11"/>
                </a:cxn>
                <a:cxn ang="0">
                  <a:pos x="T12" y="T13"/>
                </a:cxn>
              </a:cxnLst>
              <a:rect l="0" t="0" r="r" b="b"/>
              <a:pathLst>
                <a:path w="43" h="62">
                  <a:moveTo>
                    <a:pt x="0" y="7"/>
                  </a:moveTo>
                  <a:cubicBezTo>
                    <a:pt x="0" y="7"/>
                    <a:pt x="3" y="5"/>
                    <a:pt x="6" y="3"/>
                  </a:cubicBezTo>
                  <a:cubicBezTo>
                    <a:pt x="10" y="2"/>
                    <a:pt x="13" y="0"/>
                    <a:pt x="13" y="0"/>
                  </a:cubicBezTo>
                  <a:cubicBezTo>
                    <a:pt x="43" y="54"/>
                    <a:pt x="43" y="54"/>
                    <a:pt x="43" y="54"/>
                  </a:cubicBezTo>
                  <a:cubicBezTo>
                    <a:pt x="43" y="54"/>
                    <a:pt x="40" y="56"/>
                    <a:pt x="36" y="58"/>
                  </a:cubicBezTo>
                  <a:cubicBezTo>
                    <a:pt x="32" y="60"/>
                    <a:pt x="28" y="62"/>
                    <a:pt x="28" y="62"/>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4" name="Freeform 414">
              <a:extLst>
                <a:ext uri="{FF2B5EF4-FFF2-40B4-BE49-F238E27FC236}">
                  <a16:creationId xmlns:a16="http://schemas.microsoft.com/office/drawing/2014/main" id="{D30C0E3F-88E7-3114-E623-38C8B5208EAB}"/>
                </a:ext>
              </a:extLst>
            </p:cNvPr>
            <p:cNvSpPr>
              <a:spLocks/>
            </p:cNvSpPr>
            <p:nvPr/>
          </p:nvSpPr>
          <p:spPr bwMode="auto">
            <a:xfrm>
              <a:off x="1620747" y="5575812"/>
              <a:ext cx="66675" cy="101600"/>
            </a:xfrm>
            <a:custGeom>
              <a:avLst/>
              <a:gdLst>
                <a:gd name="T0" fmla="*/ 0 w 41"/>
                <a:gd name="T1" fmla="*/ 7 h 63"/>
                <a:gd name="T2" fmla="*/ 7 w 41"/>
                <a:gd name="T3" fmla="*/ 3 h 63"/>
                <a:gd name="T4" fmla="*/ 11 w 41"/>
                <a:gd name="T5" fmla="*/ 1 h 63"/>
                <a:gd name="T6" fmla="*/ 14 w 41"/>
                <a:gd name="T7" fmla="*/ 0 h 63"/>
                <a:gd name="T8" fmla="*/ 41 w 41"/>
                <a:gd name="T9" fmla="*/ 56 h 63"/>
                <a:gd name="T10" fmla="*/ 39 w 41"/>
                <a:gd name="T11" fmla="*/ 57 h 63"/>
                <a:gd name="T12" fmla="*/ 33 w 41"/>
                <a:gd name="T13" fmla="*/ 59 h 63"/>
                <a:gd name="T14" fmla="*/ 25 w 41"/>
                <a:gd name="T15" fmla="*/ 63 h 63"/>
                <a:gd name="T16" fmla="*/ 0 w 41"/>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3">
                  <a:moveTo>
                    <a:pt x="0" y="7"/>
                  </a:moveTo>
                  <a:cubicBezTo>
                    <a:pt x="0" y="7"/>
                    <a:pt x="3" y="5"/>
                    <a:pt x="7" y="3"/>
                  </a:cubicBezTo>
                  <a:cubicBezTo>
                    <a:pt x="8" y="3"/>
                    <a:pt x="10" y="2"/>
                    <a:pt x="11" y="1"/>
                  </a:cubicBezTo>
                  <a:cubicBezTo>
                    <a:pt x="13" y="1"/>
                    <a:pt x="14" y="0"/>
                    <a:pt x="14" y="0"/>
                  </a:cubicBezTo>
                  <a:cubicBezTo>
                    <a:pt x="41" y="56"/>
                    <a:pt x="41" y="56"/>
                    <a:pt x="41" y="56"/>
                  </a:cubicBezTo>
                  <a:cubicBezTo>
                    <a:pt x="41" y="56"/>
                    <a:pt x="40" y="56"/>
                    <a:pt x="39" y="57"/>
                  </a:cubicBezTo>
                  <a:cubicBezTo>
                    <a:pt x="37" y="58"/>
                    <a:pt x="35" y="59"/>
                    <a:pt x="33" y="59"/>
                  </a:cubicBezTo>
                  <a:cubicBezTo>
                    <a:pt x="29" y="61"/>
                    <a:pt x="25" y="63"/>
                    <a:pt x="25" y="63"/>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415">
              <a:extLst>
                <a:ext uri="{FF2B5EF4-FFF2-40B4-BE49-F238E27FC236}">
                  <a16:creationId xmlns:a16="http://schemas.microsoft.com/office/drawing/2014/main" id="{E22D11CB-DA49-4071-5669-DF8A44787931}"/>
                </a:ext>
              </a:extLst>
            </p:cNvPr>
            <p:cNvSpPr>
              <a:spLocks/>
            </p:cNvSpPr>
            <p:nvPr/>
          </p:nvSpPr>
          <p:spPr bwMode="auto">
            <a:xfrm>
              <a:off x="1581060" y="5593275"/>
              <a:ext cx="63500" cy="104775"/>
            </a:xfrm>
            <a:custGeom>
              <a:avLst/>
              <a:gdLst>
                <a:gd name="T0" fmla="*/ 0 w 40"/>
                <a:gd name="T1" fmla="*/ 7 h 66"/>
                <a:gd name="T2" fmla="*/ 15 w 40"/>
                <a:gd name="T3" fmla="*/ 0 h 66"/>
                <a:gd name="T4" fmla="*/ 40 w 40"/>
                <a:gd name="T5" fmla="*/ 58 h 66"/>
                <a:gd name="T6" fmla="*/ 23 w 40"/>
                <a:gd name="T7" fmla="*/ 66 h 66"/>
                <a:gd name="T8" fmla="*/ 0 w 40"/>
                <a:gd name="T9" fmla="*/ 7 h 66"/>
              </a:gdLst>
              <a:ahLst/>
              <a:cxnLst>
                <a:cxn ang="0">
                  <a:pos x="T0" y="T1"/>
                </a:cxn>
                <a:cxn ang="0">
                  <a:pos x="T2" y="T3"/>
                </a:cxn>
                <a:cxn ang="0">
                  <a:pos x="T4" y="T5"/>
                </a:cxn>
                <a:cxn ang="0">
                  <a:pos x="T6" y="T7"/>
                </a:cxn>
                <a:cxn ang="0">
                  <a:pos x="T8" y="T9"/>
                </a:cxn>
              </a:cxnLst>
              <a:rect l="0" t="0" r="r" b="b"/>
              <a:pathLst>
                <a:path w="40" h="66">
                  <a:moveTo>
                    <a:pt x="0" y="7"/>
                  </a:moveTo>
                  <a:lnTo>
                    <a:pt x="15" y="0"/>
                  </a:lnTo>
                  <a:lnTo>
                    <a:pt x="40" y="58"/>
                  </a:lnTo>
                  <a:lnTo>
                    <a:pt x="23" y="66"/>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416">
              <a:extLst>
                <a:ext uri="{FF2B5EF4-FFF2-40B4-BE49-F238E27FC236}">
                  <a16:creationId xmlns:a16="http://schemas.microsoft.com/office/drawing/2014/main" id="{B357D731-E6C5-9671-3FB1-43A37E0E8425}"/>
                </a:ext>
              </a:extLst>
            </p:cNvPr>
            <p:cNvSpPr>
              <a:spLocks/>
            </p:cNvSpPr>
            <p:nvPr/>
          </p:nvSpPr>
          <p:spPr bwMode="auto">
            <a:xfrm>
              <a:off x="1542960" y="5610737"/>
              <a:ext cx="55563" cy="103188"/>
            </a:xfrm>
            <a:custGeom>
              <a:avLst/>
              <a:gdLst>
                <a:gd name="T0" fmla="*/ 0 w 35"/>
                <a:gd name="T1" fmla="*/ 5 h 65"/>
                <a:gd name="T2" fmla="*/ 14 w 35"/>
                <a:gd name="T3" fmla="*/ 0 h 65"/>
                <a:gd name="T4" fmla="*/ 35 w 35"/>
                <a:gd name="T5" fmla="*/ 59 h 65"/>
                <a:gd name="T6" fmla="*/ 19 w 35"/>
                <a:gd name="T7" fmla="*/ 65 h 65"/>
                <a:gd name="T8" fmla="*/ 0 w 35"/>
                <a:gd name="T9" fmla="*/ 5 h 65"/>
              </a:gdLst>
              <a:ahLst/>
              <a:cxnLst>
                <a:cxn ang="0">
                  <a:pos x="T0" y="T1"/>
                </a:cxn>
                <a:cxn ang="0">
                  <a:pos x="T2" y="T3"/>
                </a:cxn>
                <a:cxn ang="0">
                  <a:pos x="T4" y="T5"/>
                </a:cxn>
                <a:cxn ang="0">
                  <a:pos x="T6" y="T7"/>
                </a:cxn>
                <a:cxn ang="0">
                  <a:pos x="T8" y="T9"/>
                </a:cxn>
              </a:cxnLst>
              <a:rect l="0" t="0" r="r" b="b"/>
              <a:pathLst>
                <a:path w="35" h="65">
                  <a:moveTo>
                    <a:pt x="0" y="5"/>
                  </a:moveTo>
                  <a:lnTo>
                    <a:pt x="14" y="0"/>
                  </a:lnTo>
                  <a:lnTo>
                    <a:pt x="35" y="59"/>
                  </a:lnTo>
                  <a:lnTo>
                    <a:pt x="19" y="6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417">
              <a:extLst>
                <a:ext uri="{FF2B5EF4-FFF2-40B4-BE49-F238E27FC236}">
                  <a16:creationId xmlns:a16="http://schemas.microsoft.com/office/drawing/2014/main" id="{0F1463B0-46E3-1252-F1B8-3B7662B39C22}"/>
                </a:ext>
              </a:extLst>
            </p:cNvPr>
            <p:cNvSpPr>
              <a:spLocks/>
            </p:cNvSpPr>
            <p:nvPr/>
          </p:nvSpPr>
          <p:spPr bwMode="auto">
            <a:xfrm>
              <a:off x="1500097" y="5623437"/>
              <a:ext cx="52388" cy="103188"/>
            </a:xfrm>
            <a:custGeom>
              <a:avLst/>
              <a:gdLst>
                <a:gd name="T0" fmla="*/ 0 w 33"/>
                <a:gd name="T1" fmla="*/ 4 h 65"/>
                <a:gd name="T2" fmla="*/ 16 w 33"/>
                <a:gd name="T3" fmla="*/ 0 h 65"/>
                <a:gd name="T4" fmla="*/ 33 w 33"/>
                <a:gd name="T5" fmla="*/ 60 h 65"/>
                <a:gd name="T6" fmla="*/ 17 w 33"/>
                <a:gd name="T7" fmla="*/ 65 h 65"/>
                <a:gd name="T8" fmla="*/ 0 w 33"/>
                <a:gd name="T9" fmla="*/ 4 h 65"/>
              </a:gdLst>
              <a:ahLst/>
              <a:cxnLst>
                <a:cxn ang="0">
                  <a:pos x="T0" y="T1"/>
                </a:cxn>
                <a:cxn ang="0">
                  <a:pos x="T2" y="T3"/>
                </a:cxn>
                <a:cxn ang="0">
                  <a:pos x="T4" y="T5"/>
                </a:cxn>
                <a:cxn ang="0">
                  <a:pos x="T6" y="T7"/>
                </a:cxn>
                <a:cxn ang="0">
                  <a:pos x="T8" y="T9"/>
                </a:cxn>
              </a:cxnLst>
              <a:rect l="0" t="0" r="r" b="b"/>
              <a:pathLst>
                <a:path w="33" h="65">
                  <a:moveTo>
                    <a:pt x="0" y="4"/>
                  </a:moveTo>
                  <a:lnTo>
                    <a:pt x="16" y="0"/>
                  </a:lnTo>
                  <a:lnTo>
                    <a:pt x="33" y="60"/>
                  </a:lnTo>
                  <a:lnTo>
                    <a:pt x="17" y="65"/>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418">
              <a:extLst>
                <a:ext uri="{FF2B5EF4-FFF2-40B4-BE49-F238E27FC236}">
                  <a16:creationId xmlns:a16="http://schemas.microsoft.com/office/drawing/2014/main" id="{E81F9890-563C-1563-AB7A-906F55259A5B}"/>
                </a:ext>
              </a:extLst>
            </p:cNvPr>
            <p:cNvSpPr>
              <a:spLocks/>
            </p:cNvSpPr>
            <p:nvPr/>
          </p:nvSpPr>
          <p:spPr bwMode="auto">
            <a:xfrm>
              <a:off x="1458822" y="5634550"/>
              <a:ext cx="46038" cy="103188"/>
            </a:xfrm>
            <a:custGeom>
              <a:avLst/>
              <a:gdLst>
                <a:gd name="T0" fmla="*/ 0 w 29"/>
                <a:gd name="T1" fmla="*/ 3 h 64"/>
                <a:gd name="T2" fmla="*/ 8 w 29"/>
                <a:gd name="T3" fmla="*/ 1 h 64"/>
                <a:gd name="T4" fmla="*/ 15 w 29"/>
                <a:gd name="T5" fmla="*/ 0 h 64"/>
                <a:gd name="T6" fmla="*/ 29 w 29"/>
                <a:gd name="T7" fmla="*/ 60 h 64"/>
                <a:gd name="T8" fmla="*/ 21 w 29"/>
                <a:gd name="T9" fmla="*/ 62 h 64"/>
                <a:gd name="T10" fmla="*/ 12 w 29"/>
                <a:gd name="T11" fmla="*/ 64 h 64"/>
                <a:gd name="T12" fmla="*/ 0 w 29"/>
                <a:gd name="T13" fmla="*/ 3 h 64"/>
              </a:gdLst>
              <a:ahLst/>
              <a:cxnLst>
                <a:cxn ang="0">
                  <a:pos x="T0" y="T1"/>
                </a:cxn>
                <a:cxn ang="0">
                  <a:pos x="T2" y="T3"/>
                </a:cxn>
                <a:cxn ang="0">
                  <a:pos x="T4" y="T5"/>
                </a:cxn>
                <a:cxn ang="0">
                  <a:pos x="T6" y="T7"/>
                </a:cxn>
                <a:cxn ang="0">
                  <a:pos x="T8" y="T9"/>
                </a:cxn>
                <a:cxn ang="0">
                  <a:pos x="T10" y="T11"/>
                </a:cxn>
                <a:cxn ang="0">
                  <a:pos x="T12" y="T13"/>
                </a:cxn>
              </a:cxnLst>
              <a:rect l="0" t="0" r="r" b="b"/>
              <a:pathLst>
                <a:path w="29" h="64">
                  <a:moveTo>
                    <a:pt x="0" y="3"/>
                  </a:moveTo>
                  <a:cubicBezTo>
                    <a:pt x="0" y="3"/>
                    <a:pt x="4" y="2"/>
                    <a:pt x="8" y="1"/>
                  </a:cubicBezTo>
                  <a:cubicBezTo>
                    <a:pt x="11" y="0"/>
                    <a:pt x="15" y="0"/>
                    <a:pt x="15" y="0"/>
                  </a:cubicBezTo>
                  <a:cubicBezTo>
                    <a:pt x="29" y="60"/>
                    <a:pt x="29" y="60"/>
                    <a:pt x="29" y="60"/>
                  </a:cubicBezTo>
                  <a:cubicBezTo>
                    <a:pt x="29" y="60"/>
                    <a:pt x="25" y="61"/>
                    <a:pt x="21" y="62"/>
                  </a:cubicBezTo>
                  <a:cubicBezTo>
                    <a:pt x="17" y="63"/>
                    <a:pt x="12" y="64"/>
                    <a:pt x="12" y="64"/>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19" name="Freeform 419">
              <a:extLst>
                <a:ext uri="{FF2B5EF4-FFF2-40B4-BE49-F238E27FC236}">
                  <a16:creationId xmlns:a16="http://schemas.microsoft.com/office/drawing/2014/main" id="{08CD67EC-B522-A9FC-F291-8C5E6099FD99}"/>
                </a:ext>
              </a:extLst>
            </p:cNvPr>
            <p:cNvSpPr>
              <a:spLocks/>
            </p:cNvSpPr>
            <p:nvPr/>
          </p:nvSpPr>
          <p:spPr bwMode="auto">
            <a:xfrm>
              <a:off x="1417547" y="5642487"/>
              <a:ext cx="41275" cy="103188"/>
            </a:xfrm>
            <a:custGeom>
              <a:avLst/>
              <a:gdLst>
                <a:gd name="T0" fmla="*/ 0 w 26"/>
                <a:gd name="T1" fmla="*/ 2 h 64"/>
                <a:gd name="T2" fmla="*/ 8 w 26"/>
                <a:gd name="T3" fmla="*/ 1 h 64"/>
                <a:gd name="T4" fmla="*/ 15 w 26"/>
                <a:gd name="T5" fmla="*/ 0 h 64"/>
                <a:gd name="T6" fmla="*/ 26 w 26"/>
                <a:gd name="T7" fmla="*/ 61 h 64"/>
                <a:gd name="T8" fmla="*/ 17 w 26"/>
                <a:gd name="T9" fmla="*/ 62 h 64"/>
                <a:gd name="T10" fmla="*/ 9 w 26"/>
                <a:gd name="T11" fmla="*/ 64 h 64"/>
                <a:gd name="T12" fmla="*/ 0 w 26"/>
                <a:gd name="T13" fmla="*/ 2 h 64"/>
              </a:gdLst>
              <a:ahLst/>
              <a:cxnLst>
                <a:cxn ang="0">
                  <a:pos x="T0" y="T1"/>
                </a:cxn>
                <a:cxn ang="0">
                  <a:pos x="T2" y="T3"/>
                </a:cxn>
                <a:cxn ang="0">
                  <a:pos x="T4" y="T5"/>
                </a:cxn>
                <a:cxn ang="0">
                  <a:pos x="T6" y="T7"/>
                </a:cxn>
                <a:cxn ang="0">
                  <a:pos x="T8" y="T9"/>
                </a:cxn>
                <a:cxn ang="0">
                  <a:pos x="T10" y="T11"/>
                </a:cxn>
                <a:cxn ang="0">
                  <a:pos x="T12" y="T13"/>
                </a:cxn>
              </a:cxnLst>
              <a:rect l="0" t="0" r="r" b="b"/>
              <a:pathLst>
                <a:path w="26" h="64">
                  <a:moveTo>
                    <a:pt x="0" y="2"/>
                  </a:moveTo>
                  <a:cubicBezTo>
                    <a:pt x="0" y="2"/>
                    <a:pt x="4" y="2"/>
                    <a:pt x="8" y="1"/>
                  </a:cubicBezTo>
                  <a:cubicBezTo>
                    <a:pt x="12" y="1"/>
                    <a:pt x="15" y="0"/>
                    <a:pt x="15" y="0"/>
                  </a:cubicBezTo>
                  <a:cubicBezTo>
                    <a:pt x="26" y="61"/>
                    <a:pt x="26" y="61"/>
                    <a:pt x="26" y="61"/>
                  </a:cubicBezTo>
                  <a:cubicBezTo>
                    <a:pt x="26" y="61"/>
                    <a:pt x="22" y="62"/>
                    <a:pt x="17" y="62"/>
                  </a:cubicBezTo>
                  <a:cubicBezTo>
                    <a:pt x="13" y="63"/>
                    <a:pt x="9" y="64"/>
                    <a:pt x="9" y="64"/>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20" name="Freeform 420">
              <a:extLst>
                <a:ext uri="{FF2B5EF4-FFF2-40B4-BE49-F238E27FC236}">
                  <a16:creationId xmlns:a16="http://schemas.microsoft.com/office/drawing/2014/main" id="{3066322B-765F-A53A-759F-A09EC8DD0F34}"/>
                </a:ext>
              </a:extLst>
            </p:cNvPr>
            <p:cNvSpPr>
              <a:spLocks/>
            </p:cNvSpPr>
            <p:nvPr/>
          </p:nvSpPr>
          <p:spPr bwMode="auto">
            <a:xfrm>
              <a:off x="1374685" y="5648837"/>
              <a:ext cx="36513" cy="101600"/>
            </a:xfrm>
            <a:custGeom>
              <a:avLst/>
              <a:gdLst>
                <a:gd name="T0" fmla="*/ 0 w 22"/>
                <a:gd name="T1" fmla="*/ 1 h 63"/>
                <a:gd name="T2" fmla="*/ 8 w 22"/>
                <a:gd name="T3" fmla="*/ 0 h 63"/>
                <a:gd name="T4" fmla="*/ 13 w 22"/>
                <a:gd name="T5" fmla="*/ 0 h 63"/>
                <a:gd name="T6" fmla="*/ 15 w 22"/>
                <a:gd name="T7" fmla="*/ 0 h 63"/>
                <a:gd name="T8" fmla="*/ 22 w 22"/>
                <a:gd name="T9" fmla="*/ 61 h 63"/>
                <a:gd name="T10" fmla="*/ 19 w 22"/>
                <a:gd name="T11" fmla="*/ 62 h 63"/>
                <a:gd name="T12" fmla="*/ 14 w 22"/>
                <a:gd name="T13" fmla="*/ 62 h 63"/>
                <a:gd name="T14" fmla="*/ 5 w 22"/>
                <a:gd name="T15" fmla="*/ 63 h 63"/>
                <a:gd name="T16" fmla="*/ 0 w 22"/>
                <a:gd name="T17"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3">
                  <a:moveTo>
                    <a:pt x="0" y="1"/>
                  </a:moveTo>
                  <a:cubicBezTo>
                    <a:pt x="0" y="1"/>
                    <a:pt x="4" y="1"/>
                    <a:pt x="8" y="0"/>
                  </a:cubicBezTo>
                  <a:cubicBezTo>
                    <a:pt x="9" y="0"/>
                    <a:pt x="11" y="0"/>
                    <a:pt x="13" y="0"/>
                  </a:cubicBezTo>
                  <a:cubicBezTo>
                    <a:pt x="14" y="0"/>
                    <a:pt x="15" y="0"/>
                    <a:pt x="15" y="0"/>
                  </a:cubicBezTo>
                  <a:cubicBezTo>
                    <a:pt x="22" y="61"/>
                    <a:pt x="22" y="61"/>
                    <a:pt x="22" y="61"/>
                  </a:cubicBezTo>
                  <a:cubicBezTo>
                    <a:pt x="22" y="61"/>
                    <a:pt x="21" y="61"/>
                    <a:pt x="19" y="62"/>
                  </a:cubicBezTo>
                  <a:cubicBezTo>
                    <a:pt x="18" y="62"/>
                    <a:pt x="16" y="62"/>
                    <a:pt x="14" y="62"/>
                  </a:cubicBezTo>
                  <a:cubicBezTo>
                    <a:pt x="9" y="63"/>
                    <a:pt x="5" y="63"/>
                    <a:pt x="5" y="63"/>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21" name="Freeform 421">
              <a:extLst>
                <a:ext uri="{FF2B5EF4-FFF2-40B4-BE49-F238E27FC236}">
                  <a16:creationId xmlns:a16="http://schemas.microsoft.com/office/drawing/2014/main" id="{C5F854C1-229F-7178-15AE-EF3B07819651}"/>
                </a:ext>
              </a:extLst>
            </p:cNvPr>
            <p:cNvSpPr>
              <a:spLocks/>
            </p:cNvSpPr>
            <p:nvPr/>
          </p:nvSpPr>
          <p:spPr bwMode="auto">
            <a:xfrm>
              <a:off x="1333410" y="5652012"/>
              <a:ext cx="28575" cy="100013"/>
            </a:xfrm>
            <a:custGeom>
              <a:avLst/>
              <a:gdLst>
                <a:gd name="T0" fmla="*/ 0 w 18"/>
                <a:gd name="T1" fmla="*/ 0 h 62"/>
                <a:gd name="T2" fmla="*/ 7 w 18"/>
                <a:gd name="T3" fmla="*/ 0 h 62"/>
                <a:gd name="T4" fmla="*/ 12 w 18"/>
                <a:gd name="T5" fmla="*/ 0 h 62"/>
                <a:gd name="T6" fmla="*/ 15 w 18"/>
                <a:gd name="T7" fmla="*/ 0 h 62"/>
                <a:gd name="T8" fmla="*/ 18 w 18"/>
                <a:gd name="T9" fmla="*/ 62 h 62"/>
                <a:gd name="T10" fmla="*/ 16 w 18"/>
                <a:gd name="T11" fmla="*/ 62 h 62"/>
                <a:gd name="T12" fmla="*/ 10 w 18"/>
                <a:gd name="T13" fmla="*/ 62 h 62"/>
                <a:gd name="T14" fmla="*/ 1 w 18"/>
                <a:gd name="T15" fmla="*/ 62 h 62"/>
                <a:gd name="T16" fmla="*/ 0 w 18"/>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62">
                  <a:moveTo>
                    <a:pt x="0" y="0"/>
                  </a:moveTo>
                  <a:cubicBezTo>
                    <a:pt x="0" y="0"/>
                    <a:pt x="3" y="0"/>
                    <a:pt x="7" y="0"/>
                  </a:cubicBezTo>
                  <a:cubicBezTo>
                    <a:pt x="9" y="0"/>
                    <a:pt x="11" y="0"/>
                    <a:pt x="12" y="0"/>
                  </a:cubicBezTo>
                  <a:cubicBezTo>
                    <a:pt x="14" y="0"/>
                    <a:pt x="15" y="0"/>
                    <a:pt x="15" y="0"/>
                  </a:cubicBezTo>
                  <a:cubicBezTo>
                    <a:pt x="18" y="62"/>
                    <a:pt x="18" y="62"/>
                    <a:pt x="18" y="62"/>
                  </a:cubicBezTo>
                  <a:cubicBezTo>
                    <a:pt x="18" y="62"/>
                    <a:pt x="17" y="62"/>
                    <a:pt x="16" y="62"/>
                  </a:cubicBezTo>
                  <a:cubicBezTo>
                    <a:pt x="14" y="62"/>
                    <a:pt x="12" y="62"/>
                    <a:pt x="10" y="62"/>
                  </a:cubicBezTo>
                  <a:cubicBezTo>
                    <a:pt x="5" y="62"/>
                    <a:pt x="1" y="62"/>
                    <a:pt x="1" y="6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22" name="Freeform 422">
              <a:extLst>
                <a:ext uri="{FF2B5EF4-FFF2-40B4-BE49-F238E27FC236}">
                  <a16:creationId xmlns:a16="http://schemas.microsoft.com/office/drawing/2014/main" id="{7913B78E-F69E-4AA2-013B-0EB7A05552CD}"/>
                </a:ext>
              </a:extLst>
            </p:cNvPr>
            <p:cNvSpPr>
              <a:spLocks/>
            </p:cNvSpPr>
            <p:nvPr/>
          </p:nvSpPr>
          <p:spPr bwMode="auto">
            <a:xfrm>
              <a:off x="1265147" y="5312287"/>
              <a:ext cx="760413" cy="463550"/>
            </a:xfrm>
            <a:custGeom>
              <a:avLst/>
              <a:gdLst>
                <a:gd name="T0" fmla="*/ 31 w 472"/>
                <a:gd name="T1" fmla="*/ 288 h 288"/>
                <a:gd name="T2" fmla="*/ 0 w 472"/>
                <a:gd name="T3" fmla="*/ 287 h 288"/>
                <a:gd name="T4" fmla="*/ 6 w 472"/>
                <a:gd name="T5" fmla="*/ 187 h 288"/>
                <a:gd name="T6" fmla="*/ 174 w 472"/>
                <a:gd name="T7" fmla="*/ 164 h 288"/>
                <a:gd name="T8" fmla="*/ 390 w 472"/>
                <a:gd name="T9" fmla="*/ 0 h 288"/>
                <a:gd name="T10" fmla="*/ 472 w 472"/>
                <a:gd name="T11" fmla="*/ 57 h 288"/>
                <a:gd name="T12" fmla="*/ 206 w 472"/>
                <a:gd name="T13" fmla="*/ 258 h 288"/>
                <a:gd name="T14" fmla="*/ 31 w 472"/>
                <a:gd name="T15" fmla="*/ 288 h 2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288">
                  <a:moveTo>
                    <a:pt x="31" y="288"/>
                  </a:moveTo>
                  <a:cubicBezTo>
                    <a:pt x="21" y="288"/>
                    <a:pt x="10" y="288"/>
                    <a:pt x="0" y="287"/>
                  </a:cubicBezTo>
                  <a:cubicBezTo>
                    <a:pt x="6" y="187"/>
                    <a:pt x="6" y="187"/>
                    <a:pt x="6" y="187"/>
                  </a:cubicBezTo>
                  <a:cubicBezTo>
                    <a:pt x="63" y="190"/>
                    <a:pt x="119" y="182"/>
                    <a:pt x="174" y="164"/>
                  </a:cubicBezTo>
                  <a:cubicBezTo>
                    <a:pt x="262" y="133"/>
                    <a:pt x="336" y="77"/>
                    <a:pt x="390" y="0"/>
                  </a:cubicBezTo>
                  <a:cubicBezTo>
                    <a:pt x="472" y="57"/>
                    <a:pt x="472" y="57"/>
                    <a:pt x="472" y="57"/>
                  </a:cubicBezTo>
                  <a:cubicBezTo>
                    <a:pt x="406" y="151"/>
                    <a:pt x="315" y="221"/>
                    <a:pt x="206" y="258"/>
                  </a:cubicBezTo>
                  <a:cubicBezTo>
                    <a:pt x="149" y="278"/>
                    <a:pt x="90" y="288"/>
                    <a:pt x="31"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423">
              <a:extLst>
                <a:ext uri="{FF2B5EF4-FFF2-40B4-BE49-F238E27FC236}">
                  <a16:creationId xmlns:a16="http://schemas.microsoft.com/office/drawing/2014/main" id="{E92524EA-3861-9995-3701-F71D6FA4FB8C}"/>
                </a:ext>
              </a:extLst>
            </p:cNvPr>
            <p:cNvSpPr>
              <a:spLocks/>
            </p:cNvSpPr>
            <p:nvPr/>
          </p:nvSpPr>
          <p:spPr bwMode="auto">
            <a:xfrm>
              <a:off x="1314360" y="4039112"/>
              <a:ext cx="865188" cy="868363"/>
            </a:xfrm>
            <a:custGeom>
              <a:avLst/>
              <a:gdLst>
                <a:gd name="T0" fmla="*/ 438 w 538"/>
                <a:gd name="T1" fmla="*/ 538 h 538"/>
                <a:gd name="T2" fmla="*/ 310 w 538"/>
                <a:gd name="T3" fmla="*/ 228 h 538"/>
                <a:gd name="T4" fmla="*/ 0 w 538"/>
                <a:gd name="T5" fmla="*/ 100 h 538"/>
                <a:gd name="T6" fmla="*/ 0 w 538"/>
                <a:gd name="T7" fmla="*/ 100 h 538"/>
                <a:gd name="T8" fmla="*/ 0 w 538"/>
                <a:gd name="T9" fmla="*/ 0 h 538"/>
                <a:gd name="T10" fmla="*/ 0 w 538"/>
                <a:gd name="T11" fmla="*/ 0 h 538"/>
                <a:gd name="T12" fmla="*/ 380 w 538"/>
                <a:gd name="T13" fmla="*/ 157 h 538"/>
                <a:gd name="T14" fmla="*/ 538 w 538"/>
                <a:gd name="T15" fmla="*/ 538 h 538"/>
                <a:gd name="T16" fmla="*/ 438 w 538"/>
                <a:gd name="T17"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538">
                  <a:moveTo>
                    <a:pt x="438" y="538"/>
                  </a:moveTo>
                  <a:cubicBezTo>
                    <a:pt x="438" y="421"/>
                    <a:pt x="392" y="311"/>
                    <a:pt x="310" y="228"/>
                  </a:cubicBezTo>
                  <a:cubicBezTo>
                    <a:pt x="227" y="146"/>
                    <a:pt x="117" y="100"/>
                    <a:pt x="0" y="100"/>
                  </a:cubicBezTo>
                  <a:cubicBezTo>
                    <a:pt x="0" y="100"/>
                    <a:pt x="0" y="100"/>
                    <a:pt x="0" y="100"/>
                  </a:cubicBezTo>
                  <a:cubicBezTo>
                    <a:pt x="0" y="0"/>
                    <a:pt x="0" y="0"/>
                    <a:pt x="0" y="0"/>
                  </a:cubicBezTo>
                  <a:cubicBezTo>
                    <a:pt x="0" y="0"/>
                    <a:pt x="0" y="0"/>
                    <a:pt x="0" y="0"/>
                  </a:cubicBezTo>
                  <a:cubicBezTo>
                    <a:pt x="144" y="0"/>
                    <a:pt x="279" y="56"/>
                    <a:pt x="380" y="157"/>
                  </a:cubicBezTo>
                  <a:cubicBezTo>
                    <a:pt x="482" y="259"/>
                    <a:pt x="538" y="394"/>
                    <a:pt x="538" y="538"/>
                  </a:cubicBezTo>
                  <a:lnTo>
                    <a:pt x="438" y="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sp>
          <p:nvSpPr>
            <p:cNvPr id="124" name="Freeform 424">
              <a:extLst>
                <a:ext uri="{FF2B5EF4-FFF2-40B4-BE49-F238E27FC236}">
                  <a16:creationId xmlns:a16="http://schemas.microsoft.com/office/drawing/2014/main" id="{57DC8BC0-3DE6-E9F2-5052-763CAD928C6C}"/>
                </a:ext>
              </a:extLst>
            </p:cNvPr>
            <p:cNvSpPr>
              <a:spLocks/>
            </p:cNvSpPr>
            <p:nvPr/>
          </p:nvSpPr>
          <p:spPr bwMode="auto">
            <a:xfrm>
              <a:off x="403135" y="4377250"/>
              <a:ext cx="354013" cy="793750"/>
            </a:xfrm>
            <a:custGeom>
              <a:avLst/>
              <a:gdLst>
                <a:gd name="T0" fmla="*/ 54 w 220"/>
                <a:gd name="T1" fmla="*/ 492 h 492"/>
                <a:gd name="T2" fmla="*/ 140 w 220"/>
                <a:gd name="T3" fmla="*/ 0 h 492"/>
                <a:gd name="T4" fmla="*/ 220 w 220"/>
                <a:gd name="T5" fmla="*/ 61 h 492"/>
                <a:gd name="T6" fmla="*/ 149 w 220"/>
                <a:gd name="T7" fmla="*/ 462 h 492"/>
                <a:gd name="T8" fmla="*/ 54 w 220"/>
                <a:gd name="T9" fmla="*/ 492 h 492"/>
              </a:gdLst>
              <a:ahLst/>
              <a:cxnLst>
                <a:cxn ang="0">
                  <a:pos x="T0" y="T1"/>
                </a:cxn>
                <a:cxn ang="0">
                  <a:pos x="T2" y="T3"/>
                </a:cxn>
                <a:cxn ang="0">
                  <a:pos x="T4" y="T5"/>
                </a:cxn>
                <a:cxn ang="0">
                  <a:pos x="T6" y="T7"/>
                </a:cxn>
                <a:cxn ang="0">
                  <a:pos x="T8" y="T9"/>
                </a:cxn>
              </a:cxnLst>
              <a:rect l="0" t="0" r="r" b="b"/>
              <a:pathLst>
                <a:path w="220" h="492">
                  <a:moveTo>
                    <a:pt x="54" y="492"/>
                  </a:moveTo>
                  <a:cubicBezTo>
                    <a:pt x="0" y="324"/>
                    <a:pt x="32" y="141"/>
                    <a:pt x="140" y="0"/>
                  </a:cubicBezTo>
                  <a:cubicBezTo>
                    <a:pt x="220" y="61"/>
                    <a:pt x="220" y="61"/>
                    <a:pt x="220" y="61"/>
                  </a:cubicBezTo>
                  <a:cubicBezTo>
                    <a:pt x="132" y="176"/>
                    <a:pt x="105" y="325"/>
                    <a:pt x="149" y="462"/>
                  </a:cubicBezTo>
                  <a:lnTo>
                    <a:pt x="54" y="4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hu-HU"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25" name="Group 124">
            <a:extLst>
              <a:ext uri="{FF2B5EF4-FFF2-40B4-BE49-F238E27FC236}">
                <a16:creationId xmlns:a16="http://schemas.microsoft.com/office/drawing/2014/main" id="{129848A5-1651-C2BB-B272-0915251854C0}"/>
              </a:ext>
            </a:extLst>
          </p:cNvPr>
          <p:cNvGrpSpPr/>
          <p:nvPr/>
        </p:nvGrpSpPr>
        <p:grpSpPr>
          <a:xfrm>
            <a:off x="7705769" y="4261269"/>
            <a:ext cx="1287375" cy="1308586"/>
            <a:chOff x="2863265" y="7497913"/>
            <a:chExt cx="1113666" cy="1132017"/>
          </a:xfrm>
        </p:grpSpPr>
        <p:grpSp>
          <p:nvGrpSpPr>
            <p:cNvPr id="126" name="Group 601">
              <a:extLst>
                <a:ext uri="{FF2B5EF4-FFF2-40B4-BE49-F238E27FC236}">
                  <a16:creationId xmlns:a16="http://schemas.microsoft.com/office/drawing/2014/main" id="{4C39CC2D-3103-8634-3BC0-3B4B0FABA403}"/>
                </a:ext>
              </a:extLst>
            </p:cNvPr>
            <p:cNvGrpSpPr>
              <a:grpSpLocks noChangeAspect="1"/>
            </p:cNvGrpSpPr>
            <p:nvPr/>
          </p:nvGrpSpPr>
          <p:grpSpPr bwMode="auto">
            <a:xfrm>
              <a:off x="3098093" y="8355609"/>
              <a:ext cx="275128" cy="274321"/>
              <a:chOff x="7347" y="2263"/>
              <a:chExt cx="341" cy="340"/>
            </a:xfrm>
            <a:solidFill>
              <a:srgbClr val="0076A8"/>
            </a:solidFill>
          </p:grpSpPr>
          <p:sp>
            <p:nvSpPr>
              <p:cNvPr id="150" name="Freeform 602">
                <a:extLst>
                  <a:ext uri="{FF2B5EF4-FFF2-40B4-BE49-F238E27FC236}">
                    <a16:creationId xmlns:a16="http://schemas.microsoft.com/office/drawing/2014/main" id="{A9598700-CF84-9789-FF17-3AF0A83D3412}"/>
                  </a:ext>
                </a:extLst>
              </p:cNvPr>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1" name="Freeform 603">
                <a:extLst>
                  <a:ext uri="{FF2B5EF4-FFF2-40B4-BE49-F238E27FC236}">
                    <a16:creationId xmlns:a16="http://schemas.microsoft.com/office/drawing/2014/main" id="{FCF20630-5D31-B890-C649-902942F755EA}"/>
                  </a:ext>
                </a:extLst>
              </p:cNvPr>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7" name="Group 883">
              <a:extLst>
                <a:ext uri="{FF2B5EF4-FFF2-40B4-BE49-F238E27FC236}">
                  <a16:creationId xmlns:a16="http://schemas.microsoft.com/office/drawing/2014/main" id="{8E698625-6404-829E-A180-913E0BEC2A79}"/>
                </a:ext>
              </a:extLst>
            </p:cNvPr>
            <p:cNvGrpSpPr>
              <a:grpSpLocks noChangeAspect="1"/>
            </p:cNvGrpSpPr>
            <p:nvPr/>
          </p:nvGrpSpPr>
          <p:grpSpPr bwMode="auto">
            <a:xfrm>
              <a:off x="3454789" y="8353153"/>
              <a:ext cx="275128" cy="274320"/>
              <a:chOff x="5070" y="3459"/>
              <a:chExt cx="341" cy="340"/>
            </a:xfrm>
            <a:solidFill>
              <a:srgbClr val="00A3E0"/>
            </a:solidFill>
          </p:grpSpPr>
          <p:sp>
            <p:nvSpPr>
              <p:cNvPr id="148" name="Freeform 884">
                <a:extLst>
                  <a:ext uri="{FF2B5EF4-FFF2-40B4-BE49-F238E27FC236}">
                    <a16:creationId xmlns:a16="http://schemas.microsoft.com/office/drawing/2014/main" id="{72016D6F-7094-578B-AD61-609086EB66D6}"/>
                  </a:ext>
                </a:extLst>
              </p:cNvPr>
              <p:cNvSpPr>
                <a:spLocks noEditPoints="1"/>
              </p:cNvSpPr>
              <p:nvPr/>
            </p:nvSpPr>
            <p:spPr bwMode="auto">
              <a:xfrm>
                <a:off x="5070" y="34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9" name="Freeform 885">
                <a:extLst>
                  <a:ext uri="{FF2B5EF4-FFF2-40B4-BE49-F238E27FC236}">
                    <a16:creationId xmlns:a16="http://schemas.microsoft.com/office/drawing/2014/main" id="{B9565F89-63FC-86D4-4CD0-22BF98EBA20C}"/>
                  </a:ext>
                </a:extLst>
              </p:cNvPr>
              <p:cNvSpPr>
                <a:spLocks noEditPoints="1"/>
              </p:cNvSpPr>
              <p:nvPr/>
            </p:nvSpPr>
            <p:spPr bwMode="auto">
              <a:xfrm>
                <a:off x="5155" y="3529"/>
                <a:ext cx="171" cy="206"/>
              </a:xfrm>
              <a:custGeom>
                <a:avLst/>
                <a:gdLst>
                  <a:gd name="T0" fmla="*/ 234 w 256"/>
                  <a:gd name="T1" fmla="*/ 171 h 310"/>
                  <a:gd name="T2" fmla="*/ 208 w 256"/>
                  <a:gd name="T3" fmla="*/ 160 h 310"/>
                  <a:gd name="T4" fmla="*/ 200 w 256"/>
                  <a:gd name="T5" fmla="*/ 133 h 310"/>
                  <a:gd name="T6" fmla="*/ 96 w 256"/>
                  <a:gd name="T7" fmla="*/ 107 h 310"/>
                  <a:gd name="T8" fmla="*/ 53 w 256"/>
                  <a:gd name="T9" fmla="*/ 136 h 310"/>
                  <a:gd name="T10" fmla="*/ 32 w 256"/>
                  <a:gd name="T11" fmla="*/ 160 h 310"/>
                  <a:gd name="T12" fmla="*/ 25 w 256"/>
                  <a:gd name="T13" fmla="*/ 179 h 310"/>
                  <a:gd name="T14" fmla="*/ 0 w 256"/>
                  <a:gd name="T15" fmla="*/ 245 h 310"/>
                  <a:gd name="T16" fmla="*/ 10 w 256"/>
                  <a:gd name="T17" fmla="*/ 265 h 310"/>
                  <a:gd name="T18" fmla="*/ 21 w 256"/>
                  <a:gd name="T19" fmla="*/ 310 h 310"/>
                  <a:gd name="T20" fmla="*/ 74 w 256"/>
                  <a:gd name="T21" fmla="*/ 299 h 310"/>
                  <a:gd name="T22" fmla="*/ 128 w 256"/>
                  <a:gd name="T23" fmla="*/ 288 h 310"/>
                  <a:gd name="T24" fmla="*/ 181 w 256"/>
                  <a:gd name="T25" fmla="*/ 299 h 310"/>
                  <a:gd name="T26" fmla="*/ 234 w 256"/>
                  <a:gd name="T27" fmla="*/ 310 h 310"/>
                  <a:gd name="T28" fmla="*/ 245 w 256"/>
                  <a:gd name="T29" fmla="*/ 265 h 310"/>
                  <a:gd name="T30" fmla="*/ 256 w 256"/>
                  <a:gd name="T31" fmla="*/ 245 h 310"/>
                  <a:gd name="T32" fmla="*/ 230 w 256"/>
                  <a:gd name="T33" fmla="*/ 179 h 310"/>
                  <a:gd name="T34" fmla="*/ 160 w 256"/>
                  <a:gd name="T35" fmla="*/ 128 h 310"/>
                  <a:gd name="T36" fmla="*/ 189 w 256"/>
                  <a:gd name="T37" fmla="*/ 171 h 310"/>
                  <a:gd name="T38" fmla="*/ 73 w 256"/>
                  <a:gd name="T39" fmla="*/ 144 h 310"/>
                  <a:gd name="T40" fmla="*/ 53 w 256"/>
                  <a:gd name="T41" fmla="*/ 288 h 310"/>
                  <a:gd name="T42" fmla="*/ 32 w 256"/>
                  <a:gd name="T43" fmla="*/ 277 h 310"/>
                  <a:gd name="T44" fmla="*/ 53 w 256"/>
                  <a:gd name="T45" fmla="*/ 288 h 310"/>
                  <a:gd name="T46" fmla="*/ 21 w 256"/>
                  <a:gd name="T47" fmla="*/ 224 h 310"/>
                  <a:gd name="T48" fmla="*/ 202 w 256"/>
                  <a:gd name="T49" fmla="*/ 192 h 310"/>
                  <a:gd name="T50" fmla="*/ 234 w 256"/>
                  <a:gd name="T51" fmla="*/ 245 h 310"/>
                  <a:gd name="T52" fmla="*/ 21 w 256"/>
                  <a:gd name="T53" fmla="*/ 245 h 310"/>
                  <a:gd name="T54" fmla="*/ 202 w 256"/>
                  <a:gd name="T55" fmla="*/ 288 h 310"/>
                  <a:gd name="T56" fmla="*/ 224 w 256"/>
                  <a:gd name="T57" fmla="*/ 277 h 310"/>
                  <a:gd name="T58" fmla="*/ 160 w 256"/>
                  <a:gd name="T59" fmla="*/ 224 h 310"/>
                  <a:gd name="T60" fmla="*/ 106 w 256"/>
                  <a:gd name="T61" fmla="*/ 235 h 310"/>
                  <a:gd name="T62" fmla="*/ 106 w 256"/>
                  <a:gd name="T63" fmla="*/ 214 h 310"/>
                  <a:gd name="T64" fmla="*/ 160 w 256"/>
                  <a:gd name="T65" fmla="*/ 224 h 310"/>
                  <a:gd name="T66" fmla="*/ 57 w 256"/>
                  <a:gd name="T67" fmla="*/ 239 h 310"/>
                  <a:gd name="T68" fmla="*/ 57 w 256"/>
                  <a:gd name="T69" fmla="*/ 218 h 310"/>
                  <a:gd name="T70" fmla="*/ 208 w 256"/>
                  <a:gd name="T71" fmla="*/ 228 h 310"/>
                  <a:gd name="T72" fmla="*/ 188 w 256"/>
                  <a:gd name="T73" fmla="*/ 228 h 310"/>
                  <a:gd name="T74" fmla="*/ 208 w 256"/>
                  <a:gd name="T75" fmla="*/ 228 h 310"/>
                  <a:gd name="T76" fmla="*/ 13 w 256"/>
                  <a:gd name="T77" fmla="*/ 55 h 310"/>
                  <a:gd name="T78" fmla="*/ 242 w 256"/>
                  <a:gd name="T79" fmla="*/ 55 h 310"/>
                  <a:gd name="T80" fmla="*/ 226 w 256"/>
                  <a:gd name="T81" fmla="*/ 69 h 310"/>
                  <a:gd name="T82" fmla="*/ 29 w 256"/>
                  <a:gd name="T83" fmla="*/ 69 h 310"/>
                  <a:gd name="T84" fmla="*/ 14 w 256"/>
                  <a:gd name="T85" fmla="*/ 70 h 310"/>
                  <a:gd name="T86" fmla="*/ 211 w 256"/>
                  <a:gd name="T87" fmla="*/ 104 h 310"/>
                  <a:gd name="T88" fmla="*/ 128 w 256"/>
                  <a:gd name="T89" fmla="*/ 70 h 310"/>
                  <a:gd name="T90" fmla="*/ 51 w 256"/>
                  <a:gd name="T91" fmla="*/ 107 h 310"/>
                  <a:gd name="T92" fmla="*/ 43 w 256"/>
                  <a:gd name="T93" fmla="*/ 89 h 310"/>
                  <a:gd name="T94" fmla="*/ 212 w 256"/>
                  <a:gd name="T95" fmla="*/ 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310">
                    <a:moveTo>
                      <a:pt x="230" y="179"/>
                    </a:moveTo>
                    <a:cubicBezTo>
                      <a:pt x="233" y="177"/>
                      <a:pt x="234" y="175"/>
                      <a:pt x="234" y="171"/>
                    </a:cubicBezTo>
                    <a:cubicBezTo>
                      <a:pt x="234" y="165"/>
                      <a:pt x="230" y="160"/>
                      <a:pt x="224" y="160"/>
                    </a:cubicBezTo>
                    <a:cubicBezTo>
                      <a:pt x="208" y="160"/>
                      <a:pt x="208" y="160"/>
                      <a:pt x="208" y="160"/>
                    </a:cubicBezTo>
                    <a:cubicBezTo>
                      <a:pt x="202" y="136"/>
                      <a:pt x="202" y="136"/>
                      <a:pt x="202" y="136"/>
                    </a:cubicBezTo>
                    <a:cubicBezTo>
                      <a:pt x="202" y="135"/>
                      <a:pt x="201" y="134"/>
                      <a:pt x="200" y="133"/>
                    </a:cubicBezTo>
                    <a:cubicBezTo>
                      <a:pt x="198" y="130"/>
                      <a:pt x="180" y="107"/>
                      <a:pt x="160" y="107"/>
                    </a:cubicBezTo>
                    <a:cubicBezTo>
                      <a:pt x="96" y="107"/>
                      <a:pt x="96" y="107"/>
                      <a:pt x="96" y="107"/>
                    </a:cubicBezTo>
                    <a:cubicBezTo>
                      <a:pt x="75" y="107"/>
                      <a:pt x="57" y="130"/>
                      <a:pt x="55" y="133"/>
                    </a:cubicBezTo>
                    <a:cubicBezTo>
                      <a:pt x="54" y="134"/>
                      <a:pt x="54" y="135"/>
                      <a:pt x="53" y="136"/>
                    </a:cubicBezTo>
                    <a:cubicBezTo>
                      <a:pt x="47" y="160"/>
                      <a:pt x="47" y="160"/>
                      <a:pt x="47" y="160"/>
                    </a:cubicBezTo>
                    <a:cubicBezTo>
                      <a:pt x="32" y="160"/>
                      <a:pt x="32" y="160"/>
                      <a:pt x="32" y="160"/>
                    </a:cubicBezTo>
                    <a:cubicBezTo>
                      <a:pt x="26" y="160"/>
                      <a:pt x="21" y="165"/>
                      <a:pt x="21" y="171"/>
                    </a:cubicBezTo>
                    <a:cubicBezTo>
                      <a:pt x="21" y="175"/>
                      <a:pt x="23" y="177"/>
                      <a:pt x="25" y="179"/>
                    </a:cubicBezTo>
                    <a:cubicBezTo>
                      <a:pt x="10" y="189"/>
                      <a:pt x="0" y="206"/>
                      <a:pt x="0" y="224"/>
                    </a:cubicBezTo>
                    <a:cubicBezTo>
                      <a:pt x="0" y="245"/>
                      <a:pt x="0" y="245"/>
                      <a:pt x="0" y="245"/>
                    </a:cubicBezTo>
                    <a:cubicBezTo>
                      <a:pt x="0" y="248"/>
                      <a:pt x="0" y="255"/>
                      <a:pt x="6" y="262"/>
                    </a:cubicBezTo>
                    <a:cubicBezTo>
                      <a:pt x="8" y="263"/>
                      <a:pt x="9" y="264"/>
                      <a:pt x="10" y="265"/>
                    </a:cubicBezTo>
                    <a:cubicBezTo>
                      <a:pt x="10" y="299"/>
                      <a:pt x="10" y="299"/>
                      <a:pt x="10" y="299"/>
                    </a:cubicBezTo>
                    <a:cubicBezTo>
                      <a:pt x="10" y="305"/>
                      <a:pt x="15" y="310"/>
                      <a:pt x="21" y="310"/>
                    </a:cubicBezTo>
                    <a:cubicBezTo>
                      <a:pt x="64" y="310"/>
                      <a:pt x="64" y="310"/>
                      <a:pt x="64" y="310"/>
                    </a:cubicBezTo>
                    <a:cubicBezTo>
                      <a:pt x="70" y="310"/>
                      <a:pt x="74" y="305"/>
                      <a:pt x="74" y="299"/>
                    </a:cubicBezTo>
                    <a:cubicBezTo>
                      <a:pt x="74" y="286"/>
                      <a:pt x="74" y="286"/>
                      <a:pt x="74" y="286"/>
                    </a:cubicBezTo>
                    <a:cubicBezTo>
                      <a:pt x="90" y="287"/>
                      <a:pt x="107" y="288"/>
                      <a:pt x="128" y="288"/>
                    </a:cubicBezTo>
                    <a:cubicBezTo>
                      <a:pt x="148" y="288"/>
                      <a:pt x="165" y="287"/>
                      <a:pt x="181" y="286"/>
                    </a:cubicBezTo>
                    <a:cubicBezTo>
                      <a:pt x="181" y="299"/>
                      <a:pt x="181" y="299"/>
                      <a:pt x="181" y="299"/>
                    </a:cubicBezTo>
                    <a:cubicBezTo>
                      <a:pt x="181" y="305"/>
                      <a:pt x="186" y="310"/>
                      <a:pt x="192" y="310"/>
                    </a:cubicBezTo>
                    <a:cubicBezTo>
                      <a:pt x="234" y="310"/>
                      <a:pt x="234" y="310"/>
                      <a:pt x="234" y="310"/>
                    </a:cubicBezTo>
                    <a:cubicBezTo>
                      <a:pt x="240" y="310"/>
                      <a:pt x="245" y="305"/>
                      <a:pt x="245" y="299"/>
                    </a:cubicBezTo>
                    <a:cubicBezTo>
                      <a:pt x="245" y="265"/>
                      <a:pt x="245" y="265"/>
                      <a:pt x="245" y="265"/>
                    </a:cubicBezTo>
                    <a:cubicBezTo>
                      <a:pt x="246" y="264"/>
                      <a:pt x="248" y="263"/>
                      <a:pt x="249" y="262"/>
                    </a:cubicBezTo>
                    <a:cubicBezTo>
                      <a:pt x="255" y="255"/>
                      <a:pt x="256" y="248"/>
                      <a:pt x="256" y="245"/>
                    </a:cubicBezTo>
                    <a:cubicBezTo>
                      <a:pt x="256" y="224"/>
                      <a:pt x="256" y="224"/>
                      <a:pt x="256" y="224"/>
                    </a:cubicBezTo>
                    <a:cubicBezTo>
                      <a:pt x="256" y="206"/>
                      <a:pt x="245" y="189"/>
                      <a:pt x="230" y="179"/>
                    </a:cubicBezTo>
                    <a:close/>
                    <a:moveTo>
                      <a:pt x="96" y="128"/>
                    </a:moveTo>
                    <a:cubicBezTo>
                      <a:pt x="160" y="128"/>
                      <a:pt x="160" y="128"/>
                      <a:pt x="160" y="128"/>
                    </a:cubicBezTo>
                    <a:cubicBezTo>
                      <a:pt x="166" y="128"/>
                      <a:pt x="176" y="137"/>
                      <a:pt x="182" y="144"/>
                    </a:cubicBezTo>
                    <a:cubicBezTo>
                      <a:pt x="189" y="171"/>
                      <a:pt x="189" y="171"/>
                      <a:pt x="189" y="171"/>
                    </a:cubicBezTo>
                    <a:cubicBezTo>
                      <a:pt x="67" y="171"/>
                      <a:pt x="67" y="171"/>
                      <a:pt x="67" y="171"/>
                    </a:cubicBezTo>
                    <a:cubicBezTo>
                      <a:pt x="73" y="144"/>
                      <a:pt x="73" y="144"/>
                      <a:pt x="73" y="144"/>
                    </a:cubicBezTo>
                    <a:cubicBezTo>
                      <a:pt x="79" y="137"/>
                      <a:pt x="89" y="128"/>
                      <a:pt x="96" y="128"/>
                    </a:cubicBezTo>
                    <a:close/>
                    <a:moveTo>
                      <a:pt x="53" y="288"/>
                    </a:moveTo>
                    <a:cubicBezTo>
                      <a:pt x="32" y="288"/>
                      <a:pt x="32" y="288"/>
                      <a:pt x="32" y="288"/>
                    </a:cubicBezTo>
                    <a:cubicBezTo>
                      <a:pt x="32" y="277"/>
                      <a:pt x="32" y="277"/>
                      <a:pt x="32" y="277"/>
                    </a:cubicBezTo>
                    <a:cubicBezTo>
                      <a:pt x="38" y="279"/>
                      <a:pt x="45" y="281"/>
                      <a:pt x="53" y="282"/>
                    </a:cubicBezTo>
                    <a:lnTo>
                      <a:pt x="53" y="288"/>
                    </a:lnTo>
                    <a:close/>
                    <a:moveTo>
                      <a:pt x="21" y="245"/>
                    </a:moveTo>
                    <a:cubicBezTo>
                      <a:pt x="21" y="224"/>
                      <a:pt x="21" y="224"/>
                      <a:pt x="21" y="224"/>
                    </a:cubicBezTo>
                    <a:cubicBezTo>
                      <a:pt x="21" y="208"/>
                      <a:pt x="37" y="192"/>
                      <a:pt x="53" y="192"/>
                    </a:cubicBezTo>
                    <a:cubicBezTo>
                      <a:pt x="202" y="192"/>
                      <a:pt x="202" y="192"/>
                      <a:pt x="202" y="192"/>
                    </a:cubicBezTo>
                    <a:cubicBezTo>
                      <a:pt x="219" y="192"/>
                      <a:pt x="234" y="208"/>
                      <a:pt x="234" y="224"/>
                    </a:cubicBezTo>
                    <a:cubicBezTo>
                      <a:pt x="234" y="245"/>
                      <a:pt x="234" y="245"/>
                      <a:pt x="234" y="245"/>
                    </a:cubicBezTo>
                    <a:cubicBezTo>
                      <a:pt x="233" y="247"/>
                      <a:pt x="222" y="267"/>
                      <a:pt x="128" y="267"/>
                    </a:cubicBezTo>
                    <a:cubicBezTo>
                      <a:pt x="34" y="267"/>
                      <a:pt x="22" y="247"/>
                      <a:pt x="21" y="245"/>
                    </a:cubicBezTo>
                    <a:close/>
                    <a:moveTo>
                      <a:pt x="224" y="288"/>
                    </a:moveTo>
                    <a:cubicBezTo>
                      <a:pt x="202" y="288"/>
                      <a:pt x="202" y="288"/>
                      <a:pt x="202" y="288"/>
                    </a:cubicBezTo>
                    <a:cubicBezTo>
                      <a:pt x="202" y="282"/>
                      <a:pt x="202" y="282"/>
                      <a:pt x="202" y="282"/>
                    </a:cubicBezTo>
                    <a:cubicBezTo>
                      <a:pt x="210" y="281"/>
                      <a:pt x="217" y="279"/>
                      <a:pt x="224" y="277"/>
                    </a:cubicBezTo>
                    <a:lnTo>
                      <a:pt x="224" y="288"/>
                    </a:lnTo>
                    <a:close/>
                    <a:moveTo>
                      <a:pt x="160" y="224"/>
                    </a:moveTo>
                    <a:cubicBezTo>
                      <a:pt x="160" y="230"/>
                      <a:pt x="155" y="235"/>
                      <a:pt x="149" y="235"/>
                    </a:cubicBezTo>
                    <a:cubicBezTo>
                      <a:pt x="106" y="235"/>
                      <a:pt x="106" y="235"/>
                      <a:pt x="106" y="235"/>
                    </a:cubicBezTo>
                    <a:cubicBezTo>
                      <a:pt x="100" y="235"/>
                      <a:pt x="96" y="230"/>
                      <a:pt x="96" y="224"/>
                    </a:cubicBezTo>
                    <a:cubicBezTo>
                      <a:pt x="96" y="218"/>
                      <a:pt x="100" y="214"/>
                      <a:pt x="106" y="214"/>
                    </a:cubicBezTo>
                    <a:cubicBezTo>
                      <a:pt x="149" y="214"/>
                      <a:pt x="149" y="214"/>
                      <a:pt x="149" y="214"/>
                    </a:cubicBezTo>
                    <a:cubicBezTo>
                      <a:pt x="155" y="214"/>
                      <a:pt x="160" y="218"/>
                      <a:pt x="160" y="224"/>
                    </a:cubicBezTo>
                    <a:close/>
                    <a:moveTo>
                      <a:pt x="67" y="228"/>
                    </a:moveTo>
                    <a:cubicBezTo>
                      <a:pt x="67" y="234"/>
                      <a:pt x="63" y="239"/>
                      <a:pt x="57" y="239"/>
                    </a:cubicBezTo>
                    <a:cubicBezTo>
                      <a:pt x="52" y="239"/>
                      <a:pt x="47" y="234"/>
                      <a:pt x="47" y="228"/>
                    </a:cubicBezTo>
                    <a:cubicBezTo>
                      <a:pt x="47" y="223"/>
                      <a:pt x="52" y="218"/>
                      <a:pt x="57" y="218"/>
                    </a:cubicBezTo>
                    <a:cubicBezTo>
                      <a:pt x="63" y="218"/>
                      <a:pt x="67" y="223"/>
                      <a:pt x="67" y="228"/>
                    </a:cubicBezTo>
                    <a:close/>
                    <a:moveTo>
                      <a:pt x="208" y="228"/>
                    </a:moveTo>
                    <a:cubicBezTo>
                      <a:pt x="208" y="234"/>
                      <a:pt x="204" y="239"/>
                      <a:pt x="198" y="239"/>
                    </a:cubicBezTo>
                    <a:cubicBezTo>
                      <a:pt x="193" y="239"/>
                      <a:pt x="188" y="234"/>
                      <a:pt x="188" y="228"/>
                    </a:cubicBezTo>
                    <a:cubicBezTo>
                      <a:pt x="188" y="223"/>
                      <a:pt x="193" y="218"/>
                      <a:pt x="198" y="218"/>
                    </a:cubicBezTo>
                    <a:cubicBezTo>
                      <a:pt x="204" y="218"/>
                      <a:pt x="208" y="223"/>
                      <a:pt x="208" y="228"/>
                    </a:cubicBezTo>
                    <a:close/>
                    <a:moveTo>
                      <a:pt x="14" y="70"/>
                    </a:moveTo>
                    <a:cubicBezTo>
                      <a:pt x="10" y="66"/>
                      <a:pt x="9" y="60"/>
                      <a:pt x="13" y="55"/>
                    </a:cubicBezTo>
                    <a:cubicBezTo>
                      <a:pt x="43" y="20"/>
                      <a:pt x="84" y="0"/>
                      <a:pt x="128" y="0"/>
                    </a:cubicBezTo>
                    <a:cubicBezTo>
                      <a:pt x="171" y="0"/>
                      <a:pt x="212" y="20"/>
                      <a:pt x="242" y="55"/>
                    </a:cubicBezTo>
                    <a:cubicBezTo>
                      <a:pt x="246" y="60"/>
                      <a:pt x="246" y="66"/>
                      <a:pt x="241" y="70"/>
                    </a:cubicBezTo>
                    <a:cubicBezTo>
                      <a:pt x="237" y="74"/>
                      <a:pt x="230" y="74"/>
                      <a:pt x="226" y="69"/>
                    </a:cubicBezTo>
                    <a:cubicBezTo>
                      <a:pt x="200" y="39"/>
                      <a:pt x="165" y="22"/>
                      <a:pt x="128" y="22"/>
                    </a:cubicBezTo>
                    <a:cubicBezTo>
                      <a:pt x="90" y="22"/>
                      <a:pt x="55" y="39"/>
                      <a:pt x="29" y="69"/>
                    </a:cubicBezTo>
                    <a:cubicBezTo>
                      <a:pt x="27" y="72"/>
                      <a:pt x="24" y="73"/>
                      <a:pt x="21" y="73"/>
                    </a:cubicBezTo>
                    <a:cubicBezTo>
                      <a:pt x="19" y="73"/>
                      <a:pt x="16" y="72"/>
                      <a:pt x="14" y="70"/>
                    </a:cubicBezTo>
                    <a:close/>
                    <a:moveTo>
                      <a:pt x="212" y="89"/>
                    </a:moveTo>
                    <a:cubicBezTo>
                      <a:pt x="216" y="94"/>
                      <a:pt x="215" y="101"/>
                      <a:pt x="211" y="104"/>
                    </a:cubicBezTo>
                    <a:cubicBezTo>
                      <a:pt x="206" y="108"/>
                      <a:pt x="200" y="108"/>
                      <a:pt x="196" y="103"/>
                    </a:cubicBezTo>
                    <a:cubicBezTo>
                      <a:pt x="178" y="82"/>
                      <a:pt x="153" y="70"/>
                      <a:pt x="128" y="70"/>
                    </a:cubicBezTo>
                    <a:cubicBezTo>
                      <a:pt x="102" y="70"/>
                      <a:pt x="78" y="82"/>
                      <a:pt x="60" y="103"/>
                    </a:cubicBezTo>
                    <a:cubicBezTo>
                      <a:pt x="57" y="106"/>
                      <a:pt x="54" y="107"/>
                      <a:pt x="51" y="107"/>
                    </a:cubicBezTo>
                    <a:cubicBezTo>
                      <a:pt x="49" y="107"/>
                      <a:pt x="47" y="106"/>
                      <a:pt x="45" y="104"/>
                    </a:cubicBezTo>
                    <a:cubicBezTo>
                      <a:pt x="40" y="101"/>
                      <a:pt x="40" y="94"/>
                      <a:pt x="43" y="89"/>
                    </a:cubicBezTo>
                    <a:cubicBezTo>
                      <a:pt x="66" y="63"/>
                      <a:pt x="96" y="49"/>
                      <a:pt x="128" y="49"/>
                    </a:cubicBezTo>
                    <a:cubicBezTo>
                      <a:pt x="160" y="49"/>
                      <a:pt x="190" y="63"/>
                      <a:pt x="212"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8" name="Group 127">
              <a:extLst>
                <a:ext uri="{FF2B5EF4-FFF2-40B4-BE49-F238E27FC236}">
                  <a16:creationId xmlns:a16="http://schemas.microsoft.com/office/drawing/2014/main" id="{7011C821-1DFB-553A-E55E-6DFFD7D78958}"/>
                </a:ext>
              </a:extLst>
            </p:cNvPr>
            <p:cNvGrpSpPr/>
            <p:nvPr/>
          </p:nvGrpSpPr>
          <p:grpSpPr>
            <a:xfrm>
              <a:off x="3474637" y="7505940"/>
              <a:ext cx="274320" cy="274321"/>
              <a:chOff x="3732908" y="6450615"/>
              <a:chExt cx="243247" cy="243961"/>
            </a:xfrm>
            <a:solidFill>
              <a:srgbClr val="0076A8"/>
            </a:solidFill>
          </p:grpSpPr>
          <p:sp>
            <p:nvSpPr>
              <p:cNvPr id="146" name="Freeform 893">
                <a:extLst>
                  <a:ext uri="{FF2B5EF4-FFF2-40B4-BE49-F238E27FC236}">
                    <a16:creationId xmlns:a16="http://schemas.microsoft.com/office/drawing/2014/main" id="{6B9F03DA-46B3-6DF5-0E4A-51D3D07E77D7}"/>
                  </a:ext>
                </a:extLst>
              </p:cNvPr>
              <p:cNvSpPr>
                <a:spLocks noEditPoints="1"/>
              </p:cNvSpPr>
              <p:nvPr/>
            </p:nvSpPr>
            <p:spPr bwMode="auto">
              <a:xfrm>
                <a:off x="3778696" y="6496402"/>
                <a:ext cx="137363" cy="13736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7" name="Freeform 894">
                <a:extLst>
                  <a:ext uri="{FF2B5EF4-FFF2-40B4-BE49-F238E27FC236}">
                    <a16:creationId xmlns:a16="http://schemas.microsoft.com/office/drawing/2014/main" id="{F824C1CB-E3A6-DA25-17D4-5E57A2E02B61}"/>
                  </a:ext>
                </a:extLst>
              </p:cNvPr>
              <p:cNvSpPr>
                <a:spLocks noEditPoints="1"/>
              </p:cNvSpPr>
              <p:nvPr/>
            </p:nvSpPr>
            <p:spPr bwMode="auto">
              <a:xfrm>
                <a:off x="3732908" y="6450615"/>
                <a:ext cx="243247" cy="24396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9" name="Group 620">
              <a:extLst>
                <a:ext uri="{FF2B5EF4-FFF2-40B4-BE49-F238E27FC236}">
                  <a16:creationId xmlns:a16="http://schemas.microsoft.com/office/drawing/2014/main" id="{D476F02C-1259-B152-6A1A-1C3F5557DFA6}"/>
                </a:ext>
              </a:extLst>
            </p:cNvPr>
            <p:cNvGrpSpPr>
              <a:grpSpLocks noChangeAspect="1"/>
            </p:cNvGrpSpPr>
            <p:nvPr/>
          </p:nvGrpSpPr>
          <p:grpSpPr bwMode="auto">
            <a:xfrm>
              <a:off x="3700415" y="7774019"/>
              <a:ext cx="274320" cy="274321"/>
              <a:chOff x="5828" y="2247"/>
              <a:chExt cx="340" cy="340"/>
            </a:xfrm>
            <a:solidFill>
              <a:srgbClr val="00A3E0"/>
            </a:solidFill>
          </p:grpSpPr>
          <p:sp>
            <p:nvSpPr>
              <p:cNvPr id="144" name="Freeform 621">
                <a:extLst>
                  <a:ext uri="{FF2B5EF4-FFF2-40B4-BE49-F238E27FC236}">
                    <a16:creationId xmlns:a16="http://schemas.microsoft.com/office/drawing/2014/main" id="{DF0983AE-0396-9F38-86FE-CC1980803875}"/>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5" name="Freeform 622">
                <a:extLst>
                  <a:ext uri="{FF2B5EF4-FFF2-40B4-BE49-F238E27FC236}">
                    <a16:creationId xmlns:a16="http://schemas.microsoft.com/office/drawing/2014/main" id="{AB616345-2E41-2E78-FEC2-F4060F63330A}"/>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0" name="Group 834">
              <a:extLst>
                <a:ext uri="{FF2B5EF4-FFF2-40B4-BE49-F238E27FC236}">
                  <a16:creationId xmlns:a16="http://schemas.microsoft.com/office/drawing/2014/main" id="{59026678-3E62-68B2-DDB5-03B110416650}"/>
                </a:ext>
              </a:extLst>
            </p:cNvPr>
            <p:cNvGrpSpPr>
              <a:grpSpLocks noChangeAspect="1"/>
            </p:cNvGrpSpPr>
            <p:nvPr/>
          </p:nvGrpSpPr>
          <p:grpSpPr bwMode="auto">
            <a:xfrm>
              <a:off x="3702610" y="8116499"/>
              <a:ext cx="274321" cy="274321"/>
              <a:chOff x="5977" y="3324"/>
              <a:chExt cx="340" cy="340"/>
            </a:xfrm>
            <a:solidFill>
              <a:srgbClr val="0076A8"/>
            </a:solidFill>
          </p:grpSpPr>
          <p:sp>
            <p:nvSpPr>
              <p:cNvPr id="141" name="Freeform 835">
                <a:extLst>
                  <a:ext uri="{FF2B5EF4-FFF2-40B4-BE49-F238E27FC236}">
                    <a16:creationId xmlns:a16="http://schemas.microsoft.com/office/drawing/2014/main" id="{6327A7E1-437E-D16C-8514-D3625CE47D84}"/>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 name="Freeform 836">
                <a:extLst>
                  <a:ext uri="{FF2B5EF4-FFF2-40B4-BE49-F238E27FC236}">
                    <a16:creationId xmlns:a16="http://schemas.microsoft.com/office/drawing/2014/main" id="{4DB495C7-AAA5-4DE3-7E0C-02CC7F0860D1}"/>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3" name="Freeform 837">
                <a:extLst>
                  <a:ext uri="{FF2B5EF4-FFF2-40B4-BE49-F238E27FC236}">
                    <a16:creationId xmlns:a16="http://schemas.microsoft.com/office/drawing/2014/main" id="{CFBBC4EE-6E29-F7EE-4C51-4ED7DCDB64B8}"/>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1" name="Group 130">
              <a:extLst>
                <a:ext uri="{FF2B5EF4-FFF2-40B4-BE49-F238E27FC236}">
                  <a16:creationId xmlns:a16="http://schemas.microsoft.com/office/drawing/2014/main" id="{87C377C2-56B0-BE68-F8C4-C7B06AABC737}"/>
                </a:ext>
              </a:extLst>
            </p:cNvPr>
            <p:cNvGrpSpPr/>
            <p:nvPr/>
          </p:nvGrpSpPr>
          <p:grpSpPr>
            <a:xfrm>
              <a:off x="2872654" y="7768755"/>
              <a:ext cx="274320" cy="274321"/>
              <a:chOff x="2184123" y="1422493"/>
              <a:chExt cx="237867" cy="237867"/>
            </a:xfrm>
            <a:solidFill>
              <a:srgbClr val="0076A8"/>
            </a:solidFill>
          </p:grpSpPr>
          <p:sp>
            <p:nvSpPr>
              <p:cNvPr id="139" name="Freeform 845">
                <a:extLst>
                  <a:ext uri="{FF2B5EF4-FFF2-40B4-BE49-F238E27FC236}">
                    <a16:creationId xmlns:a16="http://schemas.microsoft.com/office/drawing/2014/main" id="{1C7BF50D-4D16-BEAC-D716-93E9BE4114C7}"/>
                  </a:ext>
                </a:extLst>
              </p:cNvPr>
              <p:cNvSpPr>
                <a:spLocks noEditPoints="1"/>
              </p:cNvSpPr>
              <p:nvPr/>
            </p:nvSpPr>
            <p:spPr bwMode="auto">
              <a:xfrm>
                <a:off x="2249573" y="1455634"/>
                <a:ext cx="111537" cy="151574"/>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 name="Freeform 492">
                <a:extLst>
                  <a:ext uri="{FF2B5EF4-FFF2-40B4-BE49-F238E27FC236}">
                    <a16:creationId xmlns:a16="http://schemas.microsoft.com/office/drawing/2014/main" id="{07B92D8F-5C0F-1000-CA36-ACD59DAD41E4}"/>
                  </a:ext>
                </a:extLst>
              </p:cNvPr>
              <p:cNvSpPr>
                <a:spLocks noEditPoints="1"/>
              </p:cNvSpPr>
              <p:nvPr/>
            </p:nvSpPr>
            <p:spPr bwMode="auto">
              <a:xfrm>
                <a:off x="2184123" y="1422493"/>
                <a:ext cx="237867" cy="2378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2" name="Group 489">
              <a:extLst>
                <a:ext uri="{FF2B5EF4-FFF2-40B4-BE49-F238E27FC236}">
                  <a16:creationId xmlns:a16="http://schemas.microsoft.com/office/drawing/2014/main" id="{2A0E5447-CC54-737D-5B71-691E5E3A3DBB}"/>
                </a:ext>
              </a:extLst>
            </p:cNvPr>
            <p:cNvGrpSpPr>
              <a:grpSpLocks noChangeAspect="1"/>
            </p:cNvGrpSpPr>
            <p:nvPr/>
          </p:nvGrpSpPr>
          <p:grpSpPr bwMode="auto">
            <a:xfrm>
              <a:off x="3096806" y="7497913"/>
              <a:ext cx="274321" cy="274320"/>
              <a:chOff x="2920" y="2264"/>
              <a:chExt cx="340" cy="340"/>
            </a:xfrm>
            <a:solidFill>
              <a:srgbClr val="00A3E0"/>
            </a:solidFill>
          </p:grpSpPr>
          <p:sp>
            <p:nvSpPr>
              <p:cNvPr id="136" name="Freeform 490">
                <a:extLst>
                  <a:ext uri="{FF2B5EF4-FFF2-40B4-BE49-F238E27FC236}">
                    <a16:creationId xmlns:a16="http://schemas.microsoft.com/office/drawing/2014/main" id="{3600C4C1-B099-6C6E-B03F-2B0DF875DCE6}"/>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 name="Freeform 491">
                <a:extLst>
                  <a:ext uri="{FF2B5EF4-FFF2-40B4-BE49-F238E27FC236}">
                    <a16:creationId xmlns:a16="http://schemas.microsoft.com/office/drawing/2014/main" id="{4D975657-940C-0C05-C532-F6E9F5D74E4A}"/>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8" name="Freeform 492">
                <a:extLst>
                  <a:ext uri="{FF2B5EF4-FFF2-40B4-BE49-F238E27FC236}">
                    <a16:creationId xmlns:a16="http://schemas.microsoft.com/office/drawing/2014/main" id="{C04DE71B-059C-FC28-3CCF-66203912B15B}"/>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3" name="Group 977">
              <a:extLst>
                <a:ext uri="{FF2B5EF4-FFF2-40B4-BE49-F238E27FC236}">
                  <a16:creationId xmlns:a16="http://schemas.microsoft.com/office/drawing/2014/main" id="{C448590C-B4A3-5FE7-9800-164384C887D8}"/>
                </a:ext>
              </a:extLst>
            </p:cNvPr>
            <p:cNvGrpSpPr>
              <a:grpSpLocks noChangeAspect="1"/>
            </p:cNvGrpSpPr>
            <p:nvPr/>
          </p:nvGrpSpPr>
          <p:grpSpPr bwMode="auto">
            <a:xfrm>
              <a:off x="2863265" y="8110343"/>
              <a:ext cx="273516" cy="274320"/>
              <a:chOff x="5095" y="4001"/>
              <a:chExt cx="340" cy="341"/>
            </a:xfrm>
            <a:solidFill>
              <a:srgbClr val="00A3E0"/>
            </a:solidFill>
          </p:grpSpPr>
          <p:sp>
            <p:nvSpPr>
              <p:cNvPr id="134" name="Freeform 978">
                <a:extLst>
                  <a:ext uri="{FF2B5EF4-FFF2-40B4-BE49-F238E27FC236}">
                    <a16:creationId xmlns:a16="http://schemas.microsoft.com/office/drawing/2014/main" id="{9035C7FE-E92F-64D5-1359-F77F0401EB08}"/>
                  </a:ext>
                </a:extLst>
              </p:cNvPr>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35" name="Freeform 979">
                <a:extLst>
                  <a:ext uri="{FF2B5EF4-FFF2-40B4-BE49-F238E27FC236}">
                    <a16:creationId xmlns:a16="http://schemas.microsoft.com/office/drawing/2014/main" id="{AC236EDE-D7BD-E504-CF4B-E175A937F150}"/>
                  </a:ext>
                </a:extLst>
              </p:cNvPr>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56" name="Rectangle 155">
            <a:extLst>
              <a:ext uri="{FF2B5EF4-FFF2-40B4-BE49-F238E27FC236}">
                <a16:creationId xmlns:a16="http://schemas.microsoft.com/office/drawing/2014/main" id="{7BA79660-F4C5-1DEC-63B2-05F90E94B4D3}"/>
              </a:ext>
            </a:extLst>
          </p:cNvPr>
          <p:cNvSpPr/>
          <p:nvPr/>
        </p:nvSpPr>
        <p:spPr>
          <a:xfrm>
            <a:off x="793528" y="1696846"/>
            <a:ext cx="4179303" cy="4484048"/>
          </a:xfrm>
          <a:prstGeom prst="rect">
            <a:avLst/>
          </a:prstGeom>
        </p:spPr>
        <p:txBody>
          <a:bodyPr wrap="square" lIns="0">
            <a:spAutoFit/>
          </a:bodyPr>
          <a:lstStyle/>
          <a:p>
            <a:pPr marR="171450">
              <a:lnSpc>
                <a:spcPts val="1300"/>
              </a:lnSpc>
              <a:spcAft>
                <a:spcPts val="450"/>
              </a:spcAft>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Our Governance services include:</a:t>
            </a:r>
          </a:p>
          <a:p>
            <a:pPr marL="182880" marR="171450" lvl="0" indent="-182880">
              <a:lnSpc>
                <a:spcPts val="1300"/>
              </a:lnSpc>
              <a:spcBef>
                <a:spcPts val="0"/>
              </a:spcBef>
              <a:spcAft>
                <a:spcPts val="450"/>
              </a:spcAft>
              <a:buClr>
                <a:srgbClr val="007680"/>
              </a:buClr>
              <a:buSzPct val="100000"/>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nformation security maturity assessment</a:t>
            </a:r>
          </a:p>
          <a:p>
            <a:pPr marL="182880" marR="171450" lvl="0" indent="-182880">
              <a:lnSpc>
                <a:spcPts val="1300"/>
              </a:lnSpc>
              <a:spcBef>
                <a:spcPts val="0"/>
              </a:spcBef>
              <a:spcAft>
                <a:spcPts val="450"/>
              </a:spcAft>
              <a:buClr>
                <a:srgbClr val="007680"/>
              </a:buClr>
              <a:buSzPct val="100000"/>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T governance and IT policy advisory </a:t>
            </a:r>
          </a:p>
          <a:p>
            <a:pPr marL="182880" marR="171450" lvl="0" indent="-182880">
              <a:lnSpc>
                <a:spcPts val="1300"/>
              </a:lnSpc>
              <a:spcBef>
                <a:spcPts val="0"/>
              </a:spcBef>
              <a:spcAft>
                <a:spcPts val="450"/>
              </a:spcAft>
              <a:buClr>
                <a:srgbClr val="007680"/>
              </a:buClr>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Financial sector regulatory compliance or vendor control framework reviews</a:t>
            </a:r>
          </a:p>
          <a:p>
            <a:pPr marL="182880" marR="171450" lvl="0" indent="-182880">
              <a:lnSpc>
                <a:spcPts val="1300"/>
              </a:lnSpc>
              <a:spcBef>
                <a:spcPts val="0"/>
              </a:spcBef>
              <a:spcAft>
                <a:spcPts val="450"/>
              </a:spcAft>
              <a:buClr>
                <a:srgbClr val="007680"/>
              </a:buClr>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T risk assessment</a:t>
            </a:r>
          </a:p>
          <a:p>
            <a:pPr marL="182880" marR="171450" lvl="0" indent="-182880">
              <a:lnSpc>
                <a:spcPts val="1300"/>
              </a:lnSpc>
              <a:spcBef>
                <a:spcPts val="0"/>
              </a:spcBef>
              <a:spcAft>
                <a:spcPts val="450"/>
              </a:spcAft>
              <a:buClr>
                <a:srgbClr val="007680"/>
              </a:buClr>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Artificial Intelligence risk advisory</a:t>
            </a:r>
          </a:p>
          <a:p>
            <a:pPr marL="182880" marR="171450" lvl="0" indent="-182880">
              <a:lnSpc>
                <a:spcPts val="1300"/>
              </a:lnSpc>
              <a:spcBef>
                <a:spcPts val="0"/>
              </a:spcBef>
              <a:spcAft>
                <a:spcPts val="450"/>
              </a:spcAft>
              <a:buClr>
                <a:srgbClr val="007680"/>
              </a:buClr>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dentity and Access Management advisory</a:t>
            </a:r>
          </a:p>
          <a:p>
            <a:pPr marL="182880" marR="171450" lvl="0" indent="-182880">
              <a:lnSpc>
                <a:spcPts val="1300"/>
              </a:lnSpc>
              <a:spcBef>
                <a:spcPts val="0"/>
              </a:spcBef>
              <a:spcAft>
                <a:spcPts val="450"/>
              </a:spcAft>
              <a:buClr>
                <a:srgbClr val="004F59"/>
              </a:buClr>
              <a:buSzPct val="100000"/>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Service Organization Controls (SOC) 1 reporting (based on ISAE 3402 standard)</a:t>
            </a:r>
          </a:p>
          <a:p>
            <a:pPr marL="182880" marR="171450" lvl="0" indent="-182880">
              <a:lnSpc>
                <a:spcPts val="1300"/>
              </a:lnSpc>
              <a:spcBef>
                <a:spcPts val="0"/>
              </a:spcBef>
              <a:spcAft>
                <a:spcPts val="450"/>
              </a:spcAft>
              <a:buClr>
                <a:srgbClr val="004F59"/>
              </a:buClr>
              <a:buSzPct val="100000"/>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Service Organization Controls (SOC) 2 reporting  (based on Trust service criteria)</a:t>
            </a:r>
          </a:p>
          <a:p>
            <a:pPr marL="182880" marR="171450" lvl="0" indent="-182880">
              <a:lnSpc>
                <a:spcPts val="1300"/>
              </a:lnSpc>
              <a:spcBef>
                <a:spcPts val="0"/>
              </a:spcBef>
              <a:spcAft>
                <a:spcPts val="450"/>
              </a:spcAft>
              <a:buClr>
                <a:srgbClr val="004F59"/>
              </a:buClr>
              <a:buSzPct val="100000"/>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SO 27001 Information Security Management System (including ISO 27701 Privacy Information Management System)</a:t>
            </a:r>
          </a:p>
          <a:p>
            <a:pPr marL="182880" marR="171450" lvl="0" indent="-182880">
              <a:lnSpc>
                <a:spcPts val="1300"/>
              </a:lnSpc>
              <a:spcBef>
                <a:spcPts val="0"/>
              </a:spcBef>
              <a:spcAft>
                <a:spcPts val="450"/>
              </a:spcAft>
              <a:buClr>
                <a:srgbClr val="004F59"/>
              </a:buClr>
              <a:buSzPct val="100000"/>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SO 22301 Business Continuity Management System</a:t>
            </a:r>
          </a:p>
          <a:p>
            <a:pPr marL="182880" marR="171450" lvl="0" indent="-182880">
              <a:lnSpc>
                <a:spcPts val="1300"/>
              </a:lnSpc>
              <a:spcBef>
                <a:spcPts val="0"/>
              </a:spcBef>
              <a:spcAft>
                <a:spcPts val="450"/>
              </a:spcAft>
              <a:buClr>
                <a:srgbClr val="004F59"/>
              </a:buClr>
              <a:buSzPct val="100000"/>
              <a:buFont typeface="Calibri" panose="020F050202020403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SO25010 Systems and Software Engineering, Systems and Software Quality Requirements and Evaluation</a:t>
            </a:r>
          </a:p>
          <a:p>
            <a:pPr marL="182880" marR="171450" lvl="0" indent="-182880">
              <a:lnSpc>
                <a:spcPts val="1300"/>
              </a:lnSpc>
              <a:spcBef>
                <a:spcPts val="0"/>
              </a:spcBef>
              <a:spcAft>
                <a:spcPts val="450"/>
              </a:spcAft>
              <a:buClr>
                <a:srgbClr val="007680"/>
              </a:buClr>
              <a:buFont typeface="Calibri" panose="020F0502020204030204" pitchFamily="34" charset="0"/>
              <a:buChar char="●"/>
            </a:pP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a:p>
            <a:pPr marL="182880" marR="171450" lvl="0" indent="-182880">
              <a:lnSpc>
                <a:spcPts val="1300"/>
              </a:lnSpc>
              <a:spcBef>
                <a:spcPts val="0"/>
              </a:spcBef>
              <a:spcAft>
                <a:spcPts val="450"/>
              </a:spcAft>
              <a:buClr>
                <a:srgbClr val="004F59"/>
              </a:buClr>
              <a:buSzPct val="100000"/>
              <a:buFont typeface="Calibri" panose="020F0502020204030204" pitchFamily="34" charset="0"/>
              <a:buChar char="●"/>
            </a:pP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a:p>
            <a:pPr marL="182880" marR="171450" lvl="0" indent="-182880">
              <a:lnSpc>
                <a:spcPts val="1300"/>
              </a:lnSpc>
              <a:spcBef>
                <a:spcPts val="0"/>
              </a:spcBef>
              <a:spcAft>
                <a:spcPts val="450"/>
              </a:spcAft>
              <a:buClr>
                <a:srgbClr val="004F59"/>
              </a:buClr>
              <a:buSzPct val="100000"/>
              <a:buFont typeface="Calibri" panose="020F0502020204030204" pitchFamily="34" charset="0"/>
              <a:buChar char="●"/>
            </a:pP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9" name="Title 1">
            <a:extLst>
              <a:ext uri="{FF2B5EF4-FFF2-40B4-BE49-F238E27FC236}">
                <a16:creationId xmlns:a16="http://schemas.microsoft.com/office/drawing/2014/main" id="{D468835A-BD34-3ECB-4027-C6015A63A12E}"/>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Deloitte Cyber | Our Capabilities</a:t>
            </a:r>
            <a:endParaRPr lang="hu-HU" dirty="0"/>
          </a:p>
        </p:txBody>
      </p:sp>
      <p:grpSp>
        <p:nvGrpSpPr>
          <p:cNvPr id="160" name="Group 159">
            <a:extLst>
              <a:ext uri="{FF2B5EF4-FFF2-40B4-BE49-F238E27FC236}">
                <a16:creationId xmlns:a16="http://schemas.microsoft.com/office/drawing/2014/main" id="{AD54697C-50BB-D243-1F32-01912B3F5152}"/>
              </a:ext>
            </a:extLst>
          </p:cNvPr>
          <p:cNvGrpSpPr/>
          <p:nvPr/>
        </p:nvGrpSpPr>
        <p:grpSpPr>
          <a:xfrm>
            <a:off x="5296939" y="1873244"/>
            <a:ext cx="4902600" cy="507014"/>
            <a:chOff x="7288060" y="3059290"/>
            <a:chExt cx="4902600" cy="507014"/>
          </a:xfrm>
        </p:grpSpPr>
        <p:sp>
          <p:nvSpPr>
            <p:cNvPr id="161" name="Rectangle 160">
              <a:extLst>
                <a:ext uri="{FF2B5EF4-FFF2-40B4-BE49-F238E27FC236}">
                  <a16:creationId xmlns:a16="http://schemas.microsoft.com/office/drawing/2014/main" id="{04D38BE6-724B-839B-418B-FF9CB0AEB9FD}"/>
                </a:ext>
              </a:extLst>
            </p:cNvPr>
            <p:cNvSpPr/>
            <p:nvPr/>
          </p:nvSpPr>
          <p:spPr>
            <a:xfrm>
              <a:off x="7743628" y="3059290"/>
              <a:ext cx="4447032" cy="430887"/>
            </a:xfrm>
            <a:prstGeom prst="rect">
              <a:avLst/>
            </a:prstGeom>
          </p:spPr>
          <p:txBody>
            <a:bodyPr wrap="square">
              <a:spAutoFit/>
            </a:bodyPr>
            <a:lstStyle/>
            <a:p>
              <a:pPr marL="0" lvl="3" indent="0">
                <a:spcBef>
                  <a:spcPct val="0"/>
                </a:spcBef>
                <a:buNone/>
              </a:pPr>
              <a:r>
                <a:rPr lang="en-US" altLang="hu-HU" sz="1050" b="1" dirty="0">
                  <a:latin typeface="Open Sans Light" panose="020B0306030504020204" pitchFamily="34" charset="0"/>
                  <a:ea typeface="Open Sans Light" panose="020B0306030504020204" pitchFamily="34" charset="0"/>
                  <a:cs typeface="Open Sans Light" panose="020B0306030504020204" pitchFamily="34" charset="0"/>
                </a:rPr>
                <a:t>Diverse selection of clients </a:t>
              </a:r>
              <a:r>
                <a:rPr lang="en-US" altLang="hu-HU" sz="1050" dirty="0">
                  <a:latin typeface="Open Sans Light" panose="020B0306030504020204" pitchFamily="34" charset="0"/>
                  <a:ea typeface="Open Sans Light" panose="020B0306030504020204" pitchFamily="34" charset="0"/>
                  <a:cs typeface="Open Sans Light" panose="020B0306030504020204" pitchFamily="34" charset="0"/>
                </a:rPr>
                <a:t>including financial services, telecom and manufacturing and automotive</a:t>
              </a:r>
            </a:p>
          </p:txBody>
        </p:sp>
        <p:sp>
          <p:nvSpPr>
            <p:cNvPr id="162" name="Freeform 617">
              <a:extLst>
                <a:ext uri="{FF2B5EF4-FFF2-40B4-BE49-F238E27FC236}">
                  <a16:creationId xmlns:a16="http://schemas.microsoft.com/office/drawing/2014/main" id="{470F43BB-690B-9114-40BC-192F98FDC712}"/>
                </a:ext>
              </a:extLst>
            </p:cNvPr>
            <p:cNvSpPr>
              <a:spLocks noChangeAspect="1" noEditPoints="1"/>
            </p:cNvSpPr>
            <p:nvPr/>
          </p:nvSpPr>
          <p:spPr bwMode="auto">
            <a:xfrm>
              <a:off x="7288060" y="3109104"/>
              <a:ext cx="457200" cy="457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320 h 512"/>
                <a:gd name="T12" fmla="*/ 309 w 512"/>
                <a:gd name="T13" fmla="*/ 309 h 512"/>
                <a:gd name="T14" fmla="*/ 256 w 512"/>
                <a:gd name="T15" fmla="*/ 256 h 512"/>
                <a:gd name="T16" fmla="*/ 202 w 512"/>
                <a:gd name="T17" fmla="*/ 309 h 512"/>
                <a:gd name="T18" fmla="*/ 192 w 512"/>
                <a:gd name="T19" fmla="*/ 320 h 512"/>
                <a:gd name="T20" fmla="*/ 181 w 512"/>
                <a:gd name="T21" fmla="*/ 309 h 512"/>
                <a:gd name="T22" fmla="*/ 256 w 512"/>
                <a:gd name="T23" fmla="*/ 234 h 512"/>
                <a:gd name="T24" fmla="*/ 330 w 512"/>
                <a:gd name="T25" fmla="*/ 309 h 512"/>
                <a:gd name="T26" fmla="*/ 320 w 512"/>
                <a:gd name="T27" fmla="*/ 320 h 512"/>
                <a:gd name="T28" fmla="*/ 362 w 512"/>
                <a:gd name="T29" fmla="*/ 320 h 512"/>
                <a:gd name="T30" fmla="*/ 352 w 512"/>
                <a:gd name="T31" fmla="*/ 309 h 512"/>
                <a:gd name="T32" fmla="*/ 256 w 512"/>
                <a:gd name="T33" fmla="*/ 213 h 512"/>
                <a:gd name="T34" fmla="*/ 160 w 512"/>
                <a:gd name="T35" fmla="*/ 309 h 512"/>
                <a:gd name="T36" fmla="*/ 149 w 512"/>
                <a:gd name="T37" fmla="*/ 320 h 512"/>
                <a:gd name="T38" fmla="*/ 138 w 512"/>
                <a:gd name="T39" fmla="*/ 309 h 512"/>
                <a:gd name="T40" fmla="*/ 256 w 512"/>
                <a:gd name="T41" fmla="*/ 192 h 512"/>
                <a:gd name="T42" fmla="*/ 373 w 512"/>
                <a:gd name="T43" fmla="*/ 309 h 512"/>
                <a:gd name="T44" fmla="*/ 362 w 512"/>
                <a:gd name="T45" fmla="*/ 320 h 512"/>
                <a:gd name="T46" fmla="*/ 405 w 512"/>
                <a:gd name="T47" fmla="*/ 320 h 512"/>
                <a:gd name="T48" fmla="*/ 394 w 512"/>
                <a:gd name="T49" fmla="*/ 309 h 512"/>
                <a:gd name="T50" fmla="*/ 256 w 512"/>
                <a:gd name="T51" fmla="*/ 170 h 512"/>
                <a:gd name="T52" fmla="*/ 117 w 512"/>
                <a:gd name="T53" fmla="*/ 309 h 512"/>
                <a:gd name="T54" fmla="*/ 106 w 512"/>
                <a:gd name="T55" fmla="*/ 320 h 512"/>
                <a:gd name="T56" fmla="*/ 96 w 512"/>
                <a:gd name="T57" fmla="*/ 309 h 512"/>
                <a:gd name="T58" fmla="*/ 256 w 512"/>
                <a:gd name="T59" fmla="*/ 149 h 512"/>
                <a:gd name="T60" fmla="*/ 416 w 512"/>
                <a:gd name="T61" fmla="*/ 309 h 512"/>
                <a:gd name="T62" fmla="*/ 405 w 512"/>
                <a:gd name="T6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320"/>
                  </a:moveTo>
                  <a:cubicBezTo>
                    <a:pt x="314" y="320"/>
                    <a:pt x="309" y="315"/>
                    <a:pt x="309" y="309"/>
                  </a:cubicBezTo>
                  <a:cubicBezTo>
                    <a:pt x="309" y="280"/>
                    <a:pt x="285" y="256"/>
                    <a:pt x="256" y="256"/>
                  </a:cubicBezTo>
                  <a:cubicBezTo>
                    <a:pt x="226" y="256"/>
                    <a:pt x="202" y="280"/>
                    <a:pt x="202" y="309"/>
                  </a:cubicBezTo>
                  <a:cubicBezTo>
                    <a:pt x="202" y="315"/>
                    <a:pt x="198" y="320"/>
                    <a:pt x="192" y="320"/>
                  </a:cubicBezTo>
                  <a:cubicBezTo>
                    <a:pt x="186" y="320"/>
                    <a:pt x="181" y="315"/>
                    <a:pt x="181" y="309"/>
                  </a:cubicBezTo>
                  <a:cubicBezTo>
                    <a:pt x="181" y="268"/>
                    <a:pt x="214" y="234"/>
                    <a:pt x="256" y="234"/>
                  </a:cubicBezTo>
                  <a:cubicBezTo>
                    <a:pt x="297" y="234"/>
                    <a:pt x="330" y="268"/>
                    <a:pt x="330" y="309"/>
                  </a:cubicBezTo>
                  <a:cubicBezTo>
                    <a:pt x="330" y="315"/>
                    <a:pt x="326" y="320"/>
                    <a:pt x="320" y="320"/>
                  </a:cubicBezTo>
                  <a:close/>
                  <a:moveTo>
                    <a:pt x="362" y="320"/>
                  </a:moveTo>
                  <a:cubicBezTo>
                    <a:pt x="356" y="320"/>
                    <a:pt x="352" y="315"/>
                    <a:pt x="352" y="309"/>
                  </a:cubicBezTo>
                  <a:cubicBezTo>
                    <a:pt x="352" y="256"/>
                    <a:pt x="309" y="213"/>
                    <a:pt x="256" y="213"/>
                  </a:cubicBezTo>
                  <a:cubicBezTo>
                    <a:pt x="203" y="213"/>
                    <a:pt x="160" y="256"/>
                    <a:pt x="160" y="309"/>
                  </a:cubicBezTo>
                  <a:cubicBezTo>
                    <a:pt x="160" y="315"/>
                    <a:pt x="155" y="320"/>
                    <a:pt x="149" y="320"/>
                  </a:cubicBezTo>
                  <a:cubicBezTo>
                    <a:pt x="143" y="320"/>
                    <a:pt x="138" y="315"/>
                    <a:pt x="138" y="309"/>
                  </a:cubicBezTo>
                  <a:cubicBezTo>
                    <a:pt x="138" y="244"/>
                    <a:pt x="191" y="192"/>
                    <a:pt x="256" y="192"/>
                  </a:cubicBezTo>
                  <a:cubicBezTo>
                    <a:pt x="320" y="192"/>
                    <a:pt x="373" y="244"/>
                    <a:pt x="373" y="309"/>
                  </a:cubicBezTo>
                  <a:cubicBezTo>
                    <a:pt x="373" y="315"/>
                    <a:pt x="368" y="320"/>
                    <a:pt x="362" y="320"/>
                  </a:cubicBezTo>
                  <a:close/>
                  <a:moveTo>
                    <a:pt x="405" y="320"/>
                  </a:moveTo>
                  <a:cubicBezTo>
                    <a:pt x="399" y="320"/>
                    <a:pt x="394" y="315"/>
                    <a:pt x="394" y="309"/>
                  </a:cubicBezTo>
                  <a:cubicBezTo>
                    <a:pt x="394" y="233"/>
                    <a:pt x="332" y="170"/>
                    <a:pt x="256" y="170"/>
                  </a:cubicBezTo>
                  <a:cubicBezTo>
                    <a:pt x="179" y="170"/>
                    <a:pt x="117" y="233"/>
                    <a:pt x="117" y="309"/>
                  </a:cubicBezTo>
                  <a:cubicBezTo>
                    <a:pt x="117" y="315"/>
                    <a:pt x="112" y="320"/>
                    <a:pt x="106" y="320"/>
                  </a:cubicBezTo>
                  <a:cubicBezTo>
                    <a:pt x="100" y="320"/>
                    <a:pt x="96" y="315"/>
                    <a:pt x="96" y="309"/>
                  </a:cubicBezTo>
                  <a:cubicBezTo>
                    <a:pt x="96" y="221"/>
                    <a:pt x="167" y="149"/>
                    <a:pt x="256" y="149"/>
                  </a:cubicBezTo>
                  <a:cubicBezTo>
                    <a:pt x="344" y="149"/>
                    <a:pt x="416" y="221"/>
                    <a:pt x="416" y="309"/>
                  </a:cubicBezTo>
                  <a:cubicBezTo>
                    <a:pt x="416" y="315"/>
                    <a:pt x="411" y="320"/>
                    <a:pt x="405" y="320"/>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sz="120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66" name="Group 165">
            <a:extLst>
              <a:ext uri="{FF2B5EF4-FFF2-40B4-BE49-F238E27FC236}">
                <a16:creationId xmlns:a16="http://schemas.microsoft.com/office/drawing/2014/main" id="{EB9E31B9-231B-0E03-0118-5F5D819E32BB}"/>
              </a:ext>
            </a:extLst>
          </p:cNvPr>
          <p:cNvGrpSpPr/>
          <p:nvPr/>
        </p:nvGrpSpPr>
        <p:grpSpPr>
          <a:xfrm>
            <a:off x="5300204" y="1355126"/>
            <a:ext cx="3229025" cy="457170"/>
            <a:chOff x="7291325" y="2097873"/>
            <a:chExt cx="3229025" cy="457170"/>
          </a:xfrm>
        </p:grpSpPr>
        <p:sp>
          <p:nvSpPr>
            <p:cNvPr id="167" name="Rectangle 166">
              <a:extLst>
                <a:ext uri="{FF2B5EF4-FFF2-40B4-BE49-F238E27FC236}">
                  <a16:creationId xmlns:a16="http://schemas.microsoft.com/office/drawing/2014/main" id="{A97696FA-058B-25FF-35BC-895B4A3C1377}"/>
                </a:ext>
              </a:extLst>
            </p:cNvPr>
            <p:cNvSpPr/>
            <p:nvPr/>
          </p:nvSpPr>
          <p:spPr>
            <a:xfrm>
              <a:off x="7743628" y="2172569"/>
              <a:ext cx="2776722" cy="253916"/>
            </a:xfrm>
            <a:prstGeom prst="rect">
              <a:avLst/>
            </a:prstGeom>
          </p:spPr>
          <p:txBody>
            <a:bodyPr wrap="none">
              <a:spAutoFit/>
            </a:bodyPr>
            <a:lstStyle/>
            <a:p>
              <a:pPr marL="0" lvl="3" indent="0">
                <a:spcBef>
                  <a:spcPct val="0"/>
                </a:spcBef>
                <a:buNone/>
              </a:pPr>
              <a:r>
                <a:rPr lang="en-US" altLang="hu-HU" sz="1050" dirty="0">
                  <a:latin typeface="Open Sans Light" panose="020B0306030504020204" pitchFamily="34" charset="0"/>
                  <a:ea typeface="Open Sans Light" panose="020B0306030504020204" pitchFamily="34" charset="0"/>
                  <a:cs typeface="Open Sans Light" panose="020B0306030504020204" pitchFamily="34" charset="0"/>
                </a:rPr>
                <a:t>More than </a:t>
              </a:r>
              <a:r>
                <a:rPr lang="en-US" altLang="hu-HU" sz="1050" b="1" dirty="0">
                  <a:latin typeface="Open Sans Light" panose="020B0306030504020204" pitchFamily="34" charset="0"/>
                  <a:ea typeface="Open Sans Light" panose="020B0306030504020204" pitchFamily="34" charset="0"/>
                  <a:cs typeface="Open Sans Light" panose="020B0306030504020204" pitchFamily="34" charset="0"/>
                </a:rPr>
                <a:t>500 penetration tests </a:t>
              </a:r>
              <a:r>
                <a:rPr lang="en-US" altLang="hu-HU" sz="1050" dirty="0">
                  <a:latin typeface="Open Sans Light" panose="020B0306030504020204" pitchFamily="34" charset="0"/>
                  <a:ea typeface="Open Sans Light" panose="020B0306030504020204" pitchFamily="34" charset="0"/>
                  <a:cs typeface="Open Sans Light" panose="020B0306030504020204" pitchFamily="34" charset="0"/>
                </a:rPr>
                <a:t>each year</a:t>
              </a:r>
            </a:p>
          </p:txBody>
        </p:sp>
        <p:sp>
          <p:nvSpPr>
            <p:cNvPr id="168" name="Freeform 869">
              <a:extLst>
                <a:ext uri="{FF2B5EF4-FFF2-40B4-BE49-F238E27FC236}">
                  <a16:creationId xmlns:a16="http://schemas.microsoft.com/office/drawing/2014/main" id="{7DD42DA6-0585-4626-720A-8A89D7746055}"/>
                </a:ext>
              </a:extLst>
            </p:cNvPr>
            <p:cNvSpPr>
              <a:spLocks noChangeAspect="1" noEditPoints="1"/>
            </p:cNvSpPr>
            <p:nvPr/>
          </p:nvSpPr>
          <p:spPr bwMode="auto">
            <a:xfrm>
              <a:off x="7291325" y="2097873"/>
              <a:ext cx="457170" cy="457170"/>
            </a:xfrm>
            <a:custGeom>
              <a:avLst/>
              <a:gdLst>
                <a:gd name="T0" fmla="*/ 305 w 512"/>
                <a:gd name="T1" fmla="*/ 145 h 512"/>
                <a:gd name="T2" fmla="*/ 207 w 512"/>
                <a:gd name="T3" fmla="*/ 198 h 512"/>
                <a:gd name="T4" fmla="*/ 512 w 512"/>
                <a:gd name="T5" fmla="*/ 256 h 512"/>
                <a:gd name="T6" fmla="*/ 0 w 512"/>
                <a:gd name="T7" fmla="*/ 256 h 512"/>
                <a:gd name="T8" fmla="*/ 512 w 512"/>
                <a:gd name="T9" fmla="*/ 256 h 512"/>
                <a:gd name="T10" fmla="*/ 245 w 512"/>
                <a:gd name="T11" fmla="*/ 288 h 512"/>
                <a:gd name="T12" fmla="*/ 245 w 512"/>
                <a:gd name="T13" fmla="*/ 267 h 512"/>
                <a:gd name="T14" fmla="*/ 128 w 512"/>
                <a:gd name="T15" fmla="*/ 278 h 512"/>
                <a:gd name="T16" fmla="*/ 373 w 512"/>
                <a:gd name="T17" fmla="*/ 262 h 512"/>
                <a:gd name="T18" fmla="*/ 328 w 512"/>
                <a:gd name="T19" fmla="*/ 152 h 512"/>
                <a:gd name="T20" fmla="*/ 320 w 512"/>
                <a:gd name="T21" fmla="*/ 130 h 512"/>
                <a:gd name="T22" fmla="*/ 328 w 512"/>
                <a:gd name="T23" fmla="*/ 107 h 512"/>
                <a:gd name="T24" fmla="*/ 305 w 512"/>
                <a:gd name="T25" fmla="*/ 99 h 512"/>
                <a:gd name="T26" fmla="*/ 290 w 512"/>
                <a:gd name="T27" fmla="*/ 99 h 512"/>
                <a:gd name="T28" fmla="*/ 184 w 512"/>
                <a:gd name="T29" fmla="*/ 190 h 512"/>
                <a:gd name="T30" fmla="*/ 222 w 512"/>
                <a:gd name="T31" fmla="*/ 243 h 512"/>
                <a:gd name="T32" fmla="*/ 229 w 512"/>
                <a:gd name="T33" fmla="*/ 246 h 512"/>
                <a:gd name="T34" fmla="*/ 266 w 512"/>
                <a:gd name="T35" fmla="*/ 214 h 512"/>
                <a:gd name="T36" fmla="*/ 256 w 512"/>
                <a:gd name="T37" fmla="*/ 299 h 512"/>
                <a:gd name="T38" fmla="*/ 256 w 512"/>
                <a:gd name="T39" fmla="*/ 320 h 512"/>
                <a:gd name="T40" fmla="*/ 283 w 512"/>
                <a:gd name="T41" fmla="*/ 197 h 512"/>
                <a:gd name="T42" fmla="*/ 302 w 512"/>
                <a:gd name="T43" fmla="*/ 181 h 512"/>
                <a:gd name="T44" fmla="*/ 276 w 512"/>
                <a:gd name="T45" fmla="*/ 352 h 512"/>
                <a:gd name="T46" fmla="*/ 273 w 512"/>
                <a:gd name="T47" fmla="*/ 373 h 512"/>
                <a:gd name="T48" fmla="*/ 217 w 512"/>
                <a:gd name="T49" fmla="*/ 395 h 512"/>
                <a:gd name="T50" fmla="*/ 235 w 512"/>
                <a:gd name="T51" fmla="*/ 372 h 512"/>
                <a:gd name="T52" fmla="*/ 169 w 512"/>
                <a:gd name="T53" fmla="*/ 306 h 512"/>
                <a:gd name="T54" fmla="*/ 149 w 512"/>
                <a:gd name="T55" fmla="*/ 314 h 512"/>
                <a:gd name="T56" fmla="*/ 192 w 512"/>
                <a:gd name="T57" fmla="*/ 404 h 512"/>
                <a:gd name="T58" fmla="*/ 203 w 512"/>
                <a:gd name="T59" fmla="*/ 416 h 512"/>
                <a:gd name="T60" fmla="*/ 318 w 512"/>
                <a:gd name="T61" fmla="*/ 412 h 512"/>
                <a:gd name="T62" fmla="*/ 301 w 512"/>
                <a:gd name="T63"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82" y="122"/>
                  </a:moveTo>
                  <a:cubicBezTo>
                    <a:pt x="305" y="145"/>
                    <a:pt x="305" y="145"/>
                    <a:pt x="305" y="145"/>
                  </a:cubicBezTo>
                  <a:cubicBezTo>
                    <a:pt x="229" y="221"/>
                    <a:pt x="229" y="221"/>
                    <a:pt x="229" y="221"/>
                  </a:cubicBezTo>
                  <a:cubicBezTo>
                    <a:pt x="207" y="198"/>
                    <a:pt x="207" y="198"/>
                    <a:pt x="207" y="198"/>
                  </a:cubicBezTo>
                  <a:lnTo>
                    <a:pt x="282" y="12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39" y="288"/>
                  </a:moveTo>
                  <a:cubicBezTo>
                    <a:pt x="245" y="288"/>
                    <a:pt x="245" y="288"/>
                    <a:pt x="245" y="288"/>
                  </a:cubicBezTo>
                  <a:cubicBezTo>
                    <a:pt x="251" y="288"/>
                    <a:pt x="256" y="284"/>
                    <a:pt x="256" y="278"/>
                  </a:cubicBezTo>
                  <a:cubicBezTo>
                    <a:pt x="256" y="272"/>
                    <a:pt x="251" y="267"/>
                    <a:pt x="245" y="267"/>
                  </a:cubicBezTo>
                  <a:cubicBezTo>
                    <a:pt x="139" y="267"/>
                    <a:pt x="139" y="267"/>
                    <a:pt x="139" y="267"/>
                  </a:cubicBezTo>
                  <a:cubicBezTo>
                    <a:pt x="133" y="267"/>
                    <a:pt x="128" y="272"/>
                    <a:pt x="128" y="278"/>
                  </a:cubicBezTo>
                  <a:cubicBezTo>
                    <a:pt x="128" y="284"/>
                    <a:pt x="133" y="288"/>
                    <a:pt x="139" y="288"/>
                  </a:cubicBezTo>
                  <a:close/>
                  <a:moveTo>
                    <a:pt x="373" y="262"/>
                  </a:moveTo>
                  <a:cubicBezTo>
                    <a:pt x="373" y="221"/>
                    <a:pt x="352" y="184"/>
                    <a:pt x="316" y="164"/>
                  </a:cubicBezTo>
                  <a:cubicBezTo>
                    <a:pt x="328" y="152"/>
                    <a:pt x="328" y="152"/>
                    <a:pt x="328" y="152"/>
                  </a:cubicBezTo>
                  <a:cubicBezTo>
                    <a:pt x="332" y="148"/>
                    <a:pt x="332" y="141"/>
                    <a:pt x="328" y="137"/>
                  </a:cubicBezTo>
                  <a:cubicBezTo>
                    <a:pt x="320" y="130"/>
                    <a:pt x="320" y="130"/>
                    <a:pt x="320" y="130"/>
                  </a:cubicBezTo>
                  <a:cubicBezTo>
                    <a:pt x="328" y="122"/>
                    <a:pt x="328" y="122"/>
                    <a:pt x="328" y="122"/>
                  </a:cubicBezTo>
                  <a:cubicBezTo>
                    <a:pt x="332" y="118"/>
                    <a:pt x="332" y="111"/>
                    <a:pt x="328" y="107"/>
                  </a:cubicBezTo>
                  <a:cubicBezTo>
                    <a:pt x="320" y="99"/>
                    <a:pt x="320" y="99"/>
                    <a:pt x="320" y="99"/>
                  </a:cubicBezTo>
                  <a:cubicBezTo>
                    <a:pt x="316" y="95"/>
                    <a:pt x="309" y="95"/>
                    <a:pt x="305" y="99"/>
                  </a:cubicBezTo>
                  <a:cubicBezTo>
                    <a:pt x="297" y="107"/>
                    <a:pt x="297" y="107"/>
                    <a:pt x="297" y="107"/>
                  </a:cubicBezTo>
                  <a:cubicBezTo>
                    <a:pt x="290" y="99"/>
                    <a:pt x="290" y="99"/>
                    <a:pt x="290" y="99"/>
                  </a:cubicBezTo>
                  <a:cubicBezTo>
                    <a:pt x="286" y="95"/>
                    <a:pt x="279" y="95"/>
                    <a:pt x="275" y="99"/>
                  </a:cubicBezTo>
                  <a:cubicBezTo>
                    <a:pt x="184" y="190"/>
                    <a:pt x="184" y="190"/>
                    <a:pt x="184" y="190"/>
                  </a:cubicBezTo>
                  <a:cubicBezTo>
                    <a:pt x="180" y="194"/>
                    <a:pt x="180" y="201"/>
                    <a:pt x="184" y="205"/>
                  </a:cubicBezTo>
                  <a:cubicBezTo>
                    <a:pt x="222" y="243"/>
                    <a:pt x="222" y="243"/>
                    <a:pt x="222" y="243"/>
                  </a:cubicBezTo>
                  <a:cubicBezTo>
                    <a:pt x="224" y="245"/>
                    <a:pt x="226" y="246"/>
                    <a:pt x="229" y="246"/>
                  </a:cubicBezTo>
                  <a:cubicBezTo>
                    <a:pt x="229" y="246"/>
                    <a:pt x="229" y="246"/>
                    <a:pt x="229" y="246"/>
                  </a:cubicBezTo>
                  <a:cubicBezTo>
                    <a:pt x="232" y="246"/>
                    <a:pt x="235" y="245"/>
                    <a:pt x="237" y="243"/>
                  </a:cubicBezTo>
                  <a:cubicBezTo>
                    <a:pt x="266" y="214"/>
                    <a:pt x="266" y="214"/>
                    <a:pt x="266" y="214"/>
                  </a:cubicBezTo>
                  <a:cubicBezTo>
                    <a:pt x="286" y="219"/>
                    <a:pt x="299" y="236"/>
                    <a:pt x="299" y="256"/>
                  </a:cubicBezTo>
                  <a:cubicBezTo>
                    <a:pt x="299" y="281"/>
                    <a:pt x="281" y="299"/>
                    <a:pt x="256" y="299"/>
                  </a:cubicBezTo>
                  <a:cubicBezTo>
                    <a:pt x="250" y="299"/>
                    <a:pt x="245" y="304"/>
                    <a:pt x="245" y="310"/>
                  </a:cubicBezTo>
                  <a:cubicBezTo>
                    <a:pt x="245" y="316"/>
                    <a:pt x="250" y="320"/>
                    <a:pt x="256" y="320"/>
                  </a:cubicBezTo>
                  <a:cubicBezTo>
                    <a:pt x="292" y="320"/>
                    <a:pt x="320" y="293"/>
                    <a:pt x="320" y="256"/>
                  </a:cubicBezTo>
                  <a:cubicBezTo>
                    <a:pt x="320" y="230"/>
                    <a:pt x="305" y="208"/>
                    <a:pt x="283" y="197"/>
                  </a:cubicBezTo>
                  <a:cubicBezTo>
                    <a:pt x="300" y="180"/>
                    <a:pt x="300" y="180"/>
                    <a:pt x="300" y="180"/>
                  </a:cubicBezTo>
                  <a:cubicBezTo>
                    <a:pt x="301" y="180"/>
                    <a:pt x="302" y="181"/>
                    <a:pt x="302" y="181"/>
                  </a:cubicBezTo>
                  <a:cubicBezTo>
                    <a:pt x="333" y="196"/>
                    <a:pt x="352" y="227"/>
                    <a:pt x="352" y="262"/>
                  </a:cubicBezTo>
                  <a:cubicBezTo>
                    <a:pt x="352" y="307"/>
                    <a:pt x="319" y="346"/>
                    <a:pt x="276" y="352"/>
                  </a:cubicBezTo>
                  <a:cubicBezTo>
                    <a:pt x="271" y="353"/>
                    <a:pt x="268" y="357"/>
                    <a:pt x="267" y="361"/>
                  </a:cubicBezTo>
                  <a:cubicBezTo>
                    <a:pt x="266" y="366"/>
                    <a:pt x="268" y="370"/>
                    <a:pt x="273" y="373"/>
                  </a:cubicBezTo>
                  <a:cubicBezTo>
                    <a:pt x="281" y="377"/>
                    <a:pt x="289" y="386"/>
                    <a:pt x="294" y="395"/>
                  </a:cubicBezTo>
                  <a:cubicBezTo>
                    <a:pt x="217" y="395"/>
                    <a:pt x="217" y="395"/>
                    <a:pt x="217" y="395"/>
                  </a:cubicBezTo>
                  <a:cubicBezTo>
                    <a:pt x="220" y="390"/>
                    <a:pt x="224" y="386"/>
                    <a:pt x="229" y="383"/>
                  </a:cubicBezTo>
                  <a:cubicBezTo>
                    <a:pt x="233" y="381"/>
                    <a:pt x="235" y="376"/>
                    <a:pt x="235" y="372"/>
                  </a:cubicBezTo>
                  <a:cubicBezTo>
                    <a:pt x="234" y="368"/>
                    <a:pt x="231" y="364"/>
                    <a:pt x="227" y="363"/>
                  </a:cubicBezTo>
                  <a:cubicBezTo>
                    <a:pt x="202" y="357"/>
                    <a:pt x="181" y="336"/>
                    <a:pt x="169" y="306"/>
                  </a:cubicBezTo>
                  <a:cubicBezTo>
                    <a:pt x="167" y="301"/>
                    <a:pt x="161" y="298"/>
                    <a:pt x="155" y="300"/>
                  </a:cubicBezTo>
                  <a:cubicBezTo>
                    <a:pt x="150" y="302"/>
                    <a:pt x="147" y="308"/>
                    <a:pt x="149" y="314"/>
                  </a:cubicBezTo>
                  <a:cubicBezTo>
                    <a:pt x="161" y="343"/>
                    <a:pt x="180" y="366"/>
                    <a:pt x="203" y="377"/>
                  </a:cubicBezTo>
                  <a:cubicBezTo>
                    <a:pt x="198" y="384"/>
                    <a:pt x="194" y="393"/>
                    <a:pt x="192" y="404"/>
                  </a:cubicBezTo>
                  <a:cubicBezTo>
                    <a:pt x="192" y="407"/>
                    <a:pt x="192" y="410"/>
                    <a:pt x="194" y="412"/>
                  </a:cubicBezTo>
                  <a:cubicBezTo>
                    <a:pt x="196" y="415"/>
                    <a:pt x="199" y="416"/>
                    <a:pt x="203" y="416"/>
                  </a:cubicBezTo>
                  <a:cubicBezTo>
                    <a:pt x="309" y="416"/>
                    <a:pt x="309" y="416"/>
                    <a:pt x="309" y="416"/>
                  </a:cubicBezTo>
                  <a:cubicBezTo>
                    <a:pt x="313" y="416"/>
                    <a:pt x="316" y="415"/>
                    <a:pt x="318" y="412"/>
                  </a:cubicBezTo>
                  <a:cubicBezTo>
                    <a:pt x="320" y="410"/>
                    <a:pt x="320" y="407"/>
                    <a:pt x="320" y="404"/>
                  </a:cubicBezTo>
                  <a:cubicBezTo>
                    <a:pt x="317" y="391"/>
                    <a:pt x="310" y="378"/>
                    <a:pt x="301" y="368"/>
                  </a:cubicBezTo>
                  <a:cubicBezTo>
                    <a:pt x="343" y="352"/>
                    <a:pt x="373" y="309"/>
                    <a:pt x="373" y="262"/>
                  </a:cubicBezTo>
                  <a:close/>
                </a:path>
              </a:pathLst>
            </a:custGeom>
            <a:solidFill>
              <a:srgbClr val="004F59"/>
            </a:solidFill>
            <a:ln>
              <a:noFill/>
            </a:ln>
          </p:spPr>
          <p:txBody>
            <a:bodyPr vert="horz" wrap="square" lIns="91440" tIns="45720" rIns="91440" bIns="45720" numCol="1" anchor="t" anchorCtr="0" compatLnSpc="1">
              <a:prstTxWarp prst="textNoShape">
                <a:avLst/>
              </a:prstTxWarp>
            </a:bodyPr>
            <a:lstStyle/>
            <a:p>
              <a:endParaRPr lang="en-GB" sz="120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69" name="Group 168">
            <a:extLst>
              <a:ext uri="{FF2B5EF4-FFF2-40B4-BE49-F238E27FC236}">
                <a16:creationId xmlns:a16="http://schemas.microsoft.com/office/drawing/2014/main" id="{D26FED00-9487-E948-07E2-815112E9292F}"/>
              </a:ext>
            </a:extLst>
          </p:cNvPr>
          <p:cNvGrpSpPr/>
          <p:nvPr/>
        </p:nvGrpSpPr>
        <p:grpSpPr>
          <a:xfrm>
            <a:off x="5298571" y="2461206"/>
            <a:ext cx="4663805" cy="480271"/>
            <a:chOff x="7289692" y="4256318"/>
            <a:chExt cx="4663805" cy="480271"/>
          </a:xfrm>
        </p:grpSpPr>
        <p:sp>
          <p:nvSpPr>
            <p:cNvPr id="170" name="Freeform 375">
              <a:extLst>
                <a:ext uri="{FF2B5EF4-FFF2-40B4-BE49-F238E27FC236}">
                  <a16:creationId xmlns:a16="http://schemas.microsoft.com/office/drawing/2014/main" id="{BFA6E49C-FBC7-7156-0CD1-C11248D31D09}"/>
                </a:ext>
              </a:extLst>
            </p:cNvPr>
            <p:cNvSpPr>
              <a:spLocks noChangeAspect="1" noEditPoints="1"/>
            </p:cNvSpPr>
            <p:nvPr/>
          </p:nvSpPr>
          <p:spPr bwMode="auto">
            <a:xfrm>
              <a:off x="7289692" y="4279389"/>
              <a:ext cx="457200" cy="45720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1" name="Rectangle 170">
              <a:extLst>
                <a:ext uri="{FF2B5EF4-FFF2-40B4-BE49-F238E27FC236}">
                  <a16:creationId xmlns:a16="http://schemas.microsoft.com/office/drawing/2014/main" id="{7E1106F3-DC68-C728-1A4F-04EE87754BB3}"/>
                </a:ext>
              </a:extLst>
            </p:cNvPr>
            <p:cNvSpPr/>
            <p:nvPr/>
          </p:nvSpPr>
          <p:spPr>
            <a:xfrm>
              <a:off x="7744968" y="4256318"/>
              <a:ext cx="4208529" cy="253916"/>
            </a:xfrm>
            <a:prstGeom prst="rect">
              <a:avLst/>
            </a:prstGeom>
          </p:spPr>
          <p:txBody>
            <a:bodyPr wrap="square">
              <a:spAutoFit/>
            </a:bodyPr>
            <a:lstStyle/>
            <a:p>
              <a:pPr marL="0" lvl="3" indent="0">
                <a:spcBef>
                  <a:spcPct val="0"/>
                </a:spcBef>
                <a:buNone/>
              </a:pPr>
              <a:r>
                <a:rPr lang="en-US" altLang="hu-HU" sz="1050" b="1" dirty="0">
                  <a:latin typeface="Open Sans Light" panose="020B0306030504020204" pitchFamily="34" charset="0"/>
                  <a:ea typeface="Open Sans Light" panose="020B0306030504020204" pitchFamily="34" charset="0"/>
                  <a:cs typeface="Open Sans Light" panose="020B0306030504020204" pitchFamily="34" charset="0"/>
                </a:rPr>
                <a:t>Centre of Excellence </a:t>
              </a:r>
              <a:r>
                <a:rPr lang="en-US" altLang="hu-HU" sz="1050" dirty="0">
                  <a:latin typeface="Open Sans Light" panose="020B0306030504020204" pitchFamily="34" charset="0"/>
                  <a:ea typeface="Open Sans Light" panose="020B0306030504020204" pitchFamily="34" charset="0"/>
                  <a:cs typeface="Open Sans Light" panose="020B0306030504020204" pitchFamily="34" charset="0"/>
                </a:rPr>
                <a:t>for Cyber Security Services in Central Europe</a:t>
              </a:r>
            </a:p>
          </p:txBody>
        </p:sp>
      </p:grpSp>
      <p:sp>
        <p:nvSpPr>
          <p:cNvPr id="173" name="TextBox 172">
            <a:extLst>
              <a:ext uri="{FF2B5EF4-FFF2-40B4-BE49-F238E27FC236}">
                <a16:creationId xmlns:a16="http://schemas.microsoft.com/office/drawing/2014/main" id="{957A83F0-A510-9C87-DB22-BE5A4CE5A6BF}"/>
              </a:ext>
            </a:extLst>
          </p:cNvPr>
          <p:cNvSpPr txBox="1"/>
          <p:nvPr/>
        </p:nvSpPr>
        <p:spPr>
          <a:xfrm>
            <a:off x="5244727" y="3241320"/>
            <a:ext cx="6097656" cy="263727"/>
          </a:xfrm>
          <a:prstGeom prst="rect">
            <a:avLst/>
          </a:prstGeom>
          <a:noFill/>
        </p:spPr>
        <p:txBody>
          <a:bodyPr wrap="square">
            <a:spAutoFit/>
          </a:bodyPr>
          <a:lstStyle/>
          <a:p>
            <a:pPr marR="171450">
              <a:lnSpc>
                <a:spcPts val="1300"/>
              </a:lnSpc>
              <a:spcAft>
                <a:spcPts val="450"/>
              </a:spcAft>
            </a:pPr>
            <a:r>
              <a:rPr lang="en-US" sz="1100" dirty="0">
                <a:latin typeface="Open Sans Light" panose="020B0306030504020204" pitchFamily="34" charset="0"/>
                <a:ea typeface="Open Sans Light" panose="020B0306030504020204" pitchFamily="34" charset="0"/>
                <a:cs typeface="Open Sans Light" panose="020B0306030504020204" pitchFamily="34" charset="0"/>
              </a:rPr>
              <a:t>Our Technical services include:</a:t>
            </a:r>
          </a:p>
        </p:txBody>
      </p:sp>
    </p:spTree>
    <p:extLst>
      <p:ext uri="{BB962C8B-B14F-4D97-AF65-F5344CB8AC3E}">
        <p14:creationId xmlns:p14="http://schemas.microsoft.com/office/powerpoint/2010/main" val="480399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6">
            <a:extLst>
              <a:ext uri="{FF2B5EF4-FFF2-40B4-BE49-F238E27FC236}">
                <a16:creationId xmlns:a16="http://schemas.microsoft.com/office/drawing/2014/main" id="{D9EB32B0-5356-60FA-80F9-31B3CAADE42A}"/>
              </a:ext>
            </a:extLst>
          </p:cNvPr>
          <p:cNvSpPr txBox="1">
            <a:spLocks/>
          </p:cNvSpPr>
          <p:nvPr/>
        </p:nvSpPr>
        <p:spPr>
          <a:xfrm>
            <a:off x="7222017" y="1447838"/>
            <a:ext cx="1638299" cy="900720"/>
          </a:xfrm>
          <a:prstGeom prst="rect">
            <a:avLst/>
          </a:prstGeom>
        </p:spPr>
        <p:txBody>
          <a:bodyPr vert="horz" lIns="0" tIns="0" rIns="0" bIns="0" rtlCol="0" anchor="t">
            <a:noAutofit/>
          </a:bodyPr>
          <a:lstStyle>
            <a:lvl1pPr marL="0" indent="0" algn="l" defTabSz="685800" rtl="0" eaLnBrk="1" latinLnBrk="0" hangingPunct="1">
              <a:spcBef>
                <a:spcPts val="0"/>
              </a:spcBef>
              <a:spcAft>
                <a:spcPts val="750"/>
              </a:spcAft>
              <a:buSzPct val="100000"/>
              <a:buFontTx/>
              <a:buNone/>
              <a:defRPr sz="7200" b="1" i="0" kern="1200">
                <a:solidFill>
                  <a:schemeClr val="accent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300" b="1" kern="1200" dirty="0" smtClean="0">
                <a:solidFill>
                  <a:schemeClr val="tx1"/>
                </a:solidFill>
                <a:latin typeface="+mj-lt"/>
                <a:ea typeface="+mn-ea"/>
                <a:cs typeface="Calibri Light" panose="020F030202020403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200" kern="1200" baseline="0" dirty="0" smtClean="0">
                <a:solidFill>
                  <a:schemeClr val="tx1"/>
                </a:solidFill>
                <a:latin typeface="Calibri Light" panose="020F0302020204030204" pitchFamily="34" charset="0"/>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GB" sz="7200" b="1" i="0" u="none" strike="noStrike" kern="1200" cap="none" spc="0" normalizeH="0" baseline="0" noProof="0" dirty="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1</a:t>
            </a:r>
          </a:p>
        </p:txBody>
      </p:sp>
      <p:pic>
        <p:nvPicPr>
          <p:cNvPr id="10" name="Picture 9">
            <a:extLst>
              <a:ext uri="{FF2B5EF4-FFF2-40B4-BE49-F238E27FC236}">
                <a16:creationId xmlns:a16="http://schemas.microsoft.com/office/drawing/2014/main" id="{34906D5C-9113-2D02-EFC7-5A1259024DB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564" t="-9966" r="-15792" b="-8390"/>
          <a:stretch/>
        </p:blipFill>
        <p:spPr>
          <a:xfrm>
            <a:off x="0" y="42333"/>
            <a:ext cx="7034576" cy="6858000"/>
          </a:xfrm>
          <a:prstGeom prst="rect">
            <a:avLst/>
          </a:prstGeom>
        </p:spPr>
      </p:pic>
      <p:sp>
        <p:nvSpPr>
          <p:cNvPr id="6" name="Text Placeholder 5">
            <a:extLst>
              <a:ext uri="{FF2B5EF4-FFF2-40B4-BE49-F238E27FC236}">
                <a16:creationId xmlns:a16="http://schemas.microsoft.com/office/drawing/2014/main" id="{4ADFD012-95D9-47CA-97E7-0C7F34DC91C9}"/>
              </a:ext>
            </a:extLst>
          </p:cNvPr>
          <p:cNvSpPr txBox="1">
            <a:spLocks/>
          </p:cNvSpPr>
          <p:nvPr/>
        </p:nvSpPr>
        <p:spPr>
          <a:xfrm>
            <a:off x="7222017" y="2759090"/>
            <a:ext cx="4524376" cy="143119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48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GB" sz="48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About Deloitte</a:t>
            </a:r>
          </a:p>
        </p:txBody>
      </p:sp>
    </p:spTree>
    <p:extLst>
      <p:ext uri="{BB962C8B-B14F-4D97-AF65-F5344CB8AC3E}">
        <p14:creationId xmlns:p14="http://schemas.microsoft.com/office/powerpoint/2010/main" val="256627401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CC0A158-507D-267E-DD0F-2359B3CCD69A}"/>
              </a:ext>
            </a:extLst>
          </p:cNvPr>
          <p:cNvSpPr/>
          <p:nvPr/>
        </p:nvSpPr>
        <p:spPr bwMode="gray">
          <a:xfrm>
            <a:off x="941558" y="1991764"/>
            <a:ext cx="3078181" cy="1552857"/>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cxnSp>
        <p:nvCxnSpPr>
          <p:cNvPr id="123" name="Straight Connector 122">
            <a:extLst>
              <a:ext uri="{FF2B5EF4-FFF2-40B4-BE49-F238E27FC236}">
                <a16:creationId xmlns:a16="http://schemas.microsoft.com/office/drawing/2014/main" id="{F3A90063-C707-9E5C-B30C-EF6E8A19A903}"/>
              </a:ext>
            </a:extLst>
          </p:cNvPr>
          <p:cNvCxnSpPr>
            <a:cxnSpLocks/>
          </p:cNvCxnSpPr>
          <p:nvPr/>
        </p:nvCxnSpPr>
        <p:spPr>
          <a:xfrm>
            <a:off x="936407"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noProof="0" dirty="0">
                <a:ln>
                  <a:noFill/>
                </a:ln>
                <a:solidFill>
                  <a:srgbClr val="000000"/>
                </a:solidFill>
                <a:effectLst/>
                <a:uLnTx/>
                <a:uFillTx/>
                <a:latin typeface="Open Sans" panose="020B0606030504020204" pitchFamily="34" charset="0"/>
                <a:ea typeface="+mn-ea"/>
                <a:cs typeface="+mn-cs"/>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noProof="0" dirty="0">
                <a:ln>
                  <a:noFill/>
                </a:ln>
                <a:solidFill>
                  <a:srgbClr val="000000"/>
                </a:solidFill>
                <a:effectLst/>
                <a:uLnTx/>
                <a:uFillTx/>
                <a:latin typeface="Open Sans" panose="020B0606030504020204" pitchFamily="34" charset="0"/>
                <a:ea typeface="+mn-ea"/>
                <a:cs typeface="+mn-cs"/>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Calibri Light"/>
            </a:endParaRPr>
          </a:p>
        </p:txBody>
      </p:sp>
      <p:sp>
        <p:nvSpPr>
          <p:cNvPr id="8" name="TextBox 7">
            <a:extLst>
              <a:ext uri="{FF2B5EF4-FFF2-40B4-BE49-F238E27FC236}">
                <a16:creationId xmlns:a16="http://schemas.microsoft.com/office/drawing/2014/main" id="{63282888-74DB-BEEA-8796-97E3A9B3F7BD}"/>
              </a:ext>
            </a:extLst>
          </p:cNvPr>
          <p:cNvSpPr txBox="1"/>
          <p:nvPr/>
        </p:nvSpPr>
        <p:spPr>
          <a:xfrm>
            <a:off x="944741" y="1669755"/>
            <a:ext cx="2424997"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mn-ea"/>
                <a:cs typeface="+mn-cs"/>
              </a:rPr>
              <a:t>Business Continuity consultation</a:t>
            </a: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23" name="TextBox 22">
            <a:extLst>
              <a:ext uri="{FF2B5EF4-FFF2-40B4-BE49-F238E27FC236}">
                <a16:creationId xmlns:a16="http://schemas.microsoft.com/office/drawing/2014/main" id="{F397ADD9-787F-C7DB-9AD3-5E29BF05A29B}"/>
              </a:ext>
            </a:extLst>
          </p:cNvPr>
          <p:cNvSpPr txBox="1"/>
          <p:nvPr/>
        </p:nvSpPr>
        <p:spPr>
          <a:xfrm>
            <a:off x="1090348" y="2300472"/>
            <a:ext cx="2598774" cy="382825"/>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Hungarian Technology company</a:t>
            </a:r>
          </a:p>
        </p:txBody>
      </p:sp>
      <p:sp>
        <p:nvSpPr>
          <p:cNvPr id="24" name="Rectangle 23">
            <a:extLst>
              <a:ext uri="{FF2B5EF4-FFF2-40B4-BE49-F238E27FC236}">
                <a16:creationId xmlns:a16="http://schemas.microsoft.com/office/drawing/2014/main" id="{7F4040CD-0AB5-785C-D67A-F45B7060A196}"/>
              </a:ext>
            </a:extLst>
          </p:cNvPr>
          <p:cNvSpPr/>
          <p:nvPr/>
        </p:nvSpPr>
        <p:spPr bwMode="gray">
          <a:xfrm>
            <a:off x="4613950" y="1991764"/>
            <a:ext cx="3078181" cy="1568506"/>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76B0DBC-412C-41C1-B982-90E5FBEC2273}"/>
              </a:ext>
            </a:extLst>
          </p:cNvPr>
          <p:cNvSpPr txBox="1"/>
          <p:nvPr/>
        </p:nvSpPr>
        <p:spPr>
          <a:xfrm>
            <a:off x="4613950" y="162583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mn-ea"/>
                <a:cs typeface="+mn-cs"/>
              </a:rPr>
              <a:t>IT Compliance reviews</a:t>
            </a:r>
          </a:p>
        </p:txBody>
      </p:sp>
      <p:sp>
        <p:nvSpPr>
          <p:cNvPr id="26" name="Rectangle 25">
            <a:extLst>
              <a:ext uri="{FF2B5EF4-FFF2-40B4-BE49-F238E27FC236}">
                <a16:creationId xmlns:a16="http://schemas.microsoft.com/office/drawing/2014/main" id="{013AA197-320D-7A3E-1A8F-1B25AC7160C7}"/>
              </a:ext>
            </a:extLst>
          </p:cNvPr>
          <p:cNvSpPr/>
          <p:nvPr/>
        </p:nvSpPr>
        <p:spPr bwMode="gray">
          <a:xfrm>
            <a:off x="8435143" y="2003113"/>
            <a:ext cx="3078181" cy="1566141"/>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7" name="TextBox 26">
            <a:extLst>
              <a:ext uri="{FF2B5EF4-FFF2-40B4-BE49-F238E27FC236}">
                <a16:creationId xmlns:a16="http://schemas.microsoft.com/office/drawing/2014/main" id="{35CA3719-A786-FFB1-E2E2-0CCAAB39D79B}"/>
              </a:ext>
            </a:extLst>
          </p:cNvPr>
          <p:cNvSpPr txBox="1"/>
          <p:nvPr/>
        </p:nvSpPr>
        <p:spPr>
          <a:xfrm>
            <a:off x="8412794" y="1625834"/>
            <a:ext cx="2964100"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Open Sans Light" panose="020B0306030504020204" pitchFamily="34" charset="0"/>
                <a:cs typeface="Open Sans Light" panose="020B0306030504020204" pitchFamily="34" charset="0"/>
              </a:rPr>
              <a:t>Information Security Risk Assessment</a:t>
            </a:r>
          </a:p>
        </p:txBody>
      </p:sp>
      <p:sp>
        <p:nvSpPr>
          <p:cNvPr id="44" name="Flowchart: Connector 43">
            <a:extLst>
              <a:ext uri="{FF2B5EF4-FFF2-40B4-BE49-F238E27FC236}">
                <a16:creationId xmlns:a16="http://schemas.microsoft.com/office/drawing/2014/main" id="{A08E6A24-E3E1-2E18-5302-29E195DBCB15}"/>
              </a:ext>
            </a:extLst>
          </p:cNvPr>
          <p:cNvSpPr/>
          <p:nvPr/>
        </p:nvSpPr>
        <p:spPr bwMode="gray">
          <a:xfrm>
            <a:off x="3625393" y="1927730"/>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 name="Flowchart: Connector 44">
            <a:extLst>
              <a:ext uri="{FF2B5EF4-FFF2-40B4-BE49-F238E27FC236}">
                <a16:creationId xmlns:a16="http://schemas.microsoft.com/office/drawing/2014/main" id="{7BBAA843-77FB-55C3-6537-67B56E8AD7F6}"/>
              </a:ext>
            </a:extLst>
          </p:cNvPr>
          <p:cNvSpPr/>
          <p:nvPr/>
        </p:nvSpPr>
        <p:spPr bwMode="gray">
          <a:xfrm>
            <a:off x="7321584" y="1943873"/>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nvGrpSpPr>
          <p:cNvPr id="47" name="Group 531">
            <a:extLst>
              <a:ext uri="{FF2B5EF4-FFF2-40B4-BE49-F238E27FC236}">
                <a16:creationId xmlns:a16="http://schemas.microsoft.com/office/drawing/2014/main" id="{A3EDCFE8-7889-17DF-6591-6A851EF283FC}"/>
              </a:ext>
            </a:extLst>
          </p:cNvPr>
          <p:cNvGrpSpPr>
            <a:grpSpLocks noChangeAspect="1"/>
          </p:cNvGrpSpPr>
          <p:nvPr/>
        </p:nvGrpSpPr>
        <p:grpSpPr bwMode="auto">
          <a:xfrm>
            <a:off x="3607934" y="1876402"/>
            <a:ext cx="489164" cy="489164"/>
            <a:chOff x="3061" y="1953"/>
            <a:chExt cx="340" cy="340"/>
          </a:xfrm>
          <a:solidFill>
            <a:srgbClr val="9DD4CF"/>
          </a:solidFill>
        </p:grpSpPr>
        <p:sp>
          <p:nvSpPr>
            <p:cNvPr id="48"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9"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51" name="Flowchart: Connector 50">
            <a:extLst>
              <a:ext uri="{FF2B5EF4-FFF2-40B4-BE49-F238E27FC236}">
                <a16:creationId xmlns:a16="http://schemas.microsoft.com/office/drawing/2014/main" id="{5462DF54-10C8-8A53-BE3B-3614AE9CA057}"/>
              </a:ext>
            </a:extLst>
          </p:cNvPr>
          <p:cNvSpPr/>
          <p:nvPr/>
        </p:nvSpPr>
        <p:spPr bwMode="gray">
          <a:xfrm>
            <a:off x="11147897" y="189121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232FD53E-6D12-E4EA-4D91-E99A8F5F8E42}"/>
              </a:ext>
            </a:extLst>
          </p:cNvPr>
          <p:cNvSpPr/>
          <p:nvPr/>
        </p:nvSpPr>
        <p:spPr bwMode="gray">
          <a:xfrm>
            <a:off x="941558" y="4486197"/>
            <a:ext cx="3078181" cy="1520381"/>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A1971568-07A4-EE83-40E9-F0C7FA0542DC}"/>
              </a:ext>
            </a:extLst>
          </p:cNvPr>
          <p:cNvSpPr txBox="1"/>
          <p:nvPr/>
        </p:nvSpPr>
        <p:spPr>
          <a:xfrm>
            <a:off x="4626320" y="4149013"/>
            <a:ext cx="2964100"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Open Sans Light" panose="020B0306030504020204" pitchFamily="34" charset="0"/>
                <a:cs typeface="Open Sans Light" panose="020B0306030504020204" pitchFamily="34" charset="0"/>
              </a:rPr>
              <a:t>Crisis Management simulation</a:t>
            </a:r>
          </a:p>
        </p:txBody>
      </p:sp>
      <p:sp>
        <p:nvSpPr>
          <p:cNvPr id="6" name="Rectangle 5">
            <a:extLst>
              <a:ext uri="{FF2B5EF4-FFF2-40B4-BE49-F238E27FC236}">
                <a16:creationId xmlns:a16="http://schemas.microsoft.com/office/drawing/2014/main" id="{C05A928F-39E3-8B93-BA78-48C9C88B1E18}"/>
              </a:ext>
            </a:extLst>
          </p:cNvPr>
          <p:cNvSpPr/>
          <p:nvPr/>
        </p:nvSpPr>
        <p:spPr bwMode="gray">
          <a:xfrm>
            <a:off x="4613950" y="4486197"/>
            <a:ext cx="3078181" cy="152037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5BFA29A6-0FDD-2AF0-85EF-C487648ED458}"/>
              </a:ext>
            </a:extLst>
          </p:cNvPr>
          <p:cNvSpPr txBox="1"/>
          <p:nvPr/>
        </p:nvSpPr>
        <p:spPr>
          <a:xfrm>
            <a:off x="936407" y="4149013"/>
            <a:ext cx="2964100"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Open Sans Light" panose="020B0306030504020204" pitchFamily="34" charset="0"/>
                <a:cs typeface="Open Sans Light" panose="020B0306030504020204" pitchFamily="34" charset="0"/>
              </a:rPr>
              <a:t>DORA Gap assessment</a:t>
            </a:r>
          </a:p>
        </p:txBody>
      </p:sp>
      <p:sp>
        <p:nvSpPr>
          <p:cNvPr id="15" name="Flowchart: Connector 14">
            <a:extLst>
              <a:ext uri="{FF2B5EF4-FFF2-40B4-BE49-F238E27FC236}">
                <a16:creationId xmlns:a16="http://schemas.microsoft.com/office/drawing/2014/main" id="{118F51FE-FC01-3FA7-F009-CF92B097BE5D}"/>
              </a:ext>
            </a:extLst>
          </p:cNvPr>
          <p:cNvSpPr/>
          <p:nvPr/>
        </p:nvSpPr>
        <p:spPr bwMode="gray">
          <a:xfrm>
            <a:off x="3625393" y="4422163"/>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7" name="Flowchart: Connector 16">
            <a:extLst>
              <a:ext uri="{FF2B5EF4-FFF2-40B4-BE49-F238E27FC236}">
                <a16:creationId xmlns:a16="http://schemas.microsoft.com/office/drawing/2014/main" id="{1B994640-3DD2-3B34-E066-DF16BFB2E55E}"/>
              </a:ext>
            </a:extLst>
          </p:cNvPr>
          <p:cNvSpPr/>
          <p:nvPr/>
        </p:nvSpPr>
        <p:spPr bwMode="gray">
          <a:xfrm>
            <a:off x="7321584" y="443830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3" name="Freeform 859">
            <a:extLst>
              <a:ext uri="{FF2B5EF4-FFF2-40B4-BE49-F238E27FC236}">
                <a16:creationId xmlns:a16="http://schemas.microsoft.com/office/drawing/2014/main" id="{B9FCD103-75D7-8258-438F-62B8F76731AB}"/>
              </a:ext>
            </a:extLst>
          </p:cNvPr>
          <p:cNvSpPr>
            <a:spLocks noChangeAspect="1" noEditPoints="1"/>
          </p:cNvSpPr>
          <p:nvPr/>
        </p:nvSpPr>
        <p:spPr bwMode="auto">
          <a:xfrm>
            <a:off x="7268859" y="1898529"/>
            <a:ext cx="489164" cy="489164"/>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Calibri Light"/>
              </a:rPr>
              <a:t>Cyber Credential</a:t>
            </a:r>
            <a:r>
              <a:rPr kumimoji="0" lang="hu-HU" sz="2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Calibri Light"/>
              </a:rPr>
              <a:t>s</a:t>
            </a:r>
            <a:r>
              <a:rPr kumimoji="0" lang="en-US" sz="2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Calibri Light"/>
              </a:rPr>
              <a:t> </a:t>
            </a:r>
          </a:p>
        </p:txBody>
      </p:sp>
      <p:grpSp>
        <p:nvGrpSpPr>
          <p:cNvPr id="114" name="Group 531">
            <a:extLst>
              <a:ext uri="{FF2B5EF4-FFF2-40B4-BE49-F238E27FC236}">
                <a16:creationId xmlns:a16="http://schemas.microsoft.com/office/drawing/2014/main" id="{998E9E98-4119-C121-A47C-BF63EE46F05E}"/>
              </a:ext>
            </a:extLst>
          </p:cNvPr>
          <p:cNvGrpSpPr>
            <a:grpSpLocks noChangeAspect="1"/>
          </p:cNvGrpSpPr>
          <p:nvPr/>
        </p:nvGrpSpPr>
        <p:grpSpPr bwMode="auto">
          <a:xfrm>
            <a:off x="11084469" y="1866320"/>
            <a:ext cx="489164" cy="489164"/>
            <a:chOff x="3061" y="1953"/>
            <a:chExt cx="340" cy="340"/>
          </a:xfrm>
          <a:solidFill>
            <a:srgbClr val="00B0F2"/>
          </a:solidFill>
        </p:grpSpPr>
        <p:sp>
          <p:nvSpPr>
            <p:cNvPr id="115" name="Freeform 532">
              <a:extLst>
                <a:ext uri="{FF2B5EF4-FFF2-40B4-BE49-F238E27FC236}">
                  <a16:creationId xmlns:a16="http://schemas.microsoft.com/office/drawing/2014/main" id="{3BD39623-5A72-6153-8D42-EE81ED9260E9}"/>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6" name="Freeform 533">
              <a:extLst>
                <a:ext uri="{FF2B5EF4-FFF2-40B4-BE49-F238E27FC236}">
                  <a16:creationId xmlns:a16="http://schemas.microsoft.com/office/drawing/2014/main" id="{4685D9A1-8726-6BDC-AEE0-745937DA3AC3}"/>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11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3591661" y="4374394"/>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9" name="Freeform 787">
            <a:extLst>
              <a:ext uri="{FF2B5EF4-FFF2-40B4-BE49-F238E27FC236}">
                <a16:creationId xmlns:a16="http://schemas.microsoft.com/office/drawing/2014/main" id="{EC37AA83-FED1-8BEE-3FDC-E447523C38A9}"/>
              </a:ext>
            </a:extLst>
          </p:cNvPr>
          <p:cNvSpPr>
            <a:spLocks noChangeAspect="1" noEditPoints="1"/>
          </p:cNvSpPr>
          <p:nvPr/>
        </p:nvSpPr>
        <p:spPr bwMode="auto">
          <a:xfrm>
            <a:off x="7269281" y="4392499"/>
            <a:ext cx="493776" cy="493776"/>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nvGrpSpPr>
          <p:cNvPr id="140" name="Group 139">
            <a:extLst>
              <a:ext uri="{FF2B5EF4-FFF2-40B4-BE49-F238E27FC236}">
                <a16:creationId xmlns:a16="http://schemas.microsoft.com/office/drawing/2014/main" id="{C79B309A-F06F-DFD2-8996-00CF064F4E23}"/>
              </a:ext>
            </a:extLst>
          </p:cNvPr>
          <p:cNvGrpSpPr/>
          <p:nvPr/>
        </p:nvGrpSpPr>
        <p:grpSpPr>
          <a:xfrm>
            <a:off x="5859071" y="5909130"/>
            <a:ext cx="1704190" cy="294568"/>
            <a:chOff x="5859071" y="5990610"/>
            <a:chExt cx="1704190" cy="294568"/>
          </a:xfrm>
        </p:grpSpPr>
        <p:sp>
          <p:nvSpPr>
            <p:cNvPr id="4" name="Rectangle: Rounded Corners 3">
              <a:extLst>
                <a:ext uri="{FF2B5EF4-FFF2-40B4-BE49-F238E27FC236}">
                  <a16:creationId xmlns:a16="http://schemas.microsoft.com/office/drawing/2014/main" id="{877049C1-056B-A9DA-71CA-B53FF0283C38}"/>
                </a:ext>
              </a:extLst>
            </p:cNvPr>
            <p:cNvSpPr/>
            <p:nvPr/>
          </p:nvSpPr>
          <p:spPr bwMode="gray">
            <a:xfrm>
              <a:off x="5859071" y="599061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9A993CCD-8450-FD57-88FA-FB759A6CB07C}"/>
                </a:ext>
              </a:extLst>
            </p:cNvPr>
            <p:cNvSpPr txBox="1"/>
            <p:nvPr/>
          </p:nvSpPr>
          <p:spPr>
            <a:xfrm>
              <a:off x="5976469" y="6038956"/>
              <a:ext cx="1553247"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INNOVATION &amp; IT STRATEGY</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Relating Subchapter</a:t>
            </a:r>
            <a:endParaRPr kumimoji="0" lang="en-US" sz="7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2" name="Group 21">
            <a:extLst>
              <a:ext uri="{FF2B5EF4-FFF2-40B4-BE49-F238E27FC236}">
                <a16:creationId xmlns:a16="http://schemas.microsoft.com/office/drawing/2014/main" id="{68CAB38A-8D40-D640-8DBC-A743DCC161D4}"/>
              </a:ext>
            </a:extLst>
          </p:cNvPr>
          <p:cNvGrpSpPr/>
          <p:nvPr/>
        </p:nvGrpSpPr>
        <p:grpSpPr>
          <a:xfrm>
            <a:off x="2050976" y="3437957"/>
            <a:ext cx="1704190" cy="306056"/>
            <a:chOff x="2050976" y="3519440"/>
            <a:chExt cx="1704190" cy="306056"/>
          </a:xfrm>
        </p:grpSpPr>
        <p:sp>
          <p:nvSpPr>
            <p:cNvPr id="18" name="Rectangle: Rounded Corners 17">
              <a:extLst>
                <a:ext uri="{FF2B5EF4-FFF2-40B4-BE49-F238E27FC236}">
                  <a16:creationId xmlns:a16="http://schemas.microsoft.com/office/drawing/2014/main" id="{5FBED754-A311-3D18-C57B-0CD5A35A1707}"/>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CB5E46A5-34D1-0CFA-C99E-7F55BA48EDCE}"/>
                </a:ext>
              </a:extLst>
            </p:cNvPr>
            <p:cNvSpPr txBox="1"/>
            <p:nvPr/>
          </p:nvSpPr>
          <p:spPr>
            <a:xfrm>
              <a:off x="2340188" y="3579274"/>
              <a:ext cx="1285514"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STRATEGIC PLANNING</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grpSp>
        <p:nvGrpSpPr>
          <p:cNvPr id="28" name="Group 27">
            <a:extLst>
              <a:ext uri="{FF2B5EF4-FFF2-40B4-BE49-F238E27FC236}">
                <a16:creationId xmlns:a16="http://schemas.microsoft.com/office/drawing/2014/main" id="{96FB327C-C17C-4380-8805-6E438035EA3F}"/>
              </a:ext>
            </a:extLst>
          </p:cNvPr>
          <p:cNvGrpSpPr/>
          <p:nvPr/>
        </p:nvGrpSpPr>
        <p:grpSpPr>
          <a:xfrm>
            <a:off x="5825526" y="3456067"/>
            <a:ext cx="1704190" cy="306056"/>
            <a:chOff x="2050976" y="3519440"/>
            <a:chExt cx="1704190" cy="306056"/>
          </a:xfrm>
        </p:grpSpPr>
        <p:sp>
          <p:nvSpPr>
            <p:cNvPr id="29" name="Rectangle: Rounded Corners 28">
              <a:extLst>
                <a:ext uri="{FF2B5EF4-FFF2-40B4-BE49-F238E27FC236}">
                  <a16:creationId xmlns:a16="http://schemas.microsoft.com/office/drawing/2014/main" id="{197BE939-FFED-D312-00AB-C4FA5C5D7502}"/>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923516F6-3995-36A0-E077-F055815AE3ED}"/>
                </a:ext>
              </a:extLst>
            </p:cNvPr>
            <p:cNvSpPr txBox="1"/>
            <p:nvPr/>
          </p:nvSpPr>
          <p:spPr>
            <a:xfrm>
              <a:off x="2340188" y="3579274"/>
              <a:ext cx="1285514"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STRATEGIC PLANNING</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grpSp>
        <p:nvGrpSpPr>
          <p:cNvPr id="41" name="Group 40">
            <a:extLst>
              <a:ext uri="{FF2B5EF4-FFF2-40B4-BE49-F238E27FC236}">
                <a16:creationId xmlns:a16="http://schemas.microsoft.com/office/drawing/2014/main" id="{D53AB8F9-4F81-B63E-10AB-5ED42F4CFE47}"/>
              </a:ext>
            </a:extLst>
          </p:cNvPr>
          <p:cNvGrpSpPr/>
          <p:nvPr/>
        </p:nvGrpSpPr>
        <p:grpSpPr>
          <a:xfrm>
            <a:off x="9664717" y="3456066"/>
            <a:ext cx="1704190" cy="306056"/>
            <a:chOff x="2050976" y="3519440"/>
            <a:chExt cx="1704190" cy="306056"/>
          </a:xfrm>
        </p:grpSpPr>
        <p:sp>
          <p:nvSpPr>
            <p:cNvPr id="50" name="Rectangle: Rounded Corners 49">
              <a:extLst>
                <a:ext uri="{FF2B5EF4-FFF2-40B4-BE49-F238E27FC236}">
                  <a16:creationId xmlns:a16="http://schemas.microsoft.com/office/drawing/2014/main" id="{0DAFFFD7-A61E-80D2-B08C-171D1F8EB654}"/>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2" name="TextBox 111">
              <a:extLst>
                <a:ext uri="{FF2B5EF4-FFF2-40B4-BE49-F238E27FC236}">
                  <a16:creationId xmlns:a16="http://schemas.microsoft.com/office/drawing/2014/main" id="{1DD0F3F4-7930-EFF4-D69D-E51AEDA97A8A}"/>
                </a:ext>
              </a:extLst>
            </p:cNvPr>
            <p:cNvSpPr txBox="1"/>
            <p:nvPr/>
          </p:nvSpPr>
          <p:spPr>
            <a:xfrm>
              <a:off x="2340188" y="3579274"/>
              <a:ext cx="1285514"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STRATEGIC PLANNING</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grpSp>
        <p:nvGrpSpPr>
          <p:cNvPr id="117" name="Group 116">
            <a:extLst>
              <a:ext uri="{FF2B5EF4-FFF2-40B4-BE49-F238E27FC236}">
                <a16:creationId xmlns:a16="http://schemas.microsoft.com/office/drawing/2014/main" id="{9EA74805-9A71-D495-4F29-6D6AA964B954}"/>
              </a:ext>
            </a:extLst>
          </p:cNvPr>
          <p:cNvGrpSpPr/>
          <p:nvPr/>
        </p:nvGrpSpPr>
        <p:grpSpPr>
          <a:xfrm>
            <a:off x="2114396" y="5862159"/>
            <a:ext cx="1704190" cy="306056"/>
            <a:chOff x="2050976" y="3519440"/>
            <a:chExt cx="1704190" cy="306056"/>
          </a:xfrm>
        </p:grpSpPr>
        <p:sp>
          <p:nvSpPr>
            <p:cNvPr id="120" name="Rectangle: Rounded Corners 119">
              <a:extLst>
                <a:ext uri="{FF2B5EF4-FFF2-40B4-BE49-F238E27FC236}">
                  <a16:creationId xmlns:a16="http://schemas.microsoft.com/office/drawing/2014/main" id="{540BF639-F134-B6A6-C8DC-CACB2F4664C3}"/>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21" name="TextBox 120">
              <a:extLst>
                <a:ext uri="{FF2B5EF4-FFF2-40B4-BE49-F238E27FC236}">
                  <a16:creationId xmlns:a16="http://schemas.microsoft.com/office/drawing/2014/main" id="{05202514-2B2E-DAC6-E5FC-C0538CF5CC91}"/>
                </a:ext>
              </a:extLst>
            </p:cNvPr>
            <p:cNvSpPr txBox="1"/>
            <p:nvPr/>
          </p:nvSpPr>
          <p:spPr>
            <a:xfrm>
              <a:off x="2340188" y="3579274"/>
              <a:ext cx="1285514"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STRATEGIC PLANNING</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cxnSp>
        <p:nvCxnSpPr>
          <p:cNvPr id="127" name="Straight Connector 126">
            <a:extLst>
              <a:ext uri="{FF2B5EF4-FFF2-40B4-BE49-F238E27FC236}">
                <a16:creationId xmlns:a16="http://schemas.microsoft.com/office/drawing/2014/main" id="{2EF9A407-39B6-A6A8-1433-F0E7FE122460}"/>
              </a:ext>
            </a:extLst>
          </p:cNvPr>
          <p:cNvCxnSpPr>
            <a:cxnSpLocks/>
          </p:cNvCxnSpPr>
          <p:nvPr/>
        </p:nvCxnSpPr>
        <p:spPr>
          <a:xfrm>
            <a:off x="4613950"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F6720CED-99DC-CB5D-9D77-BC1B3A169F99}"/>
              </a:ext>
            </a:extLst>
          </p:cNvPr>
          <p:cNvSpPr txBox="1"/>
          <p:nvPr/>
        </p:nvSpPr>
        <p:spPr>
          <a:xfrm>
            <a:off x="4738307" y="2291419"/>
            <a:ext cx="2661945" cy="461037"/>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Numerous Hungarian Financial Sector clients</a:t>
            </a:r>
          </a:p>
        </p:txBody>
      </p:sp>
      <p:sp>
        <p:nvSpPr>
          <p:cNvPr id="129" name="TextBox 128">
            <a:extLst>
              <a:ext uri="{FF2B5EF4-FFF2-40B4-BE49-F238E27FC236}">
                <a16:creationId xmlns:a16="http://schemas.microsoft.com/office/drawing/2014/main" id="{7D51D67F-A064-D48F-02D5-A2115A22C22D}"/>
              </a:ext>
            </a:extLst>
          </p:cNvPr>
          <p:cNvSpPr txBox="1"/>
          <p:nvPr/>
        </p:nvSpPr>
        <p:spPr>
          <a:xfrm>
            <a:off x="1090348" y="2760104"/>
            <a:ext cx="2846482" cy="58876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We have delivered Business Continuity framework and actual business continuity and disaster recovery plans</a:t>
            </a:r>
          </a:p>
        </p:txBody>
      </p:sp>
      <p:sp>
        <p:nvSpPr>
          <p:cNvPr id="130" name="TextBox 129">
            <a:extLst>
              <a:ext uri="{FF2B5EF4-FFF2-40B4-BE49-F238E27FC236}">
                <a16:creationId xmlns:a16="http://schemas.microsoft.com/office/drawing/2014/main" id="{32427F07-1165-8065-82F9-CA0CDD6AB2E4}"/>
              </a:ext>
            </a:extLst>
          </p:cNvPr>
          <p:cNvSpPr txBox="1"/>
          <p:nvPr/>
        </p:nvSpPr>
        <p:spPr>
          <a:xfrm>
            <a:off x="4738307" y="2759534"/>
            <a:ext cx="2846482" cy="540369"/>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We have delivered numerous IT security compliance reviews (system integrity review, PSD2, SWIFT)</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endParaRPr>
          </a:p>
        </p:txBody>
      </p:sp>
      <p:sp>
        <p:nvSpPr>
          <p:cNvPr id="131" name="TextBox 130">
            <a:extLst>
              <a:ext uri="{FF2B5EF4-FFF2-40B4-BE49-F238E27FC236}">
                <a16:creationId xmlns:a16="http://schemas.microsoft.com/office/drawing/2014/main" id="{1DE503B6-64D8-56D0-9D0F-DD6BFBA4223D}"/>
              </a:ext>
            </a:extLst>
          </p:cNvPr>
          <p:cNvSpPr txBox="1"/>
          <p:nvPr/>
        </p:nvSpPr>
        <p:spPr>
          <a:xfrm>
            <a:off x="8593375" y="2291419"/>
            <a:ext cx="2550479" cy="461037"/>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Large Hungarian Financial Sector Client</a:t>
            </a:r>
          </a:p>
        </p:txBody>
      </p:sp>
      <p:sp>
        <p:nvSpPr>
          <p:cNvPr id="132" name="TextBox 131">
            <a:extLst>
              <a:ext uri="{FF2B5EF4-FFF2-40B4-BE49-F238E27FC236}">
                <a16:creationId xmlns:a16="http://schemas.microsoft.com/office/drawing/2014/main" id="{748F356F-14FC-73F3-6889-DE993372BB76}"/>
              </a:ext>
            </a:extLst>
          </p:cNvPr>
          <p:cNvSpPr txBox="1"/>
          <p:nvPr/>
        </p:nvSpPr>
        <p:spPr>
          <a:xfrm>
            <a:off x="8588867" y="2759534"/>
            <a:ext cx="2846482" cy="540369"/>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 We have delivered IT security risk assessment based on industry good practice, in line with local regulation</a:t>
            </a:r>
          </a:p>
        </p:txBody>
      </p:sp>
      <p:sp>
        <p:nvSpPr>
          <p:cNvPr id="133" name="TextBox 132">
            <a:extLst>
              <a:ext uri="{FF2B5EF4-FFF2-40B4-BE49-F238E27FC236}">
                <a16:creationId xmlns:a16="http://schemas.microsoft.com/office/drawing/2014/main" id="{C2238001-CA4F-1971-125E-243024A38685}"/>
              </a:ext>
            </a:extLst>
          </p:cNvPr>
          <p:cNvSpPr txBox="1"/>
          <p:nvPr/>
        </p:nvSpPr>
        <p:spPr>
          <a:xfrm>
            <a:off x="1090348" y="4784612"/>
            <a:ext cx="2598774" cy="382825"/>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Regional payment services client</a:t>
            </a:r>
          </a:p>
        </p:txBody>
      </p:sp>
      <p:sp>
        <p:nvSpPr>
          <p:cNvPr id="134" name="TextBox 133">
            <a:extLst>
              <a:ext uri="{FF2B5EF4-FFF2-40B4-BE49-F238E27FC236}">
                <a16:creationId xmlns:a16="http://schemas.microsoft.com/office/drawing/2014/main" id="{F0EA7E86-F4C0-3CFF-AC73-4A092F285551}"/>
              </a:ext>
            </a:extLst>
          </p:cNvPr>
          <p:cNvSpPr txBox="1"/>
          <p:nvPr/>
        </p:nvSpPr>
        <p:spPr>
          <a:xfrm>
            <a:off x="1090348" y="5244244"/>
            <a:ext cx="2846482" cy="58876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Delivered DORA gap assessment project and identified critical shortcomings</a:t>
            </a:r>
          </a:p>
        </p:txBody>
      </p:sp>
      <p:cxnSp>
        <p:nvCxnSpPr>
          <p:cNvPr id="135" name="Straight Connector 134">
            <a:extLst>
              <a:ext uri="{FF2B5EF4-FFF2-40B4-BE49-F238E27FC236}">
                <a16:creationId xmlns:a16="http://schemas.microsoft.com/office/drawing/2014/main" id="{1C7C2558-6F06-5E53-5FB0-9CEC94957BBE}"/>
              </a:ext>
            </a:extLst>
          </p:cNvPr>
          <p:cNvCxnSpPr>
            <a:cxnSpLocks/>
          </p:cNvCxnSpPr>
          <p:nvPr/>
        </p:nvCxnSpPr>
        <p:spPr>
          <a:xfrm>
            <a:off x="8423255"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91018F2B-F2E7-C723-66B4-FC4EAB1B335D}"/>
              </a:ext>
            </a:extLst>
          </p:cNvPr>
          <p:cNvCxnSpPr>
            <a:cxnSpLocks/>
          </p:cNvCxnSpPr>
          <p:nvPr/>
        </p:nvCxnSpPr>
        <p:spPr>
          <a:xfrm>
            <a:off x="935688" y="4501447"/>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761E0D26-2B09-083E-F165-D291810B0394}"/>
              </a:ext>
            </a:extLst>
          </p:cNvPr>
          <p:cNvSpPr txBox="1"/>
          <p:nvPr/>
        </p:nvSpPr>
        <p:spPr>
          <a:xfrm>
            <a:off x="4763452" y="4784612"/>
            <a:ext cx="2766264" cy="382825"/>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Large Hungarian Bank</a:t>
            </a:r>
          </a:p>
        </p:txBody>
      </p:sp>
      <p:sp>
        <p:nvSpPr>
          <p:cNvPr id="138" name="TextBox 137">
            <a:extLst>
              <a:ext uri="{FF2B5EF4-FFF2-40B4-BE49-F238E27FC236}">
                <a16:creationId xmlns:a16="http://schemas.microsoft.com/office/drawing/2014/main" id="{04ED30F6-4CA3-3C1E-20FE-A82BD76084A8}"/>
              </a:ext>
            </a:extLst>
          </p:cNvPr>
          <p:cNvSpPr txBox="1"/>
          <p:nvPr/>
        </p:nvSpPr>
        <p:spPr>
          <a:xfrm>
            <a:off x="4763453" y="5244244"/>
            <a:ext cx="2846482" cy="58876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We have delivered Crisis Management tabletop simulation to a Hungarian Bank</a:t>
            </a:r>
          </a:p>
        </p:txBody>
      </p:sp>
      <p:cxnSp>
        <p:nvCxnSpPr>
          <p:cNvPr id="139" name="Straight Connector 138">
            <a:extLst>
              <a:ext uri="{FF2B5EF4-FFF2-40B4-BE49-F238E27FC236}">
                <a16:creationId xmlns:a16="http://schemas.microsoft.com/office/drawing/2014/main" id="{6F83FBA3-7B36-E95B-0BD4-BB45A2F39A8A}"/>
              </a:ext>
            </a:extLst>
          </p:cNvPr>
          <p:cNvCxnSpPr>
            <a:cxnSpLocks/>
          </p:cNvCxnSpPr>
          <p:nvPr/>
        </p:nvCxnSpPr>
        <p:spPr>
          <a:xfrm>
            <a:off x="4607032" y="4501447"/>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Cyber strategy and information security governance services</a:t>
            </a:r>
          </a:p>
        </p:txBody>
      </p:sp>
    </p:spTree>
    <p:extLst>
      <p:ext uri="{BB962C8B-B14F-4D97-AF65-F5344CB8AC3E}">
        <p14:creationId xmlns:p14="http://schemas.microsoft.com/office/powerpoint/2010/main" val="197866717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CC0A158-507D-267E-DD0F-2359B3CCD69A}"/>
              </a:ext>
            </a:extLst>
          </p:cNvPr>
          <p:cNvSpPr/>
          <p:nvPr/>
        </p:nvSpPr>
        <p:spPr bwMode="gray">
          <a:xfrm>
            <a:off x="941558" y="1991764"/>
            <a:ext cx="3078181" cy="1552857"/>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cxnSp>
        <p:nvCxnSpPr>
          <p:cNvPr id="123" name="Straight Connector 122">
            <a:extLst>
              <a:ext uri="{FF2B5EF4-FFF2-40B4-BE49-F238E27FC236}">
                <a16:creationId xmlns:a16="http://schemas.microsoft.com/office/drawing/2014/main" id="{F3A90063-C707-9E5C-B30C-EF6E8A19A903}"/>
              </a:ext>
            </a:extLst>
          </p:cNvPr>
          <p:cNvCxnSpPr>
            <a:cxnSpLocks/>
          </p:cNvCxnSpPr>
          <p:nvPr/>
        </p:nvCxnSpPr>
        <p:spPr>
          <a:xfrm>
            <a:off x="936407"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noProof="0" dirty="0">
                <a:ln>
                  <a:noFill/>
                </a:ln>
                <a:solidFill>
                  <a:srgbClr val="000000"/>
                </a:solidFill>
                <a:effectLst/>
                <a:uLnTx/>
                <a:uFillTx/>
                <a:latin typeface="Open Sans" panose="020B0606030504020204" pitchFamily="34" charset="0"/>
                <a:ea typeface="+mn-ea"/>
                <a:cs typeface="+mn-cs"/>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noProof="0" dirty="0">
                <a:ln>
                  <a:noFill/>
                </a:ln>
                <a:solidFill>
                  <a:srgbClr val="000000"/>
                </a:solidFill>
                <a:effectLst/>
                <a:uLnTx/>
                <a:uFillTx/>
                <a:latin typeface="Open Sans" panose="020B0606030504020204" pitchFamily="34" charset="0"/>
                <a:ea typeface="+mn-ea"/>
                <a:cs typeface="+mn-cs"/>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Open Sans"/>
                <a:ea typeface="+mn-ea"/>
                <a:cs typeface="+mn-cs"/>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Calibri Light"/>
            </a:endParaRPr>
          </a:p>
        </p:txBody>
      </p:sp>
      <p:sp>
        <p:nvSpPr>
          <p:cNvPr id="8" name="TextBox 7">
            <a:extLst>
              <a:ext uri="{FF2B5EF4-FFF2-40B4-BE49-F238E27FC236}">
                <a16:creationId xmlns:a16="http://schemas.microsoft.com/office/drawing/2014/main" id="{63282888-74DB-BEEA-8796-97E3A9B3F7BD}"/>
              </a:ext>
            </a:extLst>
          </p:cNvPr>
          <p:cNvSpPr txBox="1"/>
          <p:nvPr/>
        </p:nvSpPr>
        <p:spPr>
          <a:xfrm>
            <a:off x="944741" y="1669755"/>
            <a:ext cx="2424997"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mn-ea"/>
                <a:cs typeface="+mn-cs"/>
              </a:rPr>
              <a:t>Penetration testing</a:t>
            </a: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23" name="TextBox 22">
            <a:extLst>
              <a:ext uri="{FF2B5EF4-FFF2-40B4-BE49-F238E27FC236}">
                <a16:creationId xmlns:a16="http://schemas.microsoft.com/office/drawing/2014/main" id="{F397ADD9-787F-C7DB-9AD3-5E29BF05A29B}"/>
              </a:ext>
            </a:extLst>
          </p:cNvPr>
          <p:cNvSpPr txBox="1"/>
          <p:nvPr/>
        </p:nvSpPr>
        <p:spPr>
          <a:xfrm>
            <a:off x="1090348" y="2300472"/>
            <a:ext cx="2598774" cy="382825"/>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Numerous Hungarian Financial Sector clients</a:t>
            </a:r>
          </a:p>
        </p:txBody>
      </p:sp>
      <p:sp>
        <p:nvSpPr>
          <p:cNvPr id="24" name="Rectangle 23">
            <a:extLst>
              <a:ext uri="{FF2B5EF4-FFF2-40B4-BE49-F238E27FC236}">
                <a16:creationId xmlns:a16="http://schemas.microsoft.com/office/drawing/2014/main" id="{7F4040CD-0AB5-785C-D67A-F45B7060A196}"/>
              </a:ext>
            </a:extLst>
          </p:cNvPr>
          <p:cNvSpPr/>
          <p:nvPr/>
        </p:nvSpPr>
        <p:spPr bwMode="gray">
          <a:xfrm>
            <a:off x="4613950" y="1991764"/>
            <a:ext cx="3078181" cy="1568506"/>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76B0DBC-412C-41C1-B982-90E5FBEC2273}"/>
              </a:ext>
            </a:extLst>
          </p:cNvPr>
          <p:cNvSpPr txBox="1"/>
          <p:nvPr/>
        </p:nvSpPr>
        <p:spPr>
          <a:xfrm>
            <a:off x="4613950" y="162583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mn-ea"/>
                <a:cs typeface="+mn-cs"/>
              </a:rPr>
              <a:t>Red Teaming</a:t>
            </a:r>
          </a:p>
        </p:txBody>
      </p:sp>
      <p:sp>
        <p:nvSpPr>
          <p:cNvPr id="26" name="Rectangle 25">
            <a:extLst>
              <a:ext uri="{FF2B5EF4-FFF2-40B4-BE49-F238E27FC236}">
                <a16:creationId xmlns:a16="http://schemas.microsoft.com/office/drawing/2014/main" id="{013AA197-320D-7A3E-1A8F-1B25AC7160C7}"/>
              </a:ext>
            </a:extLst>
          </p:cNvPr>
          <p:cNvSpPr/>
          <p:nvPr/>
        </p:nvSpPr>
        <p:spPr bwMode="gray">
          <a:xfrm>
            <a:off x="8435143" y="2003113"/>
            <a:ext cx="3078181" cy="1566141"/>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7" name="TextBox 26">
            <a:extLst>
              <a:ext uri="{FF2B5EF4-FFF2-40B4-BE49-F238E27FC236}">
                <a16:creationId xmlns:a16="http://schemas.microsoft.com/office/drawing/2014/main" id="{35CA3719-A786-FFB1-E2E2-0CCAAB39D79B}"/>
              </a:ext>
            </a:extLst>
          </p:cNvPr>
          <p:cNvSpPr txBox="1"/>
          <p:nvPr/>
        </p:nvSpPr>
        <p:spPr>
          <a:xfrm>
            <a:off x="8412794" y="1625834"/>
            <a:ext cx="2964100"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Open Sans Light" panose="020B0306030504020204" pitchFamily="34" charset="0"/>
                <a:cs typeface="Open Sans Light" panose="020B0306030504020204" pitchFamily="34" charset="0"/>
              </a:rPr>
              <a:t>SCADA / OT Testing</a:t>
            </a:r>
          </a:p>
        </p:txBody>
      </p:sp>
      <p:sp>
        <p:nvSpPr>
          <p:cNvPr id="44" name="Flowchart: Connector 43">
            <a:extLst>
              <a:ext uri="{FF2B5EF4-FFF2-40B4-BE49-F238E27FC236}">
                <a16:creationId xmlns:a16="http://schemas.microsoft.com/office/drawing/2014/main" id="{A08E6A24-E3E1-2E18-5302-29E195DBCB15}"/>
              </a:ext>
            </a:extLst>
          </p:cNvPr>
          <p:cNvSpPr/>
          <p:nvPr/>
        </p:nvSpPr>
        <p:spPr bwMode="gray">
          <a:xfrm>
            <a:off x="3625393" y="1927730"/>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 name="Flowchart: Connector 44">
            <a:extLst>
              <a:ext uri="{FF2B5EF4-FFF2-40B4-BE49-F238E27FC236}">
                <a16:creationId xmlns:a16="http://schemas.microsoft.com/office/drawing/2014/main" id="{7BBAA843-77FB-55C3-6537-67B56E8AD7F6}"/>
              </a:ext>
            </a:extLst>
          </p:cNvPr>
          <p:cNvSpPr/>
          <p:nvPr/>
        </p:nvSpPr>
        <p:spPr bwMode="gray">
          <a:xfrm>
            <a:off x="7321584" y="1943873"/>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nvGrpSpPr>
          <p:cNvPr id="47" name="Group 531">
            <a:extLst>
              <a:ext uri="{FF2B5EF4-FFF2-40B4-BE49-F238E27FC236}">
                <a16:creationId xmlns:a16="http://schemas.microsoft.com/office/drawing/2014/main" id="{A3EDCFE8-7889-17DF-6591-6A851EF283FC}"/>
              </a:ext>
            </a:extLst>
          </p:cNvPr>
          <p:cNvGrpSpPr>
            <a:grpSpLocks noChangeAspect="1"/>
          </p:cNvGrpSpPr>
          <p:nvPr/>
        </p:nvGrpSpPr>
        <p:grpSpPr bwMode="auto">
          <a:xfrm>
            <a:off x="3607934" y="1876402"/>
            <a:ext cx="489164" cy="489164"/>
            <a:chOff x="3061" y="1953"/>
            <a:chExt cx="340" cy="340"/>
          </a:xfrm>
          <a:solidFill>
            <a:srgbClr val="9DD4CF"/>
          </a:solidFill>
        </p:grpSpPr>
        <p:sp>
          <p:nvSpPr>
            <p:cNvPr id="48"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9"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51" name="Flowchart: Connector 50">
            <a:extLst>
              <a:ext uri="{FF2B5EF4-FFF2-40B4-BE49-F238E27FC236}">
                <a16:creationId xmlns:a16="http://schemas.microsoft.com/office/drawing/2014/main" id="{5462DF54-10C8-8A53-BE3B-3614AE9CA057}"/>
              </a:ext>
            </a:extLst>
          </p:cNvPr>
          <p:cNvSpPr/>
          <p:nvPr/>
        </p:nvSpPr>
        <p:spPr bwMode="gray">
          <a:xfrm>
            <a:off x="11147897" y="189121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232FD53E-6D12-E4EA-4D91-E99A8F5F8E42}"/>
              </a:ext>
            </a:extLst>
          </p:cNvPr>
          <p:cNvSpPr/>
          <p:nvPr/>
        </p:nvSpPr>
        <p:spPr bwMode="gray">
          <a:xfrm>
            <a:off x="941558" y="4486197"/>
            <a:ext cx="3078181" cy="1520381"/>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A1971568-07A4-EE83-40E9-F0C7FA0542DC}"/>
              </a:ext>
            </a:extLst>
          </p:cNvPr>
          <p:cNvSpPr txBox="1"/>
          <p:nvPr/>
        </p:nvSpPr>
        <p:spPr>
          <a:xfrm>
            <a:off x="4626320" y="4149013"/>
            <a:ext cx="2964100"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Open Sans Light" panose="020B0306030504020204" pitchFamily="34" charset="0"/>
                <a:cs typeface="Open Sans Light" panose="020B0306030504020204" pitchFamily="34" charset="0"/>
              </a:rPr>
              <a:t>Cyber security risk assessment for automotive client</a:t>
            </a:r>
          </a:p>
        </p:txBody>
      </p:sp>
      <p:sp>
        <p:nvSpPr>
          <p:cNvPr id="6" name="Rectangle 5">
            <a:extLst>
              <a:ext uri="{FF2B5EF4-FFF2-40B4-BE49-F238E27FC236}">
                <a16:creationId xmlns:a16="http://schemas.microsoft.com/office/drawing/2014/main" id="{C05A928F-39E3-8B93-BA78-48C9C88B1E18}"/>
              </a:ext>
            </a:extLst>
          </p:cNvPr>
          <p:cNvSpPr/>
          <p:nvPr/>
        </p:nvSpPr>
        <p:spPr bwMode="gray">
          <a:xfrm>
            <a:off x="4613950" y="4486197"/>
            <a:ext cx="3078181" cy="152037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5BFA29A6-0FDD-2AF0-85EF-C487648ED458}"/>
              </a:ext>
            </a:extLst>
          </p:cNvPr>
          <p:cNvSpPr txBox="1"/>
          <p:nvPr/>
        </p:nvSpPr>
        <p:spPr>
          <a:xfrm>
            <a:off x="936407" y="4149013"/>
            <a:ext cx="2964100"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900" b="1" i="0" u="none" strike="noStrike" kern="1200" cap="none" spc="0" normalizeH="0" baseline="0" noProof="0" dirty="0">
                <a:ln>
                  <a:noFill/>
                </a:ln>
                <a:solidFill>
                  <a:srgbClr val="00B0F2"/>
                </a:solidFill>
                <a:effectLst/>
                <a:uLnTx/>
                <a:uFillTx/>
                <a:latin typeface="Open Sans"/>
                <a:ea typeface="Open Sans Light" panose="020B0306030504020204" pitchFamily="34" charset="0"/>
                <a:cs typeface="Open Sans Light" panose="020B0306030504020204" pitchFamily="34" charset="0"/>
              </a:rPr>
              <a:t>Cyber maturity assessment</a:t>
            </a:r>
          </a:p>
        </p:txBody>
      </p:sp>
      <p:sp>
        <p:nvSpPr>
          <p:cNvPr id="15" name="Flowchart: Connector 14">
            <a:extLst>
              <a:ext uri="{FF2B5EF4-FFF2-40B4-BE49-F238E27FC236}">
                <a16:creationId xmlns:a16="http://schemas.microsoft.com/office/drawing/2014/main" id="{118F51FE-FC01-3FA7-F009-CF92B097BE5D}"/>
              </a:ext>
            </a:extLst>
          </p:cNvPr>
          <p:cNvSpPr/>
          <p:nvPr/>
        </p:nvSpPr>
        <p:spPr bwMode="gray">
          <a:xfrm>
            <a:off x="3625393" y="4422163"/>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7" name="Flowchart: Connector 16">
            <a:extLst>
              <a:ext uri="{FF2B5EF4-FFF2-40B4-BE49-F238E27FC236}">
                <a16:creationId xmlns:a16="http://schemas.microsoft.com/office/drawing/2014/main" id="{1B994640-3DD2-3B34-E066-DF16BFB2E55E}"/>
              </a:ext>
            </a:extLst>
          </p:cNvPr>
          <p:cNvSpPr/>
          <p:nvPr/>
        </p:nvSpPr>
        <p:spPr bwMode="gray">
          <a:xfrm>
            <a:off x="7321584" y="443830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3" name="Freeform 859">
            <a:extLst>
              <a:ext uri="{FF2B5EF4-FFF2-40B4-BE49-F238E27FC236}">
                <a16:creationId xmlns:a16="http://schemas.microsoft.com/office/drawing/2014/main" id="{B9FCD103-75D7-8258-438F-62B8F76731AB}"/>
              </a:ext>
            </a:extLst>
          </p:cNvPr>
          <p:cNvSpPr>
            <a:spLocks noChangeAspect="1" noEditPoints="1"/>
          </p:cNvSpPr>
          <p:nvPr/>
        </p:nvSpPr>
        <p:spPr bwMode="auto">
          <a:xfrm>
            <a:off x="7268859" y="1898529"/>
            <a:ext cx="489164" cy="489164"/>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Calibri Light"/>
              </a:rPr>
              <a:t>Cyber Credential</a:t>
            </a:r>
            <a:r>
              <a:rPr kumimoji="0" lang="hu-HU" sz="2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Calibri Light"/>
              </a:rPr>
              <a:t>s</a:t>
            </a:r>
            <a:r>
              <a:rPr kumimoji="0" lang="en-US" sz="28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Calibri Light"/>
              </a:rPr>
              <a:t> </a:t>
            </a:r>
          </a:p>
        </p:txBody>
      </p:sp>
      <p:grpSp>
        <p:nvGrpSpPr>
          <p:cNvPr id="114" name="Group 531">
            <a:extLst>
              <a:ext uri="{FF2B5EF4-FFF2-40B4-BE49-F238E27FC236}">
                <a16:creationId xmlns:a16="http://schemas.microsoft.com/office/drawing/2014/main" id="{998E9E98-4119-C121-A47C-BF63EE46F05E}"/>
              </a:ext>
            </a:extLst>
          </p:cNvPr>
          <p:cNvGrpSpPr>
            <a:grpSpLocks noChangeAspect="1"/>
          </p:cNvGrpSpPr>
          <p:nvPr/>
        </p:nvGrpSpPr>
        <p:grpSpPr bwMode="auto">
          <a:xfrm>
            <a:off x="11084469" y="1866320"/>
            <a:ext cx="489164" cy="489164"/>
            <a:chOff x="3061" y="1953"/>
            <a:chExt cx="340" cy="340"/>
          </a:xfrm>
          <a:solidFill>
            <a:srgbClr val="00B0F2"/>
          </a:solidFill>
        </p:grpSpPr>
        <p:sp>
          <p:nvSpPr>
            <p:cNvPr id="115" name="Freeform 532">
              <a:extLst>
                <a:ext uri="{FF2B5EF4-FFF2-40B4-BE49-F238E27FC236}">
                  <a16:creationId xmlns:a16="http://schemas.microsoft.com/office/drawing/2014/main" id="{3BD39623-5A72-6153-8D42-EE81ED9260E9}"/>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6" name="Freeform 533">
              <a:extLst>
                <a:ext uri="{FF2B5EF4-FFF2-40B4-BE49-F238E27FC236}">
                  <a16:creationId xmlns:a16="http://schemas.microsoft.com/office/drawing/2014/main" id="{4685D9A1-8726-6BDC-AEE0-745937DA3AC3}"/>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11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3591661" y="4374394"/>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9" name="Freeform 787">
            <a:extLst>
              <a:ext uri="{FF2B5EF4-FFF2-40B4-BE49-F238E27FC236}">
                <a16:creationId xmlns:a16="http://schemas.microsoft.com/office/drawing/2014/main" id="{EC37AA83-FED1-8BEE-3FDC-E447523C38A9}"/>
              </a:ext>
            </a:extLst>
          </p:cNvPr>
          <p:cNvSpPr>
            <a:spLocks noChangeAspect="1" noEditPoints="1"/>
          </p:cNvSpPr>
          <p:nvPr/>
        </p:nvSpPr>
        <p:spPr bwMode="auto">
          <a:xfrm>
            <a:off x="7269281" y="4392499"/>
            <a:ext cx="493776" cy="493776"/>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nvGrpSpPr>
          <p:cNvPr id="140" name="Group 139">
            <a:extLst>
              <a:ext uri="{FF2B5EF4-FFF2-40B4-BE49-F238E27FC236}">
                <a16:creationId xmlns:a16="http://schemas.microsoft.com/office/drawing/2014/main" id="{C79B309A-F06F-DFD2-8996-00CF064F4E23}"/>
              </a:ext>
            </a:extLst>
          </p:cNvPr>
          <p:cNvGrpSpPr/>
          <p:nvPr/>
        </p:nvGrpSpPr>
        <p:grpSpPr>
          <a:xfrm>
            <a:off x="5859071" y="5909130"/>
            <a:ext cx="1704190" cy="294568"/>
            <a:chOff x="5859071" y="5990610"/>
            <a:chExt cx="1704190" cy="294568"/>
          </a:xfrm>
        </p:grpSpPr>
        <p:sp>
          <p:nvSpPr>
            <p:cNvPr id="4" name="Rectangle: Rounded Corners 3">
              <a:extLst>
                <a:ext uri="{FF2B5EF4-FFF2-40B4-BE49-F238E27FC236}">
                  <a16:creationId xmlns:a16="http://schemas.microsoft.com/office/drawing/2014/main" id="{877049C1-056B-A9DA-71CA-B53FF0283C38}"/>
                </a:ext>
              </a:extLst>
            </p:cNvPr>
            <p:cNvSpPr/>
            <p:nvPr/>
          </p:nvSpPr>
          <p:spPr bwMode="gray">
            <a:xfrm>
              <a:off x="5859071" y="599061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9A993CCD-8450-FD57-88FA-FB759A6CB07C}"/>
                </a:ext>
              </a:extLst>
            </p:cNvPr>
            <p:cNvSpPr txBox="1"/>
            <p:nvPr/>
          </p:nvSpPr>
          <p:spPr>
            <a:xfrm>
              <a:off x="5976469" y="6038956"/>
              <a:ext cx="1553247"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INNOVATION &amp; IT STRATEGY</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Relating Subchapter</a:t>
            </a:r>
            <a:endParaRPr kumimoji="0" lang="en-US" sz="7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2" name="Group 21">
            <a:extLst>
              <a:ext uri="{FF2B5EF4-FFF2-40B4-BE49-F238E27FC236}">
                <a16:creationId xmlns:a16="http://schemas.microsoft.com/office/drawing/2014/main" id="{68CAB38A-8D40-D640-8DBC-A743DCC161D4}"/>
              </a:ext>
            </a:extLst>
          </p:cNvPr>
          <p:cNvGrpSpPr/>
          <p:nvPr/>
        </p:nvGrpSpPr>
        <p:grpSpPr>
          <a:xfrm>
            <a:off x="2050976" y="3437957"/>
            <a:ext cx="1704190" cy="306056"/>
            <a:chOff x="2050976" y="3519440"/>
            <a:chExt cx="1704190" cy="306056"/>
          </a:xfrm>
        </p:grpSpPr>
        <p:sp>
          <p:nvSpPr>
            <p:cNvPr id="18" name="Rectangle: Rounded Corners 17">
              <a:extLst>
                <a:ext uri="{FF2B5EF4-FFF2-40B4-BE49-F238E27FC236}">
                  <a16:creationId xmlns:a16="http://schemas.microsoft.com/office/drawing/2014/main" id="{5FBED754-A311-3D18-C57B-0CD5A35A1707}"/>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CB5E46A5-34D1-0CFA-C99E-7F55BA48EDCE}"/>
                </a:ext>
              </a:extLst>
            </p:cNvPr>
            <p:cNvSpPr txBox="1"/>
            <p:nvPr/>
          </p:nvSpPr>
          <p:spPr>
            <a:xfrm>
              <a:off x="2340188" y="3579274"/>
              <a:ext cx="1285514"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STRATEGIC PLANNING</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grpSp>
        <p:nvGrpSpPr>
          <p:cNvPr id="28" name="Group 27">
            <a:extLst>
              <a:ext uri="{FF2B5EF4-FFF2-40B4-BE49-F238E27FC236}">
                <a16:creationId xmlns:a16="http://schemas.microsoft.com/office/drawing/2014/main" id="{96FB327C-C17C-4380-8805-6E438035EA3F}"/>
              </a:ext>
            </a:extLst>
          </p:cNvPr>
          <p:cNvGrpSpPr/>
          <p:nvPr/>
        </p:nvGrpSpPr>
        <p:grpSpPr>
          <a:xfrm>
            <a:off x="5825526" y="3456067"/>
            <a:ext cx="1704190" cy="306056"/>
            <a:chOff x="2050976" y="3519440"/>
            <a:chExt cx="1704190" cy="306056"/>
          </a:xfrm>
        </p:grpSpPr>
        <p:sp>
          <p:nvSpPr>
            <p:cNvPr id="29" name="Rectangle: Rounded Corners 28">
              <a:extLst>
                <a:ext uri="{FF2B5EF4-FFF2-40B4-BE49-F238E27FC236}">
                  <a16:creationId xmlns:a16="http://schemas.microsoft.com/office/drawing/2014/main" id="{197BE939-FFED-D312-00AB-C4FA5C5D7502}"/>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923516F6-3995-36A0-E077-F055815AE3ED}"/>
                </a:ext>
              </a:extLst>
            </p:cNvPr>
            <p:cNvSpPr txBox="1"/>
            <p:nvPr/>
          </p:nvSpPr>
          <p:spPr>
            <a:xfrm>
              <a:off x="2340188" y="3579274"/>
              <a:ext cx="1285514"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STRATEGIC PLANNING</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grpSp>
        <p:nvGrpSpPr>
          <p:cNvPr id="41" name="Group 40">
            <a:extLst>
              <a:ext uri="{FF2B5EF4-FFF2-40B4-BE49-F238E27FC236}">
                <a16:creationId xmlns:a16="http://schemas.microsoft.com/office/drawing/2014/main" id="{D53AB8F9-4F81-B63E-10AB-5ED42F4CFE47}"/>
              </a:ext>
            </a:extLst>
          </p:cNvPr>
          <p:cNvGrpSpPr/>
          <p:nvPr/>
        </p:nvGrpSpPr>
        <p:grpSpPr>
          <a:xfrm>
            <a:off x="9664717" y="3456066"/>
            <a:ext cx="1704190" cy="306056"/>
            <a:chOff x="2050976" y="3519440"/>
            <a:chExt cx="1704190" cy="306056"/>
          </a:xfrm>
        </p:grpSpPr>
        <p:sp>
          <p:nvSpPr>
            <p:cNvPr id="50" name="Rectangle: Rounded Corners 49">
              <a:extLst>
                <a:ext uri="{FF2B5EF4-FFF2-40B4-BE49-F238E27FC236}">
                  <a16:creationId xmlns:a16="http://schemas.microsoft.com/office/drawing/2014/main" id="{0DAFFFD7-A61E-80D2-B08C-171D1F8EB654}"/>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2" name="TextBox 111">
              <a:extLst>
                <a:ext uri="{FF2B5EF4-FFF2-40B4-BE49-F238E27FC236}">
                  <a16:creationId xmlns:a16="http://schemas.microsoft.com/office/drawing/2014/main" id="{1DD0F3F4-7930-EFF4-D69D-E51AEDA97A8A}"/>
                </a:ext>
              </a:extLst>
            </p:cNvPr>
            <p:cNvSpPr txBox="1"/>
            <p:nvPr/>
          </p:nvSpPr>
          <p:spPr>
            <a:xfrm>
              <a:off x="2340188" y="3579274"/>
              <a:ext cx="1285514"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STRATEGIC PLANNING</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grpSp>
        <p:nvGrpSpPr>
          <p:cNvPr id="117" name="Group 116">
            <a:extLst>
              <a:ext uri="{FF2B5EF4-FFF2-40B4-BE49-F238E27FC236}">
                <a16:creationId xmlns:a16="http://schemas.microsoft.com/office/drawing/2014/main" id="{9EA74805-9A71-D495-4F29-6D6AA964B954}"/>
              </a:ext>
            </a:extLst>
          </p:cNvPr>
          <p:cNvGrpSpPr/>
          <p:nvPr/>
        </p:nvGrpSpPr>
        <p:grpSpPr>
          <a:xfrm>
            <a:off x="2114396" y="5862159"/>
            <a:ext cx="1704190" cy="306056"/>
            <a:chOff x="2050976" y="3519440"/>
            <a:chExt cx="1704190" cy="306056"/>
          </a:xfrm>
        </p:grpSpPr>
        <p:sp>
          <p:nvSpPr>
            <p:cNvPr id="120" name="Rectangle: Rounded Corners 119">
              <a:extLst>
                <a:ext uri="{FF2B5EF4-FFF2-40B4-BE49-F238E27FC236}">
                  <a16:creationId xmlns:a16="http://schemas.microsoft.com/office/drawing/2014/main" id="{540BF639-F134-B6A6-C8DC-CACB2F4664C3}"/>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21" name="TextBox 120">
              <a:extLst>
                <a:ext uri="{FF2B5EF4-FFF2-40B4-BE49-F238E27FC236}">
                  <a16:creationId xmlns:a16="http://schemas.microsoft.com/office/drawing/2014/main" id="{05202514-2B2E-DAC6-E5FC-C0538CF5CC91}"/>
                </a:ext>
              </a:extLst>
            </p:cNvPr>
            <p:cNvSpPr txBox="1"/>
            <p:nvPr/>
          </p:nvSpPr>
          <p:spPr>
            <a:xfrm>
              <a:off x="2340188" y="3579274"/>
              <a:ext cx="1285514" cy="246222"/>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STRATEGIC PLANNING</a:t>
              </a:r>
              <a:endParaRPr kumimoji="0" lang="en-US" sz="800" b="1" i="0" u="none" strike="noStrike" kern="1200" cap="none" spc="0" normalizeH="0" baseline="0" noProof="0" dirty="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grpSp>
      <p:cxnSp>
        <p:nvCxnSpPr>
          <p:cNvPr id="127" name="Straight Connector 126">
            <a:extLst>
              <a:ext uri="{FF2B5EF4-FFF2-40B4-BE49-F238E27FC236}">
                <a16:creationId xmlns:a16="http://schemas.microsoft.com/office/drawing/2014/main" id="{2EF9A407-39B6-A6A8-1433-F0E7FE122460}"/>
              </a:ext>
            </a:extLst>
          </p:cNvPr>
          <p:cNvCxnSpPr>
            <a:cxnSpLocks/>
          </p:cNvCxnSpPr>
          <p:nvPr/>
        </p:nvCxnSpPr>
        <p:spPr>
          <a:xfrm>
            <a:off x="4613950"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F6720CED-99DC-CB5D-9D77-BC1B3A169F99}"/>
              </a:ext>
            </a:extLst>
          </p:cNvPr>
          <p:cNvSpPr txBox="1"/>
          <p:nvPr/>
        </p:nvSpPr>
        <p:spPr>
          <a:xfrm>
            <a:off x="4738307" y="2291419"/>
            <a:ext cx="2661945" cy="461037"/>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Various / Confidential</a:t>
            </a:r>
          </a:p>
        </p:txBody>
      </p:sp>
      <p:sp>
        <p:nvSpPr>
          <p:cNvPr id="129" name="TextBox 128">
            <a:extLst>
              <a:ext uri="{FF2B5EF4-FFF2-40B4-BE49-F238E27FC236}">
                <a16:creationId xmlns:a16="http://schemas.microsoft.com/office/drawing/2014/main" id="{7D51D67F-A064-D48F-02D5-A2115A22C22D}"/>
              </a:ext>
            </a:extLst>
          </p:cNvPr>
          <p:cNvSpPr txBox="1"/>
          <p:nvPr/>
        </p:nvSpPr>
        <p:spPr>
          <a:xfrm>
            <a:off x="1090348" y="2760104"/>
            <a:ext cx="2846482" cy="58876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In the recent years we hav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delivered numerous penetration tests to various clients</a:t>
            </a:r>
          </a:p>
        </p:txBody>
      </p:sp>
      <p:sp>
        <p:nvSpPr>
          <p:cNvPr id="130" name="TextBox 129">
            <a:extLst>
              <a:ext uri="{FF2B5EF4-FFF2-40B4-BE49-F238E27FC236}">
                <a16:creationId xmlns:a16="http://schemas.microsoft.com/office/drawing/2014/main" id="{32427F07-1165-8065-82F9-CA0CDD6AB2E4}"/>
              </a:ext>
            </a:extLst>
          </p:cNvPr>
          <p:cNvSpPr txBox="1"/>
          <p:nvPr/>
        </p:nvSpPr>
        <p:spPr>
          <a:xfrm>
            <a:off x="4738307" y="2759534"/>
            <a:ext cx="2846482" cy="540369"/>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Deloitte Cyber team ha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onducted numerous red teaming exercise for clients in various sectors.</a:t>
            </a:r>
          </a:p>
        </p:txBody>
      </p:sp>
      <p:sp>
        <p:nvSpPr>
          <p:cNvPr id="131" name="TextBox 130">
            <a:extLst>
              <a:ext uri="{FF2B5EF4-FFF2-40B4-BE49-F238E27FC236}">
                <a16:creationId xmlns:a16="http://schemas.microsoft.com/office/drawing/2014/main" id="{1DE503B6-64D8-56D0-9D0F-DD6BFBA4223D}"/>
              </a:ext>
            </a:extLst>
          </p:cNvPr>
          <p:cNvSpPr txBox="1"/>
          <p:nvPr/>
        </p:nvSpPr>
        <p:spPr>
          <a:xfrm>
            <a:off x="8593375" y="2291419"/>
            <a:ext cx="2550479" cy="461037"/>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Various / Confidential</a:t>
            </a:r>
          </a:p>
        </p:txBody>
      </p:sp>
      <p:sp>
        <p:nvSpPr>
          <p:cNvPr id="132" name="TextBox 131">
            <a:extLst>
              <a:ext uri="{FF2B5EF4-FFF2-40B4-BE49-F238E27FC236}">
                <a16:creationId xmlns:a16="http://schemas.microsoft.com/office/drawing/2014/main" id="{748F356F-14FC-73F3-6889-DE993372BB76}"/>
              </a:ext>
            </a:extLst>
          </p:cNvPr>
          <p:cNvSpPr txBox="1"/>
          <p:nvPr/>
        </p:nvSpPr>
        <p:spPr>
          <a:xfrm>
            <a:off x="8588867" y="2759534"/>
            <a:ext cx="2846482" cy="540369"/>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 We have delivered not only IT</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but OT related penetration test services in the recent years .</a:t>
            </a:r>
          </a:p>
        </p:txBody>
      </p:sp>
      <p:sp>
        <p:nvSpPr>
          <p:cNvPr id="133" name="TextBox 132">
            <a:extLst>
              <a:ext uri="{FF2B5EF4-FFF2-40B4-BE49-F238E27FC236}">
                <a16:creationId xmlns:a16="http://schemas.microsoft.com/office/drawing/2014/main" id="{C2238001-CA4F-1971-125E-243024A38685}"/>
              </a:ext>
            </a:extLst>
          </p:cNvPr>
          <p:cNvSpPr txBox="1"/>
          <p:nvPr/>
        </p:nvSpPr>
        <p:spPr>
          <a:xfrm>
            <a:off x="1090348" y="4784612"/>
            <a:ext cx="2598774" cy="382825"/>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Regional manufacturing company</a:t>
            </a:r>
          </a:p>
        </p:txBody>
      </p:sp>
      <p:sp>
        <p:nvSpPr>
          <p:cNvPr id="134" name="TextBox 133">
            <a:extLst>
              <a:ext uri="{FF2B5EF4-FFF2-40B4-BE49-F238E27FC236}">
                <a16:creationId xmlns:a16="http://schemas.microsoft.com/office/drawing/2014/main" id="{F0EA7E86-F4C0-3CFF-AC73-4A092F285551}"/>
              </a:ext>
            </a:extLst>
          </p:cNvPr>
          <p:cNvSpPr txBox="1"/>
          <p:nvPr/>
        </p:nvSpPr>
        <p:spPr>
          <a:xfrm>
            <a:off x="1090348" y="5244244"/>
            <a:ext cx="2846482" cy="58876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We delivered a cyber maturity assessment and roadmap to our Client. </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endParaRPr>
          </a:p>
        </p:txBody>
      </p:sp>
      <p:cxnSp>
        <p:nvCxnSpPr>
          <p:cNvPr id="135" name="Straight Connector 134">
            <a:extLst>
              <a:ext uri="{FF2B5EF4-FFF2-40B4-BE49-F238E27FC236}">
                <a16:creationId xmlns:a16="http://schemas.microsoft.com/office/drawing/2014/main" id="{1C7C2558-6F06-5E53-5FB0-9CEC94957BBE}"/>
              </a:ext>
            </a:extLst>
          </p:cNvPr>
          <p:cNvCxnSpPr>
            <a:cxnSpLocks/>
          </p:cNvCxnSpPr>
          <p:nvPr/>
        </p:nvCxnSpPr>
        <p:spPr>
          <a:xfrm>
            <a:off x="8423255"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91018F2B-F2E7-C723-66B4-FC4EAB1B335D}"/>
              </a:ext>
            </a:extLst>
          </p:cNvPr>
          <p:cNvCxnSpPr>
            <a:cxnSpLocks/>
          </p:cNvCxnSpPr>
          <p:nvPr/>
        </p:nvCxnSpPr>
        <p:spPr>
          <a:xfrm>
            <a:off x="935688" y="4501447"/>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761E0D26-2B09-083E-F165-D291810B0394}"/>
              </a:ext>
            </a:extLst>
          </p:cNvPr>
          <p:cNvSpPr txBox="1"/>
          <p:nvPr/>
        </p:nvSpPr>
        <p:spPr>
          <a:xfrm>
            <a:off x="4763452" y="4784612"/>
            <a:ext cx="2766264" cy="382825"/>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CLIEN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German automotive client</a:t>
            </a:r>
          </a:p>
        </p:txBody>
      </p:sp>
      <p:sp>
        <p:nvSpPr>
          <p:cNvPr id="138" name="TextBox 137">
            <a:extLst>
              <a:ext uri="{FF2B5EF4-FFF2-40B4-BE49-F238E27FC236}">
                <a16:creationId xmlns:a16="http://schemas.microsoft.com/office/drawing/2014/main" id="{04ED30F6-4CA3-3C1E-20FE-A82BD76084A8}"/>
              </a:ext>
            </a:extLst>
          </p:cNvPr>
          <p:cNvSpPr txBox="1"/>
          <p:nvPr/>
        </p:nvSpPr>
        <p:spPr>
          <a:xfrm>
            <a:off x="4763453" y="5244244"/>
            <a:ext cx="2846482" cy="58876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AIM OF THE PROJECT: </a:t>
            </a:r>
            <a:r>
              <a:rPr kumimoji="0" lang="en-US" sz="900" b="0" i="0" u="none" strike="noStrike" kern="1200" cap="none" spc="0" normalizeH="0" baseline="0" noProof="0" dirty="0">
                <a:ln>
                  <a:noFill/>
                </a:ln>
                <a:solidFill>
                  <a:prstClr val="black"/>
                </a:solidFill>
                <a:effectLst/>
                <a:uLnTx/>
                <a:uFillTx/>
                <a:latin typeface="Open Sans"/>
                <a:ea typeface="Open Sans Light" panose="020B0306030504020204" pitchFamily="34" charset="0"/>
                <a:cs typeface="Open Sans Light" panose="020B0306030504020204" pitchFamily="34" charset="0"/>
              </a:rPr>
              <a:t>Delivered Threat Analyses and Risk Assessment based on ISO/SAE 21434 . </a:t>
            </a:r>
          </a:p>
        </p:txBody>
      </p:sp>
      <p:cxnSp>
        <p:nvCxnSpPr>
          <p:cNvPr id="139" name="Straight Connector 138">
            <a:extLst>
              <a:ext uri="{FF2B5EF4-FFF2-40B4-BE49-F238E27FC236}">
                <a16:creationId xmlns:a16="http://schemas.microsoft.com/office/drawing/2014/main" id="{6F83FBA3-7B36-E95B-0BD4-BB45A2F39A8A}"/>
              </a:ext>
            </a:extLst>
          </p:cNvPr>
          <p:cNvCxnSpPr>
            <a:cxnSpLocks/>
          </p:cNvCxnSpPr>
          <p:nvPr/>
        </p:nvCxnSpPr>
        <p:spPr>
          <a:xfrm>
            <a:off x="4607032" y="4501447"/>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technical cyber security projects and services</a:t>
            </a:r>
          </a:p>
        </p:txBody>
      </p:sp>
    </p:spTree>
    <p:extLst>
      <p:ext uri="{BB962C8B-B14F-4D97-AF65-F5344CB8AC3E}">
        <p14:creationId xmlns:p14="http://schemas.microsoft.com/office/powerpoint/2010/main" val="389550274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3C0F13F-7E46-10D1-1FFB-6B3E78CC1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6" name="think-cell data - do not delete" hidden="1">
                        <a:extLst>
                          <a:ext uri="{FF2B5EF4-FFF2-40B4-BE49-F238E27FC236}">
                            <a16:creationId xmlns:a16="http://schemas.microsoft.com/office/drawing/2014/main" id="{83C0F13F-7E46-10D1-1FFB-6B3E78CC1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E47C59D-6CDA-4AAF-8F55-AEA99127E076}"/>
              </a:ext>
            </a:extLst>
          </p:cNvPr>
          <p:cNvSpPr>
            <a:spLocks noGrp="1"/>
          </p:cNvSpPr>
          <p:nvPr>
            <p:ph type="body" sz="quarter" idx="22"/>
          </p:nvPr>
        </p:nvSpPr>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lementing DevOps practices for agile software development is one of Deloitte</a:t>
            </a:r>
            <a:r>
              <a:rPr lang="hu-HU"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 key capabilities</a:t>
            </a:r>
            <a:endParaRPr lang="en-US" dirty="0"/>
          </a:p>
        </p:txBody>
      </p:sp>
      <p:sp>
        <p:nvSpPr>
          <p:cNvPr id="3" name="Title 2">
            <a:extLst>
              <a:ext uri="{FF2B5EF4-FFF2-40B4-BE49-F238E27FC236}">
                <a16:creationId xmlns:a16="http://schemas.microsoft.com/office/drawing/2014/main" id="{2EA41D89-0305-437C-A594-9E2C8586FECB}"/>
              </a:ext>
            </a:extLst>
          </p:cNvPr>
          <p:cNvSpPr>
            <a:spLocks noGrp="1"/>
          </p:cNvSpPr>
          <p:nvPr>
            <p:ph type="title"/>
          </p:nvPr>
        </p:nvSpPr>
        <p:spPr/>
        <p:txBody>
          <a:bodyPr vert="horz"/>
          <a:lstStyle/>
          <a:p>
            <a:r>
              <a:rPr kumimoji="0" lang="en-US" sz="2800" b="0" i="0" u="none" strike="noStrike" kern="1200" cap="none" spc="0" normalizeH="0" baseline="0">
                <a:ln>
                  <a:noFill/>
                </a:ln>
                <a:solidFill>
                  <a:prstClr val="black"/>
                </a:solidFill>
                <a:effectLst/>
                <a:uLnTx/>
                <a:uFillTx/>
                <a:latin typeface="Open Sans Light"/>
                <a:ea typeface="+mj-ea"/>
                <a:cs typeface="Calibri Light"/>
              </a:rPr>
              <a:t>DevOps</a:t>
            </a:r>
            <a:endParaRPr lang="en-US"/>
          </a:p>
        </p:txBody>
      </p:sp>
      <p:sp>
        <p:nvSpPr>
          <p:cNvPr id="11" name="Rectangle 10">
            <a:extLst>
              <a:ext uri="{FF2B5EF4-FFF2-40B4-BE49-F238E27FC236}">
                <a16:creationId xmlns:a16="http://schemas.microsoft.com/office/drawing/2014/main" id="{6CA9218E-1813-1ADA-BFF1-8710F3B9F09E}"/>
              </a:ext>
            </a:extLst>
          </p:cNvPr>
          <p:cNvSpPr/>
          <p:nvPr/>
        </p:nvSpPr>
        <p:spPr>
          <a:xfrm>
            <a:off x="479296" y="1836563"/>
            <a:ext cx="5540504" cy="2416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Development + Operations = DevOps</a:t>
            </a:r>
          </a:p>
        </p:txBody>
      </p:sp>
      <p:pic>
        <p:nvPicPr>
          <p:cNvPr id="13" name="Picture 12">
            <a:extLst>
              <a:ext uri="{FF2B5EF4-FFF2-40B4-BE49-F238E27FC236}">
                <a16:creationId xmlns:a16="http://schemas.microsoft.com/office/drawing/2014/main" id="{AF308F3C-1272-3479-BD2F-A460CB69E7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13523" y="4666364"/>
            <a:ext cx="3625555" cy="1734296"/>
          </a:xfrm>
          <a:prstGeom prst="rect">
            <a:avLst/>
          </a:prstGeom>
          <a:ln>
            <a:solidFill>
              <a:schemeClr val="tx1">
                <a:lumMod val="50000"/>
                <a:lumOff val="50000"/>
              </a:schemeClr>
            </a:solidFill>
          </a:ln>
        </p:spPr>
      </p:pic>
      <p:graphicFrame>
        <p:nvGraphicFramePr>
          <p:cNvPr id="40" name="Table 39">
            <a:extLst>
              <a:ext uri="{FF2B5EF4-FFF2-40B4-BE49-F238E27FC236}">
                <a16:creationId xmlns:a16="http://schemas.microsoft.com/office/drawing/2014/main" id="{3EEBEA84-48F1-78B0-4CD0-D4DE24544FBC}"/>
              </a:ext>
            </a:extLst>
          </p:cNvPr>
          <p:cNvGraphicFramePr>
            <a:graphicFrameLocks noGrp="1"/>
          </p:cNvGraphicFramePr>
          <p:nvPr/>
        </p:nvGraphicFramePr>
        <p:xfrm>
          <a:off x="6182127" y="1997976"/>
          <a:ext cx="5530577" cy="3310624"/>
        </p:xfrm>
        <a:graphic>
          <a:graphicData uri="http://schemas.openxmlformats.org/drawingml/2006/table">
            <a:tbl>
              <a:tblPr firstRow="1" bandRow="1">
                <a:tableStyleId>{5C22544A-7EE6-4342-B048-85BDC9FD1C3A}</a:tableStyleId>
              </a:tblPr>
              <a:tblGrid>
                <a:gridCol w="1757913">
                  <a:extLst>
                    <a:ext uri="{9D8B030D-6E8A-4147-A177-3AD203B41FA5}">
                      <a16:colId xmlns:a16="http://schemas.microsoft.com/office/drawing/2014/main" val="20000"/>
                    </a:ext>
                  </a:extLst>
                </a:gridCol>
                <a:gridCol w="1989022">
                  <a:extLst>
                    <a:ext uri="{9D8B030D-6E8A-4147-A177-3AD203B41FA5}">
                      <a16:colId xmlns:a16="http://schemas.microsoft.com/office/drawing/2014/main" val="20001"/>
                    </a:ext>
                  </a:extLst>
                </a:gridCol>
                <a:gridCol w="1783642">
                  <a:extLst>
                    <a:ext uri="{9D8B030D-6E8A-4147-A177-3AD203B41FA5}">
                      <a16:colId xmlns:a16="http://schemas.microsoft.com/office/drawing/2014/main" val="20002"/>
                    </a:ext>
                  </a:extLst>
                </a:gridCol>
              </a:tblGrid>
              <a:tr h="433172">
                <a:tc>
                  <a:txBody>
                    <a:bodyPr/>
                    <a:lstStyle/>
                    <a:p>
                      <a:pPr algn="l"/>
                      <a:r>
                        <a:rPr lang="en-US" sz="1000" b="1" dirty="0">
                          <a:solidFill>
                            <a:schemeClr val="tx1"/>
                          </a:solidFill>
                          <a:latin typeface="+mj-lt"/>
                        </a:rPr>
                        <a:t>Technology</a:t>
                      </a:r>
                    </a:p>
                  </a:txBody>
                  <a:tcPr marL="365760" marR="45720" marT="9144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000" b="1" dirty="0">
                          <a:solidFill>
                            <a:schemeClr val="tx1"/>
                          </a:solidFill>
                          <a:latin typeface="+mj-lt"/>
                        </a:rPr>
                        <a:t>Process</a:t>
                      </a:r>
                    </a:p>
                  </a:txBody>
                  <a:tcPr marL="365760" marR="45720" marT="9144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000" b="1" dirty="0">
                          <a:solidFill>
                            <a:schemeClr val="tx1"/>
                          </a:solidFill>
                          <a:latin typeface="+mj-lt"/>
                        </a:rPr>
                        <a:t>Business</a:t>
                      </a:r>
                    </a:p>
                  </a:txBody>
                  <a:tcPr marL="365760" marR="45720" marT="9144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77452">
                <a:tc>
                  <a:txBody>
                    <a:bodyPr/>
                    <a:lstStyle/>
                    <a:p>
                      <a:pPr marL="91440" indent="-91440">
                        <a:buFont typeface="Arial" panose="020B0604020202020204" pitchFamily="34" charset="0"/>
                        <a:buChar char="•"/>
                      </a:pPr>
                      <a:r>
                        <a:rPr lang="en-US" sz="1000" b="1" dirty="0">
                          <a:latin typeface="+mj-lt"/>
                        </a:rPr>
                        <a:t>Scaled Capacity </a:t>
                      </a:r>
                      <a:r>
                        <a:rPr lang="en-US" sz="1000" dirty="0">
                          <a:latin typeface="+mj-lt"/>
                        </a:rPr>
                        <a:t>– Operate more apps </a:t>
                      </a:r>
                      <a:r>
                        <a:rPr lang="en-US" sz="1000" dirty="0">
                          <a:solidFill>
                            <a:schemeClr val="tx1"/>
                          </a:solidFill>
                          <a:latin typeface="+mj-lt"/>
                        </a:rPr>
                        <a:t>at the same cost</a:t>
                      </a:r>
                      <a:r>
                        <a:rPr lang="en-US" sz="1000" baseline="0" dirty="0">
                          <a:solidFill>
                            <a:schemeClr val="tx1"/>
                          </a:solidFill>
                          <a:latin typeface="+mj-lt"/>
                        </a:rPr>
                        <a:t> &amp; </a:t>
                      </a:r>
                      <a:r>
                        <a:rPr lang="en-US" sz="1000" dirty="0">
                          <a:solidFill>
                            <a:schemeClr val="tx1"/>
                          </a:solidFill>
                          <a:latin typeface="+mj-lt"/>
                        </a:rPr>
                        <a:t>better SLAs</a:t>
                      </a:r>
                    </a:p>
                    <a:p>
                      <a:pPr marL="91440" indent="-91440">
                        <a:buFont typeface="Arial" panose="020B0604020202020204" pitchFamily="34" charset="0"/>
                        <a:buChar char="•"/>
                      </a:pPr>
                      <a:r>
                        <a:rPr lang="en-US" sz="1000" b="1" dirty="0">
                          <a:latin typeface="+mj-lt"/>
                        </a:rPr>
                        <a:t>Optimized Continuous Delivery Environments</a:t>
                      </a:r>
                      <a:r>
                        <a:rPr lang="en-US" sz="1000" dirty="0">
                          <a:latin typeface="+mj-lt"/>
                        </a:rPr>
                        <a:t> – Right-sized &amp; standardized, less wait times, more stability, optimized usage, reduced costs (hardware, software &amp; people)</a:t>
                      </a:r>
                    </a:p>
                    <a:p>
                      <a:pPr marL="91440" indent="-91440">
                        <a:buFont typeface="Arial" panose="020B0604020202020204" pitchFamily="34" charset="0"/>
                        <a:buChar char="•"/>
                      </a:pPr>
                      <a:r>
                        <a:rPr lang="en-US" sz="1000" b="1" dirty="0">
                          <a:latin typeface="+mj-lt"/>
                        </a:rPr>
                        <a:t>Release Ready </a:t>
                      </a:r>
                      <a:r>
                        <a:rPr lang="en-US" sz="1000" dirty="0">
                          <a:latin typeface="+mj-lt"/>
                        </a:rPr>
                        <a:t>– Better code quality, always-available deployable pipelines</a:t>
                      </a:r>
                    </a:p>
                  </a:txBody>
                  <a:tcPr marL="45720" marR="45720">
                    <a:lnL w="12700" cmpd="sng">
                      <a:noFill/>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91440" indent="-91440">
                        <a:buFont typeface="Arial" panose="020B0604020202020204" pitchFamily="34" charset="0"/>
                        <a:buChar char="•"/>
                      </a:pPr>
                      <a:r>
                        <a:rPr lang="en-US" sz="1000" b="1" dirty="0">
                          <a:latin typeface="+mj-lt"/>
                        </a:rPr>
                        <a:t>Rapid Iteration </a:t>
                      </a:r>
                      <a:r>
                        <a:rPr lang="en-US" sz="1000" dirty="0">
                          <a:latin typeface="+mj-lt"/>
                        </a:rPr>
                        <a:t>– Increased builds</a:t>
                      </a:r>
                      <a:r>
                        <a:rPr lang="en-US" sz="1000" baseline="0" dirty="0">
                          <a:latin typeface="+mj-lt"/>
                        </a:rPr>
                        <a:t> &amp;</a:t>
                      </a:r>
                      <a:r>
                        <a:rPr lang="en-US" sz="1000" dirty="0">
                          <a:latin typeface="+mj-lt"/>
                        </a:rPr>
                        <a:t> shift-left testing allows early failures to </a:t>
                      </a:r>
                      <a:r>
                        <a:rPr lang="en-US" sz="1000" dirty="0">
                          <a:solidFill>
                            <a:schemeClr val="tx1"/>
                          </a:solidFill>
                          <a:latin typeface="+mj-lt"/>
                        </a:rPr>
                        <a:t>become future </a:t>
                      </a:r>
                      <a:r>
                        <a:rPr lang="en-US" sz="1000" dirty="0">
                          <a:latin typeface="+mj-lt"/>
                        </a:rPr>
                        <a:t>successes</a:t>
                      </a:r>
                    </a:p>
                    <a:p>
                      <a:pPr marL="91440" indent="-91440">
                        <a:buFont typeface="Arial" panose="020B0604020202020204" pitchFamily="34" charset="0"/>
                        <a:buChar char="•"/>
                      </a:pPr>
                      <a:r>
                        <a:rPr lang="en-US" sz="1000" b="1" dirty="0">
                          <a:latin typeface="+mj-lt"/>
                        </a:rPr>
                        <a:t>Efficiency</a:t>
                      </a:r>
                      <a:r>
                        <a:rPr lang="en-US" sz="1000" dirty="0">
                          <a:latin typeface="+mj-lt"/>
                        </a:rPr>
                        <a:t> – More cost effective, automated processes enabling faster deployments with reduced wait times</a:t>
                      </a:r>
                    </a:p>
                    <a:p>
                      <a:pPr marL="91440" indent="-91440">
                        <a:buFont typeface="Arial" panose="020B0604020202020204" pitchFamily="34" charset="0"/>
                        <a:buChar char="•"/>
                      </a:pPr>
                      <a:r>
                        <a:rPr lang="en-US" sz="1000" b="1" dirty="0">
                          <a:latin typeface="+mj-lt"/>
                        </a:rPr>
                        <a:t>Quality</a:t>
                      </a:r>
                      <a:r>
                        <a:rPr lang="en-US" sz="1000" b="0" baseline="0" dirty="0">
                          <a:latin typeface="+mj-lt"/>
                        </a:rPr>
                        <a:t> – </a:t>
                      </a:r>
                      <a:r>
                        <a:rPr lang="en-US" sz="1000" dirty="0">
                          <a:latin typeface="+mj-lt"/>
                        </a:rPr>
                        <a:t>Test automation allows decreased testing time &amp; increased test coverage. Automated code scans help to improve the code quality.</a:t>
                      </a:r>
                      <a:r>
                        <a:rPr lang="en-US" sz="1000" baseline="0" dirty="0">
                          <a:latin typeface="+mj-lt"/>
                        </a:rPr>
                        <a:t> This can help to reduce technical debt.</a:t>
                      </a:r>
                      <a:endParaRPr lang="en-US" sz="1000" dirty="0">
                        <a:latin typeface="+mj-lt"/>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91440" indent="-91440">
                        <a:buFont typeface="Arial" panose="020B0604020202020204" pitchFamily="34" charset="0"/>
                        <a:buChar char="•"/>
                      </a:pPr>
                      <a:r>
                        <a:rPr lang="en-US" sz="1000" b="1" dirty="0">
                          <a:latin typeface="+mj-lt"/>
                        </a:rPr>
                        <a:t>Speed</a:t>
                      </a:r>
                      <a:r>
                        <a:rPr lang="en-US" sz="1000" dirty="0">
                          <a:latin typeface="+mj-lt"/>
                        </a:rPr>
                        <a:t> – Increased time</a:t>
                      </a:r>
                      <a:r>
                        <a:rPr lang="en-US" sz="1000" baseline="0" dirty="0">
                          <a:latin typeface="+mj-lt"/>
                        </a:rPr>
                        <a:t> to market</a:t>
                      </a:r>
                      <a:endParaRPr lang="en-US" sz="1000" dirty="0">
                        <a:latin typeface="+mj-lt"/>
                      </a:endParaRPr>
                    </a:p>
                    <a:p>
                      <a:pPr marL="91440" indent="-91440">
                        <a:buFont typeface="Arial" panose="020B0604020202020204" pitchFamily="34" charset="0"/>
                        <a:buChar char="•"/>
                      </a:pPr>
                      <a:r>
                        <a:rPr lang="en-US" sz="1000" b="1" dirty="0">
                          <a:latin typeface="+mj-lt"/>
                        </a:rPr>
                        <a:t>Consistency</a:t>
                      </a:r>
                      <a:r>
                        <a:rPr lang="en-US" sz="1000" dirty="0">
                          <a:latin typeface="+mj-lt"/>
                        </a:rPr>
                        <a:t> – Consistent and transparent continuous delivery</a:t>
                      </a:r>
                      <a:r>
                        <a:rPr lang="en-US" sz="1000" baseline="0" dirty="0">
                          <a:latin typeface="+mj-lt"/>
                        </a:rPr>
                        <a:t> that helps align  </a:t>
                      </a:r>
                      <a:r>
                        <a:rPr lang="en-US" sz="1000" dirty="0">
                          <a:latin typeface="+mj-lt"/>
                        </a:rPr>
                        <a:t>pace of change to business readiness.</a:t>
                      </a:r>
                    </a:p>
                  </a:txBody>
                  <a:tcPr marL="45720" marR="45720">
                    <a:lnL w="635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9" name="TextBox 28">
            <a:extLst>
              <a:ext uri="{FF2B5EF4-FFF2-40B4-BE49-F238E27FC236}">
                <a16:creationId xmlns:a16="http://schemas.microsoft.com/office/drawing/2014/main" id="{6FE643C5-E502-35B5-C77B-A0451118F91C}"/>
              </a:ext>
            </a:extLst>
          </p:cNvPr>
          <p:cNvSpPr txBox="1"/>
          <p:nvPr/>
        </p:nvSpPr>
        <p:spPr>
          <a:xfrm>
            <a:off x="7068356" y="5586567"/>
            <a:ext cx="428143" cy="153888"/>
          </a:xfrm>
          <a:prstGeom prst="rect">
            <a:avLst/>
          </a:prstGeom>
          <a:noFill/>
          <a:ln>
            <a:noFill/>
          </a:ln>
        </p:spPr>
        <p:txBody>
          <a:bodyPr wrap="square" lIns="0" tIns="0" rIns="0" bIns="0" rtlCol="0">
            <a:spAutoFit/>
          </a:bodyPr>
          <a:lstStyle/>
          <a:p>
            <a:pPr algn="ctr"/>
            <a:r>
              <a:rPr lang="en-US" sz="1000" b="1" dirty="0">
                <a:solidFill>
                  <a:srgbClr val="002776"/>
                </a:solidFill>
                <a:latin typeface="+mj-lt"/>
              </a:rPr>
              <a:t>200x</a:t>
            </a:r>
          </a:p>
        </p:txBody>
      </p:sp>
      <p:sp>
        <p:nvSpPr>
          <p:cNvPr id="30" name="TextBox 29">
            <a:extLst>
              <a:ext uri="{FF2B5EF4-FFF2-40B4-BE49-F238E27FC236}">
                <a16:creationId xmlns:a16="http://schemas.microsoft.com/office/drawing/2014/main" id="{25D8FC05-8AA8-45B8-D759-C83811A4B9BC}"/>
              </a:ext>
            </a:extLst>
          </p:cNvPr>
          <p:cNvSpPr txBox="1"/>
          <p:nvPr/>
        </p:nvSpPr>
        <p:spPr>
          <a:xfrm>
            <a:off x="6834588" y="5859393"/>
            <a:ext cx="895679" cy="307777"/>
          </a:xfrm>
          <a:prstGeom prst="rect">
            <a:avLst/>
          </a:prstGeom>
          <a:noFill/>
          <a:ln>
            <a:noFill/>
          </a:ln>
        </p:spPr>
        <p:txBody>
          <a:bodyPr wrap="square" lIns="0" tIns="0" rIns="0" bIns="0" rtlCol="0">
            <a:spAutoFit/>
          </a:bodyPr>
          <a:lstStyle/>
          <a:p>
            <a:pPr algn="ctr"/>
            <a:r>
              <a:rPr lang="en-US" sz="1000" dirty="0">
                <a:latin typeface="+mj-lt"/>
              </a:rPr>
              <a:t>More frequent deployments</a:t>
            </a:r>
          </a:p>
        </p:txBody>
      </p:sp>
      <p:sp>
        <p:nvSpPr>
          <p:cNvPr id="31" name="TextBox 30">
            <a:extLst>
              <a:ext uri="{FF2B5EF4-FFF2-40B4-BE49-F238E27FC236}">
                <a16:creationId xmlns:a16="http://schemas.microsoft.com/office/drawing/2014/main" id="{87589664-A8B9-AB33-B17C-0078B3B5345F}"/>
              </a:ext>
            </a:extLst>
          </p:cNvPr>
          <p:cNvSpPr txBox="1"/>
          <p:nvPr/>
        </p:nvSpPr>
        <p:spPr>
          <a:xfrm>
            <a:off x="10717153" y="5597339"/>
            <a:ext cx="319409" cy="153888"/>
          </a:xfrm>
          <a:prstGeom prst="rect">
            <a:avLst/>
          </a:prstGeom>
          <a:noFill/>
          <a:ln>
            <a:noFill/>
          </a:ln>
        </p:spPr>
        <p:txBody>
          <a:bodyPr wrap="square" lIns="0" tIns="0" rIns="0" bIns="0" rtlCol="0">
            <a:spAutoFit/>
          </a:bodyPr>
          <a:lstStyle/>
          <a:p>
            <a:pPr algn="ctr"/>
            <a:r>
              <a:rPr lang="en-US" sz="1000" b="1" dirty="0">
                <a:solidFill>
                  <a:srgbClr val="002776"/>
                </a:solidFill>
                <a:latin typeface="+mj-lt"/>
              </a:rPr>
              <a:t>24x</a:t>
            </a:r>
          </a:p>
        </p:txBody>
      </p:sp>
      <p:sp>
        <p:nvSpPr>
          <p:cNvPr id="32" name="TextBox 31">
            <a:extLst>
              <a:ext uri="{FF2B5EF4-FFF2-40B4-BE49-F238E27FC236}">
                <a16:creationId xmlns:a16="http://schemas.microsoft.com/office/drawing/2014/main" id="{5D56CE22-12D3-0CF4-2CA6-C6C0E9BA4ACA}"/>
              </a:ext>
            </a:extLst>
          </p:cNvPr>
          <p:cNvSpPr txBox="1"/>
          <p:nvPr/>
        </p:nvSpPr>
        <p:spPr>
          <a:xfrm>
            <a:off x="10390390" y="5883569"/>
            <a:ext cx="972934" cy="307777"/>
          </a:xfrm>
          <a:prstGeom prst="rect">
            <a:avLst/>
          </a:prstGeom>
          <a:noFill/>
          <a:ln>
            <a:noFill/>
          </a:ln>
        </p:spPr>
        <p:txBody>
          <a:bodyPr wrap="square" lIns="0" tIns="0" rIns="0" bIns="0" rtlCol="0">
            <a:spAutoFit/>
          </a:bodyPr>
          <a:lstStyle/>
          <a:p>
            <a:pPr algn="ctr"/>
            <a:r>
              <a:rPr lang="en-US" sz="1000" dirty="0">
                <a:latin typeface="+mj-lt"/>
              </a:rPr>
              <a:t>Faster recovery from failure</a:t>
            </a:r>
          </a:p>
        </p:txBody>
      </p:sp>
      <p:sp>
        <p:nvSpPr>
          <p:cNvPr id="33" name="TextBox 32">
            <a:extLst>
              <a:ext uri="{FF2B5EF4-FFF2-40B4-BE49-F238E27FC236}">
                <a16:creationId xmlns:a16="http://schemas.microsoft.com/office/drawing/2014/main" id="{3421067B-830F-BC45-BC6E-3F2D10152572}"/>
              </a:ext>
            </a:extLst>
          </p:cNvPr>
          <p:cNvSpPr txBox="1"/>
          <p:nvPr/>
        </p:nvSpPr>
        <p:spPr>
          <a:xfrm>
            <a:off x="8939148" y="5580516"/>
            <a:ext cx="410474" cy="153888"/>
          </a:xfrm>
          <a:prstGeom prst="rect">
            <a:avLst/>
          </a:prstGeom>
          <a:noFill/>
          <a:ln>
            <a:noFill/>
          </a:ln>
        </p:spPr>
        <p:txBody>
          <a:bodyPr wrap="square" lIns="0" tIns="0" rIns="0" bIns="0" rtlCol="0">
            <a:spAutoFit/>
          </a:bodyPr>
          <a:lstStyle/>
          <a:p>
            <a:pPr algn="ctr"/>
            <a:r>
              <a:rPr lang="en-US" sz="1000" b="1" dirty="0">
                <a:solidFill>
                  <a:srgbClr val="002776"/>
                </a:solidFill>
                <a:latin typeface="+mj-lt"/>
              </a:rPr>
              <a:t>22%</a:t>
            </a:r>
          </a:p>
        </p:txBody>
      </p:sp>
      <p:sp>
        <p:nvSpPr>
          <p:cNvPr id="34" name="TextBox 33">
            <a:extLst>
              <a:ext uri="{FF2B5EF4-FFF2-40B4-BE49-F238E27FC236}">
                <a16:creationId xmlns:a16="http://schemas.microsoft.com/office/drawing/2014/main" id="{33D213ED-349F-D17A-629C-40C74B9CD196}"/>
              </a:ext>
            </a:extLst>
          </p:cNvPr>
          <p:cNvSpPr txBox="1"/>
          <p:nvPr/>
        </p:nvSpPr>
        <p:spPr>
          <a:xfrm>
            <a:off x="8430041" y="5859393"/>
            <a:ext cx="1428689" cy="307777"/>
          </a:xfrm>
          <a:prstGeom prst="rect">
            <a:avLst/>
          </a:prstGeom>
          <a:noFill/>
          <a:ln>
            <a:noFill/>
          </a:ln>
        </p:spPr>
        <p:txBody>
          <a:bodyPr wrap="square" lIns="0" tIns="0" rIns="0" bIns="0" rtlCol="0">
            <a:spAutoFit/>
          </a:bodyPr>
          <a:lstStyle/>
          <a:p>
            <a:pPr algn="ctr"/>
            <a:r>
              <a:rPr lang="en-US" sz="1000" dirty="0">
                <a:latin typeface="+mj-lt"/>
              </a:rPr>
              <a:t>Less time on unplanned work and rework</a:t>
            </a:r>
          </a:p>
        </p:txBody>
      </p:sp>
      <p:sp>
        <p:nvSpPr>
          <p:cNvPr id="37" name="TextBox 36">
            <a:extLst>
              <a:ext uri="{FF2B5EF4-FFF2-40B4-BE49-F238E27FC236}">
                <a16:creationId xmlns:a16="http://schemas.microsoft.com/office/drawing/2014/main" id="{5C6760D2-BB09-15D7-B5F8-84530A185546}"/>
              </a:ext>
            </a:extLst>
          </p:cNvPr>
          <p:cNvSpPr txBox="1"/>
          <p:nvPr/>
        </p:nvSpPr>
        <p:spPr>
          <a:xfrm>
            <a:off x="6296922" y="4851870"/>
            <a:ext cx="3658671" cy="153888"/>
          </a:xfrm>
          <a:prstGeom prst="rect">
            <a:avLst/>
          </a:prstGeom>
          <a:noFill/>
        </p:spPr>
        <p:txBody>
          <a:bodyPr wrap="square" lIns="0" tIns="0" rIns="0" bIns="0" rtlCol="0">
            <a:spAutoFit/>
          </a:bodyPr>
          <a:lstStyle/>
          <a:p>
            <a:pPr marL="0" lvl="1">
              <a:buSzPct val="100000"/>
              <a:defRPr/>
            </a:pPr>
            <a:r>
              <a:rPr lang="en-US" sz="1000" b="1" kern="0" dirty="0">
                <a:latin typeface="+mj-lt"/>
              </a:rPr>
              <a:t>High-performing IT Organizations report experiencing:</a:t>
            </a:r>
          </a:p>
        </p:txBody>
      </p:sp>
      <p:sp>
        <p:nvSpPr>
          <p:cNvPr id="54" name="Freeform 486">
            <a:extLst>
              <a:ext uri="{FF2B5EF4-FFF2-40B4-BE49-F238E27FC236}">
                <a16:creationId xmlns:a16="http://schemas.microsoft.com/office/drawing/2014/main" id="{4EFA62FD-55AA-ACF9-5732-D6D407D381A4}"/>
              </a:ext>
            </a:extLst>
          </p:cNvPr>
          <p:cNvSpPr>
            <a:spLocks noChangeAspect="1" noEditPoints="1"/>
          </p:cNvSpPr>
          <p:nvPr/>
        </p:nvSpPr>
        <p:spPr bwMode="auto">
          <a:xfrm>
            <a:off x="7126820" y="5176129"/>
            <a:ext cx="311214" cy="3230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000">
              <a:latin typeface="+mj-lt"/>
            </a:endParaRPr>
          </a:p>
        </p:txBody>
      </p:sp>
      <p:sp>
        <p:nvSpPr>
          <p:cNvPr id="55" name="Freeform 116">
            <a:extLst>
              <a:ext uri="{FF2B5EF4-FFF2-40B4-BE49-F238E27FC236}">
                <a16:creationId xmlns:a16="http://schemas.microsoft.com/office/drawing/2014/main" id="{3BA34B07-11AC-AB2B-13C2-E645067D457C}"/>
              </a:ext>
            </a:extLst>
          </p:cNvPr>
          <p:cNvSpPr>
            <a:spLocks noChangeAspect="1" noEditPoints="1"/>
          </p:cNvSpPr>
          <p:nvPr/>
        </p:nvSpPr>
        <p:spPr bwMode="auto">
          <a:xfrm>
            <a:off x="8988380" y="5162160"/>
            <a:ext cx="312011" cy="32387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000">
              <a:latin typeface="+mj-lt"/>
            </a:endParaRPr>
          </a:p>
        </p:txBody>
      </p:sp>
      <p:sp>
        <p:nvSpPr>
          <p:cNvPr id="56" name="Freeform 575">
            <a:extLst>
              <a:ext uri="{FF2B5EF4-FFF2-40B4-BE49-F238E27FC236}">
                <a16:creationId xmlns:a16="http://schemas.microsoft.com/office/drawing/2014/main" id="{77A6B430-15E8-F7A8-BD47-193B77F5AAC4}"/>
              </a:ext>
            </a:extLst>
          </p:cNvPr>
          <p:cNvSpPr>
            <a:spLocks noChangeAspect="1" noEditPoints="1"/>
          </p:cNvSpPr>
          <p:nvPr/>
        </p:nvSpPr>
        <p:spPr bwMode="auto">
          <a:xfrm>
            <a:off x="10720793" y="5186901"/>
            <a:ext cx="312129" cy="3230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000">
              <a:latin typeface="+mj-lt"/>
            </a:endParaRPr>
          </a:p>
        </p:txBody>
      </p:sp>
      <p:sp>
        <p:nvSpPr>
          <p:cNvPr id="12" name="TextBox 11">
            <a:extLst>
              <a:ext uri="{FF2B5EF4-FFF2-40B4-BE49-F238E27FC236}">
                <a16:creationId xmlns:a16="http://schemas.microsoft.com/office/drawing/2014/main" id="{B3584ACF-8652-15BA-69AD-A9B260A07266}"/>
              </a:ext>
            </a:extLst>
          </p:cNvPr>
          <p:cNvSpPr txBox="1"/>
          <p:nvPr/>
        </p:nvSpPr>
        <p:spPr>
          <a:xfrm>
            <a:off x="417583" y="2036914"/>
            <a:ext cx="5665574" cy="492443"/>
          </a:xfrm>
          <a:prstGeom prst="rect">
            <a:avLst/>
          </a:prstGeom>
          <a:noFill/>
        </p:spPr>
        <p:txBody>
          <a:bodyPr wrap="square" tIns="91440" bIns="91440" rtlCol="0">
            <a:spAutoFit/>
          </a:bodyPr>
          <a:lstStyle/>
          <a:p>
            <a:r>
              <a:rPr lang="en-US" sz="1000" dirty="0">
                <a:solidFill>
                  <a:srgbClr val="000000"/>
                </a:solidFill>
                <a:latin typeface="+mj-lt"/>
              </a:rPr>
              <a:t>DevOps is a software delivery approach, culture and practice that brings the development team, </a:t>
            </a:r>
            <a:r>
              <a:rPr lang="en-US" sz="1000" b="1" dirty="0">
                <a:solidFill>
                  <a:srgbClr val="000000"/>
                </a:solidFill>
                <a:latin typeface="+mj-lt"/>
              </a:rPr>
              <a:t>business, testing and operations teams together </a:t>
            </a:r>
            <a:r>
              <a:rPr lang="en-US" sz="1000" dirty="0">
                <a:solidFill>
                  <a:srgbClr val="000000"/>
                </a:solidFill>
                <a:latin typeface="+mj-lt"/>
              </a:rPr>
              <a:t>to achieve a common business goal. </a:t>
            </a:r>
          </a:p>
        </p:txBody>
      </p:sp>
      <p:sp>
        <p:nvSpPr>
          <p:cNvPr id="14" name="TextBox 13">
            <a:extLst>
              <a:ext uri="{FF2B5EF4-FFF2-40B4-BE49-F238E27FC236}">
                <a16:creationId xmlns:a16="http://schemas.microsoft.com/office/drawing/2014/main" id="{D736B6D7-236B-999D-0BDE-8B052B3CA560}"/>
              </a:ext>
            </a:extLst>
          </p:cNvPr>
          <p:cNvSpPr txBox="1"/>
          <p:nvPr/>
        </p:nvSpPr>
        <p:spPr>
          <a:xfrm>
            <a:off x="798055" y="4666364"/>
            <a:ext cx="1615468" cy="1692771"/>
          </a:xfrm>
          <a:prstGeom prst="rect">
            <a:avLst/>
          </a:prstGeom>
          <a:noFill/>
        </p:spPr>
        <p:txBody>
          <a:bodyPr wrap="square" tIns="0" bIns="0" rtlCol="0">
            <a:spAutoFit/>
          </a:bodyPr>
          <a:lstStyle/>
          <a:p>
            <a:r>
              <a:rPr lang="en-US" sz="1000" dirty="0">
                <a:latin typeface="+mj-lt"/>
              </a:rPr>
              <a:t>DevOps involves automation and interconnected processes within the SDLC activities. The diagram </a:t>
            </a:r>
            <a:r>
              <a:rPr lang="hu-HU" sz="1000" dirty="0" err="1">
                <a:latin typeface="+mj-lt"/>
              </a:rPr>
              <a:t>on</a:t>
            </a:r>
            <a:r>
              <a:rPr lang="hu-HU" sz="1000" dirty="0">
                <a:latin typeface="+mj-lt"/>
              </a:rPr>
              <a:t> </a:t>
            </a:r>
            <a:r>
              <a:rPr lang="hu-HU" sz="1000" dirty="0" err="1">
                <a:latin typeface="+mj-lt"/>
              </a:rPr>
              <a:t>the</a:t>
            </a:r>
            <a:r>
              <a:rPr lang="hu-HU" sz="1000" dirty="0">
                <a:latin typeface="+mj-lt"/>
              </a:rPr>
              <a:t> </a:t>
            </a:r>
            <a:r>
              <a:rPr lang="hu-HU" sz="1000" dirty="0" err="1">
                <a:latin typeface="+mj-lt"/>
              </a:rPr>
              <a:t>right</a:t>
            </a:r>
            <a:r>
              <a:rPr lang="en-US" sz="1000" dirty="0">
                <a:latin typeface="+mj-lt"/>
              </a:rPr>
              <a:t> shows the flow of delivery pipeline and DevOps processes involved as per the standard software SDLC.</a:t>
            </a:r>
          </a:p>
        </p:txBody>
      </p:sp>
      <p:sp>
        <p:nvSpPr>
          <p:cNvPr id="15" name="TextBox 14">
            <a:extLst>
              <a:ext uri="{FF2B5EF4-FFF2-40B4-BE49-F238E27FC236}">
                <a16:creationId xmlns:a16="http://schemas.microsoft.com/office/drawing/2014/main" id="{58503E8F-D65D-0534-052E-25075F7C662F}"/>
              </a:ext>
            </a:extLst>
          </p:cNvPr>
          <p:cNvSpPr txBox="1"/>
          <p:nvPr/>
        </p:nvSpPr>
        <p:spPr>
          <a:xfrm>
            <a:off x="2661252" y="3995250"/>
            <a:ext cx="3280352" cy="461665"/>
          </a:xfrm>
          <a:prstGeom prst="rect">
            <a:avLst/>
          </a:prstGeom>
          <a:noFill/>
        </p:spPr>
        <p:txBody>
          <a:bodyPr wrap="square" lIns="0" tIns="0" bIns="0" rtlCol="0">
            <a:spAutoFit/>
          </a:bodyPr>
          <a:lstStyle/>
          <a:p>
            <a:r>
              <a:rPr lang="en-US" sz="1000">
                <a:latin typeface="+mj-lt"/>
              </a:rPr>
              <a:t>DevOps requires a level of organizational maturity and cultural shift around how work is developed and delivered. </a:t>
            </a:r>
          </a:p>
        </p:txBody>
      </p:sp>
      <p:sp>
        <p:nvSpPr>
          <p:cNvPr id="18" name="TextBox 17">
            <a:extLst>
              <a:ext uri="{FF2B5EF4-FFF2-40B4-BE49-F238E27FC236}">
                <a16:creationId xmlns:a16="http://schemas.microsoft.com/office/drawing/2014/main" id="{4AE9817B-5DAB-2617-5DB9-A8E0E28BAC3C}"/>
              </a:ext>
            </a:extLst>
          </p:cNvPr>
          <p:cNvSpPr txBox="1"/>
          <p:nvPr/>
        </p:nvSpPr>
        <p:spPr>
          <a:xfrm>
            <a:off x="443848" y="2514547"/>
            <a:ext cx="859337" cy="246221"/>
          </a:xfrm>
          <a:prstGeom prst="rect">
            <a:avLst/>
          </a:prstGeom>
          <a:noFill/>
        </p:spPr>
        <p:txBody>
          <a:bodyPr wrap="square" lIns="91440" tIns="45720" rIns="91440" bIns="45720" rtlCol="0" anchor="ctr" anchorCtr="0">
            <a:spAutoFit/>
          </a:bodyPr>
          <a:lstStyle/>
          <a:p>
            <a:r>
              <a:rPr lang="en-US" sz="1000" b="1" dirty="0">
                <a:latin typeface="+mj-lt"/>
              </a:rPr>
              <a:t>Myth </a:t>
            </a:r>
            <a:endParaRPr lang="en-US" sz="1000" dirty="0">
              <a:latin typeface="+mj-lt"/>
            </a:endParaRPr>
          </a:p>
        </p:txBody>
      </p:sp>
      <p:sp>
        <p:nvSpPr>
          <p:cNvPr id="19" name="TextBox 18">
            <a:extLst>
              <a:ext uri="{FF2B5EF4-FFF2-40B4-BE49-F238E27FC236}">
                <a16:creationId xmlns:a16="http://schemas.microsoft.com/office/drawing/2014/main" id="{2EEE1004-A195-4521-0465-E080A5D72E1F}"/>
              </a:ext>
            </a:extLst>
          </p:cNvPr>
          <p:cNvSpPr txBox="1"/>
          <p:nvPr/>
        </p:nvSpPr>
        <p:spPr>
          <a:xfrm>
            <a:off x="663454" y="2815052"/>
            <a:ext cx="1654757" cy="153888"/>
          </a:xfrm>
          <a:prstGeom prst="rect">
            <a:avLst/>
          </a:prstGeom>
          <a:noFill/>
        </p:spPr>
        <p:txBody>
          <a:bodyPr wrap="square" lIns="0" tIns="0" rIns="0" bIns="0" rtlCol="0" anchor="ctr" anchorCtr="0">
            <a:spAutoFit/>
          </a:bodyPr>
          <a:lstStyle/>
          <a:p>
            <a:pPr marL="0" lvl="1">
              <a:buSzPct val="100000"/>
              <a:defRPr/>
            </a:pPr>
            <a:r>
              <a:rPr lang="en-US" sz="1000" dirty="0">
                <a:latin typeface="+mj-lt"/>
              </a:rPr>
              <a:t>You can buy DevOps</a:t>
            </a:r>
          </a:p>
        </p:txBody>
      </p:sp>
      <p:sp>
        <p:nvSpPr>
          <p:cNvPr id="20" name="TextBox 19">
            <a:extLst>
              <a:ext uri="{FF2B5EF4-FFF2-40B4-BE49-F238E27FC236}">
                <a16:creationId xmlns:a16="http://schemas.microsoft.com/office/drawing/2014/main" id="{983CBDB3-32AC-DAC6-C707-0FC631AA93DA}"/>
              </a:ext>
            </a:extLst>
          </p:cNvPr>
          <p:cNvSpPr txBox="1"/>
          <p:nvPr/>
        </p:nvSpPr>
        <p:spPr>
          <a:xfrm>
            <a:off x="2433382" y="2526751"/>
            <a:ext cx="910432" cy="246221"/>
          </a:xfrm>
          <a:prstGeom prst="rect">
            <a:avLst/>
          </a:prstGeom>
          <a:noFill/>
        </p:spPr>
        <p:txBody>
          <a:bodyPr wrap="square" lIns="91440" tIns="45720" rIns="91440" bIns="45720" rtlCol="0" anchor="ctr" anchorCtr="0">
            <a:spAutoFit/>
          </a:bodyPr>
          <a:lstStyle/>
          <a:p>
            <a:r>
              <a:rPr lang="en-US" sz="1000" b="1" dirty="0">
                <a:latin typeface="+mj-lt"/>
              </a:rPr>
              <a:t>Truth  </a:t>
            </a:r>
            <a:endParaRPr lang="en-US" sz="1000" dirty="0">
              <a:latin typeface="+mj-lt"/>
            </a:endParaRPr>
          </a:p>
        </p:txBody>
      </p:sp>
      <p:sp>
        <p:nvSpPr>
          <p:cNvPr id="21" name="TextBox 20">
            <a:extLst>
              <a:ext uri="{FF2B5EF4-FFF2-40B4-BE49-F238E27FC236}">
                <a16:creationId xmlns:a16="http://schemas.microsoft.com/office/drawing/2014/main" id="{9B88A804-81CF-C9BD-77AF-32088E8E07BD}"/>
              </a:ext>
            </a:extLst>
          </p:cNvPr>
          <p:cNvSpPr txBox="1"/>
          <p:nvPr/>
        </p:nvSpPr>
        <p:spPr>
          <a:xfrm>
            <a:off x="2661251" y="2799663"/>
            <a:ext cx="3358549" cy="461665"/>
          </a:xfrm>
          <a:prstGeom prst="rect">
            <a:avLst/>
          </a:prstGeom>
          <a:noFill/>
        </p:spPr>
        <p:txBody>
          <a:bodyPr wrap="square" lIns="0" tIns="0" rIns="0" bIns="0" rtlCol="0" anchor="ctr" anchorCtr="0">
            <a:spAutoFit/>
          </a:bodyPr>
          <a:lstStyle/>
          <a:p>
            <a:pPr marL="0" lvl="1">
              <a:buClr>
                <a:schemeClr val="accent4"/>
              </a:buClr>
              <a:buSzPct val="100000"/>
              <a:defRPr/>
            </a:pPr>
            <a:r>
              <a:rPr lang="en-US" sz="1000" dirty="0">
                <a:latin typeface="+mj-lt"/>
              </a:rPr>
              <a:t>DevOps is not a single tool. It’s a combination of people, process and tools. Teams require a toolchain and culture shift to implement DevOps. </a:t>
            </a:r>
            <a:endParaRPr lang="en-US" sz="1000" kern="0" dirty="0">
              <a:latin typeface="+mj-lt"/>
            </a:endParaRPr>
          </a:p>
        </p:txBody>
      </p:sp>
      <p:sp>
        <p:nvSpPr>
          <p:cNvPr id="22" name="TextBox 21">
            <a:extLst>
              <a:ext uri="{FF2B5EF4-FFF2-40B4-BE49-F238E27FC236}">
                <a16:creationId xmlns:a16="http://schemas.microsoft.com/office/drawing/2014/main" id="{60CAC702-25E2-6654-64D9-BA6418F8E5C5}"/>
              </a:ext>
            </a:extLst>
          </p:cNvPr>
          <p:cNvSpPr txBox="1"/>
          <p:nvPr/>
        </p:nvSpPr>
        <p:spPr>
          <a:xfrm>
            <a:off x="676999" y="3399172"/>
            <a:ext cx="1736524" cy="153888"/>
          </a:xfrm>
          <a:prstGeom prst="rect">
            <a:avLst/>
          </a:prstGeom>
          <a:noFill/>
        </p:spPr>
        <p:txBody>
          <a:bodyPr wrap="square" lIns="0" tIns="0" rIns="0" bIns="0" rtlCol="0" anchor="ctr" anchorCtr="0">
            <a:spAutoFit/>
          </a:bodyPr>
          <a:lstStyle/>
          <a:p>
            <a:pPr marL="0" lvl="1">
              <a:buSzPct val="100000"/>
              <a:defRPr/>
            </a:pPr>
            <a:r>
              <a:rPr lang="en-US" sz="1000" dirty="0">
                <a:latin typeface="+mj-lt"/>
              </a:rPr>
              <a:t>DevOps is the same as Agile</a:t>
            </a:r>
            <a:endParaRPr lang="en-US" sz="1000" kern="0" dirty="0">
              <a:latin typeface="+mj-lt"/>
            </a:endParaRPr>
          </a:p>
        </p:txBody>
      </p:sp>
      <p:sp>
        <p:nvSpPr>
          <p:cNvPr id="23" name="TextBox 22">
            <a:extLst>
              <a:ext uri="{FF2B5EF4-FFF2-40B4-BE49-F238E27FC236}">
                <a16:creationId xmlns:a16="http://schemas.microsoft.com/office/drawing/2014/main" id="{0CA47764-B5B3-E15E-A5A0-6DC91AD55076}"/>
              </a:ext>
            </a:extLst>
          </p:cNvPr>
          <p:cNvSpPr txBox="1"/>
          <p:nvPr/>
        </p:nvSpPr>
        <p:spPr>
          <a:xfrm>
            <a:off x="2661251" y="3383784"/>
            <a:ext cx="3274813" cy="461665"/>
          </a:xfrm>
          <a:prstGeom prst="rect">
            <a:avLst/>
          </a:prstGeom>
          <a:noFill/>
        </p:spPr>
        <p:txBody>
          <a:bodyPr wrap="square" lIns="0" tIns="0" rIns="0" bIns="0" rtlCol="0" anchor="ctr" anchorCtr="0">
            <a:spAutoFit/>
          </a:bodyPr>
          <a:lstStyle/>
          <a:p>
            <a:pPr marL="0" lvl="1">
              <a:buClr>
                <a:schemeClr val="accent4"/>
              </a:buClr>
              <a:buSzPct val="100000"/>
              <a:defRPr/>
            </a:pPr>
            <a:r>
              <a:rPr lang="en-US" sz="1000" dirty="0">
                <a:latin typeface="+mj-lt"/>
              </a:rPr>
              <a:t>DevOps can be seen as an extension to Agile. While Agile applies to development and testing, DevOps extends out to operations.</a:t>
            </a:r>
            <a:endParaRPr lang="en-US" sz="1000" kern="0" dirty="0">
              <a:latin typeface="+mj-lt"/>
            </a:endParaRPr>
          </a:p>
        </p:txBody>
      </p:sp>
      <p:sp>
        <p:nvSpPr>
          <p:cNvPr id="24" name="TextBox 23">
            <a:extLst>
              <a:ext uri="{FF2B5EF4-FFF2-40B4-BE49-F238E27FC236}">
                <a16:creationId xmlns:a16="http://schemas.microsoft.com/office/drawing/2014/main" id="{10C57705-7503-B59E-41DC-DAF3BDFDCB50}"/>
              </a:ext>
            </a:extLst>
          </p:cNvPr>
          <p:cNvSpPr txBox="1"/>
          <p:nvPr/>
        </p:nvSpPr>
        <p:spPr>
          <a:xfrm>
            <a:off x="679430" y="3987555"/>
            <a:ext cx="1753952" cy="153888"/>
          </a:xfrm>
          <a:prstGeom prst="rect">
            <a:avLst/>
          </a:prstGeom>
          <a:noFill/>
        </p:spPr>
        <p:txBody>
          <a:bodyPr wrap="square" lIns="0" tIns="0" rIns="0" bIns="0" rtlCol="0" anchor="ctr" anchorCtr="0">
            <a:spAutoFit/>
          </a:bodyPr>
          <a:lstStyle/>
          <a:p>
            <a:pPr marL="0" lvl="1">
              <a:buSzPct val="100000"/>
              <a:defRPr/>
            </a:pPr>
            <a:r>
              <a:rPr lang="en-US" sz="1000" dirty="0">
                <a:latin typeface="+mj-lt"/>
              </a:rPr>
              <a:t>Everyone is ready for DevOps</a:t>
            </a:r>
            <a:endParaRPr lang="en-US" sz="1000" kern="0" dirty="0">
              <a:latin typeface="+mj-lt"/>
            </a:endParaRPr>
          </a:p>
        </p:txBody>
      </p:sp>
      <p:sp>
        <p:nvSpPr>
          <p:cNvPr id="6" name="TextBox 5">
            <a:extLst>
              <a:ext uri="{FF2B5EF4-FFF2-40B4-BE49-F238E27FC236}">
                <a16:creationId xmlns:a16="http://schemas.microsoft.com/office/drawing/2014/main" id="{0011A9BB-9010-FACA-FAE8-34FDF8AB5F68}"/>
              </a:ext>
            </a:extLst>
          </p:cNvPr>
          <p:cNvSpPr txBox="1"/>
          <p:nvPr/>
        </p:nvSpPr>
        <p:spPr>
          <a:xfrm>
            <a:off x="2203110" y="1416255"/>
            <a:ext cx="1795363" cy="27699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hu-HU" sz="1800" b="0" i="0" u="none" strike="noStrike" kern="0" cap="none" spc="0" normalizeH="0" baseline="0" noProof="0" dirty="0" err="1">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What</a:t>
            </a:r>
            <a:r>
              <a:rPr kumimoji="0" lang="hu-HU" sz="1800" b="0" i="0" u="none" strike="noStrike" kern="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 is </a:t>
            </a:r>
            <a:r>
              <a:rPr kumimoji="0" lang="hu-HU" sz="1800" b="0" i="0" u="none" strike="noStrike" kern="0" cap="none" spc="0" normalizeH="0" baseline="0" noProof="0" dirty="0" err="1">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DevOps</a:t>
            </a:r>
            <a:r>
              <a:rPr kumimoji="0" lang="hu-HU" sz="1800" b="0" i="0" u="none" strike="noStrike" kern="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800" b="0" i="0" u="none" strike="noStrike" kern="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TextBox 62">
            <a:extLst>
              <a:ext uri="{FF2B5EF4-FFF2-40B4-BE49-F238E27FC236}">
                <a16:creationId xmlns:a16="http://schemas.microsoft.com/office/drawing/2014/main" id="{E90589C4-1464-F25E-D9E7-1D5AC7A385D3}"/>
              </a:ext>
            </a:extLst>
          </p:cNvPr>
          <p:cNvSpPr txBox="1"/>
          <p:nvPr/>
        </p:nvSpPr>
        <p:spPr>
          <a:xfrm>
            <a:off x="7954087" y="1416256"/>
            <a:ext cx="2140009" cy="27699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lang="hu-HU" kern="0" dirty="0" err="1">
                <a:solidFill>
                  <a:srgbClr val="00A3E0"/>
                </a:solidFill>
                <a:latin typeface="Open Sans" panose="020B0606030504020204" pitchFamily="34" charset="0"/>
                <a:ea typeface="Open Sans" panose="020B0606030504020204" pitchFamily="34" charset="0"/>
                <a:cs typeface="Open Sans" panose="020B0606030504020204" pitchFamily="34" charset="0"/>
              </a:rPr>
              <a:t>Why</a:t>
            </a:r>
            <a:r>
              <a:rPr lang="hu-HU" kern="0" dirty="0">
                <a:solidFill>
                  <a:srgbClr val="00A3E0"/>
                </a:solidFill>
                <a:latin typeface="Open Sans" panose="020B0606030504020204" pitchFamily="34" charset="0"/>
                <a:ea typeface="Open Sans" panose="020B0606030504020204" pitchFamily="34" charset="0"/>
                <a:cs typeface="Open Sans" panose="020B0606030504020204" pitchFamily="34" charset="0"/>
              </a:rPr>
              <a:t> </a:t>
            </a:r>
            <a:r>
              <a:rPr lang="hu-HU" kern="0" dirty="0" err="1">
                <a:solidFill>
                  <a:srgbClr val="00A3E0"/>
                </a:solidFill>
                <a:latin typeface="Open Sans" panose="020B0606030504020204" pitchFamily="34" charset="0"/>
                <a:ea typeface="Open Sans" panose="020B0606030504020204" pitchFamily="34" charset="0"/>
                <a:cs typeface="Open Sans" panose="020B0606030504020204" pitchFamily="34" charset="0"/>
              </a:rPr>
              <a:t>does</a:t>
            </a:r>
            <a:r>
              <a:rPr lang="hu-HU" kern="0" dirty="0">
                <a:solidFill>
                  <a:srgbClr val="00A3E0"/>
                </a:solidFill>
                <a:latin typeface="Open Sans" panose="020B0606030504020204" pitchFamily="34" charset="0"/>
                <a:ea typeface="Open Sans" panose="020B0606030504020204" pitchFamily="34" charset="0"/>
                <a:cs typeface="Open Sans" panose="020B0606030504020204" pitchFamily="34" charset="0"/>
              </a:rPr>
              <a:t> </a:t>
            </a:r>
            <a:r>
              <a:rPr lang="hu-HU" kern="0" dirty="0" err="1">
                <a:solidFill>
                  <a:srgbClr val="00A3E0"/>
                </a:solidFill>
                <a:latin typeface="Open Sans" panose="020B0606030504020204" pitchFamily="34" charset="0"/>
                <a:ea typeface="Open Sans" panose="020B0606030504020204" pitchFamily="34" charset="0"/>
                <a:cs typeface="Open Sans" panose="020B0606030504020204" pitchFamily="34" charset="0"/>
              </a:rPr>
              <a:t>it</a:t>
            </a:r>
            <a:r>
              <a:rPr lang="hu-HU" kern="0" dirty="0">
                <a:solidFill>
                  <a:srgbClr val="00A3E0"/>
                </a:solidFill>
                <a:latin typeface="Open Sans" panose="020B0606030504020204" pitchFamily="34" charset="0"/>
                <a:ea typeface="Open Sans" panose="020B0606030504020204" pitchFamily="34" charset="0"/>
                <a:cs typeface="Open Sans" panose="020B0606030504020204" pitchFamily="34" charset="0"/>
              </a:rPr>
              <a:t> </a:t>
            </a:r>
            <a:r>
              <a:rPr lang="hu-HU" kern="0" dirty="0" err="1">
                <a:solidFill>
                  <a:srgbClr val="00A3E0"/>
                </a:solidFill>
                <a:latin typeface="Open Sans" panose="020B0606030504020204" pitchFamily="34" charset="0"/>
                <a:ea typeface="Open Sans" panose="020B0606030504020204" pitchFamily="34" charset="0"/>
                <a:cs typeface="Open Sans" panose="020B0606030504020204" pitchFamily="34" charset="0"/>
              </a:rPr>
              <a:t>matter</a:t>
            </a:r>
            <a:r>
              <a:rPr lang="hu-HU" kern="0" dirty="0">
                <a:solidFill>
                  <a:srgbClr val="00A3E0"/>
                </a:solidFill>
                <a:latin typeface="Open Sans" panose="020B0606030504020204" pitchFamily="34" charset="0"/>
                <a:ea typeface="Open Sans" panose="020B0606030504020204" pitchFamily="34" charset="0"/>
                <a:cs typeface="Open Sans" panose="020B0606030504020204" pitchFamily="34" charset="0"/>
              </a:rPr>
              <a:t>?</a:t>
            </a:r>
            <a:endParaRPr kumimoji="0" lang="en-US" sz="1800" b="0" i="0" u="none" strike="noStrike" kern="0" cap="none" spc="0" normalizeH="0" baseline="0" noProof="0" dirty="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a:extLst>
              <a:ext uri="{FF2B5EF4-FFF2-40B4-BE49-F238E27FC236}">
                <a16:creationId xmlns:a16="http://schemas.microsoft.com/office/drawing/2014/main" id="{9256C495-209C-85D6-9840-04BE3087A6CD}"/>
              </a:ext>
            </a:extLst>
          </p:cNvPr>
          <p:cNvSpPr/>
          <p:nvPr/>
        </p:nvSpPr>
        <p:spPr>
          <a:xfrm>
            <a:off x="6172202" y="1836507"/>
            <a:ext cx="5546687" cy="241667"/>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b="1" dirty="0" err="1"/>
              <a:t>Benefits</a:t>
            </a:r>
            <a:endParaRPr lang="en-US" sz="1200" b="1" dirty="0"/>
          </a:p>
        </p:txBody>
      </p:sp>
      <p:sp>
        <p:nvSpPr>
          <p:cNvPr id="67" name="TextBox 66">
            <a:extLst>
              <a:ext uri="{FF2B5EF4-FFF2-40B4-BE49-F238E27FC236}">
                <a16:creationId xmlns:a16="http://schemas.microsoft.com/office/drawing/2014/main" id="{B56722E8-402B-6D55-C4F0-214ADF81B29F}"/>
              </a:ext>
            </a:extLst>
          </p:cNvPr>
          <p:cNvSpPr txBox="1"/>
          <p:nvPr/>
        </p:nvSpPr>
        <p:spPr>
          <a:xfrm>
            <a:off x="1981200" y="6228567"/>
            <a:ext cx="914400" cy="91440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74" name="Graphic 4">
            <a:extLst>
              <a:ext uri="{FF2B5EF4-FFF2-40B4-BE49-F238E27FC236}">
                <a16:creationId xmlns:a16="http://schemas.microsoft.com/office/drawing/2014/main" id="{568A85A4-F73E-98C7-D162-31B095D21D53}"/>
              </a:ext>
            </a:extLst>
          </p:cNvPr>
          <p:cNvGrpSpPr>
            <a:grpSpLocks noChangeAspect="1"/>
          </p:cNvGrpSpPr>
          <p:nvPr/>
        </p:nvGrpSpPr>
        <p:grpSpPr>
          <a:xfrm>
            <a:off x="6232434" y="2135947"/>
            <a:ext cx="201856" cy="201668"/>
            <a:chOff x="6146480" y="4793256"/>
            <a:chExt cx="362309" cy="361971"/>
          </a:xfrm>
          <a:solidFill>
            <a:srgbClr val="00A3E0"/>
          </a:solidFill>
        </p:grpSpPr>
        <p:sp>
          <p:nvSpPr>
            <p:cNvPr id="75" name="Graphic 4">
              <a:extLst>
                <a:ext uri="{FF2B5EF4-FFF2-40B4-BE49-F238E27FC236}">
                  <a16:creationId xmlns:a16="http://schemas.microsoft.com/office/drawing/2014/main" id="{4DDAD34C-B202-09FF-419F-905A81B1A856}"/>
                </a:ext>
              </a:extLst>
            </p:cNvPr>
            <p:cNvSpPr/>
            <p:nvPr/>
          </p:nvSpPr>
          <p:spPr>
            <a:xfrm>
              <a:off x="6146480"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187864 w 362309"/>
                <a:gd name="connsiteY7" fmla="*/ 248337 h 361971"/>
                <a:gd name="connsiteX8" fmla="*/ 183391 w 362309"/>
                <a:gd name="connsiteY8" fmla="*/ 252167 h 361971"/>
                <a:gd name="connsiteX9" fmla="*/ 184669 w 362309"/>
                <a:gd name="connsiteY9" fmla="*/ 257913 h 361971"/>
                <a:gd name="connsiteX10" fmla="*/ 180196 w 362309"/>
                <a:gd name="connsiteY10" fmla="*/ 278341 h 361971"/>
                <a:gd name="connsiteX11" fmla="*/ 168055 w 362309"/>
                <a:gd name="connsiteY11" fmla="*/ 280257 h 361971"/>
                <a:gd name="connsiteX12" fmla="*/ 161665 w 362309"/>
                <a:gd name="connsiteY12" fmla="*/ 280895 h 361971"/>
                <a:gd name="connsiteX13" fmla="*/ 159109 w 362309"/>
                <a:gd name="connsiteY13" fmla="*/ 286002 h 361971"/>
                <a:gd name="connsiteX14" fmla="*/ 148885 w 362309"/>
                <a:gd name="connsiteY14" fmla="*/ 299409 h 361971"/>
                <a:gd name="connsiteX15" fmla="*/ 145690 w 362309"/>
                <a:gd name="connsiteY15" fmla="*/ 300047 h 361971"/>
                <a:gd name="connsiteX16" fmla="*/ 132911 w 362309"/>
                <a:gd name="connsiteY16" fmla="*/ 294301 h 361971"/>
                <a:gd name="connsiteX17" fmla="*/ 127799 w 362309"/>
                <a:gd name="connsiteY17" fmla="*/ 291109 h 361971"/>
                <a:gd name="connsiteX18" fmla="*/ 122686 w 362309"/>
                <a:gd name="connsiteY18" fmla="*/ 294301 h 361971"/>
                <a:gd name="connsiteX19" fmla="*/ 106712 w 362309"/>
                <a:gd name="connsiteY19" fmla="*/ 298770 h 361971"/>
                <a:gd name="connsiteX20" fmla="*/ 97127 w 362309"/>
                <a:gd name="connsiteY20" fmla="*/ 285364 h 361971"/>
                <a:gd name="connsiteX21" fmla="*/ 94571 w 362309"/>
                <a:gd name="connsiteY21" fmla="*/ 279618 h 361971"/>
                <a:gd name="connsiteX22" fmla="*/ 88820 w 362309"/>
                <a:gd name="connsiteY22" fmla="*/ 278980 h 361971"/>
                <a:gd name="connsiteX23" fmla="*/ 72845 w 362309"/>
                <a:gd name="connsiteY23" fmla="*/ 273234 h 361971"/>
                <a:gd name="connsiteX24" fmla="*/ 72845 w 362309"/>
                <a:gd name="connsiteY24" fmla="*/ 256636 h 361971"/>
                <a:gd name="connsiteX25" fmla="*/ 74123 w 362309"/>
                <a:gd name="connsiteY25" fmla="*/ 250252 h 361971"/>
                <a:gd name="connsiteX26" fmla="*/ 69650 w 362309"/>
                <a:gd name="connsiteY26" fmla="*/ 245783 h 361971"/>
                <a:gd name="connsiteX27" fmla="*/ 60065 w 362309"/>
                <a:gd name="connsiteY27" fmla="*/ 232377 h 361971"/>
                <a:gd name="connsiteX28" fmla="*/ 69650 w 362309"/>
                <a:gd name="connsiteY28" fmla="*/ 218971 h 361971"/>
                <a:gd name="connsiteX29" fmla="*/ 74123 w 362309"/>
                <a:gd name="connsiteY29" fmla="*/ 215140 h 361971"/>
                <a:gd name="connsiteX30" fmla="*/ 72845 w 362309"/>
                <a:gd name="connsiteY30" fmla="*/ 209395 h 361971"/>
                <a:gd name="connsiteX31" fmla="*/ 76679 w 362309"/>
                <a:gd name="connsiteY31" fmla="*/ 188966 h 361971"/>
                <a:gd name="connsiteX32" fmla="*/ 88820 w 362309"/>
                <a:gd name="connsiteY32" fmla="*/ 187051 h 361971"/>
                <a:gd name="connsiteX33" fmla="*/ 95210 w 362309"/>
                <a:gd name="connsiteY33" fmla="*/ 186412 h 361971"/>
                <a:gd name="connsiteX34" fmla="*/ 97766 w 362309"/>
                <a:gd name="connsiteY34" fmla="*/ 181305 h 361971"/>
                <a:gd name="connsiteX35" fmla="*/ 107990 w 362309"/>
                <a:gd name="connsiteY35" fmla="*/ 167899 h 361971"/>
                <a:gd name="connsiteX36" fmla="*/ 123965 w 362309"/>
                <a:gd name="connsiteY36" fmla="*/ 173006 h 361971"/>
                <a:gd name="connsiteX37" fmla="*/ 129076 w 362309"/>
                <a:gd name="connsiteY37" fmla="*/ 176198 h 361971"/>
                <a:gd name="connsiteX38" fmla="*/ 134189 w 362309"/>
                <a:gd name="connsiteY38" fmla="*/ 173006 h 361971"/>
                <a:gd name="connsiteX39" fmla="*/ 150164 w 362309"/>
                <a:gd name="connsiteY39" fmla="*/ 168537 h 361971"/>
                <a:gd name="connsiteX40" fmla="*/ 159748 w 362309"/>
                <a:gd name="connsiteY40" fmla="*/ 181944 h 361971"/>
                <a:gd name="connsiteX41" fmla="*/ 162304 w 362309"/>
                <a:gd name="connsiteY41" fmla="*/ 187689 h 361971"/>
                <a:gd name="connsiteX42" fmla="*/ 168055 w 362309"/>
                <a:gd name="connsiteY42" fmla="*/ 188327 h 361971"/>
                <a:gd name="connsiteX43" fmla="*/ 184030 w 362309"/>
                <a:gd name="connsiteY43" fmla="*/ 194073 h 361971"/>
                <a:gd name="connsiteX44" fmla="*/ 184030 w 362309"/>
                <a:gd name="connsiteY44" fmla="*/ 210671 h 361971"/>
                <a:gd name="connsiteX45" fmla="*/ 182752 w 362309"/>
                <a:gd name="connsiteY45" fmla="*/ 217055 h 361971"/>
                <a:gd name="connsiteX46" fmla="*/ 187225 w 362309"/>
                <a:gd name="connsiteY46" fmla="*/ 221524 h 361971"/>
                <a:gd name="connsiteX47" fmla="*/ 196810 w 362309"/>
                <a:gd name="connsiteY47" fmla="*/ 234930 h 361971"/>
                <a:gd name="connsiteX48" fmla="*/ 187864 w 362309"/>
                <a:gd name="connsiteY48" fmla="*/ 248337 h 361971"/>
                <a:gd name="connsiteX49" fmla="*/ 187864 w 362309"/>
                <a:gd name="connsiteY49" fmla="*/ 248337 h 361971"/>
                <a:gd name="connsiteX50" fmla="*/ 293298 w 362309"/>
                <a:gd name="connsiteY50" fmla="*/ 142363 h 361971"/>
                <a:gd name="connsiteX51" fmla="*/ 288825 w 362309"/>
                <a:gd name="connsiteY51" fmla="*/ 146193 h 361971"/>
                <a:gd name="connsiteX52" fmla="*/ 290103 w 362309"/>
                <a:gd name="connsiteY52" fmla="*/ 151939 h 361971"/>
                <a:gd name="connsiteX53" fmla="*/ 285630 w 362309"/>
                <a:gd name="connsiteY53" fmla="*/ 172368 h 361971"/>
                <a:gd name="connsiteX54" fmla="*/ 273489 w 362309"/>
                <a:gd name="connsiteY54" fmla="*/ 174283 h 361971"/>
                <a:gd name="connsiteX55" fmla="*/ 267099 w 362309"/>
                <a:gd name="connsiteY55" fmla="*/ 174921 h 361971"/>
                <a:gd name="connsiteX56" fmla="*/ 264543 w 362309"/>
                <a:gd name="connsiteY56" fmla="*/ 180028 h 361971"/>
                <a:gd name="connsiteX57" fmla="*/ 254319 w 362309"/>
                <a:gd name="connsiteY57" fmla="*/ 193435 h 361971"/>
                <a:gd name="connsiteX58" fmla="*/ 251124 w 362309"/>
                <a:gd name="connsiteY58" fmla="*/ 194073 h 361971"/>
                <a:gd name="connsiteX59" fmla="*/ 238345 w 362309"/>
                <a:gd name="connsiteY59" fmla="*/ 188327 h 361971"/>
                <a:gd name="connsiteX60" fmla="*/ 233233 w 362309"/>
                <a:gd name="connsiteY60" fmla="*/ 185135 h 361971"/>
                <a:gd name="connsiteX61" fmla="*/ 228120 w 362309"/>
                <a:gd name="connsiteY61" fmla="*/ 188327 h 361971"/>
                <a:gd name="connsiteX62" fmla="*/ 212146 w 362309"/>
                <a:gd name="connsiteY62" fmla="*/ 192796 h 361971"/>
                <a:gd name="connsiteX63" fmla="*/ 201922 w 362309"/>
                <a:gd name="connsiteY63" fmla="*/ 179390 h 361971"/>
                <a:gd name="connsiteX64" fmla="*/ 199366 w 362309"/>
                <a:gd name="connsiteY64" fmla="*/ 173644 h 361971"/>
                <a:gd name="connsiteX65" fmla="*/ 193615 w 362309"/>
                <a:gd name="connsiteY65" fmla="*/ 173006 h 361971"/>
                <a:gd name="connsiteX66" fmla="*/ 175723 w 362309"/>
                <a:gd name="connsiteY66" fmla="*/ 162792 h 361971"/>
                <a:gd name="connsiteX67" fmla="*/ 177640 w 362309"/>
                <a:gd name="connsiteY67" fmla="*/ 150662 h 361971"/>
                <a:gd name="connsiteX68" fmla="*/ 178918 w 362309"/>
                <a:gd name="connsiteY68" fmla="*/ 144278 h 361971"/>
                <a:gd name="connsiteX69" fmla="*/ 174445 w 362309"/>
                <a:gd name="connsiteY69" fmla="*/ 139809 h 361971"/>
                <a:gd name="connsiteX70" fmla="*/ 164860 w 362309"/>
                <a:gd name="connsiteY70" fmla="*/ 126403 h 361971"/>
                <a:gd name="connsiteX71" fmla="*/ 174445 w 362309"/>
                <a:gd name="connsiteY71" fmla="*/ 112997 h 361971"/>
                <a:gd name="connsiteX72" fmla="*/ 178918 w 362309"/>
                <a:gd name="connsiteY72" fmla="*/ 109166 h 361971"/>
                <a:gd name="connsiteX73" fmla="*/ 177640 w 362309"/>
                <a:gd name="connsiteY73" fmla="*/ 103421 h 361971"/>
                <a:gd name="connsiteX74" fmla="*/ 178279 w 362309"/>
                <a:gd name="connsiteY74" fmla="*/ 86822 h 361971"/>
                <a:gd name="connsiteX75" fmla="*/ 194254 w 362309"/>
                <a:gd name="connsiteY75" fmla="*/ 81715 h 361971"/>
                <a:gd name="connsiteX76" fmla="*/ 200644 w 362309"/>
                <a:gd name="connsiteY76" fmla="*/ 81077 h 361971"/>
                <a:gd name="connsiteX77" fmla="*/ 203200 w 362309"/>
                <a:gd name="connsiteY77" fmla="*/ 75969 h 361971"/>
                <a:gd name="connsiteX78" fmla="*/ 213424 w 362309"/>
                <a:gd name="connsiteY78" fmla="*/ 62563 h 361971"/>
                <a:gd name="connsiteX79" fmla="*/ 229399 w 362309"/>
                <a:gd name="connsiteY79" fmla="*/ 67670 h 361971"/>
                <a:gd name="connsiteX80" fmla="*/ 234510 w 362309"/>
                <a:gd name="connsiteY80" fmla="*/ 70862 h 361971"/>
                <a:gd name="connsiteX81" fmla="*/ 239623 w 362309"/>
                <a:gd name="connsiteY81" fmla="*/ 67670 h 361971"/>
                <a:gd name="connsiteX82" fmla="*/ 255597 w 362309"/>
                <a:gd name="connsiteY82" fmla="*/ 63201 h 361971"/>
                <a:gd name="connsiteX83" fmla="*/ 265182 w 362309"/>
                <a:gd name="connsiteY83" fmla="*/ 76608 h 361971"/>
                <a:gd name="connsiteX84" fmla="*/ 267738 w 362309"/>
                <a:gd name="connsiteY84" fmla="*/ 82353 h 361971"/>
                <a:gd name="connsiteX85" fmla="*/ 273489 w 362309"/>
                <a:gd name="connsiteY85" fmla="*/ 82992 h 361971"/>
                <a:gd name="connsiteX86" fmla="*/ 289464 w 362309"/>
                <a:gd name="connsiteY86" fmla="*/ 88737 h 361971"/>
                <a:gd name="connsiteX87" fmla="*/ 289464 w 362309"/>
                <a:gd name="connsiteY87" fmla="*/ 105336 h 361971"/>
                <a:gd name="connsiteX88" fmla="*/ 288186 w 362309"/>
                <a:gd name="connsiteY88" fmla="*/ 111720 h 361971"/>
                <a:gd name="connsiteX89" fmla="*/ 293298 w 362309"/>
                <a:gd name="connsiteY89" fmla="*/ 116189 h 361971"/>
                <a:gd name="connsiteX90" fmla="*/ 301605 w 362309"/>
                <a:gd name="connsiteY90" fmla="*/ 135341 h 361971"/>
                <a:gd name="connsiteX91" fmla="*/ 293298 w 362309"/>
                <a:gd name="connsiteY91" fmla="*/ 142363 h 361971"/>
                <a:gd name="connsiteX92" fmla="*/ 293298 w 362309"/>
                <a:gd name="connsiteY92" fmla="*/ 14236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0438"/>
                    <a:pt x="281157" y="0"/>
                    <a:pt x="181474" y="0"/>
                  </a:cubicBezTo>
                  <a:lnTo>
                    <a:pt x="181474" y="0"/>
                  </a:lnTo>
                  <a:close/>
                  <a:moveTo>
                    <a:pt x="187864" y="248337"/>
                  </a:moveTo>
                  <a:cubicBezTo>
                    <a:pt x="185947" y="249614"/>
                    <a:pt x="184669" y="250890"/>
                    <a:pt x="183391" y="252167"/>
                  </a:cubicBezTo>
                  <a:cubicBezTo>
                    <a:pt x="183391" y="254082"/>
                    <a:pt x="184030" y="255998"/>
                    <a:pt x="184669" y="257913"/>
                  </a:cubicBezTo>
                  <a:cubicBezTo>
                    <a:pt x="189142" y="264935"/>
                    <a:pt x="187225" y="273873"/>
                    <a:pt x="180196" y="278341"/>
                  </a:cubicBezTo>
                  <a:cubicBezTo>
                    <a:pt x="176362" y="280895"/>
                    <a:pt x="171889" y="281533"/>
                    <a:pt x="168055" y="280257"/>
                  </a:cubicBezTo>
                  <a:cubicBezTo>
                    <a:pt x="166138" y="280257"/>
                    <a:pt x="163582" y="280257"/>
                    <a:pt x="161665" y="280895"/>
                  </a:cubicBezTo>
                  <a:cubicBezTo>
                    <a:pt x="160387" y="282810"/>
                    <a:pt x="159748" y="284087"/>
                    <a:pt x="159109" y="286002"/>
                  </a:cubicBezTo>
                  <a:cubicBezTo>
                    <a:pt x="157192" y="291109"/>
                    <a:pt x="154636" y="297493"/>
                    <a:pt x="148885" y="299409"/>
                  </a:cubicBezTo>
                  <a:cubicBezTo>
                    <a:pt x="147607" y="300047"/>
                    <a:pt x="146329" y="300047"/>
                    <a:pt x="145690" y="300047"/>
                  </a:cubicBezTo>
                  <a:cubicBezTo>
                    <a:pt x="141217" y="299409"/>
                    <a:pt x="136744" y="297493"/>
                    <a:pt x="132911" y="294301"/>
                  </a:cubicBezTo>
                  <a:cubicBezTo>
                    <a:pt x="131633" y="293025"/>
                    <a:pt x="129716" y="291748"/>
                    <a:pt x="127799" y="291109"/>
                  </a:cubicBezTo>
                  <a:cubicBezTo>
                    <a:pt x="125881" y="291748"/>
                    <a:pt x="123965" y="293025"/>
                    <a:pt x="122686" y="294301"/>
                  </a:cubicBezTo>
                  <a:cubicBezTo>
                    <a:pt x="118214" y="298132"/>
                    <a:pt x="112463" y="300047"/>
                    <a:pt x="106712" y="298770"/>
                  </a:cubicBezTo>
                  <a:cubicBezTo>
                    <a:pt x="100322" y="296855"/>
                    <a:pt x="98405" y="290471"/>
                    <a:pt x="97127" y="285364"/>
                  </a:cubicBezTo>
                  <a:cubicBezTo>
                    <a:pt x="96488" y="283449"/>
                    <a:pt x="95849" y="281533"/>
                    <a:pt x="94571" y="279618"/>
                  </a:cubicBezTo>
                  <a:cubicBezTo>
                    <a:pt x="92654" y="278980"/>
                    <a:pt x="90737" y="278980"/>
                    <a:pt x="88820" y="278980"/>
                  </a:cubicBezTo>
                  <a:cubicBezTo>
                    <a:pt x="83069" y="279618"/>
                    <a:pt x="76679" y="277703"/>
                    <a:pt x="72845" y="273234"/>
                  </a:cubicBezTo>
                  <a:cubicBezTo>
                    <a:pt x="70289" y="268127"/>
                    <a:pt x="70289" y="261743"/>
                    <a:pt x="72845" y="256636"/>
                  </a:cubicBezTo>
                  <a:cubicBezTo>
                    <a:pt x="73484" y="254721"/>
                    <a:pt x="74123" y="252167"/>
                    <a:pt x="74123" y="250252"/>
                  </a:cubicBezTo>
                  <a:cubicBezTo>
                    <a:pt x="72845" y="248337"/>
                    <a:pt x="70928" y="247060"/>
                    <a:pt x="69650" y="245783"/>
                  </a:cubicBezTo>
                  <a:cubicBezTo>
                    <a:pt x="65177" y="242591"/>
                    <a:pt x="60065" y="238122"/>
                    <a:pt x="60065" y="232377"/>
                  </a:cubicBezTo>
                  <a:cubicBezTo>
                    <a:pt x="60065" y="226631"/>
                    <a:pt x="65816" y="222163"/>
                    <a:pt x="69650" y="218971"/>
                  </a:cubicBezTo>
                  <a:cubicBezTo>
                    <a:pt x="71567" y="217694"/>
                    <a:pt x="72845" y="216417"/>
                    <a:pt x="74123" y="215140"/>
                  </a:cubicBezTo>
                  <a:cubicBezTo>
                    <a:pt x="74123" y="213225"/>
                    <a:pt x="73484" y="211310"/>
                    <a:pt x="72845" y="209395"/>
                  </a:cubicBezTo>
                  <a:cubicBezTo>
                    <a:pt x="68372" y="202372"/>
                    <a:pt x="70289" y="193435"/>
                    <a:pt x="76679" y="188966"/>
                  </a:cubicBezTo>
                  <a:cubicBezTo>
                    <a:pt x="80513" y="186412"/>
                    <a:pt x="84986" y="185774"/>
                    <a:pt x="88820" y="187051"/>
                  </a:cubicBezTo>
                  <a:cubicBezTo>
                    <a:pt x="90737" y="187051"/>
                    <a:pt x="93293" y="187051"/>
                    <a:pt x="95210" y="186412"/>
                  </a:cubicBezTo>
                  <a:cubicBezTo>
                    <a:pt x="95849" y="184497"/>
                    <a:pt x="97127" y="182582"/>
                    <a:pt x="97766" y="181305"/>
                  </a:cubicBezTo>
                  <a:cubicBezTo>
                    <a:pt x="99683" y="176198"/>
                    <a:pt x="102239" y="169814"/>
                    <a:pt x="107990" y="167899"/>
                  </a:cubicBezTo>
                  <a:cubicBezTo>
                    <a:pt x="113741" y="167260"/>
                    <a:pt x="120131" y="169176"/>
                    <a:pt x="123965" y="173006"/>
                  </a:cubicBezTo>
                  <a:cubicBezTo>
                    <a:pt x="125243" y="174283"/>
                    <a:pt x="127160" y="175560"/>
                    <a:pt x="129076" y="176198"/>
                  </a:cubicBezTo>
                  <a:cubicBezTo>
                    <a:pt x="130994" y="175560"/>
                    <a:pt x="132911" y="174283"/>
                    <a:pt x="134189" y="173006"/>
                  </a:cubicBezTo>
                  <a:cubicBezTo>
                    <a:pt x="138661" y="169176"/>
                    <a:pt x="144412" y="167260"/>
                    <a:pt x="150164" y="168537"/>
                  </a:cubicBezTo>
                  <a:cubicBezTo>
                    <a:pt x="156553" y="170452"/>
                    <a:pt x="158470" y="176836"/>
                    <a:pt x="159748" y="181944"/>
                  </a:cubicBezTo>
                  <a:cubicBezTo>
                    <a:pt x="160387" y="183859"/>
                    <a:pt x="161026" y="185774"/>
                    <a:pt x="162304" y="187689"/>
                  </a:cubicBezTo>
                  <a:cubicBezTo>
                    <a:pt x="164221" y="188327"/>
                    <a:pt x="166138" y="188327"/>
                    <a:pt x="168055" y="188327"/>
                  </a:cubicBezTo>
                  <a:cubicBezTo>
                    <a:pt x="173806" y="187689"/>
                    <a:pt x="179557" y="189604"/>
                    <a:pt x="184030" y="194073"/>
                  </a:cubicBezTo>
                  <a:cubicBezTo>
                    <a:pt x="186586" y="199180"/>
                    <a:pt x="186586" y="205564"/>
                    <a:pt x="184030" y="210671"/>
                  </a:cubicBezTo>
                  <a:cubicBezTo>
                    <a:pt x="183391" y="212587"/>
                    <a:pt x="182752" y="215140"/>
                    <a:pt x="182752" y="217055"/>
                  </a:cubicBezTo>
                  <a:cubicBezTo>
                    <a:pt x="184030" y="218971"/>
                    <a:pt x="185947" y="220247"/>
                    <a:pt x="187225" y="221524"/>
                  </a:cubicBezTo>
                  <a:cubicBezTo>
                    <a:pt x="191698" y="224716"/>
                    <a:pt x="196810" y="229185"/>
                    <a:pt x="196810" y="234930"/>
                  </a:cubicBezTo>
                  <a:cubicBezTo>
                    <a:pt x="196810" y="240676"/>
                    <a:pt x="191698" y="245145"/>
                    <a:pt x="187864" y="248337"/>
                  </a:cubicBezTo>
                  <a:lnTo>
                    <a:pt x="187864" y="248337"/>
                  </a:lnTo>
                  <a:close/>
                  <a:moveTo>
                    <a:pt x="293298" y="142363"/>
                  </a:moveTo>
                  <a:cubicBezTo>
                    <a:pt x="291381" y="143640"/>
                    <a:pt x="290103" y="144916"/>
                    <a:pt x="288825" y="146193"/>
                  </a:cubicBezTo>
                  <a:cubicBezTo>
                    <a:pt x="288825" y="148108"/>
                    <a:pt x="289464" y="150024"/>
                    <a:pt x="290103" y="151939"/>
                  </a:cubicBezTo>
                  <a:cubicBezTo>
                    <a:pt x="294576" y="158961"/>
                    <a:pt x="292659" y="167899"/>
                    <a:pt x="285630" y="172368"/>
                  </a:cubicBezTo>
                  <a:cubicBezTo>
                    <a:pt x="281796" y="174921"/>
                    <a:pt x="277962" y="175560"/>
                    <a:pt x="273489" y="174283"/>
                  </a:cubicBezTo>
                  <a:cubicBezTo>
                    <a:pt x="271572" y="174283"/>
                    <a:pt x="269016" y="174283"/>
                    <a:pt x="267099" y="174921"/>
                  </a:cubicBezTo>
                  <a:cubicBezTo>
                    <a:pt x="265821" y="176836"/>
                    <a:pt x="265182" y="178752"/>
                    <a:pt x="264543" y="180028"/>
                  </a:cubicBezTo>
                  <a:cubicBezTo>
                    <a:pt x="262626" y="185135"/>
                    <a:pt x="260070" y="191519"/>
                    <a:pt x="254319" y="193435"/>
                  </a:cubicBezTo>
                  <a:cubicBezTo>
                    <a:pt x="253041" y="194073"/>
                    <a:pt x="251763" y="194073"/>
                    <a:pt x="251124" y="194073"/>
                  </a:cubicBezTo>
                  <a:cubicBezTo>
                    <a:pt x="246651" y="193435"/>
                    <a:pt x="242178" y="191519"/>
                    <a:pt x="238345" y="188327"/>
                  </a:cubicBezTo>
                  <a:cubicBezTo>
                    <a:pt x="236428" y="187051"/>
                    <a:pt x="235150" y="185774"/>
                    <a:pt x="233233" y="185135"/>
                  </a:cubicBezTo>
                  <a:cubicBezTo>
                    <a:pt x="231315" y="185774"/>
                    <a:pt x="229399" y="187051"/>
                    <a:pt x="228120" y="188327"/>
                  </a:cubicBezTo>
                  <a:cubicBezTo>
                    <a:pt x="223648" y="192158"/>
                    <a:pt x="217897" y="194073"/>
                    <a:pt x="212146" y="192796"/>
                  </a:cubicBezTo>
                  <a:cubicBezTo>
                    <a:pt x="205756" y="190881"/>
                    <a:pt x="203839" y="184497"/>
                    <a:pt x="201922" y="179390"/>
                  </a:cubicBezTo>
                  <a:cubicBezTo>
                    <a:pt x="201283" y="177475"/>
                    <a:pt x="200644" y="175560"/>
                    <a:pt x="199366" y="173644"/>
                  </a:cubicBezTo>
                  <a:cubicBezTo>
                    <a:pt x="197449" y="173006"/>
                    <a:pt x="195532" y="173006"/>
                    <a:pt x="193615" y="173006"/>
                  </a:cubicBezTo>
                  <a:cubicBezTo>
                    <a:pt x="185947" y="174921"/>
                    <a:pt x="177640" y="170452"/>
                    <a:pt x="175723" y="162792"/>
                  </a:cubicBezTo>
                  <a:cubicBezTo>
                    <a:pt x="174445" y="158961"/>
                    <a:pt x="175084" y="154492"/>
                    <a:pt x="177640" y="150662"/>
                  </a:cubicBezTo>
                  <a:cubicBezTo>
                    <a:pt x="178279" y="148747"/>
                    <a:pt x="178918" y="146193"/>
                    <a:pt x="178918" y="144278"/>
                  </a:cubicBezTo>
                  <a:cubicBezTo>
                    <a:pt x="177640" y="142363"/>
                    <a:pt x="175723" y="141086"/>
                    <a:pt x="174445" y="139809"/>
                  </a:cubicBezTo>
                  <a:cubicBezTo>
                    <a:pt x="169972" y="136617"/>
                    <a:pt x="164860" y="132149"/>
                    <a:pt x="164860" y="126403"/>
                  </a:cubicBezTo>
                  <a:cubicBezTo>
                    <a:pt x="164860" y="120657"/>
                    <a:pt x="170611" y="116189"/>
                    <a:pt x="174445" y="112997"/>
                  </a:cubicBezTo>
                  <a:cubicBezTo>
                    <a:pt x="176362" y="111720"/>
                    <a:pt x="177640" y="110443"/>
                    <a:pt x="178918" y="109166"/>
                  </a:cubicBezTo>
                  <a:cubicBezTo>
                    <a:pt x="178918" y="107251"/>
                    <a:pt x="178279" y="105336"/>
                    <a:pt x="177640" y="103421"/>
                  </a:cubicBezTo>
                  <a:cubicBezTo>
                    <a:pt x="175084" y="98313"/>
                    <a:pt x="175723" y="91929"/>
                    <a:pt x="178279" y="86822"/>
                  </a:cubicBezTo>
                  <a:cubicBezTo>
                    <a:pt x="182113" y="82992"/>
                    <a:pt x="188503" y="80438"/>
                    <a:pt x="194254" y="81715"/>
                  </a:cubicBezTo>
                  <a:cubicBezTo>
                    <a:pt x="196171" y="81715"/>
                    <a:pt x="198727" y="81715"/>
                    <a:pt x="200644" y="81077"/>
                  </a:cubicBezTo>
                  <a:cubicBezTo>
                    <a:pt x="201922" y="79161"/>
                    <a:pt x="202561" y="77885"/>
                    <a:pt x="203200" y="75969"/>
                  </a:cubicBezTo>
                  <a:cubicBezTo>
                    <a:pt x="205117" y="70862"/>
                    <a:pt x="207673" y="64478"/>
                    <a:pt x="213424" y="62563"/>
                  </a:cubicBezTo>
                  <a:cubicBezTo>
                    <a:pt x="219175" y="61925"/>
                    <a:pt x="225565" y="63840"/>
                    <a:pt x="229399" y="67670"/>
                  </a:cubicBezTo>
                  <a:cubicBezTo>
                    <a:pt x="230677" y="68947"/>
                    <a:pt x="232593" y="70224"/>
                    <a:pt x="234510" y="70862"/>
                  </a:cubicBezTo>
                  <a:cubicBezTo>
                    <a:pt x="236428" y="70224"/>
                    <a:pt x="238345" y="68947"/>
                    <a:pt x="239623" y="67670"/>
                  </a:cubicBezTo>
                  <a:cubicBezTo>
                    <a:pt x="244095" y="63840"/>
                    <a:pt x="249846" y="62563"/>
                    <a:pt x="255597" y="63201"/>
                  </a:cubicBezTo>
                  <a:cubicBezTo>
                    <a:pt x="261348" y="65117"/>
                    <a:pt x="263904" y="71501"/>
                    <a:pt x="265182" y="76608"/>
                  </a:cubicBezTo>
                  <a:cubicBezTo>
                    <a:pt x="265821" y="78523"/>
                    <a:pt x="266460" y="80438"/>
                    <a:pt x="267738" y="82353"/>
                  </a:cubicBezTo>
                  <a:cubicBezTo>
                    <a:pt x="269655" y="82992"/>
                    <a:pt x="271572" y="82992"/>
                    <a:pt x="273489" y="82992"/>
                  </a:cubicBezTo>
                  <a:cubicBezTo>
                    <a:pt x="279240" y="82353"/>
                    <a:pt x="284991" y="84269"/>
                    <a:pt x="289464" y="88737"/>
                  </a:cubicBezTo>
                  <a:cubicBezTo>
                    <a:pt x="292020" y="93845"/>
                    <a:pt x="292020" y="100229"/>
                    <a:pt x="289464" y="105336"/>
                  </a:cubicBezTo>
                  <a:cubicBezTo>
                    <a:pt x="288825" y="107251"/>
                    <a:pt x="288186" y="109805"/>
                    <a:pt x="288186" y="111720"/>
                  </a:cubicBezTo>
                  <a:cubicBezTo>
                    <a:pt x="289464" y="113635"/>
                    <a:pt x="291381" y="114912"/>
                    <a:pt x="293298" y="116189"/>
                  </a:cubicBezTo>
                  <a:cubicBezTo>
                    <a:pt x="300966" y="119381"/>
                    <a:pt x="304161" y="127680"/>
                    <a:pt x="301605" y="135341"/>
                  </a:cubicBezTo>
                  <a:cubicBezTo>
                    <a:pt x="300327" y="138533"/>
                    <a:pt x="297132" y="141086"/>
                    <a:pt x="293298" y="142363"/>
                  </a:cubicBezTo>
                  <a:lnTo>
                    <a:pt x="293298" y="142363"/>
                  </a:lnTo>
                  <a:close/>
                </a:path>
              </a:pathLst>
            </a:custGeom>
            <a:solidFill>
              <a:srgbClr val="62B5E5"/>
            </a:solidFill>
            <a:ln w="6390" cap="flat">
              <a:noFill/>
              <a:prstDash val="solid"/>
              <a:miter/>
            </a:ln>
          </p:spPr>
          <p:txBody>
            <a:bodyPr rtlCol="0" anchor="ctr"/>
            <a:lstStyle/>
            <a:p>
              <a:endParaRPr lang="en-US" sz="1000"/>
            </a:p>
          </p:txBody>
        </p:sp>
        <p:sp>
          <p:nvSpPr>
            <p:cNvPr id="76" name="Graphic 4">
              <a:extLst>
                <a:ext uri="{FF2B5EF4-FFF2-40B4-BE49-F238E27FC236}">
                  <a16:creationId xmlns:a16="http://schemas.microsoft.com/office/drawing/2014/main" id="{B7060843-132E-064D-4D51-DBF0EECEBDC7}"/>
                </a:ext>
              </a:extLst>
            </p:cNvPr>
            <p:cNvSpPr/>
            <p:nvPr/>
          </p:nvSpPr>
          <p:spPr>
            <a:xfrm>
              <a:off x="6218686" y="4973284"/>
              <a:ext cx="112462" cy="106612"/>
            </a:xfrm>
            <a:custGeom>
              <a:avLst/>
              <a:gdLst>
                <a:gd name="connsiteX0" fmla="*/ 99044 w 112462"/>
                <a:gd name="connsiteY0" fmla="*/ 40219 h 106612"/>
                <a:gd name="connsiteX1" fmla="*/ 99044 w 112462"/>
                <a:gd name="connsiteY1" fmla="*/ 40219 h 106612"/>
                <a:gd name="connsiteX2" fmla="*/ 100322 w 112462"/>
                <a:gd name="connsiteY2" fmla="*/ 26174 h 106612"/>
                <a:gd name="connsiteX3" fmla="*/ 101600 w 112462"/>
                <a:gd name="connsiteY3" fmla="*/ 21067 h 106612"/>
                <a:gd name="connsiteX4" fmla="*/ 95849 w 112462"/>
                <a:gd name="connsiteY4" fmla="*/ 21067 h 106612"/>
                <a:gd name="connsiteX5" fmla="*/ 82430 w 112462"/>
                <a:gd name="connsiteY5" fmla="*/ 17875 h 106612"/>
                <a:gd name="connsiteX6" fmla="*/ 75401 w 112462"/>
                <a:gd name="connsiteY6" fmla="*/ 5745 h 106612"/>
                <a:gd name="connsiteX7" fmla="*/ 73484 w 112462"/>
                <a:gd name="connsiteY7" fmla="*/ 638 h 106612"/>
                <a:gd name="connsiteX8" fmla="*/ 69011 w 112462"/>
                <a:gd name="connsiteY8" fmla="*/ 3830 h 106612"/>
                <a:gd name="connsiteX9" fmla="*/ 56231 w 112462"/>
                <a:gd name="connsiteY9" fmla="*/ 8937 h 106612"/>
                <a:gd name="connsiteX10" fmla="*/ 44090 w 112462"/>
                <a:gd name="connsiteY10" fmla="*/ 3192 h 106612"/>
                <a:gd name="connsiteX11" fmla="*/ 38978 w 112462"/>
                <a:gd name="connsiteY11" fmla="*/ 0 h 106612"/>
                <a:gd name="connsiteX12" fmla="*/ 36423 w 112462"/>
                <a:gd name="connsiteY12" fmla="*/ 5107 h 106612"/>
                <a:gd name="connsiteX13" fmla="*/ 29394 w 112462"/>
                <a:gd name="connsiteY13" fmla="*/ 16598 h 106612"/>
                <a:gd name="connsiteX14" fmla="*/ 15975 w 112462"/>
                <a:gd name="connsiteY14" fmla="*/ 19790 h 106612"/>
                <a:gd name="connsiteX15" fmla="*/ 10863 w 112462"/>
                <a:gd name="connsiteY15" fmla="*/ 19790 h 106612"/>
                <a:gd name="connsiteX16" fmla="*/ 12141 w 112462"/>
                <a:gd name="connsiteY16" fmla="*/ 24897 h 106612"/>
                <a:gd name="connsiteX17" fmla="*/ 5112 w 112462"/>
                <a:gd name="connsiteY17" fmla="*/ 47880 h 106612"/>
                <a:gd name="connsiteX18" fmla="*/ 4473 w 112462"/>
                <a:gd name="connsiteY18" fmla="*/ 48518 h 106612"/>
                <a:gd name="connsiteX19" fmla="*/ 0 w 112462"/>
                <a:gd name="connsiteY19" fmla="*/ 52348 h 106612"/>
                <a:gd name="connsiteX20" fmla="*/ 3834 w 112462"/>
                <a:gd name="connsiteY20" fmla="*/ 55540 h 106612"/>
                <a:gd name="connsiteX21" fmla="*/ 11502 w 112462"/>
                <a:gd name="connsiteY21" fmla="*/ 79161 h 106612"/>
                <a:gd name="connsiteX22" fmla="*/ 11502 w 112462"/>
                <a:gd name="connsiteY22" fmla="*/ 79800 h 106612"/>
                <a:gd name="connsiteX23" fmla="*/ 10224 w 112462"/>
                <a:gd name="connsiteY23" fmla="*/ 84907 h 106612"/>
                <a:gd name="connsiteX24" fmla="*/ 15975 w 112462"/>
                <a:gd name="connsiteY24" fmla="*/ 84907 h 106612"/>
                <a:gd name="connsiteX25" fmla="*/ 29394 w 112462"/>
                <a:gd name="connsiteY25" fmla="*/ 88099 h 106612"/>
                <a:gd name="connsiteX26" fmla="*/ 36423 w 112462"/>
                <a:gd name="connsiteY26" fmla="*/ 100228 h 106612"/>
                <a:gd name="connsiteX27" fmla="*/ 38340 w 112462"/>
                <a:gd name="connsiteY27" fmla="*/ 105336 h 106612"/>
                <a:gd name="connsiteX28" fmla="*/ 42813 w 112462"/>
                <a:gd name="connsiteY28" fmla="*/ 102782 h 106612"/>
                <a:gd name="connsiteX29" fmla="*/ 55593 w 112462"/>
                <a:gd name="connsiteY29" fmla="*/ 97675 h 106612"/>
                <a:gd name="connsiteX30" fmla="*/ 55593 w 112462"/>
                <a:gd name="connsiteY30" fmla="*/ 97675 h 106612"/>
                <a:gd name="connsiteX31" fmla="*/ 67733 w 112462"/>
                <a:gd name="connsiteY31" fmla="*/ 103420 h 106612"/>
                <a:gd name="connsiteX32" fmla="*/ 72845 w 112462"/>
                <a:gd name="connsiteY32" fmla="*/ 106612 h 106612"/>
                <a:gd name="connsiteX33" fmla="*/ 75401 w 112462"/>
                <a:gd name="connsiteY33" fmla="*/ 101505 h 106612"/>
                <a:gd name="connsiteX34" fmla="*/ 82430 w 112462"/>
                <a:gd name="connsiteY34" fmla="*/ 90014 h 106612"/>
                <a:gd name="connsiteX35" fmla="*/ 95849 w 112462"/>
                <a:gd name="connsiteY35" fmla="*/ 86822 h 106612"/>
                <a:gd name="connsiteX36" fmla="*/ 101600 w 112462"/>
                <a:gd name="connsiteY36" fmla="*/ 86822 h 106612"/>
                <a:gd name="connsiteX37" fmla="*/ 100322 w 112462"/>
                <a:gd name="connsiteY37" fmla="*/ 81715 h 106612"/>
                <a:gd name="connsiteX38" fmla="*/ 99044 w 112462"/>
                <a:gd name="connsiteY38" fmla="*/ 68308 h 106612"/>
                <a:gd name="connsiteX39" fmla="*/ 107990 w 112462"/>
                <a:gd name="connsiteY39" fmla="*/ 58094 h 106612"/>
                <a:gd name="connsiteX40" fmla="*/ 112463 w 112462"/>
                <a:gd name="connsiteY40" fmla="*/ 54902 h 106612"/>
                <a:gd name="connsiteX41" fmla="*/ 108629 w 112462"/>
                <a:gd name="connsiteY41" fmla="*/ 51710 h 106612"/>
                <a:gd name="connsiteX42" fmla="*/ 99044 w 112462"/>
                <a:gd name="connsiteY42" fmla="*/ 40219 h 106612"/>
                <a:gd name="connsiteX43" fmla="*/ 63260 w 112462"/>
                <a:gd name="connsiteY43" fmla="*/ 77884 h 106612"/>
                <a:gd name="connsiteX44" fmla="*/ 31310 w 112462"/>
                <a:gd name="connsiteY44" fmla="*/ 61286 h 106612"/>
                <a:gd name="connsiteX45" fmla="*/ 47925 w 112462"/>
                <a:gd name="connsiteY45" fmla="*/ 29366 h 106612"/>
                <a:gd name="connsiteX46" fmla="*/ 79874 w 112462"/>
                <a:gd name="connsiteY46" fmla="*/ 45964 h 106612"/>
                <a:gd name="connsiteX47" fmla="*/ 79874 w 112462"/>
                <a:gd name="connsiteY47" fmla="*/ 45964 h 106612"/>
                <a:gd name="connsiteX48" fmla="*/ 63260 w 112462"/>
                <a:gd name="connsiteY48" fmla="*/ 77884 h 106612"/>
                <a:gd name="connsiteX49" fmla="*/ 63260 w 112462"/>
                <a:gd name="connsiteY49" fmla="*/ 77884 h 10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2462" h="106612">
                  <a:moveTo>
                    <a:pt x="99044" y="40219"/>
                  </a:moveTo>
                  <a:lnTo>
                    <a:pt x="99044" y="40219"/>
                  </a:lnTo>
                  <a:cubicBezTo>
                    <a:pt x="98405" y="35750"/>
                    <a:pt x="98405" y="30643"/>
                    <a:pt x="100322" y="26174"/>
                  </a:cubicBezTo>
                  <a:cubicBezTo>
                    <a:pt x="100961" y="24259"/>
                    <a:pt x="101600" y="22344"/>
                    <a:pt x="101600" y="21067"/>
                  </a:cubicBezTo>
                  <a:cubicBezTo>
                    <a:pt x="100322" y="21067"/>
                    <a:pt x="97766" y="21067"/>
                    <a:pt x="95849" y="21067"/>
                  </a:cubicBezTo>
                  <a:cubicBezTo>
                    <a:pt x="91376" y="21067"/>
                    <a:pt x="86903" y="20428"/>
                    <a:pt x="82430" y="17875"/>
                  </a:cubicBezTo>
                  <a:cubicBezTo>
                    <a:pt x="79235" y="14683"/>
                    <a:pt x="76679" y="10852"/>
                    <a:pt x="75401" y="5745"/>
                  </a:cubicBezTo>
                  <a:cubicBezTo>
                    <a:pt x="74762" y="3830"/>
                    <a:pt x="74123" y="2553"/>
                    <a:pt x="73484" y="638"/>
                  </a:cubicBezTo>
                  <a:cubicBezTo>
                    <a:pt x="71567" y="1276"/>
                    <a:pt x="70289" y="2553"/>
                    <a:pt x="69011" y="3830"/>
                  </a:cubicBezTo>
                  <a:cubicBezTo>
                    <a:pt x="65177" y="7022"/>
                    <a:pt x="60704" y="8937"/>
                    <a:pt x="56231" y="8937"/>
                  </a:cubicBezTo>
                  <a:cubicBezTo>
                    <a:pt x="51758" y="8299"/>
                    <a:pt x="47285" y="6384"/>
                    <a:pt x="44090" y="3192"/>
                  </a:cubicBezTo>
                  <a:cubicBezTo>
                    <a:pt x="42813" y="1915"/>
                    <a:pt x="40895" y="638"/>
                    <a:pt x="38978" y="0"/>
                  </a:cubicBezTo>
                  <a:cubicBezTo>
                    <a:pt x="38340" y="1915"/>
                    <a:pt x="37062" y="3830"/>
                    <a:pt x="36423" y="5107"/>
                  </a:cubicBezTo>
                  <a:cubicBezTo>
                    <a:pt x="35145" y="9576"/>
                    <a:pt x="32589" y="13406"/>
                    <a:pt x="29394" y="16598"/>
                  </a:cubicBezTo>
                  <a:cubicBezTo>
                    <a:pt x="25560" y="19152"/>
                    <a:pt x="20448" y="19790"/>
                    <a:pt x="15975" y="19790"/>
                  </a:cubicBezTo>
                  <a:cubicBezTo>
                    <a:pt x="14058" y="19790"/>
                    <a:pt x="12141" y="19790"/>
                    <a:pt x="10863" y="19790"/>
                  </a:cubicBezTo>
                  <a:cubicBezTo>
                    <a:pt x="10863" y="21705"/>
                    <a:pt x="11502" y="23620"/>
                    <a:pt x="12141" y="24897"/>
                  </a:cubicBezTo>
                  <a:cubicBezTo>
                    <a:pt x="16614" y="33196"/>
                    <a:pt x="13419" y="43411"/>
                    <a:pt x="5112" y="47880"/>
                  </a:cubicBezTo>
                  <a:cubicBezTo>
                    <a:pt x="5112" y="47880"/>
                    <a:pt x="4473" y="47880"/>
                    <a:pt x="4473" y="48518"/>
                  </a:cubicBezTo>
                  <a:cubicBezTo>
                    <a:pt x="3195" y="49795"/>
                    <a:pt x="1278" y="51072"/>
                    <a:pt x="0" y="52348"/>
                  </a:cubicBezTo>
                  <a:cubicBezTo>
                    <a:pt x="1278" y="53625"/>
                    <a:pt x="2556" y="54902"/>
                    <a:pt x="3834" y="55540"/>
                  </a:cubicBezTo>
                  <a:cubicBezTo>
                    <a:pt x="12780" y="60009"/>
                    <a:pt x="15975" y="70862"/>
                    <a:pt x="11502" y="79161"/>
                  </a:cubicBezTo>
                  <a:cubicBezTo>
                    <a:pt x="11502" y="79161"/>
                    <a:pt x="11502" y="79161"/>
                    <a:pt x="11502" y="79800"/>
                  </a:cubicBezTo>
                  <a:cubicBezTo>
                    <a:pt x="10863" y="81715"/>
                    <a:pt x="10224" y="83630"/>
                    <a:pt x="10224" y="84907"/>
                  </a:cubicBezTo>
                  <a:lnTo>
                    <a:pt x="15975" y="84907"/>
                  </a:lnTo>
                  <a:cubicBezTo>
                    <a:pt x="20448" y="84907"/>
                    <a:pt x="24921" y="85545"/>
                    <a:pt x="29394" y="88099"/>
                  </a:cubicBezTo>
                  <a:cubicBezTo>
                    <a:pt x="32589" y="91291"/>
                    <a:pt x="35145" y="95121"/>
                    <a:pt x="36423" y="100228"/>
                  </a:cubicBezTo>
                  <a:cubicBezTo>
                    <a:pt x="37062" y="102144"/>
                    <a:pt x="37700" y="103420"/>
                    <a:pt x="38340" y="105336"/>
                  </a:cubicBezTo>
                  <a:cubicBezTo>
                    <a:pt x="40257" y="104697"/>
                    <a:pt x="41535" y="103420"/>
                    <a:pt x="42813" y="102782"/>
                  </a:cubicBezTo>
                  <a:cubicBezTo>
                    <a:pt x="46646" y="99590"/>
                    <a:pt x="51119" y="97675"/>
                    <a:pt x="55593" y="97675"/>
                  </a:cubicBezTo>
                  <a:lnTo>
                    <a:pt x="55593" y="97675"/>
                  </a:lnTo>
                  <a:cubicBezTo>
                    <a:pt x="60065" y="98313"/>
                    <a:pt x="64538" y="100228"/>
                    <a:pt x="67733" y="103420"/>
                  </a:cubicBezTo>
                  <a:cubicBezTo>
                    <a:pt x="69011" y="104697"/>
                    <a:pt x="70928" y="105974"/>
                    <a:pt x="72845" y="106612"/>
                  </a:cubicBezTo>
                  <a:cubicBezTo>
                    <a:pt x="73484" y="104697"/>
                    <a:pt x="74762" y="102782"/>
                    <a:pt x="75401" y="101505"/>
                  </a:cubicBezTo>
                  <a:cubicBezTo>
                    <a:pt x="76679" y="97036"/>
                    <a:pt x="79235" y="93206"/>
                    <a:pt x="82430" y="90014"/>
                  </a:cubicBezTo>
                  <a:cubicBezTo>
                    <a:pt x="86264" y="87460"/>
                    <a:pt x="91376" y="86822"/>
                    <a:pt x="95849" y="86822"/>
                  </a:cubicBezTo>
                  <a:cubicBezTo>
                    <a:pt x="97766" y="86822"/>
                    <a:pt x="99683" y="86822"/>
                    <a:pt x="101600" y="86822"/>
                  </a:cubicBezTo>
                  <a:cubicBezTo>
                    <a:pt x="101600" y="84907"/>
                    <a:pt x="100961" y="82992"/>
                    <a:pt x="100322" y="81715"/>
                  </a:cubicBezTo>
                  <a:cubicBezTo>
                    <a:pt x="98405" y="77246"/>
                    <a:pt x="98405" y="72777"/>
                    <a:pt x="99044" y="68308"/>
                  </a:cubicBezTo>
                  <a:cubicBezTo>
                    <a:pt x="100961" y="63840"/>
                    <a:pt x="104156" y="60648"/>
                    <a:pt x="107990" y="58094"/>
                  </a:cubicBezTo>
                  <a:cubicBezTo>
                    <a:pt x="109268" y="56817"/>
                    <a:pt x="111185" y="55540"/>
                    <a:pt x="112463" y="54902"/>
                  </a:cubicBezTo>
                  <a:cubicBezTo>
                    <a:pt x="111185" y="53625"/>
                    <a:pt x="109907" y="52348"/>
                    <a:pt x="108629" y="51710"/>
                  </a:cubicBezTo>
                  <a:cubicBezTo>
                    <a:pt x="104156" y="47880"/>
                    <a:pt x="100961" y="44688"/>
                    <a:pt x="99044" y="40219"/>
                  </a:cubicBezTo>
                  <a:close/>
                  <a:moveTo>
                    <a:pt x="63260" y="77884"/>
                  </a:moveTo>
                  <a:cubicBezTo>
                    <a:pt x="49841" y="82353"/>
                    <a:pt x="35145" y="74692"/>
                    <a:pt x="31310" y="61286"/>
                  </a:cubicBezTo>
                  <a:cubicBezTo>
                    <a:pt x="26838" y="47880"/>
                    <a:pt x="34505" y="33196"/>
                    <a:pt x="47925" y="29366"/>
                  </a:cubicBezTo>
                  <a:cubicBezTo>
                    <a:pt x="61343" y="25536"/>
                    <a:pt x="76040" y="32558"/>
                    <a:pt x="79874" y="45964"/>
                  </a:cubicBezTo>
                  <a:cubicBezTo>
                    <a:pt x="79874" y="45964"/>
                    <a:pt x="79874" y="45964"/>
                    <a:pt x="79874" y="45964"/>
                  </a:cubicBezTo>
                  <a:cubicBezTo>
                    <a:pt x="84347" y="59371"/>
                    <a:pt x="77318" y="73416"/>
                    <a:pt x="63260" y="77884"/>
                  </a:cubicBezTo>
                  <a:cubicBezTo>
                    <a:pt x="63899" y="77884"/>
                    <a:pt x="63899" y="77884"/>
                    <a:pt x="63260" y="77884"/>
                  </a:cubicBezTo>
                  <a:close/>
                </a:path>
              </a:pathLst>
            </a:custGeom>
            <a:solidFill>
              <a:srgbClr val="00A3E0"/>
            </a:solidFill>
            <a:ln w="6390" cap="flat">
              <a:noFill/>
              <a:prstDash val="solid"/>
              <a:miter/>
            </a:ln>
          </p:spPr>
          <p:txBody>
            <a:bodyPr rtlCol="0" anchor="ctr"/>
            <a:lstStyle/>
            <a:p>
              <a:endParaRPr lang="en-US" sz="1000"/>
            </a:p>
          </p:txBody>
        </p:sp>
        <p:sp>
          <p:nvSpPr>
            <p:cNvPr id="77" name="Graphic 4">
              <a:extLst>
                <a:ext uri="{FF2B5EF4-FFF2-40B4-BE49-F238E27FC236}">
                  <a16:creationId xmlns:a16="http://schemas.microsoft.com/office/drawing/2014/main" id="{988C0B57-55BF-A975-7764-6FDF6F7FC7A6}"/>
                </a:ext>
              </a:extLst>
            </p:cNvPr>
            <p:cNvSpPr/>
            <p:nvPr/>
          </p:nvSpPr>
          <p:spPr>
            <a:xfrm>
              <a:off x="6368153" y="4908806"/>
              <a:ext cx="26109" cy="26027"/>
            </a:xfrm>
            <a:custGeom>
              <a:avLst/>
              <a:gdLst>
                <a:gd name="connsiteX0" fmla="*/ 18588 w 26109"/>
                <a:gd name="connsiteY0" fmla="*/ 1277 h 26027"/>
                <a:gd name="connsiteX1" fmla="*/ 12837 w 26109"/>
                <a:gd name="connsiteY1" fmla="*/ 0 h 26027"/>
                <a:gd name="connsiteX2" fmla="*/ 9004 w 26109"/>
                <a:gd name="connsiteY2" fmla="*/ 639 h 26027"/>
                <a:gd name="connsiteX3" fmla="*/ 1336 w 26109"/>
                <a:gd name="connsiteY3" fmla="*/ 7023 h 26027"/>
                <a:gd name="connsiteX4" fmla="*/ 697 w 26109"/>
                <a:gd name="connsiteY4" fmla="*/ 16599 h 26027"/>
                <a:gd name="connsiteX5" fmla="*/ 16672 w 26109"/>
                <a:gd name="connsiteY5" fmla="*/ 25536 h 26027"/>
                <a:gd name="connsiteX6" fmla="*/ 25617 w 26109"/>
                <a:gd name="connsiteY6" fmla="*/ 9576 h 26027"/>
                <a:gd name="connsiteX7" fmla="*/ 18588 w 26109"/>
                <a:gd name="connsiteY7" fmla="*/ 1277 h 26027"/>
                <a:gd name="connsiteX8" fmla="*/ 18588 w 26109"/>
                <a:gd name="connsiteY8" fmla="*/ 1277 h 2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 h="26027">
                  <a:moveTo>
                    <a:pt x="18588" y="1277"/>
                  </a:moveTo>
                  <a:cubicBezTo>
                    <a:pt x="16672" y="639"/>
                    <a:pt x="14755" y="0"/>
                    <a:pt x="12837" y="0"/>
                  </a:cubicBezTo>
                  <a:cubicBezTo>
                    <a:pt x="11560" y="0"/>
                    <a:pt x="10282" y="0"/>
                    <a:pt x="9004" y="639"/>
                  </a:cubicBezTo>
                  <a:cubicBezTo>
                    <a:pt x="5809" y="1915"/>
                    <a:pt x="3252" y="3831"/>
                    <a:pt x="1336" y="7023"/>
                  </a:cubicBezTo>
                  <a:cubicBezTo>
                    <a:pt x="57" y="10215"/>
                    <a:pt x="-581" y="13407"/>
                    <a:pt x="697" y="16599"/>
                  </a:cubicBezTo>
                  <a:cubicBezTo>
                    <a:pt x="2614" y="23621"/>
                    <a:pt x="9642" y="27451"/>
                    <a:pt x="16672" y="25536"/>
                  </a:cubicBezTo>
                  <a:cubicBezTo>
                    <a:pt x="23700" y="23621"/>
                    <a:pt x="27535" y="16599"/>
                    <a:pt x="25617" y="9576"/>
                  </a:cubicBezTo>
                  <a:cubicBezTo>
                    <a:pt x="24340" y="5746"/>
                    <a:pt x="21783" y="2554"/>
                    <a:pt x="18588" y="1277"/>
                  </a:cubicBezTo>
                  <a:lnTo>
                    <a:pt x="18588" y="1277"/>
                  </a:lnTo>
                  <a:close/>
                </a:path>
              </a:pathLst>
            </a:custGeom>
            <a:solidFill>
              <a:srgbClr val="00A3E0"/>
            </a:solidFill>
            <a:ln w="6390" cap="flat">
              <a:noFill/>
              <a:prstDash val="solid"/>
              <a:miter/>
            </a:ln>
          </p:spPr>
          <p:txBody>
            <a:bodyPr rtlCol="0" anchor="ctr"/>
            <a:lstStyle/>
            <a:p>
              <a:endParaRPr lang="en-US" sz="1000"/>
            </a:p>
          </p:txBody>
        </p:sp>
        <p:sp>
          <p:nvSpPr>
            <p:cNvPr id="78" name="Graphic 4">
              <a:extLst>
                <a:ext uri="{FF2B5EF4-FFF2-40B4-BE49-F238E27FC236}">
                  <a16:creationId xmlns:a16="http://schemas.microsoft.com/office/drawing/2014/main" id="{4BC94E58-5E82-3BD6-659B-0159A08963D0}"/>
                </a:ext>
              </a:extLst>
            </p:cNvPr>
            <p:cNvSpPr/>
            <p:nvPr/>
          </p:nvSpPr>
          <p:spPr>
            <a:xfrm>
              <a:off x="6262229" y="5014142"/>
              <a:ext cx="25377" cy="25445"/>
            </a:xfrm>
            <a:custGeom>
              <a:avLst/>
              <a:gdLst>
                <a:gd name="connsiteX0" fmla="*/ 12689 w 25377"/>
                <a:gd name="connsiteY0" fmla="*/ 0 h 25445"/>
                <a:gd name="connsiteX1" fmla="*/ 8855 w 25377"/>
                <a:gd name="connsiteY1" fmla="*/ 639 h 25445"/>
                <a:gd name="connsiteX2" fmla="*/ 548 w 25377"/>
                <a:gd name="connsiteY2" fmla="*/ 16599 h 25445"/>
                <a:gd name="connsiteX3" fmla="*/ 16523 w 25377"/>
                <a:gd name="connsiteY3" fmla="*/ 24898 h 25445"/>
                <a:gd name="connsiteX4" fmla="*/ 24830 w 25377"/>
                <a:gd name="connsiteY4" fmla="*/ 8938 h 25445"/>
                <a:gd name="connsiteX5" fmla="*/ 12689 w 25377"/>
                <a:gd name="connsiteY5" fmla="*/ 0 h 25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 h="25445">
                  <a:moveTo>
                    <a:pt x="12689" y="0"/>
                  </a:moveTo>
                  <a:cubicBezTo>
                    <a:pt x="11411" y="0"/>
                    <a:pt x="10133" y="0"/>
                    <a:pt x="8855" y="639"/>
                  </a:cubicBezTo>
                  <a:cubicBezTo>
                    <a:pt x="1826" y="2554"/>
                    <a:pt x="-1369" y="9576"/>
                    <a:pt x="548" y="16599"/>
                  </a:cubicBezTo>
                  <a:cubicBezTo>
                    <a:pt x="2465" y="23621"/>
                    <a:pt x="9494" y="26813"/>
                    <a:pt x="16523" y="24898"/>
                  </a:cubicBezTo>
                  <a:cubicBezTo>
                    <a:pt x="23552" y="22983"/>
                    <a:pt x="26747" y="15960"/>
                    <a:pt x="24830" y="8938"/>
                  </a:cubicBezTo>
                  <a:cubicBezTo>
                    <a:pt x="23552" y="3831"/>
                    <a:pt x="18440" y="0"/>
                    <a:pt x="12689" y="0"/>
                  </a:cubicBezTo>
                  <a:close/>
                </a:path>
              </a:pathLst>
            </a:custGeom>
            <a:solidFill>
              <a:srgbClr val="00A3E0"/>
            </a:solidFill>
            <a:ln w="6390" cap="flat">
              <a:noFill/>
              <a:prstDash val="solid"/>
              <a:miter/>
            </a:ln>
          </p:spPr>
          <p:txBody>
            <a:bodyPr rtlCol="0" anchor="ctr"/>
            <a:lstStyle/>
            <a:p>
              <a:endParaRPr lang="en-US" sz="1000"/>
            </a:p>
          </p:txBody>
        </p:sp>
        <p:sp>
          <p:nvSpPr>
            <p:cNvPr id="79" name="Graphic 4">
              <a:extLst>
                <a:ext uri="{FF2B5EF4-FFF2-40B4-BE49-F238E27FC236}">
                  <a16:creationId xmlns:a16="http://schemas.microsoft.com/office/drawing/2014/main" id="{A2D2A25E-FD9A-F513-0C5E-85033CADF26B}"/>
                </a:ext>
              </a:extLst>
            </p:cNvPr>
            <p:cNvSpPr/>
            <p:nvPr/>
          </p:nvSpPr>
          <p:spPr>
            <a:xfrm>
              <a:off x="6324120" y="4866672"/>
              <a:ext cx="111823" cy="105335"/>
            </a:xfrm>
            <a:custGeom>
              <a:avLst/>
              <a:gdLst>
                <a:gd name="connsiteX0" fmla="*/ 99683 w 111823"/>
                <a:gd name="connsiteY0" fmla="*/ 40857 h 105335"/>
                <a:gd name="connsiteX1" fmla="*/ 100961 w 111823"/>
                <a:gd name="connsiteY1" fmla="*/ 26813 h 105335"/>
                <a:gd name="connsiteX2" fmla="*/ 102239 w 111823"/>
                <a:gd name="connsiteY2" fmla="*/ 21705 h 105335"/>
                <a:gd name="connsiteX3" fmla="*/ 96488 w 111823"/>
                <a:gd name="connsiteY3" fmla="*/ 21705 h 105335"/>
                <a:gd name="connsiteX4" fmla="*/ 76679 w 111823"/>
                <a:gd name="connsiteY4" fmla="*/ 7022 h 105335"/>
                <a:gd name="connsiteX5" fmla="*/ 76679 w 111823"/>
                <a:gd name="connsiteY5" fmla="*/ 6384 h 105335"/>
                <a:gd name="connsiteX6" fmla="*/ 74762 w 111823"/>
                <a:gd name="connsiteY6" fmla="*/ 1277 h 105335"/>
                <a:gd name="connsiteX7" fmla="*/ 70289 w 111823"/>
                <a:gd name="connsiteY7" fmla="*/ 3830 h 105335"/>
                <a:gd name="connsiteX8" fmla="*/ 57509 w 111823"/>
                <a:gd name="connsiteY8" fmla="*/ 8937 h 105335"/>
                <a:gd name="connsiteX9" fmla="*/ 45368 w 111823"/>
                <a:gd name="connsiteY9" fmla="*/ 3192 h 105335"/>
                <a:gd name="connsiteX10" fmla="*/ 40257 w 111823"/>
                <a:gd name="connsiteY10" fmla="*/ 0 h 105335"/>
                <a:gd name="connsiteX11" fmla="*/ 37700 w 111823"/>
                <a:gd name="connsiteY11" fmla="*/ 5107 h 105335"/>
                <a:gd name="connsiteX12" fmla="*/ 30672 w 111823"/>
                <a:gd name="connsiteY12" fmla="*/ 16598 h 105335"/>
                <a:gd name="connsiteX13" fmla="*/ 17253 w 111823"/>
                <a:gd name="connsiteY13" fmla="*/ 19790 h 105335"/>
                <a:gd name="connsiteX14" fmla="*/ 11502 w 111823"/>
                <a:gd name="connsiteY14" fmla="*/ 19790 h 105335"/>
                <a:gd name="connsiteX15" fmla="*/ 12780 w 111823"/>
                <a:gd name="connsiteY15" fmla="*/ 24897 h 105335"/>
                <a:gd name="connsiteX16" fmla="*/ 5751 w 111823"/>
                <a:gd name="connsiteY16" fmla="*/ 47880 h 105335"/>
                <a:gd name="connsiteX17" fmla="*/ 4473 w 111823"/>
                <a:gd name="connsiteY17" fmla="*/ 48518 h 105335"/>
                <a:gd name="connsiteX18" fmla="*/ 0 w 111823"/>
                <a:gd name="connsiteY18" fmla="*/ 52349 h 105335"/>
                <a:gd name="connsiteX19" fmla="*/ 3834 w 111823"/>
                <a:gd name="connsiteY19" fmla="*/ 55541 h 105335"/>
                <a:gd name="connsiteX20" fmla="*/ 12141 w 111823"/>
                <a:gd name="connsiteY20" fmla="*/ 79161 h 105335"/>
                <a:gd name="connsiteX21" fmla="*/ 11502 w 111823"/>
                <a:gd name="connsiteY21" fmla="*/ 79800 h 105335"/>
                <a:gd name="connsiteX22" fmla="*/ 10224 w 111823"/>
                <a:gd name="connsiteY22" fmla="*/ 84907 h 105335"/>
                <a:gd name="connsiteX23" fmla="*/ 15975 w 111823"/>
                <a:gd name="connsiteY23" fmla="*/ 84907 h 105335"/>
                <a:gd name="connsiteX24" fmla="*/ 35783 w 111823"/>
                <a:gd name="connsiteY24" fmla="*/ 98952 h 105335"/>
                <a:gd name="connsiteX25" fmla="*/ 35783 w 111823"/>
                <a:gd name="connsiteY25" fmla="*/ 99590 h 105335"/>
                <a:gd name="connsiteX26" fmla="*/ 37700 w 111823"/>
                <a:gd name="connsiteY26" fmla="*/ 104697 h 105335"/>
                <a:gd name="connsiteX27" fmla="*/ 42173 w 111823"/>
                <a:gd name="connsiteY27" fmla="*/ 101505 h 105335"/>
                <a:gd name="connsiteX28" fmla="*/ 54953 w 111823"/>
                <a:gd name="connsiteY28" fmla="*/ 96398 h 105335"/>
                <a:gd name="connsiteX29" fmla="*/ 54953 w 111823"/>
                <a:gd name="connsiteY29" fmla="*/ 96398 h 105335"/>
                <a:gd name="connsiteX30" fmla="*/ 67094 w 111823"/>
                <a:gd name="connsiteY30" fmla="*/ 102144 h 105335"/>
                <a:gd name="connsiteX31" fmla="*/ 72206 w 111823"/>
                <a:gd name="connsiteY31" fmla="*/ 105336 h 105335"/>
                <a:gd name="connsiteX32" fmla="*/ 74762 w 111823"/>
                <a:gd name="connsiteY32" fmla="*/ 100229 h 105335"/>
                <a:gd name="connsiteX33" fmla="*/ 81791 w 111823"/>
                <a:gd name="connsiteY33" fmla="*/ 88737 h 105335"/>
                <a:gd name="connsiteX34" fmla="*/ 95210 w 111823"/>
                <a:gd name="connsiteY34" fmla="*/ 85545 h 105335"/>
                <a:gd name="connsiteX35" fmla="*/ 100961 w 111823"/>
                <a:gd name="connsiteY35" fmla="*/ 85545 h 105335"/>
                <a:gd name="connsiteX36" fmla="*/ 99683 w 111823"/>
                <a:gd name="connsiteY36" fmla="*/ 80438 h 105335"/>
                <a:gd name="connsiteX37" fmla="*/ 98405 w 111823"/>
                <a:gd name="connsiteY37" fmla="*/ 67032 h 105335"/>
                <a:gd name="connsiteX38" fmla="*/ 107351 w 111823"/>
                <a:gd name="connsiteY38" fmla="*/ 56817 h 105335"/>
                <a:gd name="connsiteX39" fmla="*/ 111824 w 111823"/>
                <a:gd name="connsiteY39" fmla="*/ 52987 h 105335"/>
                <a:gd name="connsiteX40" fmla="*/ 107990 w 111823"/>
                <a:gd name="connsiteY40" fmla="*/ 49795 h 105335"/>
                <a:gd name="connsiteX41" fmla="*/ 99683 w 111823"/>
                <a:gd name="connsiteY41" fmla="*/ 40857 h 105335"/>
                <a:gd name="connsiteX42" fmla="*/ 79235 w 111823"/>
                <a:gd name="connsiteY42" fmla="*/ 65755 h 105335"/>
                <a:gd name="connsiteX43" fmla="*/ 64538 w 111823"/>
                <a:gd name="connsiteY43" fmla="*/ 78523 h 105335"/>
                <a:gd name="connsiteX44" fmla="*/ 56870 w 111823"/>
                <a:gd name="connsiteY44" fmla="*/ 79800 h 105335"/>
                <a:gd name="connsiteX45" fmla="*/ 45368 w 111823"/>
                <a:gd name="connsiteY45" fmla="*/ 76608 h 105335"/>
                <a:gd name="connsiteX46" fmla="*/ 33867 w 111823"/>
                <a:gd name="connsiteY46" fmla="*/ 42134 h 105335"/>
                <a:gd name="connsiteX47" fmla="*/ 68372 w 111823"/>
                <a:gd name="connsiteY47" fmla="*/ 30643 h 105335"/>
                <a:gd name="connsiteX48" fmla="*/ 81152 w 111823"/>
                <a:gd name="connsiteY48" fmla="*/ 45965 h 105335"/>
                <a:gd name="connsiteX49" fmla="*/ 79235 w 111823"/>
                <a:gd name="connsiteY49" fmla="*/ 65755 h 10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1823" h="105335">
                  <a:moveTo>
                    <a:pt x="99683" y="40857"/>
                  </a:moveTo>
                  <a:cubicBezTo>
                    <a:pt x="99044" y="36389"/>
                    <a:pt x="99044" y="31281"/>
                    <a:pt x="100961" y="26813"/>
                  </a:cubicBezTo>
                  <a:cubicBezTo>
                    <a:pt x="101600" y="24897"/>
                    <a:pt x="102239" y="22982"/>
                    <a:pt x="102239" y="21705"/>
                  </a:cubicBezTo>
                  <a:lnTo>
                    <a:pt x="96488" y="21705"/>
                  </a:lnTo>
                  <a:cubicBezTo>
                    <a:pt x="86903" y="22982"/>
                    <a:pt x="77957" y="16598"/>
                    <a:pt x="76679" y="7022"/>
                  </a:cubicBezTo>
                  <a:cubicBezTo>
                    <a:pt x="76679" y="7022"/>
                    <a:pt x="76679" y="6384"/>
                    <a:pt x="76679" y="6384"/>
                  </a:cubicBezTo>
                  <a:cubicBezTo>
                    <a:pt x="76040" y="4469"/>
                    <a:pt x="75401" y="3192"/>
                    <a:pt x="74762" y="1277"/>
                  </a:cubicBezTo>
                  <a:cubicBezTo>
                    <a:pt x="72845" y="1915"/>
                    <a:pt x="71567" y="3192"/>
                    <a:pt x="70289" y="3830"/>
                  </a:cubicBezTo>
                  <a:cubicBezTo>
                    <a:pt x="66455" y="7022"/>
                    <a:pt x="61982" y="8299"/>
                    <a:pt x="57509" y="8937"/>
                  </a:cubicBezTo>
                  <a:cubicBezTo>
                    <a:pt x="53036" y="8299"/>
                    <a:pt x="48563" y="6384"/>
                    <a:pt x="45368" y="3192"/>
                  </a:cubicBezTo>
                  <a:cubicBezTo>
                    <a:pt x="44090" y="1915"/>
                    <a:pt x="42173" y="1277"/>
                    <a:pt x="40257" y="0"/>
                  </a:cubicBezTo>
                  <a:cubicBezTo>
                    <a:pt x="39618" y="1915"/>
                    <a:pt x="38340" y="3192"/>
                    <a:pt x="37700" y="5107"/>
                  </a:cubicBezTo>
                  <a:cubicBezTo>
                    <a:pt x="36423" y="9576"/>
                    <a:pt x="33867" y="13406"/>
                    <a:pt x="30672" y="16598"/>
                  </a:cubicBezTo>
                  <a:cubicBezTo>
                    <a:pt x="26838" y="19152"/>
                    <a:pt x="21726" y="19790"/>
                    <a:pt x="17253" y="19790"/>
                  </a:cubicBezTo>
                  <a:cubicBezTo>
                    <a:pt x="15336" y="19790"/>
                    <a:pt x="13419" y="19790"/>
                    <a:pt x="11502" y="19790"/>
                  </a:cubicBezTo>
                  <a:cubicBezTo>
                    <a:pt x="11502" y="21705"/>
                    <a:pt x="12141" y="23621"/>
                    <a:pt x="12780" y="24897"/>
                  </a:cubicBezTo>
                  <a:cubicBezTo>
                    <a:pt x="17253" y="33197"/>
                    <a:pt x="14058" y="43411"/>
                    <a:pt x="5751" y="47880"/>
                  </a:cubicBezTo>
                  <a:cubicBezTo>
                    <a:pt x="5112" y="47880"/>
                    <a:pt x="5112" y="48518"/>
                    <a:pt x="4473" y="48518"/>
                  </a:cubicBezTo>
                  <a:cubicBezTo>
                    <a:pt x="3195" y="49795"/>
                    <a:pt x="1278" y="51072"/>
                    <a:pt x="0" y="52349"/>
                  </a:cubicBezTo>
                  <a:cubicBezTo>
                    <a:pt x="1278" y="53625"/>
                    <a:pt x="2556" y="54902"/>
                    <a:pt x="3834" y="55541"/>
                  </a:cubicBezTo>
                  <a:cubicBezTo>
                    <a:pt x="12780" y="60009"/>
                    <a:pt x="15975" y="70224"/>
                    <a:pt x="12141" y="79161"/>
                  </a:cubicBezTo>
                  <a:cubicBezTo>
                    <a:pt x="12141" y="79161"/>
                    <a:pt x="12141" y="79800"/>
                    <a:pt x="11502" y="79800"/>
                  </a:cubicBezTo>
                  <a:cubicBezTo>
                    <a:pt x="10863" y="81715"/>
                    <a:pt x="10224" y="83630"/>
                    <a:pt x="10224" y="84907"/>
                  </a:cubicBezTo>
                  <a:cubicBezTo>
                    <a:pt x="11502" y="84907"/>
                    <a:pt x="14058" y="84907"/>
                    <a:pt x="15975" y="84907"/>
                  </a:cubicBezTo>
                  <a:cubicBezTo>
                    <a:pt x="25560" y="83630"/>
                    <a:pt x="34505" y="89376"/>
                    <a:pt x="35783" y="98952"/>
                  </a:cubicBezTo>
                  <a:cubicBezTo>
                    <a:pt x="35783" y="98952"/>
                    <a:pt x="35783" y="99590"/>
                    <a:pt x="35783" y="99590"/>
                  </a:cubicBezTo>
                  <a:cubicBezTo>
                    <a:pt x="36423" y="101505"/>
                    <a:pt x="37062" y="102782"/>
                    <a:pt x="37700" y="104697"/>
                  </a:cubicBezTo>
                  <a:cubicBezTo>
                    <a:pt x="39618" y="104059"/>
                    <a:pt x="40895" y="102782"/>
                    <a:pt x="42173" y="101505"/>
                  </a:cubicBezTo>
                  <a:cubicBezTo>
                    <a:pt x="46008" y="98313"/>
                    <a:pt x="50480" y="97037"/>
                    <a:pt x="54953" y="96398"/>
                  </a:cubicBezTo>
                  <a:lnTo>
                    <a:pt x="54953" y="96398"/>
                  </a:lnTo>
                  <a:cubicBezTo>
                    <a:pt x="59426" y="97037"/>
                    <a:pt x="63899" y="98952"/>
                    <a:pt x="67094" y="102144"/>
                  </a:cubicBezTo>
                  <a:cubicBezTo>
                    <a:pt x="68372" y="103421"/>
                    <a:pt x="70289" y="104697"/>
                    <a:pt x="72206" y="105336"/>
                  </a:cubicBezTo>
                  <a:cubicBezTo>
                    <a:pt x="72845" y="103421"/>
                    <a:pt x="74123" y="101505"/>
                    <a:pt x="74762" y="100229"/>
                  </a:cubicBezTo>
                  <a:cubicBezTo>
                    <a:pt x="76040" y="95760"/>
                    <a:pt x="77957" y="91929"/>
                    <a:pt x="81791" y="88737"/>
                  </a:cubicBezTo>
                  <a:cubicBezTo>
                    <a:pt x="85625" y="86184"/>
                    <a:pt x="90737" y="85545"/>
                    <a:pt x="95210" y="85545"/>
                  </a:cubicBezTo>
                  <a:cubicBezTo>
                    <a:pt x="97127" y="85545"/>
                    <a:pt x="99044" y="85545"/>
                    <a:pt x="100961" y="85545"/>
                  </a:cubicBezTo>
                  <a:cubicBezTo>
                    <a:pt x="100961" y="83630"/>
                    <a:pt x="100322" y="81715"/>
                    <a:pt x="99683" y="80438"/>
                  </a:cubicBezTo>
                  <a:cubicBezTo>
                    <a:pt x="97766" y="75969"/>
                    <a:pt x="97766" y="71501"/>
                    <a:pt x="98405" y="67032"/>
                  </a:cubicBezTo>
                  <a:cubicBezTo>
                    <a:pt x="100322" y="62563"/>
                    <a:pt x="103517" y="59371"/>
                    <a:pt x="107351" y="56817"/>
                  </a:cubicBezTo>
                  <a:cubicBezTo>
                    <a:pt x="108629" y="55541"/>
                    <a:pt x="110546" y="54264"/>
                    <a:pt x="111824" y="52987"/>
                  </a:cubicBezTo>
                  <a:cubicBezTo>
                    <a:pt x="110546" y="51710"/>
                    <a:pt x="109268" y="50433"/>
                    <a:pt x="107990" y="49795"/>
                  </a:cubicBezTo>
                  <a:cubicBezTo>
                    <a:pt x="104795" y="49157"/>
                    <a:pt x="101600" y="45326"/>
                    <a:pt x="99683" y="40857"/>
                  </a:cubicBezTo>
                  <a:close/>
                  <a:moveTo>
                    <a:pt x="79235" y="65755"/>
                  </a:moveTo>
                  <a:cubicBezTo>
                    <a:pt x="76040" y="72139"/>
                    <a:pt x="70928" y="76608"/>
                    <a:pt x="64538" y="78523"/>
                  </a:cubicBezTo>
                  <a:cubicBezTo>
                    <a:pt x="61982" y="79161"/>
                    <a:pt x="59426" y="79800"/>
                    <a:pt x="56870" y="79800"/>
                  </a:cubicBezTo>
                  <a:cubicBezTo>
                    <a:pt x="53036" y="79800"/>
                    <a:pt x="48563" y="78523"/>
                    <a:pt x="45368" y="76608"/>
                  </a:cubicBezTo>
                  <a:cubicBezTo>
                    <a:pt x="32589" y="70224"/>
                    <a:pt x="27477" y="54902"/>
                    <a:pt x="33867" y="42134"/>
                  </a:cubicBezTo>
                  <a:cubicBezTo>
                    <a:pt x="40257" y="29366"/>
                    <a:pt x="55593" y="24259"/>
                    <a:pt x="68372" y="30643"/>
                  </a:cubicBezTo>
                  <a:cubicBezTo>
                    <a:pt x="74762" y="33835"/>
                    <a:pt x="79235" y="39581"/>
                    <a:pt x="81152" y="45965"/>
                  </a:cubicBezTo>
                  <a:cubicBezTo>
                    <a:pt x="83069" y="53625"/>
                    <a:pt x="82430" y="60009"/>
                    <a:pt x="79235" y="65755"/>
                  </a:cubicBezTo>
                  <a:close/>
                </a:path>
              </a:pathLst>
            </a:custGeom>
            <a:solidFill>
              <a:srgbClr val="00A3E0"/>
            </a:solidFill>
            <a:ln w="6390" cap="flat">
              <a:noFill/>
              <a:prstDash val="solid"/>
              <a:miter/>
            </a:ln>
          </p:spPr>
          <p:txBody>
            <a:bodyPr rtlCol="0" anchor="ctr"/>
            <a:lstStyle/>
            <a:p>
              <a:endParaRPr lang="en-US" sz="1000"/>
            </a:p>
          </p:txBody>
        </p:sp>
      </p:grpSp>
      <p:grpSp>
        <p:nvGrpSpPr>
          <p:cNvPr id="80" name="Graphic 4">
            <a:extLst>
              <a:ext uri="{FF2B5EF4-FFF2-40B4-BE49-F238E27FC236}">
                <a16:creationId xmlns:a16="http://schemas.microsoft.com/office/drawing/2014/main" id="{C4E3CAA9-416B-8540-017A-C940940B08A4}"/>
              </a:ext>
            </a:extLst>
          </p:cNvPr>
          <p:cNvGrpSpPr>
            <a:grpSpLocks noChangeAspect="1"/>
          </p:cNvGrpSpPr>
          <p:nvPr/>
        </p:nvGrpSpPr>
        <p:grpSpPr>
          <a:xfrm>
            <a:off x="8002520" y="2130160"/>
            <a:ext cx="201857" cy="201669"/>
            <a:chOff x="905454" y="4308712"/>
            <a:chExt cx="362309" cy="361971"/>
          </a:xfrm>
          <a:solidFill>
            <a:srgbClr val="007680"/>
          </a:solidFill>
        </p:grpSpPr>
        <p:sp>
          <p:nvSpPr>
            <p:cNvPr id="81" name="Graphic 4">
              <a:extLst>
                <a:ext uri="{FF2B5EF4-FFF2-40B4-BE49-F238E27FC236}">
                  <a16:creationId xmlns:a16="http://schemas.microsoft.com/office/drawing/2014/main" id="{12D259DB-5EE9-FA3C-F8E1-F285AADD23BA}"/>
                </a:ext>
              </a:extLst>
            </p:cNvPr>
            <p:cNvSpPr/>
            <p:nvPr/>
          </p:nvSpPr>
          <p:spPr>
            <a:xfrm>
              <a:off x="988523" y="4480441"/>
              <a:ext cx="17891" cy="17875"/>
            </a:xfrm>
            <a:custGeom>
              <a:avLst/>
              <a:gdLst>
                <a:gd name="connsiteX0" fmla="*/ 8946 w 17891"/>
                <a:gd name="connsiteY0" fmla="*/ 0 h 17875"/>
                <a:gd name="connsiteX1" fmla="*/ 0 w 17891"/>
                <a:gd name="connsiteY1" fmla="*/ 8937 h 17875"/>
                <a:gd name="connsiteX2" fmla="*/ 8946 w 17891"/>
                <a:gd name="connsiteY2" fmla="*/ 17875 h 17875"/>
                <a:gd name="connsiteX3" fmla="*/ 17892 w 17891"/>
                <a:gd name="connsiteY3" fmla="*/ 8937 h 17875"/>
                <a:gd name="connsiteX4" fmla="*/ 8946 w 17891"/>
                <a:gd name="connsiteY4" fmla="*/ 0 h 17875"/>
                <a:gd name="connsiteX5" fmla="*/ 8946 w 17891"/>
                <a:gd name="connsiteY5" fmla="*/ 0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8946" y="0"/>
                  </a:moveTo>
                  <a:cubicBezTo>
                    <a:pt x="3834" y="0"/>
                    <a:pt x="0" y="3830"/>
                    <a:pt x="0" y="8937"/>
                  </a:cubicBezTo>
                  <a:cubicBezTo>
                    <a:pt x="0" y="14045"/>
                    <a:pt x="3834" y="17875"/>
                    <a:pt x="8946" y="17875"/>
                  </a:cubicBezTo>
                  <a:cubicBezTo>
                    <a:pt x="14058" y="17875"/>
                    <a:pt x="17892" y="14045"/>
                    <a:pt x="17892" y="8937"/>
                  </a:cubicBezTo>
                  <a:cubicBezTo>
                    <a:pt x="17892" y="3830"/>
                    <a:pt x="14058" y="0"/>
                    <a:pt x="8946" y="0"/>
                  </a:cubicBezTo>
                  <a:cubicBezTo>
                    <a:pt x="8946" y="0"/>
                    <a:pt x="8946" y="0"/>
                    <a:pt x="8946" y="0"/>
                  </a:cubicBezTo>
                  <a:close/>
                </a:path>
              </a:pathLst>
            </a:custGeom>
            <a:solidFill>
              <a:srgbClr val="007680"/>
            </a:solidFill>
            <a:ln w="6390" cap="flat">
              <a:noFill/>
              <a:prstDash val="solid"/>
              <a:miter/>
            </a:ln>
          </p:spPr>
          <p:txBody>
            <a:bodyPr rtlCol="0" anchor="ctr"/>
            <a:lstStyle/>
            <a:p>
              <a:endParaRPr lang="en-US" sz="1000"/>
            </a:p>
          </p:txBody>
        </p:sp>
        <p:sp>
          <p:nvSpPr>
            <p:cNvPr id="82" name="Graphic 4">
              <a:extLst>
                <a:ext uri="{FF2B5EF4-FFF2-40B4-BE49-F238E27FC236}">
                  <a16:creationId xmlns:a16="http://schemas.microsoft.com/office/drawing/2014/main" id="{D81A725A-7E1F-4BE9-29C9-D74F7546D1A3}"/>
                </a:ext>
              </a:extLst>
            </p:cNvPr>
            <p:cNvSpPr/>
            <p:nvPr/>
          </p:nvSpPr>
          <p:spPr>
            <a:xfrm>
              <a:off x="1166802" y="4421708"/>
              <a:ext cx="17891" cy="17875"/>
            </a:xfrm>
            <a:custGeom>
              <a:avLst/>
              <a:gdLst>
                <a:gd name="connsiteX0" fmla="*/ 8946 w 17891"/>
                <a:gd name="connsiteY0" fmla="*/ 17875 h 17875"/>
                <a:gd name="connsiteX1" fmla="*/ 17892 w 17891"/>
                <a:gd name="connsiteY1" fmla="*/ 8938 h 17875"/>
                <a:gd name="connsiteX2" fmla="*/ 8946 w 17891"/>
                <a:gd name="connsiteY2" fmla="*/ 0 h 17875"/>
                <a:gd name="connsiteX3" fmla="*/ 0 w 17891"/>
                <a:gd name="connsiteY3" fmla="*/ 8938 h 17875"/>
                <a:gd name="connsiteX4" fmla="*/ 0 w 17891"/>
                <a:gd name="connsiteY4" fmla="*/ 8938 h 17875"/>
                <a:gd name="connsiteX5" fmla="*/ 8946 w 17891"/>
                <a:gd name="connsiteY5" fmla="*/ 17875 h 17875"/>
                <a:gd name="connsiteX6" fmla="*/ 8946 w 17891"/>
                <a:gd name="connsiteY6" fmla="*/ 1787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91" h="17875">
                  <a:moveTo>
                    <a:pt x="8946" y="17875"/>
                  </a:moveTo>
                  <a:cubicBezTo>
                    <a:pt x="14058" y="17875"/>
                    <a:pt x="17892" y="14045"/>
                    <a:pt x="17892" y="8938"/>
                  </a:cubicBezTo>
                  <a:cubicBezTo>
                    <a:pt x="17892" y="3830"/>
                    <a:pt x="14058" y="0"/>
                    <a:pt x="8946" y="0"/>
                  </a:cubicBezTo>
                  <a:cubicBezTo>
                    <a:pt x="3834" y="0"/>
                    <a:pt x="0" y="3830"/>
                    <a:pt x="0" y="8938"/>
                  </a:cubicBezTo>
                  <a:cubicBezTo>
                    <a:pt x="0" y="8938"/>
                    <a:pt x="0" y="8938"/>
                    <a:pt x="0" y="8938"/>
                  </a:cubicBezTo>
                  <a:cubicBezTo>
                    <a:pt x="0" y="13406"/>
                    <a:pt x="3834" y="17875"/>
                    <a:pt x="8946" y="17875"/>
                  </a:cubicBezTo>
                  <a:cubicBezTo>
                    <a:pt x="8946" y="17875"/>
                    <a:pt x="8946" y="17875"/>
                    <a:pt x="8946" y="17875"/>
                  </a:cubicBezTo>
                  <a:close/>
                </a:path>
              </a:pathLst>
            </a:custGeom>
            <a:solidFill>
              <a:srgbClr val="007680"/>
            </a:solidFill>
            <a:ln w="6390" cap="flat">
              <a:noFill/>
              <a:prstDash val="solid"/>
              <a:miter/>
            </a:ln>
          </p:spPr>
          <p:txBody>
            <a:bodyPr rtlCol="0" anchor="ctr"/>
            <a:lstStyle/>
            <a:p>
              <a:endParaRPr lang="en-US" sz="1000"/>
            </a:p>
          </p:txBody>
        </p:sp>
        <p:sp>
          <p:nvSpPr>
            <p:cNvPr id="83" name="Graphic 4">
              <a:extLst>
                <a:ext uri="{FF2B5EF4-FFF2-40B4-BE49-F238E27FC236}">
                  <a16:creationId xmlns:a16="http://schemas.microsoft.com/office/drawing/2014/main" id="{F72EB999-C54E-50FD-ADDC-6892F99D945A}"/>
                </a:ext>
              </a:extLst>
            </p:cNvPr>
            <p:cNvSpPr/>
            <p:nvPr/>
          </p:nvSpPr>
          <p:spPr>
            <a:xfrm>
              <a:off x="905454" y="4308712"/>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95532 w 362309"/>
                <a:gd name="connsiteY6" fmla="*/ 233654 h 361971"/>
                <a:gd name="connsiteX7" fmla="*/ 249208 w 362309"/>
                <a:gd name="connsiteY7" fmla="*/ 233654 h 361971"/>
                <a:gd name="connsiteX8" fmla="*/ 276045 w 362309"/>
                <a:gd name="connsiteY8" fmla="*/ 219609 h 361971"/>
                <a:gd name="connsiteX9" fmla="*/ 290103 w 362309"/>
                <a:gd name="connsiteY9" fmla="*/ 246422 h 361971"/>
                <a:gd name="connsiteX10" fmla="*/ 263265 w 362309"/>
                <a:gd name="connsiteY10" fmla="*/ 260466 h 361971"/>
                <a:gd name="connsiteX11" fmla="*/ 249208 w 362309"/>
                <a:gd name="connsiteY11" fmla="*/ 246422 h 361971"/>
                <a:gd name="connsiteX12" fmla="*/ 195532 w 362309"/>
                <a:gd name="connsiteY12" fmla="*/ 246422 h 361971"/>
                <a:gd name="connsiteX13" fmla="*/ 174445 w 362309"/>
                <a:gd name="connsiteY13" fmla="*/ 225355 h 361971"/>
                <a:gd name="connsiteX14" fmla="*/ 174445 w 362309"/>
                <a:gd name="connsiteY14" fmla="*/ 187051 h 361971"/>
                <a:gd name="connsiteX15" fmla="*/ 112463 w 362309"/>
                <a:gd name="connsiteY15" fmla="*/ 187051 h 361971"/>
                <a:gd name="connsiteX16" fmla="*/ 85625 w 362309"/>
                <a:gd name="connsiteY16" fmla="*/ 201095 h 361971"/>
                <a:gd name="connsiteX17" fmla="*/ 71567 w 362309"/>
                <a:gd name="connsiteY17" fmla="*/ 174283 h 361971"/>
                <a:gd name="connsiteX18" fmla="*/ 98405 w 362309"/>
                <a:gd name="connsiteY18" fmla="*/ 160238 h 361971"/>
                <a:gd name="connsiteX19" fmla="*/ 112463 w 362309"/>
                <a:gd name="connsiteY19" fmla="*/ 174283 h 361971"/>
                <a:gd name="connsiteX20" fmla="*/ 174445 w 362309"/>
                <a:gd name="connsiteY20" fmla="*/ 174283 h 361971"/>
                <a:gd name="connsiteX21" fmla="*/ 174445 w 362309"/>
                <a:gd name="connsiteY21" fmla="*/ 135979 h 361971"/>
                <a:gd name="connsiteX22" fmla="*/ 195532 w 362309"/>
                <a:gd name="connsiteY22" fmla="*/ 114912 h 361971"/>
                <a:gd name="connsiteX23" fmla="*/ 249208 w 362309"/>
                <a:gd name="connsiteY23" fmla="*/ 114912 h 361971"/>
                <a:gd name="connsiteX24" fmla="*/ 276045 w 362309"/>
                <a:gd name="connsiteY24" fmla="*/ 100867 h 361971"/>
                <a:gd name="connsiteX25" fmla="*/ 290103 w 362309"/>
                <a:gd name="connsiteY25" fmla="*/ 127680 h 361971"/>
                <a:gd name="connsiteX26" fmla="*/ 263265 w 362309"/>
                <a:gd name="connsiteY26" fmla="*/ 141724 h 361971"/>
                <a:gd name="connsiteX27" fmla="*/ 249208 w 362309"/>
                <a:gd name="connsiteY27" fmla="*/ 127680 h 361971"/>
                <a:gd name="connsiteX28" fmla="*/ 195532 w 362309"/>
                <a:gd name="connsiteY28" fmla="*/ 127680 h 361971"/>
                <a:gd name="connsiteX29" fmla="*/ 187225 w 362309"/>
                <a:gd name="connsiteY29" fmla="*/ 135979 h 361971"/>
                <a:gd name="connsiteX30" fmla="*/ 187225 w 362309"/>
                <a:gd name="connsiteY30" fmla="*/ 224716 h 361971"/>
                <a:gd name="connsiteX31" fmla="*/ 195532 w 362309"/>
                <a:gd name="connsiteY31" fmla="*/ 233654 h 361971"/>
                <a:gd name="connsiteX32" fmla="*/ 195532 w 362309"/>
                <a:gd name="connsiteY32" fmla="*/ 233654 h 361971"/>
                <a:gd name="connsiteX33" fmla="*/ 195532 w 362309"/>
                <a:gd name="connsiteY33" fmla="*/ 23365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lose/>
                  <a:moveTo>
                    <a:pt x="195532" y="233654"/>
                  </a:moveTo>
                  <a:lnTo>
                    <a:pt x="249208" y="233654"/>
                  </a:lnTo>
                  <a:cubicBezTo>
                    <a:pt x="253042" y="222163"/>
                    <a:pt x="265182" y="215779"/>
                    <a:pt x="276045" y="219609"/>
                  </a:cubicBezTo>
                  <a:cubicBezTo>
                    <a:pt x="287547" y="223439"/>
                    <a:pt x="293937" y="235569"/>
                    <a:pt x="290103" y="246422"/>
                  </a:cubicBezTo>
                  <a:cubicBezTo>
                    <a:pt x="286269" y="257913"/>
                    <a:pt x="274128" y="264297"/>
                    <a:pt x="263265" y="260466"/>
                  </a:cubicBezTo>
                  <a:cubicBezTo>
                    <a:pt x="256237" y="258551"/>
                    <a:pt x="251125" y="252806"/>
                    <a:pt x="249208" y="246422"/>
                  </a:cubicBezTo>
                  <a:lnTo>
                    <a:pt x="195532" y="246422"/>
                  </a:lnTo>
                  <a:cubicBezTo>
                    <a:pt x="184030" y="246422"/>
                    <a:pt x="174445" y="236846"/>
                    <a:pt x="174445" y="225355"/>
                  </a:cubicBezTo>
                  <a:lnTo>
                    <a:pt x="174445" y="187051"/>
                  </a:lnTo>
                  <a:lnTo>
                    <a:pt x="112463" y="187051"/>
                  </a:lnTo>
                  <a:cubicBezTo>
                    <a:pt x="108629" y="198542"/>
                    <a:pt x="96488" y="204926"/>
                    <a:pt x="85625" y="201095"/>
                  </a:cubicBezTo>
                  <a:cubicBezTo>
                    <a:pt x="74123" y="197265"/>
                    <a:pt x="67733" y="185135"/>
                    <a:pt x="71567" y="174283"/>
                  </a:cubicBezTo>
                  <a:cubicBezTo>
                    <a:pt x="75401" y="162792"/>
                    <a:pt x="87542" y="156408"/>
                    <a:pt x="98405" y="160238"/>
                  </a:cubicBezTo>
                  <a:cubicBezTo>
                    <a:pt x="105434" y="162153"/>
                    <a:pt x="110546" y="167899"/>
                    <a:pt x="112463" y="174283"/>
                  </a:cubicBezTo>
                  <a:lnTo>
                    <a:pt x="174445" y="174283"/>
                  </a:lnTo>
                  <a:lnTo>
                    <a:pt x="174445" y="135979"/>
                  </a:lnTo>
                  <a:cubicBezTo>
                    <a:pt x="174445" y="124488"/>
                    <a:pt x="184030" y="114912"/>
                    <a:pt x="195532" y="114912"/>
                  </a:cubicBezTo>
                  <a:lnTo>
                    <a:pt x="249208" y="114912"/>
                  </a:lnTo>
                  <a:cubicBezTo>
                    <a:pt x="253042" y="103421"/>
                    <a:pt x="265182" y="97037"/>
                    <a:pt x="276045" y="100867"/>
                  </a:cubicBezTo>
                  <a:cubicBezTo>
                    <a:pt x="287547" y="104697"/>
                    <a:pt x="293937" y="116827"/>
                    <a:pt x="290103" y="127680"/>
                  </a:cubicBezTo>
                  <a:cubicBezTo>
                    <a:pt x="286269" y="139171"/>
                    <a:pt x="274128" y="145555"/>
                    <a:pt x="263265" y="141724"/>
                  </a:cubicBezTo>
                  <a:cubicBezTo>
                    <a:pt x="256237" y="139809"/>
                    <a:pt x="251125" y="134064"/>
                    <a:pt x="249208" y="127680"/>
                  </a:cubicBezTo>
                  <a:lnTo>
                    <a:pt x="195532" y="127680"/>
                  </a:lnTo>
                  <a:cubicBezTo>
                    <a:pt x="191059" y="127680"/>
                    <a:pt x="187225" y="131510"/>
                    <a:pt x="187225" y="135979"/>
                  </a:cubicBezTo>
                  <a:lnTo>
                    <a:pt x="187225" y="224716"/>
                  </a:lnTo>
                  <a:cubicBezTo>
                    <a:pt x="187225" y="229185"/>
                    <a:pt x="190420" y="233654"/>
                    <a:pt x="195532" y="233654"/>
                  </a:cubicBezTo>
                  <a:cubicBezTo>
                    <a:pt x="195532" y="233654"/>
                    <a:pt x="195532" y="233654"/>
                    <a:pt x="195532" y="233654"/>
                  </a:cubicBezTo>
                  <a:lnTo>
                    <a:pt x="195532" y="233654"/>
                  </a:lnTo>
                  <a:close/>
                </a:path>
              </a:pathLst>
            </a:custGeom>
            <a:solidFill>
              <a:srgbClr val="00A3E0"/>
            </a:solidFill>
            <a:ln w="6390" cap="flat">
              <a:noFill/>
              <a:prstDash val="solid"/>
              <a:miter/>
            </a:ln>
          </p:spPr>
          <p:txBody>
            <a:bodyPr rtlCol="0" anchor="ctr"/>
            <a:lstStyle/>
            <a:p>
              <a:endParaRPr lang="en-US" sz="1000" dirty="0"/>
            </a:p>
          </p:txBody>
        </p:sp>
        <p:sp>
          <p:nvSpPr>
            <p:cNvPr id="84" name="Graphic 4">
              <a:extLst>
                <a:ext uri="{FF2B5EF4-FFF2-40B4-BE49-F238E27FC236}">
                  <a16:creationId xmlns:a16="http://schemas.microsoft.com/office/drawing/2014/main" id="{FA628462-C4E6-89E6-BA46-7189D5325141}"/>
                </a:ext>
              </a:extLst>
            </p:cNvPr>
            <p:cNvSpPr/>
            <p:nvPr/>
          </p:nvSpPr>
          <p:spPr>
            <a:xfrm>
              <a:off x="1166802" y="4539812"/>
              <a:ext cx="17891" cy="17875"/>
            </a:xfrm>
            <a:custGeom>
              <a:avLst/>
              <a:gdLst>
                <a:gd name="connsiteX0" fmla="*/ 8946 w 17891"/>
                <a:gd name="connsiteY0" fmla="*/ 17875 h 17875"/>
                <a:gd name="connsiteX1" fmla="*/ 17892 w 17891"/>
                <a:gd name="connsiteY1" fmla="*/ 8938 h 17875"/>
                <a:gd name="connsiteX2" fmla="*/ 8946 w 17891"/>
                <a:gd name="connsiteY2" fmla="*/ 0 h 17875"/>
                <a:gd name="connsiteX3" fmla="*/ 0 w 17891"/>
                <a:gd name="connsiteY3" fmla="*/ 8938 h 17875"/>
                <a:gd name="connsiteX4" fmla="*/ 8946 w 17891"/>
                <a:gd name="connsiteY4" fmla="*/ 17875 h 17875"/>
                <a:gd name="connsiteX5" fmla="*/ 8946 w 17891"/>
                <a:gd name="connsiteY5" fmla="*/ 1787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8946" y="17875"/>
                  </a:moveTo>
                  <a:cubicBezTo>
                    <a:pt x="14058" y="17875"/>
                    <a:pt x="17892" y="14045"/>
                    <a:pt x="17892" y="8938"/>
                  </a:cubicBezTo>
                  <a:cubicBezTo>
                    <a:pt x="17892" y="3830"/>
                    <a:pt x="14058" y="0"/>
                    <a:pt x="8946" y="0"/>
                  </a:cubicBezTo>
                  <a:cubicBezTo>
                    <a:pt x="3834" y="0"/>
                    <a:pt x="0" y="3830"/>
                    <a:pt x="0" y="8938"/>
                  </a:cubicBezTo>
                  <a:cubicBezTo>
                    <a:pt x="0" y="14045"/>
                    <a:pt x="3834" y="17875"/>
                    <a:pt x="8946" y="17875"/>
                  </a:cubicBezTo>
                  <a:cubicBezTo>
                    <a:pt x="8946" y="17875"/>
                    <a:pt x="8946" y="17875"/>
                    <a:pt x="8946" y="17875"/>
                  </a:cubicBezTo>
                  <a:close/>
                </a:path>
              </a:pathLst>
            </a:custGeom>
            <a:solidFill>
              <a:srgbClr val="007680"/>
            </a:solidFill>
            <a:ln w="6390" cap="flat">
              <a:noFill/>
              <a:prstDash val="solid"/>
              <a:miter/>
            </a:ln>
          </p:spPr>
          <p:txBody>
            <a:bodyPr rtlCol="0" anchor="ctr"/>
            <a:lstStyle/>
            <a:p>
              <a:endParaRPr lang="en-US" sz="1000"/>
            </a:p>
          </p:txBody>
        </p:sp>
      </p:grpSp>
      <p:grpSp>
        <p:nvGrpSpPr>
          <p:cNvPr id="90" name="Graphic 4">
            <a:extLst>
              <a:ext uri="{FF2B5EF4-FFF2-40B4-BE49-F238E27FC236}">
                <a16:creationId xmlns:a16="http://schemas.microsoft.com/office/drawing/2014/main" id="{BAEC945F-89DE-3AA0-2004-867759514905}"/>
              </a:ext>
            </a:extLst>
          </p:cNvPr>
          <p:cNvGrpSpPr>
            <a:grpSpLocks noChangeAspect="1"/>
          </p:cNvGrpSpPr>
          <p:nvPr/>
        </p:nvGrpSpPr>
        <p:grpSpPr>
          <a:xfrm>
            <a:off x="9989265" y="2135947"/>
            <a:ext cx="204260" cy="204067"/>
            <a:chOff x="7192513" y="4792617"/>
            <a:chExt cx="361674" cy="361333"/>
          </a:xfrm>
          <a:solidFill>
            <a:srgbClr val="0076A8"/>
          </a:solidFill>
        </p:grpSpPr>
        <p:sp>
          <p:nvSpPr>
            <p:cNvPr id="91" name="Graphic 4">
              <a:extLst>
                <a:ext uri="{FF2B5EF4-FFF2-40B4-BE49-F238E27FC236}">
                  <a16:creationId xmlns:a16="http://schemas.microsoft.com/office/drawing/2014/main" id="{D6823343-34BA-CD8B-5409-8961D19E1C2C}"/>
                </a:ext>
              </a:extLst>
            </p:cNvPr>
            <p:cNvSpPr/>
            <p:nvPr/>
          </p:nvSpPr>
          <p:spPr>
            <a:xfrm>
              <a:off x="7316477" y="4908806"/>
              <a:ext cx="154636" cy="90652"/>
            </a:xfrm>
            <a:custGeom>
              <a:avLst/>
              <a:gdLst>
                <a:gd name="connsiteX0" fmla="*/ 120770 w 154636"/>
                <a:gd name="connsiteY0" fmla="*/ 15322 h 90652"/>
                <a:gd name="connsiteX1" fmla="*/ 118853 w 154636"/>
                <a:gd name="connsiteY1" fmla="*/ 15322 h 90652"/>
                <a:gd name="connsiteX2" fmla="*/ 65817 w 154636"/>
                <a:gd name="connsiteY2" fmla="*/ 0 h 90652"/>
                <a:gd name="connsiteX3" fmla="*/ 4473 w 154636"/>
                <a:gd name="connsiteY3" fmla="*/ 33197 h 90652"/>
                <a:gd name="connsiteX4" fmla="*/ 0 w 154636"/>
                <a:gd name="connsiteY4" fmla="*/ 40858 h 90652"/>
                <a:gd name="connsiteX5" fmla="*/ 3195 w 154636"/>
                <a:gd name="connsiteY5" fmla="*/ 49157 h 90652"/>
                <a:gd name="connsiteX6" fmla="*/ 8946 w 154636"/>
                <a:gd name="connsiteY6" fmla="*/ 50434 h 90652"/>
                <a:gd name="connsiteX7" fmla="*/ 99683 w 154636"/>
                <a:gd name="connsiteY7" fmla="*/ 35112 h 90652"/>
                <a:gd name="connsiteX8" fmla="*/ 106073 w 154636"/>
                <a:gd name="connsiteY8" fmla="*/ 38304 h 90652"/>
                <a:gd name="connsiteX9" fmla="*/ 135466 w 154636"/>
                <a:gd name="connsiteY9" fmla="*/ 90653 h 90652"/>
                <a:gd name="connsiteX10" fmla="*/ 137384 w 154636"/>
                <a:gd name="connsiteY10" fmla="*/ 90014 h 90652"/>
                <a:gd name="connsiteX11" fmla="*/ 153358 w 154636"/>
                <a:gd name="connsiteY11" fmla="*/ 90014 h 90652"/>
                <a:gd name="connsiteX12" fmla="*/ 154636 w 154636"/>
                <a:gd name="connsiteY12" fmla="*/ 90014 h 90652"/>
                <a:gd name="connsiteX13" fmla="*/ 154636 w 154636"/>
                <a:gd name="connsiteY13" fmla="*/ 14683 h 90652"/>
                <a:gd name="connsiteX14" fmla="*/ 120770 w 154636"/>
                <a:gd name="connsiteY14" fmla="*/ 14683 h 90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636" h="90652">
                  <a:moveTo>
                    <a:pt x="120770" y="15322"/>
                  </a:moveTo>
                  <a:cubicBezTo>
                    <a:pt x="120131" y="15322"/>
                    <a:pt x="119492" y="15322"/>
                    <a:pt x="118853" y="15322"/>
                  </a:cubicBezTo>
                  <a:lnTo>
                    <a:pt x="65817" y="0"/>
                  </a:lnTo>
                  <a:lnTo>
                    <a:pt x="4473" y="33197"/>
                  </a:lnTo>
                  <a:cubicBezTo>
                    <a:pt x="1917" y="35112"/>
                    <a:pt x="0" y="37666"/>
                    <a:pt x="0" y="40858"/>
                  </a:cubicBezTo>
                  <a:cubicBezTo>
                    <a:pt x="0" y="44050"/>
                    <a:pt x="1278" y="47242"/>
                    <a:pt x="3195" y="49157"/>
                  </a:cubicBezTo>
                  <a:cubicBezTo>
                    <a:pt x="4473" y="50434"/>
                    <a:pt x="6390" y="51072"/>
                    <a:pt x="8946" y="50434"/>
                  </a:cubicBezTo>
                  <a:lnTo>
                    <a:pt x="99683" y="35112"/>
                  </a:lnTo>
                  <a:cubicBezTo>
                    <a:pt x="102239" y="34474"/>
                    <a:pt x="104795" y="35751"/>
                    <a:pt x="106073" y="38304"/>
                  </a:cubicBezTo>
                  <a:lnTo>
                    <a:pt x="135466" y="90653"/>
                  </a:lnTo>
                  <a:cubicBezTo>
                    <a:pt x="136106" y="90653"/>
                    <a:pt x="136745" y="90014"/>
                    <a:pt x="137384" y="90014"/>
                  </a:cubicBezTo>
                  <a:lnTo>
                    <a:pt x="153358" y="90014"/>
                  </a:lnTo>
                  <a:cubicBezTo>
                    <a:pt x="153997" y="90014"/>
                    <a:pt x="154636" y="90014"/>
                    <a:pt x="154636" y="90014"/>
                  </a:cubicBezTo>
                  <a:lnTo>
                    <a:pt x="154636" y="14683"/>
                  </a:lnTo>
                  <a:lnTo>
                    <a:pt x="120770" y="14683"/>
                  </a:lnTo>
                  <a:close/>
                </a:path>
              </a:pathLst>
            </a:custGeom>
            <a:solidFill>
              <a:srgbClr val="0076A8"/>
            </a:solidFill>
            <a:ln w="6390" cap="flat">
              <a:noFill/>
              <a:prstDash val="solid"/>
              <a:miter/>
            </a:ln>
          </p:spPr>
          <p:txBody>
            <a:bodyPr rtlCol="0" anchor="ctr"/>
            <a:lstStyle/>
            <a:p>
              <a:endParaRPr lang="en-US" sz="1000"/>
            </a:p>
          </p:txBody>
        </p:sp>
        <p:sp>
          <p:nvSpPr>
            <p:cNvPr id="92" name="Graphic 4">
              <a:extLst>
                <a:ext uri="{FF2B5EF4-FFF2-40B4-BE49-F238E27FC236}">
                  <a16:creationId xmlns:a16="http://schemas.microsoft.com/office/drawing/2014/main" id="{E9E927DA-D3A0-9274-830D-192502B0040D}"/>
                </a:ext>
              </a:extLst>
            </p:cNvPr>
            <p:cNvSpPr/>
            <p:nvPr/>
          </p:nvSpPr>
          <p:spPr>
            <a:xfrm>
              <a:off x="7275582" y="4924128"/>
              <a:ext cx="169333" cy="123630"/>
            </a:xfrm>
            <a:custGeom>
              <a:avLst/>
              <a:gdLst>
                <a:gd name="connsiteX0" fmla="*/ 137384 w 169333"/>
                <a:gd name="connsiteY0" fmla="*/ 33197 h 123630"/>
                <a:gd name="connsiteX1" fmla="*/ 51119 w 169333"/>
                <a:gd name="connsiteY1" fmla="*/ 47880 h 123630"/>
                <a:gd name="connsiteX2" fmla="*/ 35145 w 169333"/>
                <a:gd name="connsiteY2" fmla="*/ 43411 h 123630"/>
                <a:gd name="connsiteX3" fmla="*/ 27477 w 169333"/>
                <a:gd name="connsiteY3" fmla="*/ 25536 h 123630"/>
                <a:gd name="connsiteX4" fmla="*/ 38340 w 169333"/>
                <a:gd name="connsiteY4" fmla="*/ 6384 h 123630"/>
                <a:gd name="connsiteX5" fmla="*/ 50481 w 169333"/>
                <a:gd name="connsiteY5" fmla="*/ 0 h 123630"/>
                <a:gd name="connsiteX6" fmla="*/ 0 w 169333"/>
                <a:gd name="connsiteY6" fmla="*/ 0 h 123630"/>
                <a:gd name="connsiteX7" fmla="*/ 0 w 169333"/>
                <a:gd name="connsiteY7" fmla="*/ 74693 h 123630"/>
                <a:gd name="connsiteX8" fmla="*/ 17253 w 169333"/>
                <a:gd name="connsiteY8" fmla="*/ 74693 h 123630"/>
                <a:gd name="connsiteX9" fmla="*/ 23004 w 169333"/>
                <a:gd name="connsiteY9" fmla="*/ 77885 h 123630"/>
                <a:gd name="connsiteX10" fmla="*/ 46647 w 169333"/>
                <a:gd name="connsiteY10" fmla="*/ 117465 h 123630"/>
                <a:gd name="connsiteX11" fmla="*/ 53676 w 169333"/>
                <a:gd name="connsiteY11" fmla="*/ 123211 h 123630"/>
                <a:gd name="connsiteX12" fmla="*/ 61343 w 169333"/>
                <a:gd name="connsiteY12" fmla="*/ 122573 h 123630"/>
                <a:gd name="connsiteX13" fmla="*/ 63899 w 169333"/>
                <a:gd name="connsiteY13" fmla="*/ 109805 h 123630"/>
                <a:gd name="connsiteX14" fmla="*/ 58148 w 169333"/>
                <a:gd name="connsiteY14" fmla="*/ 101505 h 123630"/>
                <a:gd name="connsiteX15" fmla="*/ 60066 w 169333"/>
                <a:gd name="connsiteY15" fmla="*/ 92568 h 123630"/>
                <a:gd name="connsiteX16" fmla="*/ 69012 w 169333"/>
                <a:gd name="connsiteY16" fmla="*/ 94483 h 123630"/>
                <a:gd name="connsiteX17" fmla="*/ 74763 w 169333"/>
                <a:gd name="connsiteY17" fmla="*/ 102782 h 123630"/>
                <a:gd name="connsiteX18" fmla="*/ 74763 w 169333"/>
                <a:gd name="connsiteY18" fmla="*/ 102782 h 123630"/>
                <a:gd name="connsiteX19" fmla="*/ 74763 w 169333"/>
                <a:gd name="connsiteY19" fmla="*/ 102782 h 123630"/>
                <a:gd name="connsiteX20" fmla="*/ 74763 w 169333"/>
                <a:gd name="connsiteY20" fmla="*/ 102782 h 123630"/>
                <a:gd name="connsiteX21" fmla="*/ 83708 w 169333"/>
                <a:gd name="connsiteY21" fmla="*/ 117465 h 123630"/>
                <a:gd name="connsiteX22" fmla="*/ 98405 w 169333"/>
                <a:gd name="connsiteY22" fmla="*/ 121296 h 123630"/>
                <a:gd name="connsiteX23" fmla="*/ 102239 w 169333"/>
                <a:gd name="connsiteY23" fmla="*/ 107251 h 123630"/>
                <a:gd name="connsiteX24" fmla="*/ 86903 w 169333"/>
                <a:gd name="connsiteY24" fmla="*/ 81715 h 123630"/>
                <a:gd name="connsiteX25" fmla="*/ 88820 w 169333"/>
                <a:gd name="connsiteY25" fmla="*/ 72777 h 123630"/>
                <a:gd name="connsiteX26" fmla="*/ 97766 w 169333"/>
                <a:gd name="connsiteY26" fmla="*/ 74693 h 123630"/>
                <a:gd name="connsiteX27" fmla="*/ 99683 w 169333"/>
                <a:gd name="connsiteY27" fmla="*/ 78523 h 123630"/>
                <a:gd name="connsiteX28" fmla="*/ 100322 w 169333"/>
                <a:gd name="connsiteY28" fmla="*/ 79161 h 123630"/>
                <a:gd name="connsiteX29" fmla="*/ 112463 w 169333"/>
                <a:gd name="connsiteY29" fmla="*/ 100229 h 123630"/>
                <a:gd name="connsiteX30" fmla="*/ 112463 w 169333"/>
                <a:gd name="connsiteY30" fmla="*/ 100867 h 123630"/>
                <a:gd name="connsiteX31" fmla="*/ 121409 w 169333"/>
                <a:gd name="connsiteY31" fmla="*/ 115550 h 123630"/>
                <a:gd name="connsiteX32" fmla="*/ 136106 w 169333"/>
                <a:gd name="connsiteY32" fmla="*/ 119381 h 123630"/>
                <a:gd name="connsiteX33" fmla="*/ 138662 w 169333"/>
                <a:gd name="connsiteY33" fmla="*/ 105336 h 123630"/>
                <a:gd name="connsiteX34" fmla="*/ 113102 w 169333"/>
                <a:gd name="connsiteY34" fmla="*/ 61925 h 123630"/>
                <a:gd name="connsiteX35" fmla="*/ 115658 w 169333"/>
                <a:gd name="connsiteY35" fmla="*/ 52987 h 123630"/>
                <a:gd name="connsiteX36" fmla="*/ 124604 w 169333"/>
                <a:gd name="connsiteY36" fmla="*/ 55541 h 123630"/>
                <a:gd name="connsiteX37" fmla="*/ 150164 w 169333"/>
                <a:gd name="connsiteY37" fmla="*/ 98952 h 123630"/>
                <a:gd name="connsiteX38" fmla="*/ 156553 w 169333"/>
                <a:gd name="connsiteY38" fmla="*/ 104059 h 123630"/>
                <a:gd name="connsiteX39" fmla="*/ 164222 w 169333"/>
                <a:gd name="connsiteY39" fmla="*/ 102782 h 123630"/>
                <a:gd name="connsiteX40" fmla="*/ 168056 w 169333"/>
                <a:gd name="connsiteY40" fmla="*/ 88099 h 123630"/>
                <a:gd name="connsiteX41" fmla="*/ 137384 w 169333"/>
                <a:gd name="connsiteY41" fmla="*/ 33197 h 12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9333" h="123630">
                  <a:moveTo>
                    <a:pt x="137384" y="33197"/>
                  </a:moveTo>
                  <a:lnTo>
                    <a:pt x="51119" y="47880"/>
                  </a:lnTo>
                  <a:cubicBezTo>
                    <a:pt x="44730" y="48518"/>
                    <a:pt x="39618" y="47241"/>
                    <a:pt x="35145" y="43411"/>
                  </a:cubicBezTo>
                  <a:cubicBezTo>
                    <a:pt x="30033" y="38942"/>
                    <a:pt x="27477" y="32558"/>
                    <a:pt x="27477" y="25536"/>
                  </a:cubicBezTo>
                  <a:cubicBezTo>
                    <a:pt x="27477" y="17875"/>
                    <a:pt x="31950" y="10853"/>
                    <a:pt x="38340" y="6384"/>
                  </a:cubicBezTo>
                  <a:lnTo>
                    <a:pt x="50481" y="0"/>
                  </a:lnTo>
                  <a:lnTo>
                    <a:pt x="0" y="0"/>
                  </a:lnTo>
                  <a:lnTo>
                    <a:pt x="0" y="74693"/>
                  </a:lnTo>
                  <a:lnTo>
                    <a:pt x="17253" y="74693"/>
                  </a:lnTo>
                  <a:cubicBezTo>
                    <a:pt x="19809" y="74693"/>
                    <a:pt x="21726" y="75969"/>
                    <a:pt x="23004" y="77885"/>
                  </a:cubicBezTo>
                  <a:lnTo>
                    <a:pt x="46647" y="117465"/>
                  </a:lnTo>
                  <a:cubicBezTo>
                    <a:pt x="47925" y="120019"/>
                    <a:pt x="50481" y="121934"/>
                    <a:pt x="53676" y="123211"/>
                  </a:cubicBezTo>
                  <a:cubicBezTo>
                    <a:pt x="56232" y="123849"/>
                    <a:pt x="58788" y="123849"/>
                    <a:pt x="61343" y="122573"/>
                  </a:cubicBezTo>
                  <a:cubicBezTo>
                    <a:pt x="67094" y="119381"/>
                    <a:pt x="66456" y="113635"/>
                    <a:pt x="63899" y="109805"/>
                  </a:cubicBezTo>
                  <a:lnTo>
                    <a:pt x="58148" y="101505"/>
                  </a:lnTo>
                  <a:cubicBezTo>
                    <a:pt x="56232" y="98313"/>
                    <a:pt x="56871" y="94483"/>
                    <a:pt x="60066" y="92568"/>
                  </a:cubicBezTo>
                  <a:cubicBezTo>
                    <a:pt x="63261" y="90653"/>
                    <a:pt x="67094" y="91291"/>
                    <a:pt x="69012" y="94483"/>
                  </a:cubicBezTo>
                  <a:lnTo>
                    <a:pt x="74763" y="102782"/>
                  </a:lnTo>
                  <a:cubicBezTo>
                    <a:pt x="74763" y="102782"/>
                    <a:pt x="74763" y="102782"/>
                    <a:pt x="74763" y="102782"/>
                  </a:cubicBezTo>
                  <a:cubicBezTo>
                    <a:pt x="74763" y="102782"/>
                    <a:pt x="74763" y="102782"/>
                    <a:pt x="74763" y="102782"/>
                  </a:cubicBezTo>
                  <a:cubicBezTo>
                    <a:pt x="74763" y="102782"/>
                    <a:pt x="74763" y="102782"/>
                    <a:pt x="74763" y="102782"/>
                  </a:cubicBezTo>
                  <a:lnTo>
                    <a:pt x="83708" y="117465"/>
                  </a:lnTo>
                  <a:cubicBezTo>
                    <a:pt x="86903" y="122573"/>
                    <a:pt x="93293" y="123849"/>
                    <a:pt x="98405" y="121296"/>
                  </a:cubicBezTo>
                  <a:cubicBezTo>
                    <a:pt x="103517" y="118104"/>
                    <a:pt x="104795" y="112358"/>
                    <a:pt x="102239" y="107251"/>
                  </a:cubicBezTo>
                  <a:lnTo>
                    <a:pt x="86903" y="81715"/>
                  </a:lnTo>
                  <a:cubicBezTo>
                    <a:pt x="84986" y="78523"/>
                    <a:pt x="86264" y="74693"/>
                    <a:pt x="88820" y="72777"/>
                  </a:cubicBezTo>
                  <a:cubicBezTo>
                    <a:pt x="92015" y="70862"/>
                    <a:pt x="95849" y="72139"/>
                    <a:pt x="97766" y="74693"/>
                  </a:cubicBezTo>
                  <a:lnTo>
                    <a:pt x="99683" y="78523"/>
                  </a:lnTo>
                  <a:cubicBezTo>
                    <a:pt x="99683" y="78523"/>
                    <a:pt x="100322" y="79161"/>
                    <a:pt x="100322" y="79161"/>
                  </a:cubicBezTo>
                  <a:lnTo>
                    <a:pt x="112463" y="100229"/>
                  </a:lnTo>
                  <a:cubicBezTo>
                    <a:pt x="112463" y="100229"/>
                    <a:pt x="112463" y="100229"/>
                    <a:pt x="112463" y="100867"/>
                  </a:cubicBezTo>
                  <a:lnTo>
                    <a:pt x="121409" y="115550"/>
                  </a:lnTo>
                  <a:cubicBezTo>
                    <a:pt x="124604" y="120657"/>
                    <a:pt x="130994" y="122573"/>
                    <a:pt x="136106" y="119381"/>
                  </a:cubicBezTo>
                  <a:cubicBezTo>
                    <a:pt x="141857" y="116189"/>
                    <a:pt x="141217" y="109805"/>
                    <a:pt x="138662" y="105336"/>
                  </a:cubicBezTo>
                  <a:lnTo>
                    <a:pt x="113102" y="61925"/>
                  </a:lnTo>
                  <a:cubicBezTo>
                    <a:pt x="111185" y="58733"/>
                    <a:pt x="112463" y="54902"/>
                    <a:pt x="115658" y="52987"/>
                  </a:cubicBezTo>
                  <a:cubicBezTo>
                    <a:pt x="118853" y="51072"/>
                    <a:pt x="122687" y="52349"/>
                    <a:pt x="124604" y="55541"/>
                  </a:cubicBezTo>
                  <a:lnTo>
                    <a:pt x="150164" y="98952"/>
                  </a:lnTo>
                  <a:cubicBezTo>
                    <a:pt x="151442" y="101505"/>
                    <a:pt x="153997" y="102782"/>
                    <a:pt x="156553" y="104059"/>
                  </a:cubicBezTo>
                  <a:cubicBezTo>
                    <a:pt x="159110" y="104697"/>
                    <a:pt x="162305" y="104059"/>
                    <a:pt x="164222" y="102782"/>
                  </a:cubicBezTo>
                  <a:cubicBezTo>
                    <a:pt x="169333" y="99590"/>
                    <a:pt x="170612" y="93206"/>
                    <a:pt x="168056" y="88099"/>
                  </a:cubicBezTo>
                  <a:lnTo>
                    <a:pt x="137384" y="33197"/>
                  </a:lnTo>
                  <a:close/>
                </a:path>
              </a:pathLst>
            </a:custGeom>
            <a:solidFill>
              <a:srgbClr val="0076A8"/>
            </a:solidFill>
            <a:ln w="6390" cap="flat">
              <a:noFill/>
              <a:prstDash val="solid"/>
              <a:miter/>
            </a:ln>
          </p:spPr>
          <p:txBody>
            <a:bodyPr rtlCol="0" anchor="ctr"/>
            <a:lstStyle/>
            <a:p>
              <a:endParaRPr lang="en-US" sz="1000"/>
            </a:p>
          </p:txBody>
        </p:sp>
        <p:sp>
          <p:nvSpPr>
            <p:cNvPr id="93" name="Graphic 4">
              <a:extLst>
                <a:ext uri="{FF2B5EF4-FFF2-40B4-BE49-F238E27FC236}">
                  <a16:creationId xmlns:a16="http://schemas.microsoft.com/office/drawing/2014/main" id="{8D1A436E-8363-2C7B-8F3F-1CD4503AFD9D}"/>
                </a:ext>
              </a:extLst>
            </p:cNvPr>
            <p:cNvSpPr/>
            <p:nvPr/>
          </p:nvSpPr>
          <p:spPr>
            <a:xfrm>
              <a:off x="7192513" y="4792617"/>
              <a:ext cx="361674" cy="361333"/>
            </a:xfrm>
            <a:custGeom>
              <a:avLst/>
              <a:gdLst>
                <a:gd name="connsiteX0" fmla="*/ 180836 w 361674"/>
                <a:gd name="connsiteY0" fmla="*/ 0 h 361333"/>
                <a:gd name="connsiteX1" fmla="*/ 0 w 361674"/>
                <a:gd name="connsiteY1" fmla="*/ 180667 h 361333"/>
                <a:gd name="connsiteX2" fmla="*/ 180836 w 361674"/>
                <a:gd name="connsiteY2" fmla="*/ 361334 h 361333"/>
                <a:gd name="connsiteX3" fmla="*/ 361670 w 361674"/>
                <a:gd name="connsiteY3" fmla="*/ 180667 h 361333"/>
                <a:gd name="connsiteX4" fmla="*/ 180836 w 361674"/>
                <a:gd name="connsiteY4" fmla="*/ 0 h 361333"/>
                <a:gd name="connsiteX5" fmla="*/ 292659 w 361674"/>
                <a:gd name="connsiteY5" fmla="*/ 222163 h 361333"/>
                <a:gd name="connsiteX6" fmla="*/ 299049 w 361674"/>
                <a:gd name="connsiteY6" fmla="*/ 228547 h 361333"/>
                <a:gd name="connsiteX7" fmla="*/ 292659 w 361674"/>
                <a:gd name="connsiteY7" fmla="*/ 234931 h 361333"/>
                <a:gd name="connsiteX8" fmla="*/ 284991 w 361674"/>
                <a:gd name="connsiteY8" fmla="*/ 234931 h 361333"/>
                <a:gd name="connsiteX9" fmla="*/ 278601 w 361674"/>
                <a:gd name="connsiteY9" fmla="*/ 228547 h 361333"/>
                <a:gd name="connsiteX10" fmla="*/ 278601 w 361674"/>
                <a:gd name="connsiteY10" fmla="*/ 218971 h 361333"/>
                <a:gd name="connsiteX11" fmla="*/ 277323 w 361674"/>
                <a:gd name="connsiteY11" fmla="*/ 218971 h 361333"/>
                <a:gd name="connsiteX12" fmla="*/ 265821 w 361674"/>
                <a:gd name="connsiteY12" fmla="*/ 218971 h 361333"/>
                <a:gd name="connsiteX13" fmla="*/ 255597 w 361674"/>
                <a:gd name="connsiteY13" fmla="*/ 245145 h 361333"/>
                <a:gd name="connsiteX14" fmla="*/ 243456 w 361674"/>
                <a:gd name="connsiteY14" fmla="*/ 248337 h 361333"/>
                <a:gd name="connsiteX15" fmla="*/ 237706 w 361674"/>
                <a:gd name="connsiteY15" fmla="*/ 247699 h 361333"/>
                <a:gd name="connsiteX16" fmla="*/ 237706 w 361674"/>
                <a:gd name="connsiteY16" fmla="*/ 247699 h 361333"/>
                <a:gd name="connsiteX17" fmla="*/ 227482 w 361674"/>
                <a:gd name="connsiteY17" fmla="*/ 261743 h 361333"/>
                <a:gd name="connsiteX18" fmla="*/ 215980 w 361674"/>
                <a:gd name="connsiteY18" fmla="*/ 264935 h 361333"/>
                <a:gd name="connsiteX19" fmla="*/ 197449 w 361674"/>
                <a:gd name="connsiteY19" fmla="*/ 255998 h 361333"/>
                <a:gd name="connsiteX20" fmla="*/ 189782 w 361674"/>
                <a:gd name="connsiteY20" fmla="*/ 263659 h 361333"/>
                <a:gd name="connsiteX21" fmla="*/ 177641 w 361674"/>
                <a:gd name="connsiteY21" fmla="*/ 266851 h 361333"/>
                <a:gd name="connsiteX22" fmla="*/ 159748 w 361674"/>
                <a:gd name="connsiteY22" fmla="*/ 258551 h 361333"/>
                <a:gd name="connsiteX23" fmla="*/ 152720 w 361674"/>
                <a:gd name="connsiteY23" fmla="*/ 264935 h 361333"/>
                <a:gd name="connsiteX24" fmla="*/ 141857 w 361674"/>
                <a:gd name="connsiteY24" fmla="*/ 268127 h 361333"/>
                <a:gd name="connsiteX25" fmla="*/ 134828 w 361674"/>
                <a:gd name="connsiteY25" fmla="*/ 266851 h 361333"/>
                <a:gd name="connsiteX26" fmla="*/ 120770 w 361674"/>
                <a:gd name="connsiteY26" fmla="*/ 255998 h 361333"/>
                <a:gd name="connsiteX27" fmla="*/ 98405 w 361674"/>
                <a:gd name="connsiteY27" fmla="*/ 218971 h 361333"/>
                <a:gd name="connsiteX28" fmla="*/ 84348 w 361674"/>
                <a:gd name="connsiteY28" fmla="*/ 218971 h 361333"/>
                <a:gd name="connsiteX29" fmla="*/ 84348 w 361674"/>
                <a:gd name="connsiteY29" fmla="*/ 228547 h 361333"/>
                <a:gd name="connsiteX30" fmla="*/ 77958 w 361674"/>
                <a:gd name="connsiteY30" fmla="*/ 234931 h 361333"/>
                <a:gd name="connsiteX31" fmla="*/ 70289 w 361674"/>
                <a:gd name="connsiteY31" fmla="*/ 234931 h 361333"/>
                <a:gd name="connsiteX32" fmla="*/ 63899 w 361674"/>
                <a:gd name="connsiteY32" fmla="*/ 228547 h 361333"/>
                <a:gd name="connsiteX33" fmla="*/ 70289 w 361674"/>
                <a:gd name="connsiteY33" fmla="*/ 222163 h 361333"/>
                <a:gd name="connsiteX34" fmla="*/ 71568 w 361674"/>
                <a:gd name="connsiteY34" fmla="*/ 222163 h 361333"/>
                <a:gd name="connsiteX35" fmla="*/ 71568 w 361674"/>
                <a:gd name="connsiteY35" fmla="*/ 107251 h 361333"/>
                <a:gd name="connsiteX36" fmla="*/ 70289 w 361674"/>
                <a:gd name="connsiteY36" fmla="*/ 107251 h 361333"/>
                <a:gd name="connsiteX37" fmla="*/ 63899 w 361674"/>
                <a:gd name="connsiteY37" fmla="*/ 100867 h 361333"/>
                <a:gd name="connsiteX38" fmla="*/ 70289 w 361674"/>
                <a:gd name="connsiteY38" fmla="*/ 94483 h 361333"/>
                <a:gd name="connsiteX39" fmla="*/ 77958 w 361674"/>
                <a:gd name="connsiteY39" fmla="*/ 94483 h 361333"/>
                <a:gd name="connsiteX40" fmla="*/ 84348 w 361674"/>
                <a:gd name="connsiteY40" fmla="*/ 100867 h 361333"/>
                <a:gd name="connsiteX41" fmla="*/ 84348 w 361674"/>
                <a:gd name="connsiteY41" fmla="*/ 118104 h 361333"/>
                <a:gd name="connsiteX42" fmla="*/ 157832 w 361674"/>
                <a:gd name="connsiteY42" fmla="*/ 118104 h 361333"/>
                <a:gd name="connsiteX43" fmla="*/ 158471 w 361674"/>
                <a:gd name="connsiteY43" fmla="*/ 118104 h 361333"/>
                <a:gd name="connsiteX44" fmla="*/ 186587 w 361674"/>
                <a:gd name="connsiteY44" fmla="*/ 102782 h 361333"/>
                <a:gd name="connsiteX45" fmla="*/ 191059 w 361674"/>
                <a:gd name="connsiteY45" fmla="*/ 102144 h 361333"/>
                <a:gd name="connsiteX46" fmla="*/ 246013 w 361674"/>
                <a:gd name="connsiteY46" fmla="*/ 118104 h 361333"/>
                <a:gd name="connsiteX47" fmla="*/ 278601 w 361674"/>
                <a:gd name="connsiteY47" fmla="*/ 118104 h 361333"/>
                <a:gd name="connsiteX48" fmla="*/ 278601 w 361674"/>
                <a:gd name="connsiteY48" fmla="*/ 100867 h 361333"/>
                <a:gd name="connsiteX49" fmla="*/ 284991 w 361674"/>
                <a:gd name="connsiteY49" fmla="*/ 94483 h 361333"/>
                <a:gd name="connsiteX50" fmla="*/ 292659 w 361674"/>
                <a:gd name="connsiteY50" fmla="*/ 94483 h 361333"/>
                <a:gd name="connsiteX51" fmla="*/ 299049 w 361674"/>
                <a:gd name="connsiteY51" fmla="*/ 100867 h 361333"/>
                <a:gd name="connsiteX52" fmla="*/ 292659 w 361674"/>
                <a:gd name="connsiteY52" fmla="*/ 107251 h 361333"/>
                <a:gd name="connsiteX53" fmla="*/ 291381 w 361674"/>
                <a:gd name="connsiteY53" fmla="*/ 107251 h 361333"/>
                <a:gd name="connsiteX54" fmla="*/ 291381 w 361674"/>
                <a:gd name="connsiteY54" fmla="*/ 222163 h 361333"/>
                <a:gd name="connsiteX55" fmla="*/ 292659 w 361674"/>
                <a:gd name="connsiteY55" fmla="*/ 22216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1674" h="361333">
                  <a:moveTo>
                    <a:pt x="180836" y="0"/>
                  </a:moveTo>
                  <a:cubicBezTo>
                    <a:pt x="80513" y="0"/>
                    <a:pt x="0" y="81077"/>
                    <a:pt x="0" y="180667"/>
                  </a:cubicBezTo>
                  <a:cubicBezTo>
                    <a:pt x="0" y="280895"/>
                    <a:pt x="81153" y="361334"/>
                    <a:pt x="180836" y="361334"/>
                  </a:cubicBezTo>
                  <a:cubicBezTo>
                    <a:pt x="280518" y="361334"/>
                    <a:pt x="361670" y="280257"/>
                    <a:pt x="361670" y="180667"/>
                  </a:cubicBezTo>
                  <a:cubicBezTo>
                    <a:pt x="362310" y="81077"/>
                    <a:pt x="281157" y="0"/>
                    <a:pt x="180836" y="0"/>
                  </a:cubicBezTo>
                  <a:close/>
                  <a:moveTo>
                    <a:pt x="292659" y="222163"/>
                  </a:moveTo>
                  <a:cubicBezTo>
                    <a:pt x="296493" y="222163"/>
                    <a:pt x="299049" y="224716"/>
                    <a:pt x="299049" y="228547"/>
                  </a:cubicBezTo>
                  <a:cubicBezTo>
                    <a:pt x="299049" y="232377"/>
                    <a:pt x="296493" y="234931"/>
                    <a:pt x="292659" y="234931"/>
                  </a:cubicBezTo>
                  <a:lnTo>
                    <a:pt x="284991" y="234931"/>
                  </a:lnTo>
                  <a:cubicBezTo>
                    <a:pt x="281157" y="234931"/>
                    <a:pt x="278601" y="232377"/>
                    <a:pt x="278601" y="228547"/>
                  </a:cubicBezTo>
                  <a:lnTo>
                    <a:pt x="278601" y="218971"/>
                  </a:lnTo>
                  <a:cubicBezTo>
                    <a:pt x="277962" y="218971"/>
                    <a:pt x="277323" y="218971"/>
                    <a:pt x="277323" y="218971"/>
                  </a:cubicBezTo>
                  <a:lnTo>
                    <a:pt x="265821" y="218971"/>
                  </a:lnTo>
                  <a:cubicBezTo>
                    <a:pt x="268377" y="228547"/>
                    <a:pt x="264544" y="239399"/>
                    <a:pt x="255597" y="245145"/>
                  </a:cubicBezTo>
                  <a:cubicBezTo>
                    <a:pt x="251764" y="247060"/>
                    <a:pt x="247930" y="248337"/>
                    <a:pt x="243456" y="248337"/>
                  </a:cubicBezTo>
                  <a:cubicBezTo>
                    <a:pt x="241540" y="248337"/>
                    <a:pt x="239623" y="248337"/>
                    <a:pt x="237706" y="247699"/>
                  </a:cubicBezTo>
                  <a:cubicBezTo>
                    <a:pt x="237706" y="247699"/>
                    <a:pt x="237706" y="247699"/>
                    <a:pt x="237706" y="247699"/>
                  </a:cubicBezTo>
                  <a:cubicBezTo>
                    <a:pt x="236428" y="253444"/>
                    <a:pt x="233233" y="258551"/>
                    <a:pt x="227482" y="261743"/>
                  </a:cubicBezTo>
                  <a:cubicBezTo>
                    <a:pt x="223648" y="263659"/>
                    <a:pt x="219814" y="264935"/>
                    <a:pt x="215980" y="264935"/>
                  </a:cubicBezTo>
                  <a:cubicBezTo>
                    <a:pt x="208951" y="264935"/>
                    <a:pt x="201922" y="261743"/>
                    <a:pt x="197449" y="255998"/>
                  </a:cubicBezTo>
                  <a:cubicBezTo>
                    <a:pt x="195532" y="259190"/>
                    <a:pt x="192977" y="261743"/>
                    <a:pt x="189782" y="263659"/>
                  </a:cubicBezTo>
                  <a:cubicBezTo>
                    <a:pt x="185947" y="265574"/>
                    <a:pt x="182113" y="266851"/>
                    <a:pt x="177641" y="266851"/>
                  </a:cubicBezTo>
                  <a:cubicBezTo>
                    <a:pt x="170612" y="266851"/>
                    <a:pt x="164222" y="263659"/>
                    <a:pt x="159748" y="258551"/>
                  </a:cubicBezTo>
                  <a:cubicBezTo>
                    <a:pt x="157832" y="261105"/>
                    <a:pt x="155915" y="263020"/>
                    <a:pt x="152720" y="264935"/>
                  </a:cubicBezTo>
                  <a:cubicBezTo>
                    <a:pt x="149525" y="266851"/>
                    <a:pt x="145691" y="268127"/>
                    <a:pt x="141857" y="268127"/>
                  </a:cubicBezTo>
                  <a:cubicBezTo>
                    <a:pt x="139301" y="268127"/>
                    <a:pt x="137384" y="267489"/>
                    <a:pt x="134828" y="266851"/>
                  </a:cubicBezTo>
                  <a:cubicBezTo>
                    <a:pt x="129077" y="264935"/>
                    <a:pt x="123965" y="261105"/>
                    <a:pt x="120770" y="255998"/>
                  </a:cubicBezTo>
                  <a:lnTo>
                    <a:pt x="98405" y="218971"/>
                  </a:lnTo>
                  <a:lnTo>
                    <a:pt x="84348" y="218971"/>
                  </a:lnTo>
                  <a:lnTo>
                    <a:pt x="84348" y="228547"/>
                  </a:lnTo>
                  <a:cubicBezTo>
                    <a:pt x="84348" y="232377"/>
                    <a:pt x="81792" y="234931"/>
                    <a:pt x="77958" y="234931"/>
                  </a:cubicBezTo>
                  <a:lnTo>
                    <a:pt x="70289" y="234931"/>
                  </a:lnTo>
                  <a:cubicBezTo>
                    <a:pt x="66456" y="234931"/>
                    <a:pt x="63899" y="232377"/>
                    <a:pt x="63899" y="228547"/>
                  </a:cubicBezTo>
                  <a:cubicBezTo>
                    <a:pt x="63899" y="224716"/>
                    <a:pt x="66456" y="222163"/>
                    <a:pt x="70289" y="222163"/>
                  </a:cubicBezTo>
                  <a:lnTo>
                    <a:pt x="71568" y="222163"/>
                  </a:lnTo>
                  <a:lnTo>
                    <a:pt x="71568" y="107251"/>
                  </a:lnTo>
                  <a:lnTo>
                    <a:pt x="70289" y="107251"/>
                  </a:lnTo>
                  <a:cubicBezTo>
                    <a:pt x="66456" y="107251"/>
                    <a:pt x="63899" y="104697"/>
                    <a:pt x="63899" y="100867"/>
                  </a:cubicBezTo>
                  <a:cubicBezTo>
                    <a:pt x="63899" y="97037"/>
                    <a:pt x="66456" y="94483"/>
                    <a:pt x="70289" y="94483"/>
                  </a:cubicBezTo>
                  <a:lnTo>
                    <a:pt x="77958" y="94483"/>
                  </a:lnTo>
                  <a:cubicBezTo>
                    <a:pt x="81792" y="94483"/>
                    <a:pt x="84348" y="97037"/>
                    <a:pt x="84348" y="100867"/>
                  </a:cubicBezTo>
                  <a:lnTo>
                    <a:pt x="84348" y="118104"/>
                  </a:lnTo>
                  <a:lnTo>
                    <a:pt x="157832" y="118104"/>
                  </a:lnTo>
                  <a:cubicBezTo>
                    <a:pt x="157832" y="118104"/>
                    <a:pt x="158471" y="118104"/>
                    <a:pt x="158471" y="118104"/>
                  </a:cubicBezTo>
                  <a:lnTo>
                    <a:pt x="186587" y="102782"/>
                  </a:lnTo>
                  <a:cubicBezTo>
                    <a:pt x="187864" y="102144"/>
                    <a:pt x="189782" y="101505"/>
                    <a:pt x="191059" y="102144"/>
                  </a:cubicBezTo>
                  <a:lnTo>
                    <a:pt x="246013" y="118104"/>
                  </a:lnTo>
                  <a:lnTo>
                    <a:pt x="278601" y="118104"/>
                  </a:lnTo>
                  <a:lnTo>
                    <a:pt x="278601" y="100867"/>
                  </a:lnTo>
                  <a:cubicBezTo>
                    <a:pt x="278601" y="97037"/>
                    <a:pt x="281157" y="94483"/>
                    <a:pt x="284991" y="94483"/>
                  </a:cubicBezTo>
                  <a:lnTo>
                    <a:pt x="292659" y="94483"/>
                  </a:lnTo>
                  <a:cubicBezTo>
                    <a:pt x="296493" y="94483"/>
                    <a:pt x="299049" y="97037"/>
                    <a:pt x="299049" y="100867"/>
                  </a:cubicBezTo>
                  <a:cubicBezTo>
                    <a:pt x="299049" y="104697"/>
                    <a:pt x="296493" y="107251"/>
                    <a:pt x="292659" y="107251"/>
                  </a:cubicBezTo>
                  <a:lnTo>
                    <a:pt x="291381" y="107251"/>
                  </a:lnTo>
                  <a:lnTo>
                    <a:pt x="291381" y="222163"/>
                  </a:lnTo>
                  <a:lnTo>
                    <a:pt x="292659" y="222163"/>
                  </a:lnTo>
                  <a:close/>
                </a:path>
              </a:pathLst>
            </a:custGeom>
            <a:solidFill>
              <a:srgbClr val="007680"/>
            </a:solidFill>
            <a:ln w="6390" cap="flat">
              <a:noFill/>
              <a:prstDash val="solid"/>
              <a:miter/>
            </a:ln>
          </p:spPr>
          <p:txBody>
            <a:bodyPr rtlCol="0" anchor="ctr"/>
            <a:lstStyle/>
            <a:p>
              <a:endParaRPr lang="en-US" sz="1000" dirty="0"/>
            </a:p>
          </p:txBody>
        </p:sp>
      </p:grpSp>
      <p:grpSp>
        <p:nvGrpSpPr>
          <p:cNvPr id="94" name="Graphic 4">
            <a:extLst>
              <a:ext uri="{FF2B5EF4-FFF2-40B4-BE49-F238E27FC236}">
                <a16:creationId xmlns:a16="http://schemas.microsoft.com/office/drawing/2014/main" id="{0712ED62-7C55-ECF5-DC9B-4FDC384ADF29}"/>
              </a:ext>
            </a:extLst>
          </p:cNvPr>
          <p:cNvGrpSpPr>
            <a:grpSpLocks noChangeAspect="1"/>
          </p:cNvGrpSpPr>
          <p:nvPr/>
        </p:nvGrpSpPr>
        <p:grpSpPr>
          <a:xfrm>
            <a:off x="482560" y="4664316"/>
            <a:ext cx="276227" cy="275967"/>
            <a:chOff x="8840477" y="3824168"/>
            <a:chExt cx="362312" cy="361971"/>
          </a:xfrm>
          <a:solidFill>
            <a:srgbClr val="00ABAB"/>
          </a:solidFill>
        </p:grpSpPr>
        <p:sp>
          <p:nvSpPr>
            <p:cNvPr id="95" name="Graphic 4">
              <a:extLst>
                <a:ext uri="{FF2B5EF4-FFF2-40B4-BE49-F238E27FC236}">
                  <a16:creationId xmlns:a16="http://schemas.microsoft.com/office/drawing/2014/main" id="{25DBA2F0-125C-CB0D-D4D8-04F6528CA60B}"/>
                </a:ext>
              </a:extLst>
            </p:cNvPr>
            <p:cNvSpPr/>
            <p:nvPr/>
          </p:nvSpPr>
          <p:spPr>
            <a:xfrm>
              <a:off x="8840477" y="3824168"/>
              <a:ext cx="362312" cy="361971"/>
            </a:xfrm>
            <a:custGeom>
              <a:avLst/>
              <a:gdLst>
                <a:gd name="connsiteX0" fmla="*/ 181474 w 362312"/>
                <a:gd name="connsiteY0" fmla="*/ 0 h 361971"/>
                <a:gd name="connsiteX1" fmla="*/ 0 w 362312"/>
                <a:gd name="connsiteY1" fmla="*/ 180667 h 361971"/>
                <a:gd name="connsiteX2" fmla="*/ 180836 w 362312"/>
                <a:gd name="connsiteY2" fmla="*/ 361971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6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 name="connsiteX12" fmla="*/ 181474 w 362312"/>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6"/>
                    <a:pt x="0" y="180667"/>
                  </a:cubicBezTo>
                  <a:cubicBezTo>
                    <a:pt x="0" y="280895"/>
                    <a:pt x="81152" y="361971"/>
                    <a:pt x="180836" y="361971"/>
                  </a:cubicBezTo>
                  <a:cubicBezTo>
                    <a:pt x="281157" y="361971"/>
                    <a:pt x="362309" y="280895"/>
                    <a:pt x="362309" y="181305"/>
                  </a:cubicBezTo>
                  <a:cubicBezTo>
                    <a:pt x="362309" y="181305"/>
                    <a:pt x="362309" y="181305"/>
                    <a:pt x="362309" y="181305"/>
                  </a:cubicBezTo>
                  <a:cubicBezTo>
                    <a:pt x="362949" y="81076"/>
                    <a:pt x="281796" y="0"/>
                    <a:pt x="181474" y="0"/>
                  </a:cubicBezTo>
                  <a:close/>
                  <a:moveTo>
                    <a:pt x="181474" y="349204"/>
                  </a:moveTo>
                  <a:cubicBezTo>
                    <a:pt x="88181" y="349204"/>
                    <a:pt x="12780" y="273873"/>
                    <a:pt x="12780" y="181305"/>
                  </a:cubicBezTo>
                  <a:cubicBezTo>
                    <a:pt x="12780" y="88099"/>
                    <a:pt x="88181" y="12768"/>
                    <a:pt x="180836" y="12768"/>
                  </a:cubicBezTo>
                  <a:cubicBezTo>
                    <a:pt x="274128" y="12768"/>
                    <a:pt x="349529" y="88099"/>
                    <a:pt x="349529" y="180667"/>
                  </a:cubicBezTo>
                  <a:cubicBezTo>
                    <a:pt x="349529" y="180667"/>
                    <a:pt x="349529" y="180667"/>
                    <a:pt x="349529" y="180667"/>
                  </a:cubicBezTo>
                  <a:cubicBezTo>
                    <a:pt x="350169" y="273873"/>
                    <a:pt x="274767" y="349204"/>
                    <a:pt x="181474" y="349204"/>
                  </a:cubicBezTo>
                  <a:lnTo>
                    <a:pt x="181474" y="349204"/>
                  </a:lnTo>
                  <a:close/>
                </a:path>
              </a:pathLst>
            </a:custGeom>
            <a:solidFill>
              <a:srgbClr val="00ABAB"/>
            </a:solidFill>
            <a:ln w="6390" cap="flat">
              <a:noFill/>
              <a:prstDash val="solid"/>
              <a:miter/>
            </a:ln>
          </p:spPr>
          <p:txBody>
            <a:bodyPr rtlCol="0" anchor="ctr"/>
            <a:lstStyle/>
            <a:p>
              <a:endParaRPr lang="en-US" sz="1000"/>
            </a:p>
          </p:txBody>
        </p:sp>
        <p:sp>
          <p:nvSpPr>
            <p:cNvPr id="96" name="Graphic 4">
              <a:extLst>
                <a:ext uri="{FF2B5EF4-FFF2-40B4-BE49-F238E27FC236}">
                  <a16:creationId xmlns:a16="http://schemas.microsoft.com/office/drawing/2014/main" id="{1E079DCD-E351-DE5E-4D81-32DC8223290C}"/>
                </a:ext>
              </a:extLst>
            </p:cNvPr>
            <p:cNvSpPr/>
            <p:nvPr/>
          </p:nvSpPr>
          <p:spPr>
            <a:xfrm>
              <a:off x="8956774" y="3899499"/>
              <a:ext cx="130993" cy="212586"/>
            </a:xfrm>
            <a:custGeom>
              <a:avLst/>
              <a:gdLst>
                <a:gd name="connsiteX0" fmla="*/ 65817 w 130993"/>
                <a:gd name="connsiteY0" fmla="*/ 0 h 212586"/>
                <a:gd name="connsiteX1" fmla="*/ 65817 w 130993"/>
                <a:gd name="connsiteY1" fmla="*/ 0 h 212586"/>
                <a:gd name="connsiteX2" fmla="*/ 0 w 130993"/>
                <a:gd name="connsiteY2" fmla="*/ 63201 h 212586"/>
                <a:gd name="connsiteX3" fmla="*/ 12780 w 130993"/>
                <a:gd name="connsiteY3" fmla="*/ 104697 h 212586"/>
                <a:gd name="connsiteX4" fmla="*/ 30672 w 130993"/>
                <a:gd name="connsiteY4" fmla="*/ 141724 h 212586"/>
                <a:gd name="connsiteX5" fmla="*/ 30672 w 130993"/>
                <a:gd name="connsiteY5" fmla="*/ 163430 h 212586"/>
                <a:gd name="connsiteX6" fmla="*/ 30672 w 130993"/>
                <a:gd name="connsiteY6" fmla="*/ 164068 h 212586"/>
                <a:gd name="connsiteX7" fmla="*/ 30672 w 130993"/>
                <a:gd name="connsiteY7" fmla="*/ 164707 h 212586"/>
                <a:gd name="connsiteX8" fmla="*/ 37701 w 130993"/>
                <a:gd name="connsiteY8" fmla="*/ 207479 h 212586"/>
                <a:gd name="connsiteX9" fmla="*/ 44091 w 130993"/>
                <a:gd name="connsiteY9" fmla="*/ 212587 h 212586"/>
                <a:gd name="connsiteX10" fmla="*/ 86904 w 130993"/>
                <a:gd name="connsiteY10" fmla="*/ 212587 h 212586"/>
                <a:gd name="connsiteX11" fmla="*/ 93294 w 130993"/>
                <a:gd name="connsiteY11" fmla="*/ 207479 h 212586"/>
                <a:gd name="connsiteX12" fmla="*/ 100322 w 130993"/>
                <a:gd name="connsiteY12" fmla="*/ 164707 h 212586"/>
                <a:gd name="connsiteX13" fmla="*/ 100322 w 130993"/>
                <a:gd name="connsiteY13" fmla="*/ 164068 h 212586"/>
                <a:gd name="connsiteX14" fmla="*/ 100322 w 130993"/>
                <a:gd name="connsiteY14" fmla="*/ 163430 h 212586"/>
                <a:gd name="connsiteX15" fmla="*/ 100322 w 130993"/>
                <a:gd name="connsiteY15" fmla="*/ 141724 h 212586"/>
                <a:gd name="connsiteX16" fmla="*/ 118214 w 130993"/>
                <a:gd name="connsiteY16" fmla="*/ 105336 h 212586"/>
                <a:gd name="connsiteX17" fmla="*/ 130994 w 130993"/>
                <a:gd name="connsiteY17" fmla="*/ 63840 h 212586"/>
                <a:gd name="connsiteX18" fmla="*/ 65817 w 130993"/>
                <a:gd name="connsiteY18" fmla="*/ 0 h 212586"/>
                <a:gd name="connsiteX19" fmla="*/ 81153 w 130993"/>
                <a:gd name="connsiteY19" fmla="*/ 198542 h 212586"/>
                <a:gd name="connsiteX20" fmla="*/ 49203 w 130993"/>
                <a:gd name="connsiteY20" fmla="*/ 198542 h 212586"/>
                <a:gd name="connsiteX21" fmla="*/ 44091 w 130993"/>
                <a:gd name="connsiteY21" fmla="*/ 168537 h 212586"/>
                <a:gd name="connsiteX22" fmla="*/ 85625 w 130993"/>
                <a:gd name="connsiteY22" fmla="*/ 168537 h 212586"/>
                <a:gd name="connsiteX23" fmla="*/ 81153 w 130993"/>
                <a:gd name="connsiteY23" fmla="*/ 198542 h 212586"/>
                <a:gd name="connsiteX24" fmla="*/ 107351 w 130993"/>
                <a:gd name="connsiteY24" fmla="*/ 97037 h 212586"/>
                <a:gd name="connsiteX25" fmla="*/ 86904 w 130993"/>
                <a:gd name="connsiteY25" fmla="*/ 140448 h 212586"/>
                <a:gd name="connsiteX26" fmla="*/ 86904 w 130993"/>
                <a:gd name="connsiteY26" fmla="*/ 155769 h 212586"/>
                <a:gd name="connsiteX27" fmla="*/ 70929 w 130993"/>
                <a:gd name="connsiteY27" fmla="*/ 155769 h 212586"/>
                <a:gd name="connsiteX28" fmla="*/ 70929 w 130993"/>
                <a:gd name="connsiteY28" fmla="*/ 155131 h 212586"/>
                <a:gd name="connsiteX29" fmla="*/ 70929 w 130993"/>
                <a:gd name="connsiteY29" fmla="*/ 100867 h 212586"/>
                <a:gd name="connsiteX30" fmla="*/ 83069 w 130993"/>
                <a:gd name="connsiteY30" fmla="*/ 88737 h 212586"/>
                <a:gd name="connsiteX31" fmla="*/ 83069 w 130993"/>
                <a:gd name="connsiteY31" fmla="*/ 79800 h 212586"/>
                <a:gd name="connsiteX32" fmla="*/ 83069 w 130993"/>
                <a:gd name="connsiteY32" fmla="*/ 79800 h 212586"/>
                <a:gd name="connsiteX33" fmla="*/ 74124 w 130993"/>
                <a:gd name="connsiteY33" fmla="*/ 79800 h 212586"/>
                <a:gd name="connsiteX34" fmla="*/ 64539 w 130993"/>
                <a:gd name="connsiteY34" fmla="*/ 89376 h 212586"/>
                <a:gd name="connsiteX35" fmla="*/ 54314 w 130993"/>
                <a:gd name="connsiteY35" fmla="*/ 79800 h 212586"/>
                <a:gd name="connsiteX36" fmla="*/ 45369 w 130993"/>
                <a:gd name="connsiteY36" fmla="*/ 79800 h 212586"/>
                <a:gd name="connsiteX37" fmla="*/ 45369 w 130993"/>
                <a:gd name="connsiteY37" fmla="*/ 88737 h 212586"/>
                <a:gd name="connsiteX38" fmla="*/ 57509 w 130993"/>
                <a:gd name="connsiteY38" fmla="*/ 100867 h 212586"/>
                <a:gd name="connsiteX39" fmla="*/ 57509 w 130993"/>
                <a:gd name="connsiteY39" fmla="*/ 155131 h 212586"/>
                <a:gd name="connsiteX40" fmla="*/ 57509 w 130993"/>
                <a:gd name="connsiteY40" fmla="*/ 155769 h 212586"/>
                <a:gd name="connsiteX41" fmla="*/ 41535 w 130993"/>
                <a:gd name="connsiteY41" fmla="*/ 155769 h 212586"/>
                <a:gd name="connsiteX42" fmla="*/ 41535 w 130993"/>
                <a:gd name="connsiteY42" fmla="*/ 140448 h 212586"/>
                <a:gd name="connsiteX43" fmla="*/ 21726 w 130993"/>
                <a:gd name="connsiteY43" fmla="*/ 97037 h 212586"/>
                <a:gd name="connsiteX44" fmla="*/ 10863 w 130993"/>
                <a:gd name="connsiteY44" fmla="*/ 62563 h 212586"/>
                <a:gd name="connsiteX45" fmla="*/ 67094 w 130993"/>
                <a:gd name="connsiteY45" fmla="*/ 12768 h 212586"/>
                <a:gd name="connsiteX46" fmla="*/ 116936 w 130993"/>
                <a:gd name="connsiteY46" fmla="*/ 62563 h 212586"/>
                <a:gd name="connsiteX47" fmla="*/ 107351 w 130993"/>
                <a:gd name="connsiteY47" fmla="*/ 97037 h 212586"/>
                <a:gd name="connsiteX48" fmla="*/ 107351 w 130993"/>
                <a:gd name="connsiteY48" fmla="*/ 97037 h 21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0993" h="212586">
                  <a:moveTo>
                    <a:pt x="65817" y="0"/>
                  </a:moveTo>
                  <a:lnTo>
                    <a:pt x="65817" y="0"/>
                  </a:lnTo>
                  <a:cubicBezTo>
                    <a:pt x="30033" y="0"/>
                    <a:pt x="1278" y="28089"/>
                    <a:pt x="0" y="63201"/>
                  </a:cubicBezTo>
                  <a:cubicBezTo>
                    <a:pt x="640" y="77885"/>
                    <a:pt x="5112" y="91929"/>
                    <a:pt x="12780" y="104697"/>
                  </a:cubicBezTo>
                  <a:cubicBezTo>
                    <a:pt x="21087" y="118742"/>
                    <a:pt x="30672" y="136617"/>
                    <a:pt x="30672" y="141724"/>
                  </a:cubicBezTo>
                  <a:lnTo>
                    <a:pt x="30672" y="163430"/>
                  </a:lnTo>
                  <a:cubicBezTo>
                    <a:pt x="30672" y="163430"/>
                    <a:pt x="30672" y="163430"/>
                    <a:pt x="30672" y="164068"/>
                  </a:cubicBezTo>
                  <a:cubicBezTo>
                    <a:pt x="30672" y="164068"/>
                    <a:pt x="30672" y="164707"/>
                    <a:pt x="30672" y="164707"/>
                  </a:cubicBezTo>
                  <a:lnTo>
                    <a:pt x="37701" y="207479"/>
                  </a:lnTo>
                  <a:cubicBezTo>
                    <a:pt x="38340" y="210671"/>
                    <a:pt x="40896" y="212587"/>
                    <a:pt x="44091" y="212587"/>
                  </a:cubicBezTo>
                  <a:lnTo>
                    <a:pt x="86904" y="212587"/>
                  </a:lnTo>
                  <a:cubicBezTo>
                    <a:pt x="90099" y="212587"/>
                    <a:pt x="92654" y="210671"/>
                    <a:pt x="93294" y="207479"/>
                  </a:cubicBezTo>
                  <a:lnTo>
                    <a:pt x="100322" y="164707"/>
                  </a:lnTo>
                  <a:cubicBezTo>
                    <a:pt x="100322" y="164707"/>
                    <a:pt x="100322" y="164707"/>
                    <a:pt x="100322" y="164068"/>
                  </a:cubicBezTo>
                  <a:cubicBezTo>
                    <a:pt x="100322" y="164068"/>
                    <a:pt x="100322" y="163430"/>
                    <a:pt x="100322" y="163430"/>
                  </a:cubicBezTo>
                  <a:lnTo>
                    <a:pt x="100322" y="141724"/>
                  </a:lnTo>
                  <a:cubicBezTo>
                    <a:pt x="100322" y="136617"/>
                    <a:pt x="109907" y="118742"/>
                    <a:pt x="118214" y="105336"/>
                  </a:cubicBezTo>
                  <a:cubicBezTo>
                    <a:pt x="125882" y="92568"/>
                    <a:pt x="130355" y="78523"/>
                    <a:pt x="130994" y="63840"/>
                  </a:cubicBezTo>
                  <a:cubicBezTo>
                    <a:pt x="130994" y="28728"/>
                    <a:pt x="100961" y="0"/>
                    <a:pt x="65817" y="0"/>
                  </a:cubicBezTo>
                  <a:close/>
                  <a:moveTo>
                    <a:pt x="81153" y="198542"/>
                  </a:moveTo>
                  <a:lnTo>
                    <a:pt x="49203" y="198542"/>
                  </a:lnTo>
                  <a:lnTo>
                    <a:pt x="44091" y="168537"/>
                  </a:lnTo>
                  <a:lnTo>
                    <a:pt x="85625" y="168537"/>
                  </a:lnTo>
                  <a:lnTo>
                    <a:pt x="81153" y="198542"/>
                  </a:lnTo>
                  <a:close/>
                  <a:moveTo>
                    <a:pt x="107351" y="97037"/>
                  </a:moveTo>
                  <a:cubicBezTo>
                    <a:pt x="102879" y="104697"/>
                    <a:pt x="86904" y="129595"/>
                    <a:pt x="86904" y="140448"/>
                  </a:cubicBezTo>
                  <a:lnTo>
                    <a:pt x="86904" y="155769"/>
                  </a:lnTo>
                  <a:lnTo>
                    <a:pt x="70929" y="155769"/>
                  </a:lnTo>
                  <a:cubicBezTo>
                    <a:pt x="70929" y="155769"/>
                    <a:pt x="70929" y="155131"/>
                    <a:pt x="70929" y="155131"/>
                  </a:cubicBezTo>
                  <a:lnTo>
                    <a:pt x="70929" y="100867"/>
                  </a:lnTo>
                  <a:lnTo>
                    <a:pt x="83069" y="88737"/>
                  </a:lnTo>
                  <a:cubicBezTo>
                    <a:pt x="85625" y="86184"/>
                    <a:pt x="85625" y="82353"/>
                    <a:pt x="83069" y="79800"/>
                  </a:cubicBezTo>
                  <a:cubicBezTo>
                    <a:pt x="83069" y="79800"/>
                    <a:pt x="83069" y="79800"/>
                    <a:pt x="83069" y="79800"/>
                  </a:cubicBezTo>
                  <a:cubicBezTo>
                    <a:pt x="80514" y="77246"/>
                    <a:pt x="76679" y="77246"/>
                    <a:pt x="74124" y="79800"/>
                  </a:cubicBezTo>
                  <a:lnTo>
                    <a:pt x="64539" y="89376"/>
                  </a:lnTo>
                  <a:lnTo>
                    <a:pt x="54314" y="79800"/>
                  </a:lnTo>
                  <a:cubicBezTo>
                    <a:pt x="51759" y="77246"/>
                    <a:pt x="47925" y="77246"/>
                    <a:pt x="45369" y="79800"/>
                  </a:cubicBezTo>
                  <a:cubicBezTo>
                    <a:pt x="42813" y="82353"/>
                    <a:pt x="42813" y="86184"/>
                    <a:pt x="45369" y="88737"/>
                  </a:cubicBezTo>
                  <a:lnTo>
                    <a:pt x="57509" y="100867"/>
                  </a:lnTo>
                  <a:lnTo>
                    <a:pt x="57509" y="155131"/>
                  </a:lnTo>
                  <a:cubicBezTo>
                    <a:pt x="57509" y="155131"/>
                    <a:pt x="57509" y="155769"/>
                    <a:pt x="57509" y="155769"/>
                  </a:cubicBezTo>
                  <a:lnTo>
                    <a:pt x="41535" y="155769"/>
                  </a:lnTo>
                  <a:lnTo>
                    <a:pt x="41535" y="140448"/>
                  </a:lnTo>
                  <a:cubicBezTo>
                    <a:pt x="41535" y="129595"/>
                    <a:pt x="26838" y="104697"/>
                    <a:pt x="21726" y="97037"/>
                  </a:cubicBezTo>
                  <a:cubicBezTo>
                    <a:pt x="15336" y="86822"/>
                    <a:pt x="11502" y="74693"/>
                    <a:pt x="10863" y="62563"/>
                  </a:cubicBezTo>
                  <a:cubicBezTo>
                    <a:pt x="12780" y="33197"/>
                    <a:pt x="37701" y="11491"/>
                    <a:pt x="67094" y="12768"/>
                  </a:cubicBezTo>
                  <a:cubicBezTo>
                    <a:pt x="93933" y="14683"/>
                    <a:pt x="115019" y="35750"/>
                    <a:pt x="116936" y="62563"/>
                  </a:cubicBezTo>
                  <a:cubicBezTo>
                    <a:pt x="117575" y="75331"/>
                    <a:pt x="113741" y="86822"/>
                    <a:pt x="107351" y="97037"/>
                  </a:cubicBezTo>
                  <a:lnTo>
                    <a:pt x="107351" y="97037"/>
                  </a:lnTo>
                  <a:close/>
                </a:path>
              </a:pathLst>
            </a:custGeom>
            <a:solidFill>
              <a:srgbClr val="00ABAB"/>
            </a:solidFill>
            <a:ln w="6390" cap="flat">
              <a:noFill/>
              <a:prstDash val="solid"/>
              <a:miter/>
            </a:ln>
          </p:spPr>
          <p:txBody>
            <a:bodyPr rtlCol="0" anchor="ctr"/>
            <a:lstStyle/>
            <a:p>
              <a:endParaRPr lang="en-US" sz="1000"/>
            </a:p>
          </p:txBody>
        </p:sp>
      </p:grpSp>
      <p:sp>
        <p:nvSpPr>
          <p:cNvPr id="98" name="Isosceles Triangle 97">
            <a:extLst>
              <a:ext uri="{FF2B5EF4-FFF2-40B4-BE49-F238E27FC236}">
                <a16:creationId xmlns:a16="http://schemas.microsoft.com/office/drawing/2014/main" id="{FDC04673-698A-3C84-6AA4-4A0B74AD2DFC}"/>
              </a:ext>
            </a:extLst>
          </p:cNvPr>
          <p:cNvSpPr/>
          <p:nvPr/>
        </p:nvSpPr>
        <p:spPr bwMode="gray">
          <a:xfrm rot="5400000">
            <a:off x="2537269" y="2864557"/>
            <a:ext cx="94559" cy="54553"/>
          </a:xfrm>
          <a:prstGeom prst="triangle">
            <a:avLst/>
          </a:prstGeom>
          <a:solidFill>
            <a:schemeClr val="accent3"/>
          </a:solidFill>
          <a:ln w="19050" algn="ctr">
            <a:noFill/>
            <a:miter lim="800000"/>
            <a:headEnd/>
            <a:tailEnd/>
          </a:ln>
        </p:spPr>
        <p:txBody>
          <a:bodyPr wrap="square" lIns="0" tIns="0" rIns="0" bIns="0" rtlCol="0" anchor="ctr"/>
          <a:lstStyle/>
          <a:p>
            <a:pPr algn="ctr"/>
            <a:endParaRPr lang="en-US" sz="1000"/>
          </a:p>
        </p:txBody>
      </p:sp>
      <p:sp>
        <p:nvSpPr>
          <p:cNvPr id="99" name="Isosceles Triangle 98">
            <a:extLst>
              <a:ext uri="{FF2B5EF4-FFF2-40B4-BE49-F238E27FC236}">
                <a16:creationId xmlns:a16="http://schemas.microsoft.com/office/drawing/2014/main" id="{5FB9775C-9DF7-B758-0E90-566AC86B40CA}"/>
              </a:ext>
            </a:extLst>
          </p:cNvPr>
          <p:cNvSpPr/>
          <p:nvPr/>
        </p:nvSpPr>
        <p:spPr bwMode="gray">
          <a:xfrm rot="5400000">
            <a:off x="2537269" y="3441291"/>
            <a:ext cx="94559" cy="54553"/>
          </a:xfrm>
          <a:prstGeom prst="triangle">
            <a:avLst/>
          </a:prstGeom>
          <a:solidFill>
            <a:schemeClr val="accent3"/>
          </a:solidFill>
          <a:ln w="19050" algn="ctr">
            <a:noFill/>
            <a:miter lim="800000"/>
            <a:headEnd/>
            <a:tailEnd/>
          </a:ln>
        </p:spPr>
        <p:txBody>
          <a:bodyPr wrap="square" lIns="0" tIns="0" rIns="0" bIns="0" rtlCol="0" anchor="ctr"/>
          <a:lstStyle/>
          <a:p>
            <a:pPr algn="ctr"/>
            <a:endParaRPr lang="en-US" sz="1000"/>
          </a:p>
        </p:txBody>
      </p:sp>
      <p:sp>
        <p:nvSpPr>
          <p:cNvPr id="100" name="Isosceles Triangle 99">
            <a:extLst>
              <a:ext uri="{FF2B5EF4-FFF2-40B4-BE49-F238E27FC236}">
                <a16:creationId xmlns:a16="http://schemas.microsoft.com/office/drawing/2014/main" id="{366E6D87-6412-4E5D-FB22-FCE9C1353D2E}"/>
              </a:ext>
            </a:extLst>
          </p:cNvPr>
          <p:cNvSpPr/>
          <p:nvPr/>
        </p:nvSpPr>
        <p:spPr bwMode="gray">
          <a:xfrm rot="5400000">
            <a:off x="2537269" y="4035820"/>
            <a:ext cx="94559" cy="54553"/>
          </a:xfrm>
          <a:prstGeom prst="triangle">
            <a:avLst/>
          </a:prstGeom>
          <a:solidFill>
            <a:schemeClr val="accent3"/>
          </a:solidFill>
          <a:ln w="19050" algn="ctr">
            <a:noFill/>
            <a:miter lim="800000"/>
            <a:headEnd/>
            <a:tailEnd/>
          </a:ln>
        </p:spPr>
        <p:txBody>
          <a:bodyPr wrap="square" lIns="0" tIns="0" rIns="0" bIns="0" rtlCol="0" anchor="ctr"/>
          <a:lstStyle/>
          <a:p>
            <a:pPr algn="ctr"/>
            <a:endParaRPr lang="en-US" sz="1000"/>
          </a:p>
        </p:txBody>
      </p:sp>
      <p:sp>
        <p:nvSpPr>
          <p:cNvPr id="101" name="Isosceles Triangle 100">
            <a:extLst>
              <a:ext uri="{FF2B5EF4-FFF2-40B4-BE49-F238E27FC236}">
                <a16:creationId xmlns:a16="http://schemas.microsoft.com/office/drawing/2014/main" id="{8C422C02-43D6-7996-7DBF-0BA13FC0AC4E}"/>
              </a:ext>
            </a:extLst>
          </p:cNvPr>
          <p:cNvSpPr/>
          <p:nvPr/>
        </p:nvSpPr>
        <p:spPr bwMode="gray">
          <a:xfrm rot="5400000">
            <a:off x="539472" y="2865840"/>
            <a:ext cx="94559" cy="54553"/>
          </a:xfrm>
          <a:prstGeom prst="triangle">
            <a:avLst/>
          </a:prstGeom>
          <a:solidFill>
            <a:srgbClr val="E5B38D"/>
          </a:solidFill>
          <a:ln w="19050" algn="ctr">
            <a:noFill/>
            <a:miter lim="800000"/>
            <a:headEnd/>
            <a:tailEnd/>
          </a:ln>
        </p:spPr>
        <p:txBody>
          <a:bodyPr wrap="square" lIns="0" tIns="0" rIns="0" bIns="0" rtlCol="0" anchor="ctr"/>
          <a:lstStyle/>
          <a:p>
            <a:pPr algn="ctr"/>
            <a:endParaRPr lang="en-US" sz="1000"/>
          </a:p>
        </p:txBody>
      </p:sp>
      <p:sp>
        <p:nvSpPr>
          <p:cNvPr id="102" name="Isosceles Triangle 101">
            <a:extLst>
              <a:ext uri="{FF2B5EF4-FFF2-40B4-BE49-F238E27FC236}">
                <a16:creationId xmlns:a16="http://schemas.microsoft.com/office/drawing/2014/main" id="{CBDFFDF3-D4A6-BC1B-A27E-5D9A48D862D8}"/>
              </a:ext>
            </a:extLst>
          </p:cNvPr>
          <p:cNvSpPr/>
          <p:nvPr/>
        </p:nvSpPr>
        <p:spPr bwMode="gray">
          <a:xfrm rot="5400000">
            <a:off x="539472" y="3442574"/>
            <a:ext cx="94559" cy="54553"/>
          </a:xfrm>
          <a:prstGeom prst="triangle">
            <a:avLst/>
          </a:prstGeom>
          <a:solidFill>
            <a:srgbClr val="E5B38D"/>
          </a:solidFill>
          <a:ln w="19050" algn="ctr">
            <a:noFill/>
            <a:miter lim="800000"/>
            <a:headEnd/>
            <a:tailEnd/>
          </a:ln>
        </p:spPr>
        <p:txBody>
          <a:bodyPr wrap="square" lIns="0" tIns="0" rIns="0" bIns="0" rtlCol="0" anchor="ctr"/>
          <a:lstStyle/>
          <a:p>
            <a:pPr algn="ctr"/>
            <a:endParaRPr lang="en-US" sz="1000"/>
          </a:p>
        </p:txBody>
      </p:sp>
      <p:sp>
        <p:nvSpPr>
          <p:cNvPr id="103" name="Isosceles Triangle 102">
            <a:extLst>
              <a:ext uri="{FF2B5EF4-FFF2-40B4-BE49-F238E27FC236}">
                <a16:creationId xmlns:a16="http://schemas.microsoft.com/office/drawing/2014/main" id="{45E5E6CA-6F9A-D6BC-9951-10FC24DA9FC8}"/>
              </a:ext>
            </a:extLst>
          </p:cNvPr>
          <p:cNvSpPr/>
          <p:nvPr/>
        </p:nvSpPr>
        <p:spPr bwMode="gray">
          <a:xfrm rot="5400000">
            <a:off x="539472" y="4037103"/>
            <a:ext cx="94559" cy="54553"/>
          </a:xfrm>
          <a:prstGeom prst="triangle">
            <a:avLst/>
          </a:prstGeom>
          <a:solidFill>
            <a:srgbClr val="E5B38D"/>
          </a:solidFill>
          <a:ln w="19050" algn="ctr">
            <a:noFill/>
            <a:miter lim="800000"/>
            <a:headEnd/>
            <a:tailEnd/>
          </a:ln>
        </p:spPr>
        <p:txBody>
          <a:bodyPr wrap="square" lIns="0" tIns="0" rIns="0" bIns="0" rtlCol="0" anchor="ctr"/>
          <a:lstStyle/>
          <a:p>
            <a:pPr algn="ctr"/>
            <a:endParaRPr lang="en-US" sz="1000"/>
          </a:p>
        </p:txBody>
      </p:sp>
      <p:sp>
        <p:nvSpPr>
          <p:cNvPr id="107" name="TextBox 106">
            <a:extLst>
              <a:ext uri="{FF2B5EF4-FFF2-40B4-BE49-F238E27FC236}">
                <a16:creationId xmlns:a16="http://schemas.microsoft.com/office/drawing/2014/main" id="{744C90C7-9B9C-8DC7-F066-3FD92B347B50}"/>
              </a:ext>
            </a:extLst>
          </p:cNvPr>
          <p:cNvSpPr txBox="1"/>
          <p:nvPr/>
        </p:nvSpPr>
        <p:spPr>
          <a:xfrm>
            <a:off x="9932615" y="6286500"/>
            <a:ext cx="1798528" cy="92333"/>
          </a:xfrm>
          <a:prstGeom prst="rect">
            <a:avLst/>
          </a:prstGeom>
          <a:noFill/>
        </p:spPr>
        <p:txBody>
          <a:bodyPr wrap="square" lIns="0" tIns="0" rIns="0" bIns="0" rtlCol="0">
            <a:spAutoFit/>
          </a:bodyPr>
          <a:lstStyle/>
          <a:p>
            <a:pPr algn="r"/>
            <a:r>
              <a:rPr lang="en-US" sz="600" kern="0" dirty="0">
                <a:hlinkClick r:id="rId7"/>
              </a:rPr>
              <a:t>(Puppet 2016 State of DevOps Report )</a:t>
            </a:r>
            <a:endParaRPr lang="en-US" sz="600" kern="0" dirty="0"/>
          </a:p>
        </p:txBody>
      </p:sp>
    </p:spTree>
    <p:extLst>
      <p:ext uri="{BB962C8B-B14F-4D97-AF65-F5344CB8AC3E}">
        <p14:creationId xmlns:p14="http://schemas.microsoft.com/office/powerpoint/2010/main" val="22227139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3C0F13F-7E46-10D1-1FFB-6B3E78CC1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6" name="think-cell data - do not delete" hidden="1">
                        <a:extLst>
                          <a:ext uri="{FF2B5EF4-FFF2-40B4-BE49-F238E27FC236}">
                            <a16:creationId xmlns:a16="http://schemas.microsoft.com/office/drawing/2014/main" id="{83C0F13F-7E46-10D1-1FFB-6B3E78CC18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4F152C8E-A47B-D4DA-A490-01CF41C7DF75}"/>
              </a:ext>
            </a:extLst>
          </p:cNvPr>
          <p:cNvSpPr/>
          <p:nvPr/>
        </p:nvSpPr>
        <p:spPr bwMode="gray">
          <a:xfrm>
            <a:off x="559293" y="1580225"/>
            <a:ext cx="5282214" cy="3045115"/>
          </a:xfrm>
          <a:prstGeom prst="roundRect">
            <a:avLst/>
          </a:prstGeom>
          <a:noFill/>
          <a:ln w="12700" algn="ctr">
            <a:solidFill>
              <a:srgbClr val="62B5E5"/>
            </a:solidFill>
            <a:prstDash val="sysDot"/>
            <a:miter lim="800000"/>
            <a:headEnd/>
            <a:tailEnd/>
          </a:ln>
        </p:spPr>
        <p:txBody>
          <a:bodyPr wrap="square" lIns="0" tIns="0" rIns="0" bIns="0" rtlCol="0" anchor="ctr"/>
          <a:lstStyle/>
          <a:p>
            <a:pPr algn="ctr"/>
            <a:endParaRPr lang="en-US"/>
          </a:p>
        </p:txBody>
      </p:sp>
      <p:sp>
        <p:nvSpPr>
          <p:cNvPr id="2" name="Text Placeholder 1">
            <a:extLst>
              <a:ext uri="{FF2B5EF4-FFF2-40B4-BE49-F238E27FC236}">
                <a16:creationId xmlns:a16="http://schemas.microsoft.com/office/drawing/2014/main" id="{2E47C59D-6CDA-4AAF-8F55-AEA99127E076}"/>
              </a:ext>
            </a:extLst>
          </p:cNvPr>
          <p:cNvSpPr>
            <a:spLocks noGrp="1"/>
          </p:cNvSpPr>
          <p:nvPr>
            <p:ph type="body" sz="quarter" idx="22"/>
          </p:nvPr>
        </p:nvSpPr>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mplementing DevOps practices for agile software development is one of Deloitte</a:t>
            </a:r>
            <a:r>
              <a:rPr lang="hu-HU"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 key capabilities</a:t>
            </a:r>
            <a:endParaRPr lang="en-US" dirty="0"/>
          </a:p>
        </p:txBody>
      </p:sp>
      <p:sp>
        <p:nvSpPr>
          <p:cNvPr id="3" name="Title 2">
            <a:extLst>
              <a:ext uri="{FF2B5EF4-FFF2-40B4-BE49-F238E27FC236}">
                <a16:creationId xmlns:a16="http://schemas.microsoft.com/office/drawing/2014/main" id="{2EA41D89-0305-437C-A594-9E2C8586FECB}"/>
              </a:ext>
            </a:extLst>
          </p:cNvPr>
          <p:cNvSpPr>
            <a:spLocks noGrp="1"/>
          </p:cNvSpPr>
          <p:nvPr>
            <p:ph type="title"/>
          </p:nvPr>
        </p:nvSpPr>
        <p:spPr/>
        <p:txBody>
          <a:bodyPr vert="horz"/>
          <a:lstStyle/>
          <a:p>
            <a:r>
              <a:rPr kumimoji="0" lang="en-US" sz="2800" b="0" i="0" u="none" strike="noStrike" kern="1200" cap="none" spc="0" normalizeH="0" baseline="0">
                <a:ln>
                  <a:noFill/>
                </a:ln>
                <a:solidFill>
                  <a:prstClr val="black"/>
                </a:solidFill>
                <a:effectLst/>
                <a:uLnTx/>
                <a:uFillTx/>
                <a:latin typeface="Open Sans Light"/>
                <a:ea typeface="+mj-ea"/>
                <a:cs typeface="Calibri Light"/>
              </a:rPr>
              <a:t>DevOps</a:t>
            </a:r>
            <a:endParaRPr lang="en-US"/>
          </a:p>
        </p:txBody>
      </p:sp>
      <p:sp>
        <p:nvSpPr>
          <p:cNvPr id="6" name="TextBox 5">
            <a:extLst>
              <a:ext uri="{FF2B5EF4-FFF2-40B4-BE49-F238E27FC236}">
                <a16:creationId xmlns:a16="http://schemas.microsoft.com/office/drawing/2014/main" id="{0011A9BB-9010-FACA-FAE8-34FDF8AB5F68}"/>
              </a:ext>
            </a:extLst>
          </p:cNvPr>
          <p:cNvSpPr txBox="1"/>
          <p:nvPr/>
        </p:nvSpPr>
        <p:spPr>
          <a:xfrm>
            <a:off x="1828800" y="1416255"/>
            <a:ext cx="2476708" cy="276999"/>
          </a:xfrm>
          <a:prstGeom prst="rect">
            <a:avLst/>
          </a:prstGeom>
          <a:solidFill>
            <a:schemeClr val="bg1"/>
          </a:solid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hu-HU" sz="1800" b="0" i="0" u="none" strike="noStrike" kern="0" cap="none" spc="0" normalizeH="0" baseline="0" noProof="0" dirty="0" err="1">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Where</a:t>
            </a:r>
            <a:r>
              <a:rPr kumimoji="0" lang="hu-HU" sz="1800" b="0" i="0" u="none" strike="noStrike" kern="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hu-HU" sz="1800" b="0" i="0" u="none" strike="noStrike" kern="0" cap="none" spc="0" normalizeH="0" baseline="0" noProof="0" dirty="0" err="1">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do</a:t>
            </a:r>
            <a:r>
              <a:rPr kumimoji="0" lang="hu-HU" sz="1800" b="0" i="0" u="none" strike="noStrike" kern="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hu-HU" sz="1800" b="0" i="0" u="none" strike="noStrike" kern="0" cap="none" spc="0" normalizeH="0" baseline="0" noProof="0" dirty="0" err="1">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you</a:t>
            </a:r>
            <a:r>
              <a:rPr kumimoji="0" lang="hu-HU" sz="1800" b="0" i="0" u="none" strike="noStrike" kern="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 start?</a:t>
            </a:r>
            <a:endParaRPr kumimoji="0" lang="en-US" sz="1800" b="0" i="0" u="none" strike="noStrike" kern="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2B820E4A-B2B9-DE3D-F1CF-B4AEC4BD0916}"/>
              </a:ext>
            </a:extLst>
          </p:cNvPr>
          <p:cNvSpPr txBox="1"/>
          <p:nvPr/>
        </p:nvSpPr>
        <p:spPr>
          <a:xfrm>
            <a:off x="649180" y="1973386"/>
            <a:ext cx="5076917" cy="2246769"/>
          </a:xfrm>
          <a:prstGeom prst="rect">
            <a:avLst/>
          </a:prstGeom>
          <a:noFill/>
        </p:spPr>
        <p:txBody>
          <a:bodyPr wrap="square">
            <a:spAutoFit/>
          </a:bodyPr>
          <a:lstStyle/>
          <a:p>
            <a:pPr marL="228600" indent="-228600">
              <a:spcAft>
                <a:spcPts val="600"/>
              </a:spcAft>
              <a:buClr>
                <a:srgbClr val="62B5E5"/>
              </a:buClr>
              <a:buFont typeface="+mj-lt"/>
              <a:buAutoNum type="arabicPeriod"/>
            </a:pPr>
            <a:r>
              <a:rPr lang="en-US" sz="1000" b="1" dirty="0">
                <a:solidFill>
                  <a:schemeClr val="tx1"/>
                </a:solidFill>
                <a:latin typeface="+mj-lt"/>
              </a:rPr>
              <a:t>Establish the need</a:t>
            </a:r>
            <a:r>
              <a:rPr lang="en-US" sz="1000" dirty="0">
                <a:solidFill>
                  <a:schemeClr val="tx1"/>
                </a:solidFill>
                <a:latin typeface="+mj-lt"/>
              </a:rPr>
              <a:t>: Conduct</a:t>
            </a:r>
            <a:r>
              <a:rPr lang="en-US" sz="1000" baseline="0" dirty="0">
                <a:solidFill>
                  <a:schemeClr val="tx1"/>
                </a:solidFill>
                <a:latin typeface="+mj-lt"/>
              </a:rPr>
              <a:t> </a:t>
            </a:r>
            <a:r>
              <a:rPr lang="en-US" sz="1000" dirty="0">
                <a:solidFill>
                  <a:schemeClr val="tx1"/>
                </a:solidFill>
                <a:latin typeface="+mj-lt"/>
              </a:rPr>
              <a:t>benchmarking to identify delays and waste in the software development process. These are opportunities for action. Start small and build incrementally.</a:t>
            </a:r>
            <a:r>
              <a:rPr lang="en-US" sz="1000" baseline="0" dirty="0">
                <a:solidFill>
                  <a:schemeClr val="tx1"/>
                </a:solidFill>
                <a:latin typeface="+mj-lt"/>
              </a:rPr>
              <a:t> </a:t>
            </a:r>
            <a:endParaRPr lang="en-US" sz="1000" dirty="0">
              <a:solidFill>
                <a:schemeClr val="tx1"/>
              </a:solidFill>
              <a:latin typeface="+mj-lt"/>
            </a:endParaRPr>
          </a:p>
          <a:p>
            <a:pPr marL="228600" indent="-228600">
              <a:spcAft>
                <a:spcPts val="600"/>
              </a:spcAft>
              <a:buClr>
                <a:srgbClr val="62B5E5"/>
              </a:buClr>
              <a:buFont typeface="+mj-lt"/>
              <a:buAutoNum type="arabicPeriod"/>
            </a:pPr>
            <a:r>
              <a:rPr lang="en-US" sz="1000" b="1" dirty="0">
                <a:solidFill>
                  <a:schemeClr val="tx1"/>
                </a:solidFill>
                <a:latin typeface="+mj-lt"/>
              </a:rPr>
              <a:t>Train the workforce</a:t>
            </a:r>
            <a:r>
              <a:rPr lang="en-US" sz="1000" dirty="0">
                <a:solidFill>
                  <a:schemeClr val="tx1"/>
                </a:solidFill>
                <a:latin typeface="+mj-lt"/>
              </a:rPr>
              <a:t>: DevOps requires a shift in organizational thinking. Train the workforce and build the skills required. </a:t>
            </a:r>
          </a:p>
          <a:p>
            <a:pPr marL="228600" indent="-228600">
              <a:spcAft>
                <a:spcPts val="600"/>
              </a:spcAft>
              <a:buClr>
                <a:srgbClr val="62B5E5"/>
              </a:buClr>
              <a:buFont typeface="+mj-lt"/>
              <a:buAutoNum type="arabicPeriod"/>
            </a:pPr>
            <a:r>
              <a:rPr lang="en-US" sz="1000" b="1" dirty="0">
                <a:solidFill>
                  <a:schemeClr val="tx1"/>
                </a:solidFill>
                <a:latin typeface="+mj-lt"/>
              </a:rPr>
              <a:t>Employ services thinking</a:t>
            </a:r>
            <a:r>
              <a:rPr lang="en-US" sz="1000" dirty="0">
                <a:solidFill>
                  <a:schemeClr val="tx1"/>
                </a:solidFill>
                <a:latin typeface="+mj-lt"/>
              </a:rPr>
              <a:t>: Break down complex systems into components and modular services;</a:t>
            </a:r>
            <a:r>
              <a:rPr lang="en-US" sz="1000" baseline="0" dirty="0">
                <a:solidFill>
                  <a:schemeClr val="tx1"/>
                </a:solidFill>
                <a:latin typeface="+mj-lt"/>
              </a:rPr>
              <a:t> </a:t>
            </a:r>
            <a:r>
              <a:rPr lang="en-US" sz="1000" dirty="0">
                <a:solidFill>
                  <a:schemeClr val="tx1"/>
                </a:solidFill>
                <a:latin typeface="+mj-lt"/>
              </a:rPr>
              <a:t>this allows for rapid incremental changes within monolithic code bases. </a:t>
            </a:r>
          </a:p>
          <a:p>
            <a:pPr marL="228600" indent="-228600">
              <a:spcAft>
                <a:spcPts val="600"/>
              </a:spcAft>
              <a:buClr>
                <a:srgbClr val="62B5E5"/>
              </a:buClr>
              <a:buFont typeface="+mj-lt"/>
              <a:buAutoNum type="arabicPeriod"/>
            </a:pPr>
            <a:r>
              <a:rPr lang="en-US" sz="1000" b="1" dirty="0">
                <a:solidFill>
                  <a:schemeClr val="tx1"/>
                </a:solidFill>
                <a:latin typeface="+mj-lt"/>
              </a:rPr>
              <a:t>Lay down the bases</a:t>
            </a:r>
            <a:r>
              <a:rPr lang="en-US" sz="1000" dirty="0">
                <a:solidFill>
                  <a:schemeClr val="tx1"/>
                </a:solidFill>
                <a:latin typeface="+mj-lt"/>
              </a:rPr>
              <a:t>: Once you understand the pain points within your organization, begin automating individual components. </a:t>
            </a:r>
          </a:p>
          <a:p>
            <a:pPr marL="228600" indent="-228600">
              <a:spcAft>
                <a:spcPts val="600"/>
              </a:spcAft>
              <a:buClr>
                <a:srgbClr val="62B5E5"/>
              </a:buClr>
              <a:buFont typeface="+mj-lt"/>
              <a:buAutoNum type="arabicPeriod"/>
            </a:pPr>
            <a:r>
              <a:rPr lang="en-US" sz="1000" b="1" dirty="0">
                <a:solidFill>
                  <a:schemeClr val="tx1"/>
                </a:solidFill>
                <a:latin typeface="+mj-lt"/>
              </a:rPr>
              <a:t>Connect the dots</a:t>
            </a:r>
            <a:r>
              <a:rPr lang="en-US" sz="1000" dirty="0">
                <a:solidFill>
                  <a:schemeClr val="tx1"/>
                </a:solidFill>
                <a:latin typeface="+mj-lt"/>
              </a:rPr>
              <a:t>: Once you have some of the automation components in place, look for ways to link them into a single stream that can shorten cycles. </a:t>
            </a:r>
          </a:p>
        </p:txBody>
      </p:sp>
      <p:sp>
        <p:nvSpPr>
          <p:cNvPr id="9" name="TextBox 8">
            <a:extLst>
              <a:ext uri="{FF2B5EF4-FFF2-40B4-BE49-F238E27FC236}">
                <a16:creationId xmlns:a16="http://schemas.microsoft.com/office/drawing/2014/main" id="{357BCB5D-259A-6310-C068-34D32FFD7E69}"/>
              </a:ext>
            </a:extLst>
          </p:cNvPr>
          <p:cNvSpPr txBox="1"/>
          <p:nvPr/>
        </p:nvSpPr>
        <p:spPr>
          <a:xfrm>
            <a:off x="6623686" y="1973386"/>
            <a:ext cx="4735826" cy="1938992"/>
          </a:xfrm>
          <a:prstGeom prst="rect">
            <a:avLst/>
          </a:prstGeom>
          <a:noFill/>
        </p:spPr>
        <p:txBody>
          <a:bodyPr wrap="square">
            <a:spAutoFit/>
          </a:bodyPr>
          <a:lstStyle/>
          <a:p>
            <a:pPr marL="171450" indent="-171450">
              <a:spcAft>
                <a:spcPts val="600"/>
              </a:spcAft>
              <a:buClr>
                <a:srgbClr val="92D050"/>
              </a:buClr>
              <a:buFont typeface="Arial" panose="020B0604020202020204" pitchFamily="34" charset="0"/>
              <a:buChar char="•"/>
            </a:pPr>
            <a:r>
              <a:rPr lang="en-US" sz="1000" dirty="0">
                <a:solidFill>
                  <a:schemeClr val="tx1"/>
                </a:solidFill>
                <a:latin typeface="+mj-lt"/>
              </a:rPr>
              <a:t>DevOps is not a one size fits all solution. We help define the Right Speed IT balancing business value, risks and technical feasibility. </a:t>
            </a:r>
          </a:p>
          <a:p>
            <a:pPr marL="171450" indent="-171450">
              <a:spcAft>
                <a:spcPts val="600"/>
              </a:spcAft>
              <a:buClr>
                <a:srgbClr val="92D050"/>
              </a:buClr>
              <a:buFont typeface="Arial" panose="020B0604020202020204" pitchFamily="34" charset="0"/>
              <a:buChar char="•"/>
            </a:pPr>
            <a:r>
              <a:rPr lang="en-US" sz="1000" dirty="0">
                <a:solidFill>
                  <a:schemeClr val="tx1"/>
                </a:solidFill>
                <a:latin typeface="+mj-lt"/>
              </a:rPr>
              <a:t>Assess the current state of DevOps using the DevOps Maturity Assessment Model. </a:t>
            </a:r>
          </a:p>
          <a:p>
            <a:pPr marL="171450" indent="-171450" algn="l" defTabSz="1219170" rtl="0" eaLnBrk="1" latinLnBrk="0" hangingPunct="1">
              <a:spcAft>
                <a:spcPts val="600"/>
              </a:spcAft>
              <a:buClr>
                <a:srgbClr val="92D050"/>
              </a:buClr>
              <a:buFont typeface="Arial" panose="020B0604020202020204" pitchFamily="34" charset="0"/>
              <a:buChar char="•"/>
            </a:pPr>
            <a:r>
              <a:rPr lang="en-US" sz="1000" dirty="0">
                <a:solidFill>
                  <a:schemeClr val="tx1"/>
                </a:solidFill>
                <a:latin typeface="+mj-lt"/>
              </a:rPr>
              <a:t>Define a roadmap with clearly identified activities and tasks to be performed using the DevOps T</a:t>
            </a:r>
            <a:r>
              <a:rPr lang="en-US" sz="1000" kern="1200" dirty="0">
                <a:solidFill>
                  <a:schemeClr val="tx1"/>
                </a:solidFill>
                <a:latin typeface="+mj-lt"/>
                <a:ea typeface="+mn-ea"/>
                <a:cs typeface="+mn-cs"/>
              </a:rPr>
              <a:t>ransformation Model. </a:t>
            </a:r>
          </a:p>
          <a:p>
            <a:pPr marL="171450" indent="-171450" algn="l" defTabSz="1219170" rtl="0" eaLnBrk="1" latinLnBrk="0" hangingPunct="1">
              <a:spcAft>
                <a:spcPts val="600"/>
              </a:spcAft>
              <a:buClr>
                <a:srgbClr val="92D050"/>
              </a:buClr>
              <a:buFont typeface="Arial" panose="020B0604020202020204" pitchFamily="34" charset="0"/>
              <a:buChar char="•"/>
            </a:pPr>
            <a:r>
              <a:rPr lang="en-US" sz="1000" kern="1200" dirty="0">
                <a:solidFill>
                  <a:schemeClr val="tx1"/>
                </a:solidFill>
                <a:latin typeface="+mj-lt"/>
                <a:ea typeface="+mn-ea"/>
                <a:cs typeface="+mn-cs"/>
              </a:rPr>
              <a:t>Leverage incremen</a:t>
            </a:r>
            <a:r>
              <a:rPr lang="en-US" sz="1000" dirty="0">
                <a:solidFill>
                  <a:schemeClr val="tx1"/>
                </a:solidFill>
                <a:latin typeface="+mj-lt"/>
              </a:rPr>
              <a:t>tal and ongoing delivery that har</a:t>
            </a:r>
            <a:r>
              <a:rPr lang="en-US" sz="1000" kern="1200" dirty="0">
                <a:solidFill>
                  <a:schemeClr val="tx1"/>
                </a:solidFill>
                <a:latin typeface="+mj-lt"/>
                <a:ea typeface="+mn-ea"/>
                <a:cs typeface="+mn-cs"/>
              </a:rPr>
              <a:t>nesses the power of innovation and business models. </a:t>
            </a:r>
          </a:p>
          <a:p>
            <a:pPr marL="171450" indent="-171450">
              <a:spcAft>
                <a:spcPts val="600"/>
              </a:spcAft>
              <a:buClr>
                <a:srgbClr val="92D050"/>
              </a:buClr>
              <a:buFont typeface="Arial" panose="020B0604020202020204" pitchFamily="34" charset="0"/>
              <a:buChar char="•"/>
            </a:pPr>
            <a:r>
              <a:rPr lang="en-US" sz="1000" dirty="0">
                <a:solidFill>
                  <a:schemeClr val="tx1"/>
                </a:solidFill>
                <a:latin typeface="+mj-lt"/>
              </a:rPr>
              <a:t>Allow our clients to act more proactively to rapidly changing technology and business landscapes. </a:t>
            </a:r>
          </a:p>
        </p:txBody>
      </p:sp>
      <p:sp>
        <p:nvSpPr>
          <p:cNvPr id="17" name="Rectangle: Rounded Corners 16">
            <a:extLst>
              <a:ext uri="{FF2B5EF4-FFF2-40B4-BE49-F238E27FC236}">
                <a16:creationId xmlns:a16="http://schemas.microsoft.com/office/drawing/2014/main" id="{6DEB1FE0-8DED-2754-8B05-28F47EF90CA6}"/>
              </a:ext>
            </a:extLst>
          </p:cNvPr>
          <p:cNvSpPr/>
          <p:nvPr/>
        </p:nvSpPr>
        <p:spPr bwMode="gray">
          <a:xfrm>
            <a:off x="6350493" y="1580225"/>
            <a:ext cx="5282214" cy="3045115"/>
          </a:xfrm>
          <a:prstGeom prst="roundRect">
            <a:avLst/>
          </a:prstGeom>
          <a:noFill/>
          <a:ln w="12700" algn="ctr">
            <a:solidFill>
              <a:srgbClr val="00A3E0"/>
            </a:solidFill>
            <a:prstDash val="sysDot"/>
            <a:miter lim="800000"/>
            <a:headEnd/>
            <a:tailEnd/>
          </a:ln>
        </p:spPr>
        <p:txBody>
          <a:bodyPr wrap="square" lIns="0" tIns="0" rIns="0" bIns="0" rtlCol="0" anchor="ctr"/>
          <a:lstStyle/>
          <a:p>
            <a:pPr algn="ctr"/>
            <a:endParaRPr lang="en-US"/>
          </a:p>
        </p:txBody>
      </p:sp>
      <p:sp>
        <p:nvSpPr>
          <p:cNvPr id="63" name="TextBox 62">
            <a:extLst>
              <a:ext uri="{FF2B5EF4-FFF2-40B4-BE49-F238E27FC236}">
                <a16:creationId xmlns:a16="http://schemas.microsoft.com/office/drawing/2014/main" id="{E90589C4-1464-F25E-D9E7-1D5AC7A385D3}"/>
              </a:ext>
            </a:extLst>
          </p:cNvPr>
          <p:cNvSpPr txBox="1"/>
          <p:nvPr/>
        </p:nvSpPr>
        <p:spPr>
          <a:xfrm>
            <a:off x="8048098" y="1441725"/>
            <a:ext cx="1887003" cy="276999"/>
          </a:xfrm>
          <a:prstGeom prst="rect">
            <a:avLst/>
          </a:prstGeom>
          <a:solidFill>
            <a:schemeClr val="bg1"/>
          </a:solid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lang="hu-HU" kern="0" dirty="0" err="1">
                <a:solidFill>
                  <a:srgbClr val="00A3E0"/>
                </a:solidFill>
                <a:latin typeface="Open Sans" panose="020B0606030504020204" pitchFamily="34" charset="0"/>
                <a:ea typeface="Open Sans" panose="020B0606030504020204" pitchFamily="34" charset="0"/>
                <a:cs typeface="Open Sans" panose="020B0606030504020204" pitchFamily="34" charset="0"/>
              </a:rPr>
              <a:t>Our</a:t>
            </a:r>
            <a:r>
              <a:rPr lang="hu-HU" kern="0" dirty="0">
                <a:solidFill>
                  <a:srgbClr val="00A3E0"/>
                </a:solidFill>
                <a:latin typeface="Open Sans" panose="020B0606030504020204" pitchFamily="34" charset="0"/>
                <a:ea typeface="Open Sans" panose="020B0606030504020204" pitchFamily="34" charset="0"/>
                <a:cs typeface="Open Sans" panose="020B0606030504020204" pitchFamily="34" charset="0"/>
              </a:rPr>
              <a:t> </a:t>
            </a:r>
            <a:r>
              <a:rPr lang="hu-HU" kern="0" dirty="0" err="1">
                <a:solidFill>
                  <a:srgbClr val="00A3E0"/>
                </a:solidFill>
                <a:latin typeface="Open Sans" panose="020B0606030504020204" pitchFamily="34" charset="0"/>
                <a:ea typeface="Open Sans" panose="020B0606030504020204" pitchFamily="34" charset="0"/>
                <a:cs typeface="Open Sans" panose="020B0606030504020204" pitchFamily="34" charset="0"/>
              </a:rPr>
              <a:t>approach</a:t>
            </a:r>
            <a:endParaRPr kumimoji="0" lang="en-US" sz="1800" b="0" i="0" u="none" strike="noStrike" kern="0" cap="none" spc="0" normalizeH="0" baseline="0" noProof="0" dirty="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7" name="Group 26">
            <a:extLst>
              <a:ext uri="{FF2B5EF4-FFF2-40B4-BE49-F238E27FC236}">
                <a16:creationId xmlns:a16="http://schemas.microsoft.com/office/drawing/2014/main" id="{A09FD544-1CD5-D73E-6F19-E3224923CA55}"/>
              </a:ext>
            </a:extLst>
          </p:cNvPr>
          <p:cNvGrpSpPr/>
          <p:nvPr/>
        </p:nvGrpSpPr>
        <p:grpSpPr>
          <a:xfrm>
            <a:off x="5963325" y="2534797"/>
            <a:ext cx="278980" cy="523782"/>
            <a:chOff x="6017419" y="2585783"/>
            <a:chExt cx="278980" cy="523782"/>
          </a:xfrm>
        </p:grpSpPr>
        <p:sp>
          <p:nvSpPr>
            <p:cNvPr id="25" name="Arrow: Chevron 24">
              <a:extLst>
                <a:ext uri="{FF2B5EF4-FFF2-40B4-BE49-F238E27FC236}">
                  <a16:creationId xmlns:a16="http://schemas.microsoft.com/office/drawing/2014/main" id="{EA68FC88-AF9B-9A53-499A-6C9A6027BC90}"/>
                </a:ext>
              </a:extLst>
            </p:cNvPr>
            <p:cNvSpPr/>
            <p:nvPr/>
          </p:nvSpPr>
          <p:spPr bwMode="gray">
            <a:xfrm>
              <a:off x="6073894" y="2585783"/>
              <a:ext cx="222505" cy="523782"/>
            </a:xfrm>
            <a:prstGeom prst="chevron">
              <a:avLst/>
            </a:prstGeom>
            <a:solidFill>
              <a:schemeClr val="accent3"/>
            </a:solidFill>
            <a:ln w="19050" algn="ctr">
              <a:noFill/>
              <a:miter lim="800000"/>
              <a:headEnd/>
              <a:tailEnd/>
            </a:ln>
          </p:spPr>
          <p:txBody>
            <a:bodyPr wrap="square" lIns="0" tIns="0" rIns="0" bIns="0" rtlCol="0" anchor="ctr"/>
            <a:lstStyle/>
            <a:p>
              <a:pPr algn="ctr"/>
              <a:endParaRPr lang="en-US"/>
            </a:p>
          </p:txBody>
        </p:sp>
        <p:sp>
          <p:nvSpPr>
            <p:cNvPr id="26" name="Arrow: Chevron 25">
              <a:extLst>
                <a:ext uri="{FF2B5EF4-FFF2-40B4-BE49-F238E27FC236}">
                  <a16:creationId xmlns:a16="http://schemas.microsoft.com/office/drawing/2014/main" id="{2D60AF03-9F05-0CD5-C2DA-8393E57EBFA1}"/>
                </a:ext>
              </a:extLst>
            </p:cNvPr>
            <p:cNvSpPr/>
            <p:nvPr/>
          </p:nvSpPr>
          <p:spPr bwMode="gray">
            <a:xfrm>
              <a:off x="6017419" y="2669393"/>
              <a:ext cx="151469" cy="356562"/>
            </a:xfrm>
            <a:prstGeom prst="chevron">
              <a:avLst/>
            </a:prstGeom>
            <a:solidFill>
              <a:schemeClr val="accent3"/>
            </a:solidFill>
            <a:ln w="19050" algn="ctr">
              <a:noFill/>
              <a:miter lim="800000"/>
              <a:headEnd/>
              <a:tailEnd/>
            </a:ln>
          </p:spPr>
          <p:txBody>
            <a:bodyPr wrap="square" lIns="0" tIns="0" rIns="0" bIns="0" rtlCol="0" anchor="ctr"/>
            <a:lstStyle/>
            <a:p>
              <a:pPr algn="ctr"/>
              <a:endParaRPr lang="en-US"/>
            </a:p>
          </p:txBody>
        </p:sp>
      </p:grpSp>
      <p:pic>
        <p:nvPicPr>
          <p:cNvPr id="28" name="Picture 27">
            <a:extLst>
              <a:ext uri="{FF2B5EF4-FFF2-40B4-BE49-F238E27FC236}">
                <a16:creationId xmlns:a16="http://schemas.microsoft.com/office/drawing/2014/main" id="{549D7F25-EB1A-F03B-677C-3C3EEFC77A4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16904" y="4123966"/>
            <a:ext cx="891332" cy="501374"/>
          </a:xfrm>
          <a:prstGeom prst="rect">
            <a:avLst/>
          </a:prstGeom>
        </p:spPr>
      </p:pic>
      <p:pic>
        <p:nvPicPr>
          <p:cNvPr id="38" name="Picture 37">
            <a:extLst>
              <a:ext uri="{FF2B5EF4-FFF2-40B4-BE49-F238E27FC236}">
                <a16:creationId xmlns:a16="http://schemas.microsoft.com/office/drawing/2014/main" id="{7C4FFE33-C67A-F088-6E68-9E3CE5BDEA7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22189" y="4146521"/>
            <a:ext cx="837323" cy="441557"/>
          </a:xfrm>
          <a:prstGeom prst="rect">
            <a:avLst/>
          </a:prstGeom>
        </p:spPr>
      </p:pic>
      <p:pic>
        <p:nvPicPr>
          <p:cNvPr id="39" name="Picture 38">
            <a:extLst>
              <a:ext uri="{FF2B5EF4-FFF2-40B4-BE49-F238E27FC236}">
                <a16:creationId xmlns:a16="http://schemas.microsoft.com/office/drawing/2014/main" id="{553DB448-3223-F6CC-5F12-94547A4C65F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162300" y="5053177"/>
            <a:ext cx="6198180" cy="1153165"/>
          </a:xfrm>
          <a:prstGeom prst="rect">
            <a:avLst/>
          </a:prstGeom>
        </p:spPr>
      </p:pic>
    </p:spTree>
    <p:extLst>
      <p:ext uri="{BB962C8B-B14F-4D97-AF65-F5344CB8AC3E}">
        <p14:creationId xmlns:p14="http://schemas.microsoft.com/office/powerpoint/2010/main" val="786974706"/>
      </p:ext>
    </p:extLst>
  </p:cSld>
  <p:clrMapOvr>
    <a:masterClrMapping/>
  </p:clrMapOvr>
  <p:transition>
    <p:fade/>
  </p:transition>
  <p:extLst>
    <p:ext uri="{6950BFC3-D8DA-4A85-94F7-54DA5524770B}">
      <p188:commentRel xmlns:p188="http://schemas.microsoft.com/office/powerpoint/2018/8/main" r:id="rId4"/>
    </p:ext>
  </p:extLs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835677"/>
            <a:ext cx="11377543" cy="757255"/>
          </a:xfrm>
        </p:spPr>
        <p:txBody>
          <a:bodyPr/>
          <a:lstStyle/>
          <a:p>
            <a:r>
              <a:rPr lang="en-US" sz="1400" dirty="0">
                <a:solidFill>
                  <a:prstClr val="black"/>
                </a:solidFill>
              </a:rPr>
              <a:t>Five core operate service areas running end-to-end operations and one engineering service area supporting enhancements and enrichment across the eco system. </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dirty="0"/>
              <a:t>Data Operations</a:t>
            </a:r>
          </a:p>
        </p:txBody>
      </p:sp>
      <p:graphicFrame>
        <p:nvGraphicFramePr>
          <p:cNvPr id="82" name="Table 81">
            <a:extLst>
              <a:ext uri="{FF2B5EF4-FFF2-40B4-BE49-F238E27FC236}">
                <a16:creationId xmlns:a16="http://schemas.microsoft.com/office/drawing/2014/main" id="{3EEEBA34-FA14-02C4-6656-AE746CD442AD}"/>
              </a:ext>
            </a:extLst>
          </p:cNvPr>
          <p:cNvGraphicFramePr>
            <a:graphicFrameLocks noGrp="1"/>
          </p:cNvGraphicFramePr>
          <p:nvPr>
            <p:extLst>
              <p:ext uri="{D42A27DB-BD31-4B8C-83A1-F6EECF244321}">
                <p14:modId xmlns:p14="http://schemas.microsoft.com/office/powerpoint/2010/main" val="4016443257"/>
              </p:ext>
            </p:extLst>
          </p:nvPr>
        </p:nvGraphicFramePr>
        <p:xfrm>
          <a:off x="4963513" y="1488770"/>
          <a:ext cx="6913455" cy="4373880"/>
        </p:xfrm>
        <a:graphic>
          <a:graphicData uri="http://schemas.openxmlformats.org/drawingml/2006/table">
            <a:tbl>
              <a:tblPr firstRow="1" bandRow="1">
                <a:tableStyleId>{F2DE63D5-997A-4646-A377-4702673A728D}</a:tableStyleId>
              </a:tblPr>
              <a:tblGrid>
                <a:gridCol w="1531982">
                  <a:extLst>
                    <a:ext uri="{9D8B030D-6E8A-4147-A177-3AD203B41FA5}">
                      <a16:colId xmlns:a16="http://schemas.microsoft.com/office/drawing/2014/main" val="23291953"/>
                    </a:ext>
                  </a:extLst>
                </a:gridCol>
                <a:gridCol w="5381473">
                  <a:extLst>
                    <a:ext uri="{9D8B030D-6E8A-4147-A177-3AD203B41FA5}">
                      <a16:colId xmlns:a16="http://schemas.microsoft.com/office/drawing/2014/main" val="2142694948"/>
                    </a:ext>
                  </a:extLst>
                </a:gridCol>
              </a:tblGrid>
              <a:tr h="293202">
                <a:tc>
                  <a:txBody>
                    <a:bodyPr/>
                    <a:lstStyle>
                      <a:lvl1pPr marL="0" algn="l" defTabSz="685800" rtl="0" eaLnBrk="1" latinLnBrk="0" hangingPunct="1">
                        <a:defRPr sz="1350" b="1" kern="1200">
                          <a:solidFill>
                            <a:schemeClr val="bg1"/>
                          </a:solidFill>
                          <a:latin typeface="Open Sans"/>
                        </a:defRPr>
                      </a:lvl1pPr>
                      <a:lvl2pPr marL="342900" algn="l" defTabSz="685800" rtl="0" eaLnBrk="1" latinLnBrk="0" hangingPunct="1">
                        <a:defRPr sz="1350" b="1" kern="1200">
                          <a:solidFill>
                            <a:schemeClr val="bg1"/>
                          </a:solidFill>
                          <a:latin typeface="Open Sans"/>
                        </a:defRPr>
                      </a:lvl2pPr>
                      <a:lvl3pPr marL="685800" algn="l" defTabSz="685800" rtl="0" eaLnBrk="1" latinLnBrk="0" hangingPunct="1">
                        <a:defRPr sz="1350" b="1" kern="1200">
                          <a:solidFill>
                            <a:schemeClr val="bg1"/>
                          </a:solidFill>
                          <a:latin typeface="Open Sans"/>
                        </a:defRPr>
                      </a:lvl3pPr>
                      <a:lvl4pPr marL="1028700" algn="l" defTabSz="685800" rtl="0" eaLnBrk="1" latinLnBrk="0" hangingPunct="1">
                        <a:defRPr sz="1350" b="1" kern="1200">
                          <a:solidFill>
                            <a:schemeClr val="bg1"/>
                          </a:solidFill>
                          <a:latin typeface="Open Sans"/>
                        </a:defRPr>
                      </a:lvl4pPr>
                      <a:lvl5pPr marL="1371600" algn="l" defTabSz="685800" rtl="0" eaLnBrk="1" latinLnBrk="0" hangingPunct="1">
                        <a:defRPr sz="1350" b="1" kern="1200">
                          <a:solidFill>
                            <a:schemeClr val="bg1"/>
                          </a:solidFill>
                          <a:latin typeface="Open Sans"/>
                        </a:defRPr>
                      </a:lvl5pPr>
                      <a:lvl6pPr marL="1714500" algn="l" defTabSz="685800" rtl="0" eaLnBrk="1" latinLnBrk="0" hangingPunct="1">
                        <a:defRPr sz="1350" b="1" kern="1200">
                          <a:solidFill>
                            <a:schemeClr val="bg1"/>
                          </a:solidFill>
                          <a:latin typeface="Open Sans"/>
                        </a:defRPr>
                      </a:lvl6pPr>
                      <a:lvl7pPr marL="2057400" algn="l" defTabSz="685800" rtl="0" eaLnBrk="1" latinLnBrk="0" hangingPunct="1">
                        <a:defRPr sz="1350" b="1" kern="1200">
                          <a:solidFill>
                            <a:schemeClr val="bg1"/>
                          </a:solidFill>
                          <a:latin typeface="Open Sans"/>
                        </a:defRPr>
                      </a:lvl7pPr>
                      <a:lvl8pPr marL="2400300" algn="l" defTabSz="685800" rtl="0" eaLnBrk="1" latinLnBrk="0" hangingPunct="1">
                        <a:defRPr sz="1350" b="1" kern="1200">
                          <a:solidFill>
                            <a:schemeClr val="bg1"/>
                          </a:solidFill>
                          <a:latin typeface="Open Sans"/>
                        </a:defRPr>
                      </a:lvl8pPr>
                      <a:lvl9pPr marL="2743200" algn="l" defTabSz="685800" rtl="0" eaLnBrk="1" latinLnBrk="0" hangingPunct="1">
                        <a:defRPr sz="1350" b="1" kern="1200">
                          <a:solidFill>
                            <a:schemeClr val="bg1"/>
                          </a:solidFill>
                          <a:latin typeface="Open San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bg1"/>
                          </a:solidFill>
                        </a:rPr>
                        <a:t>SERVICE AREA</a:t>
                      </a:r>
                      <a:endParaRPr lang="en-US" sz="1400" b="0">
                        <a:solidFill>
                          <a:schemeClr val="bg1"/>
                        </a:solidFill>
                        <a:latin typeface="+mj-lt"/>
                      </a:endParaRPr>
                    </a:p>
                  </a:txBody>
                  <a:tcPr/>
                </a:tc>
                <a:tc>
                  <a:txBody>
                    <a:bodyPr/>
                    <a:lstStyle>
                      <a:lvl1pPr marL="0" algn="l" defTabSz="685800" rtl="0" eaLnBrk="1" latinLnBrk="0" hangingPunct="1">
                        <a:defRPr sz="1350" b="1" kern="1200">
                          <a:solidFill>
                            <a:schemeClr val="bg1"/>
                          </a:solidFill>
                          <a:latin typeface="Open Sans"/>
                        </a:defRPr>
                      </a:lvl1pPr>
                      <a:lvl2pPr marL="342900" algn="l" defTabSz="685800" rtl="0" eaLnBrk="1" latinLnBrk="0" hangingPunct="1">
                        <a:defRPr sz="1350" b="1" kern="1200">
                          <a:solidFill>
                            <a:schemeClr val="bg1"/>
                          </a:solidFill>
                          <a:latin typeface="Open Sans"/>
                        </a:defRPr>
                      </a:lvl2pPr>
                      <a:lvl3pPr marL="685800" algn="l" defTabSz="685800" rtl="0" eaLnBrk="1" latinLnBrk="0" hangingPunct="1">
                        <a:defRPr sz="1350" b="1" kern="1200">
                          <a:solidFill>
                            <a:schemeClr val="bg1"/>
                          </a:solidFill>
                          <a:latin typeface="Open Sans"/>
                        </a:defRPr>
                      </a:lvl3pPr>
                      <a:lvl4pPr marL="1028700" algn="l" defTabSz="685800" rtl="0" eaLnBrk="1" latinLnBrk="0" hangingPunct="1">
                        <a:defRPr sz="1350" b="1" kern="1200">
                          <a:solidFill>
                            <a:schemeClr val="bg1"/>
                          </a:solidFill>
                          <a:latin typeface="Open Sans"/>
                        </a:defRPr>
                      </a:lvl4pPr>
                      <a:lvl5pPr marL="1371600" algn="l" defTabSz="685800" rtl="0" eaLnBrk="1" latinLnBrk="0" hangingPunct="1">
                        <a:defRPr sz="1350" b="1" kern="1200">
                          <a:solidFill>
                            <a:schemeClr val="bg1"/>
                          </a:solidFill>
                          <a:latin typeface="Open Sans"/>
                        </a:defRPr>
                      </a:lvl5pPr>
                      <a:lvl6pPr marL="1714500" algn="l" defTabSz="685800" rtl="0" eaLnBrk="1" latinLnBrk="0" hangingPunct="1">
                        <a:defRPr sz="1350" b="1" kern="1200">
                          <a:solidFill>
                            <a:schemeClr val="bg1"/>
                          </a:solidFill>
                          <a:latin typeface="Open Sans"/>
                        </a:defRPr>
                      </a:lvl6pPr>
                      <a:lvl7pPr marL="2057400" algn="l" defTabSz="685800" rtl="0" eaLnBrk="1" latinLnBrk="0" hangingPunct="1">
                        <a:defRPr sz="1350" b="1" kern="1200">
                          <a:solidFill>
                            <a:schemeClr val="bg1"/>
                          </a:solidFill>
                          <a:latin typeface="Open Sans"/>
                        </a:defRPr>
                      </a:lvl7pPr>
                      <a:lvl8pPr marL="2400300" algn="l" defTabSz="685800" rtl="0" eaLnBrk="1" latinLnBrk="0" hangingPunct="1">
                        <a:defRPr sz="1350" b="1" kern="1200">
                          <a:solidFill>
                            <a:schemeClr val="bg1"/>
                          </a:solidFill>
                          <a:latin typeface="Open Sans"/>
                        </a:defRPr>
                      </a:lvl8pPr>
                      <a:lvl9pPr marL="2743200" algn="l" defTabSz="685800" rtl="0" eaLnBrk="1" latinLnBrk="0" hangingPunct="1">
                        <a:defRPr sz="1350" b="1" kern="1200">
                          <a:solidFill>
                            <a:schemeClr val="bg1"/>
                          </a:solidFill>
                          <a:latin typeface="Open San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bg1"/>
                          </a:solidFill>
                        </a:rPr>
                        <a:t>OBJECTIVES</a:t>
                      </a:r>
                      <a:endParaRPr lang="en-US" sz="1400" b="0">
                        <a:solidFill>
                          <a:schemeClr val="bg1"/>
                        </a:solidFill>
                        <a:latin typeface="+mj-lt"/>
                      </a:endParaRPr>
                    </a:p>
                  </a:txBody>
                  <a:tcPr/>
                </a:tc>
                <a:extLst>
                  <a:ext uri="{0D108BD9-81ED-4DB2-BD59-A6C34878D82A}">
                    <a16:rowId xmlns:a16="http://schemas.microsoft.com/office/drawing/2014/main" val="1359189050"/>
                  </a:ext>
                </a:extLst>
              </a:tr>
              <a:tr h="519766">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indent="0">
                        <a:buFont typeface="Arial" panose="020B0604020202020204" pitchFamily="34" charset="0"/>
                        <a:buNone/>
                      </a:pPr>
                      <a:r>
                        <a:rPr lang="en-US" sz="1100" b="1"/>
                        <a:t>1. Data Operations</a:t>
                      </a:r>
                      <a:endParaRPr lang="en-US" sz="1100" b="1" dirty="0">
                        <a:latin typeface="+mj-lt"/>
                      </a:endParaRPr>
                    </a:p>
                  </a:txBody>
                  <a:tcPr anchor="ct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Provide an end-to-end data life cycle monitoring, processing and operational support  covering multiple applications, data domains/assets and platforms over on prem, hybrid &amp; cloud environments. Support for business and tech data</a:t>
                      </a:r>
                      <a:endParaRPr kumimoji="0" lang="en-US" sz="105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558448467"/>
                  </a:ext>
                </a:extLst>
              </a:tr>
              <a:tr h="519766">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rPr>
                        <a:t>2. Data Management</a:t>
                      </a:r>
                      <a:endParaRPr lang="en-US" sz="1100" b="1" kern="1200" dirty="0">
                        <a:solidFill>
                          <a:schemeClr val="tx1"/>
                        </a:solidFill>
                        <a:latin typeface="+mj-lt"/>
                        <a:ea typeface="+mn-ea"/>
                        <a:cs typeface="+mn-cs"/>
                      </a:endParaRPr>
                    </a:p>
                  </a:txBody>
                  <a:tcPr anchor="ct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Manage, monitor, publish and support data management life cycle covering master data, metadata, data quality, lineage, data governance from supplying to consuming applications. Support for business and tech data users</a:t>
                      </a:r>
                      <a:endParaRPr kumimoji="0" lang="en-US" sz="1050" b="1"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3681296898"/>
                  </a:ext>
                </a:extLst>
              </a:tr>
              <a:tr h="666367">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rPr>
                        <a:t>3. Data </a:t>
                      </a:r>
                      <a:r>
                        <a:rPr lang="en-US" sz="1100" b="1" kern="1200">
                          <a:solidFill>
                            <a:schemeClr val="accent3">
                              <a:lumMod val="75000"/>
                            </a:schemeClr>
                          </a:solidFill>
                        </a:rPr>
                        <a:t>Distribution</a:t>
                      </a:r>
                      <a:endParaRPr lang="en-US" sz="1100" b="1" kern="1200" dirty="0">
                        <a:solidFill>
                          <a:schemeClr val="accent3">
                            <a:lumMod val="75000"/>
                          </a:schemeClr>
                        </a:solidFill>
                        <a:latin typeface="+mj-lt"/>
                        <a:ea typeface="+mn-ea"/>
                        <a:cs typeface="+mn-cs"/>
                      </a:endParaRPr>
                    </a:p>
                  </a:txBody>
                  <a:tcPr anchor="ct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Manage, monitor and support data distribution and provisioning  for both internal and external data consumers. Additionally, support extended services including self-service analytics, reporting and querying applications as well as third party data management. Support for business and tech data users</a:t>
                      </a:r>
                      <a:endParaRPr kumimoji="0" lang="en-US" sz="105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3591182619"/>
                  </a:ext>
                </a:extLst>
              </a:tr>
              <a:tr h="666367">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rPr>
                        <a:t>4. Data Platform</a:t>
                      </a:r>
                      <a:endParaRPr lang="en-US" sz="1100" b="1" kern="1200" dirty="0">
                        <a:solidFill>
                          <a:schemeClr val="tx1"/>
                        </a:solidFill>
                        <a:latin typeface="+mj-lt"/>
                        <a:ea typeface="+mn-ea"/>
                        <a:cs typeface="+mn-cs"/>
                      </a:endParaRPr>
                    </a:p>
                  </a:txBody>
                  <a:tcPr anchor="ct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Administer, manage and monitor data platforms as well as integration and enablement tools in on-prem, hybrid and cloud environments. Additionally, support infrastructure and platform management services including IaaS/PaaS automation, configuration management and backup/recovery</a:t>
                      </a:r>
                      <a:endParaRPr kumimoji="0" lang="en-US" sz="105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3446200526"/>
                  </a:ext>
                </a:extLst>
              </a:tr>
              <a:tr h="812968">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rPr>
                        <a:t>5. Data Security</a:t>
                      </a:r>
                      <a:endParaRPr lang="en-US" sz="1100" b="1" kern="1200" dirty="0">
                        <a:solidFill>
                          <a:schemeClr val="tx1"/>
                        </a:solidFill>
                        <a:latin typeface="+mj-lt"/>
                        <a:ea typeface="+mn-ea"/>
                        <a:cs typeface="+mn-cs"/>
                      </a:endParaRPr>
                    </a:p>
                  </a:txBody>
                  <a:tcPr anchor="ct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Manage, monitor and support infrastructure, platform and data security for data domains/assets and data platforms. This includes authentication, authorization, auditing and data protection services. Additionally, support monitoring and compliance with both internal data security controls as well as regulations like GDPR, HIPPA, CCPA</a:t>
                      </a:r>
                      <a:endParaRPr kumimoji="0" lang="en-US" sz="105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3403715196"/>
                  </a:ext>
                </a:extLst>
              </a:tr>
              <a:tr h="519766">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1"/>
                          </a:solidFill>
                        </a:rPr>
                        <a:t>6. Data Engineering</a:t>
                      </a:r>
                      <a:endParaRPr lang="en-US" sz="1100" b="1" kern="1200" dirty="0">
                        <a:solidFill>
                          <a:schemeClr val="tx1"/>
                        </a:solidFill>
                        <a:latin typeface="+mj-lt"/>
                        <a:ea typeface="+mn-ea"/>
                        <a:cs typeface="+mn-cs"/>
                      </a:endParaRPr>
                    </a:p>
                  </a:txBody>
                  <a:tcPr anchor="ctr"/>
                </a:tc>
                <a:tc>
                  <a:txBody>
                    <a:bodyPr/>
                    <a:lstStyle>
                      <a:lvl1pPr marL="0" algn="l" defTabSz="685800" rtl="0" eaLnBrk="1" latinLnBrk="0" hangingPunct="1">
                        <a:defRPr sz="1350" kern="1200">
                          <a:solidFill>
                            <a:schemeClr val="tx1"/>
                          </a:solidFill>
                          <a:latin typeface="Open Sans"/>
                        </a:defRPr>
                      </a:lvl1pPr>
                      <a:lvl2pPr marL="342900" algn="l" defTabSz="685800" rtl="0" eaLnBrk="1" latinLnBrk="0" hangingPunct="1">
                        <a:defRPr sz="1350" kern="1200">
                          <a:solidFill>
                            <a:schemeClr val="tx1"/>
                          </a:solidFill>
                          <a:latin typeface="Open Sans"/>
                        </a:defRPr>
                      </a:lvl2pPr>
                      <a:lvl3pPr marL="685800" algn="l" defTabSz="685800" rtl="0" eaLnBrk="1" latinLnBrk="0" hangingPunct="1">
                        <a:defRPr sz="1350" kern="1200">
                          <a:solidFill>
                            <a:schemeClr val="tx1"/>
                          </a:solidFill>
                          <a:latin typeface="Open Sans"/>
                        </a:defRPr>
                      </a:lvl3pPr>
                      <a:lvl4pPr marL="1028700" algn="l" defTabSz="685800" rtl="0" eaLnBrk="1" latinLnBrk="0" hangingPunct="1">
                        <a:defRPr sz="1350" kern="1200">
                          <a:solidFill>
                            <a:schemeClr val="tx1"/>
                          </a:solidFill>
                          <a:latin typeface="Open Sans"/>
                        </a:defRPr>
                      </a:lvl4pPr>
                      <a:lvl5pPr marL="1371600" algn="l" defTabSz="685800" rtl="0" eaLnBrk="1" latinLnBrk="0" hangingPunct="1">
                        <a:defRPr sz="1350" kern="1200">
                          <a:solidFill>
                            <a:schemeClr val="tx1"/>
                          </a:solidFill>
                          <a:latin typeface="Open Sans"/>
                        </a:defRPr>
                      </a:lvl5pPr>
                      <a:lvl6pPr marL="1714500" algn="l" defTabSz="685800" rtl="0" eaLnBrk="1" latinLnBrk="0" hangingPunct="1">
                        <a:defRPr sz="1350" kern="1200">
                          <a:solidFill>
                            <a:schemeClr val="tx1"/>
                          </a:solidFill>
                          <a:latin typeface="Open Sans"/>
                        </a:defRPr>
                      </a:lvl6pPr>
                      <a:lvl7pPr marL="2057400" algn="l" defTabSz="685800" rtl="0" eaLnBrk="1" latinLnBrk="0" hangingPunct="1">
                        <a:defRPr sz="1350" kern="1200">
                          <a:solidFill>
                            <a:schemeClr val="tx1"/>
                          </a:solidFill>
                          <a:latin typeface="Open Sans"/>
                        </a:defRPr>
                      </a:lvl7pPr>
                      <a:lvl8pPr marL="2400300" algn="l" defTabSz="685800" rtl="0" eaLnBrk="1" latinLnBrk="0" hangingPunct="1">
                        <a:defRPr sz="1350" kern="1200">
                          <a:solidFill>
                            <a:schemeClr val="tx1"/>
                          </a:solidFill>
                          <a:latin typeface="Open Sans"/>
                        </a:defRPr>
                      </a:lvl8pPr>
                      <a:lvl9pPr marL="2743200" algn="l" defTabSz="685800" rtl="0" eaLnBrk="1" latinLnBrk="0" hangingPunct="1">
                        <a:defRPr sz="135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u="none" strike="noStrike" kern="1200" cap="none" spc="0" normalizeH="0" baseline="0" noProof="0" dirty="0">
                          <a:ln>
                            <a:noFill/>
                          </a:ln>
                          <a:solidFill>
                            <a:schemeClr val="tx1"/>
                          </a:solidFill>
                          <a:effectLst/>
                          <a:uLnTx/>
                          <a:uFillTx/>
                        </a:rPr>
                        <a:t>Provide the relevant data engineering support required as part of the delivering </a:t>
                      </a:r>
                      <a:r>
                        <a:rPr kumimoji="0" lang="en-US" sz="1050" b="0" u="none" strike="noStrike" kern="1200" cap="none" spc="0" normalizeH="0" baseline="0" noProof="0" dirty="0" err="1">
                          <a:ln>
                            <a:noFill/>
                          </a:ln>
                          <a:solidFill>
                            <a:schemeClr val="tx1"/>
                          </a:solidFill>
                          <a:effectLst/>
                          <a:uLnTx/>
                          <a:uFillTx/>
                        </a:rPr>
                        <a:t>DataOps</a:t>
                      </a:r>
                      <a:r>
                        <a:rPr kumimoji="0" lang="en-US" sz="1050" b="0" u="none" strike="noStrike" kern="1200" cap="none" spc="0" normalizeH="0" baseline="0" noProof="0" dirty="0">
                          <a:ln>
                            <a:noFill/>
                          </a:ln>
                          <a:solidFill>
                            <a:schemeClr val="tx1"/>
                          </a:solidFill>
                          <a:effectLst/>
                          <a:uLnTx/>
                          <a:uFillTx/>
                        </a:rPr>
                        <a:t> services. This does not include developing of new data pipelines, applications or solutions however focuses on maintenance of these assets</a:t>
                      </a:r>
                      <a:endParaRPr kumimoji="0" lang="en-US" sz="1050" b="0" i="0" u="none" strike="noStrike" kern="1200" cap="none" spc="0" normalizeH="0" baseline="0" noProof="0" dirty="0">
                        <a:ln>
                          <a:noFill/>
                        </a:ln>
                        <a:solidFill>
                          <a:schemeClr val="tx1"/>
                        </a:solidFill>
                        <a:effectLst/>
                        <a:uLnTx/>
                        <a:uFillTx/>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285102527"/>
                  </a:ext>
                </a:extLst>
              </a:tr>
            </a:tbl>
          </a:graphicData>
        </a:graphic>
      </p:graphicFrame>
      <p:grpSp>
        <p:nvGrpSpPr>
          <p:cNvPr id="83" name="Group 233">
            <a:extLst>
              <a:ext uri="{FF2B5EF4-FFF2-40B4-BE49-F238E27FC236}">
                <a16:creationId xmlns:a16="http://schemas.microsoft.com/office/drawing/2014/main" id="{2CB2699B-C13B-2727-52D1-8C3BE49FE9F2}"/>
              </a:ext>
            </a:extLst>
          </p:cNvPr>
          <p:cNvGrpSpPr>
            <a:grpSpLocks noChangeAspect="1"/>
          </p:cNvGrpSpPr>
          <p:nvPr/>
        </p:nvGrpSpPr>
        <p:grpSpPr bwMode="auto">
          <a:xfrm>
            <a:off x="2378915" y="2037113"/>
            <a:ext cx="552166" cy="552165"/>
            <a:chOff x="3475" y="720"/>
            <a:chExt cx="340" cy="340"/>
          </a:xfrm>
          <a:solidFill>
            <a:schemeClr val="accent4"/>
          </a:solidFill>
        </p:grpSpPr>
        <p:sp>
          <p:nvSpPr>
            <p:cNvPr id="84" name="Freeform 234">
              <a:extLst>
                <a:ext uri="{FF2B5EF4-FFF2-40B4-BE49-F238E27FC236}">
                  <a16:creationId xmlns:a16="http://schemas.microsoft.com/office/drawing/2014/main" id="{5312AC69-9148-7FC3-AAE9-71054E24894D}"/>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Freeform 235">
              <a:extLst>
                <a:ext uri="{FF2B5EF4-FFF2-40B4-BE49-F238E27FC236}">
                  <a16:creationId xmlns:a16="http://schemas.microsoft.com/office/drawing/2014/main" id="{14D4D2BB-4259-04E9-F36C-0F9549D39A88}"/>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86" name="TextBox 85">
            <a:extLst>
              <a:ext uri="{FF2B5EF4-FFF2-40B4-BE49-F238E27FC236}">
                <a16:creationId xmlns:a16="http://schemas.microsoft.com/office/drawing/2014/main" id="{354A61BE-C881-7DC0-E3D2-F4EEDCFC6376}"/>
              </a:ext>
            </a:extLst>
          </p:cNvPr>
          <p:cNvSpPr txBox="1"/>
          <p:nvPr/>
        </p:nvSpPr>
        <p:spPr>
          <a:xfrm>
            <a:off x="526867" y="1640072"/>
            <a:ext cx="4218438" cy="3960628"/>
          </a:xfrm>
          <a:prstGeom prst="rect">
            <a:avLst/>
          </a:prstGeom>
          <a:noFill/>
        </p:spPr>
        <p:txBody>
          <a:bodyPr wrap="square" lIns="0" tIns="0" rIns="0" bIns="0" rtlCol="0">
            <a:prstTxWarp prst="textCircle">
              <a:avLst>
                <a:gd name="adj" fmla="val 10906472"/>
              </a:avLst>
            </a:prstTxWarp>
            <a:noAutofit/>
          </a:bodyPr>
          <a:lstStyle/>
          <a:p>
            <a:pPr algn="just">
              <a:spcBef>
                <a:spcPts val="600"/>
              </a:spcBef>
              <a:buSzPct val="100000"/>
              <a:defRPr/>
            </a:pPr>
            <a:r>
              <a:rPr lang="en-US" sz="1700" dirty="0">
                <a:solidFill>
                  <a:srgbClr val="E3E48D">
                    <a:lumMod val="75000"/>
                  </a:srgbClr>
                </a:solidFill>
                <a:latin typeface="Open Sans"/>
              </a:rPr>
              <a:t>Release Planning </a:t>
            </a:r>
            <a:r>
              <a:rPr lang="en-US" sz="1700" dirty="0">
                <a:solidFill>
                  <a:srgbClr val="A0DCFF">
                    <a:lumMod val="75000"/>
                  </a:srgbClr>
                </a:solidFill>
                <a:latin typeface="Open Sans"/>
              </a:rPr>
              <a:t>Continuous Integration </a:t>
            </a:r>
            <a:r>
              <a:rPr lang="en-US" sz="1700" dirty="0">
                <a:solidFill>
                  <a:srgbClr val="9DD4CF">
                    <a:lumMod val="75000"/>
                  </a:srgbClr>
                </a:solidFill>
                <a:latin typeface="Open Sans"/>
              </a:rPr>
              <a:t>Automated Testing </a:t>
            </a:r>
            <a:r>
              <a:rPr lang="en-US" sz="1700" dirty="0">
                <a:solidFill>
                  <a:srgbClr val="62B5E5">
                    <a:lumMod val="75000"/>
                  </a:srgbClr>
                </a:solidFill>
                <a:latin typeface="Open Sans"/>
              </a:rPr>
              <a:t>Continuous Deployment </a:t>
            </a:r>
            <a:r>
              <a:rPr lang="en-US" sz="1700" dirty="0">
                <a:solidFill>
                  <a:srgbClr val="00ABAB">
                    <a:lumMod val="75000"/>
                  </a:srgbClr>
                </a:solidFill>
                <a:latin typeface="Open Sans"/>
              </a:rPr>
              <a:t>Continuous Monitoring </a:t>
            </a:r>
            <a:r>
              <a:rPr lang="en-US" sz="1700" dirty="0">
                <a:solidFill>
                  <a:srgbClr val="9DD4CF">
                    <a:lumMod val="75000"/>
                  </a:srgbClr>
                </a:solidFill>
                <a:latin typeface="Open Sans"/>
              </a:rPr>
              <a:t>Configuration Mgt</a:t>
            </a:r>
            <a:r>
              <a:rPr lang="en-US" sz="1700" dirty="0">
                <a:solidFill>
                  <a:prstClr val="black"/>
                </a:solidFill>
                <a:latin typeface="Open Sans"/>
              </a:rPr>
              <a:t>. </a:t>
            </a:r>
            <a:r>
              <a:rPr lang="en-US" sz="1700" dirty="0">
                <a:solidFill>
                  <a:srgbClr val="A0DCFF">
                    <a:lumMod val="75000"/>
                  </a:srgbClr>
                </a:solidFill>
                <a:latin typeface="Open Sans"/>
              </a:rPr>
              <a:t>Infrastructure as a code</a:t>
            </a:r>
          </a:p>
        </p:txBody>
      </p:sp>
      <p:sp>
        <p:nvSpPr>
          <p:cNvPr id="87" name="Oval 86">
            <a:extLst>
              <a:ext uri="{FF2B5EF4-FFF2-40B4-BE49-F238E27FC236}">
                <a16:creationId xmlns:a16="http://schemas.microsoft.com/office/drawing/2014/main" id="{695E23C4-BD48-C3CE-7355-62A55238640E}"/>
              </a:ext>
            </a:extLst>
          </p:cNvPr>
          <p:cNvSpPr>
            <a:spLocks noChangeAspect="1"/>
          </p:cNvSpPr>
          <p:nvPr/>
        </p:nvSpPr>
        <p:spPr bwMode="gray">
          <a:xfrm>
            <a:off x="638593" y="1767002"/>
            <a:ext cx="3994988" cy="3708373"/>
          </a:xfrm>
          <a:prstGeom prst="ellipse">
            <a:avLst/>
          </a:prstGeom>
          <a:noFill/>
          <a:ln w="19050" algn="ctr">
            <a:solidFill>
              <a:srgbClr val="D0D0CE"/>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ndParaRPr>
          </a:p>
        </p:txBody>
      </p:sp>
      <p:cxnSp>
        <p:nvCxnSpPr>
          <p:cNvPr id="88" name="Straight Connector 87">
            <a:extLst>
              <a:ext uri="{FF2B5EF4-FFF2-40B4-BE49-F238E27FC236}">
                <a16:creationId xmlns:a16="http://schemas.microsoft.com/office/drawing/2014/main" id="{1238BFA9-BD41-F7E0-2C1D-2F55F40F96E0}"/>
              </a:ext>
            </a:extLst>
          </p:cNvPr>
          <p:cNvCxnSpPr>
            <a:cxnSpLocks/>
            <a:stCxn id="108" idx="2"/>
            <a:endCxn id="107" idx="7"/>
          </p:cNvCxnSpPr>
          <p:nvPr/>
        </p:nvCxnSpPr>
        <p:spPr>
          <a:xfrm flipH="1">
            <a:off x="1861125" y="2401358"/>
            <a:ext cx="287008" cy="306244"/>
          </a:xfrm>
          <a:prstGeom prst="line">
            <a:avLst/>
          </a:prstGeom>
          <a:noFill/>
          <a:ln w="9525" cap="flat" cmpd="sng" algn="ctr">
            <a:solidFill>
              <a:srgbClr val="D0D0CE"/>
            </a:solidFill>
            <a:prstDash val="solid"/>
          </a:ln>
          <a:effectLst/>
        </p:spPr>
      </p:cxnSp>
      <p:cxnSp>
        <p:nvCxnSpPr>
          <p:cNvPr id="89" name="Straight Connector 88">
            <a:extLst>
              <a:ext uri="{FF2B5EF4-FFF2-40B4-BE49-F238E27FC236}">
                <a16:creationId xmlns:a16="http://schemas.microsoft.com/office/drawing/2014/main" id="{E83FA860-B1E6-6E05-4110-5A2001F60A4A}"/>
              </a:ext>
            </a:extLst>
          </p:cNvPr>
          <p:cNvCxnSpPr>
            <a:cxnSpLocks/>
          </p:cNvCxnSpPr>
          <p:nvPr/>
        </p:nvCxnSpPr>
        <p:spPr>
          <a:xfrm flipV="1">
            <a:off x="1666353" y="2668481"/>
            <a:ext cx="825642" cy="1248154"/>
          </a:xfrm>
          <a:prstGeom prst="line">
            <a:avLst/>
          </a:prstGeom>
          <a:noFill/>
          <a:ln w="9525" cap="flat" cmpd="sng" algn="ctr">
            <a:solidFill>
              <a:srgbClr val="D0D0CE"/>
            </a:solidFill>
            <a:prstDash val="solid"/>
          </a:ln>
          <a:effectLst/>
        </p:spPr>
      </p:cxnSp>
      <p:cxnSp>
        <p:nvCxnSpPr>
          <p:cNvPr id="90" name="Straight Connector 89">
            <a:extLst>
              <a:ext uri="{FF2B5EF4-FFF2-40B4-BE49-F238E27FC236}">
                <a16:creationId xmlns:a16="http://schemas.microsoft.com/office/drawing/2014/main" id="{9DDCE046-D0B9-BB18-EDF0-5C9578664FC9}"/>
              </a:ext>
            </a:extLst>
          </p:cNvPr>
          <p:cNvCxnSpPr>
            <a:cxnSpLocks/>
          </p:cNvCxnSpPr>
          <p:nvPr/>
        </p:nvCxnSpPr>
        <p:spPr>
          <a:xfrm flipH="1" flipV="1">
            <a:off x="2780177" y="2707601"/>
            <a:ext cx="854656" cy="1209033"/>
          </a:xfrm>
          <a:prstGeom prst="line">
            <a:avLst/>
          </a:prstGeom>
          <a:noFill/>
          <a:ln w="9525" cap="flat" cmpd="sng" algn="ctr">
            <a:solidFill>
              <a:srgbClr val="D0D0CE"/>
            </a:solidFill>
            <a:prstDash val="solid"/>
          </a:ln>
          <a:effectLst/>
        </p:spPr>
      </p:cxnSp>
      <p:cxnSp>
        <p:nvCxnSpPr>
          <p:cNvPr id="91" name="Straight Connector 90">
            <a:extLst>
              <a:ext uri="{FF2B5EF4-FFF2-40B4-BE49-F238E27FC236}">
                <a16:creationId xmlns:a16="http://schemas.microsoft.com/office/drawing/2014/main" id="{595C975B-01D8-FC1B-C10C-CD3848746A3E}"/>
              </a:ext>
            </a:extLst>
          </p:cNvPr>
          <p:cNvCxnSpPr>
            <a:cxnSpLocks/>
            <a:stCxn id="104" idx="0"/>
            <a:endCxn id="108" idx="4"/>
          </p:cNvCxnSpPr>
          <p:nvPr/>
        </p:nvCxnSpPr>
        <p:spPr>
          <a:xfrm flipV="1">
            <a:off x="2636086" y="2866431"/>
            <a:ext cx="0" cy="289683"/>
          </a:xfrm>
          <a:prstGeom prst="line">
            <a:avLst/>
          </a:prstGeom>
          <a:noFill/>
          <a:ln w="9525" cap="flat" cmpd="sng" algn="ctr">
            <a:solidFill>
              <a:srgbClr val="D0D0CE"/>
            </a:solidFill>
            <a:prstDash val="solid"/>
          </a:ln>
          <a:effectLst/>
        </p:spPr>
      </p:cxnSp>
      <p:cxnSp>
        <p:nvCxnSpPr>
          <p:cNvPr id="92" name="Straight Connector 91">
            <a:extLst>
              <a:ext uri="{FF2B5EF4-FFF2-40B4-BE49-F238E27FC236}">
                <a16:creationId xmlns:a16="http://schemas.microsoft.com/office/drawing/2014/main" id="{A90342CB-D077-C6C2-3746-364FCEA950E4}"/>
              </a:ext>
            </a:extLst>
          </p:cNvPr>
          <p:cNvCxnSpPr>
            <a:cxnSpLocks/>
            <a:stCxn id="107" idx="6"/>
            <a:endCxn id="110" idx="2"/>
          </p:cNvCxnSpPr>
          <p:nvPr/>
        </p:nvCxnSpPr>
        <p:spPr>
          <a:xfrm>
            <a:off x="2004043" y="3036458"/>
            <a:ext cx="1264087" cy="0"/>
          </a:xfrm>
          <a:prstGeom prst="line">
            <a:avLst/>
          </a:prstGeom>
          <a:noFill/>
          <a:ln w="9525" cap="flat" cmpd="sng" algn="ctr">
            <a:solidFill>
              <a:srgbClr val="D0D0CE"/>
            </a:solidFill>
            <a:prstDash val="solid"/>
          </a:ln>
          <a:effectLst/>
        </p:spPr>
      </p:cxnSp>
      <p:cxnSp>
        <p:nvCxnSpPr>
          <p:cNvPr id="93" name="Straight Connector 92">
            <a:extLst>
              <a:ext uri="{FF2B5EF4-FFF2-40B4-BE49-F238E27FC236}">
                <a16:creationId xmlns:a16="http://schemas.microsoft.com/office/drawing/2014/main" id="{BAB1CD30-7129-04AF-171D-891250C144CB}"/>
              </a:ext>
            </a:extLst>
          </p:cNvPr>
          <p:cNvCxnSpPr>
            <a:cxnSpLocks/>
            <a:stCxn id="107" idx="4"/>
            <a:endCxn id="112" idx="0"/>
          </p:cNvCxnSpPr>
          <p:nvPr/>
        </p:nvCxnSpPr>
        <p:spPr>
          <a:xfrm>
            <a:off x="1516089" y="3501532"/>
            <a:ext cx="0" cy="237709"/>
          </a:xfrm>
          <a:prstGeom prst="line">
            <a:avLst/>
          </a:prstGeom>
          <a:noFill/>
          <a:ln w="9525" cap="flat" cmpd="sng" algn="ctr">
            <a:solidFill>
              <a:srgbClr val="D0D0CE"/>
            </a:solidFill>
            <a:prstDash val="solid"/>
          </a:ln>
          <a:effectLst/>
        </p:spPr>
      </p:cxnSp>
      <p:cxnSp>
        <p:nvCxnSpPr>
          <p:cNvPr id="94" name="Straight Connector 93">
            <a:extLst>
              <a:ext uri="{FF2B5EF4-FFF2-40B4-BE49-F238E27FC236}">
                <a16:creationId xmlns:a16="http://schemas.microsoft.com/office/drawing/2014/main" id="{7967D892-0A65-B875-735B-206303879D26}"/>
              </a:ext>
            </a:extLst>
          </p:cNvPr>
          <p:cNvCxnSpPr>
            <a:cxnSpLocks/>
            <a:endCxn id="109" idx="1"/>
          </p:cNvCxnSpPr>
          <p:nvPr/>
        </p:nvCxnSpPr>
        <p:spPr>
          <a:xfrm>
            <a:off x="1660180" y="3302836"/>
            <a:ext cx="630871" cy="1209328"/>
          </a:xfrm>
          <a:prstGeom prst="line">
            <a:avLst/>
          </a:prstGeom>
          <a:noFill/>
          <a:ln w="9525" cap="flat" cmpd="sng" algn="ctr">
            <a:solidFill>
              <a:srgbClr val="D0D0CE"/>
            </a:solidFill>
            <a:prstDash val="solid"/>
          </a:ln>
          <a:effectLst/>
        </p:spPr>
      </p:cxnSp>
      <p:cxnSp>
        <p:nvCxnSpPr>
          <p:cNvPr id="95" name="Straight Connector 94">
            <a:extLst>
              <a:ext uri="{FF2B5EF4-FFF2-40B4-BE49-F238E27FC236}">
                <a16:creationId xmlns:a16="http://schemas.microsoft.com/office/drawing/2014/main" id="{82D7BE4D-60B3-2693-506A-B6AB846B3E79}"/>
              </a:ext>
            </a:extLst>
          </p:cNvPr>
          <p:cNvCxnSpPr>
            <a:cxnSpLocks/>
            <a:stCxn id="107" idx="5"/>
            <a:endCxn id="111" idx="1"/>
          </p:cNvCxnSpPr>
          <p:nvPr/>
        </p:nvCxnSpPr>
        <p:spPr>
          <a:xfrm>
            <a:off x="1861125" y="3365316"/>
            <a:ext cx="1549923" cy="510142"/>
          </a:xfrm>
          <a:prstGeom prst="line">
            <a:avLst/>
          </a:prstGeom>
          <a:noFill/>
          <a:ln w="9525" cap="flat" cmpd="sng" algn="ctr">
            <a:solidFill>
              <a:srgbClr val="D0D0CE"/>
            </a:solidFill>
            <a:prstDash val="solid"/>
          </a:ln>
          <a:effectLst/>
        </p:spPr>
      </p:cxnSp>
      <p:cxnSp>
        <p:nvCxnSpPr>
          <p:cNvPr id="96" name="Straight Connector 95">
            <a:extLst>
              <a:ext uri="{FF2B5EF4-FFF2-40B4-BE49-F238E27FC236}">
                <a16:creationId xmlns:a16="http://schemas.microsoft.com/office/drawing/2014/main" id="{2B21E016-57E4-0401-8A5A-D64EDB432EDF}"/>
              </a:ext>
            </a:extLst>
          </p:cNvPr>
          <p:cNvCxnSpPr>
            <a:cxnSpLocks/>
            <a:stCxn id="112" idx="5"/>
            <a:endCxn id="109" idx="2"/>
          </p:cNvCxnSpPr>
          <p:nvPr/>
        </p:nvCxnSpPr>
        <p:spPr>
          <a:xfrm>
            <a:off x="1861125" y="4533172"/>
            <a:ext cx="287008" cy="307849"/>
          </a:xfrm>
          <a:prstGeom prst="line">
            <a:avLst/>
          </a:prstGeom>
          <a:noFill/>
          <a:ln w="9525" cap="flat" cmpd="sng" algn="ctr">
            <a:solidFill>
              <a:srgbClr val="D0D0CE"/>
            </a:solidFill>
            <a:prstDash val="solid"/>
          </a:ln>
          <a:effectLst/>
        </p:spPr>
      </p:cxnSp>
      <p:cxnSp>
        <p:nvCxnSpPr>
          <p:cNvPr id="97" name="Straight Connector 96">
            <a:extLst>
              <a:ext uri="{FF2B5EF4-FFF2-40B4-BE49-F238E27FC236}">
                <a16:creationId xmlns:a16="http://schemas.microsoft.com/office/drawing/2014/main" id="{9BD5DCA2-8BA9-B82E-3310-C66E4AA4CAFB}"/>
              </a:ext>
            </a:extLst>
          </p:cNvPr>
          <p:cNvCxnSpPr>
            <a:cxnSpLocks/>
            <a:stCxn id="111" idx="3"/>
            <a:endCxn id="109" idx="6"/>
          </p:cNvCxnSpPr>
          <p:nvPr/>
        </p:nvCxnSpPr>
        <p:spPr>
          <a:xfrm flipH="1">
            <a:off x="3124040" y="4533172"/>
            <a:ext cx="287008" cy="307849"/>
          </a:xfrm>
          <a:prstGeom prst="line">
            <a:avLst/>
          </a:prstGeom>
          <a:noFill/>
          <a:ln w="9525" cap="flat" cmpd="sng" algn="ctr">
            <a:solidFill>
              <a:srgbClr val="D0D0CE"/>
            </a:solidFill>
            <a:prstDash val="solid"/>
          </a:ln>
          <a:effectLst/>
        </p:spPr>
      </p:cxnSp>
      <p:cxnSp>
        <p:nvCxnSpPr>
          <p:cNvPr id="98" name="Straight Connector 97">
            <a:extLst>
              <a:ext uri="{FF2B5EF4-FFF2-40B4-BE49-F238E27FC236}">
                <a16:creationId xmlns:a16="http://schemas.microsoft.com/office/drawing/2014/main" id="{52709D56-8589-A4B7-68A0-C13F18D53219}"/>
              </a:ext>
            </a:extLst>
          </p:cNvPr>
          <p:cNvCxnSpPr>
            <a:cxnSpLocks/>
            <a:stCxn id="110" idx="4"/>
            <a:endCxn id="111" idx="0"/>
          </p:cNvCxnSpPr>
          <p:nvPr/>
        </p:nvCxnSpPr>
        <p:spPr>
          <a:xfrm>
            <a:off x="3756083" y="3501532"/>
            <a:ext cx="0" cy="237709"/>
          </a:xfrm>
          <a:prstGeom prst="line">
            <a:avLst/>
          </a:prstGeom>
          <a:noFill/>
          <a:ln w="9525" cap="flat" cmpd="sng" algn="ctr">
            <a:solidFill>
              <a:srgbClr val="D0D0CE"/>
            </a:solidFill>
            <a:prstDash val="solid"/>
          </a:ln>
          <a:effectLst/>
        </p:spPr>
      </p:cxnSp>
      <p:cxnSp>
        <p:nvCxnSpPr>
          <p:cNvPr id="99" name="Straight Connector 98">
            <a:extLst>
              <a:ext uri="{FF2B5EF4-FFF2-40B4-BE49-F238E27FC236}">
                <a16:creationId xmlns:a16="http://schemas.microsoft.com/office/drawing/2014/main" id="{6921C7B5-BECB-B4C7-E5A9-395C7D5BAA2E}"/>
              </a:ext>
            </a:extLst>
          </p:cNvPr>
          <p:cNvCxnSpPr>
            <a:cxnSpLocks/>
            <a:stCxn id="108" idx="6"/>
            <a:endCxn id="110" idx="1"/>
          </p:cNvCxnSpPr>
          <p:nvPr/>
        </p:nvCxnSpPr>
        <p:spPr>
          <a:xfrm>
            <a:off x="3124040" y="2401358"/>
            <a:ext cx="287008" cy="306244"/>
          </a:xfrm>
          <a:prstGeom prst="line">
            <a:avLst/>
          </a:prstGeom>
          <a:noFill/>
          <a:ln w="9525" cap="flat" cmpd="sng" algn="ctr">
            <a:solidFill>
              <a:srgbClr val="D0D0CE"/>
            </a:solidFill>
            <a:prstDash val="solid"/>
          </a:ln>
          <a:effectLst/>
        </p:spPr>
      </p:cxnSp>
      <p:cxnSp>
        <p:nvCxnSpPr>
          <p:cNvPr id="100" name="Straight Connector 99">
            <a:extLst>
              <a:ext uri="{FF2B5EF4-FFF2-40B4-BE49-F238E27FC236}">
                <a16:creationId xmlns:a16="http://schemas.microsoft.com/office/drawing/2014/main" id="{94B8529D-CB79-4CAD-61D0-EA1A76DEDF2C}"/>
              </a:ext>
            </a:extLst>
          </p:cNvPr>
          <p:cNvCxnSpPr>
            <a:cxnSpLocks/>
            <a:stCxn id="109" idx="0"/>
            <a:endCxn id="104" idx="4"/>
          </p:cNvCxnSpPr>
          <p:nvPr/>
        </p:nvCxnSpPr>
        <p:spPr>
          <a:xfrm flipV="1">
            <a:off x="2636086" y="4086262"/>
            <a:ext cx="0" cy="289684"/>
          </a:xfrm>
          <a:prstGeom prst="line">
            <a:avLst/>
          </a:prstGeom>
          <a:noFill/>
          <a:ln w="9525" cap="flat" cmpd="sng" algn="ctr">
            <a:solidFill>
              <a:srgbClr val="D0D0CE"/>
            </a:solidFill>
            <a:prstDash val="solid"/>
          </a:ln>
          <a:effectLst/>
        </p:spPr>
      </p:cxnSp>
      <p:cxnSp>
        <p:nvCxnSpPr>
          <p:cNvPr id="101" name="Straight Connector 100">
            <a:extLst>
              <a:ext uri="{FF2B5EF4-FFF2-40B4-BE49-F238E27FC236}">
                <a16:creationId xmlns:a16="http://schemas.microsoft.com/office/drawing/2014/main" id="{CAAD3475-F43E-ADB6-64F8-A2B7DEA11266}"/>
              </a:ext>
            </a:extLst>
          </p:cNvPr>
          <p:cNvCxnSpPr>
            <a:cxnSpLocks/>
            <a:stCxn id="112" idx="7"/>
            <a:endCxn id="110" idx="3"/>
          </p:cNvCxnSpPr>
          <p:nvPr/>
        </p:nvCxnSpPr>
        <p:spPr>
          <a:xfrm flipV="1">
            <a:off x="1861125" y="3365316"/>
            <a:ext cx="1549923" cy="510142"/>
          </a:xfrm>
          <a:prstGeom prst="line">
            <a:avLst/>
          </a:prstGeom>
          <a:noFill/>
          <a:ln w="9525" cap="flat" cmpd="sng" algn="ctr">
            <a:solidFill>
              <a:srgbClr val="D0D0CE"/>
            </a:solidFill>
            <a:prstDash val="solid"/>
          </a:ln>
          <a:effectLst/>
        </p:spPr>
      </p:cxnSp>
      <p:cxnSp>
        <p:nvCxnSpPr>
          <p:cNvPr id="102" name="Straight Connector 101">
            <a:extLst>
              <a:ext uri="{FF2B5EF4-FFF2-40B4-BE49-F238E27FC236}">
                <a16:creationId xmlns:a16="http://schemas.microsoft.com/office/drawing/2014/main" id="{FA518FA0-9D99-EFBA-3463-CE67E911C2E1}"/>
              </a:ext>
            </a:extLst>
          </p:cNvPr>
          <p:cNvCxnSpPr>
            <a:cxnSpLocks/>
            <a:stCxn id="109" idx="7"/>
          </p:cNvCxnSpPr>
          <p:nvPr/>
        </p:nvCxnSpPr>
        <p:spPr>
          <a:xfrm flipV="1">
            <a:off x="2981122" y="3451908"/>
            <a:ext cx="574015" cy="1060256"/>
          </a:xfrm>
          <a:prstGeom prst="line">
            <a:avLst/>
          </a:prstGeom>
          <a:noFill/>
          <a:ln w="9525" cap="flat" cmpd="sng" algn="ctr">
            <a:solidFill>
              <a:srgbClr val="D0D0CE"/>
            </a:solidFill>
            <a:prstDash val="solid"/>
          </a:ln>
          <a:effectLst/>
        </p:spPr>
      </p:cxnSp>
      <p:cxnSp>
        <p:nvCxnSpPr>
          <p:cNvPr id="103" name="Straight Connector 102">
            <a:extLst>
              <a:ext uri="{FF2B5EF4-FFF2-40B4-BE49-F238E27FC236}">
                <a16:creationId xmlns:a16="http://schemas.microsoft.com/office/drawing/2014/main" id="{B49128BB-94D9-B98C-BEDF-204CEEE919CB}"/>
              </a:ext>
            </a:extLst>
          </p:cNvPr>
          <p:cNvCxnSpPr>
            <a:cxnSpLocks/>
            <a:stCxn id="112" idx="6"/>
            <a:endCxn id="111" idx="2"/>
          </p:cNvCxnSpPr>
          <p:nvPr/>
        </p:nvCxnSpPr>
        <p:spPr>
          <a:xfrm>
            <a:off x="2004043" y="4204314"/>
            <a:ext cx="1264087" cy="0"/>
          </a:xfrm>
          <a:prstGeom prst="line">
            <a:avLst/>
          </a:prstGeom>
          <a:noFill/>
          <a:ln w="9525" cap="flat" cmpd="sng" algn="ctr">
            <a:solidFill>
              <a:srgbClr val="D0D0CE"/>
            </a:solidFill>
            <a:prstDash val="solid"/>
          </a:ln>
          <a:effectLst/>
        </p:spPr>
      </p:cxnSp>
      <p:sp>
        <p:nvSpPr>
          <p:cNvPr id="104" name="Oval 103">
            <a:extLst>
              <a:ext uri="{FF2B5EF4-FFF2-40B4-BE49-F238E27FC236}">
                <a16:creationId xmlns:a16="http://schemas.microsoft.com/office/drawing/2014/main" id="{9BB12BC3-9395-900A-64AD-41A86C57F5C8}"/>
              </a:ext>
            </a:extLst>
          </p:cNvPr>
          <p:cNvSpPr>
            <a:spLocks noChangeAspect="1"/>
          </p:cNvSpPr>
          <p:nvPr/>
        </p:nvSpPr>
        <p:spPr bwMode="gray">
          <a:xfrm>
            <a:off x="2148132" y="3156115"/>
            <a:ext cx="975907" cy="930147"/>
          </a:xfrm>
          <a:prstGeom prst="ellipse">
            <a:avLst/>
          </a:prstGeom>
          <a:solidFill>
            <a:schemeClr val="accent3">
              <a:lumMod val="20000"/>
              <a:lumOff val="80000"/>
            </a:schemeClr>
          </a:soli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ndParaRPr>
          </a:p>
        </p:txBody>
      </p:sp>
      <p:pic>
        <p:nvPicPr>
          <p:cNvPr id="105" name="Graphic 104" descr="Caret Up with solid fill">
            <a:extLst>
              <a:ext uri="{FF2B5EF4-FFF2-40B4-BE49-F238E27FC236}">
                <a16:creationId xmlns:a16="http://schemas.microsoft.com/office/drawing/2014/main" id="{BAD8814F-6401-1A23-9340-4CA5109518E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7011801">
            <a:off x="3660474" y="1877505"/>
            <a:ext cx="427964" cy="599274"/>
          </a:xfrm>
          <a:prstGeom prst="rect">
            <a:avLst/>
          </a:prstGeom>
        </p:spPr>
      </p:pic>
      <p:pic>
        <p:nvPicPr>
          <p:cNvPr id="106" name="Graphic 105" descr="Caret Up with solid fill">
            <a:extLst>
              <a:ext uri="{FF2B5EF4-FFF2-40B4-BE49-F238E27FC236}">
                <a16:creationId xmlns:a16="http://schemas.microsoft.com/office/drawing/2014/main" id="{57B2AC7A-F92B-44FB-30BC-B19C9D00A81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7011801">
            <a:off x="3619069" y="1863359"/>
            <a:ext cx="427964" cy="599274"/>
          </a:xfrm>
          <a:prstGeom prst="rect">
            <a:avLst/>
          </a:prstGeom>
        </p:spPr>
      </p:pic>
      <p:sp>
        <p:nvSpPr>
          <p:cNvPr id="107" name="Oval 106">
            <a:extLst>
              <a:ext uri="{FF2B5EF4-FFF2-40B4-BE49-F238E27FC236}">
                <a16:creationId xmlns:a16="http://schemas.microsoft.com/office/drawing/2014/main" id="{427634BA-AE78-DAA6-A6BF-8CEC8074763B}"/>
              </a:ext>
            </a:extLst>
          </p:cNvPr>
          <p:cNvSpPr>
            <a:spLocks noChangeAspect="1"/>
          </p:cNvSpPr>
          <p:nvPr/>
        </p:nvSpPr>
        <p:spPr bwMode="gray">
          <a:xfrm>
            <a:off x="1028135" y="2571385"/>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Open Sans"/>
              </a:rPr>
              <a:t>Data </a:t>
            </a:r>
            <a:r>
              <a:rPr kumimoji="0" lang="en-US" sz="850" b="0" i="0" u="none" strike="noStrike" kern="0" cap="none" spc="0" normalizeH="0" baseline="0" noProof="0" dirty="0">
                <a:ln>
                  <a:noFill/>
                </a:ln>
                <a:solidFill>
                  <a:prstClr val="black"/>
                </a:solidFill>
                <a:effectLst/>
                <a:uLnTx/>
                <a:uFillTx/>
                <a:latin typeface="Open Sans"/>
              </a:rPr>
              <a:t>Management</a:t>
            </a:r>
          </a:p>
        </p:txBody>
      </p:sp>
      <p:sp>
        <p:nvSpPr>
          <p:cNvPr id="108" name="Oval 107">
            <a:extLst>
              <a:ext uri="{FF2B5EF4-FFF2-40B4-BE49-F238E27FC236}">
                <a16:creationId xmlns:a16="http://schemas.microsoft.com/office/drawing/2014/main" id="{B9B96862-263C-D16C-24BB-1D311D69F800}"/>
              </a:ext>
            </a:extLst>
          </p:cNvPr>
          <p:cNvSpPr>
            <a:spLocks noChangeAspect="1"/>
          </p:cNvSpPr>
          <p:nvPr/>
        </p:nvSpPr>
        <p:spPr bwMode="gray">
          <a:xfrm>
            <a:off x="2148132" y="1936284"/>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a:rPr>
              <a:t>Data Operations</a:t>
            </a:r>
          </a:p>
        </p:txBody>
      </p:sp>
      <p:sp>
        <p:nvSpPr>
          <p:cNvPr id="109" name="Oval 108">
            <a:extLst>
              <a:ext uri="{FF2B5EF4-FFF2-40B4-BE49-F238E27FC236}">
                <a16:creationId xmlns:a16="http://schemas.microsoft.com/office/drawing/2014/main" id="{EF3A1D4F-2590-1730-E86D-CD86E897E533}"/>
              </a:ext>
            </a:extLst>
          </p:cNvPr>
          <p:cNvSpPr>
            <a:spLocks noChangeAspect="1"/>
          </p:cNvSpPr>
          <p:nvPr/>
        </p:nvSpPr>
        <p:spPr bwMode="gray">
          <a:xfrm>
            <a:off x="2148132" y="4375947"/>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a:rPr>
              <a:t>Data Security &amp; Controls</a:t>
            </a:r>
          </a:p>
        </p:txBody>
      </p:sp>
      <p:sp>
        <p:nvSpPr>
          <p:cNvPr id="110" name="Oval 109">
            <a:extLst>
              <a:ext uri="{FF2B5EF4-FFF2-40B4-BE49-F238E27FC236}">
                <a16:creationId xmlns:a16="http://schemas.microsoft.com/office/drawing/2014/main" id="{DA0306BE-0B16-03E9-633A-FC4C794B24EB}"/>
              </a:ext>
            </a:extLst>
          </p:cNvPr>
          <p:cNvSpPr>
            <a:spLocks noChangeAspect="1"/>
          </p:cNvSpPr>
          <p:nvPr/>
        </p:nvSpPr>
        <p:spPr bwMode="gray">
          <a:xfrm>
            <a:off x="3268129" y="2571385"/>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Open Sans"/>
              </a:rPr>
              <a:t>Data </a:t>
            </a:r>
            <a:r>
              <a:rPr kumimoji="0" lang="en-US" sz="950" b="0" i="0" u="none" strike="noStrike" kern="0" cap="none" spc="0" normalizeH="0" baseline="0" noProof="0" dirty="0">
                <a:ln>
                  <a:noFill/>
                </a:ln>
                <a:solidFill>
                  <a:prstClr val="black"/>
                </a:solidFill>
                <a:effectLst/>
                <a:uLnTx/>
                <a:uFillTx/>
                <a:latin typeface="Open Sans"/>
              </a:rPr>
              <a:t>Distribution</a:t>
            </a:r>
          </a:p>
        </p:txBody>
      </p:sp>
      <p:sp>
        <p:nvSpPr>
          <p:cNvPr id="111" name="Oval 110">
            <a:extLst>
              <a:ext uri="{FF2B5EF4-FFF2-40B4-BE49-F238E27FC236}">
                <a16:creationId xmlns:a16="http://schemas.microsoft.com/office/drawing/2014/main" id="{6EFA5BD7-A5DB-4010-E32C-8A6E9748EE97}"/>
              </a:ext>
            </a:extLst>
          </p:cNvPr>
          <p:cNvSpPr>
            <a:spLocks noChangeAspect="1"/>
          </p:cNvSpPr>
          <p:nvPr/>
        </p:nvSpPr>
        <p:spPr bwMode="gray">
          <a:xfrm>
            <a:off x="3268129" y="3739241"/>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Open Sans"/>
              </a:rPr>
              <a:t>Data Platform</a:t>
            </a:r>
          </a:p>
        </p:txBody>
      </p:sp>
      <p:sp>
        <p:nvSpPr>
          <p:cNvPr id="112" name="Oval 111">
            <a:extLst>
              <a:ext uri="{FF2B5EF4-FFF2-40B4-BE49-F238E27FC236}">
                <a16:creationId xmlns:a16="http://schemas.microsoft.com/office/drawing/2014/main" id="{45834E19-B93F-1F8E-B620-5997567FAAC8}"/>
              </a:ext>
            </a:extLst>
          </p:cNvPr>
          <p:cNvSpPr>
            <a:spLocks noChangeAspect="1"/>
          </p:cNvSpPr>
          <p:nvPr/>
        </p:nvSpPr>
        <p:spPr bwMode="gray">
          <a:xfrm>
            <a:off x="1028135" y="3739241"/>
            <a:ext cx="975907" cy="930147"/>
          </a:xfrm>
          <a:prstGeom prst="ellipse">
            <a:avLst/>
          </a:prstGeom>
          <a:solidFill>
            <a:sysClr val="window" lastClr="FFFFFF"/>
          </a:solidFill>
          <a:ln w="28575" algn="ctr">
            <a:solidFill>
              <a:srgbClr val="D0D0CE">
                <a:lumMod val="75000"/>
              </a:srgbClr>
            </a:solid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Open Sans"/>
              </a:rPr>
              <a:t>Data </a:t>
            </a:r>
            <a:r>
              <a:rPr kumimoji="0" lang="en-US" sz="900" b="0" i="0" u="none" strike="noStrike" kern="0" cap="none" spc="0" normalizeH="0" baseline="0" noProof="0">
                <a:ln>
                  <a:noFill/>
                </a:ln>
                <a:solidFill>
                  <a:prstClr val="black"/>
                </a:solidFill>
                <a:effectLst/>
                <a:uLnTx/>
                <a:uFillTx/>
                <a:latin typeface="Open Sans"/>
              </a:rPr>
              <a:t>Engineering</a:t>
            </a:r>
          </a:p>
        </p:txBody>
      </p:sp>
      <p:sp>
        <p:nvSpPr>
          <p:cNvPr id="113" name="TextBox 112">
            <a:extLst>
              <a:ext uri="{FF2B5EF4-FFF2-40B4-BE49-F238E27FC236}">
                <a16:creationId xmlns:a16="http://schemas.microsoft.com/office/drawing/2014/main" id="{38039FD5-4609-282C-B8A5-210C5146DF4E}"/>
              </a:ext>
            </a:extLst>
          </p:cNvPr>
          <p:cNvSpPr txBox="1"/>
          <p:nvPr/>
        </p:nvSpPr>
        <p:spPr>
          <a:xfrm>
            <a:off x="2192559" y="3372220"/>
            <a:ext cx="662352" cy="523220"/>
          </a:xfrm>
          <a:prstGeom prst="rect">
            <a:avLst/>
          </a:prstGeom>
          <a:noFill/>
        </p:spPr>
        <p:txBody>
          <a:bodyPr wrap="square">
            <a:spAutoFit/>
          </a:bodyPr>
          <a:lstStyle/>
          <a:p>
            <a:pPr algn="ctr">
              <a:defRPr/>
            </a:pPr>
            <a:r>
              <a:rPr lang="en-US" sz="1400" b="1">
                <a:solidFill>
                  <a:prstClr val="black"/>
                </a:solidFill>
                <a:latin typeface="Open Sans"/>
              </a:rPr>
              <a:t>Data</a:t>
            </a:r>
          </a:p>
          <a:p>
            <a:pPr algn="ctr">
              <a:defRPr/>
            </a:pPr>
            <a:r>
              <a:rPr lang="en-US" sz="1400" b="1">
                <a:solidFill>
                  <a:prstClr val="black"/>
                </a:solidFill>
                <a:latin typeface="Open Sans"/>
              </a:rPr>
              <a:t>Ops</a:t>
            </a:r>
          </a:p>
        </p:txBody>
      </p:sp>
      <p:pic>
        <p:nvPicPr>
          <p:cNvPr id="114" name="Graphic 113" descr="Gears outline">
            <a:extLst>
              <a:ext uri="{FF2B5EF4-FFF2-40B4-BE49-F238E27FC236}">
                <a16:creationId xmlns:a16="http://schemas.microsoft.com/office/drawing/2014/main" id="{01190B3B-8F01-C39D-1E4A-9DFA6DC47AB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0608994">
            <a:off x="2626213" y="3412721"/>
            <a:ext cx="470889" cy="470889"/>
          </a:xfrm>
          <a:prstGeom prst="rect">
            <a:avLst/>
          </a:prstGeom>
        </p:spPr>
      </p:pic>
    </p:spTree>
    <p:extLst>
      <p:ext uri="{BB962C8B-B14F-4D97-AF65-F5344CB8AC3E}">
        <p14:creationId xmlns:p14="http://schemas.microsoft.com/office/powerpoint/2010/main" val="1669497751"/>
      </p:ext>
    </p:extLst>
  </p:cSld>
  <p:clrMapOvr>
    <a:masterClrMapping/>
  </p:clrMapOvr>
  <p:transition>
    <p:fade/>
  </p:transition>
  <p:extLst>
    <p:ext uri="{6950BFC3-D8DA-4A85-94F7-54DA5524770B}">
      <p188:commentRel xmlns:p188="http://schemas.microsoft.com/office/powerpoint/2018/8/main" r:id="rId3"/>
    </p:ext>
  </p:extLs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extLst>
              <p:ext uri="{D42A27DB-BD31-4B8C-83A1-F6EECF244321}">
                <p14:modId xmlns:p14="http://schemas.microsoft.com/office/powerpoint/2010/main" val="1363989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65" name="Title 1">
            <a:extLst>
              <a:ext uri="{FF2B5EF4-FFF2-40B4-BE49-F238E27FC236}">
                <a16:creationId xmlns:a16="http://schemas.microsoft.com/office/drawing/2014/main" id="{8C32C409-17A7-7830-F3B0-7E3C50591B1E}"/>
              </a:ext>
            </a:extLst>
          </p:cNvPr>
          <p:cNvSpPr txBox="1">
            <a:spLocks/>
          </p:cNvSpPr>
          <p:nvPr/>
        </p:nvSpPr>
        <p:spPr bwMode="gray">
          <a:xfrm>
            <a:off x="51213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Deloitte Cloud Systems and Engineering | Our Capabilities</a:t>
            </a:r>
          </a:p>
        </p:txBody>
      </p:sp>
      <p:sp>
        <p:nvSpPr>
          <p:cNvPr id="5" name="Rectangle 4">
            <a:extLst>
              <a:ext uri="{FF2B5EF4-FFF2-40B4-BE49-F238E27FC236}">
                <a16:creationId xmlns:a16="http://schemas.microsoft.com/office/drawing/2014/main" id="{D346ADF3-61FA-9B83-2A67-1680C461D55D}"/>
              </a:ext>
            </a:extLst>
          </p:cNvPr>
          <p:cNvSpPr/>
          <p:nvPr/>
        </p:nvSpPr>
        <p:spPr>
          <a:xfrm>
            <a:off x="6782753" y="2471558"/>
            <a:ext cx="3338193" cy="957442"/>
          </a:xfrm>
          <a:prstGeom prst="rect">
            <a:avLst/>
          </a:prstGeom>
          <a:ln>
            <a:noFill/>
          </a:ln>
        </p:spPr>
        <p:txBody>
          <a:bodyPr wrap="square" lIns="0" tIns="45720" rIns="0" bIns="45720" anchor="t">
            <a:spAutoFit/>
          </a:bodyPr>
          <a:lstStyle/>
          <a:p>
            <a:pPr algn="just" defTabSz="633039">
              <a:lnSpc>
                <a:spcPts val="900"/>
              </a:lnSpc>
              <a:spcAft>
                <a:spcPts val="415"/>
              </a:spcAft>
              <a:buClr>
                <a:srgbClr val="43B02A"/>
              </a:buClr>
              <a:buSzPct val="100000"/>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Deloitte assists the client organization by aligning business strategy with the </a:t>
            </a:r>
            <a:r>
              <a:rPr lang="en-US" sz="1000" b="1"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most suitable cloud technology selection</a:t>
            </a:r>
            <a:r>
              <a:rPr lang="en-US" sz="1000"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and supports the client throughout the entire technology procurement process</a:t>
            </a:r>
          </a:p>
          <a:p>
            <a:pPr algn="just" defTabSz="633039">
              <a:lnSpc>
                <a:spcPts val="900"/>
              </a:lnSpc>
              <a:spcAft>
                <a:spcPts val="415"/>
              </a:spcAft>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Clients can </a:t>
            </a:r>
            <a:r>
              <a:rPr lang="en-US" sz="1000" b="1"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reduce the time to acquire</a:t>
            </a:r>
            <a:r>
              <a:rPr lang="en-US" sz="1000"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and implement the </a:t>
            </a:r>
            <a:r>
              <a:rPr lang="en-US" sz="1000" b="1"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best cloud technology</a:t>
            </a:r>
            <a:r>
              <a:rPr lang="en-US" sz="1000"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to meet their specific business needs</a:t>
            </a:r>
          </a:p>
        </p:txBody>
      </p:sp>
      <p:sp>
        <p:nvSpPr>
          <p:cNvPr id="6" name="TextBox 5">
            <a:extLst>
              <a:ext uri="{FF2B5EF4-FFF2-40B4-BE49-F238E27FC236}">
                <a16:creationId xmlns:a16="http://schemas.microsoft.com/office/drawing/2014/main" id="{150E32F3-473D-4414-471B-F1DE952E9453}"/>
              </a:ext>
            </a:extLst>
          </p:cNvPr>
          <p:cNvSpPr txBox="1"/>
          <p:nvPr/>
        </p:nvSpPr>
        <p:spPr>
          <a:xfrm>
            <a:off x="6763329" y="2239596"/>
            <a:ext cx="1321287" cy="161583"/>
          </a:xfrm>
          <a:prstGeom prst="rect">
            <a:avLst/>
          </a:prstGeom>
          <a:noFill/>
        </p:spPr>
        <p:txBody>
          <a:bodyPr wrap="square" lIns="0" tIns="0" rIns="0" bIns="0" rtlCol="0">
            <a:spAutoFit/>
          </a:bodyPr>
          <a:lstStyle/>
          <a:p>
            <a:pPr>
              <a:spcBef>
                <a:spcPts val="600"/>
              </a:spcBef>
              <a:buSzPct val="100000"/>
            </a:pPr>
            <a:r>
              <a:rPr lang="en-US" sz="1050" b="1"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VENDOR SELECTION</a:t>
            </a:r>
          </a:p>
        </p:txBody>
      </p:sp>
      <p:sp>
        <p:nvSpPr>
          <p:cNvPr id="9" name="Rectangle 8">
            <a:extLst>
              <a:ext uri="{FF2B5EF4-FFF2-40B4-BE49-F238E27FC236}">
                <a16:creationId xmlns:a16="http://schemas.microsoft.com/office/drawing/2014/main" id="{8084EC2F-68B5-D4A9-6BD9-27A020E53C7D}"/>
              </a:ext>
            </a:extLst>
          </p:cNvPr>
          <p:cNvSpPr/>
          <p:nvPr/>
        </p:nvSpPr>
        <p:spPr>
          <a:xfrm>
            <a:off x="6782753" y="3802890"/>
            <a:ext cx="3338193" cy="957442"/>
          </a:xfrm>
          <a:prstGeom prst="rect">
            <a:avLst/>
          </a:prstGeom>
          <a:ln>
            <a:noFill/>
          </a:ln>
        </p:spPr>
        <p:txBody>
          <a:bodyPr wrap="square" lIns="0" tIns="45720" rIns="0" bIns="45720" anchor="t">
            <a:spAutoFit/>
          </a:bodyPr>
          <a:lstStyle/>
          <a:p>
            <a:pPr algn="just" defTabSz="633039">
              <a:lnSpc>
                <a:spcPts val="900"/>
              </a:lnSpc>
              <a:spcAft>
                <a:spcPts val="415"/>
              </a:spcAft>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Deloitte combines cloud technical engineering excellence with </a:t>
            </a:r>
            <a:r>
              <a:rPr lang="en-US" sz="1000" b="1"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deep industry knowledge</a:t>
            </a:r>
            <a:r>
              <a:rPr lang="en-US" sz="1000"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to develop, to implement and to operate </a:t>
            </a:r>
            <a:r>
              <a:rPr lang="en-US" sz="1000" b="1"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cloud-based solutions</a:t>
            </a:r>
            <a:r>
              <a:rPr lang="en-US" sz="1000" kern="0" dirty="0">
                <a:solidFill>
                  <a:srgbClr val="43B02A"/>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in the client’s ecosystem</a:t>
            </a:r>
          </a:p>
          <a:p>
            <a:pPr algn="just" defTabSz="633039">
              <a:lnSpc>
                <a:spcPts val="900"/>
              </a:lnSpc>
              <a:spcAft>
                <a:spcPts val="415"/>
              </a:spcAft>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Clients can benefit from the implementation of leading cloud solutions such as </a:t>
            </a:r>
            <a:r>
              <a:rPr lang="en-US" sz="1000" b="1"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Salesforce, SAP and Workday</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 while improving efficiency and security</a:t>
            </a:r>
          </a:p>
        </p:txBody>
      </p:sp>
      <p:sp>
        <p:nvSpPr>
          <p:cNvPr id="10" name="TextBox 9">
            <a:extLst>
              <a:ext uri="{FF2B5EF4-FFF2-40B4-BE49-F238E27FC236}">
                <a16:creationId xmlns:a16="http://schemas.microsoft.com/office/drawing/2014/main" id="{D15C5B04-899D-274B-8F2C-DF6AB09FD2C3}"/>
              </a:ext>
            </a:extLst>
          </p:cNvPr>
          <p:cNvSpPr txBox="1"/>
          <p:nvPr/>
        </p:nvSpPr>
        <p:spPr>
          <a:xfrm>
            <a:off x="6782753" y="3620459"/>
            <a:ext cx="2104402" cy="161583"/>
          </a:xfrm>
          <a:prstGeom prst="rect">
            <a:avLst/>
          </a:prstGeom>
          <a:noFill/>
        </p:spPr>
        <p:txBody>
          <a:bodyPr wrap="square" lIns="0" tIns="0" rIns="0" bIns="0" rtlCol="0">
            <a:spAutoFit/>
          </a:bodyPr>
          <a:lstStyle>
            <a:defPPr>
              <a:defRPr lang="en-US"/>
            </a:defPPr>
            <a:lvl1pPr>
              <a:spcBef>
                <a:spcPts val="600"/>
              </a:spcBef>
              <a:buSzPct val="100000"/>
              <a:defRPr sz="1200" b="1">
                <a:solidFill>
                  <a:srgbClr val="007680"/>
                </a:solidFill>
              </a:defRPr>
            </a:lvl1pPr>
          </a:lstStyle>
          <a:p>
            <a:r>
              <a:rPr lang="en-US" sz="105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CLOUD DEVELOPMENT</a:t>
            </a:r>
          </a:p>
        </p:txBody>
      </p:sp>
      <p:sp>
        <p:nvSpPr>
          <p:cNvPr id="11" name="Rectangle 10">
            <a:extLst>
              <a:ext uri="{FF2B5EF4-FFF2-40B4-BE49-F238E27FC236}">
                <a16:creationId xmlns:a16="http://schemas.microsoft.com/office/drawing/2014/main" id="{119834F1-87AA-C6D2-0F81-BE40F8CF7A2F}"/>
              </a:ext>
            </a:extLst>
          </p:cNvPr>
          <p:cNvSpPr/>
          <p:nvPr/>
        </p:nvSpPr>
        <p:spPr>
          <a:xfrm>
            <a:off x="1179532" y="2412951"/>
            <a:ext cx="3359504" cy="957442"/>
          </a:xfrm>
          <a:prstGeom prst="rect">
            <a:avLst/>
          </a:prstGeom>
          <a:ln>
            <a:noFill/>
          </a:ln>
        </p:spPr>
        <p:txBody>
          <a:bodyPr wrap="square" lIns="0" tIns="45720" rIns="0" bIns="45720" anchor="t">
            <a:spAutoFit/>
          </a:bodyPr>
          <a:lstStyle/>
          <a:p>
            <a:pPr algn="just" defTabSz="633039">
              <a:lnSpc>
                <a:spcPts val="900"/>
              </a:lnSpc>
              <a:spcAft>
                <a:spcPts val="415"/>
              </a:spcAft>
              <a:buClr>
                <a:srgbClr val="43B02A"/>
              </a:buClr>
              <a:buSzPct val="100000"/>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Deloitte’s integrated </a:t>
            </a:r>
            <a:r>
              <a:rPr lang="en-US" sz="1000" spc="-75"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ffering</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 helps our clients </a:t>
            </a:r>
            <a:r>
              <a:rPr lang="en-US" sz="1000" b="1"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build and execute strategy</a:t>
            </a:r>
            <a:r>
              <a:rPr lang="en-US" sz="1000" b="1" kern="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to change the way they operate while </a:t>
            </a:r>
            <a:r>
              <a:rPr lang="en-US" sz="1000" b="1"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maximizing value and performance</a:t>
            </a:r>
            <a:r>
              <a:rPr lang="en-US" sz="1000"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offered by cloud technologies</a:t>
            </a:r>
          </a:p>
          <a:p>
            <a:pPr algn="just" defTabSz="633039">
              <a:lnSpc>
                <a:spcPts val="900"/>
              </a:lnSpc>
              <a:spcAft>
                <a:spcPts val="415"/>
              </a:spcAft>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Translation of technologies help clients achieve </a:t>
            </a:r>
            <a:r>
              <a:rPr lang="en-US" sz="1000" b="1"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tangible business benefit, boost innovation, improve agility</a:t>
            </a:r>
            <a:r>
              <a:rPr lang="en-US" sz="1000" kern="0"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and prepare organizations for future of work</a:t>
            </a:r>
          </a:p>
        </p:txBody>
      </p:sp>
      <p:sp>
        <p:nvSpPr>
          <p:cNvPr id="12" name="TextBox 11">
            <a:extLst>
              <a:ext uri="{FF2B5EF4-FFF2-40B4-BE49-F238E27FC236}">
                <a16:creationId xmlns:a16="http://schemas.microsoft.com/office/drawing/2014/main" id="{588C8888-9C89-8FC6-481F-A865F344B37B}"/>
              </a:ext>
            </a:extLst>
          </p:cNvPr>
          <p:cNvSpPr txBox="1"/>
          <p:nvPr/>
        </p:nvSpPr>
        <p:spPr>
          <a:xfrm>
            <a:off x="1179532" y="2235976"/>
            <a:ext cx="2138406" cy="161583"/>
          </a:xfrm>
          <a:prstGeom prst="rect">
            <a:avLst/>
          </a:prstGeom>
          <a:noFill/>
        </p:spPr>
        <p:txBody>
          <a:bodyPr wrap="none" lIns="0" tIns="0" rIns="0" bIns="0" rtlCol="0">
            <a:spAutoFit/>
          </a:bodyPr>
          <a:lstStyle/>
          <a:p>
            <a:pPr>
              <a:spcBef>
                <a:spcPts val="600"/>
              </a:spcBef>
              <a:buSzPct val="100000"/>
            </a:pPr>
            <a:r>
              <a:rPr lang="en-US" sz="1050" b="1" dirty="0">
                <a:solidFill>
                  <a:srgbClr val="0070C0"/>
                </a:solidFill>
                <a:latin typeface="Open Sans Light" panose="020B0306030504020204" pitchFamily="34" charset="0"/>
                <a:ea typeface="Open Sans Light" panose="020B0306030504020204" pitchFamily="34" charset="0"/>
                <a:cs typeface="Open Sans Light" panose="020B0306030504020204" pitchFamily="34" charset="0"/>
              </a:rPr>
              <a:t>CLOUD STRATEGY &amp; REALIZATION</a:t>
            </a:r>
          </a:p>
        </p:txBody>
      </p:sp>
      <p:sp>
        <p:nvSpPr>
          <p:cNvPr id="13" name="Rectangle 12">
            <a:extLst>
              <a:ext uri="{FF2B5EF4-FFF2-40B4-BE49-F238E27FC236}">
                <a16:creationId xmlns:a16="http://schemas.microsoft.com/office/drawing/2014/main" id="{1C1300AF-744F-A452-1920-11AD40F1D134}"/>
              </a:ext>
            </a:extLst>
          </p:cNvPr>
          <p:cNvSpPr/>
          <p:nvPr/>
        </p:nvSpPr>
        <p:spPr>
          <a:xfrm>
            <a:off x="1179532" y="3794134"/>
            <a:ext cx="3354250" cy="957442"/>
          </a:xfrm>
          <a:prstGeom prst="rect">
            <a:avLst/>
          </a:prstGeom>
          <a:ln>
            <a:noFill/>
          </a:ln>
        </p:spPr>
        <p:txBody>
          <a:bodyPr wrap="square" lIns="0" tIns="45720" rIns="0" bIns="45720" anchor="t">
            <a:spAutoFit/>
          </a:bodyPr>
          <a:lstStyle/>
          <a:p>
            <a:pPr algn="just" defTabSz="633039">
              <a:lnSpc>
                <a:spcPts val="900"/>
              </a:lnSpc>
              <a:spcAft>
                <a:spcPts val="415"/>
              </a:spcAft>
              <a:buClr>
                <a:srgbClr val="43B02A"/>
              </a:buClr>
              <a:buSzPct val="100000"/>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Deloitte combines </a:t>
            </a:r>
            <a:r>
              <a:rPr lang="en-US" sz="1000" b="1"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product engineering proficiency</a:t>
            </a:r>
            <a:r>
              <a:rPr lang="en-US" sz="1000"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with deep </a:t>
            </a:r>
            <a:r>
              <a:rPr lang="en-US" sz="1000" b="1"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industry experience</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 enabling client’s ecosystem to benefit from next generation cloud architecture and hybrid solutions</a:t>
            </a:r>
          </a:p>
          <a:p>
            <a:pPr algn="just" defTabSz="633039">
              <a:lnSpc>
                <a:spcPts val="900"/>
              </a:lnSpc>
              <a:spcAft>
                <a:spcPts val="415"/>
              </a:spcAft>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Cloud migration can help clients enhance their business transformation, </a:t>
            </a:r>
            <a:r>
              <a:rPr lang="en-US" sz="1000" b="1"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reduce operational costs</a:t>
            </a:r>
            <a:r>
              <a:rPr lang="en-US" sz="1000"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b="1" kern="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enhance security</a:t>
            </a:r>
            <a:r>
              <a:rPr lang="en-US" sz="1000" kern="0" dirty="0">
                <a:solidFill>
                  <a:srgbClr val="43B02A"/>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by exploiting new technologies</a:t>
            </a:r>
          </a:p>
        </p:txBody>
      </p:sp>
      <p:sp>
        <p:nvSpPr>
          <p:cNvPr id="14" name="TextBox 13">
            <a:extLst>
              <a:ext uri="{FF2B5EF4-FFF2-40B4-BE49-F238E27FC236}">
                <a16:creationId xmlns:a16="http://schemas.microsoft.com/office/drawing/2014/main" id="{0A481208-36D8-D1B6-46DE-E9D210596156}"/>
              </a:ext>
            </a:extLst>
          </p:cNvPr>
          <p:cNvSpPr txBox="1"/>
          <p:nvPr/>
        </p:nvSpPr>
        <p:spPr>
          <a:xfrm>
            <a:off x="1179532" y="3611703"/>
            <a:ext cx="2104402" cy="161583"/>
          </a:xfrm>
          <a:prstGeom prst="rect">
            <a:avLst/>
          </a:prstGeom>
          <a:noFill/>
        </p:spPr>
        <p:txBody>
          <a:bodyPr wrap="square" lIns="0" tIns="0" rIns="0" bIns="0" rtlCol="0">
            <a:spAutoFit/>
          </a:bodyPr>
          <a:lstStyle>
            <a:defPPr>
              <a:defRPr lang="en-US"/>
            </a:defPPr>
            <a:lvl1pPr>
              <a:spcBef>
                <a:spcPts val="600"/>
              </a:spcBef>
              <a:buSzPct val="100000"/>
              <a:defRPr sz="1200" b="1">
                <a:solidFill>
                  <a:srgbClr val="007680"/>
                </a:solidFill>
              </a:defRPr>
            </a:lvl1pPr>
          </a:lstStyle>
          <a:p>
            <a:r>
              <a:rPr lang="en-US" sz="1050" dirty="0">
                <a:solidFill>
                  <a:schemeClr val="accent3">
                    <a:lumMod val="60000"/>
                    <a:lumOff val="40000"/>
                  </a:schemeClr>
                </a:solidFill>
                <a:latin typeface="Open Sans Light" panose="020B0306030504020204" pitchFamily="34" charset="0"/>
                <a:ea typeface="Open Sans Light" panose="020B0306030504020204" pitchFamily="34" charset="0"/>
                <a:cs typeface="Open Sans Light" panose="020B0306030504020204" pitchFamily="34" charset="0"/>
              </a:rPr>
              <a:t>CLOUD MIGRATION SUPPORT</a:t>
            </a:r>
          </a:p>
        </p:txBody>
      </p:sp>
      <p:sp>
        <p:nvSpPr>
          <p:cNvPr id="15" name="Rectangle 14">
            <a:extLst>
              <a:ext uri="{FF2B5EF4-FFF2-40B4-BE49-F238E27FC236}">
                <a16:creationId xmlns:a16="http://schemas.microsoft.com/office/drawing/2014/main" id="{4BF143DC-CF21-40B1-DB56-009C15D4FCE0}"/>
              </a:ext>
            </a:extLst>
          </p:cNvPr>
          <p:cNvSpPr/>
          <p:nvPr/>
        </p:nvSpPr>
        <p:spPr>
          <a:xfrm>
            <a:off x="1187756" y="5242446"/>
            <a:ext cx="3338364" cy="957442"/>
          </a:xfrm>
          <a:prstGeom prst="rect">
            <a:avLst/>
          </a:prstGeom>
          <a:ln>
            <a:noFill/>
          </a:ln>
        </p:spPr>
        <p:txBody>
          <a:bodyPr wrap="square" lIns="0" tIns="45720" rIns="0" bIns="45720" anchor="t">
            <a:spAutoFit/>
          </a:bodyPr>
          <a:lstStyle/>
          <a:p>
            <a:pPr algn="just" defTabSz="633039">
              <a:lnSpc>
                <a:spcPts val="900"/>
              </a:lnSpc>
              <a:spcAft>
                <a:spcPts val="415"/>
              </a:spcAft>
              <a:buClr>
                <a:srgbClr val="43B02A"/>
              </a:buClr>
              <a:buSzPct val="100000"/>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Deloitte offers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cross-industry expertise</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 curated virtual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labs</a:t>
            </a:r>
            <a:r>
              <a:rPr lang="en-US" sz="1000"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cloud garages</a:t>
            </a:r>
            <a:r>
              <a:rPr lang="en-US" sz="1000"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in partnership with our </a:t>
            </a:r>
            <a:r>
              <a:rPr lang="en-US" sz="1000" kern="0" dirty="0" err="1">
                <a:latin typeface="Open Sans Light" panose="020B0306030504020204" pitchFamily="34" charset="0"/>
                <a:ea typeface="Open Sans Light" panose="020B0306030504020204" pitchFamily="34" charset="0"/>
                <a:cs typeface="Open Sans Light" panose="020B0306030504020204" pitchFamily="34" charset="0"/>
              </a:rPr>
              <a:t>hyperscaler</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 alliances throughout the entire lifecycle of data migration projects to boost productivity </a:t>
            </a:r>
          </a:p>
          <a:p>
            <a:pPr algn="just" defTabSz="633039">
              <a:lnSpc>
                <a:spcPts val="900"/>
              </a:lnSpc>
              <a:spcAft>
                <a:spcPts val="415"/>
              </a:spcAft>
              <a:buClr>
                <a:srgbClr val="43B02A"/>
              </a:buClr>
              <a:buSzPct val="100000"/>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Clients can benefit from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building a data-driven intelligent organization</a:t>
            </a:r>
            <a:r>
              <a:rPr lang="en-US" sz="1000"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boost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operational efficiency</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 convert data to enhanced business knowledge</a:t>
            </a:r>
          </a:p>
        </p:txBody>
      </p:sp>
      <p:sp>
        <p:nvSpPr>
          <p:cNvPr id="16" name="TextBox 15">
            <a:extLst>
              <a:ext uri="{FF2B5EF4-FFF2-40B4-BE49-F238E27FC236}">
                <a16:creationId xmlns:a16="http://schemas.microsoft.com/office/drawing/2014/main" id="{5BF89643-21CE-ECFD-125A-00211F836300}"/>
              </a:ext>
            </a:extLst>
          </p:cNvPr>
          <p:cNvSpPr txBox="1"/>
          <p:nvPr/>
        </p:nvSpPr>
        <p:spPr>
          <a:xfrm>
            <a:off x="1187756" y="5027868"/>
            <a:ext cx="1380186" cy="161583"/>
          </a:xfrm>
          <a:prstGeom prst="rect">
            <a:avLst/>
          </a:prstGeom>
          <a:noFill/>
        </p:spPr>
        <p:txBody>
          <a:bodyPr wrap="none" lIns="0" tIns="0" rIns="0" bIns="0" rtlCol="0">
            <a:spAutoFit/>
          </a:bodyPr>
          <a:lstStyle>
            <a:defPPr>
              <a:defRPr lang="en-US"/>
            </a:defPPr>
            <a:lvl1pPr>
              <a:spcBef>
                <a:spcPts val="600"/>
              </a:spcBef>
              <a:buSzPct val="100000"/>
              <a:defRPr sz="1200" b="1">
                <a:solidFill>
                  <a:srgbClr val="007680"/>
                </a:solidFill>
              </a:defRPr>
            </a:lvl1pPr>
          </a:lstStyle>
          <a:p>
            <a:r>
              <a:rPr lang="en-US" sz="105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E2E DATA MIGRATION</a:t>
            </a:r>
          </a:p>
        </p:txBody>
      </p:sp>
      <p:sp>
        <p:nvSpPr>
          <p:cNvPr id="17" name="TextBox 16">
            <a:extLst>
              <a:ext uri="{FF2B5EF4-FFF2-40B4-BE49-F238E27FC236}">
                <a16:creationId xmlns:a16="http://schemas.microsoft.com/office/drawing/2014/main" id="{B4FBFA5B-67D1-7948-ED61-989C85D35663}"/>
              </a:ext>
            </a:extLst>
          </p:cNvPr>
          <p:cNvSpPr txBox="1"/>
          <p:nvPr/>
        </p:nvSpPr>
        <p:spPr>
          <a:xfrm>
            <a:off x="6782753" y="5036624"/>
            <a:ext cx="1331666" cy="161583"/>
          </a:xfrm>
          <a:prstGeom prst="rect">
            <a:avLst/>
          </a:prstGeom>
          <a:noFill/>
        </p:spPr>
        <p:txBody>
          <a:bodyPr wrap="square" lIns="0" tIns="0" rIns="0" bIns="0" rtlCol="0">
            <a:spAutoFit/>
          </a:bodyPr>
          <a:lstStyle>
            <a:defPPr>
              <a:defRPr lang="en-US"/>
            </a:defPPr>
            <a:lvl1pPr>
              <a:spcBef>
                <a:spcPts val="600"/>
              </a:spcBef>
              <a:buSzPct val="100000"/>
              <a:defRPr sz="1200" b="1">
                <a:solidFill>
                  <a:srgbClr val="007680"/>
                </a:solidFill>
              </a:defRPr>
            </a:lvl1pPr>
          </a:lstStyle>
          <a:p>
            <a:r>
              <a:rPr lang="en-US" sz="105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RISK &amp; CYBER</a:t>
            </a:r>
          </a:p>
        </p:txBody>
      </p:sp>
      <p:sp>
        <p:nvSpPr>
          <p:cNvPr id="18" name="Rectangle 17">
            <a:extLst>
              <a:ext uri="{FF2B5EF4-FFF2-40B4-BE49-F238E27FC236}">
                <a16:creationId xmlns:a16="http://schemas.microsoft.com/office/drawing/2014/main" id="{E0576A10-2515-FC79-F8DD-7524393BD19F}"/>
              </a:ext>
            </a:extLst>
          </p:cNvPr>
          <p:cNvSpPr/>
          <p:nvPr/>
        </p:nvSpPr>
        <p:spPr>
          <a:xfrm>
            <a:off x="6782752" y="5251202"/>
            <a:ext cx="3332937" cy="957442"/>
          </a:xfrm>
          <a:prstGeom prst="rect">
            <a:avLst/>
          </a:prstGeom>
          <a:ln>
            <a:noFill/>
          </a:ln>
        </p:spPr>
        <p:txBody>
          <a:bodyPr wrap="square" lIns="0" tIns="45720" rIns="0" bIns="45720" anchor="t">
            <a:spAutoFit/>
          </a:bodyPr>
          <a:lstStyle/>
          <a:p>
            <a:pPr algn="just" defTabSz="633039">
              <a:lnSpc>
                <a:spcPts val="900"/>
              </a:lnSpc>
              <a:spcAft>
                <a:spcPts val="415"/>
              </a:spcAft>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Deloitte provides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comprehensive</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 turn-key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cyber security and risk services</a:t>
            </a:r>
            <a:r>
              <a:rPr lang="en-US" sz="1000"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to secure help accelerate our client’s digital journey with the leading </a:t>
            </a:r>
            <a:r>
              <a:rPr lang="en-US" sz="1000" kern="0" dirty="0" err="1">
                <a:latin typeface="Open Sans Light" panose="020B0306030504020204" pitchFamily="34" charset="0"/>
                <a:ea typeface="Open Sans Light" panose="020B0306030504020204" pitchFamily="34" charset="0"/>
                <a:cs typeface="Open Sans Light" panose="020B0306030504020204" pitchFamily="34" charset="0"/>
              </a:rPr>
              <a:t>hyperscaler</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 platforms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AWS, GCP and MS Azure</a:t>
            </a:r>
          </a:p>
          <a:p>
            <a:pPr algn="just" defTabSz="633039">
              <a:lnSpc>
                <a:spcPts val="900"/>
              </a:lnSpc>
              <a:spcAft>
                <a:spcPts val="415"/>
              </a:spcAft>
              <a:defRPr/>
            </a:pP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Clients can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reduce</a:t>
            </a:r>
            <a:r>
              <a:rPr lang="en-US" sz="1000" kern="0" dirty="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their</a:t>
            </a:r>
            <a:r>
              <a:rPr lang="en-US" sz="1000" kern="0" dirty="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cost</a:t>
            </a:r>
            <a:r>
              <a:rPr lang="en-US" sz="1000" kern="0" dirty="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of deploying and </a:t>
            </a:r>
            <a:r>
              <a:rPr lang="en-US" sz="1000" b="1"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maintaining a secure solution</a:t>
            </a:r>
            <a:r>
              <a:rPr lang="en-US" sz="1000" kern="0" dirty="0">
                <a:solidFill>
                  <a:schemeClr val="accent3">
                    <a:lumMod val="40000"/>
                    <a:lumOff val="6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kern="0" dirty="0">
                <a:latin typeface="Open Sans Light" panose="020B0306030504020204" pitchFamily="34" charset="0"/>
                <a:ea typeface="Open Sans Light" panose="020B0306030504020204" pitchFamily="34" charset="0"/>
                <a:cs typeface="Open Sans Light" panose="020B0306030504020204" pitchFamily="34" charset="0"/>
              </a:rPr>
              <a:t>that warrants protection against threats and malicious attacks</a:t>
            </a:r>
          </a:p>
        </p:txBody>
      </p:sp>
      <p:grpSp>
        <p:nvGrpSpPr>
          <p:cNvPr id="19" name="Group 18">
            <a:extLst>
              <a:ext uri="{FF2B5EF4-FFF2-40B4-BE49-F238E27FC236}">
                <a16:creationId xmlns:a16="http://schemas.microsoft.com/office/drawing/2014/main" id="{ED1BCC6D-1807-495A-4B4A-AA05368399AD}"/>
              </a:ext>
            </a:extLst>
          </p:cNvPr>
          <p:cNvGrpSpPr/>
          <p:nvPr/>
        </p:nvGrpSpPr>
        <p:grpSpPr>
          <a:xfrm>
            <a:off x="6216320" y="5036624"/>
            <a:ext cx="457200" cy="1059479"/>
            <a:chOff x="3454407" y="4151952"/>
            <a:chExt cx="457200" cy="1059479"/>
          </a:xfrm>
        </p:grpSpPr>
        <p:cxnSp>
          <p:nvCxnSpPr>
            <p:cNvPr id="20" name="Straight Connector 19">
              <a:extLst>
                <a:ext uri="{FF2B5EF4-FFF2-40B4-BE49-F238E27FC236}">
                  <a16:creationId xmlns:a16="http://schemas.microsoft.com/office/drawing/2014/main" id="{A99A39A1-4805-070F-7429-917033490A90}"/>
                </a:ext>
              </a:extLst>
            </p:cNvPr>
            <p:cNvCxnSpPr>
              <a:cxnSpLocks/>
              <a:stCxn id="21" idx="4"/>
            </p:cNvCxnSpPr>
            <p:nvPr/>
          </p:nvCxnSpPr>
          <p:spPr>
            <a:xfrm>
              <a:off x="3683007" y="4610100"/>
              <a:ext cx="2627" cy="601331"/>
            </a:xfrm>
            <a:prstGeom prst="line">
              <a:avLst/>
            </a:prstGeom>
            <a:ln w="12700">
              <a:solidFill>
                <a:schemeClr val="accent3">
                  <a:lumMod val="40000"/>
                  <a:lumOff val="60000"/>
                </a:schemeClr>
              </a:solidFill>
              <a:tailEnd type="ova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98886D66-5DD0-2F3B-3DD1-7D9375EBA8DB}"/>
                </a:ext>
              </a:extLst>
            </p:cNvPr>
            <p:cNvSpPr/>
            <p:nvPr/>
          </p:nvSpPr>
          <p:spPr bwMode="gray">
            <a:xfrm>
              <a:off x="3454407" y="4151952"/>
              <a:ext cx="457200" cy="458148"/>
            </a:xfrm>
            <a:prstGeom prst="ellipse">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Graphic 4">
              <a:extLst>
                <a:ext uri="{FF2B5EF4-FFF2-40B4-BE49-F238E27FC236}">
                  <a16:creationId xmlns:a16="http://schemas.microsoft.com/office/drawing/2014/main" id="{5DD20B36-D00C-021C-B6EC-60C8A0B12A6B}"/>
                </a:ext>
              </a:extLst>
            </p:cNvPr>
            <p:cNvSpPr/>
            <p:nvPr/>
          </p:nvSpPr>
          <p:spPr>
            <a:xfrm>
              <a:off x="3566170" y="4276976"/>
              <a:ext cx="233090" cy="248007"/>
            </a:xfrm>
            <a:custGeom>
              <a:avLst/>
              <a:gdLst>
                <a:gd name="connsiteX0" fmla="*/ 186721 w 190800"/>
                <a:gd name="connsiteY0" fmla="*/ 15322 h 203010"/>
                <a:gd name="connsiteX1" fmla="*/ 180970 w 190800"/>
                <a:gd name="connsiteY1" fmla="*/ 15322 h 203010"/>
                <a:gd name="connsiteX2" fmla="*/ 100457 w 190800"/>
                <a:gd name="connsiteY2" fmla="*/ 1915 h 203010"/>
                <a:gd name="connsiteX3" fmla="*/ 91511 w 190800"/>
                <a:gd name="connsiteY3" fmla="*/ 1915 h 203010"/>
                <a:gd name="connsiteX4" fmla="*/ 10998 w 190800"/>
                <a:gd name="connsiteY4" fmla="*/ 15322 h 203010"/>
                <a:gd name="connsiteX5" fmla="*/ 2052 w 190800"/>
                <a:gd name="connsiteY5" fmla="*/ 17875 h 203010"/>
                <a:gd name="connsiteX6" fmla="*/ 1413 w 190800"/>
                <a:gd name="connsiteY6" fmla="*/ 20429 h 203010"/>
                <a:gd name="connsiteX7" fmla="*/ 92789 w 190800"/>
                <a:gd name="connsiteY7" fmla="*/ 202372 h 203010"/>
                <a:gd name="connsiteX8" fmla="*/ 93428 w 190800"/>
                <a:gd name="connsiteY8" fmla="*/ 203011 h 203010"/>
                <a:gd name="connsiteX9" fmla="*/ 94067 w 190800"/>
                <a:gd name="connsiteY9" fmla="*/ 203011 h 203010"/>
                <a:gd name="connsiteX10" fmla="*/ 95345 w 190800"/>
                <a:gd name="connsiteY10" fmla="*/ 203011 h 203010"/>
                <a:gd name="connsiteX11" fmla="*/ 95345 w 190800"/>
                <a:gd name="connsiteY11" fmla="*/ 203011 h 203010"/>
                <a:gd name="connsiteX12" fmla="*/ 96623 w 190800"/>
                <a:gd name="connsiteY12" fmla="*/ 203011 h 203010"/>
                <a:gd name="connsiteX13" fmla="*/ 97262 w 190800"/>
                <a:gd name="connsiteY13" fmla="*/ 203011 h 203010"/>
                <a:gd name="connsiteX14" fmla="*/ 97901 w 190800"/>
                <a:gd name="connsiteY14" fmla="*/ 202372 h 203010"/>
                <a:gd name="connsiteX15" fmla="*/ 189277 w 190800"/>
                <a:gd name="connsiteY15" fmla="*/ 20429 h 203010"/>
                <a:gd name="connsiteX16" fmla="*/ 186721 w 190800"/>
                <a:gd name="connsiteY16" fmla="*/ 15322 h 203010"/>
                <a:gd name="connsiteX17" fmla="*/ 13554 w 190800"/>
                <a:gd name="connsiteY17" fmla="*/ 30643 h 203010"/>
                <a:gd name="connsiteX18" fmla="*/ 95984 w 190800"/>
                <a:gd name="connsiteY18" fmla="*/ 15322 h 203010"/>
                <a:gd name="connsiteX19" fmla="*/ 126655 w 190800"/>
                <a:gd name="connsiteY19" fmla="*/ 32558 h 203010"/>
                <a:gd name="connsiteX20" fmla="*/ 33362 w 190800"/>
                <a:gd name="connsiteY20" fmla="*/ 125764 h 203010"/>
                <a:gd name="connsiteX21" fmla="*/ 13554 w 190800"/>
                <a:gd name="connsiteY21" fmla="*/ 30643 h 203010"/>
                <a:gd name="connsiteX22" fmla="*/ 13554 w 190800"/>
                <a:gd name="connsiteY22" fmla="*/ 30643 h 203010"/>
                <a:gd name="connsiteX23" fmla="*/ 48059 w 190800"/>
                <a:gd name="connsiteY23" fmla="*/ 147470 h 203010"/>
                <a:gd name="connsiteX24" fmla="*/ 40391 w 190800"/>
                <a:gd name="connsiteY24" fmla="*/ 136617 h 203010"/>
                <a:gd name="connsiteX25" fmla="*/ 141991 w 190800"/>
                <a:gd name="connsiteY25" fmla="*/ 35112 h 203010"/>
                <a:gd name="connsiteX26" fmla="*/ 161161 w 190800"/>
                <a:gd name="connsiteY26" fmla="*/ 34474 h 203010"/>
                <a:gd name="connsiteX27" fmla="*/ 48059 w 190800"/>
                <a:gd name="connsiteY27" fmla="*/ 147470 h 203010"/>
                <a:gd name="connsiteX28" fmla="*/ 95345 w 190800"/>
                <a:gd name="connsiteY28" fmla="*/ 189604 h 203010"/>
                <a:gd name="connsiteX29" fmla="*/ 55727 w 190800"/>
                <a:gd name="connsiteY29" fmla="*/ 157684 h 203010"/>
                <a:gd name="connsiteX30" fmla="*/ 177775 w 190800"/>
                <a:gd name="connsiteY30" fmla="*/ 35750 h 203010"/>
                <a:gd name="connsiteX31" fmla="*/ 95345 w 190800"/>
                <a:gd name="connsiteY31" fmla="*/ 189604 h 203010"/>
                <a:gd name="connsiteX32" fmla="*/ 95345 w 190800"/>
                <a:gd name="connsiteY32" fmla="*/ 189604 h 2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00" h="203010">
                  <a:moveTo>
                    <a:pt x="186721" y="15322"/>
                  </a:moveTo>
                  <a:cubicBezTo>
                    <a:pt x="184804" y="14045"/>
                    <a:pt x="182248" y="14045"/>
                    <a:pt x="180970" y="15322"/>
                  </a:cubicBezTo>
                  <a:cubicBezTo>
                    <a:pt x="154132" y="29366"/>
                    <a:pt x="121543" y="23621"/>
                    <a:pt x="100457" y="1915"/>
                  </a:cubicBezTo>
                  <a:cubicBezTo>
                    <a:pt x="97901" y="-638"/>
                    <a:pt x="94067" y="-638"/>
                    <a:pt x="91511" y="1915"/>
                  </a:cubicBezTo>
                  <a:cubicBezTo>
                    <a:pt x="71063" y="24259"/>
                    <a:pt x="37835" y="29366"/>
                    <a:pt x="10998" y="15322"/>
                  </a:cubicBezTo>
                  <a:cubicBezTo>
                    <a:pt x="7803" y="13406"/>
                    <a:pt x="3969" y="14683"/>
                    <a:pt x="2052" y="17875"/>
                  </a:cubicBezTo>
                  <a:cubicBezTo>
                    <a:pt x="1413" y="18514"/>
                    <a:pt x="1413" y="19152"/>
                    <a:pt x="1413" y="20429"/>
                  </a:cubicBezTo>
                  <a:cubicBezTo>
                    <a:pt x="-13284" y="146193"/>
                    <a:pt x="91511" y="201734"/>
                    <a:pt x="92789" y="202372"/>
                  </a:cubicBezTo>
                  <a:lnTo>
                    <a:pt x="93428" y="203011"/>
                  </a:lnTo>
                  <a:lnTo>
                    <a:pt x="94067" y="203011"/>
                  </a:lnTo>
                  <a:lnTo>
                    <a:pt x="95345" y="203011"/>
                  </a:lnTo>
                  <a:lnTo>
                    <a:pt x="95345" y="203011"/>
                  </a:lnTo>
                  <a:lnTo>
                    <a:pt x="96623" y="203011"/>
                  </a:lnTo>
                  <a:lnTo>
                    <a:pt x="97262" y="203011"/>
                  </a:lnTo>
                  <a:lnTo>
                    <a:pt x="97901" y="202372"/>
                  </a:lnTo>
                  <a:cubicBezTo>
                    <a:pt x="99179" y="201734"/>
                    <a:pt x="204613" y="146193"/>
                    <a:pt x="189277" y="20429"/>
                  </a:cubicBezTo>
                  <a:cubicBezTo>
                    <a:pt x="189916" y="17875"/>
                    <a:pt x="188638" y="15960"/>
                    <a:pt x="186721" y="15322"/>
                  </a:cubicBezTo>
                  <a:close/>
                  <a:moveTo>
                    <a:pt x="13554" y="30643"/>
                  </a:moveTo>
                  <a:cubicBezTo>
                    <a:pt x="41669" y="41496"/>
                    <a:pt x="73619" y="35750"/>
                    <a:pt x="95984" y="15322"/>
                  </a:cubicBezTo>
                  <a:cubicBezTo>
                    <a:pt x="104930" y="23621"/>
                    <a:pt x="115154" y="29366"/>
                    <a:pt x="126655" y="32558"/>
                  </a:cubicBezTo>
                  <a:lnTo>
                    <a:pt x="33362" y="125764"/>
                  </a:lnTo>
                  <a:cubicBezTo>
                    <a:pt x="17387" y="96398"/>
                    <a:pt x="10359" y="63201"/>
                    <a:pt x="13554" y="30643"/>
                  </a:cubicBezTo>
                  <a:lnTo>
                    <a:pt x="13554" y="30643"/>
                  </a:lnTo>
                  <a:close/>
                  <a:moveTo>
                    <a:pt x="48059" y="147470"/>
                  </a:moveTo>
                  <a:cubicBezTo>
                    <a:pt x="45503" y="144278"/>
                    <a:pt x="42947" y="140448"/>
                    <a:pt x="40391" y="136617"/>
                  </a:cubicBezTo>
                  <a:lnTo>
                    <a:pt x="141991" y="35112"/>
                  </a:lnTo>
                  <a:cubicBezTo>
                    <a:pt x="148381" y="35750"/>
                    <a:pt x="154771" y="35112"/>
                    <a:pt x="161161" y="34474"/>
                  </a:cubicBezTo>
                  <a:lnTo>
                    <a:pt x="48059" y="147470"/>
                  </a:lnTo>
                  <a:close/>
                  <a:moveTo>
                    <a:pt x="95345" y="189604"/>
                  </a:moveTo>
                  <a:cubicBezTo>
                    <a:pt x="80648" y="180667"/>
                    <a:pt x="67229" y="170452"/>
                    <a:pt x="55727" y="157684"/>
                  </a:cubicBezTo>
                  <a:lnTo>
                    <a:pt x="177775" y="35750"/>
                  </a:lnTo>
                  <a:cubicBezTo>
                    <a:pt x="183526" y="132787"/>
                    <a:pt x="111959" y="180667"/>
                    <a:pt x="95345" y="189604"/>
                  </a:cubicBezTo>
                  <a:lnTo>
                    <a:pt x="95345" y="189604"/>
                  </a:lnTo>
                  <a:close/>
                </a:path>
              </a:pathLst>
            </a:custGeom>
            <a:solidFill>
              <a:schemeClr val="bg1"/>
            </a:solidFill>
            <a:ln w="6390" cap="flat">
              <a:noFill/>
              <a:prstDash val="solid"/>
              <a:miter/>
            </a:ln>
          </p:spPr>
          <p:txBody>
            <a:bodyPr rtlCol="0" anchor="ctr"/>
            <a:lstStyle/>
            <a:p>
              <a:endParaRPr lang="en-US" sz="10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3" name="Group 22">
            <a:extLst>
              <a:ext uri="{FF2B5EF4-FFF2-40B4-BE49-F238E27FC236}">
                <a16:creationId xmlns:a16="http://schemas.microsoft.com/office/drawing/2014/main" id="{C82A4D50-EFFD-F8DA-CF7F-46F411B4A928}"/>
              </a:ext>
            </a:extLst>
          </p:cNvPr>
          <p:cNvGrpSpPr/>
          <p:nvPr/>
        </p:nvGrpSpPr>
        <p:grpSpPr>
          <a:xfrm>
            <a:off x="6190407" y="2239596"/>
            <a:ext cx="457200" cy="1104965"/>
            <a:chOff x="3447918" y="1098963"/>
            <a:chExt cx="457200" cy="1104965"/>
          </a:xfrm>
        </p:grpSpPr>
        <p:sp>
          <p:nvSpPr>
            <p:cNvPr id="24" name="Oval 23">
              <a:extLst>
                <a:ext uri="{FF2B5EF4-FFF2-40B4-BE49-F238E27FC236}">
                  <a16:creationId xmlns:a16="http://schemas.microsoft.com/office/drawing/2014/main" id="{2C3FC3F2-CD62-4633-4F84-7CF943853206}"/>
                </a:ext>
              </a:extLst>
            </p:cNvPr>
            <p:cNvSpPr/>
            <p:nvPr/>
          </p:nvSpPr>
          <p:spPr bwMode="gray">
            <a:xfrm>
              <a:off x="3447918" y="1098963"/>
              <a:ext cx="457200" cy="457200"/>
            </a:xfrm>
            <a:prstGeom prst="ellips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5" name="Straight Connector 24">
              <a:extLst>
                <a:ext uri="{FF2B5EF4-FFF2-40B4-BE49-F238E27FC236}">
                  <a16:creationId xmlns:a16="http://schemas.microsoft.com/office/drawing/2014/main" id="{7CF1E7F1-8AA1-0392-E883-9C0C35FB0D50}"/>
                </a:ext>
              </a:extLst>
            </p:cNvPr>
            <p:cNvCxnSpPr>
              <a:cxnSpLocks/>
            </p:cNvCxnSpPr>
            <p:nvPr/>
          </p:nvCxnSpPr>
          <p:spPr>
            <a:xfrm flipH="1">
              <a:off x="3679145" y="1556882"/>
              <a:ext cx="20" cy="647046"/>
            </a:xfrm>
            <a:prstGeom prst="line">
              <a:avLst/>
            </a:pr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cxnSp>
        <p:grpSp>
          <p:nvGrpSpPr>
            <p:cNvPr id="26" name="Graphic 1100">
              <a:extLst>
                <a:ext uri="{FF2B5EF4-FFF2-40B4-BE49-F238E27FC236}">
                  <a16:creationId xmlns:a16="http://schemas.microsoft.com/office/drawing/2014/main" id="{41BBB5C4-31C0-8A16-909F-F624319F3427}"/>
                </a:ext>
              </a:extLst>
            </p:cNvPr>
            <p:cNvGrpSpPr/>
            <p:nvPr/>
          </p:nvGrpSpPr>
          <p:grpSpPr>
            <a:xfrm>
              <a:off x="3552214" y="1204490"/>
              <a:ext cx="256823" cy="255670"/>
              <a:chOff x="6831202" y="2455140"/>
              <a:chExt cx="224286" cy="223279"/>
            </a:xfrm>
            <a:solidFill>
              <a:schemeClr val="tx1"/>
            </a:solidFill>
          </p:grpSpPr>
          <p:sp>
            <p:nvSpPr>
              <p:cNvPr id="27" name="Graphic 1100">
                <a:extLst>
                  <a:ext uri="{FF2B5EF4-FFF2-40B4-BE49-F238E27FC236}">
                    <a16:creationId xmlns:a16="http://schemas.microsoft.com/office/drawing/2014/main" id="{CFBACE6E-F860-D124-2BE4-4496A9CB68C3}"/>
                  </a:ext>
                </a:extLst>
              </p:cNvPr>
              <p:cNvSpPr/>
              <p:nvPr/>
            </p:nvSpPr>
            <p:spPr>
              <a:xfrm>
                <a:off x="6831202" y="2455140"/>
                <a:ext cx="224286" cy="223279"/>
              </a:xfrm>
              <a:custGeom>
                <a:avLst/>
                <a:gdLst>
                  <a:gd name="connsiteX0" fmla="*/ 221092 w 224286"/>
                  <a:gd name="connsiteY0" fmla="*/ 87301 h 223279"/>
                  <a:gd name="connsiteX1" fmla="*/ 214702 w 224286"/>
                  <a:gd name="connsiteY1" fmla="*/ 82194 h 223279"/>
                  <a:gd name="connsiteX2" fmla="*/ 196171 w 224286"/>
                  <a:gd name="connsiteY2" fmla="*/ 82194 h 223279"/>
                  <a:gd name="connsiteX3" fmla="*/ 191698 w 224286"/>
                  <a:gd name="connsiteY3" fmla="*/ 71979 h 223279"/>
                  <a:gd name="connsiteX4" fmla="*/ 204478 w 224286"/>
                  <a:gd name="connsiteY4" fmla="*/ 58573 h 223279"/>
                  <a:gd name="connsiteX5" fmla="*/ 205117 w 224286"/>
                  <a:gd name="connsiteY5" fmla="*/ 50912 h 223279"/>
                  <a:gd name="connsiteX6" fmla="*/ 201283 w 224286"/>
                  <a:gd name="connsiteY6" fmla="*/ 45167 h 223279"/>
                  <a:gd name="connsiteX7" fmla="*/ 201283 w 224286"/>
                  <a:gd name="connsiteY7" fmla="*/ 45167 h 223279"/>
                  <a:gd name="connsiteX8" fmla="*/ 200644 w 224286"/>
                  <a:gd name="connsiteY8" fmla="*/ 44528 h 223279"/>
                  <a:gd name="connsiteX9" fmla="*/ 200005 w 224286"/>
                  <a:gd name="connsiteY9" fmla="*/ 43890 h 223279"/>
                  <a:gd name="connsiteX10" fmla="*/ 179557 w 224286"/>
                  <a:gd name="connsiteY10" fmla="*/ 22823 h 223279"/>
                  <a:gd name="connsiteX11" fmla="*/ 178279 w 224286"/>
                  <a:gd name="connsiteY11" fmla="*/ 22184 h 223279"/>
                  <a:gd name="connsiteX12" fmla="*/ 177641 w 224286"/>
                  <a:gd name="connsiteY12" fmla="*/ 21546 h 223279"/>
                  <a:gd name="connsiteX13" fmla="*/ 177641 w 224286"/>
                  <a:gd name="connsiteY13" fmla="*/ 21546 h 223279"/>
                  <a:gd name="connsiteX14" fmla="*/ 171889 w 224286"/>
                  <a:gd name="connsiteY14" fmla="*/ 17716 h 223279"/>
                  <a:gd name="connsiteX15" fmla="*/ 164221 w 224286"/>
                  <a:gd name="connsiteY15" fmla="*/ 18354 h 223279"/>
                  <a:gd name="connsiteX16" fmla="*/ 151441 w 224286"/>
                  <a:gd name="connsiteY16" fmla="*/ 31760 h 223279"/>
                  <a:gd name="connsiteX17" fmla="*/ 141217 w 224286"/>
                  <a:gd name="connsiteY17" fmla="*/ 27930 h 223279"/>
                  <a:gd name="connsiteX18" fmla="*/ 141217 w 224286"/>
                  <a:gd name="connsiteY18" fmla="*/ 8778 h 223279"/>
                  <a:gd name="connsiteX19" fmla="*/ 136106 w 224286"/>
                  <a:gd name="connsiteY19" fmla="*/ 2394 h 223279"/>
                  <a:gd name="connsiteX20" fmla="*/ 120770 w 224286"/>
                  <a:gd name="connsiteY20" fmla="*/ 479 h 223279"/>
                  <a:gd name="connsiteX21" fmla="*/ 102878 w 224286"/>
                  <a:gd name="connsiteY21" fmla="*/ 479 h 223279"/>
                  <a:gd name="connsiteX22" fmla="*/ 87542 w 224286"/>
                  <a:gd name="connsiteY22" fmla="*/ 2394 h 223279"/>
                  <a:gd name="connsiteX23" fmla="*/ 82430 w 224286"/>
                  <a:gd name="connsiteY23" fmla="*/ 8778 h 223279"/>
                  <a:gd name="connsiteX24" fmla="*/ 82430 w 224286"/>
                  <a:gd name="connsiteY24" fmla="*/ 27930 h 223279"/>
                  <a:gd name="connsiteX25" fmla="*/ 72207 w 224286"/>
                  <a:gd name="connsiteY25" fmla="*/ 32399 h 223279"/>
                  <a:gd name="connsiteX26" fmla="*/ 58787 w 224286"/>
                  <a:gd name="connsiteY26" fmla="*/ 18992 h 223279"/>
                  <a:gd name="connsiteX27" fmla="*/ 51119 w 224286"/>
                  <a:gd name="connsiteY27" fmla="*/ 18354 h 223279"/>
                  <a:gd name="connsiteX28" fmla="*/ 44730 w 224286"/>
                  <a:gd name="connsiteY28" fmla="*/ 22823 h 223279"/>
                  <a:gd name="connsiteX29" fmla="*/ 22365 w 224286"/>
                  <a:gd name="connsiteY29" fmla="*/ 45167 h 223279"/>
                  <a:gd name="connsiteX30" fmla="*/ 17892 w 224286"/>
                  <a:gd name="connsiteY30" fmla="*/ 51551 h 223279"/>
                  <a:gd name="connsiteX31" fmla="*/ 18531 w 224286"/>
                  <a:gd name="connsiteY31" fmla="*/ 59211 h 223279"/>
                  <a:gd name="connsiteX32" fmla="*/ 31950 w 224286"/>
                  <a:gd name="connsiteY32" fmla="*/ 71979 h 223279"/>
                  <a:gd name="connsiteX33" fmla="*/ 27477 w 224286"/>
                  <a:gd name="connsiteY33" fmla="*/ 82194 h 223279"/>
                  <a:gd name="connsiteX34" fmla="*/ 8946 w 224286"/>
                  <a:gd name="connsiteY34" fmla="*/ 82194 h 223279"/>
                  <a:gd name="connsiteX35" fmla="*/ 2556 w 224286"/>
                  <a:gd name="connsiteY35" fmla="*/ 87301 h 223279"/>
                  <a:gd name="connsiteX36" fmla="*/ 639 w 224286"/>
                  <a:gd name="connsiteY36" fmla="*/ 102622 h 223279"/>
                  <a:gd name="connsiteX37" fmla="*/ 0 w 224286"/>
                  <a:gd name="connsiteY37" fmla="*/ 111560 h 223279"/>
                  <a:gd name="connsiteX38" fmla="*/ 639 w 224286"/>
                  <a:gd name="connsiteY38" fmla="*/ 120498 h 223279"/>
                  <a:gd name="connsiteX39" fmla="*/ 2556 w 224286"/>
                  <a:gd name="connsiteY39" fmla="*/ 135819 h 223279"/>
                  <a:gd name="connsiteX40" fmla="*/ 8946 w 224286"/>
                  <a:gd name="connsiteY40" fmla="*/ 140926 h 223279"/>
                  <a:gd name="connsiteX41" fmla="*/ 27477 w 224286"/>
                  <a:gd name="connsiteY41" fmla="*/ 140926 h 223279"/>
                  <a:gd name="connsiteX42" fmla="*/ 31950 w 224286"/>
                  <a:gd name="connsiteY42" fmla="*/ 151141 h 223279"/>
                  <a:gd name="connsiteX43" fmla="*/ 18531 w 224286"/>
                  <a:gd name="connsiteY43" fmla="*/ 164547 h 223279"/>
                  <a:gd name="connsiteX44" fmla="*/ 17892 w 224286"/>
                  <a:gd name="connsiteY44" fmla="*/ 172208 h 223279"/>
                  <a:gd name="connsiteX45" fmla="*/ 21726 w 224286"/>
                  <a:gd name="connsiteY45" fmla="*/ 177954 h 223279"/>
                  <a:gd name="connsiteX46" fmla="*/ 21726 w 224286"/>
                  <a:gd name="connsiteY46" fmla="*/ 177954 h 223279"/>
                  <a:gd name="connsiteX47" fmla="*/ 22365 w 224286"/>
                  <a:gd name="connsiteY47" fmla="*/ 178592 h 223279"/>
                  <a:gd name="connsiteX48" fmla="*/ 23004 w 224286"/>
                  <a:gd name="connsiteY48" fmla="*/ 179230 h 223279"/>
                  <a:gd name="connsiteX49" fmla="*/ 44091 w 224286"/>
                  <a:gd name="connsiteY49" fmla="*/ 200297 h 223279"/>
                  <a:gd name="connsiteX50" fmla="*/ 44730 w 224286"/>
                  <a:gd name="connsiteY50" fmla="*/ 200936 h 223279"/>
                  <a:gd name="connsiteX51" fmla="*/ 46007 w 224286"/>
                  <a:gd name="connsiteY51" fmla="*/ 201574 h 223279"/>
                  <a:gd name="connsiteX52" fmla="*/ 46007 w 224286"/>
                  <a:gd name="connsiteY52" fmla="*/ 201574 h 223279"/>
                  <a:gd name="connsiteX53" fmla="*/ 51758 w 224286"/>
                  <a:gd name="connsiteY53" fmla="*/ 205405 h 223279"/>
                  <a:gd name="connsiteX54" fmla="*/ 59427 w 224286"/>
                  <a:gd name="connsiteY54" fmla="*/ 204766 h 223279"/>
                  <a:gd name="connsiteX55" fmla="*/ 72845 w 224286"/>
                  <a:gd name="connsiteY55" fmla="*/ 191360 h 223279"/>
                  <a:gd name="connsiteX56" fmla="*/ 83069 w 224286"/>
                  <a:gd name="connsiteY56" fmla="*/ 195829 h 223279"/>
                  <a:gd name="connsiteX57" fmla="*/ 83069 w 224286"/>
                  <a:gd name="connsiteY57" fmla="*/ 214342 h 223279"/>
                  <a:gd name="connsiteX58" fmla="*/ 88181 w 224286"/>
                  <a:gd name="connsiteY58" fmla="*/ 220726 h 223279"/>
                  <a:gd name="connsiteX59" fmla="*/ 103517 w 224286"/>
                  <a:gd name="connsiteY59" fmla="*/ 222641 h 223279"/>
                  <a:gd name="connsiteX60" fmla="*/ 112463 w 224286"/>
                  <a:gd name="connsiteY60" fmla="*/ 223280 h 223279"/>
                  <a:gd name="connsiteX61" fmla="*/ 121409 w 224286"/>
                  <a:gd name="connsiteY61" fmla="*/ 222641 h 223279"/>
                  <a:gd name="connsiteX62" fmla="*/ 136745 w 224286"/>
                  <a:gd name="connsiteY62" fmla="*/ 220726 h 223279"/>
                  <a:gd name="connsiteX63" fmla="*/ 141856 w 224286"/>
                  <a:gd name="connsiteY63" fmla="*/ 214342 h 223279"/>
                  <a:gd name="connsiteX64" fmla="*/ 141856 w 224286"/>
                  <a:gd name="connsiteY64" fmla="*/ 195829 h 223279"/>
                  <a:gd name="connsiteX65" fmla="*/ 152081 w 224286"/>
                  <a:gd name="connsiteY65" fmla="*/ 191360 h 223279"/>
                  <a:gd name="connsiteX66" fmla="*/ 164861 w 224286"/>
                  <a:gd name="connsiteY66" fmla="*/ 204766 h 223279"/>
                  <a:gd name="connsiteX67" fmla="*/ 172528 w 224286"/>
                  <a:gd name="connsiteY67" fmla="*/ 205405 h 223279"/>
                  <a:gd name="connsiteX68" fmla="*/ 178918 w 224286"/>
                  <a:gd name="connsiteY68" fmla="*/ 200936 h 223279"/>
                  <a:gd name="connsiteX69" fmla="*/ 201283 w 224286"/>
                  <a:gd name="connsiteY69" fmla="*/ 178592 h 223279"/>
                  <a:gd name="connsiteX70" fmla="*/ 205756 w 224286"/>
                  <a:gd name="connsiteY70" fmla="*/ 172208 h 223279"/>
                  <a:gd name="connsiteX71" fmla="*/ 205117 w 224286"/>
                  <a:gd name="connsiteY71" fmla="*/ 164547 h 223279"/>
                  <a:gd name="connsiteX72" fmla="*/ 192337 w 224286"/>
                  <a:gd name="connsiteY72" fmla="*/ 151141 h 223279"/>
                  <a:gd name="connsiteX73" fmla="*/ 196810 w 224286"/>
                  <a:gd name="connsiteY73" fmla="*/ 140926 h 223279"/>
                  <a:gd name="connsiteX74" fmla="*/ 215341 w 224286"/>
                  <a:gd name="connsiteY74" fmla="*/ 140926 h 223279"/>
                  <a:gd name="connsiteX75" fmla="*/ 221731 w 224286"/>
                  <a:gd name="connsiteY75" fmla="*/ 135819 h 223279"/>
                  <a:gd name="connsiteX76" fmla="*/ 223648 w 224286"/>
                  <a:gd name="connsiteY76" fmla="*/ 120498 h 223279"/>
                  <a:gd name="connsiteX77" fmla="*/ 224287 w 224286"/>
                  <a:gd name="connsiteY77" fmla="*/ 111560 h 223279"/>
                  <a:gd name="connsiteX78" fmla="*/ 223648 w 224286"/>
                  <a:gd name="connsiteY78" fmla="*/ 102622 h 223279"/>
                  <a:gd name="connsiteX79" fmla="*/ 221092 w 224286"/>
                  <a:gd name="connsiteY79" fmla="*/ 87301 h 223279"/>
                  <a:gd name="connsiteX80" fmla="*/ 210229 w 224286"/>
                  <a:gd name="connsiteY80" fmla="*/ 119221 h 223279"/>
                  <a:gd name="connsiteX81" fmla="*/ 208951 w 224286"/>
                  <a:gd name="connsiteY81" fmla="*/ 127520 h 223279"/>
                  <a:gd name="connsiteX82" fmla="*/ 191059 w 224286"/>
                  <a:gd name="connsiteY82" fmla="*/ 127520 h 223279"/>
                  <a:gd name="connsiteX83" fmla="*/ 184669 w 224286"/>
                  <a:gd name="connsiteY83" fmla="*/ 131989 h 223279"/>
                  <a:gd name="connsiteX84" fmla="*/ 178279 w 224286"/>
                  <a:gd name="connsiteY84" fmla="*/ 148587 h 223279"/>
                  <a:gd name="connsiteX85" fmla="*/ 179557 w 224286"/>
                  <a:gd name="connsiteY85" fmla="*/ 156248 h 223279"/>
                  <a:gd name="connsiteX86" fmla="*/ 192337 w 224286"/>
                  <a:gd name="connsiteY86" fmla="*/ 169016 h 223279"/>
                  <a:gd name="connsiteX87" fmla="*/ 191059 w 224286"/>
                  <a:gd name="connsiteY87" fmla="*/ 170931 h 223279"/>
                  <a:gd name="connsiteX88" fmla="*/ 171251 w 224286"/>
                  <a:gd name="connsiteY88" fmla="*/ 190721 h 223279"/>
                  <a:gd name="connsiteX89" fmla="*/ 169333 w 224286"/>
                  <a:gd name="connsiteY89" fmla="*/ 191998 h 223279"/>
                  <a:gd name="connsiteX90" fmla="*/ 156553 w 224286"/>
                  <a:gd name="connsiteY90" fmla="*/ 179230 h 223279"/>
                  <a:gd name="connsiteX91" fmla="*/ 148886 w 224286"/>
                  <a:gd name="connsiteY91" fmla="*/ 177954 h 223279"/>
                  <a:gd name="connsiteX92" fmla="*/ 132271 w 224286"/>
                  <a:gd name="connsiteY92" fmla="*/ 184337 h 223279"/>
                  <a:gd name="connsiteX93" fmla="*/ 127799 w 224286"/>
                  <a:gd name="connsiteY93" fmla="*/ 190721 h 223279"/>
                  <a:gd name="connsiteX94" fmla="*/ 127799 w 224286"/>
                  <a:gd name="connsiteY94" fmla="*/ 208597 h 223279"/>
                  <a:gd name="connsiteX95" fmla="*/ 119492 w 224286"/>
                  <a:gd name="connsiteY95" fmla="*/ 209873 h 223279"/>
                  <a:gd name="connsiteX96" fmla="*/ 103517 w 224286"/>
                  <a:gd name="connsiteY96" fmla="*/ 209873 h 223279"/>
                  <a:gd name="connsiteX97" fmla="*/ 95210 w 224286"/>
                  <a:gd name="connsiteY97" fmla="*/ 208597 h 223279"/>
                  <a:gd name="connsiteX98" fmla="*/ 95210 w 224286"/>
                  <a:gd name="connsiteY98" fmla="*/ 190721 h 223279"/>
                  <a:gd name="connsiteX99" fmla="*/ 90737 w 224286"/>
                  <a:gd name="connsiteY99" fmla="*/ 184337 h 223279"/>
                  <a:gd name="connsiteX100" fmla="*/ 74123 w 224286"/>
                  <a:gd name="connsiteY100" fmla="*/ 177954 h 223279"/>
                  <a:gd name="connsiteX101" fmla="*/ 66456 w 224286"/>
                  <a:gd name="connsiteY101" fmla="*/ 179230 h 223279"/>
                  <a:gd name="connsiteX102" fmla="*/ 53676 w 224286"/>
                  <a:gd name="connsiteY102" fmla="*/ 191998 h 223279"/>
                  <a:gd name="connsiteX103" fmla="*/ 53037 w 224286"/>
                  <a:gd name="connsiteY103" fmla="*/ 191360 h 223279"/>
                  <a:gd name="connsiteX104" fmla="*/ 52397 w 224286"/>
                  <a:gd name="connsiteY104" fmla="*/ 190721 h 223279"/>
                  <a:gd name="connsiteX105" fmla="*/ 51758 w 224286"/>
                  <a:gd name="connsiteY105" fmla="*/ 190083 h 223279"/>
                  <a:gd name="connsiteX106" fmla="*/ 51758 w 224286"/>
                  <a:gd name="connsiteY106" fmla="*/ 190083 h 223279"/>
                  <a:gd name="connsiteX107" fmla="*/ 33227 w 224286"/>
                  <a:gd name="connsiteY107" fmla="*/ 171570 h 223279"/>
                  <a:gd name="connsiteX108" fmla="*/ 33227 w 224286"/>
                  <a:gd name="connsiteY108" fmla="*/ 170931 h 223279"/>
                  <a:gd name="connsiteX109" fmla="*/ 32589 w 224286"/>
                  <a:gd name="connsiteY109" fmla="*/ 170293 h 223279"/>
                  <a:gd name="connsiteX110" fmla="*/ 31950 w 224286"/>
                  <a:gd name="connsiteY110" fmla="*/ 169016 h 223279"/>
                  <a:gd name="connsiteX111" fmla="*/ 31311 w 224286"/>
                  <a:gd name="connsiteY111" fmla="*/ 168378 h 223279"/>
                  <a:gd name="connsiteX112" fmla="*/ 44091 w 224286"/>
                  <a:gd name="connsiteY112" fmla="*/ 155610 h 223279"/>
                  <a:gd name="connsiteX113" fmla="*/ 45368 w 224286"/>
                  <a:gd name="connsiteY113" fmla="*/ 147949 h 223279"/>
                  <a:gd name="connsiteX114" fmla="*/ 38340 w 224286"/>
                  <a:gd name="connsiteY114" fmla="*/ 131350 h 223279"/>
                  <a:gd name="connsiteX115" fmla="*/ 31950 w 224286"/>
                  <a:gd name="connsiteY115" fmla="*/ 126882 h 223279"/>
                  <a:gd name="connsiteX116" fmla="*/ 14058 w 224286"/>
                  <a:gd name="connsiteY116" fmla="*/ 126882 h 223279"/>
                  <a:gd name="connsiteX117" fmla="*/ 12780 w 224286"/>
                  <a:gd name="connsiteY117" fmla="*/ 118582 h 223279"/>
                  <a:gd name="connsiteX118" fmla="*/ 12141 w 224286"/>
                  <a:gd name="connsiteY118" fmla="*/ 110922 h 223279"/>
                  <a:gd name="connsiteX119" fmla="*/ 12780 w 224286"/>
                  <a:gd name="connsiteY119" fmla="*/ 103261 h 223279"/>
                  <a:gd name="connsiteX120" fmla="*/ 14058 w 224286"/>
                  <a:gd name="connsiteY120" fmla="*/ 94962 h 223279"/>
                  <a:gd name="connsiteX121" fmla="*/ 31950 w 224286"/>
                  <a:gd name="connsiteY121" fmla="*/ 94962 h 223279"/>
                  <a:gd name="connsiteX122" fmla="*/ 38340 w 224286"/>
                  <a:gd name="connsiteY122" fmla="*/ 90493 h 223279"/>
                  <a:gd name="connsiteX123" fmla="*/ 45368 w 224286"/>
                  <a:gd name="connsiteY123" fmla="*/ 73894 h 223279"/>
                  <a:gd name="connsiteX124" fmla="*/ 44091 w 224286"/>
                  <a:gd name="connsiteY124" fmla="*/ 66234 h 223279"/>
                  <a:gd name="connsiteX125" fmla="*/ 31311 w 224286"/>
                  <a:gd name="connsiteY125" fmla="*/ 53466 h 223279"/>
                  <a:gd name="connsiteX126" fmla="*/ 32589 w 224286"/>
                  <a:gd name="connsiteY126" fmla="*/ 52189 h 223279"/>
                  <a:gd name="connsiteX127" fmla="*/ 52397 w 224286"/>
                  <a:gd name="connsiteY127" fmla="*/ 32399 h 223279"/>
                  <a:gd name="connsiteX128" fmla="*/ 54314 w 224286"/>
                  <a:gd name="connsiteY128" fmla="*/ 31122 h 223279"/>
                  <a:gd name="connsiteX129" fmla="*/ 67094 w 224286"/>
                  <a:gd name="connsiteY129" fmla="*/ 43890 h 223279"/>
                  <a:gd name="connsiteX130" fmla="*/ 74762 w 224286"/>
                  <a:gd name="connsiteY130" fmla="*/ 45167 h 223279"/>
                  <a:gd name="connsiteX131" fmla="*/ 91376 w 224286"/>
                  <a:gd name="connsiteY131" fmla="*/ 38144 h 223279"/>
                  <a:gd name="connsiteX132" fmla="*/ 95849 w 224286"/>
                  <a:gd name="connsiteY132" fmla="*/ 31760 h 223279"/>
                  <a:gd name="connsiteX133" fmla="*/ 95849 w 224286"/>
                  <a:gd name="connsiteY133" fmla="*/ 13885 h 223279"/>
                  <a:gd name="connsiteX134" fmla="*/ 104156 w 224286"/>
                  <a:gd name="connsiteY134" fmla="*/ 12608 h 223279"/>
                  <a:gd name="connsiteX135" fmla="*/ 120131 w 224286"/>
                  <a:gd name="connsiteY135" fmla="*/ 12608 h 223279"/>
                  <a:gd name="connsiteX136" fmla="*/ 128438 w 224286"/>
                  <a:gd name="connsiteY136" fmla="*/ 13885 h 223279"/>
                  <a:gd name="connsiteX137" fmla="*/ 128438 w 224286"/>
                  <a:gd name="connsiteY137" fmla="*/ 31760 h 223279"/>
                  <a:gd name="connsiteX138" fmla="*/ 132911 w 224286"/>
                  <a:gd name="connsiteY138" fmla="*/ 38144 h 223279"/>
                  <a:gd name="connsiteX139" fmla="*/ 149525 w 224286"/>
                  <a:gd name="connsiteY139" fmla="*/ 45167 h 223279"/>
                  <a:gd name="connsiteX140" fmla="*/ 157192 w 224286"/>
                  <a:gd name="connsiteY140" fmla="*/ 43890 h 223279"/>
                  <a:gd name="connsiteX141" fmla="*/ 169972 w 224286"/>
                  <a:gd name="connsiteY141" fmla="*/ 31122 h 223279"/>
                  <a:gd name="connsiteX142" fmla="*/ 170611 w 224286"/>
                  <a:gd name="connsiteY142" fmla="*/ 31760 h 223279"/>
                  <a:gd name="connsiteX143" fmla="*/ 171889 w 224286"/>
                  <a:gd name="connsiteY143" fmla="*/ 32399 h 223279"/>
                  <a:gd name="connsiteX144" fmla="*/ 172528 w 224286"/>
                  <a:gd name="connsiteY144" fmla="*/ 33037 h 223279"/>
                  <a:gd name="connsiteX145" fmla="*/ 173167 w 224286"/>
                  <a:gd name="connsiteY145" fmla="*/ 33037 h 223279"/>
                  <a:gd name="connsiteX146" fmla="*/ 191698 w 224286"/>
                  <a:gd name="connsiteY146" fmla="*/ 51551 h 223279"/>
                  <a:gd name="connsiteX147" fmla="*/ 191698 w 224286"/>
                  <a:gd name="connsiteY147" fmla="*/ 51551 h 223279"/>
                  <a:gd name="connsiteX148" fmla="*/ 192337 w 224286"/>
                  <a:gd name="connsiteY148" fmla="*/ 52189 h 223279"/>
                  <a:gd name="connsiteX149" fmla="*/ 192976 w 224286"/>
                  <a:gd name="connsiteY149" fmla="*/ 53466 h 223279"/>
                  <a:gd name="connsiteX150" fmla="*/ 193615 w 224286"/>
                  <a:gd name="connsiteY150" fmla="*/ 54104 h 223279"/>
                  <a:gd name="connsiteX151" fmla="*/ 180836 w 224286"/>
                  <a:gd name="connsiteY151" fmla="*/ 66872 h 223279"/>
                  <a:gd name="connsiteX152" fmla="*/ 179557 w 224286"/>
                  <a:gd name="connsiteY152" fmla="*/ 74533 h 223279"/>
                  <a:gd name="connsiteX153" fmla="*/ 185947 w 224286"/>
                  <a:gd name="connsiteY153" fmla="*/ 90493 h 223279"/>
                  <a:gd name="connsiteX154" fmla="*/ 192337 w 224286"/>
                  <a:gd name="connsiteY154" fmla="*/ 94962 h 223279"/>
                  <a:gd name="connsiteX155" fmla="*/ 210229 w 224286"/>
                  <a:gd name="connsiteY155" fmla="*/ 94962 h 223279"/>
                  <a:gd name="connsiteX156" fmla="*/ 211507 w 224286"/>
                  <a:gd name="connsiteY156" fmla="*/ 103261 h 223279"/>
                  <a:gd name="connsiteX157" fmla="*/ 211507 w 224286"/>
                  <a:gd name="connsiteY157" fmla="*/ 103261 h 223279"/>
                  <a:gd name="connsiteX158" fmla="*/ 212146 w 224286"/>
                  <a:gd name="connsiteY158" fmla="*/ 110922 h 223279"/>
                  <a:gd name="connsiteX159" fmla="*/ 210229 w 224286"/>
                  <a:gd name="connsiteY159" fmla="*/ 119221 h 223279"/>
                  <a:gd name="connsiteX160" fmla="*/ 210229 w 224286"/>
                  <a:gd name="connsiteY160" fmla="*/ 119221 h 22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224286" h="223279">
                    <a:moveTo>
                      <a:pt x="221092" y="87301"/>
                    </a:moveTo>
                    <a:cubicBezTo>
                      <a:pt x="220453" y="84109"/>
                      <a:pt x="217897" y="82194"/>
                      <a:pt x="214702" y="82194"/>
                    </a:cubicBezTo>
                    <a:lnTo>
                      <a:pt x="196171" y="82194"/>
                    </a:lnTo>
                    <a:cubicBezTo>
                      <a:pt x="194893" y="79002"/>
                      <a:pt x="193615" y="75171"/>
                      <a:pt x="191698" y="71979"/>
                    </a:cubicBezTo>
                    <a:lnTo>
                      <a:pt x="204478" y="58573"/>
                    </a:lnTo>
                    <a:cubicBezTo>
                      <a:pt x="206395" y="56658"/>
                      <a:pt x="207034" y="52827"/>
                      <a:pt x="205117" y="50912"/>
                    </a:cubicBezTo>
                    <a:cubicBezTo>
                      <a:pt x="203839" y="48997"/>
                      <a:pt x="202561" y="47082"/>
                      <a:pt x="201283" y="45167"/>
                    </a:cubicBezTo>
                    <a:lnTo>
                      <a:pt x="201283" y="45167"/>
                    </a:lnTo>
                    <a:cubicBezTo>
                      <a:pt x="201283" y="44528"/>
                      <a:pt x="200644" y="44528"/>
                      <a:pt x="200644" y="44528"/>
                    </a:cubicBezTo>
                    <a:cubicBezTo>
                      <a:pt x="200644" y="43890"/>
                      <a:pt x="200005" y="43890"/>
                      <a:pt x="200005" y="43890"/>
                    </a:cubicBezTo>
                    <a:cubicBezTo>
                      <a:pt x="194254" y="36229"/>
                      <a:pt x="187225" y="29207"/>
                      <a:pt x="179557" y="22823"/>
                    </a:cubicBezTo>
                    <a:lnTo>
                      <a:pt x="178279" y="22184"/>
                    </a:lnTo>
                    <a:lnTo>
                      <a:pt x="177641" y="21546"/>
                    </a:lnTo>
                    <a:lnTo>
                      <a:pt x="177641" y="21546"/>
                    </a:lnTo>
                    <a:cubicBezTo>
                      <a:pt x="175723" y="20269"/>
                      <a:pt x="173806" y="18992"/>
                      <a:pt x="171889" y="17716"/>
                    </a:cubicBezTo>
                    <a:cubicBezTo>
                      <a:pt x="169333" y="15800"/>
                      <a:pt x="166138" y="16439"/>
                      <a:pt x="164221" y="18354"/>
                    </a:cubicBezTo>
                    <a:lnTo>
                      <a:pt x="151441" y="31760"/>
                    </a:lnTo>
                    <a:cubicBezTo>
                      <a:pt x="148246" y="30483"/>
                      <a:pt x="144412" y="29207"/>
                      <a:pt x="141217" y="27930"/>
                    </a:cubicBezTo>
                    <a:lnTo>
                      <a:pt x="141217" y="8778"/>
                    </a:lnTo>
                    <a:cubicBezTo>
                      <a:pt x="141217" y="5586"/>
                      <a:pt x="139301" y="3032"/>
                      <a:pt x="136106" y="2394"/>
                    </a:cubicBezTo>
                    <a:cubicBezTo>
                      <a:pt x="130994" y="1117"/>
                      <a:pt x="125881" y="479"/>
                      <a:pt x="120770" y="479"/>
                    </a:cubicBezTo>
                    <a:cubicBezTo>
                      <a:pt x="115019" y="-160"/>
                      <a:pt x="109268" y="-160"/>
                      <a:pt x="102878" y="479"/>
                    </a:cubicBezTo>
                    <a:cubicBezTo>
                      <a:pt x="97766" y="1117"/>
                      <a:pt x="92654" y="1756"/>
                      <a:pt x="87542" y="2394"/>
                    </a:cubicBezTo>
                    <a:cubicBezTo>
                      <a:pt x="84347" y="3032"/>
                      <a:pt x="82430" y="5586"/>
                      <a:pt x="82430" y="8778"/>
                    </a:cubicBezTo>
                    <a:lnTo>
                      <a:pt x="82430" y="27930"/>
                    </a:lnTo>
                    <a:cubicBezTo>
                      <a:pt x="79235" y="29207"/>
                      <a:pt x="75402" y="30483"/>
                      <a:pt x="72207" y="32399"/>
                    </a:cubicBezTo>
                    <a:lnTo>
                      <a:pt x="58787" y="18992"/>
                    </a:lnTo>
                    <a:cubicBezTo>
                      <a:pt x="56871" y="17077"/>
                      <a:pt x="53676" y="16439"/>
                      <a:pt x="51119" y="18354"/>
                    </a:cubicBezTo>
                    <a:cubicBezTo>
                      <a:pt x="48563" y="19631"/>
                      <a:pt x="46647" y="21546"/>
                      <a:pt x="44730" y="22823"/>
                    </a:cubicBezTo>
                    <a:cubicBezTo>
                      <a:pt x="36422" y="29207"/>
                      <a:pt x="28755" y="36867"/>
                      <a:pt x="22365" y="45167"/>
                    </a:cubicBezTo>
                    <a:cubicBezTo>
                      <a:pt x="20447" y="47082"/>
                      <a:pt x="19170" y="49635"/>
                      <a:pt x="17892" y="51551"/>
                    </a:cubicBezTo>
                    <a:cubicBezTo>
                      <a:pt x="15975" y="54104"/>
                      <a:pt x="16614" y="57296"/>
                      <a:pt x="18531" y="59211"/>
                    </a:cubicBezTo>
                    <a:lnTo>
                      <a:pt x="31950" y="71979"/>
                    </a:lnTo>
                    <a:cubicBezTo>
                      <a:pt x="30032" y="75171"/>
                      <a:pt x="28755" y="78363"/>
                      <a:pt x="27477" y="82194"/>
                    </a:cubicBezTo>
                    <a:lnTo>
                      <a:pt x="8946" y="82194"/>
                    </a:lnTo>
                    <a:cubicBezTo>
                      <a:pt x="5751" y="82194"/>
                      <a:pt x="3195" y="84109"/>
                      <a:pt x="2556" y="87301"/>
                    </a:cubicBezTo>
                    <a:cubicBezTo>
                      <a:pt x="1278" y="92408"/>
                      <a:pt x="639" y="97515"/>
                      <a:pt x="639" y="102622"/>
                    </a:cubicBezTo>
                    <a:cubicBezTo>
                      <a:pt x="639" y="105814"/>
                      <a:pt x="0" y="108368"/>
                      <a:pt x="0" y="111560"/>
                    </a:cubicBezTo>
                    <a:cubicBezTo>
                      <a:pt x="0" y="114752"/>
                      <a:pt x="0" y="117306"/>
                      <a:pt x="639" y="120498"/>
                    </a:cubicBezTo>
                    <a:cubicBezTo>
                      <a:pt x="1278" y="125605"/>
                      <a:pt x="1917" y="130712"/>
                      <a:pt x="2556" y="135819"/>
                    </a:cubicBezTo>
                    <a:cubicBezTo>
                      <a:pt x="3195" y="139011"/>
                      <a:pt x="5751" y="140926"/>
                      <a:pt x="8946" y="140926"/>
                    </a:cubicBezTo>
                    <a:lnTo>
                      <a:pt x="27477" y="140926"/>
                    </a:lnTo>
                    <a:cubicBezTo>
                      <a:pt x="28755" y="144118"/>
                      <a:pt x="30032" y="147949"/>
                      <a:pt x="31950" y="151141"/>
                    </a:cubicBezTo>
                    <a:lnTo>
                      <a:pt x="18531" y="164547"/>
                    </a:lnTo>
                    <a:cubicBezTo>
                      <a:pt x="16614" y="166462"/>
                      <a:pt x="15975" y="170293"/>
                      <a:pt x="17892" y="172208"/>
                    </a:cubicBezTo>
                    <a:cubicBezTo>
                      <a:pt x="19170" y="174123"/>
                      <a:pt x="20447" y="176038"/>
                      <a:pt x="21726" y="177954"/>
                    </a:cubicBezTo>
                    <a:lnTo>
                      <a:pt x="21726" y="177954"/>
                    </a:lnTo>
                    <a:lnTo>
                      <a:pt x="22365" y="178592"/>
                    </a:lnTo>
                    <a:lnTo>
                      <a:pt x="23004" y="179230"/>
                    </a:lnTo>
                    <a:cubicBezTo>
                      <a:pt x="28755" y="186891"/>
                      <a:pt x="35783" y="193913"/>
                      <a:pt x="44091" y="200297"/>
                    </a:cubicBezTo>
                    <a:lnTo>
                      <a:pt x="44730" y="200936"/>
                    </a:lnTo>
                    <a:lnTo>
                      <a:pt x="46007" y="201574"/>
                    </a:lnTo>
                    <a:lnTo>
                      <a:pt x="46007" y="201574"/>
                    </a:lnTo>
                    <a:cubicBezTo>
                      <a:pt x="47925" y="202851"/>
                      <a:pt x="49842" y="204128"/>
                      <a:pt x="51758" y="205405"/>
                    </a:cubicBezTo>
                    <a:cubicBezTo>
                      <a:pt x="54314" y="207320"/>
                      <a:pt x="57509" y="206681"/>
                      <a:pt x="59427" y="204766"/>
                    </a:cubicBezTo>
                    <a:lnTo>
                      <a:pt x="72845" y="191360"/>
                    </a:lnTo>
                    <a:cubicBezTo>
                      <a:pt x="76040" y="193275"/>
                      <a:pt x="79235" y="194552"/>
                      <a:pt x="83069" y="195829"/>
                    </a:cubicBezTo>
                    <a:lnTo>
                      <a:pt x="83069" y="214342"/>
                    </a:lnTo>
                    <a:cubicBezTo>
                      <a:pt x="83069" y="217534"/>
                      <a:pt x="84986" y="220088"/>
                      <a:pt x="88181" y="220726"/>
                    </a:cubicBezTo>
                    <a:cubicBezTo>
                      <a:pt x="93293" y="222003"/>
                      <a:pt x="98405" y="222641"/>
                      <a:pt x="103517" y="222641"/>
                    </a:cubicBezTo>
                    <a:cubicBezTo>
                      <a:pt x="106712" y="222641"/>
                      <a:pt x="109268" y="223280"/>
                      <a:pt x="112463" y="223280"/>
                    </a:cubicBezTo>
                    <a:cubicBezTo>
                      <a:pt x="115658" y="223280"/>
                      <a:pt x="118214" y="223280"/>
                      <a:pt x="121409" y="222641"/>
                    </a:cubicBezTo>
                    <a:cubicBezTo>
                      <a:pt x="126521" y="222003"/>
                      <a:pt x="131633" y="221365"/>
                      <a:pt x="136745" y="220726"/>
                    </a:cubicBezTo>
                    <a:cubicBezTo>
                      <a:pt x="139940" y="220088"/>
                      <a:pt x="141856" y="217534"/>
                      <a:pt x="141856" y="214342"/>
                    </a:cubicBezTo>
                    <a:lnTo>
                      <a:pt x="141856" y="195829"/>
                    </a:lnTo>
                    <a:cubicBezTo>
                      <a:pt x="145051" y="194552"/>
                      <a:pt x="148886" y="193275"/>
                      <a:pt x="152081" y="191360"/>
                    </a:cubicBezTo>
                    <a:lnTo>
                      <a:pt x="164861" y="204766"/>
                    </a:lnTo>
                    <a:cubicBezTo>
                      <a:pt x="166777" y="206681"/>
                      <a:pt x="170611" y="207320"/>
                      <a:pt x="172528" y="205405"/>
                    </a:cubicBezTo>
                    <a:cubicBezTo>
                      <a:pt x="174446" y="204128"/>
                      <a:pt x="177001" y="202213"/>
                      <a:pt x="178918" y="200936"/>
                    </a:cubicBezTo>
                    <a:cubicBezTo>
                      <a:pt x="187225" y="194552"/>
                      <a:pt x="194893" y="186891"/>
                      <a:pt x="201283" y="178592"/>
                    </a:cubicBezTo>
                    <a:cubicBezTo>
                      <a:pt x="202561" y="176677"/>
                      <a:pt x="204478" y="174123"/>
                      <a:pt x="205756" y="172208"/>
                    </a:cubicBezTo>
                    <a:cubicBezTo>
                      <a:pt x="207673" y="169654"/>
                      <a:pt x="207034" y="166462"/>
                      <a:pt x="205117" y="164547"/>
                    </a:cubicBezTo>
                    <a:lnTo>
                      <a:pt x="192337" y="151141"/>
                    </a:lnTo>
                    <a:cubicBezTo>
                      <a:pt x="193615" y="147949"/>
                      <a:pt x="195532" y="144757"/>
                      <a:pt x="196810" y="140926"/>
                    </a:cubicBezTo>
                    <a:lnTo>
                      <a:pt x="215341" y="140926"/>
                    </a:lnTo>
                    <a:cubicBezTo>
                      <a:pt x="218536" y="140926"/>
                      <a:pt x="221092" y="139011"/>
                      <a:pt x="221731" y="135819"/>
                    </a:cubicBezTo>
                    <a:cubicBezTo>
                      <a:pt x="223009" y="130712"/>
                      <a:pt x="223648" y="125605"/>
                      <a:pt x="223648" y="120498"/>
                    </a:cubicBezTo>
                    <a:cubicBezTo>
                      <a:pt x="223648" y="117306"/>
                      <a:pt x="224287" y="114752"/>
                      <a:pt x="224287" y="111560"/>
                    </a:cubicBezTo>
                    <a:cubicBezTo>
                      <a:pt x="224287" y="108368"/>
                      <a:pt x="224287" y="105814"/>
                      <a:pt x="223648" y="102622"/>
                    </a:cubicBezTo>
                    <a:cubicBezTo>
                      <a:pt x="223009" y="97515"/>
                      <a:pt x="221731" y="92408"/>
                      <a:pt x="221092" y="87301"/>
                    </a:cubicBezTo>
                    <a:close/>
                    <a:moveTo>
                      <a:pt x="210229" y="119221"/>
                    </a:moveTo>
                    <a:cubicBezTo>
                      <a:pt x="210229" y="121774"/>
                      <a:pt x="209590" y="124966"/>
                      <a:pt x="208951" y="127520"/>
                    </a:cubicBezTo>
                    <a:lnTo>
                      <a:pt x="191059" y="127520"/>
                    </a:lnTo>
                    <a:cubicBezTo>
                      <a:pt x="187864" y="127520"/>
                      <a:pt x="185308" y="129435"/>
                      <a:pt x="184669" y="131989"/>
                    </a:cubicBezTo>
                    <a:cubicBezTo>
                      <a:pt x="183391" y="137734"/>
                      <a:pt x="180836" y="142842"/>
                      <a:pt x="178279" y="148587"/>
                    </a:cubicBezTo>
                    <a:cubicBezTo>
                      <a:pt x="177001" y="151141"/>
                      <a:pt x="177001" y="154333"/>
                      <a:pt x="179557" y="156248"/>
                    </a:cubicBezTo>
                    <a:lnTo>
                      <a:pt x="192337" y="169016"/>
                    </a:lnTo>
                    <a:lnTo>
                      <a:pt x="191059" y="170931"/>
                    </a:lnTo>
                    <a:cubicBezTo>
                      <a:pt x="185308" y="178592"/>
                      <a:pt x="178918" y="184976"/>
                      <a:pt x="171251" y="190721"/>
                    </a:cubicBezTo>
                    <a:lnTo>
                      <a:pt x="169333" y="191998"/>
                    </a:lnTo>
                    <a:lnTo>
                      <a:pt x="156553" y="179230"/>
                    </a:lnTo>
                    <a:cubicBezTo>
                      <a:pt x="154636" y="177315"/>
                      <a:pt x="151441" y="176677"/>
                      <a:pt x="148886" y="177954"/>
                    </a:cubicBezTo>
                    <a:cubicBezTo>
                      <a:pt x="143774" y="180507"/>
                      <a:pt x="138022" y="183061"/>
                      <a:pt x="132271" y="184337"/>
                    </a:cubicBezTo>
                    <a:cubicBezTo>
                      <a:pt x="129716" y="184976"/>
                      <a:pt x="127799" y="187529"/>
                      <a:pt x="127799" y="190721"/>
                    </a:cubicBezTo>
                    <a:lnTo>
                      <a:pt x="127799" y="208597"/>
                    </a:lnTo>
                    <a:cubicBezTo>
                      <a:pt x="125243" y="209235"/>
                      <a:pt x="122048" y="209235"/>
                      <a:pt x="119492" y="209873"/>
                    </a:cubicBezTo>
                    <a:cubicBezTo>
                      <a:pt x="114380" y="210512"/>
                      <a:pt x="109268" y="210512"/>
                      <a:pt x="103517" y="209873"/>
                    </a:cubicBezTo>
                    <a:cubicBezTo>
                      <a:pt x="100961" y="209873"/>
                      <a:pt x="97766" y="209235"/>
                      <a:pt x="95210" y="208597"/>
                    </a:cubicBezTo>
                    <a:lnTo>
                      <a:pt x="95210" y="190721"/>
                    </a:lnTo>
                    <a:cubicBezTo>
                      <a:pt x="95210" y="187529"/>
                      <a:pt x="93293" y="184976"/>
                      <a:pt x="90737" y="184337"/>
                    </a:cubicBezTo>
                    <a:cubicBezTo>
                      <a:pt x="84986" y="182422"/>
                      <a:pt x="79235" y="180507"/>
                      <a:pt x="74123" y="177954"/>
                    </a:cubicBezTo>
                    <a:cubicBezTo>
                      <a:pt x="71567" y="176677"/>
                      <a:pt x="68372" y="176677"/>
                      <a:pt x="66456" y="179230"/>
                    </a:cubicBezTo>
                    <a:lnTo>
                      <a:pt x="53676" y="191998"/>
                    </a:lnTo>
                    <a:lnTo>
                      <a:pt x="53037" y="191360"/>
                    </a:lnTo>
                    <a:lnTo>
                      <a:pt x="52397" y="190721"/>
                    </a:lnTo>
                    <a:lnTo>
                      <a:pt x="51758" y="190083"/>
                    </a:lnTo>
                    <a:lnTo>
                      <a:pt x="51758" y="190083"/>
                    </a:lnTo>
                    <a:cubicBezTo>
                      <a:pt x="44730" y="184976"/>
                      <a:pt x="38340" y="178592"/>
                      <a:pt x="33227" y="171570"/>
                    </a:cubicBezTo>
                    <a:lnTo>
                      <a:pt x="33227" y="170931"/>
                    </a:lnTo>
                    <a:lnTo>
                      <a:pt x="32589" y="170293"/>
                    </a:lnTo>
                    <a:lnTo>
                      <a:pt x="31950" y="169016"/>
                    </a:lnTo>
                    <a:lnTo>
                      <a:pt x="31311" y="168378"/>
                    </a:lnTo>
                    <a:lnTo>
                      <a:pt x="44091" y="155610"/>
                    </a:lnTo>
                    <a:cubicBezTo>
                      <a:pt x="46007" y="153694"/>
                      <a:pt x="46647" y="150502"/>
                      <a:pt x="45368" y="147949"/>
                    </a:cubicBezTo>
                    <a:cubicBezTo>
                      <a:pt x="42812" y="142842"/>
                      <a:pt x="40257" y="137096"/>
                      <a:pt x="38340" y="131350"/>
                    </a:cubicBezTo>
                    <a:cubicBezTo>
                      <a:pt x="37701" y="128797"/>
                      <a:pt x="35145" y="126882"/>
                      <a:pt x="31950" y="126882"/>
                    </a:cubicBezTo>
                    <a:lnTo>
                      <a:pt x="14058" y="126882"/>
                    </a:lnTo>
                    <a:cubicBezTo>
                      <a:pt x="13419" y="124328"/>
                      <a:pt x="13419" y="121136"/>
                      <a:pt x="12780" y="118582"/>
                    </a:cubicBezTo>
                    <a:cubicBezTo>
                      <a:pt x="12141" y="116029"/>
                      <a:pt x="12141" y="113475"/>
                      <a:pt x="12141" y="110922"/>
                    </a:cubicBezTo>
                    <a:cubicBezTo>
                      <a:pt x="12141" y="108368"/>
                      <a:pt x="12141" y="105814"/>
                      <a:pt x="12780" y="103261"/>
                    </a:cubicBezTo>
                    <a:cubicBezTo>
                      <a:pt x="13419" y="100707"/>
                      <a:pt x="13419" y="97515"/>
                      <a:pt x="14058" y="94962"/>
                    </a:cubicBezTo>
                    <a:lnTo>
                      <a:pt x="31950" y="94962"/>
                    </a:lnTo>
                    <a:cubicBezTo>
                      <a:pt x="35145" y="94962"/>
                      <a:pt x="37701" y="93046"/>
                      <a:pt x="38340" y="90493"/>
                    </a:cubicBezTo>
                    <a:cubicBezTo>
                      <a:pt x="40257" y="84747"/>
                      <a:pt x="42173" y="79002"/>
                      <a:pt x="45368" y="73894"/>
                    </a:cubicBezTo>
                    <a:cubicBezTo>
                      <a:pt x="46647" y="71341"/>
                      <a:pt x="46647" y="68149"/>
                      <a:pt x="44091" y="66234"/>
                    </a:cubicBezTo>
                    <a:lnTo>
                      <a:pt x="31311" y="53466"/>
                    </a:lnTo>
                    <a:lnTo>
                      <a:pt x="32589" y="52189"/>
                    </a:lnTo>
                    <a:cubicBezTo>
                      <a:pt x="38340" y="44528"/>
                      <a:pt x="44730" y="38144"/>
                      <a:pt x="52397" y="32399"/>
                    </a:cubicBezTo>
                    <a:lnTo>
                      <a:pt x="54314" y="31122"/>
                    </a:lnTo>
                    <a:lnTo>
                      <a:pt x="67094" y="43890"/>
                    </a:lnTo>
                    <a:cubicBezTo>
                      <a:pt x="69012" y="45805"/>
                      <a:pt x="72207" y="46443"/>
                      <a:pt x="74762" y="45167"/>
                    </a:cubicBezTo>
                    <a:cubicBezTo>
                      <a:pt x="79874" y="41975"/>
                      <a:pt x="85625" y="40059"/>
                      <a:pt x="91376" y="38144"/>
                    </a:cubicBezTo>
                    <a:cubicBezTo>
                      <a:pt x="93932" y="37506"/>
                      <a:pt x="95849" y="34952"/>
                      <a:pt x="95849" y="31760"/>
                    </a:cubicBezTo>
                    <a:lnTo>
                      <a:pt x="95849" y="13885"/>
                    </a:lnTo>
                    <a:cubicBezTo>
                      <a:pt x="98405" y="13247"/>
                      <a:pt x="101600" y="13247"/>
                      <a:pt x="104156" y="12608"/>
                    </a:cubicBezTo>
                    <a:cubicBezTo>
                      <a:pt x="109268" y="11970"/>
                      <a:pt x="114380" y="11970"/>
                      <a:pt x="120131" y="12608"/>
                    </a:cubicBezTo>
                    <a:cubicBezTo>
                      <a:pt x="122686" y="12608"/>
                      <a:pt x="125881" y="13247"/>
                      <a:pt x="128438" y="13885"/>
                    </a:cubicBezTo>
                    <a:lnTo>
                      <a:pt x="128438" y="31760"/>
                    </a:lnTo>
                    <a:cubicBezTo>
                      <a:pt x="128438" y="34952"/>
                      <a:pt x="130355" y="37506"/>
                      <a:pt x="132911" y="38144"/>
                    </a:cubicBezTo>
                    <a:cubicBezTo>
                      <a:pt x="138661" y="40059"/>
                      <a:pt x="144412" y="41975"/>
                      <a:pt x="149525" y="45167"/>
                    </a:cubicBezTo>
                    <a:cubicBezTo>
                      <a:pt x="152081" y="46443"/>
                      <a:pt x="155276" y="45805"/>
                      <a:pt x="157192" y="43890"/>
                    </a:cubicBezTo>
                    <a:lnTo>
                      <a:pt x="169972" y="31122"/>
                    </a:lnTo>
                    <a:lnTo>
                      <a:pt x="170611" y="31760"/>
                    </a:lnTo>
                    <a:lnTo>
                      <a:pt x="171889" y="32399"/>
                    </a:lnTo>
                    <a:lnTo>
                      <a:pt x="172528" y="33037"/>
                    </a:lnTo>
                    <a:lnTo>
                      <a:pt x="173167" y="33037"/>
                    </a:lnTo>
                    <a:cubicBezTo>
                      <a:pt x="180196" y="38144"/>
                      <a:pt x="186586" y="44528"/>
                      <a:pt x="191698" y="51551"/>
                    </a:cubicBezTo>
                    <a:lnTo>
                      <a:pt x="191698" y="51551"/>
                    </a:lnTo>
                    <a:lnTo>
                      <a:pt x="192337" y="52189"/>
                    </a:lnTo>
                    <a:lnTo>
                      <a:pt x="192976" y="53466"/>
                    </a:lnTo>
                    <a:lnTo>
                      <a:pt x="193615" y="54104"/>
                    </a:lnTo>
                    <a:lnTo>
                      <a:pt x="180836" y="66872"/>
                    </a:lnTo>
                    <a:cubicBezTo>
                      <a:pt x="178918" y="68787"/>
                      <a:pt x="178279" y="71979"/>
                      <a:pt x="179557" y="74533"/>
                    </a:cubicBezTo>
                    <a:cubicBezTo>
                      <a:pt x="182113" y="79640"/>
                      <a:pt x="184669" y="85386"/>
                      <a:pt x="185947" y="90493"/>
                    </a:cubicBezTo>
                    <a:cubicBezTo>
                      <a:pt x="186586" y="93046"/>
                      <a:pt x="189142" y="94962"/>
                      <a:pt x="192337" y="94962"/>
                    </a:cubicBezTo>
                    <a:lnTo>
                      <a:pt x="210229" y="94962"/>
                    </a:lnTo>
                    <a:cubicBezTo>
                      <a:pt x="210868" y="97515"/>
                      <a:pt x="210868" y="100707"/>
                      <a:pt x="211507" y="103261"/>
                    </a:cubicBezTo>
                    <a:lnTo>
                      <a:pt x="211507" y="103261"/>
                    </a:lnTo>
                    <a:cubicBezTo>
                      <a:pt x="211507" y="105814"/>
                      <a:pt x="212146" y="108368"/>
                      <a:pt x="212146" y="110922"/>
                    </a:cubicBezTo>
                    <a:cubicBezTo>
                      <a:pt x="212146" y="113475"/>
                      <a:pt x="210868" y="116667"/>
                      <a:pt x="210229" y="119221"/>
                    </a:cubicBezTo>
                    <a:lnTo>
                      <a:pt x="210229" y="119221"/>
                    </a:lnTo>
                    <a:close/>
                  </a:path>
                </a:pathLst>
              </a:custGeom>
              <a:solidFill>
                <a:schemeClr val="bg1"/>
              </a:solidFill>
              <a:ln w="6390" cap="flat">
                <a:noFill/>
                <a:prstDash val="solid"/>
                <a:miter/>
              </a:ln>
            </p:spPr>
            <p:txBody>
              <a:bodyPr rtlCol="0" anchor="ctr"/>
              <a:lstStyle/>
              <a:p>
                <a:endParaRPr lang="en-US" sz="10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Graphic 1100">
                <a:extLst>
                  <a:ext uri="{FF2B5EF4-FFF2-40B4-BE49-F238E27FC236}">
                    <a16:creationId xmlns:a16="http://schemas.microsoft.com/office/drawing/2014/main" id="{3FD9ED2D-0F00-F045-0147-E237BB4FB1E9}"/>
                  </a:ext>
                </a:extLst>
              </p:cNvPr>
              <p:cNvSpPr/>
              <p:nvPr/>
            </p:nvSpPr>
            <p:spPr>
              <a:xfrm>
                <a:off x="6898936" y="2522012"/>
                <a:ext cx="88181" cy="88098"/>
              </a:xfrm>
              <a:custGeom>
                <a:avLst/>
                <a:gdLst>
                  <a:gd name="connsiteX0" fmla="*/ 44091 w 88181"/>
                  <a:gd name="connsiteY0" fmla="*/ 0 h 88098"/>
                  <a:gd name="connsiteX1" fmla="*/ 0 w 88181"/>
                  <a:gd name="connsiteY1" fmla="*/ 44049 h 88098"/>
                  <a:gd name="connsiteX2" fmla="*/ 44091 w 88181"/>
                  <a:gd name="connsiteY2" fmla="*/ 88099 h 88098"/>
                  <a:gd name="connsiteX3" fmla="*/ 88181 w 88181"/>
                  <a:gd name="connsiteY3" fmla="*/ 44049 h 88098"/>
                  <a:gd name="connsiteX4" fmla="*/ 88181 w 88181"/>
                  <a:gd name="connsiteY4" fmla="*/ 44049 h 88098"/>
                  <a:gd name="connsiteX5" fmla="*/ 44091 w 88181"/>
                  <a:gd name="connsiteY5" fmla="*/ 0 h 88098"/>
                  <a:gd name="connsiteX6" fmla="*/ 44091 w 88181"/>
                  <a:gd name="connsiteY6" fmla="*/ 75331 h 88098"/>
                  <a:gd name="connsiteX7" fmla="*/ 12780 w 88181"/>
                  <a:gd name="connsiteY7" fmla="*/ 44049 h 88098"/>
                  <a:gd name="connsiteX8" fmla="*/ 44091 w 88181"/>
                  <a:gd name="connsiteY8" fmla="*/ 12768 h 88098"/>
                  <a:gd name="connsiteX9" fmla="*/ 75402 w 88181"/>
                  <a:gd name="connsiteY9" fmla="*/ 44049 h 88098"/>
                  <a:gd name="connsiteX10" fmla="*/ 75402 w 88181"/>
                  <a:gd name="connsiteY10" fmla="*/ 44049 h 88098"/>
                  <a:gd name="connsiteX11" fmla="*/ 44091 w 88181"/>
                  <a:gd name="connsiteY11" fmla="*/ 75331 h 88098"/>
                  <a:gd name="connsiteX12" fmla="*/ 44091 w 88181"/>
                  <a:gd name="connsiteY12" fmla="*/ 75331 h 8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181" h="88098">
                    <a:moveTo>
                      <a:pt x="44091" y="0"/>
                    </a:moveTo>
                    <a:cubicBezTo>
                      <a:pt x="19809" y="0"/>
                      <a:pt x="0" y="19790"/>
                      <a:pt x="0" y="44049"/>
                    </a:cubicBezTo>
                    <a:cubicBezTo>
                      <a:pt x="0" y="68308"/>
                      <a:pt x="19809" y="88099"/>
                      <a:pt x="44091" y="88099"/>
                    </a:cubicBezTo>
                    <a:cubicBezTo>
                      <a:pt x="68373" y="88099"/>
                      <a:pt x="88181" y="68308"/>
                      <a:pt x="88181" y="44049"/>
                    </a:cubicBezTo>
                    <a:cubicBezTo>
                      <a:pt x="88181" y="44049"/>
                      <a:pt x="88181" y="44049"/>
                      <a:pt x="88181" y="44049"/>
                    </a:cubicBezTo>
                    <a:cubicBezTo>
                      <a:pt x="88181" y="19790"/>
                      <a:pt x="68373" y="638"/>
                      <a:pt x="44091" y="0"/>
                    </a:cubicBezTo>
                    <a:close/>
                    <a:moveTo>
                      <a:pt x="44091" y="75331"/>
                    </a:moveTo>
                    <a:cubicBezTo>
                      <a:pt x="26838" y="75331"/>
                      <a:pt x="12780" y="61286"/>
                      <a:pt x="12780" y="44049"/>
                    </a:cubicBezTo>
                    <a:cubicBezTo>
                      <a:pt x="12780" y="26813"/>
                      <a:pt x="26838" y="12768"/>
                      <a:pt x="44091" y="12768"/>
                    </a:cubicBezTo>
                    <a:cubicBezTo>
                      <a:pt x="61343" y="12768"/>
                      <a:pt x="75402" y="26813"/>
                      <a:pt x="75402" y="44049"/>
                    </a:cubicBezTo>
                    <a:cubicBezTo>
                      <a:pt x="75402" y="44049"/>
                      <a:pt x="75402" y="44049"/>
                      <a:pt x="75402" y="44049"/>
                    </a:cubicBezTo>
                    <a:cubicBezTo>
                      <a:pt x="75402" y="61286"/>
                      <a:pt x="61343" y="75331"/>
                      <a:pt x="44091" y="75331"/>
                    </a:cubicBezTo>
                    <a:lnTo>
                      <a:pt x="44091" y="75331"/>
                    </a:lnTo>
                    <a:close/>
                  </a:path>
                </a:pathLst>
              </a:custGeom>
              <a:solidFill>
                <a:schemeClr val="bg1"/>
              </a:solidFill>
              <a:ln w="6390" cap="flat">
                <a:noFill/>
                <a:prstDash val="solid"/>
                <a:miter/>
              </a:ln>
            </p:spPr>
            <p:txBody>
              <a:bodyPr rtlCol="0" anchor="ctr"/>
              <a:lstStyle/>
              <a:p>
                <a:endParaRPr lang="en-US" sz="10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grpSp>
        <p:nvGrpSpPr>
          <p:cNvPr id="29" name="Group 28">
            <a:extLst>
              <a:ext uri="{FF2B5EF4-FFF2-40B4-BE49-F238E27FC236}">
                <a16:creationId xmlns:a16="http://schemas.microsoft.com/office/drawing/2014/main" id="{6BA023F3-B6EF-191F-31C3-BD3662929AC7}"/>
              </a:ext>
            </a:extLst>
          </p:cNvPr>
          <p:cNvGrpSpPr/>
          <p:nvPr/>
        </p:nvGrpSpPr>
        <p:grpSpPr>
          <a:xfrm>
            <a:off x="639690" y="3611703"/>
            <a:ext cx="457200" cy="1039780"/>
            <a:chOff x="296776" y="2357797"/>
            <a:chExt cx="457200" cy="1039780"/>
          </a:xfrm>
        </p:grpSpPr>
        <p:sp>
          <p:nvSpPr>
            <p:cNvPr id="30" name="Oval 29">
              <a:extLst>
                <a:ext uri="{FF2B5EF4-FFF2-40B4-BE49-F238E27FC236}">
                  <a16:creationId xmlns:a16="http://schemas.microsoft.com/office/drawing/2014/main" id="{58F9F629-CE89-4E36-D06C-5F8D6AF2CD46}"/>
                </a:ext>
              </a:extLst>
            </p:cNvPr>
            <p:cNvSpPr/>
            <p:nvPr/>
          </p:nvSpPr>
          <p:spPr bwMode="gray">
            <a:xfrm>
              <a:off x="296776" y="2357797"/>
              <a:ext cx="457200" cy="4572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31" name="Straight Connector 30">
              <a:extLst>
                <a:ext uri="{FF2B5EF4-FFF2-40B4-BE49-F238E27FC236}">
                  <a16:creationId xmlns:a16="http://schemas.microsoft.com/office/drawing/2014/main" id="{0A756367-6AF4-38C0-3BCF-1982A790A5B1}"/>
                </a:ext>
              </a:extLst>
            </p:cNvPr>
            <p:cNvCxnSpPr>
              <a:cxnSpLocks/>
              <a:stCxn id="30" idx="4"/>
            </p:cNvCxnSpPr>
            <p:nvPr/>
          </p:nvCxnSpPr>
          <p:spPr>
            <a:xfrm>
              <a:off x="525376" y="2814997"/>
              <a:ext cx="252" cy="582580"/>
            </a:xfrm>
            <a:prstGeom prst="line">
              <a:avLst/>
            </a:prstGeom>
            <a:ln w="12700">
              <a:solidFill>
                <a:schemeClr val="accent3">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
          <p:nvSpPr>
            <p:cNvPr id="32" name="Graphic 4">
              <a:extLst>
                <a:ext uri="{FF2B5EF4-FFF2-40B4-BE49-F238E27FC236}">
                  <a16:creationId xmlns:a16="http://schemas.microsoft.com/office/drawing/2014/main" id="{5D815591-50E3-E8AB-27DB-74DDEBFA9486}"/>
                </a:ext>
              </a:extLst>
            </p:cNvPr>
            <p:cNvSpPr/>
            <p:nvPr/>
          </p:nvSpPr>
          <p:spPr>
            <a:xfrm>
              <a:off x="396240" y="2477582"/>
              <a:ext cx="268799" cy="219322"/>
            </a:xfrm>
            <a:custGeom>
              <a:avLst/>
              <a:gdLst>
                <a:gd name="connsiteX0" fmla="*/ 225687 w 233355"/>
                <a:gd name="connsiteY0" fmla="*/ 160 h 190402"/>
                <a:gd name="connsiteX1" fmla="*/ 4595 w 233355"/>
                <a:gd name="connsiteY1" fmla="*/ 61446 h 190402"/>
                <a:gd name="connsiteX2" fmla="*/ 122 w 233355"/>
                <a:gd name="connsiteY2" fmla="*/ 69107 h 190402"/>
                <a:gd name="connsiteX3" fmla="*/ 2678 w 233355"/>
                <a:gd name="connsiteY3" fmla="*/ 72937 h 190402"/>
                <a:gd name="connsiteX4" fmla="*/ 65300 w 233355"/>
                <a:gd name="connsiteY4" fmla="*/ 116348 h 190402"/>
                <a:gd name="connsiteX5" fmla="*/ 44213 w 233355"/>
                <a:gd name="connsiteY5" fmla="*/ 177634 h 190402"/>
                <a:gd name="connsiteX6" fmla="*/ 46769 w 233355"/>
                <a:gd name="connsiteY6" fmla="*/ 184657 h 190402"/>
                <a:gd name="connsiteX7" fmla="*/ 50603 w 233355"/>
                <a:gd name="connsiteY7" fmla="*/ 185933 h 190402"/>
                <a:gd name="connsiteX8" fmla="*/ 54437 w 233355"/>
                <a:gd name="connsiteY8" fmla="*/ 184657 h 190402"/>
                <a:gd name="connsiteX9" fmla="*/ 92777 w 233355"/>
                <a:gd name="connsiteY9" fmla="*/ 152737 h 190402"/>
                <a:gd name="connsiteX10" fmla="*/ 116419 w 233355"/>
                <a:gd name="connsiteY10" fmla="*/ 187849 h 190402"/>
                <a:gd name="connsiteX11" fmla="*/ 121531 w 233355"/>
                <a:gd name="connsiteY11" fmla="*/ 190402 h 190402"/>
                <a:gd name="connsiteX12" fmla="*/ 121531 w 233355"/>
                <a:gd name="connsiteY12" fmla="*/ 190402 h 190402"/>
                <a:gd name="connsiteX13" fmla="*/ 126643 w 233355"/>
                <a:gd name="connsiteY13" fmla="*/ 187210 h 190402"/>
                <a:gd name="connsiteX14" fmla="*/ 230799 w 233355"/>
                <a:gd name="connsiteY14" fmla="*/ 11651 h 190402"/>
                <a:gd name="connsiteX15" fmla="*/ 230799 w 233355"/>
                <a:gd name="connsiteY15" fmla="*/ 11651 h 190402"/>
                <a:gd name="connsiteX16" fmla="*/ 232716 w 233355"/>
                <a:gd name="connsiteY16" fmla="*/ 3990 h 190402"/>
                <a:gd name="connsiteX17" fmla="*/ 225687 w 233355"/>
                <a:gd name="connsiteY17" fmla="*/ 160 h 190402"/>
                <a:gd name="connsiteX18" fmla="*/ 193098 w 233355"/>
                <a:gd name="connsiteY18" fmla="*/ 22504 h 190402"/>
                <a:gd name="connsiteX19" fmla="*/ 72968 w 233355"/>
                <a:gd name="connsiteY19" fmla="*/ 105495 h 190402"/>
                <a:gd name="connsiteX20" fmla="*/ 21209 w 233355"/>
                <a:gd name="connsiteY20" fmla="*/ 69745 h 190402"/>
                <a:gd name="connsiteX21" fmla="*/ 193098 w 233355"/>
                <a:gd name="connsiteY21" fmla="*/ 22504 h 190402"/>
                <a:gd name="connsiteX22" fmla="*/ 75524 w 233355"/>
                <a:gd name="connsiteY22" fmla="*/ 125924 h 190402"/>
                <a:gd name="connsiteX23" fmla="*/ 85748 w 233355"/>
                <a:gd name="connsiteY23" fmla="*/ 141884 h 190402"/>
                <a:gd name="connsiteX24" fmla="*/ 64022 w 233355"/>
                <a:gd name="connsiteY24" fmla="*/ 160397 h 190402"/>
                <a:gd name="connsiteX25" fmla="*/ 75524 w 233355"/>
                <a:gd name="connsiteY25" fmla="*/ 125924 h 190402"/>
                <a:gd name="connsiteX26" fmla="*/ 121531 w 233355"/>
                <a:gd name="connsiteY26" fmla="*/ 171889 h 190402"/>
                <a:gd name="connsiteX27" fmla="*/ 99806 w 233355"/>
                <a:gd name="connsiteY27" fmla="*/ 139969 h 190402"/>
                <a:gd name="connsiteX28" fmla="*/ 83192 w 233355"/>
                <a:gd name="connsiteY28" fmla="*/ 114433 h 190402"/>
                <a:gd name="connsiteX29" fmla="*/ 205878 w 233355"/>
                <a:gd name="connsiteY29" fmla="*/ 29526 h 190402"/>
                <a:gd name="connsiteX30" fmla="*/ 121531 w 233355"/>
                <a:gd name="connsiteY30" fmla="*/ 171889 h 19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3355" h="190402">
                  <a:moveTo>
                    <a:pt x="225687" y="160"/>
                  </a:moveTo>
                  <a:lnTo>
                    <a:pt x="4595" y="61446"/>
                  </a:lnTo>
                  <a:cubicBezTo>
                    <a:pt x="1400" y="62084"/>
                    <a:pt x="-517" y="65915"/>
                    <a:pt x="122" y="69107"/>
                  </a:cubicBezTo>
                  <a:cubicBezTo>
                    <a:pt x="761" y="70383"/>
                    <a:pt x="1400" y="71660"/>
                    <a:pt x="2678" y="72937"/>
                  </a:cubicBezTo>
                  <a:lnTo>
                    <a:pt x="65300" y="116348"/>
                  </a:lnTo>
                  <a:lnTo>
                    <a:pt x="44213" y="177634"/>
                  </a:lnTo>
                  <a:cubicBezTo>
                    <a:pt x="43574" y="180188"/>
                    <a:pt x="44213" y="183380"/>
                    <a:pt x="46769" y="184657"/>
                  </a:cubicBezTo>
                  <a:cubicBezTo>
                    <a:pt x="48047" y="185295"/>
                    <a:pt x="49325" y="185933"/>
                    <a:pt x="50603" y="185933"/>
                  </a:cubicBezTo>
                  <a:cubicBezTo>
                    <a:pt x="51881" y="185933"/>
                    <a:pt x="53798" y="185295"/>
                    <a:pt x="54437" y="184657"/>
                  </a:cubicBezTo>
                  <a:lnTo>
                    <a:pt x="92777" y="152737"/>
                  </a:lnTo>
                  <a:lnTo>
                    <a:pt x="116419" y="187849"/>
                  </a:lnTo>
                  <a:cubicBezTo>
                    <a:pt x="117697" y="189764"/>
                    <a:pt x="119614" y="190402"/>
                    <a:pt x="121531" y="190402"/>
                  </a:cubicBezTo>
                  <a:lnTo>
                    <a:pt x="121531" y="190402"/>
                  </a:lnTo>
                  <a:cubicBezTo>
                    <a:pt x="123448" y="190402"/>
                    <a:pt x="126004" y="189125"/>
                    <a:pt x="126643" y="187210"/>
                  </a:cubicBezTo>
                  <a:lnTo>
                    <a:pt x="230799" y="11651"/>
                  </a:lnTo>
                  <a:lnTo>
                    <a:pt x="230799" y="11651"/>
                  </a:lnTo>
                  <a:cubicBezTo>
                    <a:pt x="233355" y="9736"/>
                    <a:pt x="233994" y="6544"/>
                    <a:pt x="232716" y="3990"/>
                  </a:cubicBezTo>
                  <a:cubicBezTo>
                    <a:pt x="232077" y="798"/>
                    <a:pt x="228882" y="-479"/>
                    <a:pt x="225687" y="160"/>
                  </a:cubicBezTo>
                  <a:close/>
                  <a:moveTo>
                    <a:pt x="193098" y="22504"/>
                  </a:moveTo>
                  <a:lnTo>
                    <a:pt x="72968" y="105495"/>
                  </a:lnTo>
                  <a:lnTo>
                    <a:pt x="21209" y="69745"/>
                  </a:lnTo>
                  <a:lnTo>
                    <a:pt x="193098" y="22504"/>
                  </a:lnTo>
                  <a:close/>
                  <a:moveTo>
                    <a:pt x="75524" y="125924"/>
                  </a:moveTo>
                  <a:lnTo>
                    <a:pt x="85748" y="141884"/>
                  </a:lnTo>
                  <a:lnTo>
                    <a:pt x="64022" y="160397"/>
                  </a:lnTo>
                  <a:lnTo>
                    <a:pt x="75524" y="125924"/>
                  </a:lnTo>
                  <a:close/>
                  <a:moveTo>
                    <a:pt x="121531" y="171889"/>
                  </a:moveTo>
                  <a:lnTo>
                    <a:pt x="99806" y="139969"/>
                  </a:lnTo>
                  <a:lnTo>
                    <a:pt x="83192" y="114433"/>
                  </a:lnTo>
                  <a:lnTo>
                    <a:pt x="205878" y="29526"/>
                  </a:lnTo>
                  <a:lnTo>
                    <a:pt x="121531" y="171889"/>
                  </a:lnTo>
                  <a:close/>
                </a:path>
              </a:pathLst>
            </a:custGeom>
            <a:solidFill>
              <a:schemeClr val="bg1"/>
            </a:solidFill>
            <a:ln w="6390" cap="flat">
              <a:noFill/>
              <a:prstDash val="solid"/>
              <a:miter/>
            </a:ln>
          </p:spPr>
          <p:txBody>
            <a:bodyPr rtlCol="0" anchor="ctr"/>
            <a:lstStyle/>
            <a:p>
              <a:endParaRPr lang="en-US" sz="105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33" name="Group 32">
            <a:extLst>
              <a:ext uri="{FF2B5EF4-FFF2-40B4-BE49-F238E27FC236}">
                <a16:creationId xmlns:a16="http://schemas.microsoft.com/office/drawing/2014/main" id="{BDF6B9E2-3E01-D45A-6270-40B8E717B32C}"/>
              </a:ext>
            </a:extLst>
          </p:cNvPr>
          <p:cNvGrpSpPr/>
          <p:nvPr/>
        </p:nvGrpSpPr>
        <p:grpSpPr>
          <a:xfrm>
            <a:off x="6216320" y="3620459"/>
            <a:ext cx="457200" cy="1039780"/>
            <a:chOff x="3454407" y="2920146"/>
            <a:chExt cx="457200" cy="1039780"/>
          </a:xfrm>
        </p:grpSpPr>
        <p:sp>
          <p:nvSpPr>
            <p:cNvPr id="34" name="Oval 33">
              <a:extLst>
                <a:ext uri="{FF2B5EF4-FFF2-40B4-BE49-F238E27FC236}">
                  <a16:creationId xmlns:a16="http://schemas.microsoft.com/office/drawing/2014/main" id="{395CDD9F-2DA8-7B03-A3A2-3C154EAAA1F2}"/>
                </a:ext>
              </a:extLst>
            </p:cNvPr>
            <p:cNvSpPr/>
            <p:nvPr/>
          </p:nvSpPr>
          <p:spPr bwMode="gray">
            <a:xfrm>
              <a:off x="3454407" y="2920146"/>
              <a:ext cx="457200" cy="4572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35" name="Straight Connector 34">
              <a:extLst>
                <a:ext uri="{FF2B5EF4-FFF2-40B4-BE49-F238E27FC236}">
                  <a16:creationId xmlns:a16="http://schemas.microsoft.com/office/drawing/2014/main" id="{92395853-70BF-1316-6BC7-1A0CF7AC076C}"/>
                </a:ext>
              </a:extLst>
            </p:cNvPr>
            <p:cNvCxnSpPr>
              <a:cxnSpLocks/>
              <a:stCxn id="34" idx="4"/>
            </p:cNvCxnSpPr>
            <p:nvPr/>
          </p:nvCxnSpPr>
          <p:spPr>
            <a:xfrm>
              <a:off x="3683007" y="3377346"/>
              <a:ext cx="2627" cy="582580"/>
            </a:xfrm>
            <a:prstGeom prst="line">
              <a:avLst/>
            </a:prstGeom>
            <a:ln w="12700">
              <a:solidFill>
                <a:schemeClr val="accent3">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
          <p:nvSpPr>
            <p:cNvPr id="36" name="Graphic 4">
              <a:extLst>
                <a:ext uri="{FF2B5EF4-FFF2-40B4-BE49-F238E27FC236}">
                  <a16:creationId xmlns:a16="http://schemas.microsoft.com/office/drawing/2014/main" id="{6D30429D-44AF-8014-91AD-1FA73F561CAF}"/>
                </a:ext>
              </a:extLst>
            </p:cNvPr>
            <p:cNvSpPr/>
            <p:nvPr/>
          </p:nvSpPr>
          <p:spPr>
            <a:xfrm>
              <a:off x="3541806" y="3051035"/>
              <a:ext cx="290266" cy="202997"/>
            </a:xfrm>
            <a:custGeom>
              <a:avLst/>
              <a:gdLst>
                <a:gd name="connsiteX0" fmla="*/ 189142 w 217257"/>
                <a:gd name="connsiteY0" fmla="*/ 0 h 151938"/>
                <a:gd name="connsiteX1" fmla="*/ 161027 w 217257"/>
                <a:gd name="connsiteY1" fmla="*/ 28090 h 151938"/>
                <a:gd name="connsiteX2" fmla="*/ 169333 w 217257"/>
                <a:gd name="connsiteY2" fmla="*/ 48518 h 151938"/>
                <a:gd name="connsiteX3" fmla="*/ 139301 w 217257"/>
                <a:gd name="connsiteY3" fmla="*/ 97037 h 151938"/>
                <a:gd name="connsiteX4" fmla="*/ 130355 w 217257"/>
                <a:gd name="connsiteY4" fmla="*/ 95760 h 151938"/>
                <a:gd name="connsiteX5" fmla="*/ 122687 w 217257"/>
                <a:gd name="connsiteY5" fmla="*/ 97037 h 151938"/>
                <a:gd name="connsiteX6" fmla="*/ 97766 w 217257"/>
                <a:gd name="connsiteY6" fmla="*/ 50434 h 151938"/>
                <a:gd name="connsiteX7" fmla="*/ 107351 w 217257"/>
                <a:gd name="connsiteY7" fmla="*/ 29366 h 151938"/>
                <a:gd name="connsiteX8" fmla="*/ 79235 w 217257"/>
                <a:gd name="connsiteY8" fmla="*/ 1277 h 151938"/>
                <a:gd name="connsiteX9" fmla="*/ 51119 w 217257"/>
                <a:gd name="connsiteY9" fmla="*/ 29366 h 151938"/>
                <a:gd name="connsiteX10" fmla="*/ 60704 w 217257"/>
                <a:gd name="connsiteY10" fmla="*/ 50434 h 151938"/>
                <a:gd name="connsiteX11" fmla="*/ 35783 w 217257"/>
                <a:gd name="connsiteY11" fmla="*/ 97037 h 151938"/>
                <a:gd name="connsiteX12" fmla="*/ 28116 w 217257"/>
                <a:gd name="connsiteY12" fmla="*/ 95760 h 151938"/>
                <a:gd name="connsiteX13" fmla="*/ 0 w 217257"/>
                <a:gd name="connsiteY13" fmla="*/ 123849 h 151938"/>
                <a:gd name="connsiteX14" fmla="*/ 28116 w 217257"/>
                <a:gd name="connsiteY14" fmla="*/ 151939 h 151938"/>
                <a:gd name="connsiteX15" fmla="*/ 56231 w 217257"/>
                <a:gd name="connsiteY15" fmla="*/ 123849 h 151938"/>
                <a:gd name="connsiteX16" fmla="*/ 46646 w 217257"/>
                <a:gd name="connsiteY16" fmla="*/ 102782 h 151938"/>
                <a:gd name="connsiteX17" fmla="*/ 71567 w 217257"/>
                <a:gd name="connsiteY17" fmla="*/ 56179 h 151938"/>
                <a:gd name="connsiteX18" fmla="*/ 79235 w 217257"/>
                <a:gd name="connsiteY18" fmla="*/ 57456 h 151938"/>
                <a:gd name="connsiteX19" fmla="*/ 86903 w 217257"/>
                <a:gd name="connsiteY19" fmla="*/ 56179 h 151938"/>
                <a:gd name="connsiteX20" fmla="*/ 111824 w 217257"/>
                <a:gd name="connsiteY20" fmla="*/ 102782 h 151938"/>
                <a:gd name="connsiteX21" fmla="*/ 102239 w 217257"/>
                <a:gd name="connsiteY21" fmla="*/ 123849 h 151938"/>
                <a:gd name="connsiteX22" fmla="*/ 130355 w 217257"/>
                <a:gd name="connsiteY22" fmla="*/ 151939 h 151938"/>
                <a:gd name="connsiteX23" fmla="*/ 158470 w 217257"/>
                <a:gd name="connsiteY23" fmla="*/ 123849 h 151938"/>
                <a:gd name="connsiteX24" fmla="*/ 150164 w 217257"/>
                <a:gd name="connsiteY24" fmla="*/ 103421 h 151938"/>
                <a:gd name="connsiteX25" fmla="*/ 180196 w 217257"/>
                <a:gd name="connsiteY25" fmla="*/ 54902 h 151938"/>
                <a:gd name="connsiteX26" fmla="*/ 189142 w 217257"/>
                <a:gd name="connsiteY26" fmla="*/ 56179 h 151938"/>
                <a:gd name="connsiteX27" fmla="*/ 217258 w 217257"/>
                <a:gd name="connsiteY27" fmla="*/ 28090 h 151938"/>
                <a:gd name="connsiteX28" fmla="*/ 189142 w 217257"/>
                <a:gd name="connsiteY28" fmla="*/ 0 h 151938"/>
                <a:gd name="connsiteX29" fmla="*/ 27477 w 217257"/>
                <a:gd name="connsiteY29" fmla="*/ 139171 h 151938"/>
                <a:gd name="connsiteX30" fmla="*/ 12141 w 217257"/>
                <a:gd name="connsiteY30" fmla="*/ 123849 h 151938"/>
                <a:gd name="connsiteX31" fmla="*/ 27477 w 217257"/>
                <a:gd name="connsiteY31" fmla="*/ 108528 h 151938"/>
                <a:gd name="connsiteX32" fmla="*/ 42813 w 217257"/>
                <a:gd name="connsiteY32" fmla="*/ 123849 h 151938"/>
                <a:gd name="connsiteX33" fmla="*/ 27477 w 217257"/>
                <a:gd name="connsiteY33" fmla="*/ 139171 h 151938"/>
                <a:gd name="connsiteX34" fmla="*/ 63261 w 217257"/>
                <a:gd name="connsiteY34" fmla="*/ 28090 h 151938"/>
                <a:gd name="connsiteX35" fmla="*/ 78596 w 217257"/>
                <a:gd name="connsiteY35" fmla="*/ 12768 h 151938"/>
                <a:gd name="connsiteX36" fmla="*/ 93932 w 217257"/>
                <a:gd name="connsiteY36" fmla="*/ 28090 h 151938"/>
                <a:gd name="connsiteX37" fmla="*/ 78596 w 217257"/>
                <a:gd name="connsiteY37" fmla="*/ 43411 h 151938"/>
                <a:gd name="connsiteX38" fmla="*/ 63261 w 217257"/>
                <a:gd name="connsiteY38" fmla="*/ 28090 h 151938"/>
                <a:gd name="connsiteX39" fmla="*/ 130355 w 217257"/>
                <a:gd name="connsiteY39" fmla="*/ 139171 h 151938"/>
                <a:gd name="connsiteX40" fmla="*/ 115019 w 217257"/>
                <a:gd name="connsiteY40" fmla="*/ 123849 h 151938"/>
                <a:gd name="connsiteX41" fmla="*/ 130355 w 217257"/>
                <a:gd name="connsiteY41" fmla="*/ 108528 h 151938"/>
                <a:gd name="connsiteX42" fmla="*/ 145690 w 217257"/>
                <a:gd name="connsiteY42" fmla="*/ 123849 h 151938"/>
                <a:gd name="connsiteX43" fmla="*/ 130355 w 217257"/>
                <a:gd name="connsiteY43" fmla="*/ 139171 h 151938"/>
                <a:gd name="connsiteX44" fmla="*/ 189142 w 217257"/>
                <a:gd name="connsiteY44" fmla="*/ 44050 h 151938"/>
                <a:gd name="connsiteX45" fmla="*/ 173806 w 217257"/>
                <a:gd name="connsiteY45" fmla="*/ 28728 h 151938"/>
                <a:gd name="connsiteX46" fmla="*/ 189142 w 217257"/>
                <a:gd name="connsiteY46" fmla="*/ 13406 h 151938"/>
                <a:gd name="connsiteX47" fmla="*/ 204478 w 217257"/>
                <a:gd name="connsiteY47" fmla="*/ 28728 h 151938"/>
                <a:gd name="connsiteX48" fmla="*/ 189142 w 217257"/>
                <a:gd name="connsiteY48" fmla="*/ 44050 h 15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17257" h="151938">
                  <a:moveTo>
                    <a:pt x="189142" y="0"/>
                  </a:moveTo>
                  <a:cubicBezTo>
                    <a:pt x="173167" y="0"/>
                    <a:pt x="161027" y="12768"/>
                    <a:pt x="161027" y="28090"/>
                  </a:cubicBezTo>
                  <a:cubicBezTo>
                    <a:pt x="161027" y="35750"/>
                    <a:pt x="164221" y="43411"/>
                    <a:pt x="169333" y="48518"/>
                  </a:cubicBezTo>
                  <a:lnTo>
                    <a:pt x="139301" y="97037"/>
                  </a:lnTo>
                  <a:cubicBezTo>
                    <a:pt x="136745" y="96398"/>
                    <a:pt x="133550" y="95760"/>
                    <a:pt x="130355" y="95760"/>
                  </a:cubicBezTo>
                  <a:cubicBezTo>
                    <a:pt x="127799" y="95760"/>
                    <a:pt x="125243" y="96398"/>
                    <a:pt x="122687" y="97037"/>
                  </a:cubicBezTo>
                  <a:lnTo>
                    <a:pt x="97766" y="50434"/>
                  </a:lnTo>
                  <a:cubicBezTo>
                    <a:pt x="103517" y="45326"/>
                    <a:pt x="107351" y="37666"/>
                    <a:pt x="107351" y="29366"/>
                  </a:cubicBezTo>
                  <a:cubicBezTo>
                    <a:pt x="107351" y="13406"/>
                    <a:pt x="94571" y="1277"/>
                    <a:pt x="79235" y="1277"/>
                  </a:cubicBezTo>
                  <a:cubicBezTo>
                    <a:pt x="63899" y="1277"/>
                    <a:pt x="51119" y="14045"/>
                    <a:pt x="51119" y="29366"/>
                  </a:cubicBezTo>
                  <a:cubicBezTo>
                    <a:pt x="51119" y="37666"/>
                    <a:pt x="54953" y="45326"/>
                    <a:pt x="60704" y="50434"/>
                  </a:cubicBezTo>
                  <a:lnTo>
                    <a:pt x="35783" y="97037"/>
                  </a:lnTo>
                  <a:cubicBezTo>
                    <a:pt x="33228" y="96398"/>
                    <a:pt x="30672" y="95760"/>
                    <a:pt x="28116" y="95760"/>
                  </a:cubicBezTo>
                  <a:cubicBezTo>
                    <a:pt x="12141" y="95760"/>
                    <a:pt x="0" y="108528"/>
                    <a:pt x="0" y="123849"/>
                  </a:cubicBezTo>
                  <a:cubicBezTo>
                    <a:pt x="0" y="139171"/>
                    <a:pt x="12780" y="151939"/>
                    <a:pt x="28116" y="151939"/>
                  </a:cubicBezTo>
                  <a:cubicBezTo>
                    <a:pt x="43451" y="151939"/>
                    <a:pt x="56231" y="139171"/>
                    <a:pt x="56231" y="123849"/>
                  </a:cubicBezTo>
                  <a:cubicBezTo>
                    <a:pt x="56231" y="115550"/>
                    <a:pt x="52398" y="107889"/>
                    <a:pt x="46646" y="102782"/>
                  </a:cubicBezTo>
                  <a:lnTo>
                    <a:pt x="71567" y="56179"/>
                  </a:lnTo>
                  <a:cubicBezTo>
                    <a:pt x="74123" y="56818"/>
                    <a:pt x="76679" y="57456"/>
                    <a:pt x="79235" y="57456"/>
                  </a:cubicBezTo>
                  <a:cubicBezTo>
                    <a:pt x="81791" y="57456"/>
                    <a:pt x="84347" y="56818"/>
                    <a:pt x="86903" y="56179"/>
                  </a:cubicBezTo>
                  <a:lnTo>
                    <a:pt x="111824" y="102782"/>
                  </a:lnTo>
                  <a:cubicBezTo>
                    <a:pt x="106073" y="107889"/>
                    <a:pt x="102239" y="115550"/>
                    <a:pt x="102239" y="123849"/>
                  </a:cubicBezTo>
                  <a:cubicBezTo>
                    <a:pt x="102239" y="139809"/>
                    <a:pt x="115019" y="151939"/>
                    <a:pt x="130355" y="151939"/>
                  </a:cubicBezTo>
                  <a:cubicBezTo>
                    <a:pt x="145690" y="151939"/>
                    <a:pt x="158470" y="139171"/>
                    <a:pt x="158470" y="123849"/>
                  </a:cubicBezTo>
                  <a:cubicBezTo>
                    <a:pt x="158470" y="116189"/>
                    <a:pt x="155275" y="108528"/>
                    <a:pt x="150164" y="103421"/>
                  </a:cubicBezTo>
                  <a:lnTo>
                    <a:pt x="180196" y="54902"/>
                  </a:lnTo>
                  <a:cubicBezTo>
                    <a:pt x="182752" y="55541"/>
                    <a:pt x="185947" y="56179"/>
                    <a:pt x="189142" y="56179"/>
                  </a:cubicBezTo>
                  <a:cubicBezTo>
                    <a:pt x="204478" y="56179"/>
                    <a:pt x="217258" y="43411"/>
                    <a:pt x="217258" y="28090"/>
                  </a:cubicBezTo>
                  <a:cubicBezTo>
                    <a:pt x="217258" y="12768"/>
                    <a:pt x="204478" y="0"/>
                    <a:pt x="189142" y="0"/>
                  </a:cubicBezTo>
                  <a:close/>
                  <a:moveTo>
                    <a:pt x="27477" y="139171"/>
                  </a:moveTo>
                  <a:cubicBezTo>
                    <a:pt x="19170" y="139171"/>
                    <a:pt x="12141" y="132149"/>
                    <a:pt x="12141" y="123849"/>
                  </a:cubicBezTo>
                  <a:cubicBezTo>
                    <a:pt x="12141" y="115550"/>
                    <a:pt x="19170" y="108528"/>
                    <a:pt x="27477" y="108528"/>
                  </a:cubicBezTo>
                  <a:cubicBezTo>
                    <a:pt x="35783" y="108528"/>
                    <a:pt x="42813" y="115550"/>
                    <a:pt x="42813" y="123849"/>
                  </a:cubicBezTo>
                  <a:cubicBezTo>
                    <a:pt x="42813" y="132149"/>
                    <a:pt x="36423" y="139171"/>
                    <a:pt x="27477" y="139171"/>
                  </a:cubicBezTo>
                  <a:close/>
                  <a:moveTo>
                    <a:pt x="63261" y="28090"/>
                  </a:moveTo>
                  <a:cubicBezTo>
                    <a:pt x="63261" y="19790"/>
                    <a:pt x="70289" y="12768"/>
                    <a:pt x="78596" y="12768"/>
                  </a:cubicBezTo>
                  <a:cubicBezTo>
                    <a:pt x="86903" y="12768"/>
                    <a:pt x="93932" y="19790"/>
                    <a:pt x="93932" y="28090"/>
                  </a:cubicBezTo>
                  <a:cubicBezTo>
                    <a:pt x="93932" y="36389"/>
                    <a:pt x="86903" y="43411"/>
                    <a:pt x="78596" y="43411"/>
                  </a:cubicBezTo>
                  <a:cubicBezTo>
                    <a:pt x="70289" y="43411"/>
                    <a:pt x="63261" y="37027"/>
                    <a:pt x="63261" y="28090"/>
                  </a:cubicBezTo>
                  <a:close/>
                  <a:moveTo>
                    <a:pt x="130355" y="139171"/>
                  </a:moveTo>
                  <a:cubicBezTo>
                    <a:pt x="122048" y="139171"/>
                    <a:pt x="115019" y="132149"/>
                    <a:pt x="115019" y="123849"/>
                  </a:cubicBezTo>
                  <a:cubicBezTo>
                    <a:pt x="115019" y="115550"/>
                    <a:pt x="122048" y="108528"/>
                    <a:pt x="130355" y="108528"/>
                  </a:cubicBezTo>
                  <a:cubicBezTo>
                    <a:pt x="138662" y="108528"/>
                    <a:pt x="145690" y="115550"/>
                    <a:pt x="145690" y="123849"/>
                  </a:cubicBezTo>
                  <a:cubicBezTo>
                    <a:pt x="145690" y="132149"/>
                    <a:pt x="138662" y="139171"/>
                    <a:pt x="130355" y="139171"/>
                  </a:cubicBezTo>
                  <a:close/>
                  <a:moveTo>
                    <a:pt x="189142" y="44050"/>
                  </a:moveTo>
                  <a:cubicBezTo>
                    <a:pt x="180835" y="44050"/>
                    <a:pt x="173806" y="37027"/>
                    <a:pt x="173806" y="28728"/>
                  </a:cubicBezTo>
                  <a:cubicBezTo>
                    <a:pt x="173806" y="20429"/>
                    <a:pt x="180835" y="13406"/>
                    <a:pt x="189142" y="13406"/>
                  </a:cubicBezTo>
                  <a:cubicBezTo>
                    <a:pt x="197449" y="13406"/>
                    <a:pt x="204478" y="20429"/>
                    <a:pt x="204478" y="28728"/>
                  </a:cubicBezTo>
                  <a:cubicBezTo>
                    <a:pt x="204478" y="37027"/>
                    <a:pt x="197449" y="44050"/>
                    <a:pt x="189142" y="44050"/>
                  </a:cubicBezTo>
                  <a:close/>
                </a:path>
              </a:pathLst>
            </a:custGeom>
            <a:solidFill>
              <a:schemeClr val="bg1"/>
            </a:solidFill>
            <a:ln w="6390" cap="flat">
              <a:noFill/>
              <a:prstDash val="solid"/>
              <a:miter/>
            </a:ln>
          </p:spPr>
          <p:txBody>
            <a:bodyPr rtlCol="0" anchor="ctr"/>
            <a:lstStyle/>
            <a:p>
              <a:endParaRPr lang="en-US" sz="105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37" name="Group 36">
            <a:extLst>
              <a:ext uri="{FF2B5EF4-FFF2-40B4-BE49-F238E27FC236}">
                <a16:creationId xmlns:a16="http://schemas.microsoft.com/office/drawing/2014/main" id="{E18D9E4B-F835-0243-9452-75A74199E9B4}"/>
              </a:ext>
            </a:extLst>
          </p:cNvPr>
          <p:cNvGrpSpPr/>
          <p:nvPr/>
        </p:nvGrpSpPr>
        <p:grpSpPr>
          <a:xfrm>
            <a:off x="639690" y="2235976"/>
            <a:ext cx="457200" cy="1104965"/>
            <a:chOff x="296776" y="1032338"/>
            <a:chExt cx="457200" cy="1104965"/>
          </a:xfrm>
          <a:solidFill>
            <a:schemeClr val="accent3">
              <a:lumMod val="75000"/>
            </a:schemeClr>
          </a:solidFill>
        </p:grpSpPr>
        <p:sp>
          <p:nvSpPr>
            <p:cNvPr id="38" name="Oval 37">
              <a:extLst>
                <a:ext uri="{FF2B5EF4-FFF2-40B4-BE49-F238E27FC236}">
                  <a16:creationId xmlns:a16="http://schemas.microsoft.com/office/drawing/2014/main" id="{F3DC21F2-2EAE-CA56-86F5-27146ED57F92}"/>
                </a:ext>
              </a:extLst>
            </p:cNvPr>
            <p:cNvSpPr/>
            <p:nvPr/>
          </p:nvSpPr>
          <p:spPr bwMode="gray">
            <a:xfrm>
              <a:off x="296776" y="1032338"/>
              <a:ext cx="457200" cy="457200"/>
            </a:xfrm>
            <a:prstGeom prst="ellips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39" name="Straight Connector 38">
              <a:extLst>
                <a:ext uri="{FF2B5EF4-FFF2-40B4-BE49-F238E27FC236}">
                  <a16:creationId xmlns:a16="http://schemas.microsoft.com/office/drawing/2014/main" id="{6E676462-C8C6-59A0-99CB-EF82E2E910DC}"/>
                </a:ext>
              </a:extLst>
            </p:cNvPr>
            <p:cNvCxnSpPr>
              <a:cxnSpLocks/>
            </p:cNvCxnSpPr>
            <p:nvPr/>
          </p:nvCxnSpPr>
          <p:spPr>
            <a:xfrm>
              <a:off x="525638" y="1490257"/>
              <a:ext cx="0" cy="647046"/>
            </a:xfrm>
            <a:prstGeom prst="line">
              <a:avLst/>
            </a:pr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cxnSp>
        <p:grpSp>
          <p:nvGrpSpPr>
            <p:cNvPr id="40" name="Graphic 4">
              <a:extLst>
                <a:ext uri="{FF2B5EF4-FFF2-40B4-BE49-F238E27FC236}">
                  <a16:creationId xmlns:a16="http://schemas.microsoft.com/office/drawing/2014/main" id="{DBD8C404-EDBB-26C4-ED75-7299EAFE996D}"/>
                </a:ext>
              </a:extLst>
            </p:cNvPr>
            <p:cNvGrpSpPr/>
            <p:nvPr/>
          </p:nvGrpSpPr>
          <p:grpSpPr>
            <a:xfrm>
              <a:off x="370229" y="1135826"/>
              <a:ext cx="305419" cy="251372"/>
              <a:chOff x="1574480" y="4392980"/>
              <a:chExt cx="243474" cy="200390"/>
            </a:xfrm>
            <a:grpFill/>
          </p:grpSpPr>
          <p:sp>
            <p:nvSpPr>
              <p:cNvPr id="41" name="Graphic 4">
                <a:extLst>
                  <a:ext uri="{FF2B5EF4-FFF2-40B4-BE49-F238E27FC236}">
                    <a16:creationId xmlns:a16="http://schemas.microsoft.com/office/drawing/2014/main" id="{1E7768D1-60C4-945E-4E92-9A7BF6DBB35C}"/>
                  </a:ext>
                </a:extLst>
              </p:cNvPr>
              <p:cNvSpPr/>
              <p:nvPr/>
            </p:nvSpPr>
            <p:spPr>
              <a:xfrm rot="10800000">
                <a:off x="1664578" y="4465850"/>
                <a:ext cx="62621" cy="127520"/>
              </a:xfrm>
              <a:custGeom>
                <a:avLst/>
                <a:gdLst>
                  <a:gd name="connsiteX0" fmla="*/ 60704 w 62621"/>
                  <a:gd name="connsiteY0" fmla="*/ 26653 h 127520"/>
                  <a:gd name="connsiteX1" fmla="*/ 35784 w 62621"/>
                  <a:gd name="connsiteY1" fmla="*/ 1756 h 127520"/>
                  <a:gd name="connsiteX2" fmla="*/ 33867 w 62621"/>
                  <a:gd name="connsiteY2" fmla="*/ 479 h 127520"/>
                  <a:gd name="connsiteX3" fmla="*/ 28755 w 62621"/>
                  <a:gd name="connsiteY3" fmla="*/ 479 h 127520"/>
                  <a:gd name="connsiteX4" fmla="*/ 26838 w 62621"/>
                  <a:gd name="connsiteY4" fmla="*/ 1756 h 127520"/>
                  <a:gd name="connsiteX5" fmla="*/ 1917 w 62621"/>
                  <a:gd name="connsiteY5" fmla="*/ 26653 h 127520"/>
                  <a:gd name="connsiteX6" fmla="*/ 1917 w 62621"/>
                  <a:gd name="connsiteY6" fmla="*/ 35591 h 127520"/>
                  <a:gd name="connsiteX7" fmla="*/ 10863 w 62621"/>
                  <a:gd name="connsiteY7" fmla="*/ 35591 h 127520"/>
                  <a:gd name="connsiteX8" fmla="*/ 10863 w 62621"/>
                  <a:gd name="connsiteY8" fmla="*/ 35591 h 127520"/>
                  <a:gd name="connsiteX9" fmla="*/ 24921 w 62621"/>
                  <a:gd name="connsiteY9" fmla="*/ 21546 h 127520"/>
                  <a:gd name="connsiteX10" fmla="*/ 24921 w 62621"/>
                  <a:gd name="connsiteY10" fmla="*/ 121136 h 127520"/>
                  <a:gd name="connsiteX11" fmla="*/ 31311 w 62621"/>
                  <a:gd name="connsiteY11" fmla="*/ 127520 h 127520"/>
                  <a:gd name="connsiteX12" fmla="*/ 37701 w 62621"/>
                  <a:gd name="connsiteY12" fmla="*/ 121136 h 127520"/>
                  <a:gd name="connsiteX13" fmla="*/ 37701 w 62621"/>
                  <a:gd name="connsiteY13" fmla="*/ 21546 h 127520"/>
                  <a:gd name="connsiteX14" fmla="*/ 51759 w 62621"/>
                  <a:gd name="connsiteY14" fmla="*/ 35591 h 127520"/>
                  <a:gd name="connsiteX15" fmla="*/ 56231 w 62621"/>
                  <a:gd name="connsiteY15" fmla="*/ 37506 h 127520"/>
                  <a:gd name="connsiteX16" fmla="*/ 62621 w 62621"/>
                  <a:gd name="connsiteY16" fmla="*/ 31122 h 127520"/>
                  <a:gd name="connsiteX17" fmla="*/ 60704 w 62621"/>
                  <a:gd name="connsiteY17" fmla="*/ 26653 h 127520"/>
                  <a:gd name="connsiteX18" fmla="*/ 60704 w 62621"/>
                  <a:gd name="connsiteY18" fmla="*/ 26653 h 12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621" h="127520">
                    <a:moveTo>
                      <a:pt x="60704" y="26653"/>
                    </a:moveTo>
                    <a:lnTo>
                      <a:pt x="35784" y="1756"/>
                    </a:lnTo>
                    <a:cubicBezTo>
                      <a:pt x="35145" y="1117"/>
                      <a:pt x="34506" y="479"/>
                      <a:pt x="33867" y="479"/>
                    </a:cubicBezTo>
                    <a:cubicBezTo>
                      <a:pt x="32589" y="-160"/>
                      <a:pt x="30672" y="-160"/>
                      <a:pt x="28755" y="479"/>
                    </a:cubicBezTo>
                    <a:cubicBezTo>
                      <a:pt x="28116" y="1117"/>
                      <a:pt x="27477" y="1117"/>
                      <a:pt x="26838" y="1756"/>
                    </a:cubicBezTo>
                    <a:lnTo>
                      <a:pt x="1917" y="26653"/>
                    </a:lnTo>
                    <a:cubicBezTo>
                      <a:pt x="-639" y="29207"/>
                      <a:pt x="-639" y="33037"/>
                      <a:pt x="1917" y="35591"/>
                    </a:cubicBezTo>
                    <a:cubicBezTo>
                      <a:pt x="4473" y="38144"/>
                      <a:pt x="8307" y="38144"/>
                      <a:pt x="10863" y="35591"/>
                    </a:cubicBezTo>
                    <a:cubicBezTo>
                      <a:pt x="10863" y="35591"/>
                      <a:pt x="10863" y="35591"/>
                      <a:pt x="10863" y="35591"/>
                    </a:cubicBezTo>
                    <a:lnTo>
                      <a:pt x="24921" y="21546"/>
                    </a:lnTo>
                    <a:lnTo>
                      <a:pt x="24921" y="121136"/>
                    </a:lnTo>
                    <a:cubicBezTo>
                      <a:pt x="24921" y="124966"/>
                      <a:pt x="27477" y="127520"/>
                      <a:pt x="31311" y="127520"/>
                    </a:cubicBezTo>
                    <a:cubicBezTo>
                      <a:pt x="35145" y="127520"/>
                      <a:pt x="37701" y="124966"/>
                      <a:pt x="37701" y="121136"/>
                    </a:cubicBezTo>
                    <a:lnTo>
                      <a:pt x="37701" y="21546"/>
                    </a:lnTo>
                    <a:lnTo>
                      <a:pt x="51759" y="35591"/>
                    </a:lnTo>
                    <a:cubicBezTo>
                      <a:pt x="53036" y="36867"/>
                      <a:pt x="54315" y="37506"/>
                      <a:pt x="56231" y="37506"/>
                    </a:cubicBezTo>
                    <a:cubicBezTo>
                      <a:pt x="60065" y="37506"/>
                      <a:pt x="62621" y="34314"/>
                      <a:pt x="62621" y="31122"/>
                    </a:cubicBezTo>
                    <a:cubicBezTo>
                      <a:pt x="62621" y="29207"/>
                      <a:pt x="61983" y="27930"/>
                      <a:pt x="60704" y="26653"/>
                    </a:cubicBezTo>
                    <a:lnTo>
                      <a:pt x="60704" y="26653"/>
                    </a:lnTo>
                    <a:close/>
                  </a:path>
                </a:pathLst>
              </a:custGeom>
              <a:solidFill>
                <a:schemeClr val="bg1"/>
              </a:solidFill>
              <a:ln w="6390" cap="flat">
                <a:noFill/>
                <a:prstDash val="solid"/>
                <a:miter/>
              </a:ln>
            </p:spPr>
            <p:txBody>
              <a:bodyPr rtlCol="0" anchor="ctr"/>
              <a:lstStyle/>
              <a:p>
                <a:endParaRPr lang="en-US" sz="10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2" name="Graphic 4">
                <a:extLst>
                  <a:ext uri="{FF2B5EF4-FFF2-40B4-BE49-F238E27FC236}">
                    <a16:creationId xmlns:a16="http://schemas.microsoft.com/office/drawing/2014/main" id="{D0368093-AB98-0C8C-9F47-6990BEDC1418}"/>
                  </a:ext>
                </a:extLst>
              </p:cNvPr>
              <p:cNvSpPr/>
              <p:nvPr/>
            </p:nvSpPr>
            <p:spPr>
              <a:xfrm>
                <a:off x="1574480" y="4392980"/>
                <a:ext cx="243474" cy="144934"/>
              </a:xfrm>
              <a:custGeom>
                <a:avLst/>
                <a:gdLst>
                  <a:gd name="connsiteX0" fmla="*/ 203839 w 243474"/>
                  <a:gd name="connsiteY0" fmla="*/ 65755 h 144934"/>
                  <a:gd name="connsiteX1" fmla="*/ 198727 w 243474"/>
                  <a:gd name="connsiteY1" fmla="*/ 66394 h 144934"/>
                  <a:gd name="connsiteX2" fmla="*/ 198727 w 243474"/>
                  <a:gd name="connsiteY2" fmla="*/ 64478 h 144934"/>
                  <a:gd name="connsiteX3" fmla="*/ 134189 w 243474"/>
                  <a:gd name="connsiteY3" fmla="*/ 0 h 144934"/>
                  <a:gd name="connsiteX4" fmla="*/ 72206 w 243474"/>
                  <a:gd name="connsiteY4" fmla="*/ 43411 h 144934"/>
                  <a:gd name="connsiteX5" fmla="*/ 53036 w 243474"/>
                  <a:gd name="connsiteY5" fmla="*/ 38942 h 144934"/>
                  <a:gd name="connsiteX6" fmla="*/ 0 w 243474"/>
                  <a:gd name="connsiteY6" fmla="*/ 91930 h 144934"/>
                  <a:gd name="connsiteX7" fmla="*/ 53036 w 243474"/>
                  <a:gd name="connsiteY7" fmla="*/ 144916 h 144934"/>
                  <a:gd name="connsiteX8" fmla="*/ 53036 w 243474"/>
                  <a:gd name="connsiteY8" fmla="*/ 144916 h 144934"/>
                  <a:gd name="connsiteX9" fmla="*/ 86903 w 243474"/>
                  <a:gd name="connsiteY9" fmla="*/ 144916 h 144934"/>
                  <a:gd name="connsiteX10" fmla="*/ 93293 w 243474"/>
                  <a:gd name="connsiteY10" fmla="*/ 138533 h 144934"/>
                  <a:gd name="connsiteX11" fmla="*/ 86903 w 243474"/>
                  <a:gd name="connsiteY11" fmla="*/ 132149 h 144934"/>
                  <a:gd name="connsiteX12" fmla="*/ 53036 w 243474"/>
                  <a:gd name="connsiteY12" fmla="*/ 132149 h 144934"/>
                  <a:gd name="connsiteX13" fmla="*/ 12780 w 243474"/>
                  <a:gd name="connsiteY13" fmla="*/ 91930 h 144934"/>
                  <a:gd name="connsiteX14" fmla="*/ 53036 w 243474"/>
                  <a:gd name="connsiteY14" fmla="*/ 51710 h 144934"/>
                  <a:gd name="connsiteX15" fmla="*/ 53036 w 243474"/>
                  <a:gd name="connsiteY15" fmla="*/ 51710 h 144934"/>
                  <a:gd name="connsiteX16" fmla="*/ 72845 w 243474"/>
                  <a:gd name="connsiteY16" fmla="*/ 58094 h 144934"/>
                  <a:gd name="connsiteX17" fmla="*/ 72845 w 243474"/>
                  <a:gd name="connsiteY17" fmla="*/ 58094 h 144934"/>
                  <a:gd name="connsiteX18" fmla="*/ 73484 w 243474"/>
                  <a:gd name="connsiteY18" fmla="*/ 58733 h 144934"/>
                  <a:gd name="connsiteX19" fmla="*/ 74762 w 243474"/>
                  <a:gd name="connsiteY19" fmla="*/ 59371 h 144934"/>
                  <a:gd name="connsiteX20" fmla="*/ 74762 w 243474"/>
                  <a:gd name="connsiteY20" fmla="*/ 59371 h 144934"/>
                  <a:gd name="connsiteX21" fmla="*/ 79874 w 243474"/>
                  <a:gd name="connsiteY21" fmla="*/ 58094 h 144934"/>
                  <a:gd name="connsiteX22" fmla="*/ 81152 w 243474"/>
                  <a:gd name="connsiteY22" fmla="*/ 56818 h 144934"/>
                  <a:gd name="connsiteX23" fmla="*/ 81152 w 243474"/>
                  <a:gd name="connsiteY23" fmla="*/ 56818 h 144934"/>
                  <a:gd name="connsiteX24" fmla="*/ 81791 w 243474"/>
                  <a:gd name="connsiteY24" fmla="*/ 56179 h 144934"/>
                  <a:gd name="connsiteX25" fmla="*/ 82430 w 243474"/>
                  <a:gd name="connsiteY25" fmla="*/ 54902 h 144934"/>
                  <a:gd name="connsiteX26" fmla="*/ 134189 w 243474"/>
                  <a:gd name="connsiteY26" fmla="*/ 13406 h 144934"/>
                  <a:gd name="connsiteX27" fmla="*/ 185947 w 243474"/>
                  <a:gd name="connsiteY27" fmla="*/ 65117 h 144934"/>
                  <a:gd name="connsiteX28" fmla="*/ 185308 w 243474"/>
                  <a:gd name="connsiteY28" fmla="*/ 72139 h 144934"/>
                  <a:gd name="connsiteX29" fmla="*/ 184669 w 243474"/>
                  <a:gd name="connsiteY29" fmla="*/ 75331 h 144934"/>
                  <a:gd name="connsiteX30" fmla="*/ 184669 w 243474"/>
                  <a:gd name="connsiteY30" fmla="*/ 75970 h 144934"/>
                  <a:gd name="connsiteX31" fmla="*/ 184669 w 243474"/>
                  <a:gd name="connsiteY31" fmla="*/ 77246 h 144934"/>
                  <a:gd name="connsiteX32" fmla="*/ 185308 w 243474"/>
                  <a:gd name="connsiteY32" fmla="*/ 78523 h 144934"/>
                  <a:gd name="connsiteX33" fmla="*/ 185308 w 243474"/>
                  <a:gd name="connsiteY33" fmla="*/ 79162 h 144934"/>
                  <a:gd name="connsiteX34" fmla="*/ 185308 w 243474"/>
                  <a:gd name="connsiteY34" fmla="*/ 79162 h 144934"/>
                  <a:gd name="connsiteX35" fmla="*/ 185947 w 243474"/>
                  <a:gd name="connsiteY35" fmla="*/ 80438 h 144934"/>
                  <a:gd name="connsiteX36" fmla="*/ 186586 w 243474"/>
                  <a:gd name="connsiteY36" fmla="*/ 81077 h 144934"/>
                  <a:gd name="connsiteX37" fmla="*/ 187864 w 243474"/>
                  <a:gd name="connsiteY37" fmla="*/ 81715 h 144934"/>
                  <a:gd name="connsiteX38" fmla="*/ 189142 w 243474"/>
                  <a:gd name="connsiteY38" fmla="*/ 82354 h 144934"/>
                  <a:gd name="connsiteX39" fmla="*/ 189142 w 243474"/>
                  <a:gd name="connsiteY39" fmla="*/ 82354 h 144934"/>
                  <a:gd name="connsiteX40" fmla="*/ 190420 w 243474"/>
                  <a:gd name="connsiteY40" fmla="*/ 82354 h 144934"/>
                  <a:gd name="connsiteX41" fmla="*/ 190420 w 243474"/>
                  <a:gd name="connsiteY41" fmla="*/ 82354 h 144934"/>
                  <a:gd name="connsiteX42" fmla="*/ 191059 w 243474"/>
                  <a:gd name="connsiteY42" fmla="*/ 82354 h 144934"/>
                  <a:gd name="connsiteX43" fmla="*/ 192337 w 243474"/>
                  <a:gd name="connsiteY43" fmla="*/ 81715 h 144934"/>
                  <a:gd name="connsiteX44" fmla="*/ 192976 w 243474"/>
                  <a:gd name="connsiteY44" fmla="*/ 81715 h 144934"/>
                  <a:gd name="connsiteX45" fmla="*/ 202561 w 243474"/>
                  <a:gd name="connsiteY45" fmla="*/ 78523 h 144934"/>
                  <a:gd name="connsiteX46" fmla="*/ 230677 w 243474"/>
                  <a:gd name="connsiteY46" fmla="*/ 104059 h 144934"/>
                  <a:gd name="connsiteX47" fmla="*/ 205117 w 243474"/>
                  <a:gd name="connsiteY47" fmla="*/ 132149 h 144934"/>
                  <a:gd name="connsiteX48" fmla="*/ 202561 w 243474"/>
                  <a:gd name="connsiteY48" fmla="*/ 132149 h 144934"/>
                  <a:gd name="connsiteX49" fmla="*/ 155276 w 243474"/>
                  <a:gd name="connsiteY49" fmla="*/ 132149 h 144934"/>
                  <a:gd name="connsiteX50" fmla="*/ 148886 w 243474"/>
                  <a:gd name="connsiteY50" fmla="*/ 138533 h 144934"/>
                  <a:gd name="connsiteX51" fmla="*/ 155276 w 243474"/>
                  <a:gd name="connsiteY51" fmla="*/ 144916 h 144934"/>
                  <a:gd name="connsiteX52" fmla="*/ 202561 w 243474"/>
                  <a:gd name="connsiteY52" fmla="*/ 144916 h 144934"/>
                  <a:gd name="connsiteX53" fmla="*/ 243457 w 243474"/>
                  <a:gd name="connsiteY53" fmla="*/ 107251 h 144934"/>
                  <a:gd name="connsiteX54" fmla="*/ 205756 w 243474"/>
                  <a:gd name="connsiteY54" fmla="*/ 66394 h 144934"/>
                  <a:gd name="connsiteX55" fmla="*/ 202561 w 243474"/>
                  <a:gd name="connsiteY55" fmla="*/ 66394 h 144934"/>
                  <a:gd name="connsiteX56" fmla="*/ 203839 w 243474"/>
                  <a:gd name="connsiteY56" fmla="*/ 65755 h 14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3474" h="144934">
                    <a:moveTo>
                      <a:pt x="203839" y="65755"/>
                    </a:moveTo>
                    <a:cubicBezTo>
                      <a:pt x="201922" y="65755"/>
                      <a:pt x="200005" y="65755"/>
                      <a:pt x="198727" y="66394"/>
                    </a:cubicBezTo>
                    <a:cubicBezTo>
                      <a:pt x="198727" y="65755"/>
                      <a:pt x="198727" y="65117"/>
                      <a:pt x="198727" y="64478"/>
                    </a:cubicBezTo>
                    <a:cubicBezTo>
                      <a:pt x="198727" y="28728"/>
                      <a:pt x="169972" y="0"/>
                      <a:pt x="134189" y="0"/>
                    </a:cubicBezTo>
                    <a:cubicBezTo>
                      <a:pt x="106712" y="0"/>
                      <a:pt x="81791" y="17237"/>
                      <a:pt x="72206" y="43411"/>
                    </a:cubicBezTo>
                    <a:cubicBezTo>
                      <a:pt x="66455" y="40219"/>
                      <a:pt x="59426" y="38942"/>
                      <a:pt x="53036" y="38942"/>
                    </a:cubicBezTo>
                    <a:cubicBezTo>
                      <a:pt x="23643" y="38942"/>
                      <a:pt x="0" y="62563"/>
                      <a:pt x="0" y="91930"/>
                    </a:cubicBezTo>
                    <a:cubicBezTo>
                      <a:pt x="0" y="121296"/>
                      <a:pt x="23643" y="144916"/>
                      <a:pt x="53036" y="144916"/>
                    </a:cubicBezTo>
                    <a:cubicBezTo>
                      <a:pt x="53036" y="144916"/>
                      <a:pt x="53036" y="144916"/>
                      <a:pt x="53036" y="144916"/>
                    </a:cubicBezTo>
                    <a:lnTo>
                      <a:pt x="86903" y="144916"/>
                    </a:lnTo>
                    <a:cubicBezTo>
                      <a:pt x="90737" y="144916"/>
                      <a:pt x="93293" y="142363"/>
                      <a:pt x="93293" y="138533"/>
                    </a:cubicBezTo>
                    <a:cubicBezTo>
                      <a:pt x="93293" y="134702"/>
                      <a:pt x="90737" y="132149"/>
                      <a:pt x="86903" y="132149"/>
                    </a:cubicBezTo>
                    <a:lnTo>
                      <a:pt x="53036" y="132149"/>
                    </a:lnTo>
                    <a:cubicBezTo>
                      <a:pt x="30672" y="132149"/>
                      <a:pt x="12780" y="114273"/>
                      <a:pt x="12780" y="91930"/>
                    </a:cubicBezTo>
                    <a:cubicBezTo>
                      <a:pt x="12780" y="69586"/>
                      <a:pt x="30672" y="51710"/>
                      <a:pt x="53036" y="51710"/>
                    </a:cubicBezTo>
                    <a:cubicBezTo>
                      <a:pt x="53036" y="51710"/>
                      <a:pt x="53036" y="51710"/>
                      <a:pt x="53036" y="51710"/>
                    </a:cubicBezTo>
                    <a:cubicBezTo>
                      <a:pt x="60065" y="51710"/>
                      <a:pt x="67094" y="53626"/>
                      <a:pt x="72845" y="58094"/>
                    </a:cubicBezTo>
                    <a:lnTo>
                      <a:pt x="72845" y="58094"/>
                    </a:lnTo>
                    <a:cubicBezTo>
                      <a:pt x="72845" y="58094"/>
                      <a:pt x="73484" y="58094"/>
                      <a:pt x="73484" y="58733"/>
                    </a:cubicBezTo>
                    <a:cubicBezTo>
                      <a:pt x="74123" y="58733"/>
                      <a:pt x="74123" y="59371"/>
                      <a:pt x="74762" y="59371"/>
                    </a:cubicBezTo>
                    <a:lnTo>
                      <a:pt x="74762" y="59371"/>
                    </a:lnTo>
                    <a:cubicBezTo>
                      <a:pt x="76679" y="60010"/>
                      <a:pt x="78596" y="59371"/>
                      <a:pt x="79874" y="58094"/>
                    </a:cubicBezTo>
                    <a:cubicBezTo>
                      <a:pt x="80513" y="57456"/>
                      <a:pt x="80513" y="57456"/>
                      <a:pt x="81152" y="56818"/>
                    </a:cubicBezTo>
                    <a:lnTo>
                      <a:pt x="81152" y="56818"/>
                    </a:lnTo>
                    <a:cubicBezTo>
                      <a:pt x="81152" y="56818"/>
                      <a:pt x="81152" y="56179"/>
                      <a:pt x="81791" y="56179"/>
                    </a:cubicBezTo>
                    <a:cubicBezTo>
                      <a:pt x="81791" y="55541"/>
                      <a:pt x="82430" y="55541"/>
                      <a:pt x="82430" y="54902"/>
                    </a:cubicBezTo>
                    <a:cubicBezTo>
                      <a:pt x="88181" y="30643"/>
                      <a:pt x="109268" y="13406"/>
                      <a:pt x="134189" y="13406"/>
                    </a:cubicBezTo>
                    <a:cubicBezTo>
                      <a:pt x="162943" y="13406"/>
                      <a:pt x="185947" y="36389"/>
                      <a:pt x="185947" y="65117"/>
                    </a:cubicBezTo>
                    <a:cubicBezTo>
                      <a:pt x="185947" y="67670"/>
                      <a:pt x="185947" y="69586"/>
                      <a:pt x="185308" y="72139"/>
                    </a:cubicBezTo>
                    <a:cubicBezTo>
                      <a:pt x="185308" y="73416"/>
                      <a:pt x="185308" y="74693"/>
                      <a:pt x="184669" y="75331"/>
                    </a:cubicBezTo>
                    <a:cubicBezTo>
                      <a:pt x="184669" y="75331"/>
                      <a:pt x="184669" y="75970"/>
                      <a:pt x="184669" y="75970"/>
                    </a:cubicBezTo>
                    <a:cubicBezTo>
                      <a:pt x="184669" y="76608"/>
                      <a:pt x="184669" y="76608"/>
                      <a:pt x="184669" y="77246"/>
                    </a:cubicBezTo>
                    <a:cubicBezTo>
                      <a:pt x="184669" y="77885"/>
                      <a:pt x="184669" y="77885"/>
                      <a:pt x="185308" y="78523"/>
                    </a:cubicBezTo>
                    <a:cubicBezTo>
                      <a:pt x="185308" y="78523"/>
                      <a:pt x="185308" y="79162"/>
                      <a:pt x="185308" y="79162"/>
                    </a:cubicBezTo>
                    <a:lnTo>
                      <a:pt x="185308" y="79162"/>
                    </a:lnTo>
                    <a:cubicBezTo>
                      <a:pt x="185308" y="79800"/>
                      <a:pt x="185947" y="79800"/>
                      <a:pt x="185947" y="80438"/>
                    </a:cubicBezTo>
                    <a:cubicBezTo>
                      <a:pt x="185947" y="80438"/>
                      <a:pt x="186586" y="81077"/>
                      <a:pt x="186586" y="81077"/>
                    </a:cubicBezTo>
                    <a:cubicBezTo>
                      <a:pt x="186586" y="81077"/>
                      <a:pt x="187225" y="81715"/>
                      <a:pt x="187864" y="81715"/>
                    </a:cubicBezTo>
                    <a:cubicBezTo>
                      <a:pt x="188503" y="81715"/>
                      <a:pt x="188503" y="82354"/>
                      <a:pt x="189142" y="82354"/>
                    </a:cubicBezTo>
                    <a:lnTo>
                      <a:pt x="189142" y="82354"/>
                    </a:lnTo>
                    <a:cubicBezTo>
                      <a:pt x="189781" y="82354"/>
                      <a:pt x="189781" y="82354"/>
                      <a:pt x="190420" y="82354"/>
                    </a:cubicBezTo>
                    <a:lnTo>
                      <a:pt x="190420" y="82354"/>
                    </a:lnTo>
                    <a:lnTo>
                      <a:pt x="191059" y="82354"/>
                    </a:lnTo>
                    <a:lnTo>
                      <a:pt x="192337" y="81715"/>
                    </a:lnTo>
                    <a:lnTo>
                      <a:pt x="192976" y="81715"/>
                    </a:lnTo>
                    <a:cubicBezTo>
                      <a:pt x="196171" y="79800"/>
                      <a:pt x="199366" y="79162"/>
                      <a:pt x="202561" y="78523"/>
                    </a:cubicBezTo>
                    <a:cubicBezTo>
                      <a:pt x="217258" y="77885"/>
                      <a:pt x="229399" y="89376"/>
                      <a:pt x="230677" y="104059"/>
                    </a:cubicBezTo>
                    <a:cubicBezTo>
                      <a:pt x="231316" y="118742"/>
                      <a:pt x="219814" y="130872"/>
                      <a:pt x="205117" y="132149"/>
                    </a:cubicBezTo>
                    <a:cubicBezTo>
                      <a:pt x="204478" y="132149"/>
                      <a:pt x="203200" y="132149"/>
                      <a:pt x="202561" y="132149"/>
                    </a:cubicBezTo>
                    <a:lnTo>
                      <a:pt x="155276" y="132149"/>
                    </a:lnTo>
                    <a:cubicBezTo>
                      <a:pt x="151442" y="132149"/>
                      <a:pt x="148886" y="134702"/>
                      <a:pt x="148886" y="138533"/>
                    </a:cubicBezTo>
                    <a:cubicBezTo>
                      <a:pt x="148886" y="142363"/>
                      <a:pt x="151442" y="144916"/>
                      <a:pt x="155276" y="144916"/>
                    </a:cubicBezTo>
                    <a:lnTo>
                      <a:pt x="202561" y="144916"/>
                    </a:lnTo>
                    <a:cubicBezTo>
                      <a:pt x="224287" y="145555"/>
                      <a:pt x="242818" y="128957"/>
                      <a:pt x="243457" y="107251"/>
                    </a:cubicBezTo>
                    <a:cubicBezTo>
                      <a:pt x="244096" y="85546"/>
                      <a:pt x="227482" y="67032"/>
                      <a:pt x="205756" y="66394"/>
                    </a:cubicBezTo>
                    <a:cubicBezTo>
                      <a:pt x="204478" y="66394"/>
                      <a:pt x="203839" y="66394"/>
                      <a:pt x="202561" y="66394"/>
                    </a:cubicBezTo>
                    <a:lnTo>
                      <a:pt x="203839" y="65755"/>
                    </a:lnTo>
                    <a:close/>
                  </a:path>
                </a:pathLst>
              </a:custGeom>
              <a:solidFill>
                <a:schemeClr val="bg1"/>
              </a:solidFill>
              <a:ln w="6390" cap="flat">
                <a:noFill/>
                <a:prstDash val="solid"/>
                <a:miter/>
              </a:ln>
            </p:spPr>
            <p:txBody>
              <a:bodyPr rtlCol="0" anchor="ctr"/>
              <a:lstStyle/>
              <a:p>
                <a:endParaRPr lang="en-US" sz="105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grpSp>
        <p:nvGrpSpPr>
          <p:cNvPr id="43" name="Group 42">
            <a:extLst>
              <a:ext uri="{FF2B5EF4-FFF2-40B4-BE49-F238E27FC236}">
                <a16:creationId xmlns:a16="http://schemas.microsoft.com/office/drawing/2014/main" id="{4705CA2F-5985-D78E-73A1-CD30710752CD}"/>
              </a:ext>
            </a:extLst>
          </p:cNvPr>
          <p:cNvGrpSpPr/>
          <p:nvPr/>
        </p:nvGrpSpPr>
        <p:grpSpPr>
          <a:xfrm>
            <a:off x="637282" y="5027868"/>
            <a:ext cx="457200" cy="1059479"/>
            <a:chOff x="296776" y="3589603"/>
            <a:chExt cx="457200" cy="1059479"/>
          </a:xfrm>
        </p:grpSpPr>
        <p:sp>
          <p:nvSpPr>
            <p:cNvPr id="44" name="Oval 43">
              <a:extLst>
                <a:ext uri="{FF2B5EF4-FFF2-40B4-BE49-F238E27FC236}">
                  <a16:creationId xmlns:a16="http://schemas.microsoft.com/office/drawing/2014/main" id="{1E106B7C-D371-20D5-3DBC-30A2D742E29B}"/>
                </a:ext>
              </a:extLst>
            </p:cNvPr>
            <p:cNvSpPr/>
            <p:nvPr/>
          </p:nvSpPr>
          <p:spPr bwMode="gray">
            <a:xfrm>
              <a:off x="296776" y="3589603"/>
              <a:ext cx="457200" cy="458148"/>
            </a:xfrm>
            <a:prstGeom prst="ellipse">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5" name="Straight Connector 44">
              <a:extLst>
                <a:ext uri="{FF2B5EF4-FFF2-40B4-BE49-F238E27FC236}">
                  <a16:creationId xmlns:a16="http://schemas.microsoft.com/office/drawing/2014/main" id="{CCC0F402-B6E3-95DD-E93E-A93514F9C5F8}"/>
                </a:ext>
              </a:extLst>
            </p:cNvPr>
            <p:cNvCxnSpPr>
              <a:cxnSpLocks/>
              <a:stCxn id="44" idx="4"/>
            </p:cNvCxnSpPr>
            <p:nvPr/>
          </p:nvCxnSpPr>
          <p:spPr>
            <a:xfrm>
              <a:off x="525376" y="4047751"/>
              <a:ext cx="252" cy="601331"/>
            </a:xfrm>
            <a:prstGeom prst="line">
              <a:avLst/>
            </a:prstGeom>
            <a:ln w="12700">
              <a:solidFill>
                <a:schemeClr val="accent3">
                  <a:lumMod val="40000"/>
                  <a:lumOff val="6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46" name="Graphic 4">
              <a:extLst>
                <a:ext uri="{FF2B5EF4-FFF2-40B4-BE49-F238E27FC236}">
                  <a16:creationId xmlns:a16="http://schemas.microsoft.com/office/drawing/2014/main" id="{3E1CFC81-02C1-5535-DA49-4E1DACEEBC73}"/>
                </a:ext>
              </a:extLst>
            </p:cNvPr>
            <p:cNvGrpSpPr/>
            <p:nvPr/>
          </p:nvGrpSpPr>
          <p:grpSpPr>
            <a:xfrm>
              <a:off x="377834" y="3707214"/>
              <a:ext cx="305419" cy="241847"/>
              <a:chOff x="1574480" y="4392980"/>
              <a:chExt cx="243474" cy="192797"/>
            </a:xfrm>
            <a:solidFill>
              <a:schemeClr val="tx1"/>
            </a:solidFill>
          </p:grpSpPr>
          <p:sp>
            <p:nvSpPr>
              <p:cNvPr id="47" name="Graphic 4">
                <a:extLst>
                  <a:ext uri="{FF2B5EF4-FFF2-40B4-BE49-F238E27FC236}">
                    <a16:creationId xmlns:a16="http://schemas.microsoft.com/office/drawing/2014/main" id="{E5E04592-34CA-6D3C-7926-64DBEC7F8B29}"/>
                  </a:ext>
                </a:extLst>
              </p:cNvPr>
              <p:cNvSpPr/>
              <p:nvPr/>
            </p:nvSpPr>
            <p:spPr>
              <a:xfrm>
                <a:off x="1664578" y="4458257"/>
                <a:ext cx="62621" cy="127520"/>
              </a:xfrm>
              <a:custGeom>
                <a:avLst/>
                <a:gdLst>
                  <a:gd name="connsiteX0" fmla="*/ 60704 w 62621"/>
                  <a:gd name="connsiteY0" fmla="*/ 26653 h 127520"/>
                  <a:gd name="connsiteX1" fmla="*/ 35784 w 62621"/>
                  <a:gd name="connsiteY1" fmla="*/ 1756 h 127520"/>
                  <a:gd name="connsiteX2" fmla="*/ 33867 w 62621"/>
                  <a:gd name="connsiteY2" fmla="*/ 479 h 127520"/>
                  <a:gd name="connsiteX3" fmla="*/ 28755 w 62621"/>
                  <a:gd name="connsiteY3" fmla="*/ 479 h 127520"/>
                  <a:gd name="connsiteX4" fmla="*/ 26838 w 62621"/>
                  <a:gd name="connsiteY4" fmla="*/ 1756 h 127520"/>
                  <a:gd name="connsiteX5" fmla="*/ 1917 w 62621"/>
                  <a:gd name="connsiteY5" fmla="*/ 26653 h 127520"/>
                  <a:gd name="connsiteX6" fmla="*/ 1917 w 62621"/>
                  <a:gd name="connsiteY6" fmla="*/ 35591 h 127520"/>
                  <a:gd name="connsiteX7" fmla="*/ 10863 w 62621"/>
                  <a:gd name="connsiteY7" fmla="*/ 35591 h 127520"/>
                  <a:gd name="connsiteX8" fmla="*/ 10863 w 62621"/>
                  <a:gd name="connsiteY8" fmla="*/ 35591 h 127520"/>
                  <a:gd name="connsiteX9" fmla="*/ 24921 w 62621"/>
                  <a:gd name="connsiteY9" fmla="*/ 21546 h 127520"/>
                  <a:gd name="connsiteX10" fmla="*/ 24921 w 62621"/>
                  <a:gd name="connsiteY10" fmla="*/ 121136 h 127520"/>
                  <a:gd name="connsiteX11" fmla="*/ 31311 w 62621"/>
                  <a:gd name="connsiteY11" fmla="*/ 127520 h 127520"/>
                  <a:gd name="connsiteX12" fmla="*/ 37701 w 62621"/>
                  <a:gd name="connsiteY12" fmla="*/ 121136 h 127520"/>
                  <a:gd name="connsiteX13" fmla="*/ 37701 w 62621"/>
                  <a:gd name="connsiteY13" fmla="*/ 21546 h 127520"/>
                  <a:gd name="connsiteX14" fmla="*/ 51759 w 62621"/>
                  <a:gd name="connsiteY14" fmla="*/ 35591 h 127520"/>
                  <a:gd name="connsiteX15" fmla="*/ 56231 w 62621"/>
                  <a:gd name="connsiteY15" fmla="*/ 37506 h 127520"/>
                  <a:gd name="connsiteX16" fmla="*/ 62621 w 62621"/>
                  <a:gd name="connsiteY16" fmla="*/ 31122 h 127520"/>
                  <a:gd name="connsiteX17" fmla="*/ 60704 w 62621"/>
                  <a:gd name="connsiteY17" fmla="*/ 26653 h 127520"/>
                  <a:gd name="connsiteX18" fmla="*/ 60704 w 62621"/>
                  <a:gd name="connsiteY18" fmla="*/ 26653 h 12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621" h="127520">
                    <a:moveTo>
                      <a:pt x="60704" y="26653"/>
                    </a:moveTo>
                    <a:lnTo>
                      <a:pt x="35784" y="1756"/>
                    </a:lnTo>
                    <a:cubicBezTo>
                      <a:pt x="35145" y="1117"/>
                      <a:pt x="34506" y="479"/>
                      <a:pt x="33867" y="479"/>
                    </a:cubicBezTo>
                    <a:cubicBezTo>
                      <a:pt x="32589" y="-160"/>
                      <a:pt x="30672" y="-160"/>
                      <a:pt x="28755" y="479"/>
                    </a:cubicBezTo>
                    <a:cubicBezTo>
                      <a:pt x="28116" y="1117"/>
                      <a:pt x="27477" y="1117"/>
                      <a:pt x="26838" y="1756"/>
                    </a:cubicBezTo>
                    <a:lnTo>
                      <a:pt x="1917" y="26653"/>
                    </a:lnTo>
                    <a:cubicBezTo>
                      <a:pt x="-639" y="29207"/>
                      <a:pt x="-639" y="33037"/>
                      <a:pt x="1917" y="35591"/>
                    </a:cubicBezTo>
                    <a:cubicBezTo>
                      <a:pt x="4473" y="38144"/>
                      <a:pt x="8307" y="38144"/>
                      <a:pt x="10863" y="35591"/>
                    </a:cubicBezTo>
                    <a:cubicBezTo>
                      <a:pt x="10863" y="35591"/>
                      <a:pt x="10863" y="35591"/>
                      <a:pt x="10863" y="35591"/>
                    </a:cubicBezTo>
                    <a:lnTo>
                      <a:pt x="24921" y="21546"/>
                    </a:lnTo>
                    <a:lnTo>
                      <a:pt x="24921" y="121136"/>
                    </a:lnTo>
                    <a:cubicBezTo>
                      <a:pt x="24921" y="124966"/>
                      <a:pt x="27477" y="127520"/>
                      <a:pt x="31311" y="127520"/>
                    </a:cubicBezTo>
                    <a:cubicBezTo>
                      <a:pt x="35145" y="127520"/>
                      <a:pt x="37701" y="124966"/>
                      <a:pt x="37701" y="121136"/>
                    </a:cubicBezTo>
                    <a:lnTo>
                      <a:pt x="37701" y="21546"/>
                    </a:lnTo>
                    <a:lnTo>
                      <a:pt x="51759" y="35591"/>
                    </a:lnTo>
                    <a:cubicBezTo>
                      <a:pt x="53036" y="36867"/>
                      <a:pt x="54315" y="37506"/>
                      <a:pt x="56231" y="37506"/>
                    </a:cubicBezTo>
                    <a:cubicBezTo>
                      <a:pt x="60065" y="37506"/>
                      <a:pt x="62621" y="34314"/>
                      <a:pt x="62621" y="31122"/>
                    </a:cubicBezTo>
                    <a:cubicBezTo>
                      <a:pt x="62621" y="29207"/>
                      <a:pt x="61983" y="27930"/>
                      <a:pt x="60704" y="26653"/>
                    </a:cubicBezTo>
                    <a:lnTo>
                      <a:pt x="60704" y="26653"/>
                    </a:lnTo>
                    <a:close/>
                  </a:path>
                </a:pathLst>
              </a:custGeom>
              <a:solidFill>
                <a:schemeClr val="bg1"/>
              </a:solidFill>
              <a:ln w="6390" cap="flat">
                <a:noFill/>
                <a:prstDash val="solid"/>
                <a:miter/>
              </a:ln>
            </p:spPr>
            <p:txBody>
              <a:bodyPr rtlCol="0" anchor="ctr"/>
              <a:lstStyle/>
              <a:p>
                <a:endParaRPr lang="en-US" sz="105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8" name="Graphic 4">
                <a:extLst>
                  <a:ext uri="{FF2B5EF4-FFF2-40B4-BE49-F238E27FC236}">
                    <a16:creationId xmlns:a16="http://schemas.microsoft.com/office/drawing/2014/main" id="{EF0FB5CA-C5CD-9276-B616-4667A772C192}"/>
                  </a:ext>
                </a:extLst>
              </p:cNvPr>
              <p:cNvSpPr/>
              <p:nvPr/>
            </p:nvSpPr>
            <p:spPr>
              <a:xfrm>
                <a:off x="1574480" y="4392980"/>
                <a:ext cx="243474" cy="144934"/>
              </a:xfrm>
              <a:custGeom>
                <a:avLst/>
                <a:gdLst>
                  <a:gd name="connsiteX0" fmla="*/ 203839 w 243474"/>
                  <a:gd name="connsiteY0" fmla="*/ 65755 h 144934"/>
                  <a:gd name="connsiteX1" fmla="*/ 198727 w 243474"/>
                  <a:gd name="connsiteY1" fmla="*/ 66394 h 144934"/>
                  <a:gd name="connsiteX2" fmla="*/ 198727 w 243474"/>
                  <a:gd name="connsiteY2" fmla="*/ 64478 h 144934"/>
                  <a:gd name="connsiteX3" fmla="*/ 134189 w 243474"/>
                  <a:gd name="connsiteY3" fmla="*/ 0 h 144934"/>
                  <a:gd name="connsiteX4" fmla="*/ 72206 w 243474"/>
                  <a:gd name="connsiteY4" fmla="*/ 43411 h 144934"/>
                  <a:gd name="connsiteX5" fmla="*/ 53036 w 243474"/>
                  <a:gd name="connsiteY5" fmla="*/ 38942 h 144934"/>
                  <a:gd name="connsiteX6" fmla="*/ 0 w 243474"/>
                  <a:gd name="connsiteY6" fmla="*/ 91930 h 144934"/>
                  <a:gd name="connsiteX7" fmla="*/ 53036 w 243474"/>
                  <a:gd name="connsiteY7" fmla="*/ 144916 h 144934"/>
                  <a:gd name="connsiteX8" fmla="*/ 53036 w 243474"/>
                  <a:gd name="connsiteY8" fmla="*/ 144916 h 144934"/>
                  <a:gd name="connsiteX9" fmla="*/ 86903 w 243474"/>
                  <a:gd name="connsiteY9" fmla="*/ 144916 h 144934"/>
                  <a:gd name="connsiteX10" fmla="*/ 93293 w 243474"/>
                  <a:gd name="connsiteY10" fmla="*/ 138533 h 144934"/>
                  <a:gd name="connsiteX11" fmla="*/ 86903 w 243474"/>
                  <a:gd name="connsiteY11" fmla="*/ 132149 h 144934"/>
                  <a:gd name="connsiteX12" fmla="*/ 53036 w 243474"/>
                  <a:gd name="connsiteY12" fmla="*/ 132149 h 144934"/>
                  <a:gd name="connsiteX13" fmla="*/ 12780 w 243474"/>
                  <a:gd name="connsiteY13" fmla="*/ 91930 h 144934"/>
                  <a:gd name="connsiteX14" fmla="*/ 53036 w 243474"/>
                  <a:gd name="connsiteY14" fmla="*/ 51710 h 144934"/>
                  <a:gd name="connsiteX15" fmla="*/ 53036 w 243474"/>
                  <a:gd name="connsiteY15" fmla="*/ 51710 h 144934"/>
                  <a:gd name="connsiteX16" fmla="*/ 72845 w 243474"/>
                  <a:gd name="connsiteY16" fmla="*/ 58094 h 144934"/>
                  <a:gd name="connsiteX17" fmla="*/ 72845 w 243474"/>
                  <a:gd name="connsiteY17" fmla="*/ 58094 h 144934"/>
                  <a:gd name="connsiteX18" fmla="*/ 73484 w 243474"/>
                  <a:gd name="connsiteY18" fmla="*/ 58733 h 144934"/>
                  <a:gd name="connsiteX19" fmla="*/ 74762 w 243474"/>
                  <a:gd name="connsiteY19" fmla="*/ 59371 h 144934"/>
                  <a:gd name="connsiteX20" fmla="*/ 74762 w 243474"/>
                  <a:gd name="connsiteY20" fmla="*/ 59371 h 144934"/>
                  <a:gd name="connsiteX21" fmla="*/ 79874 w 243474"/>
                  <a:gd name="connsiteY21" fmla="*/ 58094 h 144934"/>
                  <a:gd name="connsiteX22" fmla="*/ 81152 w 243474"/>
                  <a:gd name="connsiteY22" fmla="*/ 56818 h 144934"/>
                  <a:gd name="connsiteX23" fmla="*/ 81152 w 243474"/>
                  <a:gd name="connsiteY23" fmla="*/ 56818 h 144934"/>
                  <a:gd name="connsiteX24" fmla="*/ 81791 w 243474"/>
                  <a:gd name="connsiteY24" fmla="*/ 56179 h 144934"/>
                  <a:gd name="connsiteX25" fmla="*/ 82430 w 243474"/>
                  <a:gd name="connsiteY25" fmla="*/ 54902 h 144934"/>
                  <a:gd name="connsiteX26" fmla="*/ 134189 w 243474"/>
                  <a:gd name="connsiteY26" fmla="*/ 13406 h 144934"/>
                  <a:gd name="connsiteX27" fmla="*/ 185947 w 243474"/>
                  <a:gd name="connsiteY27" fmla="*/ 65117 h 144934"/>
                  <a:gd name="connsiteX28" fmla="*/ 185308 w 243474"/>
                  <a:gd name="connsiteY28" fmla="*/ 72139 h 144934"/>
                  <a:gd name="connsiteX29" fmla="*/ 184669 w 243474"/>
                  <a:gd name="connsiteY29" fmla="*/ 75331 h 144934"/>
                  <a:gd name="connsiteX30" fmla="*/ 184669 w 243474"/>
                  <a:gd name="connsiteY30" fmla="*/ 75970 h 144934"/>
                  <a:gd name="connsiteX31" fmla="*/ 184669 w 243474"/>
                  <a:gd name="connsiteY31" fmla="*/ 77246 h 144934"/>
                  <a:gd name="connsiteX32" fmla="*/ 185308 w 243474"/>
                  <a:gd name="connsiteY32" fmla="*/ 78523 h 144934"/>
                  <a:gd name="connsiteX33" fmla="*/ 185308 w 243474"/>
                  <a:gd name="connsiteY33" fmla="*/ 79162 h 144934"/>
                  <a:gd name="connsiteX34" fmla="*/ 185308 w 243474"/>
                  <a:gd name="connsiteY34" fmla="*/ 79162 h 144934"/>
                  <a:gd name="connsiteX35" fmla="*/ 185947 w 243474"/>
                  <a:gd name="connsiteY35" fmla="*/ 80438 h 144934"/>
                  <a:gd name="connsiteX36" fmla="*/ 186586 w 243474"/>
                  <a:gd name="connsiteY36" fmla="*/ 81077 h 144934"/>
                  <a:gd name="connsiteX37" fmla="*/ 187864 w 243474"/>
                  <a:gd name="connsiteY37" fmla="*/ 81715 h 144934"/>
                  <a:gd name="connsiteX38" fmla="*/ 189142 w 243474"/>
                  <a:gd name="connsiteY38" fmla="*/ 82354 h 144934"/>
                  <a:gd name="connsiteX39" fmla="*/ 189142 w 243474"/>
                  <a:gd name="connsiteY39" fmla="*/ 82354 h 144934"/>
                  <a:gd name="connsiteX40" fmla="*/ 190420 w 243474"/>
                  <a:gd name="connsiteY40" fmla="*/ 82354 h 144934"/>
                  <a:gd name="connsiteX41" fmla="*/ 190420 w 243474"/>
                  <a:gd name="connsiteY41" fmla="*/ 82354 h 144934"/>
                  <a:gd name="connsiteX42" fmla="*/ 191059 w 243474"/>
                  <a:gd name="connsiteY42" fmla="*/ 82354 h 144934"/>
                  <a:gd name="connsiteX43" fmla="*/ 192337 w 243474"/>
                  <a:gd name="connsiteY43" fmla="*/ 81715 h 144934"/>
                  <a:gd name="connsiteX44" fmla="*/ 192976 w 243474"/>
                  <a:gd name="connsiteY44" fmla="*/ 81715 h 144934"/>
                  <a:gd name="connsiteX45" fmla="*/ 202561 w 243474"/>
                  <a:gd name="connsiteY45" fmla="*/ 78523 h 144934"/>
                  <a:gd name="connsiteX46" fmla="*/ 230677 w 243474"/>
                  <a:gd name="connsiteY46" fmla="*/ 104059 h 144934"/>
                  <a:gd name="connsiteX47" fmla="*/ 205117 w 243474"/>
                  <a:gd name="connsiteY47" fmla="*/ 132149 h 144934"/>
                  <a:gd name="connsiteX48" fmla="*/ 202561 w 243474"/>
                  <a:gd name="connsiteY48" fmla="*/ 132149 h 144934"/>
                  <a:gd name="connsiteX49" fmla="*/ 155276 w 243474"/>
                  <a:gd name="connsiteY49" fmla="*/ 132149 h 144934"/>
                  <a:gd name="connsiteX50" fmla="*/ 148886 w 243474"/>
                  <a:gd name="connsiteY50" fmla="*/ 138533 h 144934"/>
                  <a:gd name="connsiteX51" fmla="*/ 155276 w 243474"/>
                  <a:gd name="connsiteY51" fmla="*/ 144916 h 144934"/>
                  <a:gd name="connsiteX52" fmla="*/ 202561 w 243474"/>
                  <a:gd name="connsiteY52" fmla="*/ 144916 h 144934"/>
                  <a:gd name="connsiteX53" fmla="*/ 243457 w 243474"/>
                  <a:gd name="connsiteY53" fmla="*/ 107251 h 144934"/>
                  <a:gd name="connsiteX54" fmla="*/ 205756 w 243474"/>
                  <a:gd name="connsiteY54" fmla="*/ 66394 h 144934"/>
                  <a:gd name="connsiteX55" fmla="*/ 202561 w 243474"/>
                  <a:gd name="connsiteY55" fmla="*/ 66394 h 144934"/>
                  <a:gd name="connsiteX56" fmla="*/ 203839 w 243474"/>
                  <a:gd name="connsiteY56" fmla="*/ 65755 h 14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3474" h="144934">
                    <a:moveTo>
                      <a:pt x="203839" y="65755"/>
                    </a:moveTo>
                    <a:cubicBezTo>
                      <a:pt x="201922" y="65755"/>
                      <a:pt x="200005" y="65755"/>
                      <a:pt x="198727" y="66394"/>
                    </a:cubicBezTo>
                    <a:cubicBezTo>
                      <a:pt x="198727" y="65755"/>
                      <a:pt x="198727" y="65117"/>
                      <a:pt x="198727" y="64478"/>
                    </a:cubicBezTo>
                    <a:cubicBezTo>
                      <a:pt x="198727" y="28728"/>
                      <a:pt x="169972" y="0"/>
                      <a:pt x="134189" y="0"/>
                    </a:cubicBezTo>
                    <a:cubicBezTo>
                      <a:pt x="106712" y="0"/>
                      <a:pt x="81791" y="17237"/>
                      <a:pt x="72206" y="43411"/>
                    </a:cubicBezTo>
                    <a:cubicBezTo>
                      <a:pt x="66455" y="40219"/>
                      <a:pt x="59426" y="38942"/>
                      <a:pt x="53036" y="38942"/>
                    </a:cubicBezTo>
                    <a:cubicBezTo>
                      <a:pt x="23643" y="38942"/>
                      <a:pt x="0" y="62563"/>
                      <a:pt x="0" y="91930"/>
                    </a:cubicBezTo>
                    <a:cubicBezTo>
                      <a:pt x="0" y="121296"/>
                      <a:pt x="23643" y="144916"/>
                      <a:pt x="53036" y="144916"/>
                    </a:cubicBezTo>
                    <a:cubicBezTo>
                      <a:pt x="53036" y="144916"/>
                      <a:pt x="53036" y="144916"/>
                      <a:pt x="53036" y="144916"/>
                    </a:cubicBezTo>
                    <a:lnTo>
                      <a:pt x="86903" y="144916"/>
                    </a:lnTo>
                    <a:cubicBezTo>
                      <a:pt x="90737" y="144916"/>
                      <a:pt x="93293" y="142363"/>
                      <a:pt x="93293" y="138533"/>
                    </a:cubicBezTo>
                    <a:cubicBezTo>
                      <a:pt x="93293" y="134702"/>
                      <a:pt x="90737" y="132149"/>
                      <a:pt x="86903" y="132149"/>
                    </a:cubicBezTo>
                    <a:lnTo>
                      <a:pt x="53036" y="132149"/>
                    </a:lnTo>
                    <a:cubicBezTo>
                      <a:pt x="30672" y="132149"/>
                      <a:pt x="12780" y="114273"/>
                      <a:pt x="12780" y="91930"/>
                    </a:cubicBezTo>
                    <a:cubicBezTo>
                      <a:pt x="12780" y="69586"/>
                      <a:pt x="30672" y="51710"/>
                      <a:pt x="53036" y="51710"/>
                    </a:cubicBezTo>
                    <a:cubicBezTo>
                      <a:pt x="53036" y="51710"/>
                      <a:pt x="53036" y="51710"/>
                      <a:pt x="53036" y="51710"/>
                    </a:cubicBezTo>
                    <a:cubicBezTo>
                      <a:pt x="60065" y="51710"/>
                      <a:pt x="67094" y="53626"/>
                      <a:pt x="72845" y="58094"/>
                    </a:cubicBezTo>
                    <a:lnTo>
                      <a:pt x="72845" y="58094"/>
                    </a:lnTo>
                    <a:cubicBezTo>
                      <a:pt x="72845" y="58094"/>
                      <a:pt x="73484" y="58094"/>
                      <a:pt x="73484" y="58733"/>
                    </a:cubicBezTo>
                    <a:cubicBezTo>
                      <a:pt x="74123" y="58733"/>
                      <a:pt x="74123" y="59371"/>
                      <a:pt x="74762" y="59371"/>
                    </a:cubicBezTo>
                    <a:lnTo>
                      <a:pt x="74762" y="59371"/>
                    </a:lnTo>
                    <a:cubicBezTo>
                      <a:pt x="76679" y="60010"/>
                      <a:pt x="78596" y="59371"/>
                      <a:pt x="79874" y="58094"/>
                    </a:cubicBezTo>
                    <a:cubicBezTo>
                      <a:pt x="80513" y="57456"/>
                      <a:pt x="80513" y="57456"/>
                      <a:pt x="81152" y="56818"/>
                    </a:cubicBezTo>
                    <a:lnTo>
                      <a:pt x="81152" y="56818"/>
                    </a:lnTo>
                    <a:cubicBezTo>
                      <a:pt x="81152" y="56818"/>
                      <a:pt x="81152" y="56179"/>
                      <a:pt x="81791" y="56179"/>
                    </a:cubicBezTo>
                    <a:cubicBezTo>
                      <a:pt x="81791" y="55541"/>
                      <a:pt x="82430" y="55541"/>
                      <a:pt x="82430" y="54902"/>
                    </a:cubicBezTo>
                    <a:cubicBezTo>
                      <a:pt x="88181" y="30643"/>
                      <a:pt x="109268" y="13406"/>
                      <a:pt x="134189" y="13406"/>
                    </a:cubicBezTo>
                    <a:cubicBezTo>
                      <a:pt x="162943" y="13406"/>
                      <a:pt x="185947" y="36389"/>
                      <a:pt x="185947" y="65117"/>
                    </a:cubicBezTo>
                    <a:cubicBezTo>
                      <a:pt x="185947" y="67670"/>
                      <a:pt x="185947" y="69586"/>
                      <a:pt x="185308" y="72139"/>
                    </a:cubicBezTo>
                    <a:cubicBezTo>
                      <a:pt x="185308" y="73416"/>
                      <a:pt x="185308" y="74693"/>
                      <a:pt x="184669" y="75331"/>
                    </a:cubicBezTo>
                    <a:cubicBezTo>
                      <a:pt x="184669" y="75331"/>
                      <a:pt x="184669" y="75970"/>
                      <a:pt x="184669" y="75970"/>
                    </a:cubicBezTo>
                    <a:cubicBezTo>
                      <a:pt x="184669" y="76608"/>
                      <a:pt x="184669" y="76608"/>
                      <a:pt x="184669" y="77246"/>
                    </a:cubicBezTo>
                    <a:cubicBezTo>
                      <a:pt x="184669" y="77885"/>
                      <a:pt x="184669" y="77885"/>
                      <a:pt x="185308" y="78523"/>
                    </a:cubicBezTo>
                    <a:cubicBezTo>
                      <a:pt x="185308" y="78523"/>
                      <a:pt x="185308" y="79162"/>
                      <a:pt x="185308" y="79162"/>
                    </a:cubicBezTo>
                    <a:lnTo>
                      <a:pt x="185308" y="79162"/>
                    </a:lnTo>
                    <a:cubicBezTo>
                      <a:pt x="185308" y="79800"/>
                      <a:pt x="185947" y="79800"/>
                      <a:pt x="185947" y="80438"/>
                    </a:cubicBezTo>
                    <a:cubicBezTo>
                      <a:pt x="185947" y="80438"/>
                      <a:pt x="186586" y="81077"/>
                      <a:pt x="186586" y="81077"/>
                    </a:cubicBezTo>
                    <a:cubicBezTo>
                      <a:pt x="186586" y="81077"/>
                      <a:pt x="187225" y="81715"/>
                      <a:pt x="187864" y="81715"/>
                    </a:cubicBezTo>
                    <a:cubicBezTo>
                      <a:pt x="188503" y="81715"/>
                      <a:pt x="188503" y="82354"/>
                      <a:pt x="189142" y="82354"/>
                    </a:cubicBezTo>
                    <a:lnTo>
                      <a:pt x="189142" y="82354"/>
                    </a:lnTo>
                    <a:cubicBezTo>
                      <a:pt x="189781" y="82354"/>
                      <a:pt x="189781" y="82354"/>
                      <a:pt x="190420" y="82354"/>
                    </a:cubicBezTo>
                    <a:lnTo>
                      <a:pt x="190420" y="82354"/>
                    </a:lnTo>
                    <a:lnTo>
                      <a:pt x="191059" y="82354"/>
                    </a:lnTo>
                    <a:lnTo>
                      <a:pt x="192337" y="81715"/>
                    </a:lnTo>
                    <a:lnTo>
                      <a:pt x="192976" y="81715"/>
                    </a:lnTo>
                    <a:cubicBezTo>
                      <a:pt x="196171" y="79800"/>
                      <a:pt x="199366" y="79162"/>
                      <a:pt x="202561" y="78523"/>
                    </a:cubicBezTo>
                    <a:cubicBezTo>
                      <a:pt x="217258" y="77885"/>
                      <a:pt x="229399" y="89376"/>
                      <a:pt x="230677" y="104059"/>
                    </a:cubicBezTo>
                    <a:cubicBezTo>
                      <a:pt x="231316" y="118742"/>
                      <a:pt x="219814" y="130872"/>
                      <a:pt x="205117" y="132149"/>
                    </a:cubicBezTo>
                    <a:cubicBezTo>
                      <a:pt x="204478" y="132149"/>
                      <a:pt x="203200" y="132149"/>
                      <a:pt x="202561" y="132149"/>
                    </a:cubicBezTo>
                    <a:lnTo>
                      <a:pt x="155276" y="132149"/>
                    </a:lnTo>
                    <a:cubicBezTo>
                      <a:pt x="151442" y="132149"/>
                      <a:pt x="148886" y="134702"/>
                      <a:pt x="148886" y="138533"/>
                    </a:cubicBezTo>
                    <a:cubicBezTo>
                      <a:pt x="148886" y="142363"/>
                      <a:pt x="151442" y="144916"/>
                      <a:pt x="155276" y="144916"/>
                    </a:cubicBezTo>
                    <a:lnTo>
                      <a:pt x="202561" y="144916"/>
                    </a:lnTo>
                    <a:cubicBezTo>
                      <a:pt x="224287" y="145555"/>
                      <a:pt x="242818" y="128957"/>
                      <a:pt x="243457" y="107251"/>
                    </a:cubicBezTo>
                    <a:cubicBezTo>
                      <a:pt x="244096" y="85546"/>
                      <a:pt x="227482" y="67032"/>
                      <a:pt x="205756" y="66394"/>
                    </a:cubicBezTo>
                    <a:cubicBezTo>
                      <a:pt x="204478" y="66394"/>
                      <a:pt x="203839" y="66394"/>
                      <a:pt x="202561" y="66394"/>
                    </a:cubicBezTo>
                    <a:lnTo>
                      <a:pt x="203839" y="65755"/>
                    </a:lnTo>
                    <a:close/>
                  </a:path>
                </a:pathLst>
              </a:custGeom>
              <a:solidFill>
                <a:schemeClr val="bg1"/>
              </a:solidFill>
              <a:ln w="6390" cap="flat">
                <a:noFill/>
                <a:prstDash val="solid"/>
                <a:miter/>
              </a:ln>
            </p:spPr>
            <p:txBody>
              <a:bodyPr rtlCol="0" anchor="ctr"/>
              <a:lstStyle/>
              <a:p>
                <a:endParaRPr lang="en-US" sz="1050" dirty="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sp>
        <p:nvSpPr>
          <p:cNvPr id="50" name="TextBox 49">
            <a:extLst>
              <a:ext uri="{FF2B5EF4-FFF2-40B4-BE49-F238E27FC236}">
                <a16:creationId xmlns:a16="http://schemas.microsoft.com/office/drawing/2014/main" id="{46FBFC76-61C9-A882-0B48-146B13DA1D65}"/>
              </a:ext>
            </a:extLst>
          </p:cNvPr>
          <p:cNvSpPr txBox="1"/>
          <p:nvPr/>
        </p:nvSpPr>
        <p:spPr>
          <a:xfrm>
            <a:off x="512137" y="1442845"/>
            <a:ext cx="9796410" cy="577081"/>
          </a:xfrm>
          <a:prstGeom prst="rect">
            <a:avLst/>
          </a:prstGeom>
          <a:noFill/>
        </p:spPr>
        <p:txBody>
          <a:bodyPr wrap="square">
            <a:spAutoFit/>
          </a:bodyPr>
          <a:lstStyle/>
          <a:p>
            <a:pPr marL="0" marR="0" lvl="0" indent="0" algn="just" defTabSz="121917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loitte Systems and Cloud Engineering</a:t>
            </a:r>
            <a:r>
              <a:rPr kumimoji="0" lang="en-US" sz="1050" b="1"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05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elps our clients </a:t>
            </a:r>
            <a:r>
              <a:rPr kumimoji="0" lang="en-US" sz="1050" b="1"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olve business problems </a:t>
            </a:r>
            <a:r>
              <a:rPr kumimoji="0" lang="en-US" sz="105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ing Cloud technologies. We bring together </a:t>
            </a:r>
            <a:r>
              <a:rPr kumimoji="0" lang="en-US" sz="1050" b="1"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ur industry insights, our business domain knowledge</a:t>
            </a:r>
            <a:r>
              <a:rPr kumimoji="0" lang="en-US" sz="105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nd </a:t>
            </a:r>
            <a:r>
              <a:rPr kumimoji="0" lang="en-US" sz="1050" b="1"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ur cloud engineering expertise </a:t>
            </a:r>
            <a:r>
              <a:rPr kumimoji="0" lang="en-US" sz="105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o help UNICEF </a:t>
            </a:r>
            <a:r>
              <a:rPr kumimoji="0" lang="en-US" sz="1050" b="1"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novate faster </a:t>
            </a:r>
            <a:r>
              <a:rPr kumimoji="0" lang="en-US" sz="105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d </a:t>
            </a:r>
            <a:r>
              <a:rPr kumimoji="0" lang="en-US" sz="1050" b="1"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e more agile</a:t>
            </a:r>
            <a:r>
              <a:rPr kumimoji="0" lang="en-US" sz="105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n the development of </a:t>
            </a:r>
            <a:r>
              <a:rPr kumimoji="0" lang="en-US" sz="1050" b="1"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w products and services </a:t>
            </a:r>
            <a:r>
              <a:rPr kumimoji="0" lang="en-US" sz="105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d how UNICEF runs its businesses.</a:t>
            </a:r>
            <a:endParaRPr kumimoji="0" lang="en-US" sz="1800" b="0" i="0" u="none" strike="noStrike" kern="120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1" name="Title 1">
            <a:extLst>
              <a:ext uri="{FF2B5EF4-FFF2-40B4-BE49-F238E27FC236}">
                <a16:creationId xmlns:a16="http://schemas.microsoft.com/office/drawing/2014/main" id="{1211150B-A7EB-ACD8-4C4E-CE14BB267B43}"/>
              </a:ext>
            </a:extLst>
          </p:cNvPr>
          <p:cNvSpPr txBox="1">
            <a:spLocks/>
          </p:cNvSpPr>
          <p:nvPr/>
        </p:nvSpPr>
        <p:spPr bwMode="gray">
          <a:xfrm>
            <a:off x="512137" y="887690"/>
            <a:ext cx="9608809" cy="787400"/>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just" defTabSz="685800" eaLnBrk="1" fontAlgn="auto" latinLnBrk="0" hangingPunct="1">
              <a:lnSpc>
                <a:spcPct val="100000"/>
              </a:lnSpc>
              <a:spcBef>
                <a:spcPct val="0"/>
              </a:spcBef>
              <a:spcAft>
                <a:spcPts val="0"/>
              </a:spcAft>
              <a:buClrTx/>
              <a:buSzTx/>
              <a:buFontTx/>
              <a:buNone/>
              <a:tabLst/>
              <a:defRPr/>
            </a:pPr>
            <a:r>
              <a:rPr kumimoji="0" lang="en-US" sz="1400" b="0" i="0" u="none" strike="noStrike" kern="1200" cap="none" spc="-75"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can serve UNICEF from developing cloud technical and business transformation strategy thru implementation and operations across all major cloud platforms, alliances and technologies</a:t>
            </a:r>
          </a:p>
        </p:txBody>
      </p:sp>
    </p:spTree>
    <p:extLst>
      <p:ext uri="{BB962C8B-B14F-4D97-AF65-F5344CB8AC3E}">
        <p14:creationId xmlns:p14="http://schemas.microsoft.com/office/powerpoint/2010/main" val="2867183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3287458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2CC0A158-507D-267E-DD0F-2359B3CCD69A}"/>
              </a:ext>
            </a:extLst>
          </p:cNvPr>
          <p:cNvSpPr/>
          <p:nvPr/>
        </p:nvSpPr>
        <p:spPr bwMode="gray">
          <a:xfrm>
            <a:off x="941558" y="1991764"/>
            <a:ext cx="3078181" cy="1552857"/>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cxnSp>
        <p:nvCxnSpPr>
          <p:cNvPr id="123" name="Straight Connector 122">
            <a:extLst>
              <a:ext uri="{FF2B5EF4-FFF2-40B4-BE49-F238E27FC236}">
                <a16:creationId xmlns:a16="http://schemas.microsoft.com/office/drawing/2014/main" id="{F3A90063-C707-9E5C-B30C-EF6E8A19A903}"/>
              </a:ext>
            </a:extLst>
          </p:cNvPr>
          <p:cNvCxnSpPr>
            <a:cxnSpLocks/>
          </p:cNvCxnSpPr>
          <p:nvPr/>
        </p:nvCxnSpPr>
        <p:spPr>
          <a:xfrm>
            <a:off x="936407"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a:ea typeface="+mn-ea"/>
                <a:cs typeface="+mn-cs"/>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sp>
        <p:nvSpPr>
          <p:cNvPr id="8" name="TextBox 7">
            <a:extLst>
              <a:ext uri="{FF2B5EF4-FFF2-40B4-BE49-F238E27FC236}">
                <a16:creationId xmlns:a16="http://schemas.microsoft.com/office/drawing/2014/main" id="{63282888-74DB-BEEA-8796-97E3A9B3F7BD}"/>
              </a:ext>
            </a:extLst>
          </p:cNvPr>
          <p:cNvSpPr txBox="1"/>
          <p:nvPr/>
        </p:nvSpPr>
        <p:spPr>
          <a:xfrm>
            <a:off x="944741" y="1669755"/>
            <a:ext cx="2424997" cy="246222"/>
          </a:xfrm>
          <a:prstGeom prst="rect">
            <a:avLst/>
          </a:prstGeom>
          <a:noFill/>
        </p:spPr>
        <p:txBody>
          <a:bodyPr wrap="square" lIns="0" tIns="0" rIns="0" bIns="0" rtlCol="0" anchor="t">
            <a:noAutofit/>
          </a:bodyPr>
          <a:lstStyle/>
          <a:p>
            <a:r>
              <a:rPr lang="en-US" sz="900" b="1" dirty="0">
                <a:solidFill>
                  <a:srgbClr val="00B0F2"/>
                </a:solidFill>
              </a:rPr>
              <a:t>TECHNICAL REVIEW, ASSESSMENT AND ADVISORY OF DATA CENTRE STRATEGY</a:t>
            </a: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23" name="TextBox 22">
            <a:extLst>
              <a:ext uri="{FF2B5EF4-FFF2-40B4-BE49-F238E27FC236}">
                <a16:creationId xmlns:a16="http://schemas.microsoft.com/office/drawing/2014/main" id="{F397ADD9-787F-C7DB-9AD3-5E29BF05A29B}"/>
              </a:ext>
            </a:extLst>
          </p:cNvPr>
          <p:cNvSpPr txBox="1"/>
          <p:nvPr/>
        </p:nvSpPr>
        <p:spPr>
          <a:xfrm>
            <a:off x="1090348" y="2300472"/>
            <a:ext cx="2598774" cy="382825"/>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a:t>
            </a:r>
            <a:r>
              <a:rPr lang="en-US" sz="900" dirty="0">
                <a:ea typeface="Open Sans Light" panose="020B0306030504020204" pitchFamily="34" charset="0"/>
                <a:cs typeface="Open Sans Light" panose="020B0306030504020204" pitchFamily="34" charset="0"/>
              </a:rPr>
              <a:t>An insurance company that was about to merge with and be part of a major regional insurance group</a:t>
            </a:r>
          </a:p>
        </p:txBody>
      </p:sp>
      <p:sp>
        <p:nvSpPr>
          <p:cNvPr id="24" name="Rectangle 23">
            <a:extLst>
              <a:ext uri="{FF2B5EF4-FFF2-40B4-BE49-F238E27FC236}">
                <a16:creationId xmlns:a16="http://schemas.microsoft.com/office/drawing/2014/main" id="{7F4040CD-0AB5-785C-D67A-F45B7060A196}"/>
              </a:ext>
            </a:extLst>
          </p:cNvPr>
          <p:cNvSpPr/>
          <p:nvPr/>
        </p:nvSpPr>
        <p:spPr bwMode="gray">
          <a:xfrm>
            <a:off x="4613950" y="1991764"/>
            <a:ext cx="3078181" cy="1568506"/>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5" name="TextBox 24">
            <a:extLst>
              <a:ext uri="{FF2B5EF4-FFF2-40B4-BE49-F238E27FC236}">
                <a16:creationId xmlns:a16="http://schemas.microsoft.com/office/drawing/2014/main" id="{476B0DBC-412C-41C1-B982-90E5FBEC2273}"/>
              </a:ext>
            </a:extLst>
          </p:cNvPr>
          <p:cNvSpPr txBox="1"/>
          <p:nvPr/>
        </p:nvSpPr>
        <p:spPr>
          <a:xfrm>
            <a:off x="4645835" y="1558645"/>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SECURE CLOUD INFRASTRUCTURE / ZERO TRUST STRATEGY FOR A MAJOR CHEMICAL MANUFACTURING COMPANY</a:t>
            </a:r>
          </a:p>
        </p:txBody>
      </p:sp>
      <p:sp>
        <p:nvSpPr>
          <p:cNvPr id="26" name="Rectangle 25">
            <a:extLst>
              <a:ext uri="{FF2B5EF4-FFF2-40B4-BE49-F238E27FC236}">
                <a16:creationId xmlns:a16="http://schemas.microsoft.com/office/drawing/2014/main" id="{013AA197-320D-7A3E-1A8F-1B25AC7160C7}"/>
              </a:ext>
            </a:extLst>
          </p:cNvPr>
          <p:cNvSpPr/>
          <p:nvPr/>
        </p:nvSpPr>
        <p:spPr bwMode="gray">
          <a:xfrm>
            <a:off x="8435143" y="2003113"/>
            <a:ext cx="3078181" cy="1566141"/>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7" name="TextBox 26">
            <a:extLst>
              <a:ext uri="{FF2B5EF4-FFF2-40B4-BE49-F238E27FC236}">
                <a16:creationId xmlns:a16="http://schemas.microsoft.com/office/drawing/2014/main" id="{35CA3719-A786-FFB1-E2E2-0CCAAB39D79B}"/>
              </a:ext>
            </a:extLst>
          </p:cNvPr>
          <p:cNvSpPr txBox="1"/>
          <p:nvPr/>
        </p:nvSpPr>
        <p:spPr>
          <a:xfrm>
            <a:off x="8412794" y="1625834"/>
            <a:ext cx="2964100" cy="246222"/>
          </a:xfrm>
          <a:prstGeom prst="rect">
            <a:avLst/>
          </a:prstGeom>
          <a:noFill/>
        </p:spPr>
        <p:txBody>
          <a:bodyPr wrap="square" lIns="0" tIns="0" rIns="0" bIns="0" rtlCol="0" anchor="t">
            <a:noAutofit/>
          </a:bodyPr>
          <a:lstStyle/>
          <a:p>
            <a:pPr>
              <a:spcAft>
                <a:spcPts val="1000"/>
              </a:spcAft>
            </a:pPr>
            <a:r>
              <a:rPr lang="en-US" sz="900" b="1" dirty="0">
                <a:solidFill>
                  <a:srgbClr val="00B0F2"/>
                </a:solidFill>
                <a:ea typeface="Open Sans Light" panose="020B0306030504020204" pitchFamily="34" charset="0"/>
                <a:cs typeface="Open Sans Light" panose="020B0306030504020204" pitchFamily="34" charset="0"/>
              </a:rPr>
              <a:t>NATIVE CLOUD DEVELOPMENT FRAMEWORK FOR A MAJOR COMMERCIAL BANK</a:t>
            </a:r>
          </a:p>
        </p:txBody>
      </p:sp>
      <p:sp>
        <p:nvSpPr>
          <p:cNvPr id="44" name="Flowchart: Connector 43">
            <a:extLst>
              <a:ext uri="{FF2B5EF4-FFF2-40B4-BE49-F238E27FC236}">
                <a16:creationId xmlns:a16="http://schemas.microsoft.com/office/drawing/2014/main" id="{A08E6A24-E3E1-2E18-5302-29E195DBCB15}"/>
              </a:ext>
            </a:extLst>
          </p:cNvPr>
          <p:cNvSpPr/>
          <p:nvPr/>
        </p:nvSpPr>
        <p:spPr bwMode="gray">
          <a:xfrm>
            <a:off x="3625393" y="1927730"/>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45" name="Flowchart: Connector 44">
            <a:extLst>
              <a:ext uri="{FF2B5EF4-FFF2-40B4-BE49-F238E27FC236}">
                <a16:creationId xmlns:a16="http://schemas.microsoft.com/office/drawing/2014/main" id="{7BBAA843-77FB-55C3-6537-67B56E8AD7F6}"/>
              </a:ext>
            </a:extLst>
          </p:cNvPr>
          <p:cNvSpPr/>
          <p:nvPr/>
        </p:nvSpPr>
        <p:spPr bwMode="gray">
          <a:xfrm>
            <a:off x="7321584" y="1943873"/>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47" name="Group 531">
            <a:extLst>
              <a:ext uri="{FF2B5EF4-FFF2-40B4-BE49-F238E27FC236}">
                <a16:creationId xmlns:a16="http://schemas.microsoft.com/office/drawing/2014/main" id="{A3EDCFE8-7889-17DF-6591-6A851EF283FC}"/>
              </a:ext>
            </a:extLst>
          </p:cNvPr>
          <p:cNvGrpSpPr>
            <a:grpSpLocks noChangeAspect="1"/>
          </p:cNvGrpSpPr>
          <p:nvPr/>
        </p:nvGrpSpPr>
        <p:grpSpPr bwMode="auto">
          <a:xfrm>
            <a:off x="3607934" y="1876402"/>
            <a:ext cx="489164" cy="489164"/>
            <a:chOff x="3061" y="1953"/>
            <a:chExt cx="340" cy="340"/>
          </a:xfrm>
          <a:solidFill>
            <a:srgbClr val="9DD4CF"/>
          </a:solidFill>
        </p:grpSpPr>
        <p:sp>
          <p:nvSpPr>
            <p:cNvPr id="48"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1" name="Flowchart: Connector 50">
            <a:extLst>
              <a:ext uri="{FF2B5EF4-FFF2-40B4-BE49-F238E27FC236}">
                <a16:creationId xmlns:a16="http://schemas.microsoft.com/office/drawing/2014/main" id="{5462DF54-10C8-8A53-BE3B-3614AE9CA057}"/>
              </a:ext>
            </a:extLst>
          </p:cNvPr>
          <p:cNvSpPr/>
          <p:nvPr/>
        </p:nvSpPr>
        <p:spPr bwMode="gray">
          <a:xfrm>
            <a:off x="11147897" y="189121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2" name="Rectangle 1">
            <a:extLst>
              <a:ext uri="{FF2B5EF4-FFF2-40B4-BE49-F238E27FC236}">
                <a16:creationId xmlns:a16="http://schemas.microsoft.com/office/drawing/2014/main" id="{232FD53E-6D12-E4EA-4D91-E99A8F5F8E42}"/>
              </a:ext>
            </a:extLst>
          </p:cNvPr>
          <p:cNvSpPr/>
          <p:nvPr/>
        </p:nvSpPr>
        <p:spPr bwMode="gray">
          <a:xfrm>
            <a:off x="941558" y="4486197"/>
            <a:ext cx="3078181" cy="1520381"/>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3" name="TextBox 2">
            <a:extLst>
              <a:ext uri="{FF2B5EF4-FFF2-40B4-BE49-F238E27FC236}">
                <a16:creationId xmlns:a16="http://schemas.microsoft.com/office/drawing/2014/main" id="{A1971568-07A4-EE83-40E9-F0C7FA0542DC}"/>
              </a:ext>
            </a:extLst>
          </p:cNvPr>
          <p:cNvSpPr txBox="1"/>
          <p:nvPr/>
        </p:nvSpPr>
        <p:spPr>
          <a:xfrm>
            <a:off x="4626320" y="4149013"/>
            <a:ext cx="2964100" cy="246222"/>
          </a:xfrm>
          <a:prstGeom prst="rect">
            <a:avLst/>
          </a:prstGeom>
          <a:noFill/>
        </p:spPr>
        <p:txBody>
          <a:bodyPr wrap="square" lIns="0" tIns="0" rIns="0" bIns="0" rtlCol="0" anchor="t">
            <a:noAutofit/>
          </a:bodyPr>
          <a:lstStyle/>
          <a:p>
            <a:pPr>
              <a:spcAft>
                <a:spcPts val="1000"/>
              </a:spcAft>
            </a:pPr>
            <a:r>
              <a:rPr lang="en-US" sz="900" b="1" dirty="0">
                <a:solidFill>
                  <a:srgbClr val="00B0F2"/>
                </a:solidFill>
                <a:ea typeface="Open Sans Light" panose="020B0306030504020204" pitchFamily="34" charset="0"/>
                <a:cs typeface="Open Sans Light" panose="020B0306030504020204" pitchFamily="34" charset="0"/>
              </a:rPr>
              <a:t>COMPREHENSIVE IT OPERATIONS AND PROCESS REVIEW FOR A FINANCIAL ORGANISATION</a:t>
            </a:r>
          </a:p>
        </p:txBody>
      </p:sp>
      <p:sp>
        <p:nvSpPr>
          <p:cNvPr id="6" name="Rectangle 5">
            <a:extLst>
              <a:ext uri="{FF2B5EF4-FFF2-40B4-BE49-F238E27FC236}">
                <a16:creationId xmlns:a16="http://schemas.microsoft.com/office/drawing/2014/main" id="{C05A928F-39E3-8B93-BA78-48C9C88B1E18}"/>
              </a:ext>
            </a:extLst>
          </p:cNvPr>
          <p:cNvSpPr/>
          <p:nvPr/>
        </p:nvSpPr>
        <p:spPr bwMode="gray">
          <a:xfrm>
            <a:off x="4613950" y="4486197"/>
            <a:ext cx="3078181" cy="152037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7" name="TextBox 6">
            <a:extLst>
              <a:ext uri="{FF2B5EF4-FFF2-40B4-BE49-F238E27FC236}">
                <a16:creationId xmlns:a16="http://schemas.microsoft.com/office/drawing/2014/main" id="{5BFA29A6-0FDD-2AF0-85EF-C487648ED458}"/>
              </a:ext>
            </a:extLst>
          </p:cNvPr>
          <p:cNvSpPr txBox="1"/>
          <p:nvPr/>
        </p:nvSpPr>
        <p:spPr>
          <a:xfrm>
            <a:off x="936407" y="4149013"/>
            <a:ext cx="2964100" cy="246222"/>
          </a:xfrm>
          <a:prstGeom prst="rect">
            <a:avLst/>
          </a:prstGeom>
          <a:noFill/>
        </p:spPr>
        <p:txBody>
          <a:bodyPr wrap="square" lIns="0" tIns="0" rIns="0" bIns="0" rtlCol="0" anchor="t">
            <a:noAutofit/>
          </a:bodyPr>
          <a:lstStyle/>
          <a:p>
            <a:pPr>
              <a:spcAft>
                <a:spcPts val="1000"/>
              </a:spcAft>
            </a:pPr>
            <a:r>
              <a:rPr lang="en-US" sz="900" b="1" dirty="0">
                <a:solidFill>
                  <a:srgbClr val="00B0F2"/>
                </a:solidFill>
                <a:ea typeface="Open Sans Light" panose="020B0306030504020204" pitchFamily="34" charset="0"/>
                <a:cs typeface="Open Sans Light" panose="020B0306030504020204" pitchFamily="34" charset="0"/>
              </a:rPr>
              <a:t>CLOUD CENTRE OF EXCELLENCE FOR A REGIONAL HUNGARIAN FINANCIAL CLIENT</a:t>
            </a:r>
          </a:p>
        </p:txBody>
      </p:sp>
      <p:sp>
        <p:nvSpPr>
          <p:cNvPr id="15" name="Flowchart: Connector 14">
            <a:extLst>
              <a:ext uri="{FF2B5EF4-FFF2-40B4-BE49-F238E27FC236}">
                <a16:creationId xmlns:a16="http://schemas.microsoft.com/office/drawing/2014/main" id="{118F51FE-FC01-3FA7-F009-CF92B097BE5D}"/>
              </a:ext>
            </a:extLst>
          </p:cNvPr>
          <p:cNvSpPr/>
          <p:nvPr/>
        </p:nvSpPr>
        <p:spPr bwMode="gray">
          <a:xfrm>
            <a:off x="3625393" y="4422163"/>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17" name="Flowchart: Connector 16">
            <a:extLst>
              <a:ext uri="{FF2B5EF4-FFF2-40B4-BE49-F238E27FC236}">
                <a16:creationId xmlns:a16="http://schemas.microsoft.com/office/drawing/2014/main" id="{1B994640-3DD2-3B34-E066-DF16BFB2E55E}"/>
              </a:ext>
            </a:extLst>
          </p:cNvPr>
          <p:cNvSpPr/>
          <p:nvPr/>
        </p:nvSpPr>
        <p:spPr bwMode="gray">
          <a:xfrm>
            <a:off x="7321584" y="443830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43" name="Freeform 859">
            <a:extLst>
              <a:ext uri="{FF2B5EF4-FFF2-40B4-BE49-F238E27FC236}">
                <a16:creationId xmlns:a16="http://schemas.microsoft.com/office/drawing/2014/main" id="{B9FCD103-75D7-8258-438F-62B8F76731AB}"/>
              </a:ext>
            </a:extLst>
          </p:cNvPr>
          <p:cNvSpPr>
            <a:spLocks noChangeAspect="1" noEditPoints="1"/>
          </p:cNvSpPr>
          <p:nvPr/>
        </p:nvSpPr>
        <p:spPr bwMode="auto">
          <a:xfrm>
            <a:off x="7268859" y="1898529"/>
            <a:ext cx="489164" cy="489164"/>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Cloud Systems and Engineering Credential Tombstones</a:t>
            </a:r>
          </a:p>
        </p:txBody>
      </p:sp>
      <p:grpSp>
        <p:nvGrpSpPr>
          <p:cNvPr id="114" name="Group 531">
            <a:extLst>
              <a:ext uri="{FF2B5EF4-FFF2-40B4-BE49-F238E27FC236}">
                <a16:creationId xmlns:a16="http://schemas.microsoft.com/office/drawing/2014/main" id="{998E9E98-4119-C121-A47C-BF63EE46F05E}"/>
              </a:ext>
            </a:extLst>
          </p:cNvPr>
          <p:cNvGrpSpPr>
            <a:grpSpLocks noChangeAspect="1"/>
          </p:cNvGrpSpPr>
          <p:nvPr/>
        </p:nvGrpSpPr>
        <p:grpSpPr bwMode="auto">
          <a:xfrm>
            <a:off x="11084469" y="1866320"/>
            <a:ext cx="489164" cy="489164"/>
            <a:chOff x="3061" y="1953"/>
            <a:chExt cx="340" cy="340"/>
          </a:xfrm>
          <a:solidFill>
            <a:srgbClr val="00B0F2"/>
          </a:solidFill>
        </p:grpSpPr>
        <p:sp>
          <p:nvSpPr>
            <p:cNvPr id="115" name="Freeform 532">
              <a:extLst>
                <a:ext uri="{FF2B5EF4-FFF2-40B4-BE49-F238E27FC236}">
                  <a16:creationId xmlns:a16="http://schemas.microsoft.com/office/drawing/2014/main" id="{3BD39623-5A72-6153-8D42-EE81ED9260E9}"/>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533">
              <a:extLst>
                <a:ext uri="{FF2B5EF4-FFF2-40B4-BE49-F238E27FC236}">
                  <a16:creationId xmlns:a16="http://schemas.microsoft.com/office/drawing/2014/main" id="{4685D9A1-8726-6BDC-AEE0-745937DA3AC3}"/>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3591661" y="4374394"/>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9" name="Freeform 787">
            <a:extLst>
              <a:ext uri="{FF2B5EF4-FFF2-40B4-BE49-F238E27FC236}">
                <a16:creationId xmlns:a16="http://schemas.microsoft.com/office/drawing/2014/main" id="{EC37AA83-FED1-8BEE-3FDC-E447523C38A9}"/>
              </a:ext>
            </a:extLst>
          </p:cNvPr>
          <p:cNvSpPr>
            <a:spLocks noChangeAspect="1" noEditPoints="1"/>
          </p:cNvSpPr>
          <p:nvPr/>
        </p:nvSpPr>
        <p:spPr bwMode="auto">
          <a:xfrm>
            <a:off x="7269281" y="4392499"/>
            <a:ext cx="493776" cy="493776"/>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40" name="Group 139">
            <a:extLst>
              <a:ext uri="{FF2B5EF4-FFF2-40B4-BE49-F238E27FC236}">
                <a16:creationId xmlns:a16="http://schemas.microsoft.com/office/drawing/2014/main" id="{C79B309A-F06F-DFD2-8996-00CF064F4E23}"/>
              </a:ext>
            </a:extLst>
          </p:cNvPr>
          <p:cNvGrpSpPr/>
          <p:nvPr/>
        </p:nvGrpSpPr>
        <p:grpSpPr>
          <a:xfrm>
            <a:off x="5859071" y="5909130"/>
            <a:ext cx="1704190" cy="294568"/>
            <a:chOff x="5859071" y="5990610"/>
            <a:chExt cx="1704190" cy="294568"/>
          </a:xfrm>
        </p:grpSpPr>
        <p:sp>
          <p:nvSpPr>
            <p:cNvPr id="4" name="Rectangle: Rounded Corners 3">
              <a:extLst>
                <a:ext uri="{FF2B5EF4-FFF2-40B4-BE49-F238E27FC236}">
                  <a16:creationId xmlns:a16="http://schemas.microsoft.com/office/drawing/2014/main" id="{877049C1-056B-A9DA-71CA-B53FF0283C38}"/>
                </a:ext>
              </a:extLst>
            </p:cNvPr>
            <p:cNvSpPr/>
            <p:nvPr/>
          </p:nvSpPr>
          <p:spPr bwMode="gray">
            <a:xfrm>
              <a:off x="5859071" y="599061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0" name="TextBox 9">
              <a:extLst>
                <a:ext uri="{FF2B5EF4-FFF2-40B4-BE49-F238E27FC236}">
                  <a16:creationId xmlns:a16="http://schemas.microsoft.com/office/drawing/2014/main" id="{9A993CCD-8450-FD57-88FA-FB759A6CB07C}"/>
                </a:ext>
              </a:extLst>
            </p:cNvPr>
            <p:cNvSpPr txBox="1"/>
            <p:nvPr/>
          </p:nvSpPr>
          <p:spPr>
            <a:xfrm>
              <a:off x="5976469" y="6038956"/>
              <a:ext cx="1553247"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INNOVATION &amp; IT STRATEGY</a:t>
              </a:r>
              <a:endParaRPr lang="en-US" sz="800" b="1" dirty="0">
                <a:latin typeface="+mj-lt"/>
                <a:ea typeface="Open Sans Light" panose="020B0306030504020204" pitchFamily="34" charset="0"/>
                <a:cs typeface="Open Sans Light" panose="020B0306030504020204" pitchFamily="34" charset="0"/>
              </a:endParaRPr>
            </a:p>
          </p:txBody>
        </p:sp>
      </p:gr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2" name="Group 21">
            <a:extLst>
              <a:ext uri="{FF2B5EF4-FFF2-40B4-BE49-F238E27FC236}">
                <a16:creationId xmlns:a16="http://schemas.microsoft.com/office/drawing/2014/main" id="{68CAB38A-8D40-D640-8DBC-A743DCC161D4}"/>
              </a:ext>
            </a:extLst>
          </p:cNvPr>
          <p:cNvGrpSpPr/>
          <p:nvPr/>
        </p:nvGrpSpPr>
        <p:grpSpPr>
          <a:xfrm>
            <a:off x="1297858" y="3437957"/>
            <a:ext cx="2457308" cy="306056"/>
            <a:chOff x="2050976" y="3519440"/>
            <a:chExt cx="1704190" cy="306056"/>
          </a:xfrm>
        </p:grpSpPr>
        <p:sp>
          <p:nvSpPr>
            <p:cNvPr id="18" name="Rectangle: Rounded Corners 17">
              <a:extLst>
                <a:ext uri="{FF2B5EF4-FFF2-40B4-BE49-F238E27FC236}">
                  <a16:creationId xmlns:a16="http://schemas.microsoft.com/office/drawing/2014/main" id="{5FBED754-A311-3D18-C57B-0CD5A35A1707}"/>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 name="TextBox 18">
              <a:extLst>
                <a:ext uri="{FF2B5EF4-FFF2-40B4-BE49-F238E27FC236}">
                  <a16:creationId xmlns:a16="http://schemas.microsoft.com/office/drawing/2014/main" id="{CB5E46A5-34D1-0CFA-C99E-7F55BA48EDCE}"/>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INFRASTRUCTURE ASSESSMENTS</a:t>
              </a:r>
              <a:endParaRPr lang="en-US" sz="800" b="1" dirty="0">
                <a:latin typeface="+mj-lt"/>
                <a:ea typeface="Open Sans Light" panose="020B0306030504020204" pitchFamily="34" charset="0"/>
                <a:cs typeface="Open Sans Light" panose="020B0306030504020204" pitchFamily="34" charset="0"/>
              </a:endParaRPr>
            </a:p>
          </p:txBody>
        </p:sp>
      </p:grpSp>
      <p:grpSp>
        <p:nvGrpSpPr>
          <p:cNvPr id="28" name="Group 27">
            <a:extLst>
              <a:ext uri="{FF2B5EF4-FFF2-40B4-BE49-F238E27FC236}">
                <a16:creationId xmlns:a16="http://schemas.microsoft.com/office/drawing/2014/main" id="{96FB327C-C17C-4380-8805-6E438035EA3F}"/>
              </a:ext>
            </a:extLst>
          </p:cNvPr>
          <p:cNvGrpSpPr/>
          <p:nvPr/>
        </p:nvGrpSpPr>
        <p:grpSpPr>
          <a:xfrm>
            <a:off x="5825526" y="3456067"/>
            <a:ext cx="1704190" cy="306056"/>
            <a:chOff x="2050976" y="3519440"/>
            <a:chExt cx="1704190" cy="306056"/>
          </a:xfrm>
        </p:grpSpPr>
        <p:sp>
          <p:nvSpPr>
            <p:cNvPr id="29" name="Rectangle: Rounded Corners 28">
              <a:extLst>
                <a:ext uri="{FF2B5EF4-FFF2-40B4-BE49-F238E27FC236}">
                  <a16:creationId xmlns:a16="http://schemas.microsoft.com/office/drawing/2014/main" id="{197BE939-FFED-D312-00AB-C4FA5C5D7502}"/>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38" name="TextBox 37">
              <a:extLst>
                <a:ext uri="{FF2B5EF4-FFF2-40B4-BE49-F238E27FC236}">
                  <a16:creationId xmlns:a16="http://schemas.microsoft.com/office/drawing/2014/main" id="{923516F6-3995-36A0-E077-F055815AE3ED}"/>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CLOUD SECURITY</a:t>
              </a:r>
              <a:endParaRPr lang="en-US" sz="800" b="1" dirty="0">
                <a:latin typeface="+mj-lt"/>
                <a:ea typeface="Open Sans Light" panose="020B0306030504020204" pitchFamily="34" charset="0"/>
                <a:cs typeface="Open Sans Light" panose="020B0306030504020204" pitchFamily="34" charset="0"/>
              </a:endParaRPr>
            </a:p>
          </p:txBody>
        </p:sp>
      </p:grpSp>
      <p:grpSp>
        <p:nvGrpSpPr>
          <p:cNvPr id="41" name="Group 40">
            <a:extLst>
              <a:ext uri="{FF2B5EF4-FFF2-40B4-BE49-F238E27FC236}">
                <a16:creationId xmlns:a16="http://schemas.microsoft.com/office/drawing/2014/main" id="{D53AB8F9-4F81-B63E-10AB-5ED42F4CFE47}"/>
              </a:ext>
            </a:extLst>
          </p:cNvPr>
          <p:cNvGrpSpPr/>
          <p:nvPr/>
        </p:nvGrpSpPr>
        <p:grpSpPr>
          <a:xfrm>
            <a:off x="9664717" y="3456066"/>
            <a:ext cx="1704190" cy="306056"/>
            <a:chOff x="2050976" y="3519440"/>
            <a:chExt cx="1704190" cy="306056"/>
          </a:xfrm>
        </p:grpSpPr>
        <p:sp>
          <p:nvSpPr>
            <p:cNvPr id="50" name="Rectangle: Rounded Corners 49">
              <a:extLst>
                <a:ext uri="{FF2B5EF4-FFF2-40B4-BE49-F238E27FC236}">
                  <a16:creationId xmlns:a16="http://schemas.microsoft.com/office/drawing/2014/main" id="{0DAFFFD7-A61E-80D2-B08C-171D1F8EB654}"/>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12" name="TextBox 111">
              <a:extLst>
                <a:ext uri="{FF2B5EF4-FFF2-40B4-BE49-F238E27FC236}">
                  <a16:creationId xmlns:a16="http://schemas.microsoft.com/office/drawing/2014/main" id="{1DD0F3F4-7930-EFF4-D69D-E51AEDA97A8A}"/>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CLOUD STRATEGY</a:t>
              </a:r>
              <a:endParaRPr lang="en-US" sz="900" b="1" dirty="0">
                <a:ea typeface="Open Sans Light" panose="020B0306030504020204" pitchFamily="34" charset="0"/>
                <a:cs typeface="Open Sans Light" panose="020B0306030504020204" pitchFamily="34" charset="0"/>
              </a:endParaRPr>
            </a:p>
          </p:txBody>
        </p:sp>
      </p:grpSp>
      <p:grpSp>
        <p:nvGrpSpPr>
          <p:cNvPr id="117" name="Group 116">
            <a:extLst>
              <a:ext uri="{FF2B5EF4-FFF2-40B4-BE49-F238E27FC236}">
                <a16:creationId xmlns:a16="http://schemas.microsoft.com/office/drawing/2014/main" id="{9EA74805-9A71-D495-4F29-6D6AA964B954}"/>
              </a:ext>
            </a:extLst>
          </p:cNvPr>
          <p:cNvGrpSpPr/>
          <p:nvPr/>
        </p:nvGrpSpPr>
        <p:grpSpPr>
          <a:xfrm>
            <a:off x="972104" y="5862159"/>
            <a:ext cx="2846482" cy="306056"/>
            <a:chOff x="2050976" y="3519440"/>
            <a:chExt cx="1704190" cy="306056"/>
          </a:xfrm>
        </p:grpSpPr>
        <p:sp>
          <p:nvSpPr>
            <p:cNvPr id="120" name="Rectangle: Rounded Corners 119">
              <a:extLst>
                <a:ext uri="{FF2B5EF4-FFF2-40B4-BE49-F238E27FC236}">
                  <a16:creationId xmlns:a16="http://schemas.microsoft.com/office/drawing/2014/main" id="{540BF639-F134-B6A6-C8DC-CACB2F4664C3}"/>
                </a:ext>
              </a:extLst>
            </p:cNvPr>
            <p:cNvSpPr/>
            <p:nvPr/>
          </p:nvSpPr>
          <p:spPr bwMode="gray">
            <a:xfrm>
              <a:off x="2050976" y="3519440"/>
              <a:ext cx="1704190" cy="232476"/>
            </a:xfrm>
            <a:prstGeom prst="roundRect">
              <a:avLst/>
            </a:prstGeom>
            <a:solidFill>
              <a:schemeClr val="accent4">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21" name="TextBox 120">
              <a:extLst>
                <a:ext uri="{FF2B5EF4-FFF2-40B4-BE49-F238E27FC236}">
                  <a16:creationId xmlns:a16="http://schemas.microsoft.com/office/drawing/2014/main" id="{05202514-2B2E-DAC6-E5FC-C0538CF5CC91}"/>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CLOUD DESIGN AND IMPLEMENTATION</a:t>
              </a:r>
              <a:endParaRPr lang="en-US" sz="800" b="1" dirty="0">
                <a:latin typeface="+mj-lt"/>
                <a:ea typeface="Open Sans Light" panose="020B0306030504020204" pitchFamily="34" charset="0"/>
                <a:cs typeface="Open Sans Light" panose="020B0306030504020204" pitchFamily="34" charset="0"/>
              </a:endParaRPr>
            </a:p>
          </p:txBody>
        </p:sp>
      </p:grpSp>
      <p:cxnSp>
        <p:nvCxnSpPr>
          <p:cNvPr id="127" name="Straight Connector 126">
            <a:extLst>
              <a:ext uri="{FF2B5EF4-FFF2-40B4-BE49-F238E27FC236}">
                <a16:creationId xmlns:a16="http://schemas.microsoft.com/office/drawing/2014/main" id="{2EF9A407-39B6-A6A8-1433-F0E7FE122460}"/>
              </a:ext>
            </a:extLst>
          </p:cNvPr>
          <p:cNvCxnSpPr>
            <a:cxnSpLocks/>
          </p:cNvCxnSpPr>
          <p:nvPr/>
        </p:nvCxnSpPr>
        <p:spPr>
          <a:xfrm>
            <a:off x="4613950"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F6720CED-99DC-CB5D-9D77-BC1B3A169F99}"/>
              </a:ext>
            </a:extLst>
          </p:cNvPr>
          <p:cNvSpPr txBox="1"/>
          <p:nvPr/>
        </p:nvSpPr>
        <p:spPr>
          <a:xfrm>
            <a:off x="4738307" y="2291419"/>
            <a:ext cx="2661945" cy="461037"/>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M</a:t>
            </a:r>
            <a:r>
              <a:rPr lang="en-US" sz="900" dirty="0">
                <a:ea typeface="Open Sans Light" panose="020B0306030504020204" pitchFamily="34" charset="0"/>
                <a:cs typeface="Open Sans Light" panose="020B0306030504020204" pitchFamily="34" charset="0"/>
              </a:rPr>
              <a:t>arket leading European chemical manufacturing company to be prepared against external online threats and other malicious actions </a:t>
            </a:r>
          </a:p>
        </p:txBody>
      </p:sp>
      <p:sp>
        <p:nvSpPr>
          <p:cNvPr id="129" name="TextBox 128">
            <a:extLst>
              <a:ext uri="{FF2B5EF4-FFF2-40B4-BE49-F238E27FC236}">
                <a16:creationId xmlns:a16="http://schemas.microsoft.com/office/drawing/2014/main" id="{7D51D67F-A064-D48F-02D5-A2115A22C22D}"/>
              </a:ext>
            </a:extLst>
          </p:cNvPr>
          <p:cNvSpPr txBox="1"/>
          <p:nvPr/>
        </p:nvSpPr>
        <p:spPr>
          <a:xfrm>
            <a:off x="1090348" y="2760104"/>
            <a:ext cx="2846482" cy="588764"/>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 </a:t>
            </a:r>
            <a:r>
              <a:rPr lang="en-US" sz="900" dirty="0">
                <a:ea typeface="Open Sans Light" panose="020B0306030504020204" pitchFamily="34" charset="0"/>
                <a:cs typeface="Open Sans Light" panose="020B0306030504020204" pitchFamily="34" charset="0"/>
              </a:rPr>
              <a:t>Technical review and assessment of current IT infrastructure and prepare a feasibility study to migrate database and application </a:t>
            </a:r>
            <a:r>
              <a:rPr lang="en-US" sz="900" dirty="0" err="1">
                <a:ea typeface="Open Sans Light" panose="020B0306030504020204" pitchFamily="34" charset="0"/>
                <a:cs typeface="Open Sans Light" panose="020B0306030504020204" pitchFamily="34" charset="0"/>
              </a:rPr>
              <a:t>licences</a:t>
            </a:r>
            <a:r>
              <a:rPr lang="en-US" sz="900" dirty="0">
                <a:ea typeface="Open Sans Light" panose="020B0306030504020204" pitchFamily="34" charset="0"/>
                <a:cs typeface="Open Sans Light" panose="020B0306030504020204" pitchFamily="34" charset="0"/>
              </a:rPr>
              <a:t> to reduce the associated operational costs </a:t>
            </a:r>
          </a:p>
        </p:txBody>
      </p:sp>
      <p:sp>
        <p:nvSpPr>
          <p:cNvPr id="130" name="TextBox 129">
            <a:extLst>
              <a:ext uri="{FF2B5EF4-FFF2-40B4-BE49-F238E27FC236}">
                <a16:creationId xmlns:a16="http://schemas.microsoft.com/office/drawing/2014/main" id="{32427F07-1165-8065-82F9-CA0CDD6AB2E4}"/>
              </a:ext>
            </a:extLst>
          </p:cNvPr>
          <p:cNvSpPr txBox="1"/>
          <p:nvPr/>
        </p:nvSpPr>
        <p:spPr>
          <a:xfrm>
            <a:off x="4723343" y="2869707"/>
            <a:ext cx="2846482" cy="540369"/>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 </a:t>
            </a:r>
            <a:r>
              <a:rPr lang="en-US" sz="900" dirty="0">
                <a:ea typeface="Open Sans Light" panose="020B0306030504020204" pitchFamily="34" charset="0"/>
                <a:cs typeface="Open Sans Light" panose="020B0306030504020204" pitchFamily="34" charset="0"/>
              </a:rPr>
              <a:t>Design a secure cloud infrastructure framework, build proof of concepts to prepare the organization and implement best security practices</a:t>
            </a:r>
          </a:p>
          <a:p>
            <a:pPr>
              <a:spcAft>
                <a:spcPts val="300"/>
              </a:spcAft>
            </a:pPr>
            <a:endParaRPr lang="en-US" sz="900" dirty="0">
              <a:ea typeface="Open Sans Light" panose="020B0306030504020204" pitchFamily="34" charset="0"/>
              <a:cs typeface="Open Sans Light" panose="020B0306030504020204" pitchFamily="34" charset="0"/>
            </a:endParaRPr>
          </a:p>
        </p:txBody>
      </p:sp>
      <p:sp>
        <p:nvSpPr>
          <p:cNvPr id="131" name="TextBox 130">
            <a:extLst>
              <a:ext uri="{FF2B5EF4-FFF2-40B4-BE49-F238E27FC236}">
                <a16:creationId xmlns:a16="http://schemas.microsoft.com/office/drawing/2014/main" id="{1DE503B6-64D8-56D0-9D0F-DD6BFBA4223D}"/>
              </a:ext>
            </a:extLst>
          </p:cNvPr>
          <p:cNvSpPr txBox="1"/>
          <p:nvPr/>
        </p:nvSpPr>
        <p:spPr>
          <a:xfrm>
            <a:off x="8593375" y="2291419"/>
            <a:ext cx="2550479" cy="461037"/>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a:t>
            </a:r>
            <a:r>
              <a:rPr lang="en-US" sz="900" dirty="0">
                <a:ea typeface="Open Sans Light" panose="020B0306030504020204" pitchFamily="34" charset="0"/>
                <a:cs typeface="Open Sans Light" panose="020B0306030504020204" pitchFamily="34" charset="0"/>
              </a:rPr>
              <a:t>European financial organization to reduce time to market with new services and products</a:t>
            </a:r>
          </a:p>
        </p:txBody>
      </p:sp>
      <p:sp>
        <p:nvSpPr>
          <p:cNvPr id="132" name="TextBox 131">
            <a:extLst>
              <a:ext uri="{FF2B5EF4-FFF2-40B4-BE49-F238E27FC236}">
                <a16:creationId xmlns:a16="http://schemas.microsoft.com/office/drawing/2014/main" id="{748F356F-14FC-73F3-6889-DE993372BB76}"/>
              </a:ext>
            </a:extLst>
          </p:cNvPr>
          <p:cNvSpPr txBox="1"/>
          <p:nvPr/>
        </p:nvSpPr>
        <p:spPr>
          <a:xfrm>
            <a:off x="8588867" y="2759534"/>
            <a:ext cx="2846482" cy="540369"/>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a:t>
            </a:r>
            <a:r>
              <a:rPr lang="en-US" sz="900" dirty="0">
                <a:ea typeface="Open Sans Light" panose="020B0306030504020204" pitchFamily="34" charset="0"/>
                <a:cs typeface="Open Sans Light" panose="020B0306030504020204" pitchFamily="34" charset="0"/>
              </a:rPr>
              <a:t> Define the secure roadmap and development framework for future cloud-native applications to reduce operational costs and to improve agility in response to market changes</a:t>
            </a:r>
          </a:p>
        </p:txBody>
      </p:sp>
      <p:sp>
        <p:nvSpPr>
          <p:cNvPr id="133" name="TextBox 132">
            <a:extLst>
              <a:ext uri="{FF2B5EF4-FFF2-40B4-BE49-F238E27FC236}">
                <a16:creationId xmlns:a16="http://schemas.microsoft.com/office/drawing/2014/main" id="{C2238001-CA4F-1971-125E-243024A38685}"/>
              </a:ext>
            </a:extLst>
          </p:cNvPr>
          <p:cNvSpPr txBox="1"/>
          <p:nvPr/>
        </p:nvSpPr>
        <p:spPr>
          <a:xfrm>
            <a:off x="1090348" y="4784612"/>
            <a:ext cx="2598774" cy="382825"/>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a:t>
            </a:r>
            <a:r>
              <a:rPr lang="en-US" sz="900" dirty="0">
                <a:ea typeface="Open Sans Light" panose="020B0306030504020204" pitchFamily="34" charset="0"/>
                <a:cs typeface="Open Sans Light" panose="020B0306030504020204" pitchFamily="34" charset="0"/>
              </a:rPr>
              <a:t>A bank needing a cloud development and operational environment compliant with regulations</a:t>
            </a:r>
          </a:p>
        </p:txBody>
      </p:sp>
      <p:sp>
        <p:nvSpPr>
          <p:cNvPr id="134" name="TextBox 133">
            <a:extLst>
              <a:ext uri="{FF2B5EF4-FFF2-40B4-BE49-F238E27FC236}">
                <a16:creationId xmlns:a16="http://schemas.microsoft.com/office/drawing/2014/main" id="{F0EA7E86-F4C0-3CFF-AC73-4A092F285551}"/>
              </a:ext>
            </a:extLst>
          </p:cNvPr>
          <p:cNvSpPr txBox="1"/>
          <p:nvPr/>
        </p:nvSpPr>
        <p:spPr>
          <a:xfrm>
            <a:off x="1090348" y="5244244"/>
            <a:ext cx="2846482" cy="588764"/>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 </a:t>
            </a:r>
            <a:r>
              <a:rPr lang="en-US" sz="900" dirty="0">
                <a:ea typeface="Open Sans Light" panose="020B0306030504020204" pitchFamily="34" charset="0"/>
                <a:cs typeface="Open Sans Light" panose="020B0306030504020204" pitchFamily="34" charset="0"/>
              </a:rPr>
              <a:t>Design, build and operate a cloud infrastructure environment to enable business users to reduce the time to market of new services and to increase efficiency of IT operations</a:t>
            </a:r>
          </a:p>
        </p:txBody>
      </p:sp>
      <p:cxnSp>
        <p:nvCxnSpPr>
          <p:cNvPr id="135" name="Straight Connector 134">
            <a:extLst>
              <a:ext uri="{FF2B5EF4-FFF2-40B4-BE49-F238E27FC236}">
                <a16:creationId xmlns:a16="http://schemas.microsoft.com/office/drawing/2014/main" id="{1C7C2558-6F06-5E53-5FB0-9CEC94957BBE}"/>
              </a:ext>
            </a:extLst>
          </p:cNvPr>
          <p:cNvCxnSpPr>
            <a:cxnSpLocks/>
          </p:cNvCxnSpPr>
          <p:nvPr/>
        </p:nvCxnSpPr>
        <p:spPr>
          <a:xfrm>
            <a:off x="8423255" y="1991764"/>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91018F2B-F2E7-C723-66B4-FC4EAB1B335D}"/>
              </a:ext>
            </a:extLst>
          </p:cNvPr>
          <p:cNvCxnSpPr>
            <a:cxnSpLocks/>
          </p:cNvCxnSpPr>
          <p:nvPr/>
        </p:nvCxnSpPr>
        <p:spPr>
          <a:xfrm>
            <a:off x="935688" y="4501447"/>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761E0D26-2B09-083E-F165-D291810B0394}"/>
              </a:ext>
            </a:extLst>
          </p:cNvPr>
          <p:cNvSpPr txBox="1"/>
          <p:nvPr/>
        </p:nvSpPr>
        <p:spPr>
          <a:xfrm>
            <a:off x="4763452" y="4784612"/>
            <a:ext cx="2766264" cy="382825"/>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CLIENT: </a:t>
            </a:r>
            <a:r>
              <a:rPr lang="en-US" sz="900" dirty="0">
                <a:ea typeface="Open Sans Light" panose="020B0306030504020204" pitchFamily="34" charset="0"/>
                <a:cs typeface="Open Sans Light" panose="020B0306030504020204" pitchFamily="34" charset="0"/>
              </a:rPr>
              <a:t>A regional bank that needed support in IT operations and asked advice on how to improve their cloud development processes</a:t>
            </a:r>
          </a:p>
        </p:txBody>
      </p:sp>
      <p:sp>
        <p:nvSpPr>
          <p:cNvPr id="138" name="TextBox 137">
            <a:extLst>
              <a:ext uri="{FF2B5EF4-FFF2-40B4-BE49-F238E27FC236}">
                <a16:creationId xmlns:a16="http://schemas.microsoft.com/office/drawing/2014/main" id="{04ED30F6-4CA3-3C1E-20FE-A82BD76084A8}"/>
              </a:ext>
            </a:extLst>
          </p:cNvPr>
          <p:cNvSpPr txBox="1"/>
          <p:nvPr/>
        </p:nvSpPr>
        <p:spPr>
          <a:xfrm>
            <a:off x="4763453" y="5244244"/>
            <a:ext cx="2846482" cy="588764"/>
          </a:xfrm>
          <a:prstGeom prst="rect">
            <a:avLst/>
          </a:prstGeom>
          <a:noFill/>
        </p:spPr>
        <p:txBody>
          <a:bodyPr wrap="square" lIns="0" tIns="0" rIns="0" bIns="0" rtlCol="0" anchor="t">
            <a:noAutofit/>
          </a:bodyPr>
          <a:lstStyle/>
          <a:p>
            <a:pPr>
              <a:spcAft>
                <a:spcPts val="300"/>
              </a:spcAft>
            </a:pPr>
            <a:r>
              <a:rPr lang="en-US" sz="900" b="1" dirty="0">
                <a:ea typeface="Open Sans Light" panose="020B0306030504020204" pitchFamily="34" charset="0"/>
                <a:cs typeface="Open Sans Light" panose="020B0306030504020204" pitchFamily="34" charset="0"/>
              </a:rPr>
              <a:t>AIM OF THE PROJECT: </a:t>
            </a:r>
            <a:r>
              <a:rPr lang="en-US" sz="900" dirty="0">
                <a:ea typeface="Open Sans Light" panose="020B0306030504020204" pitchFamily="34" charset="0"/>
                <a:cs typeface="Open Sans Light" panose="020B0306030504020204" pitchFamily="34" charset="0"/>
              </a:rPr>
              <a:t>Operate a more efficient IT support organization, build cross-functional teams to lead innovation of mobile banking services for both existing and new clients</a:t>
            </a:r>
          </a:p>
        </p:txBody>
      </p:sp>
      <p:cxnSp>
        <p:nvCxnSpPr>
          <p:cNvPr id="139" name="Straight Connector 138">
            <a:extLst>
              <a:ext uri="{FF2B5EF4-FFF2-40B4-BE49-F238E27FC236}">
                <a16:creationId xmlns:a16="http://schemas.microsoft.com/office/drawing/2014/main" id="{6F83FBA3-7B36-E95B-0BD4-BB45A2F39A8A}"/>
              </a:ext>
            </a:extLst>
          </p:cNvPr>
          <p:cNvCxnSpPr>
            <a:cxnSpLocks/>
          </p:cNvCxnSpPr>
          <p:nvPr/>
        </p:nvCxnSpPr>
        <p:spPr>
          <a:xfrm>
            <a:off x="4607032" y="4501447"/>
            <a:ext cx="2688986" cy="0"/>
          </a:xfrm>
          <a:prstGeom prst="line">
            <a:avLst/>
          </a:prstGeom>
          <a:ln w="28575">
            <a:solidFill>
              <a:srgbClr val="E0F0FA"/>
            </a:solidFill>
          </a:ln>
        </p:spPr>
        <p:style>
          <a:lnRef idx="1">
            <a:schemeClr val="accent1"/>
          </a:lnRef>
          <a:fillRef idx="0">
            <a:schemeClr val="accent1"/>
          </a:fillRef>
          <a:effectRef idx="0">
            <a:schemeClr val="accent1"/>
          </a:effectRef>
          <a:fontRef idx="minor">
            <a:schemeClr val="tx1"/>
          </a:fontRef>
        </p:style>
      </p:cxn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Cloud Systems and Engineering Services</a:t>
            </a:r>
          </a:p>
        </p:txBody>
      </p:sp>
    </p:spTree>
    <p:extLst>
      <p:ext uri="{BB962C8B-B14F-4D97-AF65-F5344CB8AC3E}">
        <p14:creationId xmlns:p14="http://schemas.microsoft.com/office/powerpoint/2010/main" val="320117490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3C0F13F-7E46-10D1-1FFB-6B3E78CC187E}"/>
              </a:ext>
            </a:extLst>
          </p:cNvPr>
          <p:cNvGraphicFramePr>
            <a:graphicFrameLocks noChangeAspect="1"/>
          </p:cNvGraphicFramePr>
          <p:nvPr>
            <p:custDataLst>
              <p:tags r:id="rId1"/>
            </p:custDataLst>
            <p:extLst>
              <p:ext uri="{D42A27DB-BD31-4B8C-83A1-F6EECF244321}">
                <p14:modId xmlns:p14="http://schemas.microsoft.com/office/powerpoint/2010/main" val="4135770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6" name="think-cell data - do not delete" hidden="1">
                        <a:extLst>
                          <a:ext uri="{FF2B5EF4-FFF2-40B4-BE49-F238E27FC236}">
                            <a16:creationId xmlns:a16="http://schemas.microsoft.com/office/drawing/2014/main" id="{83C0F13F-7E46-10D1-1FFB-6B3E78CC1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 name="Inhaltsplatzhalter 5">
            <a:extLst>
              <a:ext uri="{FF2B5EF4-FFF2-40B4-BE49-F238E27FC236}">
                <a16:creationId xmlns:a16="http://schemas.microsoft.com/office/drawing/2014/main" id="{BAE4D44F-B793-7BC3-B937-A8A494960C90}"/>
              </a:ext>
            </a:extLst>
          </p:cNvPr>
          <p:cNvSpPr txBox="1">
            <a:spLocks/>
          </p:cNvSpPr>
          <p:nvPr/>
        </p:nvSpPr>
        <p:spPr>
          <a:xfrm>
            <a:off x="4206638" y="2523434"/>
            <a:ext cx="7534257" cy="3821948"/>
          </a:xfrm>
          <a:prstGeom prst="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vert="horz" wrap="square" lIns="72000" tIns="72000" rIns="72000" bIns="72000" numCol="1" anchor="ctr" anchorCtr="0" compatLnSpc="1">
            <a:prstTxWarp prst="textNoShape">
              <a:avLst/>
            </a:prstTxWarp>
          </a:bodyPr>
          <a:lstStyle/>
          <a:p>
            <a:pPr marL="0" lvl="1" fontAlgn="base">
              <a:spcAft>
                <a:spcPts val="300"/>
              </a:spcAft>
              <a:defRPr/>
            </a:pP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9" name="Inhaltsplatzhalter 5">
            <a:extLst>
              <a:ext uri="{FF2B5EF4-FFF2-40B4-BE49-F238E27FC236}">
                <a16:creationId xmlns:a16="http://schemas.microsoft.com/office/drawing/2014/main" id="{3009B217-B2C8-5616-0C18-CEF5D6E25453}"/>
              </a:ext>
            </a:extLst>
          </p:cNvPr>
          <p:cNvSpPr txBox="1">
            <a:spLocks/>
          </p:cNvSpPr>
          <p:nvPr/>
        </p:nvSpPr>
        <p:spPr>
          <a:xfrm>
            <a:off x="4242018" y="4472432"/>
            <a:ext cx="5387563" cy="1585468"/>
          </a:xfrm>
          <a:prstGeom prst="rect">
            <a:avLst/>
          </a:prstGeom>
          <a:noFill/>
          <a:ln w="6350">
            <a:solidFill>
              <a:schemeClr val="tx2"/>
            </a:solidFill>
            <a:prstDash val="dash"/>
            <a:miter lim="800000"/>
            <a:headEnd/>
            <a:tailEnd/>
          </a:ln>
          <a:effectLst/>
        </p:spPr>
        <p:txBody>
          <a:bodyPr vert="horz" wrap="square" lIns="72000" tIns="72000" rIns="72000" bIns="72000" numCol="1" anchor="ctr" anchorCtr="0" compatLnSpc="1">
            <a:prstTxWarp prst="textNoShape">
              <a:avLst/>
            </a:prstTxWarp>
          </a:bodyPr>
          <a:lstStyle/>
          <a:p>
            <a:pPr marL="0" lvl="1" fontAlgn="base">
              <a:spcAft>
                <a:spcPts val="300"/>
              </a:spcAft>
              <a:defRPr/>
            </a:pP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Inhaltsplatzhalter 5">
            <a:extLst>
              <a:ext uri="{FF2B5EF4-FFF2-40B4-BE49-F238E27FC236}">
                <a16:creationId xmlns:a16="http://schemas.microsoft.com/office/drawing/2014/main" id="{4113C426-B25D-EC7D-E293-F6D15CDC2816}"/>
              </a:ext>
            </a:extLst>
          </p:cNvPr>
          <p:cNvSpPr txBox="1">
            <a:spLocks/>
          </p:cNvSpPr>
          <p:nvPr/>
        </p:nvSpPr>
        <p:spPr>
          <a:xfrm>
            <a:off x="463295" y="2523434"/>
            <a:ext cx="3406741" cy="3821948"/>
          </a:xfrm>
          <a:prstGeom prst="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vert="horz" wrap="square" lIns="72000" tIns="72000" rIns="72000" bIns="72000" numCol="1" anchor="ctr" anchorCtr="0" compatLnSpc="1">
            <a:prstTxWarp prst="textNoShape">
              <a:avLst/>
            </a:prstTxWarp>
          </a:bodyPr>
          <a:lstStyle/>
          <a:p>
            <a:pPr marL="0" lvl="1" fontAlgn="base">
              <a:spcAft>
                <a:spcPts val="300"/>
              </a:spcAft>
              <a:defRPr/>
            </a:pP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ext Placeholder 1">
            <a:extLst>
              <a:ext uri="{FF2B5EF4-FFF2-40B4-BE49-F238E27FC236}">
                <a16:creationId xmlns:a16="http://schemas.microsoft.com/office/drawing/2014/main" id="{2E47C59D-6CDA-4AAF-8F55-AEA99127E076}"/>
              </a:ext>
            </a:extLst>
          </p:cNvPr>
          <p:cNvSpPr>
            <a:spLocks noGrp="1"/>
          </p:cNvSpPr>
          <p:nvPr>
            <p:ph type="body" sz="quarter" idx="22"/>
          </p:nvPr>
        </p:nvSpPr>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experts can ensure seamless integration of systems and processes, since a well executed future-proof integration strategy can enable a well designed IT landscape tailored to UNICEF’s needs in the long run</a:t>
            </a:r>
            <a:endParaRPr lang="en-US" sz="1400" dirty="0"/>
          </a:p>
        </p:txBody>
      </p:sp>
      <p:sp>
        <p:nvSpPr>
          <p:cNvPr id="3" name="Title 2">
            <a:extLst>
              <a:ext uri="{FF2B5EF4-FFF2-40B4-BE49-F238E27FC236}">
                <a16:creationId xmlns:a16="http://schemas.microsoft.com/office/drawing/2014/main" id="{2EA41D89-0305-437C-A594-9E2C8586FECB}"/>
              </a:ext>
            </a:extLst>
          </p:cNvPr>
          <p:cNvSpPr>
            <a:spLocks noGrp="1"/>
          </p:cNvSpPr>
          <p:nvPr>
            <p:ph type="title"/>
          </p:nvPr>
        </p:nvSpPr>
        <p:spPr/>
        <p:txBody>
          <a:bodyPr vert="horz"/>
          <a:lstStyle/>
          <a:p>
            <a:r>
              <a:rPr kumimoji="0" lang="en-US" sz="2800" b="0" i="0" u="none" strike="noStrike" kern="1200" cap="none" spc="0" normalizeH="0" baseline="0" dirty="0">
                <a:ln>
                  <a:noFill/>
                </a:ln>
                <a:solidFill>
                  <a:prstClr val="black"/>
                </a:solidFill>
                <a:effectLst/>
                <a:uLnTx/>
                <a:uFillTx/>
                <a:latin typeface="Open Sans Light"/>
                <a:ea typeface="+mj-ea"/>
                <a:cs typeface="Calibri Light"/>
              </a:rPr>
              <a:t>Integration services: framework</a:t>
            </a:r>
            <a:endParaRPr lang="en-US" dirty="0"/>
          </a:p>
        </p:txBody>
      </p:sp>
      <p:sp>
        <p:nvSpPr>
          <p:cNvPr id="7" name="Rechteck 58">
            <a:extLst>
              <a:ext uri="{FF2B5EF4-FFF2-40B4-BE49-F238E27FC236}">
                <a16:creationId xmlns:a16="http://schemas.microsoft.com/office/drawing/2014/main" id="{656B5F87-9DB4-DEDA-4303-8D585616019B}"/>
              </a:ext>
            </a:extLst>
          </p:cNvPr>
          <p:cNvSpPr/>
          <p:nvPr/>
        </p:nvSpPr>
        <p:spPr>
          <a:xfrm>
            <a:off x="463295" y="2100406"/>
            <a:ext cx="3406741" cy="298111"/>
          </a:xfrm>
          <a:prstGeom prst="rect">
            <a:avLst/>
          </a:prstGeom>
          <a:solidFill>
            <a:schemeClr val="bg1"/>
          </a:solidFill>
          <a:ln w="12700">
            <a:noFill/>
          </a:ln>
          <a:effectLst>
            <a:outerShdw dist="25400" dir="5400000" algn="ctr" rotWithShape="0">
              <a:srgbClr val="00ABAB"/>
            </a:outerShdw>
          </a:effectLst>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lgn="ctr">
              <a:buFont typeface="Wingdings" pitchFamily="2" charset="2"/>
              <a:buNone/>
            </a:pPr>
            <a:r>
              <a:rPr lang="en-US" sz="10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Integration carries lots off challenges … </a:t>
            </a:r>
          </a:p>
        </p:txBody>
      </p:sp>
      <p:sp>
        <p:nvSpPr>
          <p:cNvPr id="12" name="Rechteck 58">
            <a:extLst>
              <a:ext uri="{FF2B5EF4-FFF2-40B4-BE49-F238E27FC236}">
                <a16:creationId xmlns:a16="http://schemas.microsoft.com/office/drawing/2014/main" id="{332A7B63-2FEF-3086-2AAD-89041DD504D4}"/>
              </a:ext>
            </a:extLst>
          </p:cNvPr>
          <p:cNvSpPr/>
          <p:nvPr/>
        </p:nvSpPr>
        <p:spPr>
          <a:xfrm>
            <a:off x="4211782" y="2100406"/>
            <a:ext cx="7516923" cy="298111"/>
          </a:xfrm>
          <a:prstGeom prst="rect">
            <a:avLst/>
          </a:prstGeom>
          <a:solidFill>
            <a:schemeClr val="bg1"/>
          </a:solidFill>
          <a:ln w="12700">
            <a:noFill/>
          </a:ln>
          <a:effectLst>
            <a:outerShdw dist="25400" dir="5400000" algn="ctr" rotWithShape="0">
              <a:srgbClr val="00ABAB"/>
            </a:outerShdw>
          </a:effectLst>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lgn="ctr">
              <a:buFont typeface="Wingdings" pitchFamily="2" charset="2"/>
              <a:buNone/>
            </a:pPr>
            <a:r>
              <a:rPr lang="en-US" sz="10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that can be mitigated with a Deloitte’s Integration services framework, tried approaches and the right knowledge.  </a:t>
            </a:r>
          </a:p>
        </p:txBody>
      </p:sp>
      <p:sp>
        <p:nvSpPr>
          <p:cNvPr id="22" name="TextBox 21">
            <a:extLst>
              <a:ext uri="{FF2B5EF4-FFF2-40B4-BE49-F238E27FC236}">
                <a16:creationId xmlns:a16="http://schemas.microsoft.com/office/drawing/2014/main" id="{06E10A25-74A4-3E4F-2FE0-40608F0820E0}"/>
              </a:ext>
            </a:extLst>
          </p:cNvPr>
          <p:cNvSpPr txBox="1"/>
          <p:nvPr/>
        </p:nvSpPr>
        <p:spPr>
          <a:xfrm>
            <a:off x="630236" y="2644707"/>
            <a:ext cx="3239799" cy="219498"/>
          </a:xfrm>
          <a:prstGeom prst="rect">
            <a:avLst/>
          </a:prstGeom>
          <a:solidFill>
            <a:schemeClr val="bg1">
              <a:lumMod val="95000"/>
            </a:schemeClr>
          </a:solidFill>
        </p:spPr>
        <p:txBody>
          <a:bodyPr wrap="square" lIns="252000" rIns="0" anchor="ctr">
            <a:noAutofit/>
          </a:bodyPr>
          <a:lstStyle/>
          <a:p>
            <a:r>
              <a:rPr lang="en-US" sz="1000" b="1" dirty="0">
                <a:latin typeface="Open Sans Light" panose="020B0306030504020204" pitchFamily="34" charset="0"/>
                <a:ea typeface="Open Sans Light" panose="020B0306030504020204" pitchFamily="34" charset="0"/>
                <a:cs typeface="Open Sans Light" panose="020B0306030504020204" pitchFamily="34" charset="0"/>
              </a:rPr>
              <a:t>Main challenges and risks of system integration</a:t>
            </a: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TextBox 25">
            <a:extLst>
              <a:ext uri="{FF2B5EF4-FFF2-40B4-BE49-F238E27FC236}">
                <a16:creationId xmlns:a16="http://schemas.microsoft.com/office/drawing/2014/main" id="{38C76CD9-6EC0-8974-7A4F-C5FE1865A9D1}"/>
              </a:ext>
            </a:extLst>
          </p:cNvPr>
          <p:cNvSpPr txBox="1"/>
          <p:nvPr/>
        </p:nvSpPr>
        <p:spPr>
          <a:xfrm>
            <a:off x="711200" y="1513531"/>
            <a:ext cx="11029695" cy="461959"/>
          </a:xfrm>
          <a:prstGeom prst="rect">
            <a:avLst/>
          </a:prstGeom>
          <a:solidFill>
            <a:schemeClr val="bg1">
              <a:lumMod val="95000"/>
            </a:schemeClr>
          </a:solidFill>
        </p:spPr>
        <p:txBody>
          <a:bodyPr wrap="square" lIns="324000" rIns="0" anchor="ctr">
            <a:noAutofit/>
          </a:bodyPr>
          <a:lstStyle/>
          <a:p>
            <a:r>
              <a:rPr lang="en-US" sz="1000" dirty="0">
                <a:latin typeface="Open Sans Light" panose="020B0306030504020204" pitchFamily="34" charset="0"/>
                <a:ea typeface="Open Sans Light" panose="020B0306030504020204" pitchFamily="34" charset="0"/>
                <a:cs typeface="Open Sans Light" panose="020B0306030504020204" pitchFamily="34" charset="0"/>
              </a:rPr>
              <a:t>In a business context,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system integration services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involve the preparation, revision, and customization of strategies and regulatory frameworks to</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 ensure seamless operations and compliance.</a:t>
            </a:r>
          </a:p>
        </p:txBody>
      </p:sp>
      <p:grpSp>
        <p:nvGrpSpPr>
          <p:cNvPr id="27" name="Group 26">
            <a:extLst>
              <a:ext uri="{FF2B5EF4-FFF2-40B4-BE49-F238E27FC236}">
                <a16:creationId xmlns:a16="http://schemas.microsoft.com/office/drawing/2014/main" id="{C9EAE6A0-5C36-B54F-6302-35DF1D45569F}"/>
              </a:ext>
            </a:extLst>
          </p:cNvPr>
          <p:cNvGrpSpPr/>
          <p:nvPr/>
        </p:nvGrpSpPr>
        <p:grpSpPr>
          <a:xfrm>
            <a:off x="433232" y="1466542"/>
            <a:ext cx="555936" cy="555936"/>
            <a:chOff x="561274" y="1626287"/>
            <a:chExt cx="432000" cy="432000"/>
          </a:xfrm>
        </p:grpSpPr>
        <p:sp>
          <p:nvSpPr>
            <p:cNvPr id="28" name="Oval 27">
              <a:extLst>
                <a:ext uri="{FF2B5EF4-FFF2-40B4-BE49-F238E27FC236}">
                  <a16:creationId xmlns:a16="http://schemas.microsoft.com/office/drawing/2014/main" id="{63F01BF8-0660-0A4D-1165-B4C2997DC730}"/>
                </a:ext>
              </a:extLst>
            </p:cNvPr>
            <p:cNvSpPr/>
            <p:nvPr/>
          </p:nvSpPr>
          <p:spPr bwMode="gray">
            <a:xfrm>
              <a:off x="561274" y="1626287"/>
              <a:ext cx="432000" cy="432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Freeform 606">
              <a:extLst>
                <a:ext uri="{FF2B5EF4-FFF2-40B4-BE49-F238E27FC236}">
                  <a16:creationId xmlns:a16="http://schemas.microsoft.com/office/drawing/2014/main" id="{FD476282-4466-D005-26BB-2E918F5FC51B}"/>
                </a:ext>
              </a:extLst>
            </p:cNvPr>
            <p:cNvSpPr>
              <a:spLocks noChangeAspect="1" noEditPoints="1"/>
            </p:cNvSpPr>
            <p:nvPr/>
          </p:nvSpPr>
          <p:spPr bwMode="auto">
            <a:xfrm>
              <a:off x="593283" y="1658296"/>
              <a:ext cx="367982" cy="367982"/>
            </a:xfrm>
            <a:custGeom>
              <a:avLst/>
              <a:gdLst>
                <a:gd name="T0" fmla="*/ 330 w 512"/>
                <a:gd name="T1" fmla="*/ 117 h 512"/>
                <a:gd name="T2" fmla="*/ 352 w 512"/>
                <a:gd name="T3" fmla="*/ 117 h 512"/>
                <a:gd name="T4" fmla="*/ 352 w 512"/>
                <a:gd name="T5" fmla="*/ 394 h 512"/>
                <a:gd name="T6" fmla="*/ 160 w 512"/>
                <a:gd name="T7" fmla="*/ 394 h 512"/>
                <a:gd name="T8" fmla="*/ 160 w 512"/>
                <a:gd name="T9" fmla="*/ 117 h 512"/>
                <a:gd name="T10" fmla="*/ 245 w 512"/>
                <a:gd name="T11" fmla="*/ 117 h 512"/>
                <a:gd name="T12" fmla="*/ 245 w 512"/>
                <a:gd name="T13" fmla="*/ 288 h 512"/>
                <a:gd name="T14" fmla="*/ 252 w 512"/>
                <a:gd name="T15" fmla="*/ 298 h 512"/>
                <a:gd name="T16" fmla="*/ 263 w 512"/>
                <a:gd name="T17" fmla="*/ 295 h 512"/>
                <a:gd name="T18" fmla="*/ 288 w 512"/>
                <a:gd name="T19" fmla="*/ 271 h 512"/>
                <a:gd name="T20" fmla="*/ 312 w 512"/>
                <a:gd name="T21" fmla="*/ 295 h 512"/>
                <a:gd name="T22" fmla="*/ 320 w 512"/>
                <a:gd name="T23" fmla="*/ 298 h 512"/>
                <a:gd name="T24" fmla="*/ 324 w 512"/>
                <a:gd name="T25" fmla="*/ 298 h 512"/>
                <a:gd name="T26" fmla="*/ 330 w 512"/>
                <a:gd name="T27" fmla="*/ 288 h 512"/>
                <a:gd name="T28" fmla="*/ 330 w 512"/>
                <a:gd name="T29" fmla="*/ 117 h 512"/>
                <a:gd name="T30" fmla="*/ 295 w 512"/>
                <a:gd name="T31" fmla="*/ 248 h 512"/>
                <a:gd name="T32" fmla="*/ 309 w 512"/>
                <a:gd name="T33" fmla="*/ 262 h 512"/>
                <a:gd name="T34" fmla="*/ 309 w 512"/>
                <a:gd name="T35" fmla="*/ 117 h 512"/>
                <a:gd name="T36" fmla="*/ 266 w 512"/>
                <a:gd name="T37" fmla="*/ 117 h 512"/>
                <a:gd name="T38" fmla="*/ 266 w 512"/>
                <a:gd name="T39" fmla="*/ 262 h 512"/>
                <a:gd name="T40" fmla="*/ 280 w 512"/>
                <a:gd name="T41" fmla="*/ 248 h 512"/>
                <a:gd name="T42" fmla="*/ 295 w 512"/>
                <a:gd name="T43" fmla="*/ 24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3 w 512"/>
                <a:gd name="T55" fmla="*/ 106 h 512"/>
                <a:gd name="T56" fmla="*/ 362 w 512"/>
                <a:gd name="T57" fmla="*/ 96 h 512"/>
                <a:gd name="T58" fmla="*/ 149 w 512"/>
                <a:gd name="T59" fmla="*/ 96 h 512"/>
                <a:gd name="T60" fmla="*/ 138 w 512"/>
                <a:gd name="T61" fmla="*/ 106 h 512"/>
                <a:gd name="T62" fmla="*/ 138 w 512"/>
                <a:gd name="T63" fmla="*/ 405 h 512"/>
                <a:gd name="T64" fmla="*/ 149 w 512"/>
                <a:gd name="T65" fmla="*/ 416 h 512"/>
                <a:gd name="T66" fmla="*/ 362 w 512"/>
                <a:gd name="T67" fmla="*/ 416 h 512"/>
                <a:gd name="T68" fmla="*/ 373 w 512"/>
                <a:gd name="T69" fmla="*/ 405 h 512"/>
                <a:gd name="T70" fmla="*/ 373 w 512"/>
                <a:gd name="T71"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30" y="117"/>
                  </a:moveTo>
                  <a:cubicBezTo>
                    <a:pt x="352" y="117"/>
                    <a:pt x="352" y="117"/>
                    <a:pt x="352" y="117"/>
                  </a:cubicBezTo>
                  <a:cubicBezTo>
                    <a:pt x="352" y="394"/>
                    <a:pt x="352" y="394"/>
                    <a:pt x="352" y="394"/>
                  </a:cubicBezTo>
                  <a:cubicBezTo>
                    <a:pt x="160" y="394"/>
                    <a:pt x="160" y="394"/>
                    <a:pt x="160" y="394"/>
                  </a:cubicBezTo>
                  <a:cubicBezTo>
                    <a:pt x="160" y="117"/>
                    <a:pt x="160" y="117"/>
                    <a:pt x="160" y="117"/>
                  </a:cubicBezTo>
                  <a:cubicBezTo>
                    <a:pt x="245" y="117"/>
                    <a:pt x="245" y="117"/>
                    <a:pt x="245" y="117"/>
                  </a:cubicBezTo>
                  <a:cubicBezTo>
                    <a:pt x="245" y="288"/>
                    <a:pt x="245" y="288"/>
                    <a:pt x="245" y="288"/>
                  </a:cubicBezTo>
                  <a:cubicBezTo>
                    <a:pt x="245" y="292"/>
                    <a:pt x="248" y="296"/>
                    <a:pt x="252" y="298"/>
                  </a:cubicBezTo>
                  <a:cubicBezTo>
                    <a:pt x="256" y="299"/>
                    <a:pt x="260" y="298"/>
                    <a:pt x="263" y="295"/>
                  </a:cubicBezTo>
                  <a:cubicBezTo>
                    <a:pt x="288" y="271"/>
                    <a:pt x="288" y="271"/>
                    <a:pt x="288" y="271"/>
                  </a:cubicBezTo>
                  <a:cubicBezTo>
                    <a:pt x="312" y="295"/>
                    <a:pt x="312" y="295"/>
                    <a:pt x="312" y="295"/>
                  </a:cubicBezTo>
                  <a:cubicBezTo>
                    <a:pt x="314" y="297"/>
                    <a:pt x="317" y="298"/>
                    <a:pt x="320" y="298"/>
                  </a:cubicBezTo>
                  <a:cubicBezTo>
                    <a:pt x="321" y="298"/>
                    <a:pt x="322" y="298"/>
                    <a:pt x="324" y="298"/>
                  </a:cubicBezTo>
                  <a:cubicBezTo>
                    <a:pt x="328" y="296"/>
                    <a:pt x="330" y="292"/>
                    <a:pt x="330" y="288"/>
                  </a:cubicBezTo>
                  <a:lnTo>
                    <a:pt x="330" y="117"/>
                  </a:lnTo>
                  <a:close/>
                  <a:moveTo>
                    <a:pt x="295" y="248"/>
                  </a:moveTo>
                  <a:cubicBezTo>
                    <a:pt x="309" y="262"/>
                    <a:pt x="309" y="262"/>
                    <a:pt x="309" y="262"/>
                  </a:cubicBezTo>
                  <a:cubicBezTo>
                    <a:pt x="309" y="117"/>
                    <a:pt x="309" y="117"/>
                    <a:pt x="309" y="117"/>
                  </a:cubicBezTo>
                  <a:cubicBezTo>
                    <a:pt x="266" y="117"/>
                    <a:pt x="266" y="117"/>
                    <a:pt x="266" y="117"/>
                  </a:cubicBezTo>
                  <a:cubicBezTo>
                    <a:pt x="266" y="262"/>
                    <a:pt x="266" y="262"/>
                    <a:pt x="266" y="262"/>
                  </a:cubicBezTo>
                  <a:cubicBezTo>
                    <a:pt x="280" y="248"/>
                    <a:pt x="280" y="248"/>
                    <a:pt x="280" y="248"/>
                  </a:cubicBezTo>
                  <a:cubicBezTo>
                    <a:pt x="284" y="244"/>
                    <a:pt x="291" y="244"/>
                    <a:pt x="295" y="24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0" name="Inhaltsplatzhalter 5">
            <a:extLst>
              <a:ext uri="{FF2B5EF4-FFF2-40B4-BE49-F238E27FC236}">
                <a16:creationId xmlns:a16="http://schemas.microsoft.com/office/drawing/2014/main" id="{949A819F-E3A9-00FB-4748-1009A9EA06D2}"/>
              </a:ext>
            </a:extLst>
          </p:cNvPr>
          <p:cNvSpPr txBox="1">
            <a:spLocks/>
          </p:cNvSpPr>
          <p:nvPr/>
        </p:nvSpPr>
        <p:spPr>
          <a:xfrm>
            <a:off x="835278" y="2864206"/>
            <a:ext cx="3034757" cy="849080"/>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171450" lvl="1" indent="-171450" fontAlgn="base">
              <a:spcAft>
                <a:spcPts val="300"/>
              </a:spcAft>
              <a:buFont typeface="Arial" panose="020B0604020202020204" pitchFamily="34" charset="0"/>
              <a:buChar char="•"/>
              <a:defRPr/>
            </a:pP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Specialized skills are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required.</a:t>
            </a:r>
          </a:p>
          <a:p>
            <a:pPr marL="171450" lvl="1" indent="-171450" fontAlgn="base">
              <a:spcAft>
                <a:spcPts val="300"/>
              </a:spcAft>
              <a:buFont typeface="Arial" panose="020B0604020202020204"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Managing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multiple players</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and vendors.</a:t>
            </a:r>
          </a:p>
          <a:p>
            <a:pPr marL="171450" lvl="1" indent="-171450" fontAlgn="base">
              <a:spcAft>
                <a:spcPts val="300"/>
              </a:spcAft>
              <a:buFont typeface="Arial" panose="020B0604020202020204" pitchFamily="34" charset="0"/>
              <a:buChar char="•"/>
              <a:defRPr/>
            </a:pP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Long</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project life-cycle.</a:t>
            </a:r>
          </a:p>
          <a:p>
            <a:pPr marL="171450" lvl="1" indent="-171450" fontAlgn="base">
              <a:spcAft>
                <a:spcPts val="300"/>
              </a:spcAft>
              <a:buFont typeface="Arial" panose="020B0604020202020204"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Cultural and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organizational resistance.</a:t>
            </a:r>
          </a:p>
        </p:txBody>
      </p:sp>
      <p:sp>
        <p:nvSpPr>
          <p:cNvPr id="34" name="TextBox 33">
            <a:extLst>
              <a:ext uri="{FF2B5EF4-FFF2-40B4-BE49-F238E27FC236}">
                <a16:creationId xmlns:a16="http://schemas.microsoft.com/office/drawing/2014/main" id="{539D602C-C847-716A-6138-D4E20CAD49AF}"/>
              </a:ext>
            </a:extLst>
          </p:cNvPr>
          <p:cNvSpPr txBox="1"/>
          <p:nvPr/>
        </p:nvSpPr>
        <p:spPr>
          <a:xfrm>
            <a:off x="630236" y="3716881"/>
            <a:ext cx="3239799" cy="219498"/>
          </a:xfrm>
          <a:prstGeom prst="rect">
            <a:avLst/>
          </a:prstGeom>
          <a:solidFill>
            <a:schemeClr val="bg1">
              <a:lumMod val="95000"/>
            </a:schemeClr>
          </a:solidFill>
        </p:spPr>
        <p:txBody>
          <a:bodyPr wrap="square" lIns="252000" rIns="0" anchor="ctr">
            <a:noAutofit/>
          </a:bodyPr>
          <a:lstStyle/>
          <a:p>
            <a:r>
              <a:rPr lang="en-US" sz="1000" b="1" dirty="0">
                <a:latin typeface="Open Sans Light" panose="020B0306030504020204" pitchFamily="34" charset="0"/>
                <a:ea typeface="Open Sans Light" panose="020B0306030504020204" pitchFamily="34" charset="0"/>
                <a:cs typeface="Open Sans Light" panose="020B0306030504020204" pitchFamily="34" charset="0"/>
              </a:rPr>
              <a:t>Events or situations triggering complex integration</a:t>
            </a: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8" name="Inhaltsplatzhalter 5">
            <a:extLst>
              <a:ext uri="{FF2B5EF4-FFF2-40B4-BE49-F238E27FC236}">
                <a16:creationId xmlns:a16="http://schemas.microsoft.com/office/drawing/2014/main" id="{7DCCBCD2-3EBC-90B7-7D32-7F2680216537}"/>
              </a:ext>
            </a:extLst>
          </p:cNvPr>
          <p:cNvSpPr txBox="1">
            <a:spLocks/>
          </p:cNvSpPr>
          <p:nvPr/>
        </p:nvSpPr>
        <p:spPr>
          <a:xfrm>
            <a:off x="835278" y="3936379"/>
            <a:ext cx="3034757" cy="2409003"/>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0" lvl="1" fontAlgn="base">
              <a:spcAft>
                <a:spcPts val="300"/>
              </a:spcAft>
              <a:defRPr/>
            </a:pP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System change</a:t>
            </a:r>
          </a:p>
          <a:p>
            <a:pPr marL="171450" lvl="1" indent="-171450" fontAlgn="base">
              <a:spcAft>
                <a:spcPts val="300"/>
              </a:spcAft>
              <a:buFont typeface="Arial" panose="020B0604020202020204"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n both implementation or system change, an integration task is consistently present, to ensure seamless integration. </a:t>
            </a:r>
          </a:p>
          <a:p>
            <a:pPr marL="0" lvl="1" fontAlgn="base">
              <a:spcAft>
                <a:spcPts val="300"/>
              </a:spcAft>
              <a:defRPr/>
            </a:pP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Integration tool introduction</a:t>
            </a:r>
          </a:p>
          <a:p>
            <a:pPr marL="171450" lvl="1" indent="-171450" fontAlgn="base">
              <a:spcAft>
                <a:spcPts val="300"/>
              </a:spcAft>
              <a:buFont typeface="Arial" panose="020B0604020202020204"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Organizations often seek new technologies or can become dissatisfied with ESBs due to over-customization, slow performance, and high costs. To create a future-proof integration landscape, skilled SI role is needed</a:t>
            </a:r>
          </a:p>
          <a:p>
            <a:pPr marL="0" lvl="1" fontAlgn="base">
              <a:spcAft>
                <a:spcPts val="300"/>
              </a:spcAft>
              <a:defRPr/>
            </a:pP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Modernization</a:t>
            </a:r>
          </a:p>
          <a:p>
            <a:pPr marL="171450" lvl="1" indent="-171450" fontAlgn="base">
              <a:spcAft>
                <a:spcPts val="300"/>
              </a:spcAft>
              <a:buFont typeface="Arial" panose="020B0604020202020204"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Point-to-point connections (resembling spaghetti) have become unmanageable, possibly due to a need for a timeline change. </a:t>
            </a:r>
          </a:p>
        </p:txBody>
      </p:sp>
      <p:grpSp>
        <p:nvGrpSpPr>
          <p:cNvPr id="49" name="Group 48">
            <a:extLst>
              <a:ext uri="{FF2B5EF4-FFF2-40B4-BE49-F238E27FC236}">
                <a16:creationId xmlns:a16="http://schemas.microsoft.com/office/drawing/2014/main" id="{A4D07045-8630-65C3-24F9-D4E108D1A74D}"/>
              </a:ext>
            </a:extLst>
          </p:cNvPr>
          <p:cNvGrpSpPr/>
          <p:nvPr/>
        </p:nvGrpSpPr>
        <p:grpSpPr>
          <a:xfrm>
            <a:off x="462958" y="2574456"/>
            <a:ext cx="360000" cy="360000"/>
            <a:chOff x="5349177" y="3500354"/>
            <a:chExt cx="334332" cy="334332"/>
          </a:xfrm>
        </p:grpSpPr>
        <p:sp>
          <p:nvSpPr>
            <p:cNvPr id="24" name="Oval 23">
              <a:extLst>
                <a:ext uri="{FF2B5EF4-FFF2-40B4-BE49-F238E27FC236}">
                  <a16:creationId xmlns:a16="http://schemas.microsoft.com/office/drawing/2014/main" id="{C8C50F03-963E-6402-DA31-D522FF1046F7}"/>
                </a:ext>
              </a:extLst>
            </p:cNvPr>
            <p:cNvSpPr/>
            <p:nvPr/>
          </p:nvSpPr>
          <p:spPr bwMode="gray">
            <a:xfrm>
              <a:off x="5349177" y="3500354"/>
              <a:ext cx="334332" cy="33433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2" name="Group 498">
              <a:extLst>
                <a:ext uri="{FF2B5EF4-FFF2-40B4-BE49-F238E27FC236}">
                  <a16:creationId xmlns:a16="http://schemas.microsoft.com/office/drawing/2014/main" id="{D4A73C62-6987-D35D-E6ED-309AF2E1FE21}"/>
                </a:ext>
              </a:extLst>
            </p:cNvPr>
            <p:cNvGrpSpPr>
              <a:grpSpLocks noChangeAspect="1"/>
            </p:cNvGrpSpPr>
            <p:nvPr/>
          </p:nvGrpSpPr>
          <p:grpSpPr bwMode="auto">
            <a:xfrm>
              <a:off x="5372343" y="3523520"/>
              <a:ext cx="288000" cy="288000"/>
              <a:chOff x="1543" y="2005"/>
              <a:chExt cx="340" cy="340"/>
            </a:xfrm>
            <a:solidFill>
              <a:srgbClr val="6FC2B4"/>
            </a:solidFill>
          </p:grpSpPr>
          <p:sp>
            <p:nvSpPr>
              <p:cNvPr id="43" name="Freeform 499">
                <a:extLst>
                  <a:ext uri="{FF2B5EF4-FFF2-40B4-BE49-F238E27FC236}">
                    <a16:creationId xmlns:a16="http://schemas.microsoft.com/office/drawing/2014/main" id="{016373B5-2606-3E5E-E967-21CE78BFB291}"/>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500">
                <a:extLst>
                  <a:ext uri="{FF2B5EF4-FFF2-40B4-BE49-F238E27FC236}">
                    <a16:creationId xmlns:a16="http://schemas.microsoft.com/office/drawing/2014/main" id="{FE496FA2-7114-1FEB-C34F-BE9A93591334}"/>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3" name="Group 102">
            <a:extLst>
              <a:ext uri="{FF2B5EF4-FFF2-40B4-BE49-F238E27FC236}">
                <a16:creationId xmlns:a16="http://schemas.microsoft.com/office/drawing/2014/main" id="{D33EB554-26B7-35A0-3AF6-91634B1990C8}"/>
              </a:ext>
            </a:extLst>
          </p:cNvPr>
          <p:cNvGrpSpPr/>
          <p:nvPr/>
        </p:nvGrpSpPr>
        <p:grpSpPr>
          <a:xfrm>
            <a:off x="462534" y="3646630"/>
            <a:ext cx="360000" cy="360000"/>
            <a:chOff x="5692187" y="2521219"/>
            <a:chExt cx="334332" cy="334332"/>
          </a:xfrm>
        </p:grpSpPr>
        <p:sp>
          <p:nvSpPr>
            <p:cNvPr id="45" name="Oval 44">
              <a:extLst>
                <a:ext uri="{FF2B5EF4-FFF2-40B4-BE49-F238E27FC236}">
                  <a16:creationId xmlns:a16="http://schemas.microsoft.com/office/drawing/2014/main" id="{279975E1-E0C9-8D7C-F44A-41320948FAED}"/>
                </a:ext>
              </a:extLst>
            </p:cNvPr>
            <p:cNvSpPr/>
            <p:nvPr/>
          </p:nvSpPr>
          <p:spPr bwMode="gray">
            <a:xfrm>
              <a:off x="5692187" y="2521219"/>
              <a:ext cx="334332" cy="33433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Freeform 472">
              <a:extLst>
                <a:ext uri="{FF2B5EF4-FFF2-40B4-BE49-F238E27FC236}">
                  <a16:creationId xmlns:a16="http://schemas.microsoft.com/office/drawing/2014/main" id="{5BE90D35-3D6F-6034-7C54-1E3238D268C7}"/>
                </a:ext>
              </a:extLst>
            </p:cNvPr>
            <p:cNvSpPr>
              <a:spLocks noChangeAspect="1" noEditPoints="1"/>
            </p:cNvSpPr>
            <p:nvPr/>
          </p:nvSpPr>
          <p:spPr bwMode="auto">
            <a:xfrm>
              <a:off x="5715353" y="2544385"/>
              <a:ext cx="288000"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72" name="Rectangle 171">
            <a:extLst>
              <a:ext uri="{FF2B5EF4-FFF2-40B4-BE49-F238E27FC236}">
                <a16:creationId xmlns:a16="http://schemas.microsoft.com/office/drawing/2014/main" id="{C601CE4E-92C6-35E2-A818-432A3E759F0F}"/>
              </a:ext>
            </a:extLst>
          </p:cNvPr>
          <p:cNvSpPr/>
          <p:nvPr/>
        </p:nvSpPr>
        <p:spPr>
          <a:xfrm>
            <a:off x="4487023" y="2621430"/>
            <a:ext cx="2094943" cy="219498"/>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00" b="1"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Business strategy</a:t>
            </a:r>
          </a:p>
        </p:txBody>
      </p:sp>
      <p:grpSp>
        <p:nvGrpSpPr>
          <p:cNvPr id="206" name="Group 205">
            <a:extLst>
              <a:ext uri="{FF2B5EF4-FFF2-40B4-BE49-F238E27FC236}">
                <a16:creationId xmlns:a16="http://schemas.microsoft.com/office/drawing/2014/main" id="{AC8AD103-BB23-F4B6-9531-89A8BC48C7D5}"/>
              </a:ext>
            </a:extLst>
          </p:cNvPr>
          <p:cNvGrpSpPr/>
          <p:nvPr/>
        </p:nvGrpSpPr>
        <p:grpSpPr>
          <a:xfrm>
            <a:off x="4256904" y="2568071"/>
            <a:ext cx="360000" cy="360000"/>
            <a:chOff x="3025130" y="6641929"/>
            <a:chExt cx="504000" cy="504000"/>
          </a:xfrm>
        </p:grpSpPr>
        <p:sp>
          <p:nvSpPr>
            <p:cNvPr id="173" name="Oval 172">
              <a:extLst>
                <a:ext uri="{FF2B5EF4-FFF2-40B4-BE49-F238E27FC236}">
                  <a16:creationId xmlns:a16="http://schemas.microsoft.com/office/drawing/2014/main" id="{D88EFBBC-130C-A5CB-1CDC-4FD8621B49D4}"/>
                </a:ext>
              </a:extLst>
            </p:cNvPr>
            <p:cNvSpPr/>
            <p:nvPr/>
          </p:nvSpPr>
          <p:spPr>
            <a:xfrm>
              <a:off x="3025130" y="6641929"/>
              <a:ext cx="504000" cy="50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mj-lt"/>
              </a:endParaRPr>
            </a:p>
          </p:txBody>
        </p:sp>
        <p:grpSp>
          <p:nvGrpSpPr>
            <p:cNvPr id="174" name="Graphic 4">
              <a:extLst>
                <a:ext uri="{FF2B5EF4-FFF2-40B4-BE49-F238E27FC236}">
                  <a16:creationId xmlns:a16="http://schemas.microsoft.com/office/drawing/2014/main" id="{7D927D09-F51C-4333-3264-D0A861324DEC}"/>
                </a:ext>
              </a:extLst>
            </p:cNvPr>
            <p:cNvGrpSpPr/>
            <p:nvPr/>
          </p:nvGrpSpPr>
          <p:grpSpPr>
            <a:xfrm>
              <a:off x="3043130" y="6659929"/>
              <a:ext cx="468000" cy="468000"/>
              <a:chOff x="467743" y="2855717"/>
              <a:chExt cx="361670" cy="362610"/>
            </a:xfrm>
            <a:solidFill>
              <a:srgbClr val="00ABAB"/>
            </a:solidFill>
          </p:grpSpPr>
          <p:sp>
            <p:nvSpPr>
              <p:cNvPr id="175" name="Graphic 4">
                <a:extLst>
                  <a:ext uri="{FF2B5EF4-FFF2-40B4-BE49-F238E27FC236}">
                    <a16:creationId xmlns:a16="http://schemas.microsoft.com/office/drawing/2014/main" id="{4A29F914-CA67-BF37-9FF3-8443980C5EB0}"/>
                  </a:ext>
                </a:extLst>
              </p:cNvPr>
              <p:cNvSpPr/>
              <p:nvPr/>
            </p:nvSpPr>
            <p:spPr>
              <a:xfrm>
                <a:off x="467743" y="2855717"/>
                <a:ext cx="361670" cy="362610"/>
              </a:xfrm>
              <a:custGeom>
                <a:avLst/>
                <a:gdLst>
                  <a:gd name="connsiteX0" fmla="*/ 180835 w 361670"/>
                  <a:gd name="connsiteY0" fmla="*/ 0 h 362610"/>
                  <a:gd name="connsiteX1" fmla="*/ 0 w 361670"/>
                  <a:gd name="connsiteY1" fmla="*/ 181305 h 362610"/>
                  <a:gd name="connsiteX2" fmla="*/ 180835 w 361670"/>
                  <a:gd name="connsiteY2" fmla="*/ 362610 h 362610"/>
                  <a:gd name="connsiteX3" fmla="*/ 361670 w 361670"/>
                  <a:gd name="connsiteY3" fmla="*/ 181305 h 362610"/>
                  <a:gd name="connsiteX4" fmla="*/ 361670 w 361670"/>
                  <a:gd name="connsiteY4" fmla="*/ 181305 h 362610"/>
                  <a:gd name="connsiteX5" fmla="*/ 180835 w 361670"/>
                  <a:gd name="connsiteY5" fmla="*/ 0 h 362610"/>
                  <a:gd name="connsiteX6" fmla="*/ 180835 w 361670"/>
                  <a:gd name="connsiteY6" fmla="*/ 0 h 362610"/>
                  <a:gd name="connsiteX7" fmla="*/ 180835 w 361670"/>
                  <a:gd name="connsiteY7" fmla="*/ 349204 h 362610"/>
                  <a:gd name="connsiteX8" fmla="*/ 12780 w 361670"/>
                  <a:gd name="connsiteY8" fmla="*/ 180667 h 362610"/>
                  <a:gd name="connsiteX9" fmla="*/ 180835 w 361670"/>
                  <a:gd name="connsiteY9" fmla="*/ 12130 h 362610"/>
                  <a:gd name="connsiteX10" fmla="*/ 348891 w 361670"/>
                  <a:gd name="connsiteY10" fmla="*/ 180667 h 362610"/>
                  <a:gd name="connsiteX11" fmla="*/ 180835 w 361670"/>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0"/>
                    </a:moveTo>
                    <a:cubicBezTo>
                      <a:pt x="80513" y="0"/>
                      <a:pt x="0" y="81076"/>
                      <a:pt x="0" y="181305"/>
                    </a:cubicBezTo>
                    <a:cubicBezTo>
                      <a:pt x="0" y="281533"/>
                      <a:pt x="81152" y="362610"/>
                      <a:pt x="180835" y="362610"/>
                    </a:cubicBezTo>
                    <a:cubicBezTo>
                      <a:pt x="280518" y="362610"/>
                      <a:pt x="361670" y="281533"/>
                      <a:pt x="361670" y="181305"/>
                    </a:cubicBezTo>
                    <a:cubicBezTo>
                      <a:pt x="361670" y="181305"/>
                      <a:pt x="361670" y="181305"/>
                      <a:pt x="361670" y="181305"/>
                    </a:cubicBezTo>
                    <a:cubicBezTo>
                      <a:pt x="361670" y="80438"/>
                      <a:pt x="281157" y="0"/>
                      <a:pt x="180835" y="0"/>
                    </a:cubicBezTo>
                    <a:cubicBezTo>
                      <a:pt x="180835" y="0"/>
                      <a:pt x="180835" y="0"/>
                      <a:pt x="180835" y="0"/>
                    </a:cubicBezTo>
                    <a:close/>
                    <a:moveTo>
                      <a:pt x="180835" y="349204"/>
                    </a:moveTo>
                    <a:cubicBezTo>
                      <a:pt x="87542" y="349204"/>
                      <a:pt x="12780" y="273873"/>
                      <a:pt x="12780" y="180667"/>
                    </a:cubicBezTo>
                    <a:cubicBezTo>
                      <a:pt x="12780" y="87460"/>
                      <a:pt x="88181" y="12130"/>
                      <a:pt x="180835" y="12130"/>
                    </a:cubicBezTo>
                    <a:cubicBezTo>
                      <a:pt x="273489" y="12130"/>
                      <a:pt x="348891" y="87460"/>
                      <a:pt x="348891" y="180667"/>
                    </a:cubicBezTo>
                    <a:cubicBezTo>
                      <a:pt x="348891" y="273234"/>
                      <a:pt x="273489" y="348565"/>
                      <a:pt x="180835" y="349204"/>
                    </a:cubicBezTo>
                    <a:close/>
                  </a:path>
                </a:pathLst>
              </a:custGeom>
              <a:grpFill/>
              <a:ln w="6390" cap="flat">
                <a:noFill/>
                <a:prstDash val="solid"/>
                <a:miter/>
              </a:ln>
            </p:spPr>
            <p:txBody>
              <a:bodyPr rtlCol="0" anchor="ctr"/>
              <a:lstStyle/>
              <a:p>
                <a:endParaRPr lang="en-US" dirty="0"/>
              </a:p>
            </p:txBody>
          </p:sp>
          <p:sp>
            <p:nvSpPr>
              <p:cNvPr id="176" name="Graphic 4">
                <a:extLst>
                  <a:ext uri="{FF2B5EF4-FFF2-40B4-BE49-F238E27FC236}">
                    <a16:creationId xmlns:a16="http://schemas.microsoft.com/office/drawing/2014/main" id="{37F3D8BE-2DDA-6AFC-32F8-C6325D51C6DC}"/>
                  </a:ext>
                </a:extLst>
              </p:cNvPr>
              <p:cNvSpPr/>
              <p:nvPr/>
            </p:nvSpPr>
            <p:spPr>
              <a:xfrm>
                <a:off x="668387" y="2937084"/>
                <a:ext cx="80862" cy="80148"/>
              </a:xfrm>
              <a:custGeom>
                <a:avLst/>
                <a:gdLst>
                  <a:gd name="connsiteX0" fmla="*/ 69011 w 80862"/>
                  <a:gd name="connsiteY0" fmla="*/ 1626 h 80148"/>
                  <a:gd name="connsiteX1" fmla="*/ 12780 w 80862"/>
                  <a:gd name="connsiteY1" fmla="*/ 57805 h 80148"/>
                  <a:gd name="connsiteX2" fmla="*/ 12780 w 80862"/>
                  <a:gd name="connsiteY2" fmla="*/ 25246 h 80148"/>
                  <a:gd name="connsiteX3" fmla="*/ 6390 w 80862"/>
                  <a:gd name="connsiteY3" fmla="*/ 18862 h 80148"/>
                  <a:gd name="connsiteX4" fmla="*/ 0 w 80862"/>
                  <a:gd name="connsiteY4" fmla="*/ 25246 h 80148"/>
                  <a:gd name="connsiteX5" fmla="*/ 0 w 80862"/>
                  <a:gd name="connsiteY5" fmla="*/ 73126 h 80148"/>
                  <a:gd name="connsiteX6" fmla="*/ 639 w 80862"/>
                  <a:gd name="connsiteY6" fmla="*/ 75680 h 80148"/>
                  <a:gd name="connsiteX7" fmla="*/ 639 w 80862"/>
                  <a:gd name="connsiteY7" fmla="*/ 76318 h 80148"/>
                  <a:gd name="connsiteX8" fmla="*/ 1278 w 80862"/>
                  <a:gd name="connsiteY8" fmla="*/ 77595 h 80148"/>
                  <a:gd name="connsiteX9" fmla="*/ 1917 w 80862"/>
                  <a:gd name="connsiteY9" fmla="*/ 78234 h 80148"/>
                  <a:gd name="connsiteX10" fmla="*/ 3834 w 80862"/>
                  <a:gd name="connsiteY10" fmla="*/ 79510 h 80148"/>
                  <a:gd name="connsiteX11" fmla="*/ 3834 w 80862"/>
                  <a:gd name="connsiteY11" fmla="*/ 79510 h 80148"/>
                  <a:gd name="connsiteX12" fmla="*/ 3834 w 80862"/>
                  <a:gd name="connsiteY12" fmla="*/ 79510 h 80148"/>
                  <a:gd name="connsiteX13" fmla="*/ 6390 w 80862"/>
                  <a:gd name="connsiteY13" fmla="*/ 80149 h 80148"/>
                  <a:gd name="connsiteX14" fmla="*/ 54314 w 80862"/>
                  <a:gd name="connsiteY14" fmla="*/ 80149 h 80148"/>
                  <a:gd name="connsiteX15" fmla="*/ 60704 w 80862"/>
                  <a:gd name="connsiteY15" fmla="*/ 73765 h 80148"/>
                  <a:gd name="connsiteX16" fmla="*/ 54314 w 80862"/>
                  <a:gd name="connsiteY16" fmla="*/ 67381 h 80148"/>
                  <a:gd name="connsiteX17" fmla="*/ 22365 w 80862"/>
                  <a:gd name="connsiteY17" fmla="*/ 67381 h 80148"/>
                  <a:gd name="connsiteX18" fmla="*/ 78596 w 80862"/>
                  <a:gd name="connsiteY18" fmla="*/ 11202 h 80148"/>
                  <a:gd name="connsiteX19" fmla="*/ 79235 w 80862"/>
                  <a:gd name="connsiteY19" fmla="*/ 2264 h 80148"/>
                  <a:gd name="connsiteX20" fmla="*/ 70289 w 80862"/>
                  <a:gd name="connsiteY20" fmla="*/ 1626 h 80148"/>
                  <a:gd name="connsiteX21" fmla="*/ 69011 w 80862"/>
                  <a:gd name="connsiteY21" fmla="*/ 1626 h 80148"/>
                  <a:gd name="connsiteX22" fmla="*/ 69011 w 80862"/>
                  <a:gd name="connsiteY22" fmla="*/ 1626 h 8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862" h="80148">
                    <a:moveTo>
                      <a:pt x="69011" y="1626"/>
                    </a:moveTo>
                    <a:lnTo>
                      <a:pt x="12780" y="57805"/>
                    </a:lnTo>
                    <a:lnTo>
                      <a:pt x="12780" y="25246"/>
                    </a:lnTo>
                    <a:cubicBezTo>
                      <a:pt x="12780" y="21416"/>
                      <a:pt x="10224" y="18862"/>
                      <a:pt x="6390" y="18862"/>
                    </a:cubicBezTo>
                    <a:cubicBezTo>
                      <a:pt x="2556" y="18862"/>
                      <a:pt x="0" y="21416"/>
                      <a:pt x="0" y="25246"/>
                    </a:cubicBezTo>
                    <a:lnTo>
                      <a:pt x="0" y="73126"/>
                    </a:lnTo>
                    <a:cubicBezTo>
                      <a:pt x="0" y="73765"/>
                      <a:pt x="0" y="74403"/>
                      <a:pt x="639" y="75680"/>
                    </a:cubicBezTo>
                    <a:cubicBezTo>
                      <a:pt x="639" y="75680"/>
                      <a:pt x="639" y="76318"/>
                      <a:pt x="639" y="76318"/>
                    </a:cubicBezTo>
                    <a:lnTo>
                      <a:pt x="1278" y="77595"/>
                    </a:lnTo>
                    <a:lnTo>
                      <a:pt x="1917" y="78234"/>
                    </a:lnTo>
                    <a:cubicBezTo>
                      <a:pt x="2556" y="78872"/>
                      <a:pt x="3195" y="78872"/>
                      <a:pt x="3834" y="79510"/>
                    </a:cubicBezTo>
                    <a:lnTo>
                      <a:pt x="3834" y="79510"/>
                    </a:lnTo>
                    <a:lnTo>
                      <a:pt x="3834" y="79510"/>
                    </a:lnTo>
                    <a:cubicBezTo>
                      <a:pt x="4473" y="79510"/>
                      <a:pt x="5112" y="80149"/>
                      <a:pt x="6390" y="80149"/>
                    </a:cubicBezTo>
                    <a:lnTo>
                      <a:pt x="54314" y="80149"/>
                    </a:lnTo>
                    <a:cubicBezTo>
                      <a:pt x="58148" y="80149"/>
                      <a:pt x="60704" y="77595"/>
                      <a:pt x="60704" y="73765"/>
                    </a:cubicBezTo>
                    <a:cubicBezTo>
                      <a:pt x="60704" y="69934"/>
                      <a:pt x="58148" y="67381"/>
                      <a:pt x="54314" y="67381"/>
                    </a:cubicBezTo>
                    <a:lnTo>
                      <a:pt x="22365" y="67381"/>
                    </a:lnTo>
                    <a:lnTo>
                      <a:pt x="78596" y="11202"/>
                    </a:lnTo>
                    <a:cubicBezTo>
                      <a:pt x="81152" y="8648"/>
                      <a:pt x="81791" y="4818"/>
                      <a:pt x="79235" y="2264"/>
                    </a:cubicBezTo>
                    <a:cubicBezTo>
                      <a:pt x="76679" y="-290"/>
                      <a:pt x="72845" y="-928"/>
                      <a:pt x="70289" y="1626"/>
                    </a:cubicBezTo>
                    <a:cubicBezTo>
                      <a:pt x="69650" y="987"/>
                      <a:pt x="69650" y="987"/>
                      <a:pt x="69011" y="1626"/>
                    </a:cubicBezTo>
                    <a:lnTo>
                      <a:pt x="69011" y="1626"/>
                    </a:lnTo>
                    <a:close/>
                  </a:path>
                </a:pathLst>
              </a:custGeom>
              <a:grpFill/>
              <a:ln w="6390" cap="flat">
                <a:noFill/>
                <a:prstDash val="solid"/>
                <a:miter/>
              </a:ln>
            </p:spPr>
            <p:txBody>
              <a:bodyPr rtlCol="0" anchor="ctr"/>
              <a:lstStyle/>
              <a:p>
                <a:endParaRPr lang="en-US" dirty="0"/>
              </a:p>
            </p:txBody>
          </p:sp>
          <p:sp>
            <p:nvSpPr>
              <p:cNvPr id="177" name="Graphic 4">
                <a:extLst>
                  <a:ext uri="{FF2B5EF4-FFF2-40B4-BE49-F238E27FC236}">
                    <a16:creationId xmlns:a16="http://schemas.microsoft.com/office/drawing/2014/main" id="{2D1811C4-5000-9AF8-A5DA-7F504707C1DC}"/>
                  </a:ext>
                </a:extLst>
              </p:cNvPr>
              <p:cNvSpPr/>
              <p:nvPr/>
            </p:nvSpPr>
            <p:spPr>
              <a:xfrm>
                <a:off x="548895" y="3056174"/>
                <a:ext cx="79874" cy="79799"/>
              </a:xfrm>
              <a:custGeom>
                <a:avLst/>
                <a:gdLst>
                  <a:gd name="connsiteX0" fmla="*/ 79235 w 79874"/>
                  <a:gd name="connsiteY0" fmla="*/ 3830 h 79799"/>
                  <a:gd name="connsiteX1" fmla="*/ 79235 w 79874"/>
                  <a:gd name="connsiteY1" fmla="*/ 3830 h 79799"/>
                  <a:gd name="connsiteX2" fmla="*/ 79235 w 79874"/>
                  <a:gd name="connsiteY2" fmla="*/ 3830 h 79799"/>
                  <a:gd name="connsiteX3" fmla="*/ 77957 w 79874"/>
                  <a:gd name="connsiteY3" fmla="*/ 1915 h 79799"/>
                  <a:gd name="connsiteX4" fmla="*/ 77318 w 79874"/>
                  <a:gd name="connsiteY4" fmla="*/ 1277 h 79799"/>
                  <a:gd name="connsiteX5" fmla="*/ 76040 w 79874"/>
                  <a:gd name="connsiteY5" fmla="*/ 638 h 79799"/>
                  <a:gd name="connsiteX6" fmla="*/ 75401 w 79874"/>
                  <a:gd name="connsiteY6" fmla="*/ 638 h 79799"/>
                  <a:gd name="connsiteX7" fmla="*/ 73484 w 79874"/>
                  <a:gd name="connsiteY7" fmla="*/ 0 h 79799"/>
                  <a:gd name="connsiteX8" fmla="*/ 25560 w 79874"/>
                  <a:gd name="connsiteY8" fmla="*/ 0 h 79799"/>
                  <a:gd name="connsiteX9" fmla="*/ 19170 w 79874"/>
                  <a:gd name="connsiteY9" fmla="*/ 6384 h 79799"/>
                  <a:gd name="connsiteX10" fmla="*/ 25560 w 79874"/>
                  <a:gd name="connsiteY10" fmla="*/ 12768 h 79799"/>
                  <a:gd name="connsiteX11" fmla="*/ 58148 w 79874"/>
                  <a:gd name="connsiteY11" fmla="*/ 12768 h 79799"/>
                  <a:gd name="connsiteX12" fmla="*/ 1917 w 79874"/>
                  <a:gd name="connsiteY12" fmla="*/ 68947 h 79799"/>
                  <a:gd name="connsiteX13" fmla="*/ 1917 w 79874"/>
                  <a:gd name="connsiteY13" fmla="*/ 77884 h 79799"/>
                  <a:gd name="connsiteX14" fmla="*/ 1917 w 79874"/>
                  <a:gd name="connsiteY14" fmla="*/ 77884 h 79799"/>
                  <a:gd name="connsiteX15" fmla="*/ 6390 w 79874"/>
                  <a:gd name="connsiteY15" fmla="*/ 79800 h 79799"/>
                  <a:gd name="connsiteX16" fmla="*/ 10863 w 79874"/>
                  <a:gd name="connsiteY16" fmla="*/ 77884 h 79799"/>
                  <a:gd name="connsiteX17" fmla="*/ 67094 w 79874"/>
                  <a:gd name="connsiteY17" fmla="*/ 21706 h 79799"/>
                  <a:gd name="connsiteX18" fmla="*/ 67094 w 79874"/>
                  <a:gd name="connsiteY18" fmla="*/ 54264 h 79799"/>
                  <a:gd name="connsiteX19" fmla="*/ 73484 w 79874"/>
                  <a:gd name="connsiteY19" fmla="*/ 60648 h 79799"/>
                  <a:gd name="connsiteX20" fmla="*/ 79874 w 79874"/>
                  <a:gd name="connsiteY20" fmla="*/ 54264 h 79799"/>
                  <a:gd name="connsiteX21" fmla="*/ 79874 w 79874"/>
                  <a:gd name="connsiteY21" fmla="*/ 5746 h 79799"/>
                  <a:gd name="connsiteX22" fmla="*/ 79235 w 79874"/>
                  <a:gd name="connsiteY22" fmla="*/ 3830 h 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74" h="79799">
                    <a:moveTo>
                      <a:pt x="79235" y="3830"/>
                    </a:moveTo>
                    <a:lnTo>
                      <a:pt x="79235" y="3830"/>
                    </a:lnTo>
                    <a:lnTo>
                      <a:pt x="79235" y="3830"/>
                    </a:lnTo>
                    <a:cubicBezTo>
                      <a:pt x="79235" y="3192"/>
                      <a:pt x="78596" y="2554"/>
                      <a:pt x="77957" y="1915"/>
                    </a:cubicBezTo>
                    <a:lnTo>
                      <a:pt x="77318" y="1277"/>
                    </a:lnTo>
                    <a:cubicBezTo>
                      <a:pt x="76679" y="638"/>
                      <a:pt x="76679" y="638"/>
                      <a:pt x="76040" y="638"/>
                    </a:cubicBezTo>
                    <a:lnTo>
                      <a:pt x="75401" y="638"/>
                    </a:lnTo>
                    <a:cubicBezTo>
                      <a:pt x="74762" y="638"/>
                      <a:pt x="74123" y="0"/>
                      <a:pt x="73484" y="0"/>
                    </a:cubicBezTo>
                    <a:lnTo>
                      <a:pt x="25560" y="0"/>
                    </a:lnTo>
                    <a:cubicBezTo>
                      <a:pt x="21726" y="0"/>
                      <a:pt x="19170" y="2554"/>
                      <a:pt x="19170" y="6384"/>
                    </a:cubicBezTo>
                    <a:cubicBezTo>
                      <a:pt x="19170" y="10214"/>
                      <a:pt x="21726" y="12768"/>
                      <a:pt x="25560" y="12768"/>
                    </a:cubicBezTo>
                    <a:lnTo>
                      <a:pt x="58148" y="12768"/>
                    </a:lnTo>
                    <a:lnTo>
                      <a:pt x="1917" y="68947"/>
                    </a:lnTo>
                    <a:cubicBezTo>
                      <a:pt x="-639" y="71500"/>
                      <a:pt x="-639" y="75331"/>
                      <a:pt x="1917" y="77884"/>
                    </a:cubicBezTo>
                    <a:cubicBezTo>
                      <a:pt x="1917" y="77884"/>
                      <a:pt x="1917" y="77884"/>
                      <a:pt x="1917" y="77884"/>
                    </a:cubicBezTo>
                    <a:cubicBezTo>
                      <a:pt x="3195" y="79161"/>
                      <a:pt x="4473" y="79800"/>
                      <a:pt x="6390" y="79800"/>
                    </a:cubicBezTo>
                    <a:cubicBezTo>
                      <a:pt x="8307" y="79800"/>
                      <a:pt x="9585" y="79161"/>
                      <a:pt x="10863" y="77884"/>
                    </a:cubicBezTo>
                    <a:lnTo>
                      <a:pt x="67094" y="21706"/>
                    </a:lnTo>
                    <a:lnTo>
                      <a:pt x="67094" y="54264"/>
                    </a:lnTo>
                    <a:cubicBezTo>
                      <a:pt x="67094" y="58094"/>
                      <a:pt x="69650" y="60648"/>
                      <a:pt x="73484" y="60648"/>
                    </a:cubicBezTo>
                    <a:cubicBezTo>
                      <a:pt x="77318" y="60648"/>
                      <a:pt x="79874" y="58094"/>
                      <a:pt x="79874" y="54264"/>
                    </a:cubicBezTo>
                    <a:lnTo>
                      <a:pt x="79874" y="5746"/>
                    </a:lnTo>
                    <a:cubicBezTo>
                      <a:pt x="79874" y="5746"/>
                      <a:pt x="79874" y="4469"/>
                      <a:pt x="79235" y="3830"/>
                    </a:cubicBezTo>
                    <a:close/>
                  </a:path>
                </a:pathLst>
              </a:custGeom>
              <a:grpFill/>
              <a:ln w="6390" cap="flat">
                <a:noFill/>
                <a:prstDash val="solid"/>
                <a:miter/>
              </a:ln>
            </p:spPr>
            <p:txBody>
              <a:bodyPr rtlCol="0" anchor="ctr"/>
              <a:lstStyle/>
              <a:p>
                <a:endParaRPr lang="en-US" dirty="0"/>
              </a:p>
            </p:txBody>
          </p:sp>
          <p:sp>
            <p:nvSpPr>
              <p:cNvPr id="178" name="Graphic 4">
                <a:extLst>
                  <a:ext uri="{FF2B5EF4-FFF2-40B4-BE49-F238E27FC236}">
                    <a16:creationId xmlns:a16="http://schemas.microsoft.com/office/drawing/2014/main" id="{B1E5EB25-550D-2814-A6BB-D69E47AFE489}"/>
                  </a:ext>
                </a:extLst>
              </p:cNvPr>
              <p:cNvSpPr/>
              <p:nvPr/>
            </p:nvSpPr>
            <p:spPr>
              <a:xfrm>
                <a:off x="668387" y="3056174"/>
                <a:ext cx="79874" cy="79799"/>
              </a:xfrm>
              <a:custGeom>
                <a:avLst/>
                <a:gdLst>
                  <a:gd name="connsiteX0" fmla="*/ 21726 w 79874"/>
                  <a:gd name="connsiteY0" fmla="*/ 12768 h 79799"/>
                  <a:gd name="connsiteX1" fmla="*/ 54314 w 79874"/>
                  <a:gd name="connsiteY1" fmla="*/ 12768 h 79799"/>
                  <a:gd name="connsiteX2" fmla="*/ 60704 w 79874"/>
                  <a:gd name="connsiteY2" fmla="*/ 6384 h 79799"/>
                  <a:gd name="connsiteX3" fmla="*/ 54314 w 79874"/>
                  <a:gd name="connsiteY3" fmla="*/ 0 h 79799"/>
                  <a:gd name="connsiteX4" fmla="*/ 6390 w 79874"/>
                  <a:gd name="connsiteY4" fmla="*/ 0 h 79799"/>
                  <a:gd name="connsiteX5" fmla="*/ 4473 w 79874"/>
                  <a:gd name="connsiteY5" fmla="*/ 638 h 79799"/>
                  <a:gd name="connsiteX6" fmla="*/ 3834 w 79874"/>
                  <a:gd name="connsiteY6" fmla="*/ 638 h 79799"/>
                  <a:gd name="connsiteX7" fmla="*/ 2556 w 79874"/>
                  <a:gd name="connsiteY7" fmla="*/ 1277 h 79799"/>
                  <a:gd name="connsiteX8" fmla="*/ 1917 w 79874"/>
                  <a:gd name="connsiteY8" fmla="*/ 1915 h 79799"/>
                  <a:gd name="connsiteX9" fmla="*/ 639 w 79874"/>
                  <a:gd name="connsiteY9" fmla="*/ 3830 h 79799"/>
                  <a:gd name="connsiteX10" fmla="*/ 639 w 79874"/>
                  <a:gd name="connsiteY10" fmla="*/ 3830 h 79799"/>
                  <a:gd name="connsiteX11" fmla="*/ 639 w 79874"/>
                  <a:gd name="connsiteY11" fmla="*/ 3830 h 79799"/>
                  <a:gd name="connsiteX12" fmla="*/ 0 w 79874"/>
                  <a:gd name="connsiteY12" fmla="*/ 6384 h 79799"/>
                  <a:gd name="connsiteX13" fmla="*/ 0 w 79874"/>
                  <a:gd name="connsiteY13" fmla="*/ 6384 h 79799"/>
                  <a:gd name="connsiteX14" fmla="*/ 0 w 79874"/>
                  <a:gd name="connsiteY14" fmla="*/ 54264 h 79799"/>
                  <a:gd name="connsiteX15" fmla="*/ 6390 w 79874"/>
                  <a:gd name="connsiteY15" fmla="*/ 60648 h 79799"/>
                  <a:gd name="connsiteX16" fmla="*/ 12780 w 79874"/>
                  <a:gd name="connsiteY16" fmla="*/ 54264 h 79799"/>
                  <a:gd name="connsiteX17" fmla="*/ 12780 w 79874"/>
                  <a:gd name="connsiteY17" fmla="*/ 21706 h 79799"/>
                  <a:gd name="connsiteX18" fmla="*/ 69011 w 79874"/>
                  <a:gd name="connsiteY18" fmla="*/ 77884 h 79799"/>
                  <a:gd name="connsiteX19" fmla="*/ 77957 w 79874"/>
                  <a:gd name="connsiteY19" fmla="*/ 77884 h 79799"/>
                  <a:gd name="connsiteX20" fmla="*/ 77957 w 79874"/>
                  <a:gd name="connsiteY20" fmla="*/ 68947 h 79799"/>
                  <a:gd name="connsiteX21" fmla="*/ 21726 w 79874"/>
                  <a:gd name="connsiteY21" fmla="*/ 12768 h 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9874" h="79799">
                    <a:moveTo>
                      <a:pt x="21726" y="12768"/>
                    </a:moveTo>
                    <a:lnTo>
                      <a:pt x="54314" y="12768"/>
                    </a:lnTo>
                    <a:cubicBezTo>
                      <a:pt x="58148" y="12768"/>
                      <a:pt x="60704" y="10214"/>
                      <a:pt x="60704" y="6384"/>
                    </a:cubicBezTo>
                    <a:cubicBezTo>
                      <a:pt x="60704" y="2554"/>
                      <a:pt x="58148" y="0"/>
                      <a:pt x="54314" y="0"/>
                    </a:cubicBezTo>
                    <a:lnTo>
                      <a:pt x="6390" y="0"/>
                    </a:lnTo>
                    <a:cubicBezTo>
                      <a:pt x="5751" y="0"/>
                      <a:pt x="5112" y="0"/>
                      <a:pt x="4473" y="638"/>
                    </a:cubicBezTo>
                    <a:lnTo>
                      <a:pt x="3834" y="638"/>
                    </a:lnTo>
                    <a:cubicBezTo>
                      <a:pt x="3195" y="638"/>
                      <a:pt x="3195" y="1277"/>
                      <a:pt x="2556" y="1277"/>
                    </a:cubicBezTo>
                    <a:cubicBezTo>
                      <a:pt x="2556" y="1277"/>
                      <a:pt x="1917" y="1277"/>
                      <a:pt x="1917" y="1915"/>
                    </a:cubicBezTo>
                    <a:cubicBezTo>
                      <a:pt x="1278" y="2554"/>
                      <a:pt x="1278" y="3192"/>
                      <a:pt x="639" y="3830"/>
                    </a:cubicBezTo>
                    <a:lnTo>
                      <a:pt x="639" y="3830"/>
                    </a:lnTo>
                    <a:lnTo>
                      <a:pt x="639" y="3830"/>
                    </a:lnTo>
                    <a:cubicBezTo>
                      <a:pt x="639" y="4469"/>
                      <a:pt x="0" y="5107"/>
                      <a:pt x="0" y="6384"/>
                    </a:cubicBezTo>
                    <a:lnTo>
                      <a:pt x="0" y="6384"/>
                    </a:lnTo>
                    <a:lnTo>
                      <a:pt x="0" y="54264"/>
                    </a:lnTo>
                    <a:cubicBezTo>
                      <a:pt x="0" y="58094"/>
                      <a:pt x="2556" y="60648"/>
                      <a:pt x="6390" y="60648"/>
                    </a:cubicBezTo>
                    <a:cubicBezTo>
                      <a:pt x="10224" y="60648"/>
                      <a:pt x="12780" y="58094"/>
                      <a:pt x="12780" y="54264"/>
                    </a:cubicBezTo>
                    <a:lnTo>
                      <a:pt x="12780" y="21706"/>
                    </a:lnTo>
                    <a:lnTo>
                      <a:pt x="69011" y="77884"/>
                    </a:lnTo>
                    <a:cubicBezTo>
                      <a:pt x="71567" y="80438"/>
                      <a:pt x="75401" y="80438"/>
                      <a:pt x="77957" y="77884"/>
                    </a:cubicBezTo>
                    <a:cubicBezTo>
                      <a:pt x="80513" y="75331"/>
                      <a:pt x="80513" y="71500"/>
                      <a:pt x="77957" y="68947"/>
                    </a:cubicBezTo>
                    <a:lnTo>
                      <a:pt x="21726" y="12768"/>
                    </a:lnTo>
                    <a:close/>
                  </a:path>
                </a:pathLst>
              </a:custGeom>
              <a:grpFill/>
              <a:ln w="6390" cap="flat">
                <a:noFill/>
                <a:prstDash val="solid"/>
                <a:miter/>
              </a:ln>
            </p:spPr>
            <p:txBody>
              <a:bodyPr rtlCol="0" anchor="ctr"/>
              <a:lstStyle/>
              <a:p>
                <a:endParaRPr lang="en-US" dirty="0"/>
              </a:p>
            </p:txBody>
          </p:sp>
          <p:sp>
            <p:nvSpPr>
              <p:cNvPr id="179" name="Graphic 4">
                <a:extLst>
                  <a:ext uri="{FF2B5EF4-FFF2-40B4-BE49-F238E27FC236}">
                    <a16:creationId xmlns:a16="http://schemas.microsoft.com/office/drawing/2014/main" id="{412A22B9-A7AA-C07E-1932-4B378BCEB940}"/>
                  </a:ext>
                </a:extLst>
              </p:cNvPr>
              <p:cNvSpPr/>
              <p:nvPr/>
            </p:nvSpPr>
            <p:spPr>
              <a:xfrm>
                <a:off x="548895" y="2936794"/>
                <a:ext cx="79874" cy="79799"/>
              </a:xfrm>
              <a:custGeom>
                <a:avLst/>
                <a:gdLst>
                  <a:gd name="connsiteX0" fmla="*/ 73484 w 79874"/>
                  <a:gd name="connsiteY0" fmla="*/ 19152 h 79799"/>
                  <a:gd name="connsiteX1" fmla="*/ 67094 w 79874"/>
                  <a:gd name="connsiteY1" fmla="*/ 25536 h 79799"/>
                  <a:gd name="connsiteX2" fmla="*/ 67094 w 79874"/>
                  <a:gd name="connsiteY2" fmla="*/ 58094 h 79799"/>
                  <a:gd name="connsiteX3" fmla="*/ 10863 w 79874"/>
                  <a:gd name="connsiteY3" fmla="*/ 1915 h 79799"/>
                  <a:gd name="connsiteX4" fmla="*/ 1917 w 79874"/>
                  <a:gd name="connsiteY4" fmla="*/ 1915 h 79799"/>
                  <a:gd name="connsiteX5" fmla="*/ 1917 w 79874"/>
                  <a:gd name="connsiteY5" fmla="*/ 1915 h 79799"/>
                  <a:gd name="connsiteX6" fmla="*/ 1917 w 79874"/>
                  <a:gd name="connsiteY6" fmla="*/ 10853 h 79799"/>
                  <a:gd name="connsiteX7" fmla="*/ 58148 w 79874"/>
                  <a:gd name="connsiteY7" fmla="*/ 67032 h 79799"/>
                  <a:gd name="connsiteX8" fmla="*/ 25560 w 79874"/>
                  <a:gd name="connsiteY8" fmla="*/ 67032 h 79799"/>
                  <a:gd name="connsiteX9" fmla="*/ 19170 w 79874"/>
                  <a:gd name="connsiteY9" fmla="*/ 73416 h 79799"/>
                  <a:gd name="connsiteX10" fmla="*/ 25560 w 79874"/>
                  <a:gd name="connsiteY10" fmla="*/ 79800 h 79799"/>
                  <a:gd name="connsiteX11" fmla="*/ 73484 w 79874"/>
                  <a:gd name="connsiteY11" fmla="*/ 79800 h 79799"/>
                  <a:gd name="connsiteX12" fmla="*/ 76040 w 79874"/>
                  <a:gd name="connsiteY12" fmla="*/ 79161 h 79799"/>
                  <a:gd name="connsiteX13" fmla="*/ 76040 w 79874"/>
                  <a:gd name="connsiteY13" fmla="*/ 79161 h 79799"/>
                  <a:gd name="connsiteX14" fmla="*/ 76040 w 79874"/>
                  <a:gd name="connsiteY14" fmla="*/ 79161 h 79799"/>
                  <a:gd name="connsiteX15" fmla="*/ 77957 w 79874"/>
                  <a:gd name="connsiteY15" fmla="*/ 77885 h 79799"/>
                  <a:gd name="connsiteX16" fmla="*/ 78596 w 79874"/>
                  <a:gd name="connsiteY16" fmla="*/ 77246 h 79799"/>
                  <a:gd name="connsiteX17" fmla="*/ 79235 w 79874"/>
                  <a:gd name="connsiteY17" fmla="*/ 75969 h 79799"/>
                  <a:gd name="connsiteX18" fmla="*/ 79235 w 79874"/>
                  <a:gd name="connsiteY18" fmla="*/ 75331 h 79799"/>
                  <a:gd name="connsiteX19" fmla="*/ 79874 w 79874"/>
                  <a:gd name="connsiteY19" fmla="*/ 72777 h 79799"/>
                  <a:gd name="connsiteX20" fmla="*/ 79874 w 79874"/>
                  <a:gd name="connsiteY20" fmla="*/ 24897 h 79799"/>
                  <a:gd name="connsiteX21" fmla="*/ 73484 w 79874"/>
                  <a:gd name="connsiteY21" fmla="*/ 19152 h 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9874" h="79799">
                    <a:moveTo>
                      <a:pt x="73484" y="19152"/>
                    </a:moveTo>
                    <a:cubicBezTo>
                      <a:pt x="69650" y="19152"/>
                      <a:pt x="67094" y="21706"/>
                      <a:pt x="67094" y="25536"/>
                    </a:cubicBezTo>
                    <a:lnTo>
                      <a:pt x="67094" y="58094"/>
                    </a:lnTo>
                    <a:lnTo>
                      <a:pt x="10863" y="1915"/>
                    </a:lnTo>
                    <a:cubicBezTo>
                      <a:pt x="8307" y="-638"/>
                      <a:pt x="4473" y="-638"/>
                      <a:pt x="1917" y="1915"/>
                    </a:cubicBezTo>
                    <a:cubicBezTo>
                      <a:pt x="1917" y="1915"/>
                      <a:pt x="1917" y="1915"/>
                      <a:pt x="1917" y="1915"/>
                    </a:cubicBezTo>
                    <a:cubicBezTo>
                      <a:pt x="-639" y="4469"/>
                      <a:pt x="-639" y="8299"/>
                      <a:pt x="1917" y="10853"/>
                    </a:cubicBezTo>
                    <a:lnTo>
                      <a:pt x="58148" y="67032"/>
                    </a:lnTo>
                    <a:lnTo>
                      <a:pt x="25560" y="67032"/>
                    </a:lnTo>
                    <a:cubicBezTo>
                      <a:pt x="21726" y="67032"/>
                      <a:pt x="19170" y="69585"/>
                      <a:pt x="19170" y="73416"/>
                    </a:cubicBezTo>
                    <a:cubicBezTo>
                      <a:pt x="19170" y="77246"/>
                      <a:pt x="21726" y="79800"/>
                      <a:pt x="25560" y="79800"/>
                    </a:cubicBezTo>
                    <a:lnTo>
                      <a:pt x="73484" y="79800"/>
                    </a:lnTo>
                    <a:cubicBezTo>
                      <a:pt x="74123" y="79800"/>
                      <a:pt x="75401" y="79800"/>
                      <a:pt x="76040" y="79161"/>
                    </a:cubicBezTo>
                    <a:lnTo>
                      <a:pt x="76040" y="79161"/>
                    </a:lnTo>
                    <a:lnTo>
                      <a:pt x="76040" y="79161"/>
                    </a:lnTo>
                    <a:cubicBezTo>
                      <a:pt x="76679" y="79161"/>
                      <a:pt x="77318" y="78523"/>
                      <a:pt x="77957" y="77885"/>
                    </a:cubicBezTo>
                    <a:lnTo>
                      <a:pt x="78596" y="77246"/>
                    </a:lnTo>
                    <a:cubicBezTo>
                      <a:pt x="79235" y="76608"/>
                      <a:pt x="79235" y="76608"/>
                      <a:pt x="79235" y="75969"/>
                    </a:cubicBezTo>
                    <a:cubicBezTo>
                      <a:pt x="79235" y="75969"/>
                      <a:pt x="79235" y="75331"/>
                      <a:pt x="79235" y="75331"/>
                    </a:cubicBezTo>
                    <a:cubicBezTo>
                      <a:pt x="79235" y="74693"/>
                      <a:pt x="79874" y="74054"/>
                      <a:pt x="79874" y="72777"/>
                    </a:cubicBezTo>
                    <a:lnTo>
                      <a:pt x="79874" y="24897"/>
                    </a:lnTo>
                    <a:cubicBezTo>
                      <a:pt x="79235" y="22344"/>
                      <a:pt x="76679" y="19152"/>
                      <a:pt x="73484" y="19152"/>
                    </a:cubicBezTo>
                    <a:close/>
                  </a:path>
                </a:pathLst>
              </a:custGeom>
              <a:grpFill/>
              <a:ln w="6390" cap="flat">
                <a:noFill/>
                <a:prstDash val="solid"/>
                <a:miter/>
              </a:ln>
            </p:spPr>
            <p:txBody>
              <a:bodyPr rtlCol="0" anchor="ctr"/>
              <a:lstStyle/>
              <a:p>
                <a:endParaRPr lang="en-US" dirty="0"/>
              </a:p>
            </p:txBody>
          </p:sp>
        </p:grpSp>
      </p:grpSp>
      <p:sp>
        <p:nvSpPr>
          <p:cNvPr id="195" name="Rectangle 194">
            <a:extLst>
              <a:ext uri="{FF2B5EF4-FFF2-40B4-BE49-F238E27FC236}">
                <a16:creationId xmlns:a16="http://schemas.microsoft.com/office/drawing/2014/main" id="{116CF54E-ED13-5300-57AB-D010A3BD0FCE}"/>
              </a:ext>
            </a:extLst>
          </p:cNvPr>
          <p:cNvSpPr/>
          <p:nvPr/>
        </p:nvSpPr>
        <p:spPr>
          <a:xfrm>
            <a:off x="4487022" y="4542632"/>
            <a:ext cx="2093659" cy="21960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00" b="1"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Integration strategy</a:t>
            </a:r>
          </a:p>
        </p:txBody>
      </p:sp>
      <p:grpSp>
        <p:nvGrpSpPr>
          <p:cNvPr id="208" name="Group 207">
            <a:extLst>
              <a:ext uri="{FF2B5EF4-FFF2-40B4-BE49-F238E27FC236}">
                <a16:creationId xmlns:a16="http://schemas.microsoft.com/office/drawing/2014/main" id="{482EA782-D4FE-F574-57CF-1D2A02ACDD44}"/>
              </a:ext>
            </a:extLst>
          </p:cNvPr>
          <p:cNvGrpSpPr/>
          <p:nvPr/>
        </p:nvGrpSpPr>
        <p:grpSpPr>
          <a:xfrm>
            <a:off x="4250123" y="4472432"/>
            <a:ext cx="360000" cy="360000"/>
            <a:chOff x="2437779" y="7991510"/>
            <a:chExt cx="504000" cy="504000"/>
          </a:xfrm>
        </p:grpSpPr>
        <p:sp>
          <p:nvSpPr>
            <p:cNvPr id="204" name="Oval 203">
              <a:extLst>
                <a:ext uri="{FF2B5EF4-FFF2-40B4-BE49-F238E27FC236}">
                  <a16:creationId xmlns:a16="http://schemas.microsoft.com/office/drawing/2014/main" id="{86633792-059E-B9E0-BAB5-F48153ECBE8E}"/>
                </a:ext>
              </a:extLst>
            </p:cNvPr>
            <p:cNvSpPr/>
            <p:nvPr/>
          </p:nvSpPr>
          <p:spPr>
            <a:xfrm>
              <a:off x="2437779" y="7991510"/>
              <a:ext cx="504000" cy="50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mj-lt"/>
              </a:endParaRPr>
            </a:p>
          </p:txBody>
        </p:sp>
        <p:grpSp>
          <p:nvGrpSpPr>
            <p:cNvPr id="197" name="Graphic 4">
              <a:extLst>
                <a:ext uri="{FF2B5EF4-FFF2-40B4-BE49-F238E27FC236}">
                  <a16:creationId xmlns:a16="http://schemas.microsoft.com/office/drawing/2014/main" id="{3624279C-7449-2E3D-4294-1D8D59405CEB}"/>
                </a:ext>
              </a:extLst>
            </p:cNvPr>
            <p:cNvGrpSpPr/>
            <p:nvPr/>
          </p:nvGrpSpPr>
          <p:grpSpPr>
            <a:xfrm>
              <a:off x="2455779" y="8009510"/>
              <a:ext cx="468000" cy="468000"/>
              <a:chOff x="2560447" y="1893013"/>
              <a:chExt cx="362309" cy="361971"/>
            </a:xfrm>
            <a:solidFill>
              <a:schemeClr val="accent1"/>
            </a:solidFill>
          </p:grpSpPr>
          <p:sp>
            <p:nvSpPr>
              <p:cNvPr id="198" name="Freeform 63">
                <a:extLst>
                  <a:ext uri="{FF2B5EF4-FFF2-40B4-BE49-F238E27FC236}">
                    <a16:creationId xmlns:a16="http://schemas.microsoft.com/office/drawing/2014/main" id="{521C60F1-03C1-4730-B617-F9436DE23E80}"/>
                  </a:ext>
                </a:extLst>
              </p:cNvPr>
              <p:cNvSpPr/>
              <p:nvPr/>
            </p:nvSpPr>
            <p:spPr>
              <a:xfrm>
                <a:off x="2560447" y="189301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lnTo>
                      <a:pt x="362309" y="181305"/>
                    </a:lnTo>
                    <a:cubicBezTo>
                      <a:pt x="362309" y="81077"/>
                      <a:pt x="281157" y="0"/>
                      <a:pt x="181474" y="0"/>
                    </a:cubicBezTo>
                    <a:close/>
                    <a:moveTo>
                      <a:pt x="181474" y="349204"/>
                    </a:moveTo>
                    <a:cubicBezTo>
                      <a:pt x="88181" y="349204"/>
                      <a:pt x="12780" y="273873"/>
                      <a:pt x="12780" y="181305"/>
                    </a:cubicBezTo>
                    <a:cubicBezTo>
                      <a:pt x="12780" y="88737"/>
                      <a:pt x="88181" y="12768"/>
                      <a:pt x="180835" y="12768"/>
                    </a:cubicBezTo>
                    <a:cubicBezTo>
                      <a:pt x="274128" y="12768"/>
                      <a:pt x="349529" y="88099"/>
                      <a:pt x="349529" y="180667"/>
                    </a:cubicBezTo>
                    <a:lnTo>
                      <a:pt x="349529" y="180667"/>
                    </a:lnTo>
                    <a:cubicBezTo>
                      <a:pt x="349529" y="273873"/>
                      <a:pt x="274128" y="349204"/>
                      <a:pt x="181474" y="349204"/>
                    </a:cubicBezTo>
                    <a:close/>
                  </a:path>
                </a:pathLst>
              </a:custGeom>
              <a:grpFill/>
              <a:ln w="6390" cap="flat">
                <a:noFill/>
                <a:prstDash val="solid"/>
                <a:miter/>
              </a:ln>
            </p:spPr>
            <p:txBody>
              <a:bodyPr rtlCol="0" anchor="ctr"/>
              <a:lstStyle/>
              <a:p>
                <a:endParaRPr lang="en-US" dirty="0"/>
              </a:p>
            </p:txBody>
          </p:sp>
          <p:sp>
            <p:nvSpPr>
              <p:cNvPr id="199" name="Freeform 64">
                <a:extLst>
                  <a:ext uri="{FF2B5EF4-FFF2-40B4-BE49-F238E27FC236}">
                    <a16:creationId xmlns:a16="http://schemas.microsoft.com/office/drawing/2014/main" id="{CF331134-B5C4-494D-5361-96B3B13D2BE3}"/>
                  </a:ext>
                </a:extLst>
              </p:cNvPr>
              <p:cNvSpPr/>
              <p:nvPr/>
            </p:nvSpPr>
            <p:spPr>
              <a:xfrm>
                <a:off x="2651823" y="1984304"/>
                <a:ext cx="53036" cy="52348"/>
              </a:xfrm>
              <a:custGeom>
                <a:avLst/>
                <a:gdLst>
                  <a:gd name="connsiteX0" fmla="*/ 47285 w 53036"/>
                  <a:gd name="connsiteY0" fmla="*/ 0 h 52348"/>
                  <a:gd name="connsiteX1" fmla="*/ 6390 w 53036"/>
                  <a:gd name="connsiteY1" fmla="*/ 0 h 52348"/>
                  <a:gd name="connsiteX2" fmla="*/ 0 w 53036"/>
                  <a:gd name="connsiteY2" fmla="*/ 6384 h 52348"/>
                  <a:gd name="connsiteX3" fmla="*/ 0 w 53036"/>
                  <a:gd name="connsiteY3" fmla="*/ 45965 h 52348"/>
                  <a:gd name="connsiteX4" fmla="*/ 6390 w 53036"/>
                  <a:gd name="connsiteY4" fmla="*/ 52349 h 52348"/>
                  <a:gd name="connsiteX5" fmla="*/ 12780 w 53036"/>
                  <a:gd name="connsiteY5" fmla="*/ 45965 h 52348"/>
                  <a:gd name="connsiteX6" fmla="*/ 12780 w 53036"/>
                  <a:gd name="connsiteY6" fmla="*/ 12768 h 52348"/>
                  <a:gd name="connsiteX7" fmla="*/ 46646 w 53036"/>
                  <a:gd name="connsiteY7" fmla="*/ 12768 h 52348"/>
                  <a:gd name="connsiteX8" fmla="*/ 53036 w 53036"/>
                  <a:gd name="connsiteY8" fmla="*/ 6384 h 52348"/>
                  <a:gd name="connsiteX9" fmla="*/ 47285 w 53036"/>
                  <a:gd name="connsiteY9" fmla="*/ 0 h 52348"/>
                  <a:gd name="connsiteX10" fmla="*/ 47285 w 53036"/>
                  <a:gd name="connsiteY10" fmla="*/ 0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36" h="52348">
                    <a:moveTo>
                      <a:pt x="47285" y="0"/>
                    </a:moveTo>
                    <a:lnTo>
                      <a:pt x="6390" y="0"/>
                    </a:lnTo>
                    <a:cubicBezTo>
                      <a:pt x="2556" y="0"/>
                      <a:pt x="0" y="2554"/>
                      <a:pt x="0" y="6384"/>
                    </a:cubicBezTo>
                    <a:lnTo>
                      <a:pt x="0" y="45965"/>
                    </a:lnTo>
                    <a:cubicBezTo>
                      <a:pt x="0" y="49795"/>
                      <a:pt x="2556" y="52349"/>
                      <a:pt x="6390" y="52349"/>
                    </a:cubicBezTo>
                    <a:cubicBezTo>
                      <a:pt x="10224" y="52349"/>
                      <a:pt x="12780" y="49795"/>
                      <a:pt x="12780" y="45965"/>
                    </a:cubicBezTo>
                    <a:lnTo>
                      <a:pt x="12780" y="12768"/>
                    </a:lnTo>
                    <a:lnTo>
                      <a:pt x="46646" y="12768"/>
                    </a:lnTo>
                    <a:cubicBezTo>
                      <a:pt x="50480" y="12768"/>
                      <a:pt x="53036" y="10214"/>
                      <a:pt x="53036" y="6384"/>
                    </a:cubicBezTo>
                    <a:cubicBezTo>
                      <a:pt x="53036" y="2554"/>
                      <a:pt x="50480" y="0"/>
                      <a:pt x="47285" y="0"/>
                    </a:cubicBezTo>
                    <a:lnTo>
                      <a:pt x="47285" y="0"/>
                    </a:lnTo>
                    <a:close/>
                  </a:path>
                </a:pathLst>
              </a:custGeom>
              <a:grpFill/>
              <a:ln w="6390" cap="flat">
                <a:noFill/>
                <a:prstDash val="solid"/>
                <a:miter/>
              </a:ln>
            </p:spPr>
            <p:txBody>
              <a:bodyPr rtlCol="0" anchor="ctr"/>
              <a:lstStyle/>
              <a:p>
                <a:endParaRPr lang="en-US" dirty="0"/>
              </a:p>
            </p:txBody>
          </p:sp>
          <p:sp>
            <p:nvSpPr>
              <p:cNvPr id="200" name="Freeform 65">
                <a:extLst>
                  <a:ext uri="{FF2B5EF4-FFF2-40B4-BE49-F238E27FC236}">
                    <a16:creationId xmlns:a16="http://schemas.microsoft.com/office/drawing/2014/main" id="{2942518D-51CE-A98D-106E-0C162FC9FBA2}"/>
                  </a:ext>
                </a:extLst>
              </p:cNvPr>
              <p:cNvSpPr/>
              <p:nvPr/>
            </p:nvSpPr>
            <p:spPr>
              <a:xfrm>
                <a:off x="2651184" y="2110707"/>
                <a:ext cx="52397" cy="52348"/>
              </a:xfrm>
              <a:custGeom>
                <a:avLst/>
                <a:gdLst>
                  <a:gd name="connsiteX0" fmla="*/ 46008 w 52397"/>
                  <a:gd name="connsiteY0" fmla="*/ 40219 h 52348"/>
                  <a:gd name="connsiteX1" fmla="*/ 12780 w 52397"/>
                  <a:gd name="connsiteY1" fmla="*/ 40219 h 52348"/>
                  <a:gd name="connsiteX2" fmla="*/ 12780 w 52397"/>
                  <a:gd name="connsiteY2" fmla="*/ 6384 h 52348"/>
                  <a:gd name="connsiteX3" fmla="*/ 6390 w 52397"/>
                  <a:gd name="connsiteY3" fmla="*/ 0 h 52348"/>
                  <a:gd name="connsiteX4" fmla="*/ 0 w 52397"/>
                  <a:gd name="connsiteY4" fmla="*/ 6384 h 52348"/>
                  <a:gd name="connsiteX5" fmla="*/ 0 w 52397"/>
                  <a:gd name="connsiteY5" fmla="*/ 45965 h 52348"/>
                  <a:gd name="connsiteX6" fmla="*/ 6390 w 52397"/>
                  <a:gd name="connsiteY6" fmla="*/ 52349 h 52348"/>
                  <a:gd name="connsiteX7" fmla="*/ 46008 w 52397"/>
                  <a:gd name="connsiteY7" fmla="*/ 52349 h 52348"/>
                  <a:gd name="connsiteX8" fmla="*/ 52398 w 52397"/>
                  <a:gd name="connsiteY8" fmla="*/ 45965 h 52348"/>
                  <a:gd name="connsiteX9" fmla="*/ 46008 w 52397"/>
                  <a:gd name="connsiteY9" fmla="*/ 40219 h 52348"/>
                  <a:gd name="connsiteX10" fmla="*/ 46008 w 52397"/>
                  <a:gd name="connsiteY10" fmla="*/ 40219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397" h="52348">
                    <a:moveTo>
                      <a:pt x="46008" y="40219"/>
                    </a:moveTo>
                    <a:lnTo>
                      <a:pt x="12780" y="40219"/>
                    </a:lnTo>
                    <a:lnTo>
                      <a:pt x="12780" y="6384"/>
                    </a:lnTo>
                    <a:cubicBezTo>
                      <a:pt x="12780" y="2554"/>
                      <a:pt x="10224" y="0"/>
                      <a:pt x="6390" y="0"/>
                    </a:cubicBezTo>
                    <a:cubicBezTo>
                      <a:pt x="2556" y="0"/>
                      <a:pt x="0" y="2554"/>
                      <a:pt x="0" y="6384"/>
                    </a:cubicBezTo>
                    <a:lnTo>
                      <a:pt x="0" y="45965"/>
                    </a:lnTo>
                    <a:cubicBezTo>
                      <a:pt x="0" y="49795"/>
                      <a:pt x="2556" y="52349"/>
                      <a:pt x="6390" y="52349"/>
                    </a:cubicBezTo>
                    <a:lnTo>
                      <a:pt x="46008" y="52349"/>
                    </a:lnTo>
                    <a:cubicBezTo>
                      <a:pt x="49842" y="52349"/>
                      <a:pt x="52398" y="49795"/>
                      <a:pt x="52398" y="45965"/>
                    </a:cubicBezTo>
                    <a:cubicBezTo>
                      <a:pt x="52398" y="42134"/>
                      <a:pt x="49203" y="39581"/>
                      <a:pt x="46008" y="40219"/>
                    </a:cubicBezTo>
                    <a:lnTo>
                      <a:pt x="46008" y="40219"/>
                    </a:lnTo>
                    <a:close/>
                  </a:path>
                </a:pathLst>
              </a:custGeom>
              <a:grpFill/>
              <a:ln w="6390" cap="flat">
                <a:noFill/>
                <a:prstDash val="solid"/>
                <a:miter/>
              </a:ln>
            </p:spPr>
            <p:txBody>
              <a:bodyPr rtlCol="0" anchor="ctr"/>
              <a:lstStyle/>
              <a:p>
                <a:endParaRPr lang="en-US" dirty="0"/>
              </a:p>
            </p:txBody>
          </p:sp>
          <p:sp>
            <p:nvSpPr>
              <p:cNvPr id="201" name="Freeform 66">
                <a:extLst>
                  <a:ext uri="{FF2B5EF4-FFF2-40B4-BE49-F238E27FC236}">
                    <a16:creationId xmlns:a16="http://schemas.microsoft.com/office/drawing/2014/main" id="{E9D7919A-2FF7-DE3A-A115-136CC975191E}"/>
                  </a:ext>
                </a:extLst>
              </p:cNvPr>
              <p:cNvSpPr/>
              <p:nvPr/>
            </p:nvSpPr>
            <p:spPr>
              <a:xfrm>
                <a:off x="2779622" y="2111984"/>
                <a:ext cx="51758" cy="52348"/>
              </a:xfrm>
              <a:custGeom>
                <a:avLst/>
                <a:gdLst>
                  <a:gd name="connsiteX0" fmla="*/ 45369 w 51758"/>
                  <a:gd name="connsiteY0" fmla="*/ 0 h 52348"/>
                  <a:gd name="connsiteX1" fmla="*/ 38979 w 51758"/>
                  <a:gd name="connsiteY1" fmla="*/ 6384 h 52348"/>
                  <a:gd name="connsiteX2" fmla="*/ 38979 w 51758"/>
                  <a:gd name="connsiteY2" fmla="*/ 39581 h 52348"/>
                  <a:gd name="connsiteX3" fmla="*/ 6390 w 51758"/>
                  <a:gd name="connsiteY3" fmla="*/ 39581 h 52348"/>
                  <a:gd name="connsiteX4" fmla="*/ 0 w 51758"/>
                  <a:gd name="connsiteY4" fmla="*/ 45965 h 52348"/>
                  <a:gd name="connsiteX5" fmla="*/ 6390 w 51758"/>
                  <a:gd name="connsiteY5" fmla="*/ 52349 h 52348"/>
                  <a:gd name="connsiteX6" fmla="*/ 45369 w 51758"/>
                  <a:gd name="connsiteY6" fmla="*/ 52349 h 52348"/>
                  <a:gd name="connsiteX7" fmla="*/ 51759 w 51758"/>
                  <a:gd name="connsiteY7" fmla="*/ 45965 h 52348"/>
                  <a:gd name="connsiteX8" fmla="*/ 51759 w 51758"/>
                  <a:gd name="connsiteY8" fmla="*/ 6384 h 52348"/>
                  <a:gd name="connsiteX9" fmla="*/ 45369 w 51758"/>
                  <a:gd name="connsiteY9" fmla="*/ 0 h 52348"/>
                  <a:gd name="connsiteX10" fmla="*/ 45369 w 51758"/>
                  <a:gd name="connsiteY10" fmla="*/ 0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758" h="52348">
                    <a:moveTo>
                      <a:pt x="45369" y="0"/>
                    </a:moveTo>
                    <a:cubicBezTo>
                      <a:pt x="41535" y="0"/>
                      <a:pt x="38979" y="2554"/>
                      <a:pt x="38979" y="6384"/>
                    </a:cubicBezTo>
                    <a:lnTo>
                      <a:pt x="38979" y="39581"/>
                    </a:lnTo>
                    <a:lnTo>
                      <a:pt x="6390" y="39581"/>
                    </a:lnTo>
                    <a:cubicBezTo>
                      <a:pt x="2556" y="39581"/>
                      <a:pt x="0" y="42134"/>
                      <a:pt x="0" y="45965"/>
                    </a:cubicBezTo>
                    <a:cubicBezTo>
                      <a:pt x="0" y="49795"/>
                      <a:pt x="2556" y="52349"/>
                      <a:pt x="6390" y="52349"/>
                    </a:cubicBezTo>
                    <a:lnTo>
                      <a:pt x="45369" y="52349"/>
                    </a:lnTo>
                    <a:cubicBezTo>
                      <a:pt x="49203" y="52349"/>
                      <a:pt x="51759" y="49795"/>
                      <a:pt x="51759" y="45965"/>
                    </a:cubicBezTo>
                    <a:lnTo>
                      <a:pt x="51759" y="6384"/>
                    </a:lnTo>
                    <a:cubicBezTo>
                      <a:pt x="51759" y="2554"/>
                      <a:pt x="49203" y="0"/>
                      <a:pt x="45369" y="0"/>
                    </a:cubicBezTo>
                    <a:lnTo>
                      <a:pt x="45369" y="0"/>
                    </a:lnTo>
                    <a:close/>
                  </a:path>
                </a:pathLst>
              </a:custGeom>
              <a:grpFill/>
              <a:ln w="6390" cap="flat">
                <a:noFill/>
                <a:prstDash val="solid"/>
                <a:miter/>
              </a:ln>
            </p:spPr>
            <p:txBody>
              <a:bodyPr rtlCol="0" anchor="ctr"/>
              <a:lstStyle/>
              <a:p>
                <a:endParaRPr lang="en-US" dirty="0"/>
              </a:p>
            </p:txBody>
          </p:sp>
          <p:sp>
            <p:nvSpPr>
              <p:cNvPr id="202" name="Freeform 67">
                <a:extLst>
                  <a:ext uri="{FF2B5EF4-FFF2-40B4-BE49-F238E27FC236}">
                    <a16:creationId xmlns:a16="http://schemas.microsoft.com/office/drawing/2014/main" id="{E93577D8-125B-6370-B661-A39DBE0F1386}"/>
                  </a:ext>
                </a:extLst>
              </p:cNvPr>
              <p:cNvSpPr/>
              <p:nvPr/>
            </p:nvSpPr>
            <p:spPr>
              <a:xfrm>
                <a:off x="2780900" y="1983665"/>
                <a:ext cx="51119" cy="51710"/>
              </a:xfrm>
              <a:custGeom>
                <a:avLst/>
                <a:gdLst>
                  <a:gd name="connsiteX0" fmla="*/ 44730 w 51119"/>
                  <a:gd name="connsiteY0" fmla="*/ 0 h 51710"/>
                  <a:gd name="connsiteX1" fmla="*/ 6390 w 51119"/>
                  <a:gd name="connsiteY1" fmla="*/ 0 h 51710"/>
                  <a:gd name="connsiteX2" fmla="*/ 0 w 51119"/>
                  <a:gd name="connsiteY2" fmla="*/ 6384 h 51710"/>
                  <a:gd name="connsiteX3" fmla="*/ 6390 w 51119"/>
                  <a:gd name="connsiteY3" fmla="*/ 12768 h 51710"/>
                  <a:gd name="connsiteX4" fmla="*/ 38340 w 51119"/>
                  <a:gd name="connsiteY4" fmla="*/ 12768 h 51710"/>
                  <a:gd name="connsiteX5" fmla="*/ 38340 w 51119"/>
                  <a:gd name="connsiteY5" fmla="*/ 45326 h 51710"/>
                  <a:gd name="connsiteX6" fmla="*/ 44730 w 51119"/>
                  <a:gd name="connsiteY6" fmla="*/ 51710 h 51710"/>
                  <a:gd name="connsiteX7" fmla="*/ 51119 w 51119"/>
                  <a:gd name="connsiteY7" fmla="*/ 45326 h 51710"/>
                  <a:gd name="connsiteX8" fmla="*/ 51119 w 51119"/>
                  <a:gd name="connsiteY8" fmla="*/ 6384 h 51710"/>
                  <a:gd name="connsiteX9" fmla="*/ 44730 w 51119"/>
                  <a:gd name="connsiteY9" fmla="*/ 0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119" h="51710">
                    <a:moveTo>
                      <a:pt x="44730" y="0"/>
                    </a:moveTo>
                    <a:lnTo>
                      <a:pt x="6390" y="0"/>
                    </a:lnTo>
                    <a:cubicBezTo>
                      <a:pt x="2556" y="0"/>
                      <a:pt x="0" y="2554"/>
                      <a:pt x="0" y="6384"/>
                    </a:cubicBezTo>
                    <a:cubicBezTo>
                      <a:pt x="0" y="10214"/>
                      <a:pt x="2556" y="12768"/>
                      <a:pt x="6390" y="12768"/>
                    </a:cubicBezTo>
                    <a:lnTo>
                      <a:pt x="38340" y="12768"/>
                    </a:lnTo>
                    <a:lnTo>
                      <a:pt x="38340" y="45326"/>
                    </a:lnTo>
                    <a:cubicBezTo>
                      <a:pt x="38340" y="49157"/>
                      <a:pt x="40896" y="51710"/>
                      <a:pt x="44730" y="51710"/>
                    </a:cubicBezTo>
                    <a:cubicBezTo>
                      <a:pt x="48563" y="51710"/>
                      <a:pt x="51119" y="49157"/>
                      <a:pt x="51119" y="45326"/>
                    </a:cubicBezTo>
                    <a:lnTo>
                      <a:pt x="51119" y="6384"/>
                    </a:lnTo>
                    <a:cubicBezTo>
                      <a:pt x="51119" y="3192"/>
                      <a:pt x="48563" y="0"/>
                      <a:pt x="44730" y="0"/>
                    </a:cubicBezTo>
                    <a:close/>
                  </a:path>
                </a:pathLst>
              </a:custGeom>
              <a:grpFill/>
              <a:ln w="6390" cap="flat">
                <a:noFill/>
                <a:prstDash val="solid"/>
                <a:miter/>
              </a:ln>
            </p:spPr>
            <p:txBody>
              <a:bodyPr rtlCol="0" anchor="ctr"/>
              <a:lstStyle/>
              <a:p>
                <a:endParaRPr lang="en-US" dirty="0"/>
              </a:p>
            </p:txBody>
          </p:sp>
        </p:grpSp>
      </p:grpSp>
      <p:sp>
        <p:nvSpPr>
          <p:cNvPr id="211" name="Rectangle 210">
            <a:extLst>
              <a:ext uri="{FF2B5EF4-FFF2-40B4-BE49-F238E27FC236}">
                <a16:creationId xmlns:a16="http://schemas.microsoft.com/office/drawing/2014/main" id="{4A474A0E-AC6B-6465-E6A8-98942CDB17E8}"/>
              </a:ext>
            </a:extLst>
          </p:cNvPr>
          <p:cNvSpPr/>
          <p:nvPr/>
        </p:nvSpPr>
        <p:spPr>
          <a:xfrm>
            <a:off x="4885135" y="4836289"/>
            <a:ext cx="1692000" cy="252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7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tegration policy (SOA Governance)</a:t>
            </a:r>
          </a:p>
        </p:txBody>
      </p:sp>
      <p:sp>
        <p:nvSpPr>
          <p:cNvPr id="212" name="Rectangle 211">
            <a:extLst>
              <a:ext uri="{FF2B5EF4-FFF2-40B4-BE49-F238E27FC236}">
                <a16:creationId xmlns:a16="http://schemas.microsoft.com/office/drawing/2014/main" id="{7808984A-88C2-C5CC-B3D6-B4B0959591C8}"/>
              </a:ext>
            </a:extLst>
          </p:cNvPr>
          <p:cNvSpPr/>
          <p:nvPr/>
        </p:nvSpPr>
        <p:spPr>
          <a:xfrm>
            <a:off x="4885135" y="5114330"/>
            <a:ext cx="1692000" cy="252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7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tegration templates (Integration patterns)</a:t>
            </a:r>
          </a:p>
        </p:txBody>
      </p:sp>
      <p:sp>
        <p:nvSpPr>
          <p:cNvPr id="213" name="Rectangle 212">
            <a:extLst>
              <a:ext uri="{FF2B5EF4-FFF2-40B4-BE49-F238E27FC236}">
                <a16:creationId xmlns:a16="http://schemas.microsoft.com/office/drawing/2014/main" id="{8D1B0299-67A1-0CFD-2950-9A74AE348C67}"/>
              </a:ext>
            </a:extLst>
          </p:cNvPr>
          <p:cNvSpPr/>
          <p:nvPr/>
        </p:nvSpPr>
        <p:spPr>
          <a:xfrm>
            <a:off x="4885135" y="5392371"/>
            <a:ext cx="1692000" cy="252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7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ervice agreement (API Portal)</a:t>
            </a:r>
          </a:p>
        </p:txBody>
      </p:sp>
      <p:sp>
        <p:nvSpPr>
          <p:cNvPr id="214" name="Rectangle 213">
            <a:extLst>
              <a:ext uri="{FF2B5EF4-FFF2-40B4-BE49-F238E27FC236}">
                <a16:creationId xmlns:a16="http://schemas.microsoft.com/office/drawing/2014/main" id="{A5235D6C-76A5-4115-7234-69BAC0D2A04B}"/>
              </a:ext>
            </a:extLst>
          </p:cNvPr>
          <p:cNvSpPr/>
          <p:nvPr/>
        </p:nvSpPr>
        <p:spPr>
          <a:xfrm>
            <a:off x="4885135" y="5670412"/>
            <a:ext cx="1692000" cy="252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7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tegration data model</a:t>
            </a:r>
          </a:p>
          <a:p>
            <a:pPr algn="ctr" defTabSz="685800"/>
            <a:r>
              <a:rPr lang="en-US" sz="7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mp; integration development rule book</a:t>
            </a:r>
          </a:p>
        </p:txBody>
      </p:sp>
      <p:sp>
        <p:nvSpPr>
          <p:cNvPr id="215" name="Inhaltsplatzhalter 5">
            <a:extLst>
              <a:ext uri="{FF2B5EF4-FFF2-40B4-BE49-F238E27FC236}">
                <a16:creationId xmlns:a16="http://schemas.microsoft.com/office/drawing/2014/main" id="{C52053FB-530D-53F5-4E3D-55E1CD5F1D80}"/>
              </a:ext>
            </a:extLst>
          </p:cNvPr>
          <p:cNvSpPr txBox="1">
            <a:spLocks/>
          </p:cNvSpPr>
          <p:nvPr/>
        </p:nvSpPr>
        <p:spPr>
          <a:xfrm>
            <a:off x="6594823" y="2621430"/>
            <a:ext cx="3034757" cy="849080"/>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171450" indent="-171450" defTabSz="685800">
              <a:spcAft>
                <a:spcPts val="300"/>
              </a:spcAft>
              <a:buSzPct val="100000"/>
              <a:buFont typeface="Arial" panose="020B0604020202020204" pitchFamily="34" charset="0"/>
              <a:buChar char="•"/>
            </a:pP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Business Capabilities</a:t>
            </a:r>
          </a:p>
          <a:p>
            <a:pPr marL="171450" indent="-171450" defTabSz="685800">
              <a:spcAft>
                <a:spcPts val="300"/>
              </a:spcAft>
              <a:buSzPct val="100000"/>
              <a:buFont typeface="Arial" panose="020B0604020202020204" pitchFamily="34" charset="0"/>
              <a:buChar char="•"/>
            </a:pP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ssues: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g.</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Time to market,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endorlock</a:t>
            </a:r>
            <a:endPar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171450" indent="-171450" defTabSz="685800">
              <a:spcAft>
                <a:spcPts val="300"/>
              </a:spcAft>
              <a:buSzPct val="100000"/>
              <a:buFont typeface="Arial" panose="020B0604020202020204" pitchFamily="34" charset="0"/>
              <a:buChar char="•"/>
            </a:pP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Business cases</a:t>
            </a:r>
          </a:p>
          <a:p>
            <a:pPr marL="171450" indent="-171450" defTabSz="685800">
              <a:spcAft>
                <a:spcPts val="300"/>
              </a:spcAft>
              <a:buSzPct val="100000"/>
              <a:buFont typeface="Arial" panose="020B0604020202020204" pitchFamily="34" charset="0"/>
              <a:buChar char="•"/>
            </a:pP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Business roadmap</a:t>
            </a:r>
          </a:p>
        </p:txBody>
      </p:sp>
      <p:grpSp>
        <p:nvGrpSpPr>
          <p:cNvPr id="218" name="Group 217">
            <a:extLst>
              <a:ext uri="{FF2B5EF4-FFF2-40B4-BE49-F238E27FC236}">
                <a16:creationId xmlns:a16="http://schemas.microsoft.com/office/drawing/2014/main" id="{C7DB95F6-8E73-B61A-B0AC-575B5B2E8965}"/>
              </a:ext>
            </a:extLst>
          </p:cNvPr>
          <p:cNvGrpSpPr/>
          <p:nvPr/>
        </p:nvGrpSpPr>
        <p:grpSpPr>
          <a:xfrm>
            <a:off x="4256904" y="3426228"/>
            <a:ext cx="5372677" cy="922888"/>
            <a:chOff x="4256904" y="3439097"/>
            <a:chExt cx="5372677" cy="922888"/>
          </a:xfrm>
        </p:grpSpPr>
        <p:sp>
          <p:nvSpPr>
            <p:cNvPr id="181" name="Rectangle 180">
              <a:extLst>
                <a:ext uri="{FF2B5EF4-FFF2-40B4-BE49-F238E27FC236}">
                  <a16:creationId xmlns:a16="http://schemas.microsoft.com/office/drawing/2014/main" id="{F67FCF6B-5BF8-AFCF-FCC4-DBBAD6F3B8FF}"/>
                </a:ext>
              </a:extLst>
            </p:cNvPr>
            <p:cNvSpPr/>
            <p:nvPr/>
          </p:nvSpPr>
          <p:spPr>
            <a:xfrm>
              <a:off x="4487360" y="3512905"/>
              <a:ext cx="2094606" cy="21960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00" b="1"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IT strategy</a:t>
              </a:r>
            </a:p>
          </p:txBody>
        </p:sp>
        <p:grpSp>
          <p:nvGrpSpPr>
            <p:cNvPr id="207" name="Group 206">
              <a:extLst>
                <a:ext uri="{FF2B5EF4-FFF2-40B4-BE49-F238E27FC236}">
                  <a16:creationId xmlns:a16="http://schemas.microsoft.com/office/drawing/2014/main" id="{AB3A029C-9C54-7A81-D405-BDEDAD9A597B}"/>
                </a:ext>
              </a:extLst>
            </p:cNvPr>
            <p:cNvGrpSpPr/>
            <p:nvPr/>
          </p:nvGrpSpPr>
          <p:grpSpPr>
            <a:xfrm>
              <a:off x="4256904" y="3439097"/>
              <a:ext cx="360000" cy="360000"/>
              <a:chOff x="2935941" y="7335404"/>
              <a:chExt cx="504000" cy="504000"/>
            </a:xfrm>
          </p:grpSpPr>
          <p:sp>
            <p:nvSpPr>
              <p:cNvPr id="203" name="Oval 202">
                <a:extLst>
                  <a:ext uri="{FF2B5EF4-FFF2-40B4-BE49-F238E27FC236}">
                    <a16:creationId xmlns:a16="http://schemas.microsoft.com/office/drawing/2014/main" id="{319771D4-2990-8B83-CA0C-00FD946D17B6}"/>
                  </a:ext>
                </a:extLst>
              </p:cNvPr>
              <p:cNvSpPr/>
              <p:nvPr/>
            </p:nvSpPr>
            <p:spPr>
              <a:xfrm>
                <a:off x="2935941" y="7335404"/>
                <a:ext cx="504000" cy="50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mj-lt"/>
                </a:endParaRPr>
              </a:p>
            </p:txBody>
          </p:sp>
          <p:grpSp>
            <p:nvGrpSpPr>
              <p:cNvPr id="183" name="Graphic 4">
                <a:extLst>
                  <a:ext uri="{FF2B5EF4-FFF2-40B4-BE49-F238E27FC236}">
                    <a16:creationId xmlns:a16="http://schemas.microsoft.com/office/drawing/2014/main" id="{FF7845E8-14C7-E23D-07F9-F6187E4A4A17}"/>
                  </a:ext>
                </a:extLst>
              </p:cNvPr>
              <p:cNvGrpSpPr/>
              <p:nvPr/>
            </p:nvGrpSpPr>
            <p:grpSpPr>
              <a:xfrm>
                <a:off x="2953941" y="7353404"/>
                <a:ext cx="468000" cy="468000"/>
                <a:chOff x="1515054" y="918179"/>
                <a:chExt cx="362309" cy="361971"/>
              </a:xfrm>
              <a:solidFill>
                <a:schemeClr val="accent3"/>
              </a:solidFill>
            </p:grpSpPr>
            <p:sp>
              <p:nvSpPr>
                <p:cNvPr id="184" name="Graphic 4">
                  <a:extLst>
                    <a:ext uri="{FF2B5EF4-FFF2-40B4-BE49-F238E27FC236}">
                      <a16:creationId xmlns:a16="http://schemas.microsoft.com/office/drawing/2014/main" id="{57E8CBA0-B2AD-10C4-0D60-5FCB38E2E183}"/>
                    </a:ext>
                  </a:extLst>
                </p:cNvPr>
                <p:cNvSpPr/>
                <p:nvPr/>
              </p:nvSpPr>
              <p:spPr>
                <a:xfrm>
                  <a:off x="15150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0667 h 361971"/>
                    <a:gd name="connsiteX10" fmla="*/ 180835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0518" y="0"/>
                        <a:pt x="180835" y="0"/>
                      </a:cubicBezTo>
                      <a:lnTo>
                        <a:pt x="180835" y="0"/>
                      </a:lnTo>
                      <a:close/>
                      <a:moveTo>
                        <a:pt x="180835" y="349204"/>
                      </a:moveTo>
                      <a:cubicBezTo>
                        <a:pt x="87542" y="349204"/>
                        <a:pt x="12780" y="273873"/>
                        <a:pt x="12780" y="180667"/>
                      </a:cubicBezTo>
                      <a:cubicBezTo>
                        <a:pt x="12780" y="87461"/>
                        <a:pt x="88181" y="12768"/>
                        <a:pt x="180835" y="12768"/>
                      </a:cubicBezTo>
                      <a:cubicBezTo>
                        <a:pt x="274128" y="12768"/>
                        <a:pt x="349529" y="88099"/>
                        <a:pt x="349529" y="180667"/>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185" name="Graphic 4">
                  <a:extLst>
                    <a:ext uri="{FF2B5EF4-FFF2-40B4-BE49-F238E27FC236}">
                      <a16:creationId xmlns:a16="http://schemas.microsoft.com/office/drawing/2014/main" id="{76BB01C8-48B4-AF4D-8FD2-86BA024D6CFB}"/>
                    </a:ext>
                  </a:extLst>
                </p:cNvPr>
                <p:cNvSpPr/>
                <p:nvPr/>
              </p:nvSpPr>
              <p:spPr>
                <a:xfrm>
                  <a:off x="1598123" y="1001809"/>
                  <a:ext cx="195532" cy="195349"/>
                </a:xfrm>
                <a:custGeom>
                  <a:avLst/>
                  <a:gdLst>
                    <a:gd name="connsiteX0" fmla="*/ 182113 w 195532"/>
                    <a:gd name="connsiteY0" fmla="*/ 0 h 195349"/>
                    <a:gd name="connsiteX1" fmla="*/ 13419 w 195532"/>
                    <a:gd name="connsiteY1" fmla="*/ 0 h 195349"/>
                    <a:gd name="connsiteX2" fmla="*/ 0 w 195532"/>
                    <a:gd name="connsiteY2" fmla="*/ 13406 h 195349"/>
                    <a:gd name="connsiteX3" fmla="*/ 0 w 195532"/>
                    <a:gd name="connsiteY3" fmla="*/ 181944 h 195349"/>
                    <a:gd name="connsiteX4" fmla="*/ 13419 w 195532"/>
                    <a:gd name="connsiteY4" fmla="*/ 195350 h 195349"/>
                    <a:gd name="connsiteX5" fmla="*/ 182113 w 195532"/>
                    <a:gd name="connsiteY5" fmla="*/ 195350 h 195349"/>
                    <a:gd name="connsiteX6" fmla="*/ 195532 w 195532"/>
                    <a:gd name="connsiteY6" fmla="*/ 181944 h 195349"/>
                    <a:gd name="connsiteX7" fmla="*/ 195532 w 195532"/>
                    <a:gd name="connsiteY7" fmla="*/ 13406 h 195349"/>
                    <a:gd name="connsiteX8" fmla="*/ 182113 w 195532"/>
                    <a:gd name="connsiteY8" fmla="*/ 0 h 195349"/>
                    <a:gd name="connsiteX9" fmla="*/ 182113 w 195532"/>
                    <a:gd name="connsiteY9" fmla="*/ 181305 h 195349"/>
                    <a:gd name="connsiteX10" fmla="*/ 182113 w 195532"/>
                    <a:gd name="connsiteY10" fmla="*/ 181305 h 195349"/>
                    <a:gd name="connsiteX11" fmla="*/ 13419 w 195532"/>
                    <a:gd name="connsiteY11" fmla="*/ 181944 h 195349"/>
                    <a:gd name="connsiteX12" fmla="*/ 12780 w 195532"/>
                    <a:gd name="connsiteY12" fmla="*/ 181305 h 195349"/>
                    <a:gd name="connsiteX13" fmla="*/ 12780 w 195532"/>
                    <a:gd name="connsiteY13" fmla="*/ 12768 h 195349"/>
                    <a:gd name="connsiteX14" fmla="*/ 13419 w 195532"/>
                    <a:gd name="connsiteY14" fmla="*/ 12130 h 195349"/>
                    <a:gd name="connsiteX15" fmla="*/ 182113 w 195532"/>
                    <a:gd name="connsiteY15" fmla="*/ 12130 h 195349"/>
                    <a:gd name="connsiteX16" fmla="*/ 182752 w 195532"/>
                    <a:gd name="connsiteY16" fmla="*/ 12768 h 195349"/>
                    <a:gd name="connsiteX17" fmla="*/ 182752 w 195532"/>
                    <a:gd name="connsiteY17" fmla="*/ 181305 h 19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5532" h="195349">
                      <a:moveTo>
                        <a:pt x="182113" y="0"/>
                      </a:moveTo>
                      <a:lnTo>
                        <a:pt x="13419" y="0"/>
                      </a:lnTo>
                      <a:cubicBezTo>
                        <a:pt x="6390" y="0"/>
                        <a:pt x="0" y="5746"/>
                        <a:pt x="0" y="13406"/>
                      </a:cubicBezTo>
                      <a:lnTo>
                        <a:pt x="0" y="181944"/>
                      </a:lnTo>
                      <a:cubicBezTo>
                        <a:pt x="0" y="188966"/>
                        <a:pt x="5751" y="195350"/>
                        <a:pt x="13419" y="195350"/>
                      </a:cubicBezTo>
                      <a:lnTo>
                        <a:pt x="182113" y="195350"/>
                      </a:lnTo>
                      <a:cubicBezTo>
                        <a:pt x="189142" y="195350"/>
                        <a:pt x="195532" y="189604"/>
                        <a:pt x="195532" y="181944"/>
                      </a:cubicBezTo>
                      <a:lnTo>
                        <a:pt x="195532" y="13406"/>
                      </a:lnTo>
                      <a:cubicBezTo>
                        <a:pt x="194893" y="5746"/>
                        <a:pt x="189142" y="0"/>
                        <a:pt x="182113" y="0"/>
                      </a:cubicBezTo>
                      <a:close/>
                      <a:moveTo>
                        <a:pt x="182113" y="181305"/>
                      </a:moveTo>
                      <a:cubicBezTo>
                        <a:pt x="182113" y="181305"/>
                        <a:pt x="182113" y="181944"/>
                        <a:pt x="182113" y="181305"/>
                      </a:cubicBezTo>
                      <a:lnTo>
                        <a:pt x="13419" y="181944"/>
                      </a:lnTo>
                      <a:cubicBezTo>
                        <a:pt x="13419" y="181944"/>
                        <a:pt x="12780" y="181944"/>
                        <a:pt x="12780" y="181305"/>
                      </a:cubicBezTo>
                      <a:lnTo>
                        <a:pt x="12780" y="12768"/>
                      </a:lnTo>
                      <a:cubicBezTo>
                        <a:pt x="12780" y="12768"/>
                        <a:pt x="12780" y="12130"/>
                        <a:pt x="13419" y="12130"/>
                      </a:cubicBezTo>
                      <a:lnTo>
                        <a:pt x="182113" y="12130"/>
                      </a:lnTo>
                      <a:cubicBezTo>
                        <a:pt x="182113" y="12130"/>
                        <a:pt x="182752" y="12130"/>
                        <a:pt x="182752" y="12768"/>
                      </a:cubicBezTo>
                      <a:lnTo>
                        <a:pt x="182752" y="181305"/>
                      </a:lnTo>
                      <a:close/>
                    </a:path>
                  </a:pathLst>
                </a:custGeom>
                <a:grpFill/>
                <a:ln w="6390" cap="flat">
                  <a:noFill/>
                  <a:prstDash val="solid"/>
                  <a:miter/>
                </a:ln>
              </p:spPr>
              <p:txBody>
                <a:bodyPr rtlCol="0" anchor="ctr"/>
                <a:lstStyle/>
                <a:p>
                  <a:endParaRPr lang="en-US" dirty="0"/>
                </a:p>
              </p:txBody>
            </p:sp>
            <p:sp>
              <p:nvSpPr>
                <p:cNvPr id="186" name="Graphic 4">
                  <a:extLst>
                    <a:ext uri="{FF2B5EF4-FFF2-40B4-BE49-F238E27FC236}">
                      <a16:creationId xmlns:a16="http://schemas.microsoft.com/office/drawing/2014/main" id="{D6655C55-2C37-59E8-9D4A-F1F56F5AD968}"/>
                    </a:ext>
                  </a:extLst>
                </p:cNvPr>
                <p:cNvSpPr/>
                <p:nvPr/>
              </p:nvSpPr>
              <p:spPr>
                <a:xfrm>
                  <a:off x="1628155" y="1031814"/>
                  <a:ext cx="60704" cy="60009"/>
                </a:xfrm>
                <a:custGeom>
                  <a:avLst/>
                  <a:gdLst>
                    <a:gd name="connsiteX0" fmla="*/ 47286 w 60704"/>
                    <a:gd name="connsiteY0" fmla="*/ 0 h 60009"/>
                    <a:gd name="connsiteX1" fmla="*/ 13419 w 60704"/>
                    <a:gd name="connsiteY1" fmla="*/ 0 h 60009"/>
                    <a:gd name="connsiteX2" fmla="*/ 0 w 60704"/>
                    <a:gd name="connsiteY2" fmla="*/ 12768 h 60009"/>
                    <a:gd name="connsiteX3" fmla="*/ 0 w 60704"/>
                    <a:gd name="connsiteY3" fmla="*/ 46603 h 60009"/>
                    <a:gd name="connsiteX4" fmla="*/ 13419 w 60704"/>
                    <a:gd name="connsiteY4" fmla="*/ 60009 h 60009"/>
                    <a:gd name="connsiteX5" fmla="*/ 13419 w 60704"/>
                    <a:gd name="connsiteY5" fmla="*/ 60009 h 60009"/>
                    <a:gd name="connsiteX6" fmla="*/ 47286 w 60704"/>
                    <a:gd name="connsiteY6" fmla="*/ 60009 h 60009"/>
                    <a:gd name="connsiteX7" fmla="*/ 60704 w 60704"/>
                    <a:gd name="connsiteY7" fmla="*/ 46603 h 60009"/>
                    <a:gd name="connsiteX8" fmla="*/ 60704 w 60704"/>
                    <a:gd name="connsiteY8" fmla="*/ 12768 h 60009"/>
                    <a:gd name="connsiteX9" fmla="*/ 47286 w 60704"/>
                    <a:gd name="connsiteY9" fmla="*/ 0 h 60009"/>
                    <a:gd name="connsiteX10" fmla="*/ 47286 w 60704"/>
                    <a:gd name="connsiteY10" fmla="*/ 47241 h 60009"/>
                    <a:gd name="connsiteX11" fmla="*/ 47286 w 60704"/>
                    <a:gd name="connsiteY11" fmla="*/ 47241 h 60009"/>
                    <a:gd name="connsiteX12" fmla="*/ 12780 w 60704"/>
                    <a:gd name="connsiteY12" fmla="*/ 47880 h 60009"/>
                    <a:gd name="connsiteX13" fmla="*/ 12141 w 60704"/>
                    <a:gd name="connsiteY13" fmla="*/ 47241 h 60009"/>
                    <a:gd name="connsiteX14" fmla="*/ 12141 w 60704"/>
                    <a:gd name="connsiteY14" fmla="*/ 12768 h 60009"/>
                    <a:gd name="connsiteX15" fmla="*/ 12780 w 60704"/>
                    <a:gd name="connsiteY15" fmla="*/ 12130 h 60009"/>
                    <a:gd name="connsiteX16" fmla="*/ 46647 w 60704"/>
                    <a:gd name="connsiteY16" fmla="*/ 12130 h 60009"/>
                    <a:gd name="connsiteX17" fmla="*/ 47286 w 60704"/>
                    <a:gd name="connsiteY17" fmla="*/ 12768 h 60009"/>
                    <a:gd name="connsiteX18" fmla="*/ 47286 w 60704"/>
                    <a:gd name="connsiteY18" fmla="*/ 47241 h 6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704" h="60009">
                      <a:moveTo>
                        <a:pt x="47286" y="0"/>
                      </a:moveTo>
                      <a:lnTo>
                        <a:pt x="13419" y="0"/>
                      </a:lnTo>
                      <a:cubicBezTo>
                        <a:pt x="6390" y="0"/>
                        <a:pt x="639" y="5746"/>
                        <a:pt x="0" y="12768"/>
                      </a:cubicBezTo>
                      <a:lnTo>
                        <a:pt x="0" y="46603"/>
                      </a:lnTo>
                      <a:cubicBezTo>
                        <a:pt x="0" y="53625"/>
                        <a:pt x="5751" y="60009"/>
                        <a:pt x="13419" y="60009"/>
                      </a:cubicBezTo>
                      <a:lnTo>
                        <a:pt x="13419" y="60009"/>
                      </a:lnTo>
                      <a:lnTo>
                        <a:pt x="47286" y="60009"/>
                      </a:lnTo>
                      <a:cubicBezTo>
                        <a:pt x="54314" y="60009"/>
                        <a:pt x="60704" y="54264"/>
                        <a:pt x="60704" y="46603"/>
                      </a:cubicBezTo>
                      <a:lnTo>
                        <a:pt x="60704" y="12768"/>
                      </a:lnTo>
                      <a:cubicBezTo>
                        <a:pt x="60065" y="5746"/>
                        <a:pt x="54314" y="0"/>
                        <a:pt x="47286" y="0"/>
                      </a:cubicBezTo>
                      <a:close/>
                      <a:moveTo>
                        <a:pt x="47286" y="47241"/>
                      </a:moveTo>
                      <a:cubicBezTo>
                        <a:pt x="47286" y="47241"/>
                        <a:pt x="47286" y="47241"/>
                        <a:pt x="47286" y="47241"/>
                      </a:cubicBezTo>
                      <a:lnTo>
                        <a:pt x="12780" y="47880"/>
                      </a:lnTo>
                      <a:cubicBezTo>
                        <a:pt x="12780" y="47880"/>
                        <a:pt x="12141" y="47880"/>
                        <a:pt x="12141" y="47241"/>
                      </a:cubicBezTo>
                      <a:lnTo>
                        <a:pt x="12141" y="12768"/>
                      </a:lnTo>
                      <a:cubicBezTo>
                        <a:pt x="12141" y="12768"/>
                        <a:pt x="12141" y="12130"/>
                        <a:pt x="12780" y="12130"/>
                      </a:cubicBezTo>
                      <a:lnTo>
                        <a:pt x="46647" y="12130"/>
                      </a:lnTo>
                      <a:cubicBezTo>
                        <a:pt x="46647" y="12130"/>
                        <a:pt x="47286" y="12130"/>
                        <a:pt x="47286" y="12768"/>
                      </a:cubicBezTo>
                      <a:lnTo>
                        <a:pt x="47286" y="47241"/>
                      </a:lnTo>
                      <a:close/>
                    </a:path>
                  </a:pathLst>
                </a:custGeom>
                <a:grpFill/>
                <a:ln w="6390" cap="flat">
                  <a:noFill/>
                  <a:prstDash val="solid"/>
                  <a:miter/>
                </a:ln>
              </p:spPr>
              <p:txBody>
                <a:bodyPr rtlCol="0" anchor="ctr"/>
                <a:lstStyle/>
                <a:p>
                  <a:endParaRPr lang="en-US" dirty="0"/>
                </a:p>
              </p:txBody>
            </p:sp>
            <p:sp>
              <p:nvSpPr>
                <p:cNvPr id="187" name="Graphic 4">
                  <a:extLst>
                    <a:ext uri="{FF2B5EF4-FFF2-40B4-BE49-F238E27FC236}">
                      <a16:creationId xmlns:a16="http://schemas.microsoft.com/office/drawing/2014/main" id="{BCBA1D36-C057-1E15-213C-2C24E232A99D}"/>
                    </a:ext>
                  </a:extLst>
                </p:cNvPr>
                <p:cNvSpPr/>
                <p:nvPr/>
              </p:nvSpPr>
              <p:spPr>
                <a:xfrm>
                  <a:off x="1628155" y="1106506"/>
                  <a:ext cx="60704" cy="60647"/>
                </a:xfrm>
                <a:custGeom>
                  <a:avLst/>
                  <a:gdLst>
                    <a:gd name="connsiteX0" fmla="*/ 47286 w 60704"/>
                    <a:gd name="connsiteY0" fmla="*/ 0 h 60647"/>
                    <a:gd name="connsiteX1" fmla="*/ 13419 w 60704"/>
                    <a:gd name="connsiteY1" fmla="*/ 0 h 60647"/>
                    <a:gd name="connsiteX2" fmla="*/ 0 w 60704"/>
                    <a:gd name="connsiteY2" fmla="*/ 13406 h 60647"/>
                    <a:gd name="connsiteX3" fmla="*/ 0 w 60704"/>
                    <a:gd name="connsiteY3" fmla="*/ 47242 h 60647"/>
                    <a:gd name="connsiteX4" fmla="*/ 13419 w 60704"/>
                    <a:gd name="connsiteY4" fmla="*/ 60648 h 60647"/>
                    <a:gd name="connsiteX5" fmla="*/ 47286 w 60704"/>
                    <a:gd name="connsiteY5" fmla="*/ 60648 h 60647"/>
                    <a:gd name="connsiteX6" fmla="*/ 60704 w 60704"/>
                    <a:gd name="connsiteY6" fmla="*/ 47242 h 60647"/>
                    <a:gd name="connsiteX7" fmla="*/ 60704 w 60704"/>
                    <a:gd name="connsiteY7" fmla="*/ 13406 h 60647"/>
                    <a:gd name="connsiteX8" fmla="*/ 47286 w 60704"/>
                    <a:gd name="connsiteY8" fmla="*/ 0 h 60647"/>
                    <a:gd name="connsiteX9" fmla="*/ 47286 w 60704"/>
                    <a:gd name="connsiteY9" fmla="*/ 47242 h 60647"/>
                    <a:gd name="connsiteX10" fmla="*/ 47286 w 60704"/>
                    <a:gd name="connsiteY10" fmla="*/ 47242 h 60647"/>
                    <a:gd name="connsiteX11" fmla="*/ 12780 w 60704"/>
                    <a:gd name="connsiteY11" fmla="*/ 47880 h 60647"/>
                    <a:gd name="connsiteX12" fmla="*/ 12141 w 60704"/>
                    <a:gd name="connsiteY12" fmla="*/ 47242 h 60647"/>
                    <a:gd name="connsiteX13" fmla="*/ 12141 w 60704"/>
                    <a:gd name="connsiteY13" fmla="*/ 13406 h 60647"/>
                    <a:gd name="connsiteX14" fmla="*/ 12780 w 60704"/>
                    <a:gd name="connsiteY14" fmla="*/ 12768 h 60647"/>
                    <a:gd name="connsiteX15" fmla="*/ 46647 w 60704"/>
                    <a:gd name="connsiteY15" fmla="*/ 12768 h 60647"/>
                    <a:gd name="connsiteX16" fmla="*/ 47286 w 60704"/>
                    <a:gd name="connsiteY16" fmla="*/ 13406 h 60647"/>
                    <a:gd name="connsiteX17" fmla="*/ 47286 w 60704"/>
                    <a:gd name="connsiteY17" fmla="*/ 47242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04" h="60647">
                      <a:moveTo>
                        <a:pt x="47286" y="0"/>
                      </a:moveTo>
                      <a:lnTo>
                        <a:pt x="13419" y="0"/>
                      </a:lnTo>
                      <a:cubicBezTo>
                        <a:pt x="6390" y="0"/>
                        <a:pt x="0" y="5746"/>
                        <a:pt x="0" y="13406"/>
                      </a:cubicBezTo>
                      <a:lnTo>
                        <a:pt x="0" y="47242"/>
                      </a:lnTo>
                      <a:cubicBezTo>
                        <a:pt x="0" y="54264"/>
                        <a:pt x="5751" y="60648"/>
                        <a:pt x="13419" y="60648"/>
                      </a:cubicBezTo>
                      <a:lnTo>
                        <a:pt x="47286" y="60648"/>
                      </a:lnTo>
                      <a:cubicBezTo>
                        <a:pt x="54314" y="60648"/>
                        <a:pt x="60704" y="54902"/>
                        <a:pt x="60704" y="47242"/>
                      </a:cubicBezTo>
                      <a:lnTo>
                        <a:pt x="60704" y="13406"/>
                      </a:lnTo>
                      <a:cubicBezTo>
                        <a:pt x="60065" y="5746"/>
                        <a:pt x="54314" y="0"/>
                        <a:pt x="47286" y="0"/>
                      </a:cubicBezTo>
                      <a:close/>
                      <a:moveTo>
                        <a:pt x="47286" y="47242"/>
                      </a:moveTo>
                      <a:cubicBezTo>
                        <a:pt x="47286" y="47242"/>
                        <a:pt x="47286" y="47242"/>
                        <a:pt x="47286" y="47242"/>
                      </a:cubicBezTo>
                      <a:lnTo>
                        <a:pt x="12780" y="47880"/>
                      </a:lnTo>
                      <a:cubicBezTo>
                        <a:pt x="12780" y="47880"/>
                        <a:pt x="12141" y="47880"/>
                        <a:pt x="12141" y="47242"/>
                      </a:cubicBezTo>
                      <a:lnTo>
                        <a:pt x="12141" y="13406"/>
                      </a:lnTo>
                      <a:cubicBezTo>
                        <a:pt x="12141" y="13406"/>
                        <a:pt x="12141" y="12768"/>
                        <a:pt x="12780" y="12768"/>
                      </a:cubicBezTo>
                      <a:lnTo>
                        <a:pt x="46647" y="12768"/>
                      </a:lnTo>
                      <a:cubicBezTo>
                        <a:pt x="46647" y="12768"/>
                        <a:pt x="47286" y="12768"/>
                        <a:pt x="47286" y="13406"/>
                      </a:cubicBezTo>
                      <a:lnTo>
                        <a:pt x="47286" y="47242"/>
                      </a:lnTo>
                      <a:close/>
                    </a:path>
                  </a:pathLst>
                </a:custGeom>
                <a:grpFill/>
                <a:ln w="6390" cap="flat">
                  <a:noFill/>
                  <a:prstDash val="solid"/>
                  <a:miter/>
                </a:ln>
              </p:spPr>
              <p:txBody>
                <a:bodyPr rtlCol="0" anchor="ctr"/>
                <a:lstStyle/>
                <a:p>
                  <a:endParaRPr lang="en-US" dirty="0"/>
                </a:p>
              </p:txBody>
            </p:sp>
            <p:sp>
              <p:nvSpPr>
                <p:cNvPr id="188" name="Graphic 4">
                  <a:extLst>
                    <a:ext uri="{FF2B5EF4-FFF2-40B4-BE49-F238E27FC236}">
                      <a16:creationId xmlns:a16="http://schemas.microsoft.com/office/drawing/2014/main" id="{9AFA0071-B33F-CB5A-F1A7-82DCE68C99BD}"/>
                    </a:ext>
                  </a:extLst>
                </p:cNvPr>
                <p:cNvSpPr/>
                <p:nvPr/>
              </p:nvSpPr>
              <p:spPr>
                <a:xfrm>
                  <a:off x="1703557" y="1031814"/>
                  <a:ext cx="60065" cy="60647"/>
                </a:xfrm>
                <a:custGeom>
                  <a:avLst/>
                  <a:gdLst>
                    <a:gd name="connsiteX0" fmla="*/ 46646 w 60065"/>
                    <a:gd name="connsiteY0" fmla="*/ 0 h 60647"/>
                    <a:gd name="connsiteX1" fmla="*/ 13419 w 60065"/>
                    <a:gd name="connsiteY1" fmla="*/ 0 h 60647"/>
                    <a:gd name="connsiteX2" fmla="*/ 0 w 60065"/>
                    <a:gd name="connsiteY2" fmla="*/ 13406 h 60647"/>
                    <a:gd name="connsiteX3" fmla="*/ 0 w 60065"/>
                    <a:gd name="connsiteY3" fmla="*/ 47241 h 60647"/>
                    <a:gd name="connsiteX4" fmla="*/ 13419 w 60065"/>
                    <a:gd name="connsiteY4" fmla="*/ 60648 h 60647"/>
                    <a:gd name="connsiteX5" fmla="*/ 46646 w 60065"/>
                    <a:gd name="connsiteY5" fmla="*/ 60648 h 60647"/>
                    <a:gd name="connsiteX6" fmla="*/ 60065 w 60065"/>
                    <a:gd name="connsiteY6" fmla="*/ 47241 h 60647"/>
                    <a:gd name="connsiteX7" fmla="*/ 60065 w 60065"/>
                    <a:gd name="connsiteY7" fmla="*/ 12768 h 60647"/>
                    <a:gd name="connsiteX8" fmla="*/ 46646 w 60065"/>
                    <a:gd name="connsiteY8" fmla="*/ 0 h 60647"/>
                    <a:gd name="connsiteX9" fmla="*/ 47285 w 60065"/>
                    <a:gd name="connsiteY9" fmla="*/ 47241 h 60647"/>
                    <a:gd name="connsiteX10" fmla="*/ 47285 w 60065"/>
                    <a:gd name="connsiteY10" fmla="*/ 47241 h 60647"/>
                    <a:gd name="connsiteX11" fmla="*/ 13419 w 60065"/>
                    <a:gd name="connsiteY11" fmla="*/ 47880 h 60647"/>
                    <a:gd name="connsiteX12" fmla="*/ 12780 w 60065"/>
                    <a:gd name="connsiteY12" fmla="*/ 47241 h 60647"/>
                    <a:gd name="connsiteX13" fmla="*/ 12780 w 60065"/>
                    <a:gd name="connsiteY13" fmla="*/ 12768 h 60647"/>
                    <a:gd name="connsiteX14" fmla="*/ 12780 w 60065"/>
                    <a:gd name="connsiteY14" fmla="*/ 12130 h 60647"/>
                    <a:gd name="connsiteX15" fmla="*/ 12780 w 60065"/>
                    <a:gd name="connsiteY15" fmla="*/ 12130 h 60647"/>
                    <a:gd name="connsiteX16" fmla="*/ 46007 w 60065"/>
                    <a:gd name="connsiteY16" fmla="*/ 12130 h 60647"/>
                    <a:gd name="connsiteX17" fmla="*/ 46646 w 60065"/>
                    <a:gd name="connsiteY17" fmla="*/ 12130 h 60647"/>
                    <a:gd name="connsiteX18" fmla="*/ 46646 w 60065"/>
                    <a:gd name="connsiteY18" fmla="*/ 12130 h 60647"/>
                    <a:gd name="connsiteX19" fmla="*/ 46646 w 60065"/>
                    <a:gd name="connsiteY19" fmla="*/ 47241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065" h="60647">
                      <a:moveTo>
                        <a:pt x="46646" y="0"/>
                      </a:moveTo>
                      <a:lnTo>
                        <a:pt x="13419" y="0"/>
                      </a:lnTo>
                      <a:cubicBezTo>
                        <a:pt x="6390" y="0"/>
                        <a:pt x="0" y="5746"/>
                        <a:pt x="0" y="13406"/>
                      </a:cubicBezTo>
                      <a:lnTo>
                        <a:pt x="0" y="47241"/>
                      </a:lnTo>
                      <a:cubicBezTo>
                        <a:pt x="0" y="54264"/>
                        <a:pt x="5751" y="60648"/>
                        <a:pt x="13419" y="60648"/>
                      </a:cubicBezTo>
                      <a:lnTo>
                        <a:pt x="46646" y="60648"/>
                      </a:lnTo>
                      <a:cubicBezTo>
                        <a:pt x="53675" y="60648"/>
                        <a:pt x="60065" y="54902"/>
                        <a:pt x="60065" y="47241"/>
                      </a:cubicBezTo>
                      <a:lnTo>
                        <a:pt x="60065" y="12768"/>
                      </a:lnTo>
                      <a:cubicBezTo>
                        <a:pt x="59426" y="5746"/>
                        <a:pt x="53675" y="0"/>
                        <a:pt x="46646" y="0"/>
                      </a:cubicBezTo>
                      <a:close/>
                      <a:moveTo>
                        <a:pt x="47285" y="47241"/>
                      </a:moveTo>
                      <a:cubicBezTo>
                        <a:pt x="47285" y="47241"/>
                        <a:pt x="46646" y="47241"/>
                        <a:pt x="47285" y="47241"/>
                      </a:cubicBezTo>
                      <a:lnTo>
                        <a:pt x="13419" y="47880"/>
                      </a:lnTo>
                      <a:cubicBezTo>
                        <a:pt x="13419" y="47880"/>
                        <a:pt x="12780" y="47880"/>
                        <a:pt x="12780" y="47241"/>
                      </a:cubicBezTo>
                      <a:lnTo>
                        <a:pt x="12780" y="12768"/>
                      </a:lnTo>
                      <a:cubicBezTo>
                        <a:pt x="12780" y="12768"/>
                        <a:pt x="12780" y="12130"/>
                        <a:pt x="12780" y="12130"/>
                      </a:cubicBezTo>
                      <a:cubicBezTo>
                        <a:pt x="12780" y="12130"/>
                        <a:pt x="12780" y="12130"/>
                        <a:pt x="12780" y="12130"/>
                      </a:cubicBezTo>
                      <a:lnTo>
                        <a:pt x="46007" y="12130"/>
                      </a:lnTo>
                      <a:cubicBezTo>
                        <a:pt x="46007" y="12130"/>
                        <a:pt x="46646" y="12130"/>
                        <a:pt x="46646" y="12130"/>
                      </a:cubicBezTo>
                      <a:cubicBezTo>
                        <a:pt x="46646" y="12130"/>
                        <a:pt x="46646" y="12130"/>
                        <a:pt x="46646" y="12130"/>
                      </a:cubicBezTo>
                      <a:lnTo>
                        <a:pt x="46646" y="47241"/>
                      </a:lnTo>
                      <a:close/>
                    </a:path>
                  </a:pathLst>
                </a:custGeom>
                <a:grpFill/>
                <a:ln w="6390" cap="flat">
                  <a:noFill/>
                  <a:prstDash val="solid"/>
                  <a:miter/>
                </a:ln>
              </p:spPr>
              <p:txBody>
                <a:bodyPr rtlCol="0" anchor="ctr"/>
                <a:lstStyle/>
                <a:p>
                  <a:endParaRPr lang="en-US" dirty="0"/>
                </a:p>
              </p:txBody>
            </p:sp>
            <p:sp>
              <p:nvSpPr>
                <p:cNvPr id="189" name="Graphic 4">
                  <a:extLst>
                    <a:ext uri="{FF2B5EF4-FFF2-40B4-BE49-F238E27FC236}">
                      <a16:creationId xmlns:a16="http://schemas.microsoft.com/office/drawing/2014/main" id="{AB0F0EF0-A39B-F9C4-9D0E-484A641D2414}"/>
                    </a:ext>
                  </a:extLst>
                </p:cNvPr>
                <p:cNvSpPr/>
                <p:nvPr/>
              </p:nvSpPr>
              <p:spPr>
                <a:xfrm>
                  <a:off x="1704835" y="1107783"/>
                  <a:ext cx="58148" cy="58094"/>
                </a:xfrm>
                <a:custGeom>
                  <a:avLst/>
                  <a:gdLst>
                    <a:gd name="connsiteX0" fmla="*/ 51759 w 58148"/>
                    <a:gd name="connsiteY0" fmla="*/ 0 h 58094"/>
                    <a:gd name="connsiteX1" fmla="*/ 6390 w 58148"/>
                    <a:gd name="connsiteY1" fmla="*/ 0 h 58094"/>
                    <a:gd name="connsiteX2" fmla="*/ 0 w 58148"/>
                    <a:gd name="connsiteY2" fmla="*/ 6384 h 58094"/>
                    <a:gd name="connsiteX3" fmla="*/ 0 w 58148"/>
                    <a:gd name="connsiteY3" fmla="*/ 51710 h 58094"/>
                    <a:gd name="connsiteX4" fmla="*/ 6390 w 58148"/>
                    <a:gd name="connsiteY4" fmla="*/ 58094 h 58094"/>
                    <a:gd name="connsiteX5" fmla="*/ 12780 w 58148"/>
                    <a:gd name="connsiteY5" fmla="*/ 51710 h 58094"/>
                    <a:gd name="connsiteX6" fmla="*/ 12780 w 58148"/>
                    <a:gd name="connsiteY6" fmla="*/ 12768 h 58094"/>
                    <a:gd name="connsiteX7" fmla="*/ 51759 w 58148"/>
                    <a:gd name="connsiteY7" fmla="*/ 12768 h 58094"/>
                    <a:gd name="connsiteX8" fmla="*/ 58148 w 58148"/>
                    <a:gd name="connsiteY8" fmla="*/ 6384 h 58094"/>
                    <a:gd name="connsiteX9" fmla="*/ 51759 w 58148"/>
                    <a:gd name="connsiteY9" fmla="*/ 0 h 58094"/>
                    <a:gd name="connsiteX10" fmla="*/ 51759 w 58148"/>
                    <a:gd name="connsiteY10" fmla="*/ 0 h 5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148" h="58094">
                      <a:moveTo>
                        <a:pt x="51759" y="0"/>
                      </a:moveTo>
                      <a:lnTo>
                        <a:pt x="6390" y="0"/>
                      </a:lnTo>
                      <a:cubicBezTo>
                        <a:pt x="2556" y="0"/>
                        <a:pt x="0" y="2554"/>
                        <a:pt x="0" y="6384"/>
                      </a:cubicBezTo>
                      <a:lnTo>
                        <a:pt x="0" y="51710"/>
                      </a:lnTo>
                      <a:cubicBezTo>
                        <a:pt x="0" y="55541"/>
                        <a:pt x="2556" y="58094"/>
                        <a:pt x="6390" y="58094"/>
                      </a:cubicBezTo>
                      <a:cubicBezTo>
                        <a:pt x="10224" y="58094"/>
                        <a:pt x="12780" y="55541"/>
                        <a:pt x="12780" y="51710"/>
                      </a:cubicBezTo>
                      <a:lnTo>
                        <a:pt x="12780" y="12768"/>
                      </a:lnTo>
                      <a:lnTo>
                        <a:pt x="51759" y="12768"/>
                      </a:lnTo>
                      <a:cubicBezTo>
                        <a:pt x="55593" y="12768"/>
                        <a:pt x="58148" y="10214"/>
                        <a:pt x="58148" y="6384"/>
                      </a:cubicBezTo>
                      <a:cubicBezTo>
                        <a:pt x="58148" y="2554"/>
                        <a:pt x="54954" y="0"/>
                        <a:pt x="51759" y="0"/>
                      </a:cubicBezTo>
                      <a:lnTo>
                        <a:pt x="51759" y="0"/>
                      </a:lnTo>
                      <a:close/>
                    </a:path>
                  </a:pathLst>
                </a:custGeom>
                <a:grpFill/>
                <a:ln w="6390" cap="flat">
                  <a:noFill/>
                  <a:prstDash val="solid"/>
                  <a:miter/>
                </a:ln>
              </p:spPr>
              <p:txBody>
                <a:bodyPr rtlCol="0" anchor="ctr"/>
                <a:lstStyle/>
                <a:p>
                  <a:endParaRPr lang="en-US" dirty="0"/>
                </a:p>
              </p:txBody>
            </p:sp>
            <p:sp>
              <p:nvSpPr>
                <p:cNvPr id="190" name="Graphic 4">
                  <a:extLst>
                    <a:ext uri="{FF2B5EF4-FFF2-40B4-BE49-F238E27FC236}">
                      <a16:creationId xmlns:a16="http://schemas.microsoft.com/office/drawing/2014/main" id="{01A33651-42B3-C9C6-4966-30BF527E4D58}"/>
                    </a:ext>
                  </a:extLst>
                </p:cNvPr>
                <p:cNvSpPr/>
                <p:nvPr/>
              </p:nvSpPr>
              <p:spPr>
                <a:xfrm>
                  <a:off x="1726561" y="1130127"/>
                  <a:ext cx="35783" cy="35750"/>
                </a:xfrm>
                <a:custGeom>
                  <a:avLst/>
                  <a:gdLst>
                    <a:gd name="connsiteX0" fmla="*/ 29394 w 35783"/>
                    <a:gd name="connsiteY0" fmla="*/ 0 h 35750"/>
                    <a:gd name="connsiteX1" fmla="*/ 23004 w 35783"/>
                    <a:gd name="connsiteY1" fmla="*/ 6384 h 35750"/>
                    <a:gd name="connsiteX2" fmla="*/ 23004 w 35783"/>
                    <a:gd name="connsiteY2" fmla="*/ 22982 h 35750"/>
                    <a:gd name="connsiteX3" fmla="*/ 6390 w 35783"/>
                    <a:gd name="connsiteY3" fmla="*/ 22982 h 35750"/>
                    <a:gd name="connsiteX4" fmla="*/ 0 w 35783"/>
                    <a:gd name="connsiteY4" fmla="*/ 29366 h 35750"/>
                    <a:gd name="connsiteX5" fmla="*/ 6390 w 35783"/>
                    <a:gd name="connsiteY5" fmla="*/ 35750 h 35750"/>
                    <a:gd name="connsiteX6" fmla="*/ 29394 w 35783"/>
                    <a:gd name="connsiteY6" fmla="*/ 35750 h 35750"/>
                    <a:gd name="connsiteX7" fmla="*/ 35783 w 35783"/>
                    <a:gd name="connsiteY7" fmla="*/ 29366 h 35750"/>
                    <a:gd name="connsiteX8" fmla="*/ 35783 w 35783"/>
                    <a:gd name="connsiteY8" fmla="*/ 6384 h 35750"/>
                    <a:gd name="connsiteX9" fmla="*/ 29394 w 35783"/>
                    <a:gd name="connsiteY9" fmla="*/ 0 h 35750"/>
                    <a:gd name="connsiteX10" fmla="*/ 29394 w 35783"/>
                    <a:gd name="connsiteY10" fmla="*/ 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83" h="35750">
                      <a:moveTo>
                        <a:pt x="29394" y="0"/>
                      </a:moveTo>
                      <a:cubicBezTo>
                        <a:pt x="25560" y="0"/>
                        <a:pt x="23004" y="2554"/>
                        <a:pt x="23004" y="6384"/>
                      </a:cubicBezTo>
                      <a:lnTo>
                        <a:pt x="23004" y="22982"/>
                      </a:lnTo>
                      <a:lnTo>
                        <a:pt x="6390" y="22982"/>
                      </a:lnTo>
                      <a:cubicBezTo>
                        <a:pt x="2556" y="22982"/>
                        <a:pt x="0" y="25536"/>
                        <a:pt x="0" y="29366"/>
                      </a:cubicBezTo>
                      <a:cubicBezTo>
                        <a:pt x="0" y="33197"/>
                        <a:pt x="2556" y="35750"/>
                        <a:pt x="6390" y="35750"/>
                      </a:cubicBezTo>
                      <a:lnTo>
                        <a:pt x="29394" y="35750"/>
                      </a:lnTo>
                      <a:cubicBezTo>
                        <a:pt x="33228" y="35750"/>
                        <a:pt x="35783" y="33197"/>
                        <a:pt x="35783" y="29366"/>
                      </a:cubicBezTo>
                      <a:lnTo>
                        <a:pt x="35783" y="6384"/>
                      </a:lnTo>
                      <a:cubicBezTo>
                        <a:pt x="35783" y="3192"/>
                        <a:pt x="33228" y="0"/>
                        <a:pt x="29394" y="0"/>
                      </a:cubicBezTo>
                      <a:cubicBezTo>
                        <a:pt x="29394" y="0"/>
                        <a:pt x="29394" y="0"/>
                        <a:pt x="29394" y="0"/>
                      </a:cubicBezTo>
                      <a:close/>
                    </a:path>
                  </a:pathLst>
                </a:custGeom>
                <a:grpFill/>
                <a:ln w="6390" cap="flat">
                  <a:noFill/>
                  <a:prstDash val="solid"/>
                  <a:miter/>
                </a:ln>
              </p:spPr>
              <p:txBody>
                <a:bodyPr rtlCol="0" anchor="ctr"/>
                <a:lstStyle/>
                <a:p>
                  <a:endParaRPr lang="en-US" dirty="0"/>
                </a:p>
              </p:txBody>
            </p:sp>
            <p:sp>
              <p:nvSpPr>
                <p:cNvPr id="191" name="Graphic 4">
                  <a:extLst>
                    <a:ext uri="{FF2B5EF4-FFF2-40B4-BE49-F238E27FC236}">
                      <a16:creationId xmlns:a16="http://schemas.microsoft.com/office/drawing/2014/main" id="{A03BCBE1-0EA4-DDAD-0821-1484BCAF40F4}"/>
                    </a:ext>
                  </a:extLst>
                </p:cNvPr>
                <p:cNvSpPr/>
                <p:nvPr/>
              </p:nvSpPr>
              <p:spPr>
                <a:xfrm>
                  <a:off x="1650520" y="1053519"/>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endParaRPr lang="en-US" dirty="0"/>
                </a:p>
              </p:txBody>
            </p:sp>
            <p:sp>
              <p:nvSpPr>
                <p:cNvPr id="192" name="Graphic 4">
                  <a:extLst>
                    <a:ext uri="{FF2B5EF4-FFF2-40B4-BE49-F238E27FC236}">
                      <a16:creationId xmlns:a16="http://schemas.microsoft.com/office/drawing/2014/main" id="{0236B541-50B5-D93C-3FC1-A0485E080745}"/>
                    </a:ext>
                  </a:extLst>
                </p:cNvPr>
                <p:cNvSpPr/>
                <p:nvPr/>
              </p:nvSpPr>
              <p:spPr>
                <a:xfrm>
                  <a:off x="1725922" y="1053519"/>
                  <a:ext cx="15335" cy="15321"/>
                </a:xfrm>
                <a:custGeom>
                  <a:avLst/>
                  <a:gdLst>
                    <a:gd name="connsiteX0" fmla="*/ 15336 w 15335"/>
                    <a:gd name="connsiteY0" fmla="*/ 7661 h 15321"/>
                    <a:gd name="connsiteX1" fmla="*/ 7668 w 15335"/>
                    <a:gd name="connsiteY1" fmla="*/ 15322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2"/>
                        <a:pt x="7668" y="15322"/>
                      </a:cubicBezTo>
                      <a:cubicBezTo>
                        <a:pt x="3433" y="15322"/>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endParaRPr lang="en-US" dirty="0"/>
                </a:p>
              </p:txBody>
            </p:sp>
            <p:sp>
              <p:nvSpPr>
                <p:cNvPr id="193" name="Graphic 4">
                  <a:extLst>
                    <a:ext uri="{FF2B5EF4-FFF2-40B4-BE49-F238E27FC236}">
                      <a16:creationId xmlns:a16="http://schemas.microsoft.com/office/drawing/2014/main" id="{E2786791-3F0A-C675-2DB5-448D942A2BB1}"/>
                    </a:ext>
                  </a:extLst>
                </p:cNvPr>
                <p:cNvSpPr/>
                <p:nvPr/>
              </p:nvSpPr>
              <p:spPr>
                <a:xfrm>
                  <a:off x="1650520" y="1128850"/>
                  <a:ext cx="15335" cy="15321"/>
                </a:xfrm>
                <a:custGeom>
                  <a:avLst/>
                  <a:gdLst>
                    <a:gd name="connsiteX0" fmla="*/ 15336 w 15335"/>
                    <a:gd name="connsiteY0" fmla="*/ 7661 h 15321"/>
                    <a:gd name="connsiteX1" fmla="*/ 7668 w 15335"/>
                    <a:gd name="connsiteY1" fmla="*/ 15321 h 15321"/>
                    <a:gd name="connsiteX2" fmla="*/ 0 w 15335"/>
                    <a:gd name="connsiteY2" fmla="*/ 7661 h 15321"/>
                    <a:gd name="connsiteX3" fmla="*/ 7668 w 15335"/>
                    <a:gd name="connsiteY3" fmla="*/ 0 h 15321"/>
                    <a:gd name="connsiteX4" fmla="*/ 15336 w 15335"/>
                    <a:gd name="connsiteY4" fmla="*/ 7661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 h="15321">
                      <a:moveTo>
                        <a:pt x="15336" y="7661"/>
                      </a:moveTo>
                      <a:cubicBezTo>
                        <a:pt x="15336" y="11892"/>
                        <a:pt x="11903" y="15321"/>
                        <a:pt x="7668" y="15321"/>
                      </a:cubicBezTo>
                      <a:cubicBezTo>
                        <a:pt x="3433" y="15321"/>
                        <a:pt x="0" y="11892"/>
                        <a:pt x="0" y="7661"/>
                      </a:cubicBezTo>
                      <a:cubicBezTo>
                        <a:pt x="0" y="3430"/>
                        <a:pt x="3433" y="0"/>
                        <a:pt x="7668" y="0"/>
                      </a:cubicBezTo>
                      <a:cubicBezTo>
                        <a:pt x="11903" y="0"/>
                        <a:pt x="15336" y="3430"/>
                        <a:pt x="15336" y="7661"/>
                      </a:cubicBezTo>
                      <a:close/>
                    </a:path>
                  </a:pathLst>
                </a:custGeom>
                <a:grpFill/>
                <a:ln w="6390" cap="flat">
                  <a:noFill/>
                  <a:prstDash val="solid"/>
                  <a:miter/>
                </a:ln>
              </p:spPr>
              <p:txBody>
                <a:bodyPr rtlCol="0" anchor="ctr"/>
                <a:lstStyle/>
                <a:p>
                  <a:endParaRPr lang="en-US" dirty="0"/>
                </a:p>
              </p:txBody>
            </p:sp>
          </p:grpSp>
        </p:grpSp>
        <p:sp>
          <p:nvSpPr>
            <p:cNvPr id="216" name="Inhaltsplatzhalter 5">
              <a:extLst>
                <a:ext uri="{FF2B5EF4-FFF2-40B4-BE49-F238E27FC236}">
                  <a16:creationId xmlns:a16="http://schemas.microsoft.com/office/drawing/2014/main" id="{D1CAE6B7-C70C-042D-0F8C-9E54DA29CDB0}"/>
                </a:ext>
              </a:extLst>
            </p:cNvPr>
            <p:cNvSpPr txBox="1">
              <a:spLocks/>
            </p:cNvSpPr>
            <p:nvPr/>
          </p:nvSpPr>
          <p:spPr>
            <a:xfrm>
              <a:off x="6594824" y="3512905"/>
              <a:ext cx="3034757" cy="849080"/>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171450" indent="-171450" defTabSz="685800" fontAlgn="base">
                <a:spcAft>
                  <a:spcPts val="300"/>
                </a:spcAft>
                <a:buSzPct val="100000"/>
                <a:buFont typeface="Arial" panose="020B060402020202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Principles</a:t>
              </a:r>
            </a:p>
            <a:p>
              <a:pPr marL="171450" indent="-171450" defTabSz="685800" fontAlgn="base">
                <a:spcAft>
                  <a:spcPts val="300"/>
                </a:spcAft>
                <a:buSzPct val="100000"/>
                <a:buFont typeface="Arial" panose="020B060402020202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nfra, Integration, SW dev strategy, IT HC, IT sec, IT Operation  </a:t>
              </a:r>
            </a:p>
            <a:p>
              <a:pPr marL="171450" indent="-171450" defTabSz="685800" fontAlgn="base">
                <a:spcAft>
                  <a:spcPts val="300"/>
                </a:spcAft>
                <a:buSzPct val="100000"/>
                <a:buFont typeface="Arial" panose="020B060402020202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T roadmap</a:t>
              </a:r>
            </a:p>
            <a:p>
              <a:pPr marL="171450" indent="-171450" defTabSz="685800" fontAlgn="base">
                <a:spcAft>
                  <a:spcPts val="300"/>
                </a:spcAft>
                <a:buSzPct val="100000"/>
                <a:buFont typeface="Arial" panose="020B0604020202020204" pitchFamily="34" charset="0"/>
                <a:buChar cha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Functional Catalog: Target Application Landscape</a:t>
              </a:r>
            </a:p>
          </p:txBody>
        </p:sp>
      </p:grpSp>
      <p:sp>
        <p:nvSpPr>
          <p:cNvPr id="217" name="Inhaltsplatzhalter 5">
            <a:extLst>
              <a:ext uri="{FF2B5EF4-FFF2-40B4-BE49-F238E27FC236}">
                <a16:creationId xmlns:a16="http://schemas.microsoft.com/office/drawing/2014/main" id="{F21D3AEB-CB86-7B1D-8D95-A355EFBAA747}"/>
              </a:ext>
            </a:extLst>
          </p:cNvPr>
          <p:cNvSpPr txBox="1">
            <a:spLocks/>
          </p:cNvSpPr>
          <p:nvPr/>
        </p:nvSpPr>
        <p:spPr>
          <a:xfrm>
            <a:off x="6594825" y="4542632"/>
            <a:ext cx="3034757" cy="849080"/>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171450" indent="-171450" defTabSz="685800">
              <a:spcAft>
                <a:spcPts val="300"/>
              </a:spcAft>
              <a:buSzPct val="100000"/>
              <a:buFont typeface="Arial" panose="020B0604020202020204" pitchFamily="34" charset="0"/>
              <a:buChar char="•"/>
            </a:pP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inciples (digital, architectural)</a:t>
            </a:r>
          </a:p>
          <a:p>
            <a:pPr marL="171450" indent="-171450" defTabSz="685800">
              <a:spcAft>
                <a:spcPts val="300"/>
              </a:spcAft>
              <a:buSzPct val="100000"/>
              <a:buFont typeface="Arial" panose="020B0604020202020204" pitchFamily="34" charset="0"/>
              <a:buChar char="•"/>
            </a:pP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ervice layer (middleware service catalog)</a:t>
            </a:r>
          </a:p>
          <a:p>
            <a:pPr marL="171450" indent="-171450" defTabSz="685800">
              <a:spcAft>
                <a:spcPts val="300"/>
              </a:spcAft>
              <a:buSzPct val="100000"/>
              <a:buFont typeface="Arial" panose="020B0604020202020204" pitchFamily="34" charset="0"/>
              <a:buChar char="•"/>
            </a:pP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tegration layer</a:t>
            </a:r>
          </a:p>
          <a:p>
            <a:pPr marL="171450" indent="-171450" defTabSz="685800">
              <a:spcAft>
                <a:spcPts val="300"/>
              </a:spcAft>
              <a:buSzPct val="100000"/>
              <a:buFont typeface="Arial" panose="020B0604020202020204" pitchFamily="34" charset="0"/>
              <a:buChar char="•"/>
            </a:pP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rchitecture roadmap (as-is, interim, target)</a:t>
            </a:r>
          </a:p>
          <a:p>
            <a:pPr marL="171450" indent="-171450" defTabSz="685800">
              <a:spcAft>
                <a:spcPts val="300"/>
              </a:spcAft>
              <a:buSzPct val="100000"/>
              <a:buFont typeface="Arial" panose="020B0604020202020204" pitchFamily="34" charset="0"/>
              <a:buChar char="•"/>
            </a:pP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ech stack &amp; roadmap</a:t>
            </a:r>
          </a:p>
          <a:p>
            <a:pPr marL="171450" indent="-171450" defTabSz="685800">
              <a:spcAft>
                <a:spcPts val="300"/>
              </a:spcAft>
              <a:buSzPct val="100000"/>
              <a:buFont typeface="Arial" panose="020B0604020202020204" pitchFamily="34" charset="0"/>
              <a:buChar char="•"/>
            </a:pP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t development and operation, RACI</a:t>
            </a:r>
          </a:p>
        </p:txBody>
      </p:sp>
      <p:sp>
        <p:nvSpPr>
          <p:cNvPr id="222" name="TextBox 221">
            <a:extLst>
              <a:ext uri="{FF2B5EF4-FFF2-40B4-BE49-F238E27FC236}">
                <a16:creationId xmlns:a16="http://schemas.microsoft.com/office/drawing/2014/main" id="{8CD5F4CD-BDFA-5DA0-CF44-7C58E7A2FFB1}"/>
              </a:ext>
            </a:extLst>
          </p:cNvPr>
          <p:cNvSpPr txBox="1"/>
          <p:nvPr/>
        </p:nvSpPr>
        <p:spPr>
          <a:xfrm>
            <a:off x="7353300" y="5922000"/>
            <a:ext cx="2074886" cy="252000"/>
          </a:xfrm>
          <a:prstGeom prst="rect">
            <a:avLst/>
          </a:prstGeom>
          <a:solidFill>
            <a:schemeClr val="bg1"/>
          </a:solidFill>
          <a:ln w="6350">
            <a:solidFill>
              <a:schemeClr val="tx2"/>
            </a:solidFill>
            <a:prstDash val="dash"/>
            <a:miter lim="800000"/>
            <a:headEnd/>
            <a:tailEnd/>
          </a:ln>
          <a:effectLst/>
        </p:spPr>
        <p:txBody>
          <a:bodyPr vert="horz" wrap="square" lIns="72000" tIns="72000" rIns="72000" bIns="72000" numCol="1" anchor="ctr" anchorCtr="0" compatLnSpc="1">
            <a:prstTxWarp prst="textNoShape">
              <a:avLst/>
            </a:prstTxWarp>
          </a:bodyPr>
          <a:lstStyle>
            <a:defPPr>
              <a:defRPr lang="en-US"/>
            </a:defPPr>
            <a:lvl2pPr marL="0" lvl="1" fontAlgn="base">
              <a:spcAft>
                <a:spcPts val="300"/>
              </a:spcAft>
              <a:defRPr sz="1000">
                <a:latin typeface="Open Sans Light" panose="020B0306030504020204" pitchFamily="34" charset="0"/>
                <a:ea typeface="Open Sans Light" panose="020B0306030504020204" pitchFamily="34" charset="0"/>
                <a:cs typeface="Open Sans Light" panose="020B0306030504020204" pitchFamily="34" charset="0"/>
              </a:defRPr>
            </a:lvl2pPr>
          </a:lstStyle>
          <a:p>
            <a:pPr algn="ct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Integration Services Framework</a:t>
            </a:r>
          </a:p>
        </p:txBody>
      </p:sp>
      <p:cxnSp>
        <p:nvCxnSpPr>
          <p:cNvPr id="223" name="Straight Arrow Connector 222">
            <a:extLst>
              <a:ext uri="{FF2B5EF4-FFF2-40B4-BE49-F238E27FC236}">
                <a16:creationId xmlns:a16="http://schemas.microsoft.com/office/drawing/2014/main" id="{F39E3331-56E1-159D-E453-A7C98E77DACA}"/>
              </a:ext>
            </a:extLst>
          </p:cNvPr>
          <p:cNvCxnSpPr>
            <a:cxnSpLocks/>
          </p:cNvCxnSpPr>
          <p:nvPr/>
        </p:nvCxnSpPr>
        <p:spPr>
          <a:xfrm>
            <a:off x="5534663" y="3872036"/>
            <a:ext cx="0" cy="410404"/>
          </a:xfrm>
          <a:prstGeom prst="straightConnector1">
            <a:avLst/>
          </a:prstGeom>
          <a:ln w="19050">
            <a:solidFill>
              <a:srgbClr val="00ABAB"/>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7A9888EE-2474-2DD2-D503-64601E9B2B32}"/>
              </a:ext>
            </a:extLst>
          </p:cNvPr>
          <p:cNvCxnSpPr>
            <a:cxnSpLocks/>
          </p:cNvCxnSpPr>
          <p:nvPr/>
        </p:nvCxnSpPr>
        <p:spPr>
          <a:xfrm>
            <a:off x="5534663" y="2934456"/>
            <a:ext cx="0" cy="410404"/>
          </a:xfrm>
          <a:prstGeom prst="straightConnector1">
            <a:avLst/>
          </a:prstGeom>
          <a:ln w="19050">
            <a:solidFill>
              <a:srgbClr val="00ABAB"/>
            </a:solidFill>
            <a:tailEnd type="triangle"/>
          </a:ln>
        </p:spPr>
        <p:style>
          <a:lnRef idx="1">
            <a:schemeClr val="accent1"/>
          </a:lnRef>
          <a:fillRef idx="0">
            <a:schemeClr val="accent1"/>
          </a:fillRef>
          <a:effectRef idx="0">
            <a:schemeClr val="accent1"/>
          </a:effectRef>
          <a:fontRef idx="minor">
            <a:schemeClr val="tx1"/>
          </a:fontRef>
        </p:style>
      </p:cxnSp>
      <p:sp>
        <p:nvSpPr>
          <p:cNvPr id="227" name="Isosceles Triangle 226">
            <a:extLst>
              <a:ext uri="{FF2B5EF4-FFF2-40B4-BE49-F238E27FC236}">
                <a16:creationId xmlns:a16="http://schemas.microsoft.com/office/drawing/2014/main" id="{6272B1AD-DD6A-8D16-53A4-FB1CD177CA23}"/>
              </a:ext>
            </a:extLst>
          </p:cNvPr>
          <p:cNvSpPr/>
          <p:nvPr/>
        </p:nvSpPr>
        <p:spPr bwMode="gray">
          <a:xfrm rot="5400000">
            <a:off x="8084929" y="4277977"/>
            <a:ext cx="3448594" cy="111252"/>
          </a:xfrm>
          <a:prstGeom prst="triangl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28" name="Picture 227">
            <a:extLst>
              <a:ext uri="{FF2B5EF4-FFF2-40B4-BE49-F238E27FC236}">
                <a16:creationId xmlns:a16="http://schemas.microsoft.com/office/drawing/2014/main" id="{96F9AABD-A69F-538C-8FFF-6C6F5E942FE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26474" y="3112808"/>
            <a:ext cx="1116000" cy="837000"/>
          </a:xfrm>
          <a:prstGeom prst="rect">
            <a:avLst/>
          </a:prstGeom>
          <a:ln w="6350">
            <a:solidFill>
              <a:schemeClr val="bg2"/>
            </a:solidFill>
          </a:ln>
          <a:effectLst>
            <a:outerShdw blurRad="50800" dist="38100" dir="2700000" algn="tl" rotWithShape="0">
              <a:prstClr val="black">
                <a:alpha val="40000"/>
              </a:prstClr>
            </a:outerShdw>
          </a:effectLst>
        </p:spPr>
      </p:pic>
      <p:sp>
        <p:nvSpPr>
          <p:cNvPr id="229" name="Rectangle 228">
            <a:extLst>
              <a:ext uri="{FF2B5EF4-FFF2-40B4-BE49-F238E27FC236}">
                <a16:creationId xmlns:a16="http://schemas.microsoft.com/office/drawing/2014/main" id="{8B10F1D1-87FF-8BA7-1AFA-AF055CDB4ED5}"/>
              </a:ext>
            </a:extLst>
          </p:cNvPr>
          <p:cNvSpPr/>
          <p:nvPr/>
        </p:nvSpPr>
        <p:spPr>
          <a:xfrm>
            <a:off x="9864852" y="2621430"/>
            <a:ext cx="1839245" cy="219498"/>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00" b="1"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Delivery approaches</a:t>
            </a:r>
          </a:p>
        </p:txBody>
      </p:sp>
      <p:pic>
        <p:nvPicPr>
          <p:cNvPr id="232" name="Picture 231">
            <a:extLst>
              <a:ext uri="{FF2B5EF4-FFF2-40B4-BE49-F238E27FC236}">
                <a16:creationId xmlns:a16="http://schemas.microsoft.com/office/drawing/2014/main" id="{2D8A1CBC-042D-E793-9307-E9645DACF67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226474" y="5221672"/>
            <a:ext cx="1116000" cy="837000"/>
          </a:xfrm>
          <a:prstGeom prst="rect">
            <a:avLst/>
          </a:prstGeom>
          <a:ln w="6350">
            <a:solidFill>
              <a:schemeClr val="bg2"/>
            </a:solidFill>
          </a:ln>
          <a:effectLst>
            <a:outerShdw blurRad="50800" dist="38100" dir="2700000" algn="tl" rotWithShape="0">
              <a:prstClr val="black">
                <a:alpha val="40000"/>
              </a:prstClr>
            </a:outerShdw>
          </a:effectLst>
        </p:spPr>
      </p:pic>
      <p:pic>
        <p:nvPicPr>
          <p:cNvPr id="233" name="Picture 232">
            <a:extLst>
              <a:ext uri="{FF2B5EF4-FFF2-40B4-BE49-F238E27FC236}">
                <a16:creationId xmlns:a16="http://schemas.microsoft.com/office/drawing/2014/main" id="{A66E7CAC-287A-4431-8047-4963F2C66A2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226474" y="4167240"/>
            <a:ext cx="1116000" cy="837001"/>
          </a:xfrm>
          <a:prstGeom prst="rect">
            <a:avLst/>
          </a:prstGeom>
          <a:ln w="6350">
            <a:solidFill>
              <a:schemeClr val="bg2"/>
            </a:solidFill>
          </a:ln>
          <a:effectLst>
            <a:outerShdw blurRad="50800" dist="38100" dir="2700000" algn="tl" rotWithShape="0">
              <a:prstClr val="black">
                <a:alpha val="40000"/>
              </a:prstClr>
            </a:outerShdw>
          </a:effectLst>
        </p:spPr>
      </p:pic>
      <p:sp>
        <p:nvSpPr>
          <p:cNvPr id="234" name="Rectangle 233">
            <a:extLst>
              <a:ext uri="{FF2B5EF4-FFF2-40B4-BE49-F238E27FC236}">
                <a16:creationId xmlns:a16="http://schemas.microsoft.com/office/drawing/2014/main" id="{9446BF00-B054-8AD6-C4A6-0E20CBB386A8}"/>
              </a:ext>
            </a:extLst>
          </p:cNvPr>
          <p:cNvSpPr/>
          <p:nvPr/>
        </p:nvSpPr>
        <p:spPr>
          <a:xfrm>
            <a:off x="10226474" y="2928071"/>
            <a:ext cx="1116000" cy="173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7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aterfall</a:t>
            </a:r>
          </a:p>
        </p:txBody>
      </p:sp>
      <p:sp>
        <p:nvSpPr>
          <p:cNvPr id="235" name="Rectangle 234">
            <a:extLst>
              <a:ext uri="{FF2B5EF4-FFF2-40B4-BE49-F238E27FC236}">
                <a16:creationId xmlns:a16="http://schemas.microsoft.com/office/drawing/2014/main" id="{A209C84E-159E-6A49-07A9-7291376392A7}"/>
              </a:ext>
            </a:extLst>
          </p:cNvPr>
          <p:cNvSpPr/>
          <p:nvPr/>
        </p:nvSpPr>
        <p:spPr>
          <a:xfrm>
            <a:off x="10226474" y="3993775"/>
            <a:ext cx="1116000" cy="173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7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gile</a:t>
            </a:r>
          </a:p>
        </p:txBody>
      </p:sp>
      <p:sp>
        <p:nvSpPr>
          <p:cNvPr id="236" name="Rectangle 235">
            <a:extLst>
              <a:ext uri="{FF2B5EF4-FFF2-40B4-BE49-F238E27FC236}">
                <a16:creationId xmlns:a16="http://schemas.microsoft.com/office/drawing/2014/main" id="{7F64AEDF-5DB2-A643-96D3-54E484066AF8}"/>
              </a:ext>
            </a:extLst>
          </p:cNvPr>
          <p:cNvSpPr/>
          <p:nvPr/>
        </p:nvSpPr>
        <p:spPr>
          <a:xfrm>
            <a:off x="10226474" y="5048208"/>
            <a:ext cx="1116000" cy="173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7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Hybrid agile</a:t>
            </a:r>
          </a:p>
        </p:txBody>
      </p:sp>
    </p:spTree>
    <p:extLst>
      <p:ext uri="{BB962C8B-B14F-4D97-AF65-F5344CB8AC3E}">
        <p14:creationId xmlns:p14="http://schemas.microsoft.com/office/powerpoint/2010/main" val="186543947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40754944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hu-HU" dirty="0" err="1">
                <a:cs typeface="Calibri Light"/>
              </a:rPr>
              <a:t>Integration</a:t>
            </a:r>
            <a:r>
              <a:rPr lang="hu-HU" dirty="0">
                <a:cs typeface="Calibri Light"/>
              </a:rPr>
              <a:t> and </a:t>
            </a:r>
            <a:r>
              <a:rPr lang="hu-HU" dirty="0" err="1">
                <a:cs typeface="Calibri Light"/>
              </a:rPr>
              <a:t>DevOps</a:t>
            </a:r>
            <a:r>
              <a:rPr lang="hu-HU" dirty="0">
                <a:cs typeface="Calibri Light"/>
              </a:rPr>
              <a:t> </a:t>
            </a:r>
            <a:r>
              <a:rPr lang="en-US" dirty="0">
                <a:cs typeface="Calibri Light"/>
              </a:rPr>
              <a:t>Credential Tombstones</a:t>
            </a:r>
          </a:p>
        </p:txBody>
      </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59" name="Rectangle 146">
            <a:extLst>
              <a:ext uri="{FF2B5EF4-FFF2-40B4-BE49-F238E27FC236}">
                <a16:creationId xmlns:a16="http://schemas.microsoft.com/office/drawing/2014/main" id="{735C1D2F-26FC-2D9A-0A41-F54EEF30FB92}"/>
              </a:ext>
            </a:extLst>
          </p:cNvPr>
          <p:cNvSpPr/>
          <p:nvPr/>
        </p:nvSpPr>
        <p:spPr bwMode="gray">
          <a:xfrm>
            <a:off x="6042865" y="1830937"/>
            <a:ext cx="2802166"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Rectangle 147">
            <a:extLst>
              <a:ext uri="{FF2B5EF4-FFF2-40B4-BE49-F238E27FC236}">
                <a16:creationId xmlns:a16="http://schemas.microsoft.com/office/drawing/2014/main" id="{1B6D349D-C10A-5588-8900-AF5B7C72CE8C}"/>
              </a:ext>
            </a:extLst>
          </p:cNvPr>
          <p:cNvSpPr/>
          <p:nvPr/>
        </p:nvSpPr>
        <p:spPr bwMode="gray">
          <a:xfrm>
            <a:off x="6026826" y="1385764"/>
            <a:ext cx="2802166"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5" name="TextBox 148">
            <a:extLst>
              <a:ext uri="{FF2B5EF4-FFF2-40B4-BE49-F238E27FC236}">
                <a16:creationId xmlns:a16="http://schemas.microsoft.com/office/drawing/2014/main" id="{DC2158EA-3D77-8F0E-2364-B8431216278E}"/>
              </a:ext>
            </a:extLst>
          </p:cNvPr>
          <p:cNvSpPr txBox="1"/>
          <p:nvPr/>
        </p:nvSpPr>
        <p:spPr>
          <a:xfrm>
            <a:off x="6165214" y="1521979"/>
            <a:ext cx="2207552"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TAIL BANK IN HUNGARY</a:t>
            </a:r>
          </a:p>
        </p:txBody>
      </p:sp>
      <p:sp>
        <p:nvSpPr>
          <p:cNvPr id="174" name="Rectangle: Rounded Corners 154">
            <a:extLst>
              <a:ext uri="{FF2B5EF4-FFF2-40B4-BE49-F238E27FC236}">
                <a16:creationId xmlns:a16="http://schemas.microsoft.com/office/drawing/2014/main" id="{36C419E1-E418-3805-D1CE-7C41B27D8B01}"/>
              </a:ext>
            </a:extLst>
          </p:cNvPr>
          <p:cNvSpPr/>
          <p:nvPr/>
        </p:nvSpPr>
        <p:spPr bwMode="gray">
          <a:xfrm>
            <a:off x="7133300" y="3160201"/>
            <a:ext cx="1661885"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1.6. INTEGRATION SERVICES</a:t>
            </a:r>
          </a:p>
        </p:txBody>
      </p:sp>
      <p:sp>
        <p:nvSpPr>
          <p:cNvPr id="176" name="TextBox 156">
            <a:extLst>
              <a:ext uri="{FF2B5EF4-FFF2-40B4-BE49-F238E27FC236}">
                <a16:creationId xmlns:a16="http://schemas.microsoft.com/office/drawing/2014/main" id="{1ECD6F58-A535-A242-FE13-BC47D85F11BD}"/>
              </a:ext>
            </a:extLst>
          </p:cNvPr>
          <p:cNvSpPr txBox="1"/>
          <p:nvPr/>
        </p:nvSpPr>
        <p:spPr>
          <a:xfrm>
            <a:off x="6174955" y="2433679"/>
            <a:ext cx="2621317"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E2E implementation and development support of a new core banking system. Integration management role fulfilled by Deloitte team, that considered the existing infrastructure and the to-be new system. </a:t>
            </a:r>
          </a:p>
        </p:txBody>
      </p:sp>
      <p:sp>
        <p:nvSpPr>
          <p:cNvPr id="186" name="TextBox 157">
            <a:extLst>
              <a:ext uri="{FF2B5EF4-FFF2-40B4-BE49-F238E27FC236}">
                <a16:creationId xmlns:a16="http://schemas.microsoft.com/office/drawing/2014/main" id="{0D684CFD-E92B-65A3-52C0-5F36B58274E6}"/>
              </a:ext>
            </a:extLst>
          </p:cNvPr>
          <p:cNvSpPr txBox="1"/>
          <p:nvPr/>
        </p:nvSpPr>
        <p:spPr>
          <a:xfrm>
            <a:off x="6174954" y="2036190"/>
            <a:ext cx="2654037" cy="233109"/>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a:spcAft>
                <a:spcPts val="1000"/>
              </a:spcAft>
            </a:pPr>
            <a: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CORE BANKING SOFTWARE IMPLEMENTATION</a:t>
            </a:r>
          </a:p>
        </p:txBody>
      </p:sp>
      <p:sp>
        <p:nvSpPr>
          <p:cNvPr id="187" name="Rectangle 160">
            <a:extLst>
              <a:ext uri="{FF2B5EF4-FFF2-40B4-BE49-F238E27FC236}">
                <a16:creationId xmlns:a16="http://schemas.microsoft.com/office/drawing/2014/main" id="{188F9994-5227-1AF7-B863-35AB42AF2865}"/>
              </a:ext>
            </a:extLst>
          </p:cNvPr>
          <p:cNvSpPr/>
          <p:nvPr/>
        </p:nvSpPr>
        <p:spPr bwMode="gray">
          <a:xfrm>
            <a:off x="2657302" y="1845091"/>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9" name="Rectangle 161">
            <a:extLst>
              <a:ext uri="{FF2B5EF4-FFF2-40B4-BE49-F238E27FC236}">
                <a16:creationId xmlns:a16="http://schemas.microsoft.com/office/drawing/2014/main" id="{3567DDAE-BD14-2D38-5110-561C65945373}"/>
              </a:ext>
            </a:extLst>
          </p:cNvPr>
          <p:cNvSpPr/>
          <p:nvPr/>
        </p:nvSpPr>
        <p:spPr bwMode="gray">
          <a:xfrm>
            <a:off x="2650089" y="1394890"/>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0" name="TextBox 162">
            <a:extLst>
              <a:ext uri="{FF2B5EF4-FFF2-40B4-BE49-F238E27FC236}">
                <a16:creationId xmlns:a16="http://schemas.microsoft.com/office/drawing/2014/main" id="{757556D0-82C4-571F-7019-F245A0C20034}"/>
              </a:ext>
            </a:extLst>
          </p:cNvPr>
          <p:cNvSpPr txBox="1"/>
          <p:nvPr/>
        </p:nvSpPr>
        <p:spPr>
          <a:xfrm>
            <a:off x="2780161" y="1531867"/>
            <a:ext cx="2216759" cy="147739"/>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ZERENCSEJÁTÉK ZRT. </a:t>
            </a:r>
          </a:p>
        </p:txBody>
      </p:sp>
      <p:sp>
        <p:nvSpPr>
          <p:cNvPr id="205" name="Rectangle: Rounded Corners 168">
            <a:extLst>
              <a:ext uri="{FF2B5EF4-FFF2-40B4-BE49-F238E27FC236}">
                <a16:creationId xmlns:a16="http://schemas.microsoft.com/office/drawing/2014/main" id="{B9510B86-02F5-E550-4EA2-8C825D733FF7}"/>
              </a:ext>
            </a:extLst>
          </p:cNvPr>
          <p:cNvSpPr/>
          <p:nvPr/>
        </p:nvSpPr>
        <p:spPr bwMode="gray">
          <a:xfrm>
            <a:off x="3752285" y="3174355"/>
            <a:ext cx="1699286"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1.6. INTEGRATION SERVICES</a:t>
            </a:r>
          </a:p>
        </p:txBody>
      </p:sp>
      <p:sp>
        <p:nvSpPr>
          <p:cNvPr id="208" name="TextBox 170">
            <a:extLst>
              <a:ext uri="{FF2B5EF4-FFF2-40B4-BE49-F238E27FC236}">
                <a16:creationId xmlns:a16="http://schemas.microsoft.com/office/drawing/2014/main" id="{721D9BC5-87A7-1A57-DB42-619A9F8D967F}"/>
              </a:ext>
            </a:extLst>
          </p:cNvPr>
          <p:cNvSpPr txBox="1"/>
          <p:nvPr/>
        </p:nvSpPr>
        <p:spPr>
          <a:xfrm>
            <a:off x="2781052" y="2457559"/>
            <a:ext cx="2316699" cy="680008"/>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The client had several applications mostly provided by vendors. These application’s communication network had become more and more complex. A middleware application could cause simplification in it.</a:t>
            </a:r>
          </a:p>
        </p:txBody>
      </p:sp>
      <p:sp>
        <p:nvSpPr>
          <p:cNvPr id="51" name="TextBox 171">
            <a:extLst>
              <a:ext uri="{FF2B5EF4-FFF2-40B4-BE49-F238E27FC236}">
                <a16:creationId xmlns:a16="http://schemas.microsoft.com/office/drawing/2014/main" id="{27A02338-5481-10EB-2D56-5C27F9FE461C}"/>
              </a:ext>
            </a:extLst>
          </p:cNvPr>
          <p:cNvSpPr txBox="1"/>
          <p:nvPr/>
        </p:nvSpPr>
        <p:spPr>
          <a:xfrm>
            <a:off x="2781052" y="2050344"/>
            <a:ext cx="2529081"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MIDDLEWARE </a:t>
            </a:r>
          </a:p>
        </p:txBody>
      </p:sp>
      <p:sp>
        <p:nvSpPr>
          <p:cNvPr id="2" name="Rectangle 1">
            <a:extLst>
              <a:ext uri="{FF2B5EF4-FFF2-40B4-BE49-F238E27FC236}">
                <a16:creationId xmlns:a16="http://schemas.microsoft.com/office/drawing/2014/main" id="{BC34642F-5710-D0F3-AF04-4536725EEA38}"/>
              </a:ext>
            </a:extLst>
          </p:cNvPr>
          <p:cNvSpPr/>
          <p:nvPr/>
        </p:nvSpPr>
        <p:spPr bwMode="gray">
          <a:xfrm>
            <a:off x="2637522" y="4126432"/>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Rectangle 38">
            <a:extLst>
              <a:ext uri="{FF2B5EF4-FFF2-40B4-BE49-F238E27FC236}">
                <a16:creationId xmlns:a16="http://schemas.microsoft.com/office/drawing/2014/main" id="{4356B438-A278-5125-904B-5B344E316049}"/>
              </a:ext>
            </a:extLst>
          </p:cNvPr>
          <p:cNvSpPr/>
          <p:nvPr/>
        </p:nvSpPr>
        <p:spPr bwMode="gray">
          <a:xfrm>
            <a:off x="2639204" y="3681259"/>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9">
            <a:extLst>
              <a:ext uri="{FF2B5EF4-FFF2-40B4-BE49-F238E27FC236}">
                <a16:creationId xmlns:a16="http://schemas.microsoft.com/office/drawing/2014/main" id="{DBFD2310-7397-29B0-27EC-3C8AD79BB0EA}"/>
              </a:ext>
            </a:extLst>
          </p:cNvPr>
          <p:cNvSpPr txBox="1"/>
          <p:nvPr/>
        </p:nvSpPr>
        <p:spPr>
          <a:xfrm>
            <a:off x="2760562" y="3817474"/>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UTILITY COMPANY</a:t>
            </a:r>
          </a:p>
        </p:txBody>
      </p:sp>
      <p:sp>
        <p:nvSpPr>
          <p:cNvPr id="10" name="Rectangle: Rounded Corners 142">
            <a:extLst>
              <a:ext uri="{FF2B5EF4-FFF2-40B4-BE49-F238E27FC236}">
                <a16:creationId xmlns:a16="http://schemas.microsoft.com/office/drawing/2014/main" id="{8AFB12C5-7647-055B-F6CC-648817E8A5D5}"/>
              </a:ext>
            </a:extLst>
          </p:cNvPr>
          <p:cNvSpPr/>
          <p:nvPr/>
        </p:nvSpPr>
        <p:spPr bwMode="gray">
          <a:xfrm>
            <a:off x="3734118" y="5455696"/>
            <a:ext cx="1699286"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1.6. INTEGRATION SERVICES</a:t>
            </a:r>
          </a:p>
        </p:txBody>
      </p:sp>
      <p:sp>
        <p:nvSpPr>
          <p:cNvPr id="11" name="TextBox 144">
            <a:extLst>
              <a:ext uri="{FF2B5EF4-FFF2-40B4-BE49-F238E27FC236}">
                <a16:creationId xmlns:a16="http://schemas.microsoft.com/office/drawing/2014/main" id="{90DA4514-28DF-5DD6-126B-F6FBC244E972}"/>
              </a:ext>
            </a:extLst>
          </p:cNvPr>
          <p:cNvSpPr txBox="1"/>
          <p:nvPr/>
        </p:nvSpPr>
        <p:spPr>
          <a:xfrm>
            <a:off x="2752548" y="4493753"/>
            <a:ext cx="2545562" cy="875957"/>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After the merger of an electricity DSO our client has launched a program with the goal of managing the business and IT integration of the Deloitte managed the integration and migration stream, considering the future architecture and coordinated the communications between multiple vendors.  </a:t>
            </a:r>
          </a:p>
        </p:txBody>
      </p:sp>
      <p:sp>
        <p:nvSpPr>
          <p:cNvPr id="13" name="TextBox 145">
            <a:extLst>
              <a:ext uri="{FF2B5EF4-FFF2-40B4-BE49-F238E27FC236}">
                <a16:creationId xmlns:a16="http://schemas.microsoft.com/office/drawing/2014/main" id="{86FB4C89-10F0-F73E-FD7A-F9D2C5E0B85D}"/>
              </a:ext>
            </a:extLst>
          </p:cNvPr>
          <p:cNvSpPr txBox="1"/>
          <p:nvPr/>
        </p:nvSpPr>
        <p:spPr>
          <a:xfrm>
            <a:off x="2752548" y="4250606"/>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POST MERGER INTEGRATION STRATEGY</a:t>
            </a:r>
          </a:p>
        </p:txBody>
      </p:sp>
      <p:sp>
        <p:nvSpPr>
          <p:cNvPr id="25" name="Rectangle 160">
            <a:extLst>
              <a:ext uri="{FF2B5EF4-FFF2-40B4-BE49-F238E27FC236}">
                <a16:creationId xmlns:a16="http://schemas.microsoft.com/office/drawing/2014/main" id="{8394C880-CBFB-A2B4-FCAD-20E5C6A7FB1A}"/>
              </a:ext>
            </a:extLst>
          </p:cNvPr>
          <p:cNvSpPr/>
          <p:nvPr/>
        </p:nvSpPr>
        <p:spPr bwMode="gray">
          <a:xfrm>
            <a:off x="6028638" y="4122064"/>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161">
            <a:extLst>
              <a:ext uri="{FF2B5EF4-FFF2-40B4-BE49-F238E27FC236}">
                <a16:creationId xmlns:a16="http://schemas.microsoft.com/office/drawing/2014/main" id="{0809F4A3-E22D-A2B5-F1C9-5B5438431DD0}"/>
              </a:ext>
            </a:extLst>
          </p:cNvPr>
          <p:cNvSpPr/>
          <p:nvPr/>
        </p:nvSpPr>
        <p:spPr bwMode="gray">
          <a:xfrm>
            <a:off x="6021425" y="3671863"/>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162">
            <a:extLst>
              <a:ext uri="{FF2B5EF4-FFF2-40B4-BE49-F238E27FC236}">
                <a16:creationId xmlns:a16="http://schemas.microsoft.com/office/drawing/2014/main" id="{6527CE28-24BA-F8D1-F92A-88EFCB8C7DF7}"/>
              </a:ext>
            </a:extLst>
          </p:cNvPr>
          <p:cNvSpPr txBox="1"/>
          <p:nvPr/>
        </p:nvSpPr>
        <p:spPr>
          <a:xfrm>
            <a:off x="6151497" y="3808840"/>
            <a:ext cx="2216759" cy="147739"/>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UTOMOTIVE COMPANY</a:t>
            </a:r>
          </a:p>
        </p:txBody>
      </p:sp>
      <p:sp>
        <p:nvSpPr>
          <p:cNvPr id="29" name="Rectangle: Rounded Corners 168">
            <a:extLst>
              <a:ext uri="{FF2B5EF4-FFF2-40B4-BE49-F238E27FC236}">
                <a16:creationId xmlns:a16="http://schemas.microsoft.com/office/drawing/2014/main" id="{009BFC2E-C53E-EB04-EAB5-50E42B8CA7D6}"/>
              </a:ext>
            </a:extLst>
          </p:cNvPr>
          <p:cNvSpPr/>
          <p:nvPr/>
        </p:nvSpPr>
        <p:spPr bwMode="gray">
          <a:xfrm>
            <a:off x="7123621" y="5451328"/>
            <a:ext cx="1699286"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1.3. DEVOPS</a:t>
            </a:r>
          </a:p>
        </p:txBody>
      </p:sp>
      <p:sp>
        <p:nvSpPr>
          <p:cNvPr id="38" name="TextBox 170">
            <a:extLst>
              <a:ext uri="{FF2B5EF4-FFF2-40B4-BE49-F238E27FC236}">
                <a16:creationId xmlns:a16="http://schemas.microsoft.com/office/drawing/2014/main" id="{EE49AD80-ED40-C5D9-F56A-E27FCF9486B6}"/>
              </a:ext>
            </a:extLst>
          </p:cNvPr>
          <p:cNvSpPr txBox="1"/>
          <p:nvPr/>
        </p:nvSpPr>
        <p:spPr>
          <a:xfrm>
            <a:off x="6152388" y="4520906"/>
            <a:ext cx="2316699" cy="680008"/>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The various tasks for Development and Operation (DevOps) of PPCM's IT systems were previously divided among five external suppliers, with corresponding challenges of collaboration and interfaces between the various levels and suppliers, respectively</a:t>
            </a:r>
          </a:p>
        </p:txBody>
      </p:sp>
      <p:sp>
        <p:nvSpPr>
          <p:cNvPr id="39" name="TextBox 171">
            <a:extLst>
              <a:ext uri="{FF2B5EF4-FFF2-40B4-BE49-F238E27FC236}">
                <a16:creationId xmlns:a16="http://schemas.microsoft.com/office/drawing/2014/main" id="{52BF692B-E21E-0969-9DF0-3312AA71B9E5}"/>
              </a:ext>
            </a:extLst>
          </p:cNvPr>
          <p:cNvSpPr txBox="1"/>
          <p:nvPr/>
        </p:nvSpPr>
        <p:spPr>
          <a:xfrm>
            <a:off x="6152388" y="4327317"/>
            <a:ext cx="2529081"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BIZDEVOPS TRANSITION</a:t>
            </a:r>
          </a:p>
        </p:txBody>
      </p:sp>
    </p:spTree>
    <p:extLst>
      <p:ext uri="{BB962C8B-B14F-4D97-AF65-F5344CB8AC3E}">
        <p14:creationId xmlns:p14="http://schemas.microsoft.com/office/powerpoint/2010/main" val="184309912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Picture 9" descr="A cityscape with many buildings&#10;&#10;Description automatically generated">
            <a:extLst>
              <a:ext uri="{FF2B5EF4-FFF2-40B4-BE49-F238E27FC236}">
                <a16:creationId xmlns:a16="http://schemas.microsoft.com/office/drawing/2014/main" id="{CDCAD261-A68B-1336-8E91-60696CD0A8B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99324" y="0"/>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rgbClr val="A0DCFF"/>
          </a:solidFill>
          <a:ln w="19050" algn="ctr">
            <a:noFill/>
            <a:miter lim="800000"/>
            <a:headEnd/>
            <a:tailEnd/>
          </a:ln>
        </p:spPr>
        <p:txBody>
          <a:bodyPr wrap="square" lIns="72000" tIns="0" rIns="0" bIns="0" rtlCol="0" anchor="ctr"/>
          <a:lstStyle/>
          <a:p>
            <a:pPr marL="0" marR="0" lvl="0" indent="0" algn="l" defTabSz="91440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659665"/>
            <a:ext cx="6839787" cy="237016"/>
          </a:xfrm>
          <a:prstGeom prst="roundRect">
            <a:avLst/>
          </a:prstGeom>
          <a:solidFill>
            <a:srgbClr val="A0DCFF"/>
          </a:solidFill>
          <a:ln w="19050" algn="ctr">
            <a:noFill/>
            <a:miter lim="800000"/>
            <a:headEnd/>
            <a:tailEnd/>
          </a:ln>
        </p:spPr>
        <p:txBody>
          <a:bodyPr wrap="square" lIns="72000" tIns="0" rIns="0" bIns="0" rtlCol="0" anchor="ctr"/>
          <a:lstStyle/>
          <a:p>
            <a:pPr marL="0" marR="0" lvl="0" indent="0" algn="l" defTabSz="91440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938357"/>
            <a:ext cx="6851894" cy="17697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algn="l" defTabSz="914400" eaLnBrk="1" fontAlgn="auto" latinLnBrk="0" hangingPunct="1">
              <a:lnSpc>
                <a:spcPct val="100000"/>
              </a:lnSpc>
              <a:spcBef>
                <a:spcPts val="0"/>
              </a:spcBef>
              <a:spcAft>
                <a:spcPts val="600"/>
              </a:spcAft>
              <a:buClr>
                <a:srgbClr val="00ABAB">
                  <a:lumMod val="50000"/>
                </a:srgbClr>
              </a:buClr>
              <a:buSzTx/>
              <a:tabLst/>
              <a:defRPr/>
            </a:pPr>
            <a:r>
              <a:rPr kumimoji="0" lang="en-US" sz="10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oitte provided support for the client's project manager with middleware project related best practices, and supported the client's architect team with integration related tasks.</a:t>
            </a:r>
            <a:endParaRPr kumimoji="0" lang="hu-HU" sz="10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lgn="l"/>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Deloitte provided the following supports to the client during this engagement:</a:t>
            </a:r>
          </a:p>
          <a:p>
            <a:pPr marL="171450" indent="-171450" algn="l">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Supported the preparation of requirement specification</a:t>
            </a:r>
          </a:p>
          <a:p>
            <a:pPr marL="171450" indent="-171450" algn="l">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Developed an integration framework, development and testing methodology</a:t>
            </a:r>
          </a:p>
          <a:p>
            <a:pPr marL="171450" indent="-171450" algn="l">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ssessed the endpoint systems and infrastructure elements</a:t>
            </a:r>
          </a:p>
          <a:p>
            <a:pPr marL="171450" indent="-171450" algn="l">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ssessed the regulation of integration operation, development and IT security processes and the replacement of missing elements</a:t>
            </a:r>
          </a:p>
          <a:p>
            <a:pPr marL="171450" indent="-171450" algn="l">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Supported training planning</a:t>
            </a:r>
          </a:p>
          <a:p>
            <a:pPr marL="171450" indent="-171450" algn="l">
              <a:buFont typeface="Arial" panose="020B0604020202020204" pitchFamily="34" charset="0"/>
              <a:buChar cha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Supported test methodology preparation with best practices, industry know-how</a:t>
            </a:r>
          </a:p>
          <a:p>
            <a:pPr marL="0" marR="0" lvl="3" algn="l" defTabSz="914400" eaLnBrk="1" fontAlgn="auto" latinLnBrk="0" hangingPunct="1">
              <a:lnSpc>
                <a:spcPct val="100000"/>
              </a:lnSpc>
              <a:spcBef>
                <a:spcPts val="0"/>
              </a:spcBef>
              <a:spcAft>
                <a:spcPts val="600"/>
              </a:spcAft>
              <a:buClr>
                <a:srgbClr val="00ABAB">
                  <a:lumMod val="50000"/>
                </a:srgbClr>
              </a:buClr>
              <a:buSzTx/>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846023"/>
            <a:ext cx="6851896" cy="6155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algn="l" defTabSz="914400" eaLnBrk="1" fontAlgn="auto" latinLnBrk="0" hangingPunct="1">
              <a:lnSpc>
                <a:spcPct val="100000"/>
              </a:lnSpc>
              <a:spcBef>
                <a:spcPts val="0"/>
              </a:spcBef>
              <a:spcAft>
                <a:spcPts val="600"/>
              </a:spcAft>
              <a:buClr>
                <a:srgbClr val="00ABAB">
                  <a:lumMod val="50000"/>
                </a:srgbClr>
              </a:buClr>
              <a:buSzTx/>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 had complex application portfolio and the communication channels, interfaces of these applications, were becoming more and more complex during the years. Additionally, T2M was continuously growing due to decreasing availability of the core system vendor. In order to simplify future application developments and mitigate existing vendor dependencies, Deloitte recommended the implementation of a middleware solution.</a:t>
            </a:r>
            <a:endPar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a:extLst>
              <a:ext uri="{FF2B5EF4-FFF2-40B4-BE49-F238E27FC236}">
                <a16:creationId xmlns:a16="http://schemas.microsoft.com/office/drawing/2014/main" id="{2910DA1E-1E81-A9C2-C8D1-2E15B9ED138E}"/>
              </a:ext>
            </a:extLst>
          </p:cNvPr>
          <p:cNvPicPr>
            <a:picLocks noChangeAspect="1"/>
          </p:cNvPicPr>
          <p:nvPr/>
        </p:nvPicPr>
        <p:blipFill>
          <a:blip r:embed="rId7">
            <a:biLevel thresh="75000"/>
            <a:alphaModFix amt="30000"/>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a:xfrm rot="19136939">
            <a:off x="9633644" y="5377519"/>
            <a:ext cx="1106637" cy="1106637"/>
          </a:xfrm>
          <a:prstGeom prst="rect">
            <a:avLst/>
          </a:prstGeom>
        </p:spPr>
      </p:pic>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eaLnBrk="1" fontAlgn="auto" latinLnBrk="0" hangingPunct="1">
              <a:lnSpc>
                <a:spcPct val="100000"/>
              </a:lnSpc>
              <a:spcBef>
                <a:spcPct val="0"/>
              </a:spcBef>
              <a:spcAft>
                <a:spcPts val="0"/>
              </a:spcAft>
              <a:buClrTx/>
              <a:buSzTx/>
              <a:buFontTx/>
              <a:buNone/>
              <a:tabLst/>
              <a:defRPr/>
            </a:pPr>
            <a:r>
              <a:rPr lang="hu-HU" sz="2800" dirty="0" err="1">
                <a:latin typeface="Open Sans Light" panose="020B0306030504020204" pitchFamily="34" charset="0"/>
                <a:cs typeface="Calibri Light"/>
                <a:sym typeface="Helvetica"/>
              </a:rPr>
              <a:t>Middleware</a:t>
            </a:r>
            <a:r>
              <a:rPr lang="hu-HU" sz="2800" dirty="0">
                <a:latin typeface="Open Sans Light" panose="020B0306030504020204" pitchFamily="34" charset="0"/>
                <a:cs typeface="Calibri Light"/>
                <a:sym typeface="Helvetica"/>
              </a:rPr>
              <a:t> Project Support</a:t>
            </a:r>
            <a:endParaRPr lang="en-US" sz="2800" dirty="0">
              <a:latin typeface="Open Sans Light" panose="020B0306030504020204" pitchFamily="34" charset="0"/>
              <a:cs typeface="Calibri Light"/>
              <a:sym typeface="Helvetica"/>
            </a:endParaRP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eaLnBrk="1" fontAlgn="auto" latinLnBrk="0" hangingPunct="1">
              <a:lnSpc>
                <a:spcPct val="100000"/>
              </a:lnSpc>
              <a:spcBef>
                <a:spcPts val="0"/>
              </a:spcBef>
              <a:spcAft>
                <a:spcPts val="750"/>
              </a:spcAft>
              <a:buClrTx/>
              <a:buSzPct val="100000"/>
              <a:buFontTx/>
              <a:buNone/>
              <a:tabLst/>
              <a:defRPr/>
            </a:pP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GAMBLING AND ENTERTAINMENT COMPANY 2</a:t>
            </a:r>
            <a:r>
              <a:rPr kumimoji="0" lang="hu-HU"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021-2022</a:t>
            </a:r>
            <a:endPar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rgbClr val="A0DC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23952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22AA1465-5E27-68C1-B127-D4A8424D09BF}"/>
              </a:ext>
            </a:extLst>
          </p:cNvPr>
          <p:cNvGraphicFramePr>
            <a:graphicFrameLocks noChangeAspect="1"/>
          </p:cNvGraphicFramePr>
          <p:nvPr>
            <p:custDataLst>
              <p:tags r:id="rId1"/>
            </p:custDataLst>
            <p:extLst>
              <p:ext uri="{D42A27DB-BD31-4B8C-83A1-F6EECF244321}">
                <p14:modId xmlns:p14="http://schemas.microsoft.com/office/powerpoint/2010/main" val="382907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6" name="think-cell data - do not delete" hidden="1">
                        <a:extLst>
                          <a:ext uri="{FF2B5EF4-FFF2-40B4-BE49-F238E27FC236}">
                            <a16:creationId xmlns:a16="http://schemas.microsoft.com/office/drawing/2014/main" id="{22AA1465-5E27-68C1-B127-D4A8424D09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153B96-43C3-4813-B8FF-FB525FDF383B}"/>
              </a:ext>
            </a:extLst>
          </p:cNvPr>
          <p:cNvSpPr>
            <a:spLocks noGrp="1"/>
          </p:cNvSpPr>
          <p:nvPr>
            <p:ph type="title"/>
          </p:nvPr>
        </p:nvSpPr>
        <p:spPr>
          <a:xfrm>
            <a:off x="463295" y="417911"/>
            <a:ext cx="11157205" cy="334099"/>
          </a:xfrm>
        </p:spPr>
        <p:txBody>
          <a:bodyPr vert="horz"/>
          <a:lstStyle/>
          <a:p>
            <a:pPr lvl="0">
              <a:defRPr/>
            </a:pPr>
            <a:r>
              <a:rPr lang="en-US" sz="2000" b="1" dirty="0">
                <a:latin typeface="Open Sans Bold" panose="020B0806030504020204" pitchFamily="34" charset="0"/>
                <a:ea typeface="Open Sans Bold" panose="020B0806030504020204" pitchFamily="34" charset="0"/>
                <a:cs typeface="Open Sans Bold" panose="020B0806030504020204" pitchFamily="34" charset="0"/>
              </a:rPr>
              <a:t>Deloitte </a:t>
            </a:r>
            <a:r>
              <a:rPr lang="en-US" sz="2000" dirty="0"/>
              <a:t>is the </a:t>
            </a:r>
            <a:r>
              <a:rPr lang="en-US" sz="2000"/>
              <a:t>world's </a:t>
            </a:r>
            <a:r>
              <a:rPr lang="en-US" sz="2000" dirty="0"/>
              <a:t>largest professional services firm</a:t>
            </a:r>
            <a:r>
              <a:rPr lang="en-US" sz="2000"/>
              <a:t>, with 744 offices and 410,000 professionals in more than 159 countries, all operating as </a:t>
            </a:r>
            <a:r>
              <a:rPr lang="hu-HU" sz="2000" dirty="0"/>
              <a:t>„</a:t>
            </a:r>
            <a:r>
              <a:rPr lang="en-US" sz="2000"/>
              <a:t>One Firm</a:t>
            </a:r>
            <a:r>
              <a:rPr lang="hu-HU" sz="2000" dirty="0"/>
              <a:t>”</a:t>
            </a:r>
            <a:endParaRPr lang="en-US" sz="2000" dirty="0"/>
          </a:p>
        </p:txBody>
      </p:sp>
      <p:sp>
        <p:nvSpPr>
          <p:cNvPr id="6" name="TextBox 5">
            <a:extLst>
              <a:ext uri="{FF2B5EF4-FFF2-40B4-BE49-F238E27FC236}">
                <a16:creationId xmlns:a16="http://schemas.microsoft.com/office/drawing/2014/main" id="{9E9D8D12-2678-72D1-BD68-D9A7566BF991}"/>
              </a:ext>
            </a:extLst>
          </p:cNvPr>
          <p:cNvSpPr txBox="1"/>
          <p:nvPr/>
        </p:nvSpPr>
        <p:spPr>
          <a:xfrm>
            <a:off x="463295" y="1701800"/>
            <a:ext cx="3413334" cy="4660900"/>
          </a:xfrm>
          <a:prstGeom prst="rect">
            <a:avLst/>
          </a:prstGeom>
          <a:noFill/>
        </p:spPr>
        <p:txBody>
          <a:bodyPr wrap="square" lIns="0" tIns="0" rIns="0" bIns="0" rtlCol="0">
            <a:noAutofit/>
          </a:bodyPr>
          <a:lstStyle/>
          <a:p>
            <a:pPr marL="0" marR="0" lvl="0" indent="0" algn="l" defTabSz="91440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will leverage the scale of Deloitte’s global network of member firms to service the United Nations and international NGOs. This is comprised of over </a:t>
            </a:r>
            <a:r>
              <a:rPr lang="en-US" sz="12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410</a:t>
            </a:r>
            <a:r>
              <a:rPr kumimoji="0" lang="en-US" sz="1200" b="0" i="0" u="none" strike="noStrike" kern="1200" cap="none" spc="0" normalizeH="0" baseline="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000 professionals, working out of 744 offices, in over 159 countries across the globe; all acting as “One Firm” to deliver a single standard of quality and service consistency throughout this engagement. These firms bring worldclass capabilities and high-quality service to clients, delivering the insights they need to address their most complex business challenges and make an impact that matters. </a:t>
            </a:r>
          </a:p>
          <a:p>
            <a:pPr marL="0" marR="0" lvl="0" indent="0" algn="l" defTabSz="91440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ur global network provides consulting, audit, tax, risk advisory and financial advisory services to a significant proportion of the world’s largest public and private enterprises; across all industries and sectors. This experience provides those within our network with rich insights into the latest trends, solutions, challenges and helps us to keep our clients informed and ahead of reputational, regulatory, operational, financial and cyber risks to name but a few.</a:t>
            </a:r>
          </a:p>
          <a:p>
            <a:pPr marL="0" marR="0" lvl="0" indent="0" algn="l" defTabSz="91440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84" name="Freeform 227">
            <a:extLst>
              <a:ext uri="{FF2B5EF4-FFF2-40B4-BE49-F238E27FC236}">
                <a16:creationId xmlns:a16="http://schemas.microsoft.com/office/drawing/2014/main" id="{5452AB76-91D0-E75B-3203-0B24DB2FC3F5}"/>
              </a:ext>
            </a:extLst>
          </p:cNvPr>
          <p:cNvSpPr>
            <a:spLocks noEditPoints="1"/>
          </p:cNvSpPr>
          <p:nvPr/>
        </p:nvSpPr>
        <p:spPr bwMode="auto">
          <a:xfrm>
            <a:off x="9437662" y="3690646"/>
            <a:ext cx="511498" cy="699524"/>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solidFill>
            <a:srgbClr val="D9D9D9">
              <a:alpha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513" name="object 15">
            <a:extLst>
              <a:ext uri="{FF2B5EF4-FFF2-40B4-BE49-F238E27FC236}">
                <a16:creationId xmlns:a16="http://schemas.microsoft.com/office/drawing/2014/main" id="{7E7BECC2-0E9C-E468-FF42-CA36B465E092}"/>
              </a:ext>
            </a:extLst>
          </p:cNvPr>
          <p:cNvSpPr txBox="1"/>
          <p:nvPr/>
        </p:nvSpPr>
        <p:spPr>
          <a:xfrm>
            <a:off x="4956026" y="2695729"/>
            <a:ext cx="620042" cy="487313"/>
          </a:xfrm>
          <a:prstGeom prst="rect">
            <a:avLst/>
          </a:prstGeom>
        </p:spPr>
        <p:txBody>
          <a:bodyPr vert="horz" wrap="none" lIns="0" tIns="0" rIns="0" bIns="0" rtlCol="0">
            <a:spAutoFit/>
          </a:bodyPr>
          <a:lstStyle/>
          <a:p>
            <a:pPr marL="12700"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14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2</a:t>
            </a:r>
            <a:r>
              <a:rPr kumimoji="0" lang="en-US" sz="2800" b="1" i="0" u="none" strike="noStrike" kern="1200" cap="none" spc="7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4</a:t>
            </a:r>
            <a:r>
              <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4</a:t>
            </a:r>
          </a:p>
          <a:p>
            <a:pPr marL="5588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5"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fi</a:t>
            </a:r>
            <a:r>
              <a:rPr kumimoji="0" lang="en-US" sz="900" b="0" i="0" u="none" strike="noStrike" kern="1200" cap="none" spc="-1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a:t>
            </a:r>
            <a:r>
              <a:rPr kumimoji="0" lang="en-US" sz="900" b="0" i="0" u="none" strike="noStrike" kern="1200" cap="none" spc="-2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t>
            </a:r>
            <a:r>
              <a:rPr kumimoji="0" lang="en-US" sz="900" b="0" i="0" u="none" strike="noStrike" kern="1200" cap="none" spc="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endPar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14" name="object 16">
            <a:extLst>
              <a:ext uri="{FF2B5EF4-FFF2-40B4-BE49-F238E27FC236}">
                <a16:creationId xmlns:a16="http://schemas.microsoft.com/office/drawing/2014/main" id="{512D9597-CD1E-8878-961F-420C3EBB1A95}"/>
              </a:ext>
            </a:extLst>
          </p:cNvPr>
          <p:cNvSpPr txBox="1"/>
          <p:nvPr/>
        </p:nvSpPr>
        <p:spPr>
          <a:xfrm>
            <a:off x="5012629" y="4003607"/>
            <a:ext cx="493084" cy="487313"/>
          </a:xfrm>
          <a:prstGeom prst="rect">
            <a:avLst/>
          </a:prstGeom>
        </p:spPr>
        <p:txBody>
          <a:bodyPr vert="horz" wrap="none" lIns="0" tIns="0" rIns="0" bIns="0" rtlCol="0">
            <a:spAutoFit/>
          </a:bodyPr>
          <a:lstStyle/>
          <a:p>
            <a:pPr marL="71755"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10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35</a:t>
            </a:r>
            <a:endPar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e</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endPar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25" name="object 27">
            <a:extLst>
              <a:ext uri="{FF2B5EF4-FFF2-40B4-BE49-F238E27FC236}">
                <a16:creationId xmlns:a16="http://schemas.microsoft.com/office/drawing/2014/main" id="{4B18801C-221C-CE57-81F5-910EBC07F086}"/>
              </a:ext>
            </a:extLst>
          </p:cNvPr>
          <p:cNvSpPr txBox="1"/>
          <p:nvPr/>
        </p:nvSpPr>
        <p:spPr>
          <a:xfrm>
            <a:off x="9416438" y="2695729"/>
            <a:ext cx="467757" cy="487313"/>
          </a:xfrm>
          <a:prstGeom prst="rect">
            <a:avLst/>
          </a:prstGeom>
        </p:spPr>
        <p:txBody>
          <a:bodyPr vert="horz" wrap="none" lIns="0" tIns="0" rIns="0" bIns="0" rtlCol="0">
            <a:spAutoFit/>
          </a:bodyPr>
          <a:lstStyle/>
          <a:p>
            <a:pPr marL="55880"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7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33</a:t>
            </a:r>
            <a:endPar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fi</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p>
        </p:txBody>
      </p:sp>
      <p:sp>
        <p:nvSpPr>
          <p:cNvPr id="526" name="object 28">
            <a:extLst>
              <a:ext uri="{FF2B5EF4-FFF2-40B4-BE49-F238E27FC236}">
                <a16:creationId xmlns:a16="http://schemas.microsoft.com/office/drawing/2014/main" id="{4E8CD23C-8BB5-AD93-3BF7-BF5807804ADE}"/>
              </a:ext>
            </a:extLst>
          </p:cNvPr>
          <p:cNvSpPr txBox="1"/>
          <p:nvPr/>
        </p:nvSpPr>
        <p:spPr>
          <a:xfrm>
            <a:off x="9413037" y="4003607"/>
            <a:ext cx="480260" cy="487313"/>
          </a:xfrm>
          <a:prstGeom prst="rect">
            <a:avLst/>
          </a:prstGeom>
        </p:spPr>
        <p:txBody>
          <a:bodyPr vert="horz" wrap="none" lIns="0" tIns="0" rIns="0" bIns="0" rtlCol="0">
            <a:spAutoFit/>
          </a:bodyPr>
          <a:lstStyle/>
          <a:p>
            <a:pPr marL="0"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20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1</a:t>
            </a:r>
            <a:r>
              <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4</a:t>
            </a:r>
          </a:p>
          <a:p>
            <a:pPr marL="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e</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endPar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29" name="object 31">
            <a:extLst>
              <a:ext uri="{FF2B5EF4-FFF2-40B4-BE49-F238E27FC236}">
                <a16:creationId xmlns:a16="http://schemas.microsoft.com/office/drawing/2014/main" id="{3F1EE5BB-FD6D-8B9C-BAF8-6D9B502D62CF}"/>
              </a:ext>
            </a:extLst>
          </p:cNvPr>
          <p:cNvSpPr txBox="1"/>
          <p:nvPr/>
        </p:nvSpPr>
        <p:spPr>
          <a:xfrm>
            <a:off x="10814222" y="2695729"/>
            <a:ext cx="595035" cy="487313"/>
          </a:xfrm>
          <a:prstGeom prst="rect">
            <a:avLst/>
          </a:prstGeom>
        </p:spPr>
        <p:txBody>
          <a:bodyPr vert="horz" wrap="none" lIns="0" tIns="0" rIns="0" bIns="0" rtlCol="0">
            <a:spAutoFit/>
          </a:bodyPr>
          <a:lstStyle/>
          <a:p>
            <a:pPr marL="12700"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18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1</a:t>
            </a:r>
            <a:r>
              <a:rPr kumimoji="0" lang="en-US" sz="2800" b="1" i="0" u="none" strike="noStrike" kern="1200" cap="none" spc="-6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a:t>
            </a:r>
            <a:r>
              <a:rPr kumimoji="0" lang="en-US" sz="2800" b="1" i="0" u="none" strike="noStrike" kern="1200" cap="none" spc="-1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3</a:t>
            </a:r>
            <a:endPar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46355"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fi</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p>
        </p:txBody>
      </p:sp>
      <p:sp>
        <p:nvSpPr>
          <p:cNvPr id="530" name="object 32">
            <a:extLst>
              <a:ext uri="{FF2B5EF4-FFF2-40B4-BE49-F238E27FC236}">
                <a16:creationId xmlns:a16="http://schemas.microsoft.com/office/drawing/2014/main" id="{FE6C71B1-A341-7594-AB04-AEDA49A56B17}"/>
              </a:ext>
            </a:extLst>
          </p:cNvPr>
          <p:cNvSpPr txBox="1"/>
          <p:nvPr/>
        </p:nvSpPr>
        <p:spPr>
          <a:xfrm>
            <a:off x="10851609" y="4003607"/>
            <a:ext cx="493084" cy="487313"/>
          </a:xfrm>
          <a:prstGeom prst="rect">
            <a:avLst/>
          </a:prstGeom>
        </p:spPr>
        <p:txBody>
          <a:bodyPr vert="horz" wrap="none" lIns="0" tIns="0" rIns="0" bIns="0" rtlCol="0">
            <a:spAutoFit/>
          </a:bodyPr>
          <a:lstStyle/>
          <a:p>
            <a:pPr marL="69850"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7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29</a:t>
            </a:r>
            <a:endPar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e</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endPar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90" name="object 35">
            <a:extLst>
              <a:ext uri="{FF2B5EF4-FFF2-40B4-BE49-F238E27FC236}">
                <a16:creationId xmlns:a16="http://schemas.microsoft.com/office/drawing/2014/main" id="{9CFF3001-4F6C-7178-6769-FDCB8F74F8CC}"/>
              </a:ext>
            </a:extLst>
          </p:cNvPr>
          <p:cNvSpPr/>
          <p:nvPr/>
        </p:nvSpPr>
        <p:spPr>
          <a:xfrm>
            <a:off x="4764302" y="5008738"/>
            <a:ext cx="1998295" cy="306478"/>
          </a:xfrm>
          <a:prstGeom prst="rect">
            <a:avLst/>
          </a:prstGeom>
          <a:noFill/>
        </p:spPr>
        <p:txBody>
          <a:bodyPr wrap="square" lIns="0" tIns="0" rIns="0" bIns="0" rtlCol="0" anchor="t"/>
          <a:lstStyle/>
          <a:p>
            <a:pPr marL="1270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D</a:t>
            </a:r>
            <a:r>
              <a:rPr kumimoji="0" lang="en-US" sz="1200" b="1" i="0" u="none" strike="noStrike" kern="0" cap="none" spc="-1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el</a:t>
            </a:r>
            <a:r>
              <a:rPr kumimoji="0" lang="en-US" sz="1200" b="1" i="0" u="none" strike="noStrike" kern="0" cap="none" spc="-5"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oi</a:t>
            </a:r>
            <a:r>
              <a:rPr kumimoji="0" lang="en-US" sz="1200" b="1" i="0" u="none" strike="noStrike" kern="0" cap="none" spc="1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a:t>
            </a:r>
            <a:r>
              <a:rPr kumimoji="0" lang="en-US" sz="1200" b="1" i="0" u="none" strike="noStrike" kern="0" cap="none" spc="-1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e</a:t>
            </a:r>
            <a:r>
              <a:rPr kumimoji="0" lang="en-US" sz="1200" b="1" i="0" u="none" strike="noStrike" kern="0" cap="none" spc="-2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a:t>
            </a:r>
            <a:r>
              <a:rPr kumimoji="0" lang="en-US" sz="1200" b="1" i="0" u="none" strike="noStrike" kern="0" cap="none" spc="-5"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t>
            </a:r>
            <a:r>
              <a:rPr kumimoji="0" lang="en-US" sz="1200" b="1" i="0" u="none" strike="noStrike" kern="0" cap="none" spc="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n</a:t>
            </a:r>
            <a:r>
              <a:rPr kumimoji="0" lang="en-US" sz="1200" b="1" i="0" u="none" strike="noStrike" kern="0" cap="none" spc="-2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a:t>
            </a:r>
            <a:r>
              <a:rPr kumimoji="0" lang="en-US" sz="1200" b="1" i="0" u="none" strike="noStrike" kern="0" cap="none" spc="-5"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nu</a:t>
            </a:r>
            <a:r>
              <a:rPr kumimoji="0" lang="en-US" sz="1200" b="1" i="0" u="none" strike="noStrike" kern="0" cap="none" spc="-15"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m</a:t>
            </a:r>
            <a:r>
              <a:rPr kumimoji="0" lang="en-US" sz="1200" b="1" i="0" u="none" strike="noStrike" kern="0" cap="none" spc="-5"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b</a:t>
            </a:r>
            <a:r>
              <a:rPr kumimoji="0" lang="en-US" sz="1200" b="1" i="0" u="none" strike="noStrike" kern="0" cap="none" spc="-1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e</a:t>
            </a:r>
            <a:r>
              <a:rPr kumimoji="0" lang="en-US" sz="1200" b="1" i="0" u="none" strike="noStrike" kern="0" cap="none" spc="5"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r</a:t>
            </a:r>
            <a:r>
              <a:rPr kumimoji="0" lang="en-US" sz="1200" b="1" i="0" u="none" strike="noStrike" kern="0" cap="none" spc="0" normalizeH="0" baseline="0">
                <a:ln>
                  <a:noFill/>
                </a:ln>
                <a:solidFill>
                  <a:srgbClr val="00B0F2"/>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s</a:t>
            </a:r>
          </a:p>
        </p:txBody>
      </p:sp>
      <p:sp>
        <p:nvSpPr>
          <p:cNvPr id="499" name="object 46">
            <a:extLst>
              <a:ext uri="{FF2B5EF4-FFF2-40B4-BE49-F238E27FC236}">
                <a16:creationId xmlns:a16="http://schemas.microsoft.com/office/drawing/2014/main" id="{E2F2058E-75B8-028C-7D4B-4F5C315F1EEC}"/>
              </a:ext>
            </a:extLst>
          </p:cNvPr>
          <p:cNvSpPr txBox="1"/>
          <p:nvPr/>
        </p:nvSpPr>
        <p:spPr>
          <a:xfrm>
            <a:off x="5625804" y="5386141"/>
            <a:ext cx="565728" cy="140137"/>
          </a:xfrm>
          <a:prstGeom prst="rect">
            <a:avLst/>
          </a:prstGeom>
        </p:spPr>
        <p:txBody>
          <a:bodyPr vert="horz" wrap="none" lIns="0" tIns="0" rIns="0" bIns="0" rtlCol="0">
            <a:spAutoFit/>
          </a:bodyPr>
          <a:lstStyle/>
          <a:p>
            <a:pPr marL="1270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a:t>
            </a:r>
            <a:r>
              <a:rPr kumimoji="0" lang="en-US" sz="900" b="0" i="0" u="none" strike="noStrike" kern="1200" cap="none" spc="-1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a:t>
            </a:r>
            <a:r>
              <a:rPr kumimoji="0" lang="en-US" sz="900" b="0" i="0" u="none" strike="noStrike" kern="1200" cap="none" spc="-2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0" normalizeH="0" baseline="0">
                <a:ln>
                  <a:noFill/>
                </a:ln>
                <a:solidFill>
                  <a:srgbClr val="1D1D1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an</a:t>
            </a:r>
            <a:endPar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00" name="object 47">
            <a:extLst>
              <a:ext uri="{FF2B5EF4-FFF2-40B4-BE49-F238E27FC236}">
                <a16:creationId xmlns:a16="http://schemas.microsoft.com/office/drawing/2014/main" id="{97B5826D-EE14-525F-EAC6-B1566563FA1B}"/>
              </a:ext>
            </a:extLst>
          </p:cNvPr>
          <p:cNvSpPr txBox="1"/>
          <p:nvPr/>
        </p:nvSpPr>
        <p:spPr>
          <a:xfrm>
            <a:off x="5625804" y="5529111"/>
            <a:ext cx="1336803" cy="731831"/>
          </a:xfrm>
          <a:prstGeom prst="rect">
            <a:avLst/>
          </a:prstGeom>
        </p:spPr>
        <p:txBody>
          <a:bodyPr vert="horz" wrap="square" lIns="0" tIns="0" rIns="0" bIns="0" rtlCol="0">
            <a:spAutoFit/>
          </a:bodyPr>
          <a:lstStyle/>
          <a:p>
            <a:pPr marL="12700" marR="0" lvl="0" indent="0" algn="l" defTabSz="914400" eaLnBrk="1" fontAlgn="auto" latinLnBrk="0" hangingPunct="1">
              <a:lnSpc>
                <a:spcPct val="100000"/>
              </a:lnSpc>
              <a:spcBef>
                <a:spcPts val="0"/>
              </a:spcBef>
              <a:spcAft>
                <a:spcPts val="0"/>
              </a:spcAft>
              <a:buClrTx/>
              <a:buSzTx/>
              <a:buFontTx/>
              <a:buNone/>
              <a:tabLst/>
              <a:defRPr/>
            </a:pPr>
            <a:r>
              <a:rPr lang="en-US" sz="2000" b="1" kern="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410</a:t>
            </a:r>
            <a:r>
              <a:rPr kumimoji="0" lang="en-US" sz="2000" b="1" i="0" u="none" strike="noStrike" kern="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00+ </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of</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na</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a:t>
            </a:r>
            <a:r>
              <a:rPr kumimoji="0" lang="en-US" sz="900" b="0" i="0" u="none" strike="noStrike" kern="1200" cap="none" spc="-1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d</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ve</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 </a:t>
            </a:r>
            <a:r>
              <a:rPr kumimoji="0" lang="en-US" sz="900" b="1" i="0" u="none" strike="noStrike" kern="1200" cap="none" spc="-3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1</a:t>
            </a:r>
            <a:r>
              <a:rPr kumimoji="0" lang="en-US" sz="900" b="1" i="0" u="none" strike="noStrike" kern="1200" cap="none" spc="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59</a:t>
            </a:r>
            <a:r>
              <a:rPr kumimoji="0" lang="en-US" sz="900" b="1" i="0" u="none" strike="noStrike" kern="1200" cap="none" spc="-20" normalizeH="0" baseline="0">
                <a:ln>
                  <a:noFill/>
                </a:ln>
                <a:solidFill>
                  <a:prstClr val="black"/>
                </a:solidFill>
                <a:effectLst/>
                <a:uLnTx/>
                <a:uFillTx/>
                <a:latin typeface="Verdana" panose="020B0604030504040204" pitchFamily="34" charset="0"/>
                <a:ea typeface="Verdana" panose="020B0604030504040204" pitchFamily="34" charset="0"/>
                <a:cs typeface="Open Sans SemiBold"/>
              </a:rPr>
              <a:t> </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e</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1" i="0" u="none" strike="noStrike" kern="1200" cap="none" spc="-4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7</a:t>
            </a:r>
            <a:r>
              <a:rPr kumimoji="0" lang="en-US" sz="900" b="1" i="0" u="none" strike="noStrike" kern="1200" cap="none" spc="2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4</a:t>
            </a:r>
            <a:r>
              <a:rPr kumimoji="0" lang="en-US" sz="900" b="1" i="0" u="none" strike="noStrike" kern="1200" cap="none" spc="-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4</a:t>
            </a:r>
            <a:r>
              <a:rPr kumimoji="0" lang="en-US" sz="900" b="1" i="0" u="none" strike="noStrike" kern="1200" cap="none" spc="-20" normalizeH="0" baseline="0">
                <a:ln>
                  <a:noFill/>
                </a:ln>
                <a:solidFill>
                  <a:prstClr val="black"/>
                </a:solidFill>
                <a:effectLst/>
                <a:uLnTx/>
                <a:uFillTx/>
                <a:latin typeface="Verdana" panose="020B0604030504040204" pitchFamily="34" charset="0"/>
                <a:ea typeface="Verdana" panose="020B0604030504040204" pitchFamily="34" charset="0"/>
                <a:cs typeface="Open Sans SemiBold"/>
              </a:rPr>
              <a:t>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fi</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a:t>
            </a:r>
          </a:p>
        </p:txBody>
      </p:sp>
      <p:sp>
        <p:nvSpPr>
          <p:cNvPr id="501" name="object 48">
            <a:extLst>
              <a:ext uri="{FF2B5EF4-FFF2-40B4-BE49-F238E27FC236}">
                <a16:creationId xmlns:a16="http://schemas.microsoft.com/office/drawing/2014/main" id="{1011B8C1-42A7-7FFA-97BC-57AC3B907A1A}"/>
              </a:ext>
            </a:extLst>
          </p:cNvPr>
          <p:cNvSpPr txBox="1"/>
          <p:nvPr/>
        </p:nvSpPr>
        <p:spPr>
          <a:xfrm>
            <a:off x="10372385" y="5394621"/>
            <a:ext cx="1126424" cy="415498"/>
          </a:xfrm>
          <a:prstGeom prst="rect">
            <a:avLst/>
          </a:prstGeom>
        </p:spPr>
        <p:txBody>
          <a:bodyPr vert="horz" wrap="square" lIns="0" tIns="0" rIns="0" bIns="0" rtlCol="0">
            <a:spAutoFit/>
          </a:bodyPr>
          <a:lstStyle/>
          <a:p>
            <a:pPr marL="12700" marR="508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1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a:t>
            </a:r>
            <a:r>
              <a:rPr kumimoji="0" lang="en-US" sz="900" b="0" i="0" u="none" strike="noStrike" kern="1200" cap="none" spc="1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f</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io</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l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a:t>
            </a:r>
            <a:r>
              <a:rPr kumimoji="0" lang="en-US" sz="900" b="0" i="0" u="none" strike="noStrike" kern="1200" cap="none" spc="3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i</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z</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ion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orld</a:t>
            </a:r>
          </a:p>
        </p:txBody>
      </p:sp>
      <p:sp>
        <p:nvSpPr>
          <p:cNvPr id="502" name="object 49">
            <a:extLst>
              <a:ext uri="{FF2B5EF4-FFF2-40B4-BE49-F238E27FC236}">
                <a16:creationId xmlns:a16="http://schemas.microsoft.com/office/drawing/2014/main" id="{09B0A106-C099-AC2E-939D-60022208A82D}"/>
              </a:ext>
            </a:extLst>
          </p:cNvPr>
          <p:cNvSpPr txBox="1"/>
          <p:nvPr/>
        </p:nvSpPr>
        <p:spPr>
          <a:xfrm>
            <a:off x="8009888" y="5390712"/>
            <a:ext cx="1317233" cy="903111"/>
          </a:xfrm>
          <a:prstGeom prst="rect">
            <a:avLst/>
          </a:prstGeom>
        </p:spPr>
        <p:txBody>
          <a:bodyPr vert="horz" wrap="square" lIns="0" tIns="0" rIns="0" bIns="0" rtlCol="0">
            <a:spAutoFit/>
          </a:bodyPr>
          <a:lstStyle/>
          <a:p>
            <a:pPr marL="12700" marR="20066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enue 2022 in</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x</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a:t>
            </a:r>
            <a:endPar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12700" marR="0" lvl="0" indent="0" algn="l" defTabSz="914400" eaLnBrk="1" fontAlgn="auto" latinLnBrk="0" hangingPunct="1">
              <a:lnSpc>
                <a:spcPct val="100000"/>
              </a:lnSpc>
              <a:spcBef>
                <a:spcPts val="0"/>
              </a:spcBef>
              <a:spcAft>
                <a:spcPts val="0"/>
              </a:spcAft>
              <a:buClrTx/>
              <a:buSzTx/>
              <a:buFontTx/>
              <a:buNone/>
              <a:tabLst/>
              <a:defRPr/>
            </a:pPr>
            <a:r>
              <a:rPr kumimoji="0" lang="en-US" sz="2000" b="1" i="0" u="none" strike="noStrike" kern="1200" cap="none" spc="-6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U</a:t>
            </a:r>
            <a:r>
              <a:rPr kumimoji="0" lang="en-US" sz="2000" b="1" i="0" u="none" strike="noStrike" kern="1200" cap="none" spc="-3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S</a:t>
            </a:r>
            <a:r>
              <a:rPr kumimoji="0" lang="en-US" sz="2000" b="1" i="0" u="none" strike="noStrike" kern="1200" cap="none" spc="-7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a:t>
            </a:r>
            <a:r>
              <a:rPr kumimoji="0" lang="en-US" sz="2000" b="1" i="0" u="none" strike="noStrike" kern="1200" cap="none" spc="-5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59.3</a:t>
            </a:r>
            <a:endParaRPr kumimoji="0" lang="en-US" sz="20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marR="0" lvl="0" indent="0" algn="l" defTabSz="914400" eaLnBrk="1" fontAlgn="auto" latinLnBrk="0" hangingPunct="1">
              <a:lnSpc>
                <a:spcPct val="100000"/>
              </a:lnSpc>
              <a:spcBef>
                <a:spcPts val="0"/>
              </a:spcBef>
              <a:spcAft>
                <a:spcPts val="0"/>
              </a:spcAft>
              <a:buClrTx/>
              <a:buSzTx/>
              <a:buFontTx/>
              <a:buNone/>
              <a:tabLst/>
              <a:defRPr/>
            </a:pPr>
            <a:r>
              <a:rPr kumimoji="0" lang="en-US" sz="2000" b="1" i="0" u="none" strike="noStrike" kern="1200" cap="none" spc="-3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b</a:t>
            </a:r>
            <a:r>
              <a:rPr kumimoji="0" lang="en-US" sz="2000" b="1" i="0" u="none" strike="noStrike" kern="1200" cap="none" spc="-4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ll</a:t>
            </a:r>
            <a:r>
              <a:rPr kumimoji="0" lang="en-US" sz="2000" b="1" i="0" u="none" strike="noStrike" kern="1200" cap="none" spc="-4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t>
            </a:r>
            <a:r>
              <a:rPr kumimoji="0" lang="en-US" sz="2000" b="1" i="0" u="none" strike="noStrike" kern="1200" cap="none" spc="-5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o</a:t>
            </a:r>
            <a:r>
              <a:rPr kumimoji="0" lang="en-US" sz="2000" b="1" i="0" u="none" strike="noStrike" kern="1200" cap="none" spc="-1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n</a:t>
            </a:r>
            <a:endParaRPr kumimoji="0" lang="en-US" sz="24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grpSp>
        <p:nvGrpSpPr>
          <p:cNvPr id="20" name="Graphic 4">
            <a:extLst>
              <a:ext uri="{FF2B5EF4-FFF2-40B4-BE49-F238E27FC236}">
                <a16:creationId xmlns:a16="http://schemas.microsoft.com/office/drawing/2014/main" id="{5D8F504C-B8FD-2BE9-0353-4E8177E696F5}"/>
              </a:ext>
            </a:extLst>
          </p:cNvPr>
          <p:cNvGrpSpPr>
            <a:grpSpLocks noChangeAspect="1"/>
          </p:cNvGrpSpPr>
          <p:nvPr/>
        </p:nvGrpSpPr>
        <p:grpSpPr>
          <a:xfrm>
            <a:off x="5119468" y="2285747"/>
            <a:ext cx="293158" cy="234133"/>
            <a:chOff x="1589177" y="2466933"/>
            <a:chExt cx="213423" cy="170452"/>
          </a:xfrm>
          <a:solidFill>
            <a:srgbClr val="00B0F2"/>
          </a:solidFill>
        </p:grpSpPr>
        <p:sp>
          <p:nvSpPr>
            <p:cNvPr id="22" name="Graphic 4">
              <a:extLst>
                <a:ext uri="{FF2B5EF4-FFF2-40B4-BE49-F238E27FC236}">
                  <a16:creationId xmlns:a16="http://schemas.microsoft.com/office/drawing/2014/main" id="{9D1920BC-8B6F-BAA6-D7BB-2D122A22BBF9}"/>
                </a:ext>
              </a:extLst>
            </p:cNvPr>
            <p:cNvSpPr/>
            <p:nvPr/>
          </p:nvSpPr>
          <p:spPr>
            <a:xfrm>
              <a:off x="1589177" y="2466933"/>
              <a:ext cx="213423" cy="170452"/>
            </a:xfrm>
            <a:custGeom>
              <a:avLst/>
              <a:gdLst>
                <a:gd name="connsiteX0" fmla="*/ 207034 w 213423"/>
                <a:gd name="connsiteY0" fmla="*/ 14045 h 170452"/>
                <a:gd name="connsiteX1" fmla="*/ 170611 w 213423"/>
                <a:gd name="connsiteY1" fmla="*/ 14045 h 170452"/>
                <a:gd name="connsiteX2" fmla="*/ 170611 w 213423"/>
                <a:gd name="connsiteY2" fmla="*/ 6384 h 170452"/>
                <a:gd name="connsiteX3" fmla="*/ 164221 w 213423"/>
                <a:gd name="connsiteY3" fmla="*/ 0 h 170452"/>
                <a:gd name="connsiteX4" fmla="*/ 49202 w 213423"/>
                <a:gd name="connsiteY4" fmla="*/ 0 h 170452"/>
                <a:gd name="connsiteX5" fmla="*/ 42813 w 213423"/>
                <a:gd name="connsiteY5" fmla="*/ 6384 h 170452"/>
                <a:gd name="connsiteX6" fmla="*/ 42813 w 213423"/>
                <a:gd name="connsiteY6" fmla="*/ 14045 h 170452"/>
                <a:gd name="connsiteX7" fmla="*/ 6390 w 213423"/>
                <a:gd name="connsiteY7" fmla="*/ 14045 h 170452"/>
                <a:gd name="connsiteX8" fmla="*/ 0 w 213423"/>
                <a:gd name="connsiteY8" fmla="*/ 20429 h 170452"/>
                <a:gd name="connsiteX9" fmla="*/ 0 w 213423"/>
                <a:gd name="connsiteY9" fmla="*/ 164068 h 170452"/>
                <a:gd name="connsiteX10" fmla="*/ 6390 w 213423"/>
                <a:gd name="connsiteY10" fmla="*/ 170452 h 170452"/>
                <a:gd name="connsiteX11" fmla="*/ 207034 w 213423"/>
                <a:gd name="connsiteY11" fmla="*/ 170452 h 170452"/>
                <a:gd name="connsiteX12" fmla="*/ 213424 w 213423"/>
                <a:gd name="connsiteY12" fmla="*/ 164068 h 170452"/>
                <a:gd name="connsiteX13" fmla="*/ 213424 w 213423"/>
                <a:gd name="connsiteY13" fmla="*/ 20429 h 170452"/>
                <a:gd name="connsiteX14" fmla="*/ 207034 w 213423"/>
                <a:gd name="connsiteY14" fmla="*/ 14045 h 170452"/>
                <a:gd name="connsiteX15" fmla="*/ 98405 w 213423"/>
                <a:gd name="connsiteY15" fmla="*/ 157684 h 170452"/>
                <a:gd name="connsiteX16" fmla="*/ 98405 w 213423"/>
                <a:gd name="connsiteY16" fmla="*/ 112997 h 170452"/>
                <a:gd name="connsiteX17" fmla="*/ 114380 w 213423"/>
                <a:gd name="connsiteY17" fmla="*/ 112997 h 170452"/>
                <a:gd name="connsiteX18" fmla="*/ 114380 w 213423"/>
                <a:gd name="connsiteY18" fmla="*/ 157684 h 170452"/>
                <a:gd name="connsiteX19" fmla="*/ 98405 w 213423"/>
                <a:gd name="connsiteY19" fmla="*/ 157684 h 170452"/>
                <a:gd name="connsiteX20" fmla="*/ 200644 w 213423"/>
                <a:gd name="connsiteY20" fmla="*/ 157684 h 170452"/>
                <a:gd name="connsiteX21" fmla="*/ 127160 w 213423"/>
                <a:gd name="connsiteY21" fmla="*/ 157684 h 170452"/>
                <a:gd name="connsiteX22" fmla="*/ 127160 w 213423"/>
                <a:gd name="connsiteY22" fmla="*/ 106613 h 170452"/>
                <a:gd name="connsiteX23" fmla="*/ 120770 w 213423"/>
                <a:gd name="connsiteY23" fmla="*/ 100229 h 170452"/>
                <a:gd name="connsiteX24" fmla="*/ 92015 w 213423"/>
                <a:gd name="connsiteY24" fmla="*/ 100229 h 170452"/>
                <a:gd name="connsiteX25" fmla="*/ 85625 w 213423"/>
                <a:gd name="connsiteY25" fmla="*/ 106613 h 170452"/>
                <a:gd name="connsiteX26" fmla="*/ 85625 w 213423"/>
                <a:gd name="connsiteY26" fmla="*/ 157684 h 170452"/>
                <a:gd name="connsiteX27" fmla="*/ 12141 w 213423"/>
                <a:gd name="connsiteY27" fmla="*/ 157684 h 170452"/>
                <a:gd name="connsiteX28" fmla="*/ 12141 w 213423"/>
                <a:gd name="connsiteY28" fmla="*/ 26813 h 170452"/>
                <a:gd name="connsiteX29" fmla="*/ 48563 w 213423"/>
                <a:gd name="connsiteY29" fmla="*/ 26813 h 170452"/>
                <a:gd name="connsiteX30" fmla="*/ 54953 w 213423"/>
                <a:gd name="connsiteY30" fmla="*/ 20429 h 170452"/>
                <a:gd name="connsiteX31" fmla="*/ 54953 w 213423"/>
                <a:gd name="connsiteY31" fmla="*/ 12768 h 170452"/>
                <a:gd name="connsiteX32" fmla="*/ 157192 w 213423"/>
                <a:gd name="connsiteY32" fmla="*/ 12768 h 170452"/>
                <a:gd name="connsiteX33" fmla="*/ 157192 w 213423"/>
                <a:gd name="connsiteY33" fmla="*/ 20429 h 170452"/>
                <a:gd name="connsiteX34" fmla="*/ 163582 w 213423"/>
                <a:gd name="connsiteY34" fmla="*/ 26813 h 170452"/>
                <a:gd name="connsiteX35" fmla="*/ 200005 w 213423"/>
                <a:gd name="connsiteY35" fmla="*/ 26813 h 170452"/>
                <a:gd name="connsiteX36" fmla="*/ 200644 w 213423"/>
                <a:gd name="connsiteY36" fmla="*/ 157684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3423" h="170452">
                  <a:moveTo>
                    <a:pt x="207034" y="14045"/>
                  </a:moveTo>
                  <a:lnTo>
                    <a:pt x="170611" y="14045"/>
                  </a:lnTo>
                  <a:lnTo>
                    <a:pt x="170611" y="6384"/>
                  </a:lnTo>
                  <a:cubicBezTo>
                    <a:pt x="170611" y="2554"/>
                    <a:pt x="168055" y="0"/>
                    <a:pt x="164221" y="0"/>
                  </a:cubicBezTo>
                  <a:lnTo>
                    <a:pt x="49202" y="0"/>
                  </a:lnTo>
                  <a:cubicBezTo>
                    <a:pt x="45369" y="0"/>
                    <a:pt x="42813" y="2554"/>
                    <a:pt x="42813" y="6384"/>
                  </a:cubicBezTo>
                  <a:lnTo>
                    <a:pt x="42813" y="14045"/>
                  </a:lnTo>
                  <a:lnTo>
                    <a:pt x="6390" y="14045"/>
                  </a:lnTo>
                  <a:cubicBezTo>
                    <a:pt x="2556" y="14045"/>
                    <a:pt x="0" y="16598"/>
                    <a:pt x="0" y="20429"/>
                  </a:cubicBezTo>
                  <a:lnTo>
                    <a:pt x="0" y="164068"/>
                  </a:lnTo>
                  <a:cubicBezTo>
                    <a:pt x="0" y="167899"/>
                    <a:pt x="2556" y="170452"/>
                    <a:pt x="6390" y="170452"/>
                  </a:cubicBezTo>
                  <a:lnTo>
                    <a:pt x="207034" y="170452"/>
                  </a:lnTo>
                  <a:cubicBezTo>
                    <a:pt x="210868" y="170452"/>
                    <a:pt x="213424" y="167899"/>
                    <a:pt x="213424" y="164068"/>
                  </a:cubicBezTo>
                  <a:lnTo>
                    <a:pt x="213424" y="20429"/>
                  </a:lnTo>
                  <a:cubicBezTo>
                    <a:pt x="213424" y="17237"/>
                    <a:pt x="210868" y="14045"/>
                    <a:pt x="207034" y="14045"/>
                  </a:cubicBezTo>
                  <a:close/>
                  <a:moveTo>
                    <a:pt x="98405" y="157684"/>
                  </a:moveTo>
                  <a:lnTo>
                    <a:pt x="98405" y="112997"/>
                  </a:lnTo>
                  <a:lnTo>
                    <a:pt x="114380" y="112997"/>
                  </a:lnTo>
                  <a:lnTo>
                    <a:pt x="114380" y="157684"/>
                  </a:lnTo>
                  <a:lnTo>
                    <a:pt x="98405" y="157684"/>
                  </a:lnTo>
                  <a:close/>
                  <a:moveTo>
                    <a:pt x="200644" y="157684"/>
                  </a:moveTo>
                  <a:lnTo>
                    <a:pt x="127160" y="157684"/>
                  </a:lnTo>
                  <a:lnTo>
                    <a:pt x="127160" y="106613"/>
                  </a:lnTo>
                  <a:cubicBezTo>
                    <a:pt x="127160" y="102782"/>
                    <a:pt x="124604" y="100229"/>
                    <a:pt x="120770" y="100229"/>
                  </a:cubicBezTo>
                  <a:lnTo>
                    <a:pt x="92015" y="100229"/>
                  </a:lnTo>
                  <a:cubicBezTo>
                    <a:pt x="88181" y="100229"/>
                    <a:pt x="85625" y="102782"/>
                    <a:pt x="85625" y="106613"/>
                  </a:cubicBezTo>
                  <a:lnTo>
                    <a:pt x="85625" y="157684"/>
                  </a:lnTo>
                  <a:lnTo>
                    <a:pt x="12141" y="157684"/>
                  </a:lnTo>
                  <a:lnTo>
                    <a:pt x="12141" y="26813"/>
                  </a:lnTo>
                  <a:lnTo>
                    <a:pt x="48563" y="26813"/>
                  </a:lnTo>
                  <a:cubicBezTo>
                    <a:pt x="52397" y="26813"/>
                    <a:pt x="54953" y="24259"/>
                    <a:pt x="54953" y="20429"/>
                  </a:cubicBezTo>
                  <a:lnTo>
                    <a:pt x="54953" y="12768"/>
                  </a:lnTo>
                  <a:lnTo>
                    <a:pt x="157192" y="12768"/>
                  </a:lnTo>
                  <a:lnTo>
                    <a:pt x="157192" y="20429"/>
                  </a:lnTo>
                  <a:cubicBezTo>
                    <a:pt x="157192" y="24259"/>
                    <a:pt x="159749" y="26813"/>
                    <a:pt x="163582" y="26813"/>
                  </a:cubicBezTo>
                  <a:lnTo>
                    <a:pt x="200005" y="26813"/>
                  </a:lnTo>
                  <a:lnTo>
                    <a:pt x="200644" y="157684"/>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23" name="Graphic 4">
              <a:extLst>
                <a:ext uri="{FF2B5EF4-FFF2-40B4-BE49-F238E27FC236}">
                  <a16:creationId xmlns:a16="http://schemas.microsoft.com/office/drawing/2014/main" id="{0E9E3CF4-A11A-D2AA-E2DE-5363EC5AB712}"/>
                </a:ext>
              </a:extLst>
            </p:cNvPr>
            <p:cNvSpPr/>
            <p:nvPr/>
          </p:nvSpPr>
          <p:spPr>
            <a:xfrm>
              <a:off x="1761066" y="2595863"/>
              <a:ext cx="12779" cy="12644"/>
            </a:xfrm>
            <a:custGeom>
              <a:avLst/>
              <a:gdLst>
                <a:gd name="connsiteX0" fmla="*/ 1917 w 12779"/>
                <a:gd name="connsiteY0" fmla="*/ 10879 h 12644"/>
                <a:gd name="connsiteX1" fmla="*/ 3834 w 12779"/>
                <a:gd name="connsiteY1" fmla="*/ 12155 h 12644"/>
                <a:gd name="connsiteX2" fmla="*/ 12141 w 12779"/>
                <a:gd name="connsiteY2" fmla="*/ 8963 h 12644"/>
                <a:gd name="connsiteX3" fmla="*/ 12780 w 12779"/>
                <a:gd name="connsiteY3" fmla="*/ 6410 h 12644"/>
                <a:gd name="connsiteX4" fmla="*/ 12141 w 12779"/>
                <a:gd name="connsiteY4" fmla="*/ 3856 h 12644"/>
                <a:gd name="connsiteX5" fmla="*/ 10863 w 12779"/>
                <a:gd name="connsiteY5" fmla="*/ 1941 h 12644"/>
                <a:gd name="connsiteX6" fmla="*/ 3834 w 12779"/>
                <a:gd name="connsiteY6" fmla="*/ 664 h 12644"/>
                <a:gd name="connsiteX7" fmla="*/ 1917 w 12779"/>
                <a:gd name="connsiteY7" fmla="*/ 1941 h 12644"/>
                <a:gd name="connsiteX8" fmla="*/ 639 w 12779"/>
                <a:gd name="connsiteY8" fmla="*/ 3856 h 12644"/>
                <a:gd name="connsiteX9" fmla="*/ 0 w 12779"/>
                <a:gd name="connsiteY9" fmla="*/ 6410 h 12644"/>
                <a:gd name="connsiteX10" fmla="*/ 1917 w 12779"/>
                <a:gd name="connsiteY10" fmla="*/ 10879 h 12644"/>
                <a:gd name="connsiteX11" fmla="*/ 1917 w 12779"/>
                <a:gd name="connsiteY11" fmla="*/ 10879 h 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44">
                  <a:moveTo>
                    <a:pt x="1917" y="10879"/>
                  </a:moveTo>
                  <a:cubicBezTo>
                    <a:pt x="2556" y="11517"/>
                    <a:pt x="3195" y="12155"/>
                    <a:pt x="3834" y="12155"/>
                  </a:cubicBezTo>
                  <a:cubicBezTo>
                    <a:pt x="7029" y="13432"/>
                    <a:pt x="10863" y="12155"/>
                    <a:pt x="12141" y="8963"/>
                  </a:cubicBezTo>
                  <a:cubicBezTo>
                    <a:pt x="12780" y="8325"/>
                    <a:pt x="12780" y="7687"/>
                    <a:pt x="12780" y="6410"/>
                  </a:cubicBezTo>
                  <a:cubicBezTo>
                    <a:pt x="12780" y="5771"/>
                    <a:pt x="12780" y="4495"/>
                    <a:pt x="12141" y="3856"/>
                  </a:cubicBezTo>
                  <a:cubicBezTo>
                    <a:pt x="12141" y="3218"/>
                    <a:pt x="11502" y="2579"/>
                    <a:pt x="10863" y="1941"/>
                  </a:cubicBezTo>
                  <a:cubicBezTo>
                    <a:pt x="8946" y="26"/>
                    <a:pt x="6390" y="-613"/>
                    <a:pt x="3834" y="664"/>
                  </a:cubicBezTo>
                  <a:cubicBezTo>
                    <a:pt x="3195" y="1303"/>
                    <a:pt x="2556" y="1303"/>
                    <a:pt x="1917" y="1941"/>
                  </a:cubicBezTo>
                  <a:cubicBezTo>
                    <a:pt x="1278" y="2579"/>
                    <a:pt x="639" y="3218"/>
                    <a:pt x="639" y="3856"/>
                  </a:cubicBezTo>
                  <a:cubicBezTo>
                    <a:pt x="0" y="4495"/>
                    <a:pt x="0" y="5771"/>
                    <a:pt x="0" y="6410"/>
                  </a:cubicBezTo>
                  <a:cubicBezTo>
                    <a:pt x="0" y="8325"/>
                    <a:pt x="639" y="9602"/>
                    <a:pt x="1917" y="10879"/>
                  </a:cubicBezTo>
                  <a:lnTo>
                    <a:pt x="1917" y="10879"/>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24" name="Graphic 4">
              <a:extLst>
                <a:ext uri="{FF2B5EF4-FFF2-40B4-BE49-F238E27FC236}">
                  <a16:creationId xmlns:a16="http://schemas.microsoft.com/office/drawing/2014/main" id="{ECDC78EE-E157-BB9C-C2C3-469A6C597460}"/>
                </a:ext>
              </a:extLst>
            </p:cNvPr>
            <p:cNvSpPr/>
            <p:nvPr/>
          </p:nvSpPr>
          <p:spPr>
            <a:xfrm>
              <a:off x="1732461" y="2567161"/>
              <a:ext cx="12630" cy="12608"/>
            </a:xfrm>
            <a:custGeom>
              <a:avLst/>
              <a:gdLst>
                <a:gd name="connsiteX0" fmla="*/ 10075 w 12630"/>
                <a:gd name="connsiteY0" fmla="*/ 1277 h 12608"/>
                <a:gd name="connsiteX1" fmla="*/ 8797 w 12630"/>
                <a:gd name="connsiteY1" fmla="*/ 638 h 12608"/>
                <a:gd name="connsiteX2" fmla="*/ 7519 w 12630"/>
                <a:gd name="connsiteY2" fmla="*/ 0 h 12608"/>
                <a:gd name="connsiteX3" fmla="*/ 3685 w 12630"/>
                <a:gd name="connsiteY3" fmla="*/ 638 h 12608"/>
                <a:gd name="connsiteX4" fmla="*/ 2407 w 12630"/>
                <a:gd name="connsiteY4" fmla="*/ 1277 h 12608"/>
                <a:gd name="connsiteX5" fmla="*/ 1768 w 12630"/>
                <a:gd name="connsiteY5" fmla="*/ 1915 h 12608"/>
                <a:gd name="connsiteX6" fmla="*/ 490 w 12630"/>
                <a:gd name="connsiteY6" fmla="*/ 3830 h 12608"/>
                <a:gd name="connsiteX7" fmla="*/ 3685 w 12630"/>
                <a:gd name="connsiteY7" fmla="*/ 12130 h 12608"/>
                <a:gd name="connsiteX8" fmla="*/ 8797 w 12630"/>
                <a:gd name="connsiteY8" fmla="*/ 12130 h 12608"/>
                <a:gd name="connsiteX9" fmla="*/ 10714 w 12630"/>
                <a:gd name="connsiteY9" fmla="*/ 10853 h 12608"/>
                <a:gd name="connsiteX10" fmla="*/ 12631 w 12630"/>
                <a:gd name="connsiteY10" fmla="*/ 6384 h 12608"/>
                <a:gd name="connsiteX11" fmla="*/ 10714 w 12630"/>
                <a:gd name="connsiteY11" fmla="*/ 1915 h 12608"/>
                <a:gd name="connsiteX12" fmla="*/ 10075 w 12630"/>
                <a:gd name="connsiteY12" fmla="*/ 1277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 h="12608">
                  <a:moveTo>
                    <a:pt x="10075" y="1277"/>
                  </a:moveTo>
                  <a:lnTo>
                    <a:pt x="8797" y="638"/>
                  </a:lnTo>
                  <a:lnTo>
                    <a:pt x="7519" y="0"/>
                  </a:lnTo>
                  <a:cubicBezTo>
                    <a:pt x="6241" y="0"/>
                    <a:pt x="4963" y="0"/>
                    <a:pt x="3685" y="638"/>
                  </a:cubicBezTo>
                  <a:lnTo>
                    <a:pt x="2407" y="1277"/>
                  </a:lnTo>
                  <a:lnTo>
                    <a:pt x="1768" y="1915"/>
                  </a:lnTo>
                  <a:cubicBezTo>
                    <a:pt x="1129" y="2554"/>
                    <a:pt x="490" y="3192"/>
                    <a:pt x="490" y="3830"/>
                  </a:cubicBezTo>
                  <a:cubicBezTo>
                    <a:pt x="-788" y="7022"/>
                    <a:pt x="490" y="10853"/>
                    <a:pt x="3685" y="12130"/>
                  </a:cubicBezTo>
                  <a:cubicBezTo>
                    <a:pt x="4963" y="12768"/>
                    <a:pt x="6880" y="12768"/>
                    <a:pt x="8797" y="12130"/>
                  </a:cubicBezTo>
                  <a:cubicBezTo>
                    <a:pt x="9436" y="12130"/>
                    <a:pt x="10075" y="11491"/>
                    <a:pt x="10714" y="10853"/>
                  </a:cubicBezTo>
                  <a:cubicBezTo>
                    <a:pt x="11992" y="9576"/>
                    <a:pt x="12631" y="8299"/>
                    <a:pt x="12631" y="6384"/>
                  </a:cubicBezTo>
                  <a:cubicBezTo>
                    <a:pt x="12631" y="4469"/>
                    <a:pt x="11992" y="3192"/>
                    <a:pt x="10714" y="1915"/>
                  </a:cubicBezTo>
                  <a:cubicBezTo>
                    <a:pt x="10714" y="1277"/>
                    <a:pt x="10075" y="1277"/>
                    <a:pt x="10075"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25" name="Graphic 4">
              <a:extLst>
                <a:ext uri="{FF2B5EF4-FFF2-40B4-BE49-F238E27FC236}">
                  <a16:creationId xmlns:a16="http://schemas.microsoft.com/office/drawing/2014/main" id="{00F8451A-885E-D160-70C4-362FB0CBF538}"/>
                </a:ext>
              </a:extLst>
            </p:cNvPr>
            <p:cNvSpPr/>
            <p:nvPr/>
          </p:nvSpPr>
          <p:spPr>
            <a:xfrm>
              <a:off x="1761066" y="2567161"/>
              <a:ext cx="12779" cy="12768"/>
            </a:xfrm>
            <a:custGeom>
              <a:avLst/>
              <a:gdLst>
                <a:gd name="connsiteX0" fmla="*/ 6390 w 12779"/>
                <a:gd name="connsiteY0" fmla="*/ 12768 h 12768"/>
                <a:gd name="connsiteX1" fmla="*/ 12141 w 12779"/>
                <a:gd name="connsiteY1" fmla="*/ 8938 h 12768"/>
                <a:gd name="connsiteX2" fmla="*/ 12780 w 12779"/>
                <a:gd name="connsiteY2" fmla="*/ 6384 h 12768"/>
                <a:gd name="connsiteX3" fmla="*/ 10863 w 12779"/>
                <a:gd name="connsiteY3" fmla="*/ 1915 h 12768"/>
                <a:gd name="connsiteX4" fmla="*/ 1917 w 12779"/>
                <a:gd name="connsiteY4" fmla="*/ 1915 h 12768"/>
                <a:gd name="connsiteX5" fmla="*/ 1917 w 12779"/>
                <a:gd name="connsiteY5" fmla="*/ 1915 h 12768"/>
                <a:gd name="connsiteX6" fmla="*/ 0 w 12779"/>
                <a:gd name="connsiteY6" fmla="*/ 6384 h 12768"/>
                <a:gd name="connsiteX7" fmla="*/ 6390 w 12779"/>
                <a:gd name="connsiteY7" fmla="*/ 12768 h 12768"/>
                <a:gd name="connsiteX8" fmla="*/ 6390 w 12779"/>
                <a:gd name="connsiteY8"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6390" y="12768"/>
                  </a:moveTo>
                  <a:cubicBezTo>
                    <a:pt x="8946" y="12768"/>
                    <a:pt x="11502" y="11491"/>
                    <a:pt x="12141" y="8938"/>
                  </a:cubicBezTo>
                  <a:cubicBezTo>
                    <a:pt x="12780" y="8299"/>
                    <a:pt x="12780" y="7022"/>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26" name="Graphic 4">
              <a:extLst>
                <a:ext uri="{FF2B5EF4-FFF2-40B4-BE49-F238E27FC236}">
                  <a16:creationId xmlns:a16="http://schemas.microsoft.com/office/drawing/2014/main" id="{4CB77383-A3B0-262D-51AA-0A10FB75E947}"/>
                </a:ext>
              </a:extLst>
            </p:cNvPr>
            <p:cNvSpPr/>
            <p:nvPr/>
          </p:nvSpPr>
          <p:spPr>
            <a:xfrm>
              <a:off x="1732311"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27" name="Graphic 4">
              <a:extLst>
                <a:ext uri="{FF2B5EF4-FFF2-40B4-BE49-F238E27FC236}">
                  <a16:creationId xmlns:a16="http://schemas.microsoft.com/office/drawing/2014/main" id="{CA4B1430-AA85-EF11-2C90-54056885A8DC}"/>
                </a:ext>
              </a:extLst>
            </p:cNvPr>
            <p:cNvSpPr/>
            <p:nvPr/>
          </p:nvSpPr>
          <p:spPr>
            <a:xfrm>
              <a:off x="1617442" y="2567161"/>
              <a:ext cx="12630" cy="12768"/>
            </a:xfrm>
            <a:custGeom>
              <a:avLst/>
              <a:gdLst>
                <a:gd name="connsiteX0" fmla="*/ 1768 w 12630"/>
                <a:gd name="connsiteY0" fmla="*/ 1915 h 12768"/>
                <a:gd name="connsiteX1" fmla="*/ 490 w 12630"/>
                <a:gd name="connsiteY1" fmla="*/ 3830 h 12768"/>
                <a:gd name="connsiteX2" fmla="*/ 3685 w 12630"/>
                <a:gd name="connsiteY2" fmla="*/ 12130 h 12768"/>
                <a:gd name="connsiteX3" fmla="*/ 6241 w 12630"/>
                <a:gd name="connsiteY3" fmla="*/ 12768 h 12768"/>
                <a:gd name="connsiteX4" fmla="*/ 10714 w 12630"/>
                <a:gd name="connsiteY4" fmla="*/ 10853 h 12768"/>
                <a:gd name="connsiteX5" fmla="*/ 12631 w 12630"/>
                <a:gd name="connsiteY5" fmla="*/ 6384 h 12768"/>
                <a:gd name="connsiteX6" fmla="*/ 10714 w 12630"/>
                <a:gd name="connsiteY6" fmla="*/ 1915 h 12768"/>
                <a:gd name="connsiteX7" fmla="*/ 1768 w 12630"/>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8">
                  <a:moveTo>
                    <a:pt x="1768" y="1915"/>
                  </a:moveTo>
                  <a:cubicBezTo>
                    <a:pt x="1129" y="2554"/>
                    <a:pt x="490" y="3192"/>
                    <a:pt x="490" y="3830"/>
                  </a:cubicBezTo>
                  <a:cubicBezTo>
                    <a:pt x="-788" y="7022"/>
                    <a:pt x="490" y="10853"/>
                    <a:pt x="3685" y="12130"/>
                  </a:cubicBezTo>
                  <a:cubicBezTo>
                    <a:pt x="4324" y="12768"/>
                    <a:pt x="5602" y="12768"/>
                    <a:pt x="6241" y="12768"/>
                  </a:cubicBezTo>
                  <a:cubicBezTo>
                    <a:pt x="8158" y="12768"/>
                    <a:pt x="9436" y="12130"/>
                    <a:pt x="10714" y="10853"/>
                  </a:cubicBezTo>
                  <a:cubicBezTo>
                    <a:pt x="11992" y="9576"/>
                    <a:pt x="12631" y="8299"/>
                    <a:pt x="12631" y="6384"/>
                  </a:cubicBezTo>
                  <a:cubicBezTo>
                    <a:pt x="12631" y="4469"/>
                    <a:pt x="11992" y="3192"/>
                    <a:pt x="10714" y="1915"/>
                  </a:cubicBezTo>
                  <a:cubicBezTo>
                    <a:pt x="8797" y="-638"/>
                    <a:pt x="4324" y="-638"/>
                    <a:pt x="1768"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28" name="Graphic 4">
              <a:extLst>
                <a:ext uri="{FF2B5EF4-FFF2-40B4-BE49-F238E27FC236}">
                  <a16:creationId xmlns:a16="http://schemas.microsoft.com/office/drawing/2014/main" id="{381A227A-DD15-8ABF-D21A-42BC2D84582E}"/>
                </a:ext>
              </a:extLst>
            </p:cNvPr>
            <p:cNvSpPr/>
            <p:nvPr/>
          </p:nvSpPr>
          <p:spPr>
            <a:xfrm>
              <a:off x="1646686" y="2595863"/>
              <a:ext cx="12779" cy="12793"/>
            </a:xfrm>
            <a:custGeom>
              <a:avLst/>
              <a:gdLst>
                <a:gd name="connsiteX0" fmla="*/ 10863 w 12779"/>
                <a:gd name="connsiteY0" fmla="*/ 1941 h 12793"/>
                <a:gd name="connsiteX1" fmla="*/ 8946 w 12779"/>
                <a:gd name="connsiteY1" fmla="*/ 664 h 12793"/>
                <a:gd name="connsiteX2" fmla="*/ 1917 w 12779"/>
                <a:gd name="connsiteY2" fmla="*/ 1941 h 12793"/>
                <a:gd name="connsiteX3" fmla="*/ 639 w 12779"/>
                <a:gd name="connsiteY3" fmla="*/ 3856 h 12793"/>
                <a:gd name="connsiteX4" fmla="*/ 0 w 12779"/>
                <a:gd name="connsiteY4" fmla="*/ 6410 h 12793"/>
                <a:gd name="connsiteX5" fmla="*/ 6390 w 12779"/>
                <a:gd name="connsiteY5" fmla="*/ 12794 h 12793"/>
                <a:gd name="connsiteX6" fmla="*/ 10863 w 12779"/>
                <a:gd name="connsiteY6" fmla="*/ 10879 h 12793"/>
                <a:gd name="connsiteX7" fmla="*/ 12141 w 12779"/>
                <a:gd name="connsiteY7" fmla="*/ 8963 h 12793"/>
                <a:gd name="connsiteX8" fmla="*/ 12780 w 12779"/>
                <a:gd name="connsiteY8" fmla="*/ 6410 h 12793"/>
                <a:gd name="connsiteX9" fmla="*/ 12141 w 12779"/>
                <a:gd name="connsiteY9" fmla="*/ 3856 h 12793"/>
                <a:gd name="connsiteX10" fmla="*/ 10863 w 12779"/>
                <a:gd name="connsiteY10" fmla="*/ 1941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93">
                  <a:moveTo>
                    <a:pt x="10863" y="1941"/>
                  </a:moveTo>
                  <a:cubicBezTo>
                    <a:pt x="10224" y="1303"/>
                    <a:pt x="9585" y="664"/>
                    <a:pt x="8946" y="664"/>
                  </a:cubicBezTo>
                  <a:cubicBezTo>
                    <a:pt x="6390" y="-613"/>
                    <a:pt x="3834" y="26"/>
                    <a:pt x="1917" y="1941"/>
                  </a:cubicBezTo>
                  <a:cubicBezTo>
                    <a:pt x="1278" y="2579"/>
                    <a:pt x="639" y="3218"/>
                    <a:pt x="639" y="3856"/>
                  </a:cubicBezTo>
                  <a:cubicBezTo>
                    <a:pt x="0" y="4495"/>
                    <a:pt x="0" y="5771"/>
                    <a:pt x="0" y="6410"/>
                  </a:cubicBezTo>
                  <a:cubicBezTo>
                    <a:pt x="0" y="10240"/>
                    <a:pt x="3195" y="12794"/>
                    <a:pt x="6390" y="12794"/>
                  </a:cubicBezTo>
                  <a:cubicBezTo>
                    <a:pt x="8307" y="12794"/>
                    <a:pt x="9585" y="12155"/>
                    <a:pt x="10863" y="10879"/>
                  </a:cubicBezTo>
                  <a:cubicBezTo>
                    <a:pt x="11502" y="10240"/>
                    <a:pt x="12141" y="9602"/>
                    <a:pt x="12141" y="8963"/>
                  </a:cubicBezTo>
                  <a:cubicBezTo>
                    <a:pt x="12780" y="8325"/>
                    <a:pt x="12780" y="7687"/>
                    <a:pt x="12780" y="6410"/>
                  </a:cubicBezTo>
                  <a:cubicBezTo>
                    <a:pt x="12780" y="5771"/>
                    <a:pt x="12780" y="4495"/>
                    <a:pt x="12141" y="3856"/>
                  </a:cubicBezTo>
                  <a:cubicBezTo>
                    <a:pt x="11502" y="3218"/>
                    <a:pt x="10863" y="2579"/>
                    <a:pt x="10863" y="1941"/>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29" name="Graphic 4">
              <a:extLst>
                <a:ext uri="{FF2B5EF4-FFF2-40B4-BE49-F238E27FC236}">
                  <a16:creationId xmlns:a16="http://schemas.microsoft.com/office/drawing/2014/main" id="{FBE095FE-E670-BB37-DD35-F24CEECC9086}"/>
                </a:ext>
              </a:extLst>
            </p:cNvPr>
            <p:cNvSpPr/>
            <p:nvPr/>
          </p:nvSpPr>
          <p:spPr>
            <a:xfrm>
              <a:off x="1617932"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1502"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0" name="Graphic 4">
              <a:extLst>
                <a:ext uri="{FF2B5EF4-FFF2-40B4-BE49-F238E27FC236}">
                  <a16:creationId xmlns:a16="http://schemas.microsoft.com/office/drawing/2014/main" id="{A2D96471-3D88-7248-FC3E-6408BDDF7A67}"/>
                </a:ext>
              </a:extLst>
            </p:cNvPr>
            <p:cNvSpPr/>
            <p:nvPr/>
          </p:nvSpPr>
          <p:spPr>
            <a:xfrm>
              <a:off x="1646686" y="2567161"/>
              <a:ext cx="12779" cy="12768"/>
            </a:xfrm>
            <a:custGeom>
              <a:avLst/>
              <a:gdLst>
                <a:gd name="connsiteX0" fmla="*/ 10863 w 12779"/>
                <a:gd name="connsiteY0" fmla="*/ 1915 h 12768"/>
                <a:gd name="connsiteX1" fmla="*/ 1917 w 12779"/>
                <a:gd name="connsiteY1" fmla="*/ 1915 h 12768"/>
                <a:gd name="connsiteX2" fmla="*/ 1917 w 12779"/>
                <a:gd name="connsiteY2" fmla="*/ 1915 h 12768"/>
                <a:gd name="connsiteX3" fmla="*/ 0 w 12779"/>
                <a:gd name="connsiteY3" fmla="*/ 6384 h 12768"/>
                <a:gd name="connsiteX4" fmla="*/ 6390 w 12779"/>
                <a:gd name="connsiteY4" fmla="*/ 12768 h 12768"/>
                <a:gd name="connsiteX5" fmla="*/ 12780 w 12779"/>
                <a:gd name="connsiteY5" fmla="*/ 6384 h 12768"/>
                <a:gd name="connsiteX6" fmla="*/ 10863 w 12779"/>
                <a:gd name="connsiteY6" fmla="*/ 1915 h 12768"/>
                <a:gd name="connsiteX7" fmla="*/ 10863 w 12779"/>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8">
                  <a:moveTo>
                    <a:pt x="10863" y="1915"/>
                  </a:moveTo>
                  <a:cubicBezTo>
                    <a:pt x="8307" y="-638"/>
                    <a:pt x="4473" y="-638"/>
                    <a:pt x="1917" y="1915"/>
                  </a:cubicBezTo>
                  <a:cubicBezTo>
                    <a:pt x="1917" y="1915"/>
                    <a:pt x="1917" y="1915"/>
                    <a:pt x="1917" y="1915"/>
                  </a:cubicBezTo>
                  <a:cubicBezTo>
                    <a:pt x="639" y="3192"/>
                    <a:pt x="0" y="4469"/>
                    <a:pt x="0" y="6384"/>
                  </a:cubicBezTo>
                  <a:cubicBezTo>
                    <a:pt x="0" y="10214"/>
                    <a:pt x="2556" y="12768"/>
                    <a:pt x="6390" y="12768"/>
                  </a:cubicBezTo>
                  <a:cubicBezTo>
                    <a:pt x="10224" y="12768"/>
                    <a:pt x="12780" y="10214"/>
                    <a:pt x="12780" y="6384"/>
                  </a:cubicBezTo>
                  <a:cubicBezTo>
                    <a:pt x="12780" y="4469"/>
                    <a:pt x="11502" y="3192"/>
                    <a:pt x="10863" y="1915"/>
                  </a:cubicBezTo>
                  <a:lnTo>
                    <a:pt x="10863" y="1915"/>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1" name="Graphic 4">
              <a:extLst>
                <a:ext uri="{FF2B5EF4-FFF2-40B4-BE49-F238E27FC236}">
                  <a16:creationId xmlns:a16="http://schemas.microsoft.com/office/drawing/2014/main" id="{77B96130-E92A-B225-AA7E-4CC914FC1000}"/>
                </a:ext>
              </a:extLst>
            </p:cNvPr>
            <p:cNvSpPr/>
            <p:nvPr/>
          </p:nvSpPr>
          <p:spPr>
            <a:xfrm>
              <a:off x="1732311" y="2538433"/>
              <a:ext cx="12779" cy="12768"/>
            </a:xfrm>
            <a:custGeom>
              <a:avLst/>
              <a:gdLst>
                <a:gd name="connsiteX0" fmla="*/ 1917 w 12779"/>
                <a:gd name="connsiteY0" fmla="*/ 1915 h 12768"/>
                <a:gd name="connsiteX1" fmla="*/ 0 w 12779"/>
                <a:gd name="connsiteY1" fmla="*/ 6384 h 12768"/>
                <a:gd name="connsiteX2" fmla="*/ 639 w 12779"/>
                <a:gd name="connsiteY2" fmla="*/ 8938 h 12768"/>
                <a:gd name="connsiteX3" fmla="*/ 1917 w 12779"/>
                <a:gd name="connsiteY3" fmla="*/ 10853 h 12768"/>
                <a:gd name="connsiteX4" fmla="*/ 6390 w 12779"/>
                <a:gd name="connsiteY4" fmla="*/ 12768 h 12768"/>
                <a:gd name="connsiteX5" fmla="*/ 10863 w 12779"/>
                <a:gd name="connsiteY5" fmla="*/ 10853 h 12768"/>
                <a:gd name="connsiteX6" fmla="*/ 12141 w 12779"/>
                <a:gd name="connsiteY6" fmla="*/ 8938 h 12768"/>
                <a:gd name="connsiteX7" fmla="*/ 12780 w 12779"/>
                <a:gd name="connsiteY7" fmla="*/ 6384 h 12768"/>
                <a:gd name="connsiteX8" fmla="*/ 10863 w 12779"/>
                <a:gd name="connsiteY8" fmla="*/ 1915 h 12768"/>
                <a:gd name="connsiteX9" fmla="*/ 1917 w 12779"/>
                <a:gd name="connsiteY9"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1917" y="1915"/>
                  </a:moveTo>
                  <a:cubicBezTo>
                    <a:pt x="639" y="3192"/>
                    <a:pt x="0" y="4469"/>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2" name="Graphic 4">
              <a:extLst>
                <a:ext uri="{FF2B5EF4-FFF2-40B4-BE49-F238E27FC236}">
                  <a16:creationId xmlns:a16="http://schemas.microsoft.com/office/drawing/2014/main" id="{44EA9673-A04F-8FB3-E5B1-14EB63470537}"/>
                </a:ext>
              </a:extLst>
            </p:cNvPr>
            <p:cNvSpPr/>
            <p:nvPr/>
          </p:nvSpPr>
          <p:spPr>
            <a:xfrm>
              <a:off x="1732461" y="2509865"/>
              <a:ext cx="12630" cy="12608"/>
            </a:xfrm>
            <a:custGeom>
              <a:avLst/>
              <a:gdLst>
                <a:gd name="connsiteX0" fmla="*/ 11992 w 12630"/>
                <a:gd name="connsiteY0" fmla="*/ 3671 h 12608"/>
                <a:gd name="connsiteX1" fmla="*/ 10714 w 12630"/>
                <a:gd name="connsiteY1" fmla="*/ 1756 h 12608"/>
                <a:gd name="connsiteX2" fmla="*/ 8797 w 12630"/>
                <a:gd name="connsiteY2" fmla="*/ 479 h 12608"/>
                <a:gd name="connsiteX3" fmla="*/ 3685 w 12630"/>
                <a:gd name="connsiteY3" fmla="*/ 479 h 12608"/>
                <a:gd name="connsiteX4" fmla="*/ 490 w 12630"/>
                <a:gd name="connsiteY4" fmla="*/ 8778 h 12608"/>
                <a:gd name="connsiteX5" fmla="*/ 1768 w 12630"/>
                <a:gd name="connsiteY5" fmla="*/ 10693 h 12608"/>
                <a:gd name="connsiteX6" fmla="*/ 3685 w 12630"/>
                <a:gd name="connsiteY6" fmla="*/ 11970 h 12608"/>
                <a:gd name="connsiteX7" fmla="*/ 6241 w 12630"/>
                <a:gd name="connsiteY7" fmla="*/ 12608 h 12608"/>
                <a:gd name="connsiteX8" fmla="*/ 12631 w 12630"/>
                <a:gd name="connsiteY8" fmla="*/ 6224 h 12608"/>
                <a:gd name="connsiteX9" fmla="*/ 12631 w 12630"/>
                <a:gd name="connsiteY9" fmla="*/ 4947 h 12608"/>
                <a:gd name="connsiteX10" fmla="*/ 11992 w 12630"/>
                <a:gd name="connsiteY10" fmla="*/ 3671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30" h="12608">
                  <a:moveTo>
                    <a:pt x="11992" y="3671"/>
                  </a:moveTo>
                  <a:cubicBezTo>
                    <a:pt x="11992" y="3032"/>
                    <a:pt x="11353" y="2394"/>
                    <a:pt x="10714" y="1756"/>
                  </a:cubicBezTo>
                  <a:cubicBezTo>
                    <a:pt x="10075" y="1117"/>
                    <a:pt x="9436" y="479"/>
                    <a:pt x="8797" y="479"/>
                  </a:cubicBezTo>
                  <a:cubicBezTo>
                    <a:pt x="7519" y="-160"/>
                    <a:pt x="5602" y="-160"/>
                    <a:pt x="3685" y="479"/>
                  </a:cubicBezTo>
                  <a:cubicBezTo>
                    <a:pt x="490" y="1756"/>
                    <a:pt x="-788" y="5586"/>
                    <a:pt x="490" y="8778"/>
                  </a:cubicBezTo>
                  <a:cubicBezTo>
                    <a:pt x="1129" y="9416"/>
                    <a:pt x="1129" y="10055"/>
                    <a:pt x="1768" y="10693"/>
                  </a:cubicBezTo>
                  <a:cubicBezTo>
                    <a:pt x="2407" y="11331"/>
                    <a:pt x="3046" y="11970"/>
                    <a:pt x="3685" y="11970"/>
                  </a:cubicBezTo>
                  <a:cubicBezTo>
                    <a:pt x="4324" y="12608"/>
                    <a:pt x="5602" y="12608"/>
                    <a:pt x="6241" y="12608"/>
                  </a:cubicBezTo>
                  <a:cubicBezTo>
                    <a:pt x="10075" y="12608"/>
                    <a:pt x="12631" y="10055"/>
                    <a:pt x="12631" y="6224"/>
                  </a:cubicBezTo>
                  <a:cubicBezTo>
                    <a:pt x="12631" y="5586"/>
                    <a:pt x="12631" y="5586"/>
                    <a:pt x="12631" y="4947"/>
                  </a:cubicBezTo>
                  <a:lnTo>
                    <a:pt x="11992" y="367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3" name="Graphic 4">
              <a:extLst>
                <a:ext uri="{FF2B5EF4-FFF2-40B4-BE49-F238E27FC236}">
                  <a16:creationId xmlns:a16="http://schemas.microsoft.com/office/drawing/2014/main" id="{CD81C573-9DCA-7608-BCA3-CE0857C8F6F2}"/>
                </a:ext>
              </a:extLst>
            </p:cNvPr>
            <p:cNvSpPr/>
            <p:nvPr/>
          </p:nvSpPr>
          <p:spPr>
            <a:xfrm>
              <a:off x="1761066" y="2538433"/>
              <a:ext cx="12779" cy="12768"/>
            </a:xfrm>
            <a:custGeom>
              <a:avLst/>
              <a:gdLst>
                <a:gd name="connsiteX0" fmla="*/ 1917 w 12779"/>
                <a:gd name="connsiteY0" fmla="*/ 10853 h 12768"/>
                <a:gd name="connsiteX1" fmla="*/ 10863 w 12779"/>
                <a:gd name="connsiteY1" fmla="*/ 10853 h 12768"/>
                <a:gd name="connsiteX2" fmla="*/ 10863 w 12779"/>
                <a:gd name="connsiteY2" fmla="*/ 10853 h 12768"/>
                <a:gd name="connsiteX3" fmla="*/ 12141 w 12779"/>
                <a:gd name="connsiteY3" fmla="*/ 8938 h 12768"/>
                <a:gd name="connsiteX4" fmla="*/ 12780 w 12779"/>
                <a:gd name="connsiteY4" fmla="*/ 6384 h 12768"/>
                <a:gd name="connsiteX5" fmla="*/ 6390 w 12779"/>
                <a:gd name="connsiteY5" fmla="*/ 0 h 12768"/>
                <a:gd name="connsiteX6" fmla="*/ 0 w 12779"/>
                <a:gd name="connsiteY6" fmla="*/ 6384 h 12768"/>
                <a:gd name="connsiteX7" fmla="*/ 639 w 12779"/>
                <a:gd name="connsiteY7" fmla="*/ 8938 h 12768"/>
                <a:gd name="connsiteX8" fmla="*/ 1917 w 12779"/>
                <a:gd name="connsiteY8"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1917" y="10853"/>
                  </a:moveTo>
                  <a:cubicBezTo>
                    <a:pt x="4473" y="13406"/>
                    <a:pt x="8307" y="13406"/>
                    <a:pt x="10863" y="10853"/>
                  </a:cubicBezTo>
                  <a:cubicBezTo>
                    <a:pt x="10863" y="10853"/>
                    <a:pt x="10863" y="10853"/>
                    <a:pt x="10863" y="10853"/>
                  </a:cubicBezTo>
                  <a:cubicBezTo>
                    <a:pt x="11502" y="10214"/>
                    <a:pt x="12141" y="9576"/>
                    <a:pt x="12141" y="8938"/>
                  </a:cubicBezTo>
                  <a:cubicBezTo>
                    <a:pt x="12780" y="8299"/>
                    <a:pt x="12780" y="7661"/>
                    <a:pt x="12780" y="6384"/>
                  </a:cubicBezTo>
                  <a:cubicBezTo>
                    <a:pt x="12780" y="2554"/>
                    <a:pt x="10224" y="0"/>
                    <a:pt x="6390" y="0"/>
                  </a:cubicBezTo>
                  <a:cubicBezTo>
                    <a:pt x="2556" y="0"/>
                    <a:pt x="0" y="2554"/>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4" name="Graphic 4">
              <a:extLst>
                <a:ext uri="{FF2B5EF4-FFF2-40B4-BE49-F238E27FC236}">
                  <a16:creationId xmlns:a16="http://schemas.microsoft.com/office/drawing/2014/main" id="{8D376E08-688B-260D-7757-E825CE37D21C}"/>
                </a:ext>
              </a:extLst>
            </p:cNvPr>
            <p:cNvSpPr/>
            <p:nvPr/>
          </p:nvSpPr>
          <p:spPr>
            <a:xfrm>
              <a:off x="1761066" y="2509706"/>
              <a:ext cx="12779" cy="12608"/>
            </a:xfrm>
            <a:custGeom>
              <a:avLst/>
              <a:gdLst>
                <a:gd name="connsiteX0" fmla="*/ 1917 w 12779"/>
                <a:gd name="connsiteY0" fmla="*/ 10853 h 12608"/>
                <a:gd name="connsiteX1" fmla="*/ 3834 w 12779"/>
                <a:gd name="connsiteY1" fmla="*/ 12130 h 12608"/>
                <a:gd name="connsiteX2" fmla="*/ 8946 w 12779"/>
                <a:gd name="connsiteY2" fmla="*/ 12130 h 12608"/>
                <a:gd name="connsiteX3" fmla="*/ 12141 w 12779"/>
                <a:gd name="connsiteY3" fmla="*/ 8938 h 12608"/>
                <a:gd name="connsiteX4" fmla="*/ 12780 w 12779"/>
                <a:gd name="connsiteY4" fmla="*/ 6384 h 12608"/>
                <a:gd name="connsiteX5" fmla="*/ 10863 w 12779"/>
                <a:gd name="connsiteY5" fmla="*/ 1915 h 12608"/>
                <a:gd name="connsiteX6" fmla="*/ 5112 w 12779"/>
                <a:gd name="connsiteY6" fmla="*/ 0 h 12608"/>
                <a:gd name="connsiteX7" fmla="*/ 3834 w 12779"/>
                <a:gd name="connsiteY7" fmla="*/ 638 h 12608"/>
                <a:gd name="connsiteX8" fmla="*/ 2556 w 12779"/>
                <a:gd name="connsiteY8" fmla="*/ 1277 h 12608"/>
                <a:gd name="connsiteX9" fmla="*/ 1917 w 12779"/>
                <a:gd name="connsiteY9" fmla="*/ 1915 h 12608"/>
                <a:gd name="connsiteX10" fmla="*/ 0 w 12779"/>
                <a:gd name="connsiteY10" fmla="*/ 6384 h 12608"/>
                <a:gd name="connsiteX11" fmla="*/ 639 w 12779"/>
                <a:gd name="connsiteY11" fmla="*/ 8938 h 12608"/>
                <a:gd name="connsiteX12" fmla="*/ 1917 w 12779"/>
                <a:gd name="connsiteY12" fmla="*/ 1085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608">
                  <a:moveTo>
                    <a:pt x="1917" y="10853"/>
                  </a:moveTo>
                  <a:cubicBezTo>
                    <a:pt x="2556" y="11491"/>
                    <a:pt x="3195" y="12130"/>
                    <a:pt x="3834" y="12130"/>
                  </a:cubicBezTo>
                  <a:cubicBezTo>
                    <a:pt x="5112" y="12768"/>
                    <a:pt x="7029"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9585" y="638"/>
                    <a:pt x="7029" y="0"/>
                    <a:pt x="5112" y="0"/>
                  </a:cubicBezTo>
                  <a:cubicBezTo>
                    <a:pt x="4473" y="0"/>
                    <a:pt x="4473" y="0"/>
                    <a:pt x="3834" y="638"/>
                  </a:cubicBezTo>
                  <a:cubicBezTo>
                    <a:pt x="3195" y="638"/>
                    <a:pt x="3195" y="1277"/>
                    <a:pt x="2556" y="1277"/>
                  </a:cubicBezTo>
                  <a:lnTo>
                    <a:pt x="1917" y="1915"/>
                  </a:ln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5" name="Graphic 4">
              <a:extLst>
                <a:ext uri="{FF2B5EF4-FFF2-40B4-BE49-F238E27FC236}">
                  <a16:creationId xmlns:a16="http://schemas.microsoft.com/office/drawing/2014/main" id="{A893693A-E333-F4A1-086A-CFAB664B2675}"/>
                </a:ext>
              </a:extLst>
            </p:cNvPr>
            <p:cNvSpPr/>
            <p:nvPr/>
          </p:nvSpPr>
          <p:spPr>
            <a:xfrm>
              <a:off x="1674802" y="2538433"/>
              <a:ext cx="12779" cy="12767"/>
            </a:xfrm>
            <a:custGeom>
              <a:avLst/>
              <a:gdLst>
                <a:gd name="connsiteX0" fmla="*/ 12780 w 12779"/>
                <a:gd name="connsiteY0" fmla="*/ 3830 h 12767"/>
                <a:gd name="connsiteX1" fmla="*/ 11502 w 12779"/>
                <a:gd name="connsiteY1" fmla="*/ 1915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 name="connsiteX9" fmla="*/ 6390 w 12779"/>
                <a:gd name="connsiteY9" fmla="*/ 12768 h 12767"/>
                <a:gd name="connsiteX10" fmla="*/ 8946 w 12779"/>
                <a:gd name="connsiteY10" fmla="*/ 12130 h 12767"/>
                <a:gd name="connsiteX11" fmla="*/ 10863 w 12779"/>
                <a:gd name="connsiteY11" fmla="*/ 10853 h 12767"/>
                <a:gd name="connsiteX12" fmla="*/ 12141 w 12779"/>
                <a:gd name="connsiteY12" fmla="*/ 8938 h 12767"/>
                <a:gd name="connsiteX13" fmla="*/ 12780 w 12779"/>
                <a:gd name="connsiteY13" fmla="*/ 6384 h 12767"/>
                <a:gd name="connsiteX14" fmla="*/ 12780 w 12779"/>
                <a:gd name="connsiteY14" fmla="*/ 5107 h 12767"/>
                <a:gd name="connsiteX15" fmla="*/ 12780 w 12779"/>
                <a:gd name="connsiteY15" fmla="*/ 38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2780" y="3830"/>
                  </a:moveTo>
                  <a:cubicBezTo>
                    <a:pt x="12141" y="3192"/>
                    <a:pt x="12141" y="2554"/>
                    <a:pt x="11502" y="1915"/>
                  </a:cubicBezTo>
                  <a:cubicBezTo>
                    <a:pt x="10224" y="638"/>
                    <a:pt x="7668" y="0"/>
                    <a:pt x="5751" y="0"/>
                  </a:cubicBezTo>
                  <a:cubicBezTo>
                    <a:pt x="5112" y="0"/>
                    <a:pt x="5112" y="0"/>
                    <a:pt x="4473" y="638"/>
                  </a:cubicBezTo>
                  <a:cubicBezTo>
                    <a:pt x="3834" y="638"/>
                    <a:pt x="3834" y="1277"/>
                    <a:pt x="3195" y="1277"/>
                  </a:cubicBezTo>
                  <a:lnTo>
                    <a:pt x="1917" y="1915"/>
                  </a:lnTo>
                  <a:cubicBezTo>
                    <a:pt x="639" y="3192"/>
                    <a:pt x="0" y="4469"/>
                    <a:pt x="0" y="6384"/>
                  </a:cubicBezTo>
                  <a:cubicBezTo>
                    <a:pt x="0" y="7022"/>
                    <a:pt x="0" y="8299"/>
                    <a:pt x="639" y="8938"/>
                  </a:cubicBezTo>
                  <a:cubicBezTo>
                    <a:pt x="639" y="9576"/>
                    <a:pt x="1278" y="10214"/>
                    <a:pt x="1917" y="10853"/>
                  </a:cubicBezTo>
                  <a:cubicBezTo>
                    <a:pt x="3195" y="12130"/>
                    <a:pt x="4473"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141" y="8299"/>
                    <a:pt x="12780" y="7661"/>
                    <a:pt x="12780" y="6384"/>
                  </a:cubicBezTo>
                  <a:cubicBezTo>
                    <a:pt x="12780" y="5746"/>
                    <a:pt x="12780" y="5746"/>
                    <a:pt x="12780" y="5107"/>
                  </a:cubicBezTo>
                  <a:cubicBezTo>
                    <a:pt x="12780" y="5107"/>
                    <a:pt x="12780" y="4469"/>
                    <a:pt x="12780" y="38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6" name="Graphic 4">
              <a:extLst>
                <a:ext uri="{FF2B5EF4-FFF2-40B4-BE49-F238E27FC236}">
                  <a16:creationId xmlns:a16="http://schemas.microsoft.com/office/drawing/2014/main" id="{2D3430EC-A92D-F99B-A16E-1675BDD65126}"/>
                </a:ext>
              </a:extLst>
            </p:cNvPr>
            <p:cNvSpPr/>
            <p:nvPr/>
          </p:nvSpPr>
          <p:spPr>
            <a:xfrm>
              <a:off x="1703557" y="2538832"/>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 w 12779"/>
                <a:gd name="connsiteY4" fmla="*/ 9177 h 13007"/>
                <a:gd name="connsiteX5" fmla="*/ 1917 w 12779"/>
                <a:gd name="connsiteY5" fmla="*/ 11092 h 13007"/>
                <a:gd name="connsiteX6" fmla="*/ 6390 w 12779"/>
                <a:gd name="connsiteY6" fmla="*/ 13007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7262"/>
                    <a:pt x="0" y="8539"/>
                    <a:pt x="639" y="9177"/>
                  </a:cubicBezTo>
                  <a:cubicBezTo>
                    <a:pt x="639" y="9815"/>
                    <a:pt x="1278" y="10454"/>
                    <a:pt x="1917" y="11092"/>
                  </a:cubicBezTo>
                  <a:cubicBezTo>
                    <a:pt x="3195" y="12369"/>
                    <a:pt x="4473" y="13007"/>
                    <a:pt x="6390" y="13007"/>
                  </a:cubicBezTo>
                  <a:cubicBezTo>
                    <a:pt x="8307" y="13007"/>
                    <a:pt x="9585" y="12369"/>
                    <a:pt x="10863" y="11092"/>
                  </a:cubicBezTo>
                  <a:cubicBezTo>
                    <a:pt x="11502" y="10454"/>
                    <a:pt x="12141" y="9815"/>
                    <a:pt x="12141" y="9177"/>
                  </a:cubicBezTo>
                  <a:cubicBezTo>
                    <a:pt x="12780" y="8539"/>
                    <a:pt x="12780" y="7900"/>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7" name="Graphic 4">
              <a:extLst>
                <a:ext uri="{FF2B5EF4-FFF2-40B4-BE49-F238E27FC236}">
                  <a16:creationId xmlns:a16="http://schemas.microsoft.com/office/drawing/2014/main" id="{54A7B5B0-12D4-9CA1-39AA-6EE5AB2B3BF8}"/>
                </a:ext>
              </a:extLst>
            </p:cNvPr>
            <p:cNvSpPr/>
            <p:nvPr/>
          </p:nvSpPr>
          <p:spPr>
            <a:xfrm>
              <a:off x="1674802" y="2509466"/>
              <a:ext cx="12779" cy="13007"/>
            </a:xfrm>
            <a:custGeom>
              <a:avLst/>
              <a:gdLst>
                <a:gd name="connsiteX0" fmla="*/ 10224 w 12779"/>
                <a:gd name="connsiteY0" fmla="*/ 1516 h 13007"/>
                <a:gd name="connsiteX1" fmla="*/ 8946 w 12779"/>
                <a:gd name="connsiteY1" fmla="*/ 878 h 13007"/>
                <a:gd name="connsiteX2" fmla="*/ 7668 w 12779"/>
                <a:gd name="connsiteY2" fmla="*/ 239 h 13007"/>
                <a:gd name="connsiteX3" fmla="*/ 1917 w 12779"/>
                <a:gd name="connsiteY3" fmla="*/ 2155 h 13007"/>
                <a:gd name="connsiteX4" fmla="*/ 0 w 12779"/>
                <a:gd name="connsiteY4" fmla="*/ 6623 h 13007"/>
                <a:gd name="connsiteX5" fmla="*/ 6390 w 12779"/>
                <a:gd name="connsiteY5" fmla="*/ 13007 h 13007"/>
                <a:gd name="connsiteX6" fmla="*/ 8946 w 12779"/>
                <a:gd name="connsiteY6" fmla="*/ 12369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1516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1516"/>
                  </a:moveTo>
                  <a:cubicBezTo>
                    <a:pt x="9585" y="1516"/>
                    <a:pt x="9585" y="878"/>
                    <a:pt x="8946" y="878"/>
                  </a:cubicBezTo>
                  <a:lnTo>
                    <a:pt x="7668" y="239"/>
                  </a:ln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1502" y="10454"/>
                    <a:pt x="12141" y="9815"/>
                    <a:pt x="12141" y="9177"/>
                  </a:cubicBezTo>
                  <a:cubicBezTo>
                    <a:pt x="12141" y="8539"/>
                    <a:pt x="12780" y="7900"/>
                    <a:pt x="12780" y="6623"/>
                  </a:cubicBezTo>
                  <a:cubicBezTo>
                    <a:pt x="12780" y="4708"/>
                    <a:pt x="12141" y="3431"/>
                    <a:pt x="10863" y="2155"/>
                  </a:cubicBezTo>
                  <a:lnTo>
                    <a:pt x="10224" y="151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8" name="Graphic 4">
              <a:extLst>
                <a:ext uri="{FF2B5EF4-FFF2-40B4-BE49-F238E27FC236}">
                  <a16:creationId xmlns:a16="http://schemas.microsoft.com/office/drawing/2014/main" id="{F42635F6-EF21-1177-F83B-69C558A3E92D}"/>
                </a:ext>
              </a:extLst>
            </p:cNvPr>
            <p:cNvSpPr/>
            <p:nvPr/>
          </p:nvSpPr>
          <p:spPr>
            <a:xfrm>
              <a:off x="1703557" y="2510105"/>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0 w 12779"/>
                <a:gd name="connsiteY4" fmla="*/ 13007 h 13007"/>
                <a:gd name="connsiteX5" fmla="*/ 8946 w 12779"/>
                <a:gd name="connsiteY5" fmla="*/ 12369 h 13007"/>
                <a:gd name="connsiteX6" fmla="*/ 10863 w 12779"/>
                <a:gd name="connsiteY6" fmla="*/ 11092 h 13007"/>
                <a:gd name="connsiteX7" fmla="*/ 12780 w 12779"/>
                <a:gd name="connsiteY7" fmla="*/ 6623 h 13007"/>
                <a:gd name="connsiteX8" fmla="*/ 10863 w 12779"/>
                <a:gd name="connsiteY8" fmla="*/ 2155 h 13007"/>
                <a:gd name="connsiteX9" fmla="*/ 10224 w 12779"/>
                <a:gd name="connsiteY9"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39" name="Graphic 4">
              <a:extLst>
                <a:ext uri="{FF2B5EF4-FFF2-40B4-BE49-F238E27FC236}">
                  <a16:creationId xmlns:a16="http://schemas.microsoft.com/office/drawing/2014/main" id="{CE4CD8D9-11EA-CCA1-D10E-6C368CDFE2B8}"/>
                </a:ext>
              </a:extLst>
            </p:cNvPr>
            <p:cNvSpPr/>
            <p:nvPr/>
          </p:nvSpPr>
          <p:spPr>
            <a:xfrm>
              <a:off x="1617293" y="2538433"/>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5112 w 12779"/>
                <a:gd name="connsiteY3" fmla="*/ 0 h 12767"/>
                <a:gd name="connsiteX4" fmla="*/ 3834 w 12779"/>
                <a:gd name="connsiteY4" fmla="*/ 638 h 12767"/>
                <a:gd name="connsiteX5" fmla="*/ 2556 w 12779"/>
                <a:gd name="connsiteY5" fmla="*/ 1277 h 12767"/>
                <a:gd name="connsiteX6" fmla="*/ 1917 w 12779"/>
                <a:gd name="connsiteY6" fmla="*/ 1915 h 12767"/>
                <a:gd name="connsiteX7" fmla="*/ 0 w 12779"/>
                <a:gd name="connsiteY7" fmla="*/ 5107 h 12767"/>
                <a:gd name="connsiteX8" fmla="*/ 0 w 12779"/>
                <a:gd name="connsiteY8" fmla="*/ 6384 h 12767"/>
                <a:gd name="connsiteX9" fmla="*/ 639 w 12779"/>
                <a:gd name="connsiteY9" fmla="*/ 8938 h 12767"/>
                <a:gd name="connsiteX10" fmla="*/ 1917 w 12779"/>
                <a:gd name="connsiteY10" fmla="*/ 10853 h 12767"/>
                <a:gd name="connsiteX11" fmla="*/ 3834 w 12779"/>
                <a:gd name="connsiteY11" fmla="*/ 12130 h 12767"/>
                <a:gd name="connsiteX12" fmla="*/ 6390 w 12779"/>
                <a:gd name="connsiteY12" fmla="*/ 12768 h 12767"/>
                <a:gd name="connsiteX13" fmla="*/ 8946 w 12779"/>
                <a:gd name="connsiteY13" fmla="*/ 12130 h 12767"/>
                <a:gd name="connsiteX14" fmla="*/ 10863 w 12779"/>
                <a:gd name="connsiteY14" fmla="*/ 10853 h 12767"/>
                <a:gd name="connsiteX15" fmla="*/ 12141 w 12779"/>
                <a:gd name="connsiteY15" fmla="*/ 8938 h 12767"/>
                <a:gd name="connsiteX16" fmla="*/ 12780 w 12779"/>
                <a:gd name="connsiteY16" fmla="*/ 6384 h 12767"/>
                <a:gd name="connsiteX17" fmla="*/ 10863 w 12779"/>
                <a:gd name="connsiteY17" fmla="*/ 1915 h 12767"/>
                <a:gd name="connsiteX18" fmla="*/ 10224 w 12779"/>
                <a:gd name="connsiteY18"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79" h="12767">
                  <a:moveTo>
                    <a:pt x="10224" y="1277"/>
                  </a:moveTo>
                  <a:cubicBezTo>
                    <a:pt x="9585" y="1277"/>
                    <a:pt x="9585" y="638"/>
                    <a:pt x="8946" y="638"/>
                  </a:cubicBezTo>
                  <a:cubicBezTo>
                    <a:pt x="8307" y="638"/>
                    <a:pt x="8307" y="0"/>
                    <a:pt x="7668" y="0"/>
                  </a:cubicBezTo>
                  <a:cubicBezTo>
                    <a:pt x="7029" y="0"/>
                    <a:pt x="5751" y="0"/>
                    <a:pt x="5112" y="0"/>
                  </a:cubicBezTo>
                  <a:lnTo>
                    <a:pt x="3834" y="638"/>
                  </a:lnTo>
                  <a:lnTo>
                    <a:pt x="2556" y="1277"/>
                  </a:lnTo>
                  <a:lnTo>
                    <a:pt x="1917" y="1915"/>
                  </a:lnTo>
                  <a:cubicBezTo>
                    <a:pt x="1278" y="2554"/>
                    <a:pt x="639" y="3830"/>
                    <a:pt x="0" y="5107"/>
                  </a:cubicBezTo>
                  <a:cubicBezTo>
                    <a:pt x="0" y="5746"/>
                    <a:pt x="0" y="5746"/>
                    <a:pt x="0" y="6384"/>
                  </a:cubicBezTo>
                  <a:cubicBezTo>
                    <a:pt x="0" y="7022"/>
                    <a:pt x="0" y="8299"/>
                    <a:pt x="639" y="8938"/>
                  </a:cubicBezTo>
                  <a:cubicBezTo>
                    <a:pt x="1278" y="9576"/>
                    <a:pt x="1278" y="10214"/>
                    <a:pt x="1917" y="10853"/>
                  </a:cubicBezTo>
                  <a:cubicBezTo>
                    <a:pt x="2556" y="11491"/>
                    <a:pt x="3195" y="12130"/>
                    <a:pt x="3834" y="12130"/>
                  </a:cubicBezTo>
                  <a:cubicBezTo>
                    <a:pt x="4473" y="12768"/>
                    <a:pt x="5751"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4469"/>
                    <a:pt x="12141" y="3192"/>
                    <a:pt x="10863" y="1915"/>
                  </a:cubicBezTo>
                  <a:lnTo>
                    <a:pt x="10224" y="1277"/>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40" name="Graphic 4">
              <a:extLst>
                <a:ext uri="{FF2B5EF4-FFF2-40B4-BE49-F238E27FC236}">
                  <a16:creationId xmlns:a16="http://schemas.microsoft.com/office/drawing/2014/main" id="{510C5E41-4B47-7839-FEE5-04C8F89E3668}"/>
                </a:ext>
              </a:extLst>
            </p:cNvPr>
            <p:cNvSpPr/>
            <p:nvPr/>
          </p:nvSpPr>
          <p:spPr>
            <a:xfrm>
              <a:off x="1617293" y="2509585"/>
              <a:ext cx="12779" cy="12739"/>
            </a:xfrm>
            <a:custGeom>
              <a:avLst/>
              <a:gdLst>
                <a:gd name="connsiteX0" fmla="*/ 10224 w 12779"/>
                <a:gd name="connsiteY0" fmla="*/ 1398 h 12739"/>
                <a:gd name="connsiteX1" fmla="*/ 8946 w 12779"/>
                <a:gd name="connsiteY1" fmla="*/ 759 h 12739"/>
                <a:gd name="connsiteX2" fmla="*/ 7668 w 12779"/>
                <a:gd name="connsiteY2" fmla="*/ 121 h 12739"/>
                <a:gd name="connsiteX3" fmla="*/ 0 w 12779"/>
                <a:gd name="connsiteY3" fmla="*/ 5228 h 12739"/>
                <a:gd name="connsiteX4" fmla="*/ 0 w 12779"/>
                <a:gd name="connsiteY4" fmla="*/ 6505 h 12739"/>
                <a:gd name="connsiteX5" fmla="*/ 639 w 12779"/>
                <a:gd name="connsiteY5" fmla="*/ 9059 h 12739"/>
                <a:gd name="connsiteX6" fmla="*/ 1917 w 12779"/>
                <a:gd name="connsiteY6" fmla="*/ 10974 h 12739"/>
                <a:gd name="connsiteX7" fmla="*/ 3834 w 12779"/>
                <a:gd name="connsiteY7" fmla="*/ 12251 h 12739"/>
                <a:gd name="connsiteX8" fmla="*/ 12141 w 12779"/>
                <a:gd name="connsiteY8" fmla="*/ 9059 h 12739"/>
                <a:gd name="connsiteX9" fmla="*/ 12780 w 12779"/>
                <a:gd name="connsiteY9" fmla="*/ 6505 h 12739"/>
                <a:gd name="connsiteX10" fmla="*/ 10863 w 12779"/>
                <a:gd name="connsiteY10" fmla="*/ 2036 h 12739"/>
                <a:gd name="connsiteX11" fmla="*/ 10224 w 12779"/>
                <a:gd name="connsiteY11" fmla="*/ 1398 h 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39">
                  <a:moveTo>
                    <a:pt x="10224" y="1398"/>
                  </a:moveTo>
                  <a:cubicBezTo>
                    <a:pt x="9585" y="1398"/>
                    <a:pt x="9585" y="759"/>
                    <a:pt x="8946" y="759"/>
                  </a:cubicBezTo>
                  <a:cubicBezTo>
                    <a:pt x="8307" y="759"/>
                    <a:pt x="8307" y="121"/>
                    <a:pt x="7668" y="121"/>
                  </a:cubicBezTo>
                  <a:cubicBezTo>
                    <a:pt x="4473" y="-517"/>
                    <a:pt x="639" y="1398"/>
                    <a:pt x="0" y="5228"/>
                  </a:cubicBezTo>
                  <a:cubicBezTo>
                    <a:pt x="0" y="5867"/>
                    <a:pt x="0" y="5867"/>
                    <a:pt x="0" y="6505"/>
                  </a:cubicBezTo>
                  <a:cubicBezTo>
                    <a:pt x="0" y="7143"/>
                    <a:pt x="0" y="8420"/>
                    <a:pt x="639" y="9059"/>
                  </a:cubicBezTo>
                  <a:cubicBezTo>
                    <a:pt x="1278" y="9697"/>
                    <a:pt x="1278" y="10335"/>
                    <a:pt x="1917" y="10974"/>
                  </a:cubicBezTo>
                  <a:cubicBezTo>
                    <a:pt x="2556" y="11612"/>
                    <a:pt x="3195" y="12251"/>
                    <a:pt x="3834" y="12251"/>
                  </a:cubicBezTo>
                  <a:cubicBezTo>
                    <a:pt x="7029" y="13527"/>
                    <a:pt x="10863" y="12251"/>
                    <a:pt x="12141" y="9059"/>
                  </a:cubicBezTo>
                  <a:cubicBezTo>
                    <a:pt x="12141" y="8420"/>
                    <a:pt x="12780" y="7782"/>
                    <a:pt x="12780" y="6505"/>
                  </a:cubicBezTo>
                  <a:cubicBezTo>
                    <a:pt x="12780" y="4590"/>
                    <a:pt x="12141" y="3313"/>
                    <a:pt x="10863" y="2036"/>
                  </a:cubicBezTo>
                  <a:cubicBezTo>
                    <a:pt x="10863" y="2036"/>
                    <a:pt x="10863" y="1398"/>
                    <a:pt x="10224" y="1398"/>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41" name="Graphic 4">
              <a:extLst>
                <a:ext uri="{FF2B5EF4-FFF2-40B4-BE49-F238E27FC236}">
                  <a16:creationId xmlns:a16="http://schemas.microsoft.com/office/drawing/2014/main" id="{3126EDB6-082F-3A69-66E8-4EBCEC2B6674}"/>
                </a:ext>
              </a:extLst>
            </p:cNvPr>
            <p:cNvSpPr/>
            <p:nvPr/>
          </p:nvSpPr>
          <p:spPr>
            <a:xfrm>
              <a:off x="1646047" y="2538408"/>
              <a:ext cx="12779" cy="12819"/>
            </a:xfrm>
            <a:custGeom>
              <a:avLst/>
              <a:gdLst>
                <a:gd name="connsiteX0" fmla="*/ 8946 w 12779"/>
                <a:gd name="connsiteY0" fmla="*/ 664 h 12819"/>
                <a:gd name="connsiteX1" fmla="*/ 1917 w 12779"/>
                <a:gd name="connsiteY1" fmla="*/ 1941 h 12819"/>
                <a:gd name="connsiteX2" fmla="*/ 639 w 12779"/>
                <a:gd name="connsiteY2" fmla="*/ 3856 h 12819"/>
                <a:gd name="connsiteX3" fmla="*/ 0 w 12779"/>
                <a:gd name="connsiteY3" fmla="*/ 5133 h 12819"/>
                <a:gd name="connsiteX4" fmla="*/ 0 w 12779"/>
                <a:gd name="connsiteY4" fmla="*/ 6410 h 12819"/>
                <a:gd name="connsiteX5" fmla="*/ 639 w 12779"/>
                <a:gd name="connsiteY5" fmla="*/ 8963 h 12819"/>
                <a:gd name="connsiteX6" fmla="*/ 1917 w 12779"/>
                <a:gd name="connsiteY6" fmla="*/ 10879 h 12819"/>
                <a:gd name="connsiteX7" fmla="*/ 3834 w 12779"/>
                <a:gd name="connsiteY7" fmla="*/ 12155 h 12819"/>
                <a:gd name="connsiteX8" fmla="*/ 10863 w 12779"/>
                <a:gd name="connsiteY8" fmla="*/ 10879 h 12819"/>
                <a:gd name="connsiteX9" fmla="*/ 12141 w 12779"/>
                <a:gd name="connsiteY9" fmla="*/ 8963 h 12819"/>
                <a:gd name="connsiteX10" fmla="*/ 12780 w 12779"/>
                <a:gd name="connsiteY10" fmla="*/ 6410 h 12819"/>
                <a:gd name="connsiteX11" fmla="*/ 10863 w 12779"/>
                <a:gd name="connsiteY11" fmla="*/ 1941 h 12819"/>
                <a:gd name="connsiteX12" fmla="*/ 8946 w 12779"/>
                <a:gd name="connsiteY12" fmla="*/ 664 h 1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819">
                  <a:moveTo>
                    <a:pt x="8946" y="664"/>
                  </a:moveTo>
                  <a:cubicBezTo>
                    <a:pt x="6390" y="-613"/>
                    <a:pt x="3834" y="26"/>
                    <a:pt x="1917" y="1941"/>
                  </a:cubicBezTo>
                  <a:cubicBezTo>
                    <a:pt x="1278" y="2579"/>
                    <a:pt x="639" y="3218"/>
                    <a:pt x="639" y="3856"/>
                  </a:cubicBezTo>
                  <a:cubicBezTo>
                    <a:pt x="639" y="4495"/>
                    <a:pt x="0" y="4495"/>
                    <a:pt x="0" y="5133"/>
                  </a:cubicBezTo>
                  <a:cubicBezTo>
                    <a:pt x="0" y="5771"/>
                    <a:pt x="0" y="5771"/>
                    <a:pt x="0" y="6410"/>
                  </a:cubicBezTo>
                  <a:cubicBezTo>
                    <a:pt x="0" y="7048"/>
                    <a:pt x="0" y="8325"/>
                    <a:pt x="639" y="8963"/>
                  </a:cubicBezTo>
                  <a:cubicBezTo>
                    <a:pt x="639" y="9602"/>
                    <a:pt x="1278" y="10240"/>
                    <a:pt x="1917" y="10879"/>
                  </a:cubicBezTo>
                  <a:cubicBezTo>
                    <a:pt x="2556" y="11517"/>
                    <a:pt x="3195" y="12155"/>
                    <a:pt x="3834" y="12155"/>
                  </a:cubicBezTo>
                  <a:cubicBezTo>
                    <a:pt x="6390" y="13432"/>
                    <a:pt x="8946" y="12794"/>
                    <a:pt x="10863" y="10879"/>
                  </a:cubicBezTo>
                  <a:cubicBezTo>
                    <a:pt x="11502" y="10240"/>
                    <a:pt x="12141" y="9602"/>
                    <a:pt x="12141" y="8963"/>
                  </a:cubicBezTo>
                  <a:cubicBezTo>
                    <a:pt x="12780" y="8325"/>
                    <a:pt x="12780" y="7687"/>
                    <a:pt x="12780" y="6410"/>
                  </a:cubicBezTo>
                  <a:cubicBezTo>
                    <a:pt x="12780" y="4495"/>
                    <a:pt x="12141" y="3218"/>
                    <a:pt x="10863" y="1941"/>
                  </a:cubicBezTo>
                  <a:cubicBezTo>
                    <a:pt x="10224" y="1303"/>
                    <a:pt x="9585" y="664"/>
                    <a:pt x="8946" y="664"/>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42" name="Graphic 4">
              <a:extLst>
                <a:ext uri="{FF2B5EF4-FFF2-40B4-BE49-F238E27FC236}">
                  <a16:creationId xmlns:a16="http://schemas.microsoft.com/office/drawing/2014/main" id="{E0FD9973-67C8-13ED-575C-B637884896CA}"/>
                </a:ext>
              </a:extLst>
            </p:cNvPr>
            <p:cNvSpPr/>
            <p:nvPr/>
          </p:nvSpPr>
          <p:spPr>
            <a:xfrm>
              <a:off x="1646047" y="2509706"/>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3834 w 12779"/>
                <a:gd name="connsiteY3" fmla="*/ 638 h 12767"/>
                <a:gd name="connsiteX4" fmla="*/ 1917 w 12779"/>
                <a:gd name="connsiteY4" fmla="*/ 1915 h 12767"/>
                <a:gd name="connsiteX5" fmla="*/ 639 w 12779"/>
                <a:gd name="connsiteY5" fmla="*/ 3830 h 12767"/>
                <a:gd name="connsiteX6" fmla="*/ 0 w 12779"/>
                <a:gd name="connsiteY6" fmla="*/ 5107 h 12767"/>
                <a:gd name="connsiteX7" fmla="*/ 0 w 12779"/>
                <a:gd name="connsiteY7" fmla="*/ 6384 h 12767"/>
                <a:gd name="connsiteX8" fmla="*/ 6390 w 12779"/>
                <a:gd name="connsiteY8" fmla="*/ 12768 h 12767"/>
                <a:gd name="connsiteX9" fmla="*/ 8946 w 12779"/>
                <a:gd name="connsiteY9" fmla="*/ 12130 h 12767"/>
                <a:gd name="connsiteX10" fmla="*/ 12141 w 12779"/>
                <a:gd name="connsiteY10" fmla="*/ 8938 h 12767"/>
                <a:gd name="connsiteX11" fmla="*/ 12780 w 12779"/>
                <a:gd name="connsiteY11" fmla="*/ 6384 h 12767"/>
                <a:gd name="connsiteX12" fmla="*/ 10863 w 12779"/>
                <a:gd name="connsiteY12" fmla="*/ 1915 h 12767"/>
                <a:gd name="connsiteX13" fmla="*/ 10224 w 12779"/>
                <a:gd name="connsiteY13"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0224" y="1277"/>
                  </a:move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639" y="4469"/>
                    <a:pt x="639" y="4469"/>
                    <a:pt x="0" y="5107"/>
                  </a:cubicBezTo>
                  <a:cubicBezTo>
                    <a:pt x="0" y="5746"/>
                    <a:pt x="0" y="5746"/>
                    <a:pt x="0" y="6384"/>
                  </a:cubicBezTo>
                  <a:cubicBezTo>
                    <a:pt x="0" y="10214"/>
                    <a:pt x="3195" y="12768"/>
                    <a:pt x="6390" y="12768"/>
                  </a:cubicBezTo>
                  <a:cubicBezTo>
                    <a:pt x="7029" y="12768"/>
                    <a:pt x="8307"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10863" y="1915"/>
                    <a:pt x="10863" y="1277"/>
                    <a:pt x="10224"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grpSp>
      <p:grpSp>
        <p:nvGrpSpPr>
          <p:cNvPr id="632" name="Graphic 4">
            <a:extLst>
              <a:ext uri="{FF2B5EF4-FFF2-40B4-BE49-F238E27FC236}">
                <a16:creationId xmlns:a16="http://schemas.microsoft.com/office/drawing/2014/main" id="{BCD389C8-DF10-7D0E-E1A7-9F5DD32233A6}"/>
              </a:ext>
            </a:extLst>
          </p:cNvPr>
          <p:cNvGrpSpPr>
            <a:grpSpLocks noChangeAspect="1"/>
          </p:cNvGrpSpPr>
          <p:nvPr/>
        </p:nvGrpSpPr>
        <p:grpSpPr>
          <a:xfrm>
            <a:off x="9503737" y="2285747"/>
            <a:ext cx="293158" cy="234133"/>
            <a:chOff x="1589177" y="2466933"/>
            <a:chExt cx="213423" cy="170452"/>
          </a:xfrm>
          <a:solidFill>
            <a:srgbClr val="00B0F2"/>
          </a:solidFill>
        </p:grpSpPr>
        <p:sp>
          <p:nvSpPr>
            <p:cNvPr id="633" name="Graphic 4">
              <a:extLst>
                <a:ext uri="{FF2B5EF4-FFF2-40B4-BE49-F238E27FC236}">
                  <a16:creationId xmlns:a16="http://schemas.microsoft.com/office/drawing/2014/main" id="{97BF8DA9-67A9-4287-E1C0-8F8C0256386A}"/>
                </a:ext>
              </a:extLst>
            </p:cNvPr>
            <p:cNvSpPr/>
            <p:nvPr/>
          </p:nvSpPr>
          <p:spPr>
            <a:xfrm>
              <a:off x="1589177" y="2466933"/>
              <a:ext cx="213423" cy="170452"/>
            </a:xfrm>
            <a:custGeom>
              <a:avLst/>
              <a:gdLst>
                <a:gd name="connsiteX0" fmla="*/ 207034 w 213423"/>
                <a:gd name="connsiteY0" fmla="*/ 14045 h 170452"/>
                <a:gd name="connsiteX1" fmla="*/ 170611 w 213423"/>
                <a:gd name="connsiteY1" fmla="*/ 14045 h 170452"/>
                <a:gd name="connsiteX2" fmla="*/ 170611 w 213423"/>
                <a:gd name="connsiteY2" fmla="*/ 6384 h 170452"/>
                <a:gd name="connsiteX3" fmla="*/ 164221 w 213423"/>
                <a:gd name="connsiteY3" fmla="*/ 0 h 170452"/>
                <a:gd name="connsiteX4" fmla="*/ 49202 w 213423"/>
                <a:gd name="connsiteY4" fmla="*/ 0 h 170452"/>
                <a:gd name="connsiteX5" fmla="*/ 42813 w 213423"/>
                <a:gd name="connsiteY5" fmla="*/ 6384 h 170452"/>
                <a:gd name="connsiteX6" fmla="*/ 42813 w 213423"/>
                <a:gd name="connsiteY6" fmla="*/ 14045 h 170452"/>
                <a:gd name="connsiteX7" fmla="*/ 6390 w 213423"/>
                <a:gd name="connsiteY7" fmla="*/ 14045 h 170452"/>
                <a:gd name="connsiteX8" fmla="*/ 0 w 213423"/>
                <a:gd name="connsiteY8" fmla="*/ 20429 h 170452"/>
                <a:gd name="connsiteX9" fmla="*/ 0 w 213423"/>
                <a:gd name="connsiteY9" fmla="*/ 164068 h 170452"/>
                <a:gd name="connsiteX10" fmla="*/ 6390 w 213423"/>
                <a:gd name="connsiteY10" fmla="*/ 170452 h 170452"/>
                <a:gd name="connsiteX11" fmla="*/ 207034 w 213423"/>
                <a:gd name="connsiteY11" fmla="*/ 170452 h 170452"/>
                <a:gd name="connsiteX12" fmla="*/ 213424 w 213423"/>
                <a:gd name="connsiteY12" fmla="*/ 164068 h 170452"/>
                <a:gd name="connsiteX13" fmla="*/ 213424 w 213423"/>
                <a:gd name="connsiteY13" fmla="*/ 20429 h 170452"/>
                <a:gd name="connsiteX14" fmla="*/ 207034 w 213423"/>
                <a:gd name="connsiteY14" fmla="*/ 14045 h 170452"/>
                <a:gd name="connsiteX15" fmla="*/ 98405 w 213423"/>
                <a:gd name="connsiteY15" fmla="*/ 157684 h 170452"/>
                <a:gd name="connsiteX16" fmla="*/ 98405 w 213423"/>
                <a:gd name="connsiteY16" fmla="*/ 112997 h 170452"/>
                <a:gd name="connsiteX17" fmla="*/ 114380 w 213423"/>
                <a:gd name="connsiteY17" fmla="*/ 112997 h 170452"/>
                <a:gd name="connsiteX18" fmla="*/ 114380 w 213423"/>
                <a:gd name="connsiteY18" fmla="*/ 157684 h 170452"/>
                <a:gd name="connsiteX19" fmla="*/ 98405 w 213423"/>
                <a:gd name="connsiteY19" fmla="*/ 157684 h 170452"/>
                <a:gd name="connsiteX20" fmla="*/ 200644 w 213423"/>
                <a:gd name="connsiteY20" fmla="*/ 157684 h 170452"/>
                <a:gd name="connsiteX21" fmla="*/ 127160 w 213423"/>
                <a:gd name="connsiteY21" fmla="*/ 157684 h 170452"/>
                <a:gd name="connsiteX22" fmla="*/ 127160 w 213423"/>
                <a:gd name="connsiteY22" fmla="*/ 106613 h 170452"/>
                <a:gd name="connsiteX23" fmla="*/ 120770 w 213423"/>
                <a:gd name="connsiteY23" fmla="*/ 100229 h 170452"/>
                <a:gd name="connsiteX24" fmla="*/ 92015 w 213423"/>
                <a:gd name="connsiteY24" fmla="*/ 100229 h 170452"/>
                <a:gd name="connsiteX25" fmla="*/ 85625 w 213423"/>
                <a:gd name="connsiteY25" fmla="*/ 106613 h 170452"/>
                <a:gd name="connsiteX26" fmla="*/ 85625 w 213423"/>
                <a:gd name="connsiteY26" fmla="*/ 157684 h 170452"/>
                <a:gd name="connsiteX27" fmla="*/ 12141 w 213423"/>
                <a:gd name="connsiteY27" fmla="*/ 157684 h 170452"/>
                <a:gd name="connsiteX28" fmla="*/ 12141 w 213423"/>
                <a:gd name="connsiteY28" fmla="*/ 26813 h 170452"/>
                <a:gd name="connsiteX29" fmla="*/ 48563 w 213423"/>
                <a:gd name="connsiteY29" fmla="*/ 26813 h 170452"/>
                <a:gd name="connsiteX30" fmla="*/ 54953 w 213423"/>
                <a:gd name="connsiteY30" fmla="*/ 20429 h 170452"/>
                <a:gd name="connsiteX31" fmla="*/ 54953 w 213423"/>
                <a:gd name="connsiteY31" fmla="*/ 12768 h 170452"/>
                <a:gd name="connsiteX32" fmla="*/ 157192 w 213423"/>
                <a:gd name="connsiteY32" fmla="*/ 12768 h 170452"/>
                <a:gd name="connsiteX33" fmla="*/ 157192 w 213423"/>
                <a:gd name="connsiteY33" fmla="*/ 20429 h 170452"/>
                <a:gd name="connsiteX34" fmla="*/ 163582 w 213423"/>
                <a:gd name="connsiteY34" fmla="*/ 26813 h 170452"/>
                <a:gd name="connsiteX35" fmla="*/ 200005 w 213423"/>
                <a:gd name="connsiteY35" fmla="*/ 26813 h 170452"/>
                <a:gd name="connsiteX36" fmla="*/ 200644 w 213423"/>
                <a:gd name="connsiteY36" fmla="*/ 157684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3423" h="170452">
                  <a:moveTo>
                    <a:pt x="207034" y="14045"/>
                  </a:moveTo>
                  <a:lnTo>
                    <a:pt x="170611" y="14045"/>
                  </a:lnTo>
                  <a:lnTo>
                    <a:pt x="170611" y="6384"/>
                  </a:lnTo>
                  <a:cubicBezTo>
                    <a:pt x="170611" y="2554"/>
                    <a:pt x="168055" y="0"/>
                    <a:pt x="164221" y="0"/>
                  </a:cubicBezTo>
                  <a:lnTo>
                    <a:pt x="49202" y="0"/>
                  </a:lnTo>
                  <a:cubicBezTo>
                    <a:pt x="45369" y="0"/>
                    <a:pt x="42813" y="2554"/>
                    <a:pt x="42813" y="6384"/>
                  </a:cubicBezTo>
                  <a:lnTo>
                    <a:pt x="42813" y="14045"/>
                  </a:lnTo>
                  <a:lnTo>
                    <a:pt x="6390" y="14045"/>
                  </a:lnTo>
                  <a:cubicBezTo>
                    <a:pt x="2556" y="14045"/>
                    <a:pt x="0" y="16598"/>
                    <a:pt x="0" y="20429"/>
                  </a:cubicBezTo>
                  <a:lnTo>
                    <a:pt x="0" y="164068"/>
                  </a:lnTo>
                  <a:cubicBezTo>
                    <a:pt x="0" y="167899"/>
                    <a:pt x="2556" y="170452"/>
                    <a:pt x="6390" y="170452"/>
                  </a:cubicBezTo>
                  <a:lnTo>
                    <a:pt x="207034" y="170452"/>
                  </a:lnTo>
                  <a:cubicBezTo>
                    <a:pt x="210868" y="170452"/>
                    <a:pt x="213424" y="167899"/>
                    <a:pt x="213424" y="164068"/>
                  </a:cubicBezTo>
                  <a:lnTo>
                    <a:pt x="213424" y="20429"/>
                  </a:lnTo>
                  <a:cubicBezTo>
                    <a:pt x="213424" y="17237"/>
                    <a:pt x="210868" y="14045"/>
                    <a:pt x="207034" y="14045"/>
                  </a:cubicBezTo>
                  <a:close/>
                  <a:moveTo>
                    <a:pt x="98405" y="157684"/>
                  </a:moveTo>
                  <a:lnTo>
                    <a:pt x="98405" y="112997"/>
                  </a:lnTo>
                  <a:lnTo>
                    <a:pt x="114380" y="112997"/>
                  </a:lnTo>
                  <a:lnTo>
                    <a:pt x="114380" y="157684"/>
                  </a:lnTo>
                  <a:lnTo>
                    <a:pt x="98405" y="157684"/>
                  </a:lnTo>
                  <a:close/>
                  <a:moveTo>
                    <a:pt x="200644" y="157684"/>
                  </a:moveTo>
                  <a:lnTo>
                    <a:pt x="127160" y="157684"/>
                  </a:lnTo>
                  <a:lnTo>
                    <a:pt x="127160" y="106613"/>
                  </a:lnTo>
                  <a:cubicBezTo>
                    <a:pt x="127160" y="102782"/>
                    <a:pt x="124604" y="100229"/>
                    <a:pt x="120770" y="100229"/>
                  </a:cubicBezTo>
                  <a:lnTo>
                    <a:pt x="92015" y="100229"/>
                  </a:lnTo>
                  <a:cubicBezTo>
                    <a:pt x="88181" y="100229"/>
                    <a:pt x="85625" y="102782"/>
                    <a:pt x="85625" y="106613"/>
                  </a:cubicBezTo>
                  <a:lnTo>
                    <a:pt x="85625" y="157684"/>
                  </a:lnTo>
                  <a:lnTo>
                    <a:pt x="12141" y="157684"/>
                  </a:lnTo>
                  <a:lnTo>
                    <a:pt x="12141" y="26813"/>
                  </a:lnTo>
                  <a:lnTo>
                    <a:pt x="48563" y="26813"/>
                  </a:lnTo>
                  <a:cubicBezTo>
                    <a:pt x="52397" y="26813"/>
                    <a:pt x="54953" y="24259"/>
                    <a:pt x="54953" y="20429"/>
                  </a:cubicBezTo>
                  <a:lnTo>
                    <a:pt x="54953" y="12768"/>
                  </a:lnTo>
                  <a:lnTo>
                    <a:pt x="157192" y="12768"/>
                  </a:lnTo>
                  <a:lnTo>
                    <a:pt x="157192" y="20429"/>
                  </a:lnTo>
                  <a:cubicBezTo>
                    <a:pt x="157192" y="24259"/>
                    <a:pt x="159749" y="26813"/>
                    <a:pt x="163582" y="26813"/>
                  </a:cubicBezTo>
                  <a:lnTo>
                    <a:pt x="200005" y="26813"/>
                  </a:lnTo>
                  <a:lnTo>
                    <a:pt x="200644" y="157684"/>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34" name="Graphic 4">
              <a:extLst>
                <a:ext uri="{FF2B5EF4-FFF2-40B4-BE49-F238E27FC236}">
                  <a16:creationId xmlns:a16="http://schemas.microsoft.com/office/drawing/2014/main" id="{7E0EEF64-0B33-4F57-B749-41F23CB3E02B}"/>
                </a:ext>
              </a:extLst>
            </p:cNvPr>
            <p:cNvSpPr/>
            <p:nvPr/>
          </p:nvSpPr>
          <p:spPr>
            <a:xfrm>
              <a:off x="1761066" y="2595863"/>
              <a:ext cx="12779" cy="12644"/>
            </a:xfrm>
            <a:custGeom>
              <a:avLst/>
              <a:gdLst>
                <a:gd name="connsiteX0" fmla="*/ 1917 w 12779"/>
                <a:gd name="connsiteY0" fmla="*/ 10879 h 12644"/>
                <a:gd name="connsiteX1" fmla="*/ 3834 w 12779"/>
                <a:gd name="connsiteY1" fmla="*/ 12155 h 12644"/>
                <a:gd name="connsiteX2" fmla="*/ 12141 w 12779"/>
                <a:gd name="connsiteY2" fmla="*/ 8963 h 12644"/>
                <a:gd name="connsiteX3" fmla="*/ 12780 w 12779"/>
                <a:gd name="connsiteY3" fmla="*/ 6410 h 12644"/>
                <a:gd name="connsiteX4" fmla="*/ 12141 w 12779"/>
                <a:gd name="connsiteY4" fmla="*/ 3856 h 12644"/>
                <a:gd name="connsiteX5" fmla="*/ 10863 w 12779"/>
                <a:gd name="connsiteY5" fmla="*/ 1941 h 12644"/>
                <a:gd name="connsiteX6" fmla="*/ 3834 w 12779"/>
                <a:gd name="connsiteY6" fmla="*/ 664 h 12644"/>
                <a:gd name="connsiteX7" fmla="*/ 1917 w 12779"/>
                <a:gd name="connsiteY7" fmla="*/ 1941 h 12644"/>
                <a:gd name="connsiteX8" fmla="*/ 639 w 12779"/>
                <a:gd name="connsiteY8" fmla="*/ 3856 h 12644"/>
                <a:gd name="connsiteX9" fmla="*/ 0 w 12779"/>
                <a:gd name="connsiteY9" fmla="*/ 6410 h 12644"/>
                <a:gd name="connsiteX10" fmla="*/ 1917 w 12779"/>
                <a:gd name="connsiteY10" fmla="*/ 10879 h 12644"/>
                <a:gd name="connsiteX11" fmla="*/ 1917 w 12779"/>
                <a:gd name="connsiteY11" fmla="*/ 10879 h 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44">
                  <a:moveTo>
                    <a:pt x="1917" y="10879"/>
                  </a:moveTo>
                  <a:cubicBezTo>
                    <a:pt x="2556" y="11517"/>
                    <a:pt x="3195" y="12155"/>
                    <a:pt x="3834" y="12155"/>
                  </a:cubicBezTo>
                  <a:cubicBezTo>
                    <a:pt x="7029" y="13432"/>
                    <a:pt x="10863" y="12155"/>
                    <a:pt x="12141" y="8963"/>
                  </a:cubicBezTo>
                  <a:cubicBezTo>
                    <a:pt x="12780" y="8325"/>
                    <a:pt x="12780" y="7687"/>
                    <a:pt x="12780" y="6410"/>
                  </a:cubicBezTo>
                  <a:cubicBezTo>
                    <a:pt x="12780" y="5771"/>
                    <a:pt x="12780" y="4495"/>
                    <a:pt x="12141" y="3856"/>
                  </a:cubicBezTo>
                  <a:cubicBezTo>
                    <a:pt x="12141" y="3218"/>
                    <a:pt x="11502" y="2579"/>
                    <a:pt x="10863" y="1941"/>
                  </a:cubicBezTo>
                  <a:cubicBezTo>
                    <a:pt x="8946" y="26"/>
                    <a:pt x="6390" y="-613"/>
                    <a:pt x="3834" y="664"/>
                  </a:cubicBezTo>
                  <a:cubicBezTo>
                    <a:pt x="3195" y="1303"/>
                    <a:pt x="2556" y="1303"/>
                    <a:pt x="1917" y="1941"/>
                  </a:cubicBezTo>
                  <a:cubicBezTo>
                    <a:pt x="1278" y="2579"/>
                    <a:pt x="639" y="3218"/>
                    <a:pt x="639" y="3856"/>
                  </a:cubicBezTo>
                  <a:cubicBezTo>
                    <a:pt x="0" y="4495"/>
                    <a:pt x="0" y="5771"/>
                    <a:pt x="0" y="6410"/>
                  </a:cubicBezTo>
                  <a:cubicBezTo>
                    <a:pt x="0" y="8325"/>
                    <a:pt x="639" y="9602"/>
                    <a:pt x="1917" y="10879"/>
                  </a:cubicBezTo>
                  <a:lnTo>
                    <a:pt x="1917" y="10879"/>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35" name="Graphic 4">
              <a:extLst>
                <a:ext uri="{FF2B5EF4-FFF2-40B4-BE49-F238E27FC236}">
                  <a16:creationId xmlns:a16="http://schemas.microsoft.com/office/drawing/2014/main" id="{ACED901B-204D-5822-1BCE-816D7B7EBA77}"/>
                </a:ext>
              </a:extLst>
            </p:cNvPr>
            <p:cNvSpPr/>
            <p:nvPr/>
          </p:nvSpPr>
          <p:spPr>
            <a:xfrm>
              <a:off x="1732461" y="2567161"/>
              <a:ext cx="12630" cy="12608"/>
            </a:xfrm>
            <a:custGeom>
              <a:avLst/>
              <a:gdLst>
                <a:gd name="connsiteX0" fmla="*/ 10075 w 12630"/>
                <a:gd name="connsiteY0" fmla="*/ 1277 h 12608"/>
                <a:gd name="connsiteX1" fmla="*/ 8797 w 12630"/>
                <a:gd name="connsiteY1" fmla="*/ 638 h 12608"/>
                <a:gd name="connsiteX2" fmla="*/ 7519 w 12630"/>
                <a:gd name="connsiteY2" fmla="*/ 0 h 12608"/>
                <a:gd name="connsiteX3" fmla="*/ 3685 w 12630"/>
                <a:gd name="connsiteY3" fmla="*/ 638 h 12608"/>
                <a:gd name="connsiteX4" fmla="*/ 2407 w 12630"/>
                <a:gd name="connsiteY4" fmla="*/ 1277 h 12608"/>
                <a:gd name="connsiteX5" fmla="*/ 1768 w 12630"/>
                <a:gd name="connsiteY5" fmla="*/ 1915 h 12608"/>
                <a:gd name="connsiteX6" fmla="*/ 490 w 12630"/>
                <a:gd name="connsiteY6" fmla="*/ 3830 h 12608"/>
                <a:gd name="connsiteX7" fmla="*/ 3685 w 12630"/>
                <a:gd name="connsiteY7" fmla="*/ 12130 h 12608"/>
                <a:gd name="connsiteX8" fmla="*/ 8797 w 12630"/>
                <a:gd name="connsiteY8" fmla="*/ 12130 h 12608"/>
                <a:gd name="connsiteX9" fmla="*/ 10714 w 12630"/>
                <a:gd name="connsiteY9" fmla="*/ 10853 h 12608"/>
                <a:gd name="connsiteX10" fmla="*/ 12631 w 12630"/>
                <a:gd name="connsiteY10" fmla="*/ 6384 h 12608"/>
                <a:gd name="connsiteX11" fmla="*/ 10714 w 12630"/>
                <a:gd name="connsiteY11" fmla="*/ 1915 h 12608"/>
                <a:gd name="connsiteX12" fmla="*/ 10075 w 12630"/>
                <a:gd name="connsiteY12" fmla="*/ 1277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 h="12608">
                  <a:moveTo>
                    <a:pt x="10075" y="1277"/>
                  </a:moveTo>
                  <a:lnTo>
                    <a:pt x="8797" y="638"/>
                  </a:lnTo>
                  <a:lnTo>
                    <a:pt x="7519" y="0"/>
                  </a:lnTo>
                  <a:cubicBezTo>
                    <a:pt x="6241" y="0"/>
                    <a:pt x="4963" y="0"/>
                    <a:pt x="3685" y="638"/>
                  </a:cubicBezTo>
                  <a:lnTo>
                    <a:pt x="2407" y="1277"/>
                  </a:lnTo>
                  <a:lnTo>
                    <a:pt x="1768" y="1915"/>
                  </a:lnTo>
                  <a:cubicBezTo>
                    <a:pt x="1129" y="2554"/>
                    <a:pt x="490" y="3192"/>
                    <a:pt x="490" y="3830"/>
                  </a:cubicBezTo>
                  <a:cubicBezTo>
                    <a:pt x="-788" y="7022"/>
                    <a:pt x="490" y="10853"/>
                    <a:pt x="3685" y="12130"/>
                  </a:cubicBezTo>
                  <a:cubicBezTo>
                    <a:pt x="4963" y="12768"/>
                    <a:pt x="6880" y="12768"/>
                    <a:pt x="8797" y="12130"/>
                  </a:cubicBezTo>
                  <a:cubicBezTo>
                    <a:pt x="9436" y="12130"/>
                    <a:pt x="10075" y="11491"/>
                    <a:pt x="10714" y="10853"/>
                  </a:cubicBezTo>
                  <a:cubicBezTo>
                    <a:pt x="11992" y="9576"/>
                    <a:pt x="12631" y="8299"/>
                    <a:pt x="12631" y="6384"/>
                  </a:cubicBezTo>
                  <a:cubicBezTo>
                    <a:pt x="12631" y="4469"/>
                    <a:pt x="11992" y="3192"/>
                    <a:pt x="10714" y="1915"/>
                  </a:cubicBezTo>
                  <a:cubicBezTo>
                    <a:pt x="10714" y="1277"/>
                    <a:pt x="10075" y="1277"/>
                    <a:pt x="10075"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36" name="Graphic 4">
              <a:extLst>
                <a:ext uri="{FF2B5EF4-FFF2-40B4-BE49-F238E27FC236}">
                  <a16:creationId xmlns:a16="http://schemas.microsoft.com/office/drawing/2014/main" id="{DC4010B7-BBB0-EDE9-B1CF-5DD8EEB1598B}"/>
                </a:ext>
              </a:extLst>
            </p:cNvPr>
            <p:cNvSpPr/>
            <p:nvPr/>
          </p:nvSpPr>
          <p:spPr>
            <a:xfrm>
              <a:off x="1761066" y="2567161"/>
              <a:ext cx="12779" cy="12768"/>
            </a:xfrm>
            <a:custGeom>
              <a:avLst/>
              <a:gdLst>
                <a:gd name="connsiteX0" fmla="*/ 6390 w 12779"/>
                <a:gd name="connsiteY0" fmla="*/ 12768 h 12768"/>
                <a:gd name="connsiteX1" fmla="*/ 12141 w 12779"/>
                <a:gd name="connsiteY1" fmla="*/ 8938 h 12768"/>
                <a:gd name="connsiteX2" fmla="*/ 12780 w 12779"/>
                <a:gd name="connsiteY2" fmla="*/ 6384 h 12768"/>
                <a:gd name="connsiteX3" fmla="*/ 10863 w 12779"/>
                <a:gd name="connsiteY3" fmla="*/ 1915 h 12768"/>
                <a:gd name="connsiteX4" fmla="*/ 1917 w 12779"/>
                <a:gd name="connsiteY4" fmla="*/ 1915 h 12768"/>
                <a:gd name="connsiteX5" fmla="*/ 1917 w 12779"/>
                <a:gd name="connsiteY5" fmla="*/ 1915 h 12768"/>
                <a:gd name="connsiteX6" fmla="*/ 0 w 12779"/>
                <a:gd name="connsiteY6" fmla="*/ 6384 h 12768"/>
                <a:gd name="connsiteX7" fmla="*/ 6390 w 12779"/>
                <a:gd name="connsiteY7" fmla="*/ 12768 h 12768"/>
                <a:gd name="connsiteX8" fmla="*/ 6390 w 12779"/>
                <a:gd name="connsiteY8"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6390" y="12768"/>
                  </a:moveTo>
                  <a:cubicBezTo>
                    <a:pt x="8946" y="12768"/>
                    <a:pt x="11502" y="11491"/>
                    <a:pt x="12141" y="8938"/>
                  </a:cubicBezTo>
                  <a:cubicBezTo>
                    <a:pt x="12780" y="8299"/>
                    <a:pt x="12780" y="7022"/>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37" name="Graphic 4">
              <a:extLst>
                <a:ext uri="{FF2B5EF4-FFF2-40B4-BE49-F238E27FC236}">
                  <a16:creationId xmlns:a16="http://schemas.microsoft.com/office/drawing/2014/main" id="{4D687D31-EEFD-0208-88A5-6897B9926513}"/>
                </a:ext>
              </a:extLst>
            </p:cNvPr>
            <p:cNvSpPr/>
            <p:nvPr/>
          </p:nvSpPr>
          <p:spPr>
            <a:xfrm>
              <a:off x="1732311"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38" name="Graphic 4">
              <a:extLst>
                <a:ext uri="{FF2B5EF4-FFF2-40B4-BE49-F238E27FC236}">
                  <a16:creationId xmlns:a16="http://schemas.microsoft.com/office/drawing/2014/main" id="{EA7E41D1-4B9C-5881-91E5-49E96A944DCC}"/>
                </a:ext>
              </a:extLst>
            </p:cNvPr>
            <p:cNvSpPr/>
            <p:nvPr/>
          </p:nvSpPr>
          <p:spPr>
            <a:xfrm>
              <a:off x="1617442" y="2567161"/>
              <a:ext cx="12630" cy="12768"/>
            </a:xfrm>
            <a:custGeom>
              <a:avLst/>
              <a:gdLst>
                <a:gd name="connsiteX0" fmla="*/ 1768 w 12630"/>
                <a:gd name="connsiteY0" fmla="*/ 1915 h 12768"/>
                <a:gd name="connsiteX1" fmla="*/ 490 w 12630"/>
                <a:gd name="connsiteY1" fmla="*/ 3830 h 12768"/>
                <a:gd name="connsiteX2" fmla="*/ 3685 w 12630"/>
                <a:gd name="connsiteY2" fmla="*/ 12130 h 12768"/>
                <a:gd name="connsiteX3" fmla="*/ 6241 w 12630"/>
                <a:gd name="connsiteY3" fmla="*/ 12768 h 12768"/>
                <a:gd name="connsiteX4" fmla="*/ 10714 w 12630"/>
                <a:gd name="connsiteY4" fmla="*/ 10853 h 12768"/>
                <a:gd name="connsiteX5" fmla="*/ 12631 w 12630"/>
                <a:gd name="connsiteY5" fmla="*/ 6384 h 12768"/>
                <a:gd name="connsiteX6" fmla="*/ 10714 w 12630"/>
                <a:gd name="connsiteY6" fmla="*/ 1915 h 12768"/>
                <a:gd name="connsiteX7" fmla="*/ 1768 w 12630"/>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8">
                  <a:moveTo>
                    <a:pt x="1768" y="1915"/>
                  </a:moveTo>
                  <a:cubicBezTo>
                    <a:pt x="1129" y="2554"/>
                    <a:pt x="490" y="3192"/>
                    <a:pt x="490" y="3830"/>
                  </a:cubicBezTo>
                  <a:cubicBezTo>
                    <a:pt x="-788" y="7022"/>
                    <a:pt x="490" y="10853"/>
                    <a:pt x="3685" y="12130"/>
                  </a:cubicBezTo>
                  <a:cubicBezTo>
                    <a:pt x="4324" y="12768"/>
                    <a:pt x="5602" y="12768"/>
                    <a:pt x="6241" y="12768"/>
                  </a:cubicBezTo>
                  <a:cubicBezTo>
                    <a:pt x="8158" y="12768"/>
                    <a:pt x="9436" y="12130"/>
                    <a:pt x="10714" y="10853"/>
                  </a:cubicBezTo>
                  <a:cubicBezTo>
                    <a:pt x="11992" y="9576"/>
                    <a:pt x="12631" y="8299"/>
                    <a:pt x="12631" y="6384"/>
                  </a:cubicBezTo>
                  <a:cubicBezTo>
                    <a:pt x="12631" y="4469"/>
                    <a:pt x="11992" y="3192"/>
                    <a:pt x="10714" y="1915"/>
                  </a:cubicBezTo>
                  <a:cubicBezTo>
                    <a:pt x="8797" y="-638"/>
                    <a:pt x="4324" y="-638"/>
                    <a:pt x="1768"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39" name="Graphic 4">
              <a:extLst>
                <a:ext uri="{FF2B5EF4-FFF2-40B4-BE49-F238E27FC236}">
                  <a16:creationId xmlns:a16="http://schemas.microsoft.com/office/drawing/2014/main" id="{D99B8B22-CFE4-D36A-B851-49C196623DBC}"/>
                </a:ext>
              </a:extLst>
            </p:cNvPr>
            <p:cNvSpPr/>
            <p:nvPr/>
          </p:nvSpPr>
          <p:spPr>
            <a:xfrm>
              <a:off x="1646686" y="2595863"/>
              <a:ext cx="12779" cy="12793"/>
            </a:xfrm>
            <a:custGeom>
              <a:avLst/>
              <a:gdLst>
                <a:gd name="connsiteX0" fmla="*/ 10863 w 12779"/>
                <a:gd name="connsiteY0" fmla="*/ 1941 h 12793"/>
                <a:gd name="connsiteX1" fmla="*/ 8946 w 12779"/>
                <a:gd name="connsiteY1" fmla="*/ 664 h 12793"/>
                <a:gd name="connsiteX2" fmla="*/ 1917 w 12779"/>
                <a:gd name="connsiteY2" fmla="*/ 1941 h 12793"/>
                <a:gd name="connsiteX3" fmla="*/ 639 w 12779"/>
                <a:gd name="connsiteY3" fmla="*/ 3856 h 12793"/>
                <a:gd name="connsiteX4" fmla="*/ 0 w 12779"/>
                <a:gd name="connsiteY4" fmla="*/ 6410 h 12793"/>
                <a:gd name="connsiteX5" fmla="*/ 6390 w 12779"/>
                <a:gd name="connsiteY5" fmla="*/ 12794 h 12793"/>
                <a:gd name="connsiteX6" fmla="*/ 10863 w 12779"/>
                <a:gd name="connsiteY6" fmla="*/ 10879 h 12793"/>
                <a:gd name="connsiteX7" fmla="*/ 12141 w 12779"/>
                <a:gd name="connsiteY7" fmla="*/ 8963 h 12793"/>
                <a:gd name="connsiteX8" fmla="*/ 12780 w 12779"/>
                <a:gd name="connsiteY8" fmla="*/ 6410 h 12793"/>
                <a:gd name="connsiteX9" fmla="*/ 12141 w 12779"/>
                <a:gd name="connsiteY9" fmla="*/ 3856 h 12793"/>
                <a:gd name="connsiteX10" fmla="*/ 10863 w 12779"/>
                <a:gd name="connsiteY10" fmla="*/ 1941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93">
                  <a:moveTo>
                    <a:pt x="10863" y="1941"/>
                  </a:moveTo>
                  <a:cubicBezTo>
                    <a:pt x="10224" y="1303"/>
                    <a:pt x="9585" y="664"/>
                    <a:pt x="8946" y="664"/>
                  </a:cubicBezTo>
                  <a:cubicBezTo>
                    <a:pt x="6390" y="-613"/>
                    <a:pt x="3834" y="26"/>
                    <a:pt x="1917" y="1941"/>
                  </a:cubicBezTo>
                  <a:cubicBezTo>
                    <a:pt x="1278" y="2579"/>
                    <a:pt x="639" y="3218"/>
                    <a:pt x="639" y="3856"/>
                  </a:cubicBezTo>
                  <a:cubicBezTo>
                    <a:pt x="0" y="4495"/>
                    <a:pt x="0" y="5771"/>
                    <a:pt x="0" y="6410"/>
                  </a:cubicBezTo>
                  <a:cubicBezTo>
                    <a:pt x="0" y="10240"/>
                    <a:pt x="3195" y="12794"/>
                    <a:pt x="6390" y="12794"/>
                  </a:cubicBezTo>
                  <a:cubicBezTo>
                    <a:pt x="8307" y="12794"/>
                    <a:pt x="9585" y="12155"/>
                    <a:pt x="10863" y="10879"/>
                  </a:cubicBezTo>
                  <a:cubicBezTo>
                    <a:pt x="11502" y="10240"/>
                    <a:pt x="12141" y="9602"/>
                    <a:pt x="12141" y="8963"/>
                  </a:cubicBezTo>
                  <a:cubicBezTo>
                    <a:pt x="12780" y="8325"/>
                    <a:pt x="12780" y="7687"/>
                    <a:pt x="12780" y="6410"/>
                  </a:cubicBezTo>
                  <a:cubicBezTo>
                    <a:pt x="12780" y="5771"/>
                    <a:pt x="12780" y="4495"/>
                    <a:pt x="12141" y="3856"/>
                  </a:cubicBezTo>
                  <a:cubicBezTo>
                    <a:pt x="11502" y="3218"/>
                    <a:pt x="10863" y="2579"/>
                    <a:pt x="10863" y="1941"/>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0" name="Graphic 4">
              <a:extLst>
                <a:ext uri="{FF2B5EF4-FFF2-40B4-BE49-F238E27FC236}">
                  <a16:creationId xmlns:a16="http://schemas.microsoft.com/office/drawing/2014/main" id="{DA2AF649-8712-B368-41F9-B7606AE1EC48}"/>
                </a:ext>
              </a:extLst>
            </p:cNvPr>
            <p:cNvSpPr/>
            <p:nvPr/>
          </p:nvSpPr>
          <p:spPr>
            <a:xfrm>
              <a:off x="1617932"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1502"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1" name="Graphic 4">
              <a:extLst>
                <a:ext uri="{FF2B5EF4-FFF2-40B4-BE49-F238E27FC236}">
                  <a16:creationId xmlns:a16="http://schemas.microsoft.com/office/drawing/2014/main" id="{C39BA230-A5DC-D5F2-8641-CF809E07A595}"/>
                </a:ext>
              </a:extLst>
            </p:cNvPr>
            <p:cNvSpPr/>
            <p:nvPr/>
          </p:nvSpPr>
          <p:spPr>
            <a:xfrm>
              <a:off x="1646686" y="2567161"/>
              <a:ext cx="12779" cy="12768"/>
            </a:xfrm>
            <a:custGeom>
              <a:avLst/>
              <a:gdLst>
                <a:gd name="connsiteX0" fmla="*/ 10863 w 12779"/>
                <a:gd name="connsiteY0" fmla="*/ 1915 h 12768"/>
                <a:gd name="connsiteX1" fmla="*/ 1917 w 12779"/>
                <a:gd name="connsiteY1" fmla="*/ 1915 h 12768"/>
                <a:gd name="connsiteX2" fmla="*/ 1917 w 12779"/>
                <a:gd name="connsiteY2" fmla="*/ 1915 h 12768"/>
                <a:gd name="connsiteX3" fmla="*/ 0 w 12779"/>
                <a:gd name="connsiteY3" fmla="*/ 6384 h 12768"/>
                <a:gd name="connsiteX4" fmla="*/ 6390 w 12779"/>
                <a:gd name="connsiteY4" fmla="*/ 12768 h 12768"/>
                <a:gd name="connsiteX5" fmla="*/ 12780 w 12779"/>
                <a:gd name="connsiteY5" fmla="*/ 6384 h 12768"/>
                <a:gd name="connsiteX6" fmla="*/ 10863 w 12779"/>
                <a:gd name="connsiteY6" fmla="*/ 1915 h 12768"/>
                <a:gd name="connsiteX7" fmla="*/ 10863 w 12779"/>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8">
                  <a:moveTo>
                    <a:pt x="10863" y="1915"/>
                  </a:moveTo>
                  <a:cubicBezTo>
                    <a:pt x="8307" y="-638"/>
                    <a:pt x="4473" y="-638"/>
                    <a:pt x="1917" y="1915"/>
                  </a:cubicBezTo>
                  <a:cubicBezTo>
                    <a:pt x="1917" y="1915"/>
                    <a:pt x="1917" y="1915"/>
                    <a:pt x="1917" y="1915"/>
                  </a:cubicBezTo>
                  <a:cubicBezTo>
                    <a:pt x="639" y="3192"/>
                    <a:pt x="0" y="4469"/>
                    <a:pt x="0" y="6384"/>
                  </a:cubicBezTo>
                  <a:cubicBezTo>
                    <a:pt x="0" y="10214"/>
                    <a:pt x="2556" y="12768"/>
                    <a:pt x="6390" y="12768"/>
                  </a:cubicBezTo>
                  <a:cubicBezTo>
                    <a:pt x="10224" y="12768"/>
                    <a:pt x="12780" y="10214"/>
                    <a:pt x="12780" y="6384"/>
                  </a:cubicBezTo>
                  <a:cubicBezTo>
                    <a:pt x="12780" y="4469"/>
                    <a:pt x="11502" y="3192"/>
                    <a:pt x="10863" y="1915"/>
                  </a:cubicBezTo>
                  <a:lnTo>
                    <a:pt x="10863" y="1915"/>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2" name="Graphic 4">
              <a:extLst>
                <a:ext uri="{FF2B5EF4-FFF2-40B4-BE49-F238E27FC236}">
                  <a16:creationId xmlns:a16="http://schemas.microsoft.com/office/drawing/2014/main" id="{CC361778-B0DE-C3C1-D80D-D5954BA206B5}"/>
                </a:ext>
              </a:extLst>
            </p:cNvPr>
            <p:cNvSpPr/>
            <p:nvPr/>
          </p:nvSpPr>
          <p:spPr>
            <a:xfrm>
              <a:off x="1732311" y="2538433"/>
              <a:ext cx="12779" cy="12768"/>
            </a:xfrm>
            <a:custGeom>
              <a:avLst/>
              <a:gdLst>
                <a:gd name="connsiteX0" fmla="*/ 1917 w 12779"/>
                <a:gd name="connsiteY0" fmla="*/ 1915 h 12768"/>
                <a:gd name="connsiteX1" fmla="*/ 0 w 12779"/>
                <a:gd name="connsiteY1" fmla="*/ 6384 h 12768"/>
                <a:gd name="connsiteX2" fmla="*/ 639 w 12779"/>
                <a:gd name="connsiteY2" fmla="*/ 8938 h 12768"/>
                <a:gd name="connsiteX3" fmla="*/ 1917 w 12779"/>
                <a:gd name="connsiteY3" fmla="*/ 10853 h 12768"/>
                <a:gd name="connsiteX4" fmla="*/ 6390 w 12779"/>
                <a:gd name="connsiteY4" fmla="*/ 12768 h 12768"/>
                <a:gd name="connsiteX5" fmla="*/ 10863 w 12779"/>
                <a:gd name="connsiteY5" fmla="*/ 10853 h 12768"/>
                <a:gd name="connsiteX6" fmla="*/ 12141 w 12779"/>
                <a:gd name="connsiteY6" fmla="*/ 8938 h 12768"/>
                <a:gd name="connsiteX7" fmla="*/ 12780 w 12779"/>
                <a:gd name="connsiteY7" fmla="*/ 6384 h 12768"/>
                <a:gd name="connsiteX8" fmla="*/ 10863 w 12779"/>
                <a:gd name="connsiteY8" fmla="*/ 1915 h 12768"/>
                <a:gd name="connsiteX9" fmla="*/ 1917 w 12779"/>
                <a:gd name="connsiteY9"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1917" y="1915"/>
                  </a:moveTo>
                  <a:cubicBezTo>
                    <a:pt x="639" y="3192"/>
                    <a:pt x="0" y="4469"/>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3" name="Graphic 4">
              <a:extLst>
                <a:ext uri="{FF2B5EF4-FFF2-40B4-BE49-F238E27FC236}">
                  <a16:creationId xmlns:a16="http://schemas.microsoft.com/office/drawing/2014/main" id="{5D9F258B-2504-1C80-CAFC-4EA42BD26780}"/>
                </a:ext>
              </a:extLst>
            </p:cNvPr>
            <p:cNvSpPr/>
            <p:nvPr/>
          </p:nvSpPr>
          <p:spPr>
            <a:xfrm>
              <a:off x="1732461" y="2509865"/>
              <a:ext cx="12630" cy="12608"/>
            </a:xfrm>
            <a:custGeom>
              <a:avLst/>
              <a:gdLst>
                <a:gd name="connsiteX0" fmla="*/ 11992 w 12630"/>
                <a:gd name="connsiteY0" fmla="*/ 3671 h 12608"/>
                <a:gd name="connsiteX1" fmla="*/ 10714 w 12630"/>
                <a:gd name="connsiteY1" fmla="*/ 1756 h 12608"/>
                <a:gd name="connsiteX2" fmla="*/ 8797 w 12630"/>
                <a:gd name="connsiteY2" fmla="*/ 479 h 12608"/>
                <a:gd name="connsiteX3" fmla="*/ 3685 w 12630"/>
                <a:gd name="connsiteY3" fmla="*/ 479 h 12608"/>
                <a:gd name="connsiteX4" fmla="*/ 490 w 12630"/>
                <a:gd name="connsiteY4" fmla="*/ 8778 h 12608"/>
                <a:gd name="connsiteX5" fmla="*/ 1768 w 12630"/>
                <a:gd name="connsiteY5" fmla="*/ 10693 h 12608"/>
                <a:gd name="connsiteX6" fmla="*/ 3685 w 12630"/>
                <a:gd name="connsiteY6" fmla="*/ 11970 h 12608"/>
                <a:gd name="connsiteX7" fmla="*/ 6241 w 12630"/>
                <a:gd name="connsiteY7" fmla="*/ 12608 h 12608"/>
                <a:gd name="connsiteX8" fmla="*/ 12631 w 12630"/>
                <a:gd name="connsiteY8" fmla="*/ 6224 h 12608"/>
                <a:gd name="connsiteX9" fmla="*/ 12631 w 12630"/>
                <a:gd name="connsiteY9" fmla="*/ 4947 h 12608"/>
                <a:gd name="connsiteX10" fmla="*/ 11992 w 12630"/>
                <a:gd name="connsiteY10" fmla="*/ 3671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30" h="12608">
                  <a:moveTo>
                    <a:pt x="11992" y="3671"/>
                  </a:moveTo>
                  <a:cubicBezTo>
                    <a:pt x="11992" y="3032"/>
                    <a:pt x="11353" y="2394"/>
                    <a:pt x="10714" y="1756"/>
                  </a:cubicBezTo>
                  <a:cubicBezTo>
                    <a:pt x="10075" y="1117"/>
                    <a:pt x="9436" y="479"/>
                    <a:pt x="8797" y="479"/>
                  </a:cubicBezTo>
                  <a:cubicBezTo>
                    <a:pt x="7519" y="-160"/>
                    <a:pt x="5602" y="-160"/>
                    <a:pt x="3685" y="479"/>
                  </a:cubicBezTo>
                  <a:cubicBezTo>
                    <a:pt x="490" y="1756"/>
                    <a:pt x="-788" y="5586"/>
                    <a:pt x="490" y="8778"/>
                  </a:cubicBezTo>
                  <a:cubicBezTo>
                    <a:pt x="1129" y="9416"/>
                    <a:pt x="1129" y="10055"/>
                    <a:pt x="1768" y="10693"/>
                  </a:cubicBezTo>
                  <a:cubicBezTo>
                    <a:pt x="2407" y="11331"/>
                    <a:pt x="3046" y="11970"/>
                    <a:pt x="3685" y="11970"/>
                  </a:cubicBezTo>
                  <a:cubicBezTo>
                    <a:pt x="4324" y="12608"/>
                    <a:pt x="5602" y="12608"/>
                    <a:pt x="6241" y="12608"/>
                  </a:cubicBezTo>
                  <a:cubicBezTo>
                    <a:pt x="10075" y="12608"/>
                    <a:pt x="12631" y="10055"/>
                    <a:pt x="12631" y="6224"/>
                  </a:cubicBezTo>
                  <a:cubicBezTo>
                    <a:pt x="12631" y="5586"/>
                    <a:pt x="12631" y="5586"/>
                    <a:pt x="12631" y="4947"/>
                  </a:cubicBezTo>
                  <a:lnTo>
                    <a:pt x="11992" y="367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4" name="Graphic 4">
              <a:extLst>
                <a:ext uri="{FF2B5EF4-FFF2-40B4-BE49-F238E27FC236}">
                  <a16:creationId xmlns:a16="http://schemas.microsoft.com/office/drawing/2014/main" id="{1B64ADCB-C730-6BE4-04C3-1FF50AEE7BA6}"/>
                </a:ext>
              </a:extLst>
            </p:cNvPr>
            <p:cNvSpPr/>
            <p:nvPr/>
          </p:nvSpPr>
          <p:spPr>
            <a:xfrm>
              <a:off x="1761066" y="2538433"/>
              <a:ext cx="12779" cy="12768"/>
            </a:xfrm>
            <a:custGeom>
              <a:avLst/>
              <a:gdLst>
                <a:gd name="connsiteX0" fmla="*/ 1917 w 12779"/>
                <a:gd name="connsiteY0" fmla="*/ 10853 h 12768"/>
                <a:gd name="connsiteX1" fmla="*/ 10863 w 12779"/>
                <a:gd name="connsiteY1" fmla="*/ 10853 h 12768"/>
                <a:gd name="connsiteX2" fmla="*/ 10863 w 12779"/>
                <a:gd name="connsiteY2" fmla="*/ 10853 h 12768"/>
                <a:gd name="connsiteX3" fmla="*/ 12141 w 12779"/>
                <a:gd name="connsiteY3" fmla="*/ 8938 h 12768"/>
                <a:gd name="connsiteX4" fmla="*/ 12780 w 12779"/>
                <a:gd name="connsiteY4" fmla="*/ 6384 h 12768"/>
                <a:gd name="connsiteX5" fmla="*/ 6390 w 12779"/>
                <a:gd name="connsiteY5" fmla="*/ 0 h 12768"/>
                <a:gd name="connsiteX6" fmla="*/ 0 w 12779"/>
                <a:gd name="connsiteY6" fmla="*/ 6384 h 12768"/>
                <a:gd name="connsiteX7" fmla="*/ 639 w 12779"/>
                <a:gd name="connsiteY7" fmla="*/ 8938 h 12768"/>
                <a:gd name="connsiteX8" fmla="*/ 1917 w 12779"/>
                <a:gd name="connsiteY8"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1917" y="10853"/>
                  </a:moveTo>
                  <a:cubicBezTo>
                    <a:pt x="4473" y="13406"/>
                    <a:pt x="8307" y="13406"/>
                    <a:pt x="10863" y="10853"/>
                  </a:cubicBezTo>
                  <a:cubicBezTo>
                    <a:pt x="10863" y="10853"/>
                    <a:pt x="10863" y="10853"/>
                    <a:pt x="10863" y="10853"/>
                  </a:cubicBezTo>
                  <a:cubicBezTo>
                    <a:pt x="11502" y="10214"/>
                    <a:pt x="12141" y="9576"/>
                    <a:pt x="12141" y="8938"/>
                  </a:cubicBezTo>
                  <a:cubicBezTo>
                    <a:pt x="12780" y="8299"/>
                    <a:pt x="12780" y="7661"/>
                    <a:pt x="12780" y="6384"/>
                  </a:cubicBezTo>
                  <a:cubicBezTo>
                    <a:pt x="12780" y="2554"/>
                    <a:pt x="10224" y="0"/>
                    <a:pt x="6390" y="0"/>
                  </a:cubicBezTo>
                  <a:cubicBezTo>
                    <a:pt x="2556" y="0"/>
                    <a:pt x="0" y="2554"/>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5" name="Graphic 4">
              <a:extLst>
                <a:ext uri="{FF2B5EF4-FFF2-40B4-BE49-F238E27FC236}">
                  <a16:creationId xmlns:a16="http://schemas.microsoft.com/office/drawing/2014/main" id="{DE68108F-DE74-7933-75D6-DEF04DA1EE0C}"/>
                </a:ext>
              </a:extLst>
            </p:cNvPr>
            <p:cNvSpPr/>
            <p:nvPr/>
          </p:nvSpPr>
          <p:spPr>
            <a:xfrm>
              <a:off x="1761066" y="2509706"/>
              <a:ext cx="12779" cy="12608"/>
            </a:xfrm>
            <a:custGeom>
              <a:avLst/>
              <a:gdLst>
                <a:gd name="connsiteX0" fmla="*/ 1917 w 12779"/>
                <a:gd name="connsiteY0" fmla="*/ 10853 h 12608"/>
                <a:gd name="connsiteX1" fmla="*/ 3834 w 12779"/>
                <a:gd name="connsiteY1" fmla="*/ 12130 h 12608"/>
                <a:gd name="connsiteX2" fmla="*/ 8946 w 12779"/>
                <a:gd name="connsiteY2" fmla="*/ 12130 h 12608"/>
                <a:gd name="connsiteX3" fmla="*/ 12141 w 12779"/>
                <a:gd name="connsiteY3" fmla="*/ 8938 h 12608"/>
                <a:gd name="connsiteX4" fmla="*/ 12780 w 12779"/>
                <a:gd name="connsiteY4" fmla="*/ 6384 h 12608"/>
                <a:gd name="connsiteX5" fmla="*/ 10863 w 12779"/>
                <a:gd name="connsiteY5" fmla="*/ 1915 h 12608"/>
                <a:gd name="connsiteX6" fmla="*/ 5112 w 12779"/>
                <a:gd name="connsiteY6" fmla="*/ 0 h 12608"/>
                <a:gd name="connsiteX7" fmla="*/ 3834 w 12779"/>
                <a:gd name="connsiteY7" fmla="*/ 638 h 12608"/>
                <a:gd name="connsiteX8" fmla="*/ 2556 w 12779"/>
                <a:gd name="connsiteY8" fmla="*/ 1277 h 12608"/>
                <a:gd name="connsiteX9" fmla="*/ 1917 w 12779"/>
                <a:gd name="connsiteY9" fmla="*/ 1915 h 12608"/>
                <a:gd name="connsiteX10" fmla="*/ 0 w 12779"/>
                <a:gd name="connsiteY10" fmla="*/ 6384 h 12608"/>
                <a:gd name="connsiteX11" fmla="*/ 639 w 12779"/>
                <a:gd name="connsiteY11" fmla="*/ 8938 h 12608"/>
                <a:gd name="connsiteX12" fmla="*/ 1917 w 12779"/>
                <a:gd name="connsiteY12" fmla="*/ 1085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608">
                  <a:moveTo>
                    <a:pt x="1917" y="10853"/>
                  </a:moveTo>
                  <a:cubicBezTo>
                    <a:pt x="2556" y="11491"/>
                    <a:pt x="3195" y="12130"/>
                    <a:pt x="3834" y="12130"/>
                  </a:cubicBezTo>
                  <a:cubicBezTo>
                    <a:pt x="5112" y="12768"/>
                    <a:pt x="7029"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9585" y="638"/>
                    <a:pt x="7029" y="0"/>
                    <a:pt x="5112" y="0"/>
                  </a:cubicBezTo>
                  <a:cubicBezTo>
                    <a:pt x="4473" y="0"/>
                    <a:pt x="4473" y="0"/>
                    <a:pt x="3834" y="638"/>
                  </a:cubicBezTo>
                  <a:cubicBezTo>
                    <a:pt x="3195" y="638"/>
                    <a:pt x="3195" y="1277"/>
                    <a:pt x="2556" y="1277"/>
                  </a:cubicBezTo>
                  <a:lnTo>
                    <a:pt x="1917" y="1915"/>
                  </a:ln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6" name="Graphic 4">
              <a:extLst>
                <a:ext uri="{FF2B5EF4-FFF2-40B4-BE49-F238E27FC236}">
                  <a16:creationId xmlns:a16="http://schemas.microsoft.com/office/drawing/2014/main" id="{994433BC-362C-8CBE-F4AF-C2DB2D2DBCE7}"/>
                </a:ext>
              </a:extLst>
            </p:cNvPr>
            <p:cNvSpPr/>
            <p:nvPr/>
          </p:nvSpPr>
          <p:spPr>
            <a:xfrm>
              <a:off x="1674802" y="2538433"/>
              <a:ext cx="12779" cy="12767"/>
            </a:xfrm>
            <a:custGeom>
              <a:avLst/>
              <a:gdLst>
                <a:gd name="connsiteX0" fmla="*/ 12780 w 12779"/>
                <a:gd name="connsiteY0" fmla="*/ 3830 h 12767"/>
                <a:gd name="connsiteX1" fmla="*/ 11502 w 12779"/>
                <a:gd name="connsiteY1" fmla="*/ 1915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 name="connsiteX9" fmla="*/ 6390 w 12779"/>
                <a:gd name="connsiteY9" fmla="*/ 12768 h 12767"/>
                <a:gd name="connsiteX10" fmla="*/ 8946 w 12779"/>
                <a:gd name="connsiteY10" fmla="*/ 12130 h 12767"/>
                <a:gd name="connsiteX11" fmla="*/ 10863 w 12779"/>
                <a:gd name="connsiteY11" fmla="*/ 10853 h 12767"/>
                <a:gd name="connsiteX12" fmla="*/ 12141 w 12779"/>
                <a:gd name="connsiteY12" fmla="*/ 8938 h 12767"/>
                <a:gd name="connsiteX13" fmla="*/ 12780 w 12779"/>
                <a:gd name="connsiteY13" fmla="*/ 6384 h 12767"/>
                <a:gd name="connsiteX14" fmla="*/ 12780 w 12779"/>
                <a:gd name="connsiteY14" fmla="*/ 5107 h 12767"/>
                <a:gd name="connsiteX15" fmla="*/ 12780 w 12779"/>
                <a:gd name="connsiteY15" fmla="*/ 38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2780" y="3830"/>
                  </a:moveTo>
                  <a:cubicBezTo>
                    <a:pt x="12141" y="3192"/>
                    <a:pt x="12141" y="2554"/>
                    <a:pt x="11502" y="1915"/>
                  </a:cubicBezTo>
                  <a:cubicBezTo>
                    <a:pt x="10224" y="638"/>
                    <a:pt x="7668" y="0"/>
                    <a:pt x="5751" y="0"/>
                  </a:cubicBezTo>
                  <a:cubicBezTo>
                    <a:pt x="5112" y="0"/>
                    <a:pt x="5112" y="0"/>
                    <a:pt x="4473" y="638"/>
                  </a:cubicBezTo>
                  <a:cubicBezTo>
                    <a:pt x="3834" y="638"/>
                    <a:pt x="3834" y="1277"/>
                    <a:pt x="3195" y="1277"/>
                  </a:cubicBezTo>
                  <a:lnTo>
                    <a:pt x="1917" y="1915"/>
                  </a:lnTo>
                  <a:cubicBezTo>
                    <a:pt x="639" y="3192"/>
                    <a:pt x="0" y="4469"/>
                    <a:pt x="0" y="6384"/>
                  </a:cubicBezTo>
                  <a:cubicBezTo>
                    <a:pt x="0" y="7022"/>
                    <a:pt x="0" y="8299"/>
                    <a:pt x="639" y="8938"/>
                  </a:cubicBezTo>
                  <a:cubicBezTo>
                    <a:pt x="639" y="9576"/>
                    <a:pt x="1278" y="10214"/>
                    <a:pt x="1917" y="10853"/>
                  </a:cubicBezTo>
                  <a:cubicBezTo>
                    <a:pt x="3195" y="12130"/>
                    <a:pt x="4473"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141" y="8299"/>
                    <a:pt x="12780" y="7661"/>
                    <a:pt x="12780" y="6384"/>
                  </a:cubicBezTo>
                  <a:cubicBezTo>
                    <a:pt x="12780" y="5746"/>
                    <a:pt x="12780" y="5746"/>
                    <a:pt x="12780" y="5107"/>
                  </a:cubicBezTo>
                  <a:cubicBezTo>
                    <a:pt x="12780" y="5107"/>
                    <a:pt x="12780" y="4469"/>
                    <a:pt x="12780" y="38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7" name="Graphic 4">
              <a:extLst>
                <a:ext uri="{FF2B5EF4-FFF2-40B4-BE49-F238E27FC236}">
                  <a16:creationId xmlns:a16="http://schemas.microsoft.com/office/drawing/2014/main" id="{E68B1A31-364A-DE2C-0527-393CE875D3B1}"/>
                </a:ext>
              </a:extLst>
            </p:cNvPr>
            <p:cNvSpPr/>
            <p:nvPr/>
          </p:nvSpPr>
          <p:spPr>
            <a:xfrm>
              <a:off x="1703557" y="2538832"/>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 w 12779"/>
                <a:gd name="connsiteY4" fmla="*/ 9177 h 13007"/>
                <a:gd name="connsiteX5" fmla="*/ 1917 w 12779"/>
                <a:gd name="connsiteY5" fmla="*/ 11092 h 13007"/>
                <a:gd name="connsiteX6" fmla="*/ 6390 w 12779"/>
                <a:gd name="connsiteY6" fmla="*/ 13007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7262"/>
                    <a:pt x="0" y="8539"/>
                    <a:pt x="639" y="9177"/>
                  </a:cubicBezTo>
                  <a:cubicBezTo>
                    <a:pt x="639" y="9815"/>
                    <a:pt x="1278" y="10454"/>
                    <a:pt x="1917" y="11092"/>
                  </a:cubicBezTo>
                  <a:cubicBezTo>
                    <a:pt x="3195" y="12369"/>
                    <a:pt x="4473" y="13007"/>
                    <a:pt x="6390" y="13007"/>
                  </a:cubicBezTo>
                  <a:cubicBezTo>
                    <a:pt x="8307" y="13007"/>
                    <a:pt x="9585" y="12369"/>
                    <a:pt x="10863" y="11092"/>
                  </a:cubicBezTo>
                  <a:cubicBezTo>
                    <a:pt x="11502" y="10454"/>
                    <a:pt x="12141" y="9815"/>
                    <a:pt x="12141" y="9177"/>
                  </a:cubicBezTo>
                  <a:cubicBezTo>
                    <a:pt x="12780" y="8539"/>
                    <a:pt x="12780" y="7900"/>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8" name="Graphic 4">
              <a:extLst>
                <a:ext uri="{FF2B5EF4-FFF2-40B4-BE49-F238E27FC236}">
                  <a16:creationId xmlns:a16="http://schemas.microsoft.com/office/drawing/2014/main" id="{032D60DD-F0AC-D56C-DC30-6BBF3A960944}"/>
                </a:ext>
              </a:extLst>
            </p:cNvPr>
            <p:cNvSpPr/>
            <p:nvPr/>
          </p:nvSpPr>
          <p:spPr>
            <a:xfrm>
              <a:off x="1674802" y="2509466"/>
              <a:ext cx="12779" cy="13007"/>
            </a:xfrm>
            <a:custGeom>
              <a:avLst/>
              <a:gdLst>
                <a:gd name="connsiteX0" fmla="*/ 10224 w 12779"/>
                <a:gd name="connsiteY0" fmla="*/ 1516 h 13007"/>
                <a:gd name="connsiteX1" fmla="*/ 8946 w 12779"/>
                <a:gd name="connsiteY1" fmla="*/ 878 h 13007"/>
                <a:gd name="connsiteX2" fmla="*/ 7668 w 12779"/>
                <a:gd name="connsiteY2" fmla="*/ 239 h 13007"/>
                <a:gd name="connsiteX3" fmla="*/ 1917 w 12779"/>
                <a:gd name="connsiteY3" fmla="*/ 2155 h 13007"/>
                <a:gd name="connsiteX4" fmla="*/ 0 w 12779"/>
                <a:gd name="connsiteY4" fmla="*/ 6623 h 13007"/>
                <a:gd name="connsiteX5" fmla="*/ 6390 w 12779"/>
                <a:gd name="connsiteY5" fmla="*/ 13007 h 13007"/>
                <a:gd name="connsiteX6" fmla="*/ 8946 w 12779"/>
                <a:gd name="connsiteY6" fmla="*/ 12369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1516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1516"/>
                  </a:moveTo>
                  <a:cubicBezTo>
                    <a:pt x="9585" y="1516"/>
                    <a:pt x="9585" y="878"/>
                    <a:pt x="8946" y="878"/>
                  </a:cubicBezTo>
                  <a:lnTo>
                    <a:pt x="7668" y="239"/>
                  </a:ln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1502" y="10454"/>
                    <a:pt x="12141" y="9815"/>
                    <a:pt x="12141" y="9177"/>
                  </a:cubicBezTo>
                  <a:cubicBezTo>
                    <a:pt x="12141" y="8539"/>
                    <a:pt x="12780" y="7900"/>
                    <a:pt x="12780" y="6623"/>
                  </a:cubicBezTo>
                  <a:cubicBezTo>
                    <a:pt x="12780" y="4708"/>
                    <a:pt x="12141" y="3431"/>
                    <a:pt x="10863" y="2155"/>
                  </a:cubicBezTo>
                  <a:lnTo>
                    <a:pt x="10224" y="151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49" name="Graphic 4">
              <a:extLst>
                <a:ext uri="{FF2B5EF4-FFF2-40B4-BE49-F238E27FC236}">
                  <a16:creationId xmlns:a16="http://schemas.microsoft.com/office/drawing/2014/main" id="{45181AAB-34B2-D942-8154-1206E59D486E}"/>
                </a:ext>
              </a:extLst>
            </p:cNvPr>
            <p:cNvSpPr/>
            <p:nvPr/>
          </p:nvSpPr>
          <p:spPr>
            <a:xfrm>
              <a:off x="1703557" y="2510105"/>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0 w 12779"/>
                <a:gd name="connsiteY4" fmla="*/ 13007 h 13007"/>
                <a:gd name="connsiteX5" fmla="*/ 8946 w 12779"/>
                <a:gd name="connsiteY5" fmla="*/ 12369 h 13007"/>
                <a:gd name="connsiteX6" fmla="*/ 10863 w 12779"/>
                <a:gd name="connsiteY6" fmla="*/ 11092 h 13007"/>
                <a:gd name="connsiteX7" fmla="*/ 12780 w 12779"/>
                <a:gd name="connsiteY7" fmla="*/ 6623 h 13007"/>
                <a:gd name="connsiteX8" fmla="*/ 10863 w 12779"/>
                <a:gd name="connsiteY8" fmla="*/ 2155 h 13007"/>
                <a:gd name="connsiteX9" fmla="*/ 10224 w 12779"/>
                <a:gd name="connsiteY9"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50" name="Graphic 4">
              <a:extLst>
                <a:ext uri="{FF2B5EF4-FFF2-40B4-BE49-F238E27FC236}">
                  <a16:creationId xmlns:a16="http://schemas.microsoft.com/office/drawing/2014/main" id="{187C0B1A-16EB-7689-B7CC-6144E9EC9107}"/>
                </a:ext>
              </a:extLst>
            </p:cNvPr>
            <p:cNvSpPr/>
            <p:nvPr/>
          </p:nvSpPr>
          <p:spPr>
            <a:xfrm>
              <a:off x="1617293" y="2538433"/>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5112 w 12779"/>
                <a:gd name="connsiteY3" fmla="*/ 0 h 12767"/>
                <a:gd name="connsiteX4" fmla="*/ 3834 w 12779"/>
                <a:gd name="connsiteY4" fmla="*/ 638 h 12767"/>
                <a:gd name="connsiteX5" fmla="*/ 2556 w 12779"/>
                <a:gd name="connsiteY5" fmla="*/ 1277 h 12767"/>
                <a:gd name="connsiteX6" fmla="*/ 1917 w 12779"/>
                <a:gd name="connsiteY6" fmla="*/ 1915 h 12767"/>
                <a:gd name="connsiteX7" fmla="*/ 0 w 12779"/>
                <a:gd name="connsiteY7" fmla="*/ 5107 h 12767"/>
                <a:gd name="connsiteX8" fmla="*/ 0 w 12779"/>
                <a:gd name="connsiteY8" fmla="*/ 6384 h 12767"/>
                <a:gd name="connsiteX9" fmla="*/ 639 w 12779"/>
                <a:gd name="connsiteY9" fmla="*/ 8938 h 12767"/>
                <a:gd name="connsiteX10" fmla="*/ 1917 w 12779"/>
                <a:gd name="connsiteY10" fmla="*/ 10853 h 12767"/>
                <a:gd name="connsiteX11" fmla="*/ 3834 w 12779"/>
                <a:gd name="connsiteY11" fmla="*/ 12130 h 12767"/>
                <a:gd name="connsiteX12" fmla="*/ 6390 w 12779"/>
                <a:gd name="connsiteY12" fmla="*/ 12768 h 12767"/>
                <a:gd name="connsiteX13" fmla="*/ 8946 w 12779"/>
                <a:gd name="connsiteY13" fmla="*/ 12130 h 12767"/>
                <a:gd name="connsiteX14" fmla="*/ 10863 w 12779"/>
                <a:gd name="connsiteY14" fmla="*/ 10853 h 12767"/>
                <a:gd name="connsiteX15" fmla="*/ 12141 w 12779"/>
                <a:gd name="connsiteY15" fmla="*/ 8938 h 12767"/>
                <a:gd name="connsiteX16" fmla="*/ 12780 w 12779"/>
                <a:gd name="connsiteY16" fmla="*/ 6384 h 12767"/>
                <a:gd name="connsiteX17" fmla="*/ 10863 w 12779"/>
                <a:gd name="connsiteY17" fmla="*/ 1915 h 12767"/>
                <a:gd name="connsiteX18" fmla="*/ 10224 w 12779"/>
                <a:gd name="connsiteY18"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79" h="12767">
                  <a:moveTo>
                    <a:pt x="10224" y="1277"/>
                  </a:moveTo>
                  <a:cubicBezTo>
                    <a:pt x="9585" y="1277"/>
                    <a:pt x="9585" y="638"/>
                    <a:pt x="8946" y="638"/>
                  </a:cubicBezTo>
                  <a:cubicBezTo>
                    <a:pt x="8307" y="638"/>
                    <a:pt x="8307" y="0"/>
                    <a:pt x="7668" y="0"/>
                  </a:cubicBezTo>
                  <a:cubicBezTo>
                    <a:pt x="7029" y="0"/>
                    <a:pt x="5751" y="0"/>
                    <a:pt x="5112" y="0"/>
                  </a:cubicBezTo>
                  <a:lnTo>
                    <a:pt x="3834" y="638"/>
                  </a:lnTo>
                  <a:lnTo>
                    <a:pt x="2556" y="1277"/>
                  </a:lnTo>
                  <a:lnTo>
                    <a:pt x="1917" y="1915"/>
                  </a:lnTo>
                  <a:cubicBezTo>
                    <a:pt x="1278" y="2554"/>
                    <a:pt x="639" y="3830"/>
                    <a:pt x="0" y="5107"/>
                  </a:cubicBezTo>
                  <a:cubicBezTo>
                    <a:pt x="0" y="5746"/>
                    <a:pt x="0" y="5746"/>
                    <a:pt x="0" y="6384"/>
                  </a:cubicBezTo>
                  <a:cubicBezTo>
                    <a:pt x="0" y="7022"/>
                    <a:pt x="0" y="8299"/>
                    <a:pt x="639" y="8938"/>
                  </a:cubicBezTo>
                  <a:cubicBezTo>
                    <a:pt x="1278" y="9576"/>
                    <a:pt x="1278" y="10214"/>
                    <a:pt x="1917" y="10853"/>
                  </a:cubicBezTo>
                  <a:cubicBezTo>
                    <a:pt x="2556" y="11491"/>
                    <a:pt x="3195" y="12130"/>
                    <a:pt x="3834" y="12130"/>
                  </a:cubicBezTo>
                  <a:cubicBezTo>
                    <a:pt x="4473" y="12768"/>
                    <a:pt x="5751"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4469"/>
                    <a:pt x="12141" y="3192"/>
                    <a:pt x="10863" y="1915"/>
                  </a:cubicBezTo>
                  <a:lnTo>
                    <a:pt x="10224" y="1277"/>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51" name="Graphic 4">
              <a:extLst>
                <a:ext uri="{FF2B5EF4-FFF2-40B4-BE49-F238E27FC236}">
                  <a16:creationId xmlns:a16="http://schemas.microsoft.com/office/drawing/2014/main" id="{2220A591-0926-31F5-130E-F195049016F0}"/>
                </a:ext>
              </a:extLst>
            </p:cNvPr>
            <p:cNvSpPr/>
            <p:nvPr/>
          </p:nvSpPr>
          <p:spPr>
            <a:xfrm>
              <a:off x="1617293" y="2509585"/>
              <a:ext cx="12779" cy="12739"/>
            </a:xfrm>
            <a:custGeom>
              <a:avLst/>
              <a:gdLst>
                <a:gd name="connsiteX0" fmla="*/ 10224 w 12779"/>
                <a:gd name="connsiteY0" fmla="*/ 1398 h 12739"/>
                <a:gd name="connsiteX1" fmla="*/ 8946 w 12779"/>
                <a:gd name="connsiteY1" fmla="*/ 759 h 12739"/>
                <a:gd name="connsiteX2" fmla="*/ 7668 w 12779"/>
                <a:gd name="connsiteY2" fmla="*/ 121 h 12739"/>
                <a:gd name="connsiteX3" fmla="*/ 0 w 12779"/>
                <a:gd name="connsiteY3" fmla="*/ 5228 h 12739"/>
                <a:gd name="connsiteX4" fmla="*/ 0 w 12779"/>
                <a:gd name="connsiteY4" fmla="*/ 6505 h 12739"/>
                <a:gd name="connsiteX5" fmla="*/ 639 w 12779"/>
                <a:gd name="connsiteY5" fmla="*/ 9059 h 12739"/>
                <a:gd name="connsiteX6" fmla="*/ 1917 w 12779"/>
                <a:gd name="connsiteY6" fmla="*/ 10974 h 12739"/>
                <a:gd name="connsiteX7" fmla="*/ 3834 w 12779"/>
                <a:gd name="connsiteY7" fmla="*/ 12251 h 12739"/>
                <a:gd name="connsiteX8" fmla="*/ 12141 w 12779"/>
                <a:gd name="connsiteY8" fmla="*/ 9059 h 12739"/>
                <a:gd name="connsiteX9" fmla="*/ 12780 w 12779"/>
                <a:gd name="connsiteY9" fmla="*/ 6505 h 12739"/>
                <a:gd name="connsiteX10" fmla="*/ 10863 w 12779"/>
                <a:gd name="connsiteY10" fmla="*/ 2036 h 12739"/>
                <a:gd name="connsiteX11" fmla="*/ 10224 w 12779"/>
                <a:gd name="connsiteY11" fmla="*/ 1398 h 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39">
                  <a:moveTo>
                    <a:pt x="10224" y="1398"/>
                  </a:moveTo>
                  <a:cubicBezTo>
                    <a:pt x="9585" y="1398"/>
                    <a:pt x="9585" y="759"/>
                    <a:pt x="8946" y="759"/>
                  </a:cubicBezTo>
                  <a:cubicBezTo>
                    <a:pt x="8307" y="759"/>
                    <a:pt x="8307" y="121"/>
                    <a:pt x="7668" y="121"/>
                  </a:cubicBezTo>
                  <a:cubicBezTo>
                    <a:pt x="4473" y="-517"/>
                    <a:pt x="639" y="1398"/>
                    <a:pt x="0" y="5228"/>
                  </a:cubicBezTo>
                  <a:cubicBezTo>
                    <a:pt x="0" y="5867"/>
                    <a:pt x="0" y="5867"/>
                    <a:pt x="0" y="6505"/>
                  </a:cubicBezTo>
                  <a:cubicBezTo>
                    <a:pt x="0" y="7143"/>
                    <a:pt x="0" y="8420"/>
                    <a:pt x="639" y="9059"/>
                  </a:cubicBezTo>
                  <a:cubicBezTo>
                    <a:pt x="1278" y="9697"/>
                    <a:pt x="1278" y="10335"/>
                    <a:pt x="1917" y="10974"/>
                  </a:cubicBezTo>
                  <a:cubicBezTo>
                    <a:pt x="2556" y="11612"/>
                    <a:pt x="3195" y="12251"/>
                    <a:pt x="3834" y="12251"/>
                  </a:cubicBezTo>
                  <a:cubicBezTo>
                    <a:pt x="7029" y="13527"/>
                    <a:pt x="10863" y="12251"/>
                    <a:pt x="12141" y="9059"/>
                  </a:cubicBezTo>
                  <a:cubicBezTo>
                    <a:pt x="12141" y="8420"/>
                    <a:pt x="12780" y="7782"/>
                    <a:pt x="12780" y="6505"/>
                  </a:cubicBezTo>
                  <a:cubicBezTo>
                    <a:pt x="12780" y="4590"/>
                    <a:pt x="12141" y="3313"/>
                    <a:pt x="10863" y="2036"/>
                  </a:cubicBezTo>
                  <a:cubicBezTo>
                    <a:pt x="10863" y="2036"/>
                    <a:pt x="10863" y="1398"/>
                    <a:pt x="10224" y="1398"/>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52" name="Graphic 4">
              <a:extLst>
                <a:ext uri="{FF2B5EF4-FFF2-40B4-BE49-F238E27FC236}">
                  <a16:creationId xmlns:a16="http://schemas.microsoft.com/office/drawing/2014/main" id="{2B71CE24-14B0-A30E-6048-4CCB0CCC90E1}"/>
                </a:ext>
              </a:extLst>
            </p:cNvPr>
            <p:cNvSpPr/>
            <p:nvPr/>
          </p:nvSpPr>
          <p:spPr>
            <a:xfrm>
              <a:off x="1646047" y="2538408"/>
              <a:ext cx="12779" cy="12819"/>
            </a:xfrm>
            <a:custGeom>
              <a:avLst/>
              <a:gdLst>
                <a:gd name="connsiteX0" fmla="*/ 8946 w 12779"/>
                <a:gd name="connsiteY0" fmla="*/ 664 h 12819"/>
                <a:gd name="connsiteX1" fmla="*/ 1917 w 12779"/>
                <a:gd name="connsiteY1" fmla="*/ 1941 h 12819"/>
                <a:gd name="connsiteX2" fmla="*/ 639 w 12779"/>
                <a:gd name="connsiteY2" fmla="*/ 3856 h 12819"/>
                <a:gd name="connsiteX3" fmla="*/ 0 w 12779"/>
                <a:gd name="connsiteY3" fmla="*/ 5133 h 12819"/>
                <a:gd name="connsiteX4" fmla="*/ 0 w 12779"/>
                <a:gd name="connsiteY4" fmla="*/ 6410 h 12819"/>
                <a:gd name="connsiteX5" fmla="*/ 639 w 12779"/>
                <a:gd name="connsiteY5" fmla="*/ 8963 h 12819"/>
                <a:gd name="connsiteX6" fmla="*/ 1917 w 12779"/>
                <a:gd name="connsiteY6" fmla="*/ 10879 h 12819"/>
                <a:gd name="connsiteX7" fmla="*/ 3834 w 12779"/>
                <a:gd name="connsiteY7" fmla="*/ 12155 h 12819"/>
                <a:gd name="connsiteX8" fmla="*/ 10863 w 12779"/>
                <a:gd name="connsiteY8" fmla="*/ 10879 h 12819"/>
                <a:gd name="connsiteX9" fmla="*/ 12141 w 12779"/>
                <a:gd name="connsiteY9" fmla="*/ 8963 h 12819"/>
                <a:gd name="connsiteX10" fmla="*/ 12780 w 12779"/>
                <a:gd name="connsiteY10" fmla="*/ 6410 h 12819"/>
                <a:gd name="connsiteX11" fmla="*/ 10863 w 12779"/>
                <a:gd name="connsiteY11" fmla="*/ 1941 h 12819"/>
                <a:gd name="connsiteX12" fmla="*/ 8946 w 12779"/>
                <a:gd name="connsiteY12" fmla="*/ 664 h 1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819">
                  <a:moveTo>
                    <a:pt x="8946" y="664"/>
                  </a:moveTo>
                  <a:cubicBezTo>
                    <a:pt x="6390" y="-613"/>
                    <a:pt x="3834" y="26"/>
                    <a:pt x="1917" y="1941"/>
                  </a:cubicBezTo>
                  <a:cubicBezTo>
                    <a:pt x="1278" y="2579"/>
                    <a:pt x="639" y="3218"/>
                    <a:pt x="639" y="3856"/>
                  </a:cubicBezTo>
                  <a:cubicBezTo>
                    <a:pt x="639" y="4495"/>
                    <a:pt x="0" y="4495"/>
                    <a:pt x="0" y="5133"/>
                  </a:cubicBezTo>
                  <a:cubicBezTo>
                    <a:pt x="0" y="5771"/>
                    <a:pt x="0" y="5771"/>
                    <a:pt x="0" y="6410"/>
                  </a:cubicBezTo>
                  <a:cubicBezTo>
                    <a:pt x="0" y="7048"/>
                    <a:pt x="0" y="8325"/>
                    <a:pt x="639" y="8963"/>
                  </a:cubicBezTo>
                  <a:cubicBezTo>
                    <a:pt x="639" y="9602"/>
                    <a:pt x="1278" y="10240"/>
                    <a:pt x="1917" y="10879"/>
                  </a:cubicBezTo>
                  <a:cubicBezTo>
                    <a:pt x="2556" y="11517"/>
                    <a:pt x="3195" y="12155"/>
                    <a:pt x="3834" y="12155"/>
                  </a:cubicBezTo>
                  <a:cubicBezTo>
                    <a:pt x="6390" y="13432"/>
                    <a:pt x="8946" y="12794"/>
                    <a:pt x="10863" y="10879"/>
                  </a:cubicBezTo>
                  <a:cubicBezTo>
                    <a:pt x="11502" y="10240"/>
                    <a:pt x="12141" y="9602"/>
                    <a:pt x="12141" y="8963"/>
                  </a:cubicBezTo>
                  <a:cubicBezTo>
                    <a:pt x="12780" y="8325"/>
                    <a:pt x="12780" y="7687"/>
                    <a:pt x="12780" y="6410"/>
                  </a:cubicBezTo>
                  <a:cubicBezTo>
                    <a:pt x="12780" y="4495"/>
                    <a:pt x="12141" y="3218"/>
                    <a:pt x="10863" y="1941"/>
                  </a:cubicBezTo>
                  <a:cubicBezTo>
                    <a:pt x="10224" y="1303"/>
                    <a:pt x="9585" y="664"/>
                    <a:pt x="8946" y="664"/>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53" name="Graphic 4">
              <a:extLst>
                <a:ext uri="{FF2B5EF4-FFF2-40B4-BE49-F238E27FC236}">
                  <a16:creationId xmlns:a16="http://schemas.microsoft.com/office/drawing/2014/main" id="{4C763A6C-5691-2AD9-4C3D-55C15289841F}"/>
                </a:ext>
              </a:extLst>
            </p:cNvPr>
            <p:cNvSpPr/>
            <p:nvPr/>
          </p:nvSpPr>
          <p:spPr>
            <a:xfrm>
              <a:off x="1646047" y="2509706"/>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3834 w 12779"/>
                <a:gd name="connsiteY3" fmla="*/ 638 h 12767"/>
                <a:gd name="connsiteX4" fmla="*/ 1917 w 12779"/>
                <a:gd name="connsiteY4" fmla="*/ 1915 h 12767"/>
                <a:gd name="connsiteX5" fmla="*/ 639 w 12779"/>
                <a:gd name="connsiteY5" fmla="*/ 3830 h 12767"/>
                <a:gd name="connsiteX6" fmla="*/ 0 w 12779"/>
                <a:gd name="connsiteY6" fmla="*/ 5107 h 12767"/>
                <a:gd name="connsiteX7" fmla="*/ 0 w 12779"/>
                <a:gd name="connsiteY7" fmla="*/ 6384 h 12767"/>
                <a:gd name="connsiteX8" fmla="*/ 6390 w 12779"/>
                <a:gd name="connsiteY8" fmla="*/ 12768 h 12767"/>
                <a:gd name="connsiteX9" fmla="*/ 8946 w 12779"/>
                <a:gd name="connsiteY9" fmla="*/ 12130 h 12767"/>
                <a:gd name="connsiteX10" fmla="*/ 12141 w 12779"/>
                <a:gd name="connsiteY10" fmla="*/ 8938 h 12767"/>
                <a:gd name="connsiteX11" fmla="*/ 12780 w 12779"/>
                <a:gd name="connsiteY11" fmla="*/ 6384 h 12767"/>
                <a:gd name="connsiteX12" fmla="*/ 10863 w 12779"/>
                <a:gd name="connsiteY12" fmla="*/ 1915 h 12767"/>
                <a:gd name="connsiteX13" fmla="*/ 10224 w 12779"/>
                <a:gd name="connsiteY13"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0224" y="1277"/>
                  </a:move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639" y="4469"/>
                    <a:pt x="639" y="4469"/>
                    <a:pt x="0" y="5107"/>
                  </a:cubicBezTo>
                  <a:cubicBezTo>
                    <a:pt x="0" y="5746"/>
                    <a:pt x="0" y="5746"/>
                    <a:pt x="0" y="6384"/>
                  </a:cubicBezTo>
                  <a:cubicBezTo>
                    <a:pt x="0" y="10214"/>
                    <a:pt x="3195" y="12768"/>
                    <a:pt x="6390" y="12768"/>
                  </a:cubicBezTo>
                  <a:cubicBezTo>
                    <a:pt x="7029" y="12768"/>
                    <a:pt x="8307"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10863" y="1915"/>
                    <a:pt x="10863" y="1277"/>
                    <a:pt x="10224"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grpSp>
      <p:grpSp>
        <p:nvGrpSpPr>
          <p:cNvPr id="654" name="Graphic 4">
            <a:extLst>
              <a:ext uri="{FF2B5EF4-FFF2-40B4-BE49-F238E27FC236}">
                <a16:creationId xmlns:a16="http://schemas.microsoft.com/office/drawing/2014/main" id="{710F3C7E-A797-2906-E898-6E4F538B29B6}"/>
              </a:ext>
            </a:extLst>
          </p:cNvPr>
          <p:cNvGrpSpPr>
            <a:grpSpLocks noChangeAspect="1"/>
          </p:cNvGrpSpPr>
          <p:nvPr/>
        </p:nvGrpSpPr>
        <p:grpSpPr>
          <a:xfrm>
            <a:off x="10965160" y="2285747"/>
            <a:ext cx="293158" cy="234133"/>
            <a:chOff x="1589177" y="2466933"/>
            <a:chExt cx="213423" cy="170452"/>
          </a:xfrm>
          <a:solidFill>
            <a:srgbClr val="00B0F2"/>
          </a:solidFill>
        </p:grpSpPr>
        <p:sp>
          <p:nvSpPr>
            <p:cNvPr id="655" name="Graphic 4">
              <a:extLst>
                <a:ext uri="{FF2B5EF4-FFF2-40B4-BE49-F238E27FC236}">
                  <a16:creationId xmlns:a16="http://schemas.microsoft.com/office/drawing/2014/main" id="{331FB4D8-4B9C-2E6C-7AE9-EBB0A40B770A}"/>
                </a:ext>
              </a:extLst>
            </p:cNvPr>
            <p:cNvSpPr/>
            <p:nvPr/>
          </p:nvSpPr>
          <p:spPr>
            <a:xfrm>
              <a:off x="1589177" y="2466933"/>
              <a:ext cx="213423" cy="170452"/>
            </a:xfrm>
            <a:custGeom>
              <a:avLst/>
              <a:gdLst>
                <a:gd name="connsiteX0" fmla="*/ 207034 w 213423"/>
                <a:gd name="connsiteY0" fmla="*/ 14045 h 170452"/>
                <a:gd name="connsiteX1" fmla="*/ 170611 w 213423"/>
                <a:gd name="connsiteY1" fmla="*/ 14045 h 170452"/>
                <a:gd name="connsiteX2" fmla="*/ 170611 w 213423"/>
                <a:gd name="connsiteY2" fmla="*/ 6384 h 170452"/>
                <a:gd name="connsiteX3" fmla="*/ 164221 w 213423"/>
                <a:gd name="connsiteY3" fmla="*/ 0 h 170452"/>
                <a:gd name="connsiteX4" fmla="*/ 49202 w 213423"/>
                <a:gd name="connsiteY4" fmla="*/ 0 h 170452"/>
                <a:gd name="connsiteX5" fmla="*/ 42813 w 213423"/>
                <a:gd name="connsiteY5" fmla="*/ 6384 h 170452"/>
                <a:gd name="connsiteX6" fmla="*/ 42813 w 213423"/>
                <a:gd name="connsiteY6" fmla="*/ 14045 h 170452"/>
                <a:gd name="connsiteX7" fmla="*/ 6390 w 213423"/>
                <a:gd name="connsiteY7" fmla="*/ 14045 h 170452"/>
                <a:gd name="connsiteX8" fmla="*/ 0 w 213423"/>
                <a:gd name="connsiteY8" fmla="*/ 20429 h 170452"/>
                <a:gd name="connsiteX9" fmla="*/ 0 w 213423"/>
                <a:gd name="connsiteY9" fmla="*/ 164068 h 170452"/>
                <a:gd name="connsiteX10" fmla="*/ 6390 w 213423"/>
                <a:gd name="connsiteY10" fmla="*/ 170452 h 170452"/>
                <a:gd name="connsiteX11" fmla="*/ 207034 w 213423"/>
                <a:gd name="connsiteY11" fmla="*/ 170452 h 170452"/>
                <a:gd name="connsiteX12" fmla="*/ 213424 w 213423"/>
                <a:gd name="connsiteY12" fmla="*/ 164068 h 170452"/>
                <a:gd name="connsiteX13" fmla="*/ 213424 w 213423"/>
                <a:gd name="connsiteY13" fmla="*/ 20429 h 170452"/>
                <a:gd name="connsiteX14" fmla="*/ 207034 w 213423"/>
                <a:gd name="connsiteY14" fmla="*/ 14045 h 170452"/>
                <a:gd name="connsiteX15" fmla="*/ 98405 w 213423"/>
                <a:gd name="connsiteY15" fmla="*/ 157684 h 170452"/>
                <a:gd name="connsiteX16" fmla="*/ 98405 w 213423"/>
                <a:gd name="connsiteY16" fmla="*/ 112997 h 170452"/>
                <a:gd name="connsiteX17" fmla="*/ 114380 w 213423"/>
                <a:gd name="connsiteY17" fmla="*/ 112997 h 170452"/>
                <a:gd name="connsiteX18" fmla="*/ 114380 w 213423"/>
                <a:gd name="connsiteY18" fmla="*/ 157684 h 170452"/>
                <a:gd name="connsiteX19" fmla="*/ 98405 w 213423"/>
                <a:gd name="connsiteY19" fmla="*/ 157684 h 170452"/>
                <a:gd name="connsiteX20" fmla="*/ 200644 w 213423"/>
                <a:gd name="connsiteY20" fmla="*/ 157684 h 170452"/>
                <a:gd name="connsiteX21" fmla="*/ 127160 w 213423"/>
                <a:gd name="connsiteY21" fmla="*/ 157684 h 170452"/>
                <a:gd name="connsiteX22" fmla="*/ 127160 w 213423"/>
                <a:gd name="connsiteY22" fmla="*/ 106613 h 170452"/>
                <a:gd name="connsiteX23" fmla="*/ 120770 w 213423"/>
                <a:gd name="connsiteY23" fmla="*/ 100229 h 170452"/>
                <a:gd name="connsiteX24" fmla="*/ 92015 w 213423"/>
                <a:gd name="connsiteY24" fmla="*/ 100229 h 170452"/>
                <a:gd name="connsiteX25" fmla="*/ 85625 w 213423"/>
                <a:gd name="connsiteY25" fmla="*/ 106613 h 170452"/>
                <a:gd name="connsiteX26" fmla="*/ 85625 w 213423"/>
                <a:gd name="connsiteY26" fmla="*/ 157684 h 170452"/>
                <a:gd name="connsiteX27" fmla="*/ 12141 w 213423"/>
                <a:gd name="connsiteY27" fmla="*/ 157684 h 170452"/>
                <a:gd name="connsiteX28" fmla="*/ 12141 w 213423"/>
                <a:gd name="connsiteY28" fmla="*/ 26813 h 170452"/>
                <a:gd name="connsiteX29" fmla="*/ 48563 w 213423"/>
                <a:gd name="connsiteY29" fmla="*/ 26813 h 170452"/>
                <a:gd name="connsiteX30" fmla="*/ 54953 w 213423"/>
                <a:gd name="connsiteY30" fmla="*/ 20429 h 170452"/>
                <a:gd name="connsiteX31" fmla="*/ 54953 w 213423"/>
                <a:gd name="connsiteY31" fmla="*/ 12768 h 170452"/>
                <a:gd name="connsiteX32" fmla="*/ 157192 w 213423"/>
                <a:gd name="connsiteY32" fmla="*/ 12768 h 170452"/>
                <a:gd name="connsiteX33" fmla="*/ 157192 w 213423"/>
                <a:gd name="connsiteY33" fmla="*/ 20429 h 170452"/>
                <a:gd name="connsiteX34" fmla="*/ 163582 w 213423"/>
                <a:gd name="connsiteY34" fmla="*/ 26813 h 170452"/>
                <a:gd name="connsiteX35" fmla="*/ 200005 w 213423"/>
                <a:gd name="connsiteY35" fmla="*/ 26813 h 170452"/>
                <a:gd name="connsiteX36" fmla="*/ 200644 w 213423"/>
                <a:gd name="connsiteY36" fmla="*/ 157684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3423" h="170452">
                  <a:moveTo>
                    <a:pt x="207034" y="14045"/>
                  </a:moveTo>
                  <a:lnTo>
                    <a:pt x="170611" y="14045"/>
                  </a:lnTo>
                  <a:lnTo>
                    <a:pt x="170611" y="6384"/>
                  </a:lnTo>
                  <a:cubicBezTo>
                    <a:pt x="170611" y="2554"/>
                    <a:pt x="168055" y="0"/>
                    <a:pt x="164221" y="0"/>
                  </a:cubicBezTo>
                  <a:lnTo>
                    <a:pt x="49202" y="0"/>
                  </a:lnTo>
                  <a:cubicBezTo>
                    <a:pt x="45369" y="0"/>
                    <a:pt x="42813" y="2554"/>
                    <a:pt x="42813" y="6384"/>
                  </a:cubicBezTo>
                  <a:lnTo>
                    <a:pt x="42813" y="14045"/>
                  </a:lnTo>
                  <a:lnTo>
                    <a:pt x="6390" y="14045"/>
                  </a:lnTo>
                  <a:cubicBezTo>
                    <a:pt x="2556" y="14045"/>
                    <a:pt x="0" y="16598"/>
                    <a:pt x="0" y="20429"/>
                  </a:cubicBezTo>
                  <a:lnTo>
                    <a:pt x="0" y="164068"/>
                  </a:lnTo>
                  <a:cubicBezTo>
                    <a:pt x="0" y="167899"/>
                    <a:pt x="2556" y="170452"/>
                    <a:pt x="6390" y="170452"/>
                  </a:cubicBezTo>
                  <a:lnTo>
                    <a:pt x="207034" y="170452"/>
                  </a:lnTo>
                  <a:cubicBezTo>
                    <a:pt x="210868" y="170452"/>
                    <a:pt x="213424" y="167899"/>
                    <a:pt x="213424" y="164068"/>
                  </a:cubicBezTo>
                  <a:lnTo>
                    <a:pt x="213424" y="20429"/>
                  </a:lnTo>
                  <a:cubicBezTo>
                    <a:pt x="213424" y="17237"/>
                    <a:pt x="210868" y="14045"/>
                    <a:pt x="207034" y="14045"/>
                  </a:cubicBezTo>
                  <a:close/>
                  <a:moveTo>
                    <a:pt x="98405" y="157684"/>
                  </a:moveTo>
                  <a:lnTo>
                    <a:pt x="98405" y="112997"/>
                  </a:lnTo>
                  <a:lnTo>
                    <a:pt x="114380" y="112997"/>
                  </a:lnTo>
                  <a:lnTo>
                    <a:pt x="114380" y="157684"/>
                  </a:lnTo>
                  <a:lnTo>
                    <a:pt x="98405" y="157684"/>
                  </a:lnTo>
                  <a:close/>
                  <a:moveTo>
                    <a:pt x="200644" y="157684"/>
                  </a:moveTo>
                  <a:lnTo>
                    <a:pt x="127160" y="157684"/>
                  </a:lnTo>
                  <a:lnTo>
                    <a:pt x="127160" y="106613"/>
                  </a:lnTo>
                  <a:cubicBezTo>
                    <a:pt x="127160" y="102782"/>
                    <a:pt x="124604" y="100229"/>
                    <a:pt x="120770" y="100229"/>
                  </a:cubicBezTo>
                  <a:lnTo>
                    <a:pt x="92015" y="100229"/>
                  </a:lnTo>
                  <a:cubicBezTo>
                    <a:pt x="88181" y="100229"/>
                    <a:pt x="85625" y="102782"/>
                    <a:pt x="85625" y="106613"/>
                  </a:cubicBezTo>
                  <a:lnTo>
                    <a:pt x="85625" y="157684"/>
                  </a:lnTo>
                  <a:lnTo>
                    <a:pt x="12141" y="157684"/>
                  </a:lnTo>
                  <a:lnTo>
                    <a:pt x="12141" y="26813"/>
                  </a:lnTo>
                  <a:lnTo>
                    <a:pt x="48563" y="26813"/>
                  </a:lnTo>
                  <a:cubicBezTo>
                    <a:pt x="52397" y="26813"/>
                    <a:pt x="54953" y="24259"/>
                    <a:pt x="54953" y="20429"/>
                  </a:cubicBezTo>
                  <a:lnTo>
                    <a:pt x="54953" y="12768"/>
                  </a:lnTo>
                  <a:lnTo>
                    <a:pt x="157192" y="12768"/>
                  </a:lnTo>
                  <a:lnTo>
                    <a:pt x="157192" y="20429"/>
                  </a:lnTo>
                  <a:cubicBezTo>
                    <a:pt x="157192" y="24259"/>
                    <a:pt x="159749" y="26813"/>
                    <a:pt x="163582" y="26813"/>
                  </a:cubicBezTo>
                  <a:lnTo>
                    <a:pt x="200005" y="26813"/>
                  </a:lnTo>
                  <a:lnTo>
                    <a:pt x="200644" y="157684"/>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56" name="Graphic 4">
              <a:extLst>
                <a:ext uri="{FF2B5EF4-FFF2-40B4-BE49-F238E27FC236}">
                  <a16:creationId xmlns:a16="http://schemas.microsoft.com/office/drawing/2014/main" id="{97CC9C3E-16AD-437A-C7E6-0F659BA4F2BE}"/>
                </a:ext>
              </a:extLst>
            </p:cNvPr>
            <p:cNvSpPr/>
            <p:nvPr/>
          </p:nvSpPr>
          <p:spPr>
            <a:xfrm>
              <a:off x="1761066" y="2595863"/>
              <a:ext cx="12779" cy="12644"/>
            </a:xfrm>
            <a:custGeom>
              <a:avLst/>
              <a:gdLst>
                <a:gd name="connsiteX0" fmla="*/ 1917 w 12779"/>
                <a:gd name="connsiteY0" fmla="*/ 10879 h 12644"/>
                <a:gd name="connsiteX1" fmla="*/ 3834 w 12779"/>
                <a:gd name="connsiteY1" fmla="*/ 12155 h 12644"/>
                <a:gd name="connsiteX2" fmla="*/ 12141 w 12779"/>
                <a:gd name="connsiteY2" fmla="*/ 8963 h 12644"/>
                <a:gd name="connsiteX3" fmla="*/ 12780 w 12779"/>
                <a:gd name="connsiteY3" fmla="*/ 6410 h 12644"/>
                <a:gd name="connsiteX4" fmla="*/ 12141 w 12779"/>
                <a:gd name="connsiteY4" fmla="*/ 3856 h 12644"/>
                <a:gd name="connsiteX5" fmla="*/ 10863 w 12779"/>
                <a:gd name="connsiteY5" fmla="*/ 1941 h 12644"/>
                <a:gd name="connsiteX6" fmla="*/ 3834 w 12779"/>
                <a:gd name="connsiteY6" fmla="*/ 664 h 12644"/>
                <a:gd name="connsiteX7" fmla="*/ 1917 w 12779"/>
                <a:gd name="connsiteY7" fmla="*/ 1941 h 12644"/>
                <a:gd name="connsiteX8" fmla="*/ 639 w 12779"/>
                <a:gd name="connsiteY8" fmla="*/ 3856 h 12644"/>
                <a:gd name="connsiteX9" fmla="*/ 0 w 12779"/>
                <a:gd name="connsiteY9" fmla="*/ 6410 h 12644"/>
                <a:gd name="connsiteX10" fmla="*/ 1917 w 12779"/>
                <a:gd name="connsiteY10" fmla="*/ 10879 h 12644"/>
                <a:gd name="connsiteX11" fmla="*/ 1917 w 12779"/>
                <a:gd name="connsiteY11" fmla="*/ 10879 h 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44">
                  <a:moveTo>
                    <a:pt x="1917" y="10879"/>
                  </a:moveTo>
                  <a:cubicBezTo>
                    <a:pt x="2556" y="11517"/>
                    <a:pt x="3195" y="12155"/>
                    <a:pt x="3834" y="12155"/>
                  </a:cubicBezTo>
                  <a:cubicBezTo>
                    <a:pt x="7029" y="13432"/>
                    <a:pt x="10863" y="12155"/>
                    <a:pt x="12141" y="8963"/>
                  </a:cubicBezTo>
                  <a:cubicBezTo>
                    <a:pt x="12780" y="8325"/>
                    <a:pt x="12780" y="7687"/>
                    <a:pt x="12780" y="6410"/>
                  </a:cubicBezTo>
                  <a:cubicBezTo>
                    <a:pt x="12780" y="5771"/>
                    <a:pt x="12780" y="4495"/>
                    <a:pt x="12141" y="3856"/>
                  </a:cubicBezTo>
                  <a:cubicBezTo>
                    <a:pt x="12141" y="3218"/>
                    <a:pt x="11502" y="2579"/>
                    <a:pt x="10863" y="1941"/>
                  </a:cubicBezTo>
                  <a:cubicBezTo>
                    <a:pt x="8946" y="26"/>
                    <a:pt x="6390" y="-613"/>
                    <a:pt x="3834" y="664"/>
                  </a:cubicBezTo>
                  <a:cubicBezTo>
                    <a:pt x="3195" y="1303"/>
                    <a:pt x="2556" y="1303"/>
                    <a:pt x="1917" y="1941"/>
                  </a:cubicBezTo>
                  <a:cubicBezTo>
                    <a:pt x="1278" y="2579"/>
                    <a:pt x="639" y="3218"/>
                    <a:pt x="639" y="3856"/>
                  </a:cubicBezTo>
                  <a:cubicBezTo>
                    <a:pt x="0" y="4495"/>
                    <a:pt x="0" y="5771"/>
                    <a:pt x="0" y="6410"/>
                  </a:cubicBezTo>
                  <a:cubicBezTo>
                    <a:pt x="0" y="8325"/>
                    <a:pt x="639" y="9602"/>
                    <a:pt x="1917" y="10879"/>
                  </a:cubicBezTo>
                  <a:lnTo>
                    <a:pt x="1917" y="10879"/>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57" name="Graphic 4">
              <a:extLst>
                <a:ext uri="{FF2B5EF4-FFF2-40B4-BE49-F238E27FC236}">
                  <a16:creationId xmlns:a16="http://schemas.microsoft.com/office/drawing/2014/main" id="{36BA72E5-84D8-4E6E-499A-F3C866B11BDC}"/>
                </a:ext>
              </a:extLst>
            </p:cNvPr>
            <p:cNvSpPr/>
            <p:nvPr/>
          </p:nvSpPr>
          <p:spPr>
            <a:xfrm>
              <a:off x="1732461" y="2567161"/>
              <a:ext cx="12630" cy="12608"/>
            </a:xfrm>
            <a:custGeom>
              <a:avLst/>
              <a:gdLst>
                <a:gd name="connsiteX0" fmla="*/ 10075 w 12630"/>
                <a:gd name="connsiteY0" fmla="*/ 1277 h 12608"/>
                <a:gd name="connsiteX1" fmla="*/ 8797 w 12630"/>
                <a:gd name="connsiteY1" fmla="*/ 638 h 12608"/>
                <a:gd name="connsiteX2" fmla="*/ 7519 w 12630"/>
                <a:gd name="connsiteY2" fmla="*/ 0 h 12608"/>
                <a:gd name="connsiteX3" fmla="*/ 3685 w 12630"/>
                <a:gd name="connsiteY3" fmla="*/ 638 h 12608"/>
                <a:gd name="connsiteX4" fmla="*/ 2407 w 12630"/>
                <a:gd name="connsiteY4" fmla="*/ 1277 h 12608"/>
                <a:gd name="connsiteX5" fmla="*/ 1768 w 12630"/>
                <a:gd name="connsiteY5" fmla="*/ 1915 h 12608"/>
                <a:gd name="connsiteX6" fmla="*/ 490 w 12630"/>
                <a:gd name="connsiteY6" fmla="*/ 3830 h 12608"/>
                <a:gd name="connsiteX7" fmla="*/ 3685 w 12630"/>
                <a:gd name="connsiteY7" fmla="*/ 12130 h 12608"/>
                <a:gd name="connsiteX8" fmla="*/ 8797 w 12630"/>
                <a:gd name="connsiteY8" fmla="*/ 12130 h 12608"/>
                <a:gd name="connsiteX9" fmla="*/ 10714 w 12630"/>
                <a:gd name="connsiteY9" fmla="*/ 10853 h 12608"/>
                <a:gd name="connsiteX10" fmla="*/ 12631 w 12630"/>
                <a:gd name="connsiteY10" fmla="*/ 6384 h 12608"/>
                <a:gd name="connsiteX11" fmla="*/ 10714 w 12630"/>
                <a:gd name="connsiteY11" fmla="*/ 1915 h 12608"/>
                <a:gd name="connsiteX12" fmla="*/ 10075 w 12630"/>
                <a:gd name="connsiteY12" fmla="*/ 1277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 h="12608">
                  <a:moveTo>
                    <a:pt x="10075" y="1277"/>
                  </a:moveTo>
                  <a:lnTo>
                    <a:pt x="8797" y="638"/>
                  </a:lnTo>
                  <a:lnTo>
                    <a:pt x="7519" y="0"/>
                  </a:lnTo>
                  <a:cubicBezTo>
                    <a:pt x="6241" y="0"/>
                    <a:pt x="4963" y="0"/>
                    <a:pt x="3685" y="638"/>
                  </a:cubicBezTo>
                  <a:lnTo>
                    <a:pt x="2407" y="1277"/>
                  </a:lnTo>
                  <a:lnTo>
                    <a:pt x="1768" y="1915"/>
                  </a:lnTo>
                  <a:cubicBezTo>
                    <a:pt x="1129" y="2554"/>
                    <a:pt x="490" y="3192"/>
                    <a:pt x="490" y="3830"/>
                  </a:cubicBezTo>
                  <a:cubicBezTo>
                    <a:pt x="-788" y="7022"/>
                    <a:pt x="490" y="10853"/>
                    <a:pt x="3685" y="12130"/>
                  </a:cubicBezTo>
                  <a:cubicBezTo>
                    <a:pt x="4963" y="12768"/>
                    <a:pt x="6880" y="12768"/>
                    <a:pt x="8797" y="12130"/>
                  </a:cubicBezTo>
                  <a:cubicBezTo>
                    <a:pt x="9436" y="12130"/>
                    <a:pt x="10075" y="11491"/>
                    <a:pt x="10714" y="10853"/>
                  </a:cubicBezTo>
                  <a:cubicBezTo>
                    <a:pt x="11992" y="9576"/>
                    <a:pt x="12631" y="8299"/>
                    <a:pt x="12631" y="6384"/>
                  </a:cubicBezTo>
                  <a:cubicBezTo>
                    <a:pt x="12631" y="4469"/>
                    <a:pt x="11992" y="3192"/>
                    <a:pt x="10714" y="1915"/>
                  </a:cubicBezTo>
                  <a:cubicBezTo>
                    <a:pt x="10714" y="1277"/>
                    <a:pt x="10075" y="1277"/>
                    <a:pt x="10075"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58" name="Graphic 4">
              <a:extLst>
                <a:ext uri="{FF2B5EF4-FFF2-40B4-BE49-F238E27FC236}">
                  <a16:creationId xmlns:a16="http://schemas.microsoft.com/office/drawing/2014/main" id="{1FC3A184-B98A-F77B-4F3E-477B1CA2A4D6}"/>
                </a:ext>
              </a:extLst>
            </p:cNvPr>
            <p:cNvSpPr/>
            <p:nvPr/>
          </p:nvSpPr>
          <p:spPr>
            <a:xfrm>
              <a:off x="1761066" y="2567161"/>
              <a:ext cx="12779" cy="12768"/>
            </a:xfrm>
            <a:custGeom>
              <a:avLst/>
              <a:gdLst>
                <a:gd name="connsiteX0" fmla="*/ 6390 w 12779"/>
                <a:gd name="connsiteY0" fmla="*/ 12768 h 12768"/>
                <a:gd name="connsiteX1" fmla="*/ 12141 w 12779"/>
                <a:gd name="connsiteY1" fmla="*/ 8938 h 12768"/>
                <a:gd name="connsiteX2" fmla="*/ 12780 w 12779"/>
                <a:gd name="connsiteY2" fmla="*/ 6384 h 12768"/>
                <a:gd name="connsiteX3" fmla="*/ 10863 w 12779"/>
                <a:gd name="connsiteY3" fmla="*/ 1915 h 12768"/>
                <a:gd name="connsiteX4" fmla="*/ 1917 w 12779"/>
                <a:gd name="connsiteY4" fmla="*/ 1915 h 12768"/>
                <a:gd name="connsiteX5" fmla="*/ 1917 w 12779"/>
                <a:gd name="connsiteY5" fmla="*/ 1915 h 12768"/>
                <a:gd name="connsiteX6" fmla="*/ 0 w 12779"/>
                <a:gd name="connsiteY6" fmla="*/ 6384 h 12768"/>
                <a:gd name="connsiteX7" fmla="*/ 6390 w 12779"/>
                <a:gd name="connsiteY7" fmla="*/ 12768 h 12768"/>
                <a:gd name="connsiteX8" fmla="*/ 6390 w 12779"/>
                <a:gd name="connsiteY8"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6390" y="12768"/>
                  </a:moveTo>
                  <a:cubicBezTo>
                    <a:pt x="8946" y="12768"/>
                    <a:pt x="11502" y="11491"/>
                    <a:pt x="12141" y="8938"/>
                  </a:cubicBezTo>
                  <a:cubicBezTo>
                    <a:pt x="12780" y="8299"/>
                    <a:pt x="12780" y="7022"/>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59" name="Graphic 4">
              <a:extLst>
                <a:ext uri="{FF2B5EF4-FFF2-40B4-BE49-F238E27FC236}">
                  <a16:creationId xmlns:a16="http://schemas.microsoft.com/office/drawing/2014/main" id="{8A1E31DE-6338-FF6D-395B-A992AAF8A693}"/>
                </a:ext>
              </a:extLst>
            </p:cNvPr>
            <p:cNvSpPr/>
            <p:nvPr/>
          </p:nvSpPr>
          <p:spPr>
            <a:xfrm>
              <a:off x="1732311"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0" name="Graphic 4">
              <a:extLst>
                <a:ext uri="{FF2B5EF4-FFF2-40B4-BE49-F238E27FC236}">
                  <a16:creationId xmlns:a16="http://schemas.microsoft.com/office/drawing/2014/main" id="{9AF4E5E3-F83C-CE8F-6C44-9598FD5CEB8E}"/>
                </a:ext>
              </a:extLst>
            </p:cNvPr>
            <p:cNvSpPr/>
            <p:nvPr/>
          </p:nvSpPr>
          <p:spPr>
            <a:xfrm>
              <a:off x="1617442" y="2567161"/>
              <a:ext cx="12630" cy="12768"/>
            </a:xfrm>
            <a:custGeom>
              <a:avLst/>
              <a:gdLst>
                <a:gd name="connsiteX0" fmla="*/ 1768 w 12630"/>
                <a:gd name="connsiteY0" fmla="*/ 1915 h 12768"/>
                <a:gd name="connsiteX1" fmla="*/ 490 w 12630"/>
                <a:gd name="connsiteY1" fmla="*/ 3830 h 12768"/>
                <a:gd name="connsiteX2" fmla="*/ 3685 w 12630"/>
                <a:gd name="connsiteY2" fmla="*/ 12130 h 12768"/>
                <a:gd name="connsiteX3" fmla="*/ 6241 w 12630"/>
                <a:gd name="connsiteY3" fmla="*/ 12768 h 12768"/>
                <a:gd name="connsiteX4" fmla="*/ 10714 w 12630"/>
                <a:gd name="connsiteY4" fmla="*/ 10853 h 12768"/>
                <a:gd name="connsiteX5" fmla="*/ 12631 w 12630"/>
                <a:gd name="connsiteY5" fmla="*/ 6384 h 12768"/>
                <a:gd name="connsiteX6" fmla="*/ 10714 w 12630"/>
                <a:gd name="connsiteY6" fmla="*/ 1915 h 12768"/>
                <a:gd name="connsiteX7" fmla="*/ 1768 w 12630"/>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8">
                  <a:moveTo>
                    <a:pt x="1768" y="1915"/>
                  </a:moveTo>
                  <a:cubicBezTo>
                    <a:pt x="1129" y="2554"/>
                    <a:pt x="490" y="3192"/>
                    <a:pt x="490" y="3830"/>
                  </a:cubicBezTo>
                  <a:cubicBezTo>
                    <a:pt x="-788" y="7022"/>
                    <a:pt x="490" y="10853"/>
                    <a:pt x="3685" y="12130"/>
                  </a:cubicBezTo>
                  <a:cubicBezTo>
                    <a:pt x="4324" y="12768"/>
                    <a:pt x="5602" y="12768"/>
                    <a:pt x="6241" y="12768"/>
                  </a:cubicBezTo>
                  <a:cubicBezTo>
                    <a:pt x="8158" y="12768"/>
                    <a:pt x="9436" y="12130"/>
                    <a:pt x="10714" y="10853"/>
                  </a:cubicBezTo>
                  <a:cubicBezTo>
                    <a:pt x="11992" y="9576"/>
                    <a:pt x="12631" y="8299"/>
                    <a:pt x="12631" y="6384"/>
                  </a:cubicBezTo>
                  <a:cubicBezTo>
                    <a:pt x="12631" y="4469"/>
                    <a:pt x="11992" y="3192"/>
                    <a:pt x="10714" y="1915"/>
                  </a:cubicBezTo>
                  <a:cubicBezTo>
                    <a:pt x="8797" y="-638"/>
                    <a:pt x="4324" y="-638"/>
                    <a:pt x="1768"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1" name="Graphic 4">
              <a:extLst>
                <a:ext uri="{FF2B5EF4-FFF2-40B4-BE49-F238E27FC236}">
                  <a16:creationId xmlns:a16="http://schemas.microsoft.com/office/drawing/2014/main" id="{3F6E562F-572E-CE84-B0AB-84088121C1BB}"/>
                </a:ext>
              </a:extLst>
            </p:cNvPr>
            <p:cNvSpPr/>
            <p:nvPr/>
          </p:nvSpPr>
          <p:spPr>
            <a:xfrm>
              <a:off x="1646686" y="2595863"/>
              <a:ext cx="12779" cy="12793"/>
            </a:xfrm>
            <a:custGeom>
              <a:avLst/>
              <a:gdLst>
                <a:gd name="connsiteX0" fmla="*/ 10863 w 12779"/>
                <a:gd name="connsiteY0" fmla="*/ 1941 h 12793"/>
                <a:gd name="connsiteX1" fmla="*/ 8946 w 12779"/>
                <a:gd name="connsiteY1" fmla="*/ 664 h 12793"/>
                <a:gd name="connsiteX2" fmla="*/ 1917 w 12779"/>
                <a:gd name="connsiteY2" fmla="*/ 1941 h 12793"/>
                <a:gd name="connsiteX3" fmla="*/ 639 w 12779"/>
                <a:gd name="connsiteY3" fmla="*/ 3856 h 12793"/>
                <a:gd name="connsiteX4" fmla="*/ 0 w 12779"/>
                <a:gd name="connsiteY4" fmla="*/ 6410 h 12793"/>
                <a:gd name="connsiteX5" fmla="*/ 6390 w 12779"/>
                <a:gd name="connsiteY5" fmla="*/ 12794 h 12793"/>
                <a:gd name="connsiteX6" fmla="*/ 10863 w 12779"/>
                <a:gd name="connsiteY6" fmla="*/ 10879 h 12793"/>
                <a:gd name="connsiteX7" fmla="*/ 12141 w 12779"/>
                <a:gd name="connsiteY7" fmla="*/ 8963 h 12793"/>
                <a:gd name="connsiteX8" fmla="*/ 12780 w 12779"/>
                <a:gd name="connsiteY8" fmla="*/ 6410 h 12793"/>
                <a:gd name="connsiteX9" fmla="*/ 12141 w 12779"/>
                <a:gd name="connsiteY9" fmla="*/ 3856 h 12793"/>
                <a:gd name="connsiteX10" fmla="*/ 10863 w 12779"/>
                <a:gd name="connsiteY10" fmla="*/ 1941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93">
                  <a:moveTo>
                    <a:pt x="10863" y="1941"/>
                  </a:moveTo>
                  <a:cubicBezTo>
                    <a:pt x="10224" y="1303"/>
                    <a:pt x="9585" y="664"/>
                    <a:pt x="8946" y="664"/>
                  </a:cubicBezTo>
                  <a:cubicBezTo>
                    <a:pt x="6390" y="-613"/>
                    <a:pt x="3834" y="26"/>
                    <a:pt x="1917" y="1941"/>
                  </a:cubicBezTo>
                  <a:cubicBezTo>
                    <a:pt x="1278" y="2579"/>
                    <a:pt x="639" y="3218"/>
                    <a:pt x="639" y="3856"/>
                  </a:cubicBezTo>
                  <a:cubicBezTo>
                    <a:pt x="0" y="4495"/>
                    <a:pt x="0" y="5771"/>
                    <a:pt x="0" y="6410"/>
                  </a:cubicBezTo>
                  <a:cubicBezTo>
                    <a:pt x="0" y="10240"/>
                    <a:pt x="3195" y="12794"/>
                    <a:pt x="6390" y="12794"/>
                  </a:cubicBezTo>
                  <a:cubicBezTo>
                    <a:pt x="8307" y="12794"/>
                    <a:pt x="9585" y="12155"/>
                    <a:pt x="10863" y="10879"/>
                  </a:cubicBezTo>
                  <a:cubicBezTo>
                    <a:pt x="11502" y="10240"/>
                    <a:pt x="12141" y="9602"/>
                    <a:pt x="12141" y="8963"/>
                  </a:cubicBezTo>
                  <a:cubicBezTo>
                    <a:pt x="12780" y="8325"/>
                    <a:pt x="12780" y="7687"/>
                    <a:pt x="12780" y="6410"/>
                  </a:cubicBezTo>
                  <a:cubicBezTo>
                    <a:pt x="12780" y="5771"/>
                    <a:pt x="12780" y="4495"/>
                    <a:pt x="12141" y="3856"/>
                  </a:cubicBezTo>
                  <a:cubicBezTo>
                    <a:pt x="11502" y="3218"/>
                    <a:pt x="10863" y="2579"/>
                    <a:pt x="10863" y="1941"/>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2" name="Graphic 4">
              <a:extLst>
                <a:ext uri="{FF2B5EF4-FFF2-40B4-BE49-F238E27FC236}">
                  <a16:creationId xmlns:a16="http://schemas.microsoft.com/office/drawing/2014/main" id="{085A218B-4770-3AD3-CE98-8B6B9E125ECF}"/>
                </a:ext>
              </a:extLst>
            </p:cNvPr>
            <p:cNvSpPr/>
            <p:nvPr/>
          </p:nvSpPr>
          <p:spPr>
            <a:xfrm>
              <a:off x="1617932"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1502"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3" name="Graphic 4">
              <a:extLst>
                <a:ext uri="{FF2B5EF4-FFF2-40B4-BE49-F238E27FC236}">
                  <a16:creationId xmlns:a16="http://schemas.microsoft.com/office/drawing/2014/main" id="{BF1212BD-BE84-34E5-A63A-BEE356EC49BE}"/>
                </a:ext>
              </a:extLst>
            </p:cNvPr>
            <p:cNvSpPr/>
            <p:nvPr/>
          </p:nvSpPr>
          <p:spPr>
            <a:xfrm>
              <a:off x="1646686" y="2567161"/>
              <a:ext cx="12779" cy="12768"/>
            </a:xfrm>
            <a:custGeom>
              <a:avLst/>
              <a:gdLst>
                <a:gd name="connsiteX0" fmla="*/ 10863 w 12779"/>
                <a:gd name="connsiteY0" fmla="*/ 1915 h 12768"/>
                <a:gd name="connsiteX1" fmla="*/ 1917 w 12779"/>
                <a:gd name="connsiteY1" fmla="*/ 1915 h 12768"/>
                <a:gd name="connsiteX2" fmla="*/ 1917 w 12779"/>
                <a:gd name="connsiteY2" fmla="*/ 1915 h 12768"/>
                <a:gd name="connsiteX3" fmla="*/ 0 w 12779"/>
                <a:gd name="connsiteY3" fmla="*/ 6384 h 12768"/>
                <a:gd name="connsiteX4" fmla="*/ 6390 w 12779"/>
                <a:gd name="connsiteY4" fmla="*/ 12768 h 12768"/>
                <a:gd name="connsiteX5" fmla="*/ 12780 w 12779"/>
                <a:gd name="connsiteY5" fmla="*/ 6384 h 12768"/>
                <a:gd name="connsiteX6" fmla="*/ 10863 w 12779"/>
                <a:gd name="connsiteY6" fmla="*/ 1915 h 12768"/>
                <a:gd name="connsiteX7" fmla="*/ 10863 w 12779"/>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8">
                  <a:moveTo>
                    <a:pt x="10863" y="1915"/>
                  </a:moveTo>
                  <a:cubicBezTo>
                    <a:pt x="8307" y="-638"/>
                    <a:pt x="4473" y="-638"/>
                    <a:pt x="1917" y="1915"/>
                  </a:cubicBezTo>
                  <a:cubicBezTo>
                    <a:pt x="1917" y="1915"/>
                    <a:pt x="1917" y="1915"/>
                    <a:pt x="1917" y="1915"/>
                  </a:cubicBezTo>
                  <a:cubicBezTo>
                    <a:pt x="639" y="3192"/>
                    <a:pt x="0" y="4469"/>
                    <a:pt x="0" y="6384"/>
                  </a:cubicBezTo>
                  <a:cubicBezTo>
                    <a:pt x="0" y="10214"/>
                    <a:pt x="2556" y="12768"/>
                    <a:pt x="6390" y="12768"/>
                  </a:cubicBezTo>
                  <a:cubicBezTo>
                    <a:pt x="10224" y="12768"/>
                    <a:pt x="12780" y="10214"/>
                    <a:pt x="12780" y="6384"/>
                  </a:cubicBezTo>
                  <a:cubicBezTo>
                    <a:pt x="12780" y="4469"/>
                    <a:pt x="11502" y="3192"/>
                    <a:pt x="10863" y="1915"/>
                  </a:cubicBezTo>
                  <a:lnTo>
                    <a:pt x="10863" y="1915"/>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4" name="Graphic 4">
              <a:extLst>
                <a:ext uri="{FF2B5EF4-FFF2-40B4-BE49-F238E27FC236}">
                  <a16:creationId xmlns:a16="http://schemas.microsoft.com/office/drawing/2014/main" id="{C562643E-9D6A-5968-C8E9-DBEA1DD1EBA4}"/>
                </a:ext>
              </a:extLst>
            </p:cNvPr>
            <p:cNvSpPr/>
            <p:nvPr/>
          </p:nvSpPr>
          <p:spPr>
            <a:xfrm>
              <a:off x="1732311" y="2538433"/>
              <a:ext cx="12779" cy="12768"/>
            </a:xfrm>
            <a:custGeom>
              <a:avLst/>
              <a:gdLst>
                <a:gd name="connsiteX0" fmla="*/ 1917 w 12779"/>
                <a:gd name="connsiteY0" fmla="*/ 1915 h 12768"/>
                <a:gd name="connsiteX1" fmla="*/ 0 w 12779"/>
                <a:gd name="connsiteY1" fmla="*/ 6384 h 12768"/>
                <a:gd name="connsiteX2" fmla="*/ 639 w 12779"/>
                <a:gd name="connsiteY2" fmla="*/ 8938 h 12768"/>
                <a:gd name="connsiteX3" fmla="*/ 1917 w 12779"/>
                <a:gd name="connsiteY3" fmla="*/ 10853 h 12768"/>
                <a:gd name="connsiteX4" fmla="*/ 6390 w 12779"/>
                <a:gd name="connsiteY4" fmla="*/ 12768 h 12768"/>
                <a:gd name="connsiteX5" fmla="*/ 10863 w 12779"/>
                <a:gd name="connsiteY5" fmla="*/ 10853 h 12768"/>
                <a:gd name="connsiteX6" fmla="*/ 12141 w 12779"/>
                <a:gd name="connsiteY6" fmla="*/ 8938 h 12768"/>
                <a:gd name="connsiteX7" fmla="*/ 12780 w 12779"/>
                <a:gd name="connsiteY7" fmla="*/ 6384 h 12768"/>
                <a:gd name="connsiteX8" fmla="*/ 10863 w 12779"/>
                <a:gd name="connsiteY8" fmla="*/ 1915 h 12768"/>
                <a:gd name="connsiteX9" fmla="*/ 1917 w 12779"/>
                <a:gd name="connsiteY9"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1917" y="1915"/>
                  </a:moveTo>
                  <a:cubicBezTo>
                    <a:pt x="639" y="3192"/>
                    <a:pt x="0" y="4469"/>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5" name="Graphic 4">
              <a:extLst>
                <a:ext uri="{FF2B5EF4-FFF2-40B4-BE49-F238E27FC236}">
                  <a16:creationId xmlns:a16="http://schemas.microsoft.com/office/drawing/2014/main" id="{560F67F6-B47F-7211-AD27-E0E24FE6AF7B}"/>
                </a:ext>
              </a:extLst>
            </p:cNvPr>
            <p:cNvSpPr/>
            <p:nvPr/>
          </p:nvSpPr>
          <p:spPr>
            <a:xfrm>
              <a:off x="1732461" y="2509865"/>
              <a:ext cx="12630" cy="12608"/>
            </a:xfrm>
            <a:custGeom>
              <a:avLst/>
              <a:gdLst>
                <a:gd name="connsiteX0" fmla="*/ 11992 w 12630"/>
                <a:gd name="connsiteY0" fmla="*/ 3671 h 12608"/>
                <a:gd name="connsiteX1" fmla="*/ 10714 w 12630"/>
                <a:gd name="connsiteY1" fmla="*/ 1756 h 12608"/>
                <a:gd name="connsiteX2" fmla="*/ 8797 w 12630"/>
                <a:gd name="connsiteY2" fmla="*/ 479 h 12608"/>
                <a:gd name="connsiteX3" fmla="*/ 3685 w 12630"/>
                <a:gd name="connsiteY3" fmla="*/ 479 h 12608"/>
                <a:gd name="connsiteX4" fmla="*/ 490 w 12630"/>
                <a:gd name="connsiteY4" fmla="*/ 8778 h 12608"/>
                <a:gd name="connsiteX5" fmla="*/ 1768 w 12630"/>
                <a:gd name="connsiteY5" fmla="*/ 10693 h 12608"/>
                <a:gd name="connsiteX6" fmla="*/ 3685 w 12630"/>
                <a:gd name="connsiteY6" fmla="*/ 11970 h 12608"/>
                <a:gd name="connsiteX7" fmla="*/ 6241 w 12630"/>
                <a:gd name="connsiteY7" fmla="*/ 12608 h 12608"/>
                <a:gd name="connsiteX8" fmla="*/ 12631 w 12630"/>
                <a:gd name="connsiteY8" fmla="*/ 6224 h 12608"/>
                <a:gd name="connsiteX9" fmla="*/ 12631 w 12630"/>
                <a:gd name="connsiteY9" fmla="*/ 4947 h 12608"/>
                <a:gd name="connsiteX10" fmla="*/ 11992 w 12630"/>
                <a:gd name="connsiteY10" fmla="*/ 3671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30" h="12608">
                  <a:moveTo>
                    <a:pt x="11992" y="3671"/>
                  </a:moveTo>
                  <a:cubicBezTo>
                    <a:pt x="11992" y="3032"/>
                    <a:pt x="11353" y="2394"/>
                    <a:pt x="10714" y="1756"/>
                  </a:cubicBezTo>
                  <a:cubicBezTo>
                    <a:pt x="10075" y="1117"/>
                    <a:pt x="9436" y="479"/>
                    <a:pt x="8797" y="479"/>
                  </a:cubicBezTo>
                  <a:cubicBezTo>
                    <a:pt x="7519" y="-160"/>
                    <a:pt x="5602" y="-160"/>
                    <a:pt x="3685" y="479"/>
                  </a:cubicBezTo>
                  <a:cubicBezTo>
                    <a:pt x="490" y="1756"/>
                    <a:pt x="-788" y="5586"/>
                    <a:pt x="490" y="8778"/>
                  </a:cubicBezTo>
                  <a:cubicBezTo>
                    <a:pt x="1129" y="9416"/>
                    <a:pt x="1129" y="10055"/>
                    <a:pt x="1768" y="10693"/>
                  </a:cubicBezTo>
                  <a:cubicBezTo>
                    <a:pt x="2407" y="11331"/>
                    <a:pt x="3046" y="11970"/>
                    <a:pt x="3685" y="11970"/>
                  </a:cubicBezTo>
                  <a:cubicBezTo>
                    <a:pt x="4324" y="12608"/>
                    <a:pt x="5602" y="12608"/>
                    <a:pt x="6241" y="12608"/>
                  </a:cubicBezTo>
                  <a:cubicBezTo>
                    <a:pt x="10075" y="12608"/>
                    <a:pt x="12631" y="10055"/>
                    <a:pt x="12631" y="6224"/>
                  </a:cubicBezTo>
                  <a:cubicBezTo>
                    <a:pt x="12631" y="5586"/>
                    <a:pt x="12631" y="5586"/>
                    <a:pt x="12631" y="4947"/>
                  </a:cubicBezTo>
                  <a:lnTo>
                    <a:pt x="11992" y="367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6" name="Graphic 4">
              <a:extLst>
                <a:ext uri="{FF2B5EF4-FFF2-40B4-BE49-F238E27FC236}">
                  <a16:creationId xmlns:a16="http://schemas.microsoft.com/office/drawing/2014/main" id="{9CCD8FAB-2363-DD59-0027-6D3D56BC654C}"/>
                </a:ext>
              </a:extLst>
            </p:cNvPr>
            <p:cNvSpPr/>
            <p:nvPr/>
          </p:nvSpPr>
          <p:spPr>
            <a:xfrm>
              <a:off x="1761066" y="2538433"/>
              <a:ext cx="12779" cy="12768"/>
            </a:xfrm>
            <a:custGeom>
              <a:avLst/>
              <a:gdLst>
                <a:gd name="connsiteX0" fmla="*/ 1917 w 12779"/>
                <a:gd name="connsiteY0" fmla="*/ 10853 h 12768"/>
                <a:gd name="connsiteX1" fmla="*/ 10863 w 12779"/>
                <a:gd name="connsiteY1" fmla="*/ 10853 h 12768"/>
                <a:gd name="connsiteX2" fmla="*/ 10863 w 12779"/>
                <a:gd name="connsiteY2" fmla="*/ 10853 h 12768"/>
                <a:gd name="connsiteX3" fmla="*/ 12141 w 12779"/>
                <a:gd name="connsiteY3" fmla="*/ 8938 h 12768"/>
                <a:gd name="connsiteX4" fmla="*/ 12780 w 12779"/>
                <a:gd name="connsiteY4" fmla="*/ 6384 h 12768"/>
                <a:gd name="connsiteX5" fmla="*/ 6390 w 12779"/>
                <a:gd name="connsiteY5" fmla="*/ 0 h 12768"/>
                <a:gd name="connsiteX6" fmla="*/ 0 w 12779"/>
                <a:gd name="connsiteY6" fmla="*/ 6384 h 12768"/>
                <a:gd name="connsiteX7" fmla="*/ 639 w 12779"/>
                <a:gd name="connsiteY7" fmla="*/ 8938 h 12768"/>
                <a:gd name="connsiteX8" fmla="*/ 1917 w 12779"/>
                <a:gd name="connsiteY8"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1917" y="10853"/>
                  </a:moveTo>
                  <a:cubicBezTo>
                    <a:pt x="4473" y="13406"/>
                    <a:pt x="8307" y="13406"/>
                    <a:pt x="10863" y="10853"/>
                  </a:cubicBezTo>
                  <a:cubicBezTo>
                    <a:pt x="10863" y="10853"/>
                    <a:pt x="10863" y="10853"/>
                    <a:pt x="10863" y="10853"/>
                  </a:cubicBezTo>
                  <a:cubicBezTo>
                    <a:pt x="11502" y="10214"/>
                    <a:pt x="12141" y="9576"/>
                    <a:pt x="12141" y="8938"/>
                  </a:cubicBezTo>
                  <a:cubicBezTo>
                    <a:pt x="12780" y="8299"/>
                    <a:pt x="12780" y="7661"/>
                    <a:pt x="12780" y="6384"/>
                  </a:cubicBezTo>
                  <a:cubicBezTo>
                    <a:pt x="12780" y="2554"/>
                    <a:pt x="10224" y="0"/>
                    <a:pt x="6390" y="0"/>
                  </a:cubicBezTo>
                  <a:cubicBezTo>
                    <a:pt x="2556" y="0"/>
                    <a:pt x="0" y="2554"/>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7" name="Graphic 4">
              <a:extLst>
                <a:ext uri="{FF2B5EF4-FFF2-40B4-BE49-F238E27FC236}">
                  <a16:creationId xmlns:a16="http://schemas.microsoft.com/office/drawing/2014/main" id="{44EAF5F3-BFBF-A02A-D1FE-9606B9135F61}"/>
                </a:ext>
              </a:extLst>
            </p:cNvPr>
            <p:cNvSpPr/>
            <p:nvPr/>
          </p:nvSpPr>
          <p:spPr>
            <a:xfrm>
              <a:off x="1761066" y="2509706"/>
              <a:ext cx="12779" cy="12608"/>
            </a:xfrm>
            <a:custGeom>
              <a:avLst/>
              <a:gdLst>
                <a:gd name="connsiteX0" fmla="*/ 1917 w 12779"/>
                <a:gd name="connsiteY0" fmla="*/ 10853 h 12608"/>
                <a:gd name="connsiteX1" fmla="*/ 3834 w 12779"/>
                <a:gd name="connsiteY1" fmla="*/ 12130 h 12608"/>
                <a:gd name="connsiteX2" fmla="*/ 8946 w 12779"/>
                <a:gd name="connsiteY2" fmla="*/ 12130 h 12608"/>
                <a:gd name="connsiteX3" fmla="*/ 12141 w 12779"/>
                <a:gd name="connsiteY3" fmla="*/ 8938 h 12608"/>
                <a:gd name="connsiteX4" fmla="*/ 12780 w 12779"/>
                <a:gd name="connsiteY4" fmla="*/ 6384 h 12608"/>
                <a:gd name="connsiteX5" fmla="*/ 10863 w 12779"/>
                <a:gd name="connsiteY5" fmla="*/ 1915 h 12608"/>
                <a:gd name="connsiteX6" fmla="*/ 5112 w 12779"/>
                <a:gd name="connsiteY6" fmla="*/ 0 h 12608"/>
                <a:gd name="connsiteX7" fmla="*/ 3834 w 12779"/>
                <a:gd name="connsiteY7" fmla="*/ 638 h 12608"/>
                <a:gd name="connsiteX8" fmla="*/ 2556 w 12779"/>
                <a:gd name="connsiteY8" fmla="*/ 1277 h 12608"/>
                <a:gd name="connsiteX9" fmla="*/ 1917 w 12779"/>
                <a:gd name="connsiteY9" fmla="*/ 1915 h 12608"/>
                <a:gd name="connsiteX10" fmla="*/ 0 w 12779"/>
                <a:gd name="connsiteY10" fmla="*/ 6384 h 12608"/>
                <a:gd name="connsiteX11" fmla="*/ 639 w 12779"/>
                <a:gd name="connsiteY11" fmla="*/ 8938 h 12608"/>
                <a:gd name="connsiteX12" fmla="*/ 1917 w 12779"/>
                <a:gd name="connsiteY12" fmla="*/ 1085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608">
                  <a:moveTo>
                    <a:pt x="1917" y="10853"/>
                  </a:moveTo>
                  <a:cubicBezTo>
                    <a:pt x="2556" y="11491"/>
                    <a:pt x="3195" y="12130"/>
                    <a:pt x="3834" y="12130"/>
                  </a:cubicBezTo>
                  <a:cubicBezTo>
                    <a:pt x="5112" y="12768"/>
                    <a:pt x="7029"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9585" y="638"/>
                    <a:pt x="7029" y="0"/>
                    <a:pt x="5112" y="0"/>
                  </a:cubicBezTo>
                  <a:cubicBezTo>
                    <a:pt x="4473" y="0"/>
                    <a:pt x="4473" y="0"/>
                    <a:pt x="3834" y="638"/>
                  </a:cubicBezTo>
                  <a:cubicBezTo>
                    <a:pt x="3195" y="638"/>
                    <a:pt x="3195" y="1277"/>
                    <a:pt x="2556" y="1277"/>
                  </a:cubicBezTo>
                  <a:lnTo>
                    <a:pt x="1917" y="1915"/>
                  </a:ln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8" name="Graphic 4">
              <a:extLst>
                <a:ext uri="{FF2B5EF4-FFF2-40B4-BE49-F238E27FC236}">
                  <a16:creationId xmlns:a16="http://schemas.microsoft.com/office/drawing/2014/main" id="{373CCCD0-4625-0919-3DFD-BD3B2BDBA464}"/>
                </a:ext>
              </a:extLst>
            </p:cNvPr>
            <p:cNvSpPr/>
            <p:nvPr/>
          </p:nvSpPr>
          <p:spPr>
            <a:xfrm>
              <a:off x="1674802" y="2538433"/>
              <a:ext cx="12779" cy="12767"/>
            </a:xfrm>
            <a:custGeom>
              <a:avLst/>
              <a:gdLst>
                <a:gd name="connsiteX0" fmla="*/ 12780 w 12779"/>
                <a:gd name="connsiteY0" fmla="*/ 3830 h 12767"/>
                <a:gd name="connsiteX1" fmla="*/ 11502 w 12779"/>
                <a:gd name="connsiteY1" fmla="*/ 1915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 name="connsiteX9" fmla="*/ 6390 w 12779"/>
                <a:gd name="connsiteY9" fmla="*/ 12768 h 12767"/>
                <a:gd name="connsiteX10" fmla="*/ 8946 w 12779"/>
                <a:gd name="connsiteY10" fmla="*/ 12130 h 12767"/>
                <a:gd name="connsiteX11" fmla="*/ 10863 w 12779"/>
                <a:gd name="connsiteY11" fmla="*/ 10853 h 12767"/>
                <a:gd name="connsiteX12" fmla="*/ 12141 w 12779"/>
                <a:gd name="connsiteY12" fmla="*/ 8938 h 12767"/>
                <a:gd name="connsiteX13" fmla="*/ 12780 w 12779"/>
                <a:gd name="connsiteY13" fmla="*/ 6384 h 12767"/>
                <a:gd name="connsiteX14" fmla="*/ 12780 w 12779"/>
                <a:gd name="connsiteY14" fmla="*/ 5107 h 12767"/>
                <a:gd name="connsiteX15" fmla="*/ 12780 w 12779"/>
                <a:gd name="connsiteY15" fmla="*/ 38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2780" y="3830"/>
                  </a:moveTo>
                  <a:cubicBezTo>
                    <a:pt x="12141" y="3192"/>
                    <a:pt x="12141" y="2554"/>
                    <a:pt x="11502" y="1915"/>
                  </a:cubicBezTo>
                  <a:cubicBezTo>
                    <a:pt x="10224" y="638"/>
                    <a:pt x="7668" y="0"/>
                    <a:pt x="5751" y="0"/>
                  </a:cubicBezTo>
                  <a:cubicBezTo>
                    <a:pt x="5112" y="0"/>
                    <a:pt x="5112" y="0"/>
                    <a:pt x="4473" y="638"/>
                  </a:cubicBezTo>
                  <a:cubicBezTo>
                    <a:pt x="3834" y="638"/>
                    <a:pt x="3834" y="1277"/>
                    <a:pt x="3195" y="1277"/>
                  </a:cubicBezTo>
                  <a:lnTo>
                    <a:pt x="1917" y="1915"/>
                  </a:lnTo>
                  <a:cubicBezTo>
                    <a:pt x="639" y="3192"/>
                    <a:pt x="0" y="4469"/>
                    <a:pt x="0" y="6384"/>
                  </a:cubicBezTo>
                  <a:cubicBezTo>
                    <a:pt x="0" y="7022"/>
                    <a:pt x="0" y="8299"/>
                    <a:pt x="639" y="8938"/>
                  </a:cubicBezTo>
                  <a:cubicBezTo>
                    <a:pt x="639" y="9576"/>
                    <a:pt x="1278" y="10214"/>
                    <a:pt x="1917" y="10853"/>
                  </a:cubicBezTo>
                  <a:cubicBezTo>
                    <a:pt x="3195" y="12130"/>
                    <a:pt x="4473"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141" y="8299"/>
                    <a:pt x="12780" y="7661"/>
                    <a:pt x="12780" y="6384"/>
                  </a:cubicBezTo>
                  <a:cubicBezTo>
                    <a:pt x="12780" y="5746"/>
                    <a:pt x="12780" y="5746"/>
                    <a:pt x="12780" y="5107"/>
                  </a:cubicBezTo>
                  <a:cubicBezTo>
                    <a:pt x="12780" y="5107"/>
                    <a:pt x="12780" y="4469"/>
                    <a:pt x="12780" y="38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69" name="Graphic 4">
              <a:extLst>
                <a:ext uri="{FF2B5EF4-FFF2-40B4-BE49-F238E27FC236}">
                  <a16:creationId xmlns:a16="http://schemas.microsoft.com/office/drawing/2014/main" id="{56579A8B-8A73-19CE-3057-68C103C883CB}"/>
                </a:ext>
              </a:extLst>
            </p:cNvPr>
            <p:cNvSpPr/>
            <p:nvPr/>
          </p:nvSpPr>
          <p:spPr>
            <a:xfrm>
              <a:off x="1703557" y="2538832"/>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 w 12779"/>
                <a:gd name="connsiteY4" fmla="*/ 9177 h 13007"/>
                <a:gd name="connsiteX5" fmla="*/ 1917 w 12779"/>
                <a:gd name="connsiteY5" fmla="*/ 11092 h 13007"/>
                <a:gd name="connsiteX6" fmla="*/ 6390 w 12779"/>
                <a:gd name="connsiteY6" fmla="*/ 13007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7262"/>
                    <a:pt x="0" y="8539"/>
                    <a:pt x="639" y="9177"/>
                  </a:cubicBezTo>
                  <a:cubicBezTo>
                    <a:pt x="639" y="9815"/>
                    <a:pt x="1278" y="10454"/>
                    <a:pt x="1917" y="11092"/>
                  </a:cubicBezTo>
                  <a:cubicBezTo>
                    <a:pt x="3195" y="12369"/>
                    <a:pt x="4473" y="13007"/>
                    <a:pt x="6390" y="13007"/>
                  </a:cubicBezTo>
                  <a:cubicBezTo>
                    <a:pt x="8307" y="13007"/>
                    <a:pt x="9585" y="12369"/>
                    <a:pt x="10863" y="11092"/>
                  </a:cubicBezTo>
                  <a:cubicBezTo>
                    <a:pt x="11502" y="10454"/>
                    <a:pt x="12141" y="9815"/>
                    <a:pt x="12141" y="9177"/>
                  </a:cubicBezTo>
                  <a:cubicBezTo>
                    <a:pt x="12780" y="8539"/>
                    <a:pt x="12780" y="7900"/>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70" name="Graphic 4">
              <a:extLst>
                <a:ext uri="{FF2B5EF4-FFF2-40B4-BE49-F238E27FC236}">
                  <a16:creationId xmlns:a16="http://schemas.microsoft.com/office/drawing/2014/main" id="{8EA7758C-6512-D5E0-BDAA-07BDAD149E24}"/>
                </a:ext>
              </a:extLst>
            </p:cNvPr>
            <p:cNvSpPr/>
            <p:nvPr/>
          </p:nvSpPr>
          <p:spPr>
            <a:xfrm>
              <a:off x="1674802" y="2509466"/>
              <a:ext cx="12779" cy="13007"/>
            </a:xfrm>
            <a:custGeom>
              <a:avLst/>
              <a:gdLst>
                <a:gd name="connsiteX0" fmla="*/ 10224 w 12779"/>
                <a:gd name="connsiteY0" fmla="*/ 1516 h 13007"/>
                <a:gd name="connsiteX1" fmla="*/ 8946 w 12779"/>
                <a:gd name="connsiteY1" fmla="*/ 878 h 13007"/>
                <a:gd name="connsiteX2" fmla="*/ 7668 w 12779"/>
                <a:gd name="connsiteY2" fmla="*/ 239 h 13007"/>
                <a:gd name="connsiteX3" fmla="*/ 1917 w 12779"/>
                <a:gd name="connsiteY3" fmla="*/ 2155 h 13007"/>
                <a:gd name="connsiteX4" fmla="*/ 0 w 12779"/>
                <a:gd name="connsiteY4" fmla="*/ 6623 h 13007"/>
                <a:gd name="connsiteX5" fmla="*/ 6390 w 12779"/>
                <a:gd name="connsiteY5" fmla="*/ 13007 h 13007"/>
                <a:gd name="connsiteX6" fmla="*/ 8946 w 12779"/>
                <a:gd name="connsiteY6" fmla="*/ 12369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1516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1516"/>
                  </a:moveTo>
                  <a:cubicBezTo>
                    <a:pt x="9585" y="1516"/>
                    <a:pt x="9585" y="878"/>
                    <a:pt x="8946" y="878"/>
                  </a:cubicBezTo>
                  <a:lnTo>
                    <a:pt x="7668" y="239"/>
                  </a:ln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1502" y="10454"/>
                    <a:pt x="12141" y="9815"/>
                    <a:pt x="12141" y="9177"/>
                  </a:cubicBezTo>
                  <a:cubicBezTo>
                    <a:pt x="12141" y="8539"/>
                    <a:pt x="12780" y="7900"/>
                    <a:pt x="12780" y="6623"/>
                  </a:cubicBezTo>
                  <a:cubicBezTo>
                    <a:pt x="12780" y="4708"/>
                    <a:pt x="12141" y="3431"/>
                    <a:pt x="10863" y="2155"/>
                  </a:cubicBezTo>
                  <a:lnTo>
                    <a:pt x="10224" y="151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71" name="Graphic 4">
              <a:extLst>
                <a:ext uri="{FF2B5EF4-FFF2-40B4-BE49-F238E27FC236}">
                  <a16:creationId xmlns:a16="http://schemas.microsoft.com/office/drawing/2014/main" id="{5D507D75-EECB-4CBD-E65C-714B5DBC499D}"/>
                </a:ext>
              </a:extLst>
            </p:cNvPr>
            <p:cNvSpPr/>
            <p:nvPr/>
          </p:nvSpPr>
          <p:spPr>
            <a:xfrm>
              <a:off x="1703557" y="2510105"/>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0 w 12779"/>
                <a:gd name="connsiteY4" fmla="*/ 13007 h 13007"/>
                <a:gd name="connsiteX5" fmla="*/ 8946 w 12779"/>
                <a:gd name="connsiteY5" fmla="*/ 12369 h 13007"/>
                <a:gd name="connsiteX6" fmla="*/ 10863 w 12779"/>
                <a:gd name="connsiteY6" fmla="*/ 11092 h 13007"/>
                <a:gd name="connsiteX7" fmla="*/ 12780 w 12779"/>
                <a:gd name="connsiteY7" fmla="*/ 6623 h 13007"/>
                <a:gd name="connsiteX8" fmla="*/ 10863 w 12779"/>
                <a:gd name="connsiteY8" fmla="*/ 2155 h 13007"/>
                <a:gd name="connsiteX9" fmla="*/ 10224 w 12779"/>
                <a:gd name="connsiteY9"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72" name="Graphic 4">
              <a:extLst>
                <a:ext uri="{FF2B5EF4-FFF2-40B4-BE49-F238E27FC236}">
                  <a16:creationId xmlns:a16="http://schemas.microsoft.com/office/drawing/2014/main" id="{0674DD13-3CDC-73C6-DEDB-13A30DA78FB7}"/>
                </a:ext>
              </a:extLst>
            </p:cNvPr>
            <p:cNvSpPr/>
            <p:nvPr/>
          </p:nvSpPr>
          <p:spPr>
            <a:xfrm>
              <a:off x="1617293" y="2538433"/>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5112 w 12779"/>
                <a:gd name="connsiteY3" fmla="*/ 0 h 12767"/>
                <a:gd name="connsiteX4" fmla="*/ 3834 w 12779"/>
                <a:gd name="connsiteY4" fmla="*/ 638 h 12767"/>
                <a:gd name="connsiteX5" fmla="*/ 2556 w 12779"/>
                <a:gd name="connsiteY5" fmla="*/ 1277 h 12767"/>
                <a:gd name="connsiteX6" fmla="*/ 1917 w 12779"/>
                <a:gd name="connsiteY6" fmla="*/ 1915 h 12767"/>
                <a:gd name="connsiteX7" fmla="*/ 0 w 12779"/>
                <a:gd name="connsiteY7" fmla="*/ 5107 h 12767"/>
                <a:gd name="connsiteX8" fmla="*/ 0 w 12779"/>
                <a:gd name="connsiteY8" fmla="*/ 6384 h 12767"/>
                <a:gd name="connsiteX9" fmla="*/ 639 w 12779"/>
                <a:gd name="connsiteY9" fmla="*/ 8938 h 12767"/>
                <a:gd name="connsiteX10" fmla="*/ 1917 w 12779"/>
                <a:gd name="connsiteY10" fmla="*/ 10853 h 12767"/>
                <a:gd name="connsiteX11" fmla="*/ 3834 w 12779"/>
                <a:gd name="connsiteY11" fmla="*/ 12130 h 12767"/>
                <a:gd name="connsiteX12" fmla="*/ 6390 w 12779"/>
                <a:gd name="connsiteY12" fmla="*/ 12768 h 12767"/>
                <a:gd name="connsiteX13" fmla="*/ 8946 w 12779"/>
                <a:gd name="connsiteY13" fmla="*/ 12130 h 12767"/>
                <a:gd name="connsiteX14" fmla="*/ 10863 w 12779"/>
                <a:gd name="connsiteY14" fmla="*/ 10853 h 12767"/>
                <a:gd name="connsiteX15" fmla="*/ 12141 w 12779"/>
                <a:gd name="connsiteY15" fmla="*/ 8938 h 12767"/>
                <a:gd name="connsiteX16" fmla="*/ 12780 w 12779"/>
                <a:gd name="connsiteY16" fmla="*/ 6384 h 12767"/>
                <a:gd name="connsiteX17" fmla="*/ 10863 w 12779"/>
                <a:gd name="connsiteY17" fmla="*/ 1915 h 12767"/>
                <a:gd name="connsiteX18" fmla="*/ 10224 w 12779"/>
                <a:gd name="connsiteY18"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79" h="12767">
                  <a:moveTo>
                    <a:pt x="10224" y="1277"/>
                  </a:moveTo>
                  <a:cubicBezTo>
                    <a:pt x="9585" y="1277"/>
                    <a:pt x="9585" y="638"/>
                    <a:pt x="8946" y="638"/>
                  </a:cubicBezTo>
                  <a:cubicBezTo>
                    <a:pt x="8307" y="638"/>
                    <a:pt x="8307" y="0"/>
                    <a:pt x="7668" y="0"/>
                  </a:cubicBezTo>
                  <a:cubicBezTo>
                    <a:pt x="7029" y="0"/>
                    <a:pt x="5751" y="0"/>
                    <a:pt x="5112" y="0"/>
                  </a:cubicBezTo>
                  <a:lnTo>
                    <a:pt x="3834" y="638"/>
                  </a:lnTo>
                  <a:lnTo>
                    <a:pt x="2556" y="1277"/>
                  </a:lnTo>
                  <a:lnTo>
                    <a:pt x="1917" y="1915"/>
                  </a:lnTo>
                  <a:cubicBezTo>
                    <a:pt x="1278" y="2554"/>
                    <a:pt x="639" y="3830"/>
                    <a:pt x="0" y="5107"/>
                  </a:cubicBezTo>
                  <a:cubicBezTo>
                    <a:pt x="0" y="5746"/>
                    <a:pt x="0" y="5746"/>
                    <a:pt x="0" y="6384"/>
                  </a:cubicBezTo>
                  <a:cubicBezTo>
                    <a:pt x="0" y="7022"/>
                    <a:pt x="0" y="8299"/>
                    <a:pt x="639" y="8938"/>
                  </a:cubicBezTo>
                  <a:cubicBezTo>
                    <a:pt x="1278" y="9576"/>
                    <a:pt x="1278" y="10214"/>
                    <a:pt x="1917" y="10853"/>
                  </a:cubicBezTo>
                  <a:cubicBezTo>
                    <a:pt x="2556" y="11491"/>
                    <a:pt x="3195" y="12130"/>
                    <a:pt x="3834" y="12130"/>
                  </a:cubicBezTo>
                  <a:cubicBezTo>
                    <a:pt x="4473" y="12768"/>
                    <a:pt x="5751"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4469"/>
                    <a:pt x="12141" y="3192"/>
                    <a:pt x="10863" y="1915"/>
                  </a:cubicBezTo>
                  <a:lnTo>
                    <a:pt x="10224" y="1277"/>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73" name="Graphic 4">
              <a:extLst>
                <a:ext uri="{FF2B5EF4-FFF2-40B4-BE49-F238E27FC236}">
                  <a16:creationId xmlns:a16="http://schemas.microsoft.com/office/drawing/2014/main" id="{3A998609-656A-2C60-3508-76CB401BE1A6}"/>
                </a:ext>
              </a:extLst>
            </p:cNvPr>
            <p:cNvSpPr/>
            <p:nvPr/>
          </p:nvSpPr>
          <p:spPr>
            <a:xfrm>
              <a:off x="1617293" y="2509585"/>
              <a:ext cx="12779" cy="12739"/>
            </a:xfrm>
            <a:custGeom>
              <a:avLst/>
              <a:gdLst>
                <a:gd name="connsiteX0" fmla="*/ 10224 w 12779"/>
                <a:gd name="connsiteY0" fmla="*/ 1398 h 12739"/>
                <a:gd name="connsiteX1" fmla="*/ 8946 w 12779"/>
                <a:gd name="connsiteY1" fmla="*/ 759 h 12739"/>
                <a:gd name="connsiteX2" fmla="*/ 7668 w 12779"/>
                <a:gd name="connsiteY2" fmla="*/ 121 h 12739"/>
                <a:gd name="connsiteX3" fmla="*/ 0 w 12779"/>
                <a:gd name="connsiteY3" fmla="*/ 5228 h 12739"/>
                <a:gd name="connsiteX4" fmla="*/ 0 w 12779"/>
                <a:gd name="connsiteY4" fmla="*/ 6505 h 12739"/>
                <a:gd name="connsiteX5" fmla="*/ 639 w 12779"/>
                <a:gd name="connsiteY5" fmla="*/ 9059 h 12739"/>
                <a:gd name="connsiteX6" fmla="*/ 1917 w 12779"/>
                <a:gd name="connsiteY6" fmla="*/ 10974 h 12739"/>
                <a:gd name="connsiteX7" fmla="*/ 3834 w 12779"/>
                <a:gd name="connsiteY7" fmla="*/ 12251 h 12739"/>
                <a:gd name="connsiteX8" fmla="*/ 12141 w 12779"/>
                <a:gd name="connsiteY8" fmla="*/ 9059 h 12739"/>
                <a:gd name="connsiteX9" fmla="*/ 12780 w 12779"/>
                <a:gd name="connsiteY9" fmla="*/ 6505 h 12739"/>
                <a:gd name="connsiteX10" fmla="*/ 10863 w 12779"/>
                <a:gd name="connsiteY10" fmla="*/ 2036 h 12739"/>
                <a:gd name="connsiteX11" fmla="*/ 10224 w 12779"/>
                <a:gd name="connsiteY11" fmla="*/ 1398 h 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39">
                  <a:moveTo>
                    <a:pt x="10224" y="1398"/>
                  </a:moveTo>
                  <a:cubicBezTo>
                    <a:pt x="9585" y="1398"/>
                    <a:pt x="9585" y="759"/>
                    <a:pt x="8946" y="759"/>
                  </a:cubicBezTo>
                  <a:cubicBezTo>
                    <a:pt x="8307" y="759"/>
                    <a:pt x="8307" y="121"/>
                    <a:pt x="7668" y="121"/>
                  </a:cubicBezTo>
                  <a:cubicBezTo>
                    <a:pt x="4473" y="-517"/>
                    <a:pt x="639" y="1398"/>
                    <a:pt x="0" y="5228"/>
                  </a:cubicBezTo>
                  <a:cubicBezTo>
                    <a:pt x="0" y="5867"/>
                    <a:pt x="0" y="5867"/>
                    <a:pt x="0" y="6505"/>
                  </a:cubicBezTo>
                  <a:cubicBezTo>
                    <a:pt x="0" y="7143"/>
                    <a:pt x="0" y="8420"/>
                    <a:pt x="639" y="9059"/>
                  </a:cubicBezTo>
                  <a:cubicBezTo>
                    <a:pt x="1278" y="9697"/>
                    <a:pt x="1278" y="10335"/>
                    <a:pt x="1917" y="10974"/>
                  </a:cubicBezTo>
                  <a:cubicBezTo>
                    <a:pt x="2556" y="11612"/>
                    <a:pt x="3195" y="12251"/>
                    <a:pt x="3834" y="12251"/>
                  </a:cubicBezTo>
                  <a:cubicBezTo>
                    <a:pt x="7029" y="13527"/>
                    <a:pt x="10863" y="12251"/>
                    <a:pt x="12141" y="9059"/>
                  </a:cubicBezTo>
                  <a:cubicBezTo>
                    <a:pt x="12141" y="8420"/>
                    <a:pt x="12780" y="7782"/>
                    <a:pt x="12780" y="6505"/>
                  </a:cubicBezTo>
                  <a:cubicBezTo>
                    <a:pt x="12780" y="4590"/>
                    <a:pt x="12141" y="3313"/>
                    <a:pt x="10863" y="2036"/>
                  </a:cubicBezTo>
                  <a:cubicBezTo>
                    <a:pt x="10863" y="2036"/>
                    <a:pt x="10863" y="1398"/>
                    <a:pt x="10224" y="1398"/>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74" name="Graphic 4">
              <a:extLst>
                <a:ext uri="{FF2B5EF4-FFF2-40B4-BE49-F238E27FC236}">
                  <a16:creationId xmlns:a16="http://schemas.microsoft.com/office/drawing/2014/main" id="{84BE68C5-75C9-2A6B-C64D-20D4AF98E6A3}"/>
                </a:ext>
              </a:extLst>
            </p:cNvPr>
            <p:cNvSpPr/>
            <p:nvPr/>
          </p:nvSpPr>
          <p:spPr>
            <a:xfrm>
              <a:off x="1646047" y="2538408"/>
              <a:ext cx="12779" cy="12819"/>
            </a:xfrm>
            <a:custGeom>
              <a:avLst/>
              <a:gdLst>
                <a:gd name="connsiteX0" fmla="*/ 8946 w 12779"/>
                <a:gd name="connsiteY0" fmla="*/ 664 h 12819"/>
                <a:gd name="connsiteX1" fmla="*/ 1917 w 12779"/>
                <a:gd name="connsiteY1" fmla="*/ 1941 h 12819"/>
                <a:gd name="connsiteX2" fmla="*/ 639 w 12779"/>
                <a:gd name="connsiteY2" fmla="*/ 3856 h 12819"/>
                <a:gd name="connsiteX3" fmla="*/ 0 w 12779"/>
                <a:gd name="connsiteY3" fmla="*/ 5133 h 12819"/>
                <a:gd name="connsiteX4" fmla="*/ 0 w 12779"/>
                <a:gd name="connsiteY4" fmla="*/ 6410 h 12819"/>
                <a:gd name="connsiteX5" fmla="*/ 639 w 12779"/>
                <a:gd name="connsiteY5" fmla="*/ 8963 h 12819"/>
                <a:gd name="connsiteX6" fmla="*/ 1917 w 12779"/>
                <a:gd name="connsiteY6" fmla="*/ 10879 h 12819"/>
                <a:gd name="connsiteX7" fmla="*/ 3834 w 12779"/>
                <a:gd name="connsiteY7" fmla="*/ 12155 h 12819"/>
                <a:gd name="connsiteX8" fmla="*/ 10863 w 12779"/>
                <a:gd name="connsiteY8" fmla="*/ 10879 h 12819"/>
                <a:gd name="connsiteX9" fmla="*/ 12141 w 12779"/>
                <a:gd name="connsiteY9" fmla="*/ 8963 h 12819"/>
                <a:gd name="connsiteX10" fmla="*/ 12780 w 12779"/>
                <a:gd name="connsiteY10" fmla="*/ 6410 h 12819"/>
                <a:gd name="connsiteX11" fmla="*/ 10863 w 12779"/>
                <a:gd name="connsiteY11" fmla="*/ 1941 h 12819"/>
                <a:gd name="connsiteX12" fmla="*/ 8946 w 12779"/>
                <a:gd name="connsiteY12" fmla="*/ 664 h 1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819">
                  <a:moveTo>
                    <a:pt x="8946" y="664"/>
                  </a:moveTo>
                  <a:cubicBezTo>
                    <a:pt x="6390" y="-613"/>
                    <a:pt x="3834" y="26"/>
                    <a:pt x="1917" y="1941"/>
                  </a:cubicBezTo>
                  <a:cubicBezTo>
                    <a:pt x="1278" y="2579"/>
                    <a:pt x="639" y="3218"/>
                    <a:pt x="639" y="3856"/>
                  </a:cubicBezTo>
                  <a:cubicBezTo>
                    <a:pt x="639" y="4495"/>
                    <a:pt x="0" y="4495"/>
                    <a:pt x="0" y="5133"/>
                  </a:cubicBezTo>
                  <a:cubicBezTo>
                    <a:pt x="0" y="5771"/>
                    <a:pt x="0" y="5771"/>
                    <a:pt x="0" y="6410"/>
                  </a:cubicBezTo>
                  <a:cubicBezTo>
                    <a:pt x="0" y="7048"/>
                    <a:pt x="0" y="8325"/>
                    <a:pt x="639" y="8963"/>
                  </a:cubicBezTo>
                  <a:cubicBezTo>
                    <a:pt x="639" y="9602"/>
                    <a:pt x="1278" y="10240"/>
                    <a:pt x="1917" y="10879"/>
                  </a:cubicBezTo>
                  <a:cubicBezTo>
                    <a:pt x="2556" y="11517"/>
                    <a:pt x="3195" y="12155"/>
                    <a:pt x="3834" y="12155"/>
                  </a:cubicBezTo>
                  <a:cubicBezTo>
                    <a:pt x="6390" y="13432"/>
                    <a:pt x="8946" y="12794"/>
                    <a:pt x="10863" y="10879"/>
                  </a:cubicBezTo>
                  <a:cubicBezTo>
                    <a:pt x="11502" y="10240"/>
                    <a:pt x="12141" y="9602"/>
                    <a:pt x="12141" y="8963"/>
                  </a:cubicBezTo>
                  <a:cubicBezTo>
                    <a:pt x="12780" y="8325"/>
                    <a:pt x="12780" y="7687"/>
                    <a:pt x="12780" y="6410"/>
                  </a:cubicBezTo>
                  <a:cubicBezTo>
                    <a:pt x="12780" y="4495"/>
                    <a:pt x="12141" y="3218"/>
                    <a:pt x="10863" y="1941"/>
                  </a:cubicBezTo>
                  <a:cubicBezTo>
                    <a:pt x="10224" y="1303"/>
                    <a:pt x="9585" y="664"/>
                    <a:pt x="8946" y="664"/>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75" name="Graphic 4">
              <a:extLst>
                <a:ext uri="{FF2B5EF4-FFF2-40B4-BE49-F238E27FC236}">
                  <a16:creationId xmlns:a16="http://schemas.microsoft.com/office/drawing/2014/main" id="{C4910B07-913E-989E-AC02-5915874B560D}"/>
                </a:ext>
              </a:extLst>
            </p:cNvPr>
            <p:cNvSpPr/>
            <p:nvPr/>
          </p:nvSpPr>
          <p:spPr>
            <a:xfrm>
              <a:off x="1646047" y="2509706"/>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3834 w 12779"/>
                <a:gd name="connsiteY3" fmla="*/ 638 h 12767"/>
                <a:gd name="connsiteX4" fmla="*/ 1917 w 12779"/>
                <a:gd name="connsiteY4" fmla="*/ 1915 h 12767"/>
                <a:gd name="connsiteX5" fmla="*/ 639 w 12779"/>
                <a:gd name="connsiteY5" fmla="*/ 3830 h 12767"/>
                <a:gd name="connsiteX6" fmla="*/ 0 w 12779"/>
                <a:gd name="connsiteY6" fmla="*/ 5107 h 12767"/>
                <a:gd name="connsiteX7" fmla="*/ 0 w 12779"/>
                <a:gd name="connsiteY7" fmla="*/ 6384 h 12767"/>
                <a:gd name="connsiteX8" fmla="*/ 6390 w 12779"/>
                <a:gd name="connsiteY8" fmla="*/ 12768 h 12767"/>
                <a:gd name="connsiteX9" fmla="*/ 8946 w 12779"/>
                <a:gd name="connsiteY9" fmla="*/ 12130 h 12767"/>
                <a:gd name="connsiteX10" fmla="*/ 12141 w 12779"/>
                <a:gd name="connsiteY10" fmla="*/ 8938 h 12767"/>
                <a:gd name="connsiteX11" fmla="*/ 12780 w 12779"/>
                <a:gd name="connsiteY11" fmla="*/ 6384 h 12767"/>
                <a:gd name="connsiteX12" fmla="*/ 10863 w 12779"/>
                <a:gd name="connsiteY12" fmla="*/ 1915 h 12767"/>
                <a:gd name="connsiteX13" fmla="*/ 10224 w 12779"/>
                <a:gd name="connsiteY13"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0224" y="1277"/>
                  </a:move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639" y="4469"/>
                    <a:pt x="639" y="4469"/>
                    <a:pt x="0" y="5107"/>
                  </a:cubicBezTo>
                  <a:cubicBezTo>
                    <a:pt x="0" y="5746"/>
                    <a:pt x="0" y="5746"/>
                    <a:pt x="0" y="6384"/>
                  </a:cubicBezTo>
                  <a:cubicBezTo>
                    <a:pt x="0" y="10214"/>
                    <a:pt x="3195" y="12768"/>
                    <a:pt x="6390" y="12768"/>
                  </a:cubicBezTo>
                  <a:cubicBezTo>
                    <a:pt x="7029" y="12768"/>
                    <a:pt x="8307"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10863" y="1915"/>
                    <a:pt x="10863" y="1277"/>
                    <a:pt x="10224"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grpSp>
      <p:sp>
        <p:nvSpPr>
          <p:cNvPr id="678" name="Graphic 4">
            <a:extLst>
              <a:ext uri="{FF2B5EF4-FFF2-40B4-BE49-F238E27FC236}">
                <a16:creationId xmlns:a16="http://schemas.microsoft.com/office/drawing/2014/main" id="{667196CC-94AA-73A6-FB24-CD287D0DD87C}"/>
              </a:ext>
            </a:extLst>
          </p:cNvPr>
          <p:cNvSpPr/>
          <p:nvPr/>
        </p:nvSpPr>
        <p:spPr>
          <a:xfrm>
            <a:off x="5116124" y="3558522"/>
            <a:ext cx="296471" cy="296194"/>
          </a:xfrm>
          <a:custGeom>
            <a:avLst/>
            <a:gdLst>
              <a:gd name="connsiteX0" fmla="*/ 120131 w 240261"/>
              <a:gd name="connsiteY0" fmla="*/ 0 h 240037"/>
              <a:gd name="connsiteX1" fmla="*/ 0 w 240261"/>
              <a:gd name="connsiteY1" fmla="*/ 120019 h 240037"/>
              <a:gd name="connsiteX2" fmla="*/ 120131 w 240261"/>
              <a:gd name="connsiteY2" fmla="*/ 240038 h 240037"/>
              <a:gd name="connsiteX3" fmla="*/ 240262 w 240261"/>
              <a:gd name="connsiteY3" fmla="*/ 120019 h 240037"/>
              <a:gd name="connsiteX4" fmla="*/ 240262 w 240261"/>
              <a:gd name="connsiteY4" fmla="*/ 120019 h 240037"/>
              <a:gd name="connsiteX5" fmla="*/ 120131 w 240261"/>
              <a:gd name="connsiteY5" fmla="*/ 0 h 240037"/>
              <a:gd name="connsiteX6" fmla="*/ 214702 w 240261"/>
              <a:gd name="connsiteY6" fmla="*/ 170452 h 240037"/>
              <a:gd name="connsiteX7" fmla="*/ 162943 w 240261"/>
              <a:gd name="connsiteY7" fmla="*/ 170452 h 240037"/>
              <a:gd name="connsiteX8" fmla="*/ 166777 w 240261"/>
              <a:gd name="connsiteY8" fmla="*/ 126403 h 240037"/>
              <a:gd name="connsiteX9" fmla="*/ 226843 w 240261"/>
              <a:gd name="connsiteY9" fmla="*/ 126403 h 240037"/>
              <a:gd name="connsiteX10" fmla="*/ 214702 w 240261"/>
              <a:gd name="connsiteY10" fmla="*/ 170452 h 240037"/>
              <a:gd name="connsiteX11" fmla="*/ 120131 w 240261"/>
              <a:gd name="connsiteY11" fmla="*/ 227270 h 240037"/>
              <a:gd name="connsiteX12" fmla="*/ 93293 w 240261"/>
              <a:gd name="connsiteY12" fmla="*/ 183220 h 240037"/>
              <a:gd name="connsiteX13" fmla="*/ 147608 w 240261"/>
              <a:gd name="connsiteY13" fmla="*/ 183220 h 240037"/>
              <a:gd name="connsiteX14" fmla="*/ 120131 w 240261"/>
              <a:gd name="connsiteY14" fmla="*/ 227270 h 240037"/>
              <a:gd name="connsiteX15" fmla="*/ 120131 w 240261"/>
              <a:gd name="connsiteY15" fmla="*/ 227270 h 240037"/>
              <a:gd name="connsiteX16" fmla="*/ 90098 w 240261"/>
              <a:gd name="connsiteY16" fmla="*/ 170452 h 240037"/>
              <a:gd name="connsiteX17" fmla="*/ 85625 w 240261"/>
              <a:gd name="connsiteY17" fmla="*/ 126403 h 240037"/>
              <a:gd name="connsiteX18" fmla="*/ 153998 w 240261"/>
              <a:gd name="connsiteY18" fmla="*/ 126403 h 240037"/>
              <a:gd name="connsiteX19" fmla="*/ 149525 w 240261"/>
              <a:gd name="connsiteY19" fmla="*/ 170452 h 240037"/>
              <a:gd name="connsiteX20" fmla="*/ 90098 w 240261"/>
              <a:gd name="connsiteY20" fmla="*/ 170452 h 240037"/>
              <a:gd name="connsiteX21" fmla="*/ 13419 w 240261"/>
              <a:gd name="connsiteY21" fmla="*/ 126403 h 240037"/>
              <a:gd name="connsiteX22" fmla="*/ 73484 w 240261"/>
              <a:gd name="connsiteY22" fmla="*/ 126403 h 240037"/>
              <a:gd name="connsiteX23" fmla="*/ 77318 w 240261"/>
              <a:gd name="connsiteY23" fmla="*/ 170452 h 240037"/>
              <a:gd name="connsiteX24" fmla="*/ 25560 w 240261"/>
              <a:gd name="connsiteY24" fmla="*/ 170452 h 240037"/>
              <a:gd name="connsiteX25" fmla="*/ 13419 w 240261"/>
              <a:gd name="connsiteY25" fmla="*/ 126403 h 240037"/>
              <a:gd name="connsiteX26" fmla="*/ 25560 w 240261"/>
              <a:gd name="connsiteY26" fmla="*/ 69585 h 240037"/>
              <a:gd name="connsiteX27" fmla="*/ 77318 w 240261"/>
              <a:gd name="connsiteY27" fmla="*/ 69585 h 240037"/>
              <a:gd name="connsiteX28" fmla="*/ 73484 w 240261"/>
              <a:gd name="connsiteY28" fmla="*/ 113635 h 240037"/>
              <a:gd name="connsiteX29" fmla="*/ 13419 w 240261"/>
              <a:gd name="connsiteY29" fmla="*/ 113635 h 240037"/>
              <a:gd name="connsiteX30" fmla="*/ 25560 w 240261"/>
              <a:gd name="connsiteY30" fmla="*/ 69585 h 240037"/>
              <a:gd name="connsiteX31" fmla="*/ 120131 w 240261"/>
              <a:gd name="connsiteY31" fmla="*/ 12768 h 240037"/>
              <a:gd name="connsiteX32" fmla="*/ 146969 w 240261"/>
              <a:gd name="connsiteY32" fmla="*/ 56817 h 240037"/>
              <a:gd name="connsiteX33" fmla="*/ 92654 w 240261"/>
              <a:gd name="connsiteY33" fmla="*/ 56817 h 240037"/>
              <a:gd name="connsiteX34" fmla="*/ 120131 w 240261"/>
              <a:gd name="connsiteY34" fmla="*/ 12768 h 240037"/>
              <a:gd name="connsiteX35" fmla="*/ 120131 w 240261"/>
              <a:gd name="connsiteY35" fmla="*/ 12768 h 240037"/>
              <a:gd name="connsiteX36" fmla="*/ 150164 w 240261"/>
              <a:gd name="connsiteY36" fmla="*/ 69585 h 240037"/>
              <a:gd name="connsiteX37" fmla="*/ 154637 w 240261"/>
              <a:gd name="connsiteY37" fmla="*/ 113635 h 240037"/>
              <a:gd name="connsiteX38" fmla="*/ 86264 w 240261"/>
              <a:gd name="connsiteY38" fmla="*/ 113635 h 240037"/>
              <a:gd name="connsiteX39" fmla="*/ 90737 w 240261"/>
              <a:gd name="connsiteY39" fmla="*/ 69585 h 240037"/>
              <a:gd name="connsiteX40" fmla="*/ 150164 w 240261"/>
              <a:gd name="connsiteY40" fmla="*/ 69585 h 240037"/>
              <a:gd name="connsiteX41" fmla="*/ 166777 w 240261"/>
              <a:gd name="connsiteY41" fmla="*/ 113635 h 240037"/>
              <a:gd name="connsiteX42" fmla="*/ 162943 w 240261"/>
              <a:gd name="connsiteY42" fmla="*/ 69585 h 240037"/>
              <a:gd name="connsiteX43" fmla="*/ 214702 w 240261"/>
              <a:gd name="connsiteY43" fmla="*/ 69585 h 240037"/>
              <a:gd name="connsiteX44" fmla="*/ 226843 w 240261"/>
              <a:gd name="connsiteY44" fmla="*/ 113635 h 240037"/>
              <a:gd name="connsiteX45" fmla="*/ 166777 w 240261"/>
              <a:gd name="connsiteY45" fmla="*/ 113635 h 240037"/>
              <a:gd name="connsiteX46" fmla="*/ 206395 w 240261"/>
              <a:gd name="connsiteY46" fmla="*/ 56817 h 240037"/>
              <a:gd name="connsiteX47" fmla="*/ 160387 w 240261"/>
              <a:gd name="connsiteY47" fmla="*/ 56817 h 240037"/>
              <a:gd name="connsiteX48" fmla="*/ 144413 w 240261"/>
              <a:gd name="connsiteY48" fmla="*/ 15321 h 240037"/>
              <a:gd name="connsiteX49" fmla="*/ 206395 w 240261"/>
              <a:gd name="connsiteY49" fmla="*/ 56817 h 240037"/>
              <a:gd name="connsiteX50" fmla="*/ 206395 w 240261"/>
              <a:gd name="connsiteY50" fmla="*/ 56817 h 240037"/>
              <a:gd name="connsiteX51" fmla="*/ 95849 w 240261"/>
              <a:gd name="connsiteY51" fmla="*/ 15321 h 240037"/>
              <a:gd name="connsiteX52" fmla="*/ 79874 w 240261"/>
              <a:gd name="connsiteY52" fmla="*/ 56817 h 240037"/>
              <a:gd name="connsiteX53" fmla="*/ 33867 w 240261"/>
              <a:gd name="connsiteY53" fmla="*/ 56817 h 240037"/>
              <a:gd name="connsiteX54" fmla="*/ 95849 w 240261"/>
              <a:gd name="connsiteY54" fmla="*/ 15321 h 240037"/>
              <a:gd name="connsiteX55" fmla="*/ 95849 w 240261"/>
              <a:gd name="connsiteY55" fmla="*/ 15321 h 240037"/>
              <a:gd name="connsiteX56" fmla="*/ 33867 w 240261"/>
              <a:gd name="connsiteY56" fmla="*/ 183220 h 240037"/>
              <a:gd name="connsiteX57" fmla="*/ 79874 w 240261"/>
              <a:gd name="connsiteY57" fmla="*/ 183220 h 240037"/>
              <a:gd name="connsiteX58" fmla="*/ 95849 w 240261"/>
              <a:gd name="connsiteY58" fmla="*/ 224716 h 240037"/>
              <a:gd name="connsiteX59" fmla="*/ 33867 w 240261"/>
              <a:gd name="connsiteY59" fmla="*/ 183220 h 240037"/>
              <a:gd name="connsiteX60" fmla="*/ 144413 w 240261"/>
              <a:gd name="connsiteY60" fmla="*/ 224716 h 240037"/>
              <a:gd name="connsiteX61" fmla="*/ 160387 w 240261"/>
              <a:gd name="connsiteY61" fmla="*/ 183220 h 240037"/>
              <a:gd name="connsiteX62" fmla="*/ 206395 w 240261"/>
              <a:gd name="connsiteY62" fmla="*/ 183220 h 240037"/>
              <a:gd name="connsiteX63" fmla="*/ 144413 w 240261"/>
              <a:gd name="connsiteY63" fmla="*/ 224716 h 240037"/>
              <a:gd name="connsiteX64" fmla="*/ 144413 w 240261"/>
              <a:gd name="connsiteY64" fmla="*/ 224716 h 24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0261" h="240037">
                <a:moveTo>
                  <a:pt x="120131" y="0"/>
                </a:moveTo>
                <a:cubicBezTo>
                  <a:pt x="53675" y="0"/>
                  <a:pt x="0" y="53625"/>
                  <a:pt x="0" y="120019"/>
                </a:cubicBezTo>
                <a:cubicBezTo>
                  <a:pt x="0" y="186412"/>
                  <a:pt x="53675" y="240038"/>
                  <a:pt x="120131" y="240038"/>
                </a:cubicBezTo>
                <a:cubicBezTo>
                  <a:pt x="186586" y="240038"/>
                  <a:pt x="240262" y="186412"/>
                  <a:pt x="240262" y="120019"/>
                </a:cubicBezTo>
                <a:cubicBezTo>
                  <a:pt x="240262" y="120019"/>
                  <a:pt x="240262" y="120019"/>
                  <a:pt x="240262" y="120019"/>
                </a:cubicBezTo>
                <a:cubicBezTo>
                  <a:pt x="240262" y="53625"/>
                  <a:pt x="186586" y="0"/>
                  <a:pt x="120131" y="0"/>
                </a:cubicBezTo>
                <a:close/>
                <a:moveTo>
                  <a:pt x="214702" y="170452"/>
                </a:moveTo>
                <a:lnTo>
                  <a:pt x="162943" y="170452"/>
                </a:lnTo>
                <a:cubicBezTo>
                  <a:pt x="165499" y="155769"/>
                  <a:pt x="166777" y="141086"/>
                  <a:pt x="166777" y="126403"/>
                </a:cubicBezTo>
                <a:lnTo>
                  <a:pt x="226843" y="126403"/>
                </a:lnTo>
                <a:cubicBezTo>
                  <a:pt x="226204" y="141724"/>
                  <a:pt x="221731" y="157046"/>
                  <a:pt x="214702" y="170452"/>
                </a:cubicBezTo>
                <a:close/>
                <a:moveTo>
                  <a:pt x="120131" y="227270"/>
                </a:moveTo>
                <a:cubicBezTo>
                  <a:pt x="110546" y="227270"/>
                  <a:pt x="99683" y="210033"/>
                  <a:pt x="93293" y="183220"/>
                </a:cubicBezTo>
                <a:lnTo>
                  <a:pt x="147608" y="183220"/>
                </a:lnTo>
                <a:cubicBezTo>
                  <a:pt x="140579" y="210033"/>
                  <a:pt x="129716" y="227270"/>
                  <a:pt x="120131" y="227270"/>
                </a:cubicBezTo>
                <a:lnTo>
                  <a:pt x="120131" y="227270"/>
                </a:lnTo>
                <a:close/>
                <a:moveTo>
                  <a:pt x="90098" y="170452"/>
                </a:moveTo>
                <a:cubicBezTo>
                  <a:pt x="87542" y="155769"/>
                  <a:pt x="86264" y="141086"/>
                  <a:pt x="85625" y="126403"/>
                </a:cubicBezTo>
                <a:lnTo>
                  <a:pt x="153998" y="126403"/>
                </a:lnTo>
                <a:cubicBezTo>
                  <a:pt x="153998" y="141086"/>
                  <a:pt x="152081" y="155769"/>
                  <a:pt x="149525" y="170452"/>
                </a:cubicBezTo>
                <a:lnTo>
                  <a:pt x="90098" y="170452"/>
                </a:lnTo>
                <a:close/>
                <a:moveTo>
                  <a:pt x="13419" y="126403"/>
                </a:moveTo>
                <a:lnTo>
                  <a:pt x="73484" y="126403"/>
                </a:lnTo>
                <a:cubicBezTo>
                  <a:pt x="73484" y="141086"/>
                  <a:pt x="75401" y="155769"/>
                  <a:pt x="77318" y="170452"/>
                </a:cubicBezTo>
                <a:lnTo>
                  <a:pt x="25560" y="170452"/>
                </a:lnTo>
                <a:cubicBezTo>
                  <a:pt x="17892" y="157046"/>
                  <a:pt x="14058" y="141724"/>
                  <a:pt x="13419" y="126403"/>
                </a:cubicBezTo>
                <a:close/>
                <a:moveTo>
                  <a:pt x="25560" y="69585"/>
                </a:moveTo>
                <a:lnTo>
                  <a:pt x="77318" y="69585"/>
                </a:lnTo>
                <a:cubicBezTo>
                  <a:pt x="74762" y="84269"/>
                  <a:pt x="73484" y="98952"/>
                  <a:pt x="73484" y="113635"/>
                </a:cubicBezTo>
                <a:lnTo>
                  <a:pt x="13419" y="113635"/>
                </a:lnTo>
                <a:cubicBezTo>
                  <a:pt x="14058" y="98313"/>
                  <a:pt x="17892" y="82992"/>
                  <a:pt x="25560" y="69585"/>
                </a:cubicBezTo>
                <a:close/>
                <a:moveTo>
                  <a:pt x="120131" y="12768"/>
                </a:moveTo>
                <a:cubicBezTo>
                  <a:pt x="129716" y="12768"/>
                  <a:pt x="140579" y="30005"/>
                  <a:pt x="146969" y="56817"/>
                </a:cubicBezTo>
                <a:lnTo>
                  <a:pt x="92654" y="56817"/>
                </a:lnTo>
                <a:cubicBezTo>
                  <a:pt x="99683" y="30005"/>
                  <a:pt x="110546" y="12768"/>
                  <a:pt x="120131" y="12768"/>
                </a:cubicBezTo>
                <a:lnTo>
                  <a:pt x="120131" y="12768"/>
                </a:lnTo>
                <a:close/>
                <a:moveTo>
                  <a:pt x="150164" y="69585"/>
                </a:moveTo>
                <a:cubicBezTo>
                  <a:pt x="152720" y="84269"/>
                  <a:pt x="153998" y="98952"/>
                  <a:pt x="154637" y="113635"/>
                </a:cubicBezTo>
                <a:lnTo>
                  <a:pt x="86264" y="113635"/>
                </a:lnTo>
                <a:cubicBezTo>
                  <a:pt x="86264" y="98952"/>
                  <a:pt x="88181" y="84269"/>
                  <a:pt x="90737" y="69585"/>
                </a:cubicBezTo>
                <a:lnTo>
                  <a:pt x="150164" y="69585"/>
                </a:lnTo>
                <a:close/>
                <a:moveTo>
                  <a:pt x="166777" y="113635"/>
                </a:moveTo>
                <a:cubicBezTo>
                  <a:pt x="166777" y="98952"/>
                  <a:pt x="164860" y="84269"/>
                  <a:pt x="162943" y="69585"/>
                </a:cubicBezTo>
                <a:lnTo>
                  <a:pt x="214702" y="69585"/>
                </a:lnTo>
                <a:cubicBezTo>
                  <a:pt x="221731" y="82992"/>
                  <a:pt x="226204" y="98313"/>
                  <a:pt x="226843" y="113635"/>
                </a:cubicBezTo>
                <a:lnTo>
                  <a:pt x="166777" y="113635"/>
                </a:lnTo>
                <a:close/>
                <a:moveTo>
                  <a:pt x="206395" y="56817"/>
                </a:moveTo>
                <a:lnTo>
                  <a:pt x="160387" y="56817"/>
                </a:lnTo>
                <a:cubicBezTo>
                  <a:pt x="157192" y="42134"/>
                  <a:pt x="152081" y="28089"/>
                  <a:pt x="144413" y="15321"/>
                </a:cubicBezTo>
                <a:cubicBezTo>
                  <a:pt x="169333" y="21705"/>
                  <a:pt x="191059" y="36389"/>
                  <a:pt x="206395" y="56817"/>
                </a:cubicBezTo>
                <a:lnTo>
                  <a:pt x="206395" y="56817"/>
                </a:lnTo>
                <a:close/>
                <a:moveTo>
                  <a:pt x="95849" y="15321"/>
                </a:moveTo>
                <a:cubicBezTo>
                  <a:pt x="88181" y="28089"/>
                  <a:pt x="82430" y="42134"/>
                  <a:pt x="79874" y="56817"/>
                </a:cubicBezTo>
                <a:lnTo>
                  <a:pt x="33867" y="56817"/>
                </a:lnTo>
                <a:cubicBezTo>
                  <a:pt x="49203" y="36389"/>
                  <a:pt x="70928" y="21705"/>
                  <a:pt x="95849" y="15321"/>
                </a:cubicBezTo>
                <a:lnTo>
                  <a:pt x="95849" y="15321"/>
                </a:lnTo>
                <a:close/>
                <a:moveTo>
                  <a:pt x="33867" y="183220"/>
                </a:moveTo>
                <a:lnTo>
                  <a:pt x="79874" y="183220"/>
                </a:lnTo>
                <a:cubicBezTo>
                  <a:pt x="83069" y="197903"/>
                  <a:pt x="88181" y="211948"/>
                  <a:pt x="95849" y="224716"/>
                </a:cubicBezTo>
                <a:cubicBezTo>
                  <a:pt x="70928" y="218332"/>
                  <a:pt x="49203" y="203649"/>
                  <a:pt x="33867" y="183220"/>
                </a:cubicBezTo>
                <a:close/>
                <a:moveTo>
                  <a:pt x="144413" y="224716"/>
                </a:moveTo>
                <a:cubicBezTo>
                  <a:pt x="152081" y="211948"/>
                  <a:pt x="157831" y="197903"/>
                  <a:pt x="160387" y="183220"/>
                </a:cubicBezTo>
                <a:lnTo>
                  <a:pt x="206395" y="183220"/>
                </a:lnTo>
                <a:cubicBezTo>
                  <a:pt x="191059" y="203649"/>
                  <a:pt x="169333" y="218332"/>
                  <a:pt x="144413" y="224716"/>
                </a:cubicBezTo>
                <a:lnTo>
                  <a:pt x="144413" y="224716"/>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682" name="Graphic 4">
            <a:extLst>
              <a:ext uri="{FF2B5EF4-FFF2-40B4-BE49-F238E27FC236}">
                <a16:creationId xmlns:a16="http://schemas.microsoft.com/office/drawing/2014/main" id="{115FA571-A673-1A70-403A-0912B7493181}"/>
              </a:ext>
            </a:extLst>
          </p:cNvPr>
          <p:cNvSpPr/>
          <p:nvPr/>
        </p:nvSpPr>
        <p:spPr>
          <a:xfrm>
            <a:off x="9506810" y="3558522"/>
            <a:ext cx="296471" cy="296194"/>
          </a:xfrm>
          <a:custGeom>
            <a:avLst/>
            <a:gdLst>
              <a:gd name="connsiteX0" fmla="*/ 120131 w 240261"/>
              <a:gd name="connsiteY0" fmla="*/ 0 h 240037"/>
              <a:gd name="connsiteX1" fmla="*/ 0 w 240261"/>
              <a:gd name="connsiteY1" fmla="*/ 120019 h 240037"/>
              <a:gd name="connsiteX2" fmla="*/ 120131 w 240261"/>
              <a:gd name="connsiteY2" fmla="*/ 240038 h 240037"/>
              <a:gd name="connsiteX3" fmla="*/ 240262 w 240261"/>
              <a:gd name="connsiteY3" fmla="*/ 120019 h 240037"/>
              <a:gd name="connsiteX4" fmla="*/ 240262 w 240261"/>
              <a:gd name="connsiteY4" fmla="*/ 120019 h 240037"/>
              <a:gd name="connsiteX5" fmla="*/ 120131 w 240261"/>
              <a:gd name="connsiteY5" fmla="*/ 0 h 240037"/>
              <a:gd name="connsiteX6" fmla="*/ 214702 w 240261"/>
              <a:gd name="connsiteY6" fmla="*/ 170452 h 240037"/>
              <a:gd name="connsiteX7" fmla="*/ 162943 w 240261"/>
              <a:gd name="connsiteY7" fmla="*/ 170452 h 240037"/>
              <a:gd name="connsiteX8" fmla="*/ 166777 w 240261"/>
              <a:gd name="connsiteY8" fmla="*/ 126403 h 240037"/>
              <a:gd name="connsiteX9" fmla="*/ 226843 w 240261"/>
              <a:gd name="connsiteY9" fmla="*/ 126403 h 240037"/>
              <a:gd name="connsiteX10" fmla="*/ 214702 w 240261"/>
              <a:gd name="connsiteY10" fmla="*/ 170452 h 240037"/>
              <a:gd name="connsiteX11" fmla="*/ 120131 w 240261"/>
              <a:gd name="connsiteY11" fmla="*/ 227270 h 240037"/>
              <a:gd name="connsiteX12" fmla="*/ 93293 w 240261"/>
              <a:gd name="connsiteY12" fmla="*/ 183220 h 240037"/>
              <a:gd name="connsiteX13" fmla="*/ 147608 w 240261"/>
              <a:gd name="connsiteY13" fmla="*/ 183220 h 240037"/>
              <a:gd name="connsiteX14" fmla="*/ 120131 w 240261"/>
              <a:gd name="connsiteY14" fmla="*/ 227270 h 240037"/>
              <a:gd name="connsiteX15" fmla="*/ 120131 w 240261"/>
              <a:gd name="connsiteY15" fmla="*/ 227270 h 240037"/>
              <a:gd name="connsiteX16" fmla="*/ 90098 w 240261"/>
              <a:gd name="connsiteY16" fmla="*/ 170452 h 240037"/>
              <a:gd name="connsiteX17" fmla="*/ 85625 w 240261"/>
              <a:gd name="connsiteY17" fmla="*/ 126403 h 240037"/>
              <a:gd name="connsiteX18" fmla="*/ 153998 w 240261"/>
              <a:gd name="connsiteY18" fmla="*/ 126403 h 240037"/>
              <a:gd name="connsiteX19" fmla="*/ 149525 w 240261"/>
              <a:gd name="connsiteY19" fmla="*/ 170452 h 240037"/>
              <a:gd name="connsiteX20" fmla="*/ 90098 w 240261"/>
              <a:gd name="connsiteY20" fmla="*/ 170452 h 240037"/>
              <a:gd name="connsiteX21" fmla="*/ 13419 w 240261"/>
              <a:gd name="connsiteY21" fmla="*/ 126403 h 240037"/>
              <a:gd name="connsiteX22" fmla="*/ 73484 w 240261"/>
              <a:gd name="connsiteY22" fmla="*/ 126403 h 240037"/>
              <a:gd name="connsiteX23" fmla="*/ 77318 w 240261"/>
              <a:gd name="connsiteY23" fmla="*/ 170452 h 240037"/>
              <a:gd name="connsiteX24" fmla="*/ 25560 w 240261"/>
              <a:gd name="connsiteY24" fmla="*/ 170452 h 240037"/>
              <a:gd name="connsiteX25" fmla="*/ 13419 w 240261"/>
              <a:gd name="connsiteY25" fmla="*/ 126403 h 240037"/>
              <a:gd name="connsiteX26" fmla="*/ 25560 w 240261"/>
              <a:gd name="connsiteY26" fmla="*/ 69585 h 240037"/>
              <a:gd name="connsiteX27" fmla="*/ 77318 w 240261"/>
              <a:gd name="connsiteY27" fmla="*/ 69585 h 240037"/>
              <a:gd name="connsiteX28" fmla="*/ 73484 w 240261"/>
              <a:gd name="connsiteY28" fmla="*/ 113635 h 240037"/>
              <a:gd name="connsiteX29" fmla="*/ 13419 w 240261"/>
              <a:gd name="connsiteY29" fmla="*/ 113635 h 240037"/>
              <a:gd name="connsiteX30" fmla="*/ 25560 w 240261"/>
              <a:gd name="connsiteY30" fmla="*/ 69585 h 240037"/>
              <a:gd name="connsiteX31" fmla="*/ 120131 w 240261"/>
              <a:gd name="connsiteY31" fmla="*/ 12768 h 240037"/>
              <a:gd name="connsiteX32" fmla="*/ 146969 w 240261"/>
              <a:gd name="connsiteY32" fmla="*/ 56817 h 240037"/>
              <a:gd name="connsiteX33" fmla="*/ 92654 w 240261"/>
              <a:gd name="connsiteY33" fmla="*/ 56817 h 240037"/>
              <a:gd name="connsiteX34" fmla="*/ 120131 w 240261"/>
              <a:gd name="connsiteY34" fmla="*/ 12768 h 240037"/>
              <a:gd name="connsiteX35" fmla="*/ 120131 w 240261"/>
              <a:gd name="connsiteY35" fmla="*/ 12768 h 240037"/>
              <a:gd name="connsiteX36" fmla="*/ 150164 w 240261"/>
              <a:gd name="connsiteY36" fmla="*/ 69585 h 240037"/>
              <a:gd name="connsiteX37" fmla="*/ 154637 w 240261"/>
              <a:gd name="connsiteY37" fmla="*/ 113635 h 240037"/>
              <a:gd name="connsiteX38" fmla="*/ 86264 w 240261"/>
              <a:gd name="connsiteY38" fmla="*/ 113635 h 240037"/>
              <a:gd name="connsiteX39" fmla="*/ 90737 w 240261"/>
              <a:gd name="connsiteY39" fmla="*/ 69585 h 240037"/>
              <a:gd name="connsiteX40" fmla="*/ 150164 w 240261"/>
              <a:gd name="connsiteY40" fmla="*/ 69585 h 240037"/>
              <a:gd name="connsiteX41" fmla="*/ 166777 w 240261"/>
              <a:gd name="connsiteY41" fmla="*/ 113635 h 240037"/>
              <a:gd name="connsiteX42" fmla="*/ 162943 w 240261"/>
              <a:gd name="connsiteY42" fmla="*/ 69585 h 240037"/>
              <a:gd name="connsiteX43" fmla="*/ 214702 w 240261"/>
              <a:gd name="connsiteY43" fmla="*/ 69585 h 240037"/>
              <a:gd name="connsiteX44" fmla="*/ 226843 w 240261"/>
              <a:gd name="connsiteY44" fmla="*/ 113635 h 240037"/>
              <a:gd name="connsiteX45" fmla="*/ 166777 w 240261"/>
              <a:gd name="connsiteY45" fmla="*/ 113635 h 240037"/>
              <a:gd name="connsiteX46" fmla="*/ 206395 w 240261"/>
              <a:gd name="connsiteY46" fmla="*/ 56817 h 240037"/>
              <a:gd name="connsiteX47" fmla="*/ 160387 w 240261"/>
              <a:gd name="connsiteY47" fmla="*/ 56817 h 240037"/>
              <a:gd name="connsiteX48" fmla="*/ 144413 w 240261"/>
              <a:gd name="connsiteY48" fmla="*/ 15321 h 240037"/>
              <a:gd name="connsiteX49" fmla="*/ 206395 w 240261"/>
              <a:gd name="connsiteY49" fmla="*/ 56817 h 240037"/>
              <a:gd name="connsiteX50" fmla="*/ 206395 w 240261"/>
              <a:gd name="connsiteY50" fmla="*/ 56817 h 240037"/>
              <a:gd name="connsiteX51" fmla="*/ 95849 w 240261"/>
              <a:gd name="connsiteY51" fmla="*/ 15321 h 240037"/>
              <a:gd name="connsiteX52" fmla="*/ 79874 w 240261"/>
              <a:gd name="connsiteY52" fmla="*/ 56817 h 240037"/>
              <a:gd name="connsiteX53" fmla="*/ 33867 w 240261"/>
              <a:gd name="connsiteY53" fmla="*/ 56817 h 240037"/>
              <a:gd name="connsiteX54" fmla="*/ 95849 w 240261"/>
              <a:gd name="connsiteY54" fmla="*/ 15321 h 240037"/>
              <a:gd name="connsiteX55" fmla="*/ 95849 w 240261"/>
              <a:gd name="connsiteY55" fmla="*/ 15321 h 240037"/>
              <a:gd name="connsiteX56" fmla="*/ 33867 w 240261"/>
              <a:gd name="connsiteY56" fmla="*/ 183220 h 240037"/>
              <a:gd name="connsiteX57" fmla="*/ 79874 w 240261"/>
              <a:gd name="connsiteY57" fmla="*/ 183220 h 240037"/>
              <a:gd name="connsiteX58" fmla="*/ 95849 w 240261"/>
              <a:gd name="connsiteY58" fmla="*/ 224716 h 240037"/>
              <a:gd name="connsiteX59" fmla="*/ 33867 w 240261"/>
              <a:gd name="connsiteY59" fmla="*/ 183220 h 240037"/>
              <a:gd name="connsiteX60" fmla="*/ 144413 w 240261"/>
              <a:gd name="connsiteY60" fmla="*/ 224716 h 240037"/>
              <a:gd name="connsiteX61" fmla="*/ 160387 w 240261"/>
              <a:gd name="connsiteY61" fmla="*/ 183220 h 240037"/>
              <a:gd name="connsiteX62" fmla="*/ 206395 w 240261"/>
              <a:gd name="connsiteY62" fmla="*/ 183220 h 240037"/>
              <a:gd name="connsiteX63" fmla="*/ 144413 w 240261"/>
              <a:gd name="connsiteY63" fmla="*/ 224716 h 240037"/>
              <a:gd name="connsiteX64" fmla="*/ 144413 w 240261"/>
              <a:gd name="connsiteY64" fmla="*/ 224716 h 24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0261" h="240037">
                <a:moveTo>
                  <a:pt x="120131" y="0"/>
                </a:moveTo>
                <a:cubicBezTo>
                  <a:pt x="53675" y="0"/>
                  <a:pt x="0" y="53625"/>
                  <a:pt x="0" y="120019"/>
                </a:cubicBezTo>
                <a:cubicBezTo>
                  <a:pt x="0" y="186412"/>
                  <a:pt x="53675" y="240038"/>
                  <a:pt x="120131" y="240038"/>
                </a:cubicBezTo>
                <a:cubicBezTo>
                  <a:pt x="186586" y="240038"/>
                  <a:pt x="240262" y="186412"/>
                  <a:pt x="240262" y="120019"/>
                </a:cubicBezTo>
                <a:cubicBezTo>
                  <a:pt x="240262" y="120019"/>
                  <a:pt x="240262" y="120019"/>
                  <a:pt x="240262" y="120019"/>
                </a:cubicBezTo>
                <a:cubicBezTo>
                  <a:pt x="240262" y="53625"/>
                  <a:pt x="186586" y="0"/>
                  <a:pt x="120131" y="0"/>
                </a:cubicBezTo>
                <a:close/>
                <a:moveTo>
                  <a:pt x="214702" y="170452"/>
                </a:moveTo>
                <a:lnTo>
                  <a:pt x="162943" y="170452"/>
                </a:lnTo>
                <a:cubicBezTo>
                  <a:pt x="165499" y="155769"/>
                  <a:pt x="166777" y="141086"/>
                  <a:pt x="166777" y="126403"/>
                </a:cubicBezTo>
                <a:lnTo>
                  <a:pt x="226843" y="126403"/>
                </a:lnTo>
                <a:cubicBezTo>
                  <a:pt x="226204" y="141724"/>
                  <a:pt x="221731" y="157046"/>
                  <a:pt x="214702" y="170452"/>
                </a:cubicBezTo>
                <a:close/>
                <a:moveTo>
                  <a:pt x="120131" y="227270"/>
                </a:moveTo>
                <a:cubicBezTo>
                  <a:pt x="110546" y="227270"/>
                  <a:pt x="99683" y="210033"/>
                  <a:pt x="93293" y="183220"/>
                </a:cubicBezTo>
                <a:lnTo>
                  <a:pt x="147608" y="183220"/>
                </a:lnTo>
                <a:cubicBezTo>
                  <a:pt x="140579" y="210033"/>
                  <a:pt x="129716" y="227270"/>
                  <a:pt x="120131" y="227270"/>
                </a:cubicBezTo>
                <a:lnTo>
                  <a:pt x="120131" y="227270"/>
                </a:lnTo>
                <a:close/>
                <a:moveTo>
                  <a:pt x="90098" y="170452"/>
                </a:moveTo>
                <a:cubicBezTo>
                  <a:pt x="87542" y="155769"/>
                  <a:pt x="86264" y="141086"/>
                  <a:pt x="85625" y="126403"/>
                </a:cubicBezTo>
                <a:lnTo>
                  <a:pt x="153998" y="126403"/>
                </a:lnTo>
                <a:cubicBezTo>
                  <a:pt x="153998" y="141086"/>
                  <a:pt x="152081" y="155769"/>
                  <a:pt x="149525" y="170452"/>
                </a:cubicBezTo>
                <a:lnTo>
                  <a:pt x="90098" y="170452"/>
                </a:lnTo>
                <a:close/>
                <a:moveTo>
                  <a:pt x="13419" y="126403"/>
                </a:moveTo>
                <a:lnTo>
                  <a:pt x="73484" y="126403"/>
                </a:lnTo>
                <a:cubicBezTo>
                  <a:pt x="73484" y="141086"/>
                  <a:pt x="75401" y="155769"/>
                  <a:pt x="77318" y="170452"/>
                </a:cubicBezTo>
                <a:lnTo>
                  <a:pt x="25560" y="170452"/>
                </a:lnTo>
                <a:cubicBezTo>
                  <a:pt x="17892" y="157046"/>
                  <a:pt x="14058" y="141724"/>
                  <a:pt x="13419" y="126403"/>
                </a:cubicBezTo>
                <a:close/>
                <a:moveTo>
                  <a:pt x="25560" y="69585"/>
                </a:moveTo>
                <a:lnTo>
                  <a:pt x="77318" y="69585"/>
                </a:lnTo>
                <a:cubicBezTo>
                  <a:pt x="74762" y="84269"/>
                  <a:pt x="73484" y="98952"/>
                  <a:pt x="73484" y="113635"/>
                </a:cubicBezTo>
                <a:lnTo>
                  <a:pt x="13419" y="113635"/>
                </a:lnTo>
                <a:cubicBezTo>
                  <a:pt x="14058" y="98313"/>
                  <a:pt x="17892" y="82992"/>
                  <a:pt x="25560" y="69585"/>
                </a:cubicBezTo>
                <a:close/>
                <a:moveTo>
                  <a:pt x="120131" y="12768"/>
                </a:moveTo>
                <a:cubicBezTo>
                  <a:pt x="129716" y="12768"/>
                  <a:pt x="140579" y="30005"/>
                  <a:pt x="146969" y="56817"/>
                </a:cubicBezTo>
                <a:lnTo>
                  <a:pt x="92654" y="56817"/>
                </a:lnTo>
                <a:cubicBezTo>
                  <a:pt x="99683" y="30005"/>
                  <a:pt x="110546" y="12768"/>
                  <a:pt x="120131" y="12768"/>
                </a:cubicBezTo>
                <a:lnTo>
                  <a:pt x="120131" y="12768"/>
                </a:lnTo>
                <a:close/>
                <a:moveTo>
                  <a:pt x="150164" y="69585"/>
                </a:moveTo>
                <a:cubicBezTo>
                  <a:pt x="152720" y="84269"/>
                  <a:pt x="153998" y="98952"/>
                  <a:pt x="154637" y="113635"/>
                </a:cubicBezTo>
                <a:lnTo>
                  <a:pt x="86264" y="113635"/>
                </a:lnTo>
                <a:cubicBezTo>
                  <a:pt x="86264" y="98952"/>
                  <a:pt x="88181" y="84269"/>
                  <a:pt x="90737" y="69585"/>
                </a:cubicBezTo>
                <a:lnTo>
                  <a:pt x="150164" y="69585"/>
                </a:lnTo>
                <a:close/>
                <a:moveTo>
                  <a:pt x="166777" y="113635"/>
                </a:moveTo>
                <a:cubicBezTo>
                  <a:pt x="166777" y="98952"/>
                  <a:pt x="164860" y="84269"/>
                  <a:pt x="162943" y="69585"/>
                </a:cubicBezTo>
                <a:lnTo>
                  <a:pt x="214702" y="69585"/>
                </a:lnTo>
                <a:cubicBezTo>
                  <a:pt x="221731" y="82992"/>
                  <a:pt x="226204" y="98313"/>
                  <a:pt x="226843" y="113635"/>
                </a:cubicBezTo>
                <a:lnTo>
                  <a:pt x="166777" y="113635"/>
                </a:lnTo>
                <a:close/>
                <a:moveTo>
                  <a:pt x="206395" y="56817"/>
                </a:moveTo>
                <a:lnTo>
                  <a:pt x="160387" y="56817"/>
                </a:lnTo>
                <a:cubicBezTo>
                  <a:pt x="157192" y="42134"/>
                  <a:pt x="152081" y="28089"/>
                  <a:pt x="144413" y="15321"/>
                </a:cubicBezTo>
                <a:cubicBezTo>
                  <a:pt x="169333" y="21705"/>
                  <a:pt x="191059" y="36389"/>
                  <a:pt x="206395" y="56817"/>
                </a:cubicBezTo>
                <a:lnTo>
                  <a:pt x="206395" y="56817"/>
                </a:lnTo>
                <a:close/>
                <a:moveTo>
                  <a:pt x="95849" y="15321"/>
                </a:moveTo>
                <a:cubicBezTo>
                  <a:pt x="88181" y="28089"/>
                  <a:pt x="82430" y="42134"/>
                  <a:pt x="79874" y="56817"/>
                </a:cubicBezTo>
                <a:lnTo>
                  <a:pt x="33867" y="56817"/>
                </a:lnTo>
                <a:cubicBezTo>
                  <a:pt x="49203" y="36389"/>
                  <a:pt x="70928" y="21705"/>
                  <a:pt x="95849" y="15321"/>
                </a:cubicBezTo>
                <a:lnTo>
                  <a:pt x="95849" y="15321"/>
                </a:lnTo>
                <a:close/>
                <a:moveTo>
                  <a:pt x="33867" y="183220"/>
                </a:moveTo>
                <a:lnTo>
                  <a:pt x="79874" y="183220"/>
                </a:lnTo>
                <a:cubicBezTo>
                  <a:pt x="83069" y="197903"/>
                  <a:pt x="88181" y="211948"/>
                  <a:pt x="95849" y="224716"/>
                </a:cubicBezTo>
                <a:cubicBezTo>
                  <a:pt x="70928" y="218332"/>
                  <a:pt x="49203" y="203649"/>
                  <a:pt x="33867" y="183220"/>
                </a:cubicBezTo>
                <a:close/>
                <a:moveTo>
                  <a:pt x="144413" y="224716"/>
                </a:moveTo>
                <a:cubicBezTo>
                  <a:pt x="152081" y="211948"/>
                  <a:pt x="157831" y="197903"/>
                  <a:pt x="160387" y="183220"/>
                </a:cubicBezTo>
                <a:lnTo>
                  <a:pt x="206395" y="183220"/>
                </a:lnTo>
                <a:cubicBezTo>
                  <a:pt x="191059" y="203649"/>
                  <a:pt x="169333" y="218332"/>
                  <a:pt x="144413" y="224716"/>
                </a:cubicBezTo>
                <a:lnTo>
                  <a:pt x="144413" y="224716"/>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683" name="Graphic 4">
            <a:extLst>
              <a:ext uri="{FF2B5EF4-FFF2-40B4-BE49-F238E27FC236}">
                <a16:creationId xmlns:a16="http://schemas.microsoft.com/office/drawing/2014/main" id="{5134BAE1-A3EC-FFE9-886A-0E1D16E60865}"/>
              </a:ext>
            </a:extLst>
          </p:cNvPr>
          <p:cNvSpPr/>
          <p:nvPr/>
        </p:nvSpPr>
        <p:spPr>
          <a:xfrm>
            <a:off x="10949515" y="3558522"/>
            <a:ext cx="296471" cy="296194"/>
          </a:xfrm>
          <a:custGeom>
            <a:avLst/>
            <a:gdLst>
              <a:gd name="connsiteX0" fmla="*/ 120131 w 240261"/>
              <a:gd name="connsiteY0" fmla="*/ 0 h 240037"/>
              <a:gd name="connsiteX1" fmla="*/ 0 w 240261"/>
              <a:gd name="connsiteY1" fmla="*/ 120019 h 240037"/>
              <a:gd name="connsiteX2" fmla="*/ 120131 w 240261"/>
              <a:gd name="connsiteY2" fmla="*/ 240038 h 240037"/>
              <a:gd name="connsiteX3" fmla="*/ 240262 w 240261"/>
              <a:gd name="connsiteY3" fmla="*/ 120019 h 240037"/>
              <a:gd name="connsiteX4" fmla="*/ 240262 w 240261"/>
              <a:gd name="connsiteY4" fmla="*/ 120019 h 240037"/>
              <a:gd name="connsiteX5" fmla="*/ 120131 w 240261"/>
              <a:gd name="connsiteY5" fmla="*/ 0 h 240037"/>
              <a:gd name="connsiteX6" fmla="*/ 214702 w 240261"/>
              <a:gd name="connsiteY6" fmla="*/ 170452 h 240037"/>
              <a:gd name="connsiteX7" fmla="*/ 162943 w 240261"/>
              <a:gd name="connsiteY7" fmla="*/ 170452 h 240037"/>
              <a:gd name="connsiteX8" fmla="*/ 166777 w 240261"/>
              <a:gd name="connsiteY8" fmla="*/ 126403 h 240037"/>
              <a:gd name="connsiteX9" fmla="*/ 226843 w 240261"/>
              <a:gd name="connsiteY9" fmla="*/ 126403 h 240037"/>
              <a:gd name="connsiteX10" fmla="*/ 214702 w 240261"/>
              <a:gd name="connsiteY10" fmla="*/ 170452 h 240037"/>
              <a:gd name="connsiteX11" fmla="*/ 120131 w 240261"/>
              <a:gd name="connsiteY11" fmla="*/ 227270 h 240037"/>
              <a:gd name="connsiteX12" fmla="*/ 93293 w 240261"/>
              <a:gd name="connsiteY12" fmla="*/ 183220 h 240037"/>
              <a:gd name="connsiteX13" fmla="*/ 147608 w 240261"/>
              <a:gd name="connsiteY13" fmla="*/ 183220 h 240037"/>
              <a:gd name="connsiteX14" fmla="*/ 120131 w 240261"/>
              <a:gd name="connsiteY14" fmla="*/ 227270 h 240037"/>
              <a:gd name="connsiteX15" fmla="*/ 120131 w 240261"/>
              <a:gd name="connsiteY15" fmla="*/ 227270 h 240037"/>
              <a:gd name="connsiteX16" fmla="*/ 90098 w 240261"/>
              <a:gd name="connsiteY16" fmla="*/ 170452 h 240037"/>
              <a:gd name="connsiteX17" fmla="*/ 85625 w 240261"/>
              <a:gd name="connsiteY17" fmla="*/ 126403 h 240037"/>
              <a:gd name="connsiteX18" fmla="*/ 153998 w 240261"/>
              <a:gd name="connsiteY18" fmla="*/ 126403 h 240037"/>
              <a:gd name="connsiteX19" fmla="*/ 149525 w 240261"/>
              <a:gd name="connsiteY19" fmla="*/ 170452 h 240037"/>
              <a:gd name="connsiteX20" fmla="*/ 90098 w 240261"/>
              <a:gd name="connsiteY20" fmla="*/ 170452 h 240037"/>
              <a:gd name="connsiteX21" fmla="*/ 13419 w 240261"/>
              <a:gd name="connsiteY21" fmla="*/ 126403 h 240037"/>
              <a:gd name="connsiteX22" fmla="*/ 73484 w 240261"/>
              <a:gd name="connsiteY22" fmla="*/ 126403 h 240037"/>
              <a:gd name="connsiteX23" fmla="*/ 77318 w 240261"/>
              <a:gd name="connsiteY23" fmla="*/ 170452 h 240037"/>
              <a:gd name="connsiteX24" fmla="*/ 25560 w 240261"/>
              <a:gd name="connsiteY24" fmla="*/ 170452 h 240037"/>
              <a:gd name="connsiteX25" fmla="*/ 13419 w 240261"/>
              <a:gd name="connsiteY25" fmla="*/ 126403 h 240037"/>
              <a:gd name="connsiteX26" fmla="*/ 25560 w 240261"/>
              <a:gd name="connsiteY26" fmla="*/ 69585 h 240037"/>
              <a:gd name="connsiteX27" fmla="*/ 77318 w 240261"/>
              <a:gd name="connsiteY27" fmla="*/ 69585 h 240037"/>
              <a:gd name="connsiteX28" fmla="*/ 73484 w 240261"/>
              <a:gd name="connsiteY28" fmla="*/ 113635 h 240037"/>
              <a:gd name="connsiteX29" fmla="*/ 13419 w 240261"/>
              <a:gd name="connsiteY29" fmla="*/ 113635 h 240037"/>
              <a:gd name="connsiteX30" fmla="*/ 25560 w 240261"/>
              <a:gd name="connsiteY30" fmla="*/ 69585 h 240037"/>
              <a:gd name="connsiteX31" fmla="*/ 120131 w 240261"/>
              <a:gd name="connsiteY31" fmla="*/ 12768 h 240037"/>
              <a:gd name="connsiteX32" fmla="*/ 146969 w 240261"/>
              <a:gd name="connsiteY32" fmla="*/ 56817 h 240037"/>
              <a:gd name="connsiteX33" fmla="*/ 92654 w 240261"/>
              <a:gd name="connsiteY33" fmla="*/ 56817 h 240037"/>
              <a:gd name="connsiteX34" fmla="*/ 120131 w 240261"/>
              <a:gd name="connsiteY34" fmla="*/ 12768 h 240037"/>
              <a:gd name="connsiteX35" fmla="*/ 120131 w 240261"/>
              <a:gd name="connsiteY35" fmla="*/ 12768 h 240037"/>
              <a:gd name="connsiteX36" fmla="*/ 150164 w 240261"/>
              <a:gd name="connsiteY36" fmla="*/ 69585 h 240037"/>
              <a:gd name="connsiteX37" fmla="*/ 154637 w 240261"/>
              <a:gd name="connsiteY37" fmla="*/ 113635 h 240037"/>
              <a:gd name="connsiteX38" fmla="*/ 86264 w 240261"/>
              <a:gd name="connsiteY38" fmla="*/ 113635 h 240037"/>
              <a:gd name="connsiteX39" fmla="*/ 90737 w 240261"/>
              <a:gd name="connsiteY39" fmla="*/ 69585 h 240037"/>
              <a:gd name="connsiteX40" fmla="*/ 150164 w 240261"/>
              <a:gd name="connsiteY40" fmla="*/ 69585 h 240037"/>
              <a:gd name="connsiteX41" fmla="*/ 166777 w 240261"/>
              <a:gd name="connsiteY41" fmla="*/ 113635 h 240037"/>
              <a:gd name="connsiteX42" fmla="*/ 162943 w 240261"/>
              <a:gd name="connsiteY42" fmla="*/ 69585 h 240037"/>
              <a:gd name="connsiteX43" fmla="*/ 214702 w 240261"/>
              <a:gd name="connsiteY43" fmla="*/ 69585 h 240037"/>
              <a:gd name="connsiteX44" fmla="*/ 226843 w 240261"/>
              <a:gd name="connsiteY44" fmla="*/ 113635 h 240037"/>
              <a:gd name="connsiteX45" fmla="*/ 166777 w 240261"/>
              <a:gd name="connsiteY45" fmla="*/ 113635 h 240037"/>
              <a:gd name="connsiteX46" fmla="*/ 206395 w 240261"/>
              <a:gd name="connsiteY46" fmla="*/ 56817 h 240037"/>
              <a:gd name="connsiteX47" fmla="*/ 160387 w 240261"/>
              <a:gd name="connsiteY47" fmla="*/ 56817 h 240037"/>
              <a:gd name="connsiteX48" fmla="*/ 144413 w 240261"/>
              <a:gd name="connsiteY48" fmla="*/ 15321 h 240037"/>
              <a:gd name="connsiteX49" fmla="*/ 206395 w 240261"/>
              <a:gd name="connsiteY49" fmla="*/ 56817 h 240037"/>
              <a:gd name="connsiteX50" fmla="*/ 206395 w 240261"/>
              <a:gd name="connsiteY50" fmla="*/ 56817 h 240037"/>
              <a:gd name="connsiteX51" fmla="*/ 95849 w 240261"/>
              <a:gd name="connsiteY51" fmla="*/ 15321 h 240037"/>
              <a:gd name="connsiteX52" fmla="*/ 79874 w 240261"/>
              <a:gd name="connsiteY52" fmla="*/ 56817 h 240037"/>
              <a:gd name="connsiteX53" fmla="*/ 33867 w 240261"/>
              <a:gd name="connsiteY53" fmla="*/ 56817 h 240037"/>
              <a:gd name="connsiteX54" fmla="*/ 95849 w 240261"/>
              <a:gd name="connsiteY54" fmla="*/ 15321 h 240037"/>
              <a:gd name="connsiteX55" fmla="*/ 95849 w 240261"/>
              <a:gd name="connsiteY55" fmla="*/ 15321 h 240037"/>
              <a:gd name="connsiteX56" fmla="*/ 33867 w 240261"/>
              <a:gd name="connsiteY56" fmla="*/ 183220 h 240037"/>
              <a:gd name="connsiteX57" fmla="*/ 79874 w 240261"/>
              <a:gd name="connsiteY57" fmla="*/ 183220 h 240037"/>
              <a:gd name="connsiteX58" fmla="*/ 95849 w 240261"/>
              <a:gd name="connsiteY58" fmla="*/ 224716 h 240037"/>
              <a:gd name="connsiteX59" fmla="*/ 33867 w 240261"/>
              <a:gd name="connsiteY59" fmla="*/ 183220 h 240037"/>
              <a:gd name="connsiteX60" fmla="*/ 144413 w 240261"/>
              <a:gd name="connsiteY60" fmla="*/ 224716 h 240037"/>
              <a:gd name="connsiteX61" fmla="*/ 160387 w 240261"/>
              <a:gd name="connsiteY61" fmla="*/ 183220 h 240037"/>
              <a:gd name="connsiteX62" fmla="*/ 206395 w 240261"/>
              <a:gd name="connsiteY62" fmla="*/ 183220 h 240037"/>
              <a:gd name="connsiteX63" fmla="*/ 144413 w 240261"/>
              <a:gd name="connsiteY63" fmla="*/ 224716 h 240037"/>
              <a:gd name="connsiteX64" fmla="*/ 144413 w 240261"/>
              <a:gd name="connsiteY64" fmla="*/ 224716 h 24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0261" h="240037">
                <a:moveTo>
                  <a:pt x="120131" y="0"/>
                </a:moveTo>
                <a:cubicBezTo>
                  <a:pt x="53675" y="0"/>
                  <a:pt x="0" y="53625"/>
                  <a:pt x="0" y="120019"/>
                </a:cubicBezTo>
                <a:cubicBezTo>
                  <a:pt x="0" y="186412"/>
                  <a:pt x="53675" y="240038"/>
                  <a:pt x="120131" y="240038"/>
                </a:cubicBezTo>
                <a:cubicBezTo>
                  <a:pt x="186586" y="240038"/>
                  <a:pt x="240262" y="186412"/>
                  <a:pt x="240262" y="120019"/>
                </a:cubicBezTo>
                <a:cubicBezTo>
                  <a:pt x="240262" y="120019"/>
                  <a:pt x="240262" y="120019"/>
                  <a:pt x="240262" y="120019"/>
                </a:cubicBezTo>
                <a:cubicBezTo>
                  <a:pt x="240262" y="53625"/>
                  <a:pt x="186586" y="0"/>
                  <a:pt x="120131" y="0"/>
                </a:cubicBezTo>
                <a:close/>
                <a:moveTo>
                  <a:pt x="214702" y="170452"/>
                </a:moveTo>
                <a:lnTo>
                  <a:pt x="162943" y="170452"/>
                </a:lnTo>
                <a:cubicBezTo>
                  <a:pt x="165499" y="155769"/>
                  <a:pt x="166777" y="141086"/>
                  <a:pt x="166777" y="126403"/>
                </a:cubicBezTo>
                <a:lnTo>
                  <a:pt x="226843" y="126403"/>
                </a:lnTo>
                <a:cubicBezTo>
                  <a:pt x="226204" y="141724"/>
                  <a:pt x="221731" y="157046"/>
                  <a:pt x="214702" y="170452"/>
                </a:cubicBezTo>
                <a:close/>
                <a:moveTo>
                  <a:pt x="120131" y="227270"/>
                </a:moveTo>
                <a:cubicBezTo>
                  <a:pt x="110546" y="227270"/>
                  <a:pt x="99683" y="210033"/>
                  <a:pt x="93293" y="183220"/>
                </a:cubicBezTo>
                <a:lnTo>
                  <a:pt x="147608" y="183220"/>
                </a:lnTo>
                <a:cubicBezTo>
                  <a:pt x="140579" y="210033"/>
                  <a:pt x="129716" y="227270"/>
                  <a:pt x="120131" y="227270"/>
                </a:cubicBezTo>
                <a:lnTo>
                  <a:pt x="120131" y="227270"/>
                </a:lnTo>
                <a:close/>
                <a:moveTo>
                  <a:pt x="90098" y="170452"/>
                </a:moveTo>
                <a:cubicBezTo>
                  <a:pt x="87542" y="155769"/>
                  <a:pt x="86264" y="141086"/>
                  <a:pt x="85625" y="126403"/>
                </a:cubicBezTo>
                <a:lnTo>
                  <a:pt x="153998" y="126403"/>
                </a:lnTo>
                <a:cubicBezTo>
                  <a:pt x="153998" y="141086"/>
                  <a:pt x="152081" y="155769"/>
                  <a:pt x="149525" y="170452"/>
                </a:cubicBezTo>
                <a:lnTo>
                  <a:pt x="90098" y="170452"/>
                </a:lnTo>
                <a:close/>
                <a:moveTo>
                  <a:pt x="13419" y="126403"/>
                </a:moveTo>
                <a:lnTo>
                  <a:pt x="73484" y="126403"/>
                </a:lnTo>
                <a:cubicBezTo>
                  <a:pt x="73484" y="141086"/>
                  <a:pt x="75401" y="155769"/>
                  <a:pt x="77318" y="170452"/>
                </a:cubicBezTo>
                <a:lnTo>
                  <a:pt x="25560" y="170452"/>
                </a:lnTo>
                <a:cubicBezTo>
                  <a:pt x="17892" y="157046"/>
                  <a:pt x="14058" y="141724"/>
                  <a:pt x="13419" y="126403"/>
                </a:cubicBezTo>
                <a:close/>
                <a:moveTo>
                  <a:pt x="25560" y="69585"/>
                </a:moveTo>
                <a:lnTo>
                  <a:pt x="77318" y="69585"/>
                </a:lnTo>
                <a:cubicBezTo>
                  <a:pt x="74762" y="84269"/>
                  <a:pt x="73484" y="98952"/>
                  <a:pt x="73484" y="113635"/>
                </a:cubicBezTo>
                <a:lnTo>
                  <a:pt x="13419" y="113635"/>
                </a:lnTo>
                <a:cubicBezTo>
                  <a:pt x="14058" y="98313"/>
                  <a:pt x="17892" y="82992"/>
                  <a:pt x="25560" y="69585"/>
                </a:cubicBezTo>
                <a:close/>
                <a:moveTo>
                  <a:pt x="120131" y="12768"/>
                </a:moveTo>
                <a:cubicBezTo>
                  <a:pt x="129716" y="12768"/>
                  <a:pt x="140579" y="30005"/>
                  <a:pt x="146969" y="56817"/>
                </a:cubicBezTo>
                <a:lnTo>
                  <a:pt x="92654" y="56817"/>
                </a:lnTo>
                <a:cubicBezTo>
                  <a:pt x="99683" y="30005"/>
                  <a:pt x="110546" y="12768"/>
                  <a:pt x="120131" y="12768"/>
                </a:cubicBezTo>
                <a:lnTo>
                  <a:pt x="120131" y="12768"/>
                </a:lnTo>
                <a:close/>
                <a:moveTo>
                  <a:pt x="150164" y="69585"/>
                </a:moveTo>
                <a:cubicBezTo>
                  <a:pt x="152720" y="84269"/>
                  <a:pt x="153998" y="98952"/>
                  <a:pt x="154637" y="113635"/>
                </a:cubicBezTo>
                <a:lnTo>
                  <a:pt x="86264" y="113635"/>
                </a:lnTo>
                <a:cubicBezTo>
                  <a:pt x="86264" y="98952"/>
                  <a:pt x="88181" y="84269"/>
                  <a:pt x="90737" y="69585"/>
                </a:cubicBezTo>
                <a:lnTo>
                  <a:pt x="150164" y="69585"/>
                </a:lnTo>
                <a:close/>
                <a:moveTo>
                  <a:pt x="166777" y="113635"/>
                </a:moveTo>
                <a:cubicBezTo>
                  <a:pt x="166777" y="98952"/>
                  <a:pt x="164860" y="84269"/>
                  <a:pt x="162943" y="69585"/>
                </a:cubicBezTo>
                <a:lnTo>
                  <a:pt x="214702" y="69585"/>
                </a:lnTo>
                <a:cubicBezTo>
                  <a:pt x="221731" y="82992"/>
                  <a:pt x="226204" y="98313"/>
                  <a:pt x="226843" y="113635"/>
                </a:cubicBezTo>
                <a:lnTo>
                  <a:pt x="166777" y="113635"/>
                </a:lnTo>
                <a:close/>
                <a:moveTo>
                  <a:pt x="206395" y="56817"/>
                </a:moveTo>
                <a:lnTo>
                  <a:pt x="160387" y="56817"/>
                </a:lnTo>
                <a:cubicBezTo>
                  <a:pt x="157192" y="42134"/>
                  <a:pt x="152081" y="28089"/>
                  <a:pt x="144413" y="15321"/>
                </a:cubicBezTo>
                <a:cubicBezTo>
                  <a:pt x="169333" y="21705"/>
                  <a:pt x="191059" y="36389"/>
                  <a:pt x="206395" y="56817"/>
                </a:cubicBezTo>
                <a:lnTo>
                  <a:pt x="206395" y="56817"/>
                </a:lnTo>
                <a:close/>
                <a:moveTo>
                  <a:pt x="95849" y="15321"/>
                </a:moveTo>
                <a:cubicBezTo>
                  <a:pt x="88181" y="28089"/>
                  <a:pt x="82430" y="42134"/>
                  <a:pt x="79874" y="56817"/>
                </a:cubicBezTo>
                <a:lnTo>
                  <a:pt x="33867" y="56817"/>
                </a:lnTo>
                <a:cubicBezTo>
                  <a:pt x="49203" y="36389"/>
                  <a:pt x="70928" y="21705"/>
                  <a:pt x="95849" y="15321"/>
                </a:cubicBezTo>
                <a:lnTo>
                  <a:pt x="95849" y="15321"/>
                </a:lnTo>
                <a:close/>
                <a:moveTo>
                  <a:pt x="33867" y="183220"/>
                </a:moveTo>
                <a:lnTo>
                  <a:pt x="79874" y="183220"/>
                </a:lnTo>
                <a:cubicBezTo>
                  <a:pt x="83069" y="197903"/>
                  <a:pt x="88181" y="211948"/>
                  <a:pt x="95849" y="224716"/>
                </a:cubicBezTo>
                <a:cubicBezTo>
                  <a:pt x="70928" y="218332"/>
                  <a:pt x="49203" y="203649"/>
                  <a:pt x="33867" y="183220"/>
                </a:cubicBezTo>
                <a:close/>
                <a:moveTo>
                  <a:pt x="144413" y="224716"/>
                </a:moveTo>
                <a:cubicBezTo>
                  <a:pt x="152081" y="211948"/>
                  <a:pt x="157831" y="197903"/>
                  <a:pt x="160387" y="183220"/>
                </a:cubicBezTo>
                <a:lnTo>
                  <a:pt x="206395" y="183220"/>
                </a:lnTo>
                <a:cubicBezTo>
                  <a:pt x="191059" y="203649"/>
                  <a:pt x="169333" y="218332"/>
                  <a:pt x="144413" y="224716"/>
                </a:cubicBezTo>
                <a:lnTo>
                  <a:pt x="144413" y="224716"/>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grpSp>
        <p:nvGrpSpPr>
          <p:cNvPr id="701" name="Group 700">
            <a:extLst>
              <a:ext uri="{FF2B5EF4-FFF2-40B4-BE49-F238E27FC236}">
                <a16:creationId xmlns:a16="http://schemas.microsoft.com/office/drawing/2014/main" id="{78653E26-9501-035D-F941-E28C490E4120}"/>
              </a:ext>
            </a:extLst>
          </p:cNvPr>
          <p:cNvGrpSpPr/>
          <p:nvPr/>
        </p:nvGrpSpPr>
        <p:grpSpPr>
          <a:xfrm>
            <a:off x="4755935" y="5328976"/>
            <a:ext cx="758821" cy="758821"/>
            <a:chOff x="1984379" y="4874000"/>
            <a:chExt cx="1816041" cy="1816041"/>
          </a:xfrm>
        </p:grpSpPr>
        <p:grpSp>
          <p:nvGrpSpPr>
            <p:cNvPr id="3" name="Group 2">
              <a:extLst>
                <a:ext uri="{FF2B5EF4-FFF2-40B4-BE49-F238E27FC236}">
                  <a16:creationId xmlns:a16="http://schemas.microsoft.com/office/drawing/2014/main" id="{4A365F7B-0C8F-46A6-EC8D-BDC308D4A128}"/>
                </a:ext>
              </a:extLst>
            </p:cNvPr>
            <p:cNvGrpSpPr/>
            <p:nvPr/>
          </p:nvGrpSpPr>
          <p:grpSpPr>
            <a:xfrm>
              <a:off x="1984379" y="4874000"/>
              <a:ext cx="1816041" cy="1816041"/>
              <a:chOff x="465740" y="2706207"/>
              <a:chExt cx="442310" cy="442310"/>
            </a:xfrm>
          </p:grpSpPr>
          <p:sp>
            <p:nvSpPr>
              <p:cNvPr id="4" name="Oval 3">
                <a:extLst>
                  <a:ext uri="{FF2B5EF4-FFF2-40B4-BE49-F238E27FC236}">
                    <a16:creationId xmlns:a16="http://schemas.microsoft.com/office/drawing/2014/main" id="{40587486-6136-1659-803D-A47B92FC22E3}"/>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sp>
            <p:nvSpPr>
              <p:cNvPr id="5" name="Oval 4">
                <a:extLst>
                  <a:ext uri="{FF2B5EF4-FFF2-40B4-BE49-F238E27FC236}">
                    <a16:creationId xmlns:a16="http://schemas.microsoft.com/office/drawing/2014/main" id="{1F05DC4F-A324-891F-3F17-0EAECB9D277F}"/>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sp>
            <p:nvSpPr>
              <p:cNvPr id="8" name="Oval 7">
                <a:extLst>
                  <a:ext uri="{FF2B5EF4-FFF2-40B4-BE49-F238E27FC236}">
                    <a16:creationId xmlns:a16="http://schemas.microsoft.com/office/drawing/2014/main" id="{CAED2E12-35C9-F76B-2B4B-58EEB6461193}"/>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grpSp>
        <p:grpSp>
          <p:nvGrpSpPr>
            <p:cNvPr id="693" name="Graphic 4">
              <a:extLst>
                <a:ext uri="{FF2B5EF4-FFF2-40B4-BE49-F238E27FC236}">
                  <a16:creationId xmlns:a16="http://schemas.microsoft.com/office/drawing/2014/main" id="{B78F819C-3D64-6581-BD65-2654FB61F14D}"/>
                </a:ext>
              </a:extLst>
            </p:cNvPr>
            <p:cNvGrpSpPr>
              <a:grpSpLocks noChangeAspect="1"/>
            </p:cNvGrpSpPr>
            <p:nvPr/>
          </p:nvGrpSpPr>
          <p:grpSpPr>
            <a:xfrm>
              <a:off x="2535592" y="5425957"/>
              <a:ext cx="713661" cy="712127"/>
              <a:chOff x="4735970" y="2449058"/>
              <a:chExt cx="206646" cy="206202"/>
            </a:xfrm>
            <a:solidFill>
              <a:schemeClr val="bg1"/>
            </a:solidFill>
          </p:grpSpPr>
          <p:sp>
            <p:nvSpPr>
              <p:cNvPr id="695" name="Graphic 4">
                <a:extLst>
                  <a:ext uri="{FF2B5EF4-FFF2-40B4-BE49-F238E27FC236}">
                    <a16:creationId xmlns:a16="http://schemas.microsoft.com/office/drawing/2014/main" id="{EF1643A6-65AD-201F-B850-033B0B6D2CD7}"/>
                  </a:ext>
                </a:extLst>
              </p:cNvPr>
              <p:cNvSpPr/>
              <p:nvPr/>
            </p:nvSpPr>
            <p:spPr>
              <a:xfrm>
                <a:off x="4735970" y="2508429"/>
                <a:ext cx="58649" cy="146831"/>
              </a:xfrm>
              <a:custGeom>
                <a:avLst/>
                <a:gdLst>
                  <a:gd name="connsiteX0" fmla="*/ 36034 w 58649"/>
                  <a:gd name="connsiteY0" fmla="*/ 0 h 146831"/>
                  <a:gd name="connsiteX1" fmla="*/ 21337 w 58649"/>
                  <a:gd name="connsiteY1" fmla="*/ 0 h 146831"/>
                  <a:gd name="connsiteX2" fmla="*/ 14948 w 58649"/>
                  <a:gd name="connsiteY2" fmla="*/ 5107 h 146831"/>
                  <a:gd name="connsiteX3" fmla="*/ 251 w 58649"/>
                  <a:gd name="connsiteY3" fmla="*/ 79800 h 146831"/>
                  <a:gd name="connsiteX4" fmla="*/ 1529 w 58649"/>
                  <a:gd name="connsiteY4" fmla="*/ 84907 h 146831"/>
                  <a:gd name="connsiteX5" fmla="*/ 6641 w 58649"/>
                  <a:gd name="connsiteY5" fmla="*/ 87461 h 146831"/>
                  <a:gd name="connsiteX6" fmla="*/ 7919 w 58649"/>
                  <a:gd name="connsiteY6" fmla="*/ 87461 h 146831"/>
                  <a:gd name="connsiteX7" fmla="*/ 7919 w 58649"/>
                  <a:gd name="connsiteY7" fmla="*/ 140448 h 146831"/>
                  <a:gd name="connsiteX8" fmla="*/ 14309 w 58649"/>
                  <a:gd name="connsiteY8" fmla="*/ 146832 h 146831"/>
                  <a:gd name="connsiteX9" fmla="*/ 20699 w 58649"/>
                  <a:gd name="connsiteY9" fmla="*/ 140448 h 146831"/>
                  <a:gd name="connsiteX10" fmla="*/ 20699 w 58649"/>
                  <a:gd name="connsiteY10" fmla="*/ 87461 h 146831"/>
                  <a:gd name="connsiteX11" fmla="*/ 37951 w 58649"/>
                  <a:gd name="connsiteY11" fmla="*/ 87461 h 146831"/>
                  <a:gd name="connsiteX12" fmla="*/ 37951 w 58649"/>
                  <a:gd name="connsiteY12" fmla="*/ 140448 h 146831"/>
                  <a:gd name="connsiteX13" fmla="*/ 44341 w 58649"/>
                  <a:gd name="connsiteY13" fmla="*/ 146832 h 146831"/>
                  <a:gd name="connsiteX14" fmla="*/ 50731 w 58649"/>
                  <a:gd name="connsiteY14" fmla="*/ 140448 h 146831"/>
                  <a:gd name="connsiteX15" fmla="*/ 50731 w 58649"/>
                  <a:gd name="connsiteY15" fmla="*/ 87461 h 146831"/>
                  <a:gd name="connsiteX16" fmla="*/ 52009 w 58649"/>
                  <a:gd name="connsiteY16" fmla="*/ 87461 h 146831"/>
                  <a:gd name="connsiteX17" fmla="*/ 57121 w 58649"/>
                  <a:gd name="connsiteY17" fmla="*/ 84907 h 146831"/>
                  <a:gd name="connsiteX18" fmla="*/ 58399 w 58649"/>
                  <a:gd name="connsiteY18" fmla="*/ 79800 h 146831"/>
                  <a:gd name="connsiteX19" fmla="*/ 43702 w 58649"/>
                  <a:gd name="connsiteY19" fmla="*/ 5107 h 146831"/>
                  <a:gd name="connsiteX20" fmla="*/ 36034 w 58649"/>
                  <a:gd name="connsiteY20" fmla="*/ 0 h 146831"/>
                  <a:gd name="connsiteX21" fmla="*/ 13669 w 58649"/>
                  <a:gd name="connsiteY21" fmla="*/ 74693 h 146831"/>
                  <a:gd name="connsiteX22" fmla="*/ 25811 w 58649"/>
                  <a:gd name="connsiteY22" fmla="*/ 13406 h 146831"/>
                  <a:gd name="connsiteX23" fmla="*/ 30284 w 58649"/>
                  <a:gd name="connsiteY23" fmla="*/ 13406 h 146831"/>
                  <a:gd name="connsiteX24" fmla="*/ 42424 w 58649"/>
                  <a:gd name="connsiteY24" fmla="*/ 74693 h 146831"/>
                  <a:gd name="connsiteX25" fmla="*/ 13669 w 58649"/>
                  <a:gd name="connsiteY25" fmla="*/ 74693 h 14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649" h="146831">
                    <a:moveTo>
                      <a:pt x="36034" y="0"/>
                    </a:moveTo>
                    <a:lnTo>
                      <a:pt x="21337" y="0"/>
                    </a:lnTo>
                    <a:cubicBezTo>
                      <a:pt x="18143" y="0"/>
                      <a:pt x="15586" y="1915"/>
                      <a:pt x="14948" y="5107"/>
                    </a:cubicBezTo>
                    <a:lnTo>
                      <a:pt x="251" y="79800"/>
                    </a:lnTo>
                    <a:cubicBezTo>
                      <a:pt x="-388" y="81715"/>
                      <a:pt x="251" y="83630"/>
                      <a:pt x="1529" y="84907"/>
                    </a:cubicBezTo>
                    <a:cubicBezTo>
                      <a:pt x="2807" y="86184"/>
                      <a:pt x="4724" y="87461"/>
                      <a:pt x="6641" y="87461"/>
                    </a:cubicBezTo>
                    <a:lnTo>
                      <a:pt x="7919" y="87461"/>
                    </a:lnTo>
                    <a:lnTo>
                      <a:pt x="7919" y="140448"/>
                    </a:lnTo>
                    <a:cubicBezTo>
                      <a:pt x="7919" y="144278"/>
                      <a:pt x="10475" y="146832"/>
                      <a:pt x="14309" y="146832"/>
                    </a:cubicBezTo>
                    <a:cubicBezTo>
                      <a:pt x="18143" y="146832"/>
                      <a:pt x="20699" y="144278"/>
                      <a:pt x="20699" y="140448"/>
                    </a:cubicBezTo>
                    <a:lnTo>
                      <a:pt x="20699" y="87461"/>
                    </a:lnTo>
                    <a:lnTo>
                      <a:pt x="37951" y="87461"/>
                    </a:lnTo>
                    <a:lnTo>
                      <a:pt x="37951" y="140448"/>
                    </a:lnTo>
                    <a:cubicBezTo>
                      <a:pt x="37951" y="144278"/>
                      <a:pt x="40507" y="146832"/>
                      <a:pt x="44341" y="146832"/>
                    </a:cubicBezTo>
                    <a:cubicBezTo>
                      <a:pt x="48175" y="146832"/>
                      <a:pt x="50731" y="144278"/>
                      <a:pt x="50731" y="140448"/>
                    </a:cubicBezTo>
                    <a:lnTo>
                      <a:pt x="50731" y="87461"/>
                    </a:lnTo>
                    <a:lnTo>
                      <a:pt x="52009" y="87461"/>
                    </a:lnTo>
                    <a:cubicBezTo>
                      <a:pt x="53926" y="87461"/>
                      <a:pt x="55843" y="86822"/>
                      <a:pt x="57121" y="84907"/>
                    </a:cubicBezTo>
                    <a:cubicBezTo>
                      <a:pt x="58399" y="83630"/>
                      <a:pt x="59038" y="81715"/>
                      <a:pt x="58399" y="79800"/>
                    </a:cubicBezTo>
                    <a:lnTo>
                      <a:pt x="43702" y="5107"/>
                    </a:lnTo>
                    <a:cubicBezTo>
                      <a:pt x="41146" y="2554"/>
                      <a:pt x="38590" y="0"/>
                      <a:pt x="36034" y="0"/>
                    </a:cubicBezTo>
                    <a:close/>
                    <a:moveTo>
                      <a:pt x="13669" y="74693"/>
                    </a:moveTo>
                    <a:lnTo>
                      <a:pt x="25811" y="13406"/>
                    </a:lnTo>
                    <a:lnTo>
                      <a:pt x="30284" y="13406"/>
                    </a:lnTo>
                    <a:lnTo>
                      <a:pt x="42424" y="74693"/>
                    </a:lnTo>
                    <a:lnTo>
                      <a:pt x="13669"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696" name="Graphic 4">
                <a:extLst>
                  <a:ext uri="{FF2B5EF4-FFF2-40B4-BE49-F238E27FC236}">
                    <a16:creationId xmlns:a16="http://schemas.microsoft.com/office/drawing/2014/main" id="{EF5D04AE-63D1-69A1-B175-1B93C78E3AF7}"/>
                  </a:ext>
                </a:extLst>
              </p:cNvPr>
              <p:cNvSpPr/>
              <p:nvPr/>
            </p:nvSpPr>
            <p:spPr>
              <a:xfrm>
                <a:off x="4743250"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ubicBezTo>
                      <a:pt x="21087" y="12768"/>
                      <a:pt x="21087"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697" name="Graphic 4">
                <a:extLst>
                  <a:ext uri="{FF2B5EF4-FFF2-40B4-BE49-F238E27FC236}">
                    <a16:creationId xmlns:a16="http://schemas.microsoft.com/office/drawing/2014/main" id="{65A486A0-F4E6-C65D-5C11-C00D76E921ED}"/>
                  </a:ext>
                </a:extLst>
              </p:cNvPr>
              <p:cNvSpPr/>
              <p:nvPr/>
            </p:nvSpPr>
            <p:spPr>
              <a:xfrm>
                <a:off x="4884468"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7 w 58148"/>
                  <a:gd name="connsiteY8" fmla="*/ 139809 h 146193"/>
                  <a:gd name="connsiteX9" fmla="*/ 20447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7" y="143640"/>
                      <a:pt x="20447" y="139809"/>
                    </a:cubicBezTo>
                    <a:lnTo>
                      <a:pt x="20447"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2" y="72139"/>
                      <a:pt x="58148" y="69586"/>
                      <a:pt x="58148" y="65755"/>
                    </a:cubicBezTo>
                    <a:lnTo>
                      <a:pt x="58148" y="6384"/>
                    </a:lnTo>
                    <a:cubicBezTo>
                      <a:pt x="57509" y="3192"/>
                      <a:pt x="54314"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698" name="Graphic 4">
                <a:extLst>
                  <a:ext uri="{FF2B5EF4-FFF2-40B4-BE49-F238E27FC236}">
                    <a16:creationId xmlns:a16="http://schemas.microsoft.com/office/drawing/2014/main" id="{8D077D73-127A-AAAF-3283-464C576062CF}"/>
                  </a:ext>
                </a:extLst>
              </p:cNvPr>
              <p:cNvSpPr/>
              <p:nvPr/>
            </p:nvSpPr>
            <p:spPr>
              <a:xfrm>
                <a:off x="4892135"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699" name="Graphic 4">
                <a:extLst>
                  <a:ext uri="{FF2B5EF4-FFF2-40B4-BE49-F238E27FC236}">
                    <a16:creationId xmlns:a16="http://schemas.microsoft.com/office/drawing/2014/main" id="{23B252E8-1226-50F8-3019-BD1D9A86848F}"/>
                  </a:ext>
                </a:extLst>
              </p:cNvPr>
              <p:cNvSpPr/>
              <p:nvPr/>
            </p:nvSpPr>
            <p:spPr>
              <a:xfrm>
                <a:off x="4809705"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8 w 58148"/>
                  <a:gd name="connsiteY8" fmla="*/ 139809 h 146193"/>
                  <a:gd name="connsiteX9" fmla="*/ 20448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8" y="143640"/>
                      <a:pt x="20448" y="139809"/>
                    </a:cubicBezTo>
                    <a:lnTo>
                      <a:pt x="20448"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3" y="72139"/>
                      <a:pt x="58148" y="69586"/>
                      <a:pt x="58148" y="65755"/>
                    </a:cubicBezTo>
                    <a:lnTo>
                      <a:pt x="58148" y="6384"/>
                    </a:lnTo>
                    <a:cubicBezTo>
                      <a:pt x="57509" y="3192"/>
                      <a:pt x="54953"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700" name="Graphic 4">
                <a:extLst>
                  <a:ext uri="{FF2B5EF4-FFF2-40B4-BE49-F238E27FC236}">
                    <a16:creationId xmlns:a16="http://schemas.microsoft.com/office/drawing/2014/main" id="{80B1C12B-CC49-FEAC-B40A-30D32ADAABA6}"/>
                  </a:ext>
                </a:extLst>
              </p:cNvPr>
              <p:cNvSpPr/>
              <p:nvPr/>
            </p:nvSpPr>
            <p:spPr>
              <a:xfrm>
                <a:off x="4817373" y="2449058"/>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grpSp>
      </p:grpSp>
      <p:grpSp>
        <p:nvGrpSpPr>
          <p:cNvPr id="726" name="Group 725">
            <a:extLst>
              <a:ext uri="{FF2B5EF4-FFF2-40B4-BE49-F238E27FC236}">
                <a16:creationId xmlns:a16="http://schemas.microsoft.com/office/drawing/2014/main" id="{EEBAC218-BCDA-CADD-E4D8-EAFA4D9EBFB0}"/>
              </a:ext>
            </a:extLst>
          </p:cNvPr>
          <p:cNvGrpSpPr/>
          <p:nvPr/>
        </p:nvGrpSpPr>
        <p:grpSpPr>
          <a:xfrm>
            <a:off x="7163507" y="5328976"/>
            <a:ext cx="758821" cy="758821"/>
            <a:chOff x="7251067" y="6223065"/>
            <a:chExt cx="758821" cy="758821"/>
          </a:xfrm>
        </p:grpSpPr>
        <p:grpSp>
          <p:nvGrpSpPr>
            <p:cNvPr id="703" name="Group 702">
              <a:extLst>
                <a:ext uri="{FF2B5EF4-FFF2-40B4-BE49-F238E27FC236}">
                  <a16:creationId xmlns:a16="http://schemas.microsoft.com/office/drawing/2014/main" id="{28547FA3-D077-F6D5-5840-81E75ED941C4}"/>
                </a:ext>
              </a:extLst>
            </p:cNvPr>
            <p:cNvGrpSpPr/>
            <p:nvPr/>
          </p:nvGrpSpPr>
          <p:grpSpPr>
            <a:xfrm>
              <a:off x="7251067" y="6223065"/>
              <a:ext cx="758821" cy="758821"/>
              <a:chOff x="465740" y="2706207"/>
              <a:chExt cx="442310" cy="442310"/>
            </a:xfrm>
          </p:grpSpPr>
          <p:sp>
            <p:nvSpPr>
              <p:cNvPr id="711" name="Oval 710">
                <a:extLst>
                  <a:ext uri="{FF2B5EF4-FFF2-40B4-BE49-F238E27FC236}">
                    <a16:creationId xmlns:a16="http://schemas.microsoft.com/office/drawing/2014/main" id="{57816906-30A0-1537-E388-145A5A109A64}"/>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sp>
            <p:nvSpPr>
              <p:cNvPr id="712" name="Oval 711">
                <a:extLst>
                  <a:ext uri="{FF2B5EF4-FFF2-40B4-BE49-F238E27FC236}">
                    <a16:creationId xmlns:a16="http://schemas.microsoft.com/office/drawing/2014/main" id="{76712EA1-B34D-3C6F-14F9-AD825A1ED102}"/>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sp>
            <p:nvSpPr>
              <p:cNvPr id="713" name="Oval 712">
                <a:extLst>
                  <a:ext uri="{FF2B5EF4-FFF2-40B4-BE49-F238E27FC236}">
                    <a16:creationId xmlns:a16="http://schemas.microsoft.com/office/drawing/2014/main" id="{FA751C9D-1682-98E8-FD63-86BA8639CFAC}"/>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grpSp>
        <p:grpSp>
          <p:nvGrpSpPr>
            <p:cNvPr id="503" name="Group 502">
              <a:extLst>
                <a:ext uri="{FF2B5EF4-FFF2-40B4-BE49-F238E27FC236}">
                  <a16:creationId xmlns:a16="http://schemas.microsoft.com/office/drawing/2014/main" id="{9554BE58-3502-B6D4-9D28-0DF5748EE559}"/>
                </a:ext>
              </a:extLst>
            </p:cNvPr>
            <p:cNvGrpSpPr/>
            <p:nvPr/>
          </p:nvGrpSpPr>
          <p:grpSpPr>
            <a:xfrm>
              <a:off x="7470117" y="6484818"/>
              <a:ext cx="320720" cy="235315"/>
              <a:chOff x="6729090" y="5065795"/>
              <a:chExt cx="482064" cy="353695"/>
            </a:xfrm>
            <a:solidFill>
              <a:schemeClr val="bg1"/>
            </a:solidFill>
          </p:grpSpPr>
          <p:sp>
            <p:nvSpPr>
              <p:cNvPr id="504" name="object 50">
                <a:extLst>
                  <a:ext uri="{FF2B5EF4-FFF2-40B4-BE49-F238E27FC236}">
                    <a16:creationId xmlns:a16="http://schemas.microsoft.com/office/drawing/2014/main" id="{D9D89BC9-1A0F-9837-6239-1C186FDCD2B3}"/>
                  </a:ext>
                </a:extLst>
              </p:cNvPr>
              <p:cNvSpPr/>
              <p:nvPr/>
            </p:nvSpPr>
            <p:spPr>
              <a:xfrm>
                <a:off x="6729090" y="5065795"/>
                <a:ext cx="481965" cy="353695"/>
              </a:xfrm>
              <a:custGeom>
                <a:avLst/>
                <a:gdLst/>
                <a:ahLst/>
                <a:cxnLst/>
                <a:rect l="l" t="t" r="r" b="b"/>
                <a:pathLst>
                  <a:path w="481965" h="353695">
                    <a:moveTo>
                      <a:pt x="24930" y="0"/>
                    </a:moveTo>
                    <a:lnTo>
                      <a:pt x="7188" y="0"/>
                    </a:lnTo>
                    <a:lnTo>
                      <a:pt x="0" y="7175"/>
                    </a:lnTo>
                    <a:lnTo>
                      <a:pt x="0" y="346075"/>
                    </a:lnTo>
                    <a:lnTo>
                      <a:pt x="7188" y="353263"/>
                    </a:lnTo>
                    <a:lnTo>
                      <a:pt x="474535" y="353263"/>
                    </a:lnTo>
                    <a:lnTo>
                      <a:pt x="481723" y="346075"/>
                    </a:lnTo>
                    <a:lnTo>
                      <a:pt x="481723" y="328333"/>
                    </a:lnTo>
                    <a:lnTo>
                      <a:pt x="474535" y="321144"/>
                    </a:lnTo>
                    <a:lnTo>
                      <a:pt x="32118" y="321144"/>
                    </a:lnTo>
                    <a:lnTo>
                      <a:pt x="32118" y="7175"/>
                    </a:lnTo>
                    <a:lnTo>
                      <a:pt x="24930" y="0"/>
                    </a:lnTo>
                    <a:close/>
                  </a:path>
                </a:pathLst>
              </a:custGeom>
              <a:grp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505" name="object 51">
                <a:extLst>
                  <a:ext uri="{FF2B5EF4-FFF2-40B4-BE49-F238E27FC236}">
                    <a16:creationId xmlns:a16="http://schemas.microsoft.com/office/drawing/2014/main" id="{F95BB110-E641-CF8D-419E-5F98633CF758}"/>
                  </a:ext>
                </a:extLst>
              </p:cNvPr>
              <p:cNvSpPr/>
              <p:nvPr/>
            </p:nvSpPr>
            <p:spPr>
              <a:xfrm>
                <a:off x="6793324" y="5097964"/>
                <a:ext cx="417830" cy="224790"/>
              </a:xfrm>
              <a:custGeom>
                <a:avLst/>
                <a:gdLst/>
                <a:ahLst/>
                <a:cxnLst/>
                <a:rect l="l" t="t" r="r" b="b"/>
                <a:pathLst>
                  <a:path w="417829" h="224789">
                    <a:moveTo>
                      <a:pt x="128716" y="80227"/>
                    </a:moveTo>
                    <a:lnTo>
                      <a:pt x="117502" y="84552"/>
                    </a:lnTo>
                    <a:lnTo>
                      <a:pt x="4703" y="197338"/>
                    </a:lnTo>
                    <a:lnTo>
                      <a:pt x="0" y="208433"/>
                    </a:lnTo>
                    <a:lnTo>
                      <a:pt x="4317" y="219646"/>
                    </a:lnTo>
                    <a:lnTo>
                      <a:pt x="7840" y="223170"/>
                    </a:lnTo>
                    <a:lnTo>
                      <a:pt x="11942" y="224745"/>
                    </a:lnTo>
                    <a:lnTo>
                      <a:pt x="20171" y="224745"/>
                    </a:lnTo>
                    <a:lnTo>
                      <a:pt x="24273" y="223170"/>
                    </a:lnTo>
                    <a:lnTo>
                      <a:pt x="128464" y="118992"/>
                    </a:lnTo>
                    <a:lnTo>
                      <a:pt x="173872" y="118992"/>
                    </a:lnTo>
                    <a:lnTo>
                      <a:pt x="139805" y="84930"/>
                    </a:lnTo>
                    <a:lnTo>
                      <a:pt x="128716" y="80227"/>
                    </a:lnTo>
                    <a:close/>
                  </a:path>
                  <a:path w="417829" h="224789">
                    <a:moveTo>
                      <a:pt x="173872" y="118992"/>
                    </a:moveTo>
                    <a:lnTo>
                      <a:pt x="128464" y="118992"/>
                    </a:lnTo>
                    <a:lnTo>
                      <a:pt x="213453" y="203980"/>
                    </a:lnTo>
                    <a:lnTo>
                      <a:pt x="224548" y="208683"/>
                    </a:lnTo>
                    <a:lnTo>
                      <a:pt x="235761" y="204366"/>
                    </a:lnTo>
                    <a:lnTo>
                      <a:pt x="270211" y="169919"/>
                    </a:lnTo>
                    <a:lnTo>
                      <a:pt x="224806" y="169919"/>
                    </a:lnTo>
                    <a:lnTo>
                      <a:pt x="173872" y="118992"/>
                    </a:lnTo>
                    <a:close/>
                  </a:path>
                  <a:path w="417829" h="224789">
                    <a:moveTo>
                      <a:pt x="401993" y="0"/>
                    </a:moveTo>
                    <a:lnTo>
                      <a:pt x="390868" y="3907"/>
                    </a:lnTo>
                    <a:lnTo>
                      <a:pt x="224806" y="169919"/>
                    </a:lnTo>
                    <a:lnTo>
                      <a:pt x="270211" y="169919"/>
                    </a:lnTo>
                    <a:lnTo>
                      <a:pt x="412792" y="27348"/>
                    </a:lnTo>
                    <a:lnTo>
                      <a:pt x="417495" y="16253"/>
                    </a:lnTo>
                    <a:lnTo>
                      <a:pt x="413178" y="5040"/>
                    </a:lnTo>
                    <a:lnTo>
                      <a:pt x="401993" y="0"/>
                    </a:lnTo>
                    <a:close/>
                  </a:path>
                </a:pathLst>
              </a:custGeom>
              <a:grp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a:ln>
                    <a:noFill/>
                  </a:ln>
                  <a:solidFill>
                    <a:prstClr val="black"/>
                  </a:solidFill>
                  <a:effectLst/>
                  <a:uLnTx/>
                  <a:uFillTx/>
                  <a:latin typeface="Verdana" panose="020B0604030504040204" pitchFamily="34" charset="0"/>
                  <a:ea typeface="Verdana" panose="020B0604030504040204" pitchFamily="34" charset="0"/>
                  <a:cs typeface="+mn-cs"/>
                </a:endParaRPr>
              </a:p>
            </p:txBody>
          </p:sp>
        </p:grpSp>
      </p:grpSp>
      <p:grpSp>
        <p:nvGrpSpPr>
          <p:cNvPr id="727" name="Group 726">
            <a:extLst>
              <a:ext uri="{FF2B5EF4-FFF2-40B4-BE49-F238E27FC236}">
                <a16:creationId xmlns:a16="http://schemas.microsoft.com/office/drawing/2014/main" id="{AAE9C160-13CA-7BF7-221B-8CB0DC3E85BE}"/>
              </a:ext>
            </a:extLst>
          </p:cNvPr>
          <p:cNvGrpSpPr/>
          <p:nvPr/>
        </p:nvGrpSpPr>
        <p:grpSpPr>
          <a:xfrm>
            <a:off x="9492554" y="5328976"/>
            <a:ext cx="758821" cy="758821"/>
            <a:chOff x="9075902" y="6129095"/>
            <a:chExt cx="758821" cy="758821"/>
          </a:xfrm>
        </p:grpSpPr>
        <p:grpSp>
          <p:nvGrpSpPr>
            <p:cNvPr id="715" name="Group 714">
              <a:extLst>
                <a:ext uri="{FF2B5EF4-FFF2-40B4-BE49-F238E27FC236}">
                  <a16:creationId xmlns:a16="http://schemas.microsoft.com/office/drawing/2014/main" id="{27D5E67E-26A0-DD95-E4E9-727C68CBB7E9}"/>
                </a:ext>
              </a:extLst>
            </p:cNvPr>
            <p:cNvGrpSpPr/>
            <p:nvPr/>
          </p:nvGrpSpPr>
          <p:grpSpPr>
            <a:xfrm>
              <a:off x="9075902" y="6129095"/>
              <a:ext cx="758821" cy="758821"/>
              <a:chOff x="465740" y="2706207"/>
              <a:chExt cx="442310" cy="442310"/>
            </a:xfrm>
          </p:grpSpPr>
          <p:sp>
            <p:nvSpPr>
              <p:cNvPr id="723" name="Oval 722">
                <a:extLst>
                  <a:ext uri="{FF2B5EF4-FFF2-40B4-BE49-F238E27FC236}">
                    <a16:creationId xmlns:a16="http://schemas.microsoft.com/office/drawing/2014/main" id="{A7E68878-04C4-28D5-3505-BCCB498CC160}"/>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sp>
            <p:nvSpPr>
              <p:cNvPr id="724" name="Oval 723">
                <a:extLst>
                  <a:ext uri="{FF2B5EF4-FFF2-40B4-BE49-F238E27FC236}">
                    <a16:creationId xmlns:a16="http://schemas.microsoft.com/office/drawing/2014/main" id="{46B56560-FB5D-98EB-7C65-392270C9C853}"/>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sp>
            <p:nvSpPr>
              <p:cNvPr id="725" name="Oval 724">
                <a:extLst>
                  <a:ext uri="{FF2B5EF4-FFF2-40B4-BE49-F238E27FC236}">
                    <a16:creationId xmlns:a16="http://schemas.microsoft.com/office/drawing/2014/main" id="{DC997A30-927B-D7B6-28E1-630D0AF4DA49}"/>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a:ln>
                    <a:noFill/>
                  </a:ln>
                  <a:solidFill>
                    <a:srgbClr val="FFFFFF"/>
                  </a:solidFill>
                  <a:effectLst/>
                  <a:uLnTx/>
                  <a:uFillTx/>
                  <a:latin typeface="Calibri"/>
                  <a:ea typeface="+mn-ea"/>
                  <a:cs typeface="+mn-cs"/>
                </a:endParaRPr>
              </a:p>
            </p:txBody>
          </p:sp>
        </p:grpSp>
        <p:grpSp>
          <p:nvGrpSpPr>
            <p:cNvPr id="507" name="Group 506">
              <a:extLst>
                <a:ext uri="{FF2B5EF4-FFF2-40B4-BE49-F238E27FC236}">
                  <a16:creationId xmlns:a16="http://schemas.microsoft.com/office/drawing/2014/main" id="{6C65B2F2-34CD-5D21-8426-68BDD5B99E95}"/>
                </a:ext>
              </a:extLst>
            </p:cNvPr>
            <p:cNvGrpSpPr/>
            <p:nvPr/>
          </p:nvGrpSpPr>
          <p:grpSpPr>
            <a:xfrm>
              <a:off x="9265680" y="6371956"/>
              <a:ext cx="276652" cy="254947"/>
              <a:chOff x="8975605" y="5065782"/>
              <a:chExt cx="383809" cy="353695"/>
            </a:xfrm>
            <a:solidFill>
              <a:schemeClr val="bg1"/>
            </a:solidFill>
            <a:effectLst/>
          </p:grpSpPr>
          <p:sp>
            <p:nvSpPr>
              <p:cNvPr id="509" name="object 54">
                <a:extLst>
                  <a:ext uri="{FF2B5EF4-FFF2-40B4-BE49-F238E27FC236}">
                    <a16:creationId xmlns:a16="http://schemas.microsoft.com/office/drawing/2014/main" id="{109F502A-067D-ABAF-3C02-0DBFB1197678}"/>
                  </a:ext>
                </a:extLst>
              </p:cNvPr>
              <p:cNvSpPr/>
              <p:nvPr/>
            </p:nvSpPr>
            <p:spPr>
              <a:xfrm>
                <a:off x="8975605" y="5197877"/>
                <a:ext cx="187960" cy="171450"/>
              </a:xfrm>
              <a:custGeom>
                <a:avLst/>
                <a:gdLst/>
                <a:ahLst/>
                <a:cxnLst/>
                <a:rect l="l" t="t" r="r" b="b"/>
                <a:pathLst>
                  <a:path w="187959" h="171450">
                    <a:moveTo>
                      <a:pt x="57988" y="128854"/>
                    </a:moveTo>
                    <a:lnTo>
                      <a:pt x="44932" y="128854"/>
                    </a:lnTo>
                    <a:lnTo>
                      <a:pt x="39395" y="167932"/>
                    </a:lnTo>
                    <a:lnTo>
                      <a:pt x="41884" y="170510"/>
                    </a:lnTo>
                    <a:lnTo>
                      <a:pt x="45440" y="170954"/>
                    </a:lnTo>
                    <a:lnTo>
                      <a:pt x="46291" y="170751"/>
                    </a:lnTo>
                    <a:lnTo>
                      <a:pt x="49479" y="170751"/>
                    </a:lnTo>
                    <a:lnTo>
                      <a:pt x="52260" y="169392"/>
                    </a:lnTo>
                    <a:lnTo>
                      <a:pt x="57988" y="128854"/>
                    </a:lnTo>
                    <a:close/>
                  </a:path>
                  <a:path w="187959" h="171450">
                    <a:moveTo>
                      <a:pt x="131330" y="128854"/>
                    </a:moveTo>
                    <a:lnTo>
                      <a:pt x="118287" y="128854"/>
                    </a:lnTo>
                    <a:lnTo>
                      <a:pt x="113207" y="164553"/>
                    </a:lnTo>
                    <a:lnTo>
                      <a:pt x="112750" y="167932"/>
                    </a:lnTo>
                    <a:lnTo>
                      <a:pt x="115239" y="170510"/>
                    </a:lnTo>
                    <a:lnTo>
                      <a:pt x="118783" y="170954"/>
                    </a:lnTo>
                    <a:lnTo>
                      <a:pt x="119633" y="170751"/>
                    </a:lnTo>
                    <a:lnTo>
                      <a:pt x="122834" y="170751"/>
                    </a:lnTo>
                    <a:lnTo>
                      <a:pt x="125615" y="169392"/>
                    </a:lnTo>
                    <a:lnTo>
                      <a:pt x="131330" y="128854"/>
                    </a:lnTo>
                    <a:close/>
                  </a:path>
                  <a:path w="187959" h="171450">
                    <a:moveTo>
                      <a:pt x="175082" y="116522"/>
                    </a:moveTo>
                    <a:lnTo>
                      <a:pt x="2895" y="116522"/>
                    </a:lnTo>
                    <a:lnTo>
                      <a:pt x="0" y="119278"/>
                    </a:lnTo>
                    <a:lnTo>
                      <a:pt x="0" y="126098"/>
                    </a:lnTo>
                    <a:lnTo>
                      <a:pt x="2895" y="128854"/>
                    </a:lnTo>
                    <a:lnTo>
                      <a:pt x="175082" y="128854"/>
                    </a:lnTo>
                    <a:lnTo>
                      <a:pt x="177977" y="126098"/>
                    </a:lnTo>
                    <a:lnTo>
                      <a:pt x="177977" y="119278"/>
                    </a:lnTo>
                    <a:lnTo>
                      <a:pt x="175082" y="116522"/>
                    </a:lnTo>
                    <a:close/>
                  </a:path>
                  <a:path w="187959" h="171450">
                    <a:moveTo>
                      <a:pt x="67640" y="54863"/>
                    </a:moveTo>
                    <a:lnTo>
                      <a:pt x="54597" y="54863"/>
                    </a:lnTo>
                    <a:lnTo>
                      <a:pt x="46634" y="116522"/>
                    </a:lnTo>
                    <a:lnTo>
                      <a:pt x="59689" y="116522"/>
                    </a:lnTo>
                    <a:lnTo>
                      <a:pt x="67640" y="54863"/>
                    </a:lnTo>
                    <a:close/>
                  </a:path>
                  <a:path w="187959" h="171450">
                    <a:moveTo>
                      <a:pt x="140995" y="54863"/>
                    </a:moveTo>
                    <a:lnTo>
                      <a:pt x="127939" y="54863"/>
                    </a:lnTo>
                    <a:lnTo>
                      <a:pt x="119989" y="116522"/>
                    </a:lnTo>
                    <a:lnTo>
                      <a:pt x="133045" y="116522"/>
                    </a:lnTo>
                    <a:lnTo>
                      <a:pt x="140995" y="54863"/>
                    </a:lnTo>
                    <a:close/>
                  </a:path>
                  <a:path w="187959" h="171450">
                    <a:moveTo>
                      <a:pt x="184734" y="42532"/>
                    </a:moveTo>
                    <a:lnTo>
                      <a:pt x="12547" y="42532"/>
                    </a:lnTo>
                    <a:lnTo>
                      <a:pt x="9651" y="45288"/>
                    </a:lnTo>
                    <a:lnTo>
                      <a:pt x="9651" y="52108"/>
                    </a:lnTo>
                    <a:lnTo>
                      <a:pt x="12547" y="54863"/>
                    </a:lnTo>
                    <a:lnTo>
                      <a:pt x="184734" y="54863"/>
                    </a:lnTo>
                    <a:lnTo>
                      <a:pt x="187629" y="52108"/>
                    </a:lnTo>
                    <a:lnTo>
                      <a:pt x="187629" y="45288"/>
                    </a:lnTo>
                    <a:lnTo>
                      <a:pt x="184734" y="42532"/>
                    </a:lnTo>
                    <a:close/>
                  </a:path>
                  <a:path w="187959" h="171450">
                    <a:moveTo>
                      <a:pt x="65366" y="0"/>
                    </a:moveTo>
                    <a:lnTo>
                      <a:pt x="62052" y="1587"/>
                    </a:lnTo>
                    <a:lnTo>
                      <a:pt x="61594" y="4965"/>
                    </a:lnTo>
                    <a:lnTo>
                      <a:pt x="56299" y="42532"/>
                    </a:lnTo>
                    <a:lnTo>
                      <a:pt x="69341" y="42532"/>
                    </a:lnTo>
                    <a:lnTo>
                      <a:pt x="74421" y="6832"/>
                    </a:lnTo>
                    <a:lnTo>
                      <a:pt x="74879" y="3454"/>
                    </a:lnTo>
                    <a:lnTo>
                      <a:pt x="72389" y="876"/>
                    </a:lnTo>
                    <a:lnTo>
                      <a:pt x="65366" y="0"/>
                    </a:lnTo>
                    <a:close/>
                  </a:path>
                  <a:path w="187959" h="171450">
                    <a:moveTo>
                      <a:pt x="138709" y="0"/>
                    </a:moveTo>
                    <a:lnTo>
                      <a:pt x="135407" y="1587"/>
                    </a:lnTo>
                    <a:lnTo>
                      <a:pt x="129641" y="42532"/>
                    </a:lnTo>
                    <a:lnTo>
                      <a:pt x="142697" y="42532"/>
                    </a:lnTo>
                    <a:lnTo>
                      <a:pt x="148234" y="3454"/>
                    </a:lnTo>
                    <a:lnTo>
                      <a:pt x="145745" y="876"/>
                    </a:lnTo>
                    <a:lnTo>
                      <a:pt x="138709" y="0"/>
                    </a:lnTo>
                    <a:close/>
                  </a:path>
                </a:pathLst>
              </a:custGeom>
              <a:grp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10" name="object 55">
                <a:extLst>
                  <a:ext uri="{FF2B5EF4-FFF2-40B4-BE49-F238E27FC236}">
                    <a16:creationId xmlns:a16="http://schemas.microsoft.com/office/drawing/2014/main" id="{479B31B3-287C-98AE-8BF5-36055E174409}"/>
                  </a:ext>
                </a:extLst>
              </p:cNvPr>
              <p:cNvSpPr/>
              <p:nvPr/>
            </p:nvSpPr>
            <p:spPr>
              <a:xfrm>
                <a:off x="9206379" y="5065782"/>
                <a:ext cx="153035" cy="353695"/>
              </a:xfrm>
              <a:custGeom>
                <a:avLst/>
                <a:gdLst/>
                <a:ahLst/>
                <a:cxnLst/>
                <a:rect l="l" t="t" r="r" b="b"/>
                <a:pathLst>
                  <a:path w="153034" h="353695">
                    <a:moveTo>
                      <a:pt x="152984" y="60413"/>
                    </a:moveTo>
                    <a:lnTo>
                      <a:pt x="97510" y="60413"/>
                    </a:lnTo>
                    <a:lnTo>
                      <a:pt x="96817" y="70438"/>
                    </a:lnTo>
                    <a:lnTo>
                      <a:pt x="96275" y="81765"/>
                    </a:lnTo>
                    <a:lnTo>
                      <a:pt x="95880" y="94674"/>
                    </a:lnTo>
                    <a:lnTo>
                      <a:pt x="95645" y="108324"/>
                    </a:lnTo>
                    <a:lnTo>
                      <a:pt x="95554" y="353275"/>
                    </a:lnTo>
                    <a:lnTo>
                      <a:pt x="152984" y="353275"/>
                    </a:lnTo>
                    <a:lnTo>
                      <a:pt x="152984" y="60413"/>
                    </a:lnTo>
                    <a:close/>
                  </a:path>
                  <a:path w="153034" h="353695">
                    <a:moveTo>
                      <a:pt x="152984" y="0"/>
                    </a:moveTo>
                    <a:lnTo>
                      <a:pt x="105079" y="0"/>
                    </a:lnTo>
                    <a:lnTo>
                      <a:pt x="0" y="81673"/>
                    </a:lnTo>
                    <a:lnTo>
                      <a:pt x="28841" y="117678"/>
                    </a:lnTo>
                    <a:lnTo>
                      <a:pt x="73467" y="81673"/>
                    </a:lnTo>
                    <a:lnTo>
                      <a:pt x="97510" y="60413"/>
                    </a:lnTo>
                    <a:lnTo>
                      <a:pt x="152984" y="60413"/>
                    </a:lnTo>
                    <a:lnTo>
                      <a:pt x="152984" y="0"/>
                    </a:lnTo>
                    <a:close/>
                  </a:path>
                </a:pathLst>
              </a:custGeom>
              <a:grp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11" name="object 56">
                <a:extLst>
                  <a:ext uri="{FF2B5EF4-FFF2-40B4-BE49-F238E27FC236}">
                    <a16:creationId xmlns:a16="http://schemas.microsoft.com/office/drawing/2014/main" id="{90735DF9-E5B9-E172-9E4D-B6D5444C262E}"/>
                  </a:ext>
                </a:extLst>
              </p:cNvPr>
              <p:cNvSpPr/>
              <p:nvPr/>
            </p:nvSpPr>
            <p:spPr>
              <a:xfrm>
                <a:off x="9206379" y="5065782"/>
                <a:ext cx="153035" cy="353695"/>
              </a:xfrm>
              <a:custGeom>
                <a:avLst/>
                <a:gdLst/>
                <a:ahLst/>
                <a:cxnLst/>
                <a:rect l="l" t="t" r="r" b="b"/>
                <a:pathLst>
                  <a:path w="153034" h="353695">
                    <a:moveTo>
                      <a:pt x="152984" y="0"/>
                    </a:moveTo>
                    <a:lnTo>
                      <a:pt x="105079" y="0"/>
                    </a:lnTo>
                    <a:lnTo>
                      <a:pt x="0" y="81673"/>
                    </a:lnTo>
                    <a:lnTo>
                      <a:pt x="28841" y="117678"/>
                    </a:lnTo>
                    <a:lnTo>
                      <a:pt x="44384" y="105191"/>
                    </a:lnTo>
                    <a:lnTo>
                      <a:pt x="76077" y="79547"/>
                    </a:lnTo>
                    <a:lnTo>
                      <a:pt x="97510" y="60413"/>
                    </a:lnTo>
                    <a:lnTo>
                      <a:pt x="96817" y="70438"/>
                    </a:lnTo>
                    <a:lnTo>
                      <a:pt x="95555" y="123555"/>
                    </a:lnTo>
                    <a:lnTo>
                      <a:pt x="95554" y="353275"/>
                    </a:lnTo>
                    <a:lnTo>
                      <a:pt x="152984" y="353275"/>
                    </a:lnTo>
                    <a:lnTo>
                      <a:pt x="152984" y="0"/>
                    </a:lnTo>
                    <a:close/>
                  </a:path>
                </a:pathLst>
              </a:custGeom>
              <a:grpFill/>
              <a:ln w="6350">
                <a:solidFill>
                  <a:srgbClr val="FFFFFF"/>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sp>
        <p:nvSpPr>
          <p:cNvPr id="10" name="Rectangle 9">
            <a:extLst>
              <a:ext uri="{FF2B5EF4-FFF2-40B4-BE49-F238E27FC236}">
                <a16:creationId xmlns:a16="http://schemas.microsoft.com/office/drawing/2014/main" id="{836CFE60-C0F3-9C41-B48B-F6B9ACD0A208}"/>
              </a:ext>
            </a:extLst>
          </p:cNvPr>
          <p:cNvSpPr/>
          <p:nvPr/>
        </p:nvSpPr>
        <p:spPr bwMode="gray">
          <a:xfrm>
            <a:off x="4652717" y="1720154"/>
            <a:ext cx="1226660" cy="202871"/>
          </a:xfrm>
          <a:prstGeom prst="rect">
            <a:avLst/>
          </a:prstGeom>
          <a:solidFill>
            <a:srgbClr val="3BC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latin typeface="Open Sans Bold" panose="020B0806030504020204" pitchFamily="34" charset="0"/>
                <a:ea typeface="Open Sans Bold" panose="020B0806030504020204" pitchFamily="34" charset="0"/>
                <a:cs typeface="Open Sans Bold" panose="020B0806030504020204" pitchFamily="34" charset="0"/>
              </a:rPr>
              <a:t>Americas</a:t>
            </a:r>
          </a:p>
        </p:txBody>
      </p:sp>
      <p:grpSp>
        <p:nvGrpSpPr>
          <p:cNvPr id="9" name="Group 8">
            <a:extLst>
              <a:ext uri="{FF2B5EF4-FFF2-40B4-BE49-F238E27FC236}">
                <a16:creationId xmlns:a16="http://schemas.microsoft.com/office/drawing/2014/main" id="{5F1C8B9A-F6A5-DFB5-604E-250E975053CB}"/>
              </a:ext>
            </a:extLst>
          </p:cNvPr>
          <p:cNvGrpSpPr/>
          <p:nvPr/>
        </p:nvGrpSpPr>
        <p:grpSpPr>
          <a:xfrm>
            <a:off x="7565940" y="1720154"/>
            <a:ext cx="1226660" cy="2770766"/>
            <a:chOff x="6108615" y="1720154"/>
            <a:chExt cx="1226660" cy="2770766"/>
          </a:xfrm>
        </p:grpSpPr>
        <p:sp>
          <p:nvSpPr>
            <p:cNvPr id="517" name="object 19">
              <a:extLst>
                <a:ext uri="{FF2B5EF4-FFF2-40B4-BE49-F238E27FC236}">
                  <a16:creationId xmlns:a16="http://schemas.microsoft.com/office/drawing/2014/main" id="{DD0672E5-5EF9-C074-C449-EFF24CED342C}"/>
                </a:ext>
              </a:extLst>
            </p:cNvPr>
            <p:cNvSpPr txBox="1"/>
            <p:nvPr/>
          </p:nvSpPr>
          <p:spPr>
            <a:xfrm>
              <a:off x="6450151" y="2695729"/>
              <a:ext cx="554639" cy="487313"/>
            </a:xfrm>
            <a:prstGeom prst="rect">
              <a:avLst/>
            </a:prstGeom>
          </p:spPr>
          <p:txBody>
            <a:bodyPr vert="horz" wrap="none" lIns="0" tIns="0" rIns="0" bIns="0" rtlCol="0">
              <a:spAutoFit/>
            </a:bodyPr>
            <a:lstStyle/>
            <a:p>
              <a:pPr marL="12700"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13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3</a:t>
              </a:r>
              <a:r>
                <a:rPr kumimoji="0" lang="en-US" sz="2800" b="1" i="0" u="none" strike="noStrike" kern="1200" cap="none" spc="-22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18</a:t>
              </a:r>
              <a:endPar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3937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fi</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p>
          </p:txBody>
        </p:sp>
        <p:sp>
          <p:nvSpPr>
            <p:cNvPr id="518" name="object 20">
              <a:extLst>
                <a:ext uri="{FF2B5EF4-FFF2-40B4-BE49-F238E27FC236}">
                  <a16:creationId xmlns:a16="http://schemas.microsoft.com/office/drawing/2014/main" id="{7D10C710-4548-72E1-A41B-83481895A1B2}"/>
                </a:ext>
              </a:extLst>
            </p:cNvPr>
            <p:cNvSpPr txBox="1"/>
            <p:nvPr/>
          </p:nvSpPr>
          <p:spPr>
            <a:xfrm>
              <a:off x="6487319" y="4003607"/>
              <a:ext cx="480260" cy="487313"/>
            </a:xfrm>
            <a:prstGeom prst="rect">
              <a:avLst/>
            </a:prstGeom>
          </p:spPr>
          <p:txBody>
            <a:bodyPr vert="horz" wrap="none" lIns="0" tIns="0" rIns="0" bIns="0" rtlCol="0">
              <a:spAutoFit/>
            </a:bodyPr>
            <a:lstStyle/>
            <a:p>
              <a:pPr marL="0" marR="2032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24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51</a:t>
              </a:r>
              <a:endPar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e</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endPar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588" name="Graphic 4">
              <a:extLst>
                <a:ext uri="{FF2B5EF4-FFF2-40B4-BE49-F238E27FC236}">
                  <a16:creationId xmlns:a16="http://schemas.microsoft.com/office/drawing/2014/main" id="{4A52D63E-8E72-E45A-60D6-EDE442AA5B06}"/>
                </a:ext>
              </a:extLst>
            </p:cNvPr>
            <p:cNvGrpSpPr>
              <a:grpSpLocks noChangeAspect="1"/>
            </p:cNvGrpSpPr>
            <p:nvPr/>
          </p:nvGrpSpPr>
          <p:grpSpPr>
            <a:xfrm>
              <a:off x="6580891" y="2285747"/>
              <a:ext cx="293158" cy="234133"/>
              <a:chOff x="1589177" y="2466933"/>
              <a:chExt cx="213423" cy="170452"/>
            </a:xfrm>
            <a:solidFill>
              <a:srgbClr val="00B0F2"/>
            </a:solidFill>
          </p:grpSpPr>
          <p:sp>
            <p:nvSpPr>
              <p:cNvPr id="589" name="Graphic 4">
                <a:extLst>
                  <a:ext uri="{FF2B5EF4-FFF2-40B4-BE49-F238E27FC236}">
                    <a16:creationId xmlns:a16="http://schemas.microsoft.com/office/drawing/2014/main" id="{6206514A-59FC-CBC0-0CE9-CDA6C906BEE4}"/>
                  </a:ext>
                </a:extLst>
              </p:cNvPr>
              <p:cNvSpPr/>
              <p:nvPr/>
            </p:nvSpPr>
            <p:spPr>
              <a:xfrm>
                <a:off x="1589177" y="2466933"/>
                <a:ext cx="213423" cy="170452"/>
              </a:xfrm>
              <a:custGeom>
                <a:avLst/>
                <a:gdLst>
                  <a:gd name="connsiteX0" fmla="*/ 207034 w 213423"/>
                  <a:gd name="connsiteY0" fmla="*/ 14045 h 170452"/>
                  <a:gd name="connsiteX1" fmla="*/ 170611 w 213423"/>
                  <a:gd name="connsiteY1" fmla="*/ 14045 h 170452"/>
                  <a:gd name="connsiteX2" fmla="*/ 170611 w 213423"/>
                  <a:gd name="connsiteY2" fmla="*/ 6384 h 170452"/>
                  <a:gd name="connsiteX3" fmla="*/ 164221 w 213423"/>
                  <a:gd name="connsiteY3" fmla="*/ 0 h 170452"/>
                  <a:gd name="connsiteX4" fmla="*/ 49202 w 213423"/>
                  <a:gd name="connsiteY4" fmla="*/ 0 h 170452"/>
                  <a:gd name="connsiteX5" fmla="*/ 42813 w 213423"/>
                  <a:gd name="connsiteY5" fmla="*/ 6384 h 170452"/>
                  <a:gd name="connsiteX6" fmla="*/ 42813 w 213423"/>
                  <a:gd name="connsiteY6" fmla="*/ 14045 h 170452"/>
                  <a:gd name="connsiteX7" fmla="*/ 6390 w 213423"/>
                  <a:gd name="connsiteY7" fmla="*/ 14045 h 170452"/>
                  <a:gd name="connsiteX8" fmla="*/ 0 w 213423"/>
                  <a:gd name="connsiteY8" fmla="*/ 20429 h 170452"/>
                  <a:gd name="connsiteX9" fmla="*/ 0 w 213423"/>
                  <a:gd name="connsiteY9" fmla="*/ 164068 h 170452"/>
                  <a:gd name="connsiteX10" fmla="*/ 6390 w 213423"/>
                  <a:gd name="connsiteY10" fmla="*/ 170452 h 170452"/>
                  <a:gd name="connsiteX11" fmla="*/ 207034 w 213423"/>
                  <a:gd name="connsiteY11" fmla="*/ 170452 h 170452"/>
                  <a:gd name="connsiteX12" fmla="*/ 213424 w 213423"/>
                  <a:gd name="connsiteY12" fmla="*/ 164068 h 170452"/>
                  <a:gd name="connsiteX13" fmla="*/ 213424 w 213423"/>
                  <a:gd name="connsiteY13" fmla="*/ 20429 h 170452"/>
                  <a:gd name="connsiteX14" fmla="*/ 207034 w 213423"/>
                  <a:gd name="connsiteY14" fmla="*/ 14045 h 170452"/>
                  <a:gd name="connsiteX15" fmla="*/ 98405 w 213423"/>
                  <a:gd name="connsiteY15" fmla="*/ 157684 h 170452"/>
                  <a:gd name="connsiteX16" fmla="*/ 98405 w 213423"/>
                  <a:gd name="connsiteY16" fmla="*/ 112997 h 170452"/>
                  <a:gd name="connsiteX17" fmla="*/ 114380 w 213423"/>
                  <a:gd name="connsiteY17" fmla="*/ 112997 h 170452"/>
                  <a:gd name="connsiteX18" fmla="*/ 114380 w 213423"/>
                  <a:gd name="connsiteY18" fmla="*/ 157684 h 170452"/>
                  <a:gd name="connsiteX19" fmla="*/ 98405 w 213423"/>
                  <a:gd name="connsiteY19" fmla="*/ 157684 h 170452"/>
                  <a:gd name="connsiteX20" fmla="*/ 200644 w 213423"/>
                  <a:gd name="connsiteY20" fmla="*/ 157684 h 170452"/>
                  <a:gd name="connsiteX21" fmla="*/ 127160 w 213423"/>
                  <a:gd name="connsiteY21" fmla="*/ 157684 h 170452"/>
                  <a:gd name="connsiteX22" fmla="*/ 127160 w 213423"/>
                  <a:gd name="connsiteY22" fmla="*/ 106613 h 170452"/>
                  <a:gd name="connsiteX23" fmla="*/ 120770 w 213423"/>
                  <a:gd name="connsiteY23" fmla="*/ 100229 h 170452"/>
                  <a:gd name="connsiteX24" fmla="*/ 92015 w 213423"/>
                  <a:gd name="connsiteY24" fmla="*/ 100229 h 170452"/>
                  <a:gd name="connsiteX25" fmla="*/ 85625 w 213423"/>
                  <a:gd name="connsiteY25" fmla="*/ 106613 h 170452"/>
                  <a:gd name="connsiteX26" fmla="*/ 85625 w 213423"/>
                  <a:gd name="connsiteY26" fmla="*/ 157684 h 170452"/>
                  <a:gd name="connsiteX27" fmla="*/ 12141 w 213423"/>
                  <a:gd name="connsiteY27" fmla="*/ 157684 h 170452"/>
                  <a:gd name="connsiteX28" fmla="*/ 12141 w 213423"/>
                  <a:gd name="connsiteY28" fmla="*/ 26813 h 170452"/>
                  <a:gd name="connsiteX29" fmla="*/ 48563 w 213423"/>
                  <a:gd name="connsiteY29" fmla="*/ 26813 h 170452"/>
                  <a:gd name="connsiteX30" fmla="*/ 54953 w 213423"/>
                  <a:gd name="connsiteY30" fmla="*/ 20429 h 170452"/>
                  <a:gd name="connsiteX31" fmla="*/ 54953 w 213423"/>
                  <a:gd name="connsiteY31" fmla="*/ 12768 h 170452"/>
                  <a:gd name="connsiteX32" fmla="*/ 157192 w 213423"/>
                  <a:gd name="connsiteY32" fmla="*/ 12768 h 170452"/>
                  <a:gd name="connsiteX33" fmla="*/ 157192 w 213423"/>
                  <a:gd name="connsiteY33" fmla="*/ 20429 h 170452"/>
                  <a:gd name="connsiteX34" fmla="*/ 163582 w 213423"/>
                  <a:gd name="connsiteY34" fmla="*/ 26813 h 170452"/>
                  <a:gd name="connsiteX35" fmla="*/ 200005 w 213423"/>
                  <a:gd name="connsiteY35" fmla="*/ 26813 h 170452"/>
                  <a:gd name="connsiteX36" fmla="*/ 200644 w 213423"/>
                  <a:gd name="connsiteY36" fmla="*/ 157684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3423" h="170452">
                    <a:moveTo>
                      <a:pt x="207034" y="14045"/>
                    </a:moveTo>
                    <a:lnTo>
                      <a:pt x="170611" y="14045"/>
                    </a:lnTo>
                    <a:lnTo>
                      <a:pt x="170611" y="6384"/>
                    </a:lnTo>
                    <a:cubicBezTo>
                      <a:pt x="170611" y="2554"/>
                      <a:pt x="168055" y="0"/>
                      <a:pt x="164221" y="0"/>
                    </a:cubicBezTo>
                    <a:lnTo>
                      <a:pt x="49202" y="0"/>
                    </a:lnTo>
                    <a:cubicBezTo>
                      <a:pt x="45369" y="0"/>
                      <a:pt x="42813" y="2554"/>
                      <a:pt x="42813" y="6384"/>
                    </a:cubicBezTo>
                    <a:lnTo>
                      <a:pt x="42813" y="14045"/>
                    </a:lnTo>
                    <a:lnTo>
                      <a:pt x="6390" y="14045"/>
                    </a:lnTo>
                    <a:cubicBezTo>
                      <a:pt x="2556" y="14045"/>
                      <a:pt x="0" y="16598"/>
                      <a:pt x="0" y="20429"/>
                    </a:cubicBezTo>
                    <a:lnTo>
                      <a:pt x="0" y="164068"/>
                    </a:lnTo>
                    <a:cubicBezTo>
                      <a:pt x="0" y="167899"/>
                      <a:pt x="2556" y="170452"/>
                      <a:pt x="6390" y="170452"/>
                    </a:cubicBezTo>
                    <a:lnTo>
                      <a:pt x="207034" y="170452"/>
                    </a:lnTo>
                    <a:cubicBezTo>
                      <a:pt x="210868" y="170452"/>
                      <a:pt x="213424" y="167899"/>
                      <a:pt x="213424" y="164068"/>
                    </a:cubicBezTo>
                    <a:lnTo>
                      <a:pt x="213424" y="20429"/>
                    </a:lnTo>
                    <a:cubicBezTo>
                      <a:pt x="213424" y="17237"/>
                      <a:pt x="210868" y="14045"/>
                      <a:pt x="207034" y="14045"/>
                    </a:cubicBezTo>
                    <a:close/>
                    <a:moveTo>
                      <a:pt x="98405" y="157684"/>
                    </a:moveTo>
                    <a:lnTo>
                      <a:pt x="98405" y="112997"/>
                    </a:lnTo>
                    <a:lnTo>
                      <a:pt x="114380" y="112997"/>
                    </a:lnTo>
                    <a:lnTo>
                      <a:pt x="114380" y="157684"/>
                    </a:lnTo>
                    <a:lnTo>
                      <a:pt x="98405" y="157684"/>
                    </a:lnTo>
                    <a:close/>
                    <a:moveTo>
                      <a:pt x="200644" y="157684"/>
                    </a:moveTo>
                    <a:lnTo>
                      <a:pt x="127160" y="157684"/>
                    </a:lnTo>
                    <a:lnTo>
                      <a:pt x="127160" y="106613"/>
                    </a:lnTo>
                    <a:cubicBezTo>
                      <a:pt x="127160" y="102782"/>
                      <a:pt x="124604" y="100229"/>
                      <a:pt x="120770" y="100229"/>
                    </a:cubicBezTo>
                    <a:lnTo>
                      <a:pt x="92015" y="100229"/>
                    </a:lnTo>
                    <a:cubicBezTo>
                      <a:pt x="88181" y="100229"/>
                      <a:pt x="85625" y="102782"/>
                      <a:pt x="85625" y="106613"/>
                    </a:cubicBezTo>
                    <a:lnTo>
                      <a:pt x="85625" y="157684"/>
                    </a:lnTo>
                    <a:lnTo>
                      <a:pt x="12141" y="157684"/>
                    </a:lnTo>
                    <a:lnTo>
                      <a:pt x="12141" y="26813"/>
                    </a:lnTo>
                    <a:lnTo>
                      <a:pt x="48563" y="26813"/>
                    </a:lnTo>
                    <a:cubicBezTo>
                      <a:pt x="52397" y="26813"/>
                      <a:pt x="54953" y="24259"/>
                      <a:pt x="54953" y="20429"/>
                    </a:cubicBezTo>
                    <a:lnTo>
                      <a:pt x="54953" y="12768"/>
                    </a:lnTo>
                    <a:lnTo>
                      <a:pt x="157192" y="12768"/>
                    </a:lnTo>
                    <a:lnTo>
                      <a:pt x="157192" y="20429"/>
                    </a:lnTo>
                    <a:cubicBezTo>
                      <a:pt x="157192" y="24259"/>
                      <a:pt x="159749" y="26813"/>
                      <a:pt x="163582" y="26813"/>
                    </a:cubicBezTo>
                    <a:lnTo>
                      <a:pt x="200005" y="26813"/>
                    </a:lnTo>
                    <a:lnTo>
                      <a:pt x="200644" y="157684"/>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0" name="Graphic 4">
                <a:extLst>
                  <a:ext uri="{FF2B5EF4-FFF2-40B4-BE49-F238E27FC236}">
                    <a16:creationId xmlns:a16="http://schemas.microsoft.com/office/drawing/2014/main" id="{607A1FAD-DC77-25E2-9314-CCDA9766DA70}"/>
                  </a:ext>
                </a:extLst>
              </p:cNvPr>
              <p:cNvSpPr/>
              <p:nvPr/>
            </p:nvSpPr>
            <p:spPr>
              <a:xfrm>
                <a:off x="1761066" y="2595863"/>
                <a:ext cx="12779" cy="12644"/>
              </a:xfrm>
              <a:custGeom>
                <a:avLst/>
                <a:gdLst>
                  <a:gd name="connsiteX0" fmla="*/ 1917 w 12779"/>
                  <a:gd name="connsiteY0" fmla="*/ 10879 h 12644"/>
                  <a:gd name="connsiteX1" fmla="*/ 3834 w 12779"/>
                  <a:gd name="connsiteY1" fmla="*/ 12155 h 12644"/>
                  <a:gd name="connsiteX2" fmla="*/ 12141 w 12779"/>
                  <a:gd name="connsiteY2" fmla="*/ 8963 h 12644"/>
                  <a:gd name="connsiteX3" fmla="*/ 12780 w 12779"/>
                  <a:gd name="connsiteY3" fmla="*/ 6410 h 12644"/>
                  <a:gd name="connsiteX4" fmla="*/ 12141 w 12779"/>
                  <a:gd name="connsiteY4" fmla="*/ 3856 h 12644"/>
                  <a:gd name="connsiteX5" fmla="*/ 10863 w 12779"/>
                  <a:gd name="connsiteY5" fmla="*/ 1941 h 12644"/>
                  <a:gd name="connsiteX6" fmla="*/ 3834 w 12779"/>
                  <a:gd name="connsiteY6" fmla="*/ 664 h 12644"/>
                  <a:gd name="connsiteX7" fmla="*/ 1917 w 12779"/>
                  <a:gd name="connsiteY7" fmla="*/ 1941 h 12644"/>
                  <a:gd name="connsiteX8" fmla="*/ 639 w 12779"/>
                  <a:gd name="connsiteY8" fmla="*/ 3856 h 12644"/>
                  <a:gd name="connsiteX9" fmla="*/ 0 w 12779"/>
                  <a:gd name="connsiteY9" fmla="*/ 6410 h 12644"/>
                  <a:gd name="connsiteX10" fmla="*/ 1917 w 12779"/>
                  <a:gd name="connsiteY10" fmla="*/ 10879 h 12644"/>
                  <a:gd name="connsiteX11" fmla="*/ 1917 w 12779"/>
                  <a:gd name="connsiteY11" fmla="*/ 10879 h 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44">
                    <a:moveTo>
                      <a:pt x="1917" y="10879"/>
                    </a:moveTo>
                    <a:cubicBezTo>
                      <a:pt x="2556" y="11517"/>
                      <a:pt x="3195" y="12155"/>
                      <a:pt x="3834" y="12155"/>
                    </a:cubicBezTo>
                    <a:cubicBezTo>
                      <a:pt x="7029" y="13432"/>
                      <a:pt x="10863" y="12155"/>
                      <a:pt x="12141" y="8963"/>
                    </a:cubicBezTo>
                    <a:cubicBezTo>
                      <a:pt x="12780" y="8325"/>
                      <a:pt x="12780" y="7687"/>
                      <a:pt x="12780" y="6410"/>
                    </a:cubicBezTo>
                    <a:cubicBezTo>
                      <a:pt x="12780" y="5771"/>
                      <a:pt x="12780" y="4495"/>
                      <a:pt x="12141" y="3856"/>
                    </a:cubicBezTo>
                    <a:cubicBezTo>
                      <a:pt x="12141" y="3218"/>
                      <a:pt x="11502" y="2579"/>
                      <a:pt x="10863" y="1941"/>
                    </a:cubicBezTo>
                    <a:cubicBezTo>
                      <a:pt x="8946" y="26"/>
                      <a:pt x="6390" y="-613"/>
                      <a:pt x="3834" y="664"/>
                    </a:cubicBezTo>
                    <a:cubicBezTo>
                      <a:pt x="3195" y="1303"/>
                      <a:pt x="2556" y="1303"/>
                      <a:pt x="1917" y="1941"/>
                    </a:cubicBezTo>
                    <a:cubicBezTo>
                      <a:pt x="1278" y="2579"/>
                      <a:pt x="639" y="3218"/>
                      <a:pt x="639" y="3856"/>
                    </a:cubicBezTo>
                    <a:cubicBezTo>
                      <a:pt x="0" y="4495"/>
                      <a:pt x="0" y="5771"/>
                      <a:pt x="0" y="6410"/>
                    </a:cubicBezTo>
                    <a:cubicBezTo>
                      <a:pt x="0" y="8325"/>
                      <a:pt x="639" y="9602"/>
                      <a:pt x="1917" y="10879"/>
                    </a:cubicBezTo>
                    <a:lnTo>
                      <a:pt x="1917" y="10879"/>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1" name="Graphic 4">
                <a:extLst>
                  <a:ext uri="{FF2B5EF4-FFF2-40B4-BE49-F238E27FC236}">
                    <a16:creationId xmlns:a16="http://schemas.microsoft.com/office/drawing/2014/main" id="{C4D9CEFB-5D44-767E-B95E-86293496FA76}"/>
                  </a:ext>
                </a:extLst>
              </p:cNvPr>
              <p:cNvSpPr/>
              <p:nvPr/>
            </p:nvSpPr>
            <p:spPr>
              <a:xfrm>
                <a:off x="1732461" y="2567161"/>
                <a:ext cx="12630" cy="12608"/>
              </a:xfrm>
              <a:custGeom>
                <a:avLst/>
                <a:gdLst>
                  <a:gd name="connsiteX0" fmla="*/ 10075 w 12630"/>
                  <a:gd name="connsiteY0" fmla="*/ 1277 h 12608"/>
                  <a:gd name="connsiteX1" fmla="*/ 8797 w 12630"/>
                  <a:gd name="connsiteY1" fmla="*/ 638 h 12608"/>
                  <a:gd name="connsiteX2" fmla="*/ 7519 w 12630"/>
                  <a:gd name="connsiteY2" fmla="*/ 0 h 12608"/>
                  <a:gd name="connsiteX3" fmla="*/ 3685 w 12630"/>
                  <a:gd name="connsiteY3" fmla="*/ 638 h 12608"/>
                  <a:gd name="connsiteX4" fmla="*/ 2407 w 12630"/>
                  <a:gd name="connsiteY4" fmla="*/ 1277 h 12608"/>
                  <a:gd name="connsiteX5" fmla="*/ 1768 w 12630"/>
                  <a:gd name="connsiteY5" fmla="*/ 1915 h 12608"/>
                  <a:gd name="connsiteX6" fmla="*/ 490 w 12630"/>
                  <a:gd name="connsiteY6" fmla="*/ 3830 h 12608"/>
                  <a:gd name="connsiteX7" fmla="*/ 3685 w 12630"/>
                  <a:gd name="connsiteY7" fmla="*/ 12130 h 12608"/>
                  <a:gd name="connsiteX8" fmla="*/ 8797 w 12630"/>
                  <a:gd name="connsiteY8" fmla="*/ 12130 h 12608"/>
                  <a:gd name="connsiteX9" fmla="*/ 10714 w 12630"/>
                  <a:gd name="connsiteY9" fmla="*/ 10853 h 12608"/>
                  <a:gd name="connsiteX10" fmla="*/ 12631 w 12630"/>
                  <a:gd name="connsiteY10" fmla="*/ 6384 h 12608"/>
                  <a:gd name="connsiteX11" fmla="*/ 10714 w 12630"/>
                  <a:gd name="connsiteY11" fmla="*/ 1915 h 12608"/>
                  <a:gd name="connsiteX12" fmla="*/ 10075 w 12630"/>
                  <a:gd name="connsiteY12" fmla="*/ 1277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 h="12608">
                    <a:moveTo>
                      <a:pt x="10075" y="1277"/>
                    </a:moveTo>
                    <a:lnTo>
                      <a:pt x="8797" y="638"/>
                    </a:lnTo>
                    <a:lnTo>
                      <a:pt x="7519" y="0"/>
                    </a:lnTo>
                    <a:cubicBezTo>
                      <a:pt x="6241" y="0"/>
                      <a:pt x="4963" y="0"/>
                      <a:pt x="3685" y="638"/>
                    </a:cubicBezTo>
                    <a:lnTo>
                      <a:pt x="2407" y="1277"/>
                    </a:lnTo>
                    <a:lnTo>
                      <a:pt x="1768" y="1915"/>
                    </a:lnTo>
                    <a:cubicBezTo>
                      <a:pt x="1129" y="2554"/>
                      <a:pt x="490" y="3192"/>
                      <a:pt x="490" y="3830"/>
                    </a:cubicBezTo>
                    <a:cubicBezTo>
                      <a:pt x="-788" y="7022"/>
                      <a:pt x="490" y="10853"/>
                      <a:pt x="3685" y="12130"/>
                    </a:cubicBezTo>
                    <a:cubicBezTo>
                      <a:pt x="4963" y="12768"/>
                      <a:pt x="6880" y="12768"/>
                      <a:pt x="8797" y="12130"/>
                    </a:cubicBezTo>
                    <a:cubicBezTo>
                      <a:pt x="9436" y="12130"/>
                      <a:pt x="10075" y="11491"/>
                      <a:pt x="10714" y="10853"/>
                    </a:cubicBezTo>
                    <a:cubicBezTo>
                      <a:pt x="11992" y="9576"/>
                      <a:pt x="12631" y="8299"/>
                      <a:pt x="12631" y="6384"/>
                    </a:cubicBezTo>
                    <a:cubicBezTo>
                      <a:pt x="12631" y="4469"/>
                      <a:pt x="11992" y="3192"/>
                      <a:pt x="10714" y="1915"/>
                    </a:cubicBezTo>
                    <a:cubicBezTo>
                      <a:pt x="10714" y="1277"/>
                      <a:pt x="10075" y="1277"/>
                      <a:pt x="10075"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2" name="Graphic 4">
                <a:extLst>
                  <a:ext uri="{FF2B5EF4-FFF2-40B4-BE49-F238E27FC236}">
                    <a16:creationId xmlns:a16="http://schemas.microsoft.com/office/drawing/2014/main" id="{18C9F480-2AFC-4B45-172F-7242F1A7CB0E}"/>
                  </a:ext>
                </a:extLst>
              </p:cNvPr>
              <p:cNvSpPr/>
              <p:nvPr/>
            </p:nvSpPr>
            <p:spPr>
              <a:xfrm>
                <a:off x="1761066" y="2567161"/>
                <a:ext cx="12779" cy="12768"/>
              </a:xfrm>
              <a:custGeom>
                <a:avLst/>
                <a:gdLst>
                  <a:gd name="connsiteX0" fmla="*/ 6390 w 12779"/>
                  <a:gd name="connsiteY0" fmla="*/ 12768 h 12768"/>
                  <a:gd name="connsiteX1" fmla="*/ 12141 w 12779"/>
                  <a:gd name="connsiteY1" fmla="*/ 8938 h 12768"/>
                  <a:gd name="connsiteX2" fmla="*/ 12780 w 12779"/>
                  <a:gd name="connsiteY2" fmla="*/ 6384 h 12768"/>
                  <a:gd name="connsiteX3" fmla="*/ 10863 w 12779"/>
                  <a:gd name="connsiteY3" fmla="*/ 1915 h 12768"/>
                  <a:gd name="connsiteX4" fmla="*/ 1917 w 12779"/>
                  <a:gd name="connsiteY4" fmla="*/ 1915 h 12768"/>
                  <a:gd name="connsiteX5" fmla="*/ 1917 w 12779"/>
                  <a:gd name="connsiteY5" fmla="*/ 1915 h 12768"/>
                  <a:gd name="connsiteX6" fmla="*/ 0 w 12779"/>
                  <a:gd name="connsiteY6" fmla="*/ 6384 h 12768"/>
                  <a:gd name="connsiteX7" fmla="*/ 6390 w 12779"/>
                  <a:gd name="connsiteY7" fmla="*/ 12768 h 12768"/>
                  <a:gd name="connsiteX8" fmla="*/ 6390 w 12779"/>
                  <a:gd name="connsiteY8"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6390" y="12768"/>
                    </a:moveTo>
                    <a:cubicBezTo>
                      <a:pt x="8946" y="12768"/>
                      <a:pt x="11502" y="11491"/>
                      <a:pt x="12141" y="8938"/>
                    </a:cubicBezTo>
                    <a:cubicBezTo>
                      <a:pt x="12780" y="8299"/>
                      <a:pt x="12780" y="7022"/>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3" name="Graphic 4">
                <a:extLst>
                  <a:ext uri="{FF2B5EF4-FFF2-40B4-BE49-F238E27FC236}">
                    <a16:creationId xmlns:a16="http://schemas.microsoft.com/office/drawing/2014/main" id="{F573FE03-5542-6B3A-76F0-2FD39FE291D5}"/>
                  </a:ext>
                </a:extLst>
              </p:cNvPr>
              <p:cNvSpPr/>
              <p:nvPr/>
            </p:nvSpPr>
            <p:spPr>
              <a:xfrm>
                <a:off x="1732311"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4" name="Graphic 4">
                <a:extLst>
                  <a:ext uri="{FF2B5EF4-FFF2-40B4-BE49-F238E27FC236}">
                    <a16:creationId xmlns:a16="http://schemas.microsoft.com/office/drawing/2014/main" id="{ED226272-47B8-B362-A301-D8F2DB93084A}"/>
                  </a:ext>
                </a:extLst>
              </p:cNvPr>
              <p:cNvSpPr/>
              <p:nvPr/>
            </p:nvSpPr>
            <p:spPr>
              <a:xfrm>
                <a:off x="1617442" y="2567161"/>
                <a:ext cx="12630" cy="12768"/>
              </a:xfrm>
              <a:custGeom>
                <a:avLst/>
                <a:gdLst>
                  <a:gd name="connsiteX0" fmla="*/ 1768 w 12630"/>
                  <a:gd name="connsiteY0" fmla="*/ 1915 h 12768"/>
                  <a:gd name="connsiteX1" fmla="*/ 490 w 12630"/>
                  <a:gd name="connsiteY1" fmla="*/ 3830 h 12768"/>
                  <a:gd name="connsiteX2" fmla="*/ 3685 w 12630"/>
                  <a:gd name="connsiteY2" fmla="*/ 12130 h 12768"/>
                  <a:gd name="connsiteX3" fmla="*/ 6241 w 12630"/>
                  <a:gd name="connsiteY3" fmla="*/ 12768 h 12768"/>
                  <a:gd name="connsiteX4" fmla="*/ 10714 w 12630"/>
                  <a:gd name="connsiteY4" fmla="*/ 10853 h 12768"/>
                  <a:gd name="connsiteX5" fmla="*/ 12631 w 12630"/>
                  <a:gd name="connsiteY5" fmla="*/ 6384 h 12768"/>
                  <a:gd name="connsiteX6" fmla="*/ 10714 w 12630"/>
                  <a:gd name="connsiteY6" fmla="*/ 1915 h 12768"/>
                  <a:gd name="connsiteX7" fmla="*/ 1768 w 12630"/>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8">
                    <a:moveTo>
                      <a:pt x="1768" y="1915"/>
                    </a:moveTo>
                    <a:cubicBezTo>
                      <a:pt x="1129" y="2554"/>
                      <a:pt x="490" y="3192"/>
                      <a:pt x="490" y="3830"/>
                    </a:cubicBezTo>
                    <a:cubicBezTo>
                      <a:pt x="-788" y="7022"/>
                      <a:pt x="490" y="10853"/>
                      <a:pt x="3685" y="12130"/>
                    </a:cubicBezTo>
                    <a:cubicBezTo>
                      <a:pt x="4324" y="12768"/>
                      <a:pt x="5602" y="12768"/>
                      <a:pt x="6241" y="12768"/>
                    </a:cubicBezTo>
                    <a:cubicBezTo>
                      <a:pt x="8158" y="12768"/>
                      <a:pt x="9436" y="12130"/>
                      <a:pt x="10714" y="10853"/>
                    </a:cubicBezTo>
                    <a:cubicBezTo>
                      <a:pt x="11992" y="9576"/>
                      <a:pt x="12631" y="8299"/>
                      <a:pt x="12631" y="6384"/>
                    </a:cubicBezTo>
                    <a:cubicBezTo>
                      <a:pt x="12631" y="4469"/>
                      <a:pt x="11992" y="3192"/>
                      <a:pt x="10714" y="1915"/>
                    </a:cubicBezTo>
                    <a:cubicBezTo>
                      <a:pt x="8797" y="-638"/>
                      <a:pt x="4324" y="-638"/>
                      <a:pt x="1768"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5" name="Graphic 4">
                <a:extLst>
                  <a:ext uri="{FF2B5EF4-FFF2-40B4-BE49-F238E27FC236}">
                    <a16:creationId xmlns:a16="http://schemas.microsoft.com/office/drawing/2014/main" id="{8D70D3CD-6D00-1454-5299-934AE4F8232F}"/>
                  </a:ext>
                </a:extLst>
              </p:cNvPr>
              <p:cNvSpPr/>
              <p:nvPr/>
            </p:nvSpPr>
            <p:spPr>
              <a:xfrm>
                <a:off x="1646686" y="2595863"/>
                <a:ext cx="12779" cy="12793"/>
              </a:xfrm>
              <a:custGeom>
                <a:avLst/>
                <a:gdLst>
                  <a:gd name="connsiteX0" fmla="*/ 10863 w 12779"/>
                  <a:gd name="connsiteY0" fmla="*/ 1941 h 12793"/>
                  <a:gd name="connsiteX1" fmla="*/ 8946 w 12779"/>
                  <a:gd name="connsiteY1" fmla="*/ 664 h 12793"/>
                  <a:gd name="connsiteX2" fmla="*/ 1917 w 12779"/>
                  <a:gd name="connsiteY2" fmla="*/ 1941 h 12793"/>
                  <a:gd name="connsiteX3" fmla="*/ 639 w 12779"/>
                  <a:gd name="connsiteY3" fmla="*/ 3856 h 12793"/>
                  <a:gd name="connsiteX4" fmla="*/ 0 w 12779"/>
                  <a:gd name="connsiteY4" fmla="*/ 6410 h 12793"/>
                  <a:gd name="connsiteX5" fmla="*/ 6390 w 12779"/>
                  <a:gd name="connsiteY5" fmla="*/ 12794 h 12793"/>
                  <a:gd name="connsiteX6" fmla="*/ 10863 w 12779"/>
                  <a:gd name="connsiteY6" fmla="*/ 10879 h 12793"/>
                  <a:gd name="connsiteX7" fmla="*/ 12141 w 12779"/>
                  <a:gd name="connsiteY7" fmla="*/ 8963 h 12793"/>
                  <a:gd name="connsiteX8" fmla="*/ 12780 w 12779"/>
                  <a:gd name="connsiteY8" fmla="*/ 6410 h 12793"/>
                  <a:gd name="connsiteX9" fmla="*/ 12141 w 12779"/>
                  <a:gd name="connsiteY9" fmla="*/ 3856 h 12793"/>
                  <a:gd name="connsiteX10" fmla="*/ 10863 w 12779"/>
                  <a:gd name="connsiteY10" fmla="*/ 1941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93">
                    <a:moveTo>
                      <a:pt x="10863" y="1941"/>
                    </a:moveTo>
                    <a:cubicBezTo>
                      <a:pt x="10224" y="1303"/>
                      <a:pt x="9585" y="664"/>
                      <a:pt x="8946" y="664"/>
                    </a:cubicBezTo>
                    <a:cubicBezTo>
                      <a:pt x="6390" y="-613"/>
                      <a:pt x="3834" y="26"/>
                      <a:pt x="1917" y="1941"/>
                    </a:cubicBezTo>
                    <a:cubicBezTo>
                      <a:pt x="1278" y="2579"/>
                      <a:pt x="639" y="3218"/>
                      <a:pt x="639" y="3856"/>
                    </a:cubicBezTo>
                    <a:cubicBezTo>
                      <a:pt x="0" y="4495"/>
                      <a:pt x="0" y="5771"/>
                      <a:pt x="0" y="6410"/>
                    </a:cubicBezTo>
                    <a:cubicBezTo>
                      <a:pt x="0" y="10240"/>
                      <a:pt x="3195" y="12794"/>
                      <a:pt x="6390" y="12794"/>
                    </a:cubicBezTo>
                    <a:cubicBezTo>
                      <a:pt x="8307" y="12794"/>
                      <a:pt x="9585" y="12155"/>
                      <a:pt x="10863" y="10879"/>
                    </a:cubicBezTo>
                    <a:cubicBezTo>
                      <a:pt x="11502" y="10240"/>
                      <a:pt x="12141" y="9602"/>
                      <a:pt x="12141" y="8963"/>
                    </a:cubicBezTo>
                    <a:cubicBezTo>
                      <a:pt x="12780" y="8325"/>
                      <a:pt x="12780" y="7687"/>
                      <a:pt x="12780" y="6410"/>
                    </a:cubicBezTo>
                    <a:cubicBezTo>
                      <a:pt x="12780" y="5771"/>
                      <a:pt x="12780" y="4495"/>
                      <a:pt x="12141" y="3856"/>
                    </a:cubicBezTo>
                    <a:cubicBezTo>
                      <a:pt x="11502" y="3218"/>
                      <a:pt x="10863" y="2579"/>
                      <a:pt x="10863" y="1941"/>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6" name="Graphic 4">
                <a:extLst>
                  <a:ext uri="{FF2B5EF4-FFF2-40B4-BE49-F238E27FC236}">
                    <a16:creationId xmlns:a16="http://schemas.microsoft.com/office/drawing/2014/main" id="{73A35E18-3E59-DB7E-28DC-B63A90DED770}"/>
                  </a:ext>
                </a:extLst>
              </p:cNvPr>
              <p:cNvSpPr/>
              <p:nvPr/>
            </p:nvSpPr>
            <p:spPr>
              <a:xfrm>
                <a:off x="1617932"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1502"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7" name="Graphic 4">
                <a:extLst>
                  <a:ext uri="{FF2B5EF4-FFF2-40B4-BE49-F238E27FC236}">
                    <a16:creationId xmlns:a16="http://schemas.microsoft.com/office/drawing/2014/main" id="{A3D767D8-B3C9-AC81-4328-C5CE11C1EA96}"/>
                  </a:ext>
                </a:extLst>
              </p:cNvPr>
              <p:cNvSpPr/>
              <p:nvPr/>
            </p:nvSpPr>
            <p:spPr>
              <a:xfrm>
                <a:off x="1646686" y="2567161"/>
                <a:ext cx="12779" cy="12768"/>
              </a:xfrm>
              <a:custGeom>
                <a:avLst/>
                <a:gdLst>
                  <a:gd name="connsiteX0" fmla="*/ 10863 w 12779"/>
                  <a:gd name="connsiteY0" fmla="*/ 1915 h 12768"/>
                  <a:gd name="connsiteX1" fmla="*/ 1917 w 12779"/>
                  <a:gd name="connsiteY1" fmla="*/ 1915 h 12768"/>
                  <a:gd name="connsiteX2" fmla="*/ 1917 w 12779"/>
                  <a:gd name="connsiteY2" fmla="*/ 1915 h 12768"/>
                  <a:gd name="connsiteX3" fmla="*/ 0 w 12779"/>
                  <a:gd name="connsiteY3" fmla="*/ 6384 h 12768"/>
                  <a:gd name="connsiteX4" fmla="*/ 6390 w 12779"/>
                  <a:gd name="connsiteY4" fmla="*/ 12768 h 12768"/>
                  <a:gd name="connsiteX5" fmla="*/ 12780 w 12779"/>
                  <a:gd name="connsiteY5" fmla="*/ 6384 h 12768"/>
                  <a:gd name="connsiteX6" fmla="*/ 10863 w 12779"/>
                  <a:gd name="connsiteY6" fmla="*/ 1915 h 12768"/>
                  <a:gd name="connsiteX7" fmla="*/ 10863 w 12779"/>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8">
                    <a:moveTo>
                      <a:pt x="10863" y="1915"/>
                    </a:moveTo>
                    <a:cubicBezTo>
                      <a:pt x="8307" y="-638"/>
                      <a:pt x="4473" y="-638"/>
                      <a:pt x="1917" y="1915"/>
                    </a:cubicBezTo>
                    <a:cubicBezTo>
                      <a:pt x="1917" y="1915"/>
                      <a:pt x="1917" y="1915"/>
                      <a:pt x="1917" y="1915"/>
                    </a:cubicBezTo>
                    <a:cubicBezTo>
                      <a:pt x="639" y="3192"/>
                      <a:pt x="0" y="4469"/>
                      <a:pt x="0" y="6384"/>
                    </a:cubicBezTo>
                    <a:cubicBezTo>
                      <a:pt x="0" y="10214"/>
                      <a:pt x="2556" y="12768"/>
                      <a:pt x="6390" y="12768"/>
                    </a:cubicBezTo>
                    <a:cubicBezTo>
                      <a:pt x="10224" y="12768"/>
                      <a:pt x="12780" y="10214"/>
                      <a:pt x="12780" y="6384"/>
                    </a:cubicBezTo>
                    <a:cubicBezTo>
                      <a:pt x="12780" y="4469"/>
                      <a:pt x="11502" y="3192"/>
                      <a:pt x="10863" y="1915"/>
                    </a:cubicBezTo>
                    <a:lnTo>
                      <a:pt x="10863" y="1915"/>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8" name="Graphic 4">
                <a:extLst>
                  <a:ext uri="{FF2B5EF4-FFF2-40B4-BE49-F238E27FC236}">
                    <a16:creationId xmlns:a16="http://schemas.microsoft.com/office/drawing/2014/main" id="{863A4BF1-E059-7B5D-20BA-55F494A1EC6B}"/>
                  </a:ext>
                </a:extLst>
              </p:cNvPr>
              <p:cNvSpPr/>
              <p:nvPr/>
            </p:nvSpPr>
            <p:spPr>
              <a:xfrm>
                <a:off x="1732311" y="2538433"/>
                <a:ext cx="12779" cy="12768"/>
              </a:xfrm>
              <a:custGeom>
                <a:avLst/>
                <a:gdLst>
                  <a:gd name="connsiteX0" fmla="*/ 1917 w 12779"/>
                  <a:gd name="connsiteY0" fmla="*/ 1915 h 12768"/>
                  <a:gd name="connsiteX1" fmla="*/ 0 w 12779"/>
                  <a:gd name="connsiteY1" fmla="*/ 6384 h 12768"/>
                  <a:gd name="connsiteX2" fmla="*/ 639 w 12779"/>
                  <a:gd name="connsiteY2" fmla="*/ 8938 h 12768"/>
                  <a:gd name="connsiteX3" fmla="*/ 1917 w 12779"/>
                  <a:gd name="connsiteY3" fmla="*/ 10853 h 12768"/>
                  <a:gd name="connsiteX4" fmla="*/ 6390 w 12779"/>
                  <a:gd name="connsiteY4" fmla="*/ 12768 h 12768"/>
                  <a:gd name="connsiteX5" fmla="*/ 10863 w 12779"/>
                  <a:gd name="connsiteY5" fmla="*/ 10853 h 12768"/>
                  <a:gd name="connsiteX6" fmla="*/ 12141 w 12779"/>
                  <a:gd name="connsiteY6" fmla="*/ 8938 h 12768"/>
                  <a:gd name="connsiteX7" fmla="*/ 12780 w 12779"/>
                  <a:gd name="connsiteY7" fmla="*/ 6384 h 12768"/>
                  <a:gd name="connsiteX8" fmla="*/ 10863 w 12779"/>
                  <a:gd name="connsiteY8" fmla="*/ 1915 h 12768"/>
                  <a:gd name="connsiteX9" fmla="*/ 1917 w 12779"/>
                  <a:gd name="connsiteY9"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1917" y="1915"/>
                    </a:moveTo>
                    <a:cubicBezTo>
                      <a:pt x="639" y="3192"/>
                      <a:pt x="0" y="4469"/>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599" name="Graphic 4">
                <a:extLst>
                  <a:ext uri="{FF2B5EF4-FFF2-40B4-BE49-F238E27FC236}">
                    <a16:creationId xmlns:a16="http://schemas.microsoft.com/office/drawing/2014/main" id="{02D21AF5-6600-4392-14F8-5D70425E9992}"/>
                  </a:ext>
                </a:extLst>
              </p:cNvPr>
              <p:cNvSpPr/>
              <p:nvPr/>
            </p:nvSpPr>
            <p:spPr>
              <a:xfrm>
                <a:off x="1732461" y="2509865"/>
                <a:ext cx="12630" cy="12608"/>
              </a:xfrm>
              <a:custGeom>
                <a:avLst/>
                <a:gdLst>
                  <a:gd name="connsiteX0" fmla="*/ 11992 w 12630"/>
                  <a:gd name="connsiteY0" fmla="*/ 3671 h 12608"/>
                  <a:gd name="connsiteX1" fmla="*/ 10714 w 12630"/>
                  <a:gd name="connsiteY1" fmla="*/ 1756 h 12608"/>
                  <a:gd name="connsiteX2" fmla="*/ 8797 w 12630"/>
                  <a:gd name="connsiteY2" fmla="*/ 479 h 12608"/>
                  <a:gd name="connsiteX3" fmla="*/ 3685 w 12630"/>
                  <a:gd name="connsiteY3" fmla="*/ 479 h 12608"/>
                  <a:gd name="connsiteX4" fmla="*/ 490 w 12630"/>
                  <a:gd name="connsiteY4" fmla="*/ 8778 h 12608"/>
                  <a:gd name="connsiteX5" fmla="*/ 1768 w 12630"/>
                  <a:gd name="connsiteY5" fmla="*/ 10693 h 12608"/>
                  <a:gd name="connsiteX6" fmla="*/ 3685 w 12630"/>
                  <a:gd name="connsiteY6" fmla="*/ 11970 h 12608"/>
                  <a:gd name="connsiteX7" fmla="*/ 6241 w 12630"/>
                  <a:gd name="connsiteY7" fmla="*/ 12608 h 12608"/>
                  <a:gd name="connsiteX8" fmla="*/ 12631 w 12630"/>
                  <a:gd name="connsiteY8" fmla="*/ 6224 h 12608"/>
                  <a:gd name="connsiteX9" fmla="*/ 12631 w 12630"/>
                  <a:gd name="connsiteY9" fmla="*/ 4947 h 12608"/>
                  <a:gd name="connsiteX10" fmla="*/ 11992 w 12630"/>
                  <a:gd name="connsiteY10" fmla="*/ 3671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30" h="12608">
                    <a:moveTo>
                      <a:pt x="11992" y="3671"/>
                    </a:moveTo>
                    <a:cubicBezTo>
                      <a:pt x="11992" y="3032"/>
                      <a:pt x="11353" y="2394"/>
                      <a:pt x="10714" y="1756"/>
                    </a:cubicBezTo>
                    <a:cubicBezTo>
                      <a:pt x="10075" y="1117"/>
                      <a:pt x="9436" y="479"/>
                      <a:pt x="8797" y="479"/>
                    </a:cubicBezTo>
                    <a:cubicBezTo>
                      <a:pt x="7519" y="-160"/>
                      <a:pt x="5602" y="-160"/>
                      <a:pt x="3685" y="479"/>
                    </a:cubicBezTo>
                    <a:cubicBezTo>
                      <a:pt x="490" y="1756"/>
                      <a:pt x="-788" y="5586"/>
                      <a:pt x="490" y="8778"/>
                    </a:cubicBezTo>
                    <a:cubicBezTo>
                      <a:pt x="1129" y="9416"/>
                      <a:pt x="1129" y="10055"/>
                      <a:pt x="1768" y="10693"/>
                    </a:cubicBezTo>
                    <a:cubicBezTo>
                      <a:pt x="2407" y="11331"/>
                      <a:pt x="3046" y="11970"/>
                      <a:pt x="3685" y="11970"/>
                    </a:cubicBezTo>
                    <a:cubicBezTo>
                      <a:pt x="4324" y="12608"/>
                      <a:pt x="5602" y="12608"/>
                      <a:pt x="6241" y="12608"/>
                    </a:cubicBezTo>
                    <a:cubicBezTo>
                      <a:pt x="10075" y="12608"/>
                      <a:pt x="12631" y="10055"/>
                      <a:pt x="12631" y="6224"/>
                    </a:cubicBezTo>
                    <a:cubicBezTo>
                      <a:pt x="12631" y="5586"/>
                      <a:pt x="12631" y="5586"/>
                      <a:pt x="12631" y="4947"/>
                    </a:cubicBezTo>
                    <a:lnTo>
                      <a:pt x="11992" y="367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0" name="Graphic 4">
                <a:extLst>
                  <a:ext uri="{FF2B5EF4-FFF2-40B4-BE49-F238E27FC236}">
                    <a16:creationId xmlns:a16="http://schemas.microsoft.com/office/drawing/2014/main" id="{306C2ACF-8BC4-BBC3-8863-853AC5C21BD7}"/>
                  </a:ext>
                </a:extLst>
              </p:cNvPr>
              <p:cNvSpPr/>
              <p:nvPr/>
            </p:nvSpPr>
            <p:spPr>
              <a:xfrm>
                <a:off x="1761066" y="2538433"/>
                <a:ext cx="12779" cy="12768"/>
              </a:xfrm>
              <a:custGeom>
                <a:avLst/>
                <a:gdLst>
                  <a:gd name="connsiteX0" fmla="*/ 1917 w 12779"/>
                  <a:gd name="connsiteY0" fmla="*/ 10853 h 12768"/>
                  <a:gd name="connsiteX1" fmla="*/ 10863 w 12779"/>
                  <a:gd name="connsiteY1" fmla="*/ 10853 h 12768"/>
                  <a:gd name="connsiteX2" fmla="*/ 10863 w 12779"/>
                  <a:gd name="connsiteY2" fmla="*/ 10853 h 12768"/>
                  <a:gd name="connsiteX3" fmla="*/ 12141 w 12779"/>
                  <a:gd name="connsiteY3" fmla="*/ 8938 h 12768"/>
                  <a:gd name="connsiteX4" fmla="*/ 12780 w 12779"/>
                  <a:gd name="connsiteY4" fmla="*/ 6384 h 12768"/>
                  <a:gd name="connsiteX5" fmla="*/ 6390 w 12779"/>
                  <a:gd name="connsiteY5" fmla="*/ 0 h 12768"/>
                  <a:gd name="connsiteX6" fmla="*/ 0 w 12779"/>
                  <a:gd name="connsiteY6" fmla="*/ 6384 h 12768"/>
                  <a:gd name="connsiteX7" fmla="*/ 639 w 12779"/>
                  <a:gd name="connsiteY7" fmla="*/ 8938 h 12768"/>
                  <a:gd name="connsiteX8" fmla="*/ 1917 w 12779"/>
                  <a:gd name="connsiteY8"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1917" y="10853"/>
                    </a:moveTo>
                    <a:cubicBezTo>
                      <a:pt x="4473" y="13406"/>
                      <a:pt x="8307" y="13406"/>
                      <a:pt x="10863" y="10853"/>
                    </a:cubicBezTo>
                    <a:cubicBezTo>
                      <a:pt x="10863" y="10853"/>
                      <a:pt x="10863" y="10853"/>
                      <a:pt x="10863" y="10853"/>
                    </a:cubicBezTo>
                    <a:cubicBezTo>
                      <a:pt x="11502" y="10214"/>
                      <a:pt x="12141" y="9576"/>
                      <a:pt x="12141" y="8938"/>
                    </a:cubicBezTo>
                    <a:cubicBezTo>
                      <a:pt x="12780" y="8299"/>
                      <a:pt x="12780" y="7661"/>
                      <a:pt x="12780" y="6384"/>
                    </a:cubicBezTo>
                    <a:cubicBezTo>
                      <a:pt x="12780" y="2554"/>
                      <a:pt x="10224" y="0"/>
                      <a:pt x="6390" y="0"/>
                    </a:cubicBezTo>
                    <a:cubicBezTo>
                      <a:pt x="2556" y="0"/>
                      <a:pt x="0" y="2554"/>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1" name="Graphic 4">
                <a:extLst>
                  <a:ext uri="{FF2B5EF4-FFF2-40B4-BE49-F238E27FC236}">
                    <a16:creationId xmlns:a16="http://schemas.microsoft.com/office/drawing/2014/main" id="{ED99AE20-521A-F30B-7709-FE831E84AE01}"/>
                  </a:ext>
                </a:extLst>
              </p:cNvPr>
              <p:cNvSpPr/>
              <p:nvPr/>
            </p:nvSpPr>
            <p:spPr>
              <a:xfrm>
                <a:off x="1761066" y="2509706"/>
                <a:ext cx="12779" cy="12608"/>
              </a:xfrm>
              <a:custGeom>
                <a:avLst/>
                <a:gdLst>
                  <a:gd name="connsiteX0" fmla="*/ 1917 w 12779"/>
                  <a:gd name="connsiteY0" fmla="*/ 10853 h 12608"/>
                  <a:gd name="connsiteX1" fmla="*/ 3834 w 12779"/>
                  <a:gd name="connsiteY1" fmla="*/ 12130 h 12608"/>
                  <a:gd name="connsiteX2" fmla="*/ 8946 w 12779"/>
                  <a:gd name="connsiteY2" fmla="*/ 12130 h 12608"/>
                  <a:gd name="connsiteX3" fmla="*/ 12141 w 12779"/>
                  <a:gd name="connsiteY3" fmla="*/ 8938 h 12608"/>
                  <a:gd name="connsiteX4" fmla="*/ 12780 w 12779"/>
                  <a:gd name="connsiteY4" fmla="*/ 6384 h 12608"/>
                  <a:gd name="connsiteX5" fmla="*/ 10863 w 12779"/>
                  <a:gd name="connsiteY5" fmla="*/ 1915 h 12608"/>
                  <a:gd name="connsiteX6" fmla="*/ 5112 w 12779"/>
                  <a:gd name="connsiteY6" fmla="*/ 0 h 12608"/>
                  <a:gd name="connsiteX7" fmla="*/ 3834 w 12779"/>
                  <a:gd name="connsiteY7" fmla="*/ 638 h 12608"/>
                  <a:gd name="connsiteX8" fmla="*/ 2556 w 12779"/>
                  <a:gd name="connsiteY8" fmla="*/ 1277 h 12608"/>
                  <a:gd name="connsiteX9" fmla="*/ 1917 w 12779"/>
                  <a:gd name="connsiteY9" fmla="*/ 1915 h 12608"/>
                  <a:gd name="connsiteX10" fmla="*/ 0 w 12779"/>
                  <a:gd name="connsiteY10" fmla="*/ 6384 h 12608"/>
                  <a:gd name="connsiteX11" fmla="*/ 639 w 12779"/>
                  <a:gd name="connsiteY11" fmla="*/ 8938 h 12608"/>
                  <a:gd name="connsiteX12" fmla="*/ 1917 w 12779"/>
                  <a:gd name="connsiteY12" fmla="*/ 1085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608">
                    <a:moveTo>
                      <a:pt x="1917" y="10853"/>
                    </a:moveTo>
                    <a:cubicBezTo>
                      <a:pt x="2556" y="11491"/>
                      <a:pt x="3195" y="12130"/>
                      <a:pt x="3834" y="12130"/>
                    </a:cubicBezTo>
                    <a:cubicBezTo>
                      <a:pt x="5112" y="12768"/>
                      <a:pt x="7029"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9585" y="638"/>
                      <a:pt x="7029" y="0"/>
                      <a:pt x="5112" y="0"/>
                    </a:cubicBezTo>
                    <a:cubicBezTo>
                      <a:pt x="4473" y="0"/>
                      <a:pt x="4473" y="0"/>
                      <a:pt x="3834" y="638"/>
                    </a:cubicBezTo>
                    <a:cubicBezTo>
                      <a:pt x="3195" y="638"/>
                      <a:pt x="3195" y="1277"/>
                      <a:pt x="2556" y="1277"/>
                    </a:cubicBezTo>
                    <a:lnTo>
                      <a:pt x="1917" y="1915"/>
                    </a:ln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2" name="Graphic 4">
                <a:extLst>
                  <a:ext uri="{FF2B5EF4-FFF2-40B4-BE49-F238E27FC236}">
                    <a16:creationId xmlns:a16="http://schemas.microsoft.com/office/drawing/2014/main" id="{A7D930C5-1396-CAB3-E811-8F24DDC90B99}"/>
                  </a:ext>
                </a:extLst>
              </p:cNvPr>
              <p:cNvSpPr/>
              <p:nvPr/>
            </p:nvSpPr>
            <p:spPr>
              <a:xfrm>
                <a:off x="1674802" y="2538433"/>
                <a:ext cx="12779" cy="12767"/>
              </a:xfrm>
              <a:custGeom>
                <a:avLst/>
                <a:gdLst>
                  <a:gd name="connsiteX0" fmla="*/ 12780 w 12779"/>
                  <a:gd name="connsiteY0" fmla="*/ 3830 h 12767"/>
                  <a:gd name="connsiteX1" fmla="*/ 11502 w 12779"/>
                  <a:gd name="connsiteY1" fmla="*/ 1915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 name="connsiteX9" fmla="*/ 6390 w 12779"/>
                  <a:gd name="connsiteY9" fmla="*/ 12768 h 12767"/>
                  <a:gd name="connsiteX10" fmla="*/ 8946 w 12779"/>
                  <a:gd name="connsiteY10" fmla="*/ 12130 h 12767"/>
                  <a:gd name="connsiteX11" fmla="*/ 10863 w 12779"/>
                  <a:gd name="connsiteY11" fmla="*/ 10853 h 12767"/>
                  <a:gd name="connsiteX12" fmla="*/ 12141 w 12779"/>
                  <a:gd name="connsiteY12" fmla="*/ 8938 h 12767"/>
                  <a:gd name="connsiteX13" fmla="*/ 12780 w 12779"/>
                  <a:gd name="connsiteY13" fmla="*/ 6384 h 12767"/>
                  <a:gd name="connsiteX14" fmla="*/ 12780 w 12779"/>
                  <a:gd name="connsiteY14" fmla="*/ 5107 h 12767"/>
                  <a:gd name="connsiteX15" fmla="*/ 12780 w 12779"/>
                  <a:gd name="connsiteY15" fmla="*/ 38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2780" y="3830"/>
                    </a:moveTo>
                    <a:cubicBezTo>
                      <a:pt x="12141" y="3192"/>
                      <a:pt x="12141" y="2554"/>
                      <a:pt x="11502" y="1915"/>
                    </a:cubicBezTo>
                    <a:cubicBezTo>
                      <a:pt x="10224" y="638"/>
                      <a:pt x="7668" y="0"/>
                      <a:pt x="5751" y="0"/>
                    </a:cubicBezTo>
                    <a:cubicBezTo>
                      <a:pt x="5112" y="0"/>
                      <a:pt x="5112" y="0"/>
                      <a:pt x="4473" y="638"/>
                    </a:cubicBezTo>
                    <a:cubicBezTo>
                      <a:pt x="3834" y="638"/>
                      <a:pt x="3834" y="1277"/>
                      <a:pt x="3195" y="1277"/>
                    </a:cubicBezTo>
                    <a:lnTo>
                      <a:pt x="1917" y="1915"/>
                    </a:lnTo>
                    <a:cubicBezTo>
                      <a:pt x="639" y="3192"/>
                      <a:pt x="0" y="4469"/>
                      <a:pt x="0" y="6384"/>
                    </a:cubicBezTo>
                    <a:cubicBezTo>
                      <a:pt x="0" y="7022"/>
                      <a:pt x="0" y="8299"/>
                      <a:pt x="639" y="8938"/>
                    </a:cubicBezTo>
                    <a:cubicBezTo>
                      <a:pt x="639" y="9576"/>
                      <a:pt x="1278" y="10214"/>
                      <a:pt x="1917" y="10853"/>
                    </a:cubicBezTo>
                    <a:cubicBezTo>
                      <a:pt x="3195" y="12130"/>
                      <a:pt x="4473"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141" y="8299"/>
                      <a:pt x="12780" y="7661"/>
                      <a:pt x="12780" y="6384"/>
                    </a:cubicBezTo>
                    <a:cubicBezTo>
                      <a:pt x="12780" y="5746"/>
                      <a:pt x="12780" y="5746"/>
                      <a:pt x="12780" y="5107"/>
                    </a:cubicBezTo>
                    <a:cubicBezTo>
                      <a:pt x="12780" y="5107"/>
                      <a:pt x="12780" y="4469"/>
                      <a:pt x="12780" y="38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3" name="Graphic 4">
                <a:extLst>
                  <a:ext uri="{FF2B5EF4-FFF2-40B4-BE49-F238E27FC236}">
                    <a16:creationId xmlns:a16="http://schemas.microsoft.com/office/drawing/2014/main" id="{A013D348-A88F-109B-755F-F3F9D1C21525}"/>
                  </a:ext>
                </a:extLst>
              </p:cNvPr>
              <p:cNvSpPr/>
              <p:nvPr/>
            </p:nvSpPr>
            <p:spPr>
              <a:xfrm>
                <a:off x="1703557" y="2538832"/>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 w 12779"/>
                  <a:gd name="connsiteY4" fmla="*/ 9177 h 13007"/>
                  <a:gd name="connsiteX5" fmla="*/ 1917 w 12779"/>
                  <a:gd name="connsiteY5" fmla="*/ 11092 h 13007"/>
                  <a:gd name="connsiteX6" fmla="*/ 6390 w 12779"/>
                  <a:gd name="connsiteY6" fmla="*/ 13007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7262"/>
                      <a:pt x="0" y="8539"/>
                      <a:pt x="639" y="9177"/>
                    </a:cubicBezTo>
                    <a:cubicBezTo>
                      <a:pt x="639" y="9815"/>
                      <a:pt x="1278" y="10454"/>
                      <a:pt x="1917" y="11092"/>
                    </a:cubicBezTo>
                    <a:cubicBezTo>
                      <a:pt x="3195" y="12369"/>
                      <a:pt x="4473" y="13007"/>
                      <a:pt x="6390" y="13007"/>
                    </a:cubicBezTo>
                    <a:cubicBezTo>
                      <a:pt x="8307" y="13007"/>
                      <a:pt x="9585" y="12369"/>
                      <a:pt x="10863" y="11092"/>
                    </a:cubicBezTo>
                    <a:cubicBezTo>
                      <a:pt x="11502" y="10454"/>
                      <a:pt x="12141" y="9815"/>
                      <a:pt x="12141" y="9177"/>
                    </a:cubicBezTo>
                    <a:cubicBezTo>
                      <a:pt x="12780" y="8539"/>
                      <a:pt x="12780" y="7900"/>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4" name="Graphic 4">
                <a:extLst>
                  <a:ext uri="{FF2B5EF4-FFF2-40B4-BE49-F238E27FC236}">
                    <a16:creationId xmlns:a16="http://schemas.microsoft.com/office/drawing/2014/main" id="{F46964DE-A845-5FC9-3AA5-9F0C794CBE51}"/>
                  </a:ext>
                </a:extLst>
              </p:cNvPr>
              <p:cNvSpPr/>
              <p:nvPr/>
            </p:nvSpPr>
            <p:spPr>
              <a:xfrm>
                <a:off x="1674802" y="2509466"/>
                <a:ext cx="12779" cy="13007"/>
              </a:xfrm>
              <a:custGeom>
                <a:avLst/>
                <a:gdLst>
                  <a:gd name="connsiteX0" fmla="*/ 10224 w 12779"/>
                  <a:gd name="connsiteY0" fmla="*/ 1516 h 13007"/>
                  <a:gd name="connsiteX1" fmla="*/ 8946 w 12779"/>
                  <a:gd name="connsiteY1" fmla="*/ 878 h 13007"/>
                  <a:gd name="connsiteX2" fmla="*/ 7668 w 12779"/>
                  <a:gd name="connsiteY2" fmla="*/ 239 h 13007"/>
                  <a:gd name="connsiteX3" fmla="*/ 1917 w 12779"/>
                  <a:gd name="connsiteY3" fmla="*/ 2155 h 13007"/>
                  <a:gd name="connsiteX4" fmla="*/ 0 w 12779"/>
                  <a:gd name="connsiteY4" fmla="*/ 6623 h 13007"/>
                  <a:gd name="connsiteX5" fmla="*/ 6390 w 12779"/>
                  <a:gd name="connsiteY5" fmla="*/ 13007 h 13007"/>
                  <a:gd name="connsiteX6" fmla="*/ 8946 w 12779"/>
                  <a:gd name="connsiteY6" fmla="*/ 12369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1516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1516"/>
                    </a:moveTo>
                    <a:cubicBezTo>
                      <a:pt x="9585" y="1516"/>
                      <a:pt x="9585" y="878"/>
                      <a:pt x="8946" y="878"/>
                    </a:cubicBezTo>
                    <a:lnTo>
                      <a:pt x="7668" y="239"/>
                    </a:ln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1502" y="10454"/>
                      <a:pt x="12141" y="9815"/>
                      <a:pt x="12141" y="9177"/>
                    </a:cubicBezTo>
                    <a:cubicBezTo>
                      <a:pt x="12141" y="8539"/>
                      <a:pt x="12780" y="7900"/>
                      <a:pt x="12780" y="6623"/>
                    </a:cubicBezTo>
                    <a:cubicBezTo>
                      <a:pt x="12780" y="4708"/>
                      <a:pt x="12141" y="3431"/>
                      <a:pt x="10863" y="2155"/>
                    </a:cubicBezTo>
                    <a:lnTo>
                      <a:pt x="10224" y="151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5" name="Graphic 4">
                <a:extLst>
                  <a:ext uri="{FF2B5EF4-FFF2-40B4-BE49-F238E27FC236}">
                    <a16:creationId xmlns:a16="http://schemas.microsoft.com/office/drawing/2014/main" id="{A63106EE-87D1-AB83-2B5D-A1A987DA6457}"/>
                  </a:ext>
                </a:extLst>
              </p:cNvPr>
              <p:cNvSpPr/>
              <p:nvPr/>
            </p:nvSpPr>
            <p:spPr>
              <a:xfrm>
                <a:off x="1703557" y="2510105"/>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0 w 12779"/>
                  <a:gd name="connsiteY4" fmla="*/ 13007 h 13007"/>
                  <a:gd name="connsiteX5" fmla="*/ 8946 w 12779"/>
                  <a:gd name="connsiteY5" fmla="*/ 12369 h 13007"/>
                  <a:gd name="connsiteX6" fmla="*/ 10863 w 12779"/>
                  <a:gd name="connsiteY6" fmla="*/ 11092 h 13007"/>
                  <a:gd name="connsiteX7" fmla="*/ 12780 w 12779"/>
                  <a:gd name="connsiteY7" fmla="*/ 6623 h 13007"/>
                  <a:gd name="connsiteX8" fmla="*/ 10863 w 12779"/>
                  <a:gd name="connsiteY8" fmla="*/ 2155 h 13007"/>
                  <a:gd name="connsiteX9" fmla="*/ 10224 w 12779"/>
                  <a:gd name="connsiteY9"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6" name="Graphic 4">
                <a:extLst>
                  <a:ext uri="{FF2B5EF4-FFF2-40B4-BE49-F238E27FC236}">
                    <a16:creationId xmlns:a16="http://schemas.microsoft.com/office/drawing/2014/main" id="{927F30F8-415A-D884-0060-7C3810ACD4A1}"/>
                  </a:ext>
                </a:extLst>
              </p:cNvPr>
              <p:cNvSpPr/>
              <p:nvPr/>
            </p:nvSpPr>
            <p:spPr>
              <a:xfrm>
                <a:off x="1617293" y="2538433"/>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5112 w 12779"/>
                  <a:gd name="connsiteY3" fmla="*/ 0 h 12767"/>
                  <a:gd name="connsiteX4" fmla="*/ 3834 w 12779"/>
                  <a:gd name="connsiteY4" fmla="*/ 638 h 12767"/>
                  <a:gd name="connsiteX5" fmla="*/ 2556 w 12779"/>
                  <a:gd name="connsiteY5" fmla="*/ 1277 h 12767"/>
                  <a:gd name="connsiteX6" fmla="*/ 1917 w 12779"/>
                  <a:gd name="connsiteY6" fmla="*/ 1915 h 12767"/>
                  <a:gd name="connsiteX7" fmla="*/ 0 w 12779"/>
                  <a:gd name="connsiteY7" fmla="*/ 5107 h 12767"/>
                  <a:gd name="connsiteX8" fmla="*/ 0 w 12779"/>
                  <a:gd name="connsiteY8" fmla="*/ 6384 h 12767"/>
                  <a:gd name="connsiteX9" fmla="*/ 639 w 12779"/>
                  <a:gd name="connsiteY9" fmla="*/ 8938 h 12767"/>
                  <a:gd name="connsiteX10" fmla="*/ 1917 w 12779"/>
                  <a:gd name="connsiteY10" fmla="*/ 10853 h 12767"/>
                  <a:gd name="connsiteX11" fmla="*/ 3834 w 12779"/>
                  <a:gd name="connsiteY11" fmla="*/ 12130 h 12767"/>
                  <a:gd name="connsiteX12" fmla="*/ 6390 w 12779"/>
                  <a:gd name="connsiteY12" fmla="*/ 12768 h 12767"/>
                  <a:gd name="connsiteX13" fmla="*/ 8946 w 12779"/>
                  <a:gd name="connsiteY13" fmla="*/ 12130 h 12767"/>
                  <a:gd name="connsiteX14" fmla="*/ 10863 w 12779"/>
                  <a:gd name="connsiteY14" fmla="*/ 10853 h 12767"/>
                  <a:gd name="connsiteX15" fmla="*/ 12141 w 12779"/>
                  <a:gd name="connsiteY15" fmla="*/ 8938 h 12767"/>
                  <a:gd name="connsiteX16" fmla="*/ 12780 w 12779"/>
                  <a:gd name="connsiteY16" fmla="*/ 6384 h 12767"/>
                  <a:gd name="connsiteX17" fmla="*/ 10863 w 12779"/>
                  <a:gd name="connsiteY17" fmla="*/ 1915 h 12767"/>
                  <a:gd name="connsiteX18" fmla="*/ 10224 w 12779"/>
                  <a:gd name="connsiteY18"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79" h="12767">
                    <a:moveTo>
                      <a:pt x="10224" y="1277"/>
                    </a:moveTo>
                    <a:cubicBezTo>
                      <a:pt x="9585" y="1277"/>
                      <a:pt x="9585" y="638"/>
                      <a:pt x="8946" y="638"/>
                    </a:cubicBezTo>
                    <a:cubicBezTo>
                      <a:pt x="8307" y="638"/>
                      <a:pt x="8307" y="0"/>
                      <a:pt x="7668" y="0"/>
                    </a:cubicBezTo>
                    <a:cubicBezTo>
                      <a:pt x="7029" y="0"/>
                      <a:pt x="5751" y="0"/>
                      <a:pt x="5112" y="0"/>
                    </a:cubicBezTo>
                    <a:lnTo>
                      <a:pt x="3834" y="638"/>
                    </a:lnTo>
                    <a:lnTo>
                      <a:pt x="2556" y="1277"/>
                    </a:lnTo>
                    <a:lnTo>
                      <a:pt x="1917" y="1915"/>
                    </a:lnTo>
                    <a:cubicBezTo>
                      <a:pt x="1278" y="2554"/>
                      <a:pt x="639" y="3830"/>
                      <a:pt x="0" y="5107"/>
                    </a:cubicBezTo>
                    <a:cubicBezTo>
                      <a:pt x="0" y="5746"/>
                      <a:pt x="0" y="5746"/>
                      <a:pt x="0" y="6384"/>
                    </a:cubicBezTo>
                    <a:cubicBezTo>
                      <a:pt x="0" y="7022"/>
                      <a:pt x="0" y="8299"/>
                      <a:pt x="639" y="8938"/>
                    </a:cubicBezTo>
                    <a:cubicBezTo>
                      <a:pt x="1278" y="9576"/>
                      <a:pt x="1278" y="10214"/>
                      <a:pt x="1917" y="10853"/>
                    </a:cubicBezTo>
                    <a:cubicBezTo>
                      <a:pt x="2556" y="11491"/>
                      <a:pt x="3195" y="12130"/>
                      <a:pt x="3834" y="12130"/>
                    </a:cubicBezTo>
                    <a:cubicBezTo>
                      <a:pt x="4473" y="12768"/>
                      <a:pt x="5751"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4469"/>
                      <a:pt x="12141" y="3192"/>
                      <a:pt x="10863" y="1915"/>
                    </a:cubicBezTo>
                    <a:lnTo>
                      <a:pt x="10224" y="1277"/>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7" name="Graphic 4">
                <a:extLst>
                  <a:ext uri="{FF2B5EF4-FFF2-40B4-BE49-F238E27FC236}">
                    <a16:creationId xmlns:a16="http://schemas.microsoft.com/office/drawing/2014/main" id="{EF1D8010-55BF-5F41-0C30-D17024EAA34D}"/>
                  </a:ext>
                </a:extLst>
              </p:cNvPr>
              <p:cNvSpPr/>
              <p:nvPr/>
            </p:nvSpPr>
            <p:spPr>
              <a:xfrm>
                <a:off x="1617293" y="2509585"/>
                <a:ext cx="12779" cy="12739"/>
              </a:xfrm>
              <a:custGeom>
                <a:avLst/>
                <a:gdLst>
                  <a:gd name="connsiteX0" fmla="*/ 10224 w 12779"/>
                  <a:gd name="connsiteY0" fmla="*/ 1398 h 12739"/>
                  <a:gd name="connsiteX1" fmla="*/ 8946 w 12779"/>
                  <a:gd name="connsiteY1" fmla="*/ 759 h 12739"/>
                  <a:gd name="connsiteX2" fmla="*/ 7668 w 12779"/>
                  <a:gd name="connsiteY2" fmla="*/ 121 h 12739"/>
                  <a:gd name="connsiteX3" fmla="*/ 0 w 12779"/>
                  <a:gd name="connsiteY3" fmla="*/ 5228 h 12739"/>
                  <a:gd name="connsiteX4" fmla="*/ 0 w 12779"/>
                  <a:gd name="connsiteY4" fmla="*/ 6505 h 12739"/>
                  <a:gd name="connsiteX5" fmla="*/ 639 w 12779"/>
                  <a:gd name="connsiteY5" fmla="*/ 9059 h 12739"/>
                  <a:gd name="connsiteX6" fmla="*/ 1917 w 12779"/>
                  <a:gd name="connsiteY6" fmla="*/ 10974 h 12739"/>
                  <a:gd name="connsiteX7" fmla="*/ 3834 w 12779"/>
                  <a:gd name="connsiteY7" fmla="*/ 12251 h 12739"/>
                  <a:gd name="connsiteX8" fmla="*/ 12141 w 12779"/>
                  <a:gd name="connsiteY8" fmla="*/ 9059 h 12739"/>
                  <a:gd name="connsiteX9" fmla="*/ 12780 w 12779"/>
                  <a:gd name="connsiteY9" fmla="*/ 6505 h 12739"/>
                  <a:gd name="connsiteX10" fmla="*/ 10863 w 12779"/>
                  <a:gd name="connsiteY10" fmla="*/ 2036 h 12739"/>
                  <a:gd name="connsiteX11" fmla="*/ 10224 w 12779"/>
                  <a:gd name="connsiteY11" fmla="*/ 1398 h 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39">
                    <a:moveTo>
                      <a:pt x="10224" y="1398"/>
                    </a:moveTo>
                    <a:cubicBezTo>
                      <a:pt x="9585" y="1398"/>
                      <a:pt x="9585" y="759"/>
                      <a:pt x="8946" y="759"/>
                    </a:cubicBezTo>
                    <a:cubicBezTo>
                      <a:pt x="8307" y="759"/>
                      <a:pt x="8307" y="121"/>
                      <a:pt x="7668" y="121"/>
                    </a:cubicBezTo>
                    <a:cubicBezTo>
                      <a:pt x="4473" y="-517"/>
                      <a:pt x="639" y="1398"/>
                      <a:pt x="0" y="5228"/>
                    </a:cubicBezTo>
                    <a:cubicBezTo>
                      <a:pt x="0" y="5867"/>
                      <a:pt x="0" y="5867"/>
                      <a:pt x="0" y="6505"/>
                    </a:cubicBezTo>
                    <a:cubicBezTo>
                      <a:pt x="0" y="7143"/>
                      <a:pt x="0" y="8420"/>
                      <a:pt x="639" y="9059"/>
                    </a:cubicBezTo>
                    <a:cubicBezTo>
                      <a:pt x="1278" y="9697"/>
                      <a:pt x="1278" y="10335"/>
                      <a:pt x="1917" y="10974"/>
                    </a:cubicBezTo>
                    <a:cubicBezTo>
                      <a:pt x="2556" y="11612"/>
                      <a:pt x="3195" y="12251"/>
                      <a:pt x="3834" y="12251"/>
                    </a:cubicBezTo>
                    <a:cubicBezTo>
                      <a:pt x="7029" y="13527"/>
                      <a:pt x="10863" y="12251"/>
                      <a:pt x="12141" y="9059"/>
                    </a:cubicBezTo>
                    <a:cubicBezTo>
                      <a:pt x="12141" y="8420"/>
                      <a:pt x="12780" y="7782"/>
                      <a:pt x="12780" y="6505"/>
                    </a:cubicBezTo>
                    <a:cubicBezTo>
                      <a:pt x="12780" y="4590"/>
                      <a:pt x="12141" y="3313"/>
                      <a:pt x="10863" y="2036"/>
                    </a:cubicBezTo>
                    <a:cubicBezTo>
                      <a:pt x="10863" y="2036"/>
                      <a:pt x="10863" y="1398"/>
                      <a:pt x="10224" y="1398"/>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8" name="Graphic 4">
                <a:extLst>
                  <a:ext uri="{FF2B5EF4-FFF2-40B4-BE49-F238E27FC236}">
                    <a16:creationId xmlns:a16="http://schemas.microsoft.com/office/drawing/2014/main" id="{DB6AE003-A5D2-8A89-97D4-F972D7954144}"/>
                  </a:ext>
                </a:extLst>
              </p:cNvPr>
              <p:cNvSpPr/>
              <p:nvPr/>
            </p:nvSpPr>
            <p:spPr>
              <a:xfrm>
                <a:off x="1646047" y="2538408"/>
                <a:ext cx="12779" cy="12819"/>
              </a:xfrm>
              <a:custGeom>
                <a:avLst/>
                <a:gdLst>
                  <a:gd name="connsiteX0" fmla="*/ 8946 w 12779"/>
                  <a:gd name="connsiteY0" fmla="*/ 664 h 12819"/>
                  <a:gd name="connsiteX1" fmla="*/ 1917 w 12779"/>
                  <a:gd name="connsiteY1" fmla="*/ 1941 h 12819"/>
                  <a:gd name="connsiteX2" fmla="*/ 639 w 12779"/>
                  <a:gd name="connsiteY2" fmla="*/ 3856 h 12819"/>
                  <a:gd name="connsiteX3" fmla="*/ 0 w 12779"/>
                  <a:gd name="connsiteY3" fmla="*/ 5133 h 12819"/>
                  <a:gd name="connsiteX4" fmla="*/ 0 w 12779"/>
                  <a:gd name="connsiteY4" fmla="*/ 6410 h 12819"/>
                  <a:gd name="connsiteX5" fmla="*/ 639 w 12779"/>
                  <a:gd name="connsiteY5" fmla="*/ 8963 h 12819"/>
                  <a:gd name="connsiteX6" fmla="*/ 1917 w 12779"/>
                  <a:gd name="connsiteY6" fmla="*/ 10879 h 12819"/>
                  <a:gd name="connsiteX7" fmla="*/ 3834 w 12779"/>
                  <a:gd name="connsiteY7" fmla="*/ 12155 h 12819"/>
                  <a:gd name="connsiteX8" fmla="*/ 10863 w 12779"/>
                  <a:gd name="connsiteY8" fmla="*/ 10879 h 12819"/>
                  <a:gd name="connsiteX9" fmla="*/ 12141 w 12779"/>
                  <a:gd name="connsiteY9" fmla="*/ 8963 h 12819"/>
                  <a:gd name="connsiteX10" fmla="*/ 12780 w 12779"/>
                  <a:gd name="connsiteY10" fmla="*/ 6410 h 12819"/>
                  <a:gd name="connsiteX11" fmla="*/ 10863 w 12779"/>
                  <a:gd name="connsiteY11" fmla="*/ 1941 h 12819"/>
                  <a:gd name="connsiteX12" fmla="*/ 8946 w 12779"/>
                  <a:gd name="connsiteY12" fmla="*/ 664 h 1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819">
                    <a:moveTo>
                      <a:pt x="8946" y="664"/>
                    </a:moveTo>
                    <a:cubicBezTo>
                      <a:pt x="6390" y="-613"/>
                      <a:pt x="3834" y="26"/>
                      <a:pt x="1917" y="1941"/>
                    </a:cubicBezTo>
                    <a:cubicBezTo>
                      <a:pt x="1278" y="2579"/>
                      <a:pt x="639" y="3218"/>
                      <a:pt x="639" y="3856"/>
                    </a:cubicBezTo>
                    <a:cubicBezTo>
                      <a:pt x="639" y="4495"/>
                      <a:pt x="0" y="4495"/>
                      <a:pt x="0" y="5133"/>
                    </a:cubicBezTo>
                    <a:cubicBezTo>
                      <a:pt x="0" y="5771"/>
                      <a:pt x="0" y="5771"/>
                      <a:pt x="0" y="6410"/>
                    </a:cubicBezTo>
                    <a:cubicBezTo>
                      <a:pt x="0" y="7048"/>
                      <a:pt x="0" y="8325"/>
                      <a:pt x="639" y="8963"/>
                    </a:cubicBezTo>
                    <a:cubicBezTo>
                      <a:pt x="639" y="9602"/>
                      <a:pt x="1278" y="10240"/>
                      <a:pt x="1917" y="10879"/>
                    </a:cubicBezTo>
                    <a:cubicBezTo>
                      <a:pt x="2556" y="11517"/>
                      <a:pt x="3195" y="12155"/>
                      <a:pt x="3834" y="12155"/>
                    </a:cubicBezTo>
                    <a:cubicBezTo>
                      <a:pt x="6390" y="13432"/>
                      <a:pt x="8946" y="12794"/>
                      <a:pt x="10863" y="10879"/>
                    </a:cubicBezTo>
                    <a:cubicBezTo>
                      <a:pt x="11502" y="10240"/>
                      <a:pt x="12141" y="9602"/>
                      <a:pt x="12141" y="8963"/>
                    </a:cubicBezTo>
                    <a:cubicBezTo>
                      <a:pt x="12780" y="8325"/>
                      <a:pt x="12780" y="7687"/>
                      <a:pt x="12780" y="6410"/>
                    </a:cubicBezTo>
                    <a:cubicBezTo>
                      <a:pt x="12780" y="4495"/>
                      <a:pt x="12141" y="3218"/>
                      <a:pt x="10863" y="1941"/>
                    </a:cubicBezTo>
                    <a:cubicBezTo>
                      <a:pt x="10224" y="1303"/>
                      <a:pt x="9585" y="664"/>
                      <a:pt x="8946" y="664"/>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09" name="Graphic 4">
                <a:extLst>
                  <a:ext uri="{FF2B5EF4-FFF2-40B4-BE49-F238E27FC236}">
                    <a16:creationId xmlns:a16="http://schemas.microsoft.com/office/drawing/2014/main" id="{F8B3567C-92FD-1C32-5DA2-CFD84FD735A1}"/>
                  </a:ext>
                </a:extLst>
              </p:cNvPr>
              <p:cNvSpPr/>
              <p:nvPr/>
            </p:nvSpPr>
            <p:spPr>
              <a:xfrm>
                <a:off x="1646047" y="2509706"/>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3834 w 12779"/>
                  <a:gd name="connsiteY3" fmla="*/ 638 h 12767"/>
                  <a:gd name="connsiteX4" fmla="*/ 1917 w 12779"/>
                  <a:gd name="connsiteY4" fmla="*/ 1915 h 12767"/>
                  <a:gd name="connsiteX5" fmla="*/ 639 w 12779"/>
                  <a:gd name="connsiteY5" fmla="*/ 3830 h 12767"/>
                  <a:gd name="connsiteX6" fmla="*/ 0 w 12779"/>
                  <a:gd name="connsiteY6" fmla="*/ 5107 h 12767"/>
                  <a:gd name="connsiteX7" fmla="*/ 0 w 12779"/>
                  <a:gd name="connsiteY7" fmla="*/ 6384 h 12767"/>
                  <a:gd name="connsiteX8" fmla="*/ 6390 w 12779"/>
                  <a:gd name="connsiteY8" fmla="*/ 12768 h 12767"/>
                  <a:gd name="connsiteX9" fmla="*/ 8946 w 12779"/>
                  <a:gd name="connsiteY9" fmla="*/ 12130 h 12767"/>
                  <a:gd name="connsiteX10" fmla="*/ 12141 w 12779"/>
                  <a:gd name="connsiteY10" fmla="*/ 8938 h 12767"/>
                  <a:gd name="connsiteX11" fmla="*/ 12780 w 12779"/>
                  <a:gd name="connsiteY11" fmla="*/ 6384 h 12767"/>
                  <a:gd name="connsiteX12" fmla="*/ 10863 w 12779"/>
                  <a:gd name="connsiteY12" fmla="*/ 1915 h 12767"/>
                  <a:gd name="connsiteX13" fmla="*/ 10224 w 12779"/>
                  <a:gd name="connsiteY13"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0224" y="1277"/>
                    </a:move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639" y="4469"/>
                      <a:pt x="639" y="4469"/>
                      <a:pt x="0" y="5107"/>
                    </a:cubicBezTo>
                    <a:cubicBezTo>
                      <a:pt x="0" y="5746"/>
                      <a:pt x="0" y="5746"/>
                      <a:pt x="0" y="6384"/>
                    </a:cubicBezTo>
                    <a:cubicBezTo>
                      <a:pt x="0" y="10214"/>
                      <a:pt x="3195" y="12768"/>
                      <a:pt x="6390" y="12768"/>
                    </a:cubicBezTo>
                    <a:cubicBezTo>
                      <a:pt x="7029" y="12768"/>
                      <a:pt x="8307"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10863" y="1915"/>
                      <a:pt x="10863" y="1277"/>
                      <a:pt x="10224"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grpSp>
        <p:sp>
          <p:nvSpPr>
            <p:cNvPr id="680" name="Graphic 4">
              <a:extLst>
                <a:ext uri="{FF2B5EF4-FFF2-40B4-BE49-F238E27FC236}">
                  <a16:creationId xmlns:a16="http://schemas.microsoft.com/office/drawing/2014/main" id="{8B519A2F-2F16-D163-CCF0-63DF864C1323}"/>
                </a:ext>
              </a:extLst>
            </p:cNvPr>
            <p:cNvSpPr/>
            <p:nvPr/>
          </p:nvSpPr>
          <p:spPr>
            <a:xfrm>
              <a:off x="6581260" y="3558522"/>
              <a:ext cx="296471" cy="296194"/>
            </a:xfrm>
            <a:custGeom>
              <a:avLst/>
              <a:gdLst>
                <a:gd name="connsiteX0" fmla="*/ 120131 w 240261"/>
                <a:gd name="connsiteY0" fmla="*/ 0 h 240037"/>
                <a:gd name="connsiteX1" fmla="*/ 0 w 240261"/>
                <a:gd name="connsiteY1" fmla="*/ 120019 h 240037"/>
                <a:gd name="connsiteX2" fmla="*/ 120131 w 240261"/>
                <a:gd name="connsiteY2" fmla="*/ 240038 h 240037"/>
                <a:gd name="connsiteX3" fmla="*/ 240262 w 240261"/>
                <a:gd name="connsiteY3" fmla="*/ 120019 h 240037"/>
                <a:gd name="connsiteX4" fmla="*/ 240262 w 240261"/>
                <a:gd name="connsiteY4" fmla="*/ 120019 h 240037"/>
                <a:gd name="connsiteX5" fmla="*/ 120131 w 240261"/>
                <a:gd name="connsiteY5" fmla="*/ 0 h 240037"/>
                <a:gd name="connsiteX6" fmla="*/ 214702 w 240261"/>
                <a:gd name="connsiteY6" fmla="*/ 170452 h 240037"/>
                <a:gd name="connsiteX7" fmla="*/ 162943 w 240261"/>
                <a:gd name="connsiteY7" fmla="*/ 170452 h 240037"/>
                <a:gd name="connsiteX8" fmla="*/ 166777 w 240261"/>
                <a:gd name="connsiteY8" fmla="*/ 126403 h 240037"/>
                <a:gd name="connsiteX9" fmla="*/ 226843 w 240261"/>
                <a:gd name="connsiteY9" fmla="*/ 126403 h 240037"/>
                <a:gd name="connsiteX10" fmla="*/ 214702 w 240261"/>
                <a:gd name="connsiteY10" fmla="*/ 170452 h 240037"/>
                <a:gd name="connsiteX11" fmla="*/ 120131 w 240261"/>
                <a:gd name="connsiteY11" fmla="*/ 227270 h 240037"/>
                <a:gd name="connsiteX12" fmla="*/ 93293 w 240261"/>
                <a:gd name="connsiteY12" fmla="*/ 183220 h 240037"/>
                <a:gd name="connsiteX13" fmla="*/ 147608 w 240261"/>
                <a:gd name="connsiteY13" fmla="*/ 183220 h 240037"/>
                <a:gd name="connsiteX14" fmla="*/ 120131 w 240261"/>
                <a:gd name="connsiteY14" fmla="*/ 227270 h 240037"/>
                <a:gd name="connsiteX15" fmla="*/ 120131 w 240261"/>
                <a:gd name="connsiteY15" fmla="*/ 227270 h 240037"/>
                <a:gd name="connsiteX16" fmla="*/ 90098 w 240261"/>
                <a:gd name="connsiteY16" fmla="*/ 170452 h 240037"/>
                <a:gd name="connsiteX17" fmla="*/ 85625 w 240261"/>
                <a:gd name="connsiteY17" fmla="*/ 126403 h 240037"/>
                <a:gd name="connsiteX18" fmla="*/ 153998 w 240261"/>
                <a:gd name="connsiteY18" fmla="*/ 126403 h 240037"/>
                <a:gd name="connsiteX19" fmla="*/ 149525 w 240261"/>
                <a:gd name="connsiteY19" fmla="*/ 170452 h 240037"/>
                <a:gd name="connsiteX20" fmla="*/ 90098 w 240261"/>
                <a:gd name="connsiteY20" fmla="*/ 170452 h 240037"/>
                <a:gd name="connsiteX21" fmla="*/ 13419 w 240261"/>
                <a:gd name="connsiteY21" fmla="*/ 126403 h 240037"/>
                <a:gd name="connsiteX22" fmla="*/ 73484 w 240261"/>
                <a:gd name="connsiteY22" fmla="*/ 126403 h 240037"/>
                <a:gd name="connsiteX23" fmla="*/ 77318 w 240261"/>
                <a:gd name="connsiteY23" fmla="*/ 170452 h 240037"/>
                <a:gd name="connsiteX24" fmla="*/ 25560 w 240261"/>
                <a:gd name="connsiteY24" fmla="*/ 170452 h 240037"/>
                <a:gd name="connsiteX25" fmla="*/ 13419 w 240261"/>
                <a:gd name="connsiteY25" fmla="*/ 126403 h 240037"/>
                <a:gd name="connsiteX26" fmla="*/ 25560 w 240261"/>
                <a:gd name="connsiteY26" fmla="*/ 69585 h 240037"/>
                <a:gd name="connsiteX27" fmla="*/ 77318 w 240261"/>
                <a:gd name="connsiteY27" fmla="*/ 69585 h 240037"/>
                <a:gd name="connsiteX28" fmla="*/ 73484 w 240261"/>
                <a:gd name="connsiteY28" fmla="*/ 113635 h 240037"/>
                <a:gd name="connsiteX29" fmla="*/ 13419 w 240261"/>
                <a:gd name="connsiteY29" fmla="*/ 113635 h 240037"/>
                <a:gd name="connsiteX30" fmla="*/ 25560 w 240261"/>
                <a:gd name="connsiteY30" fmla="*/ 69585 h 240037"/>
                <a:gd name="connsiteX31" fmla="*/ 120131 w 240261"/>
                <a:gd name="connsiteY31" fmla="*/ 12768 h 240037"/>
                <a:gd name="connsiteX32" fmla="*/ 146969 w 240261"/>
                <a:gd name="connsiteY32" fmla="*/ 56817 h 240037"/>
                <a:gd name="connsiteX33" fmla="*/ 92654 w 240261"/>
                <a:gd name="connsiteY33" fmla="*/ 56817 h 240037"/>
                <a:gd name="connsiteX34" fmla="*/ 120131 w 240261"/>
                <a:gd name="connsiteY34" fmla="*/ 12768 h 240037"/>
                <a:gd name="connsiteX35" fmla="*/ 120131 w 240261"/>
                <a:gd name="connsiteY35" fmla="*/ 12768 h 240037"/>
                <a:gd name="connsiteX36" fmla="*/ 150164 w 240261"/>
                <a:gd name="connsiteY36" fmla="*/ 69585 h 240037"/>
                <a:gd name="connsiteX37" fmla="*/ 154637 w 240261"/>
                <a:gd name="connsiteY37" fmla="*/ 113635 h 240037"/>
                <a:gd name="connsiteX38" fmla="*/ 86264 w 240261"/>
                <a:gd name="connsiteY38" fmla="*/ 113635 h 240037"/>
                <a:gd name="connsiteX39" fmla="*/ 90737 w 240261"/>
                <a:gd name="connsiteY39" fmla="*/ 69585 h 240037"/>
                <a:gd name="connsiteX40" fmla="*/ 150164 w 240261"/>
                <a:gd name="connsiteY40" fmla="*/ 69585 h 240037"/>
                <a:gd name="connsiteX41" fmla="*/ 166777 w 240261"/>
                <a:gd name="connsiteY41" fmla="*/ 113635 h 240037"/>
                <a:gd name="connsiteX42" fmla="*/ 162943 w 240261"/>
                <a:gd name="connsiteY42" fmla="*/ 69585 h 240037"/>
                <a:gd name="connsiteX43" fmla="*/ 214702 w 240261"/>
                <a:gd name="connsiteY43" fmla="*/ 69585 h 240037"/>
                <a:gd name="connsiteX44" fmla="*/ 226843 w 240261"/>
                <a:gd name="connsiteY44" fmla="*/ 113635 h 240037"/>
                <a:gd name="connsiteX45" fmla="*/ 166777 w 240261"/>
                <a:gd name="connsiteY45" fmla="*/ 113635 h 240037"/>
                <a:gd name="connsiteX46" fmla="*/ 206395 w 240261"/>
                <a:gd name="connsiteY46" fmla="*/ 56817 h 240037"/>
                <a:gd name="connsiteX47" fmla="*/ 160387 w 240261"/>
                <a:gd name="connsiteY47" fmla="*/ 56817 h 240037"/>
                <a:gd name="connsiteX48" fmla="*/ 144413 w 240261"/>
                <a:gd name="connsiteY48" fmla="*/ 15321 h 240037"/>
                <a:gd name="connsiteX49" fmla="*/ 206395 w 240261"/>
                <a:gd name="connsiteY49" fmla="*/ 56817 h 240037"/>
                <a:gd name="connsiteX50" fmla="*/ 206395 w 240261"/>
                <a:gd name="connsiteY50" fmla="*/ 56817 h 240037"/>
                <a:gd name="connsiteX51" fmla="*/ 95849 w 240261"/>
                <a:gd name="connsiteY51" fmla="*/ 15321 h 240037"/>
                <a:gd name="connsiteX52" fmla="*/ 79874 w 240261"/>
                <a:gd name="connsiteY52" fmla="*/ 56817 h 240037"/>
                <a:gd name="connsiteX53" fmla="*/ 33867 w 240261"/>
                <a:gd name="connsiteY53" fmla="*/ 56817 h 240037"/>
                <a:gd name="connsiteX54" fmla="*/ 95849 w 240261"/>
                <a:gd name="connsiteY54" fmla="*/ 15321 h 240037"/>
                <a:gd name="connsiteX55" fmla="*/ 95849 w 240261"/>
                <a:gd name="connsiteY55" fmla="*/ 15321 h 240037"/>
                <a:gd name="connsiteX56" fmla="*/ 33867 w 240261"/>
                <a:gd name="connsiteY56" fmla="*/ 183220 h 240037"/>
                <a:gd name="connsiteX57" fmla="*/ 79874 w 240261"/>
                <a:gd name="connsiteY57" fmla="*/ 183220 h 240037"/>
                <a:gd name="connsiteX58" fmla="*/ 95849 w 240261"/>
                <a:gd name="connsiteY58" fmla="*/ 224716 h 240037"/>
                <a:gd name="connsiteX59" fmla="*/ 33867 w 240261"/>
                <a:gd name="connsiteY59" fmla="*/ 183220 h 240037"/>
                <a:gd name="connsiteX60" fmla="*/ 144413 w 240261"/>
                <a:gd name="connsiteY60" fmla="*/ 224716 h 240037"/>
                <a:gd name="connsiteX61" fmla="*/ 160387 w 240261"/>
                <a:gd name="connsiteY61" fmla="*/ 183220 h 240037"/>
                <a:gd name="connsiteX62" fmla="*/ 206395 w 240261"/>
                <a:gd name="connsiteY62" fmla="*/ 183220 h 240037"/>
                <a:gd name="connsiteX63" fmla="*/ 144413 w 240261"/>
                <a:gd name="connsiteY63" fmla="*/ 224716 h 240037"/>
                <a:gd name="connsiteX64" fmla="*/ 144413 w 240261"/>
                <a:gd name="connsiteY64" fmla="*/ 224716 h 24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0261" h="240037">
                  <a:moveTo>
                    <a:pt x="120131" y="0"/>
                  </a:moveTo>
                  <a:cubicBezTo>
                    <a:pt x="53675" y="0"/>
                    <a:pt x="0" y="53625"/>
                    <a:pt x="0" y="120019"/>
                  </a:cubicBezTo>
                  <a:cubicBezTo>
                    <a:pt x="0" y="186412"/>
                    <a:pt x="53675" y="240038"/>
                    <a:pt x="120131" y="240038"/>
                  </a:cubicBezTo>
                  <a:cubicBezTo>
                    <a:pt x="186586" y="240038"/>
                    <a:pt x="240262" y="186412"/>
                    <a:pt x="240262" y="120019"/>
                  </a:cubicBezTo>
                  <a:cubicBezTo>
                    <a:pt x="240262" y="120019"/>
                    <a:pt x="240262" y="120019"/>
                    <a:pt x="240262" y="120019"/>
                  </a:cubicBezTo>
                  <a:cubicBezTo>
                    <a:pt x="240262" y="53625"/>
                    <a:pt x="186586" y="0"/>
                    <a:pt x="120131" y="0"/>
                  </a:cubicBezTo>
                  <a:close/>
                  <a:moveTo>
                    <a:pt x="214702" y="170452"/>
                  </a:moveTo>
                  <a:lnTo>
                    <a:pt x="162943" y="170452"/>
                  </a:lnTo>
                  <a:cubicBezTo>
                    <a:pt x="165499" y="155769"/>
                    <a:pt x="166777" y="141086"/>
                    <a:pt x="166777" y="126403"/>
                  </a:cubicBezTo>
                  <a:lnTo>
                    <a:pt x="226843" y="126403"/>
                  </a:lnTo>
                  <a:cubicBezTo>
                    <a:pt x="226204" y="141724"/>
                    <a:pt x="221731" y="157046"/>
                    <a:pt x="214702" y="170452"/>
                  </a:cubicBezTo>
                  <a:close/>
                  <a:moveTo>
                    <a:pt x="120131" y="227270"/>
                  </a:moveTo>
                  <a:cubicBezTo>
                    <a:pt x="110546" y="227270"/>
                    <a:pt x="99683" y="210033"/>
                    <a:pt x="93293" y="183220"/>
                  </a:cubicBezTo>
                  <a:lnTo>
                    <a:pt x="147608" y="183220"/>
                  </a:lnTo>
                  <a:cubicBezTo>
                    <a:pt x="140579" y="210033"/>
                    <a:pt x="129716" y="227270"/>
                    <a:pt x="120131" y="227270"/>
                  </a:cubicBezTo>
                  <a:lnTo>
                    <a:pt x="120131" y="227270"/>
                  </a:lnTo>
                  <a:close/>
                  <a:moveTo>
                    <a:pt x="90098" y="170452"/>
                  </a:moveTo>
                  <a:cubicBezTo>
                    <a:pt x="87542" y="155769"/>
                    <a:pt x="86264" y="141086"/>
                    <a:pt x="85625" y="126403"/>
                  </a:cubicBezTo>
                  <a:lnTo>
                    <a:pt x="153998" y="126403"/>
                  </a:lnTo>
                  <a:cubicBezTo>
                    <a:pt x="153998" y="141086"/>
                    <a:pt x="152081" y="155769"/>
                    <a:pt x="149525" y="170452"/>
                  </a:cubicBezTo>
                  <a:lnTo>
                    <a:pt x="90098" y="170452"/>
                  </a:lnTo>
                  <a:close/>
                  <a:moveTo>
                    <a:pt x="13419" y="126403"/>
                  </a:moveTo>
                  <a:lnTo>
                    <a:pt x="73484" y="126403"/>
                  </a:lnTo>
                  <a:cubicBezTo>
                    <a:pt x="73484" y="141086"/>
                    <a:pt x="75401" y="155769"/>
                    <a:pt x="77318" y="170452"/>
                  </a:cubicBezTo>
                  <a:lnTo>
                    <a:pt x="25560" y="170452"/>
                  </a:lnTo>
                  <a:cubicBezTo>
                    <a:pt x="17892" y="157046"/>
                    <a:pt x="14058" y="141724"/>
                    <a:pt x="13419" y="126403"/>
                  </a:cubicBezTo>
                  <a:close/>
                  <a:moveTo>
                    <a:pt x="25560" y="69585"/>
                  </a:moveTo>
                  <a:lnTo>
                    <a:pt x="77318" y="69585"/>
                  </a:lnTo>
                  <a:cubicBezTo>
                    <a:pt x="74762" y="84269"/>
                    <a:pt x="73484" y="98952"/>
                    <a:pt x="73484" y="113635"/>
                  </a:cubicBezTo>
                  <a:lnTo>
                    <a:pt x="13419" y="113635"/>
                  </a:lnTo>
                  <a:cubicBezTo>
                    <a:pt x="14058" y="98313"/>
                    <a:pt x="17892" y="82992"/>
                    <a:pt x="25560" y="69585"/>
                  </a:cubicBezTo>
                  <a:close/>
                  <a:moveTo>
                    <a:pt x="120131" y="12768"/>
                  </a:moveTo>
                  <a:cubicBezTo>
                    <a:pt x="129716" y="12768"/>
                    <a:pt x="140579" y="30005"/>
                    <a:pt x="146969" y="56817"/>
                  </a:cubicBezTo>
                  <a:lnTo>
                    <a:pt x="92654" y="56817"/>
                  </a:lnTo>
                  <a:cubicBezTo>
                    <a:pt x="99683" y="30005"/>
                    <a:pt x="110546" y="12768"/>
                    <a:pt x="120131" y="12768"/>
                  </a:cubicBezTo>
                  <a:lnTo>
                    <a:pt x="120131" y="12768"/>
                  </a:lnTo>
                  <a:close/>
                  <a:moveTo>
                    <a:pt x="150164" y="69585"/>
                  </a:moveTo>
                  <a:cubicBezTo>
                    <a:pt x="152720" y="84269"/>
                    <a:pt x="153998" y="98952"/>
                    <a:pt x="154637" y="113635"/>
                  </a:cubicBezTo>
                  <a:lnTo>
                    <a:pt x="86264" y="113635"/>
                  </a:lnTo>
                  <a:cubicBezTo>
                    <a:pt x="86264" y="98952"/>
                    <a:pt x="88181" y="84269"/>
                    <a:pt x="90737" y="69585"/>
                  </a:cubicBezTo>
                  <a:lnTo>
                    <a:pt x="150164" y="69585"/>
                  </a:lnTo>
                  <a:close/>
                  <a:moveTo>
                    <a:pt x="166777" y="113635"/>
                  </a:moveTo>
                  <a:cubicBezTo>
                    <a:pt x="166777" y="98952"/>
                    <a:pt x="164860" y="84269"/>
                    <a:pt x="162943" y="69585"/>
                  </a:cubicBezTo>
                  <a:lnTo>
                    <a:pt x="214702" y="69585"/>
                  </a:lnTo>
                  <a:cubicBezTo>
                    <a:pt x="221731" y="82992"/>
                    <a:pt x="226204" y="98313"/>
                    <a:pt x="226843" y="113635"/>
                  </a:cubicBezTo>
                  <a:lnTo>
                    <a:pt x="166777" y="113635"/>
                  </a:lnTo>
                  <a:close/>
                  <a:moveTo>
                    <a:pt x="206395" y="56817"/>
                  </a:moveTo>
                  <a:lnTo>
                    <a:pt x="160387" y="56817"/>
                  </a:lnTo>
                  <a:cubicBezTo>
                    <a:pt x="157192" y="42134"/>
                    <a:pt x="152081" y="28089"/>
                    <a:pt x="144413" y="15321"/>
                  </a:cubicBezTo>
                  <a:cubicBezTo>
                    <a:pt x="169333" y="21705"/>
                    <a:pt x="191059" y="36389"/>
                    <a:pt x="206395" y="56817"/>
                  </a:cubicBezTo>
                  <a:lnTo>
                    <a:pt x="206395" y="56817"/>
                  </a:lnTo>
                  <a:close/>
                  <a:moveTo>
                    <a:pt x="95849" y="15321"/>
                  </a:moveTo>
                  <a:cubicBezTo>
                    <a:pt x="88181" y="28089"/>
                    <a:pt x="82430" y="42134"/>
                    <a:pt x="79874" y="56817"/>
                  </a:cubicBezTo>
                  <a:lnTo>
                    <a:pt x="33867" y="56817"/>
                  </a:lnTo>
                  <a:cubicBezTo>
                    <a:pt x="49203" y="36389"/>
                    <a:pt x="70928" y="21705"/>
                    <a:pt x="95849" y="15321"/>
                  </a:cubicBezTo>
                  <a:lnTo>
                    <a:pt x="95849" y="15321"/>
                  </a:lnTo>
                  <a:close/>
                  <a:moveTo>
                    <a:pt x="33867" y="183220"/>
                  </a:moveTo>
                  <a:lnTo>
                    <a:pt x="79874" y="183220"/>
                  </a:lnTo>
                  <a:cubicBezTo>
                    <a:pt x="83069" y="197903"/>
                    <a:pt x="88181" y="211948"/>
                    <a:pt x="95849" y="224716"/>
                  </a:cubicBezTo>
                  <a:cubicBezTo>
                    <a:pt x="70928" y="218332"/>
                    <a:pt x="49203" y="203649"/>
                    <a:pt x="33867" y="183220"/>
                  </a:cubicBezTo>
                  <a:close/>
                  <a:moveTo>
                    <a:pt x="144413" y="224716"/>
                  </a:moveTo>
                  <a:cubicBezTo>
                    <a:pt x="152081" y="211948"/>
                    <a:pt x="157831" y="197903"/>
                    <a:pt x="160387" y="183220"/>
                  </a:cubicBezTo>
                  <a:lnTo>
                    <a:pt x="206395" y="183220"/>
                  </a:lnTo>
                  <a:cubicBezTo>
                    <a:pt x="191059" y="203649"/>
                    <a:pt x="169333" y="218332"/>
                    <a:pt x="144413" y="224716"/>
                  </a:cubicBezTo>
                  <a:lnTo>
                    <a:pt x="144413" y="224716"/>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91319569-2C5C-9B2D-B219-98B0C4339AF3}"/>
                </a:ext>
              </a:extLst>
            </p:cNvPr>
            <p:cNvSpPr/>
            <p:nvPr/>
          </p:nvSpPr>
          <p:spPr bwMode="gray">
            <a:xfrm>
              <a:off x="6108615" y="1720154"/>
              <a:ext cx="1226660" cy="202871"/>
            </a:xfrm>
            <a:prstGeom prst="rect">
              <a:avLst/>
            </a:prstGeom>
            <a:solidFill>
              <a:srgbClr val="3BC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latin typeface="Open Sans Bold" panose="020B0806030504020204" pitchFamily="34" charset="0"/>
                  <a:ea typeface="Open Sans Bold" panose="020B0806030504020204" pitchFamily="34" charset="0"/>
                  <a:cs typeface="Open Sans Bold" panose="020B0806030504020204" pitchFamily="34" charset="0"/>
                </a:rPr>
                <a:t>Europe</a:t>
              </a:r>
            </a:p>
          </p:txBody>
        </p:sp>
      </p:grpSp>
      <p:grpSp>
        <p:nvGrpSpPr>
          <p:cNvPr id="7" name="Group 6">
            <a:extLst>
              <a:ext uri="{FF2B5EF4-FFF2-40B4-BE49-F238E27FC236}">
                <a16:creationId xmlns:a16="http://schemas.microsoft.com/office/drawing/2014/main" id="{414BAD99-B7CF-8277-651B-AFBA36036951}"/>
              </a:ext>
            </a:extLst>
          </p:cNvPr>
          <p:cNvGrpSpPr/>
          <p:nvPr/>
        </p:nvGrpSpPr>
        <p:grpSpPr>
          <a:xfrm>
            <a:off x="6111980" y="1720154"/>
            <a:ext cx="1226660" cy="2770766"/>
            <a:chOff x="7597880" y="1720154"/>
            <a:chExt cx="1226660" cy="2770766"/>
          </a:xfrm>
        </p:grpSpPr>
        <p:sp>
          <p:nvSpPr>
            <p:cNvPr id="521" name="object 23">
              <a:extLst>
                <a:ext uri="{FF2B5EF4-FFF2-40B4-BE49-F238E27FC236}">
                  <a16:creationId xmlns:a16="http://schemas.microsoft.com/office/drawing/2014/main" id="{C196969B-07C0-C547-5060-689F0CBB80CE}"/>
                </a:ext>
              </a:extLst>
            </p:cNvPr>
            <p:cNvSpPr txBox="1"/>
            <p:nvPr/>
          </p:nvSpPr>
          <p:spPr>
            <a:xfrm>
              <a:off x="7955015" y="2695729"/>
              <a:ext cx="467757" cy="487313"/>
            </a:xfrm>
            <a:prstGeom prst="rect">
              <a:avLst/>
            </a:prstGeom>
          </p:spPr>
          <p:txBody>
            <a:bodyPr vert="horz" wrap="none" lIns="0" tIns="0" rIns="0" bIns="0" rtlCol="0">
              <a:spAutoFit/>
            </a:bodyPr>
            <a:lstStyle/>
            <a:p>
              <a:pPr marL="50800"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1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46</a:t>
              </a:r>
              <a:endPar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fi</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a:t>
              </a:r>
              <a:r>
                <a:rPr kumimoji="0" lang="en-US" sz="900" b="0" i="0" u="none" strike="noStrike" kern="1200" cap="none" spc="-2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p>
          </p:txBody>
        </p:sp>
        <p:sp>
          <p:nvSpPr>
            <p:cNvPr id="522" name="object 24">
              <a:extLst>
                <a:ext uri="{FF2B5EF4-FFF2-40B4-BE49-F238E27FC236}">
                  <a16:creationId xmlns:a16="http://schemas.microsoft.com/office/drawing/2014/main" id="{95FE7E9A-D097-DDDB-A1C0-AE1E7A89C4D0}"/>
                </a:ext>
              </a:extLst>
            </p:cNvPr>
            <p:cNvSpPr txBox="1"/>
            <p:nvPr/>
          </p:nvSpPr>
          <p:spPr>
            <a:xfrm>
              <a:off x="7903443" y="4003607"/>
              <a:ext cx="493084" cy="487313"/>
            </a:xfrm>
            <a:prstGeom prst="rect">
              <a:avLst/>
            </a:prstGeom>
          </p:spPr>
          <p:txBody>
            <a:bodyPr vert="horz" wrap="none" lIns="0" tIns="0" rIns="0" bIns="0" rtlCol="0">
              <a:spAutoFit/>
            </a:bodyPr>
            <a:lstStyle/>
            <a:p>
              <a:pPr marL="68580" marR="0" lvl="0" indent="0" algn="ctr" defTabSz="914400" eaLnBrk="1" fontAlgn="auto" latinLnBrk="0" hangingPunct="1">
                <a:lnSpc>
                  <a:spcPts val="2815"/>
                </a:lnSpc>
                <a:spcBef>
                  <a:spcPts val="0"/>
                </a:spcBef>
                <a:spcAft>
                  <a:spcPts val="0"/>
                </a:spcAft>
                <a:buClrTx/>
                <a:buSzTx/>
                <a:buFontTx/>
                <a:buNone/>
                <a:tabLst/>
                <a:defRPr/>
              </a:pPr>
              <a:r>
                <a:rPr kumimoji="0" lang="en-US" sz="2800" b="1" i="0" u="none" strike="noStrike" kern="1200" cap="none" spc="-15"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30</a:t>
              </a:r>
              <a:endParaRPr kumimoji="0" lang="en-US" sz="2800" b="1" i="0" u="none" strike="noStrike" kern="1200" cap="none" spc="0" normalizeH="0" baseline="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12700" marR="0" lvl="0" indent="0" algn="ctr" defTabSz="914400" eaLnBrk="1" fontAlgn="auto" latinLnBrk="0" hangingPunct="1">
                <a:lnSpc>
                  <a:spcPts val="955"/>
                </a:lnSpc>
                <a:spcBef>
                  <a:spcPts val="0"/>
                </a:spcBef>
                <a:spcAft>
                  <a:spcPts val="0"/>
                </a:spcAft>
                <a:buClrTx/>
                <a:buSzTx/>
                <a:buFontTx/>
                <a:buNone/>
                <a:tabLst/>
                <a:defRPr/>
              </a:pP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a:t>
              </a:r>
              <a:r>
                <a:rPr kumimoji="0" lang="en-US" sz="900" b="0" i="0" u="none" strike="noStrike" kern="1200" cap="none" spc="-1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t>
              </a:r>
              <a:r>
                <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e</a:t>
              </a:r>
              <a:r>
                <a:rPr kumimoji="0" lang="en-US" sz="900" b="0" i="0" u="none" strike="noStrike" kern="1200" cap="none" spc="-5"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t>
              </a:r>
              <a:endParaRPr kumimoji="0" lang="en-US" sz="900" b="0" i="0" u="none" strike="noStrike" kern="1200" cap="none" spc="0" normalizeH="0" baseline="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610" name="Graphic 4">
              <a:extLst>
                <a:ext uri="{FF2B5EF4-FFF2-40B4-BE49-F238E27FC236}">
                  <a16:creationId xmlns:a16="http://schemas.microsoft.com/office/drawing/2014/main" id="{2A46387D-A080-DBD3-6D59-3B5F2D216C45}"/>
                </a:ext>
              </a:extLst>
            </p:cNvPr>
            <p:cNvGrpSpPr>
              <a:grpSpLocks noChangeAspect="1"/>
            </p:cNvGrpSpPr>
            <p:nvPr/>
          </p:nvGrpSpPr>
          <p:grpSpPr>
            <a:xfrm>
              <a:off x="8042314" y="2285747"/>
              <a:ext cx="293158" cy="234133"/>
              <a:chOff x="1589177" y="2466933"/>
              <a:chExt cx="213423" cy="170452"/>
            </a:xfrm>
            <a:solidFill>
              <a:srgbClr val="00B0F2"/>
            </a:solidFill>
          </p:grpSpPr>
          <p:sp>
            <p:nvSpPr>
              <p:cNvPr id="611" name="Graphic 4">
                <a:extLst>
                  <a:ext uri="{FF2B5EF4-FFF2-40B4-BE49-F238E27FC236}">
                    <a16:creationId xmlns:a16="http://schemas.microsoft.com/office/drawing/2014/main" id="{2176347D-BB24-9FD5-8CC2-2DDABA0D7C50}"/>
                  </a:ext>
                </a:extLst>
              </p:cNvPr>
              <p:cNvSpPr/>
              <p:nvPr/>
            </p:nvSpPr>
            <p:spPr>
              <a:xfrm>
                <a:off x="1589177" y="2466933"/>
                <a:ext cx="213423" cy="170452"/>
              </a:xfrm>
              <a:custGeom>
                <a:avLst/>
                <a:gdLst>
                  <a:gd name="connsiteX0" fmla="*/ 207034 w 213423"/>
                  <a:gd name="connsiteY0" fmla="*/ 14045 h 170452"/>
                  <a:gd name="connsiteX1" fmla="*/ 170611 w 213423"/>
                  <a:gd name="connsiteY1" fmla="*/ 14045 h 170452"/>
                  <a:gd name="connsiteX2" fmla="*/ 170611 w 213423"/>
                  <a:gd name="connsiteY2" fmla="*/ 6384 h 170452"/>
                  <a:gd name="connsiteX3" fmla="*/ 164221 w 213423"/>
                  <a:gd name="connsiteY3" fmla="*/ 0 h 170452"/>
                  <a:gd name="connsiteX4" fmla="*/ 49202 w 213423"/>
                  <a:gd name="connsiteY4" fmla="*/ 0 h 170452"/>
                  <a:gd name="connsiteX5" fmla="*/ 42813 w 213423"/>
                  <a:gd name="connsiteY5" fmla="*/ 6384 h 170452"/>
                  <a:gd name="connsiteX6" fmla="*/ 42813 w 213423"/>
                  <a:gd name="connsiteY6" fmla="*/ 14045 h 170452"/>
                  <a:gd name="connsiteX7" fmla="*/ 6390 w 213423"/>
                  <a:gd name="connsiteY7" fmla="*/ 14045 h 170452"/>
                  <a:gd name="connsiteX8" fmla="*/ 0 w 213423"/>
                  <a:gd name="connsiteY8" fmla="*/ 20429 h 170452"/>
                  <a:gd name="connsiteX9" fmla="*/ 0 w 213423"/>
                  <a:gd name="connsiteY9" fmla="*/ 164068 h 170452"/>
                  <a:gd name="connsiteX10" fmla="*/ 6390 w 213423"/>
                  <a:gd name="connsiteY10" fmla="*/ 170452 h 170452"/>
                  <a:gd name="connsiteX11" fmla="*/ 207034 w 213423"/>
                  <a:gd name="connsiteY11" fmla="*/ 170452 h 170452"/>
                  <a:gd name="connsiteX12" fmla="*/ 213424 w 213423"/>
                  <a:gd name="connsiteY12" fmla="*/ 164068 h 170452"/>
                  <a:gd name="connsiteX13" fmla="*/ 213424 w 213423"/>
                  <a:gd name="connsiteY13" fmla="*/ 20429 h 170452"/>
                  <a:gd name="connsiteX14" fmla="*/ 207034 w 213423"/>
                  <a:gd name="connsiteY14" fmla="*/ 14045 h 170452"/>
                  <a:gd name="connsiteX15" fmla="*/ 98405 w 213423"/>
                  <a:gd name="connsiteY15" fmla="*/ 157684 h 170452"/>
                  <a:gd name="connsiteX16" fmla="*/ 98405 w 213423"/>
                  <a:gd name="connsiteY16" fmla="*/ 112997 h 170452"/>
                  <a:gd name="connsiteX17" fmla="*/ 114380 w 213423"/>
                  <a:gd name="connsiteY17" fmla="*/ 112997 h 170452"/>
                  <a:gd name="connsiteX18" fmla="*/ 114380 w 213423"/>
                  <a:gd name="connsiteY18" fmla="*/ 157684 h 170452"/>
                  <a:gd name="connsiteX19" fmla="*/ 98405 w 213423"/>
                  <a:gd name="connsiteY19" fmla="*/ 157684 h 170452"/>
                  <a:gd name="connsiteX20" fmla="*/ 200644 w 213423"/>
                  <a:gd name="connsiteY20" fmla="*/ 157684 h 170452"/>
                  <a:gd name="connsiteX21" fmla="*/ 127160 w 213423"/>
                  <a:gd name="connsiteY21" fmla="*/ 157684 h 170452"/>
                  <a:gd name="connsiteX22" fmla="*/ 127160 w 213423"/>
                  <a:gd name="connsiteY22" fmla="*/ 106613 h 170452"/>
                  <a:gd name="connsiteX23" fmla="*/ 120770 w 213423"/>
                  <a:gd name="connsiteY23" fmla="*/ 100229 h 170452"/>
                  <a:gd name="connsiteX24" fmla="*/ 92015 w 213423"/>
                  <a:gd name="connsiteY24" fmla="*/ 100229 h 170452"/>
                  <a:gd name="connsiteX25" fmla="*/ 85625 w 213423"/>
                  <a:gd name="connsiteY25" fmla="*/ 106613 h 170452"/>
                  <a:gd name="connsiteX26" fmla="*/ 85625 w 213423"/>
                  <a:gd name="connsiteY26" fmla="*/ 157684 h 170452"/>
                  <a:gd name="connsiteX27" fmla="*/ 12141 w 213423"/>
                  <a:gd name="connsiteY27" fmla="*/ 157684 h 170452"/>
                  <a:gd name="connsiteX28" fmla="*/ 12141 w 213423"/>
                  <a:gd name="connsiteY28" fmla="*/ 26813 h 170452"/>
                  <a:gd name="connsiteX29" fmla="*/ 48563 w 213423"/>
                  <a:gd name="connsiteY29" fmla="*/ 26813 h 170452"/>
                  <a:gd name="connsiteX30" fmla="*/ 54953 w 213423"/>
                  <a:gd name="connsiteY30" fmla="*/ 20429 h 170452"/>
                  <a:gd name="connsiteX31" fmla="*/ 54953 w 213423"/>
                  <a:gd name="connsiteY31" fmla="*/ 12768 h 170452"/>
                  <a:gd name="connsiteX32" fmla="*/ 157192 w 213423"/>
                  <a:gd name="connsiteY32" fmla="*/ 12768 h 170452"/>
                  <a:gd name="connsiteX33" fmla="*/ 157192 w 213423"/>
                  <a:gd name="connsiteY33" fmla="*/ 20429 h 170452"/>
                  <a:gd name="connsiteX34" fmla="*/ 163582 w 213423"/>
                  <a:gd name="connsiteY34" fmla="*/ 26813 h 170452"/>
                  <a:gd name="connsiteX35" fmla="*/ 200005 w 213423"/>
                  <a:gd name="connsiteY35" fmla="*/ 26813 h 170452"/>
                  <a:gd name="connsiteX36" fmla="*/ 200644 w 213423"/>
                  <a:gd name="connsiteY36" fmla="*/ 157684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3423" h="170452">
                    <a:moveTo>
                      <a:pt x="207034" y="14045"/>
                    </a:moveTo>
                    <a:lnTo>
                      <a:pt x="170611" y="14045"/>
                    </a:lnTo>
                    <a:lnTo>
                      <a:pt x="170611" y="6384"/>
                    </a:lnTo>
                    <a:cubicBezTo>
                      <a:pt x="170611" y="2554"/>
                      <a:pt x="168055" y="0"/>
                      <a:pt x="164221" y="0"/>
                    </a:cubicBezTo>
                    <a:lnTo>
                      <a:pt x="49202" y="0"/>
                    </a:lnTo>
                    <a:cubicBezTo>
                      <a:pt x="45369" y="0"/>
                      <a:pt x="42813" y="2554"/>
                      <a:pt x="42813" y="6384"/>
                    </a:cubicBezTo>
                    <a:lnTo>
                      <a:pt x="42813" y="14045"/>
                    </a:lnTo>
                    <a:lnTo>
                      <a:pt x="6390" y="14045"/>
                    </a:lnTo>
                    <a:cubicBezTo>
                      <a:pt x="2556" y="14045"/>
                      <a:pt x="0" y="16598"/>
                      <a:pt x="0" y="20429"/>
                    </a:cubicBezTo>
                    <a:lnTo>
                      <a:pt x="0" y="164068"/>
                    </a:lnTo>
                    <a:cubicBezTo>
                      <a:pt x="0" y="167899"/>
                      <a:pt x="2556" y="170452"/>
                      <a:pt x="6390" y="170452"/>
                    </a:cubicBezTo>
                    <a:lnTo>
                      <a:pt x="207034" y="170452"/>
                    </a:lnTo>
                    <a:cubicBezTo>
                      <a:pt x="210868" y="170452"/>
                      <a:pt x="213424" y="167899"/>
                      <a:pt x="213424" y="164068"/>
                    </a:cubicBezTo>
                    <a:lnTo>
                      <a:pt x="213424" y="20429"/>
                    </a:lnTo>
                    <a:cubicBezTo>
                      <a:pt x="213424" y="17237"/>
                      <a:pt x="210868" y="14045"/>
                      <a:pt x="207034" y="14045"/>
                    </a:cubicBezTo>
                    <a:close/>
                    <a:moveTo>
                      <a:pt x="98405" y="157684"/>
                    </a:moveTo>
                    <a:lnTo>
                      <a:pt x="98405" y="112997"/>
                    </a:lnTo>
                    <a:lnTo>
                      <a:pt x="114380" y="112997"/>
                    </a:lnTo>
                    <a:lnTo>
                      <a:pt x="114380" y="157684"/>
                    </a:lnTo>
                    <a:lnTo>
                      <a:pt x="98405" y="157684"/>
                    </a:lnTo>
                    <a:close/>
                    <a:moveTo>
                      <a:pt x="200644" y="157684"/>
                    </a:moveTo>
                    <a:lnTo>
                      <a:pt x="127160" y="157684"/>
                    </a:lnTo>
                    <a:lnTo>
                      <a:pt x="127160" y="106613"/>
                    </a:lnTo>
                    <a:cubicBezTo>
                      <a:pt x="127160" y="102782"/>
                      <a:pt x="124604" y="100229"/>
                      <a:pt x="120770" y="100229"/>
                    </a:cubicBezTo>
                    <a:lnTo>
                      <a:pt x="92015" y="100229"/>
                    </a:lnTo>
                    <a:cubicBezTo>
                      <a:pt x="88181" y="100229"/>
                      <a:pt x="85625" y="102782"/>
                      <a:pt x="85625" y="106613"/>
                    </a:cubicBezTo>
                    <a:lnTo>
                      <a:pt x="85625" y="157684"/>
                    </a:lnTo>
                    <a:lnTo>
                      <a:pt x="12141" y="157684"/>
                    </a:lnTo>
                    <a:lnTo>
                      <a:pt x="12141" y="26813"/>
                    </a:lnTo>
                    <a:lnTo>
                      <a:pt x="48563" y="26813"/>
                    </a:lnTo>
                    <a:cubicBezTo>
                      <a:pt x="52397" y="26813"/>
                      <a:pt x="54953" y="24259"/>
                      <a:pt x="54953" y="20429"/>
                    </a:cubicBezTo>
                    <a:lnTo>
                      <a:pt x="54953" y="12768"/>
                    </a:lnTo>
                    <a:lnTo>
                      <a:pt x="157192" y="12768"/>
                    </a:lnTo>
                    <a:lnTo>
                      <a:pt x="157192" y="20429"/>
                    </a:lnTo>
                    <a:cubicBezTo>
                      <a:pt x="157192" y="24259"/>
                      <a:pt x="159749" y="26813"/>
                      <a:pt x="163582" y="26813"/>
                    </a:cubicBezTo>
                    <a:lnTo>
                      <a:pt x="200005" y="26813"/>
                    </a:lnTo>
                    <a:lnTo>
                      <a:pt x="200644" y="157684"/>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12" name="Graphic 4">
                <a:extLst>
                  <a:ext uri="{FF2B5EF4-FFF2-40B4-BE49-F238E27FC236}">
                    <a16:creationId xmlns:a16="http://schemas.microsoft.com/office/drawing/2014/main" id="{69E40C74-F32A-1191-B880-ED2C6BA1EF32}"/>
                  </a:ext>
                </a:extLst>
              </p:cNvPr>
              <p:cNvSpPr/>
              <p:nvPr/>
            </p:nvSpPr>
            <p:spPr>
              <a:xfrm>
                <a:off x="1761066" y="2595863"/>
                <a:ext cx="12779" cy="12644"/>
              </a:xfrm>
              <a:custGeom>
                <a:avLst/>
                <a:gdLst>
                  <a:gd name="connsiteX0" fmla="*/ 1917 w 12779"/>
                  <a:gd name="connsiteY0" fmla="*/ 10879 h 12644"/>
                  <a:gd name="connsiteX1" fmla="*/ 3834 w 12779"/>
                  <a:gd name="connsiteY1" fmla="*/ 12155 h 12644"/>
                  <a:gd name="connsiteX2" fmla="*/ 12141 w 12779"/>
                  <a:gd name="connsiteY2" fmla="*/ 8963 h 12644"/>
                  <a:gd name="connsiteX3" fmla="*/ 12780 w 12779"/>
                  <a:gd name="connsiteY3" fmla="*/ 6410 h 12644"/>
                  <a:gd name="connsiteX4" fmla="*/ 12141 w 12779"/>
                  <a:gd name="connsiteY4" fmla="*/ 3856 h 12644"/>
                  <a:gd name="connsiteX5" fmla="*/ 10863 w 12779"/>
                  <a:gd name="connsiteY5" fmla="*/ 1941 h 12644"/>
                  <a:gd name="connsiteX6" fmla="*/ 3834 w 12779"/>
                  <a:gd name="connsiteY6" fmla="*/ 664 h 12644"/>
                  <a:gd name="connsiteX7" fmla="*/ 1917 w 12779"/>
                  <a:gd name="connsiteY7" fmla="*/ 1941 h 12644"/>
                  <a:gd name="connsiteX8" fmla="*/ 639 w 12779"/>
                  <a:gd name="connsiteY8" fmla="*/ 3856 h 12644"/>
                  <a:gd name="connsiteX9" fmla="*/ 0 w 12779"/>
                  <a:gd name="connsiteY9" fmla="*/ 6410 h 12644"/>
                  <a:gd name="connsiteX10" fmla="*/ 1917 w 12779"/>
                  <a:gd name="connsiteY10" fmla="*/ 10879 h 12644"/>
                  <a:gd name="connsiteX11" fmla="*/ 1917 w 12779"/>
                  <a:gd name="connsiteY11" fmla="*/ 10879 h 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44">
                    <a:moveTo>
                      <a:pt x="1917" y="10879"/>
                    </a:moveTo>
                    <a:cubicBezTo>
                      <a:pt x="2556" y="11517"/>
                      <a:pt x="3195" y="12155"/>
                      <a:pt x="3834" y="12155"/>
                    </a:cubicBezTo>
                    <a:cubicBezTo>
                      <a:pt x="7029" y="13432"/>
                      <a:pt x="10863" y="12155"/>
                      <a:pt x="12141" y="8963"/>
                    </a:cubicBezTo>
                    <a:cubicBezTo>
                      <a:pt x="12780" y="8325"/>
                      <a:pt x="12780" y="7687"/>
                      <a:pt x="12780" y="6410"/>
                    </a:cubicBezTo>
                    <a:cubicBezTo>
                      <a:pt x="12780" y="5771"/>
                      <a:pt x="12780" y="4495"/>
                      <a:pt x="12141" y="3856"/>
                    </a:cubicBezTo>
                    <a:cubicBezTo>
                      <a:pt x="12141" y="3218"/>
                      <a:pt x="11502" y="2579"/>
                      <a:pt x="10863" y="1941"/>
                    </a:cubicBezTo>
                    <a:cubicBezTo>
                      <a:pt x="8946" y="26"/>
                      <a:pt x="6390" y="-613"/>
                      <a:pt x="3834" y="664"/>
                    </a:cubicBezTo>
                    <a:cubicBezTo>
                      <a:pt x="3195" y="1303"/>
                      <a:pt x="2556" y="1303"/>
                      <a:pt x="1917" y="1941"/>
                    </a:cubicBezTo>
                    <a:cubicBezTo>
                      <a:pt x="1278" y="2579"/>
                      <a:pt x="639" y="3218"/>
                      <a:pt x="639" y="3856"/>
                    </a:cubicBezTo>
                    <a:cubicBezTo>
                      <a:pt x="0" y="4495"/>
                      <a:pt x="0" y="5771"/>
                      <a:pt x="0" y="6410"/>
                    </a:cubicBezTo>
                    <a:cubicBezTo>
                      <a:pt x="0" y="8325"/>
                      <a:pt x="639" y="9602"/>
                      <a:pt x="1917" y="10879"/>
                    </a:cubicBezTo>
                    <a:lnTo>
                      <a:pt x="1917" y="10879"/>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13" name="Graphic 4">
                <a:extLst>
                  <a:ext uri="{FF2B5EF4-FFF2-40B4-BE49-F238E27FC236}">
                    <a16:creationId xmlns:a16="http://schemas.microsoft.com/office/drawing/2014/main" id="{42311FAD-740A-E9B9-75F2-27070F371E2A}"/>
                  </a:ext>
                </a:extLst>
              </p:cNvPr>
              <p:cNvSpPr/>
              <p:nvPr/>
            </p:nvSpPr>
            <p:spPr>
              <a:xfrm>
                <a:off x="1732461" y="2567161"/>
                <a:ext cx="12630" cy="12608"/>
              </a:xfrm>
              <a:custGeom>
                <a:avLst/>
                <a:gdLst>
                  <a:gd name="connsiteX0" fmla="*/ 10075 w 12630"/>
                  <a:gd name="connsiteY0" fmla="*/ 1277 h 12608"/>
                  <a:gd name="connsiteX1" fmla="*/ 8797 w 12630"/>
                  <a:gd name="connsiteY1" fmla="*/ 638 h 12608"/>
                  <a:gd name="connsiteX2" fmla="*/ 7519 w 12630"/>
                  <a:gd name="connsiteY2" fmla="*/ 0 h 12608"/>
                  <a:gd name="connsiteX3" fmla="*/ 3685 w 12630"/>
                  <a:gd name="connsiteY3" fmla="*/ 638 h 12608"/>
                  <a:gd name="connsiteX4" fmla="*/ 2407 w 12630"/>
                  <a:gd name="connsiteY4" fmla="*/ 1277 h 12608"/>
                  <a:gd name="connsiteX5" fmla="*/ 1768 w 12630"/>
                  <a:gd name="connsiteY5" fmla="*/ 1915 h 12608"/>
                  <a:gd name="connsiteX6" fmla="*/ 490 w 12630"/>
                  <a:gd name="connsiteY6" fmla="*/ 3830 h 12608"/>
                  <a:gd name="connsiteX7" fmla="*/ 3685 w 12630"/>
                  <a:gd name="connsiteY7" fmla="*/ 12130 h 12608"/>
                  <a:gd name="connsiteX8" fmla="*/ 8797 w 12630"/>
                  <a:gd name="connsiteY8" fmla="*/ 12130 h 12608"/>
                  <a:gd name="connsiteX9" fmla="*/ 10714 w 12630"/>
                  <a:gd name="connsiteY9" fmla="*/ 10853 h 12608"/>
                  <a:gd name="connsiteX10" fmla="*/ 12631 w 12630"/>
                  <a:gd name="connsiteY10" fmla="*/ 6384 h 12608"/>
                  <a:gd name="connsiteX11" fmla="*/ 10714 w 12630"/>
                  <a:gd name="connsiteY11" fmla="*/ 1915 h 12608"/>
                  <a:gd name="connsiteX12" fmla="*/ 10075 w 12630"/>
                  <a:gd name="connsiteY12" fmla="*/ 1277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 h="12608">
                    <a:moveTo>
                      <a:pt x="10075" y="1277"/>
                    </a:moveTo>
                    <a:lnTo>
                      <a:pt x="8797" y="638"/>
                    </a:lnTo>
                    <a:lnTo>
                      <a:pt x="7519" y="0"/>
                    </a:lnTo>
                    <a:cubicBezTo>
                      <a:pt x="6241" y="0"/>
                      <a:pt x="4963" y="0"/>
                      <a:pt x="3685" y="638"/>
                    </a:cubicBezTo>
                    <a:lnTo>
                      <a:pt x="2407" y="1277"/>
                    </a:lnTo>
                    <a:lnTo>
                      <a:pt x="1768" y="1915"/>
                    </a:lnTo>
                    <a:cubicBezTo>
                      <a:pt x="1129" y="2554"/>
                      <a:pt x="490" y="3192"/>
                      <a:pt x="490" y="3830"/>
                    </a:cubicBezTo>
                    <a:cubicBezTo>
                      <a:pt x="-788" y="7022"/>
                      <a:pt x="490" y="10853"/>
                      <a:pt x="3685" y="12130"/>
                    </a:cubicBezTo>
                    <a:cubicBezTo>
                      <a:pt x="4963" y="12768"/>
                      <a:pt x="6880" y="12768"/>
                      <a:pt x="8797" y="12130"/>
                    </a:cubicBezTo>
                    <a:cubicBezTo>
                      <a:pt x="9436" y="12130"/>
                      <a:pt x="10075" y="11491"/>
                      <a:pt x="10714" y="10853"/>
                    </a:cubicBezTo>
                    <a:cubicBezTo>
                      <a:pt x="11992" y="9576"/>
                      <a:pt x="12631" y="8299"/>
                      <a:pt x="12631" y="6384"/>
                    </a:cubicBezTo>
                    <a:cubicBezTo>
                      <a:pt x="12631" y="4469"/>
                      <a:pt x="11992" y="3192"/>
                      <a:pt x="10714" y="1915"/>
                    </a:cubicBezTo>
                    <a:cubicBezTo>
                      <a:pt x="10714" y="1277"/>
                      <a:pt x="10075" y="1277"/>
                      <a:pt x="10075"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14" name="Graphic 4">
                <a:extLst>
                  <a:ext uri="{FF2B5EF4-FFF2-40B4-BE49-F238E27FC236}">
                    <a16:creationId xmlns:a16="http://schemas.microsoft.com/office/drawing/2014/main" id="{8802C32C-D1C4-1A47-7FE7-CAF3018BA268}"/>
                  </a:ext>
                </a:extLst>
              </p:cNvPr>
              <p:cNvSpPr/>
              <p:nvPr/>
            </p:nvSpPr>
            <p:spPr>
              <a:xfrm>
                <a:off x="1761066" y="2567161"/>
                <a:ext cx="12779" cy="12768"/>
              </a:xfrm>
              <a:custGeom>
                <a:avLst/>
                <a:gdLst>
                  <a:gd name="connsiteX0" fmla="*/ 6390 w 12779"/>
                  <a:gd name="connsiteY0" fmla="*/ 12768 h 12768"/>
                  <a:gd name="connsiteX1" fmla="*/ 12141 w 12779"/>
                  <a:gd name="connsiteY1" fmla="*/ 8938 h 12768"/>
                  <a:gd name="connsiteX2" fmla="*/ 12780 w 12779"/>
                  <a:gd name="connsiteY2" fmla="*/ 6384 h 12768"/>
                  <a:gd name="connsiteX3" fmla="*/ 10863 w 12779"/>
                  <a:gd name="connsiteY3" fmla="*/ 1915 h 12768"/>
                  <a:gd name="connsiteX4" fmla="*/ 1917 w 12779"/>
                  <a:gd name="connsiteY4" fmla="*/ 1915 h 12768"/>
                  <a:gd name="connsiteX5" fmla="*/ 1917 w 12779"/>
                  <a:gd name="connsiteY5" fmla="*/ 1915 h 12768"/>
                  <a:gd name="connsiteX6" fmla="*/ 0 w 12779"/>
                  <a:gd name="connsiteY6" fmla="*/ 6384 h 12768"/>
                  <a:gd name="connsiteX7" fmla="*/ 6390 w 12779"/>
                  <a:gd name="connsiteY7" fmla="*/ 12768 h 12768"/>
                  <a:gd name="connsiteX8" fmla="*/ 6390 w 12779"/>
                  <a:gd name="connsiteY8"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6390" y="12768"/>
                    </a:moveTo>
                    <a:cubicBezTo>
                      <a:pt x="8946" y="12768"/>
                      <a:pt x="11502" y="11491"/>
                      <a:pt x="12141" y="8938"/>
                    </a:cubicBezTo>
                    <a:cubicBezTo>
                      <a:pt x="12780" y="8299"/>
                      <a:pt x="12780" y="7022"/>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15" name="Graphic 4">
                <a:extLst>
                  <a:ext uri="{FF2B5EF4-FFF2-40B4-BE49-F238E27FC236}">
                    <a16:creationId xmlns:a16="http://schemas.microsoft.com/office/drawing/2014/main" id="{853B3A91-D8BB-5FC7-3FD8-1A0C3145A4B0}"/>
                  </a:ext>
                </a:extLst>
              </p:cNvPr>
              <p:cNvSpPr/>
              <p:nvPr/>
            </p:nvSpPr>
            <p:spPr>
              <a:xfrm>
                <a:off x="1732311"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16" name="Graphic 4">
                <a:extLst>
                  <a:ext uri="{FF2B5EF4-FFF2-40B4-BE49-F238E27FC236}">
                    <a16:creationId xmlns:a16="http://schemas.microsoft.com/office/drawing/2014/main" id="{6A0A9BA9-4763-51C6-BE1F-DD568C21174B}"/>
                  </a:ext>
                </a:extLst>
              </p:cNvPr>
              <p:cNvSpPr/>
              <p:nvPr/>
            </p:nvSpPr>
            <p:spPr>
              <a:xfrm>
                <a:off x="1617442" y="2567161"/>
                <a:ext cx="12630" cy="12768"/>
              </a:xfrm>
              <a:custGeom>
                <a:avLst/>
                <a:gdLst>
                  <a:gd name="connsiteX0" fmla="*/ 1768 w 12630"/>
                  <a:gd name="connsiteY0" fmla="*/ 1915 h 12768"/>
                  <a:gd name="connsiteX1" fmla="*/ 490 w 12630"/>
                  <a:gd name="connsiteY1" fmla="*/ 3830 h 12768"/>
                  <a:gd name="connsiteX2" fmla="*/ 3685 w 12630"/>
                  <a:gd name="connsiteY2" fmla="*/ 12130 h 12768"/>
                  <a:gd name="connsiteX3" fmla="*/ 6241 w 12630"/>
                  <a:gd name="connsiteY3" fmla="*/ 12768 h 12768"/>
                  <a:gd name="connsiteX4" fmla="*/ 10714 w 12630"/>
                  <a:gd name="connsiteY4" fmla="*/ 10853 h 12768"/>
                  <a:gd name="connsiteX5" fmla="*/ 12631 w 12630"/>
                  <a:gd name="connsiteY5" fmla="*/ 6384 h 12768"/>
                  <a:gd name="connsiteX6" fmla="*/ 10714 w 12630"/>
                  <a:gd name="connsiteY6" fmla="*/ 1915 h 12768"/>
                  <a:gd name="connsiteX7" fmla="*/ 1768 w 12630"/>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8">
                    <a:moveTo>
                      <a:pt x="1768" y="1915"/>
                    </a:moveTo>
                    <a:cubicBezTo>
                      <a:pt x="1129" y="2554"/>
                      <a:pt x="490" y="3192"/>
                      <a:pt x="490" y="3830"/>
                    </a:cubicBezTo>
                    <a:cubicBezTo>
                      <a:pt x="-788" y="7022"/>
                      <a:pt x="490" y="10853"/>
                      <a:pt x="3685" y="12130"/>
                    </a:cubicBezTo>
                    <a:cubicBezTo>
                      <a:pt x="4324" y="12768"/>
                      <a:pt x="5602" y="12768"/>
                      <a:pt x="6241" y="12768"/>
                    </a:cubicBezTo>
                    <a:cubicBezTo>
                      <a:pt x="8158" y="12768"/>
                      <a:pt x="9436" y="12130"/>
                      <a:pt x="10714" y="10853"/>
                    </a:cubicBezTo>
                    <a:cubicBezTo>
                      <a:pt x="11992" y="9576"/>
                      <a:pt x="12631" y="8299"/>
                      <a:pt x="12631" y="6384"/>
                    </a:cubicBezTo>
                    <a:cubicBezTo>
                      <a:pt x="12631" y="4469"/>
                      <a:pt x="11992" y="3192"/>
                      <a:pt x="10714" y="1915"/>
                    </a:cubicBezTo>
                    <a:cubicBezTo>
                      <a:pt x="8797" y="-638"/>
                      <a:pt x="4324" y="-638"/>
                      <a:pt x="1768"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17" name="Graphic 4">
                <a:extLst>
                  <a:ext uri="{FF2B5EF4-FFF2-40B4-BE49-F238E27FC236}">
                    <a16:creationId xmlns:a16="http://schemas.microsoft.com/office/drawing/2014/main" id="{3D4EE6D8-1FD1-5490-3D13-77722428DE11}"/>
                  </a:ext>
                </a:extLst>
              </p:cNvPr>
              <p:cNvSpPr/>
              <p:nvPr/>
            </p:nvSpPr>
            <p:spPr>
              <a:xfrm>
                <a:off x="1646686" y="2595863"/>
                <a:ext cx="12779" cy="12793"/>
              </a:xfrm>
              <a:custGeom>
                <a:avLst/>
                <a:gdLst>
                  <a:gd name="connsiteX0" fmla="*/ 10863 w 12779"/>
                  <a:gd name="connsiteY0" fmla="*/ 1941 h 12793"/>
                  <a:gd name="connsiteX1" fmla="*/ 8946 w 12779"/>
                  <a:gd name="connsiteY1" fmla="*/ 664 h 12793"/>
                  <a:gd name="connsiteX2" fmla="*/ 1917 w 12779"/>
                  <a:gd name="connsiteY2" fmla="*/ 1941 h 12793"/>
                  <a:gd name="connsiteX3" fmla="*/ 639 w 12779"/>
                  <a:gd name="connsiteY3" fmla="*/ 3856 h 12793"/>
                  <a:gd name="connsiteX4" fmla="*/ 0 w 12779"/>
                  <a:gd name="connsiteY4" fmla="*/ 6410 h 12793"/>
                  <a:gd name="connsiteX5" fmla="*/ 6390 w 12779"/>
                  <a:gd name="connsiteY5" fmla="*/ 12794 h 12793"/>
                  <a:gd name="connsiteX6" fmla="*/ 10863 w 12779"/>
                  <a:gd name="connsiteY6" fmla="*/ 10879 h 12793"/>
                  <a:gd name="connsiteX7" fmla="*/ 12141 w 12779"/>
                  <a:gd name="connsiteY7" fmla="*/ 8963 h 12793"/>
                  <a:gd name="connsiteX8" fmla="*/ 12780 w 12779"/>
                  <a:gd name="connsiteY8" fmla="*/ 6410 h 12793"/>
                  <a:gd name="connsiteX9" fmla="*/ 12141 w 12779"/>
                  <a:gd name="connsiteY9" fmla="*/ 3856 h 12793"/>
                  <a:gd name="connsiteX10" fmla="*/ 10863 w 12779"/>
                  <a:gd name="connsiteY10" fmla="*/ 1941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93">
                    <a:moveTo>
                      <a:pt x="10863" y="1941"/>
                    </a:moveTo>
                    <a:cubicBezTo>
                      <a:pt x="10224" y="1303"/>
                      <a:pt x="9585" y="664"/>
                      <a:pt x="8946" y="664"/>
                    </a:cubicBezTo>
                    <a:cubicBezTo>
                      <a:pt x="6390" y="-613"/>
                      <a:pt x="3834" y="26"/>
                      <a:pt x="1917" y="1941"/>
                    </a:cubicBezTo>
                    <a:cubicBezTo>
                      <a:pt x="1278" y="2579"/>
                      <a:pt x="639" y="3218"/>
                      <a:pt x="639" y="3856"/>
                    </a:cubicBezTo>
                    <a:cubicBezTo>
                      <a:pt x="0" y="4495"/>
                      <a:pt x="0" y="5771"/>
                      <a:pt x="0" y="6410"/>
                    </a:cubicBezTo>
                    <a:cubicBezTo>
                      <a:pt x="0" y="10240"/>
                      <a:pt x="3195" y="12794"/>
                      <a:pt x="6390" y="12794"/>
                    </a:cubicBezTo>
                    <a:cubicBezTo>
                      <a:pt x="8307" y="12794"/>
                      <a:pt x="9585" y="12155"/>
                      <a:pt x="10863" y="10879"/>
                    </a:cubicBezTo>
                    <a:cubicBezTo>
                      <a:pt x="11502" y="10240"/>
                      <a:pt x="12141" y="9602"/>
                      <a:pt x="12141" y="8963"/>
                    </a:cubicBezTo>
                    <a:cubicBezTo>
                      <a:pt x="12780" y="8325"/>
                      <a:pt x="12780" y="7687"/>
                      <a:pt x="12780" y="6410"/>
                    </a:cubicBezTo>
                    <a:cubicBezTo>
                      <a:pt x="12780" y="5771"/>
                      <a:pt x="12780" y="4495"/>
                      <a:pt x="12141" y="3856"/>
                    </a:cubicBezTo>
                    <a:cubicBezTo>
                      <a:pt x="11502" y="3218"/>
                      <a:pt x="10863" y="2579"/>
                      <a:pt x="10863" y="1941"/>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18" name="Graphic 4">
                <a:extLst>
                  <a:ext uri="{FF2B5EF4-FFF2-40B4-BE49-F238E27FC236}">
                    <a16:creationId xmlns:a16="http://schemas.microsoft.com/office/drawing/2014/main" id="{FC04E836-0D25-03AD-61CC-A1B48AC36D32}"/>
                  </a:ext>
                </a:extLst>
              </p:cNvPr>
              <p:cNvSpPr/>
              <p:nvPr/>
            </p:nvSpPr>
            <p:spPr>
              <a:xfrm>
                <a:off x="1617932"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1502"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19" name="Graphic 4">
                <a:extLst>
                  <a:ext uri="{FF2B5EF4-FFF2-40B4-BE49-F238E27FC236}">
                    <a16:creationId xmlns:a16="http://schemas.microsoft.com/office/drawing/2014/main" id="{15A9222D-4889-D69F-45ED-394CC9018C19}"/>
                  </a:ext>
                </a:extLst>
              </p:cNvPr>
              <p:cNvSpPr/>
              <p:nvPr/>
            </p:nvSpPr>
            <p:spPr>
              <a:xfrm>
                <a:off x="1646686" y="2567161"/>
                <a:ext cx="12779" cy="12768"/>
              </a:xfrm>
              <a:custGeom>
                <a:avLst/>
                <a:gdLst>
                  <a:gd name="connsiteX0" fmla="*/ 10863 w 12779"/>
                  <a:gd name="connsiteY0" fmla="*/ 1915 h 12768"/>
                  <a:gd name="connsiteX1" fmla="*/ 1917 w 12779"/>
                  <a:gd name="connsiteY1" fmla="*/ 1915 h 12768"/>
                  <a:gd name="connsiteX2" fmla="*/ 1917 w 12779"/>
                  <a:gd name="connsiteY2" fmla="*/ 1915 h 12768"/>
                  <a:gd name="connsiteX3" fmla="*/ 0 w 12779"/>
                  <a:gd name="connsiteY3" fmla="*/ 6384 h 12768"/>
                  <a:gd name="connsiteX4" fmla="*/ 6390 w 12779"/>
                  <a:gd name="connsiteY4" fmla="*/ 12768 h 12768"/>
                  <a:gd name="connsiteX5" fmla="*/ 12780 w 12779"/>
                  <a:gd name="connsiteY5" fmla="*/ 6384 h 12768"/>
                  <a:gd name="connsiteX6" fmla="*/ 10863 w 12779"/>
                  <a:gd name="connsiteY6" fmla="*/ 1915 h 12768"/>
                  <a:gd name="connsiteX7" fmla="*/ 10863 w 12779"/>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8">
                    <a:moveTo>
                      <a:pt x="10863" y="1915"/>
                    </a:moveTo>
                    <a:cubicBezTo>
                      <a:pt x="8307" y="-638"/>
                      <a:pt x="4473" y="-638"/>
                      <a:pt x="1917" y="1915"/>
                    </a:cubicBezTo>
                    <a:cubicBezTo>
                      <a:pt x="1917" y="1915"/>
                      <a:pt x="1917" y="1915"/>
                      <a:pt x="1917" y="1915"/>
                    </a:cubicBezTo>
                    <a:cubicBezTo>
                      <a:pt x="639" y="3192"/>
                      <a:pt x="0" y="4469"/>
                      <a:pt x="0" y="6384"/>
                    </a:cubicBezTo>
                    <a:cubicBezTo>
                      <a:pt x="0" y="10214"/>
                      <a:pt x="2556" y="12768"/>
                      <a:pt x="6390" y="12768"/>
                    </a:cubicBezTo>
                    <a:cubicBezTo>
                      <a:pt x="10224" y="12768"/>
                      <a:pt x="12780" y="10214"/>
                      <a:pt x="12780" y="6384"/>
                    </a:cubicBezTo>
                    <a:cubicBezTo>
                      <a:pt x="12780" y="4469"/>
                      <a:pt x="11502" y="3192"/>
                      <a:pt x="10863" y="1915"/>
                    </a:cubicBezTo>
                    <a:lnTo>
                      <a:pt x="10863" y="1915"/>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0" name="Graphic 4">
                <a:extLst>
                  <a:ext uri="{FF2B5EF4-FFF2-40B4-BE49-F238E27FC236}">
                    <a16:creationId xmlns:a16="http://schemas.microsoft.com/office/drawing/2014/main" id="{0647806B-3938-E0EF-10FA-E350DA098BE1}"/>
                  </a:ext>
                </a:extLst>
              </p:cNvPr>
              <p:cNvSpPr/>
              <p:nvPr/>
            </p:nvSpPr>
            <p:spPr>
              <a:xfrm>
                <a:off x="1732311" y="2538433"/>
                <a:ext cx="12779" cy="12768"/>
              </a:xfrm>
              <a:custGeom>
                <a:avLst/>
                <a:gdLst>
                  <a:gd name="connsiteX0" fmla="*/ 1917 w 12779"/>
                  <a:gd name="connsiteY0" fmla="*/ 1915 h 12768"/>
                  <a:gd name="connsiteX1" fmla="*/ 0 w 12779"/>
                  <a:gd name="connsiteY1" fmla="*/ 6384 h 12768"/>
                  <a:gd name="connsiteX2" fmla="*/ 639 w 12779"/>
                  <a:gd name="connsiteY2" fmla="*/ 8938 h 12768"/>
                  <a:gd name="connsiteX3" fmla="*/ 1917 w 12779"/>
                  <a:gd name="connsiteY3" fmla="*/ 10853 h 12768"/>
                  <a:gd name="connsiteX4" fmla="*/ 6390 w 12779"/>
                  <a:gd name="connsiteY4" fmla="*/ 12768 h 12768"/>
                  <a:gd name="connsiteX5" fmla="*/ 10863 w 12779"/>
                  <a:gd name="connsiteY5" fmla="*/ 10853 h 12768"/>
                  <a:gd name="connsiteX6" fmla="*/ 12141 w 12779"/>
                  <a:gd name="connsiteY6" fmla="*/ 8938 h 12768"/>
                  <a:gd name="connsiteX7" fmla="*/ 12780 w 12779"/>
                  <a:gd name="connsiteY7" fmla="*/ 6384 h 12768"/>
                  <a:gd name="connsiteX8" fmla="*/ 10863 w 12779"/>
                  <a:gd name="connsiteY8" fmla="*/ 1915 h 12768"/>
                  <a:gd name="connsiteX9" fmla="*/ 1917 w 12779"/>
                  <a:gd name="connsiteY9"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1917" y="1915"/>
                    </a:moveTo>
                    <a:cubicBezTo>
                      <a:pt x="639" y="3192"/>
                      <a:pt x="0" y="4469"/>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1" name="Graphic 4">
                <a:extLst>
                  <a:ext uri="{FF2B5EF4-FFF2-40B4-BE49-F238E27FC236}">
                    <a16:creationId xmlns:a16="http://schemas.microsoft.com/office/drawing/2014/main" id="{64FFD894-557C-50A3-0549-478F1C51ED3A}"/>
                  </a:ext>
                </a:extLst>
              </p:cNvPr>
              <p:cNvSpPr/>
              <p:nvPr/>
            </p:nvSpPr>
            <p:spPr>
              <a:xfrm>
                <a:off x="1732461" y="2509865"/>
                <a:ext cx="12630" cy="12608"/>
              </a:xfrm>
              <a:custGeom>
                <a:avLst/>
                <a:gdLst>
                  <a:gd name="connsiteX0" fmla="*/ 11992 w 12630"/>
                  <a:gd name="connsiteY0" fmla="*/ 3671 h 12608"/>
                  <a:gd name="connsiteX1" fmla="*/ 10714 w 12630"/>
                  <a:gd name="connsiteY1" fmla="*/ 1756 h 12608"/>
                  <a:gd name="connsiteX2" fmla="*/ 8797 w 12630"/>
                  <a:gd name="connsiteY2" fmla="*/ 479 h 12608"/>
                  <a:gd name="connsiteX3" fmla="*/ 3685 w 12630"/>
                  <a:gd name="connsiteY3" fmla="*/ 479 h 12608"/>
                  <a:gd name="connsiteX4" fmla="*/ 490 w 12630"/>
                  <a:gd name="connsiteY4" fmla="*/ 8778 h 12608"/>
                  <a:gd name="connsiteX5" fmla="*/ 1768 w 12630"/>
                  <a:gd name="connsiteY5" fmla="*/ 10693 h 12608"/>
                  <a:gd name="connsiteX6" fmla="*/ 3685 w 12630"/>
                  <a:gd name="connsiteY6" fmla="*/ 11970 h 12608"/>
                  <a:gd name="connsiteX7" fmla="*/ 6241 w 12630"/>
                  <a:gd name="connsiteY7" fmla="*/ 12608 h 12608"/>
                  <a:gd name="connsiteX8" fmla="*/ 12631 w 12630"/>
                  <a:gd name="connsiteY8" fmla="*/ 6224 h 12608"/>
                  <a:gd name="connsiteX9" fmla="*/ 12631 w 12630"/>
                  <a:gd name="connsiteY9" fmla="*/ 4947 h 12608"/>
                  <a:gd name="connsiteX10" fmla="*/ 11992 w 12630"/>
                  <a:gd name="connsiteY10" fmla="*/ 3671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30" h="12608">
                    <a:moveTo>
                      <a:pt x="11992" y="3671"/>
                    </a:moveTo>
                    <a:cubicBezTo>
                      <a:pt x="11992" y="3032"/>
                      <a:pt x="11353" y="2394"/>
                      <a:pt x="10714" y="1756"/>
                    </a:cubicBezTo>
                    <a:cubicBezTo>
                      <a:pt x="10075" y="1117"/>
                      <a:pt x="9436" y="479"/>
                      <a:pt x="8797" y="479"/>
                    </a:cubicBezTo>
                    <a:cubicBezTo>
                      <a:pt x="7519" y="-160"/>
                      <a:pt x="5602" y="-160"/>
                      <a:pt x="3685" y="479"/>
                    </a:cubicBezTo>
                    <a:cubicBezTo>
                      <a:pt x="490" y="1756"/>
                      <a:pt x="-788" y="5586"/>
                      <a:pt x="490" y="8778"/>
                    </a:cubicBezTo>
                    <a:cubicBezTo>
                      <a:pt x="1129" y="9416"/>
                      <a:pt x="1129" y="10055"/>
                      <a:pt x="1768" y="10693"/>
                    </a:cubicBezTo>
                    <a:cubicBezTo>
                      <a:pt x="2407" y="11331"/>
                      <a:pt x="3046" y="11970"/>
                      <a:pt x="3685" y="11970"/>
                    </a:cubicBezTo>
                    <a:cubicBezTo>
                      <a:pt x="4324" y="12608"/>
                      <a:pt x="5602" y="12608"/>
                      <a:pt x="6241" y="12608"/>
                    </a:cubicBezTo>
                    <a:cubicBezTo>
                      <a:pt x="10075" y="12608"/>
                      <a:pt x="12631" y="10055"/>
                      <a:pt x="12631" y="6224"/>
                    </a:cubicBezTo>
                    <a:cubicBezTo>
                      <a:pt x="12631" y="5586"/>
                      <a:pt x="12631" y="5586"/>
                      <a:pt x="12631" y="4947"/>
                    </a:cubicBezTo>
                    <a:lnTo>
                      <a:pt x="11992" y="367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2" name="Graphic 4">
                <a:extLst>
                  <a:ext uri="{FF2B5EF4-FFF2-40B4-BE49-F238E27FC236}">
                    <a16:creationId xmlns:a16="http://schemas.microsoft.com/office/drawing/2014/main" id="{4E95E627-9F4B-FC0E-B3EC-33629957A5E1}"/>
                  </a:ext>
                </a:extLst>
              </p:cNvPr>
              <p:cNvSpPr/>
              <p:nvPr/>
            </p:nvSpPr>
            <p:spPr>
              <a:xfrm>
                <a:off x="1761066" y="2538433"/>
                <a:ext cx="12779" cy="12768"/>
              </a:xfrm>
              <a:custGeom>
                <a:avLst/>
                <a:gdLst>
                  <a:gd name="connsiteX0" fmla="*/ 1917 w 12779"/>
                  <a:gd name="connsiteY0" fmla="*/ 10853 h 12768"/>
                  <a:gd name="connsiteX1" fmla="*/ 10863 w 12779"/>
                  <a:gd name="connsiteY1" fmla="*/ 10853 h 12768"/>
                  <a:gd name="connsiteX2" fmla="*/ 10863 w 12779"/>
                  <a:gd name="connsiteY2" fmla="*/ 10853 h 12768"/>
                  <a:gd name="connsiteX3" fmla="*/ 12141 w 12779"/>
                  <a:gd name="connsiteY3" fmla="*/ 8938 h 12768"/>
                  <a:gd name="connsiteX4" fmla="*/ 12780 w 12779"/>
                  <a:gd name="connsiteY4" fmla="*/ 6384 h 12768"/>
                  <a:gd name="connsiteX5" fmla="*/ 6390 w 12779"/>
                  <a:gd name="connsiteY5" fmla="*/ 0 h 12768"/>
                  <a:gd name="connsiteX6" fmla="*/ 0 w 12779"/>
                  <a:gd name="connsiteY6" fmla="*/ 6384 h 12768"/>
                  <a:gd name="connsiteX7" fmla="*/ 639 w 12779"/>
                  <a:gd name="connsiteY7" fmla="*/ 8938 h 12768"/>
                  <a:gd name="connsiteX8" fmla="*/ 1917 w 12779"/>
                  <a:gd name="connsiteY8"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1917" y="10853"/>
                    </a:moveTo>
                    <a:cubicBezTo>
                      <a:pt x="4473" y="13406"/>
                      <a:pt x="8307" y="13406"/>
                      <a:pt x="10863" y="10853"/>
                    </a:cubicBezTo>
                    <a:cubicBezTo>
                      <a:pt x="10863" y="10853"/>
                      <a:pt x="10863" y="10853"/>
                      <a:pt x="10863" y="10853"/>
                    </a:cubicBezTo>
                    <a:cubicBezTo>
                      <a:pt x="11502" y="10214"/>
                      <a:pt x="12141" y="9576"/>
                      <a:pt x="12141" y="8938"/>
                    </a:cubicBezTo>
                    <a:cubicBezTo>
                      <a:pt x="12780" y="8299"/>
                      <a:pt x="12780" y="7661"/>
                      <a:pt x="12780" y="6384"/>
                    </a:cubicBezTo>
                    <a:cubicBezTo>
                      <a:pt x="12780" y="2554"/>
                      <a:pt x="10224" y="0"/>
                      <a:pt x="6390" y="0"/>
                    </a:cubicBezTo>
                    <a:cubicBezTo>
                      <a:pt x="2556" y="0"/>
                      <a:pt x="0" y="2554"/>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3" name="Graphic 4">
                <a:extLst>
                  <a:ext uri="{FF2B5EF4-FFF2-40B4-BE49-F238E27FC236}">
                    <a16:creationId xmlns:a16="http://schemas.microsoft.com/office/drawing/2014/main" id="{424FACC8-A56F-7C9B-D917-200CFDD58867}"/>
                  </a:ext>
                </a:extLst>
              </p:cNvPr>
              <p:cNvSpPr/>
              <p:nvPr/>
            </p:nvSpPr>
            <p:spPr>
              <a:xfrm>
                <a:off x="1761066" y="2509706"/>
                <a:ext cx="12779" cy="12608"/>
              </a:xfrm>
              <a:custGeom>
                <a:avLst/>
                <a:gdLst>
                  <a:gd name="connsiteX0" fmla="*/ 1917 w 12779"/>
                  <a:gd name="connsiteY0" fmla="*/ 10853 h 12608"/>
                  <a:gd name="connsiteX1" fmla="*/ 3834 w 12779"/>
                  <a:gd name="connsiteY1" fmla="*/ 12130 h 12608"/>
                  <a:gd name="connsiteX2" fmla="*/ 8946 w 12779"/>
                  <a:gd name="connsiteY2" fmla="*/ 12130 h 12608"/>
                  <a:gd name="connsiteX3" fmla="*/ 12141 w 12779"/>
                  <a:gd name="connsiteY3" fmla="*/ 8938 h 12608"/>
                  <a:gd name="connsiteX4" fmla="*/ 12780 w 12779"/>
                  <a:gd name="connsiteY4" fmla="*/ 6384 h 12608"/>
                  <a:gd name="connsiteX5" fmla="*/ 10863 w 12779"/>
                  <a:gd name="connsiteY5" fmla="*/ 1915 h 12608"/>
                  <a:gd name="connsiteX6" fmla="*/ 5112 w 12779"/>
                  <a:gd name="connsiteY6" fmla="*/ 0 h 12608"/>
                  <a:gd name="connsiteX7" fmla="*/ 3834 w 12779"/>
                  <a:gd name="connsiteY7" fmla="*/ 638 h 12608"/>
                  <a:gd name="connsiteX8" fmla="*/ 2556 w 12779"/>
                  <a:gd name="connsiteY8" fmla="*/ 1277 h 12608"/>
                  <a:gd name="connsiteX9" fmla="*/ 1917 w 12779"/>
                  <a:gd name="connsiteY9" fmla="*/ 1915 h 12608"/>
                  <a:gd name="connsiteX10" fmla="*/ 0 w 12779"/>
                  <a:gd name="connsiteY10" fmla="*/ 6384 h 12608"/>
                  <a:gd name="connsiteX11" fmla="*/ 639 w 12779"/>
                  <a:gd name="connsiteY11" fmla="*/ 8938 h 12608"/>
                  <a:gd name="connsiteX12" fmla="*/ 1917 w 12779"/>
                  <a:gd name="connsiteY12" fmla="*/ 1085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608">
                    <a:moveTo>
                      <a:pt x="1917" y="10853"/>
                    </a:moveTo>
                    <a:cubicBezTo>
                      <a:pt x="2556" y="11491"/>
                      <a:pt x="3195" y="12130"/>
                      <a:pt x="3834" y="12130"/>
                    </a:cubicBezTo>
                    <a:cubicBezTo>
                      <a:pt x="5112" y="12768"/>
                      <a:pt x="7029"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9585" y="638"/>
                      <a:pt x="7029" y="0"/>
                      <a:pt x="5112" y="0"/>
                    </a:cubicBezTo>
                    <a:cubicBezTo>
                      <a:pt x="4473" y="0"/>
                      <a:pt x="4473" y="0"/>
                      <a:pt x="3834" y="638"/>
                    </a:cubicBezTo>
                    <a:cubicBezTo>
                      <a:pt x="3195" y="638"/>
                      <a:pt x="3195" y="1277"/>
                      <a:pt x="2556" y="1277"/>
                    </a:cubicBezTo>
                    <a:lnTo>
                      <a:pt x="1917" y="1915"/>
                    </a:ln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4" name="Graphic 4">
                <a:extLst>
                  <a:ext uri="{FF2B5EF4-FFF2-40B4-BE49-F238E27FC236}">
                    <a16:creationId xmlns:a16="http://schemas.microsoft.com/office/drawing/2014/main" id="{287CB8D4-4E43-E19F-427E-0C6C7FCD75DF}"/>
                  </a:ext>
                </a:extLst>
              </p:cNvPr>
              <p:cNvSpPr/>
              <p:nvPr/>
            </p:nvSpPr>
            <p:spPr>
              <a:xfrm>
                <a:off x="1674802" y="2538433"/>
                <a:ext cx="12779" cy="12767"/>
              </a:xfrm>
              <a:custGeom>
                <a:avLst/>
                <a:gdLst>
                  <a:gd name="connsiteX0" fmla="*/ 12780 w 12779"/>
                  <a:gd name="connsiteY0" fmla="*/ 3830 h 12767"/>
                  <a:gd name="connsiteX1" fmla="*/ 11502 w 12779"/>
                  <a:gd name="connsiteY1" fmla="*/ 1915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 name="connsiteX9" fmla="*/ 6390 w 12779"/>
                  <a:gd name="connsiteY9" fmla="*/ 12768 h 12767"/>
                  <a:gd name="connsiteX10" fmla="*/ 8946 w 12779"/>
                  <a:gd name="connsiteY10" fmla="*/ 12130 h 12767"/>
                  <a:gd name="connsiteX11" fmla="*/ 10863 w 12779"/>
                  <a:gd name="connsiteY11" fmla="*/ 10853 h 12767"/>
                  <a:gd name="connsiteX12" fmla="*/ 12141 w 12779"/>
                  <a:gd name="connsiteY12" fmla="*/ 8938 h 12767"/>
                  <a:gd name="connsiteX13" fmla="*/ 12780 w 12779"/>
                  <a:gd name="connsiteY13" fmla="*/ 6384 h 12767"/>
                  <a:gd name="connsiteX14" fmla="*/ 12780 w 12779"/>
                  <a:gd name="connsiteY14" fmla="*/ 5107 h 12767"/>
                  <a:gd name="connsiteX15" fmla="*/ 12780 w 12779"/>
                  <a:gd name="connsiteY15" fmla="*/ 38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2780" y="3830"/>
                    </a:moveTo>
                    <a:cubicBezTo>
                      <a:pt x="12141" y="3192"/>
                      <a:pt x="12141" y="2554"/>
                      <a:pt x="11502" y="1915"/>
                    </a:cubicBezTo>
                    <a:cubicBezTo>
                      <a:pt x="10224" y="638"/>
                      <a:pt x="7668" y="0"/>
                      <a:pt x="5751" y="0"/>
                    </a:cubicBezTo>
                    <a:cubicBezTo>
                      <a:pt x="5112" y="0"/>
                      <a:pt x="5112" y="0"/>
                      <a:pt x="4473" y="638"/>
                    </a:cubicBezTo>
                    <a:cubicBezTo>
                      <a:pt x="3834" y="638"/>
                      <a:pt x="3834" y="1277"/>
                      <a:pt x="3195" y="1277"/>
                    </a:cubicBezTo>
                    <a:lnTo>
                      <a:pt x="1917" y="1915"/>
                    </a:lnTo>
                    <a:cubicBezTo>
                      <a:pt x="639" y="3192"/>
                      <a:pt x="0" y="4469"/>
                      <a:pt x="0" y="6384"/>
                    </a:cubicBezTo>
                    <a:cubicBezTo>
                      <a:pt x="0" y="7022"/>
                      <a:pt x="0" y="8299"/>
                      <a:pt x="639" y="8938"/>
                    </a:cubicBezTo>
                    <a:cubicBezTo>
                      <a:pt x="639" y="9576"/>
                      <a:pt x="1278" y="10214"/>
                      <a:pt x="1917" y="10853"/>
                    </a:cubicBezTo>
                    <a:cubicBezTo>
                      <a:pt x="3195" y="12130"/>
                      <a:pt x="4473"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141" y="8299"/>
                      <a:pt x="12780" y="7661"/>
                      <a:pt x="12780" y="6384"/>
                    </a:cubicBezTo>
                    <a:cubicBezTo>
                      <a:pt x="12780" y="5746"/>
                      <a:pt x="12780" y="5746"/>
                      <a:pt x="12780" y="5107"/>
                    </a:cubicBezTo>
                    <a:cubicBezTo>
                      <a:pt x="12780" y="5107"/>
                      <a:pt x="12780" y="4469"/>
                      <a:pt x="12780" y="38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5" name="Graphic 4">
                <a:extLst>
                  <a:ext uri="{FF2B5EF4-FFF2-40B4-BE49-F238E27FC236}">
                    <a16:creationId xmlns:a16="http://schemas.microsoft.com/office/drawing/2014/main" id="{F7ABDF2B-9662-7006-3CB4-37A560F59ED5}"/>
                  </a:ext>
                </a:extLst>
              </p:cNvPr>
              <p:cNvSpPr/>
              <p:nvPr/>
            </p:nvSpPr>
            <p:spPr>
              <a:xfrm>
                <a:off x="1703557" y="2538832"/>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 w 12779"/>
                  <a:gd name="connsiteY4" fmla="*/ 9177 h 13007"/>
                  <a:gd name="connsiteX5" fmla="*/ 1917 w 12779"/>
                  <a:gd name="connsiteY5" fmla="*/ 11092 h 13007"/>
                  <a:gd name="connsiteX6" fmla="*/ 6390 w 12779"/>
                  <a:gd name="connsiteY6" fmla="*/ 13007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7262"/>
                      <a:pt x="0" y="8539"/>
                      <a:pt x="639" y="9177"/>
                    </a:cubicBezTo>
                    <a:cubicBezTo>
                      <a:pt x="639" y="9815"/>
                      <a:pt x="1278" y="10454"/>
                      <a:pt x="1917" y="11092"/>
                    </a:cubicBezTo>
                    <a:cubicBezTo>
                      <a:pt x="3195" y="12369"/>
                      <a:pt x="4473" y="13007"/>
                      <a:pt x="6390" y="13007"/>
                    </a:cubicBezTo>
                    <a:cubicBezTo>
                      <a:pt x="8307" y="13007"/>
                      <a:pt x="9585" y="12369"/>
                      <a:pt x="10863" y="11092"/>
                    </a:cubicBezTo>
                    <a:cubicBezTo>
                      <a:pt x="11502" y="10454"/>
                      <a:pt x="12141" y="9815"/>
                      <a:pt x="12141" y="9177"/>
                    </a:cubicBezTo>
                    <a:cubicBezTo>
                      <a:pt x="12780" y="8539"/>
                      <a:pt x="12780" y="7900"/>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6" name="Graphic 4">
                <a:extLst>
                  <a:ext uri="{FF2B5EF4-FFF2-40B4-BE49-F238E27FC236}">
                    <a16:creationId xmlns:a16="http://schemas.microsoft.com/office/drawing/2014/main" id="{45367902-AE77-5D20-E692-7F358D8DEC49}"/>
                  </a:ext>
                </a:extLst>
              </p:cNvPr>
              <p:cNvSpPr/>
              <p:nvPr/>
            </p:nvSpPr>
            <p:spPr>
              <a:xfrm>
                <a:off x="1674802" y="2509466"/>
                <a:ext cx="12779" cy="13007"/>
              </a:xfrm>
              <a:custGeom>
                <a:avLst/>
                <a:gdLst>
                  <a:gd name="connsiteX0" fmla="*/ 10224 w 12779"/>
                  <a:gd name="connsiteY0" fmla="*/ 1516 h 13007"/>
                  <a:gd name="connsiteX1" fmla="*/ 8946 w 12779"/>
                  <a:gd name="connsiteY1" fmla="*/ 878 h 13007"/>
                  <a:gd name="connsiteX2" fmla="*/ 7668 w 12779"/>
                  <a:gd name="connsiteY2" fmla="*/ 239 h 13007"/>
                  <a:gd name="connsiteX3" fmla="*/ 1917 w 12779"/>
                  <a:gd name="connsiteY3" fmla="*/ 2155 h 13007"/>
                  <a:gd name="connsiteX4" fmla="*/ 0 w 12779"/>
                  <a:gd name="connsiteY4" fmla="*/ 6623 h 13007"/>
                  <a:gd name="connsiteX5" fmla="*/ 6390 w 12779"/>
                  <a:gd name="connsiteY5" fmla="*/ 13007 h 13007"/>
                  <a:gd name="connsiteX6" fmla="*/ 8946 w 12779"/>
                  <a:gd name="connsiteY6" fmla="*/ 12369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1516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1516"/>
                    </a:moveTo>
                    <a:cubicBezTo>
                      <a:pt x="9585" y="1516"/>
                      <a:pt x="9585" y="878"/>
                      <a:pt x="8946" y="878"/>
                    </a:cubicBezTo>
                    <a:lnTo>
                      <a:pt x="7668" y="239"/>
                    </a:ln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1502" y="10454"/>
                      <a:pt x="12141" y="9815"/>
                      <a:pt x="12141" y="9177"/>
                    </a:cubicBezTo>
                    <a:cubicBezTo>
                      <a:pt x="12141" y="8539"/>
                      <a:pt x="12780" y="7900"/>
                      <a:pt x="12780" y="6623"/>
                    </a:cubicBezTo>
                    <a:cubicBezTo>
                      <a:pt x="12780" y="4708"/>
                      <a:pt x="12141" y="3431"/>
                      <a:pt x="10863" y="2155"/>
                    </a:cubicBezTo>
                    <a:lnTo>
                      <a:pt x="10224" y="151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7" name="Graphic 4">
                <a:extLst>
                  <a:ext uri="{FF2B5EF4-FFF2-40B4-BE49-F238E27FC236}">
                    <a16:creationId xmlns:a16="http://schemas.microsoft.com/office/drawing/2014/main" id="{6B5D2CBC-EDD9-7EDD-E5BE-D94B70B3B8CB}"/>
                  </a:ext>
                </a:extLst>
              </p:cNvPr>
              <p:cNvSpPr/>
              <p:nvPr/>
            </p:nvSpPr>
            <p:spPr>
              <a:xfrm>
                <a:off x="1703557" y="2510105"/>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0 w 12779"/>
                  <a:gd name="connsiteY4" fmla="*/ 13007 h 13007"/>
                  <a:gd name="connsiteX5" fmla="*/ 8946 w 12779"/>
                  <a:gd name="connsiteY5" fmla="*/ 12369 h 13007"/>
                  <a:gd name="connsiteX6" fmla="*/ 10863 w 12779"/>
                  <a:gd name="connsiteY6" fmla="*/ 11092 h 13007"/>
                  <a:gd name="connsiteX7" fmla="*/ 12780 w 12779"/>
                  <a:gd name="connsiteY7" fmla="*/ 6623 h 13007"/>
                  <a:gd name="connsiteX8" fmla="*/ 10863 w 12779"/>
                  <a:gd name="connsiteY8" fmla="*/ 2155 h 13007"/>
                  <a:gd name="connsiteX9" fmla="*/ 10224 w 12779"/>
                  <a:gd name="connsiteY9"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8" name="Graphic 4">
                <a:extLst>
                  <a:ext uri="{FF2B5EF4-FFF2-40B4-BE49-F238E27FC236}">
                    <a16:creationId xmlns:a16="http://schemas.microsoft.com/office/drawing/2014/main" id="{89C3B584-994E-C72C-0719-4B922F2BDC8F}"/>
                  </a:ext>
                </a:extLst>
              </p:cNvPr>
              <p:cNvSpPr/>
              <p:nvPr/>
            </p:nvSpPr>
            <p:spPr>
              <a:xfrm>
                <a:off x="1617293" y="2538433"/>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5112 w 12779"/>
                  <a:gd name="connsiteY3" fmla="*/ 0 h 12767"/>
                  <a:gd name="connsiteX4" fmla="*/ 3834 w 12779"/>
                  <a:gd name="connsiteY4" fmla="*/ 638 h 12767"/>
                  <a:gd name="connsiteX5" fmla="*/ 2556 w 12779"/>
                  <a:gd name="connsiteY5" fmla="*/ 1277 h 12767"/>
                  <a:gd name="connsiteX6" fmla="*/ 1917 w 12779"/>
                  <a:gd name="connsiteY6" fmla="*/ 1915 h 12767"/>
                  <a:gd name="connsiteX7" fmla="*/ 0 w 12779"/>
                  <a:gd name="connsiteY7" fmla="*/ 5107 h 12767"/>
                  <a:gd name="connsiteX8" fmla="*/ 0 w 12779"/>
                  <a:gd name="connsiteY8" fmla="*/ 6384 h 12767"/>
                  <a:gd name="connsiteX9" fmla="*/ 639 w 12779"/>
                  <a:gd name="connsiteY9" fmla="*/ 8938 h 12767"/>
                  <a:gd name="connsiteX10" fmla="*/ 1917 w 12779"/>
                  <a:gd name="connsiteY10" fmla="*/ 10853 h 12767"/>
                  <a:gd name="connsiteX11" fmla="*/ 3834 w 12779"/>
                  <a:gd name="connsiteY11" fmla="*/ 12130 h 12767"/>
                  <a:gd name="connsiteX12" fmla="*/ 6390 w 12779"/>
                  <a:gd name="connsiteY12" fmla="*/ 12768 h 12767"/>
                  <a:gd name="connsiteX13" fmla="*/ 8946 w 12779"/>
                  <a:gd name="connsiteY13" fmla="*/ 12130 h 12767"/>
                  <a:gd name="connsiteX14" fmla="*/ 10863 w 12779"/>
                  <a:gd name="connsiteY14" fmla="*/ 10853 h 12767"/>
                  <a:gd name="connsiteX15" fmla="*/ 12141 w 12779"/>
                  <a:gd name="connsiteY15" fmla="*/ 8938 h 12767"/>
                  <a:gd name="connsiteX16" fmla="*/ 12780 w 12779"/>
                  <a:gd name="connsiteY16" fmla="*/ 6384 h 12767"/>
                  <a:gd name="connsiteX17" fmla="*/ 10863 w 12779"/>
                  <a:gd name="connsiteY17" fmla="*/ 1915 h 12767"/>
                  <a:gd name="connsiteX18" fmla="*/ 10224 w 12779"/>
                  <a:gd name="connsiteY18"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79" h="12767">
                    <a:moveTo>
                      <a:pt x="10224" y="1277"/>
                    </a:moveTo>
                    <a:cubicBezTo>
                      <a:pt x="9585" y="1277"/>
                      <a:pt x="9585" y="638"/>
                      <a:pt x="8946" y="638"/>
                    </a:cubicBezTo>
                    <a:cubicBezTo>
                      <a:pt x="8307" y="638"/>
                      <a:pt x="8307" y="0"/>
                      <a:pt x="7668" y="0"/>
                    </a:cubicBezTo>
                    <a:cubicBezTo>
                      <a:pt x="7029" y="0"/>
                      <a:pt x="5751" y="0"/>
                      <a:pt x="5112" y="0"/>
                    </a:cubicBezTo>
                    <a:lnTo>
                      <a:pt x="3834" y="638"/>
                    </a:lnTo>
                    <a:lnTo>
                      <a:pt x="2556" y="1277"/>
                    </a:lnTo>
                    <a:lnTo>
                      <a:pt x="1917" y="1915"/>
                    </a:lnTo>
                    <a:cubicBezTo>
                      <a:pt x="1278" y="2554"/>
                      <a:pt x="639" y="3830"/>
                      <a:pt x="0" y="5107"/>
                    </a:cubicBezTo>
                    <a:cubicBezTo>
                      <a:pt x="0" y="5746"/>
                      <a:pt x="0" y="5746"/>
                      <a:pt x="0" y="6384"/>
                    </a:cubicBezTo>
                    <a:cubicBezTo>
                      <a:pt x="0" y="7022"/>
                      <a:pt x="0" y="8299"/>
                      <a:pt x="639" y="8938"/>
                    </a:cubicBezTo>
                    <a:cubicBezTo>
                      <a:pt x="1278" y="9576"/>
                      <a:pt x="1278" y="10214"/>
                      <a:pt x="1917" y="10853"/>
                    </a:cubicBezTo>
                    <a:cubicBezTo>
                      <a:pt x="2556" y="11491"/>
                      <a:pt x="3195" y="12130"/>
                      <a:pt x="3834" y="12130"/>
                    </a:cubicBezTo>
                    <a:cubicBezTo>
                      <a:pt x="4473" y="12768"/>
                      <a:pt x="5751"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4469"/>
                      <a:pt x="12141" y="3192"/>
                      <a:pt x="10863" y="1915"/>
                    </a:cubicBezTo>
                    <a:lnTo>
                      <a:pt x="10224" y="1277"/>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29" name="Graphic 4">
                <a:extLst>
                  <a:ext uri="{FF2B5EF4-FFF2-40B4-BE49-F238E27FC236}">
                    <a16:creationId xmlns:a16="http://schemas.microsoft.com/office/drawing/2014/main" id="{ABC02807-74D2-BD2E-D651-3A6710065BE1}"/>
                  </a:ext>
                </a:extLst>
              </p:cNvPr>
              <p:cNvSpPr/>
              <p:nvPr/>
            </p:nvSpPr>
            <p:spPr>
              <a:xfrm>
                <a:off x="1617293" y="2509585"/>
                <a:ext cx="12779" cy="12739"/>
              </a:xfrm>
              <a:custGeom>
                <a:avLst/>
                <a:gdLst>
                  <a:gd name="connsiteX0" fmla="*/ 10224 w 12779"/>
                  <a:gd name="connsiteY0" fmla="*/ 1398 h 12739"/>
                  <a:gd name="connsiteX1" fmla="*/ 8946 w 12779"/>
                  <a:gd name="connsiteY1" fmla="*/ 759 h 12739"/>
                  <a:gd name="connsiteX2" fmla="*/ 7668 w 12779"/>
                  <a:gd name="connsiteY2" fmla="*/ 121 h 12739"/>
                  <a:gd name="connsiteX3" fmla="*/ 0 w 12779"/>
                  <a:gd name="connsiteY3" fmla="*/ 5228 h 12739"/>
                  <a:gd name="connsiteX4" fmla="*/ 0 w 12779"/>
                  <a:gd name="connsiteY4" fmla="*/ 6505 h 12739"/>
                  <a:gd name="connsiteX5" fmla="*/ 639 w 12779"/>
                  <a:gd name="connsiteY5" fmla="*/ 9059 h 12739"/>
                  <a:gd name="connsiteX6" fmla="*/ 1917 w 12779"/>
                  <a:gd name="connsiteY6" fmla="*/ 10974 h 12739"/>
                  <a:gd name="connsiteX7" fmla="*/ 3834 w 12779"/>
                  <a:gd name="connsiteY7" fmla="*/ 12251 h 12739"/>
                  <a:gd name="connsiteX8" fmla="*/ 12141 w 12779"/>
                  <a:gd name="connsiteY8" fmla="*/ 9059 h 12739"/>
                  <a:gd name="connsiteX9" fmla="*/ 12780 w 12779"/>
                  <a:gd name="connsiteY9" fmla="*/ 6505 h 12739"/>
                  <a:gd name="connsiteX10" fmla="*/ 10863 w 12779"/>
                  <a:gd name="connsiteY10" fmla="*/ 2036 h 12739"/>
                  <a:gd name="connsiteX11" fmla="*/ 10224 w 12779"/>
                  <a:gd name="connsiteY11" fmla="*/ 1398 h 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39">
                    <a:moveTo>
                      <a:pt x="10224" y="1398"/>
                    </a:moveTo>
                    <a:cubicBezTo>
                      <a:pt x="9585" y="1398"/>
                      <a:pt x="9585" y="759"/>
                      <a:pt x="8946" y="759"/>
                    </a:cubicBezTo>
                    <a:cubicBezTo>
                      <a:pt x="8307" y="759"/>
                      <a:pt x="8307" y="121"/>
                      <a:pt x="7668" y="121"/>
                    </a:cubicBezTo>
                    <a:cubicBezTo>
                      <a:pt x="4473" y="-517"/>
                      <a:pt x="639" y="1398"/>
                      <a:pt x="0" y="5228"/>
                    </a:cubicBezTo>
                    <a:cubicBezTo>
                      <a:pt x="0" y="5867"/>
                      <a:pt x="0" y="5867"/>
                      <a:pt x="0" y="6505"/>
                    </a:cubicBezTo>
                    <a:cubicBezTo>
                      <a:pt x="0" y="7143"/>
                      <a:pt x="0" y="8420"/>
                      <a:pt x="639" y="9059"/>
                    </a:cubicBezTo>
                    <a:cubicBezTo>
                      <a:pt x="1278" y="9697"/>
                      <a:pt x="1278" y="10335"/>
                      <a:pt x="1917" y="10974"/>
                    </a:cubicBezTo>
                    <a:cubicBezTo>
                      <a:pt x="2556" y="11612"/>
                      <a:pt x="3195" y="12251"/>
                      <a:pt x="3834" y="12251"/>
                    </a:cubicBezTo>
                    <a:cubicBezTo>
                      <a:pt x="7029" y="13527"/>
                      <a:pt x="10863" y="12251"/>
                      <a:pt x="12141" y="9059"/>
                    </a:cubicBezTo>
                    <a:cubicBezTo>
                      <a:pt x="12141" y="8420"/>
                      <a:pt x="12780" y="7782"/>
                      <a:pt x="12780" y="6505"/>
                    </a:cubicBezTo>
                    <a:cubicBezTo>
                      <a:pt x="12780" y="4590"/>
                      <a:pt x="12141" y="3313"/>
                      <a:pt x="10863" y="2036"/>
                    </a:cubicBezTo>
                    <a:cubicBezTo>
                      <a:pt x="10863" y="2036"/>
                      <a:pt x="10863" y="1398"/>
                      <a:pt x="10224" y="1398"/>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30" name="Graphic 4">
                <a:extLst>
                  <a:ext uri="{FF2B5EF4-FFF2-40B4-BE49-F238E27FC236}">
                    <a16:creationId xmlns:a16="http://schemas.microsoft.com/office/drawing/2014/main" id="{DD52290B-B02B-585D-A522-3377A486B013}"/>
                  </a:ext>
                </a:extLst>
              </p:cNvPr>
              <p:cNvSpPr/>
              <p:nvPr/>
            </p:nvSpPr>
            <p:spPr>
              <a:xfrm>
                <a:off x="1646047" y="2538408"/>
                <a:ext cx="12779" cy="12819"/>
              </a:xfrm>
              <a:custGeom>
                <a:avLst/>
                <a:gdLst>
                  <a:gd name="connsiteX0" fmla="*/ 8946 w 12779"/>
                  <a:gd name="connsiteY0" fmla="*/ 664 h 12819"/>
                  <a:gd name="connsiteX1" fmla="*/ 1917 w 12779"/>
                  <a:gd name="connsiteY1" fmla="*/ 1941 h 12819"/>
                  <a:gd name="connsiteX2" fmla="*/ 639 w 12779"/>
                  <a:gd name="connsiteY2" fmla="*/ 3856 h 12819"/>
                  <a:gd name="connsiteX3" fmla="*/ 0 w 12779"/>
                  <a:gd name="connsiteY3" fmla="*/ 5133 h 12819"/>
                  <a:gd name="connsiteX4" fmla="*/ 0 w 12779"/>
                  <a:gd name="connsiteY4" fmla="*/ 6410 h 12819"/>
                  <a:gd name="connsiteX5" fmla="*/ 639 w 12779"/>
                  <a:gd name="connsiteY5" fmla="*/ 8963 h 12819"/>
                  <a:gd name="connsiteX6" fmla="*/ 1917 w 12779"/>
                  <a:gd name="connsiteY6" fmla="*/ 10879 h 12819"/>
                  <a:gd name="connsiteX7" fmla="*/ 3834 w 12779"/>
                  <a:gd name="connsiteY7" fmla="*/ 12155 h 12819"/>
                  <a:gd name="connsiteX8" fmla="*/ 10863 w 12779"/>
                  <a:gd name="connsiteY8" fmla="*/ 10879 h 12819"/>
                  <a:gd name="connsiteX9" fmla="*/ 12141 w 12779"/>
                  <a:gd name="connsiteY9" fmla="*/ 8963 h 12819"/>
                  <a:gd name="connsiteX10" fmla="*/ 12780 w 12779"/>
                  <a:gd name="connsiteY10" fmla="*/ 6410 h 12819"/>
                  <a:gd name="connsiteX11" fmla="*/ 10863 w 12779"/>
                  <a:gd name="connsiteY11" fmla="*/ 1941 h 12819"/>
                  <a:gd name="connsiteX12" fmla="*/ 8946 w 12779"/>
                  <a:gd name="connsiteY12" fmla="*/ 664 h 1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819">
                    <a:moveTo>
                      <a:pt x="8946" y="664"/>
                    </a:moveTo>
                    <a:cubicBezTo>
                      <a:pt x="6390" y="-613"/>
                      <a:pt x="3834" y="26"/>
                      <a:pt x="1917" y="1941"/>
                    </a:cubicBezTo>
                    <a:cubicBezTo>
                      <a:pt x="1278" y="2579"/>
                      <a:pt x="639" y="3218"/>
                      <a:pt x="639" y="3856"/>
                    </a:cubicBezTo>
                    <a:cubicBezTo>
                      <a:pt x="639" y="4495"/>
                      <a:pt x="0" y="4495"/>
                      <a:pt x="0" y="5133"/>
                    </a:cubicBezTo>
                    <a:cubicBezTo>
                      <a:pt x="0" y="5771"/>
                      <a:pt x="0" y="5771"/>
                      <a:pt x="0" y="6410"/>
                    </a:cubicBezTo>
                    <a:cubicBezTo>
                      <a:pt x="0" y="7048"/>
                      <a:pt x="0" y="8325"/>
                      <a:pt x="639" y="8963"/>
                    </a:cubicBezTo>
                    <a:cubicBezTo>
                      <a:pt x="639" y="9602"/>
                      <a:pt x="1278" y="10240"/>
                      <a:pt x="1917" y="10879"/>
                    </a:cubicBezTo>
                    <a:cubicBezTo>
                      <a:pt x="2556" y="11517"/>
                      <a:pt x="3195" y="12155"/>
                      <a:pt x="3834" y="12155"/>
                    </a:cubicBezTo>
                    <a:cubicBezTo>
                      <a:pt x="6390" y="13432"/>
                      <a:pt x="8946" y="12794"/>
                      <a:pt x="10863" y="10879"/>
                    </a:cubicBezTo>
                    <a:cubicBezTo>
                      <a:pt x="11502" y="10240"/>
                      <a:pt x="12141" y="9602"/>
                      <a:pt x="12141" y="8963"/>
                    </a:cubicBezTo>
                    <a:cubicBezTo>
                      <a:pt x="12780" y="8325"/>
                      <a:pt x="12780" y="7687"/>
                      <a:pt x="12780" y="6410"/>
                    </a:cubicBezTo>
                    <a:cubicBezTo>
                      <a:pt x="12780" y="4495"/>
                      <a:pt x="12141" y="3218"/>
                      <a:pt x="10863" y="1941"/>
                    </a:cubicBezTo>
                    <a:cubicBezTo>
                      <a:pt x="10224" y="1303"/>
                      <a:pt x="9585" y="664"/>
                      <a:pt x="8946" y="664"/>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sp>
            <p:nvSpPr>
              <p:cNvPr id="631" name="Graphic 4">
                <a:extLst>
                  <a:ext uri="{FF2B5EF4-FFF2-40B4-BE49-F238E27FC236}">
                    <a16:creationId xmlns:a16="http://schemas.microsoft.com/office/drawing/2014/main" id="{909E3A15-4AB0-3FA5-CAC9-03977B78C5B9}"/>
                  </a:ext>
                </a:extLst>
              </p:cNvPr>
              <p:cNvSpPr/>
              <p:nvPr/>
            </p:nvSpPr>
            <p:spPr>
              <a:xfrm>
                <a:off x="1646047" y="2509706"/>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3834 w 12779"/>
                  <a:gd name="connsiteY3" fmla="*/ 638 h 12767"/>
                  <a:gd name="connsiteX4" fmla="*/ 1917 w 12779"/>
                  <a:gd name="connsiteY4" fmla="*/ 1915 h 12767"/>
                  <a:gd name="connsiteX5" fmla="*/ 639 w 12779"/>
                  <a:gd name="connsiteY5" fmla="*/ 3830 h 12767"/>
                  <a:gd name="connsiteX6" fmla="*/ 0 w 12779"/>
                  <a:gd name="connsiteY6" fmla="*/ 5107 h 12767"/>
                  <a:gd name="connsiteX7" fmla="*/ 0 w 12779"/>
                  <a:gd name="connsiteY7" fmla="*/ 6384 h 12767"/>
                  <a:gd name="connsiteX8" fmla="*/ 6390 w 12779"/>
                  <a:gd name="connsiteY8" fmla="*/ 12768 h 12767"/>
                  <a:gd name="connsiteX9" fmla="*/ 8946 w 12779"/>
                  <a:gd name="connsiteY9" fmla="*/ 12130 h 12767"/>
                  <a:gd name="connsiteX10" fmla="*/ 12141 w 12779"/>
                  <a:gd name="connsiteY10" fmla="*/ 8938 h 12767"/>
                  <a:gd name="connsiteX11" fmla="*/ 12780 w 12779"/>
                  <a:gd name="connsiteY11" fmla="*/ 6384 h 12767"/>
                  <a:gd name="connsiteX12" fmla="*/ 10863 w 12779"/>
                  <a:gd name="connsiteY12" fmla="*/ 1915 h 12767"/>
                  <a:gd name="connsiteX13" fmla="*/ 10224 w 12779"/>
                  <a:gd name="connsiteY13"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0224" y="1277"/>
                    </a:move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639" y="4469"/>
                      <a:pt x="639" y="4469"/>
                      <a:pt x="0" y="5107"/>
                    </a:cubicBezTo>
                    <a:cubicBezTo>
                      <a:pt x="0" y="5746"/>
                      <a:pt x="0" y="5746"/>
                      <a:pt x="0" y="6384"/>
                    </a:cubicBezTo>
                    <a:cubicBezTo>
                      <a:pt x="0" y="10214"/>
                      <a:pt x="3195" y="12768"/>
                      <a:pt x="6390" y="12768"/>
                    </a:cubicBezTo>
                    <a:cubicBezTo>
                      <a:pt x="7029" y="12768"/>
                      <a:pt x="8307"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10863" y="1915"/>
                      <a:pt x="10863" y="1277"/>
                      <a:pt x="10224"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B0F2"/>
                  </a:solidFill>
                  <a:effectLst/>
                  <a:uLnTx/>
                  <a:uFillTx/>
                  <a:latin typeface="Calibri"/>
                  <a:ea typeface="+mn-ea"/>
                  <a:cs typeface="+mn-cs"/>
                </a:endParaRPr>
              </a:p>
            </p:txBody>
          </p:sp>
        </p:grpSp>
        <p:sp>
          <p:nvSpPr>
            <p:cNvPr id="681" name="Graphic 4">
              <a:extLst>
                <a:ext uri="{FF2B5EF4-FFF2-40B4-BE49-F238E27FC236}">
                  <a16:creationId xmlns:a16="http://schemas.microsoft.com/office/drawing/2014/main" id="{26DCC640-35F3-CE93-07DC-E9EBDAB4E20E}"/>
                </a:ext>
              </a:extLst>
            </p:cNvPr>
            <p:cNvSpPr/>
            <p:nvPr/>
          </p:nvSpPr>
          <p:spPr>
            <a:xfrm>
              <a:off x="8040239" y="3558522"/>
              <a:ext cx="296471" cy="296194"/>
            </a:xfrm>
            <a:custGeom>
              <a:avLst/>
              <a:gdLst>
                <a:gd name="connsiteX0" fmla="*/ 120131 w 240261"/>
                <a:gd name="connsiteY0" fmla="*/ 0 h 240037"/>
                <a:gd name="connsiteX1" fmla="*/ 0 w 240261"/>
                <a:gd name="connsiteY1" fmla="*/ 120019 h 240037"/>
                <a:gd name="connsiteX2" fmla="*/ 120131 w 240261"/>
                <a:gd name="connsiteY2" fmla="*/ 240038 h 240037"/>
                <a:gd name="connsiteX3" fmla="*/ 240262 w 240261"/>
                <a:gd name="connsiteY3" fmla="*/ 120019 h 240037"/>
                <a:gd name="connsiteX4" fmla="*/ 240262 w 240261"/>
                <a:gd name="connsiteY4" fmla="*/ 120019 h 240037"/>
                <a:gd name="connsiteX5" fmla="*/ 120131 w 240261"/>
                <a:gd name="connsiteY5" fmla="*/ 0 h 240037"/>
                <a:gd name="connsiteX6" fmla="*/ 214702 w 240261"/>
                <a:gd name="connsiteY6" fmla="*/ 170452 h 240037"/>
                <a:gd name="connsiteX7" fmla="*/ 162943 w 240261"/>
                <a:gd name="connsiteY7" fmla="*/ 170452 h 240037"/>
                <a:gd name="connsiteX8" fmla="*/ 166777 w 240261"/>
                <a:gd name="connsiteY8" fmla="*/ 126403 h 240037"/>
                <a:gd name="connsiteX9" fmla="*/ 226843 w 240261"/>
                <a:gd name="connsiteY9" fmla="*/ 126403 h 240037"/>
                <a:gd name="connsiteX10" fmla="*/ 214702 w 240261"/>
                <a:gd name="connsiteY10" fmla="*/ 170452 h 240037"/>
                <a:gd name="connsiteX11" fmla="*/ 120131 w 240261"/>
                <a:gd name="connsiteY11" fmla="*/ 227270 h 240037"/>
                <a:gd name="connsiteX12" fmla="*/ 93293 w 240261"/>
                <a:gd name="connsiteY12" fmla="*/ 183220 h 240037"/>
                <a:gd name="connsiteX13" fmla="*/ 147608 w 240261"/>
                <a:gd name="connsiteY13" fmla="*/ 183220 h 240037"/>
                <a:gd name="connsiteX14" fmla="*/ 120131 w 240261"/>
                <a:gd name="connsiteY14" fmla="*/ 227270 h 240037"/>
                <a:gd name="connsiteX15" fmla="*/ 120131 w 240261"/>
                <a:gd name="connsiteY15" fmla="*/ 227270 h 240037"/>
                <a:gd name="connsiteX16" fmla="*/ 90098 w 240261"/>
                <a:gd name="connsiteY16" fmla="*/ 170452 h 240037"/>
                <a:gd name="connsiteX17" fmla="*/ 85625 w 240261"/>
                <a:gd name="connsiteY17" fmla="*/ 126403 h 240037"/>
                <a:gd name="connsiteX18" fmla="*/ 153998 w 240261"/>
                <a:gd name="connsiteY18" fmla="*/ 126403 h 240037"/>
                <a:gd name="connsiteX19" fmla="*/ 149525 w 240261"/>
                <a:gd name="connsiteY19" fmla="*/ 170452 h 240037"/>
                <a:gd name="connsiteX20" fmla="*/ 90098 w 240261"/>
                <a:gd name="connsiteY20" fmla="*/ 170452 h 240037"/>
                <a:gd name="connsiteX21" fmla="*/ 13419 w 240261"/>
                <a:gd name="connsiteY21" fmla="*/ 126403 h 240037"/>
                <a:gd name="connsiteX22" fmla="*/ 73484 w 240261"/>
                <a:gd name="connsiteY22" fmla="*/ 126403 h 240037"/>
                <a:gd name="connsiteX23" fmla="*/ 77318 w 240261"/>
                <a:gd name="connsiteY23" fmla="*/ 170452 h 240037"/>
                <a:gd name="connsiteX24" fmla="*/ 25560 w 240261"/>
                <a:gd name="connsiteY24" fmla="*/ 170452 h 240037"/>
                <a:gd name="connsiteX25" fmla="*/ 13419 w 240261"/>
                <a:gd name="connsiteY25" fmla="*/ 126403 h 240037"/>
                <a:gd name="connsiteX26" fmla="*/ 25560 w 240261"/>
                <a:gd name="connsiteY26" fmla="*/ 69585 h 240037"/>
                <a:gd name="connsiteX27" fmla="*/ 77318 w 240261"/>
                <a:gd name="connsiteY27" fmla="*/ 69585 h 240037"/>
                <a:gd name="connsiteX28" fmla="*/ 73484 w 240261"/>
                <a:gd name="connsiteY28" fmla="*/ 113635 h 240037"/>
                <a:gd name="connsiteX29" fmla="*/ 13419 w 240261"/>
                <a:gd name="connsiteY29" fmla="*/ 113635 h 240037"/>
                <a:gd name="connsiteX30" fmla="*/ 25560 w 240261"/>
                <a:gd name="connsiteY30" fmla="*/ 69585 h 240037"/>
                <a:gd name="connsiteX31" fmla="*/ 120131 w 240261"/>
                <a:gd name="connsiteY31" fmla="*/ 12768 h 240037"/>
                <a:gd name="connsiteX32" fmla="*/ 146969 w 240261"/>
                <a:gd name="connsiteY32" fmla="*/ 56817 h 240037"/>
                <a:gd name="connsiteX33" fmla="*/ 92654 w 240261"/>
                <a:gd name="connsiteY33" fmla="*/ 56817 h 240037"/>
                <a:gd name="connsiteX34" fmla="*/ 120131 w 240261"/>
                <a:gd name="connsiteY34" fmla="*/ 12768 h 240037"/>
                <a:gd name="connsiteX35" fmla="*/ 120131 w 240261"/>
                <a:gd name="connsiteY35" fmla="*/ 12768 h 240037"/>
                <a:gd name="connsiteX36" fmla="*/ 150164 w 240261"/>
                <a:gd name="connsiteY36" fmla="*/ 69585 h 240037"/>
                <a:gd name="connsiteX37" fmla="*/ 154637 w 240261"/>
                <a:gd name="connsiteY37" fmla="*/ 113635 h 240037"/>
                <a:gd name="connsiteX38" fmla="*/ 86264 w 240261"/>
                <a:gd name="connsiteY38" fmla="*/ 113635 h 240037"/>
                <a:gd name="connsiteX39" fmla="*/ 90737 w 240261"/>
                <a:gd name="connsiteY39" fmla="*/ 69585 h 240037"/>
                <a:gd name="connsiteX40" fmla="*/ 150164 w 240261"/>
                <a:gd name="connsiteY40" fmla="*/ 69585 h 240037"/>
                <a:gd name="connsiteX41" fmla="*/ 166777 w 240261"/>
                <a:gd name="connsiteY41" fmla="*/ 113635 h 240037"/>
                <a:gd name="connsiteX42" fmla="*/ 162943 w 240261"/>
                <a:gd name="connsiteY42" fmla="*/ 69585 h 240037"/>
                <a:gd name="connsiteX43" fmla="*/ 214702 w 240261"/>
                <a:gd name="connsiteY43" fmla="*/ 69585 h 240037"/>
                <a:gd name="connsiteX44" fmla="*/ 226843 w 240261"/>
                <a:gd name="connsiteY44" fmla="*/ 113635 h 240037"/>
                <a:gd name="connsiteX45" fmla="*/ 166777 w 240261"/>
                <a:gd name="connsiteY45" fmla="*/ 113635 h 240037"/>
                <a:gd name="connsiteX46" fmla="*/ 206395 w 240261"/>
                <a:gd name="connsiteY46" fmla="*/ 56817 h 240037"/>
                <a:gd name="connsiteX47" fmla="*/ 160387 w 240261"/>
                <a:gd name="connsiteY47" fmla="*/ 56817 h 240037"/>
                <a:gd name="connsiteX48" fmla="*/ 144413 w 240261"/>
                <a:gd name="connsiteY48" fmla="*/ 15321 h 240037"/>
                <a:gd name="connsiteX49" fmla="*/ 206395 w 240261"/>
                <a:gd name="connsiteY49" fmla="*/ 56817 h 240037"/>
                <a:gd name="connsiteX50" fmla="*/ 206395 w 240261"/>
                <a:gd name="connsiteY50" fmla="*/ 56817 h 240037"/>
                <a:gd name="connsiteX51" fmla="*/ 95849 w 240261"/>
                <a:gd name="connsiteY51" fmla="*/ 15321 h 240037"/>
                <a:gd name="connsiteX52" fmla="*/ 79874 w 240261"/>
                <a:gd name="connsiteY52" fmla="*/ 56817 h 240037"/>
                <a:gd name="connsiteX53" fmla="*/ 33867 w 240261"/>
                <a:gd name="connsiteY53" fmla="*/ 56817 h 240037"/>
                <a:gd name="connsiteX54" fmla="*/ 95849 w 240261"/>
                <a:gd name="connsiteY54" fmla="*/ 15321 h 240037"/>
                <a:gd name="connsiteX55" fmla="*/ 95849 w 240261"/>
                <a:gd name="connsiteY55" fmla="*/ 15321 h 240037"/>
                <a:gd name="connsiteX56" fmla="*/ 33867 w 240261"/>
                <a:gd name="connsiteY56" fmla="*/ 183220 h 240037"/>
                <a:gd name="connsiteX57" fmla="*/ 79874 w 240261"/>
                <a:gd name="connsiteY57" fmla="*/ 183220 h 240037"/>
                <a:gd name="connsiteX58" fmla="*/ 95849 w 240261"/>
                <a:gd name="connsiteY58" fmla="*/ 224716 h 240037"/>
                <a:gd name="connsiteX59" fmla="*/ 33867 w 240261"/>
                <a:gd name="connsiteY59" fmla="*/ 183220 h 240037"/>
                <a:gd name="connsiteX60" fmla="*/ 144413 w 240261"/>
                <a:gd name="connsiteY60" fmla="*/ 224716 h 240037"/>
                <a:gd name="connsiteX61" fmla="*/ 160387 w 240261"/>
                <a:gd name="connsiteY61" fmla="*/ 183220 h 240037"/>
                <a:gd name="connsiteX62" fmla="*/ 206395 w 240261"/>
                <a:gd name="connsiteY62" fmla="*/ 183220 h 240037"/>
                <a:gd name="connsiteX63" fmla="*/ 144413 w 240261"/>
                <a:gd name="connsiteY63" fmla="*/ 224716 h 240037"/>
                <a:gd name="connsiteX64" fmla="*/ 144413 w 240261"/>
                <a:gd name="connsiteY64" fmla="*/ 224716 h 24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0261" h="240037">
                  <a:moveTo>
                    <a:pt x="120131" y="0"/>
                  </a:moveTo>
                  <a:cubicBezTo>
                    <a:pt x="53675" y="0"/>
                    <a:pt x="0" y="53625"/>
                    <a:pt x="0" y="120019"/>
                  </a:cubicBezTo>
                  <a:cubicBezTo>
                    <a:pt x="0" y="186412"/>
                    <a:pt x="53675" y="240038"/>
                    <a:pt x="120131" y="240038"/>
                  </a:cubicBezTo>
                  <a:cubicBezTo>
                    <a:pt x="186586" y="240038"/>
                    <a:pt x="240262" y="186412"/>
                    <a:pt x="240262" y="120019"/>
                  </a:cubicBezTo>
                  <a:cubicBezTo>
                    <a:pt x="240262" y="120019"/>
                    <a:pt x="240262" y="120019"/>
                    <a:pt x="240262" y="120019"/>
                  </a:cubicBezTo>
                  <a:cubicBezTo>
                    <a:pt x="240262" y="53625"/>
                    <a:pt x="186586" y="0"/>
                    <a:pt x="120131" y="0"/>
                  </a:cubicBezTo>
                  <a:close/>
                  <a:moveTo>
                    <a:pt x="214702" y="170452"/>
                  </a:moveTo>
                  <a:lnTo>
                    <a:pt x="162943" y="170452"/>
                  </a:lnTo>
                  <a:cubicBezTo>
                    <a:pt x="165499" y="155769"/>
                    <a:pt x="166777" y="141086"/>
                    <a:pt x="166777" y="126403"/>
                  </a:cubicBezTo>
                  <a:lnTo>
                    <a:pt x="226843" y="126403"/>
                  </a:lnTo>
                  <a:cubicBezTo>
                    <a:pt x="226204" y="141724"/>
                    <a:pt x="221731" y="157046"/>
                    <a:pt x="214702" y="170452"/>
                  </a:cubicBezTo>
                  <a:close/>
                  <a:moveTo>
                    <a:pt x="120131" y="227270"/>
                  </a:moveTo>
                  <a:cubicBezTo>
                    <a:pt x="110546" y="227270"/>
                    <a:pt x="99683" y="210033"/>
                    <a:pt x="93293" y="183220"/>
                  </a:cubicBezTo>
                  <a:lnTo>
                    <a:pt x="147608" y="183220"/>
                  </a:lnTo>
                  <a:cubicBezTo>
                    <a:pt x="140579" y="210033"/>
                    <a:pt x="129716" y="227270"/>
                    <a:pt x="120131" y="227270"/>
                  </a:cubicBezTo>
                  <a:lnTo>
                    <a:pt x="120131" y="227270"/>
                  </a:lnTo>
                  <a:close/>
                  <a:moveTo>
                    <a:pt x="90098" y="170452"/>
                  </a:moveTo>
                  <a:cubicBezTo>
                    <a:pt x="87542" y="155769"/>
                    <a:pt x="86264" y="141086"/>
                    <a:pt x="85625" y="126403"/>
                  </a:cubicBezTo>
                  <a:lnTo>
                    <a:pt x="153998" y="126403"/>
                  </a:lnTo>
                  <a:cubicBezTo>
                    <a:pt x="153998" y="141086"/>
                    <a:pt x="152081" y="155769"/>
                    <a:pt x="149525" y="170452"/>
                  </a:cubicBezTo>
                  <a:lnTo>
                    <a:pt x="90098" y="170452"/>
                  </a:lnTo>
                  <a:close/>
                  <a:moveTo>
                    <a:pt x="13419" y="126403"/>
                  </a:moveTo>
                  <a:lnTo>
                    <a:pt x="73484" y="126403"/>
                  </a:lnTo>
                  <a:cubicBezTo>
                    <a:pt x="73484" y="141086"/>
                    <a:pt x="75401" y="155769"/>
                    <a:pt x="77318" y="170452"/>
                  </a:cubicBezTo>
                  <a:lnTo>
                    <a:pt x="25560" y="170452"/>
                  </a:lnTo>
                  <a:cubicBezTo>
                    <a:pt x="17892" y="157046"/>
                    <a:pt x="14058" y="141724"/>
                    <a:pt x="13419" y="126403"/>
                  </a:cubicBezTo>
                  <a:close/>
                  <a:moveTo>
                    <a:pt x="25560" y="69585"/>
                  </a:moveTo>
                  <a:lnTo>
                    <a:pt x="77318" y="69585"/>
                  </a:lnTo>
                  <a:cubicBezTo>
                    <a:pt x="74762" y="84269"/>
                    <a:pt x="73484" y="98952"/>
                    <a:pt x="73484" y="113635"/>
                  </a:cubicBezTo>
                  <a:lnTo>
                    <a:pt x="13419" y="113635"/>
                  </a:lnTo>
                  <a:cubicBezTo>
                    <a:pt x="14058" y="98313"/>
                    <a:pt x="17892" y="82992"/>
                    <a:pt x="25560" y="69585"/>
                  </a:cubicBezTo>
                  <a:close/>
                  <a:moveTo>
                    <a:pt x="120131" y="12768"/>
                  </a:moveTo>
                  <a:cubicBezTo>
                    <a:pt x="129716" y="12768"/>
                    <a:pt x="140579" y="30005"/>
                    <a:pt x="146969" y="56817"/>
                  </a:cubicBezTo>
                  <a:lnTo>
                    <a:pt x="92654" y="56817"/>
                  </a:lnTo>
                  <a:cubicBezTo>
                    <a:pt x="99683" y="30005"/>
                    <a:pt x="110546" y="12768"/>
                    <a:pt x="120131" y="12768"/>
                  </a:cubicBezTo>
                  <a:lnTo>
                    <a:pt x="120131" y="12768"/>
                  </a:lnTo>
                  <a:close/>
                  <a:moveTo>
                    <a:pt x="150164" y="69585"/>
                  </a:moveTo>
                  <a:cubicBezTo>
                    <a:pt x="152720" y="84269"/>
                    <a:pt x="153998" y="98952"/>
                    <a:pt x="154637" y="113635"/>
                  </a:cubicBezTo>
                  <a:lnTo>
                    <a:pt x="86264" y="113635"/>
                  </a:lnTo>
                  <a:cubicBezTo>
                    <a:pt x="86264" y="98952"/>
                    <a:pt x="88181" y="84269"/>
                    <a:pt x="90737" y="69585"/>
                  </a:cubicBezTo>
                  <a:lnTo>
                    <a:pt x="150164" y="69585"/>
                  </a:lnTo>
                  <a:close/>
                  <a:moveTo>
                    <a:pt x="166777" y="113635"/>
                  </a:moveTo>
                  <a:cubicBezTo>
                    <a:pt x="166777" y="98952"/>
                    <a:pt x="164860" y="84269"/>
                    <a:pt x="162943" y="69585"/>
                  </a:cubicBezTo>
                  <a:lnTo>
                    <a:pt x="214702" y="69585"/>
                  </a:lnTo>
                  <a:cubicBezTo>
                    <a:pt x="221731" y="82992"/>
                    <a:pt x="226204" y="98313"/>
                    <a:pt x="226843" y="113635"/>
                  </a:cubicBezTo>
                  <a:lnTo>
                    <a:pt x="166777" y="113635"/>
                  </a:lnTo>
                  <a:close/>
                  <a:moveTo>
                    <a:pt x="206395" y="56817"/>
                  </a:moveTo>
                  <a:lnTo>
                    <a:pt x="160387" y="56817"/>
                  </a:lnTo>
                  <a:cubicBezTo>
                    <a:pt x="157192" y="42134"/>
                    <a:pt x="152081" y="28089"/>
                    <a:pt x="144413" y="15321"/>
                  </a:cubicBezTo>
                  <a:cubicBezTo>
                    <a:pt x="169333" y="21705"/>
                    <a:pt x="191059" y="36389"/>
                    <a:pt x="206395" y="56817"/>
                  </a:cubicBezTo>
                  <a:lnTo>
                    <a:pt x="206395" y="56817"/>
                  </a:lnTo>
                  <a:close/>
                  <a:moveTo>
                    <a:pt x="95849" y="15321"/>
                  </a:moveTo>
                  <a:cubicBezTo>
                    <a:pt x="88181" y="28089"/>
                    <a:pt x="82430" y="42134"/>
                    <a:pt x="79874" y="56817"/>
                  </a:cubicBezTo>
                  <a:lnTo>
                    <a:pt x="33867" y="56817"/>
                  </a:lnTo>
                  <a:cubicBezTo>
                    <a:pt x="49203" y="36389"/>
                    <a:pt x="70928" y="21705"/>
                    <a:pt x="95849" y="15321"/>
                  </a:cubicBezTo>
                  <a:lnTo>
                    <a:pt x="95849" y="15321"/>
                  </a:lnTo>
                  <a:close/>
                  <a:moveTo>
                    <a:pt x="33867" y="183220"/>
                  </a:moveTo>
                  <a:lnTo>
                    <a:pt x="79874" y="183220"/>
                  </a:lnTo>
                  <a:cubicBezTo>
                    <a:pt x="83069" y="197903"/>
                    <a:pt x="88181" y="211948"/>
                    <a:pt x="95849" y="224716"/>
                  </a:cubicBezTo>
                  <a:cubicBezTo>
                    <a:pt x="70928" y="218332"/>
                    <a:pt x="49203" y="203649"/>
                    <a:pt x="33867" y="183220"/>
                  </a:cubicBezTo>
                  <a:close/>
                  <a:moveTo>
                    <a:pt x="144413" y="224716"/>
                  </a:moveTo>
                  <a:cubicBezTo>
                    <a:pt x="152081" y="211948"/>
                    <a:pt x="157831" y="197903"/>
                    <a:pt x="160387" y="183220"/>
                  </a:cubicBezTo>
                  <a:lnTo>
                    <a:pt x="206395" y="183220"/>
                  </a:lnTo>
                  <a:cubicBezTo>
                    <a:pt x="191059" y="203649"/>
                    <a:pt x="169333" y="218332"/>
                    <a:pt x="144413" y="224716"/>
                  </a:cubicBezTo>
                  <a:lnTo>
                    <a:pt x="144413" y="224716"/>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000000"/>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F296DF2-54DC-F8C7-5B97-8552F16B3A58}"/>
                </a:ext>
              </a:extLst>
            </p:cNvPr>
            <p:cNvSpPr/>
            <p:nvPr/>
          </p:nvSpPr>
          <p:spPr bwMode="gray">
            <a:xfrm>
              <a:off x="7597880" y="1720154"/>
              <a:ext cx="1226660" cy="202871"/>
            </a:xfrm>
            <a:prstGeom prst="rect">
              <a:avLst/>
            </a:prstGeom>
            <a:solidFill>
              <a:srgbClr val="3BC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latin typeface="Open Sans Bold" panose="020B0806030504020204" pitchFamily="34" charset="0"/>
                  <a:ea typeface="Open Sans Bold" panose="020B0806030504020204" pitchFamily="34" charset="0"/>
                  <a:cs typeface="Open Sans Bold" panose="020B0806030504020204" pitchFamily="34" charset="0"/>
                </a:rPr>
                <a:t>Africa</a:t>
              </a:r>
            </a:p>
          </p:txBody>
        </p:sp>
      </p:grpSp>
      <p:sp>
        <p:nvSpPr>
          <p:cNvPr id="13" name="Rectangle 12">
            <a:extLst>
              <a:ext uri="{FF2B5EF4-FFF2-40B4-BE49-F238E27FC236}">
                <a16:creationId xmlns:a16="http://schemas.microsoft.com/office/drawing/2014/main" id="{3A9359FA-7D54-369E-380F-0026F7124402}"/>
              </a:ext>
            </a:extLst>
          </p:cNvPr>
          <p:cNvSpPr/>
          <p:nvPr/>
        </p:nvSpPr>
        <p:spPr bwMode="gray">
          <a:xfrm>
            <a:off x="9016798" y="1720551"/>
            <a:ext cx="1226660" cy="202871"/>
          </a:xfrm>
          <a:prstGeom prst="rect">
            <a:avLst/>
          </a:prstGeom>
          <a:solidFill>
            <a:srgbClr val="3BC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latin typeface="Open Sans Bold" panose="020B0806030504020204" pitchFamily="34" charset="0"/>
                <a:ea typeface="Open Sans Bold" panose="020B0806030504020204" pitchFamily="34" charset="0"/>
                <a:cs typeface="Open Sans Bold" panose="020B0806030504020204" pitchFamily="34" charset="0"/>
              </a:rPr>
              <a:t>Middle East</a:t>
            </a:r>
          </a:p>
        </p:txBody>
      </p:sp>
      <p:sp>
        <p:nvSpPr>
          <p:cNvPr id="14" name="Rectangle 13">
            <a:extLst>
              <a:ext uri="{FF2B5EF4-FFF2-40B4-BE49-F238E27FC236}">
                <a16:creationId xmlns:a16="http://schemas.microsoft.com/office/drawing/2014/main" id="{0B133125-0C61-61FF-34B5-CF6A147551B4}"/>
              </a:ext>
            </a:extLst>
          </p:cNvPr>
          <p:cNvSpPr/>
          <p:nvPr/>
        </p:nvSpPr>
        <p:spPr bwMode="gray">
          <a:xfrm>
            <a:off x="10502045" y="1720551"/>
            <a:ext cx="1226660" cy="202871"/>
          </a:xfrm>
          <a:prstGeom prst="rect">
            <a:avLst/>
          </a:prstGeom>
          <a:solidFill>
            <a:srgbClr val="3BC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latin typeface="Open Sans Bold" panose="020B0806030504020204" pitchFamily="34" charset="0"/>
                <a:ea typeface="Open Sans Bold" panose="020B0806030504020204" pitchFamily="34" charset="0"/>
                <a:cs typeface="Open Sans Bold" panose="020B0806030504020204" pitchFamily="34" charset="0"/>
              </a:rPr>
              <a:t>Asia Pacific</a:t>
            </a:r>
          </a:p>
        </p:txBody>
      </p:sp>
    </p:spTree>
    <p:extLst>
      <p:ext uri="{BB962C8B-B14F-4D97-AF65-F5344CB8AC3E}">
        <p14:creationId xmlns:p14="http://schemas.microsoft.com/office/powerpoint/2010/main" val="3012367098"/>
      </p:ext>
    </p:extLst>
  </p:cSld>
  <p:clrMapOvr>
    <a:masterClrMapping/>
  </p:clrMapOvr>
  <p:transition>
    <p:fade/>
  </p:transition>
  <p:extLst>
    <p:ext uri="{6950BFC3-D8DA-4A85-94F7-54DA5524770B}">
      <p188:commentRel xmlns:p188="http://schemas.microsoft.com/office/powerpoint/2018/8/main" r:id="rId4"/>
    </p:ext>
  </p:extLs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3C0F13F-7E46-10D1-1FFB-6B3E78CC187E}"/>
              </a:ext>
            </a:extLst>
          </p:cNvPr>
          <p:cNvGraphicFramePr>
            <a:graphicFrameLocks noChangeAspect="1"/>
          </p:cNvGraphicFramePr>
          <p:nvPr>
            <p:custDataLst>
              <p:tags r:id="rId1"/>
            </p:custDataLst>
            <p:extLst>
              <p:ext uri="{D42A27DB-BD31-4B8C-83A1-F6EECF244321}">
                <p14:modId xmlns:p14="http://schemas.microsoft.com/office/powerpoint/2010/main" val="404774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6" name="think-cell data - do not delete" hidden="1">
                        <a:extLst>
                          <a:ext uri="{FF2B5EF4-FFF2-40B4-BE49-F238E27FC236}">
                            <a16:creationId xmlns:a16="http://schemas.microsoft.com/office/drawing/2014/main" id="{83C0F13F-7E46-10D1-1FFB-6B3E78CC1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E47C59D-6CDA-4AAF-8F55-AEA99127E076}"/>
              </a:ext>
            </a:extLst>
          </p:cNvPr>
          <p:cNvSpPr>
            <a:spLocks noGrp="1"/>
          </p:cNvSpPr>
          <p:nvPr>
            <p:ph type="body" sz="quarter" idx="22"/>
          </p:nvPr>
        </p:nvSpPr>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oitte has been researching and assessing emerging technology trends, that are likely to disrupt businesses’ and operations’ everyday life for 14 years now. This knowledge helps us assess the relevance of the newest trends to UNICEF’s operations.</a:t>
            </a:r>
            <a:endParaRPr lang="en-US" dirty="0"/>
          </a:p>
        </p:txBody>
      </p:sp>
      <p:sp>
        <p:nvSpPr>
          <p:cNvPr id="3" name="Title 2">
            <a:extLst>
              <a:ext uri="{FF2B5EF4-FFF2-40B4-BE49-F238E27FC236}">
                <a16:creationId xmlns:a16="http://schemas.microsoft.com/office/drawing/2014/main" id="{2EA41D89-0305-437C-A594-9E2C8586FECB}"/>
              </a:ext>
            </a:extLst>
          </p:cNvPr>
          <p:cNvSpPr>
            <a:spLocks noGrp="1"/>
          </p:cNvSpPr>
          <p:nvPr>
            <p:ph type="title"/>
          </p:nvPr>
        </p:nvSpPr>
        <p:spPr/>
        <p:txBody>
          <a:bodyPr vert="horz"/>
          <a:lstStyle/>
          <a:p>
            <a:r>
              <a:rPr kumimoji="0" lang="en-US" sz="2800" b="0" i="0" u="none" strike="noStrike" kern="1200" cap="none" spc="0" normalizeH="0" baseline="0" dirty="0">
                <a:ln>
                  <a:noFill/>
                </a:ln>
                <a:solidFill>
                  <a:prstClr val="black"/>
                </a:solidFill>
                <a:effectLst/>
                <a:uLnTx/>
                <a:uFillTx/>
                <a:latin typeface="Open Sans Light"/>
                <a:ea typeface="+mj-ea"/>
                <a:cs typeface="Calibri Light"/>
              </a:rPr>
              <a:t>Emerging technologies – Deloitte Tech </a:t>
            </a:r>
            <a:r>
              <a:rPr lang="en-US" dirty="0">
                <a:solidFill>
                  <a:prstClr val="black"/>
                </a:solidFill>
                <a:latin typeface="Open Sans Light"/>
                <a:ea typeface="+mj-ea"/>
                <a:cs typeface="Calibri Light"/>
              </a:rPr>
              <a:t>T</a:t>
            </a:r>
            <a:r>
              <a:rPr kumimoji="0" lang="en-US" sz="2800" b="0" i="0" u="none" strike="noStrike" kern="1200" cap="none" spc="0" normalizeH="0" baseline="0" dirty="0">
                <a:ln>
                  <a:noFill/>
                </a:ln>
                <a:solidFill>
                  <a:prstClr val="black"/>
                </a:solidFill>
                <a:effectLst/>
                <a:uLnTx/>
                <a:uFillTx/>
                <a:latin typeface="Open Sans Light"/>
                <a:ea typeface="+mj-ea"/>
                <a:cs typeface="Calibri Light"/>
              </a:rPr>
              <a:t>rends 2023</a:t>
            </a:r>
            <a:endParaRPr lang="en-US" dirty="0"/>
          </a:p>
        </p:txBody>
      </p:sp>
      <p:sp>
        <p:nvSpPr>
          <p:cNvPr id="34" name="Rechteck 58">
            <a:extLst>
              <a:ext uri="{FF2B5EF4-FFF2-40B4-BE49-F238E27FC236}">
                <a16:creationId xmlns:a16="http://schemas.microsoft.com/office/drawing/2014/main" id="{E47BC049-2961-8751-BB2C-8027A2ACCF84}"/>
              </a:ext>
            </a:extLst>
          </p:cNvPr>
          <p:cNvSpPr/>
          <p:nvPr/>
        </p:nvSpPr>
        <p:spPr>
          <a:xfrm>
            <a:off x="463295" y="1579134"/>
            <a:ext cx="3413784" cy="298111"/>
          </a:xfrm>
          <a:prstGeom prst="rect">
            <a:avLst/>
          </a:prstGeom>
          <a:solidFill>
            <a:schemeClr val="bg1"/>
          </a:solidFill>
          <a:ln w="12700">
            <a:noFill/>
          </a:ln>
          <a:effectLst>
            <a:outerShdw dist="25400" dir="5400000" algn="ctr" rotWithShape="0">
              <a:srgbClr val="00ABAB"/>
            </a:outerShdw>
          </a:effectLst>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lgn="ctr">
              <a:buFont typeface="Wingdings" pitchFamily="2" charset="2"/>
              <a:buNone/>
            </a:pPr>
            <a:r>
              <a:rPr lang="en-US" sz="12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Macro technology forces</a:t>
            </a:r>
          </a:p>
        </p:txBody>
      </p:sp>
      <p:sp>
        <p:nvSpPr>
          <p:cNvPr id="35" name="Rechteck 58">
            <a:extLst>
              <a:ext uri="{FF2B5EF4-FFF2-40B4-BE49-F238E27FC236}">
                <a16:creationId xmlns:a16="http://schemas.microsoft.com/office/drawing/2014/main" id="{FE275CDC-E32E-78E5-F433-2B3BB78448BD}"/>
              </a:ext>
            </a:extLst>
          </p:cNvPr>
          <p:cNvSpPr/>
          <p:nvPr/>
        </p:nvSpPr>
        <p:spPr>
          <a:xfrm>
            <a:off x="4521200" y="1579134"/>
            <a:ext cx="7329054" cy="298111"/>
          </a:xfrm>
          <a:prstGeom prst="rect">
            <a:avLst/>
          </a:prstGeom>
          <a:solidFill>
            <a:schemeClr val="bg1"/>
          </a:solidFill>
          <a:ln w="12700">
            <a:noFill/>
          </a:ln>
          <a:effectLst>
            <a:outerShdw dist="25400" dir="5400000" algn="ctr" rotWithShape="0">
              <a:srgbClr val="00ABAB"/>
            </a:outerShdw>
          </a:effectLst>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lgn="ctr">
              <a:buFont typeface="Wingdings" pitchFamily="2" charset="2"/>
              <a:buNone/>
            </a:pPr>
            <a:r>
              <a:rPr lang="en-US" sz="12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Ruling Tech Trends of 2023</a:t>
            </a:r>
          </a:p>
        </p:txBody>
      </p:sp>
      <p:grpSp>
        <p:nvGrpSpPr>
          <p:cNvPr id="41" name="Group 40">
            <a:extLst>
              <a:ext uri="{FF2B5EF4-FFF2-40B4-BE49-F238E27FC236}">
                <a16:creationId xmlns:a16="http://schemas.microsoft.com/office/drawing/2014/main" id="{8DE6648A-5621-13DE-33E5-272B1D405AF8}"/>
              </a:ext>
            </a:extLst>
          </p:cNvPr>
          <p:cNvGrpSpPr/>
          <p:nvPr/>
        </p:nvGrpSpPr>
        <p:grpSpPr>
          <a:xfrm>
            <a:off x="463295" y="2127796"/>
            <a:ext cx="3413784" cy="2765504"/>
            <a:chOff x="329519" y="3156496"/>
            <a:chExt cx="3413784" cy="2765504"/>
          </a:xfrm>
        </p:grpSpPr>
        <p:pic>
          <p:nvPicPr>
            <p:cNvPr id="37" name="Picture 36">
              <a:extLst>
                <a:ext uri="{FF2B5EF4-FFF2-40B4-BE49-F238E27FC236}">
                  <a16:creationId xmlns:a16="http://schemas.microsoft.com/office/drawing/2014/main" id="{E52D25F9-B33D-19A7-5EC7-4695D55B78F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6525" y="4695566"/>
              <a:ext cx="2922166" cy="1226434"/>
            </a:xfrm>
            <a:prstGeom prst="rect">
              <a:avLst/>
            </a:prstGeom>
          </p:spPr>
        </p:pic>
        <p:pic>
          <p:nvPicPr>
            <p:cNvPr id="38" name="Graphic 37">
              <a:extLst>
                <a:ext uri="{FF2B5EF4-FFF2-40B4-BE49-F238E27FC236}">
                  <a16:creationId xmlns:a16="http://schemas.microsoft.com/office/drawing/2014/main" id="{A079C673-7715-A003-98A5-C9DBD350CCF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29519" y="3270390"/>
              <a:ext cx="1506700" cy="1389512"/>
            </a:xfrm>
            <a:prstGeom prst="rect">
              <a:avLst/>
            </a:prstGeom>
          </p:spPr>
        </p:pic>
        <p:pic>
          <p:nvPicPr>
            <p:cNvPr id="39" name="Graphic 38">
              <a:extLst>
                <a:ext uri="{FF2B5EF4-FFF2-40B4-BE49-F238E27FC236}">
                  <a16:creationId xmlns:a16="http://schemas.microsoft.com/office/drawing/2014/main" id="{D8CF6A29-E2DF-278B-6EE4-5C083BD3DB4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234903" y="3269607"/>
              <a:ext cx="1508400" cy="1391079"/>
            </a:xfrm>
            <a:prstGeom prst="rect">
              <a:avLst/>
            </a:prstGeom>
          </p:spPr>
        </p:pic>
        <p:pic>
          <p:nvPicPr>
            <p:cNvPr id="40" name="Graphic 39">
              <a:extLst>
                <a:ext uri="{FF2B5EF4-FFF2-40B4-BE49-F238E27FC236}">
                  <a16:creationId xmlns:a16="http://schemas.microsoft.com/office/drawing/2014/main" id="{84EE8630-1844-E0DE-4838-9747E34788F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91432" y="3156496"/>
              <a:ext cx="1489958" cy="1213730"/>
            </a:xfrm>
            <a:prstGeom prst="rect">
              <a:avLst/>
            </a:prstGeom>
          </p:spPr>
        </p:pic>
      </p:grpSp>
      <p:pic>
        <p:nvPicPr>
          <p:cNvPr id="50" name="Picture 49">
            <a:extLst>
              <a:ext uri="{FF2B5EF4-FFF2-40B4-BE49-F238E27FC236}">
                <a16:creationId xmlns:a16="http://schemas.microsoft.com/office/drawing/2014/main" id="{413BFE85-AFB3-B0BE-0CB9-F6117C112F8C}"/>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649846" y="2030454"/>
            <a:ext cx="577582" cy="489600"/>
          </a:xfrm>
          <a:prstGeom prst="rect">
            <a:avLst/>
          </a:prstGeom>
        </p:spPr>
      </p:pic>
      <p:pic>
        <p:nvPicPr>
          <p:cNvPr id="51" name="Picture 50">
            <a:extLst>
              <a:ext uri="{FF2B5EF4-FFF2-40B4-BE49-F238E27FC236}">
                <a16:creationId xmlns:a16="http://schemas.microsoft.com/office/drawing/2014/main" id="{DA80328A-E7E9-80A0-C24C-464EDCF32DB7}"/>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272671" y="2030454"/>
            <a:ext cx="577582" cy="489600"/>
          </a:xfrm>
          <a:prstGeom prst="rect">
            <a:avLst/>
          </a:prstGeom>
        </p:spPr>
      </p:pic>
      <p:pic>
        <p:nvPicPr>
          <p:cNvPr id="52" name="Picture 51">
            <a:extLst>
              <a:ext uri="{FF2B5EF4-FFF2-40B4-BE49-F238E27FC236}">
                <a16:creationId xmlns:a16="http://schemas.microsoft.com/office/drawing/2014/main" id="{06D38302-39EE-DEBA-1766-0565E1B4B539}"/>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025904" y="4020015"/>
            <a:ext cx="577582" cy="489600"/>
          </a:xfrm>
          <a:prstGeom prst="rect">
            <a:avLst/>
          </a:prstGeom>
        </p:spPr>
      </p:pic>
      <p:pic>
        <p:nvPicPr>
          <p:cNvPr id="53" name="Picture 52">
            <a:extLst>
              <a:ext uri="{FF2B5EF4-FFF2-40B4-BE49-F238E27FC236}">
                <a16:creationId xmlns:a16="http://schemas.microsoft.com/office/drawing/2014/main" id="{2A348151-D2F6-E477-0267-BD2344992259}"/>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649846" y="4020015"/>
            <a:ext cx="577582" cy="489600"/>
          </a:xfrm>
          <a:prstGeom prst="rect">
            <a:avLst/>
          </a:prstGeom>
        </p:spPr>
      </p:pic>
      <p:pic>
        <p:nvPicPr>
          <p:cNvPr id="54" name="Picture 53">
            <a:extLst>
              <a:ext uri="{FF2B5EF4-FFF2-40B4-BE49-F238E27FC236}">
                <a16:creationId xmlns:a16="http://schemas.microsoft.com/office/drawing/2014/main" id="{561AFD8C-D32C-D980-68D6-31BF3BAF2A2B}"/>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1272671" y="4020015"/>
            <a:ext cx="577582" cy="489600"/>
          </a:xfrm>
          <a:prstGeom prst="rect">
            <a:avLst/>
          </a:prstGeom>
        </p:spPr>
      </p:pic>
      <p:sp>
        <p:nvSpPr>
          <p:cNvPr id="55" name="Inhaltsplatzhalter 5">
            <a:extLst>
              <a:ext uri="{FF2B5EF4-FFF2-40B4-BE49-F238E27FC236}">
                <a16:creationId xmlns:a16="http://schemas.microsoft.com/office/drawing/2014/main" id="{3D94BBB1-A843-7B03-FF50-228A4AB16971}"/>
              </a:ext>
            </a:extLst>
          </p:cNvPr>
          <p:cNvSpPr txBox="1">
            <a:spLocks/>
          </p:cNvSpPr>
          <p:nvPr/>
        </p:nvSpPr>
        <p:spPr>
          <a:xfrm>
            <a:off x="4534170" y="1981803"/>
            <a:ext cx="2070433" cy="673200"/>
          </a:xfrm>
          <a:prstGeom prst="rect">
            <a:avLst/>
          </a:prstGeom>
          <a:noFill/>
          <a:ln w="12700">
            <a:noFill/>
            <a:miter lim="800000"/>
            <a:headEnd/>
            <a:tailEnd/>
          </a:ln>
        </p:spPr>
        <p:txBody>
          <a:bodyPr vert="horz" wrap="square" lIns="36000" tIns="36000" rIns="576000" bIns="36000" numCol="1" anchor="t" anchorCtr="0" compatLnSpc="1">
            <a:prstTxWarp prst="textNoShape">
              <a:avLst/>
            </a:prstTxWarp>
          </a:bodyPr>
          <a:lstStyle/>
          <a:p>
            <a:pPr marL="0" lvl="1" fontAlgn="base">
              <a:spcAft>
                <a:spcPts val="300"/>
              </a:spcAft>
              <a:defRPr/>
            </a:pPr>
            <a:r>
              <a:rPr lang="en-US" sz="1050" b="1" dirty="0">
                <a:latin typeface="Open Sans Light" panose="020B0306030504020204" pitchFamily="34" charset="0"/>
                <a:ea typeface="Open Sans Light" panose="020B0306030504020204" pitchFamily="34" charset="0"/>
                <a:cs typeface="Open Sans Light" panose="020B0306030504020204" pitchFamily="34" charset="0"/>
              </a:rPr>
              <a:t>Through the glass: Immersive internet for the enterprise</a:t>
            </a:r>
          </a:p>
        </p:txBody>
      </p:sp>
      <p:sp>
        <p:nvSpPr>
          <p:cNvPr id="56" name="Inhaltsplatzhalter 5">
            <a:extLst>
              <a:ext uri="{FF2B5EF4-FFF2-40B4-BE49-F238E27FC236}">
                <a16:creationId xmlns:a16="http://schemas.microsoft.com/office/drawing/2014/main" id="{7B8217D5-F7FE-8A4A-5475-2E4E89B3B2C6}"/>
              </a:ext>
            </a:extLst>
          </p:cNvPr>
          <p:cNvSpPr txBox="1">
            <a:spLocks/>
          </p:cNvSpPr>
          <p:nvPr/>
        </p:nvSpPr>
        <p:spPr>
          <a:xfrm>
            <a:off x="7156995" y="1981170"/>
            <a:ext cx="2070433" cy="673200"/>
          </a:xfrm>
          <a:prstGeom prst="rect">
            <a:avLst/>
          </a:prstGeom>
          <a:noFill/>
          <a:ln w="12700">
            <a:noFill/>
            <a:miter lim="800000"/>
            <a:headEnd/>
            <a:tailEnd/>
          </a:ln>
        </p:spPr>
        <p:txBody>
          <a:bodyPr vert="horz" wrap="square" lIns="36000" tIns="36000" rIns="576000" bIns="36000" numCol="1" anchor="t" anchorCtr="0" compatLnSpc="1">
            <a:prstTxWarp prst="textNoShape">
              <a:avLst/>
            </a:prstTxWarp>
          </a:bodyPr>
          <a:lstStyle>
            <a:defPPr>
              <a:defRPr lang="en-US"/>
            </a:defPPr>
            <a:lvl2pPr marL="0" lvl="1" fontAlgn="base">
              <a:spcAft>
                <a:spcPts val="300"/>
              </a:spcAft>
              <a:defRPr sz="1000" b="1">
                <a:latin typeface="Open Sans Light" panose="020B0306030504020204" pitchFamily="34" charset="0"/>
                <a:ea typeface="Open Sans Light" panose="020B0306030504020204" pitchFamily="34" charset="0"/>
                <a:cs typeface="Open Sans Light" panose="020B0306030504020204" pitchFamily="34" charset="0"/>
              </a:defRPr>
            </a:lvl2pPr>
          </a:lstStyle>
          <a:p>
            <a:pPr lvl="1"/>
            <a:r>
              <a:rPr lang="en-US" sz="1050" dirty="0"/>
              <a:t>Opening up to AI: Learning to trust AI colleagues </a:t>
            </a:r>
          </a:p>
        </p:txBody>
      </p:sp>
      <p:sp>
        <p:nvSpPr>
          <p:cNvPr id="57" name="Inhaltsplatzhalter 5">
            <a:extLst>
              <a:ext uri="{FF2B5EF4-FFF2-40B4-BE49-F238E27FC236}">
                <a16:creationId xmlns:a16="http://schemas.microsoft.com/office/drawing/2014/main" id="{67D74CCC-C977-49F5-AF55-9E86F251866F}"/>
              </a:ext>
            </a:extLst>
          </p:cNvPr>
          <p:cNvSpPr txBox="1">
            <a:spLocks/>
          </p:cNvSpPr>
          <p:nvPr/>
        </p:nvSpPr>
        <p:spPr>
          <a:xfrm>
            <a:off x="9779821" y="1981803"/>
            <a:ext cx="2070433" cy="673200"/>
          </a:xfrm>
          <a:prstGeom prst="rect">
            <a:avLst/>
          </a:prstGeom>
          <a:noFill/>
          <a:ln w="12700">
            <a:noFill/>
            <a:miter lim="800000"/>
            <a:headEnd/>
            <a:tailEnd/>
          </a:ln>
        </p:spPr>
        <p:txBody>
          <a:bodyPr vert="horz" wrap="square" lIns="36000" tIns="36000" rIns="576000" bIns="36000" numCol="1" anchor="t" anchorCtr="0" compatLnSpc="1">
            <a:prstTxWarp prst="textNoShape">
              <a:avLst/>
            </a:prstTxWarp>
          </a:bodyPr>
          <a:lstStyle>
            <a:defPPr>
              <a:defRPr lang="en-US"/>
            </a:defPPr>
            <a:lvl2pPr marL="0" lvl="1" fontAlgn="base">
              <a:spcAft>
                <a:spcPts val="300"/>
              </a:spcAft>
              <a:defRPr sz="1000" b="1">
                <a:latin typeface="Open Sans Light" panose="020B0306030504020204" pitchFamily="34" charset="0"/>
                <a:ea typeface="Open Sans Light" panose="020B0306030504020204" pitchFamily="34" charset="0"/>
                <a:cs typeface="Open Sans Light" panose="020B0306030504020204" pitchFamily="34" charset="0"/>
              </a:defRPr>
            </a:lvl2pPr>
          </a:lstStyle>
          <a:p>
            <a:pPr lvl="1"/>
            <a:r>
              <a:rPr lang="en-US" sz="1050" dirty="0"/>
              <a:t>Above the clouds: Taming </a:t>
            </a:r>
            <a:r>
              <a:rPr lang="en-US" sz="1050" dirty="0" err="1"/>
              <a:t>multicloud</a:t>
            </a:r>
            <a:r>
              <a:rPr lang="en-US" sz="1050" dirty="0"/>
              <a:t> chaos </a:t>
            </a:r>
          </a:p>
        </p:txBody>
      </p:sp>
      <p:sp>
        <p:nvSpPr>
          <p:cNvPr id="58" name="Inhaltsplatzhalter 5">
            <a:extLst>
              <a:ext uri="{FF2B5EF4-FFF2-40B4-BE49-F238E27FC236}">
                <a16:creationId xmlns:a16="http://schemas.microsoft.com/office/drawing/2014/main" id="{2463A168-B047-A25E-8016-55853838E21C}"/>
              </a:ext>
            </a:extLst>
          </p:cNvPr>
          <p:cNvSpPr txBox="1">
            <a:spLocks/>
          </p:cNvSpPr>
          <p:nvPr/>
        </p:nvSpPr>
        <p:spPr>
          <a:xfrm>
            <a:off x="4534170" y="2655003"/>
            <a:ext cx="2070433" cy="1280107"/>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0" lvl="1" fontAlgn="base">
              <a:spcAft>
                <a:spcPts val="300"/>
              </a:spcAft>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Immersive virtual experiences, including the metaverse, are quickly moving from tech to toy to enterprise tool, as companies grow revenue and streamline operations using the capabilities of an "unlimited reality."</a:t>
            </a:r>
          </a:p>
        </p:txBody>
      </p:sp>
      <p:sp>
        <p:nvSpPr>
          <p:cNvPr id="61" name="Inhaltsplatzhalter 5">
            <a:extLst>
              <a:ext uri="{FF2B5EF4-FFF2-40B4-BE49-F238E27FC236}">
                <a16:creationId xmlns:a16="http://schemas.microsoft.com/office/drawing/2014/main" id="{A15A70BA-8F2D-96A5-D8B1-0DBEC8EFB0DD}"/>
              </a:ext>
            </a:extLst>
          </p:cNvPr>
          <p:cNvSpPr txBox="1">
            <a:spLocks/>
          </p:cNvSpPr>
          <p:nvPr/>
        </p:nvSpPr>
        <p:spPr>
          <a:xfrm>
            <a:off x="7156995" y="2655003"/>
            <a:ext cx="2070433" cy="1280107"/>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0" lvl="1" fontAlgn="base">
              <a:spcAft>
                <a:spcPts val="300"/>
              </a:spcAft>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Trust is emerging as a key differentiator in enterprises' Al aspirations. Businesses that are moving toward becoming Al-fueled organizations are learning that trust may be just as important as the strength of their algorithms. </a:t>
            </a:r>
          </a:p>
        </p:txBody>
      </p:sp>
      <p:sp>
        <p:nvSpPr>
          <p:cNvPr id="62" name="Inhaltsplatzhalter 5">
            <a:extLst>
              <a:ext uri="{FF2B5EF4-FFF2-40B4-BE49-F238E27FC236}">
                <a16:creationId xmlns:a16="http://schemas.microsoft.com/office/drawing/2014/main" id="{0FB47AE5-0337-B377-CA43-DC59286AF17E}"/>
              </a:ext>
            </a:extLst>
          </p:cNvPr>
          <p:cNvSpPr txBox="1">
            <a:spLocks/>
          </p:cNvSpPr>
          <p:nvPr/>
        </p:nvSpPr>
        <p:spPr>
          <a:xfrm>
            <a:off x="9779820" y="2655003"/>
            <a:ext cx="2070433" cy="1280107"/>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0" lvl="1" fontAlgn="base">
              <a:spcAft>
                <a:spcPts val="300"/>
              </a:spcAft>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Organizations feeling swamped by </a:t>
            </a:r>
            <a:r>
              <a:rPr lang="en-US" sz="1000" dirty="0" err="1">
                <a:latin typeface="Open Sans Light" panose="020B0306030504020204" pitchFamily="34" charset="0"/>
                <a:ea typeface="Open Sans Light" panose="020B0306030504020204" pitchFamily="34" charset="0"/>
                <a:cs typeface="Open Sans Light" panose="020B0306030504020204" pitchFamily="34" charset="0"/>
              </a:rPr>
              <a:t>multicloud</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complexity have a new hope on the horizon. </a:t>
            </a:r>
            <a:r>
              <a:rPr lang="en-US" sz="1000" dirty="0" err="1">
                <a:latin typeface="Open Sans Light" panose="020B0306030504020204" pitchFamily="34" charset="0"/>
                <a:ea typeface="Open Sans Light" panose="020B0306030504020204" pitchFamily="34" charset="0"/>
                <a:cs typeface="Open Sans Light" panose="020B0306030504020204" pitchFamily="34" charset="0"/>
              </a:rPr>
              <a:t>Metacloud</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sits on top of existing clouds and provides a single pane of control for businesses' various cloud platforms.</a:t>
            </a:r>
          </a:p>
        </p:txBody>
      </p:sp>
      <p:sp>
        <p:nvSpPr>
          <p:cNvPr id="63" name="Inhaltsplatzhalter 5">
            <a:extLst>
              <a:ext uri="{FF2B5EF4-FFF2-40B4-BE49-F238E27FC236}">
                <a16:creationId xmlns:a16="http://schemas.microsoft.com/office/drawing/2014/main" id="{EDA5E354-E5A5-D54F-BA5B-8CF099A84ADA}"/>
              </a:ext>
            </a:extLst>
          </p:cNvPr>
          <p:cNvSpPr txBox="1">
            <a:spLocks/>
          </p:cNvSpPr>
          <p:nvPr/>
        </p:nvSpPr>
        <p:spPr>
          <a:xfrm>
            <a:off x="4534170" y="4000873"/>
            <a:ext cx="2070433" cy="673200"/>
          </a:xfrm>
          <a:prstGeom prst="rect">
            <a:avLst/>
          </a:prstGeom>
          <a:noFill/>
          <a:ln w="12700">
            <a:noFill/>
            <a:miter lim="800000"/>
            <a:headEnd/>
            <a:tailEnd/>
          </a:ln>
        </p:spPr>
        <p:txBody>
          <a:bodyPr vert="horz" wrap="square" lIns="36000" tIns="36000" rIns="576000" bIns="36000" numCol="1" anchor="t" anchorCtr="0" compatLnSpc="1">
            <a:prstTxWarp prst="textNoShape">
              <a:avLst/>
            </a:prstTxWarp>
          </a:bodyPr>
          <a:lstStyle>
            <a:defPPr>
              <a:defRPr lang="en-US"/>
            </a:defPPr>
            <a:lvl2pPr marL="0" lvl="1" fontAlgn="base">
              <a:spcAft>
                <a:spcPts val="300"/>
              </a:spcAft>
              <a:defRPr sz="1000" b="1">
                <a:latin typeface="Open Sans Light" panose="020B0306030504020204" pitchFamily="34" charset="0"/>
                <a:ea typeface="Open Sans Light" panose="020B0306030504020204" pitchFamily="34" charset="0"/>
                <a:cs typeface="Open Sans Light" panose="020B0306030504020204" pitchFamily="34" charset="0"/>
              </a:defRPr>
            </a:lvl2pPr>
          </a:lstStyle>
          <a:p>
            <a:pPr lvl="1"/>
            <a:r>
              <a:rPr lang="en-US" sz="1050" dirty="0"/>
              <a:t>Flexibility, the best ability: Reimagining the tech workforce</a:t>
            </a:r>
          </a:p>
        </p:txBody>
      </p:sp>
      <p:sp>
        <p:nvSpPr>
          <p:cNvPr id="64" name="Inhaltsplatzhalter 5">
            <a:extLst>
              <a:ext uri="{FF2B5EF4-FFF2-40B4-BE49-F238E27FC236}">
                <a16:creationId xmlns:a16="http://schemas.microsoft.com/office/drawing/2014/main" id="{1E82F526-5A08-0554-EC14-3CD541114D48}"/>
              </a:ext>
            </a:extLst>
          </p:cNvPr>
          <p:cNvSpPr txBox="1">
            <a:spLocks/>
          </p:cNvSpPr>
          <p:nvPr/>
        </p:nvSpPr>
        <p:spPr>
          <a:xfrm>
            <a:off x="4534170" y="4674073"/>
            <a:ext cx="2070433" cy="1280107"/>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0" lvl="1" fontAlgn="base">
              <a:spcAft>
                <a:spcPts val="300"/>
              </a:spcAft>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Rather than competing for scarce tech talent, savvy leaders are prizing flexibility in their workforce and finding new methods to create, source and retain top performers. </a:t>
            </a:r>
          </a:p>
        </p:txBody>
      </p:sp>
      <p:sp>
        <p:nvSpPr>
          <p:cNvPr id="65" name="Inhaltsplatzhalter 5">
            <a:extLst>
              <a:ext uri="{FF2B5EF4-FFF2-40B4-BE49-F238E27FC236}">
                <a16:creationId xmlns:a16="http://schemas.microsoft.com/office/drawing/2014/main" id="{973D1887-82AD-C2FB-A735-AFE0910DC7E7}"/>
              </a:ext>
            </a:extLst>
          </p:cNvPr>
          <p:cNvSpPr txBox="1">
            <a:spLocks/>
          </p:cNvSpPr>
          <p:nvPr/>
        </p:nvSpPr>
        <p:spPr>
          <a:xfrm>
            <a:off x="7150510" y="4000872"/>
            <a:ext cx="2070433" cy="674190"/>
          </a:xfrm>
          <a:prstGeom prst="rect">
            <a:avLst/>
          </a:prstGeom>
          <a:noFill/>
          <a:ln w="12700">
            <a:noFill/>
            <a:miter lim="800000"/>
            <a:headEnd/>
            <a:tailEnd/>
          </a:ln>
        </p:spPr>
        <p:txBody>
          <a:bodyPr vert="horz" wrap="square" lIns="36000" tIns="36000" rIns="540000" bIns="36000" numCol="1" anchor="t" anchorCtr="0" compatLnSpc="1">
            <a:prstTxWarp prst="textNoShape">
              <a:avLst/>
            </a:prstTxWarp>
          </a:bodyPr>
          <a:lstStyle>
            <a:defPPr>
              <a:defRPr lang="en-US"/>
            </a:defPPr>
            <a:lvl2pPr marL="0" lvl="1" fontAlgn="base">
              <a:spcAft>
                <a:spcPts val="300"/>
              </a:spcAft>
              <a:defRPr sz="1000" b="1">
                <a:latin typeface="Open Sans Light" panose="020B0306030504020204" pitchFamily="34" charset="0"/>
                <a:ea typeface="Open Sans Light" panose="020B0306030504020204" pitchFamily="34" charset="0"/>
                <a:cs typeface="Open Sans Light" panose="020B0306030504020204" pitchFamily="34" charset="0"/>
              </a:defRPr>
            </a:lvl2pPr>
          </a:lstStyle>
          <a:p>
            <a:pPr lvl="1"/>
            <a:r>
              <a:rPr lang="en-US" sz="1050" dirty="0"/>
              <a:t>In us we trust: Decentralized architectures and ecosystems</a:t>
            </a:r>
          </a:p>
        </p:txBody>
      </p:sp>
      <p:sp>
        <p:nvSpPr>
          <p:cNvPr id="66" name="Inhaltsplatzhalter 5">
            <a:extLst>
              <a:ext uri="{FF2B5EF4-FFF2-40B4-BE49-F238E27FC236}">
                <a16:creationId xmlns:a16="http://schemas.microsoft.com/office/drawing/2014/main" id="{610B356C-23DB-6AD5-44D1-BF479C190EC0}"/>
              </a:ext>
            </a:extLst>
          </p:cNvPr>
          <p:cNvSpPr txBox="1">
            <a:spLocks/>
          </p:cNvSpPr>
          <p:nvPr/>
        </p:nvSpPr>
        <p:spPr>
          <a:xfrm>
            <a:off x="7150510" y="4674073"/>
            <a:ext cx="2070433" cy="1280107"/>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0" lvl="1" fontAlgn="base">
              <a:spcAft>
                <a:spcPts val="300"/>
              </a:spcAft>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As organizations begin to understand blockchain's utility, they're realizing that stakeholder trust-building could be a primary benefit. Decentralized architectures and business models demonstrate that none of us is as trustworthy as all of us. </a:t>
            </a:r>
          </a:p>
        </p:txBody>
      </p:sp>
      <p:sp>
        <p:nvSpPr>
          <p:cNvPr id="67" name="Inhaltsplatzhalter 5">
            <a:extLst>
              <a:ext uri="{FF2B5EF4-FFF2-40B4-BE49-F238E27FC236}">
                <a16:creationId xmlns:a16="http://schemas.microsoft.com/office/drawing/2014/main" id="{C7B38E51-D570-0A94-3A8F-36DB38B1DDB3}"/>
              </a:ext>
            </a:extLst>
          </p:cNvPr>
          <p:cNvSpPr txBox="1">
            <a:spLocks/>
          </p:cNvSpPr>
          <p:nvPr/>
        </p:nvSpPr>
        <p:spPr>
          <a:xfrm>
            <a:off x="9779821" y="4000873"/>
            <a:ext cx="2070433" cy="673200"/>
          </a:xfrm>
          <a:prstGeom prst="rect">
            <a:avLst/>
          </a:prstGeom>
          <a:noFill/>
          <a:ln w="12700">
            <a:noFill/>
            <a:miter lim="800000"/>
            <a:headEnd/>
            <a:tailEnd/>
          </a:ln>
        </p:spPr>
        <p:txBody>
          <a:bodyPr vert="horz" wrap="square" lIns="36000" tIns="36000" rIns="576000" bIns="36000" numCol="1" anchor="t" anchorCtr="0" compatLnSpc="1">
            <a:prstTxWarp prst="textNoShape">
              <a:avLst/>
            </a:prstTxWarp>
          </a:bodyPr>
          <a:lstStyle>
            <a:defPPr>
              <a:defRPr lang="en-US"/>
            </a:defPPr>
            <a:lvl2pPr marL="0" lvl="1" fontAlgn="base">
              <a:spcAft>
                <a:spcPts val="300"/>
              </a:spcAft>
              <a:defRPr sz="1000" b="1">
                <a:latin typeface="Open Sans Light" panose="020B0306030504020204" pitchFamily="34" charset="0"/>
                <a:ea typeface="Open Sans Light" panose="020B0306030504020204" pitchFamily="34" charset="0"/>
                <a:cs typeface="Open Sans Light" panose="020B0306030504020204" pitchFamily="34" charset="0"/>
              </a:defRPr>
            </a:lvl2pPr>
          </a:lstStyle>
          <a:p>
            <a:pPr lvl="1"/>
            <a:r>
              <a:rPr lang="en-US" sz="1050" dirty="0"/>
              <a:t>Connect &amp; extend: Mainframe modernization hits its stride</a:t>
            </a:r>
          </a:p>
        </p:txBody>
      </p:sp>
      <p:sp>
        <p:nvSpPr>
          <p:cNvPr id="68" name="Inhaltsplatzhalter 5">
            <a:extLst>
              <a:ext uri="{FF2B5EF4-FFF2-40B4-BE49-F238E27FC236}">
                <a16:creationId xmlns:a16="http://schemas.microsoft.com/office/drawing/2014/main" id="{ECAE1928-A71C-A58D-958B-EAF490980543}"/>
              </a:ext>
            </a:extLst>
          </p:cNvPr>
          <p:cNvSpPr txBox="1">
            <a:spLocks/>
          </p:cNvSpPr>
          <p:nvPr/>
        </p:nvSpPr>
        <p:spPr>
          <a:xfrm>
            <a:off x="9779820" y="4674073"/>
            <a:ext cx="2070433" cy="1280107"/>
          </a:xfrm>
          <a:prstGeom prst="rect">
            <a:avLst/>
          </a:prstGeom>
          <a:noFill/>
          <a:ln w="12700">
            <a:noFill/>
            <a:miter lim="800000"/>
            <a:headEnd/>
            <a:tailEnd/>
          </a:ln>
        </p:spPr>
        <p:txBody>
          <a:bodyPr vert="horz" wrap="square" lIns="36000" tIns="36000" rIns="36000" bIns="36000" numCol="1" anchor="t" anchorCtr="0" compatLnSpc="1">
            <a:prstTxWarp prst="textNoShape">
              <a:avLst/>
            </a:prstTxWarp>
          </a:bodyPr>
          <a:lstStyle/>
          <a:p>
            <a:pPr marL="0" lvl="1" fontAlgn="base">
              <a:spcAft>
                <a:spcPts val="300"/>
              </a:spcAft>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Through connections and extensions like Al-powered middleware solutions, advanced microservices applications, and refreshed user interfaces that harness the power of data, enterprises are modernizing legacy technologies and using them to drive digital transformation. </a:t>
            </a:r>
          </a:p>
        </p:txBody>
      </p:sp>
      <p:pic>
        <p:nvPicPr>
          <p:cNvPr id="49" name="Picture 48">
            <a:extLst>
              <a:ext uri="{FF2B5EF4-FFF2-40B4-BE49-F238E27FC236}">
                <a16:creationId xmlns:a16="http://schemas.microsoft.com/office/drawing/2014/main" id="{C376CBF7-2CC6-2AE0-598B-7B6F0D3EEEA3}"/>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025904" y="2029981"/>
            <a:ext cx="578699" cy="490547"/>
          </a:xfrm>
          <a:prstGeom prst="rect">
            <a:avLst/>
          </a:prstGeom>
        </p:spPr>
      </p:pic>
      <p:sp>
        <p:nvSpPr>
          <p:cNvPr id="70" name="Inhaltsplatzhalter 5">
            <a:extLst>
              <a:ext uri="{FF2B5EF4-FFF2-40B4-BE49-F238E27FC236}">
                <a16:creationId xmlns:a16="http://schemas.microsoft.com/office/drawing/2014/main" id="{C4B4F249-376F-C16A-A055-C6E2E8708C59}"/>
              </a:ext>
            </a:extLst>
          </p:cNvPr>
          <p:cNvSpPr txBox="1">
            <a:spLocks/>
          </p:cNvSpPr>
          <p:nvPr/>
        </p:nvSpPr>
        <p:spPr>
          <a:xfrm>
            <a:off x="463294" y="5050695"/>
            <a:ext cx="3413785" cy="1230032"/>
          </a:xfrm>
          <a:prstGeom prst="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vert="horz" wrap="square" lIns="972000" tIns="72000" rIns="72000" bIns="72000" numCol="1" anchor="ctr" anchorCtr="0" compatLnSpc="1">
            <a:prstTxWarp prst="textNoShape">
              <a:avLst/>
            </a:prstTxWarp>
          </a:bodyPr>
          <a:lstStyle/>
          <a:p>
            <a:pPr marL="0" lvl="1" fontAlgn="base">
              <a:spcAft>
                <a:spcPts val="300"/>
              </a:spcAft>
              <a:defRPr/>
            </a:pP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Read the full report and related articles on </a:t>
            </a:r>
            <a:r>
              <a:rPr lang="en-US" sz="1000" b="1" dirty="0">
                <a:latin typeface="Open Sans Light" panose="020B0306030504020204" pitchFamily="34" charset="0"/>
                <a:ea typeface="Open Sans Light" panose="020B0306030504020204" pitchFamily="34" charset="0"/>
                <a:cs typeface="Open Sans Light" panose="020B0306030504020204" pitchFamily="34" charset="0"/>
                <a:hlinkClick r:id="rId19"/>
              </a:rPr>
              <a:t>our website</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 </a:t>
            </a:r>
          </a:p>
        </p:txBody>
      </p:sp>
      <p:pic>
        <p:nvPicPr>
          <p:cNvPr id="27" name="Picture 26">
            <a:extLst>
              <a:ext uri="{FF2B5EF4-FFF2-40B4-BE49-F238E27FC236}">
                <a16:creationId xmlns:a16="http://schemas.microsoft.com/office/drawing/2014/main" id="{3B856E6E-570D-DAD3-96EE-7FAF23662822}"/>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549788" y="5151502"/>
            <a:ext cx="755137" cy="102841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2391254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3F10FFA7-5439-CEDF-738B-0CA923B8AEDF}"/>
              </a:ext>
            </a:extLst>
          </p:cNvPr>
          <p:cNvSpPr txBox="1">
            <a:spLocks/>
          </p:cNvSpPr>
          <p:nvPr/>
        </p:nvSpPr>
        <p:spPr bwMode="gray">
          <a:xfrm>
            <a:off x="896400" y="906411"/>
            <a:ext cx="10467780" cy="787400"/>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r>
              <a:rPr lang="en-US" sz="1400" dirty="0">
                <a:solidFill>
                  <a:prstClr val="black"/>
                </a:solidFill>
                <a:latin typeface="Open Sans Light" panose="020B0306030504020204" pitchFamily="34" charset="0"/>
              </a:rPr>
              <a:t>With the right approach UNICEF can exploit all the opportunities new and nascent technologies offer, to solve existing issues, start innovation for a future-proof operation</a:t>
            </a:r>
          </a:p>
        </p:txBody>
      </p:sp>
      <p:sp>
        <p:nvSpPr>
          <p:cNvPr id="5" name="Title 1">
            <a:extLst>
              <a:ext uri="{FF2B5EF4-FFF2-40B4-BE49-F238E27FC236}">
                <a16:creationId xmlns:a16="http://schemas.microsoft.com/office/drawing/2014/main" id="{E6628BDF-730E-A624-C559-CE2DD03E465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Emerging Technologies</a:t>
            </a:r>
          </a:p>
        </p:txBody>
      </p:sp>
      <p:grpSp>
        <p:nvGrpSpPr>
          <p:cNvPr id="18" name="Group 956">
            <a:extLst>
              <a:ext uri="{FF2B5EF4-FFF2-40B4-BE49-F238E27FC236}">
                <a16:creationId xmlns:a16="http://schemas.microsoft.com/office/drawing/2014/main" id="{994E24A0-2757-A094-ADDC-30AD7F58B321}"/>
              </a:ext>
            </a:extLst>
          </p:cNvPr>
          <p:cNvGrpSpPr>
            <a:grpSpLocks noChangeAspect="1"/>
          </p:cNvGrpSpPr>
          <p:nvPr/>
        </p:nvGrpSpPr>
        <p:grpSpPr bwMode="auto">
          <a:xfrm>
            <a:off x="489056" y="2174447"/>
            <a:ext cx="1093169" cy="1093170"/>
            <a:chOff x="2474" y="4027"/>
            <a:chExt cx="340" cy="340"/>
          </a:xfrm>
          <a:solidFill>
            <a:srgbClr val="62B5E5"/>
          </a:solidFill>
        </p:grpSpPr>
        <p:sp>
          <p:nvSpPr>
            <p:cNvPr id="19" name="Freeform 957">
              <a:extLst>
                <a:ext uri="{FF2B5EF4-FFF2-40B4-BE49-F238E27FC236}">
                  <a16:creationId xmlns:a16="http://schemas.microsoft.com/office/drawing/2014/main" id="{4939F263-2297-2E92-19A7-477CB88C95BC}"/>
                </a:ext>
              </a:extLst>
            </p:cNvPr>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a:defRPr/>
              </a:pPr>
              <a:endParaRPr lang="en-GB" sz="1673" kern="0" dirty="0">
                <a:latin typeface="Verdana"/>
              </a:endParaRPr>
            </a:p>
          </p:txBody>
        </p:sp>
        <p:sp>
          <p:nvSpPr>
            <p:cNvPr id="20" name="Freeform 958">
              <a:extLst>
                <a:ext uri="{FF2B5EF4-FFF2-40B4-BE49-F238E27FC236}">
                  <a16:creationId xmlns:a16="http://schemas.microsoft.com/office/drawing/2014/main" id="{9A7ED08D-B35D-995D-B214-5409470A2D82}"/>
                </a:ext>
              </a:extLst>
            </p:cNvPr>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a:defRPr/>
              </a:pPr>
              <a:endParaRPr lang="en-GB" sz="1673" kern="0" dirty="0">
                <a:latin typeface="Verdana"/>
              </a:endParaRPr>
            </a:p>
          </p:txBody>
        </p:sp>
      </p:grpSp>
      <p:sp>
        <p:nvSpPr>
          <p:cNvPr id="21" name="Rectangle 20">
            <a:extLst>
              <a:ext uri="{FF2B5EF4-FFF2-40B4-BE49-F238E27FC236}">
                <a16:creationId xmlns:a16="http://schemas.microsoft.com/office/drawing/2014/main" id="{0952BCBF-3A51-FAF5-7D6D-36527A9F36B1}"/>
              </a:ext>
            </a:extLst>
          </p:cNvPr>
          <p:cNvSpPr/>
          <p:nvPr/>
        </p:nvSpPr>
        <p:spPr>
          <a:xfrm>
            <a:off x="2214466" y="1574283"/>
            <a:ext cx="9575226" cy="600164"/>
          </a:xfrm>
          <a:prstGeom prst="rect">
            <a:avLst/>
          </a:prstGeom>
        </p:spPr>
        <p:txBody>
          <a:bodyPr wrap="square">
            <a:spAutoFit/>
          </a:bodyPr>
          <a:lstStyle/>
          <a:p>
            <a:pPr algn="just">
              <a:spcBef>
                <a:spcPts val="300"/>
              </a:spcBef>
              <a:spcAft>
                <a:spcPts val="300"/>
              </a:spcAft>
              <a:defRPr/>
            </a:pPr>
            <a:r>
              <a:rPr lang="en-GB" sz="1400" b="1" kern="0" dirty="0">
                <a:latin typeface="Calibri Light" panose="020F0302020204030204" pitchFamily="34" charset="0"/>
                <a:cs typeface="Calibri Light" panose="020F0302020204030204" pitchFamily="34" charset="0"/>
              </a:rPr>
              <a:t>Managing the Digital Transformation Journey</a:t>
            </a:r>
          </a:p>
          <a:p>
            <a:pPr algn="just">
              <a:spcBef>
                <a:spcPts val="300"/>
              </a:spcBef>
              <a:spcAft>
                <a:spcPts val="300"/>
              </a:spcAft>
              <a:defRPr/>
            </a:pPr>
            <a:endParaRPr lang="en-GB" sz="1400" b="1" kern="0" dirty="0">
              <a:latin typeface="Calibri Light" panose="020F0302020204030204" pitchFamily="34" charset="0"/>
              <a:cs typeface="Calibri Light" panose="020F0302020204030204" pitchFamily="34" charset="0"/>
            </a:endParaRPr>
          </a:p>
        </p:txBody>
      </p:sp>
      <p:sp>
        <p:nvSpPr>
          <p:cNvPr id="22" name="Rectangle: Rounded Corners 21">
            <a:extLst>
              <a:ext uri="{FF2B5EF4-FFF2-40B4-BE49-F238E27FC236}">
                <a16:creationId xmlns:a16="http://schemas.microsoft.com/office/drawing/2014/main" id="{994CC18E-C1E3-2244-5A79-BE6CDEE0CE5A}"/>
              </a:ext>
            </a:extLst>
          </p:cNvPr>
          <p:cNvSpPr/>
          <p:nvPr/>
        </p:nvSpPr>
        <p:spPr bwMode="gray">
          <a:xfrm>
            <a:off x="2323475" y="1959774"/>
            <a:ext cx="2255068" cy="516564"/>
          </a:xfrm>
          <a:prstGeom prst="roundRect">
            <a:avLst>
              <a:gd name="adj" fmla="val 50000"/>
            </a:avLst>
          </a:prstGeom>
          <a:noFill/>
          <a:ln w="19050" algn="ctr">
            <a:solidFill>
              <a:srgbClr val="62B5E5"/>
            </a:solidFill>
            <a:miter lim="800000"/>
            <a:headEnd/>
            <a:tailEnd/>
          </a:ln>
        </p:spPr>
        <p:txBody>
          <a:bodyPr wrap="square" lIns="88900" tIns="88900" rIns="88900" bIns="88900" rtlCol="0" anchor="ctr"/>
          <a:lstStyle/>
          <a:p>
            <a:pPr algn="ctr">
              <a:lnSpc>
                <a:spcPct val="106000"/>
              </a:lnSpc>
              <a:defRPr/>
            </a:pPr>
            <a:r>
              <a:rPr lang="en-GB" sz="1200" b="1" kern="0" dirty="0">
                <a:latin typeface="Calibri Light" panose="020F0302020204030204" pitchFamily="34" charset="0"/>
                <a:cs typeface="Calibri Light" panose="020F0302020204030204" pitchFamily="34" charset="0"/>
              </a:rPr>
              <a:t>AI Strategy &amp; Business Design</a:t>
            </a:r>
          </a:p>
        </p:txBody>
      </p:sp>
      <p:sp>
        <p:nvSpPr>
          <p:cNvPr id="23" name="Rectangle 22">
            <a:extLst>
              <a:ext uri="{FF2B5EF4-FFF2-40B4-BE49-F238E27FC236}">
                <a16:creationId xmlns:a16="http://schemas.microsoft.com/office/drawing/2014/main" id="{C536A1DA-7BBD-1081-BC4C-2DC4BFEF44E1}"/>
              </a:ext>
            </a:extLst>
          </p:cNvPr>
          <p:cNvSpPr/>
          <p:nvPr/>
        </p:nvSpPr>
        <p:spPr>
          <a:xfrm>
            <a:off x="2340412" y="2665024"/>
            <a:ext cx="2238131" cy="938719"/>
          </a:xfrm>
          <a:prstGeom prst="rect">
            <a:avLst/>
          </a:prstGeom>
        </p:spPr>
        <p:txBody>
          <a:bodyPr wrap="square">
            <a:spAutoFit/>
          </a:bodyPr>
          <a:lstStyle/>
          <a:p>
            <a:pPr>
              <a:spcBef>
                <a:spcPts val="300"/>
              </a:spcBef>
              <a:spcAft>
                <a:spcPts val="300"/>
              </a:spcAft>
              <a:defRPr/>
            </a:pPr>
            <a:r>
              <a:rPr lang="en-US" sz="1100" kern="0" dirty="0">
                <a:latin typeface="Calibri Light" panose="020F0302020204030204" pitchFamily="34" charset="0"/>
                <a:cs typeface="Calibri Light" panose="020F0302020204030204" pitchFamily="34" charset="0"/>
              </a:rPr>
              <a:t>We assist clients with formulating their business strategies, selecting the best business models, assess financial impact in terms of existing business activities.</a:t>
            </a:r>
          </a:p>
        </p:txBody>
      </p:sp>
      <p:sp>
        <p:nvSpPr>
          <p:cNvPr id="24" name="Rectangle: Rounded Corners 23">
            <a:extLst>
              <a:ext uri="{FF2B5EF4-FFF2-40B4-BE49-F238E27FC236}">
                <a16:creationId xmlns:a16="http://schemas.microsoft.com/office/drawing/2014/main" id="{68910D63-1CEF-9EC2-7769-CCAE6A16B1D9}"/>
              </a:ext>
            </a:extLst>
          </p:cNvPr>
          <p:cNvSpPr/>
          <p:nvPr/>
        </p:nvSpPr>
        <p:spPr bwMode="gray">
          <a:xfrm>
            <a:off x="4951226" y="1959774"/>
            <a:ext cx="2031033" cy="516564"/>
          </a:xfrm>
          <a:prstGeom prst="roundRect">
            <a:avLst>
              <a:gd name="adj" fmla="val 50000"/>
            </a:avLst>
          </a:prstGeom>
          <a:noFill/>
          <a:ln w="19050" algn="ctr">
            <a:solidFill>
              <a:srgbClr val="62B5E5"/>
            </a:solidFill>
            <a:miter lim="800000"/>
            <a:headEnd/>
            <a:tailEnd/>
          </a:ln>
        </p:spPr>
        <p:txBody>
          <a:bodyPr wrap="square" lIns="88900" tIns="88900" rIns="88900" bIns="88900" rtlCol="0" anchor="ctr"/>
          <a:lstStyle/>
          <a:p>
            <a:pPr algn="ctr">
              <a:lnSpc>
                <a:spcPct val="106000"/>
              </a:lnSpc>
              <a:defRPr/>
            </a:pPr>
            <a:r>
              <a:rPr lang="en-GB" sz="1200" b="1" kern="0" dirty="0">
                <a:latin typeface="Calibri Light" panose="020F0302020204030204" pitchFamily="34" charset="0"/>
                <a:cs typeface="Calibri Light" panose="020F0302020204030204" pitchFamily="34" charset="0"/>
              </a:rPr>
              <a:t>Operation Transformation</a:t>
            </a:r>
          </a:p>
        </p:txBody>
      </p:sp>
      <p:sp>
        <p:nvSpPr>
          <p:cNvPr id="25" name="Rectangle 24">
            <a:extLst>
              <a:ext uri="{FF2B5EF4-FFF2-40B4-BE49-F238E27FC236}">
                <a16:creationId xmlns:a16="http://schemas.microsoft.com/office/drawing/2014/main" id="{CB5A9D44-DC3E-70BE-AD88-223B9F1E11E6}"/>
              </a:ext>
            </a:extLst>
          </p:cNvPr>
          <p:cNvSpPr/>
          <p:nvPr/>
        </p:nvSpPr>
        <p:spPr>
          <a:xfrm>
            <a:off x="4951226" y="2665024"/>
            <a:ext cx="2031032" cy="1277273"/>
          </a:xfrm>
          <a:prstGeom prst="rect">
            <a:avLst/>
          </a:prstGeom>
        </p:spPr>
        <p:txBody>
          <a:bodyPr wrap="square">
            <a:spAutoFit/>
          </a:bodyPr>
          <a:lstStyle/>
          <a:p>
            <a:pPr>
              <a:spcBef>
                <a:spcPts val="300"/>
              </a:spcBef>
              <a:spcAft>
                <a:spcPts val="300"/>
              </a:spcAft>
              <a:defRPr/>
            </a:pPr>
            <a:r>
              <a:rPr lang="en-US" sz="1100" kern="0" dirty="0">
                <a:latin typeface="Calibri Light" panose="020F0302020204030204" pitchFamily="34" charset="0"/>
                <a:cs typeface="Calibri Light" panose="020F0302020204030204" pitchFamily="34" charset="0"/>
              </a:rPr>
              <a:t>Deloitte can identify, prioritize, and design the business capabilities and their configuration that underpin strategies, growth, and transformation of our clients’ organization.</a:t>
            </a:r>
          </a:p>
        </p:txBody>
      </p:sp>
      <p:sp>
        <p:nvSpPr>
          <p:cNvPr id="26" name="Rectangle: Rounded Corners 25">
            <a:extLst>
              <a:ext uri="{FF2B5EF4-FFF2-40B4-BE49-F238E27FC236}">
                <a16:creationId xmlns:a16="http://schemas.microsoft.com/office/drawing/2014/main" id="{917E4F26-053C-0557-50D6-1A430C466686}"/>
              </a:ext>
            </a:extLst>
          </p:cNvPr>
          <p:cNvSpPr/>
          <p:nvPr/>
        </p:nvSpPr>
        <p:spPr bwMode="gray">
          <a:xfrm>
            <a:off x="7354942" y="1959774"/>
            <a:ext cx="2031033" cy="516564"/>
          </a:xfrm>
          <a:prstGeom prst="roundRect">
            <a:avLst>
              <a:gd name="adj" fmla="val 50000"/>
            </a:avLst>
          </a:prstGeom>
          <a:noFill/>
          <a:ln w="19050" algn="ctr">
            <a:solidFill>
              <a:srgbClr val="62B5E5"/>
            </a:solidFill>
            <a:miter lim="800000"/>
            <a:headEnd/>
            <a:tailEnd/>
          </a:ln>
        </p:spPr>
        <p:txBody>
          <a:bodyPr wrap="square" lIns="88900" tIns="88900" rIns="88900" bIns="88900" rtlCol="0" anchor="ctr"/>
          <a:lstStyle/>
          <a:p>
            <a:pPr algn="ctr">
              <a:lnSpc>
                <a:spcPct val="106000"/>
              </a:lnSpc>
              <a:defRPr/>
            </a:pPr>
            <a:r>
              <a:rPr lang="en-GB" sz="1200" b="1" kern="0" dirty="0">
                <a:latin typeface="Calibri Light" panose="020F0302020204030204" pitchFamily="34" charset="0"/>
                <a:cs typeface="Calibri Light" panose="020F0302020204030204" pitchFamily="34" charset="0"/>
              </a:rPr>
              <a:t>Technology Implementation</a:t>
            </a:r>
          </a:p>
        </p:txBody>
      </p:sp>
      <p:sp>
        <p:nvSpPr>
          <p:cNvPr id="27" name="Rectangle 26">
            <a:extLst>
              <a:ext uri="{FF2B5EF4-FFF2-40B4-BE49-F238E27FC236}">
                <a16:creationId xmlns:a16="http://schemas.microsoft.com/office/drawing/2014/main" id="{62D3BD5C-6B6E-4261-569F-AA9C703E9511}"/>
              </a:ext>
            </a:extLst>
          </p:cNvPr>
          <p:cNvSpPr/>
          <p:nvPr/>
        </p:nvSpPr>
        <p:spPr>
          <a:xfrm>
            <a:off x="7354941" y="2665024"/>
            <a:ext cx="2058836" cy="938719"/>
          </a:xfrm>
          <a:prstGeom prst="rect">
            <a:avLst/>
          </a:prstGeom>
        </p:spPr>
        <p:txBody>
          <a:bodyPr wrap="square">
            <a:spAutoFit/>
          </a:bodyPr>
          <a:lstStyle/>
          <a:p>
            <a:pPr>
              <a:spcBef>
                <a:spcPts val="300"/>
              </a:spcBef>
              <a:spcAft>
                <a:spcPts val="300"/>
              </a:spcAft>
              <a:defRPr/>
            </a:pPr>
            <a:r>
              <a:rPr lang="en-US" sz="1100" kern="0" dirty="0">
                <a:latin typeface="Calibri Light" panose="020F0302020204030204" pitchFamily="34" charset="0"/>
                <a:cs typeface="Calibri Light" panose="020F0302020204030204" pitchFamily="34" charset="0"/>
              </a:rPr>
              <a:t>Our global network of technology practitioners help clients identify and solve their most critical information and technological challenges. </a:t>
            </a:r>
          </a:p>
        </p:txBody>
      </p:sp>
      <p:sp>
        <p:nvSpPr>
          <p:cNvPr id="28" name="Rectangle: Rounded Corners 27">
            <a:extLst>
              <a:ext uri="{FF2B5EF4-FFF2-40B4-BE49-F238E27FC236}">
                <a16:creationId xmlns:a16="http://schemas.microsoft.com/office/drawing/2014/main" id="{2B5415DB-6345-9695-D343-3E97C23BF7EB}"/>
              </a:ext>
            </a:extLst>
          </p:cNvPr>
          <p:cNvSpPr/>
          <p:nvPr/>
        </p:nvSpPr>
        <p:spPr bwMode="gray">
          <a:xfrm>
            <a:off x="9758659" y="1959774"/>
            <a:ext cx="2254360" cy="516564"/>
          </a:xfrm>
          <a:prstGeom prst="roundRect">
            <a:avLst>
              <a:gd name="adj" fmla="val 50000"/>
            </a:avLst>
          </a:prstGeom>
          <a:noFill/>
          <a:ln w="19050" algn="ctr">
            <a:solidFill>
              <a:srgbClr val="62B5E5"/>
            </a:solidFill>
            <a:miter lim="800000"/>
            <a:headEnd/>
            <a:tailEnd/>
          </a:ln>
        </p:spPr>
        <p:txBody>
          <a:bodyPr wrap="square" lIns="88900" tIns="88900" rIns="88900" bIns="88900" rtlCol="0" anchor="ctr"/>
          <a:lstStyle/>
          <a:p>
            <a:pPr algn="ctr">
              <a:lnSpc>
                <a:spcPct val="106000"/>
              </a:lnSpc>
              <a:defRPr/>
            </a:pPr>
            <a:r>
              <a:rPr lang="en-GB" sz="1200" b="1" kern="0" dirty="0">
                <a:latin typeface="Calibri Light" panose="020F0302020204030204" pitchFamily="34" charset="0"/>
                <a:cs typeface="Calibri Light" panose="020F0302020204030204" pitchFamily="34" charset="0"/>
              </a:rPr>
              <a:t>Customer Experience &amp; Sales</a:t>
            </a:r>
          </a:p>
        </p:txBody>
      </p:sp>
      <p:sp>
        <p:nvSpPr>
          <p:cNvPr id="29" name="Rectangle 28">
            <a:extLst>
              <a:ext uri="{FF2B5EF4-FFF2-40B4-BE49-F238E27FC236}">
                <a16:creationId xmlns:a16="http://schemas.microsoft.com/office/drawing/2014/main" id="{B4F3B869-5213-0806-7937-31F03A0C61F2}"/>
              </a:ext>
            </a:extLst>
          </p:cNvPr>
          <p:cNvSpPr/>
          <p:nvPr/>
        </p:nvSpPr>
        <p:spPr>
          <a:xfrm>
            <a:off x="9786459" y="2665024"/>
            <a:ext cx="2226559" cy="1277273"/>
          </a:xfrm>
          <a:prstGeom prst="rect">
            <a:avLst/>
          </a:prstGeom>
        </p:spPr>
        <p:txBody>
          <a:bodyPr wrap="square">
            <a:spAutoFit/>
          </a:bodyPr>
          <a:lstStyle/>
          <a:p>
            <a:pPr>
              <a:spcBef>
                <a:spcPts val="300"/>
              </a:spcBef>
              <a:spcAft>
                <a:spcPts val="300"/>
              </a:spcAft>
              <a:defRPr/>
            </a:pPr>
            <a:r>
              <a:rPr lang="en-US" sz="1100" kern="0" dirty="0">
                <a:latin typeface="Calibri Light" panose="020F0302020204030204" pitchFamily="34" charset="0"/>
                <a:cs typeface="Calibri Light" panose="020F0302020204030204" pitchFamily="34" charset="0"/>
              </a:rPr>
              <a:t>Deloitte experts assist their clients in countless aspects of customer experience enhancement, from developing digital strategies through customer offering design and customer journey mapping to sales transformation.</a:t>
            </a:r>
          </a:p>
        </p:txBody>
      </p:sp>
      <p:cxnSp>
        <p:nvCxnSpPr>
          <p:cNvPr id="30" name="Straight Connector 29">
            <a:extLst>
              <a:ext uri="{FF2B5EF4-FFF2-40B4-BE49-F238E27FC236}">
                <a16:creationId xmlns:a16="http://schemas.microsoft.com/office/drawing/2014/main" id="{7A2B7BDB-CC64-7DF4-BFC1-7D4180954E13}"/>
              </a:ext>
            </a:extLst>
          </p:cNvPr>
          <p:cNvCxnSpPr/>
          <p:nvPr/>
        </p:nvCxnSpPr>
        <p:spPr>
          <a:xfrm>
            <a:off x="257601" y="4016611"/>
            <a:ext cx="11611376" cy="0"/>
          </a:xfrm>
          <a:prstGeom prst="line">
            <a:avLst/>
          </a:prstGeom>
          <a:noFill/>
          <a:ln w="9525" cap="flat" cmpd="sng" algn="ctr">
            <a:solidFill>
              <a:sysClr val="window" lastClr="FFFFFF">
                <a:lumMod val="75000"/>
              </a:sysClr>
            </a:solidFill>
            <a:prstDash val="solid"/>
          </a:ln>
          <a:effectLst/>
        </p:spPr>
      </p:cxnSp>
      <p:cxnSp>
        <p:nvCxnSpPr>
          <p:cNvPr id="31" name="Straight Connector 30">
            <a:extLst>
              <a:ext uri="{FF2B5EF4-FFF2-40B4-BE49-F238E27FC236}">
                <a16:creationId xmlns:a16="http://schemas.microsoft.com/office/drawing/2014/main" id="{11824CC8-8253-25D0-C4E8-F1FC92447EC8}"/>
              </a:ext>
            </a:extLst>
          </p:cNvPr>
          <p:cNvCxnSpPr/>
          <p:nvPr/>
        </p:nvCxnSpPr>
        <p:spPr>
          <a:xfrm>
            <a:off x="296975" y="4016611"/>
            <a:ext cx="11611376" cy="0"/>
          </a:xfrm>
          <a:prstGeom prst="line">
            <a:avLst/>
          </a:prstGeom>
          <a:noFill/>
          <a:ln w="9525" cap="flat" cmpd="sng" algn="ctr">
            <a:solidFill>
              <a:sysClr val="window" lastClr="FFFFFF">
                <a:lumMod val="75000"/>
              </a:sysClr>
            </a:solidFill>
            <a:prstDash val="solid"/>
          </a:ln>
          <a:effectLst/>
        </p:spPr>
      </p:cxnSp>
      <p:sp>
        <p:nvSpPr>
          <p:cNvPr id="32" name="Rectangle 31">
            <a:extLst>
              <a:ext uri="{FF2B5EF4-FFF2-40B4-BE49-F238E27FC236}">
                <a16:creationId xmlns:a16="http://schemas.microsoft.com/office/drawing/2014/main" id="{478D9DD1-6D8A-2DF3-70FB-B859C13D35BB}"/>
              </a:ext>
            </a:extLst>
          </p:cNvPr>
          <p:cNvSpPr/>
          <p:nvPr/>
        </p:nvSpPr>
        <p:spPr>
          <a:xfrm>
            <a:off x="2033768" y="4119212"/>
            <a:ext cx="9575226" cy="600164"/>
          </a:xfrm>
          <a:prstGeom prst="rect">
            <a:avLst/>
          </a:prstGeom>
        </p:spPr>
        <p:txBody>
          <a:bodyPr wrap="square">
            <a:spAutoFit/>
          </a:bodyPr>
          <a:lstStyle/>
          <a:p>
            <a:pPr algn="just">
              <a:spcBef>
                <a:spcPts val="300"/>
              </a:spcBef>
              <a:spcAft>
                <a:spcPts val="300"/>
              </a:spcAft>
              <a:defRPr/>
            </a:pPr>
            <a:r>
              <a:rPr lang="en-GB" sz="1400" b="1" kern="0" dirty="0">
                <a:latin typeface="Calibri Light" panose="020F0302020204030204" pitchFamily="34" charset="0"/>
                <a:cs typeface="Calibri Light" panose="020F0302020204030204" pitchFamily="34" charset="0"/>
              </a:rPr>
              <a:t>Supporting to Adopt Emerging Technologies</a:t>
            </a:r>
          </a:p>
          <a:p>
            <a:pPr algn="just">
              <a:spcBef>
                <a:spcPts val="300"/>
              </a:spcBef>
              <a:spcAft>
                <a:spcPts val="300"/>
              </a:spcAft>
              <a:defRPr/>
            </a:pPr>
            <a:endParaRPr lang="en-GB" sz="1400" b="1" kern="0" dirty="0">
              <a:latin typeface="Calibri Light" panose="020F0302020204030204" pitchFamily="34" charset="0"/>
              <a:cs typeface="Calibri Light" panose="020F0302020204030204" pitchFamily="34" charset="0"/>
            </a:endParaRPr>
          </a:p>
        </p:txBody>
      </p:sp>
      <p:sp>
        <p:nvSpPr>
          <p:cNvPr id="33" name="Rectangle 32">
            <a:extLst>
              <a:ext uri="{FF2B5EF4-FFF2-40B4-BE49-F238E27FC236}">
                <a16:creationId xmlns:a16="http://schemas.microsoft.com/office/drawing/2014/main" id="{10177457-D23E-68AE-484A-035B12D87E4D}"/>
              </a:ext>
            </a:extLst>
          </p:cNvPr>
          <p:cNvSpPr/>
          <p:nvPr/>
        </p:nvSpPr>
        <p:spPr>
          <a:xfrm>
            <a:off x="2159714" y="5211601"/>
            <a:ext cx="2236630" cy="769441"/>
          </a:xfrm>
          <a:prstGeom prst="rect">
            <a:avLst/>
          </a:prstGeom>
        </p:spPr>
        <p:txBody>
          <a:bodyPr wrap="square">
            <a:spAutoFit/>
          </a:bodyPr>
          <a:lstStyle/>
          <a:p>
            <a:pPr>
              <a:spcBef>
                <a:spcPts val="300"/>
              </a:spcBef>
              <a:spcAft>
                <a:spcPts val="300"/>
              </a:spcAft>
              <a:defRPr/>
            </a:pPr>
            <a:r>
              <a:rPr lang="en-US" sz="1100" kern="0" dirty="0">
                <a:latin typeface="Calibri Light" panose="020F0302020204030204" pitchFamily="34" charset="0"/>
                <a:cs typeface="Calibri Light" panose="020F0302020204030204" pitchFamily="34" charset="0"/>
              </a:rPr>
              <a:t>We support to re-envision, build, and deliver app analysis, design, and modification leading our clients’ app transition.</a:t>
            </a:r>
          </a:p>
        </p:txBody>
      </p:sp>
      <p:sp>
        <p:nvSpPr>
          <p:cNvPr id="34" name="Rectangle 33">
            <a:extLst>
              <a:ext uri="{FF2B5EF4-FFF2-40B4-BE49-F238E27FC236}">
                <a16:creationId xmlns:a16="http://schemas.microsoft.com/office/drawing/2014/main" id="{5AB89081-E851-EEAC-8E13-534098A30429}"/>
              </a:ext>
            </a:extLst>
          </p:cNvPr>
          <p:cNvSpPr/>
          <p:nvPr/>
        </p:nvSpPr>
        <p:spPr>
          <a:xfrm>
            <a:off x="4768280" y="5211601"/>
            <a:ext cx="2032531" cy="938719"/>
          </a:xfrm>
          <a:prstGeom prst="rect">
            <a:avLst/>
          </a:prstGeom>
        </p:spPr>
        <p:txBody>
          <a:bodyPr wrap="square">
            <a:spAutoFit/>
          </a:bodyPr>
          <a:lstStyle/>
          <a:p>
            <a:pPr>
              <a:spcBef>
                <a:spcPts val="300"/>
              </a:spcBef>
              <a:spcAft>
                <a:spcPts val="300"/>
              </a:spcAft>
              <a:defRPr/>
            </a:pPr>
            <a:r>
              <a:rPr lang="en-US" sz="1100" kern="0" dirty="0">
                <a:latin typeface="Calibri Light" panose="020F0302020204030204" pitchFamily="34" charset="0"/>
                <a:cs typeface="Calibri Light" panose="020F0302020204030204" pitchFamily="34" charset="0"/>
              </a:rPr>
              <a:t>Deliver full cloud transformation value chain and enable better, faster, cheaper modernization through top-tier infrastructure management.</a:t>
            </a:r>
          </a:p>
        </p:txBody>
      </p:sp>
      <p:sp>
        <p:nvSpPr>
          <p:cNvPr id="35" name="Rectangle 34">
            <a:extLst>
              <a:ext uri="{FF2B5EF4-FFF2-40B4-BE49-F238E27FC236}">
                <a16:creationId xmlns:a16="http://schemas.microsoft.com/office/drawing/2014/main" id="{8861BEE3-B517-9A07-C2FA-F3EDDA901C46}"/>
              </a:ext>
            </a:extLst>
          </p:cNvPr>
          <p:cNvSpPr/>
          <p:nvPr/>
        </p:nvSpPr>
        <p:spPr>
          <a:xfrm>
            <a:off x="7172746" y="5211601"/>
            <a:ext cx="2145621" cy="1446550"/>
          </a:xfrm>
          <a:prstGeom prst="rect">
            <a:avLst/>
          </a:prstGeom>
        </p:spPr>
        <p:txBody>
          <a:bodyPr wrap="square">
            <a:spAutoFit/>
          </a:bodyPr>
          <a:lstStyle/>
          <a:p>
            <a:pPr>
              <a:spcBef>
                <a:spcPts val="300"/>
              </a:spcBef>
              <a:spcAft>
                <a:spcPts val="300"/>
              </a:spcAft>
              <a:defRPr/>
            </a:pPr>
            <a:r>
              <a:rPr lang="en-US" sz="1100" kern="0" dirty="0">
                <a:latin typeface="Calibri Light" panose="020F0302020204030204" pitchFamily="34" charset="0"/>
                <a:cs typeface="Calibri Light" panose="020F0302020204030204" pitchFamily="34" charset="0"/>
              </a:rPr>
              <a:t>Our experts help enterprises from telecom or other industries capture 5G’s promised revolution to gain competitive advantage. Our services range from selecting the best use cases for our clients to implementation and project management.</a:t>
            </a:r>
          </a:p>
        </p:txBody>
      </p:sp>
      <p:sp>
        <p:nvSpPr>
          <p:cNvPr id="36" name="Rectangle 35">
            <a:extLst>
              <a:ext uri="{FF2B5EF4-FFF2-40B4-BE49-F238E27FC236}">
                <a16:creationId xmlns:a16="http://schemas.microsoft.com/office/drawing/2014/main" id="{67D099FD-E0E7-3D0A-4381-1D5F852E49E3}"/>
              </a:ext>
            </a:extLst>
          </p:cNvPr>
          <p:cNvSpPr/>
          <p:nvPr/>
        </p:nvSpPr>
        <p:spPr>
          <a:xfrm>
            <a:off x="9572716" y="5211601"/>
            <a:ext cx="2254360" cy="1277273"/>
          </a:xfrm>
          <a:prstGeom prst="rect">
            <a:avLst/>
          </a:prstGeom>
        </p:spPr>
        <p:txBody>
          <a:bodyPr wrap="square">
            <a:spAutoFit/>
          </a:bodyPr>
          <a:lstStyle/>
          <a:p>
            <a:pPr>
              <a:spcBef>
                <a:spcPts val="300"/>
              </a:spcBef>
              <a:spcAft>
                <a:spcPts val="300"/>
              </a:spcAft>
              <a:defRPr/>
            </a:pPr>
            <a:r>
              <a:rPr lang="en-US" sz="1100" kern="0" dirty="0">
                <a:latin typeface="Calibri Light" panose="020F0302020204030204" pitchFamily="34" charset="0"/>
                <a:cs typeface="Calibri Light" panose="020F0302020204030204" pitchFamily="34" charset="0"/>
              </a:rPr>
              <a:t>Deloitte can assist clients at various stages of their journey to becoming a truly integrated fixed-mobile provider: from developing FMC strategy through improving business efficiency to leveraging the whole spectrum of FMC.</a:t>
            </a:r>
          </a:p>
        </p:txBody>
      </p:sp>
      <p:cxnSp>
        <p:nvCxnSpPr>
          <p:cNvPr id="37" name="Straight Connector 36">
            <a:extLst>
              <a:ext uri="{FF2B5EF4-FFF2-40B4-BE49-F238E27FC236}">
                <a16:creationId xmlns:a16="http://schemas.microsoft.com/office/drawing/2014/main" id="{76E7675D-5F43-C46D-129C-62E2A6E25F59}"/>
              </a:ext>
            </a:extLst>
          </p:cNvPr>
          <p:cNvCxnSpPr/>
          <p:nvPr/>
        </p:nvCxnSpPr>
        <p:spPr>
          <a:xfrm>
            <a:off x="296975" y="6749689"/>
            <a:ext cx="11611376" cy="0"/>
          </a:xfrm>
          <a:prstGeom prst="line">
            <a:avLst/>
          </a:prstGeom>
          <a:noFill/>
          <a:ln w="9525" cap="flat" cmpd="sng" algn="ctr">
            <a:solidFill>
              <a:sysClr val="window" lastClr="FFFFFF">
                <a:lumMod val="75000"/>
              </a:sysClr>
            </a:solidFill>
            <a:prstDash val="solid"/>
          </a:ln>
          <a:effectLst/>
        </p:spPr>
      </p:cxnSp>
      <p:grpSp>
        <p:nvGrpSpPr>
          <p:cNvPr id="38" name="Group 39">
            <a:extLst>
              <a:ext uri="{FF2B5EF4-FFF2-40B4-BE49-F238E27FC236}">
                <a16:creationId xmlns:a16="http://schemas.microsoft.com/office/drawing/2014/main" id="{5C26892A-35FD-E1DB-A1D0-44920F844BAE}"/>
              </a:ext>
            </a:extLst>
          </p:cNvPr>
          <p:cNvGrpSpPr>
            <a:grpSpLocks noChangeAspect="1"/>
          </p:cNvGrpSpPr>
          <p:nvPr/>
        </p:nvGrpSpPr>
        <p:grpSpPr bwMode="auto">
          <a:xfrm>
            <a:off x="570641" y="4728901"/>
            <a:ext cx="1093170" cy="1093170"/>
            <a:chOff x="3987" y="1509"/>
            <a:chExt cx="340" cy="340"/>
          </a:xfrm>
          <a:solidFill>
            <a:srgbClr val="009A44"/>
          </a:solidFill>
        </p:grpSpPr>
        <p:sp>
          <p:nvSpPr>
            <p:cNvPr id="39" name="Freeform 40">
              <a:extLst>
                <a:ext uri="{FF2B5EF4-FFF2-40B4-BE49-F238E27FC236}">
                  <a16:creationId xmlns:a16="http://schemas.microsoft.com/office/drawing/2014/main" id="{A54F7C86-1657-92AC-DFAE-8C1ECD3F558C}"/>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a:defRPr/>
              </a:pPr>
              <a:endParaRPr lang="en-GB" sz="1673" kern="0" dirty="0">
                <a:latin typeface="Verdana"/>
              </a:endParaRPr>
            </a:p>
          </p:txBody>
        </p:sp>
        <p:sp>
          <p:nvSpPr>
            <p:cNvPr id="40" name="Freeform 41">
              <a:extLst>
                <a:ext uri="{FF2B5EF4-FFF2-40B4-BE49-F238E27FC236}">
                  <a16:creationId xmlns:a16="http://schemas.microsoft.com/office/drawing/2014/main" id="{38002C61-2356-71F9-48CB-32B7037F6EB3}"/>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a:defRPr/>
              </a:pPr>
              <a:endParaRPr lang="en-GB" sz="1673" kern="0" dirty="0">
                <a:latin typeface="Verdana"/>
              </a:endParaRPr>
            </a:p>
          </p:txBody>
        </p:sp>
      </p:grpSp>
      <p:sp>
        <p:nvSpPr>
          <p:cNvPr id="41" name="Rectangle: Rounded Corners 40">
            <a:extLst>
              <a:ext uri="{FF2B5EF4-FFF2-40B4-BE49-F238E27FC236}">
                <a16:creationId xmlns:a16="http://schemas.microsoft.com/office/drawing/2014/main" id="{2124D207-6ADD-7853-B4FC-A55AC55854F1}"/>
              </a:ext>
            </a:extLst>
          </p:cNvPr>
          <p:cNvSpPr/>
          <p:nvPr/>
        </p:nvSpPr>
        <p:spPr bwMode="gray">
          <a:xfrm>
            <a:off x="2142777" y="4504703"/>
            <a:ext cx="2255068" cy="516564"/>
          </a:xfrm>
          <a:prstGeom prst="roundRect">
            <a:avLst>
              <a:gd name="adj" fmla="val 50000"/>
            </a:avLst>
          </a:prstGeom>
          <a:noFill/>
          <a:ln w="19050" algn="ctr">
            <a:solidFill>
              <a:srgbClr val="009A44"/>
            </a:solidFill>
            <a:miter lim="800000"/>
            <a:headEnd/>
            <a:tailEnd/>
          </a:ln>
        </p:spPr>
        <p:txBody>
          <a:bodyPr wrap="square" lIns="88900" tIns="88900" rIns="88900" bIns="88900" rtlCol="0" anchor="ctr"/>
          <a:lstStyle/>
          <a:p>
            <a:pPr algn="ctr">
              <a:lnSpc>
                <a:spcPct val="106000"/>
              </a:lnSpc>
              <a:defRPr/>
            </a:pPr>
            <a:r>
              <a:rPr lang="en-GB" sz="1200" b="1" kern="0" dirty="0">
                <a:latin typeface="Calibri Light" panose="020F0302020204030204" pitchFamily="34" charset="0"/>
                <a:cs typeface="Calibri Light" panose="020F0302020204030204" pitchFamily="34" charset="0"/>
              </a:rPr>
              <a:t>App Modernization &amp; Migration</a:t>
            </a:r>
          </a:p>
        </p:txBody>
      </p:sp>
      <p:sp>
        <p:nvSpPr>
          <p:cNvPr id="42" name="Rectangle: Rounded Corners 41">
            <a:extLst>
              <a:ext uri="{FF2B5EF4-FFF2-40B4-BE49-F238E27FC236}">
                <a16:creationId xmlns:a16="http://schemas.microsoft.com/office/drawing/2014/main" id="{C51B4B45-9E0C-BDD5-FC58-D82C529EE7BC}"/>
              </a:ext>
            </a:extLst>
          </p:cNvPr>
          <p:cNvSpPr/>
          <p:nvPr/>
        </p:nvSpPr>
        <p:spPr bwMode="gray">
          <a:xfrm>
            <a:off x="4770528" y="4504703"/>
            <a:ext cx="2031033" cy="516564"/>
          </a:xfrm>
          <a:prstGeom prst="roundRect">
            <a:avLst>
              <a:gd name="adj" fmla="val 50000"/>
            </a:avLst>
          </a:prstGeom>
          <a:noFill/>
          <a:ln w="19050" algn="ctr">
            <a:solidFill>
              <a:srgbClr val="009A44"/>
            </a:solidFill>
            <a:miter lim="800000"/>
            <a:headEnd/>
            <a:tailEnd/>
          </a:ln>
        </p:spPr>
        <p:txBody>
          <a:bodyPr wrap="square" lIns="88900" tIns="88900" rIns="88900" bIns="88900" rtlCol="0" anchor="ctr"/>
          <a:lstStyle/>
          <a:p>
            <a:pPr algn="ctr">
              <a:lnSpc>
                <a:spcPct val="106000"/>
              </a:lnSpc>
              <a:defRPr/>
            </a:pPr>
            <a:r>
              <a:rPr lang="en-GB" sz="1200" b="1" kern="0" dirty="0">
                <a:latin typeface="Calibri Light" panose="020F0302020204030204" pitchFamily="34" charset="0"/>
                <a:cs typeface="Calibri Light" panose="020F0302020204030204" pitchFamily="34" charset="0"/>
              </a:rPr>
              <a:t>Cloud Infrastructure &amp; Engineering</a:t>
            </a:r>
          </a:p>
        </p:txBody>
      </p:sp>
      <p:sp>
        <p:nvSpPr>
          <p:cNvPr id="43" name="Rectangle: Rounded Corners 42">
            <a:extLst>
              <a:ext uri="{FF2B5EF4-FFF2-40B4-BE49-F238E27FC236}">
                <a16:creationId xmlns:a16="http://schemas.microsoft.com/office/drawing/2014/main" id="{AC58F460-977E-64C2-DB03-2947559196C5}"/>
              </a:ext>
            </a:extLst>
          </p:cNvPr>
          <p:cNvSpPr/>
          <p:nvPr/>
        </p:nvSpPr>
        <p:spPr bwMode="gray">
          <a:xfrm>
            <a:off x="7174244" y="4504703"/>
            <a:ext cx="2031033" cy="516564"/>
          </a:xfrm>
          <a:prstGeom prst="roundRect">
            <a:avLst>
              <a:gd name="adj" fmla="val 50000"/>
            </a:avLst>
          </a:prstGeom>
          <a:noFill/>
          <a:ln w="19050" algn="ctr">
            <a:solidFill>
              <a:srgbClr val="009A44"/>
            </a:solidFill>
            <a:miter lim="800000"/>
            <a:headEnd/>
            <a:tailEnd/>
          </a:ln>
        </p:spPr>
        <p:txBody>
          <a:bodyPr wrap="square" lIns="88900" tIns="88900" rIns="88900" bIns="88900" rtlCol="0" anchor="ctr"/>
          <a:lstStyle/>
          <a:p>
            <a:pPr algn="ctr">
              <a:lnSpc>
                <a:spcPct val="106000"/>
              </a:lnSpc>
              <a:defRPr/>
            </a:pPr>
            <a:r>
              <a:rPr lang="en-GB" sz="1200" b="1" kern="0" dirty="0">
                <a:latin typeface="Calibri Light" panose="020F0302020204030204" pitchFamily="34" charset="0"/>
                <a:cs typeface="Calibri Light" panose="020F0302020204030204" pitchFamily="34" charset="0"/>
              </a:rPr>
              <a:t>5G and the Internet of Things</a:t>
            </a:r>
          </a:p>
        </p:txBody>
      </p:sp>
      <p:sp>
        <p:nvSpPr>
          <p:cNvPr id="44" name="Rectangle: Rounded Corners 43">
            <a:extLst>
              <a:ext uri="{FF2B5EF4-FFF2-40B4-BE49-F238E27FC236}">
                <a16:creationId xmlns:a16="http://schemas.microsoft.com/office/drawing/2014/main" id="{0DCA82CC-B9F4-78CE-AD6C-474F4BFD861D}"/>
              </a:ext>
            </a:extLst>
          </p:cNvPr>
          <p:cNvSpPr/>
          <p:nvPr/>
        </p:nvSpPr>
        <p:spPr bwMode="gray">
          <a:xfrm>
            <a:off x="9577961" y="4504703"/>
            <a:ext cx="2254360" cy="516564"/>
          </a:xfrm>
          <a:prstGeom prst="roundRect">
            <a:avLst>
              <a:gd name="adj" fmla="val 50000"/>
            </a:avLst>
          </a:prstGeom>
          <a:noFill/>
          <a:ln w="19050" algn="ctr">
            <a:solidFill>
              <a:srgbClr val="009A44"/>
            </a:solidFill>
            <a:miter lim="800000"/>
            <a:headEnd/>
            <a:tailEnd/>
          </a:ln>
        </p:spPr>
        <p:txBody>
          <a:bodyPr wrap="square" lIns="88900" tIns="88900" rIns="88900" bIns="88900" rtlCol="0" anchor="ctr"/>
          <a:lstStyle/>
          <a:p>
            <a:pPr algn="ctr">
              <a:lnSpc>
                <a:spcPct val="106000"/>
              </a:lnSpc>
              <a:defRPr/>
            </a:pPr>
            <a:r>
              <a:rPr lang="en-GB" sz="1200" b="1" kern="0" dirty="0">
                <a:latin typeface="Calibri Light" panose="020F0302020204030204" pitchFamily="34" charset="0"/>
                <a:cs typeface="Calibri Light" panose="020F0302020204030204" pitchFamily="34" charset="0"/>
              </a:rPr>
              <a:t>Fixed Mobile Convergence</a:t>
            </a:r>
          </a:p>
        </p:txBody>
      </p:sp>
    </p:spTree>
    <p:extLst>
      <p:ext uri="{BB962C8B-B14F-4D97-AF65-F5344CB8AC3E}">
        <p14:creationId xmlns:p14="http://schemas.microsoft.com/office/powerpoint/2010/main" val="9741542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58A141A-348D-E9D7-B8F8-1B833E838AF3}"/>
              </a:ext>
            </a:extLst>
          </p:cNvPr>
          <p:cNvGraphicFramePr>
            <a:graphicFrameLocks noChangeAspect="1"/>
          </p:cNvGraphicFramePr>
          <p:nvPr>
            <p:custDataLst>
              <p:tags r:id="rId1"/>
            </p:custDataLst>
            <p:extLst>
              <p:ext uri="{D42A27DB-BD31-4B8C-83A1-F6EECF244321}">
                <p14:modId xmlns:p14="http://schemas.microsoft.com/office/powerpoint/2010/main" val="2319863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think-cell data - do not delete" hidden="1">
                        <a:extLst>
                          <a:ext uri="{FF2B5EF4-FFF2-40B4-BE49-F238E27FC236}">
                            <a16:creationId xmlns:a16="http://schemas.microsoft.com/office/drawing/2014/main" id="{858A141A-348D-E9D7-B8F8-1B833E838A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69900" y="797082"/>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practice deploys a proven, process-centric approach based upon industry best practices, including CMMI and ITIL-based service processes. With this approach we are able to cover all Maintenance and Support requirements as well as the needs for Enhancement implementation.</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vert="horz"/>
          <a:lstStyle/>
          <a:p>
            <a:r>
              <a:rPr lang="en-US" dirty="0">
                <a:latin typeface="Open Sans Light"/>
                <a:ea typeface="Open Sans Light"/>
                <a:cs typeface="Open Sans Light"/>
              </a:rPr>
              <a:t>Our Approach to Support &amp; Maintenance (Platform Maintenance)</a:t>
            </a:r>
            <a:endParaRPr lang="en-US" dirty="0"/>
          </a:p>
        </p:txBody>
      </p:sp>
      <p:sp>
        <p:nvSpPr>
          <p:cNvPr id="78" name="Rounded Rectangle 191">
            <a:extLst>
              <a:ext uri="{FF2B5EF4-FFF2-40B4-BE49-F238E27FC236}">
                <a16:creationId xmlns:a16="http://schemas.microsoft.com/office/drawing/2014/main" id="{F505E467-0043-87BB-900D-0568D03CF5E8}"/>
              </a:ext>
            </a:extLst>
          </p:cNvPr>
          <p:cNvSpPr/>
          <p:nvPr/>
        </p:nvSpPr>
        <p:spPr bwMode="gray">
          <a:xfrm>
            <a:off x="5006266" y="5098619"/>
            <a:ext cx="6233234" cy="872345"/>
          </a:xfrm>
          <a:prstGeom prst="roundRect">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TextBox 78">
            <a:extLst>
              <a:ext uri="{FF2B5EF4-FFF2-40B4-BE49-F238E27FC236}">
                <a16:creationId xmlns:a16="http://schemas.microsoft.com/office/drawing/2014/main" id="{9CE0B569-5D74-406E-DD9C-0E889C2C1835}"/>
              </a:ext>
            </a:extLst>
          </p:cNvPr>
          <p:cNvSpPr txBox="1"/>
          <p:nvPr/>
        </p:nvSpPr>
        <p:spPr>
          <a:xfrm>
            <a:off x="9261386" y="4525691"/>
            <a:ext cx="696913" cy="240814"/>
          </a:xfrm>
          <a:prstGeom prst="rect">
            <a:avLst/>
          </a:prstGeom>
          <a:solidFill>
            <a:sysClr val="window" lastClr="FFFFFF"/>
          </a:solidFill>
        </p:spPr>
        <p:txBody>
          <a:bodyPr wrap="square" lIns="101858" tIns="50929" rIns="101858" bIns="50929"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eleases</a:t>
            </a:r>
          </a:p>
        </p:txBody>
      </p:sp>
      <p:sp>
        <p:nvSpPr>
          <p:cNvPr id="80" name="TextBox 79">
            <a:extLst>
              <a:ext uri="{FF2B5EF4-FFF2-40B4-BE49-F238E27FC236}">
                <a16:creationId xmlns:a16="http://schemas.microsoft.com/office/drawing/2014/main" id="{A8BFF198-D5D4-63DB-A51E-6E69245B1A5B}"/>
              </a:ext>
            </a:extLst>
          </p:cNvPr>
          <p:cNvSpPr txBox="1"/>
          <p:nvPr/>
        </p:nvSpPr>
        <p:spPr>
          <a:xfrm>
            <a:off x="8396430" y="4377759"/>
            <a:ext cx="957333" cy="655387"/>
          </a:xfrm>
          <a:prstGeom prst="rect">
            <a:avLst/>
          </a:prstGeom>
          <a:solidFill>
            <a:sysClr val="window" lastClr="FFFFFF"/>
          </a:solidFill>
        </p:spPr>
        <p:txBody>
          <a:bodyPr wrap="square" lIns="101858" tIns="50929" rIns="101858" bIns="50929"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onfiguration Items (CI), Relationships</a:t>
            </a:r>
            <a:b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b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info</a:t>
            </a:r>
          </a:p>
        </p:txBody>
      </p:sp>
      <p:cxnSp>
        <p:nvCxnSpPr>
          <p:cNvPr id="81" name="Straight Arrow Connector 80">
            <a:extLst>
              <a:ext uri="{FF2B5EF4-FFF2-40B4-BE49-F238E27FC236}">
                <a16:creationId xmlns:a16="http://schemas.microsoft.com/office/drawing/2014/main" id="{F7492D4E-06F9-4DF4-3203-C1D66B44CD6E}"/>
              </a:ext>
            </a:extLst>
          </p:cNvPr>
          <p:cNvCxnSpPr>
            <a:cxnSpLocks/>
          </p:cNvCxnSpPr>
          <p:nvPr/>
        </p:nvCxnSpPr>
        <p:spPr>
          <a:xfrm flipH="1">
            <a:off x="5734743" y="3142570"/>
            <a:ext cx="1" cy="1890576"/>
          </a:xfrm>
          <a:prstGeom prst="straightConnector1">
            <a:avLst/>
          </a:prstGeom>
          <a:noFill/>
          <a:ln w="19050" cap="flat" cmpd="sng" algn="ctr">
            <a:solidFill>
              <a:srgbClr val="00A1E0"/>
            </a:solidFill>
            <a:prstDash val="solid"/>
            <a:tailEnd type="triangle"/>
          </a:ln>
          <a:effectLst/>
        </p:spPr>
      </p:cxnSp>
      <p:cxnSp>
        <p:nvCxnSpPr>
          <p:cNvPr id="82" name="Elbow Connector 111">
            <a:extLst>
              <a:ext uri="{FF2B5EF4-FFF2-40B4-BE49-F238E27FC236}">
                <a16:creationId xmlns:a16="http://schemas.microsoft.com/office/drawing/2014/main" id="{B7463CDB-07AC-634E-D07C-76A595A34E15}"/>
              </a:ext>
            </a:extLst>
          </p:cNvPr>
          <p:cNvCxnSpPr>
            <a:cxnSpLocks/>
            <a:stCxn id="138" idx="2"/>
            <a:endCxn id="84" idx="0"/>
          </p:cNvCxnSpPr>
          <p:nvPr/>
        </p:nvCxnSpPr>
        <p:spPr>
          <a:xfrm rot="5400000">
            <a:off x="7766287" y="2598929"/>
            <a:ext cx="1121634" cy="618359"/>
          </a:xfrm>
          <a:prstGeom prst="bentConnector3">
            <a:avLst>
              <a:gd name="adj1" fmla="val 50000"/>
            </a:avLst>
          </a:prstGeom>
          <a:noFill/>
          <a:ln w="19050" cap="flat" cmpd="sng" algn="ctr">
            <a:solidFill>
              <a:srgbClr val="00A1E0"/>
            </a:solidFill>
            <a:prstDash val="solid"/>
            <a:tailEnd type="triangle"/>
          </a:ln>
          <a:effectLst/>
        </p:spPr>
      </p:cxnSp>
      <p:sp>
        <p:nvSpPr>
          <p:cNvPr id="83" name="Rounded Rectangle 112">
            <a:extLst>
              <a:ext uri="{FF2B5EF4-FFF2-40B4-BE49-F238E27FC236}">
                <a16:creationId xmlns:a16="http://schemas.microsoft.com/office/drawing/2014/main" id="{1478BB0F-F6E9-2050-E02F-7F416773695D}"/>
              </a:ext>
            </a:extLst>
          </p:cNvPr>
          <p:cNvSpPr/>
          <p:nvPr/>
        </p:nvSpPr>
        <p:spPr>
          <a:xfrm>
            <a:off x="4787985" y="2646259"/>
            <a:ext cx="1196274" cy="430838"/>
          </a:xfrm>
          <a:prstGeom prst="roundRect">
            <a:avLst>
              <a:gd name="adj" fmla="val 24117"/>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Incident management</a:t>
            </a:r>
          </a:p>
        </p:txBody>
      </p:sp>
      <p:sp>
        <p:nvSpPr>
          <p:cNvPr id="84" name="Rounded Rectangle 113">
            <a:extLst>
              <a:ext uri="{FF2B5EF4-FFF2-40B4-BE49-F238E27FC236}">
                <a16:creationId xmlns:a16="http://schemas.microsoft.com/office/drawing/2014/main" id="{7A7E4CC6-2230-CE93-17C3-F7985C5B6961}"/>
              </a:ext>
            </a:extLst>
          </p:cNvPr>
          <p:cNvSpPr/>
          <p:nvPr/>
        </p:nvSpPr>
        <p:spPr>
          <a:xfrm>
            <a:off x="7419787" y="3468925"/>
            <a:ext cx="1196274" cy="430838"/>
          </a:xfrm>
          <a:prstGeom prst="roundRect">
            <a:avLst>
              <a:gd name="adj" fmla="val 26706"/>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Change management</a:t>
            </a:r>
          </a:p>
        </p:txBody>
      </p:sp>
      <p:sp>
        <p:nvSpPr>
          <p:cNvPr id="85" name="Rounded Rectangle 114">
            <a:extLst>
              <a:ext uri="{FF2B5EF4-FFF2-40B4-BE49-F238E27FC236}">
                <a16:creationId xmlns:a16="http://schemas.microsoft.com/office/drawing/2014/main" id="{8FD611A7-ABBA-80CB-B673-863F755BF0AE}"/>
              </a:ext>
            </a:extLst>
          </p:cNvPr>
          <p:cNvSpPr/>
          <p:nvPr/>
        </p:nvSpPr>
        <p:spPr>
          <a:xfrm>
            <a:off x="10019106" y="2688561"/>
            <a:ext cx="1196274" cy="430838"/>
          </a:xfrm>
          <a:prstGeom prst="roundRect">
            <a:avLst>
              <a:gd name="adj" fmla="val 21529"/>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Service request fulfillment</a:t>
            </a:r>
          </a:p>
        </p:txBody>
      </p:sp>
      <p:sp>
        <p:nvSpPr>
          <p:cNvPr id="86" name="Rounded Rectangle 115">
            <a:extLst>
              <a:ext uri="{FF2B5EF4-FFF2-40B4-BE49-F238E27FC236}">
                <a16:creationId xmlns:a16="http://schemas.microsoft.com/office/drawing/2014/main" id="{0B4D0D6A-E609-3DFF-389E-CE8E53CCE51D}"/>
              </a:ext>
            </a:extLst>
          </p:cNvPr>
          <p:cNvSpPr/>
          <p:nvPr/>
        </p:nvSpPr>
        <p:spPr>
          <a:xfrm>
            <a:off x="9971838" y="4358254"/>
            <a:ext cx="1196274" cy="428408"/>
          </a:xfrm>
          <a:prstGeom prst="roundRect">
            <a:avLst>
              <a:gd name="adj" fmla="val 21367"/>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Configuration management</a:t>
            </a:r>
          </a:p>
        </p:txBody>
      </p:sp>
      <p:cxnSp>
        <p:nvCxnSpPr>
          <p:cNvPr id="87" name="Elbow Connector 116">
            <a:extLst>
              <a:ext uri="{FF2B5EF4-FFF2-40B4-BE49-F238E27FC236}">
                <a16:creationId xmlns:a16="http://schemas.microsoft.com/office/drawing/2014/main" id="{3FEF6B99-021F-18E9-F403-7DEFC9ED7E9A}"/>
              </a:ext>
            </a:extLst>
          </p:cNvPr>
          <p:cNvCxnSpPr>
            <a:stCxn id="83" idx="3"/>
            <a:endCxn id="129" idx="0"/>
          </p:cNvCxnSpPr>
          <p:nvPr/>
        </p:nvCxnSpPr>
        <p:spPr>
          <a:xfrm>
            <a:off x="5984259" y="2861678"/>
            <a:ext cx="757640" cy="262576"/>
          </a:xfrm>
          <a:prstGeom prst="bentConnector2">
            <a:avLst/>
          </a:prstGeom>
          <a:noFill/>
          <a:ln w="19050" cap="flat" cmpd="sng" algn="ctr">
            <a:solidFill>
              <a:srgbClr val="00A1E0"/>
            </a:solidFill>
            <a:prstDash val="solid"/>
            <a:tailEnd type="triangle"/>
          </a:ln>
          <a:effectLst/>
        </p:spPr>
      </p:cxnSp>
      <p:sp>
        <p:nvSpPr>
          <p:cNvPr id="88" name="TextBox 87">
            <a:extLst>
              <a:ext uri="{FF2B5EF4-FFF2-40B4-BE49-F238E27FC236}">
                <a16:creationId xmlns:a16="http://schemas.microsoft.com/office/drawing/2014/main" id="{FF0F0A45-83D6-8EC9-F01E-6C88B46171B2}"/>
              </a:ext>
            </a:extLst>
          </p:cNvPr>
          <p:cNvSpPr txBox="1"/>
          <p:nvPr/>
        </p:nvSpPr>
        <p:spPr>
          <a:xfrm>
            <a:off x="6103887" y="2695326"/>
            <a:ext cx="498885" cy="276382"/>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New </a:t>
            </a:r>
            <a:b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b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s</a:t>
            </a:r>
          </a:p>
        </p:txBody>
      </p:sp>
      <p:sp>
        <p:nvSpPr>
          <p:cNvPr id="89" name="TextBox 88">
            <a:extLst>
              <a:ext uri="{FF2B5EF4-FFF2-40B4-BE49-F238E27FC236}">
                <a16:creationId xmlns:a16="http://schemas.microsoft.com/office/drawing/2014/main" id="{6E3285B9-AACE-ED41-4855-7A03BC6F1079}"/>
              </a:ext>
            </a:extLst>
          </p:cNvPr>
          <p:cNvSpPr txBox="1"/>
          <p:nvPr/>
        </p:nvSpPr>
        <p:spPr>
          <a:xfrm>
            <a:off x="7550495" y="2926440"/>
            <a:ext cx="804206" cy="414572"/>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equest</a:t>
            </a:r>
            <a:b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b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For Change</a:t>
            </a:r>
          </a:p>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FC)</a:t>
            </a:r>
          </a:p>
        </p:txBody>
      </p:sp>
      <p:cxnSp>
        <p:nvCxnSpPr>
          <p:cNvPr id="90" name="Elbow Connector 120">
            <a:extLst>
              <a:ext uri="{FF2B5EF4-FFF2-40B4-BE49-F238E27FC236}">
                <a16:creationId xmlns:a16="http://schemas.microsoft.com/office/drawing/2014/main" id="{2BB696DA-E83C-F3BB-04B2-A52C3882BB86}"/>
              </a:ext>
            </a:extLst>
          </p:cNvPr>
          <p:cNvCxnSpPr>
            <a:cxnSpLocks/>
            <a:stCxn id="84" idx="3"/>
            <a:endCxn id="142" idx="0"/>
          </p:cNvCxnSpPr>
          <p:nvPr/>
        </p:nvCxnSpPr>
        <p:spPr>
          <a:xfrm>
            <a:off x="8616061" y="3684344"/>
            <a:ext cx="651532" cy="230791"/>
          </a:xfrm>
          <a:prstGeom prst="bentConnector2">
            <a:avLst/>
          </a:prstGeom>
          <a:noFill/>
          <a:ln w="19050" cap="flat" cmpd="sng" algn="ctr">
            <a:solidFill>
              <a:srgbClr val="00A1E0"/>
            </a:solidFill>
            <a:prstDash val="solid"/>
            <a:tailEnd type="triangle"/>
          </a:ln>
          <a:effectLst/>
        </p:spPr>
      </p:cxnSp>
      <p:sp>
        <p:nvSpPr>
          <p:cNvPr id="91" name="TextBox 90">
            <a:extLst>
              <a:ext uri="{FF2B5EF4-FFF2-40B4-BE49-F238E27FC236}">
                <a16:creationId xmlns:a16="http://schemas.microsoft.com/office/drawing/2014/main" id="{6CD724E1-C251-3A83-298B-05C70155C2EB}"/>
              </a:ext>
            </a:extLst>
          </p:cNvPr>
          <p:cNvSpPr txBox="1"/>
          <p:nvPr/>
        </p:nvSpPr>
        <p:spPr>
          <a:xfrm>
            <a:off x="8809061" y="3538005"/>
            <a:ext cx="239255" cy="138190"/>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FC</a:t>
            </a:r>
          </a:p>
        </p:txBody>
      </p:sp>
      <p:cxnSp>
        <p:nvCxnSpPr>
          <p:cNvPr id="92" name="Elbow Connector 122">
            <a:extLst>
              <a:ext uri="{FF2B5EF4-FFF2-40B4-BE49-F238E27FC236}">
                <a16:creationId xmlns:a16="http://schemas.microsoft.com/office/drawing/2014/main" id="{A5720B5F-3C80-527A-30F1-1DD225540887}"/>
              </a:ext>
            </a:extLst>
          </p:cNvPr>
          <p:cNvCxnSpPr>
            <a:cxnSpLocks/>
            <a:stCxn id="142" idx="3"/>
            <a:endCxn id="86" idx="0"/>
          </p:cNvCxnSpPr>
          <p:nvPr/>
        </p:nvCxnSpPr>
        <p:spPr>
          <a:xfrm>
            <a:off x="9865730" y="4130554"/>
            <a:ext cx="704245" cy="227700"/>
          </a:xfrm>
          <a:prstGeom prst="bentConnector2">
            <a:avLst/>
          </a:prstGeom>
          <a:noFill/>
          <a:ln w="19050" cap="flat" cmpd="sng" algn="ctr">
            <a:solidFill>
              <a:srgbClr val="00A1E0"/>
            </a:solidFill>
            <a:prstDash val="solid"/>
            <a:tailEnd type="triangle"/>
          </a:ln>
          <a:effectLst/>
        </p:spPr>
      </p:cxnSp>
      <p:sp>
        <p:nvSpPr>
          <p:cNvPr id="93" name="TextBox 92">
            <a:extLst>
              <a:ext uri="{FF2B5EF4-FFF2-40B4-BE49-F238E27FC236}">
                <a16:creationId xmlns:a16="http://schemas.microsoft.com/office/drawing/2014/main" id="{837DF09A-6486-4CE3-B14B-D3709DC0BBE4}"/>
              </a:ext>
            </a:extLst>
          </p:cNvPr>
          <p:cNvSpPr txBox="1"/>
          <p:nvPr/>
        </p:nvSpPr>
        <p:spPr>
          <a:xfrm>
            <a:off x="10054912" y="3956632"/>
            <a:ext cx="515063" cy="138190"/>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I Update</a:t>
            </a:r>
          </a:p>
        </p:txBody>
      </p:sp>
      <p:cxnSp>
        <p:nvCxnSpPr>
          <p:cNvPr id="94" name="Straight Arrow Connector 93">
            <a:extLst>
              <a:ext uri="{FF2B5EF4-FFF2-40B4-BE49-F238E27FC236}">
                <a16:creationId xmlns:a16="http://schemas.microsoft.com/office/drawing/2014/main" id="{D6D1BE3D-E926-BF48-F09C-74CB484C8B56}"/>
              </a:ext>
            </a:extLst>
          </p:cNvPr>
          <p:cNvCxnSpPr>
            <a:cxnSpLocks/>
          </p:cNvCxnSpPr>
          <p:nvPr/>
        </p:nvCxnSpPr>
        <p:spPr>
          <a:xfrm flipV="1">
            <a:off x="5183420" y="3142570"/>
            <a:ext cx="0" cy="1890576"/>
          </a:xfrm>
          <a:prstGeom prst="straightConnector1">
            <a:avLst/>
          </a:prstGeom>
          <a:noFill/>
          <a:ln w="19050" cap="flat" cmpd="sng" algn="ctr">
            <a:solidFill>
              <a:srgbClr val="00A1E0"/>
            </a:solidFill>
            <a:prstDash val="solid"/>
            <a:tailEnd type="triangle"/>
          </a:ln>
          <a:effectLst/>
        </p:spPr>
      </p:cxnSp>
      <p:sp>
        <p:nvSpPr>
          <p:cNvPr id="95" name="TextBox 94">
            <a:extLst>
              <a:ext uri="{FF2B5EF4-FFF2-40B4-BE49-F238E27FC236}">
                <a16:creationId xmlns:a16="http://schemas.microsoft.com/office/drawing/2014/main" id="{6D89DE6A-88A4-8650-4E2E-F1404FE7CB14}"/>
              </a:ext>
            </a:extLst>
          </p:cNvPr>
          <p:cNvSpPr txBox="1"/>
          <p:nvPr/>
        </p:nvSpPr>
        <p:spPr>
          <a:xfrm>
            <a:off x="4824538" y="3583816"/>
            <a:ext cx="717764" cy="414572"/>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 known error information</a:t>
            </a:r>
          </a:p>
        </p:txBody>
      </p:sp>
      <p:sp>
        <p:nvSpPr>
          <p:cNvPr id="114" name="TextBox 113">
            <a:extLst>
              <a:ext uri="{FF2B5EF4-FFF2-40B4-BE49-F238E27FC236}">
                <a16:creationId xmlns:a16="http://schemas.microsoft.com/office/drawing/2014/main" id="{E6391134-7EFB-A86C-7F80-C8060B2C0544}"/>
              </a:ext>
            </a:extLst>
          </p:cNvPr>
          <p:cNvSpPr txBox="1"/>
          <p:nvPr/>
        </p:nvSpPr>
        <p:spPr>
          <a:xfrm>
            <a:off x="5504054" y="3967944"/>
            <a:ext cx="578200" cy="138190"/>
          </a:xfrm>
          <a:prstGeom prst="rect">
            <a:avLst/>
          </a:prstGeom>
          <a:solidFill>
            <a:sysClr val="window" lastClr="FFFFFF"/>
          </a:solidFill>
        </p:spPr>
        <p:txBody>
          <a:bodyPr wrap="square" lIns="0" tIns="0" rIns="0" bIns="0" rtlCol="0">
            <a:spAutoFit/>
          </a:bodyPr>
          <a:lstStyle>
            <a:defPPr>
              <a:defRPr lang="en-US"/>
            </a:defPPr>
            <a:lvl1pPr fontAlgn="auto">
              <a:spcBef>
                <a:spcPts val="0"/>
              </a:spcBef>
              <a:spcAft>
                <a:spcPts val="0"/>
              </a:spcAft>
              <a:defRPr sz="700" b="0">
                <a:solidFill>
                  <a:srgbClr val="002776"/>
                </a:solidFill>
                <a:latin typeface="Arial"/>
                <a:cs typeface="+mn-cs"/>
              </a:defRPr>
            </a:lvl1pPr>
          </a:lstStyle>
          <a:p>
            <a:pPr>
              <a:defRPr/>
            </a:pPr>
            <a:r>
              <a:rPr lang="en-US" sz="9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Incidents</a:t>
            </a:r>
          </a:p>
        </p:txBody>
      </p:sp>
      <p:cxnSp>
        <p:nvCxnSpPr>
          <p:cNvPr id="118" name="Straight Arrow Connector 117">
            <a:extLst>
              <a:ext uri="{FF2B5EF4-FFF2-40B4-BE49-F238E27FC236}">
                <a16:creationId xmlns:a16="http://schemas.microsoft.com/office/drawing/2014/main" id="{A3D849F7-9D33-BE0C-A620-87BF8AB69110}"/>
              </a:ext>
            </a:extLst>
          </p:cNvPr>
          <p:cNvCxnSpPr>
            <a:cxnSpLocks/>
          </p:cNvCxnSpPr>
          <p:nvPr/>
        </p:nvCxnSpPr>
        <p:spPr>
          <a:xfrm flipV="1">
            <a:off x="6383017" y="3583816"/>
            <a:ext cx="0" cy="1449330"/>
          </a:xfrm>
          <a:prstGeom prst="straightConnector1">
            <a:avLst/>
          </a:prstGeom>
          <a:noFill/>
          <a:ln w="19050" cap="flat" cmpd="sng" algn="ctr">
            <a:solidFill>
              <a:srgbClr val="00A1E0"/>
            </a:solidFill>
            <a:prstDash val="solid"/>
            <a:tailEnd type="triangle"/>
          </a:ln>
          <a:effectLst/>
        </p:spPr>
      </p:cxnSp>
      <p:sp>
        <p:nvSpPr>
          <p:cNvPr id="119" name="TextBox 118">
            <a:extLst>
              <a:ext uri="{FF2B5EF4-FFF2-40B4-BE49-F238E27FC236}">
                <a16:creationId xmlns:a16="http://schemas.microsoft.com/office/drawing/2014/main" id="{6B6AA7B1-99A0-1431-7839-9E7014782975}"/>
              </a:ext>
            </a:extLst>
          </p:cNvPr>
          <p:cNvSpPr txBox="1"/>
          <p:nvPr/>
        </p:nvSpPr>
        <p:spPr>
          <a:xfrm>
            <a:off x="6153218" y="3985932"/>
            <a:ext cx="638013" cy="414572"/>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 known error info</a:t>
            </a:r>
          </a:p>
        </p:txBody>
      </p:sp>
      <p:cxnSp>
        <p:nvCxnSpPr>
          <p:cNvPr id="120" name="Straight Arrow Connector 119">
            <a:extLst>
              <a:ext uri="{FF2B5EF4-FFF2-40B4-BE49-F238E27FC236}">
                <a16:creationId xmlns:a16="http://schemas.microsoft.com/office/drawing/2014/main" id="{656C8B41-05C5-DB00-3DA3-FC2B4675C5A8}"/>
              </a:ext>
            </a:extLst>
          </p:cNvPr>
          <p:cNvCxnSpPr>
            <a:cxnSpLocks/>
          </p:cNvCxnSpPr>
          <p:nvPr/>
        </p:nvCxnSpPr>
        <p:spPr>
          <a:xfrm>
            <a:off x="6941278" y="3583816"/>
            <a:ext cx="0" cy="1449330"/>
          </a:xfrm>
          <a:prstGeom prst="straightConnector1">
            <a:avLst/>
          </a:prstGeom>
          <a:noFill/>
          <a:ln w="19050" cap="flat" cmpd="sng" algn="ctr">
            <a:solidFill>
              <a:srgbClr val="00A1E0"/>
            </a:solidFill>
            <a:prstDash val="solid"/>
            <a:tailEnd type="triangle"/>
          </a:ln>
          <a:effectLst/>
        </p:spPr>
      </p:cxnSp>
      <p:sp>
        <p:nvSpPr>
          <p:cNvPr id="121" name="TextBox 120">
            <a:extLst>
              <a:ext uri="{FF2B5EF4-FFF2-40B4-BE49-F238E27FC236}">
                <a16:creationId xmlns:a16="http://schemas.microsoft.com/office/drawing/2014/main" id="{5EB88771-4EA5-ED9F-2E64-0EA965211845}"/>
              </a:ext>
            </a:extLst>
          </p:cNvPr>
          <p:cNvSpPr txBox="1"/>
          <p:nvPr/>
        </p:nvSpPr>
        <p:spPr>
          <a:xfrm>
            <a:off x="6698115" y="4342668"/>
            <a:ext cx="638013" cy="415498"/>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 known errors </a:t>
            </a:r>
          </a:p>
        </p:txBody>
      </p:sp>
      <p:cxnSp>
        <p:nvCxnSpPr>
          <p:cNvPr id="123" name="Straight Arrow Connector 122">
            <a:extLst>
              <a:ext uri="{FF2B5EF4-FFF2-40B4-BE49-F238E27FC236}">
                <a16:creationId xmlns:a16="http://schemas.microsoft.com/office/drawing/2014/main" id="{5973D43E-704B-EA3B-6070-194AE12EF679}"/>
              </a:ext>
            </a:extLst>
          </p:cNvPr>
          <p:cNvCxnSpPr>
            <a:cxnSpLocks/>
          </p:cNvCxnSpPr>
          <p:nvPr/>
        </p:nvCxnSpPr>
        <p:spPr>
          <a:xfrm flipV="1">
            <a:off x="7769810" y="3956632"/>
            <a:ext cx="0" cy="1076514"/>
          </a:xfrm>
          <a:prstGeom prst="straightConnector1">
            <a:avLst/>
          </a:prstGeom>
          <a:noFill/>
          <a:ln w="19050" cap="flat" cmpd="sng" algn="ctr">
            <a:solidFill>
              <a:srgbClr val="00A1E0"/>
            </a:solidFill>
            <a:prstDash val="solid"/>
            <a:tailEnd type="triangle"/>
          </a:ln>
          <a:effectLst/>
        </p:spPr>
      </p:cxnSp>
      <p:sp>
        <p:nvSpPr>
          <p:cNvPr id="124" name="TextBox 123">
            <a:extLst>
              <a:ext uri="{FF2B5EF4-FFF2-40B4-BE49-F238E27FC236}">
                <a16:creationId xmlns:a16="http://schemas.microsoft.com/office/drawing/2014/main" id="{C81EDD8E-3B36-73A6-E7D3-B2A2A857D2BB}"/>
              </a:ext>
            </a:extLst>
          </p:cNvPr>
          <p:cNvSpPr txBox="1"/>
          <p:nvPr/>
        </p:nvSpPr>
        <p:spPr>
          <a:xfrm>
            <a:off x="7519953" y="4260725"/>
            <a:ext cx="611430" cy="414572"/>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Problem, known error info</a:t>
            </a:r>
          </a:p>
        </p:txBody>
      </p:sp>
      <p:cxnSp>
        <p:nvCxnSpPr>
          <p:cNvPr id="125" name="Straight Arrow Connector 124">
            <a:extLst>
              <a:ext uri="{FF2B5EF4-FFF2-40B4-BE49-F238E27FC236}">
                <a16:creationId xmlns:a16="http://schemas.microsoft.com/office/drawing/2014/main" id="{9338BCAF-AB8F-2A55-DFEA-57363A5DAE32}"/>
              </a:ext>
            </a:extLst>
          </p:cNvPr>
          <p:cNvCxnSpPr>
            <a:cxnSpLocks/>
          </p:cNvCxnSpPr>
          <p:nvPr/>
        </p:nvCxnSpPr>
        <p:spPr>
          <a:xfrm>
            <a:off x="8297058" y="3956632"/>
            <a:ext cx="0" cy="1076514"/>
          </a:xfrm>
          <a:prstGeom prst="straightConnector1">
            <a:avLst/>
          </a:prstGeom>
          <a:noFill/>
          <a:ln w="19050" cap="flat" cmpd="sng" algn="ctr">
            <a:solidFill>
              <a:srgbClr val="00A1E0"/>
            </a:solidFill>
            <a:prstDash val="solid"/>
            <a:tailEnd type="triangle"/>
          </a:ln>
          <a:effectLst/>
        </p:spPr>
      </p:cxnSp>
      <p:sp>
        <p:nvSpPr>
          <p:cNvPr id="126" name="TextBox 125">
            <a:extLst>
              <a:ext uri="{FF2B5EF4-FFF2-40B4-BE49-F238E27FC236}">
                <a16:creationId xmlns:a16="http://schemas.microsoft.com/office/drawing/2014/main" id="{6BA5F0E7-A464-BB85-6D94-78B1953A4A4D}"/>
              </a:ext>
            </a:extLst>
          </p:cNvPr>
          <p:cNvSpPr txBox="1"/>
          <p:nvPr/>
        </p:nvSpPr>
        <p:spPr>
          <a:xfrm>
            <a:off x="8051733" y="4108665"/>
            <a:ext cx="576463" cy="276999"/>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Enhancements</a:t>
            </a:r>
          </a:p>
        </p:txBody>
      </p:sp>
      <p:cxnSp>
        <p:nvCxnSpPr>
          <p:cNvPr id="127" name="Elbow Connector 136">
            <a:extLst>
              <a:ext uri="{FF2B5EF4-FFF2-40B4-BE49-F238E27FC236}">
                <a16:creationId xmlns:a16="http://schemas.microsoft.com/office/drawing/2014/main" id="{7B0B69A6-4C36-D614-18DE-7AD936CAD9F4}"/>
              </a:ext>
            </a:extLst>
          </p:cNvPr>
          <p:cNvCxnSpPr>
            <a:stCxn id="138" idx="2"/>
            <a:endCxn id="83" idx="0"/>
          </p:cNvCxnSpPr>
          <p:nvPr/>
        </p:nvCxnSpPr>
        <p:spPr>
          <a:xfrm rot="5400000">
            <a:off x="6861719" y="871695"/>
            <a:ext cx="298968" cy="3250161"/>
          </a:xfrm>
          <a:prstGeom prst="bentConnector3">
            <a:avLst>
              <a:gd name="adj1" fmla="val 50000"/>
            </a:avLst>
          </a:prstGeom>
          <a:noFill/>
          <a:ln w="9525" cap="flat" cmpd="sng" algn="ctr">
            <a:solidFill>
              <a:srgbClr val="3C8A2D"/>
            </a:solidFill>
            <a:prstDash val="solid"/>
            <a:tailEnd type="triangle"/>
          </a:ln>
          <a:effectLst/>
          <a:scene3d>
            <a:camera prst="orthographicFront">
              <a:rot lat="0" lon="21299999" rev="0"/>
            </a:camera>
            <a:lightRig rig="threePt" dir="t"/>
          </a:scene3d>
        </p:spPr>
      </p:cxnSp>
      <p:sp>
        <p:nvSpPr>
          <p:cNvPr id="128" name="TextBox 127">
            <a:extLst>
              <a:ext uri="{FF2B5EF4-FFF2-40B4-BE49-F238E27FC236}">
                <a16:creationId xmlns:a16="http://schemas.microsoft.com/office/drawing/2014/main" id="{98C80C3B-D4AF-EC95-C0E0-A0ED0EDC15C0}"/>
              </a:ext>
            </a:extLst>
          </p:cNvPr>
          <p:cNvSpPr txBox="1"/>
          <p:nvPr/>
        </p:nvSpPr>
        <p:spPr>
          <a:xfrm>
            <a:off x="5232522" y="5142472"/>
            <a:ext cx="2931154" cy="701282"/>
          </a:xfrm>
          <a:prstGeom prst="rect">
            <a:avLst/>
          </a:prstGeom>
          <a:noFill/>
        </p:spPr>
        <p:txBody>
          <a:bodyPr wrap="square" lIns="0" tIns="0" rIns="0" bIns="0" rtlCol="0">
            <a:spAutoFit/>
          </a:bodyPr>
          <a:lstStyle/>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onfiguration Database Management</a:t>
            </a:r>
          </a:p>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Service-level Management</a:t>
            </a:r>
          </a:p>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apacity Management</a:t>
            </a:r>
          </a:p>
        </p:txBody>
      </p:sp>
      <p:sp>
        <p:nvSpPr>
          <p:cNvPr id="129" name="Rounded Rectangle 140">
            <a:extLst>
              <a:ext uri="{FF2B5EF4-FFF2-40B4-BE49-F238E27FC236}">
                <a16:creationId xmlns:a16="http://schemas.microsoft.com/office/drawing/2014/main" id="{6DA855D7-7702-56C0-3D5F-5CDD5EF78677}"/>
              </a:ext>
            </a:extLst>
          </p:cNvPr>
          <p:cNvSpPr/>
          <p:nvPr/>
        </p:nvSpPr>
        <p:spPr>
          <a:xfrm>
            <a:off x="6143762" y="3124254"/>
            <a:ext cx="1196274" cy="430838"/>
          </a:xfrm>
          <a:prstGeom prst="roundRect">
            <a:avLst>
              <a:gd name="adj" fmla="val 26706"/>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Probl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management</a:t>
            </a:r>
          </a:p>
        </p:txBody>
      </p:sp>
      <p:sp>
        <p:nvSpPr>
          <p:cNvPr id="130" name="TextBox 129">
            <a:extLst>
              <a:ext uri="{FF2B5EF4-FFF2-40B4-BE49-F238E27FC236}">
                <a16:creationId xmlns:a16="http://schemas.microsoft.com/office/drawing/2014/main" id="{24C0575D-6FC3-4381-6DB4-11845CB2B1C1}"/>
              </a:ext>
            </a:extLst>
          </p:cNvPr>
          <p:cNvSpPr txBox="1"/>
          <p:nvPr/>
        </p:nvSpPr>
        <p:spPr>
          <a:xfrm>
            <a:off x="8236378" y="5142472"/>
            <a:ext cx="2858255" cy="701282"/>
          </a:xfrm>
          <a:prstGeom prst="rect">
            <a:avLst/>
          </a:prstGeom>
          <a:noFill/>
        </p:spPr>
        <p:txBody>
          <a:bodyPr wrap="square" lIns="0" tIns="0" rIns="0" bIns="0" rtlCol="0">
            <a:spAutoFit/>
          </a:bodyPr>
          <a:lstStyle/>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ontinuity Management</a:t>
            </a:r>
          </a:p>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Availability Management</a:t>
            </a:r>
          </a:p>
          <a:p>
            <a:pPr marL="190985" indent="-190985">
              <a:lnSpc>
                <a:spcPct val="150000"/>
              </a:lnSpc>
              <a:buFont typeface="Arial" pitchFamily="34" charset="0"/>
              <a:buChar char="•"/>
              <a:defRPr/>
            </a:pPr>
            <a:r>
              <a:rPr lang="en-US" sz="105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sym typeface="Open Sans"/>
              </a:rPr>
              <a:t>Financial Management</a:t>
            </a:r>
          </a:p>
        </p:txBody>
      </p:sp>
      <p:cxnSp>
        <p:nvCxnSpPr>
          <p:cNvPr id="131" name="Straight Arrow Connector 130">
            <a:extLst>
              <a:ext uri="{FF2B5EF4-FFF2-40B4-BE49-F238E27FC236}">
                <a16:creationId xmlns:a16="http://schemas.microsoft.com/office/drawing/2014/main" id="{EA7A2ED7-FEEE-6980-6D08-9B53C32BB0D4}"/>
              </a:ext>
            </a:extLst>
          </p:cNvPr>
          <p:cNvCxnSpPr>
            <a:cxnSpLocks/>
          </p:cNvCxnSpPr>
          <p:nvPr/>
        </p:nvCxnSpPr>
        <p:spPr>
          <a:xfrm>
            <a:off x="10569975" y="4786662"/>
            <a:ext cx="0" cy="246484"/>
          </a:xfrm>
          <a:prstGeom prst="straightConnector1">
            <a:avLst/>
          </a:prstGeom>
          <a:noFill/>
          <a:ln w="19050" cap="flat" cmpd="sng" algn="ctr">
            <a:solidFill>
              <a:srgbClr val="00A1E0"/>
            </a:solidFill>
            <a:prstDash val="solid"/>
            <a:tailEnd type="triangle"/>
          </a:ln>
          <a:effectLst/>
        </p:spPr>
      </p:cxnSp>
      <p:sp>
        <p:nvSpPr>
          <p:cNvPr id="132" name="TextBox 131">
            <a:extLst>
              <a:ext uri="{FF2B5EF4-FFF2-40B4-BE49-F238E27FC236}">
                <a16:creationId xmlns:a16="http://schemas.microsoft.com/office/drawing/2014/main" id="{E9F0E80E-CB1C-CD86-F38D-49234597E480}"/>
              </a:ext>
            </a:extLst>
          </p:cNvPr>
          <p:cNvSpPr txBox="1"/>
          <p:nvPr/>
        </p:nvSpPr>
        <p:spPr>
          <a:xfrm>
            <a:off x="10636066" y="4804141"/>
            <a:ext cx="903851" cy="276999"/>
          </a:xfrm>
          <a:prstGeom prst="rect">
            <a:avLst/>
          </a:prstGeom>
          <a:solidFill>
            <a:sysClr val="window" lastClr="FFFFFF"/>
          </a:solidFill>
        </p:spPr>
        <p:txBody>
          <a:bodyPr wrap="square" lIns="0" tIns="0" rIns="0" bIns="0"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CI’s </a:t>
            </a:r>
            <a:b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b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relationships</a:t>
            </a:r>
          </a:p>
        </p:txBody>
      </p:sp>
      <p:cxnSp>
        <p:nvCxnSpPr>
          <p:cNvPr id="133" name="Straight Arrow Connector 132">
            <a:extLst>
              <a:ext uri="{FF2B5EF4-FFF2-40B4-BE49-F238E27FC236}">
                <a16:creationId xmlns:a16="http://schemas.microsoft.com/office/drawing/2014/main" id="{56964996-B885-E47F-265F-9E6EF8E245DA}"/>
              </a:ext>
            </a:extLst>
          </p:cNvPr>
          <p:cNvCxnSpPr/>
          <p:nvPr/>
        </p:nvCxnSpPr>
        <p:spPr>
          <a:xfrm flipH="1">
            <a:off x="6292390" y="2263716"/>
            <a:ext cx="2051484" cy="0"/>
          </a:xfrm>
          <a:prstGeom prst="straightConnector1">
            <a:avLst/>
          </a:prstGeom>
          <a:noFill/>
          <a:ln w="19050" cap="flat" cmpd="sng" algn="ctr">
            <a:solidFill>
              <a:srgbClr val="00A1E0"/>
            </a:solidFill>
            <a:prstDash val="solid"/>
            <a:tailEnd type="triangle"/>
          </a:ln>
          <a:effectLst/>
        </p:spPr>
      </p:cxnSp>
      <p:cxnSp>
        <p:nvCxnSpPr>
          <p:cNvPr id="134" name="Straight Arrow Connector 133">
            <a:extLst>
              <a:ext uri="{FF2B5EF4-FFF2-40B4-BE49-F238E27FC236}">
                <a16:creationId xmlns:a16="http://schemas.microsoft.com/office/drawing/2014/main" id="{D196C581-7539-9FC7-1D0A-41DE2DFE333D}"/>
              </a:ext>
            </a:extLst>
          </p:cNvPr>
          <p:cNvCxnSpPr/>
          <p:nvPr/>
        </p:nvCxnSpPr>
        <p:spPr>
          <a:xfrm flipV="1">
            <a:off x="6292390" y="1919047"/>
            <a:ext cx="2051484" cy="20970"/>
          </a:xfrm>
          <a:prstGeom prst="straightConnector1">
            <a:avLst/>
          </a:prstGeom>
          <a:noFill/>
          <a:ln w="19050" cap="flat" cmpd="sng" algn="ctr">
            <a:solidFill>
              <a:srgbClr val="00A1E0"/>
            </a:solidFill>
            <a:prstDash val="solid"/>
            <a:tailEnd type="triangle"/>
          </a:ln>
          <a:effectLst/>
        </p:spPr>
      </p:cxnSp>
      <p:sp>
        <p:nvSpPr>
          <p:cNvPr id="135" name="TextBox 134">
            <a:extLst>
              <a:ext uri="{FF2B5EF4-FFF2-40B4-BE49-F238E27FC236}">
                <a16:creationId xmlns:a16="http://schemas.microsoft.com/office/drawing/2014/main" id="{001B338A-E9D3-3D1D-5CD3-A31B2E685D77}"/>
              </a:ext>
            </a:extLst>
          </p:cNvPr>
          <p:cNvSpPr txBox="1"/>
          <p:nvPr/>
        </p:nvSpPr>
        <p:spPr>
          <a:xfrm>
            <a:off x="6819866" y="1740843"/>
            <a:ext cx="1147578" cy="379006"/>
          </a:xfrm>
          <a:prstGeom prst="rect">
            <a:avLst/>
          </a:prstGeom>
          <a:solidFill>
            <a:sysClr val="window" lastClr="FFFFFF"/>
          </a:solidFill>
        </p:spPr>
        <p:txBody>
          <a:bodyPr wrap="square" lIns="101858" tIns="50929" rIns="101858" bIns="50929" rtlCol="0">
            <a:spAutoFit/>
          </a:bodyPr>
          <a:lstStyle>
            <a:defPPr>
              <a:defRPr lang="en-US"/>
            </a:defPPr>
            <a:lvl1pPr fontAlgn="auto">
              <a:spcBef>
                <a:spcPts val="0"/>
              </a:spcBef>
              <a:spcAft>
                <a:spcPts val="0"/>
              </a:spcAft>
              <a:defRPr sz="900">
                <a:solidFill>
                  <a:srgbClr val="002776"/>
                </a:solidFill>
              </a:defRPr>
            </a:lvl1pPr>
          </a:lstStyle>
          <a:p>
            <a:pPr>
              <a:defRPr/>
            </a:pPr>
            <a:r>
              <a:rPr lang="en-US" b="1" dirty="0">
                <a:solidFill>
                  <a:srgbClr val="62B5E5"/>
                </a:solidFill>
                <a:latin typeface="Open Sans" panose="020B0606030504020204" pitchFamily="34" charset="0"/>
                <a:ea typeface="Open Sans" panose="020B0606030504020204" pitchFamily="34" charset="0"/>
                <a:cs typeface="Open Sans" panose="020B0606030504020204" pitchFamily="34" charset="0"/>
                <a:sym typeface="Open Sans"/>
              </a:rPr>
              <a:t>Service requests </a:t>
            </a:r>
          </a:p>
          <a:p>
            <a:pPr>
              <a:defRPr/>
            </a:pPr>
            <a:r>
              <a:rPr lang="en-US" b="1" dirty="0">
                <a:solidFill>
                  <a:srgbClr val="62B5E5"/>
                </a:solidFill>
                <a:latin typeface="Open Sans" panose="020B0606030504020204" pitchFamily="34" charset="0"/>
                <a:ea typeface="Open Sans" panose="020B0606030504020204" pitchFamily="34" charset="0"/>
                <a:cs typeface="Open Sans" panose="020B0606030504020204" pitchFamily="34" charset="0"/>
                <a:sym typeface="Open Sans"/>
              </a:rPr>
              <a:t>or incidents</a:t>
            </a:r>
          </a:p>
        </p:txBody>
      </p:sp>
      <p:sp>
        <p:nvSpPr>
          <p:cNvPr id="136" name="TextBox 135">
            <a:extLst>
              <a:ext uri="{FF2B5EF4-FFF2-40B4-BE49-F238E27FC236}">
                <a16:creationId xmlns:a16="http://schemas.microsoft.com/office/drawing/2014/main" id="{7A234537-B211-42F7-77B4-6D8460F2B352}"/>
              </a:ext>
            </a:extLst>
          </p:cNvPr>
          <p:cNvSpPr txBox="1"/>
          <p:nvPr/>
        </p:nvSpPr>
        <p:spPr>
          <a:xfrm>
            <a:off x="6939066" y="2108838"/>
            <a:ext cx="1132606" cy="379006"/>
          </a:xfrm>
          <a:prstGeom prst="rect">
            <a:avLst/>
          </a:prstGeom>
          <a:solidFill>
            <a:sysClr val="window" lastClr="FFFFFF"/>
          </a:solidFill>
        </p:spPr>
        <p:txBody>
          <a:bodyPr wrap="square" lIns="101858" tIns="50929" rIns="101858" bIns="50929" rtlCol="0">
            <a:spAutoFit/>
          </a:bodyPr>
          <a:lstStyle>
            <a:defPPr>
              <a:defRPr lang="en-US"/>
            </a:defPPr>
            <a:lvl1pPr fontAlgn="auto">
              <a:spcBef>
                <a:spcPts val="0"/>
              </a:spcBef>
              <a:spcAft>
                <a:spcPts val="0"/>
              </a:spcAft>
              <a:defRPr sz="900">
                <a:solidFill>
                  <a:srgbClr val="002776"/>
                </a:solidFill>
              </a:defRPr>
            </a:lvl1pPr>
          </a:lstStyle>
          <a:p>
            <a:pPr>
              <a:defRPr/>
            </a:pPr>
            <a:r>
              <a:rPr lang="en-US" b="1" dirty="0">
                <a:solidFill>
                  <a:srgbClr val="62B5E5"/>
                </a:solidFill>
                <a:latin typeface="Open Sans" panose="020B0606030504020204" pitchFamily="34" charset="0"/>
                <a:ea typeface="Open Sans" panose="020B0606030504020204" pitchFamily="34" charset="0"/>
                <a:cs typeface="Open Sans" panose="020B0606030504020204" pitchFamily="34" charset="0"/>
                <a:sym typeface="Open Sans"/>
              </a:rPr>
              <a:t>Communication and updates</a:t>
            </a:r>
          </a:p>
        </p:txBody>
      </p:sp>
      <p:grpSp>
        <p:nvGrpSpPr>
          <p:cNvPr id="137" name="Group 136">
            <a:extLst>
              <a:ext uri="{FF2B5EF4-FFF2-40B4-BE49-F238E27FC236}">
                <a16:creationId xmlns:a16="http://schemas.microsoft.com/office/drawing/2014/main" id="{1BBF555A-7A8B-72CF-C28D-D716ED2D29F5}"/>
              </a:ext>
            </a:extLst>
          </p:cNvPr>
          <p:cNvGrpSpPr/>
          <p:nvPr/>
        </p:nvGrpSpPr>
        <p:grpSpPr>
          <a:xfrm>
            <a:off x="8343877" y="1843042"/>
            <a:ext cx="851849" cy="504252"/>
            <a:chOff x="4346885" y="1872541"/>
            <a:chExt cx="895304" cy="505378"/>
          </a:xfrm>
        </p:grpSpPr>
        <p:pic>
          <p:nvPicPr>
            <p:cNvPr id="138" name="Picture 6" descr="\\Cagmasrv1\sso$\Gestion_Deloitte\Global_Brand\- Templates\Icons\Iconography Deloitte\Icon_Laptop_DarkGreen.png">
              <a:extLst>
                <a:ext uri="{FF2B5EF4-FFF2-40B4-BE49-F238E27FC236}">
                  <a16:creationId xmlns:a16="http://schemas.microsoft.com/office/drawing/2014/main" id="{F2FDE43A-E922-F3FC-AA6A-0A9287AE19AD}"/>
                </a:ext>
              </a:extLst>
            </p:cNvPr>
            <p:cNvPicPr>
              <a:picLocks noChangeAspect="1" noChangeArrowheads="1"/>
            </p:cNvPicPr>
            <p:nvPr/>
          </p:nvPicPr>
          <p:blipFill>
            <a:blip r:embed="rId7" cstate="email">
              <a:duotone>
                <a:srgbClr val="00ABA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346885" y="1872541"/>
              <a:ext cx="614645" cy="505375"/>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3">
              <a:extLst>
                <a:ext uri="{FF2B5EF4-FFF2-40B4-BE49-F238E27FC236}">
                  <a16:creationId xmlns:a16="http://schemas.microsoft.com/office/drawing/2014/main" id="{4368B958-4C60-5E31-83E7-410DE046385B}"/>
                </a:ext>
              </a:extLst>
            </p:cNvPr>
            <p:cNvPicPr>
              <a:picLocks noChangeAspect="1" noChangeArrowheads="1"/>
            </p:cNvPicPr>
            <p:nvPr/>
          </p:nvPicPr>
          <p:blipFill>
            <a:blip r:embed="rId8" cstate="email">
              <a:duotone>
                <a:srgbClr val="00ABAB">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940300" y="2053350"/>
              <a:ext cx="301889" cy="324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40" name="Picture 2" descr="\\Cagmasrv1\sso$\Gestion_Deloitte\Global_Brand\- Templates\Icons\Iconography Deloitte\Icon_People_group_Blue.png">
            <a:extLst>
              <a:ext uri="{FF2B5EF4-FFF2-40B4-BE49-F238E27FC236}">
                <a16:creationId xmlns:a16="http://schemas.microsoft.com/office/drawing/2014/main" id="{65C9BC6B-D8D1-9E67-E372-468160C211F8}"/>
              </a:ext>
            </a:extLst>
          </p:cNvPr>
          <p:cNvPicPr>
            <a:picLocks noChangeAspect="1" noChangeArrowheads="1"/>
          </p:cNvPicPr>
          <p:nvPr/>
        </p:nvPicPr>
        <p:blipFill>
          <a:blip r:embed="rId9" cstate="email">
            <a:duotone>
              <a:srgbClr val="A0DC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588831" y="1791907"/>
            <a:ext cx="609140" cy="522648"/>
          </a:xfrm>
          <a:prstGeom prst="rect">
            <a:avLst/>
          </a:prstGeom>
          <a:noFill/>
          <a:extLst>
            <a:ext uri="{909E8E84-426E-40DD-AFC4-6F175D3DCCD1}">
              <a14:hiddenFill xmlns:a14="http://schemas.microsoft.com/office/drawing/2010/main">
                <a:solidFill>
                  <a:srgbClr val="FFFFFF"/>
                </a:solidFill>
              </a14:hiddenFill>
            </a:ext>
          </a:extLst>
        </p:spPr>
      </p:pic>
      <p:sp>
        <p:nvSpPr>
          <p:cNvPr id="141" name="Rectangle 140">
            <a:extLst>
              <a:ext uri="{FF2B5EF4-FFF2-40B4-BE49-F238E27FC236}">
                <a16:creationId xmlns:a16="http://schemas.microsoft.com/office/drawing/2014/main" id="{62E3FAA9-B0BB-FB6D-4F7D-BD40A62D84F9}"/>
              </a:ext>
            </a:extLst>
          </p:cNvPr>
          <p:cNvSpPr/>
          <p:nvPr/>
        </p:nvSpPr>
        <p:spPr>
          <a:xfrm>
            <a:off x="846313" y="2933367"/>
            <a:ext cx="3680906" cy="3001847"/>
          </a:xfrm>
          <a:prstGeom prst="rect">
            <a:avLst/>
          </a:prstGeom>
        </p:spPr>
        <p:txBody>
          <a:bodyPr wrap="square" lIns="0" tIns="0" rIns="0" bIns="0">
            <a:spAutoFit/>
          </a:bodyPr>
          <a:lstStyle/>
          <a:p>
            <a:pPr>
              <a:lnSpc>
                <a:spcPct val="120000"/>
              </a:lnSpc>
              <a:spcBef>
                <a:spcPts val="1200"/>
              </a:spcBef>
              <a:defRPr/>
            </a:pPr>
            <a:r>
              <a:rPr lang="en-US" sz="1200" b="1" dirty="0">
                <a:solidFill>
                  <a:srgbClr val="62B5E5"/>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Key Features</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nables all customer requests (issues, enhancements, or questions) are managed to completion</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acilitates adherence to service-level objectives (SLOs)</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ocuses on end-to-end service management </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upports quality initiatives</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efines through delivery experience</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acilitates cost-effective service delivery</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Standard Operating Procedures (SOPs), operations manuals, and service delivery tools incorporate ITIL-based process flows</a:t>
            </a:r>
          </a:p>
          <a:p>
            <a:pPr marL="174625" lvl="1" indent="-173038" eaLnBrk="0" fontAlgn="base" hangingPunct="0">
              <a:spcBef>
                <a:spcPts val="400"/>
              </a:spcBef>
              <a:spcAft>
                <a:spcPct val="0"/>
              </a:spcAft>
              <a:buClr>
                <a:srgbClr val="62B5E5"/>
              </a:buClr>
              <a:buFontTx/>
              <a:buChar char="•"/>
              <a:defRPr/>
            </a:pPr>
            <a:r>
              <a:rPr lang="en-US" sz="11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s part of our support startup services, we work with our clients to compile an Operational Run book to map all processes and procedures, as well as technical Standard Operating Procedures (SOP). </a:t>
            </a:r>
          </a:p>
        </p:txBody>
      </p:sp>
      <p:sp>
        <p:nvSpPr>
          <p:cNvPr id="142" name="Rounded Rectangle 114">
            <a:extLst>
              <a:ext uri="{FF2B5EF4-FFF2-40B4-BE49-F238E27FC236}">
                <a16:creationId xmlns:a16="http://schemas.microsoft.com/office/drawing/2014/main" id="{83F1981D-02E8-967C-34A6-FFA93839DD30}"/>
              </a:ext>
            </a:extLst>
          </p:cNvPr>
          <p:cNvSpPr/>
          <p:nvPr/>
        </p:nvSpPr>
        <p:spPr>
          <a:xfrm>
            <a:off x="8669456" y="3915135"/>
            <a:ext cx="1196274" cy="430838"/>
          </a:xfrm>
          <a:prstGeom prst="roundRect">
            <a:avLst>
              <a:gd name="adj" fmla="val 18941"/>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Release management</a:t>
            </a:r>
          </a:p>
        </p:txBody>
      </p:sp>
      <p:cxnSp>
        <p:nvCxnSpPr>
          <p:cNvPr id="143" name="Elbow Connector 357">
            <a:extLst>
              <a:ext uri="{FF2B5EF4-FFF2-40B4-BE49-F238E27FC236}">
                <a16:creationId xmlns:a16="http://schemas.microsoft.com/office/drawing/2014/main" id="{C6C6B2FE-347A-FFC6-F38D-12FDC975A72E}"/>
              </a:ext>
            </a:extLst>
          </p:cNvPr>
          <p:cNvCxnSpPr>
            <a:cxnSpLocks/>
          </p:cNvCxnSpPr>
          <p:nvPr/>
        </p:nvCxnSpPr>
        <p:spPr>
          <a:xfrm rot="16200000" flipH="1">
            <a:off x="9456128" y="1501608"/>
            <a:ext cx="341270" cy="1980960"/>
          </a:xfrm>
          <a:prstGeom prst="bentConnector3">
            <a:avLst>
              <a:gd name="adj1" fmla="val 50000"/>
            </a:avLst>
          </a:prstGeom>
          <a:noFill/>
          <a:ln w="19050" cap="flat" cmpd="sng" algn="ctr">
            <a:solidFill>
              <a:srgbClr val="00A1E0"/>
            </a:solidFill>
            <a:prstDash val="solid"/>
            <a:tailEnd type="triangle"/>
          </a:ln>
          <a:effectLst/>
        </p:spPr>
      </p:cxnSp>
      <p:sp>
        <p:nvSpPr>
          <p:cNvPr id="144" name="Rounded Rectangle 114">
            <a:extLst>
              <a:ext uri="{FF2B5EF4-FFF2-40B4-BE49-F238E27FC236}">
                <a16:creationId xmlns:a16="http://schemas.microsoft.com/office/drawing/2014/main" id="{5628BBDB-6174-E958-A492-24B621F02DD3}"/>
              </a:ext>
            </a:extLst>
          </p:cNvPr>
          <p:cNvSpPr/>
          <p:nvPr/>
        </p:nvSpPr>
        <p:spPr>
          <a:xfrm>
            <a:off x="8747277" y="2675979"/>
            <a:ext cx="1196274" cy="430838"/>
          </a:xfrm>
          <a:prstGeom prst="roundRect">
            <a:avLst>
              <a:gd name="adj" fmla="val 26706"/>
            </a:avLst>
          </a:prstGeom>
          <a:gradFill>
            <a:gsLst>
              <a:gs pos="0">
                <a:sysClr val="window" lastClr="FFFFFF"/>
              </a:gs>
              <a:gs pos="91000">
                <a:srgbClr val="62B5E5">
                  <a:lumMod val="60000"/>
                  <a:lumOff val="40000"/>
                </a:srgbClr>
              </a:gs>
            </a:gsLst>
            <a:lin ang="10800000" scaled="1"/>
          </a:gra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Community management</a:t>
            </a:r>
          </a:p>
        </p:txBody>
      </p:sp>
      <p:sp>
        <p:nvSpPr>
          <p:cNvPr id="145" name="TextBox 144">
            <a:extLst>
              <a:ext uri="{FF2B5EF4-FFF2-40B4-BE49-F238E27FC236}">
                <a16:creationId xmlns:a16="http://schemas.microsoft.com/office/drawing/2014/main" id="{AF8BB3BD-06AD-0B8A-AD70-27F00ADF84CD}"/>
              </a:ext>
            </a:extLst>
          </p:cNvPr>
          <p:cNvSpPr txBox="1"/>
          <p:nvPr/>
        </p:nvSpPr>
        <p:spPr>
          <a:xfrm>
            <a:off x="920222" y="1840043"/>
            <a:ext cx="968748" cy="184666"/>
          </a:xfrm>
          <a:prstGeom prst="rect">
            <a:avLst/>
          </a:prstGeom>
          <a:noFill/>
        </p:spPr>
        <p:txBody>
          <a:bodyPr wrap="square" lIns="0" tIns="0" rIns="0" bIns="0">
            <a:spAutoFit/>
          </a:bodyPr>
          <a:lstStyle/>
          <a:p>
            <a:r>
              <a:rPr lang="en-US" sz="1200" b="1">
                <a:solidFill>
                  <a:srgbClr val="62B5E5"/>
                </a:solidFill>
                <a:latin typeface="Open Sans" panose="020B0606030504020204" pitchFamily="34" charset="0"/>
                <a:ea typeface="Open Sans" panose="020B0606030504020204" pitchFamily="34" charset="0"/>
                <a:cs typeface="Open Sans" panose="020B0606030504020204" pitchFamily="34" charset="0"/>
              </a:rPr>
              <a:t>STEP 1</a:t>
            </a:r>
          </a:p>
        </p:txBody>
      </p:sp>
      <p:sp>
        <p:nvSpPr>
          <p:cNvPr id="146" name="TextBox 145">
            <a:extLst>
              <a:ext uri="{FF2B5EF4-FFF2-40B4-BE49-F238E27FC236}">
                <a16:creationId xmlns:a16="http://schemas.microsoft.com/office/drawing/2014/main" id="{8DCE87C1-5015-F82C-D71D-D956475F4239}"/>
              </a:ext>
            </a:extLst>
          </p:cNvPr>
          <p:cNvSpPr txBox="1"/>
          <p:nvPr/>
        </p:nvSpPr>
        <p:spPr>
          <a:xfrm>
            <a:off x="920222" y="2151479"/>
            <a:ext cx="940660" cy="369332"/>
          </a:xfrm>
          <a:prstGeom prst="rect">
            <a:avLst/>
          </a:prstGeom>
          <a:noFill/>
        </p:spPr>
        <p:txBody>
          <a:bodyPr wrap="square" lIns="0" tIns="0" rIns="0" bIns="0">
            <a:spAutoFit/>
          </a:bodyPr>
          <a:lstStyle/>
          <a:p>
            <a:r>
              <a:rPr lang="en-US" sz="1200">
                <a:solidFill>
                  <a:sysClr val="windowText" lastClr="000000">
                    <a:hueOff val="0"/>
                    <a:satOff val="0"/>
                    <a:lumOff val="0"/>
                    <a:alphaOff val="0"/>
                  </a:sysClr>
                </a:solidFill>
                <a:latin typeface="Open Sans Light" panose="020B0306030504020204" pitchFamily="34" charset="0"/>
                <a:ea typeface="Open Sans Light" panose="020B0306030504020204" pitchFamily="34" charset="0"/>
                <a:cs typeface="Open Sans Light" panose="020B0306030504020204" pitchFamily="34" charset="0"/>
              </a:rPr>
              <a:t>Approach to Transition</a:t>
            </a:r>
          </a:p>
        </p:txBody>
      </p:sp>
      <p:sp>
        <p:nvSpPr>
          <p:cNvPr id="147" name="TextBox 146">
            <a:extLst>
              <a:ext uri="{FF2B5EF4-FFF2-40B4-BE49-F238E27FC236}">
                <a16:creationId xmlns:a16="http://schemas.microsoft.com/office/drawing/2014/main" id="{B5AE9BED-BE53-079D-02FC-6C29E4BAD110}"/>
              </a:ext>
            </a:extLst>
          </p:cNvPr>
          <p:cNvSpPr txBox="1"/>
          <p:nvPr/>
        </p:nvSpPr>
        <p:spPr>
          <a:xfrm>
            <a:off x="2246553" y="1840043"/>
            <a:ext cx="968748" cy="184666"/>
          </a:xfrm>
          <a:prstGeom prst="rect">
            <a:avLst/>
          </a:prstGeom>
          <a:noFill/>
        </p:spPr>
        <p:txBody>
          <a:bodyPr wrap="square" lIns="0" tIns="0" rIns="0" bIns="0">
            <a:spAutoFit/>
          </a:bodyPr>
          <a:lstStyle/>
          <a:p>
            <a:r>
              <a:rPr lang="en-US" sz="1200" b="1">
                <a:solidFill>
                  <a:srgbClr val="62B5E5"/>
                </a:solidFill>
                <a:latin typeface="Open Sans" panose="020B0606030504020204" pitchFamily="34" charset="0"/>
                <a:ea typeface="Open Sans" panose="020B0606030504020204" pitchFamily="34" charset="0"/>
                <a:cs typeface="Open Sans" panose="020B0606030504020204" pitchFamily="34" charset="0"/>
              </a:rPr>
              <a:t>STEP 2</a:t>
            </a:r>
          </a:p>
        </p:txBody>
      </p:sp>
      <p:sp>
        <p:nvSpPr>
          <p:cNvPr id="148" name="TextBox 147">
            <a:extLst>
              <a:ext uri="{FF2B5EF4-FFF2-40B4-BE49-F238E27FC236}">
                <a16:creationId xmlns:a16="http://schemas.microsoft.com/office/drawing/2014/main" id="{362EE7D7-33E4-8CA3-358F-44B9C3F98A81}"/>
              </a:ext>
            </a:extLst>
          </p:cNvPr>
          <p:cNvSpPr txBox="1"/>
          <p:nvPr/>
        </p:nvSpPr>
        <p:spPr>
          <a:xfrm>
            <a:off x="3667306" y="1840043"/>
            <a:ext cx="968748" cy="184666"/>
          </a:xfrm>
          <a:prstGeom prst="rect">
            <a:avLst/>
          </a:prstGeom>
          <a:noFill/>
        </p:spPr>
        <p:txBody>
          <a:bodyPr wrap="square" lIns="0" tIns="0" rIns="0" bIns="0">
            <a:spAutoFit/>
          </a:bodyPr>
          <a:lstStyle/>
          <a:p>
            <a:r>
              <a:rPr lang="en-US" sz="1200" b="1">
                <a:solidFill>
                  <a:srgbClr val="62B5E5"/>
                </a:solidFill>
                <a:latin typeface="Open Sans" panose="020B0606030504020204" pitchFamily="34" charset="0"/>
                <a:ea typeface="Open Sans" panose="020B0606030504020204" pitchFamily="34" charset="0"/>
                <a:cs typeface="Open Sans" panose="020B0606030504020204" pitchFamily="34" charset="0"/>
              </a:rPr>
              <a:t>STEP 3</a:t>
            </a:r>
          </a:p>
        </p:txBody>
      </p:sp>
      <p:sp>
        <p:nvSpPr>
          <p:cNvPr id="149" name="TextBox 148">
            <a:extLst>
              <a:ext uri="{FF2B5EF4-FFF2-40B4-BE49-F238E27FC236}">
                <a16:creationId xmlns:a16="http://schemas.microsoft.com/office/drawing/2014/main" id="{06FA80DB-4D1B-466E-3EBE-DA20BC9CB2B7}"/>
              </a:ext>
            </a:extLst>
          </p:cNvPr>
          <p:cNvSpPr txBox="1"/>
          <p:nvPr/>
        </p:nvSpPr>
        <p:spPr>
          <a:xfrm>
            <a:off x="2246553" y="2151480"/>
            <a:ext cx="2033343" cy="184666"/>
          </a:xfrm>
          <a:prstGeom prst="rect">
            <a:avLst/>
          </a:prstGeom>
          <a:noFill/>
        </p:spPr>
        <p:txBody>
          <a:bodyPr wrap="square" lIns="0" tIns="0" rIns="0" bIns="0">
            <a:spAutoFit/>
          </a:bodyPr>
          <a:lstStyle/>
          <a:p>
            <a:r>
              <a:rPr lang="en-US" sz="1200">
                <a:solidFill>
                  <a:sysClr val="windowText" lastClr="000000">
                    <a:hueOff val="0"/>
                    <a:satOff val="0"/>
                    <a:lumOff val="0"/>
                    <a:alphaOff val="0"/>
                  </a:sysClr>
                </a:solidFill>
                <a:latin typeface="Open Sans Light" panose="020B0306030504020204" pitchFamily="34" charset="0"/>
                <a:ea typeface="Open Sans Light" panose="020B0306030504020204" pitchFamily="34" charset="0"/>
                <a:cs typeface="Open Sans Light" panose="020B0306030504020204" pitchFamily="34" charset="0"/>
              </a:rPr>
              <a:t>Optimization</a:t>
            </a:r>
          </a:p>
        </p:txBody>
      </p:sp>
      <p:sp>
        <p:nvSpPr>
          <p:cNvPr id="150" name="TextBox 149">
            <a:extLst>
              <a:ext uri="{FF2B5EF4-FFF2-40B4-BE49-F238E27FC236}">
                <a16:creationId xmlns:a16="http://schemas.microsoft.com/office/drawing/2014/main" id="{9E72BC43-1662-3DF1-E6DA-93BD013009DF}"/>
              </a:ext>
            </a:extLst>
          </p:cNvPr>
          <p:cNvSpPr txBox="1"/>
          <p:nvPr/>
        </p:nvSpPr>
        <p:spPr>
          <a:xfrm>
            <a:off x="3667306" y="2151480"/>
            <a:ext cx="917581" cy="553998"/>
          </a:xfrm>
          <a:prstGeom prst="rect">
            <a:avLst/>
          </a:prstGeom>
          <a:noFill/>
        </p:spPr>
        <p:txBody>
          <a:bodyPr wrap="square" lIns="0" tIns="0" rIns="0" bIns="0">
            <a:spAutoFit/>
          </a:bodyPr>
          <a:lstStyle/>
          <a:p>
            <a:r>
              <a:rPr lang="en-US" sz="1200">
                <a:solidFill>
                  <a:sysClr val="windowText" lastClr="000000">
                    <a:hueOff val="0"/>
                    <a:satOff val="0"/>
                    <a:lumOff val="0"/>
                    <a:alphaOff val="0"/>
                  </a:sysClr>
                </a:solidFill>
                <a:latin typeface="Open Sans Light" panose="020B0306030504020204" pitchFamily="34" charset="0"/>
                <a:ea typeface="Open Sans Light" panose="020B0306030504020204" pitchFamily="34" charset="0"/>
                <a:cs typeface="Open Sans Light" panose="020B0306030504020204" pitchFamily="34" charset="0"/>
              </a:rPr>
              <a:t>Path to innovation &amp; automation</a:t>
            </a:r>
          </a:p>
        </p:txBody>
      </p:sp>
      <p:sp>
        <p:nvSpPr>
          <p:cNvPr id="151" name="Isosceles Triangle 11">
            <a:extLst>
              <a:ext uri="{FF2B5EF4-FFF2-40B4-BE49-F238E27FC236}">
                <a16:creationId xmlns:a16="http://schemas.microsoft.com/office/drawing/2014/main" id="{CED9EFED-F3D9-E329-04BD-A784BA2D99DE}"/>
              </a:ext>
            </a:extLst>
          </p:cNvPr>
          <p:cNvSpPr/>
          <p:nvPr/>
        </p:nvSpPr>
        <p:spPr bwMode="gray">
          <a:xfrm rot="5400000">
            <a:off x="1594898" y="1765097"/>
            <a:ext cx="426932" cy="333518"/>
          </a:xfrm>
          <a:prstGeom prst="triangle">
            <a:avLst/>
          </a:prstGeom>
          <a:gradFill>
            <a:gsLst>
              <a:gs pos="0">
                <a:sysClr val="window" lastClr="FFFFFF">
                  <a:alpha val="0"/>
                </a:sysClr>
              </a:gs>
              <a:gs pos="99000">
                <a:srgbClr val="62B5E5"/>
              </a:gs>
            </a:gsLst>
            <a:lin ang="14400000" scaled="0"/>
          </a:gra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2" name="Isosceles Triangle 11">
            <a:extLst>
              <a:ext uri="{FF2B5EF4-FFF2-40B4-BE49-F238E27FC236}">
                <a16:creationId xmlns:a16="http://schemas.microsoft.com/office/drawing/2014/main" id="{3938AF33-9F56-4828-88A8-868A21EE96DD}"/>
              </a:ext>
            </a:extLst>
          </p:cNvPr>
          <p:cNvSpPr/>
          <p:nvPr/>
        </p:nvSpPr>
        <p:spPr bwMode="gray">
          <a:xfrm rot="5400000">
            <a:off x="1747298" y="1765097"/>
            <a:ext cx="426932" cy="333518"/>
          </a:xfrm>
          <a:prstGeom prst="triangle">
            <a:avLst/>
          </a:prstGeom>
          <a:gradFill>
            <a:gsLst>
              <a:gs pos="0">
                <a:sysClr val="window" lastClr="FFFFFF">
                  <a:alpha val="0"/>
                </a:sysClr>
              </a:gs>
              <a:gs pos="99000">
                <a:srgbClr val="62B5E5">
                  <a:alpha val="29000"/>
                </a:srgbClr>
              </a:gs>
            </a:gsLst>
            <a:lin ang="14400000" scaled="0"/>
          </a:gra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3" name="Isosceles Triangle 11">
            <a:extLst>
              <a:ext uri="{FF2B5EF4-FFF2-40B4-BE49-F238E27FC236}">
                <a16:creationId xmlns:a16="http://schemas.microsoft.com/office/drawing/2014/main" id="{1612A2AD-849E-02E5-C0E5-35CAB3449A05}"/>
              </a:ext>
            </a:extLst>
          </p:cNvPr>
          <p:cNvSpPr/>
          <p:nvPr/>
        </p:nvSpPr>
        <p:spPr bwMode="gray">
          <a:xfrm rot="5400000">
            <a:off x="3066316" y="1765097"/>
            <a:ext cx="426932" cy="333518"/>
          </a:xfrm>
          <a:prstGeom prst="triangle">
            <a:avLst/>
          </a:prstGeom>
          <a:gradFill>
            <a:gsLst>
              <a:gs pos="0">
                <a:sysClr val="window" lastClr="FFFFFF">
                  <a:alpha val="0"/>
                </a:sysClr>
              </a:gs>
              <a:gs pos="99000">
                <a:srgbClr val="62B5E5"/>
              </a:gs>
            </a:gsLst>
            <a:lin ang="14400000" scaled="0"/>
          </a:gra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4" name="Isosceles Triangle 11">
            <a:extLst>
              <a:ext uri="{FF2B5EF4-FFF2-40B4-BE49-F238E27FC236}">
                <a16:creationId xmlns:a16="http://schemas.microsoft.com/office/drawing/2014/main" id="{835D5B90-DC8A-87C6-913D-CB25FFE99AA0}"/>
              </a:ext>
            </a:extLst>
          </p:cNvPr>
          <p:cNvSpPr/>
          <p:nvPr/>
        </p:nvSpPr>
        <p:spPr bwMode="gray">
          <a:xfrm rot="5400000">
            <a:off x="3218716" y="1765097"/>
            <a:ext cx="426932" cy="333518"/>
          </a:xfrm>
          <a:prstGeom prst="triangle">
            <a:avLst/>
          </a:prstGeom>
          <a:gradFill>
            <a:gsLst>
              <a:gs pos="0">
                <a:sysClr val="window" lastClr="FFFFFF">
                  <a:alpha val="0"/>
                </a:sysClr>
              </a:gs>
              <a:gs pos="99000">
                <a:srgbClr val="62B5E5">
                  <a:alpha val="29000"/>
                </a:srgbClr>
              </a:gs>
            </a:gsLst>
            <a:lin ang="14400000" scaled="0"/>
          </a:gradFill>
          <a:ln w="19050" algn="ctr">
            <a:noFill/>
            <a:miter lim="800000"/>
            <a:headEnd/>
            <a:tailEnd/>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55" name="Elbow Connector 357">
            <a:extLst>
              <a:ext uri="{FF2B5EF4-FFF2-40B4-BE49-F238E27FC236}">
                <a16:creationId xmlns:a16="http://schemas.microsoft.com/office/drawing/2014/main" id="{D18CE75A-58CF-7D8C-DA7D-86B576BA4C89}"/>
              </a:ext>
            </a:extLst>
          </p:cNvPr>
          <p:cNvCxnSpPr>
            <a:cxnSpLocks/>
          </p:cNvCxnSpPr>
          <p:nvPr/>
        </p:nvCxnSpPr>
        <p:spPr>
          <a:xfrm rot="10800000" flipV="1">
            <a:off x="5386122" y="2488837"/>
            <a:ext cx="3250156" cy="152779"/>
          </a:xfrm>
          <a:prstGeom prst="bentConnector2">
            <a:avLst/>
          </a:prstGeom>
          <a:noFill/>
          <a:ln w="19050" cap="flat" cmpd="sng" algn="ctr">
            <a:solidFill>
              <a:srgbClr val="00A1E0"/>
            </a:solidFill>
            <a:prstDash val="solid"/>
            <a:tailEnd type="triangle"/>
          </a:ln>
          <a:effectLst/>
        </p:spPr>
      </p:cxnSp>
      <p:sp>
        <p:nvSpPr>
          <p:cNvPr id="156" name="TextBox 155">
            <a:extLst>
              <a:ext uri="{FF2B5EF4-FFF2-40B4-BE49-F238E27FC236}">
                <a16:creationId xmlns:a16="http://schemas.microsoft.com/office/drawing/2014/main" id="{6E30C92C-3329-00D9-48B1-4B512DD63FB4}"/>
              </a:ext>
            </a:extLst>
          </p:cNvPr>
          <p:cNvSpPr txBox="1"/>
          <p:nvPr/>
        </p:nvSpPr>
        <p:spPr>
          <a:xfrm>
            <a:off x="6460497" y="2382720"/>
            <a:ext cx="478564" cy="241352"/>
          </a:xfrm>
          <a:prstGeom prst="rect">
            <a:avLst/>
          </a:prstGeom>
          <a:solidFill>
            <a:sysClr val="window" lastClr="FFFFFF"/>
          </a:solidFill>
        </p:spPr>
        <p:txBody>
          <a:bodyPr wrap="square" lIns="0" tIns="50929" rIns="0" bIns="50929" rtlCol="0">
            <a:spAutoFit/>
          </a:bodyPr>
          <a:lstStyle/>
          <a:p>
            <a:pPr>
              <a:defRPr/>
            </a:pPr>
            <a:r>
              <a:rPr lang="en-US" sz="900"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sym typeface="Open Sans"/>
              </a:rPr>
              <a:t>Incidents</a:t>
            </a:r>
          </a:p>
        </p:txBody>
      </p:sp>
      <p:pic>
        <p:nvPicPr>
          <p:cNvPr id="157" name="Picture 2" descr="ITIL – Techexpert International">
            <a:extLst>
              <a:ext uri="{FF2B5EF4-FFF2-40B4-BE49-F238E27FC236}">
                <a16:creationId xmlns:a16="http://schemas.microsoft.com/office/drawing/2014/main" id="{2DA4D5E4-02DD-2796-2318-84511BC2347E}"/>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684617" y="5578161"/>
            <a:ext cx="591234" cy="265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298909"/>
      </p:ext>
    </p:extLst>
  </p:cSld>
  <p:clrMapOvr>
    <a:masterClrMapping/>
  </p:clrMapOvr>
  <p:transition>
    <p:fade/>
  </p:transition>
  <p:extLst>
    <p:ext uri="{6950BFC3-D8DA-4A85-94F7-54DA5524770B}">
      <p188:commentRel xmlns:p188="http://schemas.microsoft.com/office/powerpoint/2018/8/main" r:id="rId4"/>
    </p:ext>
  </p:extLs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a:ea typeface="+mn-ea"/>
                <a:cs typeface="+mn-cs"/>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latin typeface="Open Sans Light"/>
                <a:ea typeface="Open Sans Light"/>
                <a:cs typeface="Calibri Light"/>
              </a:rPr>
              <a:t>Platform Maintenance Credential Tombstones</a:t>
            </a: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Support and Maintenance</a:t>
            </a:r>
          </a:p>
        </p:txBody>
      </p:sp>
      <p:sp>
        <p:nvSpPr>
          <p:cNvPr id="5" name="Rectangle 4">
            <a:extLst>
              <a:ext uri="{FF2B5EF4-FFF2-40B4-BE49-F238E27FC236}">
                <a16:creationId xmlns:a16="http://schemas.microsoft.com/office/drawing/2014/main" id="{23D5FFFB-7A41-86E3-5757-19AC57B1E822}"/>
              </a:ext>
            </a:extLst>
          </p:cNvPr>
          <p:cNvSpPr/>
          <p:nvPr/>
        </p:nvSpPr>
        <p:spPr bwMode="gray">
          <a:xfrm>
            <a:off x="8031211"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0" name="Rectangle 19">
            <a:extLst>
              <a:ext uri="{FF2B5EF4-FFF2-40B4-BE49-F238E27FC236}">
                <a16:creationId xmlns:a16="http://schemas.microsoft.com/office/drawing/2014/main" id="{2CC0A158-507D-267E-DD0F-2359B3CCD69A}"/>
              </a:ext>
            </a:extLst>
          </p:cNvPr>
          <p:cNvSpPr/>
          <p:nvPr/>
        </p:nvSpPr>
        <p:spPr bwMode="gray">
          <a:xfrm>
            <a:off x="8023320"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8" name="TextBox 7">
            <a:extLst>
              <a:ext uri="{FF2B5EF4-FFF2-40B4-BE49-F238E27FC236}">
                <a16:creationId xmlns:a16="http://schemas.microsoft.com/office/drawing/2014/main" id="{63282888-74DB-BEEA-8796-97E3A9B3F7BD}"/>
              </a:ext>
            </a:extLst>
          </p:cNvPr>
          <p:cNvSpPr txBox="1"/>
          <p:nvPr/>
        </p:nvSpPr>
        <p:spPr>
          <a:xfrm>
            <a:off x="8194795" y="1699835"/>
            <a:ext cx="2424997" cy="246222"/>
          </a:xfrm>
          <a:prstGeom prst="rect">
            <a:avLst/>
          </a:prstGeom>
          <a:noFill/>
        </p:spPr>
        <p:txBody>
          <a:bodyPr wrap="square" lIns="0" tIns="0" rIns="0" bIns="0" rtlCol="0" anchor="t">
            <a:noAutofit/>
          </a:bodyPr>
          <a:lstStyle/>
          <a:p>
            <a:r>
              <a:rPr lang="en-US" sz="900" b="1" dirty="0">
                <a:solidFill>
                  <a:schemeClr val="bg1"/>
                </a:solidFill>
              </a:rPr>
              <a:t>AUTOMOTIVE COMPANY</a:t>
            </a:r>
          </a:p>
        </p:txBody>
      </p:sp>
      <p:grpSp>
        <p:nvGrpSpPr>
          <p:cNvPr id="22" name="Group 21">
            <a:extLst>
              <a:ext uri="{FF2B5EF4-FFF2-40B4-BE49-F238E27FC236}">
                <a16:creationId xmlns:a16="http://schemas.microsoft.com/office/drawing/2014/main" id="{68CAB38A-8D40-D640-8DBC-A743DCC161D4}"/>
              </a:ext>
            </a:extLst>
          </p:cNvPr>
          <p:cNvGrpSpPr/>
          <p:nvPr/>
        </p:nvGrpSpPr>
        <p:grpSpPr>
          <a:xfrm>
            <a:off x="9229054" y="3339355"/>
            <a:ext cx="1704190" cy="306056"/>
            <a:chOff x="2050976" y="3519440"/>
            <a:chExt cx="1704190" cy="306056"/>
          </a:xfrm>
        </p:grpSpPr>
        <p:sp>
          <p:nvSpPr>
            <p:cNvPr id="18" name="Rectangle: Rounded Corners 17">
              <a:extLst>
                <a:ext uri="{FF2B5EF4-FFF2-40B4-BE49-F238E27FC236}">
                  <a16:creationId xmlns:a16="http://schemas.microsoft.com/office/drawing/2014/main" id="{5FBED754-A311-3D18-C57B-0CD5A35A1707}"/>
                </a:ext>
              </a:extLst>
            </p:cNvPr>
            <p:cNvSpPr/>
            <p:nvPr/>
          </p:nvSpPr>
          <p:spPr bwMode="gray">
            <a:xfrm>
              <a:off x="2050976" y="3519440"/>
              <a:ext cx="1704190"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 name="TextBox 18">
              <a:extLst>
                <a:ext uri="{FF2B5EF4-FFF2-40B4-BE49-F238E27FC236}">
                  <a16:creationId xmlns:a16="http://schemas.microsoft.com/office/drawing/2014/main" id="{CB5E46A5-34D1-0CFA-C99E-7F55BA48EDCE}"/>
                </a:ext>
              </a:extLst>
            </p:cNvPr>
            <p:cNvSpPr txBox="1"/>
            <p:nvPr/>
          </p:nvSpPr>
          <p:spPr>
            <a:xfrm>
              <a:off x="2129352" y="3579274"/>
              <a:ext cx="1496350"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FULL STACK SUPPORT &amp; DEVOPS</a:t>
              </a:r>
              <a:endParaRPr lang="en-US" sz="800" b="1" dirty="0">
                <a:latin typeface="+mj-lt"/>
                <a:ea typeface="Open Sans Light" panose="020B0306030504020204" pitchFamily="34" charset="0"/>
                <a:cs typeface="Open Sans Light" panose="020B0306030504020204" pitchFamily="34" charset="0"/>
              </a:endParaRPr>
            </a:p>
          </p:txBody>
        </p:sp>
      </p:grpSp>
      <p:sp>
        <p:nvSpPr>
          <p:cNvPr id="129" name="TextBox 128">
            <a:extLst>
              <a:ext uri="{FF2B5EF4-FFF2-40B4-BE49-F238E27FC236}">
                <a16:creationId xmlns:a16="http://schemas.microsoft.com/office/drawing/2014/main" id="{7D51D67F-A064-D48F-02D5-A2115A22C22D}"/>
              </a:ext>
            </a:extLst>
          </p:cNvPr>
          <p:cNvSpPr txBox="1"/>
          <p:nvPr/>
        </p:nvSpPr>
        <p:spPr>
          <a:xfrm>
            <a:off x="8186041" y="2612833"/>
            <a:ext cx="2817796"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Implementation, systems and maintenance support for a streamlined release and deployment process using microservices through a CI/CD pipeline.</a:t>
            </a:r>
          </a:p>
        </p:txBody>
      </p:sp>
      <p:sp>
        <p:nvSpPr>
          <p:cNvPr id="13" name="TextBox 12">
            <a:extLst>
              <a:ext uri="{FF2B5EF4-FFF2-40B4-BE49-F238E27FC236}">
                <a16:creationId xmlns:a16="http://schemas.microsoft.com/office/drawing/2014/main" id="{D21B3168-0BF6-290F-DD93-E590EACE2EA1}"/>
              </a:ext>
            </a:extLst>
          </p:cNvPr>
          <p:cNvSpPr txBox="1"/>
          <p:nvPr/>
        </p:nvSpPr>
        <p:spPr>
          <a:xfrm>
            <a:off x="8186041" y="221534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FULL STACK SYSTEM PLATFORM AND DEVOPS SUPPORT</a:t>
            </a:r>
          </a:p>
        </p:txBody>
      </p:sp>
      <p:sp>
        <p:nvSpPr>
          <p:cNvPr id="14" name="Rectangle 13">
            <a:extLst>
              <a:ext uri="{FF2B5EF4-FFF2-40B4-BE49-F238E27FC236}">
                <a16:creationId xmlns:a16="http://schemas.microsoft.com/office/drawing/2014/main" id="{9DB648EF-8476-4A03-2C11-9178E2030D2C}"/>
              </a:ext>
            </a:extLst>
          </p:cNvPr>
          <p:cNvSpPr/>
          <p:nvPr/>
        </p:nvSpPr>
        <p:spPr bwMode="gray">
          <a:xfrm>
            <a:off x="1012681"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39" name="Rectangle 38">
            <a:extLst>
              <a:ext uri="{FF2B5EF4-FFF2-40B4-BE49-F238E27FC236}">
                <a16:creationId xmlns:a16="http://schemas.microsoft.com/office/drawing/2014/main" id="{30E643F9-9AFB-7F1D-A760-95B452450FC8}"/>
              </a:ext>
            </a:extLst>
          </p:cNvPr>
          <p:cNvSpPr/>
          <p:nvPr/>
        </p:nvSpPr>
        <p:spPr bwMode="gray">
          <a:xfrm>
            <a:off x="1014518"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40" name="TextBox 39">
            <a:extLst>
              <a:ext uri="{FF2B5EF4-FFF2-40B4-BE49-F238E27FC236}">
                <a16:creationId xmlns:a16="http://schemas.microsoft.com/office/drawing/2014/main" id="{0438F638-92A7-4437-0857-B8718F77E13A}"/>
              </a:ext>
            </a:extLst>
          </p:cNvPr>
          <p:cNvSpPr txBox="1"/>
          <p:nvPr/>
        </p:nvSpPr>
        <p:spPr>
          <a:xfrm>
            <a:off x="1147081" y="1699835"/>
            <a:ext cx="2424997" cy="246222"/>
          </a:xfrm>
          <a:prstGeom prst="rect">
            <a:avLst/>
          </a:prstGeom>
          <a:noFill/>
        </p:spPr>
        <p:txBody>
          <a:bodyPr wrap="square" lIns="0" tIns="0" rIns="0" bIns="0" rtlCol="0" anchor="t">
            <a:noAutofit/>
          </a:bodyPr>
          <a:lstStyle/>
          <a:p>
            <a:r>
              <a:rPr lang="ro-RO" sz="900" b="1" dirty="0">
                <a:solidFill>
                  <a:schemeClr val="bg1"/>
                </a:solidFill>
              </a:rPr>
              <a:t>INTERNATIONAL </a:t>
            </a:r>
            <a:r>
              <a:rPr lang="en-US" sz="900" b="1" dirty="0">
                <a:solidFill>
                  <a:schemeClr val="bg1"/>
                </a:solidFill>
              </a:rPr>
              <a:t>FINANCIAL </a:t>
            </a:r>
            <a:r>
              <a:rPr lang="ro-RO" sz="900" b="1" dirty="0">
                <a:solidFill>
                  <a:schemeClr val="bg1"/>
                </a:solidFill>
              </a:rPr>
              <a:t>COMPANY </a:t>
            </a:r>
            <a:endParaRPr lang="en-US" sz="900" b="1" dirty="0">
              <a:solidFill>
                <a:schemeClr val="bg1"/>
              </a:solidFill>
            </a:endParaRPr>
          </a:p>
        </p:txBody>
      </p:sp>
      <p:sp>
        <p:nvSpPr>
          <p:cNvPr id="122" name="Flowchart: Connector 121">
            <a:extLst>
              <a:ext uri="{FF2B5EF4-FFF2-40B4-BE49-F238E27FC236}">
                <a16:creationId xmlns:a16="http://schemas.microsoft.com/office/drawing/2014/main" id="{7D3078D8-E59C-B6FB-EF19-6FC84FFF05EC}"/>
              </a:ext>
            </a:extLst>
          </p:cNvPr>
          <p:cNvSpPr/>
          <p:nvPr/>
        </p:nvSpPr>
        <p:spPr bwMode="gray">
          <a:xfrm>
            <a:off x="3659356" y="1570071"/>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24" name="Group 531">
            <a:extLst>
              <a:ext uri="{FF2B5EF4-FFF2-40B4-BE49-F238E27FC236}">
                <a16:creationId xmlns:a16="http://schemas.microsoft.com/office/drawing/2014/main" id="{1F6AE038-CADC-C2F9-6D79-AFF8180F4732}"/>
              </a:ext>
            </a:extLst>
          </p:cNvPr>
          <p:cNvGrpSpPr>
            <a:grpSpLocks noChangeAspect="1"/>
          </p:cNvGrpSpPr>
          <p:nvPr/>
        </p:nvGrpSpPr>
        <p:grpSpPr bwMode="auto">
          <a:xfrm>
            <a:off x="3641897" y="1518743"/>
            <a:ext cx="489164" cy="489164"/>
            <a:chOff x="3061" y="1953"/>
            <a:chExt cx="340" cy="340"/>
          </a:xfrm>
          <a:solidFill>
            <a:srgbClr val="9DD4CF"/>
          </a:solidFill>
        </p:grpSpPr>
        <p:sp>
          <p:nvSpPr>
            <p:cNvPr id="125"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2" name="Group 141">
            <a:extLst>
              <a:ext uri="{FF2B5EF4-FFF2-40B4-BE49-F238E27FC236}">
                <a16:creationId xmlns:a16="http://schemas.microsoft.com/office/drawing/2014/main" id="{B180359B-0667-661C-787D-E013F443D110}"/>
              </a:ext>
            </a:extLst>
          </p:cNvPr>
          <p:cNvGrpSpPr/>
          <p:nvPr/>
        </p:nvGrpSpPr>
        <p:grpSpPr>
          <a:xfrm>
            <a:off x="2210524" y="3339355"/>
            <a:ext cx="1704190" cy="306056"/>
            <a:chOff x="2050976" y="3519440"/>
            <a:chExt cx="1704190" cy="306056"/>
          </a:xfrm>
        </p:grpSpPr>
        <p:sp>
          <p:nvSpPr>
            <p:cNvPr id="143" name="Rectangle: Rounded Corners 142">
              <a:extLst>
                <a:ext uri="{FF2B5EF4-FFF2-40B4-BE49-F238E27FC236}">
                  <a16:creationId xmlns:a16="http://schemas.microsoft.com/office/drawing/2014/main" id="{EF5B7140-15FD-0460-4881-C713C8767A08}"/>
                </a:ext>
              </a:extLst>
            </p:cNvPr>
            <p:cNvSpPr/>
            <p:nvPr/>
          </p:nvSpPr>
          <p:spPr bwMode="gray">
            <a:xfrm>
              <a:off x="2050976" y="3519440"/>
              <a:ext cx="1704190"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4" name="TextBox 143">
              <a:extLst>
                <a:ext uri="{FF2B5EF4-FFF2-40B4-BE49-F238E27FC236}">
                  <a16:creationId xmlns:a16="http://schemas.microsoft.com/office/drawing/2014/main" id="{B1FD2A87-B822-C52F-A05B-735E59FE3A4A}"/>
                </a:ext>
              </a:extLst>
            </p:cNvPr>
            <p:cNvSpPr txBox="1"/>
            <p:nvPr/>
          </p:nvSpPr>
          <p:spPr>
            <a:xfrm>
              <a:off x="224493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DATA OPERATIONS</a:t>
              </a:r>
              <a:endParaRPr lang="en-US" sz="800" b="1" dirty="0">
                <a:latin typeface="+mj-lt"/>
                <a:ea typeface="Open Sans Light" panose="020B0306030504020204" pitchFamily="34" charset="0"/>
                <a:cs typeface="Open Sans Light" panose="020B0306030504020204" pitchFamily="34" charset="0"/>
              </a:endParaRPr>
            </a:p>
          </p:txBody>
        </p:sp>
      </p:grpSp>
      <p:sp>
        <p:nvSpPr>
          <p:cNvPr id="145" name="TextBox 144">
            <a:extLst>
              <a:ext uri="{FF2B5EF4-FFF2-40B4-BE49-F238E27FC236}">
                <a16:creationId xmlns:a16="http://schemas.microsoft.com/office/drawing/2014/main" id="{883D69FE-0988-760E-0D05-72A43C585874}"/>
              </a:ext>
            </a:extLst>
          </p:cNvPr>
          <p:cNvSpPr txBox="1"/>
          <p:nvPr/>
        </p:nvSpPr>
        <p:spPr>
          <a:xfrm>
            <a:off x="1138327" y="2612833"/>
            <a:ext cx="2780590"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Implemented and still providing automation, data operations and systems support services to an international organization enabling the client to avoid significant reputational damage.</a:t>
            </a:r>
          </a:p>
        </p:txBody>
      </p:sp>
      <p:sp>
        <p:nvSpPr>
          <p:cNvPr id="146" name="TextBox 145">
            <a:extLst>
              <a:ext uri="{FF2B5EF4-FFF2-40B4-BE49-F238E27FC236}">
                <a16:creationId xmlns:a16="http://schemas.microsoft.com/office/drawing/2014/main" id="{9C653446-6E12-F57B-15F9-1D7879EFFEE6}"/>
              </a:ext>
            </a:extLst>
          </p:cNvPr>
          <p:cNvSpPr txBox="1"/>
          <p:nvPr/>
        </p:nvSpPr>
        <p:spPr>
          <a:xfrm>
            <a:off x="1138327" y="221534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EARLY WARNING SYSTEM FOR CREDIT RISKS</a:t>
            </a:r>
          </a:p>
        </p:txBody>
      </p:sp>
      <p:sp>
        <p:nvSpPr>
          <p:cNvPr id="147" name="Rectangle 146">
            <a:extLst>
              <a:ext uri="{FF2B5EF4-FFF2-40B4-BE49-F238E27FC236}">
                <a16:creationId xmlns:a16="http://schemas.microsoft.com/office/drawing/2014/main" id="{735C1D2F-26FC-2D9A-0A41-F54EEF30FB92}"/>
              </a:ext>
            </a:extLst>
          </p:cNvPr>
          <p:cNvSpPr/>
          <p:nvPr/>
        </p:nvSpPr>
        <p:spPr bwMode="gray">
          <a:xfrm>
            <a:off x="4561134"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8" name="Rectangle 147">
            <a:extLst>
              <a:ext uri="{FF2B5EF4-FFF2-40B4-BE49-F238E27FC236}">
                <a16:creationId xmlns:a16="http://schemas.microsoft.com/office/drawing/2014/main" id="{1B6D349D-C10A-5588-8900-AF5B7C72CE8C}"/>
              </a:ext>
            </a:extLst>
          </p:cNvPr>
          <p:cNvSpPr/>
          <p:nvPr/>
        </p:nvSpPr>
        <p:spPr bwMode="gray">
          <a:xfrm>
            <a:off x="4543515"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9" name="TextBox 148">
            <a:extLst>
              <a:ext uri="{FF2B5EF4-FFF2-40B4-BE49-F238E27FC236}">
                <a16:creationId xmlns:a16="http://schemas.microsoft.com/office/drawing/2014/main" id="{DC2158EA-3D77-8F0E-2364-B8431216278E}"/>
              </a:ext>
            </a:extLst>
          </p:cNvPr>
          <p:cNvSpPr txBox="1"/>
          <p:nvPr/>
        </p:nvSpPr>
        <p:spPr>
          <a:xfrm>
            <a:off x="4695534" y="1699835"/>
            <a:ext cx="2424997" cy="246222"/>
          </a:xfrm>
          <a:prstGeom prst="rect">
            <a:avLst/>
          </a:prstGeom>
          <a:noFill/>
        </p:spPr>
        <p:txBody>
          <a:bodyPr wrap="square" lIns="0" tIns="0" rIns="0" bIns="0" rtlCol="0" anchor="t">
            <a:noAutofit/>
          </a:bodyPr>
          <a:lstStyle/>
          <a:p>
            <a:r>
              <a:rPr lang="en-US" sz="900" b="1" dirty="0">
                <a:solidFill>
                  <a:schemeClr val="bg1"/>
                </a:solidFill>
              </a:rPr>
              <a:t>AUTOMOTIVE COMPANY</a:t>
            </a:r>
          </a:p>
        </p:txBody>
      </p:sp>
      <p:sp>
        <p:nvSpPr>
          <p:cNvPr id="150" name="Flowchart: Connector 149">
            <a:extLst>
              <a:ext uri="{FF2B5EF4-FFF2-40B4-BE49-F238E27FC236}">
                <a16:creationId xmlns:a16="http://schemas.microsoft.com/office/drawing/2014/main" id="{6DE11E07-4C60-AE0B-A881-64DD14025476}"/>
              </a:ext>
            </a:extLst>
          </p:cNvPr>
          <p:cNvSpPr/>
          <p:nvPr/>
        </p:nvSpPr>
        <p:spPr bwMode="gray">
          <a:xfrm>
            <a:off x="7207809" y="1570071"/>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54" name="Group 153">
            <a:extLst>
              <a:ext uri="{FF2B5EF4-FFF2-40B4-BE49-F238E27FC236}">
                <a16:creationId xmlns:a16="http://schemas.microsoft.com/office/drawing/2014/main" id="{E2A9F0D2-8AFF-73E2-3D78-5E5D4D7F20DB}"/>
              </a:ext>
            </a:extLst>
          </p:cNvPr>
          <p:cNvGrpSpPr/>
          <p:nvPr/>
        </p:nvGrpSpPr>
        <p:grpSpPr>
          <a:xfrm>
            <a:off x="5758977" y="3339355"/>
            <a:ext cx="1704190" cy="306056"/>
            <a:chOff x="2050976" y="3519440"/>
            <a:chExt cx="1704190" cy="306056"/>
          </a:xfrm>
        </p:grpSpPr>
        <p:sp>
          <p:nvSpPr>
            <p:cNvPr id="155" name="Rectangle: Rounded Corners 154">
              <a:extLst>
                <a:ext uri="{FF2B5EF4-FFF2-40B4-BE49-F238E27FC236}">
                  <a16:creationId xmlns:a16="http://schemas.microsoft.com/office/drawing/2014/main" id="{36C419E1-E418-3805-D1CE-7C41B27D8B01}"/>
                </a:ext>
              </a:extLst>
            </p:cNvPr>
            <p:cNvSpPr/>
            <p:nvPr/>
          </p:nvSpPr>
          <p:spPr bwMode="gray">
            <a:xfrm>
              <a:off x="2050976" y="3519440"/>
              <a:ext cx="1704190"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56" name="TextBox 155">
              <a:extLst>
                <a:ext uri="{FF2B5EF4-FFF2-40B4-BE49-F238E27FC236}">
                  <a16:creationId xmlns:a16="http://schemas.microsoft.com/office/drawing/2014/main" id="{2B4D19C9-4D65-FC1B-FA7E-44DA9CD9BC9B}"/>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DATA OPERATIONS</a:t>
              </a:r>
              <a:endParaRPr lang="en-US" sz="800" b="1" dirty="0">
                <a:latin typeface="+mj-lt"/>
                <a:ea typeface="Open Sans Light" panose="020B0306030504020204" pitchFamily="34" charset="0"/>
                <a:cs typeface="Open Sans Light" panose="020B0306030504020204" pitchFamily="34" charset="0"/>
              </a:endParaRPr>
            </a:p>
          </p:txBody>
        </p:sp>
      </p:grpSp>
      <p:sp>
        <p:nvSpPr>
          <p:cNvPr id="157" name="TextBox 156">
            <a:extLst>
              <a:ext uri="{FF2B5EF4-FFF2-40B4-BE49-F238E27FC236}">
                <a16:creationId xmlns:a16="http://schemas.microsoft.com/office/drawing/2014/main" id="{1ECD6F58-A535-A242-FE13-BC47D85F11BD}"/>
              </a:ext>
            </a:extLst>
          </p:cNvPr>
          <p:cNvSpPr txBox="1"/>
          <p:nvPr/>
        </p:nvSpPr>
        <p:spPr>
          <a:xfrm>
            <a:off x="4706235" y="2612833"/>
            <a:ext cx="2879518"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Delivered and still providing data operations and systems support services to a number of international automotive companies to enable compliance with regulatory reporting.</a:t>
            </a:r>
          </a:p>
        </p:txBody>
      </p:sp>
      <p:sp>
        <p:nvSpPr>
          <p:cNvPr id="158" name="TextBox 157">
            <a:extLst>
              <a:ext uri="{FF2B5EF4-FFF2-40B4-BE49-F238E27FC236}">
                <a16:creationId xmlns:a16="http://schemas.microsoft.com/office/drawing/2014/main" id="{0D684CFD-E92B-65A3-52C0-5F36B58274E6}"/>
              </a:ext>
            </a:extLst>
          </p:cNvPr>
          <p:cNvSpPr txBox="1"/>
          <p:nvPr/>
        </p:nvSpPr>
        <p:spPr>
          <a:xfrm>
            <a:off x="4706235" y="2215344"/>
            <a:ext cx="2529523" cy="233109"/>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a:spcAft>
                <a:spcPts val="1000"/>
              </a:spcAft>
            </a:pPr>
            <a:r>
              <a:rPr lang="en-US" sz="900" b="1" dirty="0">
                <a:solidFill>
                  <a:srgbClr val="00B0F2"/>
                </a:solidFill>
                <a:ea typeface="Open Sans Light" panose="020B0306030504020204" pitchFamily="34" charset="0"/>
                <a:cs typeface="Open Sans Light" panose="020B0306030504020204" pitchFamily="34" charset="0"/>
              </a:rPr>
              <a:t>REGULATORY REPORTING SOLUTION</a:t>
            </a:r>
          </a:p>
        </p:txBody>
      </p:sp>
      <p:sp>
        <p:nvSpPr>
          <p:cNvPr id="161" name="Rectangle 160">
            <a:extLst>
              <a:ext uri="{FF2B5EF4-FFF2-40B4-BE49-F238E27FC236}">
                <a16:creationId xmlns:a16="http://schemas.microsoft.com/office/drawing/2014/main" id="{188F9994-5227-1AF7-B863-35AB42AF2865}"/>
              </a:ext>
            </a:extLst>
          </p:cNvPr>
          <p:cNvSpPr/>
          <p:nvPr/>
        </p:nvSpPr>
        <p:spPr bwMode="gray">
          <a:xfrm>
            <a:off x="968905" y="4462318"/>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2" name="Rectangle 161">
            <a:extLst>
              <a:ext uri="{FF2B5EF4-FFF2-40B4-BE49-F238E27FC236}">
                <a16:creationId xmlns:a16="http://schemas.microsoft.com/office/drawing/2014/main" id="{3567DDAE-BD14-2D38-5110-561C65945373}"/>
              </a:ext>
            </a:extLst>
          </p:cNvPr>
          <p:cNvSpPr/>
          <p:nvPr/>
        </p:nvSpPr>
        <p:spPr bwMode="gray">
          <a:xfrm>
            <a:off x="961014" y="4011965"/>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3" name="TextBox 162">
            <a:extLst>
              <a:ext uri="{FF2B5EF4-FFF2-40B4-BE49-F238E27FC236}">
                <a16:creationId xmlns:a16="http://schemas.microsoft.com/office/drawing/2014/main" id="{757556D0-82C4-571F-7019-F245A0C20034}"/>
              </a:ext>
            </a:extLst>
          </p:cNvPr>
          <p:cNvSpPr txBox="1"/>
          <p:nvPr/>
        </p:nvSpPr>
        <p:spPr>
          <a:xfrm>
            <a:off x="1103305" y="4161790"/>
            <a:ext cx="2424997" cy="246222"/>
          </a:xfrm>
          <a:prstGeom prst="rect">
            <a:avLst/>
          </a:prstGeom>
          <a:noFill/>
        </p:spPr>
        <p:txBody>
          <a:bodyPr wrap="square" lIns="0" tIns="0" rIns="0" bIns="0" rtlCol="0" anchor="t">
            <a:noAutofit/>
          </a:bodyPr>
          <a:lstStyle/>
          <a:p>
            <a:r>
              <a:rPr lang="en-US" sz="900" b="1" dirty="0">
                <a:solidFill>
                  <a:schemeClr val="bg1"/>
                </a:solidFill>
              </a:rPr>
              <a:t>GLOBAL ONLINE RETAILER</a:t>
            </a:r>
          </a:p>
        </p:txBody>
      </p:sp>
      <p:sp>
        <p:nvSpPr>
          <p:cNvPr id="164" name="Flowchart: Connector 163">
            <a:extLst>
              <a:ext uri="{FF2B5EF4-FFF2-40B4-BE49-F238E27FC236}">
                <a16:creationId xmlns:a16="http://schemas.microsoft.com/office/drawing/2014/main" id="{2FD0A1D8-DFFF-25E5-CA52-9E218A46EC4B}"/>
              </a:ext>
            </a:extLst>
          </p:cNvPr>
          <p:cNvSpPr/>
          <p:nvPr/>
        </p:nvSpPr>
        <p:spPr bwMode="gray">
          <a:xfrm>
            <a:off x="3615579" y="403202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68" name="Group 167">
            <a:extLst>
              <a:ext uri="{FF2B5EF4-FFF2-40B4-BE49-F238E27FC236}">
                <a16:creationId xmlns:a16="http://schemas.microsoft.com/office/drawing/2014/main" id="{D7F91792-5860-35C1-FA34-74717D3E82E1}"/>
              </a:ext>
            </a:extLst>
          </p:cNvPr>
          <p:cNvGrpSpPr/>
          <p:nvPr/>
        </p:nvGrpSpPr>
        <p:grpSpPr>
          <a:xfrm>
            <a:off x="2166748" y="5791582"/>
            <a:ext cx="1704190" cy="306056"/>
            <a:chOff x="2050976" y="3519440"/>
            <a:chExt cx="1704190" cy="306056"/>
          </a:xfrm>
        </p:grpSpPr>
        <p:sp>
          <p:nvSpPr>
            <p:cNvPr id="169" name="Rectangle: Rounded Corners 168">
              <a:extLst>
                <a:ext uri="{FF2B5EF4-FFF2-40B4-BE49-F238E27FC236}">
                  <a16:creationId xmlns:a16="http://schemas.microsoft.com/office/drawing/2014/main" id="{B9510B86-02F5-E550-4EA2-8C825D733FF7}"/>
                </a:ext>
              </a:extLst>
            </p:cNvPr>
            <p:cNvSpPr/>
            <p:nvPr/>
          </p:nvSpPr>
          <p:spPr bwMode="gray">
            <a:xfrm>
              <a:off x="2050976" y="3519440"/>
              <a:ext cx="1704190"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0" name="TextBox 169">
              <a:extLst>
                <a:ext uri="{FF2B5EF4-FFF2-40B4-BE49-F238E27FC236}">
                  <a16:creationId xmlns:a16="http://schemas.microsoft.com/office/drawing/2014/main" id="{8A287CEA-6E97-4A48-7049-3C04FDD3118F}"/>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SUPPORT &amp; MAINTENANCE</a:t>
              </a:r>
              <a:endParaRPr lang="en-US" sz="800" b="1" dirty="0">
                <a:latin typeface="+mj-lt"/>
                <a:ea typeface="Open Sans Light" panose="020B0306030504020204" pitchFamily="34" charset="0"/>
                <a:cs typeface="Open Sans Light" panose="020B0306030504020204" pitchFamily="34" charset="0"/>
              </a:endParaRPr>
            </a:p>
          </p:txBody>
        </p:sp>
      </p:grpSp>
      <p:sp>
        <p:nvSpPr>
          <p:cNvPr id="171" name="TextBox 170">
            <a:extLst>
              <a:ext uri="{FF2B5EF4-FFF2-40B4-BE49-F238E27FC236}">
                <a16:creationId xmlns:a16="http://schemas.microsoft.com/office/drawing/2014/main" id="{721D9BC5-87A7-1A57-DB42-619A9F8D967F}"/>
              </a:ext>
            </a:extLst>
          </p:cNvPr>
          <p:cNvSpPr txBox="1"/>
          <p:nvPr/>
        </p:nvSpPr>
        <p:spPr>
          <a:xfrm>
            <a:off x="1104279" y="5074786"/>
            <a:ext cx="2534326"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System support and maintenance services to enhance operational efficiency through customized HRIS solution alignment, reducing manual work and streamlining processes.</a:t>
            </a:r>
          </a:p>
        </p:txBody>
      </p:sp>
      <p:sp>
        <p:nvSpPr>
          <p:cNvPr id="172" name="TextBox 171">
            <a:extLst>
              <a:ext uri="{FF2B5EF4-FFF2-40B4-BE49-F238E27FC236}">
                <a16:creationId xmlns:a16="http://schemas.microsoft.com/office/drawing/2014/main" id="{27A02338-5481-10EB-2D56-5C27F9FE461C}"/>
              </a:ext>
            </a:extLst>
          </p:cNvPr>
          <p:cNvSpPr txBox="1"/>
          <p:nvPr/>
        </p:nvSpPr>
        <p:spPr>
          <a:xfrm>
            <a:off x="1104279" y="4667571"/>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HRIS SOLUTION PLATFORM SUPPORT</a:t>
            </a:r>
          </a:p>
        </p:txBody>
      </p:sp>
      <p:grpSp>
        <p:nvGrpSpPr>
          <p:cNvPr id="173" name="Group 172">
            <a:extLst>
              <a:ext uri="{FF2B5EF4-FFF2-40B4-BE49-F238E27FC236}">
                <a16:creationId xmlns:a16="http://schemas.microsoft.com/office/drawing/2014/main" id="{E732E4DD-B9DB-2CE0-0BF8-F48C1FBED926}"/>
              </a:ext>
            </a:extLst>
          </p:cNvPr>
          <p:cNvGrpSpPr/>
          <p:nvPr/>
        </p:nvGrpSpPr>
        <p:grpSpPr>
          <a:xfrm>
            <a:off x="3591661" y="3981789"/>
            <a:ext cx="492328" cy="493776"/>
            <a:chOff x="7366067" y="6713969"/>
            <a:chExt cx="492328" cy="493776"/>
          </a:xfrm>
        </p:grpSpPr>
        <p:sp>
          <p:nvSpPr>
            <p:cNvPr id="15" name="Flowchart: Connector 14">
              <a:extLst>
                <a:ext uri="{FF2B5EF4-FFF2-40B4-BE49-F238E27FC236}">
                  <a16:creationId xmlns:a16="http://schemas.microsoft.com/office/drawing/2014/main" id="{118F51FE-FC01-3FA7-F009-CF92B097BE5D}"/>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11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77" name="Rectangle 176">
            <a:extLst>
              <a:ext uri="{FF2B5EF4-FFF2-40B4-BE49-F238E27FC236}">
                <a16:creationId xmlns:a16="http://schemas.microsoft.com/office/drawing/2014/main" id="{9C5C4AF6-D554-A9B6-6DAA-8CD5DDB69248}"/>
              </a:ext>
            </a:extLst>
          </p:cNvPr>
          <p:cNvSpPr/>
          <p:nvPr/>
        </p:nvSpPr>
        <p:spPr bwMode="gray">
          <a:xfrm>
            <a:off x="4578635" y="4462318"/>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8" name="Rectangle 177">
            <a:extLst>
              <a:ext uri="{FF2B5EF4-FFF2-40B4-BE49-F238E27FC236}">
                <a16:creationId xmlns:a16="http://schemas.microsoft.com/office/drawing/2014/main" id="{B4C022AC-E05C-58B4-20E8-4BFAF8CB8531}"/>
              </a:ext>
            </a:extLst>
          </p:cNvPr>
          <p:cNvSpPr/>
          <p:nvPr/>
        </p:nvSpPr>
        <p:spPr bwMode="gray">
          <a:xfrm>
            <a:off x="4570744" y="4011965"/>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9" name="TextBox 178">
            <a:extLst>
              <a:ext uri="{FF2B5EF4-FFF2-40B4-BE49-F238E27FC236}">
                <a16:creationId xmlns:a16="http://schemas.microsoft.com/office/drawing/2014/main" id="{D84CF974-E33C-3D3E-31AE-70E6D82CDD9C}"/>
              </a:ext>
            </a:extLst>
          </p:cNvPr>
          <p:cNvSpPr txBox="1"/>
          <p:nvPr/>
        </p:nvSpPr>
        <p:spPr>
          <a:xfrm>
            <a:off x="4713035" y="4161790"/>
            <a:ext cx="2424997" cy="246222"/>
          </a:xfrm>
          <a:prstGeom prst="rect">
            <a:avLst/>
          </a:prstGeom>
          <a:noFill/>
        </p:spPr>
        <p:txBody>
          <a:bodyPr wrap="square" lIns="0" tIns="0" rIns="0" bIns="0" rtlCol="0" anchor="t">
            <a:noAutofit/>
          </a:bodyPr>
          <a:lstStyle/>
          <a:p>
            <a:r>
              <a:rPr lang="en-US" sz="900" b="1" dirty="0">
                <a:solidFill>
                  <a:schemeClr val="bg1"/>
                </a:solidFill>
              </a:rPr>
              <a:t>FINANCIAL SERVICES</a:t>
            </a:r>
          </a:p>
        </p:txBody>
      </p:sp>
      <p:grpSp>
        <p:nvGrpSpPr>
          <p:cNvPr id="181" name="Group 180">
            <a:extLst>
              <a:ext uri="{FF2B5EF4-FFF2-40B4-BE49-F238E27FC236}">
                <a16:creationId xmlns:a16="http://schemas.microsoft.com/office/drawing/2014/main" id="{50BCF8BE-2304-AADC-E51C-2EDE5860C917}"/>
              </a:ext>
            </a:extLst>
          </p:cNvPr>
          <p:cNvGrpSpPr/>
          <p:nvPr/>
        </p:nvGrpSpPr>
        <p:grpSpPr>
          <a:xfrm>
            <a:off x="5776478" y="5791582"/>
            <a:ext cx="1704190" cy="296328"/>
            <a:chOff x="2050976" y="3519440"/>
            <a:chExt cx="1704190" cy="296328"/>
          </a:xfrm>
        </p:grpSpPr>
        <p:sp>
          <p:nvSpPr>
            <p:cNvPr id="182" name="Rectangle: Rounded Corners 181">
              <a:extLst>
                <a:ext uri="{FF2B5EF4-FFF2-40B4-BE49-F238E27FC236}">
                  <a16:creationId xmlns:a16="http://schemas.microsoft.com/office/drawing/2014/main" id="{EF4FEBC4-5D7A-CB1B-588E-3B0D417A3DBB}"/>
                </a:ext>
              </a:extLst>
            </p:cNvPr>
            <p:cNvSpPr/>
            <p:nvPr/>
          </p:nvSpPr>
          <p:spPr bwMode="gray">
            <a:xfrm>
              <a:off x="2050976" y="3519440"/>
              <a:ext cx="1704190" cy="232476"/>
            </a:xfrm>
            <a:prstGeom prst="roundRect">
              <a:avLst/>
            </a:prstGeom>
            <a:solidFill>
              <a:srgbClr val="CCEEEE"/>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83" name="TextBox 182">
              <a:extLst>
                <a:ext uri="{FF2B5EF4-FFF2-40B4-BE49-F238E27FC236}">
                  <a16:creationId xmlns:a16="http://schemas.microsoft.com/office/drawing/2014/main" id="{A36145F1-FD25-E19A-4EE6-AD3BAF02EAF0}"/>
                </a:ext>
              </a:extLst>
            </p:cNvPr>
            <p:cNvSpPr txBox="1"/>
            <p:nvPr/>
          </p:nvSpPr>
          <p:spPr>
            <a:xfrm>
              <a:off x="2165090" y="3569546"/>
              <a:ext cx="1491410"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CLOUD OPERATIONS &amp; SUPPORT</a:t>
              </a:r>
              <a:endParaRPr lang="en-US" sz="800" b="1" dirty="0">
                <a:latin typeface="+mj-lt"/>
                <a:ea typeface="Open Sans Light" panose="020B0306030504020204" pitchFamily="34" charset="0"/>
                <a:cs typeface="Open Sans Light" panose="020B0306030504020204" pitchFamily="34" charset="0"/>
              </a:endParaRPr>
            </a:p>
          </p:txBody>
        </p:sp>
      </p:grpSp>
      <p:sp>
        <p:nvSpPr>
          <p:cNvPr id="184" name="TextBox 183">
            <a:extLst>
              <a:ext uri="{FF2B5EF4-FFF2-40B4-BE49-F238E27FC236}">
                <a16:creationId xmlns:a16="http://schemas.microsoft.com/office/drawing/2014/main" id="{61027E31-F5C0-5145-59D9-67AB5008D491}"/>
              </a:ext>
            </a:extLst>
          </p:cNvPr>
          <p:cNvSpPr txBox="1"/>
          <p:nvPr/>
        </p:nvSpPr>
        <p:spPr>
          <a:xfrm>
            <a:off x="4723737" y="5074786"/>
            <a:ext cx="2534326"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Implementation and support of a comprehensive solution for IFRS9 &amp; IFRS17 for annual reporting and credit risk analysis, including Enhancement support for all future releases.</a:t>
            </a:r>
          </a:p>
        </p:txBody>
      </p:sp>
      <p:sp>
        <p:nvSpPr>
          <p:cNvPr id="185" name="TextBox 184">
            <a:extLst>
              <a:ext uri="{FF2B5EF4-FFF2-40B4-BE49-F238E27FC236}">
                <a16:creationId xmlns:a16="http://schemas.microsoft.com/office/drawing/2014/main" id="{DB5DBAE5-F587-03D9-60B5-FC50DEF1E19E}"/>
              </a:ext>
            </a:extLst>
          </p:cNvPr>
          <p:cNvSpPr txBox="1"/>
          <p:nvPr/>
        </p:nvSpPr>
        <p:spPr>
          <a:xfrm>
            <a:off x="4723737" y="4667571"/>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FINWARE CLOUD SOLUTION SUPPORT</a:t>
            </a:r>
          </a:p>
        </p:txBody>
      </p:sp>
      <p:sp>
        <p:nvSpPr>
          <p:cNvPr id="194" name="TextBox 193">
            <a:extLst>
              <a:ext uri="{FF2B5EF4-FFF2-40B4-BE49-F238E27FC236}">
                <a16:creationId xmlns:a16="http://schemas.microsoft.com/office/drawing/2014/main" id="{7C8711B0-6613-5BFE-B7E2-028ACB12F17E}"/>
              </a:ext>
            </a:extLst>
          </p:cNvPr>
          <p:cNvSpPr txBox="1"/>
          <p:nvPr/>
        </p:nvSpPr>
        <p:spPr>
          <a:xfrm>
            <a:off x="8173745" y="4161790"/>
            <a:ext cx="2424997" cy="246222"/>
          </a:xfrm>
          <a:prstGeom prst="rect">
            <a:avLst/>
          </a:prstGeom>
          <a:noFill/>
        </p:spPr>
        <p:txBody>
          <a:bodyPr wrap="square" lIns="0" tIns="0" rIns="0" bIns="0" rtlCol="0" anchor="t">
            <a:noAutofit/>
          </a:bodyPr>
          <a:lstStyle/>
          <a:p>
            <a:r>
              <a:rPr lang="en-US" sz="900" b="1" dirty="0">
                <a:solidFill>
                  <a:schemeClr val="bg1"/>
                </a:solidFill>
              </a:rPr>
              <a:t>RETAIL BANK IN HUNGARY</a:t>
            </a:r>
          </a:p>
        </p:txBody>
      </p:sp>
      <p:sp>
        <p:nvSpPr>
          <p:cNvPr id="152" name="Freeform 532">
            <a:extLst>
              <a:ext uri="{FF2B5EF4-FFF2-40B4-BE49-F238E27FC236}">
                <a16:creationId xmlns:a16="http://schemas.microsoft.com/office/drawing/2014/main" id="{B86E1DE2-9142-A18E-38F0-AFA5403DC36B}"/>
              </a:ext>
            </a:extLst>
          </p:cNvPr>
          <p:cNvSpPr>
            <a:spLocks noEditPoints="1"/>
          </p:cNvSpPr>
          <p:nvPr/>
        </p:nvSpPr>
        <p:spPr bwMode="auto">
          <a:xfrm>
            <a:off x="7190350" y="1518743"/>
            <a:ext cx="489164" cy="489164"/>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9DD4C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533">
            <a:extLst>
              <a:ext uri="{FF2B5EF4-FFF2-40B4-BE49-F238E27FC236}">
                <a16:creationId xmlns:a16="http://schemas.microsoft.com/office/drawing/2014/main" id="{055940D6-F3BC-6FFA-CEA2-DCF07EE8891E}"/>
              </a:ext>
            </a:extLst>
          </p:cNvPr>
          <p:cNvSpPr>
            <a:spLocks noEditPoints="1"/>
          </p:cNvSpPr>
          <p:nvPr/>
        </p:nvSpPr>
        <p:spPr bwMode="auto">
          <a:xfrm>
            <a:off x="7190350" y="1518743"/>
            <a:ext cx="489164" cy="489164"/>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Oval 6">
            <a:extLst>
              <a:ext uri="{FF2B5EF4-FFF2-40B4-BE49-F238E27FC236}">
                <a16:creationId xmlns:a16="http://schemas.microsoft.com/office/drawing/2014/main" id="{DF33C17F-9788-2FA1-A8CF-1EAACB4C1F33}"/>
              </a:ext>
            </a:extLst>
          </p:cNvPr>
          <p:cNvSpPr/>
          <p:nvPr/>
        </p:nvSpPr>
        <p:spPr bwMode="gray">
          <a:xfrm>
            <a:off x="7218945" y="1547705"/>
            <a:ext cx="431483" cy="421693"/>
          </a:xfrm>
          <a:prstGeom prst="ellipse">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14" descr="See the source image">
            <a:extLst>
              <a:ext uri="{FF2B5EF4-FFF2-40B4-BE49-F238E27FC236}">
                <a16:creationId xmlns:a16="http://schemas.microsoft.com/office/drawing/2014/main" id="{6047CAE3-DC18-CD9B-2628-C7B4320F2A6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233442" y="1665206"/>
            <a:ext cx="407132" cy="165053"/>
          </a:xfrm>
          <a:prstGeom prst="rect">
            <a:avLst/>
          </a:prstGeom>
          <a:noFill/>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2ED8A3D-ABA4-9CE6-9D9C-F54C9A533574}"/>
              </a:ext>
            </a:extLst>
          </p:cNvPr>
          <p:cNvSpPr/>
          <p:nvPr/>
        </p:nvSpPr>
        <p:spPr bwMode="gray">
          <a:xfrm>
            <a:off x="10766314" y="1542134"/>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sp>
        <p:nvSpPr>
          <p:cNvPr id="3" name="Freeform 532">
            <a:extLst>
              <a:ext uri="{FF2B5EF4-FFF2-40B4-BE49-F238E27FC236}">
                <a16:creationId xmlns:a16="http://schemas.microsoft.com/office/drawing/2014/main" id="{A36C6C33-3BC1-53F0-507A-5320049D0AE5}"/>
              </a:ext>
            </a:extLst>
          </p:cNvPr>
          <p:cNvSpPr>
            <a:spLocks noEditPoints="1"/>
          </p:cNvSpPr>
          <p:nvPr/>
        </p:nvSpPr>
        <p:spPr bwMode="auto">
          <a:xfrm>
            <a:off x="10748855" y="1490806"/>
            <a:ext cx="489164" cy="489164"/>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9DD4C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533">
            <a:extLst>
              <a:ext uri="{FF2B5EF4-FFF2-40B4-BE49-F238E27FC236}">
                <a16:creationId xmlns:a16="http://schemas.microsoft.com/office/drawing/2014/main" id="{2214BC6E-D849-6584-5BD5-058C1645D1D0}"/>
              </a:ext>
            </a:extLst>
          </p:cNvPr>
          <p:cNvSpPr>
            <a:spLocks noEditPoints="1"/>
          </p:cNvSpPr>
          <p:nvPr/>
        </p:nvSpPr>
        <p:spPr bwMode="auto">
          <a:xfrm>
            <a:off x="10748855" y="1490806"/>
            <a:ext cx="489164" cy="489164"/>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Oval 10">
            <a:extLst>
              <a:ext uri="{FF2B5EF4-FFF2-40B4-BE49-F238E27FC236}">
                <a16:creationId xmlns:a16="http://schemas.microsoft.com/office/drawing/2014/main" id="{522F0A4D-4D44-77F4-0254-3500823378E1}"/>
              </a:ext>
            </a:extLst>
          </p:cNvPr>
          <p:cNvSpPr/>
          <p:nvPr/>
        </p:nvSpPr>
        <p:spPr bwMode="gray">
          <a:xfrm>
            <a:off x="10777450" y="1519768"/>
            <a:ext cx="431483" cy="421693"/>
          </a:xfrm>
          <a:prstGeom prst="ellipse">
            <a:avLst/>
          </a:prstGeom>
          <a:solidFill>
            <a:srgbClr val="00B0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2" name="Picture 14" descr="See the source image">
            <a:extLst>
              <a:ext uri="{FF2B5EF4-FFF2-40B4-BE49-F238E27FC236}">
                <a16:creationId xmlns:a16="http://schemas.microsoft.com/office/drawing/2014/main" id="{CCE7EDE3-DE5A-C8F0-830E-770D29F1DA3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91947" y="1637269"/>
            <a:ext cx="407132" cy="165053"/>
          </a:xfrm>
          <a:prstGeom prst="rect">
            <a:avLst/>
          </a:prstGeom>
          <a:noFill/>
          <a:extLst>
            <a:ext uri="{909E8E84-426E-40DD-AFC4-6F175D3DCCD1}">
              <a14:hiddenFill xmlns:a14="http://schemas.microsoft.com/office/drawing/2010/main">
                <a:solidFill>
                  <a:srgbClr val="FFFFFF"/>
                </a:solidFill>
              </a14:hiddenFill>
            </a:ext>
          </a:extLst>
        </p:spPr>
      </p:pic>
      <p:sp>
        <p:nvSpPr>
          <p:cNvPr id="25" name="Flowchart: Connector 24">
            <a:extLst>
              <a:ext uri="{FF2B5EF4-FFF2-40B4-BE49-F238E27FC236}">
                <a16:creationId xmlns:a16="http://schemas.microsoft.com/office/drawing/2014/main" id="{467A0006-3825-BCC6-0FB4-D1D71B61D3E0}"/>
              </a:ext>
            </a:extLst>
          </p:cNvPr>
          <p:cNvSpPr/>
          <p:nvPr/>
        </p:nvSpPr>
        <p:spPr bwMode="gray">
          <a:xfrm>
            <a:off x="7207809" y="4031151"/>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26" name="Group 531">
            <a:extLst>
              <a:ext uri="{FF2B5EF4-FFF2-40B4-BE49-F238E27FC236}">
                <a16:creationId xmlns:a16="http://schemas.microsoft.com/office/drawing/2014/main" id="{E056FE6C-B4C8-381B-EEE2-000E9F22C428}"/>
              </a:ext>
            </a:extLst>
          </p:cNvPr>
          <p:cNvGrpSpPr>
            <a:grpSpLocks noChangeAspect="1"/>
          </p:cNvGrpSpPr>
          <p:nvPr/>
        </p:nvGrpSpPr>
        <p:grpSpPr bwMode="auto">
          <a:xfrm>
            <a:off x="7190350" y="3979823"/>
            <a:ext cx="489164" cy="489164"/>
            <a:chOff x="3061" y="1953"/>
            <a:chExt cx="340" cy="340"/>
          </a:xfrm>
          <a:solidFill>
            <a:srgbClr val="9DD4CF"/>
          </a:solidFill>
        </p:grpSpPr>
        <p:sp>
          <p:nvSpPr>
            <p:cNvPr id="27" name="Freeform 532">
              <a:extLst>
                <a:ext uri="{FF2B5EF4-FFF2-40B4-BE49-F238E27FC236}">
                  <a16:creationId xmlns:a16="http://schemas.microsoft.com/office/drawing/2014/main" id="{3073CDF4-7A49-E560-9793-87BA3392F97C}"/>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33">
              <a:extLst>
                <a:ext uri="{FF2B5EF4-FFF2-40B4-BE49-F238E27FC236}">
                  <a16:creationId xmlns:a16="http://schemas.microsoft.com/office/drawing/2014/main" id="{A8BAFE06-B6FA-DA3C-1998-D1A11A2ABAC1}"/>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8723428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hu-HU"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Data and </a:t>
            </a:r>
            <a:r>
              <a:rPr lang="hu-HU" b="1" dirty="0" err="1">
                <a:latin typeface="Open Sans SemiBold" panose="020B0606030504020204" pitchFamily="34" charset="0"/>
                <a:ea typeface="Open Sans SemiBold" panose="020B0606030504020204" pitchFamily="34" charset="0"/>
                <a:cs typeface="Open Sans SemiBold" panose="020B0606030504020204" pitchFamily="34" charset="0"/>
                <a:sym typeface="+mj-lt"/>
              </a:rPr>
              <a:t>Analytics</a:t>
            </a:r>
            <a:r>
              <a:rPr lang="hu-HU"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 </a:t>
            </a:r>
            <a:r>
              <a:rPr lang="hu-HU" b="1" dirty="0" err="1">
                <a:latin typeface="Open Sans SemiBold" panose="020B0606030504020204" pitchFamily="34" charset="0"/>
                <a:ea typeface="Open Sans SemiBold" panose="020B0606030504020204" pitchFamily="34" charset="0"/>
                <a:cs typeface="Open Sans SemiBold" panose="020B0606030504020204" pitchFamily="34" charset="0"/>
                <a:sym typeface="+mj-lt"/>
              </a:rPr>
              <a:t>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2.</a:t>
            </a:r>
            <a:endParaRPr lang="en-GB" dirty="0"/>
          </a:p>
        </p:txBody>
      </p:sp>
      <p:sp>
        <p:nvSpPr>
          <p:cNvPr id="3" name="Text Placeholder 2">
            <a:extLst>
              <a:ext uri="{FF2B5EF4-FFF2-40B4-BE49-F238E27FC236}">
                <a16:creationId xmlns:a16="http://schemas.microsoft.com/office/drawing/2014/main" id="{D5DFE534-312F-E73B-FAA1-9A1F68722B8F}"/>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07980547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3603213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1226" y="-874260"/>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sp>
        <p:nvSpPr>
          <p:cNvPr id="116" name="TextBox 115">
            <a:extLst>
              <a:ext uri="{FF2B5EF4-FFF2-40B4-BE49-F238E27FC236}">
                <a16:creationId xmlns:a16="http://schemas.microsoft.com/office/drawing/2014/main" id="{02E34383-661C-C618-987F-A3294B419082}"/>
              </a:ext>
            </a:extLst>
          </p:cNvPr>
          <p:cNvSpPr txBox="1"/>
          <p:nvPr/>
        </p:nvSpPr>
        <p:spPr>
          <a:xfrm>
            <a:off x="4780872" y="3969587"/>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17" name="TextBox 116">
            <a:extLst>
              <a:ext uri="{FF2B5EF4-FFF2-40B4-BE49-F238E27FC236}">
                <a16:creationId xmlns:a16="http://schemas.microsoft.com/office/drawing/2014/main" id="{D2AB7B86-37A0-5305-1968-8E63507CC80F}"/>
              </a:ext>
            </a:extLst>
          </p:cNvPr>
          <p:cNvSpPr txBox="1"/>
          <p:nvPr/>
        </p:nvSpPr>
        <p:spPr>
          <a:xfrm>
            <a:off x="6441102" y="4300133"/>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0" name="Rectangle 9">
            <a:extLst>
              <a:ext uri="{FF2B5EF4-FFF2-40B4-BE49-F238E27FC236}">
                <a16:creationId xmlns:a16="http://schemas.microsoft.com/office/drawing/2014/main" id="{FA0CC134-109C-8FE4-CB2F-D0F9D8849D9F}"/>
              </a:ext>
            </a:extLst>
          </p:cNvPr>
          <p:cNvSpPr/>
          <p:nvPr/>
        </p:nvSpPr>
        <p:spPr bwMode="gray">
          <a:xfrm>
            <a:off x="0" y="-3820"/>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02935" y="4948567"/>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02934" y="3077054"/>
            <a:ext cx="159639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6"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95228" y="-85904"/>
            <a:ext cx="1725898" cy="1484272"/>
          </a:xfrm>
          <a:prstGeom prst="rect">
            <a:avLst/>
          </a:prstGeom>
        </p:spPr>
      </p:pic>
      <p:sp>
        <p:nvSpPr>
          <p:cNvPr id="41" name="Rectangle: Rounded Corners 40">
            <a:extLst>
              <a:ext uri="{FF2B5EF4-FFF2-40B4-BE49-F238E27FC236}">
                <a16:creationId xmlns:a16="http://schemas.microsoft.com/office/drawing/2014/main" id="{9E1A5677-B5F0-B102-E3C6-47103D928637}"/>
              </a:ext>
            </a:extLst>
          </p:cNvPr>
          <p:cNvSpPr/>
          <p:nvPr/>
        </p:nvSpPr>
        <p:spPr bwMode="gray">
          <a:xfrm>
            <a:off x="4097197" y="3165999"/>
            <a:ext cx="2282465"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90550"/>
            <a:ext cx="3277570"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dirty="0">
                <a:latin typeface="+mn-lt"/>
              </a:rPr>
              <a:t>Data and Analytics</a:t>
            </a:r>
          </a:p>
          <a:p>
            <a:r>
              <a:rPr lang="en-US" sz="2000" dirty="0">
                <a:latin typeface="+mn-lt"/>
              </a:rPr>
              <a:t>Services</a:t>
            </a:r>
          </a:p>
        </p:txBody>
      </p:sp>
      <p:sp>
        <p:nvSpPr>
          <p:cNvPr id="6" name="TextBox 5">
            <a:extLst>
              <a:ext uri="{FF2B5EF4-FFF2-40B4-BE49-F238E27FC236}">
                <a16:creationId xmlns:a16="http://schemas.microsoft.com/office/drawing/2014/main" id="{FAEF6724-E8B7-7C0B-158A-01A618E22EC0}"/>
              </a:ext>
            </a:extLst>
          </p:cNvPr>
          <p:cNvSpPr txBox="1"/>
          <p:nvPr/>
        </p:nvSpPr>
        <p:spPr>
          <a:xfrm>
            <a:off x="1064626" y="3122371"/>
            <a:ext cx="1498191" cy="246222"/>
          </a:xfrm>
          <a:prstGeom prst="rect">
            <a:avLst/>
          </a:prstGeom>
          <a:noFill/>
        </p:spPr>
        <p:txBody>
          <a:bodyPr wrap="square" lIns="0" tIns="0" rIns="0" bIns="0" rtlCol="0" anchor="t">
            <a:noAutofit/>
          </a:bodyPr>
          <a:lstStyle/>
          <a:p>
            <a:r>
              <a:rPr lang="en-US" sz="900" b="1" dirty="0">
                <a:ea typeface="Open Sans Light" panose="020B0306030504020204" pitchFamily="34" charset="0"/>
                <a:cs typeface="Open Sans Light" panose="020B0306030504020204" pitchFamily="34" charset="0"/>
              </a:rPr>
              <a:t>DATA GOVERNANCE AND</a:t>
            </a:r>
          </a:p>
          <a:p>
            <a:r>
              <a:rPr lang="en-US" sz="900" b="1" dirty="0">
                <a:ea typeface="Open Sans Light" panose="020B0306030504020204" pitchFamily="34" charset="0"/>
                <a:cs typeface="Open Sans Light" panose="020B0306030504020204" pitchFamily="34" charset="0"/>
              </a:rPr>
              <a:t>DATA PRIVACY</a:t>
            </a:r>
            <a:endParaRPr lang="en-US" sz="900" b="0" i="0"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p>
            <a:endParaRPr lang="en-US" sz="900" b="1" dirty="0">
              <a:latin typeface="+mj-lt"/>
              <a:ea typeface="Open Sans Light" panose="020B0306030504020204" pitchFamily="34" charset="0"/>
              <a:cs typeface="Open Sans Light" panose="020B0306030504020204" pitchFamily="34" charset="0"/>
            </a:endParaRP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chemeClr val="bg1"/>
                </a:solidFill>
                <a:latin typeface="Open Sans"/>
              </a:rPr>
              <a:t>SUBCHAPTERS</a:t>
            </a:r>
            <a:endParaRPr kumimoji="0" lang="en-US" sz="1200" b="1" i="0" u="none" strike="noStrike" kern="1200" cap="none" spc="300" normalizeH="0" baseline="0" dirty="0">
              <a:ln>
                <a:noFill/>
              </a:ln>
              <a:solidFill>
                <a:schemeClr val="bg1"/>
              </a:solidFill>
              <a:effectLst/>
              <a:uLnTx/>
              <a:uFillTx/>
              <a:latin typeface="Open Sans"/>
            </a:endParaRPr>
          </a:p>
        </p:txBody>
      </p:sp>
      <p:sp>
        <p:nvSpPr>
          <p:cNvPr id="15" name="Rectangle 14">
            <a:extLst>
              <a:ext uri="{FF2B5EF4-FFF2-40B4-BE49-F238E27FC236}">
                <a16:creationId xmlns:a16="http://schemas.microsoft.com/office/drawing/2014/main" id="{3EB57B1D-83EB-0D0B-449F-EC60EBAFDE32}"/>
              </a:ext>
            </a:extLst>
          </p:cNvPr>
          <p:cNvSpPr/>
          <p:nvPr/>
        </p:nvSpPr>
        <p:spPr>
          <a:xfrm>
            <a:off x="9540595" y="2012605"/>
            <a:ext cx="1153293"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a:solidFill>
                  <a:srgbClr val="000000"/>
                </a:solidFill>
                <a:latin typeface="Open Sans"/>
                <a:ea typeface="Open Sans"/>
                <a:cs typeface="Open Sans"/>
              </a:rPr>
              <a:t>Vartik Péter</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mj-lt"/>
                <a:ea typeface="Open Sans"/>
                <a:cs typeface="Open Sans"/>
              </a:rPr>
              <a:t>Director</a:t>
            </a:r>
            <a:endParaRPr lang="en-US" sz="1200" b="0" i="0" u="none" strike="noStrike" kern="1200" cap="none" spc="0" normalizeH="0" baseline="0" dirty="0">
              <a:ln>
                <a:noFill/>
              </a:ln>
              <a:solidFill>
                <a:srgbClr val="000000"/>
              </a:solidFill>
              <a:effectLst/>
              <a:uLnTx/>
              <a:uFillTx/>
              <a:latin typeface="+mj-lt"/>
              <a:ea typeface="Open Sans"/>
              <a:cs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dirty="0">
                <a:latin typeface="Open Sans"/>
              </a:rPr>
              <a:t>METHODOLOGIES</a:t>
            </a:r>
            <a:endParaRPr kumimoji="0" lang="en-US" sz="1200" b="0" i="1" u="none" strike="noStrike" kern="1200" cap="none" spc="600" normalizeH="0" baseline="0" dirty="0">
              <a:ln>
                <a:noFill/>
              </a:ln>
              <a:effectLst/>
              <a:uLnTx/>
              <a:uFillTx/>
              <a:latin typeface="Open San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a:endCxn id="47" idx="4"/>
          </p:cNvCxnSpPr>
          <p:nvPr/>
        </p:nvCxnSpPr>
        <p:spPr>
          <a:xfrm>
            <a:off x="877822" y="2903048"/>
            <a:ext cx="0" cy="32370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31515" y="320285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058355" y="4173492"/>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63" name="TextBox 62">
            <a:extLst>
              <a:ext uri="{FF2B5EF4-FFF2-40B4-BE49-F238E27FC236}">
                <a16:creationId xmlns:a16="http://schemas.microsoft.com/office/drawing/2014/main" id="{D6BCE08A-2010-C3CE-D191-C533EB4153F8}"/>
              </a:ext>
            </a:extLst>
          </p:cNvPr>
          <p:cNvSpPr txBox="1"/>
          <p:nvPr/>
        </p:nvSpPr>
        <p:spPr>
          <a:xfrm>
            <a:off x="3879952" y="4118311"/>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67" name="TextBox 66">
            <a:extLst>
              <a:ext uri="{FF2B5EF4-FFF2-40B4-BE49-F238E27FC236}">
                <a16:creationId xmlns:a16="http://schemas.microsoft.com/office/drawing/2014/main" id="{D7A9173E-42C8-E19F-56C2-0DA2BD60D004}"/>
              </a:ext>
            </a:extLst>
          </p:cNvPr>
          <p:cNvSpPr txBox="1"/>
          <p:nvPr/>
        </p:nvSpPr>
        <p:spPr>
          <a:xfrm>
            <a:off x="4145574" y="3206296"/>
            <a:ext cx="2184971"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hu-HU" sz="900" b="1" dirty="0">
                <a:solidFill>
                  <a:srgbClr val="000000"/>
                </a:solidFill>
              </a:rPr>
              <a:t>Data Governance Framework</a:t>
            </a:r>
            <a:endParaRPr lang="en-US" sz="900" b="1" dirty="0">
              <a:solidFill>
                <a:srgbClr val="000000"/>
              </a:solidFill>
            </a:endParaRPr>
          </a:p>
        </p:txBody>
      </p:sp>
      <p:sp>
        <p:nvSpPr>
          <p:cNvPr id="9" name="Flowchart: Connector 8">
            <a:extLst>
              <a:ext uri="{FF2B5EF4-FFF2-40B4-BE49-F238E27FC236}">
                <a16:creationId xmlns:a16="http://schemas.microsoft.com/office/drawing/2014/main" id="{50DE5AA5-0DC5-0756-67F5-DDD818AA502A}"/>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a:p>
        </p:txBody>
      </p:sp>
      <p:sp>
        <p:nvSpPr>
          <p:cNvPr id="18" name="Rectangle 17">
            <a:extLst>
              <a:ext uri="{FF2B5EF4-FFF2-40B4-BE49-F238E27FC236}">
                <a16:creationId xmlns:a16="http://schemas.microsoft.com/office/drawing/2014/main" id="{8430F6A6-3853-F07E-1F9C-C07C76FE57E0}"/>
              </a:ext>
            </a:extLst>
          </p:cNvPr>
          <p:cNvSpPr/>
          <p:nvPr/>
        </p:nvSpPr>
        <p:spPr>
          <a:xfrm>
            <a:off x="9549544"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a:rPr>
              <a:t>CHAPTER LEAD EXPERT</a:t>
            </a:r>
            <a:endParaRPr kumimoji="0" lang="en-US" sz="1200" b="0" i="1" u="none" strike="noStrike" kern="1200" cap="none" spc="300" normalizeH="0" baseline="0" dirty="0">
              <a:ln>
                <a:noFill/>
              </a:ln>
              <a:solidFill>
                <a:srgbClr val="38B6FF"/>
              </a:solidFill>
              <a:effectLst/>
              <a:uLnTx/>
              <a:uFillTx/>
              <a:latin typeface="Open Sans"/>
            </a:endParaRPr>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02935" y="3955558"/>
            <a:ext cx="1596402"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20" name="Oval 19">
            <a:extLst>
              <a:ext uri="{FF2B5EF4-FFF2-40B4-BE49-F238E27FC236}">
                <a16:creationId xmlns:a16="http://schemas.microsoft.com/office/drawing/2014/main" id="{D83B2E23-77BE-A76A-896C-9EFB70455266}"/>
              </a:ext>
            </a:extLst>
          </p:cNvPr>
          <p:cNvSpPr/>
          <p:nvPr/>
        </p:nvSpPr>
        <p:spPr bwMode="gray">
          <a:xfrm>
            <a:off x="831515" y="4168224"/>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1" name="Oval 20">
            <a:extLst>
              <a:ext uri="{FF2B5EF4-FFF2-40B4-BE49-F238E27FC236}">
                <a16:creationId xmlns:a16="http://schemas.microsoft.com/office/drawing/2014/main" id="{D219154D-E203-927A-E17E-7821D7AFA343}"/>
              </a:ext>
            </a:extLst>
          </p:cNvPr>
          <p:cNvSpPr/>
          <p:nvPr/>
        </p:nvSpPr>
        <p:spPr bwMode="gray">
          <a:xfrm>
            <a:off x="831515" y="507672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3" name="TextBox 22">
            <a:extLst>
              <a:ext uri="{FF2B5EF4-FFF2-40B4-BE49-F238E27FC236}">
                <a16:creationId xmlns:a16="http://schemas.microsoft.com/office/drawing/2014/main" id="{71042AB0-6C28-0519-0123-4B35425F7BBA}"/>
              </a:ext>
            </a:extLst>
          </p:cNvPr>
          <p:cNvSpPr txBox="1"/>
          <p:nvPr/>
        </p:nvSpPr>
        <p:spPr>
          <a:xfrm>
            <a:off x="1074112" y="4065668"/>
            <a:ext cx="1533638" cy="246222"/>
          </a:xfrm>
          <a:prstGeom prst="rect">
            <a:avLst/>
          </a:prstGeom>
          <a:noFill/>
        </p:spPr>
        <p:txBody>
          <a:bodyPr wrap="square" lIns="0" tIns="0" rIns="0" bIns="0" rtlCol="0" anchor="t">
            <a:noAutofit/>
          </a:bodyPr>
          <a:lstStyle/>
          <a:p>
            <a:pPr>
              <a:spcAft>
                <a:spcPts val="1000"/>
              </a:spcAft>
            </a:pPr>
            <a:r>
              <a:rPr lang="en-US" sz="900" b="1" dirty="0">
                <a:ea typeface="Open Sans Light" panose="020B0306030504020204" pitchFamily="34" charset="0"/>
                <a:cs typeface="Open Sans Light" panose="020B0306030504020204" pitchFamily="34" charset="0"/>
              </a:rPr>
              <a:t>DATA ENGINEERING</a:t>
            </a:r>
            <a:endParaRPr lang="en-US" sz="900" b="0" i="0"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a:spcAft>
                <a:spcPts val="1000"/>
              </a:spcAft>
            </a:pPr>
            <a:endParaRPr lang="en-US" sz="900" b="1" dirty="0">
              <a:latin typeface="+mj-lt"/>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id="{5C8FF9D1-C272-F408-C331-07E40145140C}"/>
              </a:ext>
            </a:extLst>
          </p:cNvPr>
          <p:cNvSpPr txBox="1"/>
          <p:nvPr/>
        </p:nvSpPr>
        <p:spPr>
          <a:xfrm>
            <a:off x="1065689" y="5052553"/>
            <a:ext cx="1436292" cy="246222"/>
          </a:xfrm>
          <a:prstGeom prst="rect">
            <a:avLst/>
          </a:prstGeom>
          <a:noFill/>
        </p:spPr>
        <p:txBody>
          <a:bodyPr wrap="square" lIns="0" tIns="0" rIns="0" bIns="0" rtlCol="0" anchor="t">
            <a:noAutofit/>
          </a:bodyPr>
          <a:lstStyle/>
          <a:p>
            <a:pPr>
              <a:spcAft>
                <a:spcPts val="1000"/>
              </a:spcAft>
            </a:pPr>
            <a:r>
              <a:rPr lang="en-US" sz="900" b="1" dirty="0">
                <a:ea typeface="Open Sans Light" panose="020B0306030504020204" pitchFamily="34" charset="0"/>
                <a:cs typeface="Open Sans Light" panose="020B0306030504020204" pitchFamily="34" charset="0"/>
              </a:rPr>
              <a:t>BUSINESS INTELLIGENCE</a:t>
            </a:r>
            <a:endParaRPr lang="en-US" sz="900" b="0" i="0"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a:spcAft>
                <a:spcPts val="1000"/>
              </a:spcAft>
            </a:pPr>
            <a:endParaRPr lang="en-US" sz="900" b="1" dirty="0">
              <a:latin typeface="+mj-lt"/>
              <a:ea typeface="Open Sans Light" panose="020B0306030504020204" pitchFamily="34" charset="0"/>
              <a:cs typeface="Open Sans Light" panose="020B0306030504020204" pitchFamily="34" charset="0"/>
            </a:endParaRPr>
          </a:p>
        </p:txBody>
      </p:sp>
      <p:sp>
        <p:nvSpPr>
          <p:cNvPr id="29" name="Rectangle 28">
            <a:extLst>
              <a:ext uri="{FF2B5EF4-FFF2-40B4-BE49-F238E27FC236}">
                <a16:creationId xmlns:a16="http://schemas.microsoft.com/office/drawing/2014/main" id="{A0EA1D85-BC3F-FAC8-2BFC-942D1FD0A743}"/>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i="1" spc="300" dirty="0">
                <a:latin typeface="Open Sans"/>
              </a:rPr>
              <a:t>EXPERTS IN HUNGARY</a:t>
            </a:r>
            <a:endParaRPr kumimoji="0" lang="en-US" sz="900" i="1" u="none" strike="noStrike" kern="1200" cap="none" spc="300" normalizeH="0" baseline="0" dirty="0">
              <a:ln>
                <a:noFill/>
              </a:ln>
              <a:effectLst/>
              <a:uLnTx/>
              <a:uFillTx/>
              <a:latin typeface="Open Sans"/>
            </a:endParaRPr>
          </a:p>
        </p:txBody>
      </p:sp>
      <p:sp>
        <p:nvSpPr>
          <p:cNvPr id="39" name="Rectangle 38">
            <a:extLst>
              <a:ext uri="{FF2B5EF4-FFF2-40B4-BE49-F238E27FC236}">
                <a16:creationId xmlns:a16="http://schemas.microsoft.com/office/drawing/2014/main" id="{270E9DDD-5620-1667-261F-4D49395404A1}"/>
              </a:ext>
            </a:extLst>
          </p:cNvPr>
          <p:cNvSpPr/>
          <p:nvPr/>
        </p:nvSpPr>
        <p:spPr>
          <a:xfrm>
            <a:off x="10569691" y="4813208"/>
            <a:ext cx="745993"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1" u="none" strike="noStrike" kern="1200" cap="none" spc="300" normalizeH="0" baseline="0" dirty="0">
                <a:ln>
                  <a:noFill/>
                </a:ln>
                <a:effectLst/>
                <a:uLnTx/>
                <a:uFillTx/>
                <a:latin typeface="Open Sans"/>
              </a:rPr>
              <a:t>15</a:t>
            </a:r>
          </a:p>
        </p:txBody>
      </p:sp>
      <p:sp>
        <p:nvSpPr>
          <p:cNvPr id="47" name="Oval 46">
            <a:extLst>
              <a:ext uri="{FF2B5EF4-FFF2-40B4-BE49-F238E27FC236}">
                <a16:creationId xmlns:a16="http://schemas.microsoft.com/office/drawing/2014/main" id="{6058C288-3E9D-1798-0463-2C85C18A75D9}"/>
              </a:ext>
            </a:extLst>
          </p:cNvPr>
          <p:cNvSpPr/>
          <p:nvPr/>
        </p:nvSpPr>
        <p:spPr bwMode="gray">
          <a:xfrm>
            <a:off x="831515" y="6032131"/>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79" name="TextBox 78">
            <a:extLst>
              <a:ext uri="{FF2B5EF4-FFF2-40B4-BE49-F238E27FC236}">
                <a16:creationId xmlns:a16="http://schemas.microsoft.com/office/drawing/2014/main" id="{85D465EA-B4B6-1092-E7DC-37C3BDDC7B4B}"/>
              </a:ext>
            </a:extLst>
          </p:cNvPr>
          <p:cNvSpPr txBox="1"/>
          <p:nvPr/>
        </p:nvSpPr>
        <p:spPr>
          <a:xfrm>
            <a:off x="4145574" y="3354380"/>
            <a:ext cx="2194610" cy="49244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Deloitte’s Data Governance Framework helps to organize and structure methods and concepts around Data Governance to reach a tailor-made strategy that support GCCS’s needs.</a:t>
            </a:r>
          </a:p>
        </p:txBody>
      </p:sp>
      <p:sp>
        <p:nvSpPr>
          <p:cNvPr id="106" name="Rectangle: Rounded Corners 105">
            <a:extLst>
              <a:ext uri="{FF2B5EF4-FFF2-40B4-BE49-F238E27FC236}">
                <a16:creationId xmlns:a16="http://schemas.microsoft.com/office/drawing/2014/main" id="{203B5607-7E3F-24DA-A479-534848EB7048}"/>
              </a:ext>
            </a:extLst>
          </p:cNvPr>
          <p:cNvSpPr/>
          <p:nvPr/>
        </p:nvSpPr>
        <p:spPr bwMode="gray">
          <a:xfrm>
            <a:off x="6576485" y="3165997"/>
            <a:ext cx="2469286" cy="870458"/>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088606" y="4173568"/>
            <a:ext cx="2595879"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25" name="TextBox 124">
            <a:extLst>
              <a:ext uri="{FF2B5EF4-FFF2-40B4-BE49-F238E27FC236}">
                <a16:creationId xmlns:a16="http://schemas.microsoft.com/office/drawing/2014/main" id="{BFC289BE-3B1A-26AD-07CC-7670D2377D1C}"/>
              </a:ext>
            </a:extLst>
          </p:cNvPr>
          <p:cNvSpPr txBox="1"/>
          <p:nvPr/>
        </p:nvSpPr>
        <p:spPr>
          <a:xfrm>
            <a:off x="4136983" y="4213865"/>
            <a:ext cx="2073797"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Data Modernization</a:t>
            </a:r>
          </a:p>
        </p:txBody>
      </p:sp>
      <p:sp>
        <p:nvSpPr>
          <p:cNvPr id="126" name="TextBox 125">
            <a:extLst>
              <a:ext uri="{FF2B5EF4-FFF2-40B4-BE49-F238E27FC236}">
                <a16:creationId xmlns:a16="http://schemas.microsoft.com/office/drawing/2014/main" id="{BF7B5CCB-9160-DE5F-7993-F08D514E177C}"/>
              </a:ext>
            </a:extLst>
          </p:cNvPr>
          <p:cNvSpPr txBox="1"/>
          <p:nvPr/>
        </p:nvSpPr>
        <p:spPr>
          <a:xfrm>
            <a:off x="4136983" y="4366189"/>
            <a:ext cx="2554759" cy="492443"/>
          </a:xfrm>
          <a:prstGeom prst="rect">
            <a:avLst/>
          </a:prstGeom>
          <a:noFill/>
        </p:spPr>
        <p:txBody>
          <a:bodyPr wrap="square" lIns="0" tIns="0" rIns="0" bIns="0" rtlCol="0" anchor="t">
            <a:spAutoFit/>
          </a:bodyPr>
          <a:lstStyle/>
          <a:p>
            <a:pPr marL="0" marR="0">
              <a:spcBef>
                <a:spcPts val="0"/>
              </a:spcBef>
              <a:spcAft>
                <a:spcPts val="0"/>
              </a:spcAft>
            </a:pPr>
            <a:r>
              <a:rPr lang="en-US" sz="800" dirty="0"/>
              <a:t>Seamlessly migrate and modernize data systems, moving between on-premises and the cloud, or between cloud platforms. Leverage the scalability, high availability and performance of the cloud.</a:t>
            </a:r>
          </a:p>
        </p:txBody>
      </p:sp>
      <p:sp>
        <p:nvSpPr>
          <p:cNvPr id="140" name="Rectangle: Rounded Corners 139">
            <a:extLst>
              <a:ext uri="{FF2B5EF4-FFF2-40B4-BE49-F238E27FC236}">
                <a16:creationId xmlns:a16="http://schemas.microsoft.com/office/drawing/2014/main" id="{D9D87D48-E2A5-82B4-5DCB-DD6A6DD9B745}"/>
              </a:ext>
            </a:extLst>
          </p:cNvPr>
          <p:cNvSpPr/>
          <p:nvPr/>
        </p:nvSpPr>
        <p:spPr bwMode="gray">
          <a:xfrm>
            <a:off x="1002935" y="5929142"/>
            <a:ext cx="159640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141" name="TextBox 140">
            <a:extLst>
              <a:ext uri="{FF2B5EF4-FFF2-40B4-BE49-F238E27FC236}">
                <a16:creationId xmlns:a16="http://schemas.microsoft.com/office/drawing/2014/main" id="{12FB68F4-8C18-397A-D5C2-459A5DFE2144}"/>
              </a:ext>
            </a:extLst>
          </p:cNvPr>
          <p:cNvSpPr txBox="1"/>
          <p:nvPr/>
        </p:nvSpPr>
        <p:spPr>
          <a:xfrm>
            <a:off x="1065689" y="6033128"/>
            <a:ext cx="1479852" cy="246222"/>
          </a:xfrm>
          <a:prstGeom prst="rect">
            <a:avLst/>
          </a:prstGeom>
          <a:noFill/>
        </p:spPr>
        <p:txBody>
          <a:bodyPr wrap="square" lIns="0" tIns="0" rIns="0" bIns="0" rtlCol="0" anchor="t">
            <a:noAutofit/>
          </a:bodyPr>
          <a:lstStyle/>
          <a:p>
            <a:pPr>
              <a:spcAft>
                <a:spcPts val="1000"/>
              </a:spcAft>
            </a:pPr>
            <a:r>
              <a:rPr lang="en-US" sz="900" b="1" dirty="0">
                <a:ea typeface="Open Sans Light" panose="020B0306030504020204" pitchFamily="34" charset="0"/>
                <a:cs typeface="Open Sans Light" panose="020B0306030504020204" pitchFamily="34" charset="0"/>
              </a:rPr>
              <a:t>ADVANCED ANALYTICS</a:t>
            </a:r>
            <a:endParaRPr lang="en-US" sz="900" b="0" i="0" dirty="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a:spcAft>
                <a:spcPts val="1000"/>
              </a:spcAft>
            </a:pPr>
            <a:endParaRPr lang="en-US" sz="900" b="1" dirty="0">
              <a:latin typeface="+mj-lt"/>
              <a:ea typeface="Open Sans Light" panose="020B0306030504020204" pitchFamily="34" charset="0"/>
              <a:cs typeface="Open Sans Light" panose="020B0306030504020204" pitchFamily="34" charset="0"/>
            </a:endParaRPr>
          </a:p>
        </p:txBody>
      </p:sp>
      <p:grpSp>
        <p:nvGrpSpPr>
          <p:cNvPr id="154" name="Group 153">
            <a:extLst>
              <a:ext uri="{FF2B5EF4-FFF2-40B4-BE49-F238E27FC236}">
                <a16:creationId xmlns:a16="http://schemas.microsoft.com/office/drawing/2014/main" id="{7CCDCCF6-78BA-428F-5761-F3B50871EA19}"/>
              </a:ext>
            </a:extLst>
          </p:cNvPr>
          <p:cNvGrpSpPr/>
          <p:nvPr/>
        </p:nvGrpSpPr>
        <p:grpSpPr>
          <a:xfrm>
            <a:off x="4097198" y="6090713"/>
            <a:ext cx="1790095" cy="686652"/>
            <a:chOff x="4141469" y="4422748"/>
            <a:chExt cx="1790095" cy="686652"/>
          </a:xfrm>
        </p:grpSpPr>
        <p:sp>
          <p:nvSpPr>
            <p:cNvPr id="151" name="Rectangle: Rounded Corners 150">
              <a:extLst>
                <a:ext uri="{FF2B5EF4-FFF2-40B4-BE49-F238E27FC236}">
                  <a16:creationId xmlns:a16="http://schemas.microsoft.com/office/drawing/2014/main" id="{3C44359C-3694-CB13-5474-036E7FBC3097}"/>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52" name="TextBox 151">
              <a:extLst>
                <a:ext uri="{FF2B5EF4-FFF2-40B4-BE49-F238E27FC236}">
                  <a16:creationId xmlns:a16="http://schemas.microsoft.com/office/drawing/2014/main" id="{896D5271-B29D-2744-42B7-C97CCB3FF236}"/>
                </a:ext>
              </a:extLst>
            </p:cNvPr>
            <p:cNvSpPr txBox="1"/>
            <p:nvPr/>
          </p:nvSpPr>
          <p:spPr>
            <a:xfrm>
              <a:off x="4189846" y="4463046"/>
              <a:ext cx="174171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Predictive Analytics</a:t>
              </a:r>
            </a:p>
          </p:txBody>
        </p:sp>
        <p:sp>
          <p:nvSpPr>
            <p:cNvPr id="153" name="TextBox 152">
              <a:extLst>
                <a:ext uri="{FF2B5EF4-FFF2-40B4-BE49-F238E27FC236}">
                  <a16:creationId xmlns:a16="http://schemas.microsoft.com/office/drawing/2014/main" id="{E15E02D1-586A-D74A-DC97-A8D026CA8846}"/>
                </a:ext>
              </a:extLst>
            </p:cNvPr>
            <p:cNvSpPr txBox="1"/>
            <p:nvPr/>
          </p:nvSpPr>
          <p:spPr>
            <a:xfrm>
              <a:off x="4189845" y="4611129"/>
              <a:ext cx="1490941" cy="369332"/>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Forecasting trends and outcomes to enable proactive decision making in the organization.</a:t>
              </a:r>
            </a:p>
          </p:txBody>
        </p:sp>
      </p:grpSp>
      <p:grpSp>
        <p:nvGrpSpPr>
          <p:cNvPr id="155" name="Group 154">
            <a:extLst>
              <a:ext uri="{FF2B5EF4-FFF2-40B4-BE49-F238E27FC236}">
                <a16:creationId xmlns:a16="http://schemas.microsoft.com/office/drawing/2014/main" id="{05E439ED-BA4E-BA01-73BC-BCE7FB7706DF}"/>
              </a:ext>
            </a:extLst>
          </p:cNvPr>
          <p:cNvGrpSpPr/>
          <p:nvPr/>
        </p:nvGrpSpPr>
        <p:grpSpPr>
          <a:xfrm>
            <a:off x="4097198" y="5089408"/>
            <a:ext cx="1679450" cy="846933"/>
            <a:chOff x="4141468" y="4422747"/>
            <a:chExt cx="2282465" cy="846933"/>
          </a:xfrm>
        </p:grpSpPr>
        <p:sp>
          <p:nvSpPr>
            <p:cNvPr id="156" name="Rectangle: Rounded Corners 155">
              <a:extLst>
                <a:ext uri="{FF2B5EF4-FFF2-40B4-BE49-F238E27FC236}">
                  <a16:creationId xmlns:a16="http://schemas.microsoft.com/office/drawing/2014/main" id="{94599516-A95C-A225-3267-9BBE24217472}"/>
                </a:ext>
              </a:extLst>
            </p:cNvPr>
            <p:cNvSpPr/>
            <p:nvPr/>
          </p:nvSpPr>
          <p:spPr bwMode="gray">
            <a:xfrm>
              <a:off x="4141468" y="4422747"/>
              <a:ext cx="2282465" cy="846933"/>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57" name="TextBox 156">
              <a:extLst>
                <a:ext uri="{FF2B5EF4-FFF2-40B4-BE49-F238E27FC236}">
                  <a16:creationId xmlns:a16="http://schemas.microsoft.com/office/drawing/2014/main" id="{711772EF-E96C-2F99-95FE-9FB376C4C68C}"/>
                </a:ext>
              </a:extLst>
            </p:cNvPr>
            <p:cNvSpPr txBox="1"/>
            <p:nvPr/>
          </p:nvSpPr>
          <p:spPr>
            <a:xfrm>
              <a:off x="4189845" y="4463045"/>
              <a:ext cx="2073797"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Lovable Data Product</a:t>
              </a:r>
            </a:p>
          </p:txBody>
        </p:sp>
        <p:sp>
          <p:nvSpPr>
            <p:cNvPr id="158" name="TextBox 157">
              <a:extLst>
                <a:ext uri="{FF2B5EF4-FFF2-40B4-BE49-F238E27FC236}">
                  <a16:creationId xmlns:a16="http://schemas.microsoft.com/office/drawing/2014/main" id="{DAE1AF42-E14B-D472-7B6B-D5BFF693A04F}"/>
                </a:ext>
              </a:extLst>
            </p:cNvPr>
            <p:cNvSpPr txBox="1"/>
            <p:nvPr/>
          </p:nvSpPr>
          <p:spPr>
            <a:xfrm>
              <a:off x="4189845" y="4492918"/>
              <a:ext cx="2063669" cy="738664"/>
            </a:xfrm>
            <a:prstGeom prst="rect">
              <a:avLst/>
            </a:prstGeom>
            <a:noFill/>
          </p:spPr>
          <p:txBody>
            <a:bodyPr wrap="square" lIns="0" tIns="0" rIns="0" bIns="0" rtlCol="0" anchor="t">
              <a:spAutoFit/>
            </a:bodyPr>
            <a:lstStyle/>
            <a:p>
              <a:pPr>
                <a:spcBef>
                  <a:spcPts val="1000"/>
                </a:spcBef>
                <a:defRPr/>
              </a:pPr>
              <a:br>
                <a:rPr lang="en-US" sz="800" dirty="0">
                  <a:solidFill>
                    <a:srgbClr val="000000"/>
                  </a:solidFill>
                </a:rPr>
              </a:br>
              <a:r>
                <a:rPr lang="en-US" sz="800" dirty="0">
                  <a:solidFill>
                    <a:srgbClr val="000000"/>
                  </a:solidFill>
                </a:rPr>
                <a:t>Empowering users through intuitive design, transforming complex data into clear insights, fostering informed decisions and user satisfaction.</a:t>
              </a:r>
            </a:p>
          </p:txBody>
        </p:sp>
      </p:grpSp>
      <p:grpSp>
        <p:nvGrpSpPr>
          <p:cNvPr id="164" name="Group 163">
            <a:extLst>
              <a:ext uri="{FF2B5EF4-FFF2-40B4-BE49-F238E27FC236}">
                <a16:creationId xmlns:a16="http://schemas.microsoft.com/office/drawing/2014/main" id="{3891EAF7-136A-451D-E893-3B8170BDE569}"/>
              </a:ext>
            </a:extLst>
          </p:cNvPr>
          <p:cNvGrpSpPr/>
          <p:nvPr/>
        </p:nvGrpSpPr>
        <p:grpSpPr>
          <a:xfrm>
            <a:off x="5983074" y="5097449"/>
            <a:ext cx="1801278" cy="838892"/>
            <a:chOff x="6620756" y="3416518"/>
            <a:chExt cx="2351587" cy="838892"/>
          </a:xfrm>
        </p:grpSpPr>
        <p:sp>
          <p:nvSpPr>
            <p:cNvPr id="165" name="Rectangle: Rounded Corners 164">
              <a:extLst>
                <a:ext uri="{FF2B5EF4-FFF2-40B4-BE49-F238E27FC236}">
                  <a16:creationId xmlns:a16="http://schemas.microsoft.com/office/drawing/2014/main" id="{C8212B2A-534F-0D66-1D90-EAD3583628F9}"/>
                </a:ext>
              </a:extLst>
            </p:cNvPr>
            <p:cNvSpPr/>
            <p:nvPr/>
          </p:nvSpPr>
          <p:spPr bwMode="gray">
            <a:xfrm>
              <a:off x="6620756" y="3416518"/>
              <a:ext cx="2351587" cy="83889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6" name="TextBox 165">
              <a:extLst>
                <a:ext uri="{FF2B5EF4-FFF2-40B4-BE49-F238E27FC236}">
                  <a16:creationId xmlns:a16="http://schemas.microsoft.com/office/drawing/2014/main" id="{E10A06B5-A674-4DD9-215C-B0F71C02A331}"/>
                </a:ext>
              </a:extLst>
            </p:cNvPr>
            <p:cNvSpPr txBox="1"/>
            <p:nvPr/>
          </p:nvSpPr>
          <p:spPr>
            <a:xfrm>
              <a:off x="6697230" y="3445860"/>
              <a:ext cx="2064697"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Rapid Prototyping</a:t>
              </a:r>
            </a:p>
          </p:txBody>
        </p:sp>
        <p:sp>
          <p:nvSpPr>
            <p:cNvPr id="167" name="TextBox 166">
              <a:extLst>
                <a:ext uri="{FF2B5EF4-FFF2-40B4-BE49-F238E27FC236}">
                  <a16:creationId xmlns:a16="http://schemas.microsoft.com/office/drawing/2014/main" id="{CD924CCF-F456-4163-279E-7C349A853F75}"/>
                </a:ext>
              </a:extLst>
            </p:cNvPr>
            <p:cNvSpPr txBox="1"/>
            <p:nvPr/>
          </p:nvSpPr>
          <p:spPr>
            <a:xfrm>
              <a:off x="6697230" y="3588795"/>
              <a:ext cx="2253534" cy="492443"/>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800" dirty="0">
                  <a:solidFill>
                    <a:srgbClr val="000000"/>
                  </a:solidFill>
                </a:rPr>
                <a:t>Swiftly create functional models, enabling quick feedback, iterative testing, and faster insight-driven decision-making enhancements</a:t>
              </a:r>
            </a:p>
          </p:txBody>
        </p:sp>
      </p:grpSp>
      <p:grpSp>
        <p:nvGrpSpPr>
          <p:cNvPr id="172" name="Group 171">
            <a:extLst>
              <a:ext uri="{FF2B5EF4-FFF2-40B4-BE49-F238E27FC236}">
                <a16:creationId xmlns:a16="http://schemas.microsoft.com/office/drawing/2014/main" id="{813F559A-27B6-42EE-77B3-12F0F2E100E5}"/>
              </a:ext>
            </a:extLst>
          </p:cNvPr>
          <p:cNvGrpSpPr/>
          <p:nvPr/>
        </p:nvGrpSpPr>
        <p:grpSpPr>
          <a:xfrm>
            <a:off x="2599327" y="4076752"/>
            <a:ext cx="6337440" cy="108000"/>
            <a:chOff x="2643598" y="3290138"/>
            <a:chExt cx="633744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3B57B1E-0FF2-81CE-6E4D-CC02BA27A2AE}"/>
              </a:ext>
            </a:extLst>
          </p:cNvPr>
          <p:cNvGrpSpPr/>
          <p:nvPr/>
        </p:nvGrpSpPr>
        <p:grpSpPr>
          <a:xfrm>
            <a:off x="2599327" y="306575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8A79F5A9-611B-8C89-8D9B-C6321AEE7097}"/>
                </a:ext>
              </a:extLst>
            </p:cNvPr>
            <p:cNvSpPr/>
            <p:nvPr/>
          </p:nvSpPr>
          <p:spPr bwMode="gray">
            <a:xfrm>
              <a:off x="6628013"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id="{72397154-5CBC-AA5A-A55A-ADE4150B2893}"/>
              </a:ext>
            </a:extLst>
          </p:cNvPr>
          <p:cNvGrpSpPr/>
          <p:nvPr/>
        </p:nvGrpSpPr>
        <p:grpSpPr>
          <a:xfrm>
            <a:off x="2599327" y="5971650"/>
            <a:ext cx="6809259" cy="108000"/>
            <a:chOff x="2643598" y="3290138"/>
            <a:chExt cx="6809259" cy="108000"/>
          </a:xfrm>
        </p:grpSpPr>
        <p:cxnSp>
          <p:nvCxnSpPr>
            <p:cNvPr id="179" name="Straight Connector 178">
              <a:extLst>
                <a:ext uri="{FF2B5EF4-FFF2-40B4-BE49-F238E27FC236}">
                  <a16:creationId xmlns:a16="http://schemas.microsoft.com/office/drawing/2014/main" id="{734B58FE-0404-9F28-6619-689FBEAEFDBB}"/>
                </a:ext>
              </a:extLst>
            </p:cNvPr>
            <p:cNvCxnSpPr>
              <a:cxnSpLocks/>
            </p:cNvCxnSpPr>
            <p:nvPr/>
          </p:nvCxnSpPr>
          <p:spPr>
            <a:xfrm>
              <a:off x="3648455" y="3337206"/>
              <a:ext cx="5804402"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0" name="Oval 179">
              <a:extLst>
                <a:ext uri="{FF2B5EF4-FFF2-40B4-BE49-F238E27FC236}">
                  <a16:creationId xmlns:a16="http://schemas.microsoft.com/office/drawing/2014/main" id="{EA995530-C02A-4121-148D-92CD5258691C}"/>
                </a:ext>
              </a:extLst>
            </p:cNvPr>
            <p:cNvSpPr/>
            <p:nvPr/>
          </p:nvSpPr>
          <p:spPr bwMode="gray">
            <a:xfrm>
              <a:off x="782307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sp>
          <p:nvSpPr>
            <p:cNvPr id="181" name="Oval 180">
              <a:extLst>
                <a:ext uri="{FF2B5EF4-FFF2-40B4-BE49-F238E27FC236}">
                  <a16:creationId xmlns:a16="http://schemas.microsoft.com/office/drawing/2014/main" id="{9AC10361-92A4-2648-221C-821310928E37}"/>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82" name="Straight Connector 181">
              <a:extLst>
                <a:ext uri="{FF2B5EF4-FFF2-40B4-BE49-F238E27FC236}">
                  <a16:creationId xmlns:a16="http://schemas.microsoft.com/office/drawing/2014/main" id="{00E3558C-8A07-DC35-0327-87DC85650846}"/>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256A6D88-128F-0914-30BC-6220CF627039}"/>
                </a:ext>
              </a:extLst>
            </p:cNvPr>
            <p:cNvSpPr/>
            <p:nvPr/>
          </p:nvSpPr>
          <p:spPr bwMode="gray">
            <a:xfrm>
              <a:off x="5987360"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grpSp>
      <p:grpSp>
        <p:nvGrpSpPr>
          <p:cNvPr id="184" name="Group 183">
            <a:extLst>
              <a:ext uri="{FF2B5EF4-FFF2-40B4-BE49-F238E27FC236}">
                <a16:creationId xmlns:a16="http://schemas.microsoft.com/office/drawing/2014/main" id="{70C81E58-6CCD-442F-629F-F83D7E5611EB}"/>
              </a:ext>
            </a:extLst>
          </p:cNvPr>
          <p:cNvGrpSpPr/>
          <p:nvPr/>
        </p:nvGrpSpPr>
        <p:grpSpPr>
          <a:xfrm>
            <a:off x="5934697" y="6090713"/>
            <a:ext cx="1790095" cy="686652"/>
            <a:chOff x="4141469" y="4422748"/>
            <a:chExt cx="1790095" cy="686652"/>
          </a:xfrm>
        </p:grpSpPr>
        <p:sp>
          <p:nvSpPr>
            <p:cNvPr id="185" name="Rectangle: Rounded Corners 184">
              <a:extLst>
                <a:ext uri="{FF2B5EF4-FFF2-40B4-BE49-F238E27FC236}">
                  <a16:creationId xmlns:a16="http://schemas.microsoft.com/office/drawing/2014/main" id="{44EB9B49-AC77-EACB-720F-1A3C17F129EE}"/>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86" name="TextBox 185">
              <a:extLst>
                <a:ext uri="{FF2B5EF4-FFF2-40B4-BE49-F238E27FC236}">
                  <a16:creationId xmlns:a16="http://schemas.microsoft.com/office/drawing/2014/main" id="{560C2F05-39DA-A187-C246-4452612B432B}"/>
                </a:ext>
              </a:extLst>
            </p:cNvPr>
            <p:cNvSpPr txBox="1"/>
            <p:nvPr/>
          </p:nvSpPr>
          <p:spPr>
            <a:xfrm>
              <a:off x="4189846" y="4463046"/>
              <a:ext cx="174171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Statistical Optimization</a:t>
              </a:r>
            </a:p>
          </p:txBody>
        </p:sp>
        <p:sp>
          <p:nvSpPr>
            <p:cNvPr id="187" name="TextBox 186">
              <a:extLst>
                <a:ext uri="{FF2B5EF4-FFF2-40B4-BE49-F238E27FC236}">
                  <a16:creationId xmlns:a16="http://schemas.microsoft.com/office/drawing/2014/main" id="{BECC602D-14F8-0498-DA90-F6D04B921984}"/>
                </a:ext>
              </a:extLst>
            </p:cNvPr>
            <p:cNvSpPr txBox="1"/>
            <p:nvPr/>
          </p:nvSpPr>
          <p:spPr>
            <a:xfrm>
              <a:off x="4189845" y="4611129"/>
              <a:ext cx="1490941" cy="369332"/>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Allowing the most efficient allocation of resources for lower costs and faster time to results.</a:t>
              </a:r>
            </a:p>
          </p:txBody>
        </p:sp>
      </p:grpSp>
      <p:grpSp>
        <p:nvGrpSpPr>
          <p:cNvPr id="1024" name="Group 1023">
            <a:extLst>
              <a:ext uri="{FF2B5EF4-FFF2-40B4-BE49-F238E27FC236}">
                <a16:creationId xmlns:a16="http://schemas.microsoft.com/office/drawing/2014/main" id="{0377BFCF-CA51-E909-64CD-892B7E60D0D5}"/>
              </a:ext>
            </a:extLst>
          </p:cNvPr>
          <p:cNvGrpSpPr/>
          <p:nvPr/>
        </p:nvGrpSpPr>
        <p:grpSpPr>
          <a:xfrm>
            <a:off x="7767823" y="6090713"/>
            <a:ext cx="1640763" cy="686652"/>
            <a:chOff x="4141469" y="4422748"/>
            <a:chExt cx="1790095" cy="686652"/>
          </a:xfrm>
        </p:grpSpPr>
        <p:sp>
          <p:nvSpPr>
            <p:cNvPr id="1025" name="Rectangle: Rounded Corners 1024">
              <a:extLst>
                <a:ext uri="{FF2B5EF4-FFF2-40B4-BE49-F238E27FC236}">
                  <a16:creationId xmlns:a16="http://schemas.microsoft.com/office/drawing/2014/main" id="{7FE63B33-BB1C-59B3-5135-07FA8DACCEF8}"/>
                </a:ext>
              </a:extLst>
            </p:cNvPr>
            <p:cNvSpPr/>
            <p:nvPr/>
          </p:nvSpPr>
          <p:spPr bwMode="gray">
            <a:xfrm>
              <a:off x="4141469" y="4422748"/>
              <a:ext cx="1728960"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027" name="TextBox 1026">
              <a:extLst>
                <a:ext uri="{FF2B5EF4-FFF2-40B4-BE49-F238E27FC236}">
                  <a16:creationId xmlns:a16="http://schemas.microsoft.com/office/drawing/2014/main" id="{60B0997F-4417-1ED7-42BF-14FFB7C1A9DE}"/>
                </a:ext>
              </a:extLst>
            </p:cNvPr>
            <p:cNvSpPr txBox="1"/>
            <p:nvPr/>
          </p:nvSpPr>
          <p:spPr>
            <a:xfrm>
              <a:off x="4189846" y="4463046"/>
              <a:ext cx="1741718"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Generative AI</a:t>
              </a:r>
            </a:p>
          </p:txBody>
        </p:sp>
        <p:sp>
          <p:nvSpPr>
            <p:cNvPr id="1028" name="TextBox 1027">
              <a:extLst>
                <a:ext uri="{FF2B5EF4-FFF2-40B4-BE49-F238E27FC236}">
                  <a16:creationId xmlns:a16="http://schemas.microsoft.com/office/drawing/2014/main" id="{1A09BBC5-FDE5-4A8E-EF85-77B7BD6A7CFB}"/>
                </a:ext>
              </a:extLst>
            </p:cNvPr>
            <p:cNvSpPr txBox="1"/>
            <p:nvPr/>
          </p:nvSpPr>
          <p:spPr>
            <a:xfrm>
              <a:off x="4189845" y="4611129"/>
              <a:ext cx="1490941" cy="492443"/>
            </a:xfrm>
            <a:prstGeom prst="rect">
              <a:avLst/>
            </a:prstGeom>
            <a:noFill/>
          </p:spPr>
          <p:txBody>
            <a:bodyPr wrap="square" lIns="0" tIns="0" rIns="0" bIns="0" rtlCol="0" anchor="t">
              <a:spAutoFit/>
            </a:bodyPr>
            <a:lstStyle/>
            <a:p>
              <a:pPr>
                <a:spcBef>
                  <a:spcPts val="1000"/>
                </a:spcBef>
                <a:defRPr/>
              </a:pPr>
              <a:r>
                <a:rPr lang="en-US" sz="800" dirty="0">
                  <a:solidFill>
                    <a:srgbClr val="000000"/>
                  </a:solidFill>
                </a:rPr>
                <a:t>Creating new content, generating novel solutions, and fostering creativity to innovate and solve complex challenges.</a:t>
              </a:r>
            </a:p>
          </p:txBody>
        </p:sp>
      </p:grpSp>
      <p:grpSp>
        <p:nvGrpSpPr>
          <p:cNvPr id="1030" name="Group 1029">
            <a:extLst>
              <a:ext uri="{FF2B5EF4-FFF2-40B4-BE49-F238E27FC236}">
                <a16:creationId xmlns:a16="http://schemas.microsoft.com/office/drawing/2014/main" id="{8AAF2FCC-5E5D-E91D-209D-CA2E0085B2F9}"/>
              </a:ext>
            </a:extLst>
          </p:cNvPr>
          <p:cNvGrpSpPr/>
          <p:nvPr/>
        </p:nvGrpSpPr>
        <p:grpSpPr>
          <a:xfrm>
            <a:off x="2599327" y="4966108"/>
            <a:ext cx="6337440" cy="108000"/>
            <a:chOff x="2643598" y="3290138"/>
            <a:chExt cx="6337440" cy="108000"/>
          </a:xfrm>
        </p:grpSpPr>
        <p:cxnSp>
          <p:nvCxnSpPr>
            <p:cNvPr id="1031" name="Straight Connector 1030">
              <a:extLst>
                <a:ext uri="{FF2B5EF4-FFF2-40B4-BE49-F238E27FC236}">
                  <a16:creationId xmlns:a16="http://schemas.microsoft.com/office/drawing/2014/main" id="{E17B9138-B77D-5393-5DDF-FF48F05F5842}"/>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32" name="Oval 1031">
              <a:extLst>
                <a:ext uri="{FF2B5EF4-FFF2-40B4-BE49-F238E27FC236}">
                  <a16:creationId xmlns:a16="http://schemas.microsoft.com/office/drawing/2014/main" id="{FE2853AB-686B-03CC-7900-D4AE0B782346}"/>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033" name="Straight Connector 1032">
              <a:extLst>
                <a:ext uri="{FF2B5EF4-FFF2-40B4-BE49-F238E27FC236}">
                  <a16:creationId xmlns:a16="http://schemas.microsoft.com/office/drawing/2014/main" id="{E85799A8-4C49-90DA-4376-48A8D9F211D0}"/>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34" name="Oval 1033">
              <a:extLst>
                <a:ext uri="{FF2B5EF4-FFF2-40B4-BE49-F238E27FC236}">
                  <a16:creationId xmlns:a16="http://schemas.microsoft.com/office/drawing/2014/main" id="{51EAB5B7-75F6-CF7E-1B3D-D203C0681686}"/>
                </a:ext>
              </a:extLst>
            </p:cNvPr>
            <p:cNvSpPr/>
            <p:nvPr/>
          </p:nvSpPr>
          <p:spPr bwMode="gray">
            <a:xfrm>
              <a:off x="6620756"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grpSp>
      <p:sp>
        <p:nvSpPr>
          <p:cNvPr id="1035" name="Rectangle 1034">
            <a:extLst>
              <a:ext uri="{FF2B5EF4-FFF2-40B4-BE49-F238E27FC236}">
                <a16:creationId xmlns:a16="http://schemas.microsoft.com/office/drawing/2014/main" id="{9081E093-1FCC-E931-EF81-34F2735F5A6D}"/>
              </a:ext>
            </a:extLst>
          </p:cNvPr>
          <p:cNvSpPr/>
          <p:nvPr/>
        </p:nvSpPr>
        <p:spPr>
          <a:xfrm>
            <a:off x="9530320" y="2410080"/>
            <a:ext cx="2897979" cy="76944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i="1" dirty="0"/>
              <a:t>“I am a firm believer in harnessing the potential of data not only for business development, but also to make a positive impact on social challenges.”</a:t>
            </a:r>
          </a:p>
        </p:txBody>
      </p:sp>
      <p:pic>
        <p:nvPicPr>
          <p:cNvPr id="1036" name="Picture 4" descr="Linkedin logo png - greorder">
            <a:hlinkClick r:id="rId7"/>
            <a:extLst>
              <a:ext uri="{FF2B5EF4-FFF2-40B4-BE49-F238E27FC236}">
                <a16:creationId xmlns:a16="http://schemas.microsoft.com/office/drawing/2014/main" id="{1D1F8576-08B0-C2D3-E711-0C4E6C0D89E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601164" y="2069899"/>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1108" name="Freeform: Shape 1107">
            <a:extLst>
              <a:ext uri="{FF2B5EF4-FFF2-40B4-BE49-F238E27FC236}">
                <a16:creationId xmlns:a16="http://schemas.microsoft.com/office/drawing/2014/main" id="{AD5D1342-2F33-36A0-EF26-97B4BB7DBC70}"/>
              </a:ext>
            </a:extLst>
          </p:cNvPr>
          <p:cNvSpPr/>
          <p:nvPr/>
        </p:nvSpPr>
        <p:spPr bwMode="gray">
          <a:xfrm>
            <a:off x="10921317" y="3835835"/>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a:p>
        </p:txBody>
      </p:sp>
      <p:cxnSp>
        <p:nvCxnSpPr>
          <p:cNvPr id="1109" name="Straight Connector 1108">
            <a:extLst>
              <a:ext uri="{FF2B5EF4-FFF2-40B4-BE49-F238E27FC236}">
                <a16:creationId xmlns:a16="http://schemas.microsoft.com/office/drawing/2014/main" id="{06632A86-B34A-E8EC-24D3-FF5E360FF551}"/>
              </a:ext>
            </a:extLst>
          </p:cNvPr>
          <p:cNvCxnSpPr/>
          <p:nvPr/>
        </p:nvCxnSpPr>
        <p:spPr>
          <a:xfrm flipV="1">
            <a:off x="11399683" y="3616671"/>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0" name="Oval 1109">
            <a:extLst>
              <a:ext uri="{FF2B5EF4-FFF2-40B4-BE49-F238E27FC236}">
                <a16:creationId xmlns:a16="http://schemas.microsoft.com/office/drawing/2014/main" id="{38D8213F-BDDA-32FB-4D64-8CFA7B74948C}"/>
              </a:ext>
            </a:extLst>
          </p:cNvPr>
          <p:cNvSpPr/>
          <p:nvPr/>
        </p:nvSpPr>
        <p:spPr bwMode="gray">
          <a:xfrm>
            <a:off x="11349955" y="4135078"/>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US" dirty="0"/>
          </a:p>
        </p:txBody>
      </p:sp>
      <p:sp>
        <p:nvSpPr>
          <p:cNvPr id="1111" name="Rectangle 1110">
            <a:extLst>
              <a:ext uri="{FF2B5EF4-FFF2-40B4-BE49-F238E27FC236}">
                <a16:creationId xmlns:a16="http://schemas.microsoft.com/office/drawing/2014/main" id="{C3A7529B-FB76-569F-0DC1-C22DA82217DC}"/>
              </a:ext>
            </a:extLst>
          </p:cNvPr>
          <p:cNvSpPr/>
          <p:nvPr/>
        </p:nvSpPr>
        <p:spPr>
          <a:xfrm>
            <a:off x="11073606" y="4228740"/>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i="1" u="none" strike="noStrike" kern="1200" cap="none" spc="300" normalizeH="0" baseline="0" dirty="0">
                <a:ln>
                  <a:noFill/>
                </a:ln>
                <a:effectLst/>
                <a:uLnTx/>
                <a:uFillTx/>
                <a:latin typeface="Open Sans"/>
              </a:rPr>
              <a:t>BUDPEST</a:t>
            </a:r>
          </a:p>
        </p:txBody>
      </p:sp>
      <p:pic>
        <p:nvPicPr>
          <p:cNvPr id="1112" name="Picture 4" descr="Hungary Large Flag | Gallery Yopriceville - High-Quality Free Images ...">
            <a:extLst>
              <a:ext uri="{FF2B5EF4-FFF2-40B4-BE49-F238E27FC236}">
                <a16:creationId xmlns:a16="http://schemas.microsoft.com/office/drawing/2014/main" id="{90BB25F1-4AE8-CD30-252F-7C755BE5833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397591" y="361181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Flowchart: Connector 1">
            <a:extLst>
              <a:ext uri="{FF2B5EF4-FFF2-40B4-BE49-F238E27FC236}">
                <a16:creationId xmlns:a16="http://schemas.microsoft.com/office/drawing/2014/main" id="{E4275040-C39D-D01A-945E-E0DE2ECA993C}"/>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a:p>
        </p:txBody>
      </p:sp>
      <p:sp>
        <p:nvSpPr>
          <p:cNvPr id="38" name="Rectangle 37">
            <a:extLst>
              <a:ext uri="{FF2B5EF4-FFF2-40B4-BE49-F238E27FC236}">
                <a16:creationId xmlns:a16="http://schemas.microsoft.com/office/drawing/2014/main" id="{D7615059-6B4F-F222-38A4-7C7D4098B526}"/>
              </a:ext>
            </a:extLst>
          </p:cNvPr>
          <p:cNvSpPr/>
          <p:nvPr/>
        </p:nvSpPr>
        <p:spPr>
          <a:xfrm>
            <a:off x="11148275" y="5617208"/>
            <a:ext cx="1204010"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i="1" spc="300" dirty="0">
                <a:solidFill>
                  <a:schemeClr val="bg1">
                    <a:lumMod val="50000"/>
                  </a:schemeClr>
                </a:solidFill>
                <a:latin typeface="Open Sans"/>
              </a:rPr>
              <a:t>+150</a:t>
            </a:r>
            <a:endParaRPr kumimoji="0" lang="en-US" b="1" i="1" u="none" strike="noStrike" kern="1200" cap="none" spc="300" normalizeH="0" baseline="0" dirty="0">
              <a:ln>
                <a:noFill/>
              </a:ln>
              <a:solidFill>
                <a:schemeClr val="bg1">
                  <a:lumMod val="50000"/>
                </a:schemeClr>
              </a:solidFill>
              <a:effectLst/>
              <a:uLnTx/>
              <a:uFillTx/>
              <a:latin typeface="Open Sans"/>
            </a:endParaRPr>
          </a:p>
        </p:txBody>
      </p:sp>
      <p:sp>
        <p:nvSpPr>
          <p:cNvPr id="34" name="Rectangle 33">
            <a:extLst>
              <a:ext uri="{FF2B5EF4-FFF2-40B4-BE49-F238E27FC236}">
                <a16:creationId xmlns:a16="http://schemas.microsoft.com/office/drawing/2014/main" id="{02DE62AF-4526-6392-D4BC-A7AE7B1DEFD9}"/>
              </a:ext>
            </a:extLst>
          </p:cNvPr>
          <p:cNvSpPr/>
          <p:nvPr/>
        </p:nvSpPr>
        <p:spPr>
          <a:xfrm>
            <a:off x="11136662" y="5927691"/>
            <a:ext cx="122723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800" i="1" spc="300" dirty="0">
                <a:solidFill>
                  <a:schemeClr val="bg1">
                    <a:lumMod val="50000"/>
                  </a:schemeClr>
                </a:solidFill>
                <a:latin typeface="Open Sans"/>
              </a:rPr>
              <a:t>EXPERTS IN CE REGION</a:t>
            </a:r>
            <a:endParaRPr kumimoji="0" lang="en-US" sz="800" i="1" u="none" strike="noStrike" kern="1200" cap="none" spc="300" normalizeH="0" baseline="0" dirty="0">
              <a:ln>
                <a:noFill/>
              </a:ln>
              <a:solidFill>
                <a:schemeClr val="bg1">
                  <a:lumMod val="50000"/>
                </a:schemeClr>
              </a:solidFill>
              <a:effectLst/>
              <a:uLnTx/>
              <a:uFillTx/>
              <a:latin typeface="Open Sans"/>
            </a:endParaRPr>
          </a:p>
        </p:txBody>
      </p:sp>
      <p:sp>
        <p:nvSpPr>
          <p:cNvPr id="5" name="Oval 4">
            <a:extLst>
              <a:ext uri="{FF2B5EF4-FFF2-40B4-BE49-F238E27FC236}">
                <a16:creationId xmlns:a16="http://schemas.microsoft.com/office/drawing/2014/main" id="{7B90CFD8-73FB-C77F-79B8-C47C525CC196}"/>
              </a:ext>
            </a:extLst>
          </p:cNvPr>
          <p:cNvSpPr/>
          <p:nvPr/>
        </p:nvSpPr>
        <p:spPr bwMode="gray">
          <a:xfrm>
            <a:off x="202279" y="192358"/>
            <a:ext cx="463874" cy="463874"/>
          </a:xfrm>
          <a:prstGeom prst="ellipse">
            <a:avLst/>
          </a:prstGeom>
          <a:solidFill>
            <a:schemeClr val="accent2"/>
          </a:solidFill>
          <a:ln w="19050" algn="ctr">
            <a:noFill/>
            <a:miter lim="800000"/>
            <a:headEnd/>
            <a:tailEnd/>
          </a:ln>
        </p:spPr>
        <p:txBody>
          <a:bodyPr wrap="square" lIns="0" tIns="0" rIns="0" bIns="0" rtlCol="0" anchor="ctr"/>
          <a:lstStyle/>
          <a:p>
            <a:pPr algn="ctr"/>
            <a:r>
              <a:rPr lang="en-US" b="1" dirty="0">
                <a:solidFill>
                  <a:schemeClr val="bg1"/>
                </a:solidFill>
              </a:rPr>
              <a:t>2</a:t>
            </a:r>
          </a:p>
        </p:txBody>
      </p:sp>
      <p:pic>
        <p:nvPicPr>
          <p:cNvPr id="11" name="Picture Placeholder 21">
            <a:extLst>
              <a:ext uri="{FF2B5EF4-FFF2-40B4-BE49-F238E27FC236}">
                <a16:creationId xmlns:a16="http://schemas.microsoft.com/office/drawing/2014/main" id="{0F8CD0E0-A724-EEFD-571B-1C986C67163C}"/>
              </a:ext>
            </a:extLst>
          </p:cNvPr>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a:xfrm>
            <a:off x="9699433" y="499447"/>
            <a:ext cx="1260000" cy="1260000"/>
          </a:xfrm>
          <a:prstGeom prst="rect">
            <a:avLst/>
          </a:prstGeom>
          <a:noFill/>
        </p:spPr>
      </p:pic>
      <p:grpSp>
        <p:nvGrpSpPr>
          <p:cNvPr id="12" name="Group 11">
            <a:extLst>
              <a:ext uri="{FF2B5EF4-FFF2-40B4-BE49-F238E27FC236}">
                <a16:creationId xmlns:a16="http://schemas.microsoft.com/office/drawing/2014/main" id="{9660C3C4-6C95-A824-502B-E7973F3B1276}"/>
              </a:ext>
            </a:extLst>
          </p:cNvPr>
          <p:cNvGrpSpPr/>
          <p:nvPr/>
        </p:nvGrpSpPr>
        <p:grpSpPr>
          <a:xfrm rot="16200000">
            <a:off x="4561325" y="1730796"/>
            <a:ext cx="4225092" cy="6029314"/>
            <a:chOff x="6629684" y="3416519"/>
            <a:chExt cx="3016064" cy="519472"/>
          </a:xfrm>
          <a:noFill/>
        </p:grpSpPr>
        <p:sp>
          <p:nvSpPr>
            <p:cNvPr id="13" name="Rectangle: Rounded Corners 164">
              <a:extLst>
                <a:ext uri="{FF2B5EF4-FFF2-40B4-BE49-F238E27FC236}">
                  <a16:creationId xmlns:a16="http://schemas.microsoft.com/office/drawing/2014/main" id="{FF5183C1-186B-BFCB-220F-A990BE6C6DD0}"/>
                </a:ext>
              </a:extLst>
            </p:cNvPr>
            <p:cNvSpPr/>
            <p:nvPr/>
          </p:nvSpPr>
          <p:spPr bwMode="gray">
            <a:xfrm>
              <a:off x="6629684" y="3416519"/>
              <a:ext cx="2804696" cy="519472"/>
            </a:xfrm>
            <a:prstGeom prst="roundRect">
              <a:avLst>
                <a:gd name="adj" fmla="val 9360"/>
              </a:avLst>
            </a:prstGeom>
            <a:grpFill/>
            <a:ln w="317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 name="TextBox 15">
              <a:extLst>
                <a:ext uri="{FF2B5EF4-FFF2-40B4-BE49-F238E27FC236}">
                  <a16:creationId xmlns:a16="http://schemas.microsoft.com/office/drawing/2014/main" id="{DFF8F30F-8199-82A0-424E-F2974F13801E}"/>
                </a:ext>
              </a:extLst>
            </p:cNvPr>
            <p:cNvSpPr txBox="1"/>
            <p:nvPr/>
          </p:nvSpPr>
          <p:spPr>
            <a:xfrm>
              <a:off x="6697232" y="3684950"/>
              <a:ext cx="2948516" cy="10607"/>
            </a:xfrm>
            <a:prstGeom prst="rect">
              <a:avLst/>
            </a:prstGeom>
            <a:grpFill/>
          </p:spPr>
          <p:txBody>
            <a:bodyPr wrap="square" lIns="0" tIns="0" rIns="0" bIns="0" rtlCol="0" anchor="t">
              <a:spAutoFit/>
            </a:bodyPr>
            <a:lstStyle/>
            <a:p>
              <a:pPr lvl="0">
                <a:spcBef>
                  <a:spcPts val="1000"/>
                </a:spcBef>
                <a:buClr>
                  <a:srgbClr val="FFFFFF">
                    <a:lumMod val="50000"/>
                  </a:srgbClr>
                </a:buClr>
                <a:defRPr/>
              </a:pPr>
              <a:endParaRPr lang="en-US" sz="800" dirty="0">
                <a:solidFill>
                  <a:srgbClr val="000000"/>
                </a:solidFill>
              </a:endParaRPr>
            </a:p>
          </p:txBody>
        </p:sp>
        <p:sp>
          <p:nvSpPr>
            <p:cNvPr id="14" name="TextBox 13">
              <a:extLst>
                <a:ext uri="{FF2B5EF4-FFF2-40B4-BE49-F238E27FC236}">
                  <a16:creationId xmlns:a16="http://schemas.microsoft.com/office/drawing/2014/main" id="{6EAF5C80-7E8F-A367-C642-278A67F63E8E}"/>
                </a:ext>
              </a:extLst>
            </p:cNvPr>
            <p:cNvSpPr txBox="1"/>
            <p:nvPr/>
          </p:nvSpPr>
          <p:spPr>
            <a:xfrm>
              <a:off x="7281850" y="3423306"/>
              <a:ext cx="1589152" cy="13922"/>
            </a:xfrm>
            <a:prstGeom prst="rect">
              <a:avLst/>
            </a:prstGeom>
            <a:noFill/>
          </p:spPr>
          <p:txBody>
            <a:bodyPr wrap="square" lIns="0" tIns="0" rIns="0" bIns="0" rtlCol="0" anchor="t">
              <a:spAutoFit/>
            </a:bodyPr>
            <a:lstStyle/>
            <a:p>
              <a:pPr lvl="0" algn="ctr">
                <a:spcBef>
                  <a:spcPts val="1000"/>
                </a:spcBef>
                <a:buClr>
                  <a:srgbClr val="FFFFFF">
                    <a:lumMod val="50000"/>
                  </a:srgbClr>
                </a:buClr>
                <a:defRPr/>
              </a:pPr>
              <a:r>
                <a:rPr lang="en-US" sz="1050" b="1" dirty="0">
                  <a:solidFill>
                    <a:srgbClr val="000000"/>
                  </a:solidFill>
                </a:rPr>
                <a:t>INSIGHT DRIVEN ORGANIZATION</a:t>
              </a:r>
            </a:p>
          </p:txBody>
        </p:sp>
      </p:grpSp>
      <p:grpSp>
        <p:nvGrpSpPr>
          <p:cNvPr id="17" name="Group 16">
            <a:extLst>
              <a:ext uri="{FF2B5EF4-FFF2-40B4-BE49-F238E27FC236}">
                <a16:creationId xmlns:a16="http://schemas.microsoft.com/office/drawing/2014/main" id="{80535FC8-296D-D22E-4187-DE160E058764}"/>
              </a:ext>
            </a:extLst>
          </p:cNvPr>
          <p:cNvGrpSpPr/>
          <p:nvPr/>
        </p:nvGrpSpPr>
        <p:grpSpPr>
          <a:xfrm>
            <a:off x="7971032" y="5097450"/>
            <a:ext cx="1603549" cy="846957"/>
            <a:chOff x="6620756" y="3416518"/>
            <a:chExt cx="2351587" cy="729272"/>
          </a:xfrm>
        </p:grpSpPr>
        <p:sp>
          <p:nvSpPr>
            <p:cNvPr id="19" name="Rectangle: Rounded Corners 164">
              <a:extLst>
                <a:ext uri="{FF2B5EF4-FFF2-40B4-BE49-F238E27FC236}">
                  <a16:creationId xmlns:a16="http://schemas.microsoft.com/office/drawing/2014/main" id="{002398C3-BC27-5835-A3B9-B80D7504BEB7}"/>
                </a:ext>
              </a:extLst>
            </p:cNvPr>
            <p:cNvSpPr/>
            <p:nvPr/>
          </p:nvSpPr>
          <p:spPr bwMode="gray">
            <a:xfrm>
              <a:off x="6620756" y="3416518"/>
              <a:ext cx="2351587" cy="72927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2" name="TextBox 21">
              <a:extLst>
                <a:ext uri="{FF2B5EF4-FFF2-40B4-BE49-F238E27FC236}">
                  <a16:creationId xmlns:a16="http://schemas.microsoft.com/office/drawing/2014/main" id="{B46E25FB-1C98-E43B-8121-138EB4EE1A78}"/>
                </a:ext>
              </a:extLst>
            </p:cNvPr>
            <p:cNvSpPr txBox="1"/>
            <p:nvPr/>
          </p:nvSpPr>
          <p:spPr>
            <a:xfrm>
              <a:off x="6710870" y="3445981"/>
              <a:ext cx="2064696" cy="119255"/>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Insight Generation</a:t>
              </a:r>
            </a:p>
          </p:txBody>
        </p:sp>
        <p:sp>
          <p:nvSpPr>
            <p:cNvPr id="30" name="TextBox 29">
              <a:extLst>
                <a:ext uri="{FF2B5EF4-FFF2-40B4-BE49-F238E27FC236}">
                  <a16:creationId xmlns:a16="http://schemas.microsoft.com/office/drawing/2014/main" id="{D4895117-91BF-8596-4D0E-41AC807A7C35}"/>
                </a:ext>
              </a:extLst>
            </p:cNvPr>
            <p:cNvSpPr txBox="1"/>
            <p:nvPr/>
          </p:nvSpPr>
          <p:spPr>
            <a:xfrm>
              <a:off x="6697229" y="3566643"/>
              <a:ext cx="2210206" cy="424018"/>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GB" sz="800" b="0" i="0" dirty="0">
                  <a:effectLst/>
                </a:rPr>
                <a:t>Embrace data analytics, cultivate a data-driven culture, invest in tools and talent, and prioritize actionable insights for strategic transformation</a:t>
              </a:r>
              <a:endParaRPr lang="en-US" sz="800" dirty="0"/>
            </a:p>
          </p:txBody>
        </p:sp>
      </p:grpSp>
      <p:sp>
        <p:nvSpPr>
          <p:cNvPr id="31" name="TextBox 30">
            <a:extLst>
              <a:ext uri="{FF2B5EF4-FFF2-40B4-BE49-F238E27FC236}">
                <a16:creationId xmlns:a16="http://schemas.microsoft.com/office/drawing/2014/main" id="{BADAF57D-3521-3FDF-C80F-61242CED1952}"/>
              </a:ext>
            </a:extLst>
          </p:cNvPr>
          <p:cNvSpPr txBox="1"/>
          <p:nvPr/>
        </p:nvSpPr>
        <p:spPr>
          <a:xfrm>
            <a:off x="6652961" y="3203681"/>
            <a:ext cx="2117669"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Deloitte’s Privacy Framework</a:t>
            </a:r>
          </a:p>
        </p:txBody>
      </p:sp>
      <p:sp>
        <p:nvSpPr>
          <p:cNvPr id="33" name="TextBox 32">
            <a:extLst>
              <a:ext uri="{FF2B5EF4-FFF2-40B4-BE49-F238E27FC236}">
                <a16:creationId xmlns:a16="http://schemas.microsoft.com/office/drawing/2014/main" id="{FC341FD5-985F-63CC-4D50-F299A3F4E0D5}"/>
              </a:ext>
            </a:extLst>
          </p:cNvPr>
          <p:cNvSpPr txBox="1"/>
          <p:nvPr/>
        </p:nvSpPr>
        <p:spPr>
          <a:xfrm>
            <a:off x="6652961" y="3351675"/>
            <a:ext cx="2282457" cy="615553"/>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800" dirty="0"/>
              <a:t>Our privacy framework enables Clients to leverage business objectives to drive and support development in key areas, including:</a:t>
            </a:r>
            <a:br>
              <a:rPr lang="en-US" sz="800" dirty="0"/>
            </a:br>
            <a:r>
              <a:rPr lang="en-US" sz="800" dirty="0"/>
              <a:t>Growth &amp; innovation / Operational efficiency / Risk management / Regulatory compliance</a:t>
            </a:r>
          </a:p>
        </p:txBody>
      </p:sp>
      <p:sp>
        <p:nvSpPr>
          <p:cNvPr id="35" name="Rectangle: Rounded Corners 123">
            <a:extLst>
              <a:ext uri="{FF2B5EF4-FFF2-40B4-BE49-F238E27FC236}">
                <a16:creationId xmlns:a16="http://schemas.microsoft.com/office/drawing/2014/main" id="{65F866BC-C7F6-0ED4-CB1B-B491D8D00ECE}"/>
              </a:ext>
            </a:extLst>
          </p:cNvPr>
          <p:cNvSpPr/>
          <p:nvPr/>
        </p:nvSpPr>
        <p:spPr bwMode="gray">
          <a:xfrm>
            <a:off x="6746853" y="4187917"/>
            <a:ext cx="2595879" cy="686652"/>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36" name="TextBox 35">
            <a:extLst>
              <a:ext uri="{FF2B5EF4-FFF2-40B4-BE49-F238E27FC236}">
                <a16:creationId xmlns:a16="http://schemas.microsoft.com/office/drawing/2014/main" id="{7CD18940-D80B-426D-8A52-A57D25F83532}"/>
              </a:ext>
            </a:extLst>
          </p:cNvPr>
          <p:cNvSpPr txBox="1"/>
          <p:nvPr/>
        </p:nvSpPr>
        <p:spPr>
          <a:xfrm>
            <a:off x="6795230" y="4228214"/>
            <a:ext cx="2073797" cy="138499"/>
          </a:xfrm>
          <a:prstGeom prst="rect">
            <a:avLst/>
          </a:prstGeom>
          <a:noFill/>
        </p:spPr>
        <p:txBody>
          <a:bodyPr wrap="square" lIns="0" tIns="0" rIns="0" bIns="0" rtlCol="0" anchor="t">
            <a:spAutoFit/>
          </a:bodyPr>
          <a:lstStyle/>
          <a:p>
            <a:pPr lvl="0">
              <a:spcBef>
                <a:spcPts val="1000"/>
              </a:spcBef>
              <a:buClr>
                <a:srgbClr val="FFFFFF">
                  <a:lumMod val="50000"/>
                </a:srgbClr>
              </a:buClr>
              <a:defRPr/>
            </a:pPr>
            <a:r>
              <a:rPr lang="en-US" sz="900" b="1" dirty="0">
                <a:solidFill>
                  <a:srgbClr val="000000"/>
                </a:solidFill>
              </a:rPr>
              <a:t>Data Mesh Strategy and Implementation</a:t>
            </a:r>
          </a:p>
        </p:txBody>
      </p:sp>
      <p:sp>
        <p:nvSpPr>
          <p:cNvPr id="37" name="TextBox 36">
            <a:extLst>
              <a:ext uri="{FF2B5EF4-FFF2-40B4-BE49-F238E27FC236}">
                <a16:creationId xmlns:a16="http://schemas.microsoft.com/office/drawing/2014/main" id="{D8456FA3-5D0E-F244-A68C-8252BD1455AF}"/>
              </a:ext>
            </a:extLst>
          </p:cNvPr>
          <p:cNvSpPr txBox="1"/>
          <p:nvPr/>
        </p:nvSpPr>
        <p:spPr>
          <a:xfrm>
            <a:off x="6795230" y="4380538"/>
            <a:ext cx="2554759" cy="492443"/>
          </a:xfrm>
          <a:prstGeom prst="rect">
            <a:avLst/>
          </a:prstGeom>
          <a:noFill/>
        </p:spPr>
        <p:txBody>
          <a:bodyPr wrap="square" lIns="0" tIns="0" rIns="0" bIns="0" rtlCol="0" anchor="t">
            <a:spAutoFit/>
          </a:bodyPr>
          <a:lstStyle/>
          <a:p>
            <a:pPr marL="0" marR="0">
              <a:spcBef>
                <a:spcPts val="0"/>
              </a:spcBef>
              <a:spcAft>
                <a:spcPts val="0"/>
              </a:spcAft>
            </a:pPr>
            <a:r>
              <a:rPr lang="en-US" sz="800" dirty="0"/>
              <a:t>Provide guidance on how to develop and implement a data mesh strategy within UNICEF's organization, emphasizing the principles of decentralization and data product thinking and their benefits.</a:t>
            </a:r>
          </a:p>
        </p:txBody>
      </p:sp>
    </p:spTree>
    <p:extLst>
      <p:ext uri="{BB962C8B-B14F-4D97-AF65-F5344CB8AC3E}">
        <p14:creationId xmlns:p14="http://schemas.microsoft.com/office/powerpoint/2010/main" val="399815384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4400" y="417600"/>
            <a:ext cx="10363200" cy="434362"/>
          </a:xfrm>
        </p:spPr>
        <p:txBody>
          <a:bodyPr/>
          <a:lstStyle/>
          <a:p>
            <a:r>
              <a:rPr lang="en-GB" sz="2400" dirty="0">
                <a:latin typeface="Open Sans Light" panose="020B0306030504020204" pitchFamily="34" charset="0"/>
              </a:rPr>
              <a:t>Evolving into an Insight Driven Organization</a:t>
            </a:r>
          </a:p>
        </p:txBody>
      </p:sp>
      <p:sp>
        <p:nvSpPr>
          <p:cNvPr id="5" name="Freeform 4"/>
          <p:cNvSpPr/>
          <p:nvPr/>
        </p:nvSpPr>
        <p:spPr>
          <a:xfrm>
            <a:off x="269130" y="2041339"/>
            <a:ext cx="10988493" cy="2174778"/>
          </a:xfrm>
          <a:custGeom>
            <a:avLst/>
            <a:gdLst>
              <a:gd name="connsiteX0" fmla="*/ 0 w 8554437"/>
              <a:gd name="connsiteY0" fmla="*/ 2895967 h 2895967"/>
              <a:gd name="connsiteX1" fmla="*/ 1392866 w 8554437"/>
              <a:gd name="connsiteY1" fmla="*/ 2832171 h 2895967"/>
              <a:gd name="connsiteX2" fmla="*/ 3242931 w 8554437"/>
              <a:gd name="connsiteY2" fmla="*/ 2545092 h 2895967"/>
              <a:gd name="connsiteX3" fmla="*/ 5613991 w 8554437"/>
              <a:gd name="connsiteY3" fmla="*/ 1503102 h 2895967"/>
              <a:gd name="connsiteX4" fmla="*/ 7676707 w 8554437"/>
              <a:gd name="connsiteY4" fmla="*/ 407948 h 2895967"/>
              <a:gd name="connsiteX5" fmla="*/ 8474149 w 8554437"/>
              <a:gd name="connsiteY5" fmla="*/ 35809 h 2895967"/>
              <a:gd name="connsiteX6" fmla="*/ 8484782 w 8554437"/>
              <a:gd name="connsiteY6" fmla="*/ 35809 h 289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4437" h="2895967">
                <a:moveTo>
                  <a:pt x="0" y="2895967"/>
                </a:moveTo>
                <a:cubicBezTo>
                  <a:pt x="426189" y="2893308"/>
                  <a:pt x="852378" y="2890650"/>
                  <a:pt x="1392866" y="2832171"/>
                </a:cubicBezTo>
                <a:cubicBezTo>
                  <a:pt x="1933355" y="2773692"/>
                  <a:pt x="2539410" y="2766603"/>
                  <a:pt x="3242931" y="2545092"/>
                </a:cubicBezTo>
                <a:cubicBezTo>
                  <a:pt x="3946452" y="2323580"/>
                  <a:pt x="4875028" y="1859293"/>
                  <a:pt x="5613991" y="1503102"/>
                </a:cubicBezTo>
                <a:cubicBezTo>
                  <a:pt x="6352954" y="1146911"/>
                  <a:pt x="7200014" y="652497"/>
                  <a:pt x="7676707" y="407948"/>
                </a:cubicBezTo>
                <a:cubicBezTo>
                  <a:pt x="8153400" y="163399"/>
                  <a:pt x="8339470" y="97832"/>
                  <a:pt x="8474149" y="35809"/>
                </a:cubicBezTo>
                <a:cubicBezTo>
                  <a:pt x="8608828" y="-26214"/>
                  <a:pt x="8546805" y="4797"/>
                  <a:pt x="8484782" y="35809"/>
                </a:cubicBezTo>
              </a:path>
            </a:pathLst>
          </a:custGeom>
          <a:noFill/>
          <a:ln w="76200" cap="flat" cmpd="sng" algn="ctr">
            <a:solidFill>
              <a:srgbClr val="FFFFFF">
                <a:lumMod val="85000"/>
              </a:srgbClr>
            </a:solidFill>
            <a:prstDash val="solid"/>
          </a:ln>
          <a:effectLst/>
        </p:spPr>
        <p:txBody>
          <a:bodyPr lIns="91407" tIns="45705" rIns="91407" bIns="45705" rtlCol="0" anchor="ctr"/>
          <a:lstStyle/>
          <a:p>
            <a:pPr marL="0" marR="0" lvl="0" indent="0" algn="ctr" defTabSz="652986" rtl="0" eaLnBrk="1" fontAlgn="base" latinLnBrk="0" hangingPunct="1">
              <a:lnSpc>
                <a:spcPct val="100000"/>
              </a:lnSpc>
              <a:spcBef>
                <a:spcPct val="0"/>
              </a:spcBef>
              <a:spcAft>
                <a:spcPct val="0"/>
              </a:spcAft>
              <a:buClrTx/>
              <a:buSzTx/>
              <a:buFontTx/>
              <a:buNone/>
              <a:tabLst/>
              <a:defRPr/>
            </a:pPr>
            <a:endParaRPr kumimoji="0" lang="en-US" sz="900" b="1" u="none" strike="noStrike" kern="0" cap="none" spc="0" normalizeH="0" baseline="0" noProof="0" dirty="0">
              <a:ln>
                <a:noFill/>
              </a:ln>
              <a:solidFill>
                <a:srgbClr val="FFFFFF"/>
              </a:solidFill>
              <a:effectLst/>
              <a:uLnTx/>
              <a:uFillTx/>
              <a:latin typeface="Open Sans SemiBold" panose="020B0606030504020204" pitchFamily="34" charset="0"/>
              <a:ea typeface="+mn-ea"/>
              <a:cs typeface="+mn-cs"/>
            </a:endParaRPr>
          </a:p>
        </p:txBody>
      </p:sp>
      <p:sp>
        <p:nvSpPr>
          <p:cNvPr id="6" name="Rectangle 6"/>
          <p:cNvSpPr>
            <a:spLocks noChangeArrowheads="1"/>
          </p:cNvSpPr>
          <p:nvPr/>
        </p:nvSpPr>
        <p:spPr bwMode="black">
          <a:xfrm>
            <a:off x="988358" y="3443059"/>
            <a:ext cx="1332000" cy="1332000"/>
          </a:xfrm>
          <a:prstGeom prst="ellipse">
            <a:avLst/>
          </a:prstGeom>
          <a:solidFill>
            <a:schemeClr val="bg1"/>
          </a:solidFill>
          <a:ln w="19050">
            <a:solidFill>
              <a:schemeClr val="accent1"/>
            </a:solidFill>
            <a:miter lim="800000"/>
            <a:headEnd/>
            <a:tailEnd/>
          </a:ln>
        </p:spPr>
        <p:txBody>
          <a:bodyPr wrap="none" lIns="0" tIns="0" rIns="0" bIns="0" anchor="ctr">
            <a:noAutofit/>
          </a:bodyPr>
          <a:lstStyle/>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Stage 1</a:t>
            </a:r>
          </a:p>
          <a:p>
            <a:pPr marL="0" marR="0" lvl="0" indent="0" algn="ctr" defTabSz="820442" rtl="0" eaLnBrk="1" fontAlgn="base" latinLnBrk="0" hangingPunct="1">
              <a:lnSpc>
                <a:spcPct val="95000"/>
              </a:lnSpc>
              <a:spcBef>
                <a:spcPct val="0"/>
              </a:spcBef>
              <a:spcAft>
                <a:spcPct val="0"/>
              </a:spcAft>
              <a:buClrTx/>
              <a:buSzTx/>
              <a:buFontTx/>
              <a:buNone/>
              <a:tabLst/>
              <a:defRPr/>
            </a:pPr>
            <a:endPar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endParaRP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Analytically </a:t>
            </a: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Impaired</a:t>
            </a:r>
          </a:p>
        </p:txBody>
      </p:sp>
      <p:sp>
        <p:nvSpPr>
          <p:cNvPr id="7" name="Rectangle 7"/>
          <p:cNvSpPr>
            <a:spLocks noChangeArrowheads="1"/>
          </p:cNvSpPr>
          <p:nvPr/>
        </p:nvSpPr>
        <p:spPr bwMode="invGray">
          <a:xfrm>
            <a:off x="3114176" y="3178986"/>
            <a:ext cx="1332000" cy="1332000"/>
          </a:xfrm>
          <a:prstGeom prst="ellipse">
            <a:avLst/>
          </a:prstGeom>
          <a:solidFill>
            <a:schemeClr val="bg1"/>
          </a:solidFill>
          <a:ln w="19050">
            <a:solidFill>
              <a:schemeClr val="accent2"/>
            </a:solidFill>
            <a:miter lim="800000"/>
            <a:headEnd/>
            <a:tailEnd/>
          </a:ln>
        </p:spPr>
        <p:txBody>
          <a:bodyPr wrap="none" lIns="0" tIns="0" rIns="0" bIns="0" anchor="ctr">
            <a:noAutofit/>
          </a:bodyPr>
          <a:lstStyle/>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Stage 2</a:t>
            </a:r>
          </a:p>
          <a:p>
            <a:pPr marL="0" marR="0" lvl="0" indent="0" algn="ctr" defTabSz="820442" rtl="0" eaLnBrk="1" fontAlgn="base" latinLnBrk="0" hangingPunct="1">
              <a:lnSpc>
                <a:spcPct val="95000"/>
              </a:lnSpc>
              <a:spcBef>
                <a:spcPct val="0"/>
              </a:spcBef>
              <a:spcAft>
                <a:spcPct val="0"/>
              </a:spcAft>
              <a:buClrTx/>
              <a:buSzTx/>
              <a:buFontTx/>
              <a:buNone/>
              <a:tabLst/>
              <a:defRPr/>
            </a:pPr>
            <a:endPar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endParaRP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Localised </a:t>
            </a: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Analytics</a:t>
            </a:r>
          </a:p>
        </p:txBody>
      </p:sp>
      <p:sp>
        <p:nvSpPr>
          <p:cNvPr id="8" name="Rectangle 9"/>
          <p:cNvSpPr>
            <a:spLocks noChangeArrowheads="1"/>
          </p:cNvSpPr>
          <p:nvPr/>
        </p:nvSpPr>
        <p:spPr bwMode="invGray">
          <a:xfrm>
            <a:off x="7396213" y="2206290"/>
            <a:ext cx="1332000" cy="1332000"/>
          </a:xfrm>
          <a:prstGeom prst="ellipse">
            <a:avLst/>
          </a:prstGeom>
          <a:solidFill>
            <a:schemeClr val="bg1"/>
          </a:solidFill>
          <a:ln w="19050">
            <a:solidFill>
              <a:schemeClr val="accent4"/>
            </a:solidFill>
            <a:miter lim="800000"/>
            <a:headEnd/>
            <a:tailEnd/>
          </a:ln>
        </p:spPr>
        <p:txBody>
          <a:bodyPr wrap="none" lIns="0" tIns="0" rIns="0" bIns="0" anchor="ctr">
            <a:noAutofit/>
          </a:bodyPr>
          <a:lstStyle/>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srgbClr val="000000"/>
                </a:solidFill>
                <a:effectLst/>
                <a:uLnTx/>
                <a:uFillTx/>
                <a:latin typeface="Open Sans"/>
                <a:ea typeface="ＭＳ Ｐゴシック" pitchFamily="50" charset="-128"/>
                <a:cs typeface="Open Sans SemiBold" panose="020B0606030504020204" pitchFamily="34" charset="0"/>
              </a:rPr>
              <a:t>Stage 4</a:t>
            </a:r>
          </a:p>
          <a:p>
            <a:pPr marL="0" marR="0" lvl="0" indent="0" algn="ctr" defTabSz="820442" rtl="0" eaLnBrk="1" fontAlgn="base" latinLnBrk="0" hangingPunct="1">
              <a:lnSpc>
                <a:spcPct val="95000"/>
              </a:lnSpc>
              <a:spcBef>
                <a:spcPct val="0"/>
              </a:spcBef>
              <a:spcAft>
                <a:spcPct val="0"/>
              </a:spcAft>
              <a:buClrTx/>
              <a:buSzTx/>
              <a:buFontTx/>
              <a:buNone/>
              <a:tabLst/>
              <a:defRPr/>
            </a:pPr>
            <a:endParaRPr kumimoji="0" lang="en-GB" sz="1000" b="1" u="none" strike="noStrike" kern="0" cap="none" spc="0" normalizeH="0" baseline="0" noProof="0" dirty="0">
              <a:ln>
                <a:noFill/>
              </a:ln>
              <a:solidFill>
                <a:srgbClr val="000000"/>
              </a:solidFill>
              <a:effectLst/>
              <a:uLnTx/>
              <a:uFillTx/>
              <a:latin typeface="Open Sans"/>
              <a:ea typeface="ＭＳ Ｐゴシック" pitchFamily="50" charset="-128"/>
              <a:cs typeface="Open Sans SemiBold" panose="020B0606030504020204" pitchFamily="34" charset="0"/>
            </a:endParaRP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srgbClr val="000000"/>
                </a:solidFill>
                <a:effectLst/>
                <a:uLnTx/>
                <a:uFillTx/>
                <a:latin typeface="Open Sans"/>
                <a:ea typeface="ＭＳ Ｐゴシック" pitchFamily="50" charset="-128"/>
                <a:cs typeface="Open Sans SemiBold" panose="020B0606030504020204" pitchFamily="34" charset="0"/>
              </a:rPr>
              <a:t>Analytical </a:t>
            </a: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srgbClr val="000000"/>
                </a:solidFill>
                <a:effectLst/>
                <a:uLnTx/>
                <a:uFillTx/>
                <a:latin typeface="Open Sans"/>
                <a:ea typeface="ＭＳ Ｐゴシック" pitchFamily="50" charset="-128"/>
                <a:cs typeface="Open Sans SemiBold" panose="020B0606030504020204" pitchFamily="34" charset="0"/>
              </a:rPr>
              <a:t>Companies</a:t>
            </a:r>
          </a:p>
        </p:txBody>
      </p:sp>
      <p:sp>
        <p:nvSpPr>
          <p:cNvPr id="9" name="Rectangle 8"/>
          <p:cNvSpPr>
            <a:spLocks noChangeArrowheads="1"/>
          </p:cNvSpPr>
          <p:nvPr/>
        </p:nvSpPr>
        <p:spPr bwMode="invGray">
          <a:xfrm>
            <a:off x="5247844" y="2782354"/>
            <a:ext cx="1332000" cy="1332000"/>
          </a:xfrm>
          <a:prstGeom prst="ellipse">
            <a:avLst/>
          </a:prstGeom>
          <a:solidFill>
            <a:schemeClr val="bg1"/>
          </a:solidFill>
          <a:ln w="19050">
            <a:solidFill>
              <a:schemeClr val="accent3"/>
            </a:solidFill>
            <a:miter lim="800000"/>
            <a:headEnd/>
            <a:tailEnd/>
          </a:ln>
        </p:spPr>
        <p:txBody>
          <a:bodyPr wrap="none" lIns="0" tIns="0" rIns="0" bIns="0" anchor="ctr">
            <a:noAutofit/>
          </a:bodyPr>
          <a:lstStyle/>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Stage 3</a:t>
            </a:r>
          </a:p>
          <a:p>
            <a:pPr marL="0" marR="0" lvl="0" indent="0" algn="ctr" defTabSz="820442" rtl="0" eaLnBrk="1" fontAlgn="base" latinLnBrk="0" hangingPunct="1">
              <a:lnSpc>
                <a:spcPct val="95000"/>
              </a:lnSpc>
              <a:spcBef>
                <a:spcPct val="0"/>
              </a:spcBef>
              <a:spcAft>
                <a:spcPct val="0"/>
              </a:spcAft>
              <a:buClrTx/>
              <a:buSzTx/>
              <a:buFontTx/>
              <a:buNone/>
              <a:tabLst/>
              <a:defRPr/>
            </a:pPr>
            <a:endPar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endParaRP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Analytical </a:t>
            </a: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0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rPr>
              <a:t>Aspirations</a:t>
            </a:r>
          </a:p>
        </p:txBody>
      </p:sp>
      <p:cxnSp>
        <p:nvCxnSpPr>
          <p:cNvPr id="10" name="Straight Arrow Connector 9"/>
          <p:cNvCxnSpPr/>
          <p:nvPr/>
        </p:nvCxnSpPr>
        <p:spPr>
          <a:xfrm>
            <a:off x="657247" y="5806296"/>
            <a:ext cx="10710960" cy="47501"/>
          </a:xfrm>
          <a:prstGeom prst="straightConnector1">
            <a:avLst/>
          </a:prstGeom>
          <a:noFill/>
          <a:ln w="19050" cap="flat" cmpd="sng" algn="ctr">
            <a:solidFill>
              <a:srgbClr val="2E2E2E"/>
            </a:solidFill>
            <a:prstDash val="solid"/>
            <a:tailEnd type="arrow"/>
          </a:ln>
          <a:effectLst/>
        </p:spPr>
      </p:cxnSp>
      <p:sp>
        <p:nvSpPr>
          <p:cNvPr id="11" name="TextBox 10"/>
          <p:cNvSpPr txBox="1"/>
          <p:nvPr/>
        </p:nvSpPr>
        <p:spPr>
          <a:xfrm>
            <a:off x="1098946" y="5841924"/>
            <a:ext cx="1306594"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chemeClr val="accent1">
                    <a:lumMod val="75000"/>
                  </a:schemeClr>
                </a:solidFill>
                <a:effectLst/>
                <a:uLnTx/>
                <a:uFillTx/>
                <a:latin typeface="Open Sans"/>
                <a:ea typeface="+mn-ea"/>
                <a:cs typeface="Open Sans" panose="020B0606030504020204" pitchFamily="34" charset="0"/>
              </a:rPr>
              <a:t>Analytics</a:t>
            </a:r>
          </a:p>
        </p:txBody>
      </p:sp>
      <p:sp>
        <p:nvSpPr>
          <p:cNvPr id="12" name="TextBox 11"/>
          <p:cNvSpPr txBox="1"/>
          <p:nvPr/>
        </p:nvSpPr>
        <p:spPr>
          <a:xfrm>
            <a:off x="1839540" y="5585644"/>
            <a:ext cx="1306594"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chemeClr val="accent1">
                    <a:lumMod val="75000"/>
                  </a:schemeClr>
                </a:solidFill>
                <a:effectLst/>
                <a:uLnTx/>
                <a:uFillTx/>
                <a:latin typeface="Open Sans"/>
                <a:ea typeface="+mn-ea"/>
                <a:cs typeface="Open Sans" panose="020B0606030504020204" pitchFamily="34" charset="0"/>
              </a:rPr>
              <a:t>Visualization</a:t>
            </a:r>
          </a:p>
        </p:txBody>
      </p:sp>
      <p:sp>
        <p:nvSpPr>
          <p:cNvPr id="13" name="TextBox 12"/>
          <p:cNvSpPr txBox="1"/>
          <p:nvPr/>
        </p:nvSpPr>
        <p:spPr>
          <a:xfrm>
            <a:off x="2231851" y="5844919"/>
            <a:ext cx="2750644"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chemeClr val="accent2">
                    <a:lumMod val="60000"/>
                    <a:lumOff val="40000"/>
                  </a:schemeClr>
                </a:solidFill>
                <a:effectLst/>
                <a:uLnTx/>
                <a:uFillTx/>
                <a:latin typeface="Open Sans"/>
                <a:ea typeface="+mn-ea"/>
                <a:cs typeface="Open Sans" panose="020B0606030504020204" pitchFamily="34" charset="0"/>
              </a:rPr>
              <a:t>Rise of the Data Scientist</a:t>
            </a:r>
          </a:p>
        </p:txBody>
      </p:sp>
      <p:sp>
        <p:nvSpPr>
          <p:cNvPr id="14" name="TextBox 13"/>
          <p:cNvSpPr txBox="1"/>
          <p:nvPr/>
        </p:nvSpPr>
        <p:spPr>
          <a:xfrm>
            <a:off x="3431565" y="5583669"/>
            <a:ext cx="1847670"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chemeClr val="accent2">
                    <a:lumMod val="60000"/>
                    <a:lumOff val="40000"/>
                  </a:schemeClr>
                </a:solidFill>
                <a:effectLst/>
                <a:uLnTx/>
                <a:uFillTx/>
                <a:latin typeface="Open Sans"/>
                <a:ea typeface="+mn-ea"/>
                <a:cs typeface="Open Sans" panose="020B0606030504020204" pitchFamily="34" charset="0"/>
              </a:rPr>
              <a:t>Managed Analytics</a:t>
            </a:r>
          </a:p>
        </p:txBody>
      </p:sp>
      <p:sp>
        <p:nvSpPr>
          <p:cNvPr id="15" name="TextBox 14"/>
          <p:cNvSpPr txBox="1"/>
          <p:nvPr/>
        </p:nvSpPr>
        <p:spPr>
          <a:xfrm>
            <a:off x="4732812" y="5842817"/>
            <a:ext cx="1514174"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rgbClr val="6FC2B4"/>
                </a:solidFill>
                <a:effectLst/>
                <a:uLnTx/>
                <a:uFillTx/>
                <a:latin typeface="Open Sans"/>
                <a:ea typeface="+mn-ea"/>
                <a:cs typeface="Open Sans" panose="020B0606030504020204" pitchFamily="34" charset="0"/>
              </a:rPr>
              <a:t>Big Data</a:t>
            </a:r>
          </a:p>
        </p:txBody>
      </p:sp>
      <p:sp>
        <p:nvSpPr>
          <p:cNvPr id="16" name="TextBox 15"/>
          <p:cNvSpPr txBox="1"/>
          <p:nvPr/>
        </p:nvSpPr>
        <p:spPr>
          <a:xfrm>
            <a:off x="5598146" y="5591594"/>
            <a:ext cx="1831625"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rgbClr val="6FC2B4"/>
                </a:solidFill>
                <a:effectLst/>
                <a:uLnTx/>
                <a:uFillTx/>
                <a:latin typeface="Open Sans"/>
                <a:ea typeface="+mn-ea"/>
                <a:cs typeface="Open Sans" panose="020B0606030504020204" pitchFamily="34" charset="0"/>
              </a:rPr>
              <a:t>Crowd Sourcing</a:t>
            </a:r>
          </a:p>
        </p:txBody>
      </p:sp>
      <p:sp>
        <p:nvSpPr>
          <p:cNvPr id="17" name="TextBox 16"/>
          <p:cNvSpPr txBox="1"/>
          <p:nvPr/>
        </p:nvSpPr>
        <p:spPr>
          <a:xfrm>
            <a:off x="6856079" y="5850867"/>
            <a:ext cx="2377597"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rgbClr val="62B5E5">
                    <a:lumMod val="75000"/>
                  </a:srgbClr>
                </a:solidFill>
                <a:effectLst/>
                <a:uLnTx/>
                <a:uFillTx/>
                <a:latin typeface="Open Sans"/>
                <a:ea typeface="+mn-ea"/>
                <a:cs typeface="Open Sans" panose="020B0606030504020204" pitchFamily="34" charset="0"/>
              </a:rPr>
              <a:t>Internet of Things</a:t>
            </a:r>
          </a:p>
        </p:txBody>
      </p:sp>
      <p:sp>
        <p:nvSpPr>
          <p:cNvPr id="18" name="TextBox 17"/>
          <p:cNvSpPr txBox="1"/>
          <p:nvPr/>
        </p:nvSpPr>
        <p:spPr>
          <a:xfrm>
            <a:off x="8131724" y="5583956"/>
            <a:ext cx="1859002"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rgbClr val="62B5E5">
                    <a:lumMod val="75000"/>
                  </a:srgbClr>
                </a:solidFill>
                <a:effectLst/>
                <a:uLnTx/>
                <a:uFillTx/>
                <a:latin typeface="Open Sans"/>
                <a:ea typeface="+mn-ea"/>
                <a:cs typeface="Open Sans" panose="020B0606030504020204" pitchFamily="34" charset="0"/>
              </a:rPr>
              <a:t>Machine Learning</a:t>
            </a:r>
          </a:p>
        </p:txBody>
      </p:sp>
      <p:sp>
        <p:nvSpPr>
          <p:cNvPr id="19" name="TextBox 18"/>
          <p:cNvSpPr txBox="1"/>
          <p:nvPr/>
        </p:nvSpPr>
        <p:spPr>
          <a:xfrm>
            <a:off x="9604789" y="5862744"/>
            <a:ext cx="1763417" cy="261580"/>
          </a:xfrm>
          <a:prstGeom prst="rect">
            <a:avLst/>
          </a:prstGeom>
          <a:noFill/>
          <a:ln>
            <a:solidFill>
              <a:schemeClr val="accent6"/>
            </a:solidFill>
          </a:ln>
        </p:spPr>
        <p:txBody>
          <a:bodyPr wrap="square" lIns="91407" tIns="45705" rIns="91407" bIns="45705" rtlCol="0">
            <a:spAutoFit/>
          </a:bodyPr>
          <a:lstStyle/>
          <a:p>
            <a:pPr marL="0" marR="0" lvl="0" indent="0" algn="ctr"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rgbClr val="00ABAB"/>
                </a:solidFill>
                <a:effectLst/>
                <a:uLnTx/>
                <a:uFillTx/>
                <a:latin typeface="Open Sans"/>
                <a:ea typeface="+mn-ea"/>
                <a:cs typeface="Open Sans" panose="020B0606030504020204" pitchFamily="34" charset="0"/>
              </a:rPr>
              <a:t>Digital Enterprise </a:t>
            </a:r>
          </a:p>
        </p:txBody>
      </p:sp>
      <p:sp>
        <p:nvSpPr>
          <p:cNvPr id="20" name="TextBox 19"/>
          <p:cNvSpPr txBox="1"/>
          <p:nvPr/>
        </p:nvSpPr>
        <p:spPr>
          <a:xfrm>
            <a:off x="525883" y="5580744"/>
            <a:ext cx="1199550" cy="261580"/>
          </a:xfrm>
          <a:prstGeom prst="rect">
            <a:avLst/>
          </a:prstGeom>
          <a:noFill/>
        </p:spPr>
        <p:txBody>
          <a:bodyPr wrap="square" lIns="91407" tIns="45705" rIns="91407" bIns="45705" rtlCol="0">
            <a:sp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chemeClr val="accent1">
                    <a:lumMod val="75000"/>
                  </a:schemeClr>
                </a:solidFill>
                <a:effectLst/>
                <a:uLnTx/>
                <a:uFillTx/>
                <a:latin typeface="Open Sans"/>
                <a:ea typeface="+mn-ea"/>
                <a:cs typeface="Open Sans" panose="020B0606030504020204" pitchFamily="34" charset="0"/>
              </a:rPr>
              <a:t>BI/Reporting</a:t>
            </a:r>
          </a:p>
        </p:txBody>
      </p:sp>
      <p:sp>
        <p:nvSpPr>
          <p:cNvPr id="21" name="Rectangle 9"/>
          <p:cNvSpPr>
            <a:spLocks noChangeArrowheads="1"/>
          </p:cNvSpPr>
          <p:nvPr/>
        </p:nvSpPr>
        <p:spPr bwMode="invGray">
          <a:xfrm>
            <a:off x="9499024" y="1558218"/>
            <a:ext cx="1332000" cy="1332000"/>
          </a:xfrm>
          <a:prstGeom prst="ellipse">
            <a:avLst/>
          </a:prstGeom>
          <a:solidFill>
            <a:schemeClr val="accent3"/>
          </a:solidFill>
          <a:ln w="19050">
            <a:noFill/>
            <a:miter lim="800000"/>
            <a:headEnd/>
            <a:tailEnd/>
          </a:ln>
        </p:spPr>
        <p:txBody>
          <a:bodyPr wrap="none" lIns="0" tIns="0" rIns="0" bIns="0" anchor="ctr">
            <a:noAutofit/>
          </a:bodyPr>
          <a:lstStyle/>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100" b="1" u="none" strike="noStrike" kern="0" cap="none" spc="0" normalizeH="0" baseline="0" noProof="0" dirty="0">
                <a:ln>
                  <a:noFill/>
                </a:ln>
                <a:solidFill>
                  <a:schemeClr val="bg1"/>
                </a:solidFill>
                <a:effectLst/>
                <a:uLnTx/>
                <a:uFillTx/>
                <a:latin typeface="Open Sans"/>
                <a:ea typeface="ＭＳ Ｐゴシック" pitchFamily="50" charset="-128"/>
                <a:cs typeface="Open Sans SemiBold" panose="020B0606030504020204" pitchFamily="34" charset="0"/>
              </a:rPr>
              <a:t>Stage 5</a:t>
            </a:r>
          </a:p>
          <a:p>
            <a:pPr marL="0" marR="0" lvl="0" indent="0" algn="ctr" defTabSz="820442" rtl="0" eaLnBrk="1" fontAlgn="base" latinLnBrk="0" hangingPunct="1">
              <a:lnSpc>
                <a:spcPct val="95000"/>
              </a:lnSpc>
              <a:spcBef>
                <a:spcPct val="0"/>
              </a:spcBef>
              <a:spcAft>
                <a:spcPct val="0"/>
              </a:spcAft>
              <a:buClrTx/>
              <a:buSzTx/>
              <a:buFontTx/>
              <a:buNone/>
              <a:tabLst/>
              <a:defRPr/>
            </a:pPr>
            <a:endParaRPr kumimoji="0" lang="en-GB" sz="1100" b="1" u="none" strike="noStrike" kern="0" cap="none" spc="0" normalizeH="0" baseline="0" noProof="0" dirty="0">
              <a:ln>
                <a:noFill/>
              </a:ln>
              <a:solidFill>
                <a:prstClr val="black"/>
              </a:solidFill>
              <a:effectLst/>
              <a:uLnTx/>
              <a:uFillTx/>
              <a:latin typeface="Open Sans"/>
              <a:ea typeface="ＭＳ Ｐゴシック" pitchFamily="50" charset="-128"/>
              <a:cs typeface="Open Sans SemiBold" panose="020B0606030504020204" pitchFamily="34" charset="0"/>
            </a:endParaRP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100" b="1" u="none" strike="noStrike" kern="0" cap="none" spc="0" normalizeH="0" baseline="0" noProof="0" dirty="0">
                <a:ln>
                  <a:noFill/>
                </a:ln>
                <a:solidFill>
                  <a:schemeClr val="bg1"/>
                </a:solidFill>
                <a:effectLst/>
                <a:uLnTx/>
                <a:uFillTx/>
                <a:latin typeface="Open Sans"/>
                <a:ea typeface="ＭＳ Ｐゴシック" pitchFamily="50" charset="-128"/>
                <a:cs typeface="Open Sans SemiBold" panose="020B0606030504020204" pitchFamily="34" charset="0"/>
              </a:rPr>
              <a:t>Insight Driven </a:t>
            </a:r>
          </a:p>
          <a:p>
            <a:pPr marL="0" marR="0" lvl="0" indent="0" algn="ctr" defTabSz="820442" rtl="0" eaLnBrk="1" fontAlgn="base" latinLnBrk="0" hangingPunct="1">
              <a:lnSpc>
                <a:spcPct val="95000"/>
              </a:lnSpc>
              <a:spcBef>
                <a:spcPct val="0"/>
              </a:spcBef>
              <a:spcAft>
                <a:spcPct val="0"/>
              </a:spcAft>
              <a:buClrTx/>
              <a:buSzTx/>
              <a:buFontTx/>
              <a:buNone/>
              <a:tabLst/>
              <a:defRPr/>
            </a:pPr>
            <a:r>
              <a:rPr kumimoji="0" lang="en-GB" sz="1100" b="1" u="none" strike="noStrike" kern="0" cap="none" spc="0" normalizeH="0" baseline="0" noProof="0" dirty="0">
                <a:ln>
                  <a:noFill/>
                </a:ln>
                <a:solidFill>
                  <a:schemeClr val="bg1"/>
                </a:solidFill>
                <a:effectLst/>
                <a:uLnTx/>
                <a:uFillTx/>
                <a:latin typeface="Open Sans"/>
                <a:ea typeface="ＭＳ Ｐゴシック" pitchFamily="50" charset="-128"/>
                <a:cs typeface="Open Sans SemiBold" panose="020B0606030504020204" pitchFamily="34" charset="0"/>
              </a:rPr>
              <a:t>Organisation</a:t>
            </a:r>
          </a:p>
        </p:txBody>
      </p:sp>
      <p:sp>
        <p:nvSpPr>
          <p:cNvPr id="22" name="Freeform 5"/>
          <p:cNvSpPr>
            <a:spLocks/>
          </p:cNvSpPr>
          <p:nvPr/>
        </p:nvSpPr>
        <p:spPr bwMode="blackWhite">
          <a:xfrm>
            <a:off x="743316" y="4501210"/>
            <a:ext cx="2117997" cy="1006396"/>
          </a:xfrm>
          <a:prstGeom prst="rect">
            <a:avLst/>
          </a:prstGeom>
          <a:noFill/>
          <a:ln w="28575" cap="rnd">
            <a:noFill/>
            <a:round/>
            <a:headEnd/>
            <a:tailEnd/>
          </a:ln>
        </p:spPr>
        <p:txBody>
          <a:bodyPr lIns="91407" tIns="365628" rIns="91407" bIns="45705" anchor="t" anchorCtr="0">
            <a:no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rPr>
              <a:t>Aware of analytics, but little to no infrastructure and poorly defined analytics strategy</a:t>
            </a:r>
          </a:p>
        </p:txBody>
      </p:sp>
      <p:sp>
        <p:nvSpPr>
          <p:cNvPr id="23" name="Freeform 5"/>
          <p:cNvSpPr>
            <a:spLocks/>
          </p:cNvSpPr>
          <p:nvPr/>
        </p:nvSpPr>
        <p:spPr bwMode="blackWhite">
          <a:xfrm>
            <a:off x="3065938" y="4224227"/>
            <a:ext cx="2117997" cy="1114958"/>
          </a:xfrm>
          <a:prstGeom prst="rect">
            <a:avLst/>
          </a:prstGeom>
          <a:noFill/>
          <a:ln w="28575" cap="rnd">
            <a:noFill/>
            <a:round/>
            <a:headEnd/>
            <a:tailEnd/>
          </a:ln>
        </p:spPr>
        <p:txBody>
          <a:bodyPr lIns="91407" tIns="365628" rIns="91407" bIns="45705" anchor="t" anchorCtr="0">
            <a:noAutofit/>
          </a:bodyPr>
          <a:lstStyle/>
          <a:p>
            <a:pPr marL="0" marR="0" lvl="0" indent="0" algn="l" defTabSz="914180" rtl="0" eaLnBrk="1" fontAlgn="base" latinLnBrk="0" hangingPunct="1">
              <a:lnSpc>
                <a:spcPct val="100000"/>
              </a:lnSpc>
              <a:spcBef>
                <a:spcPct val="0"/>
              </a:spcBef>
              <a:spcAft>
                <a:spcPts val="600"/>
              </a:spcAft>
              <a:buClrTx/>
              <a:buSzTx/>
              <a:buFontTx/>
              <a:buNone/>
              <a:tabLst/>
              <a:defRPr/>
            </a:pPr>
            <a:r>
              <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rPr>
              <a:t>Adopting analytics, building capability and articulating an analytics strategy in silos</a:t>
            </a:r>
          </a:p>
          <a:p>
            <a:pPr marL="0" marR="0" lvl="0" indent="0" algn="l" defTabSz="914180" rtl="0" eaLnBrk="1" fontAlgn="base" latinLnBrk="0" hangingPunct="1">
              <a:lnSpc>
                <a:spcPct val="100000"/>
              </a:lnSpc>
              <a:spcBef>
                <a:spcPct val="0"/>
              </a:spcBef>
              <a:spcAft>
                <a:spcPts val="600"/>
              </a:spcAft>
              <a:buClrTx/>
              <a:buSzTx/>
              <a:buFontTx/>
              <a:buNone/>
              <a:tabLst/>
              <a:defRPr/>
            </a:pPr>
            <a:endPar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endParaRPr>
          </a:p>
          <a:p>
            <a:pPr marL="111086" marR="0" lvl="0" indent="-111086" algn="l" defTabSz="914180" rtl="0" eaLnBrk="1" fontAlgn="base" latinLnBrk="0" hangingPunct="1">
              <a:lnSpc>
                <a:spcPct val="100000"/>
              </a:lnSpc>
              <a:spcBef>
                <a:spcPct val="0"/>
              </a:spcBef>
              <a:spcAft>
                <a:spcPts val="600"/>
              </a:spcAft>
              <a:buClrTx/>
              <a:buSzTx/>
              <a:buFont typeface="Arial" pitchFamily="34" charset="0"/>
              <a:buChar char="•"/>
              <a:tabLst/>
              <a:defRPr/>
            </a:pPr>
            <a:endPar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endParaRPr>
          </a:p>
        </p:txBody>
      </p:sp>
      <p:sp>
        <p:nvSpPr>
          <p:cNvPr id="24" name="Freeform 5"/>
          <p:cNvSpPr>
            <a:spLocks/>
          </p:cNvSpPr>
          <p:nvPr/>
        </p:nvSpPr>
        <p:spPr bwMode="blackWhite">
          <a:xfrm>
            <a:off x="5183935" y="3864187"/>
            <a:ext cx="2117997" cy="1288252"/>
          </a:xfrm>
          <a:prstGeom prst="rect">
            <a:avLst/>
          </a:prstGeom>
          <a:noFill/>
          <a:ln w="28575" cap="rnd">
            <a:noFill/>
            <a:round/>
            <a:headEnd/>
            <a:tailEnd/>
          </a:ln>
        </p:spPr>
        <p:txBody>
          <a:bodyPr lIns="91407" tIns="365628" rIns="91407" bIns="45705" anchor="t" anchorCtr="0">
            <a:noAutofit/>
          </a:bodyPr>
          <a:lstStyle/>
          <a:p>
            <a:pPr marL="0" marR="0" lvl="0" indent="0" algn="l" defTabSz="914180" rtl="0" eaLnBrk="1" fontAlgn="base" latinLnBrk="0" hangingPunct="1">
              <a:lnSpc>
                <a:spcPct val="100000"/>
              </a:lnSpc>
              <a:spcBef>
                <a:spcPct val="0"/>
              </a:spcBef>
              <a:spcAft>
                <a:spcPts val="600"/>
              </a:spcAft>
              <a:buClrTx/>
              <a:buSzTx/>
              <a:buFontTx/>
              <a:buNone/>
              <a:tabLst/>
              <a:defRPr/>
            </a:pPr>
            <a:r>
              <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rPr>
              <a:t>Expanding ad-hoc analytical capabilities beyond silos and into mainstream business functions</a:t>
            </a:r>
          </a:p>
          <a:p>
            <a:pPr marL="111086" marR="0" lvl="0" indent="-111086" algn="l" defTabSz="914180" rtl="0" eaLnBrk="1" fontAlgn="base" latinLnBrk="0" hangingPunct="1">
              <a:lnSpc>
                <a:spcPct val="100000"/>
              </a:lnSpc>
              <a:spcBef>
                <a:spcPct val="0"/>
              </a:spcBef>
              <a:spcAft>
                <a:spcPts val="600"/>
              </a:spcAft>
              <a:buClrTx/>
              <a:buSzTx/>
              <a:buFont typeface="Arial" pitchFamily="34" charset="0"/>
              <a:buChar char="•"/>
              <a:tabLst/>
              <a:defRPr/>
            </a:pPr>
            <a:endPar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endParaRPr>
          </a:p>
        </p:txBody>
      </p:sp>
      <p:sp>
        <p:nvSpPr>
          <p:cNvPr id="25" name="Freeform 5"/>
          <p:cNvSpPr>
            <a:spLocks/>
          </p:cNvSpPr>
          <p:nvPr/>
        </p:nvSpPr>
        <p:spPr bwMode="blackWhite">
          <a:xfrm>
            <a:off x="7486106" y="3288124"/>
            <a:ext cx="2117997" cy="1467597"/>
          </a:xfrm>
          <a:prstGeom prst="rect">
            <a:avLst/>
          </a:prstGeom>
          <a:noFill/>
          <a:ln w="28575" cap="rnd">
            <a:noFill/>
            <a:round/>
            <a:headEnd/>
            <a:tailEnd/>
          </a:ln>
        </p:spPr>
        <p:txBody>
          <a:bodyPr lIns="91407" tIns="365628" rIns="91407" bIns="45705" anchor="t" anchorCtr="0">
            <a:no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000" b="1" u="none" strike="noStrike" kern="1200" cap="none" spc="0" normalizeH="0" baseline="0" noProof="0" dirty="0" err="1">
                <a:ln>
                  <a:noFill/>
                </a:ln>
                <a:solidFill>
                  <a:prstClr val="black"/>
                </a:solidFill>
                <a:effectLst/>
                <a:uLnTx/>
                <a:uFillTx/>
                <a:latin typeface="Open Sans"/>
                <a:ea typeface="+mn-ea"/>
                <a:cs typeface="Open Sans SemiBold" panose="020B0606030504020204" pitchFamily="34" charset="0"/>
              </a:rPr>
              <a:t>Industrialising</a:t>
            </a:r>
            <a:r>
              <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rPr>
              <a:t> analytics to aggregate &amp; combine data from broad sources into meaningful content and new ideas at scale, supported by an analytical culture</a:t>
            </a:r>
          </a:p>
          <a:p>
            <a:pPr marL="0" marR="0" lvl="0" indent="0" algn="l" defTabSz="914180" rtl="0" eaLnBrk="1" fontAlgn="base" latinLnBrk="0" hangingPunct="1">
              <a:lnSpc>
                <a:spcPct val="100000"/>
              </a:lnSpc>
              <a:spcBef>
                <a:spcPct val="0"/>
              </a:spcBef>
              <a:spcAft>
                <a:spcPct val="0"/>
              </a:spcAft>
              <a:buClrTx/>
              <a:buSzTx/>
              <a:buFontTx/>
              <a:buNone/>
              <a:tabLst/>
              <a:defRPr/>
            </a:pPr>
            <a:endPar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endParaRPr>
          </a:p>
          <a:p>
            <a:pPr marL="171450" marR="0" lvl="0" indent="-171450" algn="l" defTabSz="914180"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endParaRPr>
          </a:p>
          <a:p>
            <a:pPr marL="0" marR="0" lvl="0" indent="0" algn="l" defTabSz="914180" rtl="0" eaLnBrk="1" fontAlgn="base" latinLnBrk="0" hangingPunct="1">
              <a:lnSpc>
                <a:spcPct val="100000"/>
              </a:lnSpc>
              <a:spcBef>
                <a:spcPct val="0"/>
              </a:spcBef>
              <a:spcAft>
                <a:spcPct val="0"/>
              </a:spcAft>
              <a:buClrTx/>
              <a:buSzTx/>
              <a:buFontTx/>
              <a:buNone/>
              <a:tabLst/>
              <a:defRPr/>
            </a:pPr>
            <a:endPar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endParaRPr>
          </a:p>
        </p:txBody>
      </p:sp>
      <p:sp>
        <p:nvSpPr>
          <p:cNvPr id="26" name="Freeform 5"/>
          <p:cNvSpPr>
            <a:spLocks/>
          </p:cNvSpPr>
          <p:nvPr/>
        </p:nvSpPr>
        <p:spPr bwMode="blackWhite">
          <a:xfrm>
            <a:off x="9604103" y="2604427"/>
            <a:ext cx="2117997" cy="1749827"/>
          </a:xfrm>
          <a:prstGeom prst="rect">
            <a:avLst/>
          </a:prstGeom>
          <a:noFill/>
          <a:ln w="28575" cap="rnd">
            <a:noFill/>
            <a:round/>
            <a:headEnd/>
            <a:tailEnd/>
          </a:ln>
        </p:spPr>
        <p:txBody>
          <a:bodyPr lIns="91407" tIns="365628" rIns="91407" bIns="45705" anchor="t" anchorCtr="0">
            <a:noAutofit/>
          </a:bodyPr>
          <a:lstStyle/>
          <a:p>
            <a:pPr marL="0" marR="0" lvl="0" indent="0" algn="l" defTabSz="914180" rtl="0" eaLnBrk="1" fontAlgn="base" latinLnBrk="0" hangingPunct="1">
              <a:lnSpc>
                <a:spcPct val="100000"/>
              </a:lnSpc>
              <a:spcBef>
                <a:spcPct val="0"/>
              </a:spcBef>
              <a:spcAft>
                <a:spcPct val="0"/>
              </a:spcAft>
              <a:buClrTx/>
              <a:buSzTx/>
              <a:buFontTx/>
              <a:buNone/>
              <a:tabLst/>
              <a:defRPr/>
            </a:pPr>
            <a:r>
              <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rPr>
              <a:t>Transforming analytics to streamline decision making across all business functions</a:t>
            </a:r>
          </a:p>
          <a:p>
            <a:pPr marL="0" marR="0" lvl="0" indent="0" algn="l" defTabSz="914180" rtl="0" eaLnBrk="1" fontAlgn="base" latinLnBrk="0" hangingPunct="1">
              <a:lnSpc>
                <a:spcPct val="100000"/>
              </a:lnSpc>
              <a:spcBef>
                <a:spcPct val="0"/>
              </a:spcBef>
              <a:spcAft>
                <a:spcPct val="0"/>
              </a:spcAft>
              <a:buClrTx/>
              <a:buSzTx/>
              <a:buFontTx/>
              <a:buNone/>
              <a:tabLst/>
              <a:defRPr/>
            </a:pPr>
            <a:endParaRPr kumimoji="0" lang="en-US" sz="1000" b="1" u="none" strike="noStrike" kern="1200" cap="none" spc="0" normalizeH="0" baseline="0" noProof="0" dirty="0">
              <a:ln>
                <a:noFill/>
              </a:ln>
              <a:solidFill>
                <a:prstClr val="black"/>
              </a:solidFill>
              <a:effectLst/>
              <a:uLnTx/>
              <a:uFillTx/>
              <a:latin typeface="Open Sans"/>
              <a:ea typeface="+mn-ea"/>
              <a:cs typeface="Open Sans SemiBold" panose="020B0606030504020204" pitchFamily="34" charset="0"/>
            </a:endParaRPr>
          </a:p>
        </p:txBody>
      </p:sp>
      <p:sp>
        <p:nvSpPr>
          <p:cNvPr id="27" name="Text Placeholder 2">
            <a:extLst>
              <a:ext uri="{FF2B5EF4-FFF2-40B4-BE49-F238E27FC236}">
                <a16:creationId xmlns:a16="http://schemas.microsoft.com/office/drawing/2014/main" id="{E4A6CB91-ED7F-309E-8322-9083DA73587E}"/>
              </a:ext>
            </a:extLst>
          </p:cNvPr>
          <p:cNvSpPr>
            <a:spLocks noGrp="1"/>
          </p:cNvSpPr>
          <p:nvPr>
            <p:ph type="body" sz="quarter" idx="14"/>
          </p:nvPr>
        </p:nvSpPr>
        <p:spPr>
          <a:xfrm>
            <a:off x="622601" y="1033965"/>
            <a:ext cx="6679331" cy="1513548"/>
          </a:xfrm>
        </p:spPr>
        <p:txBody>
          <a:bodyPr/>
          <a:lstStyle/>
          <a:p>
            <a:r>
              <a:rPr lang="en-US" dirty="0"/>
              <a:t>An Insight-Driven Organization anchors data, analytics, and insight in the decision-making process in all functions and at all levels of the organization. Becoming an IDO is not about replacing human judgement or experience with technology. It is about </a:t>
            </a:r>
            <a:r>
              <a:rPr lang="en-US" b="1" dirty="0"/>
              <a:t>augmenting, accelerating, and enhancing decision making with technology</a:t>
            </a:r>
            <a:r>
              <a:rPr lang="en-US" dirty="0"/>
              <a:t>. </a:t>
            </a:r>
          </a:p>
          <a:p>
            <a:r>
              <a:rPr lang="en-US" dirty="0"/>
              <a:t>Insight Driven Organizations don’t entrust data and analytics activities to one group or team, they </a:t>
            </a:r>
            <a:r>
              <a:rPr lang="en-US" b="1" dirty="0"/>
              <a:t>manage analytics at an enterprise level with an end-to-end view</a:t>
            </a:r>
            <a:r>
              <a:rPr lang="en-US" dirty="0"/>
              <a:t> across strategy, people, process, data and technology. Organizations who fail to make their transformations stick lack integration across these, sometimes taking a blinkered view to digital transformation that focuses heavily on data and technology. </a:t>
            </a:r>
          </a:p>
        </p:txBody>
      </p:sp>
    </p:spTree>
    <p:extLst>
      <p:ext uri="{BB962C8B-B14F-4D97-AF65-F5344CB8AC3E}">
        <p14:creationId xmlns:p14="http://schemas.microsoft.com/office/powerpoint/2010/main" val="22681245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3C0F13F-7E46-10D1-1FFB-6B3E78CC1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6" name="think-cell data - do not delete" hidden="1">
                        <a:extLst>
                          <a:ext uri="{FF2B5EF4-FFF2-40B4-BE49-F238E27FC236}">
                            <a16:creationId xmlns:a16="http://schemas.microsoft.com/office/drawing/2014/main" id="{83C0F13F-7E46-10D1-1FFB-6B3E78CC1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Inhaltsplatzhalter 5">
            <a:extLst>
              <a:ext uri="{FF2B5EF4-FFF2-40B4-BE49-F238E27FC236}">
                <a16:creationId xmlns:a16="http://schemas.microsoft.com/office/drawing/2014/main" id="{6D5E270E-50F7-10F4-1539-35AE9347B558}"/>
              </a:ext>
            </a:extLst>
          </p:cNvPr>
          <p:cNvSpPr txBox="1">
            <a:spLocks/>
          </p:cNvSpPr>
          <p:nvPr/>
        </p:nvSpPr>
        <p:spPr>
          <a:xfrm>
            <a:off x="5810251" y="2726253"/>
            <a:ext cx="5907326" cy="3517528"/>
          </a:xfrm>
          <a:prstGeom prst="rect">
            <a:avLst/>
          </a:prstGeom>
          <a:solidFill>
            <a:schemeClr val="accent3">
              <a:lumMod val="20000"/>
              <a:lumOff val="80000"/>
            </a:schemeClr>
          </a:solidFill>
          <a:ln w="12700">
            <a:noFill/>
            <a:miter lim="800000"/>
            <a:headEnd/>
            <a:tailEnd/>
          </a:ln>
        </p:spPr>
        <p:txBody>
          <a:bodyPr vert="horz" wrap="square" lIns="72000" tIns="72000" rIns="72000" bIns="72000" numCol="1" anchor="ctr" anchorCtr="0" compatLnSpc="1">
            <a:prstTxWarp prst="textNoShape">
              <a:avLst/>
            </a:prstTxWarp>
          </a:bodyPr>
          <a:lstStyle/>
          <a:p>
            <a:pPr marL="0" lvl="1" fontAlgn="base">
              <a:spcAft>
                <a:spcPts val="300"/>
              </a:spcAft>
              <a:defRPr/>
            </a:pP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ext Placeholder 1">
            <a:extLst>
              <a:ext uri="{FF2B5EF4-FFF2-40B4-BE49-F238E27FC236}">
                <a16:creationId xmlns:a16="http://schemas.microsoft.com/office/drawing/2014/main" id="{2E47C59D-6CDA-4AAF-8F55-AEA99127E076}"/>
              </a:ext>
            </a:extLst>
          </p:cNvPr>
          <p:cNvSpPr>
            <a:spLocks noGrp="1"/>
          </p:cNvSpPr>
          <p:nvPr>
            <p:ph type="body" sz="quarter" idx="22"/>
          </p:nvPr>
        </p:nvSpPr>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ata Governance is a discipline originating from Enterprise Information Management and Master Data Management concepts. Deloitte’s Data Governance Framework helps to organize and structure methods and concepts around Data Governance to reach a tailor-made strategy that support GCCS’s needs.</a:t>
            </a:r>
            <a:endParaRPr lang="en-US" dirty="0"/>
          </a:p>
        </p:txBody>
      </p:sp>
      <p:sp>
        <p:nvSpPr>
          <p:cNvPr id="3" name="Title 2">
            <a:extLst>
              <a:ext uri="{FF2B5EF4-FFF2-40B4-BE49-F238E27FC236}">
                <a16:creationId xmlns:a16="http://schemas.microsoft.com/office/drawing/2014/main" id="{2EA41D89-0305-437C-A594-9E2C8586FECB}"/>
              </a:ext>
            </a:extLst>
          </p:cNvPr>
          <p:cNvSpPr>
            <a:spLocks noGrp="1"/>
          </p:cNvSpPr>
          <p:nvPr>
            <p:ph type="title"/>
          </p:nvPr>
        </p:nvSpPr>
        <p:spPr/>
        <p:txBody>
          <a:bodyPr vert="horz"/>
          <a:lstStyle/>
          <a:p>
            <a:r>
              <a:rPr kumimoji="0" lang="en-US" sz="2400" b="0" i="0" u="none" strike="noStrike" kern="1200" cap="none" spc="0" normalizeH="0" baseline="0" dirty="0">
                <a:ln>
                  <a:noFill/>
                </a:ln>
                <a:solidFill>
                  <a:prstClr val="black"/>
                </a:solidFill>
                <a:effectLst/>
                <a:uLnTx/>
                <a:uFillTx/>
                <a:latin typeface="Open Sans Light"/>
                <a:ea typeface="+mj-ea"/>
                <a:cs typeface="Calibri Light"/>
              </a:rPr>
              <a:t>Data Governance</a:t>
            </a:r>
            <a:r>
              <a:rPr kumimoji="0" lang="hu-HU" sz="2400" b="0" i="0" u="none" strike="noStrike" kern="1200" cap="none" spc="0" normalizeH="0" baseline="0" dirty="0">
                <a:ln>
                  <a:noFill/>
                </a:ln>
                <a:solidFill>
                  <a:prstClr val="black"/>
                </a:solidFill>
                <a:effectLst/>
                <a:uLnTx/>
                <a:uFillTx/>
                <a:latin typeface="Open Sans Light"/>
                <a:ea typeface="+mj-ea"/>
                <a:cs typeface="Calibri Light"/>
              </a:rPr>
              <a:t> – a Deloitte</a:t>
            </a:r>
            <a:r>
              <a:rPr kumimoji="0" lang="en-US" sz="2400" b="0" i="0" u="none" strike="noStrike" kern="1200" cap="none" spc="0" normalizeH="0" baseline="0" dirty="0">
                <a:ln>
                  <a:noFill/>
                </a:ln>
                <a:solidFill>
                  <a:prstClr val="black"/>
                </a:solidFill>
                <a:effectLst/>
                <a:uLnTx/>
                <a:uFillTx/>
                <a:latin typeface="Open Sans Light"/>
                <a:ea typeface="+mj-ea"/>
                <a:cs typeface="Calibri Light"/>
              </a:rPr>
              <a:t> framework</a:t>
            </a:r>
            <a:endParaRPr lang="en-US" sz="2400" dirty="0"/>
          </a:p>
        </p:txBody>
      </p:sp>
      <p:sp>
        <p:nvSpPr>
          <p:cNvPr id="7" name="TextBox 6">
            <a:extLst>
              <a:ext uri="{FF2B5EF4-FFF2-40B4-BE49-F238E27FC236}">
                <a16:creationId xmlns:a16="http://schemas.microsoft.com/office/drawing/2014/main" id="{A6093A6A-C055-FE85-AD32-CFEEE833A066}"/>
              </a:ext>
            </a:extLst>
          </p:cNvPr>
          <p:cNvSpPr txBox="1"/>
          <p:nvPr/>
        </p:nvSpPr>
        <p:spPr>
          <a:xfrm>
            <a:off x="711200" y="1732281"/>
            <a:ext cx="11029695" cy="461959"/>
          </a:xfrm>
          <a:prstGeom prst="rect">
            <a:avLst/>
          </a:prstGeom>
          <a:solidFill>
            <a:schemeClr val="bg1">
              <a:lumMod val="95000"/>
            </a:schemeClr>
          </a:solidFill>
        </p:spPr>
        <p:txBody>
          <a:bodyPr wrap="square" lIns="324000" rIns="0" anchor="ctr">
            <a:noAutofit/>
          </a:bodyPr>
          <a:lstStyle/>
          <a:p>
            <a:r>
              <a:rPr lang="en-US" sz="1000" b="1" dirty="0">
                <a:latin typeface="Open Sans Light" panose="020B0306030504020204" pitchFamily="34" charset="0"/>
                <a:ea typeface="Open Sans Light" panose="020B0306030504020204" pitchFamily="34" charset="0"/>
                <a:cs typeface="Open Sans Light" panose="020B0306030504020204" pitchFamily="34" charset="0"/>
              </a:rPr>
              <a:t>Data governance is a set of quality control disciplines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for managing, using, improving, maintaining, monitoring, and protecting information across the enterprise.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A strong data governance ensures consistent and relevant data</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and by extension, competitive agility driven by sound business decision-making.</a:t>
            </a:r>
          </a:p>
        </p:txBody>
      </p:sp>
      <p:grpSp>
        <p:nvGrpSpPr>
          <p:cNvPr id="11" name="Group 10">
            <a:extLst>
              <a:ext uri="{FF2B5EF4-FFF2-40B4-BE49-F238E27FC236}">
                <a16:creationId xmlns:a16="http://schemas.microsoft.com/office/drawing/2014/main" id="{060FED61-A41A-6901-24E3-E05059126228}"/>
              </a:ext>
            </a:extLst>
          </p:cNvPr>
          <p:cNvGrpSpPr/>
          <p:nvPr/>
        </p:nvGrpSpPr>
        <p:grpSpPr>
          <a:xfrm>
            <a:off x="433232" y="1685292"/>
            <a:ext cx="555936" cy="555936"/>
            <a:chOff x="561274" y="1626287"/>
            <a:chExt cx="432000" cy="432000"/>
          </a:xfrm>
          <a:solidFill>
            <a:schemeClr val="accent3"/>
          </a:solidFill>
        </p:grpSpPr>
        <p:sp>
          <p:nvSpPr>
            <p:cNvPr id="9" name="Oval 8">
              <a:extLst>
                <a:ext uri="{FF2B5EF4-FFF2-40B4-BE49-F238E27FC236}">
                  <a16:creationId xmlns:a16="http://schemas.microsoft.com/office/drawing/2014/main" id="{0BC40E79-FAAF-E5AE-6125-7A7B661997D0}"/>
                </a:ext>
              </a:extLst>
            </p:cNvPr>
            <p:cNvSpPr/>
            <p:nvPr/>
          </p:nvSpPr>
          <p:spPr bwMode="gray">
            <a:xfrm>
              <a:off x="561274" y="1626287"/>
              <a:ext cx="432000" cy="432000"/>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Freeform 606">
              <a:extLst>
                <a:ext uri="{FF2B5EF4-FFF2-40B4-BE49-F238E27FC236}">
                  <a16:creationId xmlns:a16="http://schemas.microsoft.com/office/drawing/2014/main" id="{AB5CED6A-9FBB-1376-343C-ABAE417B023E}"/>
                </a:ext>
              </a:extLst>
            </p:cNvPr>
            <p:cNvSpPr>
              <a:spLocks noChangeAspect="1" noEditPoints="1"/>
            </p:cNvSpPr>
            <p:nvPr/>
          </p:nvSpPr>
          <p:spPr bwMode="auto">
            <a:xfrm>
              <a:off x="593283" y="1658296"/>
              <a:ext cx="367982" cy="367982"/>
            </a:xfrm>
            <a:custGeom>
              <a:avLst/>
              <a:gdLst>
                <a:gd name="T0" fmla="*/ 330 w 512"/>
                <a:gd name="T1" fmla="*/ 117 h 512"/>
                <a:gd name="T2" fmla="*/ 352 w 512"/>
                <a:gd name="T3" fmla="*/ 117 h 512"/>
                <a:gd name="T4" fmla="*/ 352 w 512"/>
                <a:gd name="T5" fmla="*/ 394 h 512"/>
                <a:gd name="T6" fmla="*/ 160 w 512"/>
                <a:gd name="T7" fmla="*/ 394 h 512"/>
                <a:gd name="T8" fmla="*/ 160 w 512"/>
                <a:gd name="T9" fmla="*/ 117 h 512"/>
                <a:gd name="T10" fmla="*/ 245 w 512"/>
                <a:gd name="T11" fmla="*/ 117 h 512"/>
                <a:gd name="T12" fmla="*/ 245 w 512"/>
                <a:gd name="T13" fmla="*/ 288 h 512"/>
                <a:gd name="T14" fmla="*/ 252 w 512"/>
                <a:gd name="T15" fmla="*/ 298 h 512"/>
                <a:gd name="T16" fmla="*/ 263 w 512"/>
                <a:gd name="T17" fmla="*/ 295 h 512"/>
                <a:gd name="T18" fmla="*/ 288 w 512"/>
                <a:gd name="T19" fmla="*/ 271 h 512"/>
                <a:gd name="T20" fmla="*/ 312 w 512"/>
                <a:gd name="T21" fmla="*/ 295 h 512"/>
                <a:gd name="T22" fmla="*/ 320 w 512"/>
                <a:gd name="T23" fmla="*/ 298 h 512"/>
                <a:gd name="T24" fmla="*/ 324 w 512"/>
                <a:gd name="T25" fmla="*/ 298 h 512"/>
                <a:gd name="T26" fmla="*/ 330 w 512"/>
                <a:gd name="T27" fmla="*/ 288 h 512"/>
                <a:gd name="T28" fmla="*/ 330 w 512"/>
                <a:gd name="T29" fmla="*/ 117 h 512"/>
                <a:gd name="T30" fmla="*/ 295 w 512"/>
                <a:gd name="T31" fmla="*/ 248 h 512"/>
                <a:gd name="T32" fmla="*/ 309 w 512"/>
                <a:gd name="T33" fmla="*/ 262 h 512"/>
                <a:gd name="T34" fmla="*/ 309 w 512"/>
                <a:gd name="T35" fmla="*/ 117 h 512"/>
                <a:gd name="T36" fmla="*/ 266 w 512"/>
                <a:gd name="T37" fmla="*/ 117 h 512"/>
                <a:gd name="T38" fmla="*/ 266 w 512"/>
                <a:gd name="T39" fmla="*/ 262 h 512"/>
                <a:gd name="T40" fmla="*/ 280 w 512"/>
                <a:gd name="T41" fmla="*/ 248 h 512"/>
                <a:gd name="T42" fmla="*/ 295 w 512"/>
                <a:gd name="T43" fmla="*/ 24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3 w 512"/>
                <a:gd name="T55" fmla="*/ 106 h 512"/>
                <a:gd name="T56" fmla="*/ 362 w 512"/>
                <a:gd name="T57" fmla="*/ 96 h 512"/>
                <a:gd name="T58" fmla="*/ 149 w 512"/>
                <a:gd name="T59" fmla="*/ 96 h 512"/>
                <a:gd name="T60" fmla="*/ 138 w 512"/>
                <a:gd name="T61" fmla="*/ 106 h 512"/>
                <a:gd name="T62" fmla="*/ 138 w 512"/>
                <a:gd name="T63" fmla="*/ 405 h 512"/>
                <a:gd name="T64" fmla="*/ 149 w 512"/>
                <a:gd name="T65" fmla="*/ 416 h 512"/>
                <a:gd name="T66" fmla="*/ 362 w 512"/>
                <a:gd name="T67" fmla="*/ 416 h 512"/>
                <a:gd name="T68" fmla="*/ 373 w 512"/>
                <a:gd name="T69" fmla="*/ 405 h 512"/>
                <a:gd name="T70" fmla="*/ 373 w 512"/>
                <a:gd name="T71"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30" y="117"/>
                  </a:moveTo>
                  <a:cubicBezTo>
                    <a:pt x="352" y="117"/>
                    <a:pt x="352" y="117"/>
                    <a:pt x="352" y="117"/>
                  </a:cubicBezTo>
                  <a:cubicBezTo>
                    <a:pt x="352" y="394"/>
                    <a:pt x="352" y="394"/>
                    <a:pt x="352" y="394"/>
                  </a:cubicBezTo>
                  <a:cubicBezTo>
                    <a:pt x="160" y="394"/>
                    <a:pt x="160" y="394"/>
                    <a:pt x="160" y="394"/>
                  </a:cubicBezTo>
                  <a:cubicBezTo>
                    <a:pt x="160" y="117"/>
                    <a:pt x="160" y="117"/>
                    <a:pt x="160" y="117"/>
                  </a:cubicBezTo>
                  <a:cubicBezTo>
                    <a:pt x="245" y="117"/>
                    <a:pt x="245" y="117"/>
                    <a:pt x="245" y="117"/>
                  </a:cubicBezTo>
                  <a:cubicBezTo>
                    <a:pt x="245" y="288"/>
                    <a:pt x="245" y="288"/>
                    <a:pt x="245" y="288"/>
                  </a:cubicBezTo>
                  <a:cubicBezTo>
                    <a:pt x="245" y="292"/>
                    <a:pt x="248" y="296"/>
                    <a:pt x="252" y="298"/>
                  </a:cubicBezTo>
                  <a:cubicBezTo>
                    <a:pt x="256" y="299"/>
                    <a:pt x="260" y="298"/>
                    <a:pt x="263" y="295"/>
                  </a:cubicBezTo>
                  <a:cubicBezTo>
                    <a:pt x="288" y="271"/>
                    <a:pt x="288" y="271"/>
                    <a:pt x="288" y="271"/>
                  </a:cubicBezTo>
                  <a:cubicBezTo>
                    <a:pt x="312" y="295"/>
                    <a:pt x="312" y="295"/>
                    <a:pt x="312" y="295"/>
                  </a:cubicBezTo>
                  <a:cubicBezTo>
                    <a:pt x="314" y="297"/>
                    <a:pt x="317" y="298"/>
                    <a:pt x="320" y="298"/>
                  </a:cubicBezTo>
                  <a:cubicBezTo>
                    <a:pt x="321" y="298"/>
                    <a:pt x="322" y="298"/>
                    <a:pt x="324" y="298"/>
                  </a:cubicBezTo>
                  <a:cubicBezTo>
                    <a:pt x="328" y="296"/>
                    <a:pt x="330" y="292"/>
                    <a:pt x="330" y="288"/>
                  </a:cubicBezTo>
                  <a:lnTo>
                    <a:pt x="330" y="117"/>
                  </a:lnTo>
                  <a:close/>
                  <a:moveTo>
                    <a:pt x="295" y="248"/>
                  </a:moveTo>
                  <a:cubicBezTo>
                    <a:pt x="309" y="262"/>
                    <a:pt x="309" y="262"/>
                    <a:pt x="309" y="262"/>
                  </a:cubicBezTo>
                  <a:cubicBezTo>
                    <a:pt x="309" y="117"/>
                    <a:pt x="309" y="117"/>
                    <a:pt x="309" y="117"/>
                  </a:cubicBezTo>
                  <a:cubicBezTo>
                    <a:pt x="266" y="117"/>
                    <a:pt x="266" y="117"/>
                    <a:pt x="266" y="117"/>
                  </a:cubicBezTo>
                  <a:cubicBezTo>
                    <a:pt x="266" y="262"/>
                    <a:pt x="266" y="262"/>
                    <a:pt x="266" y="262"/>
                  </a:cubicBezTo>
                  <a:cubicBezTo>
                    <a:pt x="280" y="248"/>
                    <a:pt x="280" y="248"/>
                    <a:pt x="280" y="248"/>
                  </a:cubicBezTo>
                  <a:cubicBezTo>
                    <a:pt x="284" y="244"/>
                    <a:pt x="291" y="244"/>
                    <a:pt x="295" y="24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28" name="Picture 27">
            <a:extLst>
              <a:ext uri="{FF2B5EF4-FFF2-40B4-BE49-F238E27FC236}">
                <a16:creationId xmlns:a16="http://schemas.microsoft.com/office/drawing/2014/main" id="{F866EF44-1D1F-4E88-36F5-C590F6D8481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18901" y="3473762"/>
            <a:ext cx="2290026" cy="2114634"/>
          </a:xfrm>
          <a:prstGeom prst="rect">
            <a:avLst/>
          </a:prstGeom>
        </p:spPr>
      </p:pic>
      <p:sp>
        <p:nvSpPr>
          <p:cNvPr id="30" name="Rechteck 58">
            <a:extLst>
              <a:ext uri="{FF2B5EF4-FFF2-40B4-BE49-F238E27FC236}">
                <a16:creationId xmlns:a16="http://schemas.microsoft.com/office/drawing/2014/main" id="{56A50721-DD63-5BE7-00F3-3BB78FE262D2}"/>
              </a:ext>
            </a:extLst>
          </p:cNvPr>
          <p:cNvSpPr/>
          <p:nvPr/>
        </p:nvSpPr>
        <p:spPr>
          <a:xfrm>
            <a:off x="474424" y="2726253"/>
            <a:ext cx="1152000" cy="1075712"/>
          </a:xfrm>
          <a:prstGeom prst="rect">
            <a:avLst/>
          </a:prstGeom>
          <a:solidFill>
            <a:schemeClr val="accent3"/>
          </a:solid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buFont typeface="Wingdings" pitchFamily="2" charset="2"/>
              <a:buNone/>
            </a:pPr>
            <a:r>
              <a:rPr lang="en-US" sz="10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Data Strategy &amp; </a:t>
            </a:r>
          </a:p>
          <a:p>
            <a:pPr>
              <a:buFont typeface="Wingdings" pitchFamily="2" charset="2"/>
              <a:buNone/>
            </a:pPr>
            <a:r>
              <a:rPr lang="en-US" sz="10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Standardization</a:t>
            </a:r>
          </a:p>
        </p:txBody>
      </p:sp>
      <p:sp>
        <p:nvSpPr>
          <p:cNvPr id="31" name="Rechteck 64">
            <a:extLst>
              <a:ext uri="{FF2B5EF4-FFF2-40B4-BE49-F238E27FC236}">
                <a16:creationId xmlns:a16="http://schemas.microsoft.com/office/drawing/2014/main" id="{93627A3E-970A-6068-27C9-BD81409BE0EE}"/>
              </a:ext>
            </a:extLst>
          </p:cNvPr>
          <p:cNvSpPr/>
          <p:nvPr/>
        </p:nvSpPr>
        <p:spPr>
          <a:xfrm>
            <a:off x="474424" y="3947162"/>
            <a:ext cx="1152000" cy="1075712"/>
          </a:xfrm>
          <a:prstGeom prst="rect">
            <a:avLst/>
          </a:prstGeom>
          <a:solidFill>
            <a:schemeClr val="accent3"/>
          </a:solid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r>
              <a:rPr lang="en-US" sz="10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Data Enablement</a:t>
            </a:r>
          </a:p>
        </p:txBody>
      </p:sp>
      <p:sp>
        <p:nvSpPr>
          <p:cNvPr id="32" name="Rechteck 65">
            <a:extLst>
              <a:ext uri="{FF2B5EF4-FFF2-40B4-BE49-F238E27FC236}">
                <a16:creationId xmlns:a16="http://schemas.microsoft.com/office/drawing/2014/main" id="{E8B27E14-F400-2B5C-0553-5E0905E505E1}"/>
              </a:ext>
            </a:extLst>
          </p:cNvPr>
          <p:cNvSpPr/>
          <p:nvPr/>
        </p:nvSpPr>
        <p:spPr>
          <a:xfrm>
            <a:off x="474424" y="5168069"/>
            <a:ext cx="1152000" cy="1075712"/>
          </a:xfrm>
          <a:prstGeom prst="rect">
            <a:avLst/>
          </a:prstGeom>
          <a:solidFill>
            <a:schemeClr val="accent3"/>
          </a:solid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r>
              <a:rPr lang="en-US" sz="10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Data Maintenance</a:t>
            </a:r>
          </a:p>
          <a:p>
            <a:r>
              <a:rPr lang="en-US" sz="10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amp; Compliance </a:t>
            </a:r>
          </a:p>
        </p:txBody>
      </p:sp>
      <p:sp>
        <p:nvSpPr>
          <p:cNvPr id="33" name="Inhaltsplatzhalter 5">
            <a:extLst>
              <a:ext uri="{FF2B5EF4-FFF2-40B4-BE49-F238E27FC236}">
                <a16:creationId xmlns:a16="http://schemas.microsoft.com/office/drawing/2014/main" id="{F819D617-7940-56F2-48D9-DCC0D8966AE1}"/>
              </a:ext>
            </a:extLst>
          </p:cNvPr>
          <p:cNvSpPr txBox="1">
            <a:spLocks/>
          </p:cNvSpPr>
          <p:nvPr/>
        </p:nvSpPr>
        <p:spPr>
          <a:xfrm>
            <a:off x="1756870" y="2726253"/>
            <a:ext cx="3662855" cy="1075712"/>
          </a:xfrm>
          <a:prstGeom prst="rect">
            <a:avLst/>
          </a:prstGeom>
          <a:solidFill>
            <a:schemeClr val="accent3">
              <a:lumMod val="20000"/>
              <a:lumOff val="80000"/>
            </a:schemeClr>
          </a:solidFill>
          <a:ln w="12700">
            <a:noFill/>
            <a:miter lim="800000"/>
            <a:headEnd/>
            <a:tailEnd/>
          </a:ln>
        </p:spPr>
        <p:txBody>
          <a:bodyPr vert="horz" wrap="square" lIns="72000" tIns="72000" rIns="72000" bIns="72000" numCol="1" anchor="ctr" anchorCtr="0" compatLnSpc="1">
            <a:prstTxWarp prst="textNoShape">
              <a:avLst/>
            </a:prstTxWarp>
          </a:bodyPr>
          <a:lstStyle/>
          <a:p>
            <a:pPr marL="201600" lvl="1" indent="-201600" fontAlgn="base">
              <a:spcAft>
                <a:spcPts val="300"/>
              </a:spcAft>
              <a:buFont typeface="Arial"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Definition and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alignment of data strategies to business objectives</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 measures and processes. </a:t>
            </a:r>
          </a:p>
          <a:p>
            <a:pPr marL="201600" lvl="1" indent="-201600" fontAlgn="base">
              <a:spcAft>
                <a:spcPts val="300"/>
              </a:spcAft>
              <a:buFont typeface="Arial" pitchFamily="34" charset="0"/>
              <a:buChar char="•"/>
              <a:defRPr/>
            </a:pP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Standardizing and defining data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in order to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drive consistency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of key business information across an organization.</a:t>
            </a:r>
          </a:p>
        </p:txBody>
      </p:sp>
      <p:sp>
        <p:nvSpPr>
          <p:cNvPr id="34" name="Inhaltsplatzhalter 5">
            <a:extLst>
              <a:ext uri="{FF2B5EF4-FFF2-40B4-BE49-F238E27FC236}">
                <a16:creationId xmlns:a16="http://schemas.microsoft.com/office/drawing/2014/main" id="{07372176-5691-C7A5-04B4-E2E28438C110}"/>
              </a:ext>
            </a:extLst>
          </p:cNvPr>
          <p:cNvSpPr txBox="1">
            <a:spLocks/>
          </p:cNvSpPr>
          <p:nvPr/>
        </p:nvSpPr>
        <p:spPr>
          <a:xfrm>
            <a:off x="1756870" y="3947162"/>
            <a:ext cx="3662855" cy="1075712"/>
          </a:xfrm>
          <a:prstGeom prst="rect">
            <a:avLst/>
          </a:prstGeom>
          <a:solidFill>
            <a:schemeClr val="accent3">
              <a:lumMod val="20000"/>
              <a:lumOff val="80000"/>
            </a:schemeClr>
          </a:solidFill>
          <a:ln w="12700">
            <a:noFill/>
            <a:miter lim="800000"/>
            <a:headEnd/>
            <a:tailEnd/>
          </a:ln>
        </p:spPr>
        <p:txBody>
          <a:bodyPr vert="horz" wrap="square" lIns="72000" tIns="72000" rIns="72000" bIns="72000" numCol="1" anchor="ctr" anchorCtr="0" compatLnSpc="1">
            <a:prstTxWarp prst="textNoShape">
              <a:avLst/>
            </a:prstTxWarp>
          </a:bodyPr>
          <a:lstStyle/>
          <a:p>
            <a:pPr marL="201600" lvl="1" indent="-201600" fontAlgn="base">
              <a:spcAft>
                <a:spcPts val="300"/>
              </a:spcAft>
              <a:buFont typeface="Arial"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Providing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scalable solutions for data management processes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that enable data strategy and standardization.</a:t>
            </a:r>
          </a:p>
          <a:p>
            <a:pPr marL="201600" lvl="1" indent="-201600" fontAlgn="base">
              <a:spcAft>
                <a:spcPts val="300"/>
              </a:spcAft>
              <a:buFont typeface="Arial" pitchFamily="34" charset="0"/>
              <a:buChar char="•"/>
              <a:defRPr/>
            </a:pP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Defining, managing, and governing data and technology architectures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required to support data standardization and integration. </a:t>
            </a:r>
          </a:p>
        </p:txBody>
      </p:sp>
      <p:sp>
        <p:nvSpPr>
          <p:cNvPr id="35" name="Inhaltsplatzhalter 5">
            <a:extLst>
              <a:ext uri="{FF2B5EF4-FFF2-40B4-BE49-F238E27FC236}">
                <a16:creationId xmlns:a16="http://schemas.microsoft.com/office/drawing/2014/main" id="{F72D35EB-D70D-3B60-9BC4-6064FFD74155}"/>
              </a:ext>
            </a:extLst>
          </p:cNvPr>
          <p:cNvSpPr txBox="1">
            <a:spLocks/>
          </p:cNvSpPr>
          <p:nvPr/>
        </p:nvSpPr>
        <p:spPr>
          <a:xfrm>
            <a:off x="1756870" y="5168070"/>
            <a:ext cx="3662855" cy="1075712"/>
          </a:xfrm>
          <a:prstGeom prst="rect">
            <a:avLst/>
          </a:prstGeom>
          <a:solidFill>
            <a:schemeClr val="accent3">
              <a:lumMod val="20000"/>
              <a:lumOff val="80000"/>
            </a:schemeClr>
          </a:solidFill>
          <a:ln w="12700">
            <a:noFill/>
            <a:miter lim="800000"/>
            <a:headEnd/>
            <a:tailEnd/>
          </a:ln>
        </p:spPr>
        <p:txBody>
          <a:bodyPr vert="horz" wrap="square" lIns="72000" tIns="72000" rIns="72000" bIns="72000" numCol="1" anchor="ctr" anchorCtr="0" compatLnSpc="1">
            <a:prstTxWarp prst="textNoShape">
              <a:avLst/>
            </a:prstTxWarp>
          </a:bodyPr>
          <a:lstStyle/>
          <a:p>
            <a:pPr marL="201600" lvl="1" indent="-201600" fontAlgn="base">
              <a:spcAft>
                <a:spcPts val="300"/>
              </a:spcAft>
              <a:buFont typeface="Arial"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Providing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scalable services for data management processes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that enable data strategy and standards. </a:t>
            </a:r>
          </a:p>
          <a:p>
            <a:pPr marL="201600" lvl="1" indent="-201600" fontAlgn="base">
              <a:spcAft>
                <a:spcPts val="300"/>
              </a:spcAft>
              <a:buFont typeface="Arial" pitchFamily="34" charset="0"/>
              <a:buChar char="•"/>
              <a:defRPr/>
            </a:pPr>
            <a:r>
              <a:rPr lang="en-US" sz="1000" dirty="0">
                <a:latin typeface="Open Sans Light" panose="020B0306030504020204" pitchFamily="34" charset="0"/>
                <a:ea typeface="Open Sans Light" panose="020B0306030504020204" pitchFamily="34" charset="0"/>
                <a:cs typeface="Open Sans Light" panose="020B0306030504020204" pitchFamily="34" charset="0"/>
              </a:rPr>
              <a:t>Measuring and </a:t>
            </a:r>
            <a:r>
              <a:rPr lang="en-US" sz="1000" b="1" dirty="0">
                <a:latin typeface="Open Sans Light" panose="020B0306030504020204" pitchFamily="34" charset="0"/>
                <a:ea typeface="Open Sans Light" panose="020B0306030504020204" pitchFamily="34" charset="0"/>
                <a:cs typeface="Open Sans Light" panose="020B0306030504020204" pitchFamily="34" charset="0"/>
              </a:rPr>
              <a:t>reporting data quality </a:t>
            </a:r>
            <a:r>
              <a:rPr lang="en-US" sz="1000" dirty="0">
                <a:latin typeface="Open Sans Light" panose="020B0306030504020204" pitchFamily="34" charset="0"/>
                <a:ea typeface="Open Sans Light" panose="020B0306030504020204" pitchFamily="34" charset="0"/>
                <a:cs typeface="Open Sans Light" panose="020B0306030504020204" pitchFamily="34" charset="0"/>
              </a:rPr>
              <a:t>compliance. </a:t>
            </a:r>
          </a:p>
        </p:txBody>
      </p:sp>
      <p:sp>
        <p:nvSpPr>
          <p:cNvPr id="4" name="Rechteck 58">
            <a:extLst>
              <a:ext uri="{FF2B5EF4-FFF2-40B4-BE49-F238E27FC236}">
                <a16:creationId xmlns:a16="http://schemas.microsoft.com/office/drawing/2014/main" id="{0F1A4B5E-7E81-68D5-0D19-BECE36E9A40E}"/>
              </a:ext>
            </a:extLst>
          </p:cNvPr>
          <p:cNvSpPr/>
          <p:nvPr/>
        </p:nvSpPr>
        <p:spPr>
          <a:xfrm>
            <a:off x="474423" y="2328426"/>
            <a:ext cx="4945302" cy="298111"/>
          </a:xfrm>
          <a:prstGeom prst="rect">
            <a:avLst/>
          </a:prstGeom>
          <a:solidFill>
            <a:schemeClr val="bg1"/>
          </a:solidFill>
          <a:ln w="12700">
            <a:noFill/>
          </a:ln>
          <a:effectLst>
            <a:outerShdw dist="25400" dir="5400000" algn="ctr" rotWithShape="0">
              <a:srgbClr val="00ABAB"/>
            </a:outerShdw>
          </a:effectLst>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lgn="ctr">
              <a:buFont typeface="Wingdings" pitchFamily="2" charset="2"/>
              <a:buNone/>
            </a:pPr>
            <a:r>
              <a:rPr lang="en-US" sz="10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Data governance consists of 3 main activities…</a:t>
            </a:r>
          </a:p>
        </p:txBody>
      </p:sp>
      <p:sp>
        <p:nvSpPr>
          <p:cNvPr id="6" name="Rechteck 58">
            <a:extLst>
              <a:ext uri="{FF2B5EF4-FFF2-40B4-BE49-F238E27FC236}">
                <a16:creationId xmlns:a16="http://schemas.microsoft.com/office/drawing/2014/main" id="{3310974E-BB0C-7D36-F13F-33FBF7B875B7}"/>
              </a:ext>
            </a:extLst>
          </p:cNvPr>
          <p:cNvSpPr/>
          <p:nvPr/>
        </p:nvSpPr>
        <p:spPr>
          <a:xfrm>
            <a:off x="5810251" y="2328426"/>
            <a:ext cx="5907326" cy="298111"/>
          </a:xfrm>
          <a:prstGeom prst="rect">
            <a:avLst/>
          </a:prstGeom>
          <a:solidFill>
            <a:schemeClr val="bg1"/>
          </a:solidFill>
          <a:ln w="12700">
            <a:noFill/>
          </a:ln>
          <a:effectLst>
            <a:outerShdw dist="25400" dir="5400000" algn="ctr" rotWithShape="0">
              <a:srgbClr val="00ABAB"/>
            </a:outerShdw>
          </a:effectLst>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lgn="ctr"/>
            <a:r>
              <a:rPr lang="en-US" sz="10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Deloitte’s Framework will provide a systematic approach to assess them with the right accel</a:t>
            </a:r>
            <a:r>
              <a:rPr lang="hu-HU" sz="10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e</a:t>
            </a:r>
            <a:r>
              <a:rPr lang="en-US" sz="1000" b="1" dirty="0" err="1">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rators</a:t>
            </a:r>
            <a:r>
              <a:rPr lang="en-US" sz="10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14" name="Rechteck 58">
            <a:extLst>
              <a:ext uri="{FF2B5EF4-FFF2-40B4-BE49-F238E27FC236}">
                <a16:creationId xmlns:a16="http://schemas.microsoft.com/office/drawing/2014/main" id="{A1AB10E7-9A2E-FC66-6414-86F5C94820E4}"/>
              </a:ext>
            </a:extLst>
          </p:cNvPr>
          <p:cNvSpPr/>
          <p:nvPr/>
        </p:nvSpPr>
        <p:spPr>
          <a:xfrm>
            <a:off x="7557662" y="2760723"/>
            <a:ext cx="2425701" cy="509524"/>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t" anchorCtr="0"/>
          <a:lstStyle/>
          <a:p>
            <a:pPr>
              <a:buFont typeface="Wingdings" pitchFamily="2" charset="2"/>
              <a:buNone/>
            </a:pPr>
            <a:r>
              <a:rPr lang="en-US" sz="1000" b="1" dirty="0">
                <a:solidFill>
                  <a:srgbClr val="00ABAB"/>
                </a:solidFill>
                <a:latin typeface="Open Sans Light" panose="020B0306030504020204" pitchFamily="34" charset="0"/>
                <a:ea typeface="Open Sans Light" panose="020B0306030504020204" pitchFamily="34" charset="0"/>
                <a:cs typeface="Open Sans Light" panose="020B0306030504020204" pitchFamily="34" charset="0"/>
              </a:rPr>
              <a:t>Data Governance Strategy </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ill help your organization to align business objectives, create a vision and describe how to achieve this vision.</a:t>
            </a:r>
          </a:p>
        </p:txBody>
      </p:sp>
      <p:sp>
        <p:nvSpPr>
          <p:cNvPr id="15" name="Rechteck 58">
            <a:extLst>
              <a:ext uri="{FF2B5EF4-FFF2-40B4-BE49-F238E27FC236}">
                <a16:creationId xmlns:a16="http://schemas.microsoft.com/office/drawing/2014/main" id="{0D83E616-F5FA-719C-52F7-5B70A27C0C00}"/>
              </a:ext>
            </a:extLst>
          </p:cNvPr>
          <p:cNvSpPr/>
          <p:nvPr/>
        </p:nvSpPr>
        <p:spPr>
          <a:xfrm>
            <a:off x="9658337" y="3369963"/>
            <a:ext cx="2088697" cy="509524"/>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t" anchorCtr="0"/>
          <a:lstStyle/>
          <a:p>
            <a:pPr>
              <a:buFont typeface="Wingdings" pitchFamily="2" charset="2"/>
              <a:buNone/>
            </a:pPr>
            <a:r>
              <a:rPr lang="en-US" sz="1000" b="1"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Policies and principles </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re binding guidelines for the different Data Management functions that the Data Governance oversees.</a:t>
            </a:r>
          </a:p>
        </p:txBody>
      </p:sp>
      <p:sp>
        <p:nvSpPr>
          <p:cNvPr id="17" name="Rechteck 58">
            <a:extLst>
              <a:ext uri="{FF2B5EF4-FFF2-40B4-BE49-F238E27FC236}">
                <a16:creationId xmlns:a16="http://schemas.microsoft.com/office/drawing/2014/main" id="{18E71F9C-342D-5370-66D3-3DDFBFA9CC83}"/>
              </a:ext>
            </a:extLst>
          </p:cNvPr>
          <p:cNvSpPr/>
          <p:nvPr/>
        </p:nvSpPr>
        <p:spPr>
          <a:xfrm>
            <a:off x="9658337" y="4781117"/>
            <a:ext cx="2059239" cy="509524"/>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t" anchorCtr="0"/>
          <a:lstStyle/>
          <a:p>
            <a:pPr>
              <a:buFont typeface="Wingdings" pitchFamily="2" charset="2"/>
              <a:buNone/>
            </a:pPr>
            <a:r>
              <a:rPr lang="en-US" sz="1000" b="1" dirty="0">
                <a:solidFill>
                  <a:srgbClr val="00A3E0"/>
                </a:solidFill>
                <a:latin typeface="Open Sans Light" panose="020B0306030504020204" pitchFamily="34" charset="0"/>
                <a:ea typeface="Open Sans Light" panose="020B0306030504020204" pitchFamily="34" charset="0"/>
                <a:cs typeface="Open Sans Light" panose="020B0306030504020204" pitchFamily="34" charset="0"/>
              </a:rPr>
              <a:t>The organization </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nsures consistent and relevant data, and by extension, competitive agility driven by sound business decision-making.</a:t>
            </a:r>
          </a:p>
        </p:txBody>
      </p:sp>
      <p:sp>
        <p:nvSpPr>
          <p:cNvPr id="18" name="Rechteck 58">
            <a:extLst>
              <a:ext uri="{FF2B5EF4-FFF2-40B4-BE49-F238E27FC236}">
                <a16:creationId xmlns:a16="http://schemas.microsoft.com/office/drawing/2014/main" id="{DBD96916-10A3-77AA-7001-3C1EA26EBDE5}"/>
              </a:ext>
            </a:extLst>
          </p:cNvPr>
          <p:cNvSpPr/>
          <p:nvPr/>
        </p:nvSpPr>
        <p:spPr>
          <a:xfrm>
            <a:off x="7229475" y="5531362"/>
            <a:ext cx="2590800" cy="509524"/>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t" anchorCtr="0"/>
          <a:lstStyle/>
          <a:p>
            <a:pPr>
              <a:buFont typeface="Wingdings" pitchFamily="2" charset="2"/>
              <a:buNone/>
            </a:pP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fined</a:t>
            </a:r>
            <a:r>
              <a:rPr lang="en-US" sz="1000" b="1" dirty="0">
                <a:solidFill>
                  <a:srgbClr val="00A3E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b="1" dirty="0">
                <a:solidFill>
                  <a:srgbClr val="0176A8"/>
                </a:solidFill>
                <a:latin typeface="Open Sans Light" panose="020B0306030504020204" pitchFamily="34" charset="0"/>
                <a:ea typeface="Open Sans Light" panose="020B0306030504020204" pitchFamily="34" charset="0"/>
                <a:cs typeface="Open Sans Light" panose="020B0306030504020204" pitchFamily="34" charset="0"/>
              </a:rPr>
              <a:t>processes</a:t>
            </a:r>
            <a:r>
              <a:rPr lang="en-US" sz="1000" b="1" dirty="0">
                <a:solidFill>
                  <a:srgbClr val="00A3E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utline how data is created, modified and maintained, enabling accurate data to be leveraged across the enterprise</a:t>
            </a:r>
          </a:p>
        </p:txBody>
      </p:sp>
      <p:sp>
        <p:nvSpPr>
          <p:cNvPr id="19" name="Rechteck 58">
            <a:extLst>
              <a:ext uri="{FF2B5EF4-FFF2-40B4-BE49-F238E27FC236}">
                <a16:creationId xmlns:a16="http://schemas.microsoft.com/office/drawing/2014/main" id="{72D3DDA3-6E1F-5105-D773-ED3FBEE1C64D}"/>
              </a:ext>
            </a:extLst>
          </p:cNvPr>
          <p:cNvSpPr/>
          <p:nvPr/>
        </p:nvSpPr>
        <p:spPr>
          <a:xfrm>
            <a:off x="5809151" y="4715177"/>
            <a:ext cx="2040535" cy="509524"/>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t" anchorCtr="0"/>
          <a:lstStyle/>
          <a:p>
            <a:pPr>
              <a:buFont typeface="Wingdings" pitchFamily="2" charset="2"/>
              <a:buNone/>
            </a:pP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right </a:t>
            </a:r>
            <a:r>
              <a:rPr lang="en-US" sz="1000" b="1" dirty="0">
                <a:solidFill>
                  <a:srgbClr val="041E42"/>
                </a:solidFill>
                <a:latin typeface="Open Sans Light" panose="020B0306030504020204" pitchFamily="34" charset="0"/>
                <a:ea typeface="Open Sans Light" panose="020B0306030504020204" pitchFamily="34" charset="0"/>
                <a:cs typeface="Open Sans Light" panose="020B0306030504020204" pitchFamily="34" charset="0"/>
              </a:rPr>
              <a:t>tools, technology </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ata models, high-level architecture requirements enable recommended data management standards.</a:t>
            </a:r>
          </a:p>
        </p:txBody>
      </p:sp>
      <p:sp>
        <p:nvSpPr>
          <p:cNvPr id="20" name="Rechteck 58">
            <a:extLst>
              <a:ext uri="{FF2B5EF4-FFF2-40B4-BE49-F238E27FC236}">
                <a16:creationId xmlns:a16="http://schemas.microsoft.com/office/drawing/2014/main" id="{7D3072C3-F1C1-357A-9253-5D92FBC61B0D}"/>
              </a:ext>
            </a:extLst>
          </p:cNvPr>
          <p:cNvSpPr/>
          <p:nvPr/>
        </p:nvSpPr>
        <p:spPr>
          <a:xfrm>
            <a:off x="5809152" y="3510968"/>
            <a:ext cx="1853712" cy="509524"/>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lIns="36000" tIns="36000" rIns="36000" bIns="36000" rtlCol="0" anchor="t" anchorCtr="0"/>
          <a:lstStyle/>
          <a:p>
            <a:pPr>
              <a:buFont typeface="Wingdings" pitchFamily="2" charset="2"/>
              <a:buNone/>
            </a:pP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dentified </a:t>
            </a:r>
            <a:r>
              <a:rPr lang="en-US" sz="1000" b="1" dirty="0">
                <a:solidFill>
                  <a:srgbClr val="004F59"/>
                </a:solidFill>
                <a:latin typeface="Open Sans Light" panose="020B0306030504020204" pitchFamily="34" charset="0"/>
                <a:ea typeface="Open Sans Light" panose="020B0306030504020204" pitchFamily="34" charset="0"/>
                <a:cs typeface="Open Sans Light" panose="020B0306030504020204" pitchFamily="34" charset="0"/>
              </a:rPr>
              <a:t>Governance controls </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easure progress towards objectives and determines how well the governance and its processes are performing.</a:t>
            </a:r>
          </a:p>
        </p:txBody>
      </p:sp>
    </p:spTree>
    <p:extLst>
      <p:ext uri="{BB962C8B-B14F-4D97-AF65-F5344CB8AC3E}">
        <p14:creationId xmlns:p14="http://schemas.microsoft.com/office/powerpoint/2010/main" val="364784738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7520C6B-A587-31E5-8CD0-B1CCC6E72878}"/>
              </a:ext>
            </a:extLst>
          </p:cNvPr>
          <p:cNvGrpSpPr/>
          <p:nvPr/>
        </p:nvGrpSpPr>
        <p:grpSpPr>
          <a:xfrm>
            <a:off x="1332735" y="1995025"/>
            <a:ext cx="856109" cy="986349"/>
            <a:chOff x="1358416" y="1446384"/>
            <a:chExt cx="856109" cy="986349"/>
          </a:xfrm>
        </p:grpSpPr>
        <p:sp>
          <p:nvSpPr>
            <p:cNvPr id="3" name="Hexagon 2">
              <a:extLst>
                <a:ext uri="{FF2B5EF4-FFF2-40B4-BE49-F238E27FC236}">
                  <a16:creationId xmlns:a16="http://schemas.microsoft.com/office/drawing/2014/main" id="{5CEABE18-F2A4-DCA3-4E65-0CA93D586D32}"/>
                </a:ext>
              </a:extLst>
            </p:cNvPr>
            <p:cNvSpPr/>
            <p:nvPr/>
          </p:nvSpPr>
          <p:spPr>
            <a:xfrm rot="5400000">
              <a:off x="1382939" y="1589310"/>
              <a:ext cx="807064" cy="700498"/>
            </a:xfrm>
            <a:prstGeom prst="hexagon">
              <a:avLst/>
            </a:prstGeom>
            <a:solidFill>
              <a:schemeClr val="accent3"/>
            </a:solidFill>
            <a:ln w="25400" cap="flat" cmpd="sng" algn="ctr">
              <a:noFill/>
              <a:prstDash val="solid"/>
            </a:ln>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chemeClr val="bg1"/>
                  </a:solidFill>
                  <a:effectLst/>
                  <a:uLnTx/>
                  <a:uFillTx/>
                  <a:latin typeface="Open Sans"/>
                  <a:ea typeface="+mn-ea"/>
                  <a:cs typeface="+mn-cs"/>
                </a:rPr>
                <a:t>Process</a:t>
              </a:r>
              <a:endParaRPr kumimoji="0" lang="en-GB" sz="800" b="1" i="0" u="none" strike="noStrike" kern="0" cap="none" spc="0" normalizeH="0" baseline="0" noProof="0" dirty="0">
                <a:ln>
                  <a:noFill/>
                </a:ln>
                <a:solidFill>
                  <a:schemeClr val="bg1"/>
                </a:solidFill>
                <a:effectLst/>
                <a:uLnTx/>
                <a:uFillTx/>
                <a:latin typeface="Open Sans"/>
                <a:ea typeface="+mn-ea"/>
                <a:cs typeface="+mn-cs"/>
              </a:endParaRPr>
            </a:p>
          </p:txBody>
        </p:sp>
        <p:sp>
          <p:nvSpPr>
            <p:cNvPr id="4" name="Hexagon 3">
              <a:extLst>
                <a:ext uri="{FF2B5EF4-FFF2-40B4-BE49-F238E27FC236}">
                  <a16:creationId xmlns:a16="http://schemas.microsoft.com/office/drawing/2014/main" id="{CAE5EC10-BEB4-BDCA-04D1-E9712899325E}"/>
                </a:ext>
              </a:extLst>
            </p:cNvPr>
            <p:cNvSpPr>
              <a:spLocks noChangeAspect="1"/>
            </p:cNvSpPr>
            <p:nvPr/>
          </p:nvSpPr>
          <p:spPr>
            <a:xfrm rot="5400000">
              <a:off x="1293296" y="1511504"/>
              <a:ext cx="986349" cy="856109"/>
            </a:xfrm>
            <a:prstGeom prst="hexagon">
              <a:avLst/>
            </a:prstGeom>
            <a:noFill/>
            <a:ln w="25400" cap="flat" cmpd="sng" algn="ctr">
              <a:solidFill>
                <a:schemeClr val="accent3"/>
              </a:solidFill>
              <a:prstDash val="solid"/>
            </a:ln>
            <a:effectLst>
              <a:glow rad="63500">
                <a:schemeClr val="accent3">
                  <a:satMod val="1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dirty="0">
                <a:ln>
                  <a:noFill/>
                </a:ln>
                <a:solidFill>
                  <a:srgbClr val="000000"/>
                </a:solidFill>
                <a:effectLst/>
                <a:uLnTx/>
                <a:uFillTx/>
                <a:latin typeface="Open Sans"/>
                <a:ea typeface="+mn-ea"/>
                <a:cs typeface="+mn-cs"/>
              </a:endParaRPr>
            </a:p>
          </p:txBody>
        </p:sp>
      </p:grpSp>
      <p:sp>
        <p:nvSpPr>
          <p:cNvPr id="5" name="Hexagon 4">
            <a:extLst>
              <a:ext uri="{FF2B5EF4-FFF2-40B4-BE49-F238E27FC236}">
                <a16:creationId xmlns:a16="http://schemas.microsoft.com/office/drawing/2014/main" id="{A51AD71B-BCFC-F4C0-2172-93C8A2C2C315}"/>
              </a:ext>
            </a:extLst>
          </p:cNvPr>
          <p:cNvSpPr/>
          <p:nvPr/>
        </p:nvSpPr>
        <p:spPr>
          <a:xfrm rot="5400000">
            <a:off x="1263709" y="3514188"/>
            <a:ext cx="1045521" cy="907468"/>
          </a:xfrm>
          <a:prstGeom prst="hexagon">
            <a:avLst/>
          </a:prstGeom>
          <a:solidFill>
            <a:schemeClr val="accent3">
              <a:lumMod val="20000"/>
              <a:lumOff val="80000"/>
            </a:schemeClr>
          </a:solidFill>
          <a:ln w="28575" cap="flat" cmpd="sng" algn="ctr">
            <a:solidFill>
              <a:schemeClr val="accent3"/>
            </a:solidFill>
            <a:prstDash val="solid"/>
          </a:ln>
          <a:effectLst>
            <a:glow rad="63500">
              <a:schemeClr val="accent3">
                <a:satMod val="1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Delivery</a:t>
            </a:r>
            <a:br>
              <a:rPr kumimoji="0" lang="en-GB" sz="900" b="0" i="0" u="none" strike="noStrike" kern="0" cap="none" spc="0" normalizeH="0" baseline="0" noProof="0" dirty="0">
                <a:ln>
                  <a:noFill/>
                </a:ln>
                <a:solidFill>
                  <a:prstClr val="black"/>
                </a:solidFill>
                <a:effectLst/>
                <a:uLnTx/>
                <a:uFillTx/>
                <a:latin typeface="Open Sans"/>
                <a:ea typeface="+mn-ea"/>
                <a:cs typeface="+mn-cs"/>
              </a:rPr>
            </a:br>
            <a:r>
              <a:rPr kumimoji="0" lang="en-GB" sz="900" b="0" i="0" u="none" strike="noStrike" kern="0" cap="none" spc="0" normalizeH="0" baseline="0" noProof="0" dirty="0">
                <a:ln>
                  <a:noFill/>
                </a:ln>
                <a:solidFill>
                  <a:prstClr val="black"/>
                </a:solidFill>
                <a:effectLst/>
                <a:uLnTx/>
                <a:uFillTx/>
                <a:latin typeface="Open Sans"/>
                <a:ea typeface="+mn-ea"/>
                <a:cs typeface="+mn-cs"/>
              </a:rPr>
              <a:t>&amp;</a:t>
            </a:r>
            <a:br>
              <a:rPr kumimoji="0" lang="en-GB" sz="900" b="0" i="0" u="none" strike="noStrike" kern="0" cap="none" spc="0" normalizeH="0" baseline="0" noProof="0" dirty="0">
                <a:ln>
                  <a:noFill/>
                </a:ln>
                <a:solidFill>
                  <a:prstClr val="black"/>
                </a:solidFill>
                <a:effectLst/>
                <a:uLnTx/>
                <a:uFillTx/>
                <a:latin typeface="Open Sans"/>
                <a:ea typeface="+mn-ea"/>
                <a:cs typeface="+mn-cs"/>
              </a:rPr>
            </a:br>
            <a:r>
              <a:rPr kumimoji="0" lang="en-GB" sz="900" b="0" i="0" u="none" strike="noStrike" kern="0" cap="none" spc="0" normalizeH="0" baseline="0" noProof="0" dirty="0">
                <a:ln>
                  <a:noFill/>
                </a:ln>
                <a:solidFill>
                  <a:prstClr val="black"/>
                </a:solidFill>
                <a:effectLst/>
                <a:uLnTx/>
                <a:uFillTx/>
                <a:latin typeface="Open Sans"/>
                <a:ea typeface="+mn-ea"/>
                <a:cs typeface="+mn-cs"/>
              </a:rPr>
              <a:t>Operations</a:t>
            </a:r>
          </a:p>
        </p:txBody>
      </p:sp>
      <p:sp>
        <p:nvSpPr>
          <p:cNvPr id="6" name="Hexagon 5">
            <a:extLst>
              <a:ext uri="{FF2B5EF4-FFF2-40B4-BE49-F238E27FC236}">
                <a16:creationId xmlns:a16="http://schemas.microsoft.com/office/drawing/2014/main" id="{A5624A93-B4A8-4556-722A-96818D15A7FC}"/>
              </a:ext>
            </a:extLst>
          </p:cNvPr>
          <p:cNvSpPr/>
          <p:nvPr/>
        </p:nvSpPr>
        <p:spPr>
          <a:xfrm rot="5400000">
            <a:off x="2005266" y="2759534"/>
            <a:ext cx="1045521" cy="907468"/>
          </a:xfrm>
          <a:prstGeom prst="hexagon">
            <a:avLst/>
          </a:prstGeom>
          <a:solidFill>
            <a:schemeClr val="accent3">
              <a:lumMod val="20000"/>
              <a:lumOff val="80000"/>
            </a:schemeClr>
          </a:solidFill>
          <a:ln w="28575" cap="flat" cmpd="sng" algn="ctr">
            <a:solidFill>
              <a:schemeClr val="accent3"/>
            </a:solidFill>
            <a:prstDash val="solid"/>
          </a:ln>
          <a:effectLst>
            <a:glow rad="63500">
              <a:schemeClr val="accent3">
                <a:satMod val="1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Demand &am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Prioritisation</a:t>
            </a:r>
          </a:p>
        </p:txBody>
      </p:sp>
      <p:sp>
        <p:nvSpPr>
          <p:cNvPr id="7" name="Hexagon 6">
            <a:extLst>
              <a:ext uri="{FF2B5EF4-FFF2-40B4-BE49-F238E27FC236}">
                <a16:creationId xmlns:a16="http://schemas.microsoft.com/office/drawing/2014/main" id="{4F4C1628-CDA9-DED0-B602-65359A8DA26C}"/>
              </a:ext>
            </a:extLst>
          </p:cNvPr>
          <p:cNvSpPr/>
          <p:nvPr/>
        </p:nvSpPr>
        <p:spPr>
          <a:xfrm rot="5400000">
            <a:off x="2005266" y="5778152"/>
            <a:ext cx="1045521" cy="907468"/>
          </a:xfrm>
          <a:prstGeom prst="hexagon">
            <a:avLst/>
          </a:prstGeom>
          <a:solidFill>
            <a:schemeClr val="accent3">
              <a:lumMod val="20000"/>
              <a:lumOff val="80000"/>
            </a:schemeClr>
          </a:solidFill>
          <a:ln w="28575" cap="flat" cmpd="sng" algn="ctr">
            <a:solidFill>
              <a:schemeClr val="accent3"/>
            </a:solidFill>
            <a:prstDash val="solid"/>
          </a:ln>
          <a:effectLst>
            <a:glow rad="63500">
              <a:schemeClr val="accent3">
                <a:satMod val="1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Governance</a:t>
            </a:r>
          </a:p>
        </p:txBody>
      </p:sp>
      <p:sp>
        <p:nvSpPr>
          <p:cNvPr id="8" name="Hexagon 7">
            <a:extLst>
              <a:ext uri="{FF2B5EF4-FFF2-40B4-BE49-F238E27FC236}">
                <a16:creationId xmlns:a16="http://schemas.microsoft.com/office/drawing/2014/main" id="{30E26C44-70CE-23C3-5F04-56375C6247D1}"/>
              </a:ext>
            </a:extLst>
          </p:cNvPr>
          <p:cNvSpPr/>
          <p:nvPr/>
        </p:nvSpPr>
        <p:spPr>
          <a:xfrm rot="5400000">
            <a:off x="1263709" y="5023496"/>
            <a:ext cx="1045521" cy="907468"/>
          </a:xfrm>
          <a:prstGeom prst="hexagon">
            <a:avLst/>
          </a:prstGeom>
          <a:solidFill>
            <a:schemeClr val="accent3">
              <a:lumMod val="20000"/>
              <a:lumOff val="80000"/>
            </a:schemeClr>
          </a:solidFill>
          <a:ln w="28575" cap="flat" cmpd="sng" algn="ctr">
            <a:solidFill>
              <a:schemeClr val="accent3"/>
            </a:solidFill>
            <a:prstDash val="solid"/>
          </a:ln>
          <a:effectLst>
            <a:glow rad="63500">
              <a:schemeClr val="accent3">
                <a:satMod val="1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Benefit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Realisation</a:t>
            </a:r>
          </a:p>
        </p:txBody>
      </p:sp>
      <p:sp>
        <p:nvSpPr>
          <p:cNvPr id="9" name="Hexagon 8">
            <a:extLst>
              <a:ext uri="{FF2B5EF4-FFF2-40B4-BE49-F238E27FC236}">
                <a16:creationId xmlns:a16="http://schemas.microsoft.com/office/drawing/2014/main" id="{78136CB2-05BB-773D-F2EF-ACF5DB5620F1}"/>
              </a:ext>
            </a:extLst>
          </p:cNvPr>
          <p:cNvSpPr/>
          <p:nvPr/>
        </p:nvSpPr>
        <p:spPr>
          <a:xfrm rot="5400000">
            <a:off x="2005266" y="4268842"/>
            <a:ext cx="1045521" cy="907468"/>
          </a:xfrm>
          <a:prstGeom prst="hexagon">
            <a:avLst/>
          </a:prstGeom>
          <a:solidFill>
            <a:schemeClr val="accent3">
              <a:lumMod val="20000"/>
              <a:lumOff val="80000"/>
            </a:schemeClr>
          </a:solidFill>
          <a:ln w="28575" cap="flat" cmpd="sng" algn="ctr">
            <a:solidFill>
              <a:schemeClr val="accent3"/>
            </a:solidFill>
            <a:prstDash val="solid"/>
          </a:ln>
          <a:effectLst>
            <a:glow rad="63500">
              <a:schemeClr val="accent3">
                <a:satMod val="1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Proces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Optimisation</a:t>
            </a:r>
          </a:p>
        </p:txBody>
      </p:sp>
      <p:sp>
        <p:nvSpPr>
          <p:cNvPr id="14" name="TextBox 13">
            <a:extLst>
              <a:ext uri="{FF2B5EF4-FFF2-40B4-BE49-F238E27FC236}">
                <a16:creationId xmlns:a16="http://schemas.microsoft.com/office/drawing/2014/main" id="{20026CBA-9E1C-6A74-CBC7-3F1D7DD9FBDB}"/>
              </a:ext>
            </a:extLst>
          </p:cNvPr>
          <p:cNvSpPr txBox="1"/>
          <p:nvPr/>
        </p:nvSpPr>
        <p:spPr>
          <a:xfrm>
            <a:off x="577781" y="1015174"/>
            <a:ext cx="11228796" cy="553421"/>
          </a:xfrm>
          <a:prstGeom prst="rect">
            <a:avLst/>
          </a:prstGeom>
          <a:noFill/>
        </p:spPr>
        <p:txBody>
          <a:bodyPr wrap="square" anchor="t">
            <a:spAutoFit/>
          </a:bodyPr>
          <a:lstStyle/>
          <a:p>
            <a:pPr marL="0" marR="0" lvl="0" indent="0" algn="l" defTabSz="914400" rtl="0" eaLnBrk="1" fontAlgn="auto" latinLnBrk="0" hangingPunct="1">
              <a:lnSpc>
                <a:spcPct val="110000"/>
              </a:lnSpc>
              <a:spcBef>
                <a:spcPts val="200"/>
              </a:spcBef>
              <a:spcAft>
                <a:spcPts val="100"/>
              </a:spcAft>
              <a:buClrTx/>
              <a:buSzTx/>
              <a:buFontTx/>
              <a:buNone/>
              <a:tabLst/>
              <a:defRPr/>
            </a:pPr>
            <a:r>
              <a:rPr kumimoji="0" lang="en-US" sz="140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Putting in place a scalable and repeatable insight process with a strong governance framework is a paramount to prioritizing the right analytics projects, industrializing analytics and acting upon the results to improve the business.</a:t>
            </a:r>
            <a:endParaRPr kumimoji="0" lang="en-US" sz="110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Title 5">
            <a:extLst>
              <a:ext uri="{FF2B5EF4-FFF2-40B4-BE49-F238E27FC236}">
                <a16:creationId xmlns:a16="http://schemas.microsoft.com/office/drawing/2014/main" id="{D58718AC-C42B-2FD4-8F98-6BCFA0ACBBCA}"/>
              </a:ext>
            </a:extLst>
          </p:cNvPr>
          <p:cNvSpPr txBox="1">
            <a:spLocks/>
          </p:cNvSpPr>
          <p:nvPr/>
        </p:nvSpPr>
        <p:spPr bwMode="gray">
          <a:xfrm>
            <a:off x="464400" y="417600"/>
            <a:ext cx="10539845" cy="407119"/>
          </a:xfrm>
          <a:prstGeom prst="rect">
            <a:avLst/>
          </a:prstGeom>
        </p:spPr>
        <p:txBody>
          <a:bodyPr vert="horz" lIns="0" tIns="0" rIns="0" bIns="0" rtlCol="0" anchor="t" anchorCtr="0">
            <a:noAutofit/>
          </a:bodyPr>
          <a:lstStyle>
            <a:lvl1pPr marL="0" marR="81478" algn="l" defTabSz="914400" rtl="0" eaLnBrk="1" latinLnBrk="0" hangingPunct="1">
              <a:lnSpc>
                <a:spcPct val="100000"/>
              </a:lnSpc>
              <a:spcBef>
                <a:spcPct val="0"/>
              </a:spcBef>
              <a:buNone/>
              <a:defRPr lang="en-US" sz="3200" kern="1200" noProof="0" dirty="0">
                <a:solidFill>
                  <a:schemeClr val="tx1"/>
                </a:solidFill>
                <a:latin typeface="+mj-lt"/>
                <a:ea typeface="+mj-ea"/>
                <a:cs typeface="Calibri Light" panose="020F0302020204030204" pitchFamily="34" charset="0"/>
              </a:defRPr>
            </a:lvl1pPr>
          </a:lstStyle>
          <a:p>
            <a:pPr marL="0" marR="81478" lvl="0" indent="0" algn="l" defTabSz="914400" rtl="0" eaLnBrk="1" fontAlgn="auto" latinLnBrk="0" hangingPunct="1">
              <a:lnSpc>
                <a:spcPct val="100000"/>
              </a:lnSpc>
              <a:spcBef>
                <a:spcPct val="0"/>
              </a:spcBef>
              <a:spcAft>
                <a:spcPts val="0"/>
              </a:spcAft>
              <a:buClrTx/>
              <a:buSzTx/>
              <a:buFontTx/>
              <a:buNone/>
              <a:tabLst/>
              <a:defRPr/>
            </a:pPr>
            <a:r>
              <a:rPr lang="en-US" sz="2400" dirty="0">
                <a:solidFill>
                  <a:prstClr val="black"/>
                </a:solidFill>
                <a:latin typeface="Open Sans Light"/>
              </a:rPr>
              <a:t>Embedding</a:t>
            </a:r>
            <a:r>
              <a:rPr kumimoji="0" lang="en-US" sz="2400" b="0" i="0" u="none" strike="noStrike" kern="1200" cap="none" spc="0" normalizeH="0" baseline="0" noProof="0" dirty="0">
                <a:ln>
                  <a:noFill/>
                </a:ln>
                <a:solidFill>
                  <a:prstClr val="black"/>
                </a:solidFill>
                <a:effectLst/>
                <a:uLnTx/>
                <a:uFillTx/>
                <a:latin typeface="Open Sans Light"/>
                <a:ea typeface="+mj-ea"/>
                <a:cs typeface="Calibri Light" panose="020F0302020204030204" pitchFamily="34" charset="0"/>
              </a:rPr>
              <a:t> an Insight Process</a:t>
            </a:r>
          </a:p>
        </p:txBody>
      </p:sp>
      <p:sp>
        <p:nvSpPr>
          <p:cNvPr id="17" name="TextBox 16">
            <a:extLst>
              <a:ext uri="{FF2B5EF4-FFF2-40B4-BE49-F238E27FC236}">
                <a16:creationId xmlns:a16="http://schemas.microsoft.com/office/drawing/2014/main" id="{9AC82CBB-6216-DC2F-CA59-57CC990FECD6}"/>
              </a:ext>
            </a:extLst>
          </p:cNvPr>
          <p:cNvSpPr txBox="1"/>
          <p:nvPr/>
        </p:nvSpPr>
        <p:spPr>
          <a:xfrm>
            <a:off x="2266650" y="2032383"/>
            <a:ext cx="8086718" cy="523220"/>
          </a:xfrm>
          <a:prstGeom prst="rect">
            <a:avLst/>
          </a:prstGeom>
          <a:noFill/>
        </p:spPr>
        <p:txBody>
          <a:bodyPr wrap="square" anchor="t">
            <a:spAutoFit/>
          </a:bodyPr>
          <a:lstStyle/>
          <a:p>
            <a:pPr marL="0" marR="0" lvl="0" indent="0" algn="ctr" defTabSz="914400" rtl="0" eaLnBrk="1" fontAlgn="auto" latinLnBrk="0" hangingPunct="1">
              <a:spcBef>
                <a:spcPts val="200"/>
              </a:spcBef>
              <a:spcAft>
                <a:spcPts val="100"/>
              </a:spcAft>
              <a:buClrTx/>
              <a:buSzTx/>
              <a:buFontTx/>
              <a:buNone/>
              <a:tabLst/>
              <a:defRPr/>
            </a:pPr>
            <a:r>
              <a:rPr lang="en-US" sz="1400" b="1" dirty="0">
                <a:latin typeface="Open Sans Light" panose="020B0306030504020204" pitchFamily="34" charset="0"/>
                <a:ea typeface="Open Sans Light" panose="020B0306030504020204" pitchFamily="34" charset="0"/>
                <a:cs typeface="Open Sans Light" panose="020B0306030504020204" pitchFamily="34" charset="0"/>
              </a:rPr>
              <a:t>W</a:t>
            </a:r>
            <a:r>
              <a:rPr kumimoji="0" lang="en-US" sz="1400" b="1"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e design an end-to-end process in which we can accurately identify, correctly prioritize and satisfactorily control the delivery of actionable insights to our business</a:t>
            </a:r>
            <a:endParaRPr kumimoji="0" lang="en-US" sz="1100" b="1"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9" name="Straight Connector 18">
            <a:extLst>
              <a:ext uri="{FF2B5EF4-FFF2-40B4-BE49-F238E27FC236}">
                <a16:creationId xmlns:a16="http://schemas.microsoft.com/office/drawing/2014/main" id="{02E489B2-4D7B-084A-514E-29857CFF6F59}"/>
              </a:ext>
            </a:extLst>
          </p:cNvPr>
          <p:cNvCxnSpPr>
            <a:cxnSpLocks/>
          </p:cNvCxnSpPr>
          <p:nvPr/>
        </p:nvCxnSpPr>
        <p:spPr>
          <a:xfrm>
            <a:off x="2394179" y="2568433"/>
            <a:ext cx="759600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F297FD-C0F9-3C61-5BCA-072F046D9C1C}"/>
              </a:ext>
            </a:extLst>
          </p:cNvPr>
          <p:cNvSpPr txBox="1"/>
          <p:nvPr/>
        </p:nvSpPr>
        <p:spPr>
          <a:xfrm>
            <a:off x="2981760" y="2910792"/>
            <a:ext cx="8181871"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lang="en-US" sz="1200" dirty="0">
                <a:latin typeface="Open Sans" panose="020B0606030504020204" pitchFamily="34" charset="0"/>
                <a:ea typeface="Open Sans" panose="020B0606030504020204" pitchFamily="34" charset="0"/>
                <a:cs typeface="Open Sans" panose="020B0606030504020204" pitchFamily="34" charset="0"/>
              </a:rPr>
              <a:t>We set you up to</a:t>
            </a:r>
            <a:r>
              <a:rPr lang="en-US" sz="1200" b="1" dirty="0">
                <a:latin typeface="Open Sans" panose="020B0606030504020204" pitchFamily="34" charset="0"/>
                <a:ea typeface="Open Sans" panose="020B0606030504020204" pitchFamily="34" charset="0"/>
                <a:cs typeface="Open Sans" panose="020B0606030504020204" pitchFamily="34" charset="0"/>
              </a:rPr>
              <a:t> successfully develop new ideas </a:t>
            </a:r>
            <a:r>
              <a:rPr lang="en-US" sz="1200" dirty="0">
                <a:latin typeface="Open Sans" panose="020B0606030504020204" pitchFamily="34" charset="0"/>
                <a:ea typeface="Open Sans" panose="020B0606030504020204" pitchFamily="34" charset="0"/>
                <a:cs typeface="Open Sans" panose="020B0606030504020204" pitchFamily="34" charset="0"/>
              </a:rPr>
              <a:t>determining the relative importance of tasks.</a:t>
            </a:r>
            <a:endParaRPr kumimoji="0" lang="en-US" sz="105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0563B5F2-80FF-05B8-AD61-5EC487819512}"/>
              </a:ext>
            </a:extLst>
          </p:cNvPr>
          <p:cNvSpPr txBox="1"/>
          <p:nvPr/>
        </p:nvSpPr>
        <p:spPr>
          <a:xfrm>
            <a:off x="2981760" y="3659017"/>
            <a:ext cx="8062601"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The processes and models have to be designed with </a:t>
            </a: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future demands in mind</a:t>
            </a:r>
            <a:endParaRPr kumimoji="0" lang="en-US" sz="105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D161DCF7-F094-FC81-1C2D-7DDDB7475671}"/>
              </a:ext>
            </a:extLst>
          </p:cNvPr>
          <p:cNvSpPr txBox="1"/>
          <p:nvPr/>
        </p:nvSpPr>
        <p:spPr>
          <a:xfrm>
            <a:off x="2981761" y="4450117"/>
            <a:ext cx="8062600"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nd-to-end business processes have to evolve using </a:t>
            </a: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the insights we gain</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 from each project</a:t>
            </a:r>
            <a:endParaRPr kumimoji="0" lang="en-US" sz="105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2EDAFE12-E3C3-A72B-3411-350C0C049C8A}"/>
              </a:ext>
            </a:extLst>
          </p:cNvPr>
          <p:cNvSpPr txBox="1"/>
          <p:nvPr/>
        </p:nvSpPr>
        <p:spPr>
          <a:xfrm>
            <a:off x="2981761" y="5241217"/>
            <a:ext cx="8181870" cy="487569"/>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lang="en-US" sz="1200" b="1" dirty="0">
                <a:latin typeface="Open Sans" panose="020B0606030504020204" pitchFamily="34" charset="0"/>
                <a:ea typeface="Open Sans" panose="020B0606030504020204" pitchFamily="34" charset="0"/>
                <a:cs typeface="Open Sans" panose="020B0606030504020204" pitchFamily="34" charset="0"/>
              </a:rPr>
              <a:t>Tracking and quantifying benefits </a:t>
            </a:r>
            <a:r>
              <a:rPr lang="en-US" sz="1200" dirty="0">
                <a:latin typeface="Open Sans" panose="020B0606030504020204" pitchFamily="34" charset="0"/>
                <a:ea typeface="Open Sans" panose="020B0606030504020204" pitchFamily="34" charset="0"/>
                <a:cs typeface="Open Sans" panose="020B0606030504020204" pitchFamily="34" charset="0"/>
              </a:rPr>
              <a:t>across projects of different types have to be established. Think </a:t>
            </a:r>
            <a:r>
              <a:rPr lang="en-US" sz="1200" b="1" dirty="0">
                <a:latin typeface="Open Sans" panose="020B0606030504020204" pitchFamily="34" charset="0"/>
                <a:ea typeface="Open Sans" panose="020B0606030504020204" pitchFamily="34" charset="0"/>
                <a:cs typeface="Open Sans" panose="020B0606030504020204" pitchFamily="34" charset="0"/>
              </a:rPr>
              <a:t>capability versus credibility</a:t>
            </a:r>
            <a:endParaRPr kumimoji="0" lang="en-US" sz="105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83C1A6DE-6AE7-E5D1-79AA-8A67C64EF6A4}"/>
              </a:ext>
            </a:extLst>
          </p:cNvPr>
          <p:cNvSpPr txBox="1"/>
          <p:nvPr/>
        </p:nvSpPr>
        <p:spPr>
          <a:xfrm>
            <a:off x="2981761" y="6032318"/>
            <a:ext cx="8062600"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Need of a </a:t>
            </a: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well-defined governance structure </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which mitigates risk and facilitates decision-making.</a:t>
            </a:r>
            <a:endParaRPr kumimoji="0" lang="en-US" sz="105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4" name="Graphic 4">
            <a:extLst>
              <a:ext uri="{FF2B5EF4-FFF2-40B4-BE49-F238E27FC236}">
                <a16:creationId xmlns:a16="http://schemas.microsoft.com/office/drawing/2014/main" id="{FA2B41FC-EFEA-4A3C-BB1A-4210158D914F}"/>
              </a:ext>
            </a:extLst>
          </p:cNvPr>
          <p:cNvGrpSpPr>
            <a:grpSpLocks noChangeAspect="1"/>
          </p:cNvGrpSpPr>
          <p:nvPr/>
        </p:nvGrpSpPr>
        <p:grpSpPr>
          <a:xfrm>
            <a:off x="733144" y="2259599"/>
            <a:ext cx="457625" cy="457200"/>
            <a:chOff x="6146480" y="4793256"/>
            <a:chExt cx="362309" cy="361971"/>
          </a:xfrm>
          <a:solidFill>
            <a:schemeClr val="accent3"/>
          </a:solidFill>
          <a:effectLst/>
        </p:grpSpPr>
        <p:sp>
          <p:nvSpPr>
            <p:cNvPr id="35" name="Graphic 4">
              <a:extLst>
                <a:ext uri="{FF2B5EF4-FFF2-40B4-BE49-F238E27FC236}">
                  <a16:creationId xmlns:a16="http://schemas.microsoft.com/office/drawing/2014/main" id="{7A6BCA9B-7157-BFCF-191E-A8136E57956F}"/>
                </a:ext>
              </a:extLst>
            </p:cNvPr>
            <p:cNvSpPr/>
            <p:nvPr/>
          </p:nvSpPr>
          <p:spPr>
            <a:xfrm>
              <a:off x="6146480"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187864 w 362309"/>
                <a:gd name="connsiteY7" fmla="*/ 248337 h 361971"/>
                <a:gd name="connsiteX8" fmla="*/ 183391 w 362309"/>
                <a:gd name="connsiteY8" fmla="*/ 252167 h 361971"/>
                <a:gd name="connsiteX9" fmla="*/ 184669 w 362309"/>
                <a:gd name="connsiteY9" fmla="*/ 257913 h 361971"/>
                <a:gd name="connsiteX10" fmla="*/ 180196 w 362309"/>
                <a:gd name="connsiteY10" fmla="*/ 278341 h 361971"/>
                <a:gd name="connsiteX11" fmla="*/ 168055 w 362309"/>
                <a:gd name="connsiteY11" fmla="*/ 280257 h 361971"/>
                <a:gd name="connsiteX12" fmla="*/ 161665 w 362309"/>
                <a:gd name="connsiteY12" fmla="*/ 280895 h 361971"/>
                <a:gd name="connsiteX13" fmla="*/ 159109 w 362309"/>
                <a:gd name="connsiteY13" fmla="*/ 286002 h 361971"/>
                <a:gd name="connsiteX14" fmla="*/ 148885 w 362309"/>
                <a:gd name="connsiteY14" fmla="*/ 299409 h 361971"/>
                <a:gd name="connsiteX15" fmla="*/ 145690 w 362309"/>
                <a:gd name="connsiteY15" fmla="*/ 300047 h 361971"/>
                <a:gd name="connsiteX16" fmla="*/ 132911 w 362309"/>
                <a:gd name="connsiteY16" fmla="*/ 294301 h 361971"/>
                <a:gd name="connsiteX17" fmla="*/ 127799 w 362309"/>
                <a:gd name="connsiteY17" fmla="*/ 291109 h 361971"/>
                <a:gd name="connsiteX18" fmla="*/ 122686 w 362309"/>
                <a:gd name="connsiteY18" fmla="*/ 294301 h 361971"/>
                <a:gd name="connsiteX19" fmla="*/ 106712 w 362309"/>
                <a:gd name="connsiteY19" fmla="*/ 298770 h 361971"/>
                <a:gd name="connsiteX20" fmla="*/ 97127 w 362309"/>
                <a:gd name="connsiteY20" fmla="*/ 285364 h 361971"/>
                <a:gd name="connsiteX21" fmla="*/ 94571 w 362309"/>
                <a:gd name="connsiteY21" fmla="*/ 279618 h 361971"/>
                <a:gd name="connsiteX22" fmla="*/ 88820 w 362309"/>
                <a:gd name="connsiteY22" fmla="*/ 278980 h 361971"/>
                <a:gd name="connsiteX23" fmla="*/ 72845 w 362309"/>
                <a:gd name="connsiteY23" fmla="*/ 273234 h 361971"/>
                <a:gd name="connsiteX24" fmla="*/ 72845 w 362309"/>
                <a:gd name="connsiteY24" fmla="*/ 256636 h 361971"/>
                <a:gd name="connsiteX25" fmla="*/ 74123 w 362309"/>
                <a:gd name="connsiteY25" fmla="*/ 250252 h 361971"/>
                <a:gd name="connsiteX26" fmla="*/ 69650 w 362309"/>
                <a:gd name="connsiteY26" fmla="*/ 245783 h 361971"/>
                <a:gd name="connsiteX27" fmla="*/ 60065 w 362309"/>
                <a:gd name="connsiteY27" fmla="*/ 232377 h 361971"/>
                <a:gd name="connsiteX28" fmla="*/ 69650 w 362309"/>
                <a:gd name="connsiteY28" fmla="*/ 218971 h 361971"/>
                <a:gd name="connsiteX29" fmla="*/ 74123 w 362309"/>
                <a:gd name="connsiteY29" fmla="*/ 215140 h 361971"/>
                <a:gd name="connsiteX30" fmla="*/ 72845 w 362309"/>
                <a:gd name="connsiteY30" fmla="*/ 209395 h 361971"/>
                <a:gd name="connsiteX31" fmla="*/ 76679 w 362309"/>
                <a:gd name="connsiteY31" fmla="*/ 188966 h 361971"/>
                <a:gd name="connsiteX32" fmla="*/ 88820 w 362309"/>
                <a:gd name="connsiteY32" fmla="*/ 187051 h 361971"/>
                <a:gd name="connsiteX33" fmla="*/ 95210 w 362309"/>
                <a:gd name="connsiteY33" fmla="*/ 186412 h 361971"/>
                <a:gd name="connsiteX34" fmla="*/ 97766 w 362309"/>
                <a:gd name="connsiteY34" fmla="*/ 181305 h 361971"/>
                <a:gd name="connsiteX35" fmla="*/ 107990 w 362309"/>
                <a:gd name="connsiteY35" fmla="*/ 167899 h 361971"/>
                <a:gd name="connsiteX36" fmla="*/ 123965 w 362309"/>
                <a:gd name="connsiteY36" fmla="*/ 173006 h 361971"/>
                <a:gd name="connsiteX37" fmla="*/ 129076 w 362309"/>
                <a:gd name="connsiteY37" fmla="*/ 176198 h 361971"/>
                <a:gd name="connsiteX38" fmla="*/ 134189 w 362309"/>
                <a:gd name="connsiteY38" fmla="*/ 173006 h 361971"/>
                <a:gd name="connsiteX39" fmla="*/ 150164 w 362309"/>
                <a:gd name="connsiteY39" fmla="*/ 168537 h 361971"/>
                <a:gd name="connsiteX40" fmla="*/ 159748 w 362309"/>
                <a:gd name="connsiteY40" fmla="*/ 181944 h 361971"/>
                <a:gd name="connsiteX41" fmla="*/ 162304 w 362309"/>
                <a:gd name="connsiteY41" fmla="*/ 187689 h 361971"/>
                <a:gd name="connsiteX42" fmla="*/ 168055 w 362309"/>
                <a:gd name="connsiteY42" fmla="*/ 188327 h 361971"/>
                <a:gd name="connsiteX43" fmla="*/ 184030 w 362309"/>
                <a:gd name="connsiteY43" fmla="*/ 194073 h 361971"/>
                <a:gd name="connsiteX44" fmla="*/ 184030 w 362309"/>
                <a:gd name="connsiteY44" fmla="*/ 210671 h 361971"/>
                <a:gd name="connsiteX45" fmla="*/ 182752 w 362309"/>
                <a:gd name="connsiteY45" fmla="*/ 217055 h 361971"/>
                <a:gd name="connsiteX46" fmla="*/ 187225 w 362309"/>
                <a:gd name="connsiteY46" fmla="*/ 221524 h 361971"/>
                <a:gd name="connsiteX47" fmla="*/ 196810 w 362309"/>
                <a:gd name="connsiteY47" fmla="*/ 234930 h 361971"/>
                <a:gd name="connsiteX48" fmla="*/ 187864 w 362309"/>
                <a:gd name="connsiteY48" fmla="*/ 248337 h 361971"/>
                <a:gd name="connsiteX49" fmla="*/ 187864 w 362309"/>
                <a:gd name="connsiteY49" fmla="*/ 248337 h 361971"/>
                <a:gd name="connsiteX50" fmla="*/ 293298 w 362309"/>
                <a:gd name="connsiteY50" fmla="*/ 142363 h 361971"/>
                <a:gd name="connsiteX51" fmla="*/ 288825 w 362309"/>
                <a:gd name="connsiteY51" fmla="*/ 146193 h 361971"/>
                <a:gd name="connsiteX52" fmla="*/ 290103 w 362309"/>
                <a:gd name="connsiteY52" fmla="*/ 151939 h 361971"/>
                <a:gd name="connsiteX53" fmla="*/ 285630 w 362309"/>
                <a:gd name="connsiteY53" fmla="*/ 172368 h 361971"/>
                <a:gd name="connsiteX54" fmla="*/ 273489 w 362309"/>
                <a:gd name="connsiteY54" fmla="*/ 174283 h 361971"/>
                <a:gd name="connsiteX55" fmla="*/ 267099 w 362309"/>
                <a:gd name="connsiteY55" fmla="*/ 174921 h 361971"/>
                <a:gd name="connsiteX56" fmla="*/ 264543 w 362309"/>
                <a:gd name="connsiteY56" fmla="*/ 180028 h 361971"/>
                <a:gd name="connsiteX57" fmla="*/ 254319 w 362309"/>
                <a:gd name="connsiteY57" fmla="*/ 193435 h 361971"/>
                <a:gd name="connsiteX58" fmla="*/ 251124 w 362309"/>
                <a:gd name="connsiteY58" fmla="*/ 194073 h 361971"/>
                <a:gd name="connsiteX59" fmla="*/ 238345 w 362309"/>
                <a:gd name="connsiteY59" fmla="*/ 188327 h 361971"/>
                <a:gd name="connsiteX60" fmla="*/ 233233 w 362309"/>
                <a:gd name="connsiteY60" fmla="*/ 185135 h 361971"/>
                <a:gd name="connsiteX61" fmla="*/ 228120 w 362309"/>
                <a:gd name="connsiteY61" fmla="*/ 188327 h 361971"/>
                <a:gd name="connsiteX62" fmla="*/ 212146 w 362309"/>
                <a:gd name="connsiteY62" fmla="*/ 192796 h 361971"/>
                <a:gd name="connsiteX63" fmla="*/ 201922 w 362309"/>
                <a:gd name="connsiteY63" fmla="*/ 179390 h 361971"/>
                <a:gd name="connsiteX64" fmla="*/ 199366 w 362309"/>
                <a:gd name="connsiteY64" fmla="*/ 173644 h 361971"/>
                <a:gd name="connsiteX65" fmla="*/ 193615 w 362309"/>
                <a:gd name="connsiteY65" fmla="*/ 173006 h 361971"/>
                <a:gd name="connsiteX66" fmla="*/ 175723 w 362309"/>
                <a:gd name="connsiteY66" fmla="*/ 162792 h 361971"/>
                <a:gd name="connsiteX67" fmla="*/ 177640 w 362309"/>
                <a:gd name="connsiteY67" fmla="*/ 150662 h 361971"/>
                <a:gd name="connsiteX68" fmla="*/ 178918 w 362309"/>
                <a:gd name="connsiteY68" fmla="*/ 144278 h 361971"/>
                <a:gd name="connsiteX69" fmla="*/ 174445 w 362309"/>
                <a:gd name="connsiteY69" fmla="*/ 139809 h 361971"/>
                <a:gd name="connsiteX70" fmla="*/ 164860 w 362309"/>
                <a:gd name="connsiteY70" fmla="*/ 126403 h 361971"/>
                <a:gd name="connsiteX71" fmla="*/ 174445 w 362309"/>
                <a:gd name="connsiteY71" fmla="*/ 112997 h 361971"/>
                <a:gd name="connsiteX72" fmla="*/ 178918 w 362309"/>
                <a:gd name="connsiteY72" fmla="*/ 109166 h 361971"/>
                <a:gd name="connsiteX73" fmla="*/ 177640 w 362309"/>
                <a:gd name="connsiteY73" fmla="*/ 103421 h 361971"/>
                <a:gd name="connsiteX74" fmla="*/ 178279 w 362309"/>
                <a:gd name="connsiteY74" fmla="*/ 86822 h 361971"/>
                <a:gd name="connsiteX75" fmla="*/ 194254 w 362309"/>
                <a:gd name="connsiteY75" fmla="*/ 81715 h 361971"/>
                <a:gd name="connsiteX76" fmla="*/ 200644 w 362309"/>
                <a:gd name="connsiteY76" fmla="*/ 81077 h 361971"/>
                <a:gd name="connsiteX77" fmla="*/ 203200 w 362309"/>
                <a:gd name="connsiteY77" fmla="*/ 75969 h 361971"/>
                <a:gd name="connsiteX78" fmla="*/ 213424 w 362309"/>
                <a:gd name="connsiteY78" fmla="*/ 62563 h 361971"/>
                <a:gd name="connsiteX79" fmla="*/ 229399 w 362309"/>
                <a:gd name="connsiteY79" fmla="*/ 67670 h 361971"/>
                <a:gd name="connsiteX80" fmla="*/ 234510 w 362309"/>
                <a:gd name="connsiteY80" fmla="*/ 70862 h 361971"/>
                <a:gd name="connsiteX81" fmla="*/ 239623 w 362309"/>
                <a:gd name="connsiteY81" fmla="*/ 67670 h 361971"/>
                <a:gd name="connsiteX82" fmla="*/ 255597 w 362309"/>
                <a:gd name="connsiteY82" fmla="*/ 63201 h 361971"/>
                <a:gd name="connsiteX83" fmla="*/ 265182 w 362309"/>
                <a:gd name="connsiteY83" fmla="*/ 76608 h 361971"/>
                <a:gd name="connsiteX84" fmla="*/ 267738 w 362309"/>
                <a:gd name="connsiteY84" fmla="*/ 82353 h 361971"/>
                <a:gd name="connsiteX85" fmla="*/ 273489 w 362309"/>
                <a:gd name="connsiteY85" fmla="*/ 82992 h 361971"/>
                <a:gd name="connsiteX86" fmla="*/ 289464 w 362309"/>
                <a:gd name="connsiteY86" fmla="*/ 88737 h 361971"/>
                <a:gd name="connsiteX87" fmla="*/ 289464 w 362309"/>
                <a:gd name="connsiteY87" fmla="*/ 105336 h 361971"/>
                <a:gd name="connsiteX88" fmla="*/ 288186 w 362309"/>
                <a:gd name="connsiteY88" fmla="*/ 111720 h 361971"/>
                <a:gd name="connsiteX89" fmla="*/ 293298 w 362309"/>
                <a:gd name="connsiteY89" fmla="*/ 116189 h 361971"/>
                <a:gd name="connsiteX90" fmla="*/ 301605 w 362309"/>
                <a:gd name="connsiteY90" fmla="*/ 135341 h 361971"/>
                <a:gd name="connsiteX91" fmla="*/ 293298 w 362309"/>
                <a:gd name="connsiteY91" fmla="*/ 142363 h 361971"/>
                <a:gd name="connsiteX92" fmla="*/ 293298 w 362309"/>
                <a:gd name="connsiteY92" fmla="*/ 14236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0438"/>
                    <a:pt x="281157" y="0"/>
                    <a:pt x="181474" y="0"/>
                  </a:cubicBezTo>
                  <a:lnTo>
                    <a:pt x="181474" y="0"/>
                  </a:lnTo>
                  <a:close/>
                  <a:moveTo>
                    <a:pt x="187864" y="248337"/>
                  </a:moveTo>
                  <a:cubicBezTo>
                    <a:pt x="185947" y="249614"/>
                    <a:pt x="184669" y="250890"/>
                    <a:pt x="183391" y="252167"/>
                  </a:cubicBezTo>
                  <a:cubicBezTo>
                    <a:pt x="183391" y="254082"/>
                    <a:pt x="184030" y="255998"/>
                    <a:pt x="184669" y="257913"/>
                  </a:cubicBezTo>
                  <a:cubicBezTo>
                    <a:pt x="189142" y="264935"/>
                    <a:pt x="187225" y="273873"/>
                    <a:pt x="180196" y="278341"/>
                  </a:cubicBezTo>
                  <a:cubicBezTo>
                    <a:pt x="176362" y="280895"/>
                    <a:pt x="171889" y="281533"/>
                    <a:pt x="168055" y="280257"/>
                  </a:cubicBezTo>
                  <a:cubicBezTo>
                    <a:pt x="166138" y="280257"/>
                    <a:pt x="163582" y="280257"/>
                    <a:pt x="161665" y="280895"/>
                  </a:cubicBezTo>
                  <a:cubicBezTo>
                    <a:pt x="160387" y="282810"/>
                    <a:pt x="159748" y="284087"/>
                    <a:pt x="159109" y="286002"/>
                  </a:cubicBezTo>
                  <a:cubicBezTo>
                    <a:pt x="157192" y="291109"/>
                    <a:pt x="154636" y="297493"/>
                    <a:pt x="148885" y="299409"/>
                  </a:cubicBezTo>
                  <a:cubicBezTo>
                    <a:pt x="147607" y="300047"/>
                    <a:pt x="146329" y="300047"/>
                    <a:pt x="145690" y="300047"/>
                  </a:cubicBezTo>
                  <a:cubicBezTo>
                    <a:pt x="141217" y="299409"/>
                    <a:pt x="136744" y="297493"/>
                    <a:pt x="132911" y="294301"/>
                  </a:cubicBezTo>
                  <a:cubicBezTo>
                    <a:pt x="131633" y="293025"/>
                    <a:pt x="129716" y="291748"/>
                    <a:pt x="127799" y="291109"/>
                  </a:cubicBezTo>
                  <a:cubicBezTo>
                    <a:pt x="125881" y="291748"/>
                    <a:pt x="123965" y="293025"/>
                    <a:pt x="122686" y="294301"/>
                  </a:cubicBezTo>
                  <a:cubicBezTo>
                    <a:pt x="118214" y="298132"/>
                    <a:pt x="112463" y="300047"/>
                    <a:pt x="106712" y="298770"/>
                  </a:cubicBezTo>
                  <a:cubicBezTo>
                    <a:pt x="100322" y="296855"/>
                    <a:pt x="98405" y="290471"/>
                    <a:pt x="97127" y="285364"/>
                  </a:cubicBezTo>
                  <a:cubicBezTo>
                    <a:pt x="96488" y="283449"/>
                    <a:pt x="95849" y="281533"/>
                    <a:pt x="94571" y="279618"/>
                  </a:cubicBezTo>
                  <a:cubicBezTo>
                    <a:pt x="92654" y="278980"/>
                    <a:pt x="90737" y="278980"/>
                    <a:pt x="88820" y="278980"/>
                  </a:cubicBezTo>
                  <a:cubicBezTo>
                    <a:pt x="83069" y="279618"/>
                    <a:pt x="76679" y="277703"/>
                    <a:pt x="72845" y="273234"/>
                  </a:cubicBezTo>
                  <a:cubicBezTo>
                    <a:pt x="70289" y="268127"/>
                    <a:pt x="70289" y="261743"/>
                    <a:pt x="72845" y="256636"/>
                  </a:cubicBezTo>
                  <a:cubicBezTo>
                    <a:pt x="73484" y="254721"/>
                    <a:pt x="74123" y="252167"/>
                    <a:pt x="74123" y="250252"/>
                  </a:cubicBezTo>
                  <a:cubicBezTo>
                    <a:pt x="72845" y="248337"/>
                    <a:pt x="70928" y="247060"/>
                    <a:pt x="69650" y="245783"/>
                  </a:cubicBezTo>
                  <a:cubicBezTo>
                    <a:pt x="65177" y="242591"/>
                    <a:pt x="60065" y="238122"/>
                    <a:pt x="60065" y="232377"/>
                  </a:cubicBezTo>
                  <a:cubicBezTo>
                    <a:pt x="60065" y="226631"/>
                    <a:pt x="65816" y="222163"/>
                    <a:pt x="69650" y="218971"/>
                  </a:cubicBezTo>
                  <a:cubicBezTo>
                    <a:pt x="71567" y="217694"/>
                    <a:pt x="72845" y="216417"/>
                    <a:pt x="74123" y="215140"/>
                  </a:cubicBezTo>
                  <a:cubicBezTo>
                    <a:pt x="74123" y="213225"/>
                    <a:pt x="73484" y="211310"/>
                    <a:pt x="72845" y="209395"/>
                  </a:cubicBezTo>
                  <a:cubicBezTo>
                    <a:pt x="68372" y="202372"/>
                    <a:pt x="70289" y="193435"/>
                    <a:pt x="76679" y="188966"/>
                  </a:cubicBezTo>
                  <a:cubicBezTo>
                    <a:pt x="80513" y="186412"/>
                    <a:pt x="84986" y="185774"/>
                    <a:pt x="88820" y="187051"/>
                  </a:cubicBezTo>
                  <a:cubicBezTo>
                    <a:pt x="90737" y="187051"/>
                    <a:pt x="93293" y="187051"/>
                    <a:pt x="95210" y="186412"/>
                  </a:cubicBezTo>
                  <a:cubicBezTo>
                    <a:pt x="95849" y="184497"/>
                    <a:pt x="97127" y="182582"/>
                    <a:pt x="97766" y="181305"/>
                  </a:cubicBezTo>
                  <a:cubicBezTo>
                    <a:pt x="99683" y="176198"/>
                    <a:pt x="102239" y="169814"/>
                    <a:pt x="107990" y="167899"/>
                  </a:cubicBezTo>
                  <a:cubicBezTo>
                    <a:pt x="113741" y="167260"/>
                    <a:pt x="120131" y="169176"/>
                    <a:pt x="123965" y="173006"/>
                  </a:cubicBezTo>
                  <a:cubicBezTo>
                    <a:pt x="125243" y="174283"/>
                    <a:pt x="127160" y="175560"/>
                    <a:pt x="129076" y="176198"/>
                  </a:cubicBezTo>
                  <a:cubicBezTo>
                    <a:pt x="130994" y="175560"/>
                    <a:pt x="132911" y="174283"/>
                    <a:pt x="134189" y="173006"/>
                  </a:cubicBezTo>
                  <a:cubicBezTo>
                    <a:pt x="138661" y="169176"/>
                    <a:pt x="144412" y="167260"/>
                    <a:pt x="150164" y="168537"/>
                  </a:cubicBezTo>
                  <a:cubicBezTo>
                    <a:pt x="156553" y="170452"/>
                    <a:pt x="158470" y="176836"/>
                    <a:pt x="159748" y="181944"/>
                  </a:cubicBezTo>
                  <a:cubicBezTo>
                    <a:pt x="160387" y="183859"/>
                    <a:pt x="161026" y="185774"/>
                    <a:pt x="162304" y="187689"/>
                  </a:cubicBezTo>
                  <a:cubicBezTo>
                    <a:pt x="164221" y="188327"/>
                    <a:pt x="166138" y="188327"/>
                    <a:pt x="168055" y="188327"/>
                  </a:cubicBezTo>
                  <a:cubicBezTo>
                    <a:pt x="173806" y="187689"/>
                    <a:pt x="179557" y="189604"/>
                    <a:pt x="184030" y="194073"/>
                  </a:cubicBezTo>
                  <a:cubicBezTo>
                    <a:pt x="186586" y="199180"/>
                    <a:pt x="186586" y="205564"/>
                    <a:pt x="184030" y="210671"/>
                  </a:cubicBezTo>
                  <a:cubicBezTo>
                    <a:pt x="183391" y="212587"/>
                    <a:pt x="182752" y="215140"/>
                    <a:pt x="182752" y="217055"/>
                  </a:cubicBezTo>
                  <a:cubicBezTo>
                    <a:pt x="184030" y="218971"/>
                    <a:pt x="185947" y="220247"/>
                    <a:pt x="187225" y="221524"/>
                  </a:cubicBezTo>
                  <a:cubicBezTo>
                    <a:pt x="191698" y="224716"/>
                    <a:pt x="196810" y="229185"/>
                    <a:pt x="196810" y="234930"/>
                  </a:cubicBezTo>
                  <a:cubicBezTo>
                    <a:pt x="196810" y="240676"/>
                    <a:pt x="191698" y="245145"/>
                    <a:pt x="187864" y="248337"/>
                  </a:cubicBezTo>
                  <a:lnTo>
                    <a:pt x="187864" y="248337"/>
                  </a:lnTo>
                  <a:close/>
                  <a:moveTo>
                    <a:pt x="293298" y="142363"/>
                  </a:moveTo>
                  <a:cubicBezTo>
                    <a:pt x="291381" y="143640"/>
                    <a:pt x="290103" y="144916"/>
                    <a:pt x="288825" y="146193"/>
                  </a:cubicBezTo>
                  <a:cubicBezTo>
                    <a:pt x="288825" y="148108"/>
                    <a:pt x="289464" y="150024"/>
                    <a:pt x="290103" y="151939"/>
                  </a:cubicBezTo>
                  <a:cubicBezTo>
                    <a:pt x="294576" y="158961"/>
                    <a:pt x="292659" y="167899"/>
                    <a:pt x="285630" y="172368"/>
                  </a:cubicBezTo>
                  <a:cubicBezTo>
                    <a:pt x="281796" y="174921"/>
                    <a:pt x="277962" y="175560"/>
                    <a:pt x="273489" y="174283"/>
                  </a:cubicBezTo>
                  <a:cubicBezTo>
                    <a:pt x="271572" y="174283"/>
                    <a:pt x="269016" y="174283"/>
                    <a:pt x="267099" y="174921"/>
                  </a:cubicBezTo>
                  <a:cubicBezTo>
                    <a:pt x="265821" y="176836"/>
                    <a:pt x="265182" y="178752"/>
                    <a:pt x="264543" y="180028"/>
                  </a:cubicBezTo>
                  <a:cubicBezTo>
                    <a:pt x="262626" y="185135"/>
                    <a:pt x="260070" y="191519"/>
                    <a:pt x="254319" y="193435"/>
                  </a:cubicBezTo>
                  <a:cubicBezTo>
                    <a:pt x="253041" y="194073"/>
                    <a:pt x="251763" y="194073"/>
                    <a:pt x="251124" y="194073"/>
                  </a:cubicBezTo>
                  <a:cubicBezTo>
                    <a:pt x="246651" y="193435"/>
                    <a:pt x="242178" y="191519"/>
                    <a:pt x="238345" y="188327"/>
                  </a:cubicBezTo>
                  <a:cubicBezTo>
                    <a:pt x="236428" y="187051"/>
                    <a:pt x="235150" y="185774"/>
                    <a:pt x="233233" y="185135"/>
                  </a:cubicBezTo>
                  <a:cubicBezTo>
                    <a:pt x="231315" y="185774"/>
                    <a:pt x="229399" y="187051"/>
                    <a:pt x="228120" y="188327"/>
                  </a:cubicBezTo>
                  <a:cubicBezTo>
                    <a:pt x="223648" y="192158"/>
                    <a:pt x="217897" y="194073"/>
                    <a:pt x="212146" y="192796"/>
                  </a:cubicBezTo>
                  <a:cubicBezTo>
                    <a:pt x="205756" y="190881"/>
                    <a:pt x="203839" y="184497"/>
                    <a:pt x="201922" y="179390"/>
                  </a:cubicBezTo>
                  <a:cubicBezTo>
                    <a:pt x="201283" y="177475"/>
                    <a:pt x="200644" y="175560"/>
                    <a:pt x="199366" y="173644"/>
                  </a:cubicBezTo>
                  <a:cubicBezTo>
                    <a:pt x="197449" y="173006"/>
                    <a:pt x="195532" y="173006"/>
                    <a:pt x="193615" y="173006"/>
                  </a:cubicBezTo>
                  <a:cubicBezTo>
                    <a:pt x="185947" y="174921"/>
                    <a:pt x="177640" y="170452"/>
                    <a:pt x="175723" y="162792"/>
                  </a:cubicBezTo>
                  <a:cubicBezTo>
                    <a:pt x="174445" y="158961"/>
                    <a:pt x="175084" y="154492"/>
                    <a:pt x="177640" y="150662"/>
                  </a:cubicBezTo>
                  <a:cubicBezTo>
                    <a:pt x="178279" y="148747"/>
                    <a:pt x="178918" y="146193"/>
                    <a:pt x="178918" y="144278"/>
                  </a:cubicBezTo>
                  <a:cubicBezTo>
                    <a:pt x="177640" y="142363"/>
                    <a:pt x="175723" y="141086"/>
                    <a:pt x="174445" y="139809"/>
                  </a:cubicBezTo>
                  <a:cubicBezTo>
                    <a:pt x="169972" y="136617"/>
                    <a:pt x="164860" y="132149"/>
                    <a:pt x="164860" y="126403"/>
                  </a:cubicBezTo>
                  <a:cubicBezTo>
                    <a:pt x="164860" y="120657"/>
                    <a:pt x="170611" y="116189"/>
                    <a:pt x="174445" y="112997"/>
                  </a:cubicBezTo>
                  <a:cubicBezTo>
                    <a:pt x="176362" y="111720"/>
                    <a:pt x="177640" y="110443"/>
                    <a:pt x="178918" y="109166"/>
                  </a:cubicBezTo>
                  <a:cubicBezTo>
                    <a:pt x="178918" y="107251"/>
                    <a:pt x="178279" y="105336"/>
                    <a:pt x="177640" y="103421"/>
                  </a:cubicBezTo>
                  <a:cubicBezTo>
                    <a:pt x="175084" y="98313"/>
                    <a:pt x="175723" y="91929"/>
                    <a:pt x="178279" y="86822"/>
                  </a:cubicBezTo>
                  <a:cubicBezTo>
                    <a:pt x="182113" y="82992"/>
                    <a:pt x="188503" y="80438"/>
                    <a:pt x="194254" y="81715"/>
                  </a:cubicBezTo>
                  <a:cubicBezTo>
                    <a:pt x="196171" y="81715"/>
                    <a:pt x="198727" y="81715"/>
                    <a:pt x="200644" y="81077"/>
                  </a:cubicBezTo>
                  <a:cubicBezTo>
                    <a:pt x="201922" y="79161"/>
                    <a:pt x="202561" y="77885"/>
                    <a:pt x="203200" y="75969"/>
                  </a:cubicBezTo>
                  <a:cubicBezTo>
                    <a:pt x="205117" y="70862"/>
                    <a:pt x="207673" y="64478"/>
                    <a:pt x="213424" y="62563"/>
                  </a:cubicBezTo>
                  <a:cubicBezTo>
                    <a:pt x="219175" y="61925"/>
                    <a:pt x="225565" y="63840"/>
                    <a:pt x="229399" y="67670"/>
                  </a:cubicBezTo>
                  <a:cubicBezTo>
                    <a:pt x="230677" y="68947"/>
                    <a:pt x="232593" y="70224"/>
                    <a:pt x="234510" y="70862"/>
                  </a:cubicBezTo>
                  <a:cubicBezTo>
                    <a:pt x="236428" y="70224"/>
                    <a:pt x="238345" y="68947"/>
                    <a:pt x="239623" y="67670"/>
                  </a:cubicBezTo>
                  <a:cubicBezTo>
                    <a:pt x="244095" y="63840"/>
                    <a:pt x="249846" y="62563"/>
                    <a:pt x="255597" y="63201"/>
                  </a:cubicBezTo>
                  <a:cubicBezTo>
                    <a:pt x="261348" y="65117"/>
                    <a:pt x="263904" y="71501"/>
                    <a:pt x="265182" y="76608"/>
                  </a:cubicBezTo>
                  <a:cubicBezTo>
                    <a:pt x="265821" y="78523"/>
                    <a:pt x="266460" y="80438"/>
                    <a:pt x="267738" y="82353"/>
                  </a:cubicBezTo>
                  <a:cubicBezTo>
                    <a:pt x="269655" y="82992"/>
                    <a:pt x="271572" y="82992"/>
                    <a:pt x="273489" y="82992"/>
                  </a:cubicBezTo>
                  <a:cubicBezTo>
                    <a:pt x="279240" y="82353"/>
                    <a:pt x="284991" y="84269"/>
                    <a:pt x="289464" y="88737"/>
                  </a:cubicBezTo>
                  <a:cubicBezTo>
                    <a:pt x="292020" y="93845"/>
                    <a:pt x="292020" y="100229"/>
                    <a:pt x="289464" y="105336"/>
                  </a:cubicBezTo>
                  <a:cubicBezTo>
                    <a:pt x="288825" y="107251"/>
                    <a:pt x="288186" y="109805"/>
                    <a:pt x="288186" y="111720"/>
                  </a:cubicBezTo>
                  <a:cubicBezTo>
                    <a:pt x="289464" y="113635"/>
                    <a:pt x="291381" y="114912"/>
                    <a:pt x="293298" y="116189"/>
                  </a:cubicBezTo>
                  <a:cubicBezTo>
                    <a:pt x="300966" y="119381"/>
                    <a:pt x="304161" y="127680"/>
                    <a:pt x="301605" y="135341"/>
                  </a:cubicBezTo>
                  <a:cubicBezTo>
                    <a:pt x="300327" y="138533"/>
                    <a:pt x="297132" y="141086"/>
                    <a:pt x="293298" y="142363"/>
                  </a:cubicBezTo>
                  <a:lnTo>
                    <a:pt x="293298" y="142363"/>
                  </a:lnTo>
                  <a:close/>
                </a:path>
              </a:pathLst>
            </a:custGeom>
            <a:grpFill/>
            <a:ln w="639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Graphic 4">
              <a:extLst>
                <a:ext uri="{FF2B5EF4-FFF2-40B4-BE49-F238E27FC236}">
                  <a16:creationId xmlns:a16="http://schemas.microsoft.com/office/drawing/2014/main" id="{327A6FA4-8293-190B-A08E-E269EC055250}"/>
                </a:ext>
              </a:extLst>
            </p:cNvPr>
            <p:cNvSpPr/>
            <p:nvPr/>
          </p:nvSpPr>
          <p:spPr>
            <a:xfrm>
              <a:off x="6218686" y="4973284"/>
              <a:ext cx="112462" cy="106612"/>
            </a:xfrm>
            <a:custGeom>
              <a:avLst/>
              <a:gdLst>
                <a:gd name="connsiteX0" fmla="*/ 99044 w 112462"/>
                <a:gd name="connsiteY0" fmla="*/ 40219 h 106612"/>
                <a:gd name="connsiteX1" fmla="*/ 99044 w 112462"/>
                <a:gd name="connsiteY1" fmla="*/ 40219 h 106612"/>
                <a:gd name="connsiteX2" fmla="*/ 100322 w 112462"/>
                <a:gd name="connsiteY2" fmla="*/ 26174 h 106612"/>
                <a:gd name="connsiteX3" fmla="*/ 101600 w 112462"/>
                <a:gd name="connsiteY3" fmla="*/ 21067 h 106612"/>
                <a:gd name="connsiteX4" fmla="*/ 95849 w 112462"/>
                <a:gd name="connsiteY4" fmla="*/ 21067 h 106612"/>
                <a:gd name="connsiteX5" fmla="*/ 82430 w 112462"/>
                <a:gd name="connsiteY5" fmla="*/ 17875 h 106612"/>
                <a:gd name="connsiteX6" fmla="*/ 75401 w 112462"/>
                <a:gd name="connsiteY6" fmla="*/ 5745 h 106612"/>
                <a:gd name="connsiteX7" fmla="*/ 73484 w 112462"/>
                <a:gd name="connsiteY7" fmla="*/ 638 h 106612"/>
                <a:gd name="connsiteX8" fmla="*/ 69011 w 112462"/>
                <a:gd name="connsiteY8" fmla="*/ 3830 h 106612"/>
                <a:gd name="connsiteX9" fmla="*/ 56231 w 112462"/>
                <a:gd name="connsiteY9" fmla="*/ 8937 h 106612"/>
                <a:gd name="connsiteX10" fmla="*/ 44090 w 112462"/>
                <a:gd name="connsiteY10" fmla="*/ 3192 h 106612"/>
                <a:gd name="connsiteX11" fmla="*/ 38978 w 112462"/>
                <a:gd name="connsiteY11" fmla="*/ 0 h 106612"/>
                <a:gd name="connsiteX12" fmla="*/ 36423 w 112462"/>
                <a:gd name="connsiteY12" fmla="*/ 5107 h 106612"/>
                <a:gd name="connsiteX13" fmla="*/ 29394 w 112462"/>
                <a:gd name="connsiteY13" fmla="*/ 16598 h 106612"/>
                <a:gd name="connsiteX14" fmla="*/ 15975 w 112462"/>
                <a:gd name="connsiteY14" fmla="*/ 19790 h 106612"/>
                <a:gd name="connsiteX15" fmla="*/ 10863 w 112462"/>
                <a:gd name="connsiteY15" fmla="*/ 19790 h 106612"/>
                <a:gd name="connsiteX16" fmla="*/ 12141 w 112462"/>
                <a:gd name="connsiteY16" fmla="*/ 24897 h 106612"/>
                <a:gd name="connsiteX17" fmla="*/ 5112 w 112462"/>
                <a:gd name="connsiteY17" fmla="*/ 47880 h 106612"/>
                <a:gd name="connsiteX18" fmla="*/ 4473 w 112462"/>
                <a:gd name="connsiteY18" fmla="*/ 48518 h 106612"/>
                <a:gd name="connsiteX19" fmla="*/ 0 w 112462"/>
                <a:gd name="connsiteY19" fmla="*/ 52348 h 106612"/>
                <a:gd name="connsiteX20" fmla="*/ 3834 w 112462"/>
                <a:gd name="connsiteY20" fmla="*/ 55540 h 106612"/>
                <a:gd name="connsiteX21" fmla="*/ 11502 w 112462"/>
                <a:gd name="connsiteY21" fmla="*/ 79161 h 106612"/>
                <a:gd name="connsiteX22" fmla="*/ 11502 w 112462"/>
                <a:gd name="connsiteY22" fmla="*/ 79800 h 106612"/>
                <a:gd name="connsiteX23" fmla="*/ 10224 w 112462"/>
                <a:gd name="connsiteY23" fmla="*/ 84907 h 106612"/>
                <a:gd name="connsiteX24" fmla="*/ 15975 w 112462"/>
                <a:gd name="connsiteY24" fmla="*/ 84907 h 106612"/>
                <a:gd name="connsiteX25" fmla="*/ 29394 w 112462"/>
                <a:gd name="connsiteY25" fmla="*/ 88099 h 106612"/>
                <a:gd name="connsiteX26" fmla="*/ 36423 w 112462"/>
                <a:gd name="connsiteY26" fmla="*/ 100228 h 106612"/>
                <a:gd name="connsiteX27" fmla="*/ 38340 w 112462"/>
                <a:gd name="connsiteY27" fmla="*/ 105336 h 106612"/>
                <a:gd name="connsiteX28" fmla="*/ 42813 w 112462"/>
                <a:gd name="connsiteY28" fmla="*/ 102782 h 106612"/>
                <a:gd name="connsiteX29" fmla="*/ 55593 w 112462"/>
                <a:gd name="connsiteY29" fmla="*/ 97675 h 106612"/>
                <a:gd name="connsiteX30" fmla="*/ 55593 w 112462"/>
                <a:gd name="connsiteY30" fmla="*/ 97675 h 106612"/>
                <a:gd name="connsiteX31" fmla="*/ 67733 w 112462"/>
                <a:gd name="connsiteY31" fmla="*/ 103420 h 106612"/>
                <a:gd name="connsiteX32" fmla="*/ 72845 w 112462"/>
                <a:gd name="connsiteY32" fmla="*/ 106612 h 106612"/>
                <a:gd name="connsiteX33" fmla="*/ 75401 w 112462"/>
                <a:gd name="connsiteY33" fmla="*/ 101505 h 106612"/>
                <a:gd name="connsiteX34" fmla="*/ 82430 w 112462"/>
                <a:gd name="connsiteY34" fmla="*/ 90014 h 106612"/>
                <a:gd name="connsiteX35" fmla="*/ 95849 w 112462"/>
                <a:gd name="connsiteY35" fmla="*/ 86822 h 106612"/>
                <a:gd name="connsiteX36" fmla="*/ 101600 w 112462"/>
                <a:gd name="connsiteY36" fmla="*/ 86822 h 106612"/>
                <a:gd name="connsiteX37" fmla="*/ 100322 w 112462"/>
                <a:gd name="connsiteY37" fmla="*/ 81715 h 106612"/>
                <a:gd name="connsiteX38" fmla="*/ 99044 w 112462"/>
                <a:gd name="connsiteY38" fmla="*/ 68308 h 106612"/>
                <a:gd name="connsiteX39" fmla="*/ 107990 w 112462"/>
                <a:gd name="connsiteY39" fmla="*/ 58094 h 106612"/>
                <a:gd name="connsiteX40" fmla="*/ 112463 w 112462"/>
                <a:gd name="connsiteY40" fmla="*/ 54902 h 106612"/>
                <a:gd name="connsiteX41" fmla="*/ 108629 w 112462"/>
                <a:gd name="connsiteY41" fmla="*/ 51710 h 106612"/>
                <a:gd name="connsiteX42" fmla="*/ 99044 w 112462"/>
                <a:gd name="connsiteY42" fmla="*/ 40219 h 106612"/>
                <a:gd name="connsiteX43" fmla="*/ 63260 w 112462"/>
                <a:gd name="connsiteY43" fmla="*/ 77884 h 106612"/>
                <a:gd name="connsiteX44" fmla="*/ 31310 w 112462"/>
                <a:gd name="connsiteY44" fmla="*/ 61286 h 106612"/>
                <a:gd name="connsiteX45" fmla="*/ 47925 w 112462"/>
                <a:gd name="connsiteY45" fmla="*/ 29366 h 106612"/>
                <a:gd name="connsiteX46" fmla="*/ 79874 w 112462"/>
                <a:gd name="connsiteY46" fmla="*/ 45964 h 106612"/>
                <a:gd name="connsiteX47" fmla="*/ 79874 w 112462"/>
                <a:gd name="connsiteY47" fmla="*/ 45964 h 106612"/>
                <a:gd name="connsiteX48" fmla="*/ 63260 w 112462"/>
                <a:gd name="connsiteY48" fmla="*/ 77884 h 106612"/>
                <a:gd name="connsiteX49" fmla="*/ 63260 w 112462"/>
                <a:gd name="connsiteY49" fmla="*/ 77884 h 10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2462" h="106612">
                  <a:moveTo>
                    <a:pt x="99044" y="40219"/>
                  </a:moveTo>
                  <a:lnTo>
                    <a:pt x="99044" y="40219"/>
                  </a:lnTo>
                  <a:cubicBezTo>
                    <a:pt x="98405" y="35750"/>
                    <a:pt x="98405" y="30643"/>
                    <a:pt x="100322" y="26174"/>
                  </a:cubicBezTo>
                  <a:cubicBezTo>
                    <a:pt x="100961" y="24259"/>
                    <a:pt x="101600" y="22344"/>
                    <a:pt x="101600" y="21067"/>
                  </a:cubicBezTo>
                  <a:cubicBezTo>
                    <a:pt x="100322" y="21067"/>
                    <a:pt x="97766" y="21067"/>
                    <a:pt x="95849" y="21067"/>
                  </a:cubicBezTo>
                  <a:cubicBezTo>
                    <a:pt x="91376" y="21067"/>
                    <a:pt x="86903" y="20428"/>
                    <a:pt x="82430" y="17875"/>
                  </a:cubicBezTo>
                  <a:cubicBezTo>
                    <a:pt x="79235" y="14683"/>
                    <a:pt x="76679" y="10852"/>
                    <a:pt x="75401" y="5745"/>
                  </a:cubicBezTo>
                  <a:cubicBezTo>
                    <a:pt x="74762" y="3830"/>
                    <a:pt x="74123" y="2553"/>
                    <a:pt x="73484" y="638"/>
                  </a:cubicBezTo>
                  <a:cubicBezTo>
                    <a:pt x="71567" y="1276"/>
                    <a:pt x="70289" y="2553"/>
                    <a:pt x="69011" y="3830"/>
                  </a:cubicBezTo>
                  <a:cubicBezTo>
                    <a:pt x="65177" y="7022"/>
                    <a:pt x="60704" y="8937"/>
                    <a:pt x="56231" y="8937"/>
                  </a:cubicBezTo>
                  <a:cubicBezTo>
                    <a:pt x="51758" y="8299"/>
                    <a:pt x="47285" y="6384"/>
                    <a:pt x="44090" y="3192"/>
                  </a:cubicBezTo>
                  <a:cubicBezTo>
                    <a:pt x="42813" y="1915"/>
                    <a:pt x="40895" y="638"/>
                    <a:pt x="38978" y="0"/>
                  </a:cubicBezTo>
                  <a:cubicBezTo>
                    <a:pt x="38340" y="1915"/>
                    <a:pt x="37062" y="3830"/>
                    <a:pt x="36423" y="5107"/>
                  </a:cubicBezTo>
                  <a:cubicBezTo>
                    <a:pt x="35145" y="9576"/>
                    <a:pt x="32589" y="13406"/>
                    <a:pt x="29394" y="16598"/>
                  </a:cubicBezTo>
                  <a:cubicBezTo>
                    <a:pt x="25560" y="19152"/>
                    <a:pt x="20448" y="19790"/>
                    <a:pt x="15975" y="19790"/>
                  </a:cubicBezTo>
                  <a:cubicBezTo>
                    <a:pt x="14058" y="19790"/>
                    <a:pt x="12141" y="19790"/>
                    <a:pt x="10863" y="19790"/>
                  </a:cubicBezTo>
                  <a:cubicBezTo>
                    <a:pt x="10863" y="21705"/>
                    <a:pt x="11502" y="23620"/>
                    <a:pt x="12141" y="24897"/>
                  </a:cubicBezTo>
                  <a:cubicBezTo>
                    <a:pt x="16614" y="33196"/>
                    <a:pt x="13419" y="43411"/>
                    <a:pt x="5112" y="47880"/>
                  </a:cubicBezTo>
                  <a:cubicBezTo>
                    <a:pt x="5112" y="47880"/>
                    <a:pt x="4473" y="47880"/>
                    <a:pt x="4473" y="48518"/>
                  </a:cubicBezTo>
                  <a:cubicBezTo>
                    <a:pt x="3195" y="49795"/>
                    <a:pt x="1278" y="51072"/>
                    <a:pt x="0" y="52348"/>
                  </a:cubicBezTo>
                  <a:cubicBezTo>
                    <a:pt x="1278" y="53625"/>
                    <a:pt x="2556" y="54902"/>
                    <a:pt x="3834" y="55540"/>
                  </a:cubicBezTo>
                  <a:cubicBezTo>
                    <a:pt x="12780" y="60009"/>
                    <a:pt x="15975" y="70862"/>
                    <a:pt x="11502" y="79161"/>
                  </a:cubicBezTo>
                  <a:cubicBezTo>
                    <a:pt x="11502" y="79161"/>
                    <a:pt x="11502" y="79161"/>
                    <a:pt x="11502" y="79800"/>
                  </a:cubicBezTo>
                  <a:cubicBezTo>
                    <a:pt x="10863" y="81715"/>
                    <a:pt x="10224" y="83630"/>
                    <a:pt x="10224" y="84907"/>
                  </a:cubicBezTo>
                  <a:lnTo>
                    <a:pt x="15975" y="84907"/>
                  </a:lnTo>
                  <a:cubicBezTo>
                    <a:pt x="20448" y="84907"/>
                    <a:pt x="24921" y="85545"/>
                    <a:pt x="29394" y="88099"/>
                  </a:cubicBezTo>
                  <a:cubicBezTo>
                    <a:pt x="32589" y="91291"/>
                    <a:pt x="35145" y="95121"/>
                    <a:pt x="36423" y="100228"/>
                  </a:cubicBezTo>
                  <a:cubicBezTo>
                    <a:pt x="37062" y="102144"/>
                    <a:pt x="37700" y="103420"/>
                    <a:pt x="38340" y="105336"/>
                  </a:cubicBezTo>
                  <a:cubicBezTo>
                    <a:pt x="40257" y="104697"/>
                    <a:pt x="41535" y="103420"/>
                    <a:pt x="42813" y="102782"/>
                  </a:cubicBezTo>
                  <a:cubicBezTo>
                    <a:pt x="46646" y="99590"/>
                    <a:pt x="51119" y="97675"/>
                    <a:pt x="55593" y="97675"/>
                  </a:cubicBezTo>
                  <a:lnTo>
                    <a:pt x="55593" y="97675"/>
                  </a:lnTo>
                  <a:cubicBezTo>
                    <a:pt x="60065" y="98313"/>
                    <a:pt x="64538" y="100228"/>
                    <a:pt x="67733" y="103420"/>
                  </a:cubicBezTo>
                  <a:cubicBezTo>
                    <a:pt x="69011" y="104697"/>
                    <a:pt x="70928" y="105974"/>
                    <a:pt x="72845" y="106612"/>
                  </a:cubicBezTo>
                  <a:cubicBezTo>
                    <a:pt x="73484" y="104697"/>
                    <a:pt x="74762" y="102782"/>
                    <a:pt x="75401" y="101505"/>
                  </a:cubicBezTo>
                  <a:cubicBezTo>
                    <a:pt x="76679" y="97036"/>
                    <a:pt x="79235" y="93206"/>
                    <a:pt x="82430" y="90014"/>
                  </a:cubicBezTo>
                  <a:cubicBezTo>
                    <a:pt x="86264" y="87460"/>
                    <a:pt x="91376" y="86822"/>
                    <a:pt x="95849" y="86822"/>
                  </a:cubicBezTo>
                  <a:cubicBezTo>
                    <a:pt x="97766" y="86822"/>
                    <a:pt x="99683" y="86822"/>
                    <a:pt x="101600" y="86822"/>
                  </a:cubicBezTo>
                  <a:cubicBezTo>
                    <a:pt x="101600" y="84907"/>
                    <a:pt x="100961" y="82992"/>
                    <a:pt x="100322" y="81715"/>
                  </a:cubicBezTo>
                  <a:cubicBezTo>
                    <a:pt x="98405" y="77246"/>
                    <a:pt x="98405" y="72777"/>
                    <a:pt x="99044" y="68308"/>
                  </a:cubicBezTo>
                  <a:cubicBezTo>
                    <a:pt x="100961" y="63840"/>
                    <a:pt x="104156" y="60648"/>
                    <a:pt x="107990" y="58094"/>
                  </a:cubicBezTo>
                  <a:cubicBezTo>
                    <a:pt x="109268" y="56817"/>
                    <a:pt x="111185" y="55540"/>
                    <a:pt x="112463" y="54902"/>
                  </a:cubicBezTo>
                  <a:cubicBezTo>
                    <a:pt x="111185" y="53625"/>
                    <a:pt x="109907" y="52348"/>
                    <a:pt x="108629" y="51710"/>
                  </a:cubicBezTo>
                  <a:cubicBezTo>
                    <a:pt x="104156" y="47880"/>
                    <a:pt x="100961" y="44688"/>
                    <a:pt x="99044" y="40219"/>
                  </a:cubicBezTo>
                  <a:close/>
                  <a:moveTo>
                    <a:pt x="63260" y="77884"/>
                  </a:moveTo>
                  <a:cubicBezTo>
                    <a:pt x="49841" y="82353"/>
                    <a:pt x="35145" y="74692"/>
                    <a:pt x="31310" y="61286"/>
                  </a:cubicBezTo>
                  <a:cubicBezTo>
                    <a:pt x="26838" y="47880"/>
                    <a:pt x="34505" y="33196"/>
                    <a:pt x="47925" y="29366"/>
                  </a:cubicBezTo>
                  <a:cubicBezTo>
                    <a:pt x="61343" y="25536"/>
                    <a:pt x="76040" y="32558"/>
                    <a:pt x="79874" y="45964"/>
                  </a:cubicBezTo>
                  <a:cubicBezTo>
                    <a:pt x="79874" y="45964"/>
                    <a:pt x="79874" y="45964"/>
                    <a:pt x="79874" y="45964"/>
                  </a:cubicBezTo>
                  <a:cubicBezTo>
                    <a:pt x="84347" y="59371"/>
                    <a:pt x="77318" y="73416"/>
                    <a:pt x="63260" y="77884"/>
                  </a:cubicBezTo>
                  <a:cubicBezTo>
                    <a:pt x="63899" y="77884"/>
                    <a:pt x="63899" y="77884"/>
                    <a:pt x="63260" y="77884"/>
                  </a:cubicBezTo>
                  <a:close/>
                </a:path>
              </a:pathLst>
            </a:custGeom>
            <a:grpFill/>
            <a:ln w="639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Graphic 4">
              <a:extLst>
                <a:ext uri="{FF2B5EF4-FFF2-40B4-BE49-F238E27FC236}">
                  <a16:creationId xmlns:a16="http://schemas.microsoft.com/office/drawing/2014/main" id="{70605A04-E307-63B1-8607-537BD408574A}"/>
                </a:ext>
              </a:extLst>
            </p:cNvPr>
            <p:cNvSpPr/>
            <p:nvPr/>
          </p:nvSpPr>
          <p:spPr>
            <a:xfrm>
              <a:off x="6368153" y="4908806"/>
              <a:ext cx="26109" cy="26027"/>
            </a:xfrm>
            <a:custGeom>
              <a:avLst/>
              <a:gdLst>
                <a:gd name="connsiteX0" fmla="*/ 18588 w 26109"/>
                <a:gd name="connsiteY0" fmla="*/ 1277 h 26027"/>
                <a:gd name="connsiteX1" fmla="*/ 12837 w 26109"/>
                <a:gd name="connsiteY1" fmla="*/ 0 h 26027"/>
                <a:gd name="connsiteX2" fmla="*/ 9004 w 26109"/>
                <a:gd name="connsiteY2" fmla="*/ 639 h 26027"/>
                <a:gd name="connsiteX3" fmla="*/ 1336 w 26109"/>
                <a:gd name="connsiteY3" fmla="*/ 7023 h 26027"/>
                <a:gd name="connsiteX4" fmla="*/ 697 w 26109"/>
                <a:gd name="connsiteY4" fmla="*/ 16599 h 26027"/>
                <a:gd name="connsiteX5" fmla="*/ 16672 w 26109"/>
                <a:gd name="connsiteY5" fmla="*/ 25536 h 26027"/>
                <a:gd name="connsiteX6" fmla="*/ 25617 w 26109"/>
                <a:gd name="connsiteY6" fmla="*/ 9576 h 26027"/>
                <a:gd name="connsiteX7" fmla="*/ 18588 w 26109"/>
                <a:gd name="connsiteY7" fmla="*/ 1277 h 26027"/>
                <a:gd name="connsiteX8" fmla="*/ 18588 w 26109"/>
                <a:gd name="connsiteY8" fmla="*/ 1277 h 2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 h="26027">
                  <a:moveTo>
                    <a:pt x="18588" y="1277"/>
                  </a:moveTo>
                  <a:cubicBezTo>
                    <a:pt x="16672" y="639"/>
                    <a:pt x="14755" y="0"/>
                    <a:pt x="12837" y="0"/>
                  </a:cubicBezTo>
                  <a:cubicBezTo>
                    <a:pt x="11560" y="0"/>
                    <a:pt x="10282" y="0"/>
                    <a:pt x="9004" y="639"/>
                  </a:cubicBezTo>
                  <a:cubicBezTo>
                    <a:pt x="5809" y="1915"/>
                    <a:pt x="3252" y="3831"/>
                    <a:pt x="1336" y="7023"/>
                  </a:cubicBezTo>
                  <a:cubicBezTo>
                    <a:pt x="57" y="10215"/>
                    <a:pt x="-581" y="13407"/>
                    <a:pt x="697" y="16599"/>
                  </a:cubicBezTo>
                  <a:cubicBezTo>
                    <a:pt x="2614" y="23621"/>
                    <a:pt x="9642" y="27451"/>
                    <a:pt x="16672" y="25536"/>
                  </a:cubicBezTo>
                  <a:cubicBezTo>
                    <a:pt x="23700" y="23621"/>
                    <a:pt x="27535" y="16599"/>
                    <a:pt x="25617" y="9576"/>
                  </a:cubicBezTo>
                  <a:cubicBezTo>
                    <a:pt x="24340" y="5746"/>
                    <a:pt x="21783" y="2554"/>
                    <a:pt x="18588" y="1277"/>
                  </a:cubicBezTo>
                  <a:lnTo>
                    <a:pt x="18588" y="1277"/>
                  </a:lnTo>
                  <a:close/>
                </a:path>
              </a:pathLst>
            </a:custGeom>
            <a:grpFill/>
            <a:ln w="639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Graphic 4">
              <a:extLst>
                <a:ext uri="{FF2B5EF4-FFF2-40B4-BE49-F238E27FC236}">
                  <a16:creationId xmlns:a16="http://schemas.microsoft.com/office/drawing/2014/main" id="{B6315C7E-DC68-9D5A-4770-875B966529AB}"/>
                </a:ext>
              </a:extLst>
            </p:cNvPr>
            <p:cNvSpPr/>
            <p:nvPr/>
          </p:nvSpPr>
          <p:spPr>
            <a:xfrm>
              <a:off x="6262229" y="5014142"/>
              <a:ext cx="25377" cy="25445"/>
            </a:xfrm>
            <a:custGeom>
              <a:avLst/>
              <a:gdLst>
                <a:gd name="connsiteX0" fmla="*/ 12689 w 25377"/>
                <a:gd name="connsiteY0" fmla="*/ 0 h 25445"/>
                <a:gd name="connsiteX1" fmla="*/ 8855 w 25377"/>
                <a:gd name="connsiteY1" fmla="*/ 639 h 25445"/>
                <a:gd name="connsiteX2" fmla="*/ 548 w 25377"/>
                <a:gd name="connsiteY2" fmla="*/ 16599 h 25445"/>
                <a:gd name="connsiteX3" fmla="*/ 16523 w 25377"/>
                <a:gd name="connsiteY3" fmla="*/ 24898 h 25445"/>
                <a:gd name="connsiteX4" fmla="*/ 24830 w 25377"/>
                <a:gd name="connsiteY4" fmla="*/ 8938 h 25445"/>
                <a:gd name="connsiteX5" fmla="*/ 12689 w 25377"/>
                <a:gd name="connsiteY5" fmla="*/ 0 h 25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 h="25445">
                  <a:moveTo>
                    <a:pt x="12689" y="0"/>
                  </a:moveTo>
                  <a:cubicBezTo>
                    <a:pt x="11411" y="0"/>
                    <a:pt x="10133" y="0"/>
                    <a:pt x="8855" y="639"/>
                  </a:cubicBezTo>
                  <a:cubicBezTo>
                    <a:pt x="1826" y="2554"/>
                    <a:pt x="-1369" y="9576"/>
                    <a:pt x="548" y="16599"/>
                  </a:cubicBezTo>
                  <a:cubicBezTo>
                    <a:pt x="2465" y="23621"/>
                    <a:pt x="9494" y="26813"/>
                    <a:pt x="16523" y="24898"/>
                  </a:cubicBezTo>
                  <a:cubicBezTo>
                    <a:pt x="23552" y="22983"/>
                    <a:pt x="26747" y="15960"/>
                    <a:pt x="24830" y="8938"/>
                  </a:cubicBezTo>
                  <a:cubicBezTo>
                    <a:pt x="23552" y="3831"/>
                    <a:pt x="18440" y="0"/>
                    <a:pt x="12689" y="0"/>
                  </a:cubicBezTo>
                  <a:close/>
                </a:path>
              </a:pathLst>
            </a:custGeom>
            <a:grpFill/>
            <a:ln w="639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Graphic 4">
              <a:extLst>
                <a:ext uri="{FF2B5EF4-FFF2-40B4-BE49-F238E27FC236}">
                  <a16:creationId xmlns:a16="http://schemas.microsoft.com/office/drawing/2014/main" id="{5FA2F4D8-330E-E100-CA5C-A3414686FB0D}"/>
                </a:ext>
              </a:extLst>
            </p:cNvPr>
            <p:cNvSpPr/>
            <p:nvPr/>
          </p:nvSpPr>
          <p:spPr>
            <a:xfrm>
              <a:off x="6324120" y="4866672"/>
              <a:ext cx="111823" cy="105335"/>
            </a:xfrm>
            <a:custGeom>
              <a:avLst/>
              <a:gdLst>
                <a:gd name="connsiteX0" fmla="*/ 99683 w 111823"/>
                <a:gd name="connsiteY0" fmla="*/ 40857 h 105335"/>
                <a:gd name="connsiteX1" fmla="*/ 100961 w 111823"/>
                <a:gd name="connsiteY1" fmla="*/ 26813 h 105335"/>
                <a:gd name="connsiteX2" fmla="*/ 102239 w 111823"/>
                <a:gd name="connsiteY2" fmla="*/ 21705 h 105335"/>
                <a:gd name="connsiteX3" fmla="*/ 96488 w 111823"/>
                <a:gd name="connsiteY3" fmla="*/ 21705 h 105335"/>
                <a:gd name="connsiteX4" fmla="*/ 76679 w 111823"/>
                <a:gd name="connsiteY4" fmla="*/ 7022 h 105335"/>
                <a:gd name="connsiteX5" fmla="*/ 76679 w 111823"/>
                <a:gd name="connsiteY5" fmla="*/ 6384 h 105335"/>
                <a:gd name="connsiteX6" fmla="*/ 74762 w 111823"/>
                <a:gd name="connsiteY6" fmla="*/ 1277 h 105335"/>
                <a:gd name="connsiteX7" fmla="*/ 70289 w 111823"/>
                <a:gd name="connsiteY7" fmla="*/ 3830 h 105335"/>
                <a:gd name="connsiteX8" fmla="*/ 57509 w 111823"/>
                <a:gd name="connsiteY8" fmla="*/ 8937 h 105335"/>
                <a:gd name="connsiteX9" fmla="*/ 45368 w 111823"/>
                <a:gd name="connsiteY9" fmla="*/ 3192 h 105335"/>
                <a:gd name="connsiteX10" fmla="*/ 40257 w 111823"/>
                <a:gd name="connsiteY10" fmla="*/ 0 h 105335"/>
                <a:gd name="connsiteX11" fmla="*/ 37700 w 111823"/>
                <a:gd name="connsiteY11" fmla="*/ 5107 h 105335"/>
                <a:gd name="connsiteX12" fmla="*/ 30672 w 111823"/>
                <a:gd name="connsiteY12" fmla="*/ 16598 h 105335"/>
                <a:gd name="connsiteX13" fmla="*/ 17253 w 111823"/>
                <a:gd name="connsiteY13" fmla="*/ 19790 h 105335"/>
                <a:gd name="connsiteX14" fmla="*/ 11502 w 111823"/>
                <a:gd name="connsiteY14" fmla="*/ 19790 h 105335"/>
                <a:gd name="connsiteX15" fmla="*/ 12780 w 111823"/>
                <a:gd name="connsiteY15" fmla="*/ 24897 h 105335"/>
                <a:gd name="connsiteX16" fmla="*/ 5751 w 111823"/>
                <a:gd name="connsiteY16" fmla="*/ 47880 h 105335"/>
                <a:gd name="connsiteX17" fmla="*/ 4473 w 111823"/>
                <a:gd name="connsiteY17" fmla="*/ 48518 h 105335"/>
                <a:gd name="connsiteX18" fmla="*/ 0 w 111823"/>
                <a:gd name="connsiteY18" fmla="*/ 52349 h 105335"/>
                <a:gd name="connsiteX19" fmla="*/ 3834 w 111823"/>
                <a:gd name="connsiteY19" fmla="*/ 55541 h 105335"/>
                <a:gd name="connsiteX20" fmla="*/ 12141 w 111823"/>
                <a:gd name="connsiteY20" fmla="*/ 79161 h 105335"/>
                <a:gd name="connsiteX21" fmla="*/ 11502 w 111823"/>
                <a:gd name="connsiteY21" fmla="*/ 79800 h 105335"/>
                <a:gd name="connsiteX22" fmla="*/ 10224 w 111823"/>
                <a:gd name="connsiteY22" fmla="*/ 84907 h 105335"/>
                <a:gd name="connsiteX23" fmla="*/ 15975 w 111823"/>
                <a:gd name="connsiteY23" fmla="*/ 84907 h 105335"/>
                <a:gd name="connsiteX24" fmla="*/ 35783 w 111823"/>
                <a:gd name="connsiteY24" fmla="*/ 98952 h 105335"/>
                <a:gd name="connsiteX25" fmla="*/ 35783 w 111823"/>
                <a:gd name="connsiteY25" fmla="*/ 99590 h 105335"/>
                <a:gd name="connsiteX26" fmla="*/ 37700 w 111823"/>
                <a:gd name="connsiteY26" fmla="*/ 104697 h 105335"/>
                <a:gd name="connsiteX27" fmla="*/ 42173 w 111823"/>
                <a:gd name="connsiteY27" fmla="*/ 101505 h 105335"/>
                <a:gd name="connsiteX28" fmla="*/ 54953 w 111823"/>
                <a:gd name="connsiteY28" fmla="*/ 96398 h 105335"/>
                <a:gd name="connsiteX29" fmla="*/ 54953 w 111823"/>
                <a:gd name="connsiteY29" fmla="*/ 96398 h 105335"/>
                <a:gd name="connsiteX30" fmla="*/ 67094 w 111823"/>
                <a:gd name="connsiteY30" fmla="*/ 102144 h 105335"/>
                <a:gd name="connsiteX31" fmla="*/ 72206 w 111823"/>
                <a:gd name="connsiteY31" fmla="*/ 105336 h 105335"/>
                <a:gd name="connsiteX32" fmla="*/ 74762 w 111823"/>
                <a:gd name="connsiteY32" fmla="*/ 100229 h 105335"/>
                <a:gd name="connsiteX33" fmla="*/ 81791 w 111823"/>
                <a:gd name="connsiteY33" fmla="*/ 88737 h 105335"/>
                <a:gd name="connsiteX34" fmla="*/ 95210 w 111823"/>
                <a:gd name="connsiteY34" fmla="*/ 85545 h 105335"/>
                <a:gd name="connsiteX35" fmla="*/ 100961 w 111823"/>
                <a:gd name="connsiteY35" fmla="*/ 85545 h 105335"/>
                <a:gd name="connsiteX36" fmla="*/ 99683 w 111823"/>
                <a:gd name="connsiteY36" fmla="*/ 80438 h 105335"/>
                <a:gd name="connsiteX37" fmla="*/ 98405 w 111823"/>
                <a:gd name="connsiteY37" fmla="*/ 67032 h 105335"/>
                <a:gd name="connsiteX38" fmla="*/ 107351 w 111823"/>
                <a:gd name="connsiteY38" fmla="*/ 56817 h 105335"/>
                <a:gd name="connsiteX39" fmla="*/ 111824 w 111823"/>
                <a:gd name="connsiteY39" fmla="*/ 52987 h 105335"/>
                <a:gd name="connsiteX40" fmla="*/ 107990 w 111823"/>
                <a:gd name="connsiteY40" fmla="*/ 49795 h 105335"/>
                <a:gd name="connsiteX41" fmla="*/ 99683 w 111823"/>
                <a:gd name="connsiteY41" fmla="*/ 40857 h 105335"/>
                <a:gd name="connsiteX42" fmla="*/ 79235 w 111823"/>
                <a:gd name="connsiteY42" fmla="*/ 65755 h 105335"/>
                <a:gd name="connsiteX43" fmla="*/ 64538 w 111823"/>
                <a:gd name="connsiteY43" fmla="*/ 78523 h 105335"/>
                <a:gd name="connsiteX44" fmla="*/ 56870 w 111823"/>
                <a:gd name="connsiteY44" fmla="*/ 79800 h 105335"/>
                <a:gd name="connsiteX45" fmla="*/ 45368 w 111823"/>
                <a:gd name="connsiteY45" fmla="*/ 76608 h 105335"/>
                <a:gd name="connsiteX46" fmla="*/ 33867 w 111823"/>
                <a:gd name="connsiteY46" fmla="*/ 42134 h 105335"/>
                <a:gd name="connsiteX47" fmla="*/ 68372 w 111823"/>
                <a:gd name="connsiteY47" fmla="*/ 30643 h 105335"/>
                <a:gd name="connsiteX48" fmla="*/ 81152 w 111823"/>
                <a:gd name="connsiteY48" fmla="*/ 45965 h 105335"/>
                <a:gd name="connsiteX49" fmla="*/ 79235 w 111823"/>
                <a:gd name="connsiteY49" fmla="*/ 65755 h 10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1823" h="105335">
                  <a:moveTo>
                    <a:pt x="99683" y="40857"/>
                  </a:moveTo>
                  <a:cubicBezTo>
                    <a:pt x="99044" y="36389"/>
                    <a:pt x="99044" y="31281"/>
                    <a:pt x="100961" y="26813"/>
                  </a:cubicBezTo>
                  <a:cubicBezTo>
                    <a:pt x="101600" y="24897"/>
                    <a:pt x="102239" y="22982"/>
                    <a:pt x="102239" y="21705"/>
                  </a:cubicBezTo>
                  <a:lnTo>
                    <a:pt x="96488" y="21705"/>
                  </a:lnTo>
                  <a:cubicBezTo>
                    <a:pt x="86903" y="22982"/>
                    <a:pt x="77957" y="16598"/>
                    <a:pt x="76679" y="7022"/>
                  </a:cubicBezTo>
                  <a:cubicBezTo>
                    <a:pt x="76679" y="7022"/>
                    <a:pt x="76679" y="6384"/>
                    <a:pt x="76679" y="6384"/>
                  </a:cubicBezTo>
                  <a:cubicBezTo>
                    <a:pt x="76040" y="4469"/>
                    <a:pt x="75401" y="3192"/>
                    <a:pt x="74762" y="1277"/>
                  </a:cubicBezTo>
                  <a:cubicBezTo>
                    <a:pt x="72845" y="1915"/>
                    <a:pt x="71567" y="3192"/>
                    <a:pt x="70289" y="3830"/>
                  </a:cubicBezTo>
                  <a:cubicBezTo>
                    <a:pt x="66455" y="7022"/>
                    <a:pt x="61982" y="8299"/>
                    <a:pt x="57509" y="8937"/>
                  </a:cubicBezTo>
                  <a:cubicBezTo>
                    <a:pt x="53036" y="8299"/>
                    <a:pt x="48563" y="6384"/>
                    <a:pt x="45368" y="3192"/>
                  </a:cubicBezTo>
                  <a:cubicBezTo>
                    <a:pt x="44090" y="1915"/>
                    <a:pt x="42173" y="1277"/>
                    <a:pt x="40257" y="0"/>
                  </a:cubicBezTo>
                  <a:cubicBezTo>
                    <a:pt x="39618" y="1915"/>
                    <a:pt x="38340" y="3192"/>
                    <a:pt x="37700" y="5107"/>
                  </a:cubicBezTo>
                  <a:cubicBezTo>
                    <a:pt x="36423" y="9576"/>
                    <a:pt x="33867" y="13406"/>
                    <a:pt x="30672" y="16598"/>
                  </a:cubicBezTo>
                  <a:cubicBezTo>
                    <a:pt x="26838" y="19152"/>
                    <a:pt x="21726" y="19790"/>
                    <a:pt x="17253" y="19790"/>
                  </a:cubicBezTo>
                  <a:cubicBezTo>
                    <a:pt x="15336" y="19790"/>
                    <a:pt x="13419" y="19790"/>
                    <a:pt x="11502" y="19790"/>
                  </a:cubicBezTo>
                  <a:cubicBezTo>
                    <a:pt x="11502" y="21705"/>
                    <a:pt x="12141" y="23621"/>
                    <a:pt x="12780" y="24897"/>
                  </a:cubicBezTo>
                  <a:cubicBezTo>
                    <a:pt x="17253" y="33197"/>
                    <a:pt x="14058" y="43411"/>
                    <a:pt x="5751" y="47880"/>
                  </a:cubicBezTo>
                  <a:cubicBezTo>
                    <a:pt x="5112" y="47880"/>
                    <a:pt x="5112" y="48518"/>
                    <a:pt x="4473" y="48518"/>
                  </a:cubicBezTo>
                  <a:cubicBezTo>
                    <a:pt x="3195" y="49795"/>
                    <a:pt x="1278" y="51072"/>
                    <a:pt x="0" y="52349"/>
                  </a:cubicBezTo>
                  <a:cubicBezTo>
                    <a:pt x="1278" y="53625"/>
                    <a:pt x="2556" y="54902"/>
                    <a:pt x="3834" y="55541"/>
                  </a:cubicBezTo>
                  <a:cubicBezTo>
                    <a:pt x="12780" y="60009"/>
                    <a:pt x="15975" y="70224"/>
                    <a:pt x="12141" y="79161"/>
                  </a:cubicBezTo>
                  <a:cubicBezTo>
                    <a:pt x="12141" y="79161"/>
                    <a:pt x="12141" y="79800"/>
                    <a:pt x="11502" y="79800"/>
                  </a:cubicBezTo>
                  <a:cubicBezTo>
                    <a:pt x="10863" y="81715"/>
                    <a:pt x="10224" y="83630"/>
                    <a:pt x="10224" y="84907"/>
                  </a:cubicBezTo>
                  <a:cubicBezTo>
                    <a:pt x="11502" y="84907"/>
                    <a:pt x="14058" y="84907"/>
                    <a:pt x="15975" y="84907"/>
                  </a:cubicBezTo>
                  <a:cubicBezTo>
                    <a:pt x="25560" y="83630"/>
                    <a:pt x="34505" y="89376"/>
                    <a:pt x="35783" y="98952"/>
                  </a:cubicBezTo>
                  <a:cubicBezTo>
                    <a:pt x="35783" y="98952"/>
                    <a:pt x="35783" y="99590"/>
                    <a:pt x="35783" y="99590"/>
                  </a:cubicBezTo>
                  <a:cubicBezTo>
                    <a:pt x="36423" y="101505"/>
                    <a:pt x="37062" y="102782"/>
                    <a:pt x="37700" y="104697"/>
                  </a:cubicBezTo>
                  <a:cubicBezTo>
                    <a:pt x="39618" y="104059"/>
                    <a:pt x="40895" y="102782"/>
                    <a:pt x="42173" y="101505"/>
                  </a:cubicBezTo>
                  <a:cubicBezTo>
                    <a:pt x="46008" y="98313"/>
                    <a:pt x="50480" y="97037"/>
                    <a:pt x="54953" y="96398"/>
                  </a:cubicBezTo>
                  <a:lnTo>
                    <a:pt x="54953" y="96398"/>
                  </a:lnTo>
                  <a:cubicBezTo>
                    <a:pt x="59426" y="97037"/>
                    <a:pt x="63899" y="98952"/>
                    <a:pt x="67094" y="102144"/>
                  </a:cubicBezTo>
                  <a:cubicBezTo>
                    <a:pt x="68372" y="103421"/>
                    <a:pt x="70289" y="104697"/>
                    <a:pt x="72206" y="105336"/>
                  </a:cubicBezTo>
                  <a:cubicBezTo>
                    <a:pt x="72845" y="103421"/>
                    <a:pt x="74123" y="101505"/>
                    <a:pt x="74762" y="100229"/>
                  </a:cubicBezTo>
                  <a:cubicBezTo>
                    <a:pt x="76040" y="95760"/>
                    <a:pt x="77957" y="91929"/>
                    <a:pt x="81791" y="88737"/>
                  </a:cubicBezTo>
                  <a:cubicBezTo>
                    <a:pt x="85625" y="86184"/>
                    <a:pt x="90737" y="85545"/>
                    <a:pt x="95210" y="85545"/>
                  </a:cubicBezTo>
                  <a:cubicBezTo>
                    <a:pt x="97127" y="85545"/>
                    <a:pt x="99044" y="85545"/>
                    <a:pt x="100961" y="85545"/>
                  </a:cubicBezTo>
                  <a:cubicBezTo>
                    <a:pt x="100961" y="83630"/>
                    <a:pt x="100322" y="81715"/>
                    <a:pt x="99683" y="80438"/>
                  </a:cubicBezTo>
                  <a:cubicBezTo>
                    <a:pt x="97766" y="75969"/>
                    <a:pt x="97766" y="71501"/>
                    <a:pt x="98405" y="67032"/>
                  </a:cubicBezTo>
                  <a:cubicBezTo>
                    <a:pt x="100322" y="62563"/>
                    <a:pt x="103517" y="59371"/>
                    <a:pt x="107351" y="56817"/>
                  </a:cubicBezTo>
                  <a:cubicBezTo>
                    <a:pt x="108629" y="55541"/>
                    <a:pt x="110546" y="54264"/>
                    <a:pt x="111824" y="52987"/>
                  </a:cubicBezTo>
                  <a:cubicBezTo>
                    <a:pt x="110546" y="51710"/>
                    <a:pt x="109268" y="50433"/>
                    <a:pt x="107990" y="49795"/>
                  </a:cubicBezTo>
                  <a:cubicBezTo>
                    <a:pt x="104795" y="49157"/>
                    <a:pt x="101600" y="45326"/>
                    <a:pt x="99683" y="40857"/>
                  </a:cubicBezTo>
                  <a:close/>
                  <a:moveTo>
                    <a:pt x="79235" y="65755"/>
                  </a:moveTo>
                  <a:cubicBezTo>
                    <a:pt x="76040" y="72139"/>
                    <a:pt x="70928" y="76608"/>
                    <a:pt x="64538" y="78523"/>
                  </a:cubicBezTo>
                  <a:cubicBezTo>
                    <a:pt x="61982" y="79161"/>
                    <a:pt x="59426" y="79800"/>
                    <a:pt x="56870" y="79800"/>
                  </a:cubicBezTo>
                  <a:cubicBezTo>
                    <a:pt x="53036" y="79800"/>
                    <a:pt x="48563" y="78523"/>
                    <a:pt x="45368" y="76608"/>
                  </a:cubicBezTo>
                  <a:cubicBezTo>
                    <a:pt x="32589" y="70224"/>
                    <a:pt x="27477" y="54902"/>
                    <a:pt x="33867" y="42134"/>
                  </a:cubicBezTo>
                  <a:cubicBezTo>
                    <a:pt x="40257" y="29366"/>
                    <a:pt x="55593" y="24259"/>
                    <a:pt x="68372" y="30643"/>
                  </a:cubicBezTo>
                  <a:cubicBezTo>
                    <a:pt x="74762" y="33835"/>
                    <a:pt x="79235" y="39581"/>
                    <a:pt x="81152" y="45965"/>
                  </a:cubicBezTo>
                  <a:cubicBezTo>
                    <a:pt x="83069" y="53625"/>
                    <a:pt x="82430" y="60009"/>
                    <a:pt x="79235" y="65755"/>
                  </a:cubicBezTo>
                  <a:close/>
                </a:path>
              </a:pathLst>
            </a:custGeom>
            <a:grpFill/>
            <a:ln w="639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14720513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7520C6B-A587-31E5-8CD0-B1CCC6E72878}"/>
              </a:ext>
            </a:extLst>
          </p:cNvPr>
          <p:cNvGrpSpPr/>
          <p:nvPr/>
        </p:nvGrpSpPr>
        <p:grpSpPr>
          <a:xfrm>
            <a:off x="1332735" y="1995025"/>
            <a:ext cx="856109" cy="986349"/>
            <a:chOff x="1358416" y="1446384"/>
            <a:chExt cx="856109" cy="986349"/>
          </a:xfrm>
        </p:grpSpPr>
        <p:sp>
          <p:nvSpPr>
            <p:cNvPr id="3" name="Hexagon 2">
              <a:extLst>
                <a:ext uri="{FF2B5EF4-FFF2-40B4-BE49-F238E27FC236}">
                  <a16:creationId xmlns:a16="http://schemas.microsoft.com/office/drawing/2014/main" id="{5CEABE18-F2A4-DCA3-4E65-0CA93D586D32}"/>
                </a:ext>
              </a:extLst>
            </p:cNvPr>
            <p:cNvSpPr/>
            <p:nvPr/>
          </p:nvSpPr>
          <p:spPr>
            <a:xfrm rot="5400000">
              <a:off x="1382939" y="1589310"/>
              <a:ext cx="807064" cy="700498"/>
            </a:xfrm>
            <a:prstGeom prst="hexagon">
              <a:avLst/>
            </a:prstGeom>
            <a:solidFill>
              <a:schemeClr val="accent2">
                <a:lumMod val="75000"/>
              </a:schemeClr>
            </a:solidFill>
            <a:ln w="25400" cap="flat" cmpd="sng" algn="ctr">
              <a:noFill/>
              <a:prstDash val="solid"/>
            </a:ln>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chemeClr val="bg1"/>
                  </a:solidFill>
                  <a:effectLst/>
                  <a:uLnTx/>
                  <a:uFillTx/>
                  <a:latin typeface="Open Sans"/>
                  <a:ea typeface="+mn-ea"/>
                  <a:cs typeface="+mn-cs"/>
                </a:rPr>
                <a:t>Data</a:t>
              </a:r>
              <a:endParaRPr kumimoji="0" lang="en-GB" sz="800" b="1" i="0" u="none" strike="noStrike" kern="0" cap="none" spc="0" normalizeH="0" baseline="0" noProof="0" dirty="0">
                <a:ln>
                  <a:noFill/>
                </a:ln>
                <a:solidFill>
                  <a:schemeClr val="bg1"/>
                </a:solidFill>
                <a:effectLst/>
                <a:uLnTx/>
                <a:uFillTx/>
                <a:latin typeface="Open Sans"/>
                <a:ea typeface="+mn-ea"/>
                <a:cs typeface="+mn-cs"/>
              </a:endParaRPr>
            </a:p>
          </p:txBody>
        </p:sp>
        <p:sp>
          <p:nvSpPr>
            <p:cNvPr id="4" name="Hexagon 3">
              <a:extLst>
                <a:ext uri="{FF2B5EF4-FFF2-40B4-BE49-F238E27FC236}">
                  <a16:creationId xmlns:a16="http://schemas.microsoft.com/office/drawing/2014/main" id="{CAE5EC10-BEB4-BDCA-04D1-E9712899325E}"/>
                </a:ext>
              </a:extLst>
            </p:cNvPr>
            <p:cNvSpPr>
              <a:spLocks noChangeAspect="1"/>
            </p:cNvSpPr>
            <p:nvPr/>
          </p:nvSpPr>
          <p:spPr>
            <a:xfrm rot="5400000">
              <a:off x="1293296" y="1511504"/>
              <a:ext cx="986349" cy="856109"/>
            </a:xfrm>
            <a:prstGeom prst="hexagon">
              <a:avLst/>
            </a:prstGeom>
            <a:noFill/>
            <a:ln w="25400" cap="flat" cmpd="sng" algn="ctr">
              <a:solidFill>
                <a:schemeClr val="accent2">
                  <a:lumMod val="75000"/>
                </a:schemeClr>
              </a:solidFill>
              <a:prstDash val="solid"/>
            </a:ln>
            <a:effectLst>
              <a:glow rad="63500">
                <a:schemeClr val="accent2">
                  <a:lumMod val="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dirty="0">
                <a:ln>
                  <a:noFill/>
                </a:ln>
                <a:solidFill>
                  <a:srgbClr val="000000"/>
                </a:solidFill>
                <a:effectLst/>
                <a:uLnTx/>
                <a:uFillTx/>
                <a:latin typeface="Open Sans"/>
                <a:ea typeface="+mn-ea"/>
                <a:cs typeface="+mn-cs"/>
              </a:endParaRPr>
            </a:p>
          </p:txBody>
        </p:sp>
      </p:grpSp>
      <p:sp>
        <p:nvSpPr>
          <p:cNvPr id="5" name="Hexagon 4">
            <a:extLst>
              <a:ext uri="{FF2B5EF4-FFF2-40B4-BE49-F238E27FC236}">
                <a16:creationId xmlns:a16="http://schemas.microsoft.com/office/drawing/2014/main" id="{A51AD71B-BCFC-F4C0-2172-93C8A2C2C315}"/>
              </a:ext>
            </a:extLst>
          </p:cNvPr>
          <p:cNvSpPr/>
          <p:nvPr/>
        </p:nvSpPr>
        <p:spPr>
          <a:xfrm rot="5400000">
            <a:off x="1263709" y="3514188"/>
            <a:ext cx="1045521" cy="907468"/>
          </a:xfrm>
          <a:prstGeom prst="hexagon">
            <a:avLst/>
          </a:prstGeom>
          <a:solidFill>
            <a:schemeClr val="accent2">
              <a:lumMod val="60000"/>
              <a:lumOff val="40000"/>
            </a:schemeClr>
          </a:solidFill>
          <a:ln w="28575" cap="flat" cmpd="sng" algn="ctr">
            <a:solidFill>
              <a:schemeClr val="accent2">
                <a:lumMod val="75000"/>
              </a:schemeClr>
            </a:solidFill>
            <a:prstDash val="solid"/>
          </a:ln>
          <a:effectLst>
            <a:glow rad="63500">
              <a:schemeClr val="accent2">
                <a:lumMod val="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Inform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Modelling</a:t>
            </a:r>
          </a:p>
        </p:txBody>
      </p:sp>
      <p:sp>
        <p:nvSpPr>
          <p:cNvPr id="6" name="Hexagon 5">
            <a:extLst>
              <a:ext uri="{FF2B5EF4-FFF2-40B4-BE49-F238E27FC236}">
                <a16:creationId xmlns:a16="http://schemas.microsoft.com/office/drawing/2014/main" id="{A5624A93-B4A8-4556-722A-96818D15A7FC}"/>
              </a:ext>
            </a:extLst>
          </p:cNvPr>
          <p:cNvSpPr/>
          <p:nvPr/>
        </p:nvSpPr>
        <p:spPr>
          <a:xfrm rot="5400000">
            <a:off x="2005266" y="2759534"/>
            <a:ext cx="1045521" cy="907468"/>
          </a:xfrm>
          <a:prstGeom prst="hexagon">
            <a:avLst/>
          </a:prstGeom>
          <a:solidFill>
            <a:schemeClr val="accent2">
              <a:lumMod val="60000"/>
              <a:lumOff val="40000"/>
            </a:schemeClr>
          </a:solidFill>
          <a:ln w="28575" cap="flat" cmpd="sng" algn="ctr">
            <a:solidFill>
              <a:schemeClr val="accent2">
                <a:lumMod val="75000"/>
              </a:schemeClr>
            </a:solidFill>
            <a:prstDash val="solid"/>
          </a:ln>
          <a:effectLst>
            <a:glow rad="63500">
              <a:schemeClr val="accent2">
                <a:lumMod val="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Data Qualit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am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Management</a:t>
            </a:r>
          </a:p>
        </p:txBody>
      </p:sp>
      <p:sp>
        <p:nvSpPr>
          <p:cNvPr id="7" name="Hexagon 6">
            <a:extLst>
              <a:ext uri="{FF2B5EF4-FFF2-40B4-BE49-F238E27FC236}">
                <a16:creationId xmlns:a16="http://schemas.microsoft.com/office/drawing/2014/main" id="{4F4C1628-CDA9-DED0-B602-65359A8DA26C}"/>
              </a:ext>
            </a:extLst>
          </p:cNvPr>
          <p:cNvSpPr/>
          <p:nvPr/>
        </p:nvSpPr>
        <p:spPr>
          <a:xfrm rot="5400000">
            <a:off x="2005266" y="5778152"/>
            <a:ext cx="1045521" cy="907468"/>
          </a:xfrm>
          <a:prstGeom prst="hexagon">
            <a:avLst/>
          </a:prstGeom>
          <a:solidFill>
            <a:schemeClr val="accent2">
              <a:lumMod val="60000"/>
              <a:lumOff val="40000"/>
            </a:schemeClr>
          </a:solidFill>
          <a:ln w="28575" cap="flat" cmpd="sng" algn="ctr">
            <a:solidFill>
              <a:schemeClr val="accent2">
                <a:lumMod val="75000"/>
              </a:schemeClr>
            </a:solidFill>
            <a:prstDash val="solid"/>
          </a:ln>
          <a:effectLst>
            <a:glow rad="63500">
              <a:schemeClr val="accent2">
                <a:lumMod val="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Regulation &am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Compliance</a:t>
            </a:r>
          </a:p>
        </p:txBody>
      </p:sp>
      <p:sp>
        <p:nvSpPr>
          <p:cNvPr id="8" name="Hexagon 7">
            <a:extLst>
              <a:ext uri="{FF2B5EF4-FFF2-40B4-BE49-F238E27FC236}">
                <a16:creationId xmlns:a16="http://schemas.microsoft.com/office/drawing/2014/main" id="{30E26C44-70CE-23C3-5F04-56375C6247D1}"/>
              </a:ext>
            </a:extLst>
          </p:cNvPr>
          <p:cNvSpPr/>
          <p:nvPr/>
        </p:nvSpPr>
        <p:spPr>
          <a:xfrm rot="5400000">
            <a:off x="1263709" y="5023496"/>
            <a:ext cx="1045521" cy="907468"/>
          </a:xfrm>
          <a:prstGeom prst="hexagon">
            <a:avLst/>
          </a:prstGeom>
          <a:solidFill>
            <a:schemeClr val="accent2">
              <a:lumMod val="60000"/>
              <a:lumOff val="40000"/>
            </a:schemeClr>
          </a:solidFill>
          <a:ln w="28575" cap="flat" cmpd="sng" algn="ctr">
            <a:solidFill>
              <a:schemeClr val="accent2">
                <a:lumMod val="75000"/>
              </a:schemeClr>
            </a:solidFill>
            <a:prstDash val="solid"/>
          </a:ln>
          <a:effectLst>
            <a:glow rad="63500">
              <a:schemeClr val="accent2">
                <a:lumMod val="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Trus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am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Digital Ethics</a:t>
            </a:r>
          </a:p>
        </p:txBody>
      </p:sp>
      <p:sp>
        <p:nvSpPr>
          <p:cNvPr id="9" name="Hexagon 8">
            <a:extLst>
              <a:ext uri="{FF2B5EF4-FFF2-40B4-BE49-F238E27FC236}">
                <a16:creationId xmlns:a16="http://schemas.microsoft.com/office/drawing/2014/main" id="{78136CB2-05BB-773D-F2EF-ACF5DB5620F1}"/>
              </a:ext>
            </a:extLst>
          </p:cNvPr>
          <p:cNvSpPr/>
          <p:nvPr/>
        </p:nvSpPr>
        <p:spPr>
          <a:xfrm rot="5400000">
            <a:off x="2005266" y="4268842"/>
            <a:ext cx="1045521" cy="907468"/>
          </a:xfrm>
          <a:prstGeom prst="hexagon">
            <a:avLst/>
          </a:prstGeom>
          <a:solidFill>
            <a:schemeClr val="accent2">
              <a:lumMod val="60000"/>
              <a:lumOff val="40000"/>
            </a:schemeClr>
          </a:solidFill>
          <a:ln w="28575" cap="flat" cmpd="sng" algn="ctr">
            <a:solidFill>
              <a:schemeClr val="accent2">
                <a:lumMod val="75000"/>
              </a:schemeClr>
            </a:solidFill>
            <a:prstDash val="solid"/>
          </a:ln>
          <a:effectLst>
            <a:glow rad="63500">
              <a:schemeClr val="accent2">
                <a:lumMod val="75000"/>
                <a:alpha val="40000"/>
              </a:schemeClr>
            </a:glow>
          </a:effectLst>
        </p:spPr>
        <p:txBody>
          <a:bodyPr vert="vert270" wrap="none" lIns="0" tIns="36000" rIns="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Data as a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Open Sans"/>
                <a:ea typeface="+mn-ea"/>
                <a:cs typeface="+mn-cs"/>
              </a:rPr>
              <a:t>Asset</a:t>
            </a:r>
          </a:p>
        </p:txBody>
      </p:sp>
      <p:sp>
        <p:nvSpPr>
          <p:cNvPr id="14" name="TextBox 13">
            <a:extLst>
              <a:ext uri="{FF2B5EF4-FFF2-40B4-BE49-F238E27FC236}">
                <a16:creationId xmlns:a16="http://schemas.microsoft.com/office/drawing/2014/main" id="{20026CBA-9E1C-6A74-CBC7-3F1D7DD9FBDB}"/>
              </a:ext>
            </a:extLst>
          </p:cNvPr>
          <p:cNvSpPr txBox="1"/>
          <p:nvPr/>
        </p:nvSpPr>
        <p:spPr>
          <a:xfrm>
            <a:off x="567708" y="1010546"/>
            <a:ext cx="11228796" cy="553421"/>
          </a:xfrm>
          <a:prstGeom prst="rect">
            <a:avLst/>
          </a:prstGeom>
          <a:noFill/>
        </p:spPr>
        <p:txBody>
          <a:bodyPr wrap="square" anchor="t">
            <a:spAutoFit/>
          </a:bodyPr>
          <a:lstStyle/>
          <a:p>
            <a:pPr marL="0" marR="0" lvl="0" indent="0" algn="l" defTabSz="914400" rtl="0" eaLnBrk="1" fontAlgn="auto" latinLnBrk="0" hangingPunct="1">
              <a:lnSpc>
                <a:spcPct val="110000"/>
              </a:lnSpc>
              <a:spcBef>
                <a:spcPts val="200"/>
              </a:spcBef>
              <a:spcAft>
                <a:spcPts val="100"/>
              </a:spcAft>
              <a:buClrTx/>
              <a:buSzTx/>
              <a:buFontTx/>
              <a:buNone/>
              <a:tabLst/>
              <a:defRPr/>
            </a:pPr>
            <a:r>
              <a:rPr kumimoji="0" lang="en-US" sz="140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Taking advantage of internal and external data sources and providing a holistic approach to ensuring the sources, structure, rigor</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and quality of the data to create trustworthy insights which support business decisions and reduce errors.</a:t>
            </a:r>
            <a:endParaRPr kumimoji="0" lang="en-US" sz="110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Title 5">
            <a:extLst>
              <a:ext uri="{FF2B5EF4-FFF2-40B4-BE49-F238E27FC236}">
                <a16:creationId xmlns:a16="http://schemas.microsoft.com/office/drawing/2014/main" id="{D58718AC-C42B-2FD4-8F98-6BCFA0ACBBCA}"/>
              </a:ext>
            </a:extLst>
          </p:cNvPr>
          <p:cNvSpPr txBox="1">
            <a:spLocks/>
          </p:cNvSpPr>
          <p:nvPr/>
        </p:nvSpPr>
        <p:spPr bwMode="gray">
          <a:xfrm>
            <a:off x="464400" y="417600"/>
            <a:ext cx="10539845" cy="382180"/>
          </a:xfrm>
          <a:prstGeom prst="rect">
            <a:avLst/>
          </a:prstGeom>
        </p:spPr>
        <p:txBody>
          <a:bodyPr vert="horz" lIns="0" tIns="0" rIns="0" bIns="0" rtlCol="0" anchor="t" anchorCtr="0">
            <a:noAutofit/>
          </a:bodyPr>
          <a:lstStyle>
            <a:lvl1pPr marL="0" marR="81478" algn="l" defTabSz="914400" rtl="0" eaLnBrk="1" latinLnBrk="0" hangingPunct="1">
              <a:lnSpc>
                <a:spcPct val="100000"/>
              </a:lnSpc>
              <a:spcBef>
                <a:spcPct val="0"/>
              </a:spcBef>
              <a:buNone/>
              <a:defRPr lang="en-US" sz="3200" kern="1200" noProof="0" dirty="0">
                <a:solidFill>
                  <a:schemeClr val="tx1"/>
                </a:solidFill>
                <a:latin typeface="+mj-lt"/>
                <a:ea typeface="+mj-ea"/>
                <a:cs typeface="Calibri Light" panose="020F0302020204030204" pitchFamily="34" charset="0"/>
              </a:defRPr>
            </a:lvl1pPr>
          </a:lstStyle>
          <a:p>
            <a:pPr marL="0" marR="81478" lvl="0" indent="0" algn="l" defTabSz="914400" rtl="0" eaLnBrk="1" fontAlgn="auto" latinLnBrk="0" hangingPunct="1">
              <a:lnSpc>
                <a:spcPct val="100000"/>
              </a:lnSpc>
              <a:spcBef>
                <a:spcPct val="0"/>
              </a:spcBef>
              <a:spcAft>
                <a:spcPts val="0"/>
              </a:spcAft>
              <a:buClrTx/>
              <a:buSzTx/>
              <a:buFontTx/>
              <a:buNone/>
              <a:tabLst/>
              <a:defRPr/>
            </a:pPr>
            <a:r>
              <a:rPr lang="en-US" sz="2400" dirty="0">
                <a:solidFill>
                  <a:prstClr val="black"/>
                </a:solidFill>
                <a:latin typeface="Open Sans Light"/>
              </a:rPr>
              <a:t>Treating Data as an Asset</a:t>
            </a:r>
            <a:endParaRPr kumimoji="0" lang="en-US" sz="2400" b="0" i="0" u="none" strike="noStrike" kern="1200" cap="none" spc="0" normalizeH="0" baseline="0" noProof="0" dirty="0">
              <a:ln>
                <a:noFill/>
              </a:ln>
              <a:solidFill>
                <a:prstClr val="black"/>
              </a:solidFill>
              <a:effectLst/>
              <a:uLnTx/>
              <a:uFillTx/>
              <a:latin typeface="Open Sans Light"/>
              <a:ea typeface="+mj-ea"/>
              <a:cs typeface="Calibri Light" panose="020F0302020204030204" pitchFamily="34" charset="0"/>
            </a:endParaRPr>
          </a:p>
        </p:txBody>
      </p:sp>
      <p:sp>
        <p:nvSpPr>
          <p:cNvPr id="17" name="TextBox 16">
            <a:extLst>
              <a:ext uri="{FF2B5EF4-FFF2-40B4-BE49-F238E27FC236}">
                <a16:creationId xmlns:a16="http://schemas.microsoft.com/office/drawing/2014/main" id="{9AC82CBB-6216-DC2F-CA59-57CC990FECD6}"/>
              </a:ext>
            </a:extLst>
          </p:cNvPr>
          <p:cNvSpPr txBox="1"/>
          <p:nvPr/>
        </p:nvSpPr>
        <p:spPr>
          <a:xfrm>
            <a:off x="2703483" y="2032383"/>
            <a:ext cx="7092000" cy="523220"/>
          </a:xfrm>
          <a:prstGeom prst="rect">
            <a:avLst/>
          </a:prstGeom>
          <a:noFill/>
        </p:spPr>
        <p:txBody>
          <a:bodyPr wrap="square" anchor="t">
            <a:spAutoFit/>
          </a:bodyPr>
          <a:lstStyle/>
          <a:p>
            <a:pPr marL="0" marR="0" lvl="0" indent="0" algn="ctr" defTabSz="914400" rtl="0" eaLnBrk="1" fontAlgn="auto" latinLnBrk="0" hangingPunct="1">
              <a:spcBef>
                <a:spcPts val="200"/>
              </a:spcBef>
              <a:spcAft>
                <a:spcPts val="100"/>
              </a:spcAft>
              <a:buClrTx/>
              <a:buSzTx/>
              <a:buFontTx/>
              <a:buNone/>
              <a:tabLst/>
              <a:defRPr/>
            </a:pPr>
            <a:r>
              <a:rPr lang="en-US" sz="1400" b="1" dirty="0">
                <a:latin typeface="Open Sans Light" panose="020B0306030504020204" pitchFamily="34" charset="0"/>
                <a:ea typeface="Open Sans Light" panose="020B0306030504020204" pitchFamily="34" charset="0"/>
                <a:cs typeface="Open Sans Light" panose="020B0306030504020204" pitchFamily="34" charset="0"/>
              </a:rPr>
              <a:t>C</a:t>
            </a:r>
            <a:r>
              <a:rPr kumimoji="0" lang="en-US" sz="1400" b="1" u="none" strike="noStrike" kern="1200" cap="none" spc="0" normalizeH="0" baseline="0" noProof="0" dirty="0" err="1">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reate</a:t>
            </a:r>
            <a:r>
              <a:rPr kumimoji="0" lang="en-US" sz="1400" b="1"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 a clear line of sight from business decisions to data sources, with data management delivered to support and inform this process</a:t>
            </a:r>
            <a:endParaRPr kumimoji="0" lang="en-US" sz="1100" b="1"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9" name="Straight Connector 18">
            <a:extLst>
              <a:ext uri="{FF2B5EF4-FFF2-40B4-BE49-F238E27FC236}">
                <a16:creationId xmlns:a16="http://schemas.microsoft.com/office/drawing/2014/main" id="{02E489B2-4D7B-084A-514E-29857CFF6F59}"/>
              </a:ext>
            </a:extLst>
          </p:cNvPr>
          <p:cNvCxnSpPr>
            <a:cxnSpLocks/>
          </p:cNvCxnSpPr>
          <p:nvPr/>
        </p:nvCxnSpPr>
        <p:spPr>
          <a:xfrm>
            <a:off x="2667483" y="2568433"/>
            <a:ext cx="7164000"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F297FD-C0F9-3C61-5BCA-072F046D9C1C}"/>
              </a:ext>
            </a:extLst>
          </p:cNvPr>
          <p:cNvSpPr txBox="1"/>
          <p:nvPr/>
        </p:nvSpPr>
        <p:spPr>
          <a:xfrm>
            <a:off x="2981761" y="2910792"/>
            <a:ext cx="8181870"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reate the ability to rely on and consistently maintain the </a:t>
            </a: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quality and completeness </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of UNICEF data</a:t>
            </a:r>
            <a:endParaRPr kumimoji="0" lang="en-US" sz="105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0563B5F2-80FF-05B8-AD61-5EC487819512}"/>
              </a:ext>
            </a:extLst>
          </p:cNvPr>
          <p:cNvSpPr txBox="1"/>
          <p:nvPr/>
        </p:nvSpPr>
        <p:spPr>
          <a:xfrm>
            <a:off x="2981760" y="3659017"/>
            <a:ext cx="8295839"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lang="en-US" sz="1200" b="1" dirty="0">
                <a:latin typeface="Open Sans" panose="020B0606030504020204" pitchFamily="34" charset="0"/>
                <a:ea typeface="Open Sans" panose="020B0606030504020204" pitchFamily="34" charset="0"/>
                <a:cs typeface="Open Sans" panose="020B0606030504020204" pitchFamily="34" charset="0"/>
              </a:rPr>
              <a:t>I</a:t>
            </a:r>
            <a:r>
              <a:rPr kumimoji="0" lang="en-US" sz="1200" b="1" i="0" u="none" strike="noStrike" kern="1200" cap="none" spc="0" normalizeH="0" baseline="0" noProof="0" dirty="0" err="1">
                <a:ln>
                  <a:noFill/>
                </a:ln>
                <a:effectLst/>
                <a:uLnTx/>
                <a:uFillTx/>
                <a:latin typeface="Open Sans" panose="020B0606030504020204" pitchFamily="34" charset="0"/>
                <a:ea typeface="Open Sans" panose="020B0606030504020204" pitchFamily="34" charset="0"/>
                <a:cs typeface="Open Sans" panose="020B0606030504020204" pitchFamily="34" charset="0"/>
              </a:rPr>
              <a:t>nformation</a:t>
            </a: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 management strategy </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esigned to deliver against UNICEF IDO vision and business objectives</a:t>
            </a:r>
            <a:endParaRPr kumimoji="0" lang="en-US" sz="105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D161DCF7-F094-FC81-1C2D-7DDDB7475671}"/>
              </a:ext>
            </a:extLst>
          </p:cNvPr>
          <p:cNvSpPr txBox="1"/>
          <p:nvPr/>
        </p:nvSpPr>
        <p:spPr>
          <a:xfrm>
            <a:off x="2981761" y="4450117"/>
            <a:ext cx="8181870"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What would it take to </a:t>
            </a: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make money from our data? </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What is the value to us having trusted, reliable data?</a:t>
            </a:r>
            <a:endParaRPr kumimoji="0" lang="en-US" sz="105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2EDAFE12-E3C3-A72B-3411-350C0C049C8A}"/>
              </a:ext>
            </a:extLst>
          </p:cNvPr>
          <p:cNvSpPr txBox="1"/>
          <p:nvPr/>
        </p:nvSpPr>
        <p:spPr>
          <a:xfrm>
            <a:off x="2981760" y="5241217"/>
            <a:ext cx="8181869"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lang="en-US" sz="1200" dirty="0">
                <a:latin typeface="Open Sans" panose="020B0606030504020204" pitchFamily="34" charset="0"/>
                <a:ea typeface="Open Sans" panose="020B0606030504020204" pitchFamily="34" charset="0"/>
                <a:cs typeface="Open Sans" panose="020B0606030504020204" pitchFamily="34" charset="0"/>
              </a:rPr>
              <a:t>UNICEF </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needs to collect and </a:t>
            </a: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use data ethically </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nd create an </a:t>
            </a:r>
            <a:r>
              <a:rPr lang="en-US" sz="1200" dirty="0">
                <a:latin typeface="Open Sans" panose="020B0606030504020204" pitchFamily="34" charset="0"/>
                <a:ea typeface="Open Sans" panose="020B0606030504020204" pitchFamily="34" charset="0"/>
                <a:cs typeface="Open Sans" panose="020B0606030504020204" pitchFamily="34" charset="0"/>
              </a:rPr>
              <a:t>environment of trust</a:t>
            </a:r>
            <a:endParaRPr kumimoji="0" lang="en-US" sz="105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83C1A6DE-6AE7-E5D1-79AA-8A67C64EF6A4}"/>
              </a:ext>
            </a:extLst>
          </p:cNvPr>
          <p:cNvSpPr txBox="1"/>
          <p:nvPr/>
        </p:nvSpPr>
        <p:spPr>
          <a:xfrm>
            <a:off x="2981761" y="6032318"/>
            <a:ext cx="8181868" cy="284437"/>
          </a:xfrm>
          <a:prstGeom prst="rect">
            <a:avLst/>
          </a:prstGeom>
          <a:noFill/>
        </p:spPr>
        <p:txBody>
          <a:bodyPr wrap="square" anchor="t">
            <a:spAutoFit/>
          </a:bodyPr>
          <a:lstStyle/>
          <a:p>
            <a:pPr marL="0" marR="0" lvl="0" indent="0" defTabSz="914400" rtl="0" eaLnBrk="1" fontAlgn="auto" latinLnBrk="0" hangingPunct="1">
              <a:lnSpc>
                <a:spcPct val="110000"/>
              </a:lnSpc>
              <a:spcBef>
                <a:spcPts val="200"/>
              </a:spcBef>
              <a:spcAft>
                <a:spcPts val="100"/>
              </a:spcAft>
              <a:buClrTx/>
              <a:buSzTx/>
              <a:buFontTx/>
              <a:buNone/>
              <a:tabLst/>
              <a:defRPr/>
            </a:pPr>
            <a:r>
              <a:rPr lang="en-US" sz="1200" dirty="0">
                <a:latin typeface="Open Sans" panose="020B0606030504020204" pitchFamily="34" charset="0"/>
                <a:ea typeface="Open Sans" panose="020B0606030504020204" pitchFamily="34" charset="0"/>
                <a:cs typeface="Open Sans" panose="020B0606030504020204" pitchFamily="34" charset="0"/>
              </a:rPr>
              <a:t>Meeting </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local and </a:t>
            </a:r>
            <a:r>
              <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global data policies </a:t>
            </a: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both now and in the future</a:t>
            </a:r>
            <a:endParaRPr kumimoji="0" lang="en-US" sz="105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Graphic 4">
            <a:extLst>
              <a:ext uri="{FF2B5EF4-FFF2-40B4-BE49-F238E27FC236}">
                <a16:creationId xmlns:a16="http://schemas.microsoft.com/office/drawing/2014/main" id="{D56D00AB-ADD7-6E2F-3021-443256DA26B4}"/>
              </a:ext>
            </a:extLst>
          </p:cNvPr>
          <p:cNvSpPr>
            <a:spLocks noChangeAspect="1"/>
          </p:cNvSpPr>
          <p:nvPr/>
        </p:nvSpPr>
        <p:spPr>
          <a:xfrm>
            <a:off x="735049" y="2259599"/>
            <a:ext cx="457625" cy="457200"/>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92654 w 361670"/>
              <a:gd name="connsiteY5" fmla="*/ 261105 h 361333"/>
              <a:gd name="connsiteX6" fmla="*/ 86264 w 361670"/>
              <a:gd name="connsiteY6" fmla="*/ 267489 h 361333"/>
              <a:gd name="connsiteX7" fmla="*/ 79874 w 361670"/>
              <a:gd name="connsiteY7" fmla="*/ 261105 h 361333"/>
              <a:gd name="connsiteX8" fmla="*/ 79874 w 361670"/>
              <a:gd name="connsiteY8" fmla="*/ 246422 h 361333"/>
              <a:gd name="connsiteX9" fmla="*/ 86264 w 361670"/>
              <a:gd name="connsiteY9" fmla="*/ 240038 h 361333"/>
              <a:gd name="connsiteX10" fmla="*/ 92654 w 361670"/>
              <a:gd name="connsiteY10" fmla="*/ 246422 h 361333"/>
              <a:gd name="connsiteX11" fmla="*/ 92654 w 361670"/>
              <a:gd name="connsiteY11" fmla="*/ 261105 h 361333"/>
              <a:gd name="connsiteX12" fmla="*/ 122048 w 361670"/>
              <a:gd name="connsiteY12" fmla="*/ 261105 h 361333"/>
              <a:gd name="connsiteX13" fmla="*/ 115658 w 361670"/>
              <a:gd name="connsiteY13" fmla="*/ 267489 h 361333"/>
              <a:gd name="connsiteX14" fmla="*/ 109268 w 361670"/>
              <a:gd name="connsiteY14" fmla="*/ 261105 h 361333"/>
              <a:gd name="connsiteX15" fmla="*/ 109268 w 361670"/>
              <a:gd name="connsiteY15" fmla="*/ 231739 h 361333"/>
              <a:gd name="connsiteX16" fmla="*/ 115658 w 361670"/>
              <a:gd name="connsiteY16" fmla="*/ 225355 h 361333"/>
              <a:gd name="connsiteX17" fmla="*/ 122048 w 361670"/>
              <a:gd name="connsiteY17" fmla="*/ 231739 h 361333"/>
              <a:gd name="connsiteX18" fmla="*/ 122048 w 361670"/>
              <a:gd name="connsiteY18" fmla="*/ 261105 h 361333"/>
              <a:gd name="connsiteX19" fmla="*/ 150802 w 361670"/>
              <a:gd name="connsiteY19" fmla="*/ 261105 h 361333"/>
              <a:gd name="connsiteX20" fmla="*/ 144412 w 361670"/>
              <a:gd name="connsiteY20" fmla="*/ 267489 h 361333"/>
              <a:gd name="connsiteX21" fmla="*/ 138022 w 361670"/>
              <a:gd name="connsiteY21" fmla="*/ 261105 h 361333"/>
              <a:gd name="connsiteX22" fmla="*/ 138022 w 361670"/>
              <a:gd name="connsiteY22" fmla="*/ 210033 h 361333"/>
              <a:gd name="connsiteX23" fmla="*/ 144412 w 361670"/>
              <a:gd name="connsiteY23" fmla="*/ 203649 h 361333"/>
              <a:gd name="connsiteX24" fmla="*/ 150802 w 361670"/>
              <a:gd name="connsiteY24" fmla="*/ 210033 h 361333"/>
              <a:gd name="connsiteX25" fmla="*/ 150802 w 361670"/>
              <a:gd name="connsiteY25" fmla="*/ 261105 h 361333"/>
              <a:gd name="connsiteX26" fmla="*/ 180196 w 361670"/>
              <a:gd name="connsiteY26" fmla="*/ 261105 h 361333"/>
              <a:gd name="connsiteX27" fmla="*/ 173806 w 361670"/>
              <a:gd name="connsiteY27" fmla="*/ 267489 h 361333"/>
              <a:gd name="connsiteX28" fmla="*/ 167416 w 361670"/>
              <a:gd name="connsiteY28" fmla="*/ 261105 h 361333"/>
              <a:gd name="connsiteX29" fmla="*/ 167416 w 361670"/>
              <a:gd name="connsiteY29" fmla="*/ 203011 h 361333"/>
              <a:gd name="connsiteX30" fmla="*/ 173806 w 361670"/>
              <a:gd name="connsiteY30" fmla="*/ 196627 h 361333"/>
              <a:gd name="connsiteX31" fmla="*/ 180196 w 361670"/>
              <a:gd name="connsiteY31" fmla="*/ 203011 h 361333"/>
              <a:gd name="connsiteX32" fmla="*/ 180196 w 361670"/>
              <a:gd name="connsiteY32" fmla="*/ 261105 h 361333"/>
              <a:gd name="connsiteX33" fmla="*/ 208951 w 361670"/>
              <a:gd name="connsiteY33" fmla="*/ 261105 h 361333"/>
              <a:gd name="connsiteX34" fmla="*/ 202561 w 361670"/>
              <a:gd name="connsiteY34" fmla="*/ 267489 h 361333"/>
              <a:gd name="connsiteX35" fmla="*/ 196171 w 361670"/>
              <a:gd name="connsiteY35" fmla="*/ 261105 h 361333"/>
              <a:gd name="connsiteX36" fmla="*/ 196171 w 361670"/>
              <a:gd name="connsiteY36" fmla="*/ 203011 h 361333"/>
              <a:gd name="connsiteX37" fmla="*/ 202561 w 361670"/>
              <a:gd name="connsiteY37" fmla="*/ 196627 h 361333"/>
              <a:gd name="connsiteX38" fmla="*/ 208951 w 361670"/>
              <a:gd name="connsiteY38" fmla="*/ 203011 h 361333"/>
              <a:gd name="connsiteX39" fmla="*/ 208951 w 361670"/>
              <a:gd name="connsiteY39" fmla="*/ 261105 h 361333"/>
              <a:gd name="connsiteX40" fmla="*/ 238345 w 361670"/>
              <a:gd name="connsiteY40" fmla="*/ 261105 h 361333"/>
              <a:gd name="connsiteX41" fmla="*/ 231955 w 361670"/>
              <a:gd name="connsiteY41" fmla="*/ 267489 h 361333"/>
              <a:gd name="connsiteX42" fmla="*/ 225565 w 361670"/>
              <a:gd name="connsiteY42" fmla="*/ 261105 h 361333"/>
              <a:gd name="connsiteX43" fmla="*/ 225565 w 361670"/>
              <a:gd name="connsiteY43" fmla="*/ 181305 h 361333"/>
              <a:gd name="connsiteX44" fmla="*/ 231955 w 361670"/>
              <a:gd name="connsiteY44" fmla="*/ 174921 h 361333"/>
              <a:gd name="connsiteX45" fmla="*/ 238345 w 361670"/>
              <a:gd name="connsiteY45" fmla="*/ 181305 h 361333"/>
              <a:gd name="connsiteX46" fmla="*/ 238345 w 361670"/>
              <a:gd name="connsiteY46" fmla="*/ 261105 h 361333"/>
              <a:gd name="connsiteX47" fmla="*/ 267099 w 361670"/>
              <a:gd name="connsiteY47" fmla="*/ 261105 h 361333"/>
              <a:gd name="connsiteX48" fmla="*/ 260709 w 361670"/>
              <a:gd name="connsiteY48" fmla="*/ 267489 h 361333"/>
              <a:gd name="connsiteX49" fmla="*/ 254319 w 361670"/>
              <a:gd name="connsiteY49" fmla="*/ 261105 h 361333"/>
              <a:gd name="connsiteX50" fmla="*/ 254319 w 361670"/>
              <a:gd name="connsiteY50" fmla="*/ 159600 h 361333"/>
              <a:gd name="connsiteX51" fmla="*/ 260709 w 361670"/>
              <a:gd name="connsiteY51" fmla="*/ 153216 h 361333"/>
              <a:gd name="connsiteX52" fmla="*/ 267099 w 361670"/>
              <a:gd name="connsiteY52" fmla="*/ 159600 h 361333"/>
              <a:gd name="connsiteX53" fmla="*/ 267099 w 361670"/>
              <a:gd name="connsiteY53" fmla="*/ 261105 h 361333"/>
              <a:gd name="connsiteX54" fmla="*/ 281796 w 361670"/>
              <a:gd name="connsiteY54" fmla="*/ 130233 h 361333"/>
              <a:gd name="connsiteX55" fmla="*/ 275406 w 361670"/>
              <a:gd name="connsiteY55" fmla="*/ 136617 h 361333"/>
              <a:gd name="connsiteX56" fmla="*/ 269016 w 361670"/>
              <a:gd name="connsiteY56" fmla="*/ 130233 h 361333"/>
              <a:gd name="connsiteX57" fmla="*/ 269016 w 361670"/>
              <a:gd name="connsiteY57" fmla="*/ 116827 h 361333"/>
              <a:gd name="connsiteX58" fmla="*/ 207034 w 361670"/>
              <a:gd name="connsiteY58" fmla="*/ 178752 h 361333"/>
              <a:gd name="connsiteX59" fmla="*/ 202561 w 361670"/>
              <a:gd name="connsiteY59" fmla="*/ 180667 h 361333"/>
              <a:gd name="connsiteX60" fmla="*/ 146329 w 361670"/>
              <a:gd name="connsiteY60" fmla="*/ 180667 h 361333"/>
              <a:gd name="connsiteX61" fmla="*/ 90098 w 361670"/>
              <a:gd name="connsiteY61" fmla="*/ 222801 h 361333"/>
              <a:gd name="connsiteX62" fmla="*/ 86264 w 361670"/>
              <a:gd name="connsiteY62" fmla="*/ 224078 h 361333"/>
              <a:gd name="connsiteX63" fmla="*/ 81152 w 361670"/>
              <a:gd name="connsiteY63" fmla="*/ 221524 h 361333"/>
              <a:gd name="connsiteX64" fmla="*/ 82430 w 361670"/>
              <a:gd name="connsiteY64" fmla="*/ 212587 h 361333"/>
              <a:gd name="connsiteX65" fmla="*/ 140579 w 361670"/>
              <a:gd name="connsiteY65" fmla="*/ 169176 h 361333"/>
              <a:gd name="connsiteX66" fmla="*/ 144412 w 361670"/>
              <a:gd name="connsiteY66" fmla="*/ 167899 h 361333"/>
              <a:gd name="connsiteX67" fmla="*/ 200005 w 361670"/>
              <a:gd name="connsiteY67" fmla="*/ 167899 h 361333"/>
              <a:gd name="connsiteX68" fmla="*/ 260071 w 361670"/>
              <a:gd name="connsiteY68" fmla="*/ 107889 h 361333"/>
              <a:gd name="connsiteX69" fmla="*/ 246651 w 361670"/>
              <a:gd name="connsiteY69" fmla="*/ 107889 h 361333"/>
              <a:gd name="connsiteX70" fmla="*/ 240261 w 361670"/>
              <a:gd name="connsiteY70" fmla="*/ 101505 h 361333"/>
              <a:gd name="connsiteX71" fmla="*/ 246651 w 361670"/>
              <a:gd name="connsiteY71" fmla="*/ 95121 h 361333"/>
              <a:gd name="connsiteX72" fmla="*/ 276045 w 361670"/>
              <a:gd name="connsiteY72" fmla="*/ 95121 h 361333"/>
              <a:gd name="connsiteX73" fmla="*/ 278601 w 361670"/>
              <a:gd name="connsiteY73" fmla="*/ 95760 h 361333"/>
              <a:gd name="connsiteX74" fmla="*/ 281796 w 361670"/>
              <a:gd name="connsiteY74" fmla="*/ 98952 h 361333"/>
              <a:gd name="connsiteX75" fmla="*/ 282435 w 361670"/>
              <a:gd name="connsiteY75" fmla="*/ 101505 h 361333"/>
              <a:gd name="connsiteX76" fmla="*/ 282435 w 361670"/>
              <a:gd name="connsiteY76" fmla="*/ 13023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61670"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1670" y="81077"/>
                  <a:pt x="280518" y="0"/>
                  <a:pt x="180835" y="0"/>
                </a:cubicBezTo>
                <a:close/>
                <a:moveTo>
                  <a:pt x="92654" y="261105"/>
                </a:moveTo>
                <a:cubicBezTo>
                  <a:pt x="92654" y="264935"/>
                  <a:pt x="90098" y="267489"/>
                  <a:pt x="86264" y="267489"/>
                </a:cubicBezTo>
                <a:cubicBezTo>
                  <a:pt x="82430" y="267489"/>
                  <a:pt x="79874" y="264935"/>
                  <a:pt x="79874" y="261105"/>
                </a:cubicBezTo>
                <a:lnTo>
                  <a:pt x="79874" y="246422"/>
                </a:lnTo>
                <a:cubicBezTo>
                  <a:pt x="79874" y="242591"/>
                  <a:pt x="82430" y="240038"/>
                  <a:pt x="86264" y="240038"/>
                </a:cubicBezTo>
                <a:cubicBezTo>
                  <a:pt x="90098" y="240038"/>
                  <a:pt x="92654" y="242591"/>
                  <a:pt x="92654" y="246422"/>
                </a:cubicBezTo>
                <a:lnTo>
                  <a:pt x="92654" y="261105"/>
                </a:lnTo>
                <a:close/>
                <a:moveTo>
                  <a:pt x="122048" y="261105"/>
                </a:moveTo>
                <a:cubicBezTo>
                  <a:pt x="122048" y="264935"/>
                  <a:pt x="119492" y="267489"/>
                  <a:pt x="115658" y="267489"/>
                </a:cubicBezTo>
                <a:cubicBezTo>
                  <a:pt x="111824" y="267489"/>
                  <a:pt x="109268" y="264935"/>
                  <a:pt x="109268" y="261105"/>
                </a:cubicBezTo>
                <a:lnTo>
                  <a:pt x="109268" y="231739"/>
                </a:lnTo>
                <a:cubicBezTo>
                  <a:pt x="109268" y="227908"/>
                  <a:pt x="111824" y="225355"/>
                  <a:pt x="115658" y="225355"/>
                </a:cubicBezTo>
                <a:cubicBezTo>
                  <a:pt x="119492" y="225355"/>
                  <a:pt x="122048" y="227908"/>
                  <a:pt x="122048" y="231739"/>
                </a:cubicBezTo>
                <a:lnTo>
                  <a:pt x="122048" y="261105"/>
                </a:lnTo>
                <a:close/>
                <a:moveTo>
                  <a:pt x="150802" y="261105"/>
                </a:moveTo>
                <a:cubicBezTo>
                  <a:pt x="150802" y="264935"/>
                  <a:pt x="148247" y="267489"/>
                  <a:pt x="144412" y="267489"/>
                </a:cubicBezTo>
                <a:cubicBezTo>
                  <a:pt x="140579" y="267489"/>
                  <a:pt x="138022" y="264935"/>
                  <a:pt x="138022" y="261105"/>
                </a:cubicBezTo>
                <a:lnTo>
                  <a:pt x="138022" y="210033"/>
                </a:lnTo>
                <a:cubicBezTo>
                  <a:pt x="138022" y="206203"/>
                  <a:pt x="140579" y="203649"/>
                  <a:pt x="144412" y="203649"/>
                </a:cubicBezTo>
                <a:cubicBezTo>
                  <a:pt x="148247" y="203649"/>
                  <a:pt x="150802" y="206203"/>
                  <a:pt x="150802" y="210033"/>
                </a:cubicBezTo>
                <a:lnTo>
                  <a:pt x="150802" y="261105"/>
                </a:lnTo>
                <a:close/>
                <a:moveTo>
                  <a:pt x="180196" y="261105"/>
                </a:moveTo>
                <a:cubicBezTo>
                  <a:pt x="180196" y="264935"/>
                  <a:pt x="177640" y="267489"/>
                  <a:pt x="173806" y="267489"/>
                </a:cubicBezTo>
                <a:cubicBezTo>
                  <a:pt x="169972" y="267489"/>
                  <a:pt x="167416" y="264935"/>
                  <a:pt x="167416" y="261105"/>
                </a:cubicBezTo>
                <a:lnTo>
                  <a:pt x="167416" y="203011"/>
                </a:lnTo>
                <a:cubicBezTo>
                  <a:pt x="167416" y="199180"/>
                  <a:pt x="169972" y="196627"/>
                  <a:pt x="173806" y="196627"/>
                </a:cubicBezTo>
                <a:cubicBezTo>
                  <a:pt x="177640" y="196627"/>
                  <a:pt x="180196" y="199180"/>
                  <a:pt x="180196" y="203011"/>
                </a:cubicBezTo>
                <a:lnTo>
                  <a:pt x="180196" y="261105"/>
                </a:lnTo>
                <a:close/>
                <a:moveTo>
                  <a:pt x="208951" y="261105"/>
                </a:moveTo>
                <a:cubicBezTo>
                  <a:pt x="208951" y="264935"/>
                  <a:pt x="206395" y="267489"/>
                  <a:pt x="202561" y="267489"/>
                </a:cubicBezTo>
                <a:cubicBezTo>
                  <a:pt x="198727" y="267489"/>
                  <a:pt x="196171" y="264935"/>
                  <a:pt x="196171" y="261105"/>
                </a:cubicBezTo>
                <a:lnTo>
                  <a:pt x="196171" y="203011"/>
                </a:lnTo>
                <a:cubicBezTo>
                  <a:pt x="196171" y="199180"/>
                  <a:pt x="198727" y="196627"/>
                  <a:pt x="202561" y="196627"/>
                </a:cubicBezTo>
                <a:cubicBezTo>
                  <a:pt x="206395" y="196627"/>
                  <a:pt x="208951" y="199180"/>
                  <a:pt x="208951" y="203011"/>
                </a:cubicBezTo>
                <a:lnTo>
                  <a:pt x="208951" y="261105"/>
                </a:lnTo>
                <a:close/>
                <a:moveTo>
                  <a:pt x="238345" y="261105"/>
                </a:moveTo>
                <a:cubicBezTo>
                  <a:pt x="238345" y="264935"/>
                  <a:pt x="235788" y="267489"/>
                  <a:pt x="231955" y="267489"/>
                </a:cubicBezTo>
                <a:cubicBezTo>
                  <a:pt x="228121" y="267489"/>
                  <a:pt x="225565" y="264935"/>
                  <a:pt x="225565" y="261105"/>
                </a:cubicBezTo>
                <a:lnTo>
                  <a:pt x="225565" y="181305"/>
                </a:lnTo>
                <a:cubicBezTo>
                  <a:pt x="225565" y="177475"/>
                  <a:pt x="228121" y="174921"/>
                  <a:pt x="231955" y="174921"/>
                </a:cubicBezTo>
                <a:cubicBezTo>
                  <a:pt x="235788" y="174921"/>
                  <a:pt x="238345" y="177475"/>
                  <a:pt x="238345" y="181305"/>
                </a:cubicBezTo>
                <a:lnTo>
                  <a:pt x="238345" y="261105"/>
                </a:lnTo>
                <a:close/>
                <a:moveTo>
                  <a:pt x="267099" y="261105"/>
                </a:moveTo>
                <a:cubicBezTo>
                  <a:pt x="267099" y="264935"/>
                  <a:pt x="264543" y="267489"/>
                  <a:pt x="260709" y="267489"/>
                </a:cubicBezTo>
                <a:cubicBezTo>
                  <a:pt x="256876" y="267489"/>
                  <a:pt x="254319" y="264935"/>
                  <a:pt x="254319" y="261105"/>
                </a:cubicBezTo>
                <a:lnTo>
                  <a:pt x="254319" y="159600"/>
                </a:lnTo>
                <a:cubicBezTo>
                  <a:pt x="254319" y="155769"/>
                  <a:pt x="256876" y="153216"/>
                  <a:pt x="260709" y="153216"/>
                </a:cubicBezTo>
                <a:cubicBezTo>
                  <a:pt x="264543" y="153216"/>
                  <a:pt x="267099" y="155769"/>
                  <a:pt x="267099" y="159600"/>
                </a:cubicBezTo>
                <a:lnTo>
                  <a:pt x="267099" y="261105"/>
                </a:lnTo>
                <a:close/>
                <a:moveTo>
                  <a:pt x="281796" y="130233"/>
                </a:moveTo>
                <a:cubicBezTo>
                  <a:pt x="281796" y="134064"/>
                  <a:pt x="279240" y="136617"/>
                  <a:pt x="275406" y="136617"/>
                </a:cubicBezTo>
                <a:cubicBezTo>
                  <a:pt x="271572" y="136617"/>
                  <a:pt x="269016" y="134064"/>
                  <a:pt x="269016" y="130233"/>
                </a:cubicBezTo>
                <a:lnTo>
                  <a:pt x="269016" y="116827"/>
                </a:lnTo>
                <a:lnTo>
                  <a:pt x="207034" y="178752"/>
                </a:lnTo>
                <a:cubicBezTo>
                  <a:pt x="205756" y="180028"/>
                  <a:pt x="204478" y="180667"/>
                  <a:pt x="202561" y="180667"/>
                </a:cubicBezTo>
                <a:lnTo>
                  <a:pt x="146329" y="180667"/>
                </a:lnTo>
                <a:lnTo>
                  <a:pt x="90098" y="222801"/>
                </a:lnTo>
                <a:cubicBezTo>
                  <a:pt x="88820" y="223439"/>
                  <a:pt x="87542" y="224078"/>
                  <a:pt x="86264" y="224078"/>
                </a:cubicBezTo>
                <a:cubicBezTo>
                  <a:pt x="84347" y="224078"/>
                  <a:pt x="82430" y="223439"/>
                  <a:pt x="81152" y="221524"/>
                </a:cubicBezTo>
                <a:cubicBezTo>
                  <a:pt x="79235" y="218971"/>
                  <a:pt x="79874" y="214502"/>
                  <a:pt x="82430" y="212587"/>
                </a:cubicBezTo>
                <a:lnTo>
                  <a:pt x="140579" y="169176"/>
                </a:lnTo>
                <a:cubicBezTo>
                  <a:pt x="141857" y="168537"/>
                  <a:pt x="143134" y="167899"/>
                  <a:pt x="144412" y="167899"/>
                </a:cubicBezTo>
                <a:lnTo>
                  <a:pt x="200005" y="167899"/>
                </a:lnTo>
                <a:lnTo>
                  <a:pt x="260071" y="107889"/>
                </a:lnTo>
                <a:lnTo>
                  <a:pt x="246651" y="107889"/>
                </a:lnTo>
                <a:cubicBezTo>
                  <a:pt x="242818" y="107889"/>
                  <a:pt x="240261" y="105336"/>
                  <a:pt x="240261" y="101505"/>
                </a:cubicBezTo>
                <a:cubicBezTo>
                  <a:pt x="240261" y="97675"/>
                  <a:pt x="242818" y="95121"/>
                  <a:pt x="246651" y="95121"/>
                </a:cubicBezTo>
                <a:lnTo>
                  <a:pt x="276045" y="95121"/>
                </a:lnTo>
                <a:cubicBezTo>
                  <a:pt x="276684" y="95121"/>
                  <a:pt x="277962" y="95121"/>
                  <a:pt x="278601" y="95760"/>
                </a:cubicBezTo>
                <a:cubicBezTo>
                  <a:pt x="279879" y="96398"/>
                  <a:pt x="281157" y="97675"/>
                  <a:pt x="281796" y="98952"/>
                </a:cubicBezTo>
                <a:cubicBezTo>
                  <a:pt x="282435" y="99590"/>
                  <a:pt x="282435" y="100867"/>
                  <a:pt x="282435" y="101505"/>
                </a:cubicBezTo>
                <a:lnTo>
                  <a:pt x="282435" y="130233"/>
                </a:lnTo>
                <a:close/>
              </a:path>
            </a:pathLst>
          </a:custGeom>
          <a:solidFill>
            <a:schemeClr val="accent2">
              <a:lumMod val="60000"/>
              <a:lumOff val="40000"/>
            </a:schemeClr>
          </a:solidFill>
          <a:ln w="6390" cap="flat">
            <a:noFill/>
            <a:prstDash val="solid"/>
            <a:miter/>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2787167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C94A1A-E4B9-4243-8C19-77120AA1886D}"/>
              </a:ext>
            </a:extLst>
          </p:cNvPr>
          <p:cNvGraphicFramePr>
            <a:graphicFrameLocks noChangeAspect="1"/>
          </p:cNvGraphicFramePr>
          <p:nvPr>
            <p:custDataLst>
              <p:tags r:id="rId1"/>
            </p:custDataLst>
            <p:extLst>
              <p:ext uri="{D42A27DB-BD31-4B8C-83A1-F6EECF244321}">
                <p14:modId xmlns:p14="http://schemas.microsoft.com/office/powerpoint/2010/main" val="3761929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Object 11" hidden="1">
                        <a:extLst>
                          <a:ext uri="{FF2B5EF4-FFF2-40B4-BE49-F238E27FC236}">
                            <a16:creationId xmlns:a16="http://schemas.microsoft.com/office/drawing/2014/main" id="{8AC94A1A-E4B9-4243-8C19-77120AA188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object 7">
            <a:extLst>
              <a:ext uri="{FF2B5EF4-FFF2-40B4-BE49-F238E27FC236}">
                <a16:creationId xmlns:a16="http://schemas.microsoft.com/office/drawing/2014/main" id="{9DB0455E-10E6-45C7-BA7E-76D015C37E4D}"/>
              </a:ext>
            </a:extLst>
          </p:cNvPr>
          <p:cNvSpPr txBox="1"/>
          <p:nvPr/>
        </p:nvSpPr>
        <p:spPr>
          <a:xfrm>
            <a:off x="1356438" y="1503643"/>
            <a:ext cx="889588" cy="396000"/>
          </a:xfrm>
          <a:prstGeom prst="rect">
            <a:avLst/>
          </a:prstGeom>
        </p:spPr>
        <p:txBody>
          <a:bodyPr vert="horz" wrap="square" lIns="0" tIns="0" rIns="0" bIns="0" rtlCol="0" anchor="ctr">
            <a:noAutofit/>
          </a:bodyPr>
          <a:lstStyle/>
          <a:p>
            <a:pPr marL="11516" marR="4607" lvl="0" indent="0" algn="l" defTabSz="914400" eaLnBrk="1" fontAlgn="auto" latinLnBrk="0" hangingPunct="1">
              <a:lnSpc>
                <a:spcPct val="100000"/>
              </a:lnSpc>
              <a:spcBef>
                <a:spcPts val="91"/>
              </a:spcBef>
              <a:spcAft>
                <a:spcPts val="0"/>
              </a:spcAft>
              <a:buClrTx/>
              <a:buSzTx/>
              <a:buFontTx/>
              <a:buNone/>
              <a:tabLst/>
              <a:defRPr/>
            </a:pPr>
            <a:r>
              <a:rPr kumimoji="0" lang="en-US" sz="1050" b="0" i="0" u="none" strike="noStrike" kern="1200" cap="none" spc="-9"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untries</a:t>
            </a:r>
            <a:endParaRPr kumimoji="0" lang="en-US" sz="105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object 8">
            <a:extLst>
              <a:ext uri="{FF2B5EF4-FFF2-40B4-BE49-F238E27FC236}">
                <a16:creationId xmlns:a16="http://schemas.microsoft.com/office/drawing/2014/main" id="{429DD483-5F30-4872-B996-56B3CB59D47A}"/>
              </a:ext>
            </a:extLst>
          </p:cNvPr>
          <p:cNvSpPr txBox="1"/>
          <p:nvPr/>
        </p:nvSpPr>
        <p:spPr>
          <a:xfrm>
            <a:off x="445030" y="1477007"/>
            <a:ext cx="1176211"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12</a:t>
            </a:r>
            <a:endPar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object 11">
            <a:extLst>
              <a:ext uri="{FF2B5EF4-FFF2-40B4-BE49-F238E27FC236}">
                <a16:creationId xmlns:a16="http://schemas.microsoft.com/office/drawing/2014/main" id="{8942E05F-50E2-433D-B0FB-552F2B560099}"/>
              </a:ext>
            </a:extLst>
          </p:cNvPr>
          <p:cNvSpPr txBox="1"/>
          <p:nvPr/>
        </p:nvSpPr>
        <p:spPr>
          <a:xfrm>
            <a:off x="8703291" y="1495826"/>
            <a:ext cx="844562" cy="396000"/>
          </a:xfrm>
          <a:prstGeom prst="rect">
            <a:avLst/>
          </a:prstGeom>
        </p:spPr>
        <p:txBody>
          <a:bodyPr vert="horz" wrap="square" lIns="0" tIns="0" rIns="0" bIns="0" rtlCol="0" anchor="ctr">
            <a:noAutofit/>
          </a:bodyPr>
          <a:lstStyle/>
          <a:p>
            <a:pPr marL="11516" marR="4607" lvl="0" indent="0" algn="l" defTabSz="914400" eaLnBrk="1" fontAlgn="auto" latinLnBrk="0" hangingPunct="1">
              <a:lnSpc>
                <a:spcPct val="100000"/>
              </a:lnSpc>
              <a:spcBef>
                <a:spcPts val="91"/>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artners</a:t>
            </a:r>
          </a:p>
        </p:txBody>
      </p:sp>
      <p:grpSp>
        <p:nvGrpSpPr>
          <p:cNvPr id="35" name="Group 34">
            <a:extLst>
              <a:ext uri="{FF2B5EF4-FFF2-40B4-BE49-F238E27FC236}">
                <a16:creationId xmlns:a16="http://schemas.microsoft.com/office/drawing/2014/main" id="{59489D89-6A87-7147-5102-689F260CFB35}"/>
              </a:ext>
            </a:extLst>
          </p:cNvPr>
          <p:cNvGrpSpPr/>
          <p:nvPr/>
        </p:nvGrpSpPr>
        <p:grpSpPr>
          <a:xfrm>
            <a:off x="4929001" y="1504166"/>
            <a:ext cx="2097094" cy="433639"/>
            <a:chOff x="3118302" y="1549431"/>
            <a:chExt cx="2097094" cy="433639"/>
          </a:xfrm>
        </p:grpSpPr>
        <p:sp>
          <p:nvSpPr>
            <p:cNvPr id="52" name="object 6">
              <a:extLst>
                <a:ext uri="{FF2B5EF4-FFF2-40B4-BE49-F238E27FC236}">
                  <a16:creationId xmlns:a16="http://schemas.microsoft.com/office/drawing/2014/main" id="{DCE729E9-9372-4CC7-BBBC-84CCF953113F}"/>
                </a:ext>
              </a:extLst>
            </p:cNvPr>
            <p:cNvSpPr txBox="1"/>
            <p:nvPr/>
          </p:nvSpPr>
          <p:spPr>
            <a:xfrm>
              <a:off x="4340566" y="1568250"/>
              <a:ext cx="874830" cy="396000"/>
            </a:xfrm>
            <a:prstGeom prst="rect">
              <a:avLst/>
            </a:prstGeom>
          </p:spPr>
          <p:txBody>
            <a:bodyPr vert="horz" wrap="square" lIns="0" tIns="0" rIns="0" bIns="0" rtlCol="0" anchor="ctr">
              <a:noAutofit/>
            </a:bodyPr>
            <a:lstStyle/>
            <a:p>
              <a:pPr marL="11516" marR="0" lvl="0" indent="0" algn="l" defTabSz="914400" eaLnBrk="1" fontAlgn="auto" latinLnBrk="0" hangingPunct="1">
                <a:lnSpc>
                  <a:spcPct val="100000"/>
                </a:lnSpc>
                <a:spcBef>
                  <a:spcPts val="272"/>
                </a:spcBef>
                <a:spcAft>
                  <a:spcPts val="0"/>
                </a:spcAft>
                <a:buClrTx/>
                <a:buSzTx/>
                <a:buFontTx/>
                <a:buNone/>
                <a:tabLst/>
                <a:defRPr/>
              </a:pPr>
              <a:r>
                <a:rPr kumimoji="0" lang="en-US" sz="1050" b="0" i="0" u="none" strike="noStrike" kern="1200" cap="none" spc="-27"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killed professionals</a:t>
              </a:r>
            </a:p>
          </p:txBody>
        </p:sp>
        <p:sp>
          <p:nvSpPr>
            <p:cNvPr id="59" name="object 8">
              <a:extLst>
                <a:ext uri="{FF2B5EF4-FFF2-40B4-BE49-F238E27FC236}">
                  <a16:creationId xmlns:a16="http://schemas.microsoft.com/office/drawing/2014/main" id="{9DD66539-74B5-425B-8D7E-D315C43444B1}"/>
                </a:ext>
              </a:extLst>
            </p:cNvPr>
            <p:cNvSpPr txBox="1"/>
            <p:nvPr/>
          </p:nvSpPr>
          <p:spPr>
            <a:xfrm>
              <a:off x="3118302" y="1549431"/>
              <a:ext cx="1176210"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2050+</a:t>
              </a:r>
            </a:p>
          </p:txBody>
        </p:sp>
      </p:grpSp>
      <p:sp>
        <p:nvSpPr>
          <p:cNvPr id="61" name="object 8">
            <a:extLst>
              <a:ext uri="{FF2B5EF4-FFF2-40B4-BE49-F238E27FC236}">
                <a16:creationId xmlns:a16="http://schemas.microsoft.com/office/drawing/2014/main" id="{39CC045D-10C8-4CEA-98B3-4C5E1890571F}"/>
              </a:ext>
            </a:extLst>
          </p:cNvPr>
          <p:cNvSpPr txBox="1"/>
          <p:nvPr/>
        </p:nvSpPr>
        <p:spPr>
          <a:xfrm>
            <a:off x="7817623" y="1477007"/>
            <a:ext cx="985586"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30</a:t>
            </a:r>
          </a:p>
        </p:txBody>
      </p:sp>
      <p:sp>
        <p:nvSpPr>
          <p:cNvPr id="63" name="object 13">
            <a:extLst>
              <a:ext uri="{FF2B5EF4-FFF2-40B4-BE49-F238E27FC236}">
                <a16:creationId xmlns:a16="http://schemas.microsoft.com/office/drawing/2014/main" id="{64AACAEA-4802-4BAD-B347-6260BAE71A5C}"/>
              </a:ext>
            </a:extLst>
          </p:cNvPr>
          <p:cNvSpPr txBox="1"/>
          <p:nvPr/>
        </p:nvSpPr>
        <p:spPr>
          <a:xfrm>
            <a:off x="10994031" y="1495826"/>
            <a:ext cx="907897" cy="396000"/>
          </a:xfrm>
          <a:prstGeom prst="rect">
            <a:avLst/>
          </a:prstGeom>
        </p:spPr>
        <p:txBody>
          <a:bodyPr vert="horz" wrap="square" lIns="0" tIns="0" rIns="0" bIns="0" rtlCol="0" anchor="ctr">
            <a:noAutofit/>
          </a:bodyPr>
          <a:lstStyle>
            <a:defPPr>
              <a:defRPr lang="en-US"/>
            </a:defPPr>
            <a:lvl1pPr marL="11516" marR="4607">
              <a:lnSpc>
                <a:spcPct val="116700"/>
              </a:lnSpc>
              <a:spcBef>
                <a:spcPts val="91"/>
              </a:spcBef>
              <a:defRPr sz="1000">
                <a:cs typeface="Open Sans Light"/>
              </a:defRPr>
            </a:lvl1pPr>
          </a:lstStyle>
          <a:p>
            <a:pPr marL="11516" marR="4607" lvl="0" indent="0" algn="l" defTabSz="914400" eaLnBrk="1" fontAlgn="auto" latinLnBrk="0" hangingPunct="1">
              <a:lnSpc>
                <a:spcPct val="116700"/>
              </a:lnSpc>
              <a:spcBef>
                <a:spcPts val="91"/>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ationalities</a:t>
            </a:r>
          </a:p>
        </p:txBody>
      </p:sp>
      <p:sp>
        <p:nvSpPr>
          <p:cNvPr id="64" name="object 8">
            <a:extLst>
              <a:ext uri="{FF2B5EF4-FFF2-40B4-BE49-F238E27FC236}">
                <a16:creationId xmlns:a16="http://schemas.microsoft.com/office/drawing/2014/main" id="{16368B65-6BE8-4329-A229-01A6CDA98AB3}"/>
              </a:ext>
            </a:extLst>
          </p:cNvPr>
          <p:cNvSpPr txBox="1"/>
          <p:nvPr/>
        </p:nvSpPr>
        <p:spPr>
          <a:xfrm>
            <a:off x="10193147" y="1477007"/>
            <a:ext cx="985586" cy="433639"/>
          </a:xfrm>
          <a:prstGeom prst="rect">
            <a:avLst/>
          </a:prstGeom>
        </p:spPr>
        <p:txBody>
          <a:bodyPr vert="horz" wrap="square" lIns="0" tIns="0" rIns="0" bIns="0" rtlCol="0" anchor="ctr">
            <a:noAutofit/>
          </a:bodyPr>
          <a:lstStyle/>
          <a:p>
            <a:pPr marL="11516" marR="0" lvl="0" indent="0" algn="l" defTabSz="914400" eaLnBrk="1" fontAlgn="auto" latinLnBrk="0" hangingPunct="1">
              <a:lnSpc>
                <a:spcPct val="100000"/>
              </a:lnSpc>
              <a:spcBef>
                <a:spcPts val="122"/>
              </a:spcBef>
              <a:spcAft>
                <a:spcPts val="0"/>
              </a:spcAft>
              <a:buClrTx/>
              <a:buSzTx/>
              <a:buFontTx/>
              <a:buNone/>
              <a:tabLst>
                <a:tab pos="2013636" algn="l"/>
                <a:tab pos="3694448" algn="l"/>
              </a:tabLst>
              <a:defRPr/>
            </a:pPr>
            <a:r>
              <a:rPr kumimoji="0" lang="en-US" sz="3200" b="1" i="0" u="none" strike="noStrike" kern="1200" cap="none" spc="9"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45+</a:t>
            </a:r>
            <a:endPar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5">
            <a:extLst>
              <a:ext uri="{FF2B5EF4-FFF2-40B4-BE49-F238E27FC236}">
                <a16:creationId xmlns:a16="http://schemas.microsoft.com/office/drawing/2014/main" id="{9F07C970-7538-4B36-8E0C-ADBBD37EA950}"/>
              </a:ext>
            </a:extLst>
          </p:cNvPr>
          <p:cNvSpPr>
            <a:spLocks/>
          </p:cNvSpPr>
          <p:nvPr/>
        </p:nvSpPr>
        <p:spPr bwMode="auto">
          <a:xfrm>
            <a:off x="769647" y="5528099"/>
            <a:ext cx="317584" cy="654349"/>
          </a:xfrm>
          <a:custGeom>
            <a:avLst/>
            <a:gdLst>
              <a:gd name="T0" fmla="*/ 103 w 114"/>
              <a:gd name="T1" fmla="*/ 16 h 232"/>
              <a:gd name="T2" fmla="*/ 91 w 114"/>
              <a:gd name="T3" fmla="*/ 9 h 232"/>
              <a:gd name="T4" fmla="*/ 84 w 114"/>
              <a:gd name="T5" fmla="*/ 7 h 232"/>
              <a:gd name="T6" fmla="*/ 75 w 114"/>
              <a:gd name="T7" fmla="*/ 14 h 232"/>
              <a:gd name="T8" fmla="*/ 62 w 114"/>
              <a:gd name="T9" fmla="*/ 12 h 232"/>
              <a:gd name="T10" fmla="*/ 51 w 114"/>
              <a:gd name="T11" fmla="*/ 11 h 232"/>
              <a:gd name="T12" fmla="*/ 52 w 114"/>
              <a:gd name="T13" fmla="*/ 3 h 232"/>
              <a:gd name="T14" fmla="*/ 35 w 114"/>
              <a:gd name="T15" fmla="*/ 7 h 232"/>
              <a:gd name="T16" fmla="*/ 33 w 114"/>
              <a:gd name="T17" fmla="*/ 20 h 232"/>
              <a:gd name="T18" fmla="*/ 34 w 114"/>
              <a:gd name="T19" fmla="*/ 45 h 232"/>
              <a:gd name="T20" fmla="*/ 30 w 114"/>
              <a:gd name="T21" fmla="*/ 67 h 232"/>
              <a:gd name="T22" fmla="*/ 33 w 114"/>
              <a:gd name="T23" fmla="*/ 62 h 232"/>
              <a:gd name="T24" fmla="*/ 27 w 114"/>
              <a:gd name="T25" fmla="*/ 76 h 232"/>
              <a:gd name="T26" fmla="*/ 18 w 114"/>
              <a:gd name="T27" fmla="*/ 107 h 232"/>
              <a:gd name="T28" fmla="*/ 11 w 114"/>
              <a:gd name="T29" fmla="*/ 124 h 232"/>
              <a:gd name="T30" fmla="*/ 4 w 114"/>
              <a:gd name="T31" fmla="*/ 137 h 232"/>
              <a:gd name="T32" fmla="*/ 10 w 114"/>
              <a:gd name="T33" fmla="*/ 155 h 232"/>
              <a:gd name="T34" fmla="*/ 14 w 114"/>
              <a:gd name="T35" fmla="*/ 155 h 232"/>
              <a:gd name="T36" fmla="*/ 14 w 114"/>
              <a:gd name="T37" fmla="*/ 159 h 232"/>
              <a:gd name="T38" fmla="*/ 8 w 114"/>
              <a:gd name="T39" fmla="*/ 159 h 232"/>
              <a:gd name="T40" fmla="*/ 17 w 114"/>
              <a:gd name="T41" fmla="*/ 164 h 232"/>
              <a:gd name="T42" fmla="*/ 22 w 114"/>
              <a:gd name="T43" fmla="*/ 163 h 232"/>
              <a:gd name="T44" fmla="*/ 27 w 114"/>
              <a:gd name="T45" fmla="*/ 168 h 232"/>
              <a:gd name="T46" fmla="*/ 18 w 114"/>
              <a:gd name="T47" fmla="*/ 164 h 232"/>
              <a:gd name="T48" fmla="*/ 18 w 114"/>
              <a:gd name="T49" fmla="*/ 188 h 232"/>
              <a:gd name="T50" fmla="*/ 19 w 114"/>
              <a:gd name="T51" fmla="*/ 206 h 232"/>
              <a:gd name="T52" fmla="*/ 13 w 114"/>
              <a:gd name="T53" fmla="*/ 232 h 232"/>
              <a:gd name="T54" fmla="*/ 27 w 114"/>
              <a:gd name="T55" fmla="*/ 225 h 232"/>
              <a:gd name="T56" fmla="*/ 52 w 114"/>
              <a:gd name="T57" fmla="*/ 229 h 232"/>
              <a:gd name="T58" fmla="*/ 62 w 114"/>
              <a:gd name="T59" fmla="*/ 211 h 232"/>
              <a:gd name="T60" fmla="*/ 69 w 114"/>
              <a:gd name="T61" fmla="*/ 192 h 232"/>
              <a:gd name="T62" fmla="*/ 78 w 114"/>
              <a:gd name="T63" fmla="*/ 184 h 232"/>
              <a:gd name="T64" fmla="*/ 69 w 114"/>
              <a:gd name="T65" fmla="*/ 167 h 232"/>
              <a:gd name="T66" fmla="*/ 82 w 114"/>
              <a:gd name="T67" fmla="*/ 140 h 232"/>
              <a:gd name="T68" fmla="*/ 74 w 114"/>
              <a:gd name="T69" fmla="*/ 131 h 232"/>
              <a:gd name="T70" fmla="*/ 72 w 114"/>
              <a:gd name="T71" fmla="*/ 120 h 232"/>
              <a:gd name="T72" fmla="*/ 73 w 114"/>
              <a:gd name="T73" fmla="*/ 112 h 232"/>
              <a:gd name="T74" fmla="*/ 87 w 114"/>
              <a:gd name="T75" fmla="*/ 98 h 232"/>
              <a:gd name="T76" fmla="*/ 91 w 114"/>
              <a:gd name="T77" fmla="*/ 80 h 232"/>
              <a:gd name="T78" fmla="*/ 91 w 114"/>
              <a:gd name="T79" fmla="*/ 67 h 232"/>
              <a:gd name="T80" fmla="*/ 91 w 114"/>
              <a:gd name="T81" fmla="*/ 56 h 232"/>
              <a:gd name="T82" fmla="*/ 94 w 114"/>
              <a:gd name="T83" fmla="*/ 45 h 232"/>
              <a:gd name="T84" fmla="*/ 107 w 114"/>
              <a:gd name="T85" fmla="*/ 34 h 232"/>
              <a:gd name="T86" fmla="*/ 113 w 114"/>
              <a:gd name="T87" fmla="*/ 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4" h="232">
                <a:moveTo>
                  <a:pt x="107" y="21"/>
                </a:moveTo>
                <a:cubicBezTo>
                  <a:pt x="106" y="21"/>
                  <a:pt x="104" y="23"/>
                  <a:pt x="103" y="21"/>
                </a:cubicBezTo>
                <a:cubicBezTo>
                  <a:pt x="102" y="19"/>
                  <a:pt x="102" y="17"/>
                  <a:pt x="103" y="16"/>
                </a:cubicBezTo>
                <a:cubicBezTo>
                  <a:pt x="104" y="14"/>
                  <a:pt x="104" y="8"/>
                  <a:pt x="101" y="9"/>
                </a:cubicBezTo>
                <a:cubicBezTo>
                  <a:pt x="99" y="10"/>
                  <a:pt x="97" y="10"/>
                  <a:pt x="96" y="8"/>
                </a:cubicBezTo>
                <a:cubicBezTo>
                  <a:pt x="96" y="7"/>
                  <a:pt x="93" y="9"/>
                  <a:pt x="91" y="9"/>
                </a:cubicBezTo>
                <a:cubicBezTo>
                  <a:pt x="91" y="9"/>
                  <a:pt x="91" y="7"/>
                  <a:pt x="89" y="8"/>
                </a:cubicBezTo>
                <a:cubicBezTo>
                  <a:pt x="89" y="9"/>
                  <a:pt x="88" y="9"/>
                  <a:pt x="87" y="9"/>
                </a:cubicBezTo>
                <a:cubicBezTo>
                  <a:pt x="86" y="8"/>
                  <a:pt x="85" y="6"/>
                  <a:pt x="84" y="7"/>
                </a:cubicBezTo>
                <a:cubicBezTo>
                  <a:pt x="83" y="8"/>
                  <a:pt x="83" y="9"/>
                  <a:pt x="83" y="10"/>
                </a:cubicBezTo>
                <a:cubicBezTo>
                  <a:pt x="83" y="12"/>
                  <a:pt x="82" y="12"/>
                  <a:pt x="80" y="13"/>
                </a:cubicBezTo>
                <a:cubicBezTo>
                  <a:pt x="79" y="13"/>
                  <a:pt x="77" y="14"/>
                  <a:pt x="75" y="14"/>
                </a:cubicBezTo>
                <a:cubicBezTo>
                  <a:pt x="74" y="15"/>
                  <a:pt x="74" y="12"/>
                  <a:pt x="73" y="13"/>
                </a:cubicBezTo>
                <a:cubicBezTo>
                  <a:pt x="72" y="13"/>
                  <a:pt x="70" y="14"/>
                  <a:pt x="69" y="14"/>
                </a:cubicBezTo>
                <a:cubicBezTo>
                  <a:pt x="72" y="9"/>
                  <a:pt x="63" y="12"/>
                  <a:pt x="62" y="12"/>
                </a:cubicBezTo>
                <a:cubicBezTo>
                  <a:pt x="61" y="13"/>
                  <a:pt x="60" y="10"/>
                  <a:pt x="61" y="10"/>
                </a:cubicBezTo>
                <a:cubicBezTo>
                  <a:pt x="57" y="11"/>
                  <a:pt x="56" y="16"/>
                  <a:pt x="52" y="15"/>
                </a:cubicBezTo>
                <a:cubicBezTo>
                  <a:pt x="52" y="13"/>
                  <a:pt x="51" y="13"/>
                  <a:pt x="51" y="11"/>
                </a:cubicBezTo>
                <a:cubicBezTo>
                  <a:pt x="50" y="9"/>
                  <a:pt x="52" y="8"/>
                  <a:pt x="53" y="7"/>
                </a:cubicBezTo>
                <a:cubicBezTo>
                  <a:pt x="54" y="6"/>
                  <a:pt x="56" y="5"/>
                  <a:pt x="54" y="4"/>
                </a:cubicBezTo>
                <a:cubicBezTo>
                  <a:pt x="54" y="4"/>
                  <a:pt x="52" y="3"/>
                  <a:pt x="52" y="3"/>
                </a:cubicBezTo>
                <a:cubicBezTo>
                  <a:pt x="51" y="2"/>
                  <a:pt x="52" y="1"/>
                  <a:pt x="52" y="0"/>
                </a:cubicBezTo>
                <a:cubicBezTo>
                  <a:pt x="49" y="1"/>
                  <a:pt x="47" y="3"/>
                  <a:pt x="45" y="3"/>
                </a:cubicBezTo>
                <a:cubicBezTo>
                  <a:pt x="41" y="3"/>
                  <a:pt x="38" y="4"/>
                  <a:pt x="35" y="7"/>
                </a:cubicBezTo>
                <a:cubicBezTo>
                  <a:pt x="33" y="9"/>
                  <a:pt x="30" y="12"/>
                  <a:pt x="29" y="15"/>
                </a:cubicBezTo>
                <a:cubicBezTo>
                  <a:pt x="29" y="17"/>
                  <a:pt x="28" y="19"/>
                  <a:pt x="30" y="20"/>
                </a:cubicBezTo>
                <a:cubicBezTo>
                  <a:pt x="30" y="21"/>
                  <a:pt x="32" y="20"/>
                  <a:pt x="33" y="20"/>
                </a:cubicBezTo>
                <a:cubicBezTo>
                  <a:pt x="31" y="21"/>
                  <a:pt x="30" y="20"/>
                  <a:pt x="30" y="23"/>
                </a:cubicBezTo>
                <a:cubicBezTo>
                  <a:pt x="30" y="26"/>
                  <a:pt x="31" y="28"/>
                  <a:pt x="31" y="31"/>
                </a:cubicBezTo>
                <a:cubicBezTo>
                  <a:pt x="31" y="33"/>
                  <a:pt x="31" y="45"/>
                  <a:pt x="34" y="45"/>
                </a:cubicBezTo>
                <a:cubicBezTo>
                  <a:pt x="33" y="46"/>
                  <a:pt x="33" y="48"/>
                  <a:pt x="34" y="49"/>
                </a:cubicBezTo>
                <a:cubicBezTo>
                  <a:pt x="34" y="52"/>
                  <a:pt x="34" y="54"/>
                  <a:pt x="33" y="56"/>
                </a:cubicBezTo>
                <a:cubicBezTo>
                  <a:pt x="32" y="59"/>
                  <a:pt x="30" y="63"/>
                  <a:pt x="30" y="67"/>
                </a:cubicBezTo>
                <a:cubicBezTo>
                  <a:pt x="32" y="65"/>
                  <a:pt x="33" y="60"/>
                  <a:pt x="33" y="58"/>
                </a:cubicBezTo>
                <a:cubicBezTo>
                  <a:pt x="33" y="58"/>
                  <a:pt x="33" y="59"/>
                  <a:pt x="33" y="60"/>
                </a:cubicBezTo>
                <a:cubicBezTo>
                  <a:pt x="34" y="58"/>
                  <a:pt x="33" y="61"/>
                  <a:pt x="33" y="62"/>
                </a:cubicBezTo>
                <a:cubicBezTo>
                  <a:pt x="32" y="63"/>
                  <a:pt x="33" y="64"/>
                  <a:pt x="34" y="63"/>
                </a:cubicBezTo>
                <a:cubicBezTo>
                  <a:pt x="33" y="65"/>
                  <a:pt x="31" y="65"/>
                  <a:pt x="31" y="67"/>
                </a:cubicBezTo>
                <a:cubicBezTo>
                  <a:pt x="29" y="65"/>
                  <a:pt x="27" y="74"/>
                  <a:pt x="27" y="76"/>
                </a:cubicBezTo>
                <a:cubicBezTo>
                  <a:pt x="26" y="79"/>
                  <a:pt x="22" y="87"/>
                  <a:pt x="24" y="90"/>
                </a:cubicBezTo>
                <a:cubicBezTo>
                  <a:pt x="25" y="91"/>
                  <a:pt x="21" y="98"/>
                  <a:pt x="21" y="100"/>
                </a:cubicBezTo>
                <a:cubicBezTo>
                  <a:pt x="19" y="104"/>
                  <a:pt x="19" y="104"/>
                  <a:pt x="18" y="107"/>
                </a:cubicBezTo>
                <a:cubicBezTo>
                  <a:pt x="17" y="111"/>
                  <a:pt x="15" y="116"/>
                  <a:pt x="13" y="118"/>
                </a:cubicBezTo>
                <a:cubicBezTo>
                  <a:pt x="12" y="119"/>
                  <a:pt x="11" y="120"/>
                  <a:pt x="11" y="121"/>
                </a:cubicBezTo>
                <a:cubicBezTo>
                  <a:pt x="11" y="122"/>
                  <a:pt x="12" y="123"/>
                  <a:pt x="11" y="124"/>
                </a:cubicBezTo>
                <a:cubicBezTo>
                  <a:pt x="12" y="123"/>
                  <a:pt x="10" y="122"/>
                  <a:pt x="9" y="123"/>
                </a:cubicBezTo>
                <a:cubicBezTo>
                  <a:pt x="8" y="124"/>
                  <a:pt x="6" y="124"/>
                  <a:pt x="5" y="125"/>
                </a:cubicBezTo>
                <a:cubicBezTo>
                  <a:pt x="9" y="127"/>
                  <a:pt x="5" y="134"/>
                  <a:pt x="4" y="137"/>
                </a:cubicBezTo>
                <a:cubicBezTo>
                  <a:pt x="3" y="140"/>
                  <a:pt x="3" y="143"/>
                  <a:pt x="2" y="145"/>
                </a:cubicBezTo>
                <a:cubicBezTo>
                  <a:pt x="2" y="148"/>
                  <a:pt x="0" y="150"/>
                  <a:pt x="0" y="153"/>
                </a:cubicBezTo>
                <a:cubicBezTo>
                  <a:pt x="0" y="157"/>
                  <a:pt x="8" y="156"/>
                  <a:pt x="10" y="155"/>
                </a:cubicBezTo>
                <a:cubicBezTo>
                  <a:pt x="14" y="154"/>
                  <a:pt x="13" y="147"/>
                  <a:pt x="17" y="144"/>
                </a:cubicBezTo>
                <a:cubicBezTo>
                  <a:pt x="16" y="147"/>
                  <a:pt x="17" y="148"/>
                  <a:pt x="18" y="150"/>
                </a:cubicBezTo>
                <a:cubicBezTo>
                  <a:pt x="19" y="153"/>
                  <a:pt x="13" y="153"/>
                  <a:pt x="14" y="155"/>
                </a:cubicBezTo>
                <a:cubicBezTo>
                  <a:pt x="15" y="156"/>
                  <a:pt x="16" y="154"/>
                  <a:pt x="16" y="156"/>
                </a:cubicBezTo>
                <a:cubicBezTo>
                  <a:pt x="16" y="156"/>
                  <a:pt x="13" y="156"/>
                  <a:pt x="13" y="157"/>
                </a:cubicBezTo>
                <a:cubicBezTo>
                  <a:pt x="13" y="157"/>
                  <a:pt x="14" y="158"/>
                  <a:pt x="14" y="159"/>
                </a:cubicBezTo>
                <a:cubicBezTo>
                  <a:pt x="13" y="158"/>
                  <a:pt x="12" y="158"/>
                  <a:pt x="11" y="157"/>
                </a:cubicBezTo>
                <a:cubicBezTo>
                  <a:pt x="12" y="157"/>
                  <a:pt x="12" y="157"/>
                  <a:pt x="12" y="157"/>
                </a:cubicBezTo>
                <a:cubicBezTo>
                  <a:pt x="10" y="155"/>
                  <a:pt x="6" y="155"/>
                  <a:pt x="8" y="159"/>
                </a:cubicBezTo>
                <a:cubicBezTo>
                  <a:pt x="9" y="160"/>
                  <a:pt x="9" y="162"/>
                  <a:pt x="9" y="164"/>
                </a:cubicBezTo>
                <a:cubicBezTo>
                  <a:pt x="9" y="164"/>
                  <a:pt x="8" y="167"/>
                  <a:pt x="8" y="168"/>
                </a:cubicBezTo>
                <a:cubicBezTo>
                  <a:pt x="9" y="169"/>
                  <a:pt x="16" y="165"/>
                  <a:pt x="17" y="164"/>
                </a:cubicBezTo>
                <a:cubicBezTo>
                  <a:pt x="18" y="163"/>
                  <a:pt x="19" y="163"/>
                  <a:pt x="20" y="164"/>
                </a:cubicBezTo>
                <a:cubicBezTo>
                  <a:pt x="21" y="165"/>
                  <a:pt x="23" y="166"/>
                  <a:pt x="23" y="164"/>
                </a:cubicBezTo>
                <a:cubicBezTo>
                  <a:pt x="23" y="164"/>
                  <a:pt x="22" y="163"/>
                  <a:pt x="22" y="163"/>
                </a:cubicBezTo>
                <a:cubicBezTo>
                  <a:pt x="23" y="163"/>
                  <a:pt x="23" y="162"/>
                  <a:pt x="24" y="161"/>
                </a:cubicBezTo>
                <a:cubicBezTo>
                  <a:pt x="24" y="162"/>
                  <a:pt x="23" y="163"/>
                  <a:pt x="24" y="163"/>
                </a:cubicBezTo>
                <a:cubicBezTo>
                  <a:pt x="22" y="165"/>
                  <a:pt x="24" y="168"/>
                  <a:pt x="27" y="168"/>
                </a:cubicBezTo>
                <a:cubicBezTo>
                  <a:pt x="25" y="168"/>
                  <a:pt x="23" y="168"/>
                  <a:pt x="21" y="167"/>
                </a:cubicBezTo>
                <a:cubicBezTo>
                  <a:pt x="21" y="167"/>
                  <a:pt x="21" y="168"/>
                  <a:pt x="21" y="169"/>
                </a:cubicBezTo>
                <a:cubicBezTo>
                  <a:pt x="21" y="167"/>
                  <a:pt x="20" y="165"/>
                  <a:pt x="18" y="164"/>
                </a:cubicBezTo>
                <a:cubicBezTo>
                  <a:pt x="20" y="169"/>
                  <a:pt x="22" y="172"/>
                  <a:pt x="21" y="177"/>
                </a:cubicBezTo>
                <a:cubicBezTo>
                  <a:pt x="21" y="179"/>
                  <a:pt x="20" y="181"/>
                  <a:pt x="20" y="184"/>
                </a:cubicBezTo>
                <a:cubicBezTo>
                  <a:pt x="19" y="185"/>
                  <a:pt x="18" y="187"/>
                  <a:pt x="18" y="188"/>
                </a:cubicBezTo>
                <a:cubicBezTo>
                  <a:pt x="17" y="189"/>
                  <a:pt x="20" y="190"/>
                  <a:pt x="20" y="193"/>
                </a:cubicBezTo>
                <a:cubicBezTo>
                  <a:pt x="20" y="194"/>
                  <a:pt x="18" y="199"/>
                  <a:pt x="20" y="199"/>
                </a:cubicBezTo>
                <a:cubicBezTo>
                  <a:pt x="18" y="200"/>
                  <a:pt x="19" y="204"/>
                  <a:pt x="19" y="206"/>
                </a:cubicBezTo>
                <a:cubicBezTo>
                  <a:pt x="19" y="210"/>
                  <a:pt x="18" y="213"/>
                  <a:pt x="17" y="216"/>
                </a:cubicBezTo>
                <a:cubicBezTo>
                  <a:pt x="16" y="218"/>
                  <a:pt x="15" y="221"/>
                  <a:pt x="14" y="224"/>
                </a:cubicBezTo>
                <a:cubicBezTo>
                  <a:pt x="13" y="227"/>
                  <a:pt x="11" y="228"/>
                  <a:pt x="13" y="232"/>
                </a:cubicBezTo>
                <a:cubicBezTo>
                  <a:pt x="16" y="229"/>
                  <a:pt x="19" y="230"/>
                  <a:pt x="22" y="228"/>
                </a:cubicBezTo>
                <a:cubicBezTo>
                  <a:pt x="23" y="227"/>
                  <a:pt x="23" y="226"/>
                  <a:pt x="24" y="226"/>
                </a:cubicBezTo>
                <a:cubicBezTo>
                  <a:pt x="25" y="226"/>
                  <a:pt x="26" y="227"/>
                  <a:pt x="27" y="225"/>
                </a:cubicBezTo>
                <a:cubicBezTo>
                  <a:pt x="25" y="228"/>
                  <a:pt x="39" y="228"/>
                  <a:pt x="41" y="229"/>
                </a:cubicBezTo>
                <a:cubicBezTo>
                  <a:pt x="44" y="231"/>
                  <a:pt x="47" y="231"/>
                  <a:pt x="50" y="230"/>
                </a:cubicBezTo>
                <a:cubicBezTo>
                  <a:pt x="49" y="232"/>
                  <a:pt x="52" y="230"/>
                  <a:pt x="52" y="229"/>
                </a:cubicBezTo>
                <a:cubicBezTo>
                  <a:pt x="53" y="229"/>
                  <a:pt x="55" y="227"/>
                  <a:pt x="56" y="226"/>
                </a:cubicBezTo>
                <a:cubicBezTo>
                  <a:pt x="58" y="225"/>
                  <a:pt x="60" y="223"/>
                  <a:pt x="63" y="224"/>
                </a:cubicBezTo>
                <a:cubicBezTo>
                  <a:pt x="61" y="220"/>
                  <a:pt x="62" y="215"/>
                  <a:pt x="62" y="211"/>
                </a:cubicBezTo>
                <a:cubicBezTo>
                  <a:pt x="62" y="210"/>
                  <a:pt x="61" y="208"/>
                  <a:pt x="60" y="207"/>
                </a:cubicBezTo>
                <a:cubicBezTo>
                  <a:pt x="60" y="205"/>
                  <a:pt x="62" y="203"/>
                  <a:pt x="62" y="202"/>
                </a:cubicBezTo>
                <a:cubicBezTo>
                  <a:pt x="64" y="198"/>
                  <a:pt x="67" y="196"/>
                  <a:pt x="69" y="192"/>
                </a:cubicBezTo>
                <a:cubicBezTo>
                  <a:pt x="70" y="190"/>
                  <a:pt x="69" y="186"/>
                  <a:pt x="72" y="187"/>
                </a:cubicBezTo>
                <a:cubicBezTo>
                  <a:pt x="74" y="187"/>
                  <a:pt x="74" y="184"/>
                  <a:pt x="76" y="185"/>
                </a:cubicBezTo>
                <a:cubicBezTo>
                  <a:pt x="77" y="185"/>
                  <a:pt x="78" y="186"/>
                  <a:pt x="78" y="184"/>
                </a:cubicBezTo>
                <a:cubicBezTo>
                  <a:pt x="79" y="182"/>
                  <a:pt x="80" y="180"/>
                  <a:pt x="80" y="178"/>
                </a:cubicBezTo>
                <a:cubicBezTo>
                  <a:pt x="81" y="176"/>
                  <a:pt x="76" y="179"/>
                  <a:pt x="75" y="177"/>
                </a:cubicBezTo>
                <a:cubicBezTo>
                  <a:pt x="73" y="174"/>
                  <a:pt x="72" y="170"/>
                  <a:pt x="69" y="167"/>
                </a:cubicBezTo>
                <a:cubicBezTo>
                  <a:pt x="68" y="165"/>
                  <a:pt x="71" y="161"/>
                  <a:pt x="71" y="158"/>
                </a:cubicBezTo>
                <a:cubicBezTo>
                  <a:pt x="72" y="154"/>
                  <a:pt x="73" y="153"/>
                  <a:pt x="76" y="150"/>
                </a:cubicBezTo>
                <a:cubicBezTo>
                  <a:pt x="78" y="148"/>
                  <a:pt x="81" y="144"/>
                  <a:pt x="82" y="140"/>
                </a:cubicBezTo>
                <a:cubicBezTo>
                  <a:pt x="83" y="136"/>
                  <a:pt x="80" y="137"/>
                  <a:pt x="77" y="136"/>
                </a:cubicBezTo>
                <a:cubicBezTo>
                  <a:pt x="75" y="136"/>
                  <a:pt x="77" y="135"/>
                  <a:pt x="76" y="134"/>
                </a:cubicBezTo>
                <a:cubicBezTo>
                  <a:pt x="75" y="133"/>
                  <a:pt x="74" y="133"/>
                  <a:pt x="74" y="131"/>
                </a:cubicBezTo>
                <a:cubicBezTo>
                  <a:pt x="73" y="130"/>
                  <a:pt x="74" y="129"/>
                  <a:pt x="73" y="128"/>
                </a:cubicBezTo>
                <a:cubicBezTo>
                  <a:pt x="73" y="127"/>
                  <a:pt x="72" y="126"/>
                  <a:pt x="72" y="125"/>
                </a:cubicBezTo>
                <a:cubicBezTo>
                  <a:pt x="71" y="124"/>
                  <a:pt x="73" y="121"/>
                  <a:pt x="72" y="120"/>
                </a:cubicBezTo>
                <a:cubicBezTo>
                  <a:pt x="71" y="120"/>
                  <a:pt x="70" y="119"/>
                  <a:pt x="70" y="118"/>
                </a:cubicBezTo>
                <a:cubicBezTo>
                  <a:pt x="69" y="115"/>
                  <a:pt x="66" y="115"/>
                  <a:pt x="65" y="111"/>
                </a:cubicBezTo>
                <a:cubicBezTo>
                  <a:pt x="69" y="112"/>
                  <a:pt x="69" y="112"/>
                  <a:pt x="73" y="112"/>
                </a:cubicBezTo>
                <a:cubicBezTo>
                  <a:pt x="74" y="112"/>
                  <a:pt x="80" y="112"/>
                  <a:pt x="81" y="111"/>
                </a:cubicBezTo>
                <a:cubicBezTo>
                  <a:pt x="83" y="110"/>
                  <a:pt x="83" y="107"/>
                  <a:pt x="84" y="105"/>
                </a:cubicBezTo>
                <a:cubicBezTo>
                  <a:pt x="85" y="102"/>
                  <a:pt x="86" y="101"/>
                  <a:pt x="87" y="98"/>
                </a:cubicBezTo>
                <a:cubicBezTo>
                  <a:pt x="87" y="95"/>
                  <a:pt x="87" y="92"/>
                  <a:pt x="85" y="91"/>
                </a:cubicBezTo>
                <a:cubicBezTo>
                  <a:pt x="83" y="90"/>
                  <a:pt x="82" y="88"/>
                  <a:pt x="84" y="86"/>
                </a:cubicBezTo>
                <a:cubicBezTo>
                  <a:pt x="86" y="85"/>
                  <a:pt x="91" y="84"/>
                  <a:pt x="91" y="80"/>
                </a:cubicBezTo>
                <a:cubicBezTo>
                  <a:pt x="91" y="78"/>
                  <a:pt x="89" y="78"/>
                  <a:pt x="90" y="75"/>
                </a:cubicBezTo>
                <a:cubicBezTo>
                  <a:pt x="91" y="72"/>
                  <a:pt x="90" y="72"/>
                  <a:pt x="90" y="70"/>
                </a:cubicBezTo>
                <a:cubicBezTo>
                  <a:pt x="91" y="69"/>
                  <a:pt x="91" y="68"/>
                  <a:pt x="91" y="67"/>
                </a:cubicBezTo>
                <a:cubicBezTo>
                  <a:pt x="92" y="65"/>
                  <a:pt x="91" y="64"/>
                  <a:pt x="91" y="62"/>
                </a:cubicBezTo>
                <a:cubicBezTo>
                  <a:pt x="91" y="61"/>
                  <a:pt x="91" y="59"/>
                  <a:pt x="92" y="58"/>
                </a:cubicBezTo>
                <a:cubicBezTo>
                  <a:pt x="93" y="57"/>
                  <a:pt x="91" y="57"/>
                  <a:pt x="91" y="56"/>
                </a:cubicBezTo>
                <a:cubicBezTo>
                  <a:pt x="91" y="56"/>
                  <a:pt x="88" y="51"/>
                  <a:pt x="89" y="50"/>
                </a:cubicBezTo>
                <a:cubicBezTo>
                  <a:pt x="90" y="49"/>
                  <a:pt x="92" y="50"/>
                  <a:pt x="93" y="49"/>
                </a:cubicBezTo>
                <a:cubicBezTo>
                  <a:pt x="94" y="48"/>
                  <a:pt x="93" y="46"/>
                  <a:pt x="94" y="45"/>
                </a:cubicBezTo>
                <a:cubicBezTo>
                  <a:pt x="95" y="44"/>
                  <a:pt x="96" y="43"/>
                  <a:pt x="97" y="42"/>
                </a:cubicBezTo>
                <a:cubicBezTo>
                  <a:pt x="98" y="41"/>
                  <a:pt x="99" y="41"/>
                  <a:pt x="101" y="40"/>
                </a:cubicBezTo>
                <a:cubicBezTo>
                  <a:pt x="103" y="40"/>
                  <a:pt x="106" y="37"/>
                  <a:pt x="107" y="34"/>
                </a:cubicBezTo>
                <a:cubicBezTo>
                  <a:pt x="107" y="34"/>
                  <a:pt x="108" y="34"/>
                  <a:pt x="109" y="34"/>
                </a:cubicBezTo>
                <a:cubicBezTo>
                  <a:pt x="109" y="33"/>
                  <a:pt x="110" y="32"/>
                  <a:pt x="110" y="31"/>
                </a:cubicBezTo>
                <a:cubicBezTo>
                  <a:pt x="111" y="30"/>
                  <a:pt x="114" y="27"/>
                  <a:pt x="113" y="25"/>
                </a:cubicBezTo>
                <a:cubicBezTo>
                  <a:pt x="113" y="23"/>
                  <a:pt x="109" y="21"/>
                  <a:pt x="107" y="21"/>
                </a:cubicBezTo>
                <a:close/>
              </a:path>
            </a:pathLst>
          </a:custGeom>
          <a:solidFill>
            <a:schemeClr val="bg1">
              <a:lumMod val="85000"/>
            </a:schemeClr>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6">
            <a:extLst>
              <a:ext uri="{FF2B5EF4-FFF2-40B4-BE49-F238E27FC236}">
                <a16:creationId xmlns:a16="http://schemas.microsoft.com/office/drawing/2014/main" id="{FBFB2E36-9E4D-4338-AD16-56D833986B00}"/>
              </a:ext>
            </a:extLst>
          </p:cNvPr>
          <p:cNvSpPr>
            <a:spLocks/>
          </p:cNvSpPr>
          <p:nvPr/>
        </p:nvSpPr>
        <p:spPr bwMode="auto">
          <a:xfrm>
            <a:off x="1727120" y="5897586"/>
            <a:ext cx="36599" cy="45292"/>
          </a:xfrm>
          <a:custGeom>
            <a:avLst/>
            <a:gdLst>
              <a:gd name="T0" fmla="*/ 3 w 13"/>
              <a:gd name="T1" fmla="*/ 10 h 16"/>
              <a:gd name="T2" fmla="*/ 1 w 13"/>
              <a:gd name="T3" fmla="*/ 11 h 16"/>
              <a:gd name="T4" fmla="*/ 1 w 13"/>
              <a:gd name="T5" fmla="*/ 14 h 16"/>
              <a:gd name="T6" fmla="*/ 5 w 13"/>
              <a:gd name="T7" fmla="*/ 16 h 16"/>
              <a:gd name="T8" fmla="*/ 7 w 13"/>
              <a:gd name="T9" fmla="*/ 13 h 16"/>
              <a:gd name="T10" fmla="*/ 10 w 13"/>
              <a:gd name="T11" fmla="*/ 11 h 16"/>
              <a:gd name="T12" fmla="*/ 13 w 13"/>
              <a:gd name="T13" fmla="*/ 6 h 16"/>
              <a:gd name="T14" fmla="*/ 3 w 13"/>
              <a:gd name="T15" fmla="*/ 1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3" y="10"/>
                </a:moveTo>
                <a:cubicBezTo>
                  <a:pt x="2" y="10"/>
                  <a:pt x="1" y="10"/>
                  <a:pt x="1" y="11"/>
                </a:cubicBezTo>
                <a:cubicBezTo>
                  <a:pt x="0" y="12"/>
                  <a:pt x="0" y="14"/>
                  <a:pt x="1" y="14"/>
                </a:cubicBezTo>
                <a:cubicBezTo>
                  <a:pt x="3" y="15"/>
                  <a:pt x="5" y="13"/>
                  <a:pt x="5" y="16"/>
                </a:cubicBezTo>
                <a:cubicBezTo>
                  <a:pt x="7" y="16"/>
                  <a:pt x="6" y="14"/>
                  <a:pt x="7" y="13"/>
                </a:cubicBezTo>
                <a:cubicBezTo>
                  <a:pt x="8" y="12"/>
                  <a:pt x="10" y="12"/>
                  <a:pt x="10" y="11"/>
                </a:cubicBezTo>
                <a:cubicBezTo>
                  <a:pt x="11" y="8"/>
                  <a:pt x="13" y="9"/>
                  <a:pt x="13" y="6"/>
                </a:cubicBezTo>
                <a:cubicBezTo>
                  <a:pt x="13" y="0"/>
                  <a:pt x="1" y="6"/>
                  <a:pt x="3" y="10"/>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7">
            <a:extLst>
              <a:ext uri="{FF2B5EF4-FFF2-40B4-BE49-F238E27FC236}">
                <a16:creationId xmlns:a16="http://schemas.microsoft.com/office/drawing/2014/main" id="{1592F43C-9759-4A5E-9194-871FFDE5F670}"/>
              </a:ext>
            </a:extLst>
          </p:cNvPr>
          <p:cNvSpPr>
            <a:spLocks/>
          </p:cNvSpPr>
          <p:nvPr/>
        </p:nvSpPr>
        <p:spPr bwMode="auto">
          <a:xfrm>
            <a:off x="1962061" y="5790315"/>
            <a:ext cx="47224" cy="34565"/>
          </a:xfrm>
          <a:custGeom>
            <a:avLst/>
            <a:gdLst>
              <a:gd name="T0" fmla="*/ 17 w 17"/>
              <a:gd name="T1" fmla="*/ 9 h 12"/>
              <a:gd name="T2" fmla="*/ 16 w 17"/>
              <a:gd name="T3" fmla="*/ 6 h 12"/>
              <a:gd name="T4" fmla="*/ 15 w 17"/>
              <a:gd name="T5" fmla="*/ 4 h 12"/>
              <a:gd name="T6" fmla="*/ 13 w 17"/>
              <a:gd name="T7" fmla="*/ 3 h 12"/>
              <a:gd name="T8" fmla="*/ 11 w 17"/>
              <a:gd name="T9" fmla="*/ 2 h 12"/>
              <a:gd name="T10" fmla="*/ 11 w 17"/>
              <a:gd name="T11" fmla="*/ 1 h 12"/>
              <a:gd name="T12" fmla="*/ 10 w 17"/>
              <a:gd name="T13" fmla="*/ 0 h 12"/>
              <a:gd name="T14" fmla="*/ 7 w 17"/>
              <a:gd name="T15" fmla="*/ 1 h 12"/>
              <a:gd name="T16" fmla="*/ 3 w 17"/>
              <a:gd name="T17" fmla="*/ 1 h 12"/>
              <a:gd name="T18" fmla="*/ 0 w 17"/>
              <a:gd name="T19" fmla="*/ 3 h 12"/>
              <a:gd name="T20" fmla="*/ 1 w 17"/>
              <a:gd name="T21" fmla="*/ 4 h 12"/>
              <a:gd name="T22" fmla="*/ 5 w 17"/>
              <a:gd name="T23" fmla="*/ 7 h 12"/>
              <a:gd name="T24" fmla="*/ 15 w 17"/>
              <a:gd name="T25" fmla="*/ 12 h 12"/>
              <a:gd name="T26" fmla="*/ 16 w 17"/>
              <a:gd name="T27" fmla="*/ 8 h 12"/>
              <a:gd name="T28" fmla="*/ 17 w 17"/>
              <a:gd name="T2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2">
                <a:moveTo>
                  <a:pt x="17" y="9"/>
                </a:moveTo>
                <a:cubicBezTo>
                  <a:pt x="16" y="8"/>
                  <a:pt x="16" y="7"/>
                  <a:pt x="16" y="6"/>
                </a:cubicBezTo>
                <a:cubicBezTo>
                  <a:pt x="16" y="6"/>
                  <a:pt x="15" y="3"/>
                  <a:pt x="15" y="4"/>
                </a:cubicBezTo>
                <a:cubicBezTo>
                  <a:pt x="14" y="3"/>
                  <a:pt x="14" y="4"/>
                  <a:pt x="13" y="3"/>
                </a:cubicBezTo>
                <a:cubicBezTo>
                  <a:pt x="13" y="2"/>
                  <a:pt x="12" y="0"/>
                  <a:pt x="11" y="2"/>
                </a:cubicBezTo>
                <a:cubicBezTo>
                  <a:pt x="11" y="2"/>
                  <a:pt x="11" y="1"/>
                  <a:pt x="11" y="1"/>
                </a:cubicBezTo>
                <a:cubicBezTo>
                  <a:pt x="10" y="2"/>
                  <a:pt x="11" y="0"/>
                  <a:pt x="10" y="0"/>
                </a:cubicBezTo>
                <a:cubicBezTo>
                  <a:pt x="10" y="0"/>
                  <a:pt x="8" y="1"/>
                  <a:pt x="7" y="1"/>
                </a:cubicBezTo>
                <a:cubicBezTo>
                  <a:pt x="6" y="1"/>
                  <a:pt x="5" y="1"/>
                  <a:pt x="3" y="1"/>
                </a:cubicBezTo>
                <a:cubicBezTo>
                  <a:pt x="2" y="1"/>
                  <a:pt x="0" y="1"/>
                  <a:pt x="0" y="3"/>
                </a:cubicBezTo>
                <a:cubicBezTo>
                  <a:pt x="0" y="4"/>
                  <a:pt x="1" y="3"/>
                  <a:pt x="1" y="4"/>
                </a:cubicBezTo>
                <a:cubicBezTo>
                  <a:pt x="2" y="7"/>
                  <a:pt x="1" y="7"/>
                  <a:pt x="5" y="7"/>
                </a:cubicBezTo>
                <a:cubicBezTo>
                  <a:pt x="8" y="7"/>
                  <a:pt x="12" y="10"/>
                  <a:pt x="15" y="12"/>
                </a:cubicBezTo>
                <a:cubicBezTo>
                  <a:pt x="17" y="12"/>
                  <a:pt x="17" y="9"/>
                  <a:pt x="16" y="8"/>
                </a:cubicBezTo>
                <a:cubicBezTo>
                  <a:pt x="16" y="9"/>
                  <a:pt x="17" y="9"/>
                  <a:pt x="17" y="9"/>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8">
            <a:extLst>
              <a:ext uri="{FF2B5EF4-FFF2-40B4-BE49-F238E27FC236}">
                <a16:creationId xmlns:a16="http://schemas.microsoft.com/office/drawing/2014/main" id="{9D53567E-C219-4F4B-8F9A-CFCC504F6F4B}"/>
              </a:ext>
            </a:extLst>
          </p:cNvPr>
          <p:cNvSpPr>
            <a:spLocks/>
          </p:cNvSpPr>
          <p:nvPr/>
        </p:nvSpPr>
        <p:spPr bwMode="auto">
          <a:xfrm>
            <a:off x="1825111" y="5804618"/>
            <a:ext cx="120422" cy="88200"/>
          </a:xfrm>
          <a:custGeom>
            <a:avLst/>
            <a:gdLst>
              <a:gd name="T0" fmla="*/ 36 w 43"/>
              <a:gd name="T1" fmla="*/ 9 h 31"/>
              <a:gd name="T2" fmla="*/ 29 w 43"/>
              <a:gd name="T3" fmla="*/ 8 h 31"/>
              <a:gd name="T4" fmla="*/ 28 w 43"/>
              <a:gd name="T5" fmla="*/ 5 h 31"/>
              <a:gd name="T6" fmla="*/ 30 w 43"/>
              <a:gd name="T7" fmla="*/ 3 h 31"/>
              <a:gd name="T8" fmla="*/ 27 w 43"/>
              <a:gd name="T9" fmla="*/ 3 h 31"/>
              <a:gd name="T10" fmla="*/ 31 w 43"/>
              <a:gd name="T11" fmla="*/ 0 h 31"/>
              <a:gd name="T12" fmla="*/ 26 w 43"/>
              <a:gd name="T13" fmla="*/ 2 h 31"/>
              <a:gd name="T14" fmla="*/ 21 w 43"/>
              <a:gd name="T15" fmla="*/ 3 h 31"/>
              <a:gd name="T16" fmla="*/ 11 w 43"/>
              <a:gd name="T17" fmla="*/ 11 h 31"/>
              <a:gd name="T18" fmla="*/ 3 w 43"/>
              <a:gd name="T19" fmla="*/ 19 h 31"/>
              <a:gd name="T20" fmla="*/ 6 w 43"/>
              <a:gd name="T21" fmla="*/ 20 h 31"/>
              <a:gd name="T22" fmla="*/ 8 w 43"/>
              <a:gd name="T23" fmla="*/ 22 h 31"/>
              <a:gd name="T24" fmla="*/ 15 w 43"/>
              <a:gd name="T25" fmla="*/ 21 h 31"/>
              <a:gd name="T26" fmla="*/ 18 w 43"/>
              <a:gd name="T27" fmla="*/ 27 h 31"/>
              <a:gd name="T28" fmla="*/ 23 w 43"/>
              <a:gd name="T29" fmla="*/ 29 h 31"/>
              <a:gd name="T30" fmla="*/ 25 w 43"/>
              <a:gd name="T31" fmla="*/ 31 h 31"/>
              <a:gd name="T32" fmla="*/ 32 w 43"/>
              <a:gd name="T33" fmla="*/ 25 h 31"/>
              <a:gd name="T34" fmla="*/ 36 w 43"/>
              <a:gd name="T3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31">
                <a:moveTo>
                  <a:pt x="36" y="9"/>
                </a:moveTo>
                <a:cubicBezTo>
                  <a:pt x="34" y="7"/>
                  <a:pt x="32" y="12"/>
                  <a:pt x="29" y="8"/>
                </a:cubicBezTo>
                <a:cubicBezTo>
                  <a:pt x="28" y="8"/>
                  <a:pt x="27" y="6"/>
                  <a:pt x="28" y="5"/>
                </a:cubicBezTo>
                <a:cubicBezTo>
                  <a:pt x="30" y="5"/>
                  <a:pt x="30" y="5"/>
                  <a:pt x="30" y="3"/>
                </a:cubicBezTo>
                <a:cubicBezTo>
                  <a:pt x="30" y="4"/>
                  <a:pt x="27" y="5"/>
                  <a:pt x="27" y="3"/>
                </a:cubicBezTo>
                <a:cubicBezTo>
                  <a:pt x="27" y="2"/>
                  <a:pt x="30" y="2"/>
                  <a:pt x="31" y="0"/>
                </a:cubicBezTo>
                <a:cubicBezTo>
                  <a:pt x="29" y="0"/>
                  <a:pt x="28" y="1"/>
                  <a:pt x="26" y="2"/>
                </a:cubicBezTo>
                <a:cubicBezTo>
                  <a:pt x="24" y="2"/>
                  <a:pt x="23" y="2"/>
                  <a:pt x="21" y="3"/>
                </a:cubicBezTo>
                <a:cubicBezTo>
                  <a:pt x="17" y="5"/>
                  <a:pt x="14" y="7"/>
                  <a:pt x="11" y="11"/>
                </a:cubicBezTo>
                <a:cubicBezTo>
                  <a:pt x="10" y="11"/>
                  <a:pt x="0" y="17"/>
                  <a:pt x="3" y="19"/>
                </a:cubicBezTo>
                <a:cubicBezTo>
                  <a:pt x="4" y="20"/>
                  <a:pt x="6" y="19"/>
                  <a:pt x="6" y="20"/>
                </a:cubicBezTo>
                <a:cubicBezTo>
                  <a:pt x="6" y="21"/>
                  <a:pt x="7" y="24"/>
                  <a:pt x="8" y="22"/>
                </a:cubicBezTo>
                <a:cubicBezTo>
                  <a:pt x="9" y="21"/>
                  <a:pt x="14" y="15"/>
                  <a:pt x="15" y="21"/>
                </a:cubicBezTo>
                <a:cubicBezTo>
                  <a:pt x="16" y="24"/>
                  <a:pt x="15" y="27"/>
                  <a:pt x="18" y="27"/>
                </a:cubicBezTo>
                <a:cubicBezTo>
                  <a:pt x="20" y="27"/>
                  <a:pt x="21" y="27"/>
                  <a:pt x="23" y="29"/>
                </a:cubicBezTo>
                <a:cubicBezTo>
                  <a:pt x="23" y="29"/>
                  <a:pt x="24" y="31"/>
                  <a:pt x="25" y="31"/>
                </a:cubicBezTo>
                <a:cubicBezTo>
                  <a:pt x="29" y="30"/>
                  <a:pt x="30" y="26"/>
                  <a:pt x="32" y="25"/>
                </a:cubicBezTo>
                <a:cubicBezTo>
                  <a:pt x="32" y="19"/>
                  <a:pt x="43" y="13"/>
                  <a:pt x="36" y="9"/>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9">
            <a:extLst>
              <a:ext uri="{FF2B5EF4-FFF2-40B4-BE49-F238E27FC236}">
                <a16:creationId xmlns:a16="http://schemas.microsoft.com/office/drawing/2014/main" id="{A58FE734-03B8-4ACC-AFC6-A6AF15DC300A}"/>
              </a:ext>
            </a:extLst>
          </p:cNvPr>
          <p:cNvSpPr>
            <a:spLocks/>
          </p:cNvSpPr>
          <p:nvPr/>
        </p:nvSpPr>
        <p:spPr bwMode="auto">
          <a:xfrm>
            <a:off x="825136" y="5317134"/>
            <a:ext cx="1103869" cy="992847"/>
          </a:xfrm>
          <a:custGeom>
            <a:avLst/>
            <a:gdLst>
              <a:gd name="T0" fmla="*/ 375 w 395"/>
              <a:gd name="T1" fmla="*/ 66 h 352"/>
              <a:gd name="T2" fmla="*/ 350 w 395"/>
              <a:gd name="T3" fmla="*/ 61 h 352"/>
              <a:gd name="T4" fmla="*/ 326 w 395"/>
              <a:gd name="T5" fmla="*/ 48 h 352"/>
              <a:gd name="T6" fmla="*/ 299 w 395"/>
              <a:gd name="T7" fmla="*/ 50 h 352"/>
              <a:gd name="T8" fmla="*/ 271 w 395"/>
              <a:gd name="T9" fmla="*/ 43 h 352"/>
              <a:gd name="T10" fmla="*/ 252 w 395"/>
              <a:gd name="T11" fmla="*/ 32 h 352"/>
              <a:gd name="T12" fmla="*/ 234 w 395"/>
              <a:gd name="T13" fmla="*/ 21 h 352"/>
              <a:gd name="T14" fmla="*/ 198 w 395"/>
              <a:gd name="T15" fmla="*/ 19 h 352"/>
              <a:gd name="T16" fmla="*/ 185 w 395"/>
              <a:gd name="T17" fmla="*/ 17 h 352"/>
              <a:gd name="T18" fmla="*/ 168 w 395"/>
              <a:gd name="T19" fmla="*/ 17 h 352"/>
              <a:gd name="T20" fmla="*/ 129 w 395"/>
              <a:gd name="T21" fmla="*/ 15 h 352"/>
              <a:gd name="T22" fmla="*/ 106 w 395"/>
              <a:gd name="T23" fmla="*/ 11 h 352"/>
              <a:gd name="T24" fmla="*/ 71 w 395"/>
              <a:gd name="T25" fmla="*/ 12 h 352"/>
              <a:gd name="T26" fmla="*/ 46 w 395"/>
              <a:gd name="T27" fmla="*/ 7 h 352"/>
              <a:gd name="T28" fmla="*/ 32 w 395"/>
              <a:gd name="T29" fmla="*/ 16 h 352"/>
              <a:gd name="T30" fmla="*/ 32 w 395"/>
              <a:gd name="T31" fmla="*/ 19 h 352"/>
              <a:gd name="T32" fmla="*/ 15 w 395"/>
              <a:gd name="T33" fmla="*/ 22 h 352"/>
              <a:gd name="T34" fmla="*/ 5 w 395"/>
              <a:gd name="T35" fmla="*/ 31 h 352"/>
              <a:gd name="T36" fmla="*/ 5 w 395"/>
              <a:gd name="T37" fmla="*/ 42 h 352"/>
              <a:gd name="T38" fmla="*/ 11 w 395"/>
              <a:gd name="T39" fmla="*/ 47 h 352"/>
              <a:gd name="T40" fmla="*/ 10 w 395"/>
              <a:gd name="T41" fmla="*/ 54 h 352"/>
              <a:gd name="T42" fmla="*/ 12 w 395"/>
              <a:gd name="T43" fmla="*/ 61 h 352"/>
              <a:gd name="T44" fmla="*/ 12 w 395"/>
              <a:gd name="T45" fmla="*/ 69 h 352"/>
              <a:gd name="T46" fmla="*/ 20 w 395"/>
              <a:gd name="T47" fmla="*/ 66 h 352"/>
              <a:gd name="T48" fmla="*/ 10 w 395"/>
              <a:gd name="T49" fmla="*/ 81 h 352"/>
              <a:gd name="T50" fmla="*/ 32 w 395"/>
              <a:gd name="T51" fmla="*/ 75 h 352"/>
              <a:gd name="T52" fmla="*/ 38 w 395"/>
              <a:gd name="T53" fmla="*/ 87 h 352"/>
              <a:gd name="T54" fmla="*/ 54 w 395"/>
              <a:gd name="T55" fmla="*/ 88 h 352"/>
              <a:gd name="T56" fmla="*/ 69 w 395"/>
              <a:gd name="T57" fmla="*/ 83 h 352"/>
              <a:gd name="T58" fmla="*/ 83 w 395"/>
              <a:gd name="T59" fmla="*/ 91 h 352"/>
              <a:gd name="T60" fmla="*/ 85 w 395"/>
              <a:gd name="T61" fmla="*/ 113 h 352"/>
              <a:gd name="T62" fmla="*/ 71 w 395"/>
              <a:gd name="T63" fmla="*/ 137 h 352"/>
              <a:gd name="T64" fmla="*/ 65 w 395"/>
              <a:gd name="T65" fmla="*/ 166 h 352"/>
              <a:gd name="T66" fmla="*/ 45 w 395"/>
              <a:gd name="T67" fmla="*/ 186 h 352"/>
              <a:gd name="T68" fmla="*/ 57 w 395"/>
              <a:gd name="T69" fmla="*/ 211 h 352"/>
              <a:gd name="T70" fmla="*/ 50 w 395"/>
              <a:gd name="T71" fmla="*/ 238 h 352"/>
              <a:gd name="T72" fmla="*/ 58 w 395"/>
              <a:gd name="T73" fmla="*/ 259 h 352"/>
              <a:gd name="T74" fmla="*/ 42 w 395"/>
              <a:gd name="T75" fmla="*/ 278 h 352"/>
              <a:gd name="T76" fmla="*/ 51 w 395"/>
              <a:gd name="T77" fmla="*/ 296 h 352"/>
              <a:gd name="T78" fmla="*/ 62 w 395"/>
              <a:gd name="T79" fmla="*/ 301 h 352"/>
              <a:gd name="T80" fmla="*/ 74 w 395"/>
              <a:gd name="T81" fmla="*/ 323 h 352"/>
              <a:gd name="T82" fmla="*/ 80 w 395"/>
              <a:gd name="T83" fmla="*/ 335 h 352"/>
              <a:gd name="T84" fmla="*/ 97 w 395"/>
              <a:gd name="T85" fmla="*/ 350 h 352"/>
              <a:gd name="T86" fmla="*/ 130 w 395"/>
              <a:gd name="T87" fmla="*/ 329 h 352"/>
              <a:gd name="T88" fmla="*/ 153 w 395"/>
              <a:gd name="T89" fmla="*/ 319 h 352"/>
              <a:gd name="T90" fmla="*/ 189 w 395"/>
              <a:gd name="T91" fmla="*/ 320 h 352"/>
              <a:gd name="T92" fmla="*/ 206 w 395"/>
              <a:gd name="T93" fmla="*/ 314 h 352"/>
              <a:gd name="T94" fmla="*/ 223 w 395"/>
              <a:gd name="T95" fmla="*/ 295 h 352"/>
              <a:gd name="T96" fmla="*/ 247 w 395"/>
              <a:gd name="T97" fmla="*/ 282 h 352"/>
              <a:gd name="T98" fmla="*/ 259 w 395"/>
              <a:gd name="T99" fmla="*/ 272 h 352"/>
              <a:gd name="T100" fmla="*/ 263 w 395"/>
              <a:gd name="T101" fmla="*/ 256 h 352"/>
              <a:gd name="T102" fmla="*/ 283 w 395"/>
              <a:gd name="T103" fmla="*/ 234 h 352"/>
              <a:gd name="T104" fmla="*/ 279 w 395"/>
              <a:gd name="T105" fmla="*/ 186 h 352"/>
              <a:gd name="T106" fmla="*/ 311 w 395"/>
              <a:gd name="T107" fmla="*/ 143 h 352"/>
              <a:gd name="T108" fmla="*/ 312 w 395"/>
              <a:gd name="T109" fmla="*/ 137 h 352"/>
              <a:gd name="T110" fmla="*/ 347 w 395"/>
              <a:gd name="T111" fmla="*/ 116 h 352"/>
              <a:gd name="T112" fmla="*/ 384 w 395"/>
              <a:gd name="T113" fmla="*/ 91 h 352"/>
              <a:gd name="T114" fmla="*/ 395 w 395"/>
              <a:gd name="T115" fmla="*/ 6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5" h="352">
                <a:moveTo>
                  <a:pt x="390" y="62"/>
                </a:moveTo>
                <a:cubicBezTo>
                  <a:pt x="389" y="62"/>
                  <a:pt x="388" y="62"/>
                  <a:pt x="386" y="61"/>
                </a:cubicBezTo>
                <a:cubicBezTo>
                  <a:pt x="384" y="60"/>
                  <a:pt x="383" y="60"/>
                  <a:pt x="381" y="61"/>
                </a:cubicBezTo>
                <a:cubicBezTo>
                  <a:pt x="379" y="62"/>
                  <a:pt x="378" y="62"/>
                  <a:pt x="376" y="63"/>
                </a:cubicBezTo>
                <a:cubicBezTo>
                  <a:pt x="375" y="63"/>
                  <a:pt x="373" y="64"/>
                  <a:pt x="375" y="66"/>
                </a:cubicBezTo>
                <a:cubicBezTo>
                  <a:pt x="374" y="66"/>
                  <a:pt x="370" y="67"/>
                  <a:pt x="369" y="66"/>
                </a:cubicBezTo>
                <a:cubicBezTo>
                  <a:pt x="367" y="65"/>
                  <a:pt x="366" y="64"/>
                  <a:pt x="363" y="63"/>
                </a:cubicBezTo>
                <a:cubicBezTo>
                  <a:pt x="361" y="62"/>
                  <a:pt x="358" y="62"/>
                  <a:pt x="357" y="64"/>
                </a:cubicBezTo>
                <a:cubicBezTo>
                  <a:pt x="356" y="65"/>
                  <a:pt x="355" y="67"/>
                  <a:pt x="353" y="65"/>
                </a:cubicBezTo>
                <a:cubicBezTo>
                  <a:pt x="352" y="64"/>
                  <a:pt x="352" y="62"/>
                  <a:pt x="350" y="61"/>
                </a:cubicBezTo>
                <a:cubicBezTo>
                  <a:pt x="349" y="61"/>
                  <a:pt x="347" y="60"/>
                  <a:pt x="345" y="59"/>
                </a:cubicBezTo>
                <a:cubicBezTo>
                  <a:pt x="343" y="58"/>
                  <a:pt x="338" y="65"/>
                  <a:pt x="336" y="61"/>
                </a:cubicBezTo>
                <a:cubicBezTo>
                  <a:pt x="335" y="60"/>
                  <a:pt x="336" y="59"/>
                  <a:pt x="336" y="57"/>
                </a:cubicBezTo>
                <a:cubicBezTo>
                  <a:pt x="335" y="56"/>
                  <a:pt x="336" y="54"/>
                  <a:pt x="335" y="52"/>
                </a:cubicBezTo>
                <a:cubicBezTo>
                  <a:pt x="333" y="47"/>
                  <a:pt x="328" y="52"/>
                  <a:pt x="326" y="48"/>
                </a:cubicBezTo>
                <a:cubicBezTo>
                  <a:pt x="325" y="46"/>
                  <a:pt x="323" y="47"/>
                  <a:pt x="322" y="46"/>
                </a:cubicBezTo>
                <a:cubicBezTo>
                  <a:pt x="320" y="46"/>
                  <a:pt x="318" y="44"/>
                  <a:pt x="316" y="44"/>
                </a:cubicBezTo>
                <a:cubicBezTo>
                  <a:pt x="310" y="42"/>
                  <a:pt x="313" y="47"/>
                  <a:pt x="312" y="51"/>
                </a:cubicBezTo>
                <a:cubicBezTo>
                  <a:pt x="309" y="50"/>
                  <a:pt x="306" y="51"/>
                  <a:pt x="303" y="50"/>
                </a:cubicBezTo>
                <a:cubicBezTo>
                  <a:pt x="301" y="49"/>
                  <a:pt x="301" y="53"/>
                  <a:pt x="299" y="50"/>
                </a:cubicBezTo>
                <a:cubicBezTo>
                  <a:pt x="296" y="47"/>
                  <a:pt x="294" y="51"/>
                  <a:pt x="291" y="51"/>
                </a:cubicBezTo>
                <a:cubicBezTo>
                  <a:pt x="289" y="51"/>
                  <a:pt x="286" y="48"/>
                  <a:pt x="286" y="46"/>
                </a:cubicBezTo>
                <a:cubicBezTo>
                  <a:pt x="284" y="48"/>
                  <a:pt x="282" y="43"/>
                  <a:pt x="281" y="45"/>
                </a:cubicBezTo>
                <a:cubicBezTo>
                  <a:pt x="279" y="46"/>
                  <a:pt x="275" y="45"/>
                  <a:pt x="275" y="46"/>
                </a:cubicBezTo>
                <a:cubicBezTo>
                  <a:pt x="274" y="48"/>
                  <a:pt x="272" y="44"/>
                  <a:pt x="271" y="43"/>
                </a:cubicBezTo>
                <a:cubicBezTo>
                  <a:pt x="271" y="43"/>
                  <a:pt x="270" y="43"/>
                  <a:pt x="269" y="42"/>
                </a:cubicBezTo>
                <a:cubicBezTo>
                  <a:pt x="269" y="41"/>
                  <a:pt x="269" y="40"/>
                  <a:pt x="268" y="39"/>
                </a:cubicBezTo>
                <a:cubicBezTo>
                  <a:pt x="267" y="38"/>
                  <a:pt x="264" y="39"/>
                  <a:pt x="262" y="39"/>
                </a:cubicBezTo>
                <a:cubicBezTo>
                  <a:pt x="261" y="38"/>
                  <a:pt x="259" y="37"/>
                  <a:pt x="257" y="36"/>
                </a:cubicBezTo>
                <a:cubicBezTo>
                  <a:pt x="256" y="36"/>
                  <a:pt x="249" y="33"/>
                  <a:pt x="252" y="32"/>
                </a:cubicBezTo>
                <a:cubicBezTo>
                  <a:pt x="249" y="31"/>
                  <a:pt x="250" y="35"/>
                  <a:pt x="248" y="35"/>
                </a:cubicBezTo>
                <a:cubicBezTo>
                  <a:pt x="244" y="36"/>
                  <a:pt x="247" y="31"/>
                  <a:pt x="248" y="29"/>
                </a:cubicBezTo>
                <a:cubicBezTo>
                  <a:pt x="250" y="26"/>
                  <a:pt x="246" y="23"/>
                  <a:pt x="243" y="24"/>
                </a:cubicBezTo>
                <a:cubicBezTo>
                  <a:pt x="241" y="26"/>
                  <a:pt x="241" y="22"/>
                  <a:pt x="238" y="23"/>
                </a:cubicBezTo>
                <a:cubicBezTo>
                  <a:pt x="238" y="20"/>
                  <a:pt x="236" y="19"/>
                  <a:pt x="234" y="21"/>
                </a:cubicBezTo>
                <a:cubicBezTo>
                  <a:pt x="231" y="23"/>
                  <a:pt x="228" y="23"/>
                  <a:pt x="225" y="24"/>
                </a:cubicBezTo>
                <a:cubicBezTo>
                  <a:pt x="221" y="24"/>
                  <a:pt x="218" y="23"/>
                  <a:pt x="215" y="21"/>
                </a:cubicBezTo>
                <a:cubicBezTo>
                  <a:pt x="213" y="21"/>
                  <a:pt x="209" y="17"/>
                  <a:pt x="208" y="20"/>
                </a:cubicBezTo>
                <a:cubicBezTo>
                  <a:pt x="208" y="16"/>
                  <a:pt x="204" y="17"/>
                  <a:pt x="202" y="17"/>
                </a:cubicBezTo>
                <a:cubicBezTo>
                  <a:pt x="200" y="18"/>
                  <a:pt x="199" y="18"/>
                  <a:pt x="198" y="19"/>
                </a:cubicBezTo>
                <a:cubicBezTo>
                  <a:pt x="198" y="19"/>
                  <a:pt x="197" y="22"/>
                  <a:pt x="198" y="22"/>
                </a:cubicBezTo>
                <a:cubicBezTo>
                  <a:pt x="196" y="23"/>
                  <a:pt x="192" y="20"/>
                  <a:pt x="191" y="19"/>
                </a:cubicBezTo>
                <a:cubicBezTo>
                  <a:pt x="189" y="18"/>
                  <a:pt x="185" y="19"/>
                  <a:pt x="184" y="18"/>
                </a:cubicBezTo>
                <a:cubicBezTo>
                  <a:pt x="184" y="18"/>
                  <a:pt x="184" y="19"/>
                  <a:pt x="184" y="19"/>
                </a:cubicBezTo>
                <a:cubicBezTo>
                  <a:pt x="183" y="15"/>
                  <a:pt x="185" y="19"/>
                  <a:pt x="185" y="17"/>
                </a:cubicBezTo>
                <a:cubicBezTo>
                  <a:pt x="185" y="16"/>
                  <a:pt x="181" y="14"/>
                  <a:pt x="181" y="14"/>
                </a:cubicBezTo>
                <a:cubicBezTo>
                  <a:pt x="180" y="14"/>
                  <a:pt x="179" y="15"/>
                  <a:pt x="177" y="15"/>
                </a:cubicBezTo>
                <a:cubicBezTo>
                  <a:pt x="176" y="16"/>
                  <a:pt x="174" y="19"/>
                  <a:pt x="173" y="19"/>
                </a:cubicBezTo>
                <a:cubicBezTo>
                  <a:pt x="173" y="17"/>
                  <a:pt x="173" y="16"/>
                  <a:pt x="174" y="16"/>
                </a:cubicBezTo>
                <a:cubicBezTo>
                  <a:pt x="173" y="13"/>
                  <a:pt x="169" y="17"/>
                  <a:pt x="168" y="17"/>
                </a:cubicBezTo>
                <a:cubicBezTo>
                  <a:pt x="167" y="17"/>
                  <a:pt x="166" y="17"/>
                  <a:pt x="166" y="19"/>
                </a:cubicBezTo>
                <a:cubicBezTo>
                  <a:pt x="166" y="16"/>
                  <a:pt x="155" y="20"/>
                  <a:pt x="155" y="20"/>
                </a:cubicBezTo>
                <a:cubicBezTo>
                  <a:pt x="154" y="18"/>
                  <a:pt x="150" y="19"/>
                  <a:pt x="148" y="19"/>
                </a:cubicBezTo>
                <a:cubicBezTo>
                  <a:pt x="145" y="19"/>
                  <a:pt x="142" y="17"/>
                  <a:pt x="138" y="16"/>
                </a:cubicBezTo>
                <a:cubicBezTo>
                  <a:pt x="135" y="16"/>
                  <a:pt x="131" y="16"/>
                  <a:pt x="129" y="15"/>
                </a:cubicBezTo>
                <a:cubicBezTo>
                  <a:pt x="127" y="14"/>
                  <a:pt x="127" y="13"/>
                  <a:pt x="125" y="13"/>
                </a:cubicBezTo>
                <a:cubicBezTo>
                  <a:pt x="124" y="13"/>
                  <a:pt x="124" y="14"/>
                  <a:pt x="123" y="15"/>
                </a:cubicBezTo>
                <a:cubicBezTo>
                  <a:pt x="126" y="12"/>
                  <a:pt x="118" y="12"/>
                  <a:pt x="117" y="12"/>
                </a:cubicBezTo>
                <a:cubicBezTo>
                  <a:pt x="115" y="12"/>
                  <a:pt x="114" y="11"/>
                  <a:pt x="112" y="9"/>
                </a:cubicBezTo>
                <a:cubicBezTo>
                  <a:pt x="110" y="7"/>
                  <a:pt x="108" y="10"/>
                  <a:pt x="106" y="11"/>
                </a:cubicBezTo>
                <a:cubicBezTo>
                  <a:pt x="104" y="11"/>
                  <a:pt x="103" y="12"/>
                  <a:pt x="101" y="12"/>
                </a:cubicBezTo>
                <a:cubicBezTo>
                  <a:pt x="100" y="11"/>
                  <a:pt x="98" y="11"/>
                  <a:pt x="97" y="11"/>
                </a:cubicBezTo>
                <a:cubicBezTo>
                  <a:pt x="94" y="11"/>
                  <a:pt x="91" y="12"/>
                  <a:pt x="87" y="12"/>
                </a:cubicBezTo>
                <a:cubicBezTo>
                  <a:pt x="83" y="12"/>
                  <a:pt x="74" y="9"/>
                  <a:pt x="72" y="15"/>
                </a:cubicBezTo>
                <a:cubicBezTo>
                  <a:pt x="72" y="14"/>
                  <a:pt x="73" y="12"/>
                  <a:pt x="71" y="12"/>
                </a:cubicBezTo>
                <a:cubicBezTo>
                  <a:pt x="70" y="12"/>
                  <a:pt x="67" y="11"/>
                  <a:pt x="65" y="12"/>
                </a:cubicBezTo>
                <a:cubicBezTo>
                  <a:pt x="67" y="9"/>
                  <a:pt x="56" y="0"/>
                  <a:pt x="56" y="7"/>
                </a:cubicBezTo>
                <a:cubicBezTo>
                  <a:pt x="55" y="5"/>
                  <a:pt x="55" y="3"/>
                  <a:pt x="53" y="4"/>
                </a:cubicBezTo>
                <a:cubicBezTo>
                  <a:pt x="53" y="3"/>
                  <a:pt x="54" y="2"/>
                  <a:pt x="53" y="2"/>
                </a:cubicBezTo>
                <a:cubicBezTo>
                  <a:pt x="52" y="3"/>
                  <a:pt x="47" y="7"/>
                  <a:pt x="46" y="7"/>
                </a:cubicBezTo>
                <a:cubicBezTo>
                  <a:pt x="47" y="6"/>
                  <a:pt x="48" y="4"/>
                  <a:pt x="47" y="2"/>
                </a:cubicBezTo>
                <a:cubicBezTo>
                  <a:pt x="45" y="3"/>
                  <a:pt x="40" y="6"/>
                  <a:pt x="41" y="8"/>
                </a:cubicBezTo>
                <a:cubicBezTo>
                  <a:pt x="40" y="6"/>
                  <a:pt x="38" y="9"/>
                  <a:pt x="36" y="10"/>
                </a:cubicBezTo>
                <a:cubicBezTo>
                  <a:pt x="35" y="11"/>
                  <a:pt x="33" y="11"/>
                  <a:pt x="33" y="12"/>
                </a:cubicBezTo>
                <a:cubicBezTo>
                  <a:pt x="32" y="12"/>
                  <a:pt x="32" y="16"/>
                  <a:pt x="32" y="16"/>
                </a:cubicBezTo>
                <a:cubicBezTo>
                  <a:pt x="33" y="16"/>
                  <a:pt x="36" y="15"/>
                  <a:pt x="37" y="14"/>
                </a:cubicBezTo>
                <a:cubicBezTo>
                  <a:pt x="37" y="17"/>
                  <a:pt x="34" y="16"/>
                  <a:pt x="32" y="17"/>
                </a:cubicBezTo>
                <a:cubicBezTo>
                  <a:pt x="34" y="18"/>
                  <a:pt x="36" y="19"/>
                  <a:pt x="38" y="18"/>
                </a:cubicBezTo>
                <a:cubicBezTo>
                  <a:pt x="36" y="19"/>
                  <a:pt x="35" y="19"/>
                  <a:pt x="35" y="22"/>
                </a:cubicBezTo>
                <a:cubicBezTo>
                  <a:pt x="34" y="21"/>
                  <a:pt x="33" y="19"/>
                  <a:pt x="32" y="19"/>
                </a:cubicBezTo>
                <a:cubicBezTo>
                  <a:pt x="30" y="19"/>
                  <a:pt x="32" y="21"/>
                  <a:pt x="30" y="21"/>
                </a:cubicBezTo>
                <a:cubicBezTo>
                  <a:pt x="29" y="21"/>
                  <a:pt x="30" y="20"/>
                  <a:pt x="29" y="20"/>
                </a:cubicBezTo>
                <a:cubicBezTo>
                  <a:pt x="27" y="20"/>
                  <a:pt x="26" y="23"/>
                  <a:pt x="24" y="23"/>
                </a:cubicBezTo>
                <a:cubicBezTo>
                  <a:pt x="22" y="23"/>
                  <a:pt x="21" y="24"/>
                  <a:pt x="19" y="24"/>
                </a:cubicBezTo>
                <a:cubicBezTo>
                  <a:pt x="18" y="24"/>
                  <a:pt x="17" y="21"/>
                  <a:pt x="15" y="22"/>
                </a:cubicBezTo>
                <a:cubicBezTo>
                  <a:pt x="14" y="22"/>
                  <a:pt x="13" y="24"/>
                  <a:pt x="12" y="24"/>
                </a:cubicBezTo>
                <a:cubicBezTo>
                  <a:pt x="11" y="24"/>
                  <a:pt x="12" y="26"/>
                  <a:pt x="13" y="26"/>
                </a:cubicBezTo>
                <a:cubicBezTo>
                  <a:pt x="12" y="27"/>
                  <a:pt x="11" y="27"/>
                  <a:pt x="10" y="27"/>
                </a:cubicBezTo>
                <a:cubicBezTo>
                  <a:pt x="9" y="28"/>
                  <a:pt x="8" y="28"/>
                  <a:pt x="7" y="28"/>
                </a:cubicBezTo>
                <a:cubicBezTo>
                  <a:pt x="5" y="28"/>
                  <a:pt x="3" y="32"/>
                  <a:pt x="5" y="31"/>
                </a:cubicBezTo>
                <a:cubicBezTo>
                  <a:pt x="5" y="33"/>
                  <a:pt x="1" y="33"/>
                  <a:pt x="0" y="35"/>
                </a:cubicBezTo>
                <a:cubicBezTo>
                  <a:pt x="0" y="36"/>
                  <a:pt x="2" y="37"/>
                  <a:pt x="1" y="39"/>
                </a:cubicBezTo>
                <a:cubicBezTo>
                  <a:pt x="0" y="40"/>
                  <a:pt x="0" y="41"/>
                  <a:pt x="0" y="42"/>
                </a:cubicBezTo>
                <a:cubicBezTo>
                  <a:pt x="1" y="41"/>
                  <a:pt x="3" y="40"/>
                  <a:pt x="3" y="39"/>
                </a:cubicBezTo>
                <a:cubicBezTo>
                  <a:pt x="4" y="40"/>
                  <a:pt x="4" y="41"/>
                  <a:pt x="5" y="42"/>
                </a:cubicBezTo>
                <a:cubicBezTo>
                  <a:pt x="5" y="43"/>
                  <a:pt x="5" y="44"/>
                  <a:pt x="6" y="45"/>
                </a:cubicBezTo>
                <a:cubicBezTo>
                  <a:pt x="6" y="46"/>
                  <a:pt x="3" y="47"/>
                  <a:pt x="6" y="48"/>
                </a:cubicBezTo>
                <a:cubicBezTo>
                  <a:pt x="7" y="48"/>
                  <a:pt x="7" y="46"/>
                  <a:pt x="8" y="46"/>
                </a:cubicBezTo>
                <a:cubicBezTo>
                  <a:pt x="10" y="47"/>
                  <a:pt x="11" y="45"/>
                  <a:pt x="13" y="45"/>
                </a:cubicBezTo>
                <a:cubicBezTo>
                  <a:pt x="12" y="45"/>
                  <a:pt x="12" y="46"/>
                  <a:pt x="11" y="47"/>
                </a:cubicBezTo>
                <a:cubicBezTo>
                  <a:pt x="11" y="47"/>
                  <a:pt x="10" y="48"/>
                  <a:pt x="9" y="48"/>
                </a:cubicBezTo>
                <a:cubicBezTo>
                  <a:pt x="8" y="50"/>
                  <a:pt x="7" y="51"/>
                  <a:pt x="6" y="54"/>
                </a:cubicBezTo>
                <a:cubicBezTo>
                  <a:pt x="5" y="57"/>
                  <a:pt x="6" y="54"/>
                  <a:pt x="7" y="56"/>
                </a:cubicBezTo>
                <a:cubicBezTo>
                  <a:pt x="7" y="56"/>
                  <a:pt x="6" y="58"/>
                  <a:pt x="7" y="58"/>
                </a:cubicBezTo>
                <a:cubicBezTo>
                  <a:pt x="7" y="59"/>
                  <a:pt x="10" y="55"/>
                  <a:pt x="10" y="54"/>
                </a:cubicBezTo>
                <a:cubicBezTo>
                  <a:pt x="11" y="52"/>
                  <a:pt x="12" y="55"/>
                  <a:pt x="12" y="54"/>
                </a:cubicBezTo>
                <a:cubicBezTo>
                  <a:pt x="13" y="54"/>
                  <a:pt x="13" y="52"/>
                  <a:pt x="13" y="51"/>
                </a:cubicBezTo>
                <a:cubicBezTo>
                  <a:pt x="15" y="54"/>
                  <a:pt x="16" y="52"/>
                  <a:pt x="17" y="50"/>
                </a:cubicBezTo>
                <a:cubicBezTo>
                  <a:pt x="17" y="52"/>
                  <a:pt x="11" y="58"/>
                  <a:pt x="14" y="59"/>
                </a:cubicBezTo>
                <a:cubicBezTo>
                  <a:pt x="13" y="60"/>
                  <a:pt x="13" y="61"/>
                  <a:pt x="12" y="61"/>
                </a:cubicBezTo>
                <a:cubicBezTo>
                  <a:pt x="13" y="58"/>
                  <a:pt x="9" y="59"/>
                  <a:pt x="9" y="61"/>
                </a:cubicBezTo>
                <a:cubicBezTo>
                  <a:pt x="9" y="60"/>
                  <a:pt x="13" y="64"/>
                  <a:pt x="12" y="64"/>
                </a:cubicBezTo>
                <a:cubicBezTo>
                  <a:pt x="14" y="64"/>
                  <a:pt x="17" y="61"/>
                  <a:pt x="18" y="63"/>
                </a:cubicBezTo>
                <a:cubicBezTo>
                  <a:pt x="17" y="64"/>
                  <a:pt x="15" y="67"/>
                  <a:pt x="14" y="66"/>
                </a:cubicBezTo>
                <a:cubicBezTo>
                  <a:pt x="12" y="66"/>
                  <a:pt x="13" y="67"/>
                  <a:pt x="12" y="69"/>
                </a:cubicBezTo>
                <a:cubicBezTo>
                  <a:pt x="12" y="69"/>
                  <a:pt x="12" y="68"/>
                  <a:pt x="12" y="68"/>
                </a:cubicBezTo>
                <a:cubicBezTo>
                  <a:pt x="11" y="69"/>
                  <a:pt x="11" y="69"/>
                  <a:pt x="11" y="70"/>
                </a:cubicBezTo>
                <a:cubicBezTo>
                  <a:pt x="12" y="70"/>
                  <a:pt x="13" y="71"/>
                  <a:pt x="14" y="70"/>
                </a:cubicBezTo>
                <a:cubicBezTo>
                  <a:pt x="15" y="70"/>
                  <a:pt x="16" y="69"/>
                  <a:pt x="17" y="69"/>
                </a:cubicBezTo>
                <a:cubicBezTo>
                  <a:pt x="18" y="68"/>
                  <a:pt x="19" y="65"/>
                  <a:pt x="20" y="66"/>
                </a:cubicBezTo>
                <a:cubicBezTo>
                  <a:pt x="19" y="66"/>
                  <a:pt x="19" y="68"/>
                  <a:pt x="18" y="69"/>
                </a:cubicBezTo>
                <a:cubicBezTo>
                  <a:pt x="18" y="69"/>
                  <a:pt x="17" y="70"/>
                  <a:pt x="16" y="71"/>
                </a:cubicBezTo>
                <a:cubicBezTo>
                  <a:pt x="15" y="72"/>
                  <a:pt x="13" y="74"/>
                  <a:pt x="11" y="75"/>
                </a:cubicBezTo>
                <a:cubicBezTo>
                  <a:pt x="13" y="76"/>
                  <a:pt x="11" y="76"/>
                  <a:pt x="10" y="76"/>
                </a:cubicBezTo>
                <a:cubicBezTo>
                  <a:pt x="9" y="77"/>
                  <a:pt x="10" y="80"/>
                  <a:pt x="10" y="81"/>
                </a:cubicBezTo>
                <a:cubicBezTo>
                  <a:pt x="10" y="82"/>
                  <a:pt x="8" y="86"/>
                  <a:pt x="10" y="87"/>
                </a:cubicBezTo>
                <a:cubicBezTo>
                  <a:pt x="10" y="87"/>
                  <a:pt x="13" y="85"/>
                  <a:pt x="13" y="84"/>
                </a:cubicBezTo>
                <a:cubicBezTo>
                  <a:pt x="16" y="81"/>
                  <a:pt x="18" y="79"/>
                  <a:pt x="22" y="78"/>
                </a:cubicBezTo>
                <a:cubicBezTo>
                  <a:pt x="24" y="78"/>
                  <a:pt x="26" y="79"/>
                  <a:pt x="27" y="78"/>
                </a:cubicBezTo>
                <a:cubicBezTo>
                  <a:pt x="29" y="77"/>
                  <a:pt x="30" y="76"/>
                  <a:pt x="32" y="75"/>
                </a:cubicBezTo>
                <a:cubicBezTo>
                  <a:pt x="32" y="76"/>
                  <a:pt x="31" y="78"/>
                  <a:pt x="33" y="78"/>
                </a:cubicBezTo>
                <a:cubicBezTo>
                  <a:pt x="35" y="77"/>
                  <a:pt x="35" y="80"/>
                  <a:pt x="34" y="81"/>
                </a:cubicBezTo>
                <a:cubicBezTo>
                  <a:pt x="33" y="82"/>
                  <a:pt x="30" y="85"/>
                  <a:pt x="31" y="87"/>
                </a:cubicBezTo>
                <a:cubicBezTo>
                  <a:pt x="31" y="88"/>
                  <a:pt x="32" y="88"/>
                  <a:pt x="32" y="90"/>
                </a:cubicBezTo>
                <a:cubicBezTo>
                  <a:pt x="34" y="90"/>
                  <a:pt x="36" y="89"/>
                  <a:pt x="38" y="87"/>
                </a:cubicBezTo>
                <a:cubicBezTo>
                  <a:pt x="39" y="87"/>
                  <a:pt x="40" y="85"/>
                  <a:pt x="41" y="85"/>
                </a:cubicBezTo>
                <a:cubicBezTo>
                  <a:pt x="41" y="85"/>
                  <a:pt x="41" y="87"/>
                  <a:pt x="41" y="88"/>
                </a:cubicBezTo>
                <a:cubicBezTo>
                  <a:pt x="41" y="88"/>
                  <a:pt x="43" y="86"/>
                  <a:pt x="44" y="86"/>
                </a:cubicBezTo>
                <a:cubicBezTo>
                  <a:pt x="45" y="86"/>
                  <a:pt x="51" y="86"/>
                  <a:pt x="49" y="89"/>
                </a:cubicBezTo>
                <a:cubicBezTo>
                  <a:pt x="51" y="89"/>
                  <a:pt x="53" y="87"/>
                  <a:pt x="54" y="88"/>
                </a:cubicBezTo>
                <a:cubicBezTo>
                  <a:pt x="55" y="90"/>
                  <a:pt x="55" y="89"/>
                  <a:pt x="57" y="89"/>
                </a:cubicBezTo>
                <a:cubicBezTo>
                  <a:pt x="59" y="88"/>
                  <a:pt x="61" y="88"/>
                  <a:pt x="63" y="86"/>
                </a:cubicBezTo>
                <a:cubicBezTo>
                  <a:pt x="64" y="85"/>
                  <a:pt x="63" y="81"/>
                  <a:pt x="65" y="82"/>
                </a:cubicBezTo>
                <a:cubicBezTo>
                  <a:pt x="66" y="82"/>
                  <a:pt x="66" y="84"/>
                  <a:pt x="67" y="84"/>
                </a:cubicBezTo>
                <a:cubicBezTo>
                  <a:pt x="68" y="84"/>
                  <a:pt x="69" y="83"/>
                  <a:pt x="69" y="83"/>
                </a:cubicBezTo>
                <a:cubicBezTo>
                  <a:pt x="71" y="83"/>
                  <a:pt x="73" y="85"/>
                  <a:pt x="75" y="83"/>
                </a:cubicBezTo>
                <a:cubicBezTo>
                  <a:pt x="76" y="81"/>
                  <a:pt x="77" y="84"/>
                  <a:pt x="79" y="84"/>
                </a:cubicBezTo>
                <a:cubicBezTo>
                  <a:pt x="80" y="85"/>
                  <a:pt x="81" y="84"/>
                  <a:pt x="82" y="84"/>
                </a:cubicBezTo>
                <a:cubicBezTo>
                  <a:pt x="84" y="83"/>
                  <a:pt x="82" y="85"/>
                  <a:pt x="83" y="86"/>
                </a:cubicBezTo>
                <a:cubicBezTo>
                  <a:pt x="84" y="88"/>
                  <a:pt x="83" y="90"/>
                  <a:pt x="83" y="91"/>
                </a:cubicBezTo>
                <a:cubicBezTo>
                  <a:pt x="80" y="98"/>
                  <a:pt x="86" y="95"/>
                  <a:pt x="89" y="97"/>
                </a:cubicBezTo>
                <a:cubicBezTo>
                  <a:pt x="92" y="97"/>
                  <a:pt x="94" y="100"/>
                  <a:pt x="92" y="102"/>
                </a:cubicBezTo>
                <a:cubicBezTo>
                  <a:pt x="91" y="104"/>
                  <a:pt x="90" y="108"/>
                  <a:pt x="88" y="109"/>
                </a:cubicBezTo>
                <a:cubicBezTo>
                  <a:pt x="87" y="110"/>
                  <a:pt x="87" y="108"/>
                  <a:pt x="87" y="110"/>
                </a:cubicBezTo>
                <a:cubicBezTo>
                  <a:pt x="87" y="111"/>
                  <a:pt x="85" y="112"/>
                  <a:pt x="85" y="113"/>
                </a:cubicBezTo>
                <a:cubicBezTo>
                  <a:pt x="83" y="115"/>
                  <a:pt x="82" y="115"/>
                  <a:pt x="79" y="115"/>
                </a:cubicBezTo>
                <a:cubicBezTo>
                  <a:pt x="75" y="116"/>
                  <a:pt x="75" y="123"/>
                  <a:pt x="71" y="125"/>
                </a:cubicBezTo>
                <a:cubicBezTo>
                  <a:pt x="71" y="125"/>
                  <a:pt x="68" y="125"/>
                  <a:pt x="68" y="126"/>
                </a:cubicBezTo>
                <a:cubicBezTo>
                  <a:pt x="69" y="127"/>
                  <a:pt x="71" y="129"/>
                  <a:pt x="71" y="131"/>
                </a:cubicBezTo>
                <a:cubicBezTo>
                  <a:pt x="72" y="133"/>
                  <a:pt x="71" y="135"/>
                  <a:pt x="71" y="137"/>
                </a:cubicBezTo>
                <a:cubicBezTo>
                  <a:pt x="71" y="140"/>
                  <a:pt x="72" y="142"/>
                  <a:pt x="70" y="144"/>
                </a:cubicBezTo>
                <a:cubicBezTo>
                  <a:pt x="69" y="147"/>
                  <a:pt x="72" y="148"/>
                  <a:pt x="70" y="150"/>
                </a:cubicBezTo>
                <a:cubicBezTo>
                  <a:pt x="69" y="152"/>
                  <a:pt x="70" y="153"/>
                  <a:pt x="71" y="155"/>
                </a:cubicBezTo>
                <a:cubicBezTo>
                  <a:pt x="72" y="158"/>
                  <a:pt x="65" y="160"/>
                  <a:pt x="64" y="162"/>
                </a:cubicBezTo>
                <a:cubicBezTo>
                  <a:pt x="62" y="164"/>
                  <a:pt x="64" y="165"/>
                  <a:pt x="65" y="166"/>
                </a:cubicBezTo>
                <a:cubicBezTo>
                  <a:pt x="67" y="168"/>
                  <a:pt x="67" y="170"/>
                  <a:pt x="67" y="172"/>
                </a:cubicBezTo>
                <a:cubicBezTo>
                  <a:pt x="67" y="175"/>
                  <a:pt x="65" y="178"/>
                  <a:pt x="64" y="179"/>
                </a:cubicBezTo>
                <a:cubicBezTo>
                  <a:pt x="62" y="181"/>
                  <a:pt x="63" y="185"/>
                  <a:pt x="62" y="186"/>
                </a:cubicBezTo>
                <a:cubicBezTo>
                  <a:pt x="60" y="187"/>
                  <a:pt x="56" y="186"/>
                  <a:pt x="53" y="187"/>
                </a:cubicBezTo>
                <a:cubicBezTo>
                  <a:pt x="51" y="187"/>
                  <a:pt x="48" y="187"/>
                  <a:pt x="45" y="186"/>
                </a:cubicBezTo>
                <a:cubicBezTo>
                  <a:pt x="46" y="190"/>
                  <a:pt x="49" y="194"/>
                  <a:pt x="52" y="195"/>
                </a:cubicBezTo>
                <a:cubicBezTo>
                  <a:pt x="53" y="195"/>
                  <a:pt x="51" y="198"/>
                  <a:pt x="52" y="200"/>
                </a:cubicBezTo>
                <a:cubicBezTo>
                  <a:pt x="52" y="201"/>
                  <a:pt x="53" y="202"/>
                  <a:pt x="53" y="204"/>
                </a:cubicBezTo>
                <a:cubicBezTo>
                  <a:pt x="54" y="206"/>
                  <a:pt x="53" y="207"/>
                  <a:pt x="55" y="208"/>
                </a:cubicBezTo>
                <a:cubicBezTo>
                  <a:pt x="56" y="209"/>
                  <a:pt x="57" y="209"/>
                  <a:pt x="57" y="211"/>
                </a:cubicBezTo>
                <a:cubicBezTo>
                  <a:pt x="57" y="212"/>
                  <a:pt x="61" y="211"/>
                  <a:pt x="62" y="214"/>
                </a:cubicBezTo>
                <a:cubicBezTo>
                  <a:pt x="62" y="216"/>
                  <a:pt x="61" y="218"/>
                  <a:pt x="60" y="219"/>
                </a:cubicBezTo>
                <a:cubicBezTo>
                  <a:pt x="59" y="220"/>
                  <a:pt x="59" y="222"/>
                  <a:pt x="58" y="223"/>
                </a:cubicBezTo>
                <a:cubicBezTo>
                  <a:pt x="56" y="226"/>
                  <a:pt x="52" y="227"/>
                  <a:pt x="51" y="231"/>
                </a:cubicBezTo>
                <a:cubicBezTo>
                  <a:pt x="51" y="234"/>
                  <a:pt x="51" y="236"/>
                  <a:pt x="50" y="238"/>
                </a:cubicBezTo>
                <a:cubicBezTo>
                  <a:pt x="49" y="239"/>
                  <a:pt x="49" y="241"/>
                  <a:pt x="50" y="242"/>
                </a:cubicBezTo>
                <a:cubicBezTo>
                  <a:pt x="51" y="244"/>
                  <a:pt x="52" y="246"/>
                  <a:pt x="53" y="248"/>
                </a:cubicBezTo>
                <a:cubicBezTo>
                  <a:pt x="54" y="249"/>
                  <a:pt x="54" y="252"/>
                  <a:pt x="55" y="253"/>
                </a:cubicBezTo>
                <a:cubicBezTo>
                  <a:pt x="56" y="254"/>
                  <a:pt x="61" y="251"/>
                  <a:pt x="61" y="253"/>
                </a:cubicBezTo>
                <a:cubicBezTo>
                  <a:pt x="60" y="255"/>
                  <a:pt x="59" y="257"/>
                  <a:pt x="58" y="259"/>
                </a:cubicBezTo>
                <a:cubicBezTo>
                  <a:pt x="57" y="261"/>
                  <a:pt x="56" y="260"/>
                  <a:pt x="55" y="260"/>
                </a:cubicBezTo>
                <a:cubicBezTo>
                  <a:pt x="54" y="259"/>
                  <a:pt x="54" y="262"/>
                  <a:pt x="53" y="262"/>
                </a:cubicBezTo>
                <a:cubicBezTo>
                  <a:pt x="52" y="262"/>
                  <a:pt x="50" y="261"/>
                  <a:pt x="50" y="263"/>
                </a:cubicBezTo>
                <a:cubicBezTo>
                  <a:pt x="50" y="267"/>
                  <a:pt x="47" y="270"/>
                  <a:pt x="45" y="272"/>
                </a:cubicBezTo>
                <a:cubicBezTo>
                  <a:pt x="43" y="274"/>
                  <a:pt x="44" y="276"/>
                  <a:pt x="42" y="278"/>
                </a:cubicBezTo>
                <a:cubicBezTo>
                  <a:pt x="41" y="279"/>
                  <a:pt x="40" y="281"/>
                  <a:pt x="40" y="282"/>
                </a:cubicBezTo>
                <a:cubicBezTo>
                  <a:pt x="41" y="284"/>
                  <a:pt x="42" y="285"/>
                  <a:pt x="42" y="288"/>
                </a:cubicBezTo>
                <a:cubicBezTo>
                  <a:pt x="42" y="289"/>
                  <a:pt x="42" y="291"/>
                  <a:pt x="42" y="293"/>
                </a:cubicBezTo>
                <a:cubicBezTo>
                  <a:pt x="42" y="294"/>
                  <a:pt x="43" y="301"/>
                  <a:pt x="45" y="298"/>
                </a:cubicBezTo>
                <a:cubicBezTo>
                  <a:pt x="46" y="296"/>
                  <a:pt x="51" y="298"/>
                  <a:pt x="51" y="296"/>
                </a:cubicBezTo>
                <a:cubicBezTo>
                  <a:pt x="52" y="297"/>
                  <a:pt x="55" y="298"/>
                  <a:pt x="57" y="298"/>
                </a:cubicBezTo>
                <a:cubicBezTo>
                  <a:pt x="57" y="297"/>
                  <a:pt x="57" y="295"/>
                  <a:pt x="57" y="294"/>
                </a:cubicBezTo>
                <a:cubicBezTo>
                  <a:pt x="58" y="297"/>
                  <a:pt x="58" y="297"/>
                  <a:pt x="60" y="294"/>
                </a:cubicBezTo>
                <a:cubicBezTo>
                  <a:pt x="60" y="296"/>
                  <a:pt x="57" y="297"/>
                  <a:pt x="59" y="299"/>
                </a:cubicBezTo>
                <a:cubicBezTo>
                  <a:pt x="59" y="300"/>
                  <a:pt x="61" y="300"/>
                  <a:pt x="62" y="301"/>
                </a:cubicBezTo>
                <a:cubicBezTo>
                  <a:pt x="65" y="303"/>
                  <a:pt x="70" y="305"/>
                  <a:pt x="72" y="309"/>
                </a:cubicBezTo>
                <a:cubicBezTo>
                  <a:pt x="72" y="309"/>
                  <a:pt x="75" y="317"/>
                  <a:pt x="76" y="315"/>
                </a:cubicBezTo>
                <a:cubicBezTo>
                  <a:pt x="76" y="314"/>
                  <a:pt x="77" y="308"/>
                  <a:pt x="80" y="311"/>
                </a:cubicBezTo>
                <a:cubicBezTo>
                  <a:pt x="76" y="309"/>
                  <a:pt x="77" y="315"/>
                  <a:pt x="75" y="316"/>
                </a:cubicBezTo>
                <a:cubicBezTo>
                  <a:pt x="74" y="319"/>
                  <a:pt x="72" y="319"/>
                  <a:pt x="74" y="323"/>
                </a:cubicBezTo>
                <a:cubicBezTo>
                  <a:pt x="75" y="324"/>
                  <a:pt x="79" y="324"/>
                  <a:pt x="79" y="327"/>
                </a:cubicBezTo>
                <a:cubicBezTo>
                  <a:pt x="79" y="329"/>
                  <a:pt x="79" y="328"/>
                  <a:pt x="81" y="328"/>
                </a:cubicBezTo>
                <a:cubicBezTo>
                  <a:pt x="81" y="328"/>
                  <a:pt x="80" y="331"/>
                  <a:pt x="78" y="330"/>
                </a:cubicBezTo>
                <a:cubicBezTo>
                  <a:pt x="78" y="330"/>
                  <a:pt x="78" y="327"/>
                  <a:pt x="77" y="328"/>
                </a:cubicBezTo>
                <a:cubicBezTo>
                  <a:pt x="79" y="330"/>
                  <a:pt x="79" y="333"/>
                  <a:pt x="80" y="335"/>
                </a:cubicBezTo>
                <a:cubicBezTo>
                  <a:pt x="81" y="336"/>
                  <a:pt x="81" y="337"/>
                  <a:pt x="81" y="338"/>
                </a:cubicBezTo>
                <a:cubicBezTo>
                  <a:pt x="82" y="339"/>
                  <a:pt x="83" y="340"/>
                  <a:pt x="83" y="341"/>
                </a:cubicBezTo>
                <a:cubicBezTo>
                  <a:pt x="84" y="343"/>
                  <a:pt x="85" y="343"/>
                  <a:pt x="88" y="344"/>
                </a:cubicBezTo>
                <a:cubicBezTo>
                  <a:pt x="90" y="344"/>
                  <a:pt x="90" y="345"/>
                  <a:pt x="91" y="347"/>
                </a:cubicBezTo>
                <a:cubicBezTo>
                  <a:pt x="93" y="349"/>
                  <a:pt x="96" y="349"/>
                  <a:pt x="97" y="350"/>
                </a:cubicBezTo>
                <a:cubicBezTo>
                  <a:pt x="98" y="351"/>
                  <a:pt x="98" y="352"/>
                  <a:pt x="99" y="352"/>
                </a:cubicBezTo>
                <a:cubicBezTo>
                  <a:pt x="100" y="351"/>
                  <a:pt x="101" y="350"/>
                  <a:pt x="102" y="350"/>
                </a:cubicBezTo>
                <a:cubicBezTo>
                  <a:pt x="105" y="348"/>
                  <a:pt x="104" y="342"/>
                  <a:pt x="107" y="345"/>
                </a:cubicBezTo>
                <a:cubicBezTo>
                  <a:pt x="109" y="336"/>
                  <a:pt x="116" y="330"/>
                  <a:pt x="123" y="329"/>
                </a:cubicBezTo>
                <a:cubicBezTo>
                  <a:pt x="125" y="329"/>
                  <a:pt x="128" y="330"/>
                  <a:pt x="130" y="329"/>
                </a:cubicBezTo>
                <a:cubicBezTo>
                  <a:pt x="131" y="329"/>
                  <a:pt x="131" y="327"/>
                  <a:pt x="133" y="326"/>
                </a:cubicBezTo>
                <a:cubicBezTo>
                  <a:pt x="134" y="325"/>
                  <a:pt x="135" y="325"/>
                  <a:pt x="136" y="323"/>
                </a:cubicBezTo>
                <a:cubicBezTo>
                  <a:pt x="137" y="322"/>
                  <a:pt x="137" y="321"/>
                  <a:pt x="138" y="320"/>
                </a:cubicBezTo>
                <a:cubicBezTo>
                  <a:pt x="140" y="318"/>
                  <a:pt x="146" y="319"/>
                  <a:pt x="149" y="319"/>
                </a:cubicBezTo>
                <a:cubicBezTo>
                  <a:pt x="150" y="318"/>
                  <a:pt x="152" y="319"/>
                  <a:pt x="153" y="319"/>
                </a:cubicBezTo>
                <a:cubicBezTo>
                  <a:pt x="155" y="318"/>
                  <a:pt x="157" y="317"/>
                  <a:pt x="158" y="318"/>
                </a:cubicBezTo>
                <a:cubicBezTo>
                  <a:pt x="161" y="319"/>
                  <a:pt x="163" y="317"/>
                  <a:pt x="166" y="319"/>
                </a:cubicBezTo>
                <a:cubicBezTo>
                  <a:pt x="170" y="321"/>
                  <a:pt x="171" y="319"/>
                  <a:pt x="175" y="318"/>
                </a:cubicBezTo>
                <a:cubicBezTo>
                  <a:pt x="179" y="318"/>
                  <a:pt x="184" y="317"/>
                  <a:pt x="188" y="319"/>
                </a:cubicBezTo>
                <a:cubicBezTo>
                  <a:pt x="188" y="319"/>
                  <a:pt x="188" y="320"/>
                  <a:pt x="189" y="320"/>
                </a:cubicBezTo>
                <a:cubicBezTo>
                  <a:pt x="189" y="320"/>
                  <a:pt x="190" y="320"/>
                  <a:pt x="190" y="320"/>
                </a:cubicBezTo>
                <a:cubicBezTo>
                  <a:pt x="192" y="321"/>
                  <a:pt x="193" y="321"/>
                  <a:pt x="194" y="321"/>
                </a:cubicBezTo>
                <a:cubicBezTo>
                  <a:pt x="196" y="320"/>
                  <a:pt x="197" y="317"/>
                  <a:pt x="198" y="316"/>
                </a:cubicBezTo>
                <a:cubicBezTo>
                  <a:pt x="199" y="315"/>
                  <a:pt x="200" y="314"/>
                  <a:pt x="202" y="315"/>
                </a:cubicBezTo>
                <a:cubicBezTo>
                  <a:pt x="203" y="315"/>
                  <a:pt x="205" y="313"/>
                  <a:pt x="206" y="314"/>
                </a:cubicBezTo>
                <a:cubicBezTo>
                  <a:pt x="209" y="315"/>
                  <a:pt x="209" y="321"/>
                  <a:pt x="213" y="318"/>
                </a:cubicBezTo>
                <a:cubicBezTo>
                  <a:pt x="215" y="317"/>
                  <a:pt x="216" y="314"/>
                  <a:pt x="217" y="312"/>
                </a:cubicBezTo>
                <a:cubicBezTo>
                  <a:pt x="218" y="310"/>
                  <a:pt x="220" y="310"/>
                  <a:pt x="221" y="308"/>
                </a:cubicBezTo>
                <a:cubicBezTo>
                  <a:pt x="221" y="306"/>
                  <a:pt x="222" y="304"/>
                  <a:pt x="222" y="303"/>
                </a:cubicBezTo>
                <a:cubicBezTo>
                  <a:pt x="223" y="302"/>
                  <a:pt x="226" y="295"/>
                  <a:pt x="223" y="295"/>
                </a:cubicBezTo>
                <a:cubicBezTo>
                  <a:pt x="226" y="296"/>
                  <a:pt x="228" y="292"/>
                  <a:pt x="229" y="290"/>
                </a:cubicBezTo>
                <a:cubicBezTo>
                  <a:pt x="231" y="289"/>
                  <a:pt x="234" y="289"/>
                  <a:pt x="235" y="287"/>
                </a:cubicBezTo>
                <a:cubicBezTo>
                  <a:pt x="236" y="284"/>
                  <a:pt x="238" y="282"/>
                  <a:pt x="241" y="281"/>
                </a:cubicBezTo>
                <a:cubicBezTo>
                  <a:pt x="242" y="281"/>
                  <a:pt x="244" y="280"/>
                  <a:pt x="245" y="281"/>
                </a:cubicBezTo>
                <a:cubicBezTo>
                  <a:pt x="245" y="282"/>
                  <a:pt x="246" y="283"/>
                  <a:pt x="247" y="282"/>
                </a:cubicBezTo>
                <a:cubicBezTo>
                  <a:pt x="246" y="280"/>
                  <a:pt x="250" y="280"/>
                  <a:pt x="250" y="280"/>
                </a:cubicBezTo>
                <a:cubicBezTo>
                  <a:pt x="251" y="280"/>
                  <a:pt x="252" y="282"/>
                  <a:pt x="253" y="282"/>
                </a:cubicBezTo>
                <a:cubicBezTo>
                  <a:pt x="254" y="282"/>
                  <a:pt x="254" y="281"/>
                  <a:pt x="255" y="280"/>
                </a:cubicBezTo>
                <a:cubicBezTo>
                  <a:pt x="257" y="280"/>
                  <a:pt x="260" y="281"/>
                  <a:pt x="260" y="278"/>
                </a:cubicBezTo>
                <a:cubicBezTo>
                  <a:pt x="260" y="278"/>
                  <a:pt x="259" y="272"/>
                  <a:pt x="259" y="272"/>
                </a:cubicBezTo>
                <a:cubicBezTo>
                  <a:pt x="259" y="274"/>
                  <a:pt x="260" y="280"/>
                  <a:pt x="257" y="277"/>
                </a:cubicBezTo>
                <a:cubicBezTo>
                  <a:pt x="254" y="274"/>
                  <a:pt x="258" y="269"/>
                  <a:pt x="259" y="271"/>
                </a:cubicBezTo>
                <a:cubicBezTo>
                  <a:pt x="259" y="269"/>
                  <a:pt x="259" y="266"/>
                  <a:pt x="260" y="264"/>
                </a:cubicBezTo>
                <a:cubicBezTo>
                  <a:pt x="261" y="263"/>
                  <a:pt x="262" y="262"/>
                  <a:pt x="262" y="261"/>
                </a:cubicBezTo>
                <a:cubicBezTo>
                  <a:pt x="263" y="259"/>
                  <a:pt x="262" y="257"/>
                  <a:pt x="263" y="256"/>
                </a:cubicBezTo>
                <a:cubicBezTo>
                  <a:pt x="263" y="253"/>
                  <a:pt x="265" y="254"/>
                  <a:pt x="266" y="253"/>
                </a:cubicBezTo>
                <a:cubicBezTo>
                  <a:pt x="269" y="251"/>
                  <a:pt x="265" y="247"/>
                  <a:pt x="270" y="246"/>
                </a:cubicBezTo>
                <a:cubicBezTo>
                  <a:pt x="271" y="246"/>
                  <a:pt x="270" y="244"/>
                  <a:pt x="271" y="243"/>
                </a:cubicBezTo>
                <a:cubicBezTo>
                  <a:pt x="272" y="242"/>
                  <a:pt x="273" y="241"/>
                  <a:pt x="274" y="240"/>
                </a:cubicBezTo>
                <a:cubicBezTo>
                  <a:pt x="278" y="238"/>
                  <a:pt x="280" y="237"/>
                  <a:pt x="283" y="234"/>
                </a:cubicBezTo>
                <a:cubicBezTo>
                  <a:pt x="285" y="233"/>
                  <a:pt x="288" y="232"/>
                  <a:pt x="290" y="230"/>
                </a:cubicBezTo>
                <a:cubicBezTo>
                  <a:pt x="295" y="224"/>
                  <a:pt x="285" y="223"/>
                  <a:pt x="282" y="220"/>
                </a:cubicBezTo>
                <a:cubicBezTo>
                  <a:pt x="279" y="217"/>
                  <a:pt x="278" y="213"/>
                  <a:pt x="277" y="208"/>
                </a:cubicBezTo>
                <a:cubicBezTo>
                  <a:pt x="277" y="204"/>
                  <a:pt x="274" y="200"/>
                  <a:pt x="275" y="196"/>
                </a:cubicBezTo>
                <a:cubicBezTo>
                  <a:pt x="275" y="192"/>
                  <a:pt x="278" y="190"/>
                  <a:pt x="279" y="186"/>
                </a:cubicBezTo>
                <a:cubicBezTo>
                  <a:pt x="281" y="182"/>
                  <a:pt x="283" y="179"/>
                  <a:pt x="286" y="176"/>
                </a:cubicBezTo>
                <a:cubicBezTo>
                  <a:pt x="286" y="174"/>
                  <a:pt x="287" y="172"/>
                  <a:pt x="288" y="171"/>
                </a:cubicBezTo>
                <a:cubicBezTo>
                  <a:pt x="289" y="169"/>
                  <a:pt x="290" y="169"/>
                  <a:pt x="291" y="167"/>
                </a:cubicBezTo>
                <a:cubicBezTo>
                  <a:pt x="293" y="164"/>
                  <a:pt x="294" y="162"/>
                  <a:pt x="297" y="158"/>
                </a:cubicBezTo>
                <a:cubicBezTo>
                  <a:pt x="300" y="153"/>
                  <a:pt x="304" y="142"/>
                  <a:pt x="311" y="143"/>
                </a:cubicBezTo>
                <a:cubicBezTo>
                  <a:pt x="310" y="143"/>
                  <a:pt x="304" y="147"/>
                  <a:pt x="308" y="146"/>
                </a:cubicBezTo>
                <a:cubicBezTo>
                  <a:pt x="310" y="146"/>
                  <a:pt x="311" y="144"/>
                  <a:pt x="312" y="142"/>
                </a:cubicBezTo>
                <a:cubicBezTo>
                  <a:pt x="313" y="141"/>
                  <a:pt x="316" y="140"/>
                  <a:pt x="316" y="139"/>
                </a:cubicBezTo>
                <a:cubicBezTo>
                  <a:pt x="316" y="139"/>
                  <a:pt x="313" y="137"/>
                  <a:pt x="312" y="136"/>
                </a:cubicBezTo>
                <a:cubicBezTo>
                  <a:pt x="312" y="136"/>
                  <a:pt x="312" y="136"/>
                  <a:pt x="312" y="137"/>
                </a:cubicBezTo>
                <a:cubicBezTo>
                  <a:pt x="311" y="138"/>
                  <a:pt x="309" y="136"/>
                  <a:pt x="311" y="134"/>
                </a:cubicBezTo>
                <a:cubicBezTo>
                  <a:pt x="313" y="131"/>
                  <a:pt x="315" y="129"/>
                  <a:pt x="317" y="127"/>
                </a:cubicBezTo>
                <a:cubicBezTo>
                  <a:pt x="319" y="124"/>
                  <a:pt x="321" y="123"/>
                  <a:pt x="324" y="124"/>
                </a:cubicBezTo>
                <a:cubicBezTo>
                  <a:pt x="325" y="124"/>
                  <a:pt x="329" y="121"/>
                  <a:pt x="330" y="121"/>
                </a:cubicBezTo>
                <a:cubicBezTo>
                  <a:pt x="336" y="119"/>
                  <a:pt x="341" y="117"/>
                  <a:pt x="347" y="116"/>
                </a:cubicBezTo>
                <a:cubicBezTo>
                  <a:pt x="350" y="115"/>
                  <a:pt x="354" y="115"/>
                  <a:pt x="356" y="112"/>
                </a:cubicBezTo>
                <a:cubicBezTo>
                  <a:pt x="358" y="110"/>
                  <a:pt x="359" y="108"/>
                  <a:pt x="361" y="106"/>
                </a:cubicBezTo>
                <a:cubicBezTo>
                  <a:pt x="366" y="101"/>
                  <a:pt x="373" y="101"/>
                  <a:pt x="378" y="96"/>
                </a:cubicBezTo>
                <a:cubicBezTo>
                  <a:pt x="379" y="95"/>
                  <a:pt x="380" y="95"/>
                  <a:pt x="382" y="94"/>
                </a:cubicBezTo>
                <a:cubicBezTo>
                  <a:pt x="383" y="94"/>
                  <a:pt x="383" y="92"/>
                  <a:pt x="384" y="91"/>
                </a:cubicBezTo>
                <a:cubicBezTo>
                  <a:pt x="386" y="90"/>
                  <a:pt x="389" y="88"/>
                  <a:pt x="390" y="86"/>
                </a:cubicBezTo>
                <a:cubicBezTo>
                  <a:pt x="391" y="84"/>
                  <a:pt x="391" y="79"/>
                  <a:pt x="391" y="78"/>
                </a:cubicBezTo>
                <a:cubicBezTo>
                  <a:pt x="390" y="77"/>
                  <a:pt x="388" y="76"/>
                  <a:pt x="388" y="74"/>
                </a:cubicBezTo>
                <a:cubicBezTo>
                  <a:pt x="387" y="72"/>
                  <a:pt x="389" y="70"/>
                  <a:pt x="391" y="71"/>
                </a:cubicBezTo>
                <a:cubicBezTo>
                  <a:pt x="393" y="72"/>
                  <a:pt x="393" y="68"/>
                  <a:pt x="395" y="67"/>
                </a:cubicBezTo>
                <a:cubicBezTo>
                  <a:pt x="393" y="65"/>
                  <a:pt x="388" y="67"/>
                  <a:pt x="390" y="62"/>
                </a:cubicBezTo>
                <a:close/>
              </a:path>
            </a:pathLst>
          </a:custGeom>
          <a:solidFill>
            <a:schemeClr val="bg1">
              <a:lumMod val="85000"/>
            </a:schemeClr>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10">
            <a:extLst>
              <a:ext uri="{FF2B5EF4-FFF2-40B4-BE49-F238E27FC236}">
                <a16:creationId xmlns:a16="http://schemas.microsoft.com/office/drawing/2014/main" id="{19A90878-3701-4680-B87E-54EF2696ECB6}"/>
              </a:ext>
            </a:extLst>
          </p:cNvPr>
          <p:cNvSpPr>
            <a:spLocks/>
          </p:cNvSpPr>
          <p:nvPr/>
        </p:nvSpPr>
        <p:spPr bwMode="auto">
          <a:xfrm>
            <a:off x="1761358" y="5463737"/>
            <a:ext cx="33057" cy="27414"/>
          </a:xfrm>
          <a:custGeom>
            <a:avLst/>
            <a:gdLst>
              <a:gd name="T0" fmla="*/ 10 w 12"/>
              <a:gd name="T1" fmla="*/ 3 h 10"/>
              <a:gd name="T2" fmla="*/ 9 w 12"/>
              <a:gd name="T3" fmla="*/ 2 h 10"/>
              <a:gd name="T4" fmla="*/ 7 w 12"/>
              <a:gd name="T5" fmla="*/ 1 h 10"/>
              <a:gd name="T6" fmla="*/ 4 w 12"/>
              <a:gd name="T7" fmla="*/ 0 h 10"/>
              <a:gd name="T8" fmla="*/ 3 w 12"/>
              <a:gd name="T9" fmla="*/ 1 h 10"/>
              <a:gd name="T10" fmla="*/ 1 w 12"/>
              <a:gd name="T11" fmla="*/ 3 h 10"/>
              <a:gd name="T12" fmla="*/ 1 w 12"/>
              <a:gd name="T13" fmla="*/ 5 h 10"/>
              <a:gd name="T14" fmla="*/ 2 w 12"/>
              <a:gd name="T15" fmla="*/ 7 h 10"/>
              <a:gd name="T16" fmla="*/ 0 w 12"/>
              <a:gd name="T17" fmla="*/ 8 h 10"/>
              <a:gd name="T18" fmla="*/ 2 w 12"/>
              <a:gd name="T19" fmla="*/ 10 h 10"/>
              <a:gd name="T20" fmla="*/ 4 w 12"/>
              <a:gd name="T21" fmla="*/ 10 h 10"/>
              <a:gd name="T22" fmla="*/ 6 w 12"/>
              <a:gd name="T23" fmla="*/ 9 h 10"/>
              <a:gd name="T24" fmla="*/ 8 w 12"/>
              <a:gd name="T25" fmla="*/ 8 h 10"/>
              <a:gd name="T26" fmla="*/ 8 w 12"/>
              <a:gd name="T27" fmla="*/ 7 h 10"/>
              <a:gd name="T28" fmla="*/ 10 w 12"/>
              <a:gd name="T29" fmla="*/ 7 h 10"/>
              <a:gd name="T30" fmla="*/ 10 w 12"/>
              <a:gd name="T31" fmla="*/ 5 h 10"/>
              <a:gd name="T32" fmla="*/ 10 w 12"/>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0">
                <a:moveTo>
                  <a:pt x="10" y="3"/>
                </a:moveTo>
                <a:cubicBezTo>
                  <a:pt x="10" y="3"/>
                  <a:pt x="11" y="2"/>
                  <a:pt x="9" y="2"/>
                </a:cubicBezTo>
                <a:cubicBezTo>
                  <a:pt x="9" y="2"/>
                  <a:pt x="8" y="1"/>
                  <a:pt x="7" y="1"/>
                </a:cubicBezTo>
                <a:cubicBezTo>
                  <a:pt x="6" y="1"/>
                  <a:pt x="5" y="0"/>
                  <a:pt x="4" y="0"/>
                </a:cubicBezTo>
                <a:cubicBezTo>
                  <a:pt x="3" y="0"/>
                  <a:pt x="3" y="1"/>
                  <a:pt x="3" y="1"/>
                </a:cubicBezTo>
                <a:cubicBezTo>
                  <a:pt x="2" y="2"/>
                  <a:pt x="2" y="2"/>
                  <a:pt x="1" y="3"/>
                </a:cubicBezTo>
                <a:cubicBezTo>
                  <a:pt x="1" y="3"/>
                  <a:pt x="1" y="5"/>
                  <a:pt x="1" y="5"/>
                </a:cubicBezTo>
                <a:cubicBezTo>
                  <a:pt x="1" y="5"/>
                  <a:pt x="2" y="6"/>
                  <a:pt x="2" y="7"/>
                </a:cubicBezTo>
                <a:cubicBezTo>
                  <a:pt x="2" y="7"/>
                  <a:pt x="0" y="7"/>
                  <a:pt x="0" y="8"/>
                </a:cubicBezTo>
                <a:cubicBezTo>
                  <a:pt x="1" y="9"/>
                  <a:pt x="1" y="9"/>
                  <a:pt x="2" y="10"/>
                </a:cubicBezTo>
                <a:cubicBezTo>
                  <a:pt x="2" y="10"/>
                  <a:pt x="3" y="10"/>
                  <a:pt x="4" y="10"/>
                </a:cubicBezTo>
                <a:cubicBezTo>
                  <a:pt x="5" y="9"/>
                  <a:pt x="5" y="9"/>
                  <a:pt x="6" y="9"/>
                </a:cubicBezTo>
                <a:cubicBezTo>
                  <a:pt x="6" y="9"/>
                  <a:pt x="7" y="9"/>
                  <a:pt x="8" y="8"/>
                </a:cubicBezTo>
                <a:cubicBezTo>
                  <a:pt x="8" y="8"/>
                  <a:pt x="8" y="7"/>
                  <a:pt x="8" y="7"/>
                </a:cubicBezTo>
                <a:cubicBezTo>
                  <a:pt x="8" y="7"/>
                  <a:pt x="9" y="8"/>
                  <a:pt x="10" y="7"/>
                </a:cubicBezTo>
                <a:cubicBezTo>
                  <a:pt x="10" y="7"/>
                  <a:pt x="10" y="5"/>
                  <a:pt x="10" y="5"/>
                </a:cubicBezTo>
                <a:cubicBezTo>
                  <a:pt x="11" y="3"/>
                  <a:pt x="12" y="4"/>
                  <a:pt x="10" y="3"/>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1">
            <a:extLst>
              <a:ext uri="{FF2B5EF4-FFF2-40B4-BE49-F238E27FC236}">
                <a16:creationId xmlns:a16="http://schemas.microsoft.com/office/drawing/2014/main" id="{E3C875E8-7381-42D0-B9BD-8E7BAC973216}"/>
              </a:ext>
            </a:extLst>
          </p:cNvPr>
          <p:cNvSpPr>
            <a:spLocks/>
          </p:cNvSpPr>
          <p:nvPr/>
        </p:nvSpPr>
        <p:spPr bwMode="auto">
          <a:xfrm>
            <a:off x="1459122" y="4913082"/>
            <a:ext cx="20071" cy="17879"/>
          </a:xfrm>
          <a:custGeom>
            <a:avLst/>
            <a:gdLst>
              <a:gd name="T0" fmla="*/ 3 w 7"/>
              <a:gd name="T1" fmla="*/ 0 h 6"/>
              <a:gd name="T2" fmla="*/ 6 w 7"/>
              <a:gd name="T3" fmla="*/ 6 h 6"/>
              <a:gd name="T4" fmla="*/ 3 w 7"/>
              <a:gd name="T5" fmla="*/ 0 h 6"/>
            </a:gdLst>
            <a:ahLst/>
            <a:cxnLst>
              <a:cxn ang="0">
                <a:pos x="T0" y="T1"/>
              </a:cxn>
              <a:cxn ang="0">
                <a:pos x="T2" y="T3"/>
              </a:cxn>
              <a:cxn ang="0">
                <a:pos x="T4" y="T5"/>
              </a:cxn>
            </a:cxnLst>
            <a:rect l="0" t="0" r="r" b="b"/>
            <a:pathLst>
              <a:path w="7" h="6">
                <a:moveTo>
                  <a:pt x="3" y="0"/>
                </a:moveTo>
                <a:cubicBezTo>
                  <a:pt x="0" y="1"/>
                  <a:pt x="6" y="6"/>
                  <a:pt x="6" y="6"/>
                </a:cubicBezTo>
                <a:cubicBezTo>
                  <a:pt x="7" y="5"/>
                  <a:pt x="4" y="0"/>
                  <a:pt x="3" y="0"/>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2">
            <a:extLst>
              <a:ext uri="{FF2B5EF4-FFF2-40B4-BE49-F238E27FC236}">
                <a16:creationId xmlns:a16="http://schemas.microsoft.com/office/drawing/2014/main" id="{A3BAC9FE-92AB-4E9C-9A44-A450DB30009B}"/>
              </a:ext>
            </a:extLst>
          </p:cNvPr>
          <p:cNvSpPr>
            <a:spLocks/>
          </p:cNvSpPr>
          <p:nvPr/>
        </p:nvSpPr>
        <p:spPr bwMode="auto">
          <a:xfrm>
            <a:off x="1444955" y="4947648"/>
            <a:ext cx="17709" cy="8344"/>
          </a:xfrm>
          <a:custGeom>
            <a:avLst/>
            <a:gdLst>
              <a:gd name="T0" fmla="*/ 6 w 6"/>
              <a:gd name="T1" fmla="*/ 3 h 3"/>
              <a:gd name="T2" fmla="*/ 6 w 6"/>
              <a:gd name="T3" fmla="*/ 3 h 3"/>
            </a:gdLst>
            <a:ahLst/>
            <a:cxnLst>
              <a:cxn ang="0">
                <a:pos x="T0" y="T1"/>
              </a:cxn>
              <a:cxn ang="0">
                <a:pos x="T2" y="T3"/>
              </a:cxn>
            </a:cxnLst>
            <a:rect l="0" t="0" r="r" b="b"/>
            <a:pathLst>
              <a:path w="6" h="3">
                <a:moveTo>
                  <a:pt x="6" y="3"/>
                </a:moveTo>
                <a:cubicBezTo>
                  <a:pt x="6" y="0"/>
                  <a:pt x="0" y="3"/>
                  <a:pt x="6" y="3"/>
                </a:cubicBezTo>
                <a:close/>
              </a:path>
            </a:pathLst>
          </a:custGeom>
          <a:solidFill>
            <a:schemeClr val="accent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13">
            <a:extLst>
              <a:ext uri="{FF2B5EF4-FFF2-40B4-BE49-F238E27FC236}">
                <a16:creationId xmlns:a16="http://schemas.microsoft.com/office/drawing/2014/main" id="{B9F1E09D-9745-420C-845A-8A5058DE8415}"/>
              </a:ext>
            </a:extLst>
          </p:cNvPr>
          <p:cNvSpPr>
            <a:spLocks noEditPoints="1"/>
          </p:cNvSpPr>
          <p:nvPr/>
        </p:nvSpPr>
        <p:spPr bwMode="auto">
          <a:xfrm>
            <a:off x="1260780" y="4411296"/>
            <a:ext cx="1103869" cy="1094157"/>
          </a:xfrm>
          <a:custGeom>
            <a:avLst/>
            <a:gdLst>
              <a:gd name="T0" fmla="*/ 352 w 395"/>
              <a:gd name="T1" fmla="*/ 85 h 388"/>
              <a:gd name="T2" fmla="*/ 320 w 395"/>
              <a:gd name="T3" fmla="*/ 67 h 388"/>
              <a:gd name="T4" fmla="*/ 294 w 395"/>
              <a:gd name="T5" fmla="*/ 50 h 388"/>
              <a:gd name="T6" fmla="*/ 275 w 395"/>
              <a:gd name="T7" fmla="*/ 45 h 388"/>
              <a:gd name="T8" fmla="*/ 261 w 395"/>
              <a:gd name="T9" fmla="*/ 33 h 388"/>
              <a:gd name="T10" fmla="*/ 239 w 395"/>
              <a:gd name="T11" fmla="*/ 15 h 388"/>
              <a:gd name="T12" fmla="*/ 204 w 395"/>
              <a:gd name="T13" fmla="*/ 6 h 388"/>
              <a:gd name="T14" fmla="*/ 196 w 395"/>
              <a:gd name="T15" fmla="*/ 39 h 388"/>
              <a:gd name="T16" fmla="*/ 150 w 395"/>
              <a:gd name="T17" fmla="*/ 75 h 388"/>
              <a:gd name="T18" fmla="*/ 102 w 395"/>
              <a:gd name="T19" fmla="*/ 62 h 388"/>
              <a:gd name="T20" fmla="*/ 100 w 395"/>
              <a:gd name="T21" fmla="*/ 82 h 388"/>
              <a:gd name="T22" fmla="*/ 93 w 395"/>
              <a:gd name="T23" fmla="*/ 109 h 388"/>
              <a:gd name="T24" fmla="*/ 81 w 395"/>
              <a:gd name="T25" fmla="*/ 109 h 388"/>
              <a:gd name="T26" fmla="*/ 64 w 395"/>
              <a:gd name="T27" fmla="*/ 113 h 388"/>
              <a:gd name="T28" fmla="*/ 49 w 395"/>
              <a:gd name="T29" fmla="*/ 101 h 388"/>
              <a:gd name="T30" fmla="*/ 30 w 395"/>
              <a:gd name="T31" fmla="*/ 104 h 388"/>
              <a:gd name="T32" fmla="*/ 19 w 395"/>
              <a:gd name="T33" fmla="*/ 107 h 388"/>
              <a:gd name="T34" fmla="*/ 1 w 395"/>
              <a:gd name="T35" fmla="*/ 119 h 388"/>
              <a:gd name="T36" fmla="*/ 16 w 395"/>
              <a:gd name="T37" fmla="*/ 123 h 388"/>
              <a:gd name="T38" fmla="*/ 14 w 395"/>
              <a:gd name="T39" fmla="*/ 131 h 388"/>
              <a:gd name="T40" fmla="*/ 19 w 395"/>
              <a:gd name="T41" fmla="*/ 142 h 388"/>
              <a:gd name="T42" fmla="*/ 44 w 395"/>
              <a:gd name="T43" fmla="*/ 145 h 388"/>
              <a:gd name="T44" fmla="*/ 47 w 395"/>
              <a:gd name="T45" fmla="*/ 152 h 388"/>
              <a:gd name="T46" fmla="*/ 57 w 395"/>
              <a:gd name="T47" fmla="*/ 153 h 388"/>
              <a:gd name="T48" fmla="*/ 65 w 395"/>
              <a:gd name="T49" fmla="*/ 156 h 388"/>
              <a:gd name="T50" fmla="*/ 69 w 395"/>
              <a:gd name="T51" fmla="*/ 166 h 388"/>
              <a:gd name="T52" fmla="*/ 86 w 395"/>
              <a:gd name="T53" fmla="*/ 169 h 388"/>
              <a:gd name="T54" fmla="*/ 86 w 395"/>
              <a:gd name="T55" fmla="*/ 198 h 388"/>
              <a:gd name="T56" fmla="*/ 106 w 395"/>
              <a:gd name="T57" fmla="*/ 210 h 388"/>
              <a:gd name="T58" fmla="*/ 109 w 395"/>
              <a:gd name="T59" fmla="*/ 236 h 388"/>
              <a:gd name="T60" fmla="*/ 124 w 395"/>
              <a:gd name="T61" fmla="*/ 269 h 388"/>
              <a:gd name="T62" fmla="*/ 107 w 395"/>
              <a:gd name="T63" fmla="*/ 244 h 388"/>
              <a:gd name="T64" fmla="*/ 94 w 395"/>
              <a:gd name="T65" fmla="*/ 317 h 388"/>
              <a:gd name="T66" fmla="*/ 92 w 395"/>
              <a:gd name="T67" fmla="*/ 349 h 388"/>
              <a:gd name="T68" fmla="*/ 120 w 395"/>
              <a:gd name="T69" fmla="*/ 367 h 388"/>
              <a:gd name="T70" fmla="*/ 157 w 395"/>
              <a:gd name="T71" fmla="*/ 365 h 388"/>
              <a:gd name="T72" fmla="*/ 191 w 395"/>
              <a:gd name="T73" fmla="*/ 377 h 388"/>
              <a:gd name="T74" fmla="*/ 219 w 395"/>
              <a:gd name="T75" fmla="*/ 387 h 388"/>
              <a:gd name="T76" fmla="*/ 229 w 395"/>
              <a:gd name="T77" fmla="*/ 361 h 388"/>
              <a:gd name="T78" fmla="*/ 241 w 395"/>
              <a:gd name="T79" fmla="*/ 346 h 388"/>
              <a:gd name="T80" fmla="*/ 275 w 395"/>
              <a:gd name="T81" fmla="*/ 337 h 388"/>
              <a:gd name="T82" fmla="*/ 293 w 395"/>
              <a:gd name="T83" fmla="*/ 339 h 388"/>
              <a:gd name="T84" fmla="*/ 299 w 395"/>
              <a:gd name="T85" fmla="*/ 343 h 388"/>
              <a:gd name="T86" fmla="*/ 320 w 395"/>
              <a:gd name="T87" fmla="*/ 353 h 388"/>
              <a:gd name="T88" fmla="*/ 341 w 395"/>
              <a:gd name="T89" fmla="*/ 349 h 388"/>
              <a:gd name="T90" fmla="*/ 367 w 395"/>
              <a:gd name="T91" fmla="*/ 326 h 388"/>
              <a:gd name="T92" fmla="*/ 357 w 395"/>
              <a:gd name="T93" fmla="*/ 302 h 388"/>
              <a:gd name="T94" fmla="*/ 353 w 395"/>
              <a:gd name="T95" fmla="*/ 275 h 388"/>
              <a:gd name="T96" fmla="*/ 361 w 395"/>
              <a:gd name="T97" fmla="*/ 253 h 388"/>
              <a:gd name="T98" fmla="*/ 353 w 395"/>
              <a:gd name="T99" fmla="*/ 222 h 388"/>
              <a:gd name="T100" fmla="*/ 333 w 395"/>
              <a:gd name="T101" fmla="*/ 210 h 388"/>
              <a:gd name="T102" fmla="*/ 331 w 395"/>
              <a:gd name="T103" fmla="*/ 200 h 388"/>
              <a:gd name="T104" fmla="*/ 356 w 395"/>
              <a:gd name="T105" fmla="*/ 168 h 388"/>
              <a:gd name="T106" fmla="*/ 367 w 395"/>
              <a:gd name="T107" fmla="*/ 161 h 388"/>
              <a:gd name="T108" fmla="*/ 377 w 395"/>
              <a:gd name="T109" fmla="*/ 127 h 388"/>
              <a:gd name="T110" fmla="*/ 385 w 395"/>
              <a:gd name="T111" fmla="*/ 89 h 388"/>
              <a:gd name="T112" fmla="*/ 283 w 395"/>
              <a:gd name="T113" fmla="*/ 33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5" h="388">
                <a:moveTo>
                  <a:pt x="379" y="90"/>
                </a:moveTo>
                <a:cubicBezTo>
                  <a:pt x="378" y="90"/>
                  <a:pt x="377" y="89"/>
                  <a:pt x="376" y="88"/>
                </a:cubicBezTo>
                <a:cubicBezTo>
                  <a:pt x="374" y="87"/>
                  <a:pt x="372" y="81"/>
                  <a:pt x="369" y="85"/>
                </a:cubicBezTo>
                <a:cubicBezTo>
                  <a:pt x="367" y="88"/>
                  <a:pt x="363" y="85"/>
                  <a:pt x="361" y="85"/>
                </a:cubicBezTo>
                <a:cubicBezTo>
                  <a:pt x="361" y="88"/>
                  <a:pt x="359" y="86"/>
                  <a:pt x="359" y="84"/>
                </a:cubicBezTo>
                <a:cubicBezTo>
                  <a:pt x="359" y="83"/>
                  <a:pt x="356" y="82"/>
                  <a:pt x="355" y="82"/>
                </a:cubicBezTo>
                <a:cubicBezTo>
                  <a:pt x="353" y="82"/>
                  <a:pt x="355" y="85"/>
                  <a:pt x="352" y="85"/>
                </a:cubicBezTo>
                <a:cubicBezTo>
                  <a:pt x="351" y="85"/>
                  <a:pt x="350" y="85"/>
                  <a:pt x="350" y="83"/>
                </a:cubicBezTo>
                <a:cubicBezTo>
                  <a:pt x="350" y="82"/>
                  <a:pt x="348" y="80"/>
                  <a:pt x="347" y="79"/>
                </a:cubicBezTo>
                <a:cubicBezTo>
                  <a:pt x="346" y="77"/>
                  <a:pt x="346" y="77"/>
                  <a:pt x="346" y="75"/>
                </a:cubicBezTo>
                <a:cubicBezTo>
                  <a:pt x="345" y="71"/>
                  <a:pt x="341" y="72"/>
                  <a:pt x="339" y="71"/>
                </a:cubicBezTo>
                <a:cubicBezTo>
                  <a:pt x="336" y="70"/>
                  <a:pt x="335" y="69"/>
                  <a:pt x="332" y="70"/>
                </a:cubicBezTo>
                <a:cubicBezTo>
                  <a:pt x="332" y="71"/>
                  <a:pt x="329" y="73"/>
                  <a:pt x="328" y="72"/>
                </a:cubicBezTo>
                <a:cubicBezTo>
                  <a:pt x="327" y="70"/>
                  <a:pt x="322" y="67"/>
                  <a:pt x="320" y="67"/>
                </a:cubicBezTo>
                <a:cubicBezTo>
                  <a:pt x="318" y="67"/>
                  <a:pt x="315" y="71"/>
                  <a:pt x="313" y="69"/>
                </a:cubicBezTo>
                <a:cubicBezTo>
                  <a:pt x="312" y="68"/>
                  <a:pt x="313" y="65"/>
                  <a:pt x="310" y="65"/>
                </a:cubicBezTo>
                <a:cubicBezTo>
                  <a:pt x="310" y="64"/>
                  <a:pt x="307" y="65"/>
                  <a:pt x="308" y="63"/>
                </a:cubicBezTo>
                <a:cubicBezTo>
                  <a:pt x="310" y="62"/>
                  <a:pt x="304" y="61"/>
                  <a:pt x="304" y="61"/>
                </a:cubicBezTo>
                <a:cubicBezTo>
                  <a:pt x="302" y="61"/>
                  <a:pt x="302" y="58"/>
                  <a:pt x="300" y="57"/>
                </a:cubicBezTo>
                <a:cubicBezTo>
                  <a:pt x="299" y="57"/>
                  <a:pt x="294" y="57"/>
                  <a:pt x="295" y="56"/>
                </a:cubicBezTo>
                <a:cubicBezTo>
                  <a:pt x="295" y="55"/>
                  <a:pt x="295" y="52"/>
                  <a:pt x="294" y="50"/>
                </a:cubicBezTo>
                <a:cubicBezTo>
                  <a:pt x="294" y="50"/>
                  <a:pt x="293" y="50"/>
                  <a:pt x="293" y="49"/>
                </a:cubicBezTo>
                <a:cubicBezTo>
                  <a:pt x="293" y="49"/>
                  <a:pt x="294" y="47"/>
                  <a:pt x="294" y="47"/>
                </a:cubicBezTo>
                <a:cubicBezTo>
                  <a:pt x="294" y="45"/>
                  <a:pt x="295" y="44"/>
                  <a:pt x="295" y="42"/>
                </a:cubicBezTo>
                <a:cubicBezTo>
                  <a:pt x="295" y="38"/>
                  <a:pt x="290" y="44"/>
                  <a:pt x="290" y="46"/>
                </a:cubicBezTo>
                <a:cubicBezTo>
                  <a:pt x="289" y="50"/>
                  <a:pt x="283" y="51"/>
                  <a:pt x="281" y="50"/>
                </a:cubicBezTo>
                <a:cubicBezTo>
                  <a:pt x="278" y="49"/>
                  <a:pt x="276" y="50"/>
                  <a:pt x="274" y="49"/>
                </a:cubicBezTo>
                <a:cubicBezTo>
                  <a:pt x="272" y="48"/>
                  <a:pt x="274" y="47"/>
                  <a:pt x="275" y="45"/>
                </a:cubicBezTo>
                <a:cubicBezTo>
                  <a:pt x="275" y="45"/>
                  <a:pt x="276" y="45"/>
                  <a:pt x="275" y="44"/>
                </a:cubicBezTo>
                <a:cubicBezTo>
                  <a:pt x="275" y="44"/>
                  <a:pt x="275" y="41"/>
                  <a:pt x="274" y="42"/>
                </a:cubicBezTo>
                <a:cubicBezTo>
                  <a:pt x="273" y="42"/>
                  <a:pt x="273" y="41"/>
                  <a:pt x="274" y="40"/>
                </a:cubicBezTo>
                <a:cubicBezTo>
                  <a:pt x="274" y="39"/>
                  <a:pt x="276" y="37"/>
                  <a:pt x="275" y="36"/>
                </a:cubicBezTo>
                <a:cubicBezTo>
                  <a:pt x="275" y="35"/>
                  <a:pt x="274" y="37"/>
                  <a:pt x="274" y="36"/>
                </a:cubicBezTo>
                <a:cubicBezTo>
                  <a:pt x="273" y="36"/>
                  <a:pt x="271" y="32"/>
                  <a:pt x="270" y="32"/>
                </a:cubicBezTo>
                <a:cubicBezTo>
                  <a:pt x="268" y="33"/>
                  <a:pt x="262" y="31"/>
                  <a:pt x="261" y="33"/>
                </a:cubicBezTo>
                <a:cubicBezTo>
                  <a:pt x="260" y="37"/>
                  <a:pt x="260" y="30"/>
                  <a:pt x="259" y="29"/>
                </a:cubicBezTo>
                <a:cubicBezTo>
                  <a:pt x="259" y="26"/>
                  <a:pt x="257" y="27"/>
                  <a:pt x="255" y="26"/>
                </a:cubicBezTo>
                <a:cubicBezTo>
                  <a:pt x="255" y="26"/>
                  <a:pt x="255" y="25"/>
                  <a:pt x="255" y="25"/>
                </a:cubicBezTo>
                <a:cubicBezTo>
                  <a:pt x="253" y="25"/>
                  <a:pt x="250" y="27"/>
                  <a:pt x="249" y="25"/>
                </a:cubicBezTo>
                <a:cubicBezTo>
                  <a:pt x="248" y="23"/>
                  <a:pt x="248" y="20"/>
                  <a:pt x="247" y="18"/>
                </a:cubicBezTo>
                <a:cubicBezTo>
                  <a:pt x="247" y="17"/>
                  <a:pt x="246" y="14"/>
                  <a:pt x="244" y="13"/>
                </a:cubicBezTo>
                <a:cubicBezTo>
                  <a:pt x="243" y="13"/>
                  <a:pt x="240" y="14"/>
                  <a:pt x="239" y="15"/>
                </a:cubicBezTo>
                <a:cubicBezTo>
                  <a:pt x="237" y="18"/>
                  <a:pt x="236" y="17"/>
                  <a:pt x="234" y="15"/>
                </a:cubicBezTo>
                <a:cubicBezTo>
                  <a:pt x="233" y="14"/>
                  <a:pt x="232" y="14"/>
                  <a:pt x="232" y="13"/>
                </a:cubicBezTo>
                <a:cubicBezTo>
                  <a:pt x="231" y="12"/>
                  <a:pt x="230" y="13"/>
                  <a:pt x="229" y="12"/>
                </a:cubicBezTo>
                <a:cubicBezTo>
                  <a:pt x="228" y="11"/>
                  <a:pt x="229" y="8"/>
                  <a:pt x="229" y="7"/>
                </a:cubicBezTo>
                <a:cubicBezTo>
                  <a:pt x="229" y="4"/>
                  <a:pt x="228" y="2"/>
                  <a:pt x="227" y="0"/>
                </a:cubicBezTo>
                <a:cubicBezTo>
                  <a:pt x="222" y="2"/>
                  <a:pt x="217" y="3"/>
                  <a:pt x="211" y="4"/>
                </a:cubicBezTo>
                <a:cubicBezTo>
                  <a:pt x="209" y="4"/>
                  <a:pt x="206" y="5"/>
                  <a:pt x="204" y="6"/>
                </a:cubicBezTo>
                <a:cubicBezTo>
                  <a:pt x="202" y="7"/>
                  <a:pt x="201" y="8"/>
                  <a:pt x="199" y="9"/>
                </a:cubicBezTo>
                <a:cubicBezTo>
                  <a:pt x="197" y="10"/>
                  <a:pt x="198" y="11"/>
                  <a:pt x="198" y="13"/>
                </a:cubicBezTo>
                <a:cubicBezTo>
                  <a:pt x="198" y="15"/>
                  <a:pt x="198" y="16"/>
                  <a:pt x="197" y="18"/>
                </a:cubicBezTo>
                <a:cubicBezTo>
                  <a:pt x="197" y="20"/>
                  <a:pt x="198" y="23"/>
                  <a:pt x="197" y="25"/>
                </a:cubicBezTo>
                <a:cubicBezTo>
                  <a:pt x="197" y="27"/>
                  <a:pt x="196" y="30"/>
                  <a:pt x="198" y="32"/>
                </a:cubicBezTo>
                <a:cubicBezTo>
                  <a:pt x="192" y="31"/>
                  <a:pt x="198" y="40"/>
                  <a:pt x="199" y="39"/>
                </a:cubicBezTo>
                <a:cubicBezTo>
                  <a:pt x="199" y="40"/>
                  <a:pt x="196" y="39"/>
                  <a:pt x="196" y="39"/>
                </a:cubicBezTo>
                <a:cubicBezTo>
                  <a:pt x="195" y="38"/>
                  <a:pt x="194" y="40"/>
                  <a:pt x="193" y="41"/>
                </a:cubicBezTo>
                <a:cubicBezTo>
                  <a:pt x="192" y="44"/>
                  <a:pt x="190" y="45"/>
                  <a:pt x="187" y="47"/>
                </a:cubicBezTo>
                <a:cubicBezTo>
                  <a:pt x="181" y="52"/>
                  <a:pt x="173" y="52"/>
                  <a:pt x="166" y="55"/>
                </a:cubicBezTo>
                <a:cubicBezTo>
                  <a:pt x="162" y="56"/>
                  <a:pt x="159" y="58"/>
                  <a:pt x="155" y="60"/>
                </a:cubicBezTo>
                <a:cubicBezTo>
                  <a:pt x="153" y="61"/>
                  <a:pt x="152" y="64"/>
                  <a:pt x="151" y="67"/>
                </a:cubicBezTo>
                <a:cubicBezTo>
                  <a:pt x="148" y="73"/>
                  <a:pt x="160" y="71"/>
                  <a:pt x="163" y="70"/>
                </a:cubicBezTo>
                <a:cubicBezTo>
                  <a:pt x="160" y="74"/>
                  <a:pt x="154" y="72"/>
                  <a:pt x="150" y="75"/>
                </a:cubicBezTo>
                <a:cubicBezTo>
                  <a:pt x="147" y="78"/>
                  <a:pt x="142" y="80"/>
                  <a:pt x="138" y="78"/>
                </a:cubicBezTo>
                <a:cubicBezTo>
                  <a:pt x="133" y="76"/>
                  <a:pt x="127" y="76"/>
                  <a:pt x="121" y="75"/>
                </a:cubicBezTo>
                <a:cubicBezTo>
                  <a:pt x="119" y="74"/>
                  <a:pt x="117" y="74"/>
                  <a:pt x="114" y="75"/>
                </a:cubicBezTo>
                <a:cubicBezTo>
                  <a:pt x="113" y="76"/>
                  <a:pt x="113" y="76"/>
                  <a:pt x="112" y="76"/>
                </a:cubicBezTo>
                <a:cubicBezTo>
                  <a:pt x="113" y="72"/>
                  <a:pt x="108" y="70"/>
                  <a:pt x="109" y="67"/>
                </a:cubicBezTo>
                <a:cubicBezTo>
                  <a:pt x="109" y="65"/>
                  <a:pt x="113" y="63"/>
                  <a:pt x="110" y="61"/>
                </a:cubicBezTo>
                <a:cubicBezTo>
                  <a:pt x="107" y="60"/>
                  <a:pt x="105" y="62"/>
                  <a:pt x="102" y="62"/>
                </a:cubicBezTo>
                <a:cubicBezTo>
                  <a:pt x="100" y="63"/>
                  <a:pt x="95" y="63"/>
                  <a:pt x="93" y="61"/>
                </a:cubicBezTo>
                <a:cubicBezTo>
                  <a:pt x="91" y="59"/>
                  <a:pt x="89" y="62"/>
                  <a:pt x="90" y="62"/>
                </a:cubicBezTo>
                <a:cubicBezTo>
                  <a:pt x="93" y="63"/>
                  <a:pt x="92" y="65"/>
                  <a:pt x="92" y="68"/>
                </a:cubicBezTo>
                <a:cubicBezTo>
                  <a:pt x="91" y="69"/>
                  <a:pt x="93" y="74"/>
                  <a:pt x="93" y="75"/>
                </a:cubicBezTo>
                <a:cubicBezTo>
                  <a:pt x="93" y="75"/>
                  <a:pt x="96" y="77"/>
                  <a:pt x="96" y="76"/>
                </a:cubicBezTo>
                <a:cubicBezTo>
                  <a:pt x="97" y="78"/>
                  <a:pt x="97" y="80"/>
                  <a:pt x="98" y="82"/>
                </a:cubicBezTo>
                <a:cubicBezTo>
                  <a:pt x="99" y="81"/>
                  <a:pt x="100" y="81"/>
                  <a:pt x="100" y="82"/>
                </a:cubicBezTo>
                <a:cubicBezTo>
                  <a:pt x="98" y="81"/>
                  <a:pt x="99" y="84"/>
                  <a:pt x="99" y="85"/>
                </a:cubicBezTo>
                <a:cubicBezTo>
                  <a:pt x="100" y="87"/>
                  <a:pt x="98" y="89"/>
                  <a:pt x="99" y="91"/>
                </a:cubicBezTo>
                <a:cubicBezTo>
                  <a:pt x="99" y="90"/>
                  <a:pt x="100" y="90"/>
                  <a:pt x="101" y="91"/>
                </a:cubicBezTo>
                <a:cubicBezTo>
                  <a:pt x="100" y="90"/>
                  <a:pt x="99" y="98"/>
                  <a:pt x="98" y="99"/>
                </a:cubicBezTo>
                <a:cubicBezTo>
                  <a:pt x="99" y="99"/>
                  <a:pt x="99" y="103"/>
                  <a:pt x="100" y="104"/>
                </a:cubicBezTo>
                <a:cubicBezTo>
                  <a:pt x="101" y="106"/>
                  <a:pt x="104" y="106"/>
                  <a:pt x="105" y="107"/>
                </a:cubicBezTo>
                <a:cubicBezTo>
                  <a:pt x="101" y="106"/>
                  <a:pt x="97" y="108"/>
                  <a:pt x="93" y="109"/>
                </a:cubicBezTo>
                <a:cubicBezTo>
                  <a:pt x="92" y="109"/>
                  <a:pt x="91" y="109"/>
                  <a:pt x="90" y="108"/>
                </a:cubicBezTo>
                <a:cubicBezTo>
                  <a:pt x="90" y="107"/>
                  <a:pt x="90" y="105"/>
                  <a:pt x="90" y="105"/>
                </a:cubicBezTo>
                <a:cubicBezTo>
                  <a:pt x="89" y="104"/>
                  <a:pt x="87" y="105"/>
                  <a:pt x="86" y="106"/>
                </a:cubicBezTo>
                <a:cubicBezTo>
                  <a:pt x="84" y="107"/>
                  <a:pt x="86" y="109"/>
                  <a:pt x="87" y="110"/>
                </a:cubicBezTo>
                <a:cubicBezTo>
                  <a:pt x="84" y="110"/>
                  <a:pt x="88" y="112"/>
                  <a:pt x="86" y="113"/>
                </a:cubicBezTo>
                <a:cubicBezTo>
                  <a:pt x="86" y="111"/>
                  <a:pt x="85" y="107"/>
                  <a:pt x="82" y="107"/>
                </a:cubicBezTo>
                <a:cubicBezTo>
                  <a:pt x="82" y="107"/>
                  <a:pt x="81" y="108"/>
                  <a:pt x="81" y="109"/>
                </a:cubicBezTo>
                <a:cubicBezTo>
                  <a:pt x="81" y="109"/>
                  <a:pt x="81" y="109"/>
                  <a:pt x="80" y="109"/>
                </a:cubicBezTo>
                <a:cubicBezTo>
                  <a:pt x="79" y="111"/>
                  <a:pt x="80" y="107"/>
                  <a:pt x="79" y="110"/>
                </a:cubicBezTo>
                <a:cubicBezTo>
                  <a:pt x="79" y="110"/>
                  <a:pt x="78" y="107"/>
                  <a:pt x="77" y="108"/>
                </a:cubicBezTo>
                <a:cubicBezTo>
                  <a:pt x="77" y="108"/>
                  <a:pt x="76" y="109"/>
                  <a:pt x="76" y="108"/>
                </a:cubicBezTo>
                <a:cubicBezTo>
                  <a:pt x="75" y="107"/>
                  <a:pt x="78" y="107"/>
                  <a:pt x="76" y="105"/>
                </a:cubicBezTo>
                <a:cubicBezTo>
                  <a:pt x="75" y="108"/>
                  <a:pt x="73" y="106"/>
                  <a:pt x="71" y="107"/>
                </a:cubicBezTo>
                <a:cubicBezTo>
                  <a:pt x="72" y="108"/>
                  <a:pt x="65" y="112"/>
                  <a:pt x="64" y="113"/>
                </a:cubicBezTo>
                <a:cubicBezTo>
                  <a:pt x="62" y="112"/>
                  <a:pt x="61" y="107"/>
                  <a:pt x="59" y="105"/>
                </a:cubicBezTo>
                <a:cubicBezTo>
                  <a:pt x="58" y="104"/>
                  <a:pt x="57" y="102"/>
                  <a:pt x="57" y="102"/>
                </a:cubicBezTo>
                <a:cubicBezTo>
                  <a:pt x="56" y="102"/>
                  <a:pt x="55" y="101"/>
                  <a:pt x="54" y="101"/>
                </a:cubicBezTo>
                <a:cubicBezTo>
                  <a:pt x="56" y="100"/>
                  <a:pt x="55" y="99"/>
                  <a:pt x="54" y="99"/>
                </a:cubicBezTo>
                <a:cubicBezTo>
                  <a:pt x="53" y="100"/>
                  <a:pt x="53" y="102"/>
                  <a:pt x="52" y="102"/>
                </a:cubicBezTo>
                <a:cubicBezTo>
                  <a:pt x="53" y="101"/>
                  <a:pt x="53" y="99"/>
                  <a:pt x="53" y="97"/>
                </a:cubicBezTo>
                <a:cubicBezTo>
                  <a:pt x="51" y="98"/>
                  <a:pt x="50" y="99"/>
                  <a:pt x="49" y="101"/>
                </a:cubicBezTo>
                <a:cubicBezTo>
                  <a:pt x="49" y="100"/>
                  <a:pt x="50" y="98"/>
                  <a:pt x="49" y="98"/>
                </a:cubicBezTo>
                <a:cubicBezTo>
                  <a:pt x="49" y="97"/>
                  <a:pt x="43" y="101"/>
                  <a:pt x="43" y="100"/>
                </a:cubicBezTo>
                <a:cubicBezTo>
                  <a:pt x="42" y="99"/>
                  <a:pt x="42" y="99"/>
                  <a:pt x="40" y="99"/>
                </a:cubicBezTo>
                <a:cubicBezTo>
                  <a:pt x="39" y="99"/>
                  <a:pt x="38" y="101"/>
                  <a:pt x="39" y="102"/>
                </a:cubicBezTo>
                <a:cubicBezTo>
                  <a:pt x="39" y="103"/>
                  <a:pt x="38" y="104"/>
                  <a:pt x="38" y="105"/>
                </a:cubicBezTo>
                <a:cubicBezTo>
                  <a:pt x="36" y="106"/>
                  <a:pt x="35" y="105"/>
                  <a:pt x="33" y="104"/>
                </a:cubicBezTo>
                <a:cubicBezTo>
                  <a:pt x="32" y="104"/>
                  <a:pt x="31" y="104"/>
                  <a:pt x="30" y="104"/>
                </a:cubicBezTo>
                <a:cubicBezTo>
                  <a:pt x="29" y="105"/>
                  <a:pt x="30" y="107"/>
                  <a:pt x="29" y="106"/>
                </a:cubicBezTo>
                <a:cubicBezTo>
                  <a:pt x="29" y="106"/>
                  <a:pt x="30" y="107"/>
                  <a:pt x="29" y="108"/>
                </a:cubicBezTo>
                <a:cubicBezTo>
                  <a:pt x="29" y="108"/>
                  <a:pt x="28" y="107"/>
                  <a:pt x="28" y="106"/>
                </a:cubicBezTo>
                <a:cubicBezTo>
                  <a:pt x="28" y="106"/>
                  <a:pt x="27" y="106"/>
                  <a:pt x="26" y="107"/>
                </a:cubicBezTo>
                <a:cubicBezTo>
                  <a:pt x="26" y="106"/>
                  <a:pt x="26" y="105"/>
                  <a:pt x="26" y="103"/>
                </a:cubicBezTo>
                <a:cubicBezTo>
                  <a:pt x="24" y="104"/>
                  <a:pt x="23" y="105"/>
                  <a:pt x="22" y="105"/>
                </a:cubicBezTo>
                <a:cubicBezTo>
                  <a:pt x="21" y="105"/>
                  <a:pt x="18" y="106"/>
                  <a:pt x="19" y="107"/>
                </a:cubicBezTo>
                <a:cubicBezTo>
                  <a:pt x="18" y="107"/>
                  <a:pt x="17" y="107"/>
                  <a:pt x="16" y="108"/>
                </a:cubicBezTo>
                <a:cubicBezTo>
                  <a:pt x="17" y="105"/>
                  <a:pt x="12" y="106"/>
                  <a:pt x="13" y="107"/>
                </a:cubicBezTo>
                <a:cubicBezTo>
                  <a:pt x="12" y="108"/>
                  <a:pt x="7" y="108"/>
                  <a:pt x="8" y="109"/>
                </a:cubicBezTo>
                <a:cubicBezTo>
                  <a:pt x="8" y="109"/>
                  <a:pt x="6" y="109"/>
                  <a:pt x="7" y="111"/>
                </a:cubicBezTo>
                <a:cubicBezTo>
                  <a:pt x="5" y="109"/>
                  <a:pt x="1" y="111"/>
                  <a:pt x="1" y="114"/>
                </a:cubicBezTo>
                <a:cubicBezTo>
                  <a:pt x="2" y="115"/>
                  <a:pt x="1" y="115"/>
                  <a:pt x="1" y="117"/>
                </a:cubicBezTo>
                <a:cubicBezTo>
                  <a:pt x="0" y="118"/>
                  <a:pt x="1" y="118"/>
                  <a:pt x="1" y="119"/>
                </a:cubicBezTo>
                <a:cubicBezTo>
                  <a:pt x="0" y="123"/>
                  <a:pt x="14" y="118"/>
                  <a:pt x="15" y="117"/>
                </a:cubicBezTo>
                <a:cubicBezTo>
                  <a:pt x="14" y="119"/>
                  <a:pt x="11" y="118"/>
                  <a:pt x="10" y="121"/>
                </a:cubicBezTo>
                <a:cubicBezTo>
                  <a:pt x="12" y="120"/>
                  <a:pt x="14" y="120"/>
                  <a:pt x="16" y="120"/>
                </a:cubicBezTo>
                <a:cubicBezTo>
                  <a:pt x="15" y="120"/>
                  <a:pt x="15" y="121"/>
                  <a:pt x="14" y="121"/>
                </a:cubicBezTo>
                <a:cubicBezTo>
                  <a:pt x="16" y="121"/>
                  <a:pt x="17" y="122"/>
                  <a:pt x="18" y="122"/>
                </a:cubicBezTo>
                <a:cubicBezTo>
                  <a:pt x="17" y="123"/>
                  <a:pt x="16" y="123"/>
                  <a:pt x="15" y="123"/>
                </a:cubicBezTo>
                <a:cubicBezTo>
                  <a:pt x="16" y="123"/>
                  <a:pt x="16" y="123"/>
                  <a:pt x="16" y="123"/>
                </a:cubicBezTo>
                <a:cubicBezTo>
                  <a:pt x="15" y="122"/>
                  <a:pt x="6" y="124"/>
                  <a:pt x="8" y="121"/>
                </a:cubicBezTo>
                <a:cubicBezTo>
                  <a:pt x="7" y="121"/>
                  <a:pt x="5" y="124"/>
                  <a:pt x="5" y="124"/>
                </a:cubicBezTo>
                <a:cubicBezTo>
                  <a:pt x="5" y="125"/>
                  <a:pt x="7" y="124"/>
                  <a:pt x="7" y="125"/>
                </a:cubicBezTo>
                <a:cubicBezTo>
                  <a:pt x="7" y="126"/>
                  <a:pt x="7" y="127"/>
                  <a:pt x="7" y="128"/>
                </a:cubicBezTo>
                <a:cubicBezTo>
                  <a:pt x="8" y="128"/>
                  <a:pt x="8" y="125"/>
                  <a:pt x="10" y="125"/>
                </a:cubicBezTo>
                <a:cubicBezTo>
                  <a:pt x="11" y="125"/>
                  <a:pt x="12" y="126"/>
                  <a:pt x="13" y="126"/>
                </a:cubicBezTo>
                <a:cubicBezTo>
                  <a:pt x="14" y="127"/>
                  <a:pt x="17" y="130"/>
                  <a:pt x="14" y="131"/>
                </a:cubicBezTo>
                <a:cubicBezTo>
                  <a:pt x="12" y="132"/>
                  <a:pt x="2" y="130"/>
                  <a:pt x="1" y="134"/>
                </a:cubicBezTo>
                <a:cubicBezTo>
                  <a:pt x="4" y="135"/>
                  <a:pt x="8" y="134"/>
                  <a:pt x="10" y="137"/>
                </a:cubicBezTo>
                <a:cubicBezTo>
                  <a:pt x="11" y="139"/>
                  <a:pt x="12" y="141"/>
                  <a:pt x="12" y="142"/>
                </a:cubicBezTo>
                <a:cubicBezTo>
                  <a:pt x="12" y="143"/>
                  <a:pt x="11" y="143"/>
                  <a:pt x="11" y="144"/>
                </a:cubicBezTo>
                <a:cubicBezTo>
                  <a:pt x="12" y="145"/>
                  <a:pt x="16" y="145"/>
                  <a:pt x="17" y="144"/>
                </a:cubicBezTo>
                <a:cubicBezTo>
                  <a:pt x="19" y="143"/>
                  <a:pt x="16" y="142"/>
                  <a:pt x="17" y="141"/>
                </a:cubicBezTo>
                <a:cubicBezTo>
                  <a:pt x="17" y="141"/>
                  <a:pt x="18" y="142"/>
                  <a:pt x="19" y="142"/>
                </a:cubicBezTo>
                <a:cubicBezTo>
                  <a:pt x="20" y="141"/>
                  <a:pt x="18" y="140"/>
                  <a:pt x="19" y="139"/>
                </a:cubicBezTo>
                <a:cubicBezTo>
                  <a:pt x="19" y="141"/>
                  <a:pt x="22" y="142"/>
                  <a:pt x="22" y="142"/>
                </a:cubicBezTo>
                <a:cubicBezTo>
                  <a:pt x="24" y="142"/>
                  <a:pt x="23" y="138"/>
                  <a:pt x="25" y="142"/>
                </a:cubicBezTo>
                <a:cubicBezTo>
                  <a:pt x="27" y="145"/>
                  <a:pt x="28" y="144"/>
                  <a:pt x="31" y="144"/>
                </a:cubicBezTo>
                <a:cubicBezTo>
                  <a:pt x="32" y="144"/>
                  <a:pt x="37" y="145"/>
                  <a:pt x="38" y="147"/>
                </a:cubicBezTo>
                <a:cubicBezTo>
                  <a:pt x="38" y="149"/>
                  <a:pt x="42" y="149"/>
                  <a:pt x="41" y="147"/>
                </a:cubicBezTo>
                <a:cubicBezTo>
                  <a:pt x="42" y="147"/>
                  <a:pt x="43" y="146"/>
                  <a:pt x="44" y="145"/>
                </a:cubicBezTo>
                <a:cubicBezTo>
                  <a:pt x="44" y="147"/>
                  <a:pt x="43" y="147"/>
                  <a:pt x="42" y="148"/>
                </a:cubicBezTo>
                <a:cubicBezTo>
                  <a:pt x="43" y="148"/>
                  <a:pt x="43" y="149"/>
                  <a:pt x="44" y="149"/>
                </a:cubicBezTo>
                <a:cubicBezTo>
                  <a:pt x="43" y="149"/>
                  <a:pt x="43" y="149"/>
                  <a:pt x="42" y="149"/>
                </a:cubicBezTo>
                <a:cubicBezTo>
                  <a:pt x="43" y="149"/>
                  <a:pt x="46" y="151"/>
                  <a:pt x="46" y="150"/>
                </a:cubicBezTo>
                <a:cubicBezTo>
                  <a:pt x="46" y="150"/>
                  <a:pt x="49" y="149"/>
                  <a:pt x="47" y="147"/>
                </a:cubicBezTo>
                <a:cubicBezTo>
                  <a:pt x="48" y="146"/>
                  <a:pt x="50" y="148"/>
                  <a:pt x="49" y="149"/>
                </a:cubicBezTo>
                <a:cubicBezTo>
                  <a:pt x="48" y="150"/>
                  <a:pt x="46" y="150"/>
                  <a:pt x="47" y="152"/>
                </a:cubicBezTo>
                <a:cubicBezTo>
                  <a:pt x="48" y="154"/>
                  <a:pt x="48" y="154"/>
                  <a:pt x="48" y="156"/>
                </a:cubicBezTo>
                <a:cubicBezTo>
                  <a:pt x="48" y="157"/>
                  <a:pt x="48" y="159"/>
                  <a:pt x="49" y="158"/>
                </a:cubicBezTo>
                <a:cubicBezTo>
                  <a:pt x="49" y="158"/>
                  <a:pt x="48" y="153"/>
                  <a:pt x="49" y="154"/>
                </a:cubicBezTo>
                <a:cubicBezTo>
                  <a:pt x="50" y="154"/>
                  <a:pt x="52" y="155"/>
                  <a:pt x="52" y="153"/>
                </a:cubicBezTo>
                <a:cubicBezTo>
                  <a:pt x="52" y="154"/>
                  <a:pt x="54" y="155"/>
                  <a:pt x="54" y="155"/>
                </a:cubicBezTo>
                <a:cubicBezTo>
                  <a:pt x="54" y="155"/>
                  <a:pt x="54" y="151"/>
                  <a:pt x="53" y="151"/>
                </a:cubicBezTo>
                <a:cubicBezTo>
                  <a:pt x="55" y="152"/>
                  <a:pt x="55" y="154"/>
                  <a:pt x="57" y="153"/>
                </a:cubicBezTo>
                <a:cubicBezTo>
                  <a:pt x="58" y="153"/>
                  <a:pt x="59" y="152"/>
                  <a:pt x="59" y="152"/>
                </a:cubicBezTo>
                <a:cubicBezTo>
                  <a:pt x="60" y="152"/>
                  <a:pt x="62" y="152"/>
                  <a:pt x="60" y="152"/>
                </a:cubicBezTo>
                <a:cubicBezTo>
                  <a:pt x="60" y="153"/>
                  <a:pt x="62" y="154"/>
                  <a:pt x="62" y="152"/>
                </a:cubicBezTo>
                <a:cubicBezTo>
                  <a:pt x="64" y="153"/>
                  <a:pt x="60" y="156"/>
                  <a:pt x="58" y="155"/>
                </a:cubicBezTo>
                <a:cubicBezTo>
                  <a:pt x="58" y="156"/>
                  <a:pt x="54" y="154"/>
                  <a:pt x="56" y="156"/>
                </a:cubicBezTo>
                <a:cubicBezTo>
                  <a:pt x="57" y="158"/>
                  <a:pt x="60" y="158"/>
                  <a:pt x="62" y="157"/>
                </a:cubicBezTo>
                <a:cubicBezTo>
                  <a:pt x="64" y="156"/>
                  <a:pt x="63" y="156"/>
                  <a:pt x="65" y="156"/>
                </a:cubicBezTo>
                <a:cubicBezTo>
                  <a:pt x="65" y="156"/>
                  <a:pt x="64" y="157"/>
                  <a:pt x="64" y="157"/>
                </a:cubicBezTo>
                <a:cubicBezTo>
                  <a:pt x="66" y="156"/>
                  <a:pt x="69" y="157"/>
                  <a:pt x="72" y="158"/>
                </a:cubicBezTo>
                <a:cubicBezTo>
                  <a:pt x="71" y="158"/>
                  <a:pt x="68" y="157"/>
                  <a:pt x="68" y="159"/>
                </a:cubicBezTo>
                <a:cubicBezTo>
                  <a:pt x="68" y="160"/>
                  <a:pt x="70" y="161"/>
                  <a:pt x="70" y="161"/>
                </a:cubicBezTo>
                <a:cubicBezTo>
                  <a:pt x="70" y="162"/>
                  <a:pt x="67" y="163"/>
                  <a:pt x="66" y="163"/>
                </a:cubicBezTo>
                <a:cubicBezTo>
                  <a:pt x="67" y="163"/>
                  <a:pt x="67" y="164"/>
                  <a:pt x="67" y="166"/>
                </a:cubicBezTo>
                <a:cubicBezTo>
                  <a:pt x="68" y="164"/>
                  <a:pt x="69" y="166"/>
                  <a:pt x="69" y="166"/>
                </a:cubicBezTo>
                <a:cubicBezTo>
                  <a:pt x="69" y="167"/>
                  <a:pt x="66" y="167"/>
                  <a:pt x="66" y="166"/>
                </a:cubicBezTo>
                <a:cubicBezTo>
                  <a:pt x="67" y="167"/>
                  <a:pt x="68" y="168"/>
                  <a:pt x="69" y="168"/>
                </a:cubicBezTo>
                <a:cubicBezTo>
                  <a:pt x="70" y="168"/>
                  <a:pt x="70" y="167"/>
                  <a:pt x="71" y="168"/>
                </a:cubicBezTo>
                <a:cubicBezTo>
                  <a:pt x="74" y="169"/>
                  <a:pt x="75" y="169"/>
                  <a:pt x="77" y="167"/>
                </a:cubicBezTo>
                <a:cubicBezTo>
                  <a:pt x="79" y="165"/>
                  <a:pt x="82" y="165"/>
                  <a:pt x="84" y="166"/>
                </a:cubicBezTo>
                <a:cubicBezTo>
                  <a:pt x="86" y="167"/>
                  <a:pt x="88" y="170"/>
                  <a:pt x="90" y="171"/>
                </a:cubicBezTo>
                <a:cubicBezTo>
                  <a:pt x="89" y="171"/>
                  <a:pt x="87" y="170"/>
                  <a:pt x="86" y="169"/>
                </a:cubicBezTo>
                <a:cubicBezTo>
                  <a:pt x="84" y="168"/>
                  <a:pt x="84" y="167"/>
                  <a:pt x="81" y="167"/>
                </a:cubicBezTo>
                <a:cubicBezTo>
                  <a:pt x="80" y="167"/>
                  <a:pt x="77" y="167"/>
                  <a:pt x="77" y="169"/>
                </a:cubicBezTo>
                <a:cubicBezTo>
                  <a:pt x="78" y="172"/>
                  <a:pt x="76" y="172"/>
                  <a:pt x="75" y="174"/>
                </a:cubicBezTo>
                <a:cubicBezTo>
                  <a:pt x="76" y="174"/>
                  <a:pt x="85" y="176"/>
                  <a:pt x="81" y="179"/>
                </a:cubicBezTo>
                <a:cubicBezTo>
                  <a:pt x="80" y="180"/>
                  <a:pt x="77" y="184"/>
                  <a:pt x="77" y="187"/>
                </a:cubicBezTo>
                <a:cubicBezTo>
                  <a:pt x="78" y="189"/>
                  <a:pt x="81" y="191"/>
                  <a:pt x="83" y="193"/>
                </a:cubicBezTo>
                <a:cubicBezTo>
                  <a:pt x="84" y="194"/>
                  <a:pt x="85" y="196"/>
                  <a:pt x="86" y="198"/>
                </a:cubicBezTo>
                <a:cubicBezTo>
                  <a:pt x="86" y="199"/>
                  <a:pt x="86" y="202"/>
                  <a:pt x="87" y="202"/>
                </a:cubicBezTo>
                <a:cubicBezTo>
                  <a:pt x="87" y="202"/>
                  <a:pt x="87" y="201"/>
                  <a:pt x="87" y="201"/>
                </a:cubicBezTo>
                <a:cubicBezTo>
                  <a:pt x="88" y="203"/>
                  <a:pt x="92" y="205"/>
                  <a:pt x="93" y="205"/>
                </a:cubicBezTo>
                <a:cubicBezTo>
                  <a:pt x="96" y="205"/>
                  <a:pt x="96" y="208"/>
                  <a:pt x="99" y="209"/>
                </a:cubicBezTo>
                <a:cubicBezTo>
                  <a:pt x="100" y="209"/>
                  <a:pt x="100" y="209"/>
                  <a:pt x="101" y="210"/>
                </a:cubicBezTo>
                <a:cubicBezTo>
                  <a:pt x="102" y="210"/>
                  <a:pt x="103" y="212"/>
                  <a:pt x="104" y="212"/>
                </a:cubicBezTo>
                <a:cubicBezTo>
                  <a:pt x="105" y="211"/>
                  <a:pt x="105" y="209"/>
                  <a:pt x="106" y="210"/>
                </a:cubicBezTo>
                <a:cubicBezTo>
                  <a:pt x="107" y="210"/>
                  <a:pt x="108" y="212"/>
                  <a:pt x="107" y="213"/>
                </a:cubicBezTo>
                <a:cubicBezTo>
                  <a:pt x="106" y="214"/>
                  <a:pt x="105" y="214"/>
                  <a:pt x="104" y="216"/>
                </a:cubicBezTo>
                <a:cubicBezTo>
                  <a:pt x="104" y="217"/>
                  <a:pt x="105" y="217"/>
                  <a:pt x="106" y="218"/>
                </a:cubicBezTo>
                <a:cubicBezTo>
                  <a:pt x="107" y="219"/>
                  <a:pt x="110" y="223"/>
                  <a:pt x="107" y="224"/>
                </a:cubicBezTo>
                <a:cubicBezTo>
                  <a:pt x="106" y="224"/>
                  <a:pt x="109" y="228"/>
                  <a:pt x="107" y="228"/>
                </a:cubicBezTo>
                <a:cubicBezTo>
                  <a:pt x="106" y="228"/>
                  <a:pt x="106" y="231"/>
                  <a:pt x="106" y="232"/>
                </a:cubicBezTo>
                <a:cubicBezTo>
                  <a:pt x="107" y="234"/>
                  <a:pt x="108" y="235"/>
                  <a:pt x="109" y="236"/>
                </a:cubicBezTo>
                <a:cubicBezTo>
                  <a:pt x="107" y="236"/>
                  <a:pt x="103" y="229"/>
                  <a:pt x="102" y="236"/>
                </a:cubicBezTo>
                <a:cubicBezTo>
                  <a:pt x="102" y="238"/>
                  <a:pt x="104" y="238"/>
                  <a:pt x="105" y="238"/>
                </a:cubicBezTo>
                <a:cubicBezTo>
                  <a:pt x="107" y="240"/>
                  <a:pt x="109" y="242"/>
                  <a:pt x="111" y="244"/>
                </a:cubicBezTo>
                <a:cubicBezTo>
                  <a:pt x="113" y="246"/>
                  <a:pt x="115" y="247"/>
                  <a:pt x="117" y="250"/>
                </a:cubicBezTo>
                <a:cubicBezTo>
                  <a:pt x="118" y="252"/>
                  <a:pt x="118" y="256"/>
                  <a:pt x="118" y="259"/>
                </a:cubicBezTo>
                <a:cubicBezTo>
                  <a:pt x="118" y="261"/>
                  <a:pt x="118" y="265"/>
                  <a:pt x="120" y="266"/>
                </a:cubicBezTo>
                <a:cubicBezTo>
                  <a:pt x="121" y="267"/>
                  <a:pt x="123" y="267"/>
                  <a:pt x="124" y="269"/>
                </a:cubicBezTo>
                <a:cubicBezTo>
                  <a:pt x="123" y="268"/>
                  <a:pt x="122" y="267"/>
                  <a:pt x="121" y="268"/>
                </a:cubicBezTo>
                <a:cubicBezTo>
                  <a:pt x="123" y="269"/>
                  <a:pt x="122" y="271"/>
                  <a:pt x="122" y="273"/>
                </a:cubicBezTo>
                <a:cubicBezTo>
                  <a:pt x="121" y="272"/>
                  <a:pt x="122" y="269"/>
                  <a:pt x="121" y="268"/>
                </a:cubicBezTo>
                <a:cubicBezTo>
                  <a:pt x="120" y="267"/>
                  <a:pt x="119" y="266"/>
                  <a:pt x="118" y="265"/>
                </a:cubicBezTo>
                <a:cubicBezTo>
                  <a:pt x="116" y="262"/>
                  <a:pt x="117" y="258"/>
                  <a:pt x="116" y="255"/>
                </a:cubicBezTo>
                <a:cubicBezTo>
                  <a:pt x="115" y="252"/>
                  <a:pt x="113" y="250"/>
                  <a:pt x="110" y="248"/>
                </a:cubicBezTo>
                <a:cubicBezTo>
                  <a:pt x="109" y="247"/>
                  <a:pt x="108" y="244"/>
                  <a:pt x="107" y="244"/>
                </a:cubicBezTo>
                <a:cubicBezTo>
                  <a:pt x="105" y="243"/>
                  <a:pt x="99" y="280"/>
                  <a:pt x="100" y="284"/>
                </a:cubicBezTo>
                <a:cubicBezTo>
                  <a:pt x="100" y="282"/>
                  <a:pt x="102" y="277"/>
                  <a:pt x="104" y="280"/>
                </a:cubicBezTo>
                <a:cubicBezTo>
                  <a:pt x="106" y="283"/>
                  <a:pt x="106" y="284"/>
                  <a:pt x="103" y="284"/>
                </a:cubicBezTo>
                <a:cubicBezTo>
                  <a:pt x="101" y="284"/>
                  <a:pt x="99" y="288"/>
                  <a:pt x="99" y="289"/>
                </a:cubicBezTo>
                <a:cubicBezTo>
                  <a:pt x="99" y="291"/>
                  <a:pt x="99" y="293"/>
                  <a:pt x="99" y="294"/>
                </a:cubicBezTo>
                <a:cubicBezTo>
                  <a:pt x="98" y="297"/>
                  <a:pt x="98" y="300"/>
                  <a:pt x="97" y="302"/>
                </a:cubicBezTo>
                <a:cubicBezTo>
                  <a:pt x="96" y="308"/>
                  <a:pt x="95" y="311"/>
                  <a:pt x="94" y="317"/>
                </a:cubicBezTo>
                <a:cubicBezTo>
                  <a:pt x="93" y="321"/>
                  <a:pt x="93" y="328"/>
                  <a:pt x="91" y="331"/>
                </a:cubicBezTo>
                <a:cubicBezTo>
                  <a:pt x="89" y="334"/>
                  <a:pt x="87" y="339"/>
                  <a:pt x="84" y="340"/>
                </a:cubicBezTo>
                <a:cubicBezTo>
                  <a:pt x="83" y="341"/>
                  <a:pt x="81" y="340"/>
                  <a:pt x="81" y="342"/>
                </a:cubicBezTo>
                <a:cubicBezTo>
                  <a:pt x="80" y="343"/>
                  <a:pt x="82" y="343"/>
                  <a:pt x="82" y="344"/>
                </a:cubicBezTo>
                <a:cubicBezTo>
                  <a:pt x="83" y="344"/>
                  <a:pt x="85" y="343"/>
                  <a:pt x="85" y="345"/>
                </a:cubicBezTo>
                <a:cubicBezTo>
                  <a:pt x="85" y="346"/>
                  <a:pt x="86" y="346"/>
                  <a:pt x="87" y="346"/>
                </a:cubicBezTo>
                <a:cubicBezTo>
                  <a:pt x="89" y="343"/>
                  <a:pt x="93" y="346"/>
                  <a:pt x="92" y="349"/>
                </a:cubicBezTo>
                <a:cubicBezTo>
                  <a:pt x="92" y="351"/>
                  <a:pt x="87" y="358"/>
                  <a:pt x="93" y="356"/>
                </a:cubicBezTo>
                <a:cubicBezTo>
                  <a:pt x="94" y="356"/>
                  <a:pt x="93" y="352"/>
                  <a:pt x="96" y="353"/>
                </a:cubicBezTo>
                <a:cubicBezTo>
                  <a:pt x="93" y="354"/>
                  <a:pt x="101" y="357"/>
                  <a:pt x="102" y="358"/>
                </a:cubicBezTo>
                <a:cubicBezTo>
                  <a:pt x="104" y="358"/>
                  <a:pt x="106" y="360"/>
                  <a:pt x="108" y="360"/>
                </a:cubicBezTo>
                <a:cubicBezTo>
                  <a:pt x="110" y="360"/>
                  <a:pt x="112" y="358"/>
                  <a:pt x="113" y="361"/>
                </a:cubicBezTo>
                <a:cubicBezTo>
                  <a:pt x="113" y="363"/>
                  <a:pt x="115" y="364"/>
                  <a:pt x="116" y="365"/>
                </a:cubicBezTo>
                <a:cubicBezTo>
                  <a:pt x="117" y="367"/>
                  <a:pt x="118" y="367"/>
                  <a:pt x="120" y="367"/>
                </a:cubicBezTo>
                <a:cubicBezTo>
                  <a:pt x="122" y="367"/>
                  <a:pt x="124" y="367"/>
                  <a:pt x="125" y="365"/>
                </a:cubicBezTo>
                <a:cubicBezTo>
                  <a:pt x="126" y="366"/>
                  <a:pt x="129" y="368"/>
                  <a:pt x="130" y="367"/>
                </a:cubicBezTo>
                <a:cubicBezTo>
                  <a:pt x="130" y="369"/>
                  <a:pt x="133" y="372"/>
                  <a:pt x="135" y="372"/>
                </a:cubicBezTo>
                <a:cubicBezTo>
                  <a:pt x="138" y="372"/>
                  <a:pt x="140" y="368"/>
                  <a:pt x="143" y="371"/>
                </a:cubicBezTo>
                <a:cubicBezTo>
                  <a:pt x="145" y="373"/>
                  <a:pt x="145" y="371"/>
                  <a:pt x="147" y="371"/>
                </a:cubicBezTo>
                <a:cubicBezTo>
                  <a:pt x="150" y="372"/>
                  <a:pt x="153" y="371"/>
                  <a:pt x="156" y="372"/>
                </a:cubicBezTo>
                <a:cubicBezTo>
                  <a:pt x="156" y="370"/>
                  <a:pt x="155" y="365"/>
                  <a:pt x="157" y="365"/>
                </a:cubicBezTo>
                <a:cubicBezTo>
                  <a:pt x="159" y="364"/>
                  <a:pt x="163" y="366"/>
                  <a:pt x="165" y="367"/>
                </a:cubicBezTo>
                <a:cubicBezTo>
                  <a:pt x="166" y="367"/>
                  <a:pt x="169" y="367"/>
                  <a:pt x="170" y="368"/>
                </a:cubicBezTo>
                <a:cubicBezTo>
                  <a:pt x="171" y="369"/>
                  <a:pt x="170" y="370"/>
                  <a:pt x="172" y="370"/>
                </a:cubicBezTo>
                <a:cubicBezTo>
                  <a:pt x="174" y="371"/>
                  <a:pt x="176" y="370"/>
                  <a:pt x="178" y="371"/>
                </a:cubicBezTo>
                <a:cubicBezTo>
                  <a:pt x="179" y="372"/>
                  <a:pt x="179" y="375"/>
                  <a:pt x="181" y="376"/>
                </a:cubicBezTo>
                <a:cubicBezTo>
                  <a:pt x="181" y="376"/>
                  <a:pt x="182" y="374"/>
                  <a:pt x="183" y="374"/>
                </a:cubicBezTo>
                <a:cubicBezTo>
                  <a:pt x="184" y="373"/>
                  <a:pt x="191" y="375"/>
                  <a:pt x="191" y="377"/>
                </a:cubicBezTo>
                <a:cubicBezTo>
                  <a:pt x="191" y="377"/>
                  <a:pt x="189" y="378"/>
                  <a:pt x="189" y="380"/>
                </a:cubicBezTo>
                <a:cubicBezTo>
                  <a:pt x="189" y="381"/>
                  <a:pt x="190" y="381"/>
                  <a:pt x="191" y="381"/>
                </a:cubicBezTo>
                <a:cubicBezTo>
                  <a:pt x="193" y="381"/>
                  <a:pt x="195" y="382"/>
                  <a:pt x="196" y="384"/>
                </a:cubicBezTo>
                <a:cubicBezTo>
                  <a:pt x="197" y="385"/>
                  <a:pt x="196" y="386"/>
                  <a:pt x="198" y="387"/>
                </a:cubicBezTo>
                <a:cubicBezTo>
                  <a:pt x="200" y="387"/>
                  <a:pt x="201" y="384"/>
                  <a:pt x="203" y="384"/>
                </a:cubicBezTo>
                <a:cubicBezTo>
                  <a:pt x="204" y="383"/>
                  <a:pt x="206" y="383"/>
                  <a:pt x="207" y="383"/>
                </a:cubicBezTo>
                <a:cubicBezTo>
                  <a:pt x="212" y="385"/>
                  <a:pt x="214" y="388"/>
                  <a:pt x="219" y="387"/>
                </a:cubicBezTo>
                <a:cubicBezTo>
                  <a:pt x="217" y="384"/>
                  <a:pt x="225" y="382"/>
                  <a:pt x="226" y="382"/>
                </a:cubicBezTo>
                <a:cubicBezTo>
                  <a:pt x="230" y="381"/>
                  <a:pt x="231" y="384"/>
                  <a:pt x="234" y="383"/>
                </a:cubicBezTo>
                <a:cubicBezTo>
                  <a:pt x="234" y="382"/>
                  <a:pt x="233" y="379"/>
                  <a:pt x="232" y="379"/>
                </a:cubicBezTo>
                <a:cubicBezTo>
                  <a:pt x="230" y="378"/>
                  <a:pt x="230" y="376"/>
                  <a:pt x="230" y="375"/>
                </a:cubicBezTo>
                <a:cubicBezTo>
                  <a:pt x="230" y="371"/>
                  <a:pt x="231" y="367"/>
                  <a:pt x="231" y="363"/>
                </a:cubicBezTo>
                <a:cubicBezTo>
                  <a:pt x="230" y="364"/>
                  <a:pt x="230" y="368"/>
                  <a:pt x="228" y="366"/>
                </a:cubicBezTo>
                <a:cubicBezTo>
                  <a:pt x="227" y="365"/>
                  <a:pt x="229" y="363"/>
                  <a:pt x="229" y="361"/>
                </a:cubicBezTo>
                <a:cubicBezTo>
                  <a:pt x="230" y="362"/>
                  <a:pt x="230" y="363"/>
                  <a:pt x="231" y="363"/>
                </a:cubicBezTo>
                <a:cubicBezTo>
                  <a:pt x="232" y="361"/>
                  <a:pt x="229" y="361"/>
                  <a:pt x="229" y="360"/>
                </a:cubicBezTo>
                <a:cubicBezTo>
                  <a:pt x="229" y="359"/>
                  <a:pt x="231" y="360"/>
                  <a:pt x="230" y="360"/>
                </a:cubicBezTo>
                <a:cubicBezTo>
                  <a:pt x="231" y="360"/>
                  <a:pt x="232" y="357"/>
                  <a:pt x="232" y="356"/>
                </a:cubicBezTo>
                <a:cubicBezTo>
                  <a:pt x="232" y="354"/>
                  <a:pt x="230" y="355"/>
                  <a:pt x="231" y="353"/>
                </a:cubicBezTo>
                <a:cubicBezTo>
                  <a:pt x="231" y="357"/>
                  <a:pt x="235" y="352"/>
                  <a:pt x="235" y="351"/>
                </a:cubicBezTo>
                <a:cubicBezTo>
                  <a:pt x="237" y="349"/>
                  <a:pt x="239" y="347"/>
                  <a:pt x="241" y="346"/>
                </a:cubicBezTo>
                <a:cubicBezTo>
                  <a:pt x="243" y="345"/>
                  <a:pt x="245" y="346"/>
                  <a:pt x="246" y="345"/>
                </a:cubicBezTo>
                <a:cubicBezTo>
                  <a:pt x="248" y="343"/>
                  <a:pt x="252" y="340"/>
                  <a:pt x="254" y="339"/>
                </a:cubicBezTo>
                <a:cubicBezTo>
                  <a:pt x="257" y="336"/>
                  <a:pt x="259" y="333"/>
                  <a:pt x="262" y="333"/>
                </a:cubicBezTo>
                <a:cubicBezTo>
                  <a:pt x="265" y="332"/>
                  <a:pt x="265" y="333"/>
                  <a:pt x="266" y="335"/>
                </a:cubicBezTo>
                <a:cubicBezTo>
                  <a:pt x="266" y="338"/>
                  <a:pt x="269" y="337"/>
                  <a:pt x="270" y="337"/>
                </a:cubicBezTo>
                <a:cubicBezTo>
                  <a:pt x="267" y="336"/>
                  <a:pt x="271" y="334"/>
                  <a:pt x="271" y="336"/>
                </a:cubicBezTo>
                <a:cubicBezTo>
                  <a:pt x="271" y="338"/>
                  <a:pt x="274" y="338"/>
                  <a:pt x="275" y="337"/>
                </a:cubicBezTo>
                <a:cubicBezTo>
                  <a:pt x="276" y="337"/>
                  <a:pt x="279" y="337"/>
                  <a:pt x="280" y="339"/>
                </a:cubicBezTo>
                <a:cubicBezTo>
                  <a:pt x="280" y="339"/>
                  <a:pt x="278" y="340"/>
                  <a:pt x="279" y="341"/>
                </a:cubicBezTo>
                <a:cubicBezTo>
                  <a:pt x="281" y="342"/>
                  <a:pt x="286" y="343"/>
                  <a:pt x="287" y="341"/>
                </a:cubicBezTo>
                <a:cubicBezTo>
                  <a:pt x="287" y="341"/>
                  <a:pt x="287" y="341"/>
                  <a:pt x="287" y="341"/>
                </a:cubicBezTo>
                <a:cubicBezTo>
                  <a:pt x="287" y="341"/>
                  <a:pt x="287" y="341"/>
                  <a:pt x="288" y="341"/>
                </a:cubicBezTo>
                <a:cubicBezTo>
                  <a:pt x="289" y="341"/>
                  <a:pt x="288" y="338"/>
                  <a:pt x="290" y="338"/>
                </a:cubicBezTo>
                <a:cubicBezTo>
                  <a:pt x="291" y="338"/>
                  <a:pt x="292" y="339"/>
                  <a:pt x="293" y="339"/>
                </a:cubicBezTo>
                <a:cubicBezTo>
                  <a:pt x="296" y="339"/>
                  <a:pt x="291" y="334"/>
                  <a:pt x="294" y="333"/>
                </a:cubicBezTo>
                <a:cubicBezTo>
                  <a:pt x="296" y="333"/>
                  <a:pt x="296" y="334"/>
                  <a:pt x="297" y="336"/>
                </a:cubicBezTo>
                <a:cubicBezTo>
                  <a:pt x="298" y="337"/>
                  <a:pt x="298" y="336"/>
                  <a:pt x="299" y="336"/>
                </a:cubicBezTo>
                <a:cubicBezTo>
                  <a:pt x="300" y="336"/>
                  <a:pt x="299" y="338"/>
                  <a:pt x="298" y="339"/>
                </a:cubicBezTo>
                <a:cubicBezTo>
                  <a:pt x="297" y="339"/>
                  <a:pt x="296" y="339"/>
                  <a:pt x="295" y="339"/>
                </a:cubicBezTo>
                <a:cubicBezTo>
                  <a:pt x="293" y="340"/>
                  <a:pt x="292" y="341"/>
                  <a:pt x="294" y="342"/>
                </a:cubicBezTo>
                <a:cubicBezTo>
                  <a:pt x="296" y="343"/>
                  <a:pt x="298" y="343"/>
                  <a:pt x="299" y="343"/>
                </a:cubicBezTo>
                <a:cubicBezTo>
                  <a:pt x="302" y="342"/>
                  <a:pt x="304" y="342"/>
                  <a:pt x="304" y="346"/>
                </a:cubicBezTo>
                <a:cubicBezTo>
                  <a:pt x="304" y="349"/>
                  <a:pt x="307" y="348"/>
                  <a:pt x="308" y="348"/>
                </a:cubicBezTo>
                <a:cubicBezTo>
                  <a:pt x="310" y="348"/>
                  <a:pt x="311" y="350"/>
                  <a:pt x="313" y="350"/>
                </a:cubicBezTo>
                <a:cubicBezTo>
                  <a:pt x="315" y="350"/>
                  <a:pt x="316" y="352"/>
                  <a:pt x="318" y="352"/>
                </a:cubicBezTo>
                <a:cubicBezTo>
                  <a:pt x="316" y="353"/>
                  <a:pt x="317" y="355"/>
                  <a:pt x="318" y="355"/>
                </a:cubicBezTo>
                <a:cubicBezTo>
                  <a:pt x="319" y="355"/>
                  <a:pt x="320" y="354"/>
                  <a:pt x="321" y="354"/>
                </a:cubicBezTo>
                <a:cubicBezTo>
                  <a:pt x="321" y="353"/>
                  <a:pt x="320" y="353"/>
                  <a:pt x="320" y="353"/>
                </a:cubicBezTo>
                <a:cubicBezTo>
                  <a:pt x="321" y="351"/>
                  <a:pt x="324" y="353"/>
                  <a:pt x="326" y="353"/>
                </a:cubicBezTo>
                <a:cubicBezTo>
                  <a:pt x="327" y="353"/>
                  <a:pt x="328" y="355"/>
                  <a:pt x="326" y="355"/>
                </a:cubicBezTo>
                <a:cubicBezTo>
                  <a:pt x="330" y="357"/>
                  <a:pt x="327" y="353"/>
                  <a:pt x="330" y="352"/>
                </a:cubicBezTo>
                <a:cubicBezTo>
                  <a:pt x="331" y="352"/>
                  <a:pt x="332" y="352"/>
                  <a:pt x="333" y="352"/>
                </a:cubicBezTo>
                <a:cubicBezTo>
                  <a:pt x="333" y="353"/>
                  <a:pt x="334" y="353"/>
                  <a:pt x="334" y="354"/>
                </a:cubicBezTo>
                <a:cubicBezTo>
                  <a:pt x="336" y="353"/>
                  <a:pt x="334" y="352"/>
                  <a:pt x="335" y="352"/>
                </a:cubicBezTo>
                <a:cubicBezTo>
                  <a:pt x="336" y="350"/>
                  <a:pt x="339" y="350"/>
                  <a:pt x="341" y="349"/>
                </a:cubicBezTo>
                <a:cubicBezTo>
                  <a:pt x="342" y="348"/>
                  <a:pt x="343" y="351"/>
                  <a:pt x="344" y="349"/>
                </a:cubicBezTo>
                <a:cubicBezTo>
                  <a:pt x="347" y="345"/>
                  <a:pt x="344" y="345"/>
                  <a:pt x="342" y="345"/>
                </a:cubicBezTo>
                <a:cubicBezTo>
                  <a:pt x="344" y="343"/>
                  <a:pt x="346" y="343"/>
                  <a:pt x="347" y="340"/>
                </a:cubicBezTo>
                <a:cubicBezTo>
                  <a:pt x="347" y="338"/>
                  <a:pt x="349" y="339"/>
                  <a:pt x="350" y="339"/>
                </a:cubicBezTo>
                <a:cubicBezTo>
                  <a:pt x="353" y="338"/>
                  <a:pt x="355" y="329"/>
                  <a:pt x="359" y="333"/>
                </a:cubicBezTo>
                <a:cubicBezTo>
                  <a:pt x="360" y="330"/>
                  <a:pt x="360" y="328"/>
                  <a:pt x="362" y="327"/>
                </a:cubicBezTo>
                <a:cubicBezTo>
                  <a:pt x="364" y="326"/>
                  <a:pt x="365" y="327"/>
                  <a:pt x="367" y="326"/>
                </a:cubicBezTo>
                <a:cubicBezTo>
                  <a:pt x="367" y="325"/>
                  <a:pt x="368" y="323"/>
                  <a:pt x="369" y="324"/>
                </a:cubicBezTo>
                <a:cubicBezTo>
                  <a:pt x="370" y="325"/>
                  <a:pt x="370" y="322"/>
                  <a:pt x="372" y="323"/>
                </a:cubicBezTo>
                <a:cubicBezTo>
                  <a:pt x="370" y="318"/>
                  <a:pt x="372" y="316"/>
                  <a:pt x="375" y="313"/>
                </a:cubicBezTo>
                <a:cubicBezTo>
                  <a:pt x="378" y="310"/>
                  <a:pt x="377" y="308"/>
                  <a:pt x="376" y="305"/>
                </a:cubicBezTo>
                <a:cubicBezTo>
                  <a:pt x="376" y="304"/>
                  <a:pt x="371" y="306"/>
                  <a:pt x="371" y="307"/>
                </a:cubicBezTo>
                <a:cubicBezTo>
                  <a:pt x="368" y="307"/>
                  <a:pt x="366" y="307"/>
                  <a:pt x="363" y="306"/>
                </a:cubicBezTo>
                <a:cubicBezTo>
                  <a:pt x="361" y="305"/>
                  <a:pt x="359" y="303"/>
                  <a:pt x="357" y="302"/>
                </a:cubicBezTo>
                <a:cubicBezTo>
                  <a:pt x="355" y="301"/>
                  <a:pt x="353" y="298"/>
                  <a:pt x="352" y="297"/>
                </a:cubicBezTo>
                <a:cubicBezTo>
                  <a:pt x="351" y="294"/>
                  <a:pt x="354" y="294"/>
                  <a:pt x="353" y="293"/>
                </a:cubicBezTo>
                <a:cubicBezTo>
                  <a:pt x="350" y="290"/>
                  <a:pt x="352" y="289"/>
                  <a:pt x="353" y="288"/>
                </a:cubicBezTo>
                <a:cubicBezTo>
                  <a:pt x="355" y="285"/>
                  <a:pt x="354" y="283"/>
                  <a:pt x="356" y="282"/>
                </a:cubicBezTo>
                <a:cubicBezTo>
                  <a:pt x="358" y="282"/>
                  <a:pt x="358" y="281"/>
                  <a:pt x="357" y="279"/>
                </a:cubicBezTo>
                <a:cubicBezTo>
                  <a:pt x="356" y="278"/>
                  <a:pt x="357" y="276"/>
                  <a:pt x="356" y="275"/>
                </a:cubicBezTo>
                <a:cubicBezTo>
                  <a:pt x="355" y="275"/>
                  <a:pt x="354" y="275"/>
                  <a:pt x="353" y="275"/>
                </a:cubicBezTo>
                <a:cubicBezTo>
                  <a:pt x="351" y="275"/>
                  <a:pt x="348" y="273"/>
                  <a:pt x="348" y="271"/>
                </a:cubicBezTo>
                <a:cubicBezTo>
                  <a:pt x="348" y="267"/>
                  <a:pt x="345" y="266"/>
                  <a:pt x="344" y="264"/>
                </a:cubicBezTo>
                <a:cubicBezTo>
                  <a:pt x="344" y="263"/>
                  <a:pt x="345" y="263"/>
                  <a:pt x="348" y="262"/>
                </a:cubicBezTo>
                <a:cubicBezTo>
                  <a:pt x="349" y="261"/>
                  <a:pt x="350" y="263"/>
                  <a:pt x="352" y="262"/>
                </a:cubicBezTo>
                <a:cubicBezTo>
                  <a:pt x="353" y="262"/>
                  <a:pt x="354" y="261"/>
                  <a:pt x="354" y="260"/>
                </a:cubicBezTo>
                <a:cubicBezTo>
                  <a:pt x="356" y="258"/>
                  <a:pt x="358" y="259"/>
                  <a:pt x="360" y="258"/>
                </a:cubicBezTo>
                <a:cubicBezTo>
                  <a:pt x="361" y="257"/>
                  <a:pt x="360" y="254"/>
                  <a:pt x="361" y="253"/>
                </a:cubicBezTo>
                <a:cubicBezTo>
                  <a:pt x="362" y="251"/>
                  <a:pt x="361" y="250"/>
                  <a:pt x="360" y="249"/>
                </a:cubicBezTo>
                <a:cubicBezTo>
                  <a:pt x="358" y="247"/>
                  <a:pt x="355" y="246"/>
                  <a:pt x="355" y="242"/>
                </a:cubicBezTo>
                <a:cubicBezTo>
                  <a:pt x="355" y="239"/>
                  <a:pt x="355" y="240"/>
                  <a:pt x="353" y="238"/>
                </a:cubicBezTo>
                <a:cubicBezTo>
                  <a:pt x="351" y="237"/>
                  <a:pt x="350" y="236"/>
                  <a:pt x="350" y="233"/>
                </a:cubicBezTo>
                <a:cubicBezTo>
                  <a:pt x="351" y="231"/>
                  <a:pt x="352" y="231"/>
                  <a:pt x="354" y="231"/>
                </a:cubicBezTo>
                <a:cubicBezTo>
                  <a:pt x="355" y="230"/>
                  <a:pt x="358" y="229"/>
                  <a:pt x="357" y="226"/>
                </a:cubicBezTo>
                <a:cubicBezTo>
                  <a:pt x="357" y="224"/>
                  <a:pt x="355" y="221"/>
                  <a:pt x="353" y="222"/>
                </a:cubicBezTo>
                <a:cubicBezTo>
                  <a:pt x="352" y="222"/>
                  <a:pt x="353" y="219"/>
                  <a:pt x="352" y="218"/>
                </a:cubicBezTo>
                <a:cubicBezTo>
                  <a:pt x="350" y="218"/>
                  <a:pt x="350" y="216"/>
                  <a:pt x="351" y="214"/>
                </a:cubicBezTo>
                <a:cubicBezTo>
                  <a:pt x="351" y="213"/>
                  <a:pt x="352" y="212"/>
                  <a:pt x="351" y="211"/>
                </a:cubicBezTo>
                <a:cubicBezTo>
                  <a:pt x="351" y="210"/>
                  <a:pt x="350" y="210"/>
                  <a:pt x="350" y="208"/>
                </a:cubicBezTo>
                <a:cubicBezTo>
                  <a:pt x="350" y="207"/>
                  <a:pt x="352" y="205"/>
                  <a:pt x="350" y="204"/>
                </a:cubicBezTo>
                <a:cubicBezTo>
                  <a:pt x="345" y="203"/>
                  <a:pt x="342" y="205"/>
                  <a:pt x="338" y="206"/>
                </a:cubicBezTo>
                <a:cubicBezTo>
                  <a:pt x="336" y="207"/>
                  <a:pt x="333" y="207"/>
                  <a:pt x="333" y="210"/>
                </a:cubicBezTo>
                <a:cubicBezTo>
                  <a:pt x="333" y="211"/>
                  <a:pt x="336" y="213"/>
                  <a:pt x="335" y="214"/>
                </a:cubicBezTo>
                <a:cubicBezTo>
                  <a:pt x="334" y="215"/>
                  <a:pt x="332" y="216"/>
                  <a:pt x="331" y="217"/>
                </a:cubicBezTo>
                <a:cubicBezTo>
                  <a:pt x="329" y="218"/>
                  <a:pt x="327" y="217"/>
                  <a:pt x="325" y="218"/>
                </a:cubicBezTo>
                <a:cubicBezTo>
                  <a:pt x="326" y="217"/>
                  <a:pt x="325" y="215"/>
                  <a:pt x="326" y="214"/>
                </a:cubicBezTo>
                <a:cubicBezTo>
                  <a:pt x="327" y="213"/>
                  <a:pt x="329" y="213"/>
                  <a:pt x="329" y="212"/>
                </a:cubicBezTo>
                <a:cubicBezTo>
                  <a:pt x="331" y="210"/>
                  <a:pt x="331" y="207"/>
                  <a:pt x="328" y="205"/>
                </a:cubicBezTo>
                <a:cubicBezTo>
                  <a:pt x="329" y="204"/>
                  <a:pt x="330" y="201"/>
                  <a:pt x="331" y="200"/>
                </a:cubicBezTo>
                <a:cubicBezTo>
                  <a:pt x="331" y="198"/>
                  <a:pt x="330" y="197"/>
                  <a:pt x="332" y="196"/>
                </a:cubicBezTo>
                <a:cubicBezTo>
                  <a:pt x="334" y="194"/>
                  <a:pt x="338" y="193"/>
                  <a:pt x="340" y="190"/>
                </a:cubicBezTo>
                <a:cubicBezTo>
                  <a:pt x="341" y="188"/>
                  <a:pt x="339" y="183"/>
                  <a:pt x="341" y="181"/>
                </a:cubicBezTo>
                <a:cubicBezTo>
                  <a:pt x="343" y="180"/>
                  <a:pt x="345" y="180"/>
                  <a:pt x="346" y="179"/>
                </a:cubicBezTo>
                <a:cubicBezTo>
                  <a:pt x="348" y="178"/>
                  <a:pt x="348" y="177"/>
                  <a:pt x="349" y="176"/>
                </a:cubicBezTo>
                <a:cubicBezTo>
                  <a:pt x="350" y="174"/>
                  <a:pt x="352" y="173"/>
                  <a:pt x="353" y="171"/>
                </a:cubicBezTo>
                <a:cubicBezTo>
                  <a:pt x="354" y="170"/>
                  <a:pt x="356" y="170"/>
                  <a:pt x="356" y="168"/>
                </a:cubicBezTo>
                <a:cubicBezTo>
                  <a:pt x="355" y="168"/>
                  <a:pt x="356" y="167"/>
                  <a:pt x="356" y="167"/>
                </a:cubicBezTo>
                <a:cubicBezTo>
                  <a:pt x="357" y="167"/>
                  <a:pt x="359" y="165"/>
                  <a:pt x="359" y="164"/>
                </a:cubicBezTo>
                <a:cubicBezTo>
                  <a:pt x="359" y="163"/>
                  <a:pt x="356" y="164"/>
                  <a:pt x="355" y="164"/>
                </a:cubicBezTo>
                <a:cubicBezTo>
                  <a:pt x="352" y="164"/>
                  <a:pt x="357" y="161"/>
                  <a:pt x="357" y="160"/>
                </a:cubicBezTo>
                <a:cubicBezTo>
                  <a:pt x="358" y="158"/>
                  <a:pt x="358" y="158"/>
                  <a:pt x="359" y="158"/>
                </a:cubicBezTo>
                <a:cubicBezTo>
                  <a:pt x="360" y="158"/>
                  <a:pt x="363" y="158"/>
                  <a:pt x="363" y="158"/>
                </a:cubicBezTo>
                <a:cubicBezTo>
                  <a:pt x="362" y="161"/>
                  <a:pt x="365" y="161"/>
                  <a:pt x="367" y="161"/>
                </a:cubicBezTo>
                <a:cubicBezTo>
                  <a:pt x="368" y="160"/>
                  <a:pt x="369" y="160"/>
                  <a:pt x="370" y="160"/>
                </a:cubicBezTo>
                <a:cubicBezTo>
                  <a:pt x="372" y="159"/>
                  <a:pt x="370" y="158"/>
                  <a:pt x="371" y="158"/>
                </a:cubicBezTo>
                <a:cubicBezTo>
                  <a:pt x="371" y="158"/>
                  <a:pt x="374" y="157"/>
                  <a:pt x="373" y="156"/>
                </a:cubicBezTo>
                <a:cubicBezTo>
                  <a:pt x="375" y="154"/>
                  <a:pt x="376" y="154"/>
                  <a:pt x="374" y="151"/>
                </a:cubicBezTo>
                <a:cubicBezTo>
                  <a:pt x="373" y="150"/>
                  <a:pt x="374" y="145"/>
                  <a:pt x="374" y="143"/>
                </a:cubicBezTo>
                <a:cubicBezTo>
                  <a:pt x="374" y="142"/>
                  <a:pt x="377" y="137"/>
                  <a:pt x="376" y="136"/>
                </a:cubicBezTo>
                <a:cubicBezTo>
                  <a:pt x="374" y="133"/>
                  <a:pt x="376" y="129"/>
                  <a:pt x="377" y="127"/>
                </a:cubicBezTo>
                <a:cubicBezTo>
                  <a:pt x="378" y="125"/>
                  <a:pt x="378" y="123"/>
                  <a:pt x="379" y="122"/>
                </a:cubicBezTo>
                <a:cubicBezTo>
                  <a:pt x="381" y="121"/>
                  <a:pt x="381" y="120"/>
                  <a:pt x="381" y="118"/>
                </a:cubicBezTo>
                <a:cubicBezTo>
                  <a:pt x="381" y="115"/>
                  <a:pt x="382" y="109"/>
                  <a:pt x="384" y="107"/>
                </a:cubicBezTo>
                <a:cubicBezTo>
                  <a:pt x="386" y="105"/>
                  <a:pt x="387" y="104"/>
                  <a:pt x="388" y="102"/>
                </a:cubicBezTo>
                <a:cubicBezTo>
                  <a:pt x="389" y="101"/>
                  <a:pt x="391" y="101"/>
                  <a:pt x="391" y="100"/>
                </a:cubicBezTo>
                <a:cubicBezTo>
                  <a:pt x="393" y="97"/>
                  <a:pt x="393" y="94"/>
                  <a:pt x="395" y="93"/>
                </a:cubicBezTo>
                <a:cubicBezTo>
                  <a:pt x="392" y="92"/>
                  <a:pt x="388" y="90"/>
                  <a:pt x="385" y="89"/>
                </a:cubicBezTo>
                <a:cubicBezTo>
                  <a:pt x="383" y="89"/>
                  <a:pt x="381" y="89"/>
                  <a:pt x="379" y="90"/>
                </a:cubicBezTo>
                <a:close/>
                <a:moveTo>
                  <a:pt x="197" y="383"/>
                </a:moveTo>
                <a:cubicBezTo>
                  <a:pt x="195" y="382"/>
                  <a:pt x="198" y="379"/>
                  <a:pt x="197" y="383"/>
                </a:cubicBezTo>
                <a:close/>
                <a:moveTo>
                  <a:pt x="283" y="332"/>
                </a:moveTo>
                <a:cubicBezTo>
                  <a:pt x="285" y="333"/>
                  <a:pt x="284" y="338"/>
                  <a:pt x="285" y="340"/>
                </a:cubicBezTo>
                <a:cubicBezTo>
                  <a:pt x="285" y="339"/>
                  <a:pt x="284" y="339"/>
                  <a:pt x="284" y="339"/>
                </a:cubicBezTo>
                <a:cubicBezTo>
                  <a:pt x="283" y="337"/>
                  <a:pt x="284" y="334"/>
                  <a:pt x="283" y="332"/>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4">
            <a:extLst>
              <a:ext uri="{FF2B5EF4-FFF2-40B4-BE49-F238E27FC236}">
                <a16:creationId xmlns:a16="http://schemas.microsoft.com/office/drawing/2014/main" id="{459B8047-1123-498F-86C3-16C752A52D0C}"/>
              </a:ext>
            </a:extLst>
          </p:cNvPr>
          <p:cNvSpPr>
            <a:spLocks/>
          </p:cNvSpPr>
          <p:nvPr/>
        </p:nvSpPr>
        <p:spPr bwMode="auto">
          <a:xfrm>
            <a:off x="1232445" y="4733107"/>
            <a:ext cx="9445" cy="5960"/>
          </a:xfrm>
          <a:custGeom>
            <a:avLst/>
            <a:gdLst>
              <a:gd name="T0" fmla="*/ 0 w 3"/>
              <a:gd name="T1" fmla="*/ 1 h 2"/>
              <a:gd name="T2" fmla="*/ 1 w 3"/>
              <a:gd name="T3" fmla="*/ 2 h 2"/>
              <a:gd name="T4" fmla="*/ 1 w 3"/>
              <a:gd name="T5" fmla="*/ 2 h 2"/>
              <a:gd name="T6" fmla="*/ 3 w 3"/>
              <a:gd name="T7" fmla="*/ 1 h 2"/>
              <a:gd name="T8" fmla="*/ 0 w 3"/>
              <a:gd name="T9" fmla="*/ 1 h 2"/>
            </a:gdLst>
            <a:ahLst/>
            <a:cxnLst>
              <a:cxn ang="0">
                <a:pos x="T0" y="T1"/>
              </a:cxn>
              <a:cxn ang="0">
                <a:pos x="T2" y="T3"/>
              </a:cxn>
              <a:cxn ang="0">
                <a:pos x="T4" y="T5"/>
              </a:cxn>
              <a:cxn ang="0">
                <a:pos x="T6" y="T7"/>
              </a:cxn>
              <a:cxn ang="0">
                <a:pos x="T8" y="T9"/>
              </a:cxn>
            </a:cxnLst>
            <a:rect l="0" t="0" r="r" b="b"/>
            <a:pathLst>
              <a:path w="3" h="2">
                <a:moveTo>
                  <a:pt x="0" y="1"/>
                </a:moveTo>
                <a:cubicBezTo>
                  <a:pt x="0" y="1"/>
                  <a:pt x="1" y="2"/>
                  <a:pt x="1" y="2"/>
                </a:cubicBezTo>
                <a:cubicBezTo>
                  <a:pt x="1" y="2"/>
                  <a:pt x="1" y="2"/>
                  <a:pt x="1" y="2"/>
                </a:cubicBezTo>
                <a:cubicBezTo>
                  <a:pt x="2" y="2"/>
                  <a:pt x="2" y="2"/>
                  <a:pt x="3" y="1"/>
                </a:cubicBezTo>
                <a:cubicBezTo>
                  <a:pt x="2" y="0"/>
                  <a:pt x="1" y="1"/>
                  <a:pt x="0" y="1"/>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5">
            <a:extLst>
              <a:ext uri="{FF2B5EF4-FFF2-40B4-BE49-F238E27FC236}">
                <a16:creationId xmlns:a16="http://schemas.microsoft.com/office/drawing/2014/main" id="{551B8B92-1D29-45D5-AE0B-760CA9124423}"/>
              </a:ext>
            </a:extLst>
          </p:cNvPr>
          <p:cNvSpPr>
            <a:spLocks/>
          </p:cNvSpPr>
          <p:nvPr/>
        </p:nvSpPr>
        <p:spPr bwMode="auto">
          <a:xfrm>
            <a:off x="2383539" y="5418445"/>
            <a:ext cx="93268" cy="210965"/>
          </a:xfrm>
          <a:custGeom>
            <a:avLst/>
            <a:gdLst>
              <a:gd name="T0" fmla="*/ 33 w 33"/>
              <a:gd name="T1" fmla="*/ 30 h 75"/>
              <a:gd name="T2" fmla="*/ 30 w 33"/>
              <a:gd name="T3" fmla="*/ 17 h 75"/>
              <a:gd name="T4" fmla="*/ 31 w 33"/>
              <a:gd name="T5" fmla="*/ 20 h 75"/>
              <a:gd name="T6" fmla="*/ 31 w 33"/>
              <a:gd name="T7" fmla="*/ 8 h 75"/>
              <a:gd name="T8" fmla="*/ 26 w 33"/>
              <a:gd name="T9" fmla="*/ 1 h 75"/>
              <a:gd name="T10" fmla="*/ 25 w 33"/>
              <a:gd name="T11" fmla="*/ 7 h 75"/>
              <a:gd name="T12" fmla="*/ 26 w 33"/>
              <a:gd name="T13" fmla="*/ 11 h 75"/>
              <a:gd name="T14" fmla="*/ 21 w 33"/>
              <a:gd name="T15" fmla="*/ 13 h 75"/>
              <a:gd name="T16" fmla="*/ 15 w 33"/>
              <a:gd name="T17" fmla="*/ 17 h 75"/>
              <a:gd name="T18" fmla="*/ 6 w 33"/>
              <a:gd name="T19" fmla="*/ 20 h 75"/>
              <a:gd name="T20" fmla="*/ 5 w 33"/>
              <a:gd name="T21" fmla="*/ 24 h 75"/>
              <a:gd name="T22" fmla="*/ 1 w 33"/>
              <a:gd name="T23" fmla="*/ 29 h 75"/>
              <a:gd name="T24" fmla="*/ 1 w 33"/>
              <a:gd name="T25" fmla="*/ 31 h 75"/>
              <a:gd name="T26" fmla="*/ 4 w 33"/>
              <a:gd name="T27" fmla="*/ 31 h 75"/>
              <a:gd name="T28" fmla="*/ 5 w 33"/>
              <a:gd name="T29" fmla="*/ 33 h 75"/>
              <a:gd name="T30" fmla="*/ 1 w 33"/>
              <a:gd name="T31" fmla="*/ 35 h 75"/>
              <a:gd name="T32" fmla="*/ 2 w 33"/>
              <a:gd name="T33" fmla="*/ 38 h 75"/>
              <a:gd name="T34" fmla="*/ 2 w 33"/>
              <a:gd name="T35" fmla="*/ 38 h 75"/>
              <a:gd name="T36" fmla="*/ 6 w 33"/>
              <a:gd name="T37" fmla="*/ 44 h 75"/>
              <a:gd name="T38" fmla="*/ 3 w 33"/>
              <a:gd name="T39" fmla="*/ 47 h 75"/>
              <a:gd name="T40" fmla="*/ 3 w 33"/>
              <a:gd name="T41" fmla="*/ 50 h 75"/>
              <a:gd name="T42" fmla="*/ 8 w 33"/>
              <a:gd name="T43" fmla="*/ 49 h 75"/>
              <a:gd name="T44" fmla="*/ 7 w 33"/>
              <a:gd name="T45" fmla="*/ 53 h 75"/>
              <a:gd name="T46" fmla="*/ 6 w 33"/>
              <a:gd name="T47" fmla="*/ 54 h 75"/>
              <a:gd name="T48" fmla="*/ 5 w 33"/>
              <a:gd name="T49" fmla="*/ 57 h 75"/>
              <a:gd name="T50" fmla="*/ 8 w 33"/>
              <a:gd name="T51" fmla="*/ 57 h 75"/>
              <a:gd name="T52" fmla="*/ 9 w 33"/>
              <a:gd name="T53" fmla="*/ 59 h 75"/>
              <a:gd name="T54" fmla="*/ 10 w 33"/>
              <a:gd name="T55" fmla="*/ 59 h 75"/>
              <a:gd name="T56" fmla="*/ 12 w 33"/>
              <a:gd name="T57" fmla="*/ 60 h 75"/>
              <a:gd name="T58" fmla="*/ 8 w 33"/>
              <a:gd name="T59" fmla="*/ 64 h 75"/>
              <a:gd name="T60" fmla="*/ 18 w 33"/>
              <a:gd name="T61" fmla="*/ 69 h 75"/>
              <a:gd name="T62" fmla="*/ 19 w 33"/>
              <a:gd name="T63" fmla="*/ 71 h 75"/>
              <a:gd name="T64" fmla="*/ 19 w 33"/>
              <a:gd name="T65" fmla="*/ 73 h 75"/>
              <a:gd name="T66" fmla="*/ 23 w 33"/>
              <a:gd name="T67" fmla="*/ 71 h 75"/>
              <a:gd name="T68" fmla="*/ 22 w 33"/>
              <a:gd name="T69" fmla="*/ 72 h 75"/>
              <a:gd name="T70" fmla="*/ 25 w 33"/>
              <a:gd name="T71" fmla="*/ 66 h 75"/>
              <a:gd name="T72" fmla="*/ 24 w 33"/>
              <a:gd name="T73" fmla="*/ 64 h 75"/>
              <a:gd name="T74" fmla="*/ 27 w 33"/>
              <a:gd name="T75" fmla="*/ 62 h 75"/>
              <a:gd name="T76" fmla="*/ 28 w 33"/>
              <a:gd name="T77" fmla="*/ 56 h 75"/>
              <a:gd name="T78" fmla="*/ 30 w 33"/>
              <a:gd name="T79" fmla="*/ 45 h 75"/>
              <a:gd name="T80" fmla="*/ 33 w 33"/>
              <a:gd name="T81" fmla="*/ 3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75">
                <a:moveTo>
                  <a:pt x="33" y="30"/>
                </a:moveTo>
                <a:cubicBezTo>
                  <a:pt x="32" y="26"/>
                  <a:pt x="33" y="21"/>
                  <a:pt x="30" y="17"/>
                </a:cubicBezTo>
                <a:cubicBezTo>
                  <a:pt x="30" y="17"/>
                  <a:pt x="31" y="20"/>
                  <a:pt x="31" y="20"/>
                </a:cubicBezTo>
                <a:cubicBezTo>
                  <a:pt x="28" y="21"/>
                  <a:pt x="31" y="9"/>
                  <a:pt x="31" y="8"/>
                </a:cubicBezTo>
                <a:cubicBezTo>
                  <a:pt x="31" y="5"/>
                  <a:pt x="30" y="0"/>
                  <a:pt x="26" y="1"/>
                </a:cubicBezTo>
                <a:cubicBezTo>
                  <a:pt x="26" y="3"/>
                  <a:pt x="26" y="5"/>
                  <a:pt x="25" y="7"/>
                </a:cubicBezTo>
                <a:cubicBezTo>
                  <a:pt x="25" y="9"/>
                  <a:pt x="26" y="10"/>
                  <a:pt x="26" y="11"/>
                </a:cubicBezTo>
                <a:cubicBezTo>
                  <a:pt x="26" y="17"/>
                  <a:pt x="24" y="13"/>
                  <a:pt x="21" y="13"/>
                </a:cubicBezTo>
                <a:cubicBezTo>
                  <a:pt x="18" y="13"/>
                  <a:pt x="17" y="16"/>
                  <a:pt x="15" y="17"/>
                </a:cubicBezTo>
                <a:cubicBezTo>
                  <a:pt x="13" y="17"/>
                  <a:pt x="8" y="21"/>
                  <a:pt x="6" y="20"/>
                </a:cubicBezTo>
                <a:cubicBezTo>
                  <a:pt x="7" y="21"/>
                  <a:pt x="4" y="24"/>
                  <a:pt x="5" y="24"/>
                </a:cubicBezTo>
                <a:cubicBezTo>
                  <a:pt x="6" y="25"/>
                  <a:pt x="3" y="29"/>
                  <a:pt x="1" y="29"/>
                </a:cubicBezTo>
                <a:cubicBezTo>
                  <a:pt x="1" y="29"/>
                  <a:pt x="1" y="30"/>
                  <a:pt x="1" y="31"/>
                </a:cubicBezTo>
                <a:cubicBezTo>
                  <a:pt x="2" y="30"/>
                  <a:pt x="3" y="30"/>
                  <a:pt x="4" y="31"/>
                </a:cubicBezTo>
                <a:cubicBezTo>
                  <a:pt x="3" y="30"/>
                  <a:pt x="5" y="33"/>
                  <a:pt x="5" y="33"/>
                </a:cubicBezTo>
                <a:cubicBezTo>
                  <a:pt x="5" y="35"/>
                  <a:pt x="2" y="35"/>
                  <a:pt x="1" y="35"/>
                </a:cubicBezTo>
                <a:cubicBezTo>
                  <a:pt x="2" y="36"/>
                  <a:pt x="2" y="37"/>
                  <a:pt x="2" y="38"/>
                </a:cubicBezTo>
                <a:cubicBezTo>
                  <a:pt x="2" y="38"/>
                  <a:pt x="2" y="38"/>
                  <a:pt x="2" y="38"/>
                </a:cubicBezTo>
                <a:cubicBezTo>
                  <a:pt x="0" y="40"/>
                  <a:pt x="9" y="40"/>
                  <a:pt x="6" y="44"/>
                </a:cubicBezTo>
                <a:cubicBezTo>
                  <a:pt x="6" y="45"/>
                  <a:pt x="4" y="47"/>
                  <a:pt x="3" y="47"/>
                </a:cubicBezTo>
                <a:cubicBezTo>
                  <a:pt x="3" y="48"/>
                  <a:pt x="3" y="49"/>
                  <a:pt x="3" y="50"/>
                </a:cubicBezTo>
                <a:cubicBezTo>
                  <a:pt x="4" y="49"/>
                  <a:pt x="7" y="48"/>
                  <a:pt x="8" y="49"/>
                </a:cubicBezTo>
                <a:cubicBezTo>
                  <a:pt x="9" y="49"/>
                  <a:pt x="9" y="52"/>
                  <a:pt x="7" y="53"/>
                </a:cubicBezTo>
                <a:cubicBezTo>
                  <a:pt x="10" y="53"/>
                  <a:pt x="7" y="54"/>
                  <a:pt x="6" y="54"/>
                </a:cubicBezTo>
                <a:cubicBezTo>
                  <a:pt x="7" y="56"/>
                  <a:pt x="6" y="57"/>
                  <a:pt x="5" y="57"/>
                </a:cubicBezTo>
                <a:cubicBezTo>
                  <a:pt x="6" y="59"/>
                  <a:pt x="7" y="57"/>
                  <a:pt x="8" y="57"/>
                </a:cubicBezTo>
                <a:cubicBezTo>
                  <a:pt x="9" y="57"/>
                  <a:pt x="8" y="59"/>
                  <a:pt x="9" y="59"/>
                </a:cubicBezTo>
                <a:cubicBezTo>
                  <a:pt x="9" y="59"/>
                  <a:pt x="10" y="59"/>
                  <a:pt x="10" y="59"/>
                </a:cubicBezTo>
                <a:cubicBezTo>
                  <a:pt x="11" y="59"/>
                  <a:pt x="13" y="60"/>
                  <a:pt x="12" y="60"/>
                </a:cubicBezTo>
                <a:cubicBezTo>
                  <a:pt x="11" y="61"/>
                  <a:pt x="8" y="61"/>
                  <a:pt x="8" y="64"/>
                </a:cubicBezTo>
                <a:cubicBezTo>
                  <a:pt x="9" y="67"/>
                  <a:pt x="15" y="71"/>
                  <a:pt x="18" y="69"/>
                </a:cubicBezTo>
                <a:cubicBezTo>
                  <a:pt x="17" y="71"/>
                  <a:pt x="18" y="70"/>
                  <a:pt x="19" y="71"/>
                </a:cubicBezTo>
                <a:cubicBezTo>
                  <a:pt x="19" y="72"/>
                  <a:pt x="18" y="72"/>
                  <a:pt x="19" y="73"/>
                </a:cubicBezTo>
                <a:cubicBezTo>
                  <a:pt x="20" y="75"/>
                  <a:pt x="23" y="74"/>
                  <a:pt x="23" y="71"/>
                </a:cubicBezTo>
                <a:cubicBezTo>
                  <a:pt x="23" y="72"/>
                  <a:pt x="22" y="72"/>
                  <a:pt x="22" y="72"/>
                </a:cubicBezTo>
                <a:cubicBezTo>
                  <a:pt x="22" y="70"/>
                  <a:pt x="24" y="67"/>
                  <a:pt x="25" y="66"/>
                </a:cubicBezTo>
                <a:cubicBezTo>
                  <a:pt x="28" y="64"/>
                  <a:pt x="25" y="64"/>
                  <a:pt x="24" y="64"/>
                </a:cubicBezTo>
                <a:cubicBezTo>
                  <a:pt x="23" y="63"/>
                  <a:pt x="27" y="62"/>
                  <a:pt x="27" y="62"/>
                </a:cubicBezTo>
                <a:cubicBezTo>
                  <a:pt x="28" y="61"/>
                  <a:pt x="28" y="58"/>
                  <a:pt x="28" y="56"/>
                </a:cubicBezTo>
                <a:cubicBezTo>
                  <a:pt x="28" y="52"/>
                  <a:pt x="27" y="48"/>
                  <a:pt x="30" y="45"/>
                </a:cubicBezTo>
                <a:cubicBezTo>
                  <a:pt x="33" y="40"/>
                  <a:pt x="33" y="36"/>
                  <a:pt x="33" y="3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6">
            <a:extLst>
              <a:ext uri="{FF2B5EF4-FFF2-40B4-BE49-F238E27FC236}">
                <a16:creationId xmlns:a16="http://schemas.microsoft.com/office/drawing/2014/main" id="{7D686C75-BABE-4872-A4FD-EFB89A32BD28}"/>
              </a:ext>
            </a:extLst>
          </p:cNvPr>
          <p:cNvSpPr>
            <a:spLocks/>
          </p:cNvSpPr>
          <p:nvPr/>
        </p:nvSpPr>
        <p:spPr bwMode="auto">
          <a:xfrm>
            <a:off x="1524056" y="5003666"/>
            <a:ext cx="24793" cy="20263"/>
          </a:xfrm>
          <a:custGeom>
            <a:avLst/>
            <a:gdLst>
              <a:gd name="T0" fmla="*/ 0 w 9"/>
              <a:gd name="T1" fmla="*/ 4 h 7"/>
              <a:gd name="T2" fmla="*/ 8 w 9"/>
              <a:gd name="T3" fmla="*/ 7 h 7"/>
              <a:gd name="T4" fmla="*/ 8 w 9"/>
              <a:gd name="T5" fmla="*/ 7 h 7"/>
              <a:gd name="T6" fmla="*/ 1 w 9"/>
              <a:gd name="T7" fmla="*/ 4 h 7"/>
              <a:gd name="T8" fmla="*/ 0 w 9"/>
              <a:gd name="T9" fmla="*/ 4 h 7"/>
            </a:gdLst>
            <a:ahLst/>
            <a:cxnLst>
              <a:cxn ang="0">
                <a:pos x="T0" y="T1"/>
              </a:cxn>
              <a:cxn ang="0">
                <a:pos x="T2" y="T3"/>
              </a:cxn>
              <a:cxn ang="0">
                <a:pos x="T4" y="T5"/>
              </a:cxn>
              <a:cxn ang="0">
                <a:pos x="T6" y="T7"/>
              </a:cxn>
              <a:cxn ang="0">
                <a:pos x="T8" y="T9"/>
              </a:cxn>
            </a:cxnLst>
            <a:rect l="0" t="0" r="r" b="b"/>
            <a:pathLst>
              <a:path w="9" h="7">
                <a:moveTo>
                  <a:pt x="0" y="4"/>
                </a:moveTo>
                <a:cubicBezTo>
                  <a:pt x="0" y="5"/>
                  <a:pt x="7" y="7"/>
                  <a:pt x="8" y="7"/>
                </a:cubicBezTo>
                <a:cubicBezTo>
                  <a:pt x="8" y="7"/>
                  <a:pt x="8" y="7"/>
                  <a:pt x="8" y="7"/>
                </a:cubicBezTo>
                <a:cubicBezTo>
                  <a:pt x="9" y="6"/>
                  <a:pt x="1" y="4"/>
                  <a:pt x="1" y="4"/>
                </a:cubicBezTo>
                <a:cubicBezTo>
                  <a:pt x="3" y="5"/>
                  <a:pt x="0" y="0"/>
                  <a:pt x="0" y="4"/>
                </a:cubicBezTo>
                <a:close/>
              </a:path>
            </a:pathLst>
          </a:custGeom>
          <a:solidFill>
            <a:schemeClr val="accent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7">
            <a:extLst>
              <a:ext uri="{FF2B5EF4-FFF2-40B4-BE49-F238E27FC236}">
                <a16:creationId xmlns:a16="http://schemas.microsoft.com/office/drawing/2014/main" id="{8F0C6A18-5E77-4EA2-8B45-3D0FF50AF812}"/>
              </a:ext>
            </a:extLst>
          </p:cNvPr>
          <p:cNvSpPr>
            <a:spLocks/>
          </p:cNvSpPr>
          <p:nvPr/>
        </p:nvSpPr>
        <p:spPr bwMode="auto">
          <a:xfrm>
            <a:off x="1381202" y="4871367"/>
            <a:ext cx="22432" cy="10727"/>
          </a:xfrm>
          <a:custGeom>
            <a:avLst/>
            <a:gdLst>
              <a:gd name="T0" fmla="*/ 2 w 8"/>
              <a:gd name="T1" fmla="*/ 3 h 4"/>
              <a:gd name="T2" fmla="*/ 6 w 8"/>
              <a:gd name="T3" fmla="*/ 4 h 4"/>
              <a:gd name="T4" fmla="*/ 2 w 8"/>
              <a:gd name="T5" fmla="*/ 0 h 4"/>
              <a:gd name="T6" fmla="*/ 2 w 8"/>
              <a:gd name="T7" fmla="*/ 3 h 4"/>
            </a:gdLst>
            <a:ahLst/>
            <a:cxnLst>
              <a:cxn ang="0">
                <a:pos x="T0" y="T1"/>
              </a:cxn>
              <a:cxn ang="0">
                <a:pos x="T2" y="T3"/>
              </a:cxn>
              <a:cxn ang="0">
                <a:pos x="T4" y="T5"/>
              </a:cxn>
              <a:cxn ang="0">
                <a:pos x="T6" y="T7"/>
              </a:cxn>
            </a:cxnLst>
            <a:rect l="0" t="0" r="r" b="b"/>
            <a:pathLst>
              <a:path w="8" h="4">
                <a:moveTo>
                  <a:pt x="2" y="3"/>
                </a:moveTo>
                <a:cubicBezTo>
                  <a:pt x="3" y="4"/>
                  <a:pt x="5" y="4"/>
                  <a:pt x="6" y="4"/>
                </a:cubicBezTo>
                <a:cubicBezTo>
                  <a:pt x="8" y="3"/>
                  <a:pt x="3" y="0"/>
                  <a:pt x="2" y="0"/>
                </a:cubicBezTo>
                <a:cubicBezTo>
                  <a:pt x="0" y="0"/>
                  <a:pt x="2" y="2"/>
                  <a:pt x="2" y="3"/>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8">
            <a:extLst>
              <a:ext uri="{FF2B5EF4-FFF2-40B4-BE49-F238E27FC236}">
                <a16:creationId xmlns:a16="http://schemas.microsoft.com/office/drawing/2014/main" id="{935533F1-0425-4D61-9FA4-7B4ABD56605C}"/>
              </a:ext>
            </a:extLst>
          </p:cNvPr>
          <p:cNvSpPr>
            <a:spLocks/>
          </p:cNvSpPr>
          <p:nvPr/>
        </p:nvSpPr>
        <p:spPr bwMode="auto">
          <a:xfrm>
            <a:off x="1532320" y="5034655"/>
            <a:ext cx="24793" cy="33373"/>
          </a:xfrm>
          <a:custGeom>
            <a:avLst/>
            <a:gdLst>
              <a:gd name="T0" fmla="*/ 2 w 9"/>
              <a:gd name="T1" fmla="*/ 6 h 12"/>
              <a:gd name="T2" fmla="*/ 6 w 9"/>
              <a:gd name="T3" fmla="*/ 12 h 12"/>
              <a:gd name="T4" fmla="*/ 6 w 9"/>
              <a:gd name="T5" fmla="*/ 5 h 12"/>
              <a:gd name="T6" fmla="*/ 2 w 9"/>
              <a:gd name="T7" fmla="*/ 1 h 12"/>
              <a:gd name="T8" fmla="*/ 2 w 9"/>
              <a:gd name="T9" fmla="*/ 6 h 12"/>
            </a:gdLst>
            <a:ahLst/>
            <a:cxnLst>
              <a:cxn ang="0">
                <a:pos x="T0" y="T1"/>
              </a:cxn>
              <a:cxn ang="0">
                <a:pos x="T2" y="T3"/>
              </a:cxn>
              <a:cxn ang="0">
                <a:pos x="T4" y="T5"/>
              </a:cxn>
              <a:cxn ang="0">
                <a:pos x="T6" y="T7"/>
              </a:cxn>
              <a:cxn ang="0">
                <a:pos x="T8" y="T9"/>
              </a:cxn>
            </a:cxnLst>
            <a:rect l="0" t="0" r="r" b="b"/>
            <a:pathLst>
              <a:path w="9" h="12">
                <a:moveTo>
                  <a:pt x="2" y="6"/>
                </a:moveTo>
                <a:cubicBezTo>
                  <a:pt x="5" y="8"/>
                  <a:pt x="5" y="10"/>
                  <a:pt x="6" y="12"/>
                </a:cubicBezTo>
                <a:cubicBezTo>
                  <a:pt x="9" y="9"/>
                  <a:pt x="6" y="8"/>
                  <a:pt x="6" y="5"/>
                </a:cubicBezTo>
                <a:cubicBezTo>
                  <a:pt x="6" y="3"/>
                  <a:pt x="3" y="2"/>
                  <a:pt x="2" y="1"/>
                </a:cubicBezTo>
                <a:cubicBezTo>
                  <a:pt x="0" y="0"/>
                  <a:pt x="2" y="5"/>
                  <a:pt x="2" y="6"/>
                </a:cubicBezTo>
                <a:close/>
              </a:path>
            </a:pathLst>
          </a:custGeom>
          <a:solidFill>
            <a:schemeClr val="accent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9">
            <a:extLst>
              <a:ext uri="{FF2B5EF4-FFF2-40B4-BE49-F238E27FC236}">
                <a16:creationId xmlns:a16="http://schemas.microsoft.com/office/drawing/2014/main" id="{ED9C8E91-58C4-4ECF-A2A6-3685230B57DB}"/>
              </a:ext>
            </a:extLst>
          </p:cNvPr>
          <p:cNvSpPr>
            <a:spLocks/>
          </p:cNvSpPr>
          <p:nvPr/>
        </p:nvSpPr>
        <p:spPr bwMode="auto">
          <a:xfrm>
            <a:off x="825136" y="3889247"/>
            <a:ext cx="386059" cy="480333"/>
          </a:xfrm>
          <a:custGeom>
            <a:avLst/>
            <a:gdLst>
              <a:gd name="T0" fmla="*/ 129 w 138"/>
              <a:gd name="T1" fmla="*/ 60 h 170"/>
              <a:gd name="T2" fmla="*/ 126 w 138"/>
              <a:gd name="T3" fmla="*/ 56 h 170"/>
              <a:gd name="T4" fmla="*/ 115 w 138"/>
              <a:gd name="T5" fmla="*/ 44 h 170"/>
              <a:gd name="T6" fmla="*/ 102 w 138"/>
              <a:gd name="T7" fmla="*/ 54 h 170"/>
              <a:gd name="T8" fmla="*/ 92 w 138"/>
              <a:gd name="T9" fmla="*/ 51 h 170"/>
              <a:gd name="T10" fmla="*/ 86 w 138"/>
              <a:gd name="T11" fmla="*/ 36 h 170"/>
              <a:gd name="T12" fmla="*/ 98 w 138"/>
              <a:gd name="T13" fmla="*/ 25 h 170"/>
              <a:gd name="T14" fmla="*/ 104 w 138"/>
              <a:gd name="T15" fmla="*/ 0 h 170"/>
              <a:gd name="T16" fmla="*/ 101 w 138"/>
              <a:gd name="T17" fmla="*/ 12 h 170"/>
              <a:gd name="T18" fmla="*/ 96 w 138"/>
              <a:gd name="T19" fmla="*/ 5 h 170"/>
              <a:gd name="T20" fmla="*/ 92 w 138"/>
              <a:gd name="T21" fmla="*/ 6 h 170"/>
              <a:gd name="T22" fmla="*/ 87 w 138"/>
              <a:gd name="T23" fmla="*/ 8 h 170"/>
              <a:gd name="T24" fmla="*/ 72 w 138"/>
              <a:gd name="T25" fmla="*/ 20 h 170"/>
              <a:gd name="T26" fmla="*/ 72 w 138"/>
              <a:gd name="T27" fmla="*/ 27 h 170"/>
              <a:gd name="T28" fmla="*/ 67 w 138"/>
              <a:gd name="T29" fmla="*/ 33 h 170"/>
              <a:gd name="T30" fmla="*/ 75 w 138"/>
              <a:gd name="T31" fmla="*/ 33 h 170"/>
              <a:gd name="T32" fmla="*/ 66 w 138"/>
              <a:gd name="T33" fmla="*/ 42 h 170"/>
              <a:gd name="T34" fmla="*/ 63 w 138"/>
              <a:gd name="T35" fmla="*/ 48 h 170"/>
              <a:gd name="T36" fmla="*/ 41 w 138"/>
              <a:gd name="T37" fmla="*/ 46 h 170"/>
              <a:gd name="T38" fmla="*/ 27 w 138"/>
              <a:gd name="T39" fmla="*/ 49 h 170"/>
              <a:gd name="T40" fmla="*/ 20 w 138"/>
              <a:gd name="T41" fmla="*/ 55 h 170"/>
              <a:gd name="T42" fmla="*/ 25 w 138"/>
              <a:gd name="T43" fmla="*/ 53 h 170"/>
              <a:gd name="T44" fmla="*/ 25 w 138"/>
              <a:gd name="T45" fmla="*/ 65 h 170"/>
              <a:gd name="T46" fmla="*/ 25 w 138"/>
              <a:gd name="T47" fmla="*/ 70 h 170"/>
              <a:gd name="T48" fmla="*/ 17 w 138"/>
              <a:gd name="T49" fmla="*/ 81 h 170"/>
              <a:gd name="T50" fmla="*/ 20 w 138"/>
              <a:gd name="T51" fmla="*/ 86 h 170"/>
              <a:gd name="T52" fmla="*/ 28 w 138"/>
              <a:gd name="T53" fmla="*/ 88 h 170"/>
              <a:gd name="T54" fmla="*/ 32 w 138"/>
              <a:gd name="T55" fmla="*/ 90 h 170"/>
              <a:gd name="T56" fmla="*/ 47 w 138"/>
              <a:gd name="T57" fmla="*/ 93 h 170"/>
              <a:gd name="T58" fmla="*/ 44 w 138"/>
              <a:gd name="T59" fmla="*/ 96 h 170"/>
              <a:gd name="T60" fmla="*/ 36 w 138"/>
              <a:gd name="T61" fmla="*/ 107 h 170"/>
              <a:gd name="T62" fmla="*/ 18 w 138"/>
              <a:gd name="T63" fmla="*/ 121 h 170"/>
              <a:gd name="T64" fmla="*/ 36 w 138"/>
              <a:gd name="T65" fmla="*/ 120 h 170"/>
              <a:gd name="T66" fmla="*/ 46 w 138"/>
              <a:gd name="T67" fmla="*/ 118 h 170"/>
              <a:gd name="T68" fmla="*/ 17 w 138"/>
              <a:gd name="T69" fmla="*/ 128 h 170"/>
              <a:gd name="T70" fmla="*/ 20 w 138"/>
              <a:gd name="T71" fmla="*/ 135 h 170"/>
              <a:gd name="T72" fmla="*/ 10 w 138"/>
              <a:gd name="T73" fmla="*/ 133 h 170"/>
              <a:gd name="T74" fmla="*/ 3 w 138"/>
              <a:gd name="T75" fmla="*/ 141 h 170"/>
              <a:gd name="T76" fmla="*/ 16 w 138"/>
              <a:gd name="T77" fmla="*/ 140 h 170"/>
              <a:gd name="T78" fmla="*/ 10 w 138"/>
              <a:gd name="T79" fmla="*/ 145 h 170"/>
              <a:gd name="T80" fmla="*/ 6 w 138"/>
              <a:gd name="T81" fmla="*/ 152 h 170"/>
              <a:gd name="T82" fmla="*/ 20 w 138"/>
              <a:gd name="T83" fmla="*/ 153 h 170"/>
              <a:gd name="T84" fmla="*/ 7 w 138"/>
              <a:gd name="T85" fmla="*/ 164 h 170"/>
              <a:gd name="T86" fmla="*/ 25 w 138"/>
              <a:gd name="T87" fmla="*/ 162 h 170"/>
              <a:gd name="T88" fmla="*/ 29 w 138"/>
              <a:gd name="T89" fmla="*/ 167 h 170"/>
              <a:gd name="T90" fmla="*/ 43 w 138"/>
              <a:gd name="T91" fmla="*/ 165 h 170"/>
              <a:gd name="T92" fmla="*/ 57 w 138"/>
              <a:gd name="T93" fmla="*/ 159 h 170"/>
              <a:gd name="T94" fmla="*/ 60 w 138"/>
              <a:gd name="T95" fmla="*/ 151 h 170"/>
              <a:gd name="T96" fmla="*/ 73 w 138"/>
              <a:gd name="T97" fmla="*/ 151 h 170"/>
              <a:gd name="T98" fmla="*/ 93 w 138"/>
              <a:gd name="T99" fmla="*/ 140 h 170"/>
              <a:gd name="T100" fmla="*/ 103 w 138"/>
              <a:gd name="T101" fmla="*/ 134 h 170"/>
              <a:gd name="T102" fmla="*/ 109 w 138"/>
              <a:gd name="T103" fmla="*/ 136 h 170"/>
              <a:gd name="T104" fmla="*/ 120 w 138"/>
              <a:gd name="T105" fmla="*/ 129 h 170"/>
              <a:gd name="T106" fmla="*/ 135 w 138"/>
              <a:gd name="T107" fmla="*/ 104 h 170"/>
              <a:gd name="T108" fmla="*/ 132 w 138"/>
              <a:gd name="T109"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8" h="170">
                <a:moveTo>
                  <a:pt x="135" y="81"/>
                </a:moveTo>
                <a:cubicBezTo>
                  <a:pt x="135" y="80"/>
                  <a:pt x="135" y="78"/>
                  <a:pt x="135" y="78"/>
                </a:cubicBezTo>
                <a:cubicBezTo>
                  <a:pt x="133" y="76"/>
                  <a:pt x="131" y="75"/>
                  <a:pt x="131" y="72"/>
                </a:cubicBezTo>
                <a:cubicBezTo>
                  <a:pt x="131" y="70"/>
                  <a:pt x="133" y="65"/>
                  <a:pt x="130" y="65"/>
                </a:cubicBezTo>
                <a:cubicBezTo>
                  <a:pt x="128" y="64"/>
                  <a:pt x="127" y="61"/>
                  <a:pt x="129" y="60"/>
                </a:cubicBezTo>
                <a:cubicBezTo>
                  <a:pt x="131" y="58"/>
                  <a:pt x="132" y="61"/>
                  <a:pt x="134" y="60"/>
                </a:cubicBezTo>
                <a:cubicBezTo>
                  <a:pt x="138" y="60"/>
                  <a:pt x="134" y="57"/>
                  <a:pt x="133" y="56"/>
                </a:cubicBezTo>
                <a:cubicBezTo>
                  <a:pt x="132" y="55"/>
                  <a:pt x="131" y="54"/>
                  <a:pt x="130" y="54"/>
                </a:cubicBezTo>
                <a:cubicBezTo>
                  <a:pt x="129" y="55"/>
                  <a:pt x="129" y="55"/>
                  <a:pt x="129" y="56"/>
                </a:cubicBezTo>
                <a:cubicBezTo>
                  <a:pt x="128" y="57"/>
                  <a:pt x="127" y="56"/>
                  <a:pt x="126" y="56"/>
                </a:cubicBezTo>
                <a:cubicBezTo>
                  <a:pt x="125" y="56"/>
                  <a:pt x="120" y="59"/>
                  <a:pt x="120" y="56"/>
                </a:cubicBezTo>
                <a:cubicBezTo>
                  <a:pt x="120" y="55"/>
                  <a:pt x="122" y="52"/>
                  <a:pt x="121" y="51"/>
                </a:cubicBezTo>
                <a:cubicBezTo>
                  <a:pt x="119" y="50"/>
                  <a:pt x="118" y="52"/>
                  <a:pt x="116" y="49"/>
                </a:cubicBezTo>
                <a:cubicBezTo>
                  <a:pt x="115" y="47"/>
                  <a:pt x="115" y="48"/>
                  <a:pt x="115" y="46"/>
                </a:cubicBezTo>
                <a:cubicBezTo>
                  <a:pt x="116" y="45"/>
                  <a:pt x="115" y="44"/>
                  <a:pt x="115" y="44"/>
                </a:cubicBezTo>
                <a:cubicBezTo>
                  <a:pt x="113" y="42"/>
                  <a:pt x="111" y="41"/>
                  <a:pt x="109" y="43"/>
                </a:cubicBezTo>
                <a:cubicBezTo>
                  <a:pt x="108" y="44"/>
                  <a:pt x="105" y="45"/>
                  <a:pt x="105" y="46"/>
                </a:cubicBezTo>
                <a:cubicBezTo>
                  <a:pt x="105" y="47"/>
                  <a:pt x="108" y="48"/>
                  <a:pt x="106" y="50"/>
                </a:cubicBezTo>
                <a:cubicBezTo>
                  <a:pt x="105" y="51"/>
                  <a:pt x="104" y="50"/>
                  <a:pt x="104" y="51"/>
                </a:cubicBezTo>
                <a:cubicBezTo>
                  <a:pt x="103" y="52"/>
                  <a:pt x="103" y="53"/>
                  <a:pt x="102" y="54"/>
                </a:cubicBezTo>
                <a:cubicBezTo>
                  <a:pt x="102" y="53"/>
                  <a:pt x="102" y="53"/>
                  <a:pt x="102" y="52"/>
                </a:cubicBezTo>
                <a:cubicBezTo>
                  <a:pt x="101" y="52"/>
                  <a:pt x="102" y="54"/>
                  <a:pt x="101" y="54"/>
                </a:cubicBezTo>
                <a:cubicBezTo>
                  <a:pt x="101" y="55"/>
                  <a:pt x="99" y="54"/>
                  <a:pt x="99" y="53"/>
                </a:cubicBezTo>
                <a:cubicBezTo>
                  <a:pt x="98" y="52"/>
                  <a:pt x="97" y="54"/>
                  <a:pt x="95" y="54"/>
                </a:cubicBezTo>
                <a:cubicBezTo>
                  <a:pt x="94" y="54"/>
                  <a:pt x="93" y="52"/>
                  <a:pt x="92" y="51"/>
                </a:cubicBezTo>
                <a:cubicBezTo>
                  <a:pt x="90" y="50"/>
                  <a:pt x="89" y="51"/>
                  <a:pt x="87" y="50"/>
                </a:cubicBezTo>
                <a:cubicBezTo>
                  <a:pt x="85" y="49"/>
                  <a:pt x="86" y="47"/>
                  <a:pt x="84" y="46"/>
                </a:cubicBezTo>
                <a:cubicBezTo>
                  <a:pt x="83" y="46"/>
                  <a:pt x="84" y="46"/>
                  <a:pt x="82" y="45"/>
                </a:cubicBezTo>
                <a:cubicBezTo>
                  <a:pt x="81" y="43"/>
                  <a:pt x="78" y="40"/>
                  <a:pt x="78" y="39"/>
                </a:cubicBezTo>
                <a:cubicBezTo>
                  <a:pt x="81" y="39"/>
                  <a:pt x="83" y="36"/>
                  <a:pt x="86" y="36"/>
                </a:cubicBezTo>
                <a:cubicBezTo>
                  <a:pt x="88" y="35"/>
                  <a:pt x="92" y="35"/>
                  <a:pt x="92" y="32"/>
                </a:cubicBezTo>
                <a:cubicBezTo>
                  <a:pt x="90" y="34"/>
                  <a:pt x="86" y="32"/>
                  <a:pt x="86" y="29"/>
                </a:cubicBezTo>
                <a:cubicBezTo>
                  <a:pt x="87" y="29"/>
                  <a:pt x="88" y="27"/>
                  <a:pt x="90" y="28"/>
                </a:cubicBezTo>
                <a:cubicBezTo>
                  <a:pt x="91" y="29"/>
                  <a:pt x="91" y="29"/>
                  <a:pt x="93" y="28"/>
                </a:cubicBezTo>
                <a:cubicBezTo>
                  <a:pt x="95" y="26"/>
                  <a:pt x="97" y="28"/>
                  <a:pt x="98" y="25"/>
                </a:cubicBezTo>
                <a:cubicBezTo>
                  <a:pt x="99" y="22"/>
                  <a:pt x="101" y="20"/>
                  <a:pt x="103" y="17"/>
                </a:cubicBezTo>
                <a:cubicBezTo>
                  <a:pt x="103" y="15"/>
                  <a:pt x="104" y="14"/>
                  <a:pt x="106" y="14"/>
                </a:cubicBezTo>
                <a:cubicBezTo>
                  <a:pt x="107" y="13"/>
                  <a:pt x="109" y="12"/>
                  <a:pt x="110" y="11"/>
                </a:cubicBezTo>
                <a:cubicBezTo>
                  <a:pt x="111" y="10"/>
                  <a:pt x="116" y="8"/>
                  <a:pt x="117" y="6"/>
                </a:cubicBezTo>
                <a:cubicBezTo>
                  <a:pt x="117" y="6"/>
                  <a:pt x="106" y="0"/>
                  <a:pt x="104" y="0"/>
                </a:cubicBezTo>
                <a:cubicBezTo>
                  <a:pt x="105" y="1"/>
                  <a:pt x="107" y="3"/>
                  <a:pt x="108" y="4"/>
                </a:cubicBezTo>
                <a:cubicBezTo>
                  <a:pt x="107" y="4"/>
                  <a:pt x="106" y="4"/>
                  <a:pt x="106" y="4"/>
                </a:cubicBezTo>
                <a:cubicBezTo>
                  <a:pt x="107" y="3"/>
                  <a:pt x="104" y="4"/>
                  <a:pt x="104" y="4"/>
                </a:cubicBezTo>
                <a:cubicBezTo>
                  <a:pt x="103" y="4"/>
                  <a:pt x="102" y="4"/>
                  <a:pt x="101" y="4"/>
                </a:cubicBezTo>
                <a:cubicBezTo>
                  <a:pt x="98" y="6"/>
                  <a:pt x="101" y="10"/>
                  <a:pt x="101" y="12"/>
                </a:cubicBezTo>
                <a:cubicBezTo>
                  <a:pt x="102" y="15"/>
                  <a:pt x="97" y="18"/>
                  <a:pt x="94" y="18"/>
                </a:cubicBezTo>
                <a:cubicBezTo>
                  <a:pt x="95" y="18"/>
                  <a:pt x="98" y="16"/>
                  <a:pt x="98" y="15"/>
                </a:cubicBezTo>
                <a:cubicBezTo>
                  <a:pt x="98" y="14"/>
                  <a:pt x="96" y="15"/>
                  <a:pt x="96" y="15"/>
                </a:cubicBezTo>
                <a:cubicBezTo>
                  <a:pt x="98" y="13"/>
                  <a:pt x="100" y="12"/>
                  <a:pt x="98" y="9"/>
                </a:cubicBezTo>
                <a:cubicBezTo>
                  <a:pt x="97" y="8"/>
                  <a:pt x="98" y="5"/>
                  <a:pt x="96" y="5"/>
                </a:cubicBezTo>
                <a:cubicBezTo>
                  <a:pt x="96" y="5"/>
                  <a:pt x="91" y="6"/>
                  <a:pt x="93" y="8"/>
                </a:cubicBezTo>
                <a:cubicBezTo>
                  <a:pt x="94" y="9"/>
                  <a:pt x="94" y="8"/>
                  <a:pt x="95" y="7"/>
                </a:cubicBezTo>
                <a:cubicBezTo>
                  <a:pt x="94" y="9"/>
                  <a:pt x="96" y="10"/>
                  <a:pt x="94" y="12"/>
                </a:cubicBezTo>
                <a:cubicBezTo>
                  <a:pt x="95" y="11"/>
                  <a:pt x="94" y="8"/>
                  <a:pt x="92" y="9"/>
                </a:cubicBezTo>
                <a:cubicBezTo>
                  <a:pt x="91" y="9"/>
                  <a:pt x="92" y="6"/>
                  <a:pt x="92" y="6"/>
                </a:cubicBezTo>
                <a:cubicBezTo>
                  <a:pt x="92" y="6"/>
                  <a:pt x="89" y="7"/>
                  <a:pt x="90" y="8"/>
                </a:cubicBezTo>
                <a:cubicBezTo>
                  <a:pt x="91" y="9"/>
                  <a:pt x="90" y="11"/>
                  <a:pt x="89" y="10"/>
                </a:cubicBezTo>
                <a:cubicBezTo>
                  <a:pt x="89" y="10"/>
                  <a:pt x="90" y="10"/>
                  <a:pt x="90" y="9"/>
                </a:cubicBezTo>
                <a:cubicBezTo>
                  <a:pt x="89" y="10"/>
                  <a:pt x="87" y="8"/>
                  <a:pt x="86" y="9"/>
                </a:cubicBezTo>
                <a:cubicBezTo>
                  <a:pt x="87" y="9"/>
                  <a:pt x="87" y="8"/>
                  <a:pt x="87" y="8"/>
                </a:cubicBezTo>
                <a:cubicBezTo>
                  <a:pt x="87" y="6"/>
                  <a:pt x="82" y="11"/>
                  <a:pt x="81" y="11"/>
                </a:cubicBezTo>
                <a:cubicBezTo>
                  <a:pt x="83" y="8"/>
                  <a:pt x="78" y="10"/>
                  <a:pt x="77" y="10"/>
                </a:cubicBezTo>
                <a:cubicBezTo>
                  <a:pt x="77" y="11"/>
                  <a:pt x="76" y="15"/>
                  <a:pt x="76" y="15"/>
                </a:cubicBezTo>
                <a:cubicBezTo>
                  <a:pt x="75" y="14"/>
                  <a:pt x="70" y="17"/>
                  <a:pt x="74" y="19"/>
                </a:cubicBezTo>
                <a:cubicBezTo>
                  <a:pt x="74" y="19"/>
                  <a:pt x="71" y="19"/>
                  <a:pt x="72" y="20"/>
                </a:cubicBezTo>
                <a:cubicBezTo>
                  <a:pt x="73" y="22"/>
                  <a:pt x="75" y="19"/>
                  <a:pt x="76" y="22"/>
                </a:cubicBezTo>
                <a:cubicBezTo>
                  <a:pt x="74" y="21"/>
                  <a:pt x="73" y="23"/>
                  <a:pt x="75" y="23"/>
                </a:cubicBezTo>
                <a:cubicBezTo>
                  <a:pt x="74" y="24"/>
                  <a:pt x="72" y="24"/>
                  <a:pt x="71" y="23"/>
                </a:cubicBezTo>
                <a:cubicBezTo>
                  <a:pt x="70" y="23"/>
                  <a:pt x="69" y="24"/>
                  <a:pt x="68" y="24"/>
                </a:cubicBezTo>
                <a:cubicBezTo>
                  <a:pt x="70" y="25"/>
                  <a:pt x="71" y="25"/>
                  <a:pt x="72" y="27"/>
                </a:cubicBezTo>
                <a:cubicBezTo>
                  <a:pt x="71" y="27"/>
                  <a:pt x="70" y="25"/>
                  <a:pt x="69" y="26"/>
                </a:cubicBezTo>
                <a:cubicBezTo>
                  <a:pt x="69" y="26"/>
                  <a:pt x="70" y="27"/>
                  <a:pt x="71" y="27"/>
                </a:cubicBezTo>
                <a:cubicBezTo>
                  <a:pt x="68" y="27"/>
                  <a:pt x="65" y="26"/>
                  <a:pt x="63" y="28"/>
                </a:cubicBezTo>
                <a:cubicBezTo>
                  <a:pt x="60" y="31"/>
                  <a:pt x="61" y="31"/>
                  <a:pt x="63" y="32"/>
                </a:cubicBezTo>
                <a:cubicBezTo>
                  <a:pt x="65" y="32"/>
                  <a:pt x="64" y="33"/>
                  <a:pt x="67" y="33"/>
                </a:cubicBezTo>
                <a:cubicBezTo>
                  <a:pt x="67" y="33"/>
                  <a:pt x="68" y="32"/>
                  <a:pt x="69" y="32"/>
                </a:cubicBezTo>
                <a:cubicBezTo>
                  <a:pt x="69" y="32"/>
                  <a:pt x="72" y="34"/>
                  <a:pt x="71" y="32"/>
                </a:cubicBezTo>
                <a:cubicBezTo>
                  <a:pt x="72" y="32"/>
                  <a:pt x="72" y="33"/>
                  <a:pt x="72" y="33"/>
                </a:cubicBezTo>
                <a:cubicBezTo>
                  <a:pt x="72" y="34"/>
                  <a:pt x="71" y="34"/>
                  <a:pt x="70" y="35"/>
                </a:cubicBezTo>
                <a:cubicBezTo>
                  <a:pt x="71" y="35"/>
                  <a:pt x="76" y="31"/>
                  <a:pt x="75" y="33"/>
                </a:cubicBezTo>
                <a:cubicBezTo>
                  <a:pt x="77" y="33"/>
                  <a:pt x="79" y="33"/>
                  <a:pt x="80" y="32"/>
                </a:cubicBezTo>
                <a:cubicBezTo>
                  <a:pt x="80" y="32"/>
                  <a:pt x="74" y="38"/>
                  <a:pt x="77" y="38"/>
                </a:cubicBezTo>
                <a:cubicBezTo>
                  <a:pt x="75" y="38"/>
                  <a:pt x="73" y="39"/>
                  <a:pt x="70" y="39"/>
                </a:cubicBezTo>
                <a:cubicBezTo>
                  <a:pt x="69" y="40"/>
                  <a:pt x="70" y="40"/>
                  <a:pt x="69" y="41"/>
                </a:cubicBezTo>
                <a:cubicBezTo>
                  <a:pt x="68" y="42"/>
                  <a:pt x="67" y="42"/>
                  <a:pt x="66" y="42"/>
                </a:cubicBezTo>
                <a:cubicBezTo>
                  <a:pt x="60" y="46"/>
                  <a:pt x="67" y="44"/>
                  <a:pt x="67" y="46"/>
                </a:cubicBezTo>
                <a:cubicBezTo>
                  <a:pt x="67" y="46"/>
                  <a:pt x="66" y="45"/>
                  <a:pt x="66" y="46"/>
                </a:cubicBezTo>
                <a:cubicBezTo>
                  <a:pt x="67" y="47"/>
                  <a:pt x="68" y="47"/>
                  <a:pt x="68" y="47"/>
                </a:cubicBezTo>
                <a:cubicBezTo>
                  <a:pt x="65" y="47"/>
                  <a:pt x="62" y="48"/>
                  <a:pt x="67" y="50"/>
                </a:cubicBezTo>
                <a:cubicBezTo>
                  <a:pt x="65" y="51"/>
                  <a:pt x="65" y="49"/>
                  <a:pt x="63" y="48"/>
                </a:cubicBezTo>
                <a:cubicBezTo>
                  <a:pt x="61" y="47"/>
                  <a:pt x="58" y="48"/>
                  <a:pt x="56" y="48"/>
                </a:cubicBezTo>
                <a:cubicBezTo>
                  <a:pt x="51" y="46"/>
                  <a:pt x="50" y="48"/>
                  <a:pt x="49" y="53"/>
                </a:cubicBezTo>
                <a:cubicBezTo>
                  <a:pt x="49" y="51"/>
                  <a:pt x="47" y="52"/>
                  <a:pt x="47" y="50"/>
                </a:cubicBezTo>
                <a:cubicBezTo>
                  <a:pt x="46" y="49"/>
                  <a:pt x="47" y="48"/>
                  <a:pt x="47" y="47"/>
                </a:cubicBezTo>
                <a:cubicBezTo>
                  <a:pt x="46" y="46"/>
                  <a:pt x="44" y="46"/>
                  <a:pt x="41" y="46"/>
                </a:cubicBezTo>
                <a:cubicBezTo>
                  <a:pt x="39" y="46"/>
                  <a:pt x="37" y="46"/>
                  <a:pt x="36" y="46"/>
                </a:cubicBezTo>
                <a:cubicBezTo>
                  <a:pt x="35" y="46"/>
                  <a:pt x="31" y="44"/>
                  <a:pt x="30" y="45"/>
                </a:cubicBezTo>
                <a:cubicBezTo>
                  <a:pt x="28" y="46"/>
                  <a:pt x="30" y="47"/>
                  <a:pt x="31" y="47"/>
                </a:cubicBezTo>
                <a:cubicBezTo>
                  <a:pt x="30" y="47"/>
                  <a:pt x="30" y="47"/>
                  <a:pt x="31" y="48"/>
                </a:cubicBezTo>
                <a:cubicBezTo>
                  <a:pt x="28" y="48"/>
                  <a:pt x="29" y="48"/>
                  <a:pt x="27" y="49"/>
                </a:cubicBezTo>
                <a:cubicBezTo>
                  <a:pt x="27" y="50"/>
                  <a:pt x="25" y="51"/>
                  <a:pt x="25" y="50"/>
                </a:cubicBezTo>
                <a:cubicBezTo>
                  <a:pt x="24" y="49"/>
                  <a:pt x="29" y="49"/>
                  <a:pt x="25" y="47"/>
                </a:cubicBezTo>
                <a:cubicBezTo>
                  <a:pt x="23" y="46"/>
                  <a:pt x="23" y="47"/>
                  <a:pt x="22" y="48"/>
                </a:cubicBezTo>
                <a:cubicBezTo>
                  <a:pt x="20" y="50"/>
                  <a:pt x="22" y="49"/>
                  <a:pt x="22" y="50"/>
                </a:cubicBezTo>
                <a:cubicBezTo>
                  <a:pt x="21" y="51"/>
                  <a:pt x="20" y="53"/>
                  <a:pt x="20" y="55"/>
                </a:cubicBezTo>
                <a:cubicBezTo>
                  <a:pt x="20" y="56"/>
                  <a:pt x="21" y="56"/>
                  <a:pt x="21" y="55"/>
                </a:cubicBezTo>
                <a:cubicBezTo>
                  <a:pt x="21" y="55"/>
                  <a:pt x="21" y="54"/>
                  <a:pt x="21" y="53"/>
                </a:cubicBezTo>
                <a:cubicBezTo>
                  <a:pt x="21" y="52"/>
                  <a:pt x="22" y="52"/>
                  <a:pt x="23" y="51"/>
                </a:cubicBezTo>
                <a:cubicBezTo>
                  <a:pt x="24" y="51"/>
                  <a:pt x="23" y="50"/>
                  <a:pt x="24" y="50"/>
                </a:cubicBezTo>
                <a:cubicBezTo>
                  <a:pt x="26" y="50"/>
                  <a:pt x="25" y="53"/>
                  <a:pt x="25" y="53"/>
                </a:cubicBezTo>
                <a:cubicBezTo>
                  <a:pt x="27" y="55"/>
                  <a:pt x="24" y="54"/>
                  <a:pt x="24" y="56"/>
                </a:cubicBezTo>
                <a:cubicBezTo>
                  <a:pt x="25" y="58"/>
                  <a:pt x="27" y="54"/>
                  <a:pt x="28" y="55"/>
                </a:cubicBezTo>
                <a:cubicBezTo>
                  <a:pt x="24" y="57"/>
                  <a:pt x="28" y="59"/>
                  <a:pt x="29" y="62"/>
                </a:cubicBezTo>
                <a:cubicBezTo>
                  <a:pt x="30" y="64"/>
                  <a:pt x="25" y="59"/>
                  <a:pt x="25" y="62"/>
                </a:cubicBezTo>
                <a:cubicBezTo>
                  <a:pt x="25" y="63"/>
                  <a:pt x="24" y="65"/>
                  <a:pt x="25" y="65"/>
                </a:cubicBezTo>
                <a:cubicBezTo>
                  <a:pt x="27" y="65"/>
                  <a:pt x="28" y="64"/>
                  <a:pt x="30" y="64"/>
                </a:cubicBezTo>
                <a:cubicBezTo>
                  <a:pt x="31" y="64"/>
                  <a:pt x="34" y="63"/>
                  <a:pt x="35" y="64"/>
                </a:cubicBezTo>
                <a:cubicBezTo>
                  <a:pt x="35" y="65"/>
                  <a:pt x="33" y="66"/>
                  <a:pt x="33" y="67"/>
                </a:cubicBezTo>
                <a:cubicBezTo>
                  <a:pt x="33" y="67"/>
                  <a:pt x="34" y="68"/>
                  <a:pt x="34" y="68"/>
                </a:cubicBezTo>
                <a:cubicBezTo>
                  <a:pt x="32" y="71"/>
                  <a:pt x="26" y="66"/>
                  <a:pt x="25" y="70"/>
                </a:cubicBezTo>
                <a:cubicBezTo>
                  <a:pt x="22" y="75"/>
                  <a:pt x="26" y="76"/>
                  <a:pt x="30" y="76"/>
                </a:cubicBezTo>
                <a:cubicBezTo>
                  <a:pt x="28" y="77"/>
                  <a:pt x="21" y="75"/>
                  <a:pt x="20" y="77"/>
                </a:cubicBezTo>
                <a:cubicBezTo>
                  <a:pt x="19" y="77"/>
                  <a:pt x="22" y="78"/>
                  <a:pt x="21" y="78"/>
                </a:cubicBezTo>
                <a:cubicBezTo>
                  <a:pt x="20" y="80"/>
                  <a:pt x="16" y="77"/>
                  <a:pt x="15" y="79"/>
                </a:cubicBezTo>
                <a:cubicBezTo>
                  <a:pt x="16" y="79"/>
                  <a:pt x="16" y="80"/>
                  <a:pt x="17" y="81"/>
                </a:cubicBezTo>
                <a:cubicBezTo>
                  <a:pt x="18" y="81"/>
                  <a:pt x="19" y="82"/>
                  <a:pt x="20" y="82"/>
                </a:cubicBezTo>
                <a:cubicBezTo>
                  <a:pt x="19" y="82"/>
                  <a:pt x="19" y="82"/>
                  <a:pt x="18" y="82"/>
                </a:cubicBezTo>
                <a:cubicBezTo>
                  <a:pt x="19" y="83"/>
                  <a:pt x="15" y="83"/>
                  <a:pt x="15" y="84"/>
                </a:cubicBezTo>
                <a:cubicBezTo>
                  <a:pt x="16" y="85"/>
                  <a:pt x="17" y="84"/>
                  <a:pt x="18" y="84"/>
                </a:cubicBezTo>
                <a:cubicBezTo>
                  <a:pt x="19" y="85"/>
                  <a:pt x="19" y="86"/>
                  <a:pt x="20" y="86"/>
                </a:cubicBezTo>
                <a:cubicBezTo>
                  <a:pt x="22" y="87"/>
                  <a:pt x="23" y="84"/>
                  <a:pt x="25" y="84"/>
                </a:cubicBezTo>
                <a:cubicBezTo>
                  <a:pt x="24" y="84"/>
                  <a:pt x="23" y="86"/>
                  <a:pt x="24" y="85"/>
                </a:cubicBezTo>
                <a:cubicBezTo>
                  <a:pt x="25" y="85"/>
                  <a:pt x="25" y="85"/>
                  <a:pt x="26" y="84"/>
                </a:cubicBezTo>
                <a:cubicBezTo>
                  <a:pt x="26" y="86"/>
                  <a:pt x="22" y="87"/>
                  <a:pt x="23" y="89"/>
                </a:cubicBezTo>
                <a:cubicBezTo>
                  <a:pt x="24" y="90"/>
                  <a:pt x="27" y="89"/>
                  <a:pt x="28" y="88"/>
                </a:cubicBezTo>
                <a:cubicBezTo>
                  <a:pt x="28" y="88"/>
                  <a:pt x="31" y="85"/>
                  <a:pt x="30" y="86"/>
                </a:cubicBezTo>
                <a:cubicBezTo>
                  <a:pt x="30" y="90"/>
                  <a:pt x="31" y="85"/>
                  <a:pt x="33" y="86"/>
                </a:cubicBezTo>
                <a:cubicBezTo>
                  <a:pt x="31" y="86"/>
                  <a:pt x="33" y="87"/>
                  <a:pt x="32" y="88"/>
                </a:cubicBezTo>
                <a:cubicBezTo>
                  <a:pt x="32" y="89"/>
                  <a:pt x="29" y="89"/>
                  <a:pt x="30" y="91"/>
                </a:cubicBezTo>
                <a:cubicBezTo>
                  <a:pt x="31" y="94"/>
                  <a:pt x="31" y="90"/>
                  <a:pt x="32" y="90"/>
                </a:cubicBezTo>
                <a:cubicBezTo>
                  <a:pt x="33" y="90"/>
                  <a:pt x="33" y="92"/>
                  <a:pt x="34" y="93"/>
                </a:cubicBezTo>
                <a:cubicBezTo>
                  <a:pt x="36" y="93"/>
                  <a:pt x="37" y="93"/>
                  <a:pt x="39" y="92"/>
                </a:cubicBezTo>
                <a:cubicBezTo>
                  <a:pt x="43" y="92"/>
                  <a:pt x="47" y="90"/>
                  <a:pt x="50" y="91"/>
                </a:cubicBezTo>
                <a:cubicBezTo>
                  <a:pt x="49" y="91"/>
                  <a:pt x="48" y="92"/>
                  <a:pt x="49" y="92"/>
                </a:cubicBezTo>
                <a:cubicBezTo>
                  <a:pt x="49" y="92"/>
                  <a:pt x="48" y="93"/>
                  <a:pt x="47" y="93"/>
                </a:cubicBezTo>
                <a:cubicBezTo>
                  <a:pt x="49" y="93"/>
                  <a:pt x="50" y="94"/>
                  <a:pt x="51" y="93"/>
                </a:cubicBezTo>
                <a:cubicBezTo>
                  <a:pt x="51" y="94"/>
                  <a:pt x="49" y="95"/>
                  <a:pt x="50" y="96"/>
                </a:cubicBezTo>
                <a:cubicBezTo>
                  <a:pt x="49" y="95"/>
                  <a:pt x="48" y="95"/>
                  <a:pt x="47" y="95"/>
                </a:cubicBezTo>
                <a:cubicBezTo>
                  <a:pt x="47" y="95"/>
                  <a:pt x="48" y="96"/>
                  <a:pt x="48" y="96"/>
                </a:cubicBezTo>
                <a:cubicBezTo>
                  <a:pt x="47" y="96"/>
                  <a:pt x="46" y="95"/>
                  <a:pt x="44" y="96"/>
                </a:cubicBezTo>
                <a:cubicBezTo>
                  <a:pt x="45" y="96"/>
                  <a:pt x="46" y="96"/>
                  <a:pt x="46" y="96"/>
                </a:cubicBezTo>
                <a:cubicBezTo>
                  <a:pt x="45" y="99"/>
                  <a:pt x="41" y="96"/>
                  <a:pt x="39" y="97"/>
                </a:cubicBezTo>
                <a:cubicBezTo>
                  <a:pt x="38" y="98"/>
                  <a:pt x="38" y="100"/>
                  <a:pt x="37" y="101"/>
                </a:cubicBezTo>
                <a:cubicBezTo>
                  <a:pt x="36" y="103"/>
                  <a:pt x="35" y="104"/>
                  <a:pt x="33" y="105"/>
                </a:cubicBezTo>
                <a:cubicBezTo>
                  <a:pt x="34" y="106"/>
                  <a:pt x="38" y="105"/>
                  <a:pt x="36" y="107"/>
                </a:cubicBezTo>
                <a:cubicBezTo>
                  <a:pt x="34" y="109"/>
                  <a:pt x="33" y="110"/>
                  <a:pt x="32" y="112"/>
                </a:cubicBezTo>
                <a:cubicBezTo>
                  <a:pt x="31" y="113"/>
                  <a:pt x="30" y="113"/>
                  <a:pt x="29" y="114"/>
                </a:cubicBezTo>
                <a:cubicBezTo>
                  <a:pt x="28" y="115"/>
                  <a:pt x="27" y="116"/>
                  <a:pt x="26" y="117"/>
                </a:cubicBezTo>
                <a:cubicBezTo>
                  <a:pt x="24" y="118"/>
                  <a:pt x="23" y="119"/>
                  <a:pt x="21" y="120"/>
                </a:cubicBezTo>
                <a:cubicBezTo>
                  <a:pt x="20" y="121"/>
                  <a:pt x="19" y="120"/>
                  <a:pt x="18" y="121"/>
                </a:cubicBezTo>
                <a:cubicBezTo>
                  <a:pt x="21" y="123"/>
                  <a:pt x="23" y="120"/>
                  <a:pt x="25" y="120"/>
                </a:cubicBezTo>
                <a:cubicBezTo>
                  <a:pt x="26" y="119"/>
                  <a:pt x="31" y="118"/>
                  <a:pt x="29" y="117"/>
                </a:cubicBezTo>
                <a:cubicBezTo>
                  <a:pt x="30" y="117"/>
                  <a:pt x="31" y="119"/>
                  <a:pt x="33" y="119"/>
                </a:cubicBezTo>
                <a:cubicBezTo>
                  <a:pt x="34" y="119"/>
                  <a:pt x="36" y="118"/>
                  <a:pt x="38" y="118"/>
                </a:cubicBezTo>
                <a:cubicBezTo>
                  <a:pt x="38" y="118"/>
                  <a:pt x="36" y="120"/>
                  <a:pt x="36" y="120"/>
                </a:cubicBezTo>
                <a:cubicBezTo>
                  <a:pt x="38" y="121"/>
                  <a:pt x="42" y="118"/>
                  <a:pt x="43" y="117"/>
                </a:cubicBezTo>
                <a:cubicBezTo>
                  <a:pt x="44" y="116"/>
                  <a:pt x="46" y="113"/>
                  <a:pt x="48" y="112"/>
                </a:cubicBezTo>
                <a:cubicBezTo>
                  <a:pt x="47" y="113"/>
                  <a:pt x="48" y="115"/>
                  <a:pt x="47" y="116"/>
                </a:cubicBezTo>
                <a:cubicBezTo>
                  <a:pt x="49" y="116"/>
                  <a:pt x="52" y="116"/>
                  <a:pt x="54" y="117"/>
                </a:cubicBezTo>
                <a:cubicBezTo>
                  <a:pt x="52" y="118"/>
                  <a:pt x="48" y="117"/>
                  <a:pt x="46" y="118"/>
                </a:cubicBezTo>
                <a:cubicBezTo>
                  <a:pt x="43" y="120"/>
                  <a:pt x="40" y="120"/>
                  <a:pt x="37" y="120"/>
                </a:cubicBezTo>
                <a:cubicBezTo>
                  <a:pt x="34" y="121"/>
                  <a:pt x="32" y="121"/>
                  <a:pt x="29" y="121"/>
                </a:cubicBezTo>
                <a:cubicBezTo>
                  <a:pt x="27" y="120"/>
                  <a:pt x="24" y="123"/>
                  <a:pt x="26" y="125"/>
                </a:cubicBezTo>
                <a:cubicBezTo>
                  <a:pt x="25" y="124"/>
                  <a:pt x="23" y="126"/>
                  <a:pt x="22" y="127"/>
                </a:cubicBezTo>
                <a:cubicBezTo>
                  <a:pt x="20" y="127"/>
                  <a:pt x="19" y="127"/>
                  <a:pt x="17" y="128"/>
                </a:cubicBezTo>
                <a:cubicBezTo>
                  <a:pt x="17" y="128"/>
                  <a:pt x="20" y="129"/>
                  <a:pt x="20" y="129"/>
                </a:cubicBezTo>
                <a:cubicBezTo>
                  <a:pt x="21" y="131"/>
                  <a:pt x="19" y="132"/>
                  <a:pt x="20" y="133"/>
                </a:cubicBezTo>
                <a:cubicBezTo>
                  <a:pt x="19" y="133"/>
                  <a:pt x="19" y="133"/>
                  <a:pt x="19" y="133"/>
                </a:cubicBezTo>
                <a:cubicBezTo>
                  <a:pt x="19" y="135"/>
                  <a:pt x="21" y="133"/>
                  <a:pt x="22" y="135"/>
                </a:cubicBezTo>
                <a:cubicBezTo>
                  <a:pt x="21" y="135"/>
                  <a:pt x="21" y="134"/>
                  <a:pt x="20" y="135"/>
                </a:cubicBezTo>
                <a:cubicBezTo>
                  <a:pt x="19" y="135"/>
                  <a:pt x="18" y="136"/>
                  <a:pt x="17" y="136"/>
                </a:cubicBezTo>
                <a:cubicBezTo>
                  <a:pt x="15" y="136"/>
                  <a:pt x="14" y="135"/>
                  <a:pt x="15" y="132"/>
                </a:cubicBezTo>
                <a:cubicBezTo>
                  <a:pt x="14" y="132"/>
                  <a:pt x="14" y="132"/>
                  <a:pt x="13" y="132"/>
                </a:cubicBezTo>
                <a:cubicBezTo>
                  <a:pt x="15" y="134"/>
                  <a:pt x="11" y="136"/>
                  <a:pt x="10" y="135"/>
                </a:cubicBezTo>
                <a:cubicBezTo>
                  <a:pt x="10" y="135"/>
                  <a:pt x="11" y="134"/>
                  <a:pt x="10" y="133"/>
                </a:cubicBezTo>
                <a:cubicBezTo>
                  <a:pt x="8" y="133"/>
                  <a:pt x="7" y="134"/>
                  <a:pt x="6" y="134"/>
                </a:cubicBezTo>
                <a:cubicBezTo>
                  <a:pt x="6" y="135"/>
                  <a:pt x="3" y="138"/>
                  <a:pt x="3" y="138"/>
                </a:cubicBezTo>
                <a:cubicBezTo>
                  <a:pt x="2" y="138"/>
                  <a:pt x="2" y="137"/>
                  <a:pt x="1" y="138"/>
                </a:cubicBezTo>
                <a:cubicBezTo>
                  <a:pt x="0" y="138"/>
                  <a:pt x="0" y="140"/>
                  <a:pt x="0" y="141"/>
                </a:cubicBezTo>
                <a:cubicBezTo>
                  <a:pt x="1" y="142"/>
                  <a:pt x="3" y="141"/>
                  <a:pt x="3" y="141"/>
                </a:cubicBezTo>
                <a:cubicBezTo>
                  <a:pt x="4" y="140"/>
                  <a:pt x="5" y="141"/>
                  <a:pt x="6" y="141"/>
                </a:cubicBezTo>
                <a:cubicBezTo>
                  <a:pt x="4" y="139"/>
                  <a:pt x="7" y="140"/>
                  <a:pt x="8" y="140"/>
                </a:cubicBezTo>
                <a:cubicBezTo>
                  <a:pt x="9" y="141"/>
                  <a:pt x="10" y="141"/>
                  <a:pt x="11" y="140"/>
                </a:cubicBezTo>
                <a:cubicBezTo>
                  <a:pt x="12" y="140"/>
                  <a:pt x="14" y="139"/>
                  <a:pt x="15" y="140"/>
                </a:cubicBezTo>
                <a:cubicBezTo>
                  <a:pt x="15" y="140"/>
                  <a:pt x="15" y="140"/>
                  <a:pt x="16" y="140"/>
                </a:cubicBezTo>
                <a:cubicBezTo>
                  <a:pt x="15" y="141"/>
                  <a:pt x="17" y="139"/>
                  <a:pt x="17" y="139"/>
                </a:cubicBezTo>
                <a:cubicBezTo>
                  <a:pt x="19" y="139"/>
                  <a:pt x="20" y="139"/>
                  <a:pt x="21" y="139"/>
                </a:cubicBezTo>
                <a:cubicBezTo>
                  <a:pt x="21" y="140"/>
                  <a:pt x="18" y="142"/>
                  <a:pt x="17" y="140"/>
                </a:cubicBezTo>
                <a:cubicBezTo>
                  <a:pt x="17" y="141"/>
                  <a:pt x="15" y="144"/>
                  <a:pt x="15" y="142"/>
                </a:cubicBezTo>
                <a:cubicBezTo>
                  <a:pt x="14" y="144"/>
                  <a:pt x="12" y="144"/>
                  <a:pt x="10" y="145"/>
                </a:cubicBezTo>
                <a:cubicBezTo>
                  <a:pt x="7" y="145"/>
                  <a:pt x="4" y="146"/>
                  <a:pt x="6" y="150"/>
                </a:cubicBezTo>
                <a:cubicBezTo>
                  <a:pt x="5" y="150"/>
                  <a:pt x="2" y="150"/>
                  <a:pt x="1" y="151"/>
                </a:cubicBezTo>
                <a:cubicBezTo>
                  <a:pt x="1" y="153"/>
                  <a:pt x="2" y="152"/>
                  <a:pt x="3" y="153"/>
                </a:cubicBezTo>
                <a:cubicBezTo>
                  <a:pt x="3" y="153"/>
                  <a:pt x="2" y="155"/>
                  <a:pt x="2" y="155"/>
                </a:cubicBezTo>
                <a:cubicBezTo>
                  <a:pt x="4" y="156"/>
                  <a:pt x="5" y="152"/>
                  <a:pt x="6" y="152"/>
                </a:cubicBezTo>
                <a:cubicBezTo>
                  <a:pt x="8" y="152"/>
                  <a:pt x="8" y="155"/>
                  <a:pt x="6" y="155"/>
                </a:cubicBezTo>
                <a:cubicBezTo>
                  <a:pt x="7" y="156"/>
                  <a:pt x="8" y="157"/>
                  <a:pt x="10" y="156"/>
                </a:cubicBezTo>
                <a:cubicBezTo>
                  <a:pt x="11" y="155"/>
                  <a:pt x="13" y="155"/>
                  <a:pt x="15" y="154"/>
                </a:cubicBezTo>
                <a:cubicBezTo>
                  <a:pt x="18" y="153"/>
                  <a:pt x="22" y="152"/>
                  <a:pt x="25" y="151"/>
                </a:cubicBezTo>
                <a:cubicBezTo>
                  <a:pt x="24" y="152"/>
                  <a:pt x="22" y="152"/>
                  <a:pt x="20" y="153"/>
                </a:cubicBezTo>
                <a:cubicBezTo>
                  <a:pt x="19" y="154"/>
                  <a:pt x="18" y="155"/>
                  <a:pt x="19" y="156"/>
                </a:cubicBezTo>
                <a:cubicBezTo>
                  <a:pt x="18" y="155"/>
                  <a:pt x="17" y="156"/>
                  <a:pt x="16" y="157"/>
                </a:cubicBezTo>
                <a:cubicBezTo>
                  <a:pt x="15" y="154"/>
                  <a:pt x="13" y="159"/>
                  <a:pt x="13" y="158"/>
                </a:cubicBezTo>
                <a:cubicBezTo>
                  <a:pt x="12" y="160"/>
                  <a:pt x="10" y="159"/>
                  <a:pt x="9" y="160"/>
                </a:cubicBezTo>
                <a:cubicBezTo>
                  <a:pt x="12" y="161"/>
                  <a:pt x="7" y="163"/>
                  <a:pt x="7" y="164"/>
                </a:cubicBezTo>
                <a:cubicBezTo>
                  <a:pt x="12" y="162"/>
                  <a:pt x="17" y="161"/>
                  <a:pt x="22" y="159"/>
                </a:cubicBezTo>
                <a:cubicBezTo>
                  <a:pt x="23" y="159"/>
                  <a:pt x="25" y="157"/>
                  <a:pt x="26" y="157"/>
                </a:cubicBezTo>
                <a:cubicBezTo>
                  <a:pt x="26" y="157"/>
                  <a:pt x="29" y="158"/>
                  <a:pt x="29" y="158"/>
                </a:cubicBezTo>
                <a:cubicBezTo>
                  <a:pt x="29" y="159"/>
                  <a:pt x="18" y="165"/>
                  <a:pt x="16" y="165"/>
                </a:cubicBezTo>
                <a:cubicBezTo>
                  <a:pt x="19" y="166"/>
                  <a:pt x="22" y="162"/>
                  <a:pt x="25" y="162"/>
                </a:cubicBezTo>
                <a:cubicBezTo>
                  <a:pt x="23" y="164"/>
                  <a:pt x="17" y="166"/>
                  <a:pt x="17" y="169"/>
                </a:cubicBezTo>
                <a:cubicBezTo>
                  <a:pt x="16" y="170"/>
                  <a:pt x="20" y="168"/>
                  <a:pt x="21" y="167"/>
                </a:cubicBezTo>
                <a:cubicBezTo>
                  <a:pt x="22" y="166"/>
                  <a:pt x="22" y="168"/>
                  <a:pt x="23" y="167"/>
                </a:cubicBezTo>
                <a:cubicBezTo>
                  <a:pt x="24" y="167"/>
                  <a:pt x="25" y="167"/>
                  <a:pt x="26" y="166"/>
                </a:cubicBezTo>
                <a:cubicBezTo>
                  <a:pt x="27" y="166"/>
                  <a:pt x="30" y="164"/>
                  <a:pt x="29" y="167"/>
                </a:cubicBezTo>
                <a:cubicBezTo>
                  <a:pt x="28" y="168"/>
                  <a:pt x="31" y="166"/>
                  <a:pt x="31" y="166"/>
                </a:cubicBezTo>
                <a:cubicBezTo>
                  <a:pt x="31" y="166"/>
                  <a:pt x="29" y="168"/>
                  <a:pt x="30" y="168"/>
                </a:cubicBezTo>
                <a:cubicBezTo>
                  <a:pt x="30" y="168"/>
                  <a:pt x="30" y="168"/>
                  <a:pt x="30" y="169"/>
                </a:cubicBezTo>
                <a:cubicBezTo>
                  <a:pt x="31" y="168"/>
                  <a:pt x="38" y="167"/>
                  <a:pt x="38" y="165"/>
                </a:cubicBezTo>
                <a:cubicBezTo>
                  <a:pt x="38" y="165"/>
                  <a:pt x="43" y="164"/>
                  <a:pt x="43" y="165"/>
                </a:cubicBezTo>
                <a:cubicBezTo>
                  <a:pt x="43" y="166"/>
                  <a:pt x="45" y="164"/>
                  <a:pt x="45" y="164"/>
                </a:cubicBezTo>
                <a:cubicBezTo>
                  <a:pt x="47" y="163"/>
                  <a:pt x="49" y="165"/>
                  <a:pt x="50" y="163"/>
                </a:cubicBezTo>
                <a:cubicBezTo>
                  <a:pt x="51" y="162"/>
                  <a:pt x="50" y="162"/>
                  <a:pt x="49" y="161"/>
                </a:cubicBezTo>
                <a:cubicBezTo>
                  <a:pt x="50" y="161"/>
                  <a:pt x="54" y="160"/>
                  <a:pt x="55" y="162"/>
                </a:cubicBezTo>
                <a:cubicBezTo>
                  <a:pt x="55" y="161"/>
                  <a:pt x="56" y="160"/>
                  <a:pt x="57" y="159"/>
                </a:cubicBezTo>
                <a:cubicBezTo>
                  <a:pt x="56" y="159"/>
                  <a:pt x="56" y="159"/>
                  <a:pt x="55" y="159"/>
                </a:cubicBezTo>
                <a:cubicBezTo>
                  <a:pt x="56" y="158"/>
                  <a:pt x="58" y="160"/>
                  <a:pt x="57" y="158"/>
                </a:cubicBezTo>
                <a:cubicBezTo>
                  <a:pt x="60" y="160"/>
                  <a:pt x="62" y="157"/>
                  <a:pt x="63" y="154"/>
                </a:cubicBezTo>
                <a:cubicBezTo>
                  <a:pt x="62" y="154"/>
                  <a:pt x="63" y="153"/>
                  <a:pt x="62" y="152"/>
                </a:cubicBezTo>
                <a:cubicBezTo>
                  <a:pt x="61" y="151"/>
                  <a:pt x="61" y="151"/>
                  <a:pt x="60" y="151"/>
                </a:cubicBezTo>
                <a:cubicBezTo>
                  <a:pt x="62" y="150"/>
                  <a:pt x="64" y="150"/>
                  <a:pt x="67" y="151"/>
                </a:cubicBezTo>
                <a:cubicBezTo>
                  <a:pt x="66" y="152"/>
                  <a:pt x="67" y="151"/>
                  <a:pt x="67" y="152"/>
                </a:cubicBezTo>
                <a:cubicBezTo>
                  <a:pt x="66" y="152"/>
                  <a:pt x="65" y="153"/>
                  <a:pt x="65" y="154"/>
                </a:cubicBezTo>
                <a:cubicBezTo>
                  <a:pt x="64" y="155"/>
                  <a:pt x="69" y="154"/>
                  <a:pt x="69" y="154"/>
                </a:cubicBezTo>
                <a:cubicBezTo>
                  <a:pt x="71" y="153"/>
                  <a:pt x="72" y="152"/>
                  <a:pt x="73" y="151"/>
                </a:cubicBezTo>
                <a:cubicBezTo>
                  <a:pt x="74" y="151"/>
                  <a:pt x="76" y="151"/>
                  <a:pt x="75" y="150"/>
                </a:cubicBezTo>
                <a:cubicBezTo>
                  <a:pt x="76" y="149"/>
                  <a:pt x="77" y="148"/>
                  <a:pt x="77" y="147"/>
                </a:cubicBezTo>
                <a:cubicBezTo>
                  <a:pt x="78" y="150"/>
                  <a:pt x="82" y="147"/>
                  <a:pt x="84" y="146"/>
                </a:cubicBezTo>
                <a:cubicBezTo>
                  <a:pt x="85" y="145"/>
                  <a:pt x="87" y="142"/>
                  <a:pt x="84" y="143"/>
                </a:cubicBezTo>
                <a:cubicBezTo>
                  <a:pt x="84" y="141"/>
                  <a:pt x="92" y="140"/>
                  <a:pt x="93" y="140"/>
                </a:cubicBezTo>
                <a:cubicBezTo>
                  <a:pt x="94" y="140"/>
                  <a:pt x="96" y="140"/>
                  <a:pt x="98" y="139"/>
                </a:cubicBezTo>
                <a:cubicBezTo>
                  <a:pt x="99" y="139"/>
                  <a:pt x="100" y="138"/>
                  <a:pt x="101" y="139"/>
                </a:cubicBezTo>
                <a:cubicBezTo>
                  <a:pt x="101" y="139"/>
                  <a:pt x="100" y="140"/>
                  <a:pt x="100" y="140"/>
                </a:cubicBezTo>
                <a:cubicBezTo>
                  <a:pt x="102" y="140"/>
                  <a:pt x="103" y="139"/>
                  <a:pt x="104" y="138"/>
                </a:cubicBezTo>
                <a:cubicBezTo>
                  <a:pt x="103" y="137"/>
                  <a:pt x="104" y="134"/>
                  <a:pt x="103" y="134"/>
                </a:cubicBezTo>
                <a:cubicBezTo>
                  <a:pt x="105" y="135"/>
                  <a:pt x="106" y="138"/>
                  <a:pt x="104" y="140"/>
                </a:cubicBezTo>
                <a:cubicBezTo>
                  <a:pt x="105" y="140"/>
                  <a:pt x="108" y="138"/>
                  <a:pt x="108" y="137"/>
                </a:cubicBezTo>
                <a:cubicBezTo>
                  <a:pt x="108" y="137"/>
                  <a:pt x="108" y="136"/>
                  <a:pt x="108" y="136"/>
                </a:cubicBezTo>
                <a:cubicBezTo>
                  <a:pt x="109" y="135"/>
                  <a:pt x="109" y="135"/>
                  <a:pt x="110" y="135"/>
                </a:cubicBezTo>
                <a:cubicBezTo>
                  <a:pt x="110" y="135"/>
                  <a:pt x="109" y="136"/>
                  <a:pt x="109" y="136"/>
                </a:cubicBezTo>
                <a:cubicBezTo>
                  <a:pt x="111" y="137"/>
                  <a:pt x="114" y="138"/>
                  <a:pt x="116" y="138"/>
                </a:cubicBezTo>
                <a:cubicBezTo>
                  <a:pt x="117" y="138"/>
                  <a:pt x="121" y="137"/>
                  <a:pt x="121" y="137"/>
                </a:cubicBezTo>
                <a:cubicBezTo>
                  <a:pt x="120" y="139"/>
                  <a:pt x="123" y="137"/>
                  <a:pt x="123" y="135"/>
                </a:cubicBezTo>
                <a:cubicBezTo>
                  <a:pt x="123" y="134"/>
                  <a:pt x="121" y="134"/>
                  <a:pt x="122" y="132"/>
                </a:cubicBezTo>
                <a:cubicBezTo>
                  <a:pt x="121" y="135"/>
                  <a:pt x="118" y="130"/>
                  <a:pt x="120" y="129"/>
                </a:cubicBezTo>
                <a:cubicBezTo>
                  <a:pt x="119" y="131"/>
                  <a:pt x="122" y="130"/>
                  <a:pt x="122" y="131"/>
                </a:cubicBezTo>
                <a:cubicBezTo>
                  <a:pt x="122" y="128"/>
                  <a:pt x="124" y="126"/>
                  <a:pt x="126" y="125"/>
                </a:cubicBezTo>
                <a:cubicBezTo>
                  <a:pt x="128" y="122"/>
                  <a:pt x="127" y="121"/>
                  <a:pt x="128" y="118"/>
                </a:cubicBezTo>
                <a:cubicBezTo>
                  <a:pt x="128" y="116"/>
                  <a:pt x="130" y="112"/>
                  <a:pt x="131" y="110"/>
                </a:cubicBezTo>
                <a:cubicBezTo>
                  <a:pt x="132" y="109"/>
                  <a:pt x="135" y="106"/>
                  <a:pt x="135" y="104"/>
                </a:cubicBezTo>
                <a:cubicBezTo>
                  <a:pt x="134" y="102"/>
                  <a:pt x="135" y="99"/>
                  <a:pt x="134" y="97"/>
                </a:cubicBezTo>
                <a:cubicBezTo>
                  <a:pt x="134" y="95"/>
                  <a:pt x="133" y="93"/>
                  <a:pt x="134" y="91"/>
                </a:cubicBezTo>
                <a:cubicBezTo>
                  <a:pt x="134" y="89"/>
                  <a:pt x="130" y="90"/>
                  <a:pt x="131" y="87"/>
                </a:cubicBezTo>
                <a:cubicBezTo>
                  <a:pt x="132" y="84"/>
                  <a:pt x="134" y="87"/>
                  <a:pt x="135" y="86"/>
                </a:cubicBezTo>
                <a:cubicBezTo>
                  <a:pt x="135" y="87"/>
                  <a:pt x="132" y="83"/>
                  <a:pt x="132" y="82"/>
                </a:cubicBezTo>
                <a:cubicBezTo>
                  <a:pt x="133" y="82"/>
                  <a:pt x="133" y="83"/>
                  <a:pt x="135" y="81"/>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20">
            <a:extLst>
              <a:ext uri="{FF2B5EF4-FFF2-40B4-BE49-F238E27FC236}">
                <a16:creationId xmlns:a16="http://schemas.microsoft.com/office/drawing/2014/main" id="{2BD2DECC-4AFC-44A2-94C2-9A29F47988DB}"/>
              </a:ext>
            </a:extLst>
          </p:cNvPr>
          <p:cNvSpPr>
            <a:spLocks/>
          </p:cNvSpPr>
          <p:nvPr/>
        </p:nvSpPr>
        <p:spPr bwMode="auto">
          <a:xfrm>
            <a:off x="866457" y="4052536"/>
            <a:ext cx="30696" cy="17879"/>
          </a:xfrm>
          <a:custGeom>
            <a:avLst/>
            <a:gdLst>
              <a:gd name="T0" fmla="*/ 6 w 11"/>
              <a:gd name="T1" fmla="*/ 3 h 6"/>
              <a:gd name="T2" fmla="*/ 8 w 11"/>
              <a:gd name="T3" fmla="*/ 6 h 6"/>
              <a:gd name="T4" fmla="*/ 9 w 11"/>
              <a:gd name="T5" fmla="*/ 3 h 6"/>
              <a:gd name="T6" fmla="*/ 6 w 11"/>
              <a:gd name="T7" fmla="*/ 0 h 6"/>
              <a:gd name="T8" fmla="*/ 5 w 11"/>
              <a:gd name="T9" fmla="*/ 1 h 6"/>
              <a:gd name="T10" fmla="*/ 3 w 11"/>
              <a:gd name="T11" fmla="*/ 1 h 6"/>
              <a:gd name="T12" fmla="*/ 0 w 11"/>
              <a:gd name="T13" fmla="*/ 2 h 6"/>
              <a:gd name="T14" fmla="*/ 6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6" y="3"/>
                </a:moveTo>
                <a:cubicBezTo>
                  <a:pt x="6" y="6"/>
                  <a:pt x="7" y="5"/>
                  <a:pt x="8" y="6"/>
                </a:cubicBezTo>
                <a:cubicBezTo>
                  <a:pt x="9" y="6"/>
                  <a:pt x="11" y="3"/>
                  <a:pt x="9" y="3"/>
                </a:cubicBezTo>
                <a:cubicBezTo>
                  <a:pt x="9" y="1"/>
                  <a:pt x="9" y="0"/>
                  <a:pt x="6" y="0"/>
                </a:cubicBezTo>
                <a:cubicBezTo>
                  <a:pt x="6" y="1"/>
                  <a:pt x="5" y="1"/>
                  <a:pt x="5" y="1"/>
                </a:cubicBezTo>
                <a:cubicBezTo>
                  <a:pt x="4" y="1"/>
                  <a:pt x="4" y="1"/>
                  <a:pt x="3" y="1"/>
                </a:cubicBezTo>
                <a:cubicBezTo>
                  <a:pt x="2" y="1"/>
                  <a:pt x="1" y="2"/>
                  <a:pt x="0" y="2"/>
                </a:cubicBezTo>
                <a:cubicBezTo>
                  <a:pt x="1" y="3"/>
                  <a:pt x="5" y="2"/>
                  <a:pt x="6" y="3"/>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21">
            <a:extLst>
              <a:ext uri="{FF2B5EF4-FFF2-40B4-BE49-F238E27FC236}">
                <a16:creationId xmlns:a16="http://schemas.microsoft.com/office/drawing/2014/main" id="{EBFF7193-1C13-4D84-BE94-02E0BA58AE4E}"/>
              </a:ext>
            </a:extLst>
          </p:cNvPr>
          <p:cNvSpPr>
            <a:spLocks/>
          </p:cNvSpPr>
          <p:nvPr/>
        </p:nvSpPr>
        <p:spPr bwMode="auto">
          <a:xfrm>
            <a:off x="1207653" y="3689009"/>
            <a:ext cx="22432" cy="14303"/>
          </a:xfrm>
          <a:custGeom>
            <a:avLst/>
            <a:gdLst>
              <a:gd name="T0" fmla="*/ 6 w 8"/>
              <a:gd name="T1" fmla="*/ 2 h 5"/>
              <a:gd name="T2" fmla="*/ 3 w 8"/>
              <a:gd name="T3" fmla="*/ 0 h 5"/>
              <a:gd name="T4" fmla="*/ 5 w 8"/>
              <a:gd name="T5" fmla="*/ 5 h 5"/>
              <a:gd name="T6" fmla="*/ 6 w 8"/>
              <a:gd name="T7" fmla="*/ 2 h 5"/>
            </a:gdLst>
            <a:ahLst/>
            <a:cxnLst>
              <a:cxn ang="0">
                <a:pos x="T0" y="T1"/>
              </a:cxn>
              <a:cxn ang="0">
                <a:pos x="T2" y="T3"/>
              </a:cxn>
              <a:cxn ang="0">
                <a:pos x="T4" y="T5"/>
              </a:cxn>
              <a:cxn ang="0">
                <a:pos x="T6" y="T7"/>
              </a:cxn>
            </a:cxnLst>
            <a:rect l="0" t="0" r="r" b="b"/>
            <a:pathLst>
              <a:path w="8" h="5">
                <a:moveTo>
                  <a:pt x="6" y="2"/>
                </a:moveTo>
                <a:cubicBezTo>
                  <a:pt x="8" y="0"/>
                  <a:pt x="4" y="0"/>
                  <a:pt x="3" y="0"/>
                </a:cubicBezTo>
                <a:cubicBezTo>
                  <a:pt x="0" y="1"/>
                  <a:pt x="3" y="4"/>
                  <a:pt x="5" y="5"/>
                </a:cubicBezTo>
                <a:cubicBezTo>
                  <a:pt x="6" y="5"/>
                  <a:pt x="8" y="2"/>
                  <a:pt x="6" y="2"/>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22">
            <a:extLst>
              <a:ext uri="{FF2B5EF4-FFF2-40B4-BE49-F238E27FC236}">
                <a16:creationId xmlns:a16="http://schemas.microsoft.com/office/drawing/2014/main" id="{54DD9145-6531-4DE6-B169-0D5613981B17}"/>
              </a:ext>
            </a:extLst>
          </p:cNvPr>
          <p:cNvSpPr>
            <a:spLocks/>
          </p:cNvSpPr>
          <p:nvPr/>
        </p:nvSpPr>
        <p:spPr bwMode="auto">
          <a:xfrm>
            <a:off x="1551210" y="4450628"/>
            <a:ext cx="44863" cy="22646"/>
          </a:xfrm>
          <a:custGeom>
            <a:avLst/>
            <a:gdLst>
              <a:gd name="T0" fmla="*/ 11 w 16"/>
              <a:gd name="T1" fmla="*/ 1 h 8"/>
              <a:gd name="T2" fmla="*/ 7 w 16"/>
              <a:gd name="T3" fmla="*/ 0 h 8"/>
              <a:gd name="T4" fmla="*/ 5 w 16"/>
              <a:gd name="T5" fmla="*/ 2 h 8"/>
              <a:gd name="T6" fmla="*/ 0 w 16"/>
              <a:gd name="T7" fmla="*/ 5 h 8"/>
              <a:gd name="T8" fmla="*/ 8 w 16"/>
              <a:gd name="T9" fmla="*/ 8 h 8"/>
              <a:gd name="T10" fmla="*/ 13 w 16"/>
              <a:gd name="T11" fmla="*/ 4 h 8"/>
              <a:gd name="T12" fmla="*/ 11 w 16"/>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11" y="1"/>
                </a:moveTo>
                <a:cubicBezTo>
                  <a:pt x="10" y="1"/>
                  <a:pt x="8" y="0"/>
                  <a:pt x="7" y="0"/>
                </a:cubicBezTo>
                <a:cubicBezTo>
                  <a:pt x="6" y="1"/>
                  <a:pt x="6" y="2"/>
                  <a:pt x="5" y="2"/>
                </a:cubicBezTo>
                <a:cubicBezTo>
                  <a:pt x="3" y="3"/>
                  <a:pt x="1" y="3"/>
                  <a:pt x="0" y="5"/>
                </a:cubicBezTo>
                <a:cubicBezTo>
                  <a:pt x="3" y="4"/>
                  <a:pt x="5" y="8"/>
                  <a:pt x="8" y="8"/>
                </a:cubicBezTo>
                <a:cubicBezTo>
                  <a:pt x="11" y="8"/>
                  <a:pt x="11" y="6"/>
                  <a:pt x="13" y="4"/>
                </a:cubicBezTo>
                <a:cubicBezTo>
                  <a:pt x="16" y="2"/>
                  <a:pt x="12" y="1"/>
                  <a:pt x="11" y="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23">
            <a:extLst>
              <a:ext uri="{FF2B5EF4-FFF2-40B4-BE49-F238E27FC236}">
                <a16:creationId xmlns:a16="http://schemas.microsoft.com/office/drawing/2014/main" id="{22FEC97D-B226-402F-A169-3068B23E0CE1}"/>
              </a:ext>
            </a:extLst>
          </p:cNvPr>
          <p:cNvSpPr>
            <a:spLocks noEditPoints="1"/>
          </p:cNvSpPr>
          <p:nvPr/>
        </p:nvSpPr>
        <p:spPr bwMode="auto">
          <a:xfrm>
            <a:off x="1197027" y="3497114"/>
            <a:ext cx="642251" cy="1054825"/>
          </a:xfrm>
          <a:custGeom>
            <a:avLst/>
            <a:gdLst>
              <a:gd name="T0" fmla="*/ 195 w 230"/>
              <a:gd name="T1" fmla="*/ 243 h 374"/>
              <a:gd name="T2" fmla="*/ 164 w 230"/>
              <a:gd name="T3" fmla="*/ 212 h 374"/>
              <a:gd name="T4" fmla="*/ 175 w 230"/>
              <a:gd name="T5" fmla="*/ 198 h 374"/>
              <a:gd name="T6" fmla="*/ 148 w 230"/>
              <a:gd name="T7" fmla="*/ 172 h 374"/>
              <a:gd name="T8" fmla="*/ 130 w 230"/>
              <a:gd name="T9" fmla="*/ 126 h 374"/>
              <a:gd name="T10" fmla="*/ 79 w 230"/>
              <a:gd name="T11" fmla="*/ 110 h 374"/>
              <a:gd name="T12" fmla="*/ 105 w 230"/>
              <a:gd name="T13" fmla="*/ 93 h 374"/>
              <a:gd name="T14" fmla="*/ 120 w 230"/>
              <a:gd name="T15" fmla="*/ 80 h 374"/>
              <a:gd name="T16" fmla="*/ 121 w 230"/>
              <a:gd name="T17" fmla="*/ 42 h 374"/>
              <a:gd name="T18" fmla="*/ 83 w 230"/>
              <a:gd name="T19" fmla="*/ 44 h 374"/>
              <a:gd name="T20" fmla="*/ 70 w 230"/>
              <a:gd name="T21" fmla="*/ 43 h 374"/>
              <a:gd name="T22" fmla="*/ 75 w 230"/>
              <a:gd name="T23" fmla="*/ 34 h 374"/>
              <a:gd name="T24" fmla="*/ 108 w 230"/>
              <a:gd name="T25" fmla="*/ 2 h 374"/>
              <a:gd name="T26" fmla="*/ 69 w 230"/>
              <a:gd name="T27" fmla="*/ 7 h 374"/>
              <a:gd name="T28" fmla="*/ 49 w 230"/>
              <a:gd name="T29" fmla="*/ 7 h 374"/>
              <a:gd name="T30" fmla="*/ 49 w 230"/>
              <a:gd name="T31" fmla="*/ 17 h 374"/>
              <a:gd name="T32" fmla="*/ 47 w 230"/>
              <a:gd name="T33" fmla="*/ 35 h 374"/>
              <a:gd name="T34" fmla="*/ 27 w 230"/>
              <a:gd name="T35" fmla="*/ 34 h 374"/>
              <a:gd name="T36" fmla="*/ 25 w 230"/>
              <a:gd name="T37" fmla="*/ 52 h 374"/>
              <a:gd name="T38" fmla="*/ 35 w 230"/>
              <a:gd name="T39" fmla="*/ 57 h 374"/>
              <a:gd name="T40" fmla="*/ 27 w 230"/>
              <a:gd name="T41" fmla="*/ 70 h 374"/>
              <a:gd name="T42" fmla="*/ 22 w 230"/>
              <a:gd name="T43" fmla="*/ 79 h 374"/>
              <a:gd name="T44" fmla="*/ 21 w 230"/>
              <a:gd name="T45" fmla="*/ 86 h 374"/>
              <a:gd name="T46" fmla="*/ 36 w 230"/>
              <a:gd name="T47" fmla="*/ 85 h 374"/>
              <a:gd name="T48" fmla="*/ 43 w 230"/>
              <a:gd name="T49" fmla="*/ 89 h 374"/>
              <a:gd name="T50" fmla="*/ 28 w 230"/>
              <a:gd name="T51" fmla="*/ 105 h 374"/>
              <a:gd name="T52" fmla="*/ 22 w 230"/>
              <a:gd name="T53" fmla="*/ 128 h 374"/>
              <a:gd name="T54" fmla="*/ 30 w 230"/>
              <a:gd name="T55" fmla="*/ 112 h 374"/>
              <a:gd name="T56" fmla="*/ 35 w 230"/>
              <a:gd name="T57" fmla="*/ 120 h 374"/>
              <a:gd name="T58" fmla="*/ 50 w 230"/>
              <a:gd name="T59" fmla="*/ 104 h 374"/>
              <a:gd name="T60" fmla="*/ 45 w 230"/>
              <a:gd name="T61" fmla="*/ 127 h 374"/>
              <a:gd name="T62" fmla="*/ 41 w 230"/>
              <a:gd name="T63" fmla="*/ 171 h 374"/>
              <a:gd name="T64" fmla="*/ 64 w 230"/>
              <a:gd name="T65" fmla="*/ 165 h 374"/>
              <a:gd name="T66" fmla="*/ 80 w 230"/>
              <a:gd name="T67" fmla="*/ 157 h 374"/>
              <a:gd name="T68" fmla="*/ 83 w 230"/>
              <a:gd name="T69" fmla="*/ 166 h 374"/>
              <a:gd name="T70" fmla="*/ 96 w 230"/>
              <a:gd name="T71" fmla="*/ 191 h 374"/>
              <a:gd name="T72" fmla="*/ 96 w 230"/>
              <a:gd name="T73" fmla="*/ 210 h 374"/>
              <a:gd name="T74" fmla="*/ 78 w 230"/>
              <a:gd name="T75" fmla="*/ 227 h 374"/>
              <a:gd name="T76" fmla="*/ 44 w 230"/>
              <a:gd name="T77" fmla="*/ 244 h 374"/>
              <a:gd name="T78" fmla="*/ 56 w 230"/>
              <a:gd name="T79" fmla="*/ 259 h 374"/>
              <a:gd name="T80" fmla="*/ 30 w 230"/>
              <a:gd name="T81" fmla="*/ 284 h 374"/>
              <a:gd name="T82" fmla="*/ 24 w 230"/>
              <a:gd name="T83" fmla="*/ 297 h 374"/>
              <a:gd name="T84" fmla="*/ 37 w 230"/>
              <a:gd name="T85" fmla="*/ 298 h 374"/>
              <a:gd name="T86" fmla="*/ 61 w 230"/>
              <a:gd name="T87" fmla="*/ 302 h 374"/>
              <a:gd name="T88" fmla="*/ 105 w 230"/>
              <a:gd name="T89" fmla="*/ 295 h 374"/>
              <a:gd name="T90" fmla="*/ 60 w 230"/>
              <a:gd name="T91" fmla="*/ 318 h 374"/>
              <a:gd name="T92" fmla="*/ 26 w 230"/>
              <a:gd name="T93" fmla="*/ 346 h 374"/>
              <a:gd name="T94" fmla="*/ 0 w 230"/>
              <a:gd name="T95" fmla="*/ 369 h 374"/>
              <a:gd name="T96" fmla="*/ 26 w 230"/>
              <a:gd name="T97" fmla="*/ 362 h 374"/>
              <a:gd name="T98" fmla="*/ 45 w 230"/>
              <a:gd name="T99" fmla="*/ 355 h 374"/>
              <a:gd name="T100" fmla="*/ 67 w 230"/>
              <a:gd name="T101" fmla="*/ 353 h 374"/>
              <a:gd name="T102" fmla="*/ 99 w 230"/>
              <a:gd name="T103" fmla="*/ 349 h 374"/>
              <a:gd name="T104" fmla="*/ 134 w 230"/>
              <a:gd name="T105" fmla="*/ 337 h 374"/>
              <a:gd name="T106" fmla="*/ 146 w 230"/>
              <a:gd name="T107" fmla="*/ 338 h 374"/>
              <a:gd name="T108" fmla="*/ 197 w 230"/>
              <a:gd name="T109" fmla="*/ 331 h 374"/>
              <a:gd name="T110" fmla="*/ 196 w 230"/>
              <a:gd name="T111" fmla="*/ 310 h 374"/>
              <a:gd name="T112" fmla="*/ 202 w 230"/>
              <a:gd name="T113" fmla="*/ 297 h 374"/>
              <a:gd name="T114" fmla="*/ 208 w 230"/>
              <a:gd name="T115" fmla="*/ 287 h 374"/>
              <a:gd name="T116" fmla="*/ 229 w 230"/>
              <a:gd name="T117" fmla="*/ 25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 h="374">
                <a:moveTo>
                  <a:pt x="229" y="258"/>
                </a:moveTo>
                <a:cubicBezTo>
                  <a:pt x="228" y="254"/>
                  <a:pt x="227" y="251"/>
                  <a:pt x="224" y="250"/>
                </a:cubicBezTo>
                <a:cubicBezTo>
                  <a:pt x="222" y="248"/>
                  <a:pt x="221" y="247"/>
                  <a:pt x="219" y="246"/>
                </a:cubicBezTo>
                <a:cubicBezTo>
                  <a:pt x="218" y="245"/>
                  <a:pt x="217" y="245"/>
                  <a:pt x="215" y="244"/>
                </a:cubicBezTo>
                <a:cubicBezTo>
                  <a:pt x="213" y="244"/>
                  <a:pt x="209" y="242"/>
                  <a:pt x="207" y="243"/>
                </a:cubicBezTo>
                <a:cubicBezTo>
                  <a:pt x="210" y="243"/>
                  <a:pt x="206" y="243"/>
                  <a:pt x="206" y="243"/>
                </a:cubicBezTo>
                <a:cubicBezTo>
                  <a:pt x="204" y="243"/>
                  <a:pt x="203" y="243"/>
                  <a:pt x="202" y="243"/>
                </a:cubicBezTo>
                <a:cubicBezTo>
                  <a:pt x="200" y="243"/>
                  <a:pt x="197" y="242"/>
                  <a:pt x="195" y="243"/>
                </a:cubicBezTo>
                <a:cubicBezTo>
                  <a:pt x="193" y="244"/>
                  <a:pt x="189" y="249"/>
                  <a:pt x="189" y="251"/>
                </a:cubicBezTo>
                <a:cubicBezTo>
                  <a:pt x="188" y="249"/>
                  <a:pt x="185" y="251"/>
                  <a:pt x="184" y="249"/>
                </a:cubicBezTo>
                <a:cubicBezTo>
                  <a:pt x="183" y="247"/>
                  <a:pt x="181" y="246"/>
                  <a:pt x="178" y="246"/>
                </a:cubicBezTo>
                <a:cubicBezTo>
                  <a:pt x="180" y="241"/>
                  <a:pt x="189" y="240"/>
                  <a:pt x="189" y="233"/>
                </a:cubicBezTo>
                <a:cubicBezTo>
                  <a:pt x="189" y="228"/>
                  <a:pt x="186" y="222"/>
                  <a:pt x="182" y="220"/>
                </a:cubicBezTo>
                <a:cubicBezTo>
                  <a:pt x="180" y="219"/>
                  <a:pt x="179" y="217"/>
                  <a:pt x="176" y="216"/>
                </a:cubicBezTo>
                <a:cubicBezTo>
                  <a:pt x="174" y="215"/>
                  <a:pt x="173" y="211"/>
                  <a:pt x="171" y="211"/>
                </a:cubicBezTo>
                <a:cubicBezTo>
                  <a:pt x="169" y="210"/>
                  <a:pt x="167" y="212"/>
                  <a:pt x="164" y="212"/>
                </a:cubicBezTo>
                <a:cubicBezTo>
                  <a:pt x="163" y="211"/>
                  <a:pt x="163" y="210"/>
                  <a:pt x="162" y="211"/>
                </a:cubicBezTo>
                <a:cubicBezTo>
                  <a:pt x="161" y="211"/>
                  <a:pt x="160" y="212"/>
                  <a:pt x="159" y="211"/>
                </a:cubicBezTo>
                <a:cubicBezTo>
                  <a:pt x="162" y="209"/>
                  <a:pt x="164" y="211"/>
                  <a:pt x="167" y="210"/>
                </a:cubicBezTo>
                <a:cubicBezTo>
                  <a:pt x="169" y="210"/>
                  <a:pt x="172" y="209"/>
                  <a:pt x="174" y="210"/>
                </a:cubicBezTo>
                <a:cubicBezTo>
                  <a:pt x="176" y="212"/>
                  <a:pt x="177" y="215"/>
                  <a:pt x="179" y="214"/>
                </a:cubicBezTo>
                <a:cubicBezTo>
                  <a:pt x="181" y="214"/>
                  <a:pt x="186" y="214"/>
                  <a:pt x="183" y="217"/>
                </a:cubicBezTo>
                <a:cubicBezTo>
                  <a:pt x="186" y="215"/>
                  <a:pt x="180" y="208"/>
                  <a:pt x="178" y="206"/>
                </a:cubicBezTo>
                <a:cubicBezTo>
                  <a:pt x="177" y="204"/>
                  <a:pt x="175" y="201"/>
                  <a:pt x="175" y="198"/>
                </a:cubicBezTo>
                <a:cubicBezTo>
                  <a:pt x="175" y="196"/>
                  <a:pt x="178" y="192"/>
                  <a:pt x="178" y="193"/>
                </a:cubicBezTo>
                <a:cubicBezTo>
                  <a:pt x="178" y="191"/>
                  <a:pt x="175" y="192"/>
                  <a:pt x="174" y="191"/>
                </a:cubicBezTo>
                <a:cubicBezTo>
                  <a:pt x="173" y="190"/>
                  <a:pt x="174" y="189"/>
                  <a:pt x="173" y="189"/>
                </a:cubicBezTo>
                <a:cubicBezTo>
                  <a:pt x="173" y="188"/>
                  <a:pt x="172" y="188"/>
                  <a:pt x="171" y="188"/>
                </a:cubicBezTo>
                <a:cubicBezTo>
                  <a:pt x="169" y="186"/>
                  <a:pt x="168" y="181"/>
                  <a:pt x="166" y="179"/>
                </a:cubicBezTo>
                <a:cubicBezTo>
                  <a:pt x="164" y="176"/>
                  <a:pt x="159" y="174"/>
                  <a:pt x="156" y="173"/>
                </a:cubicBezTo>
                <a:cubicBezTo>
                  <a:pt x="154" y="173"/>
                  <a:pt x="152" y="172"/>
                  <a:pt x="150" y="172"/>
                </a:cubicBezTo>
                <a:cubicBezTo>
                  <a:pt x="149" y="171"/>
                  <a:pt x="149" y="172"/>
                  <a:pt x="148" y="172"/>
                </a:cubicBezTo>
                <a:cubicBezTo>
                  <a:pt x="148" y="172"/>
                  <a:pt x="149" y="169"/>
                  <a:pt x="148" y="168"/>
                </a:cubicBezTo>
                <a:cubicBezTo>
                  <a:pt x="146" y="166"/>
                  <a:pt x="145" y="165"/>
                  <a:pt x="145" y="163"/>
                </a:cubicBezTo>
                <a:cubicBezTo>
                  <a:pt x="143" y="158"/>
                  <a:pt x="142" y="154"/>
                  <a:pt x="140" y="149"/>
                </a:cubicBezTo>
                <a:cubicBezTo>
                  <a:pt x="140" y="147"/>
                  <a:pt x="139" y="144"/>
                  <a:pt x="139" y="142"/>
                </a:cubicBezTo>
                <a:cubicBezTo>
                  <a:pt x="139" y="140"/>
                  <a:pt x="138" y="140"/>
                  <a:pt x="139" y="138"/>
                </a:cubicBezTo>
                <a:cubicBezTo>
                  <a:pt x="139" y="138"/>
                  <a:pt x="139" y="137"/>
                  <a:pt x="139" y="136"/>
                </a:cubicBezTo>
                <a:cubicBezTo>
                  <a:pt x="139" y="133"/>
                  <a:pt x="137" y="128"/>
                  <a:pt x="134" y="129"/>
                </a:cubicBezTo>
                <a:cubicBezTo>
                  <a:pt x="134" y="129"/>
                  <a:pt x="131" y="126"/>
                  <a:pt x="130" y="126"/>
                </a:cubicBezTo>
                <a:cubicBezTo>
                  <a:pt x="129" y="123"/>
                  <a:pt x="127" y="121"/>
                  <a:pt x="126" y="119"/>
                </a:cubicBezTo>
                <a:cubicBezTo>
                  <a:pt x="123" y="115"/>
                  <a:pt x="116" y="113"/>
                  <a:pt x="112" y="113"/>
                </a:cubicBezTo>
                <a:cubicBezTo>
                  <a:pt x="113" y="110"/>
                  <a:pt x="108" y="110"/>
                  <a:pt x="107" y="110"/>
                </a:cubicBezTo>
                <a:cubicBezTo>
                  <a:pt x="104" y="111"/>
                  <a:pt x="103" y="113"/>
                  <a:pt x="100" y="114"/>
                </a:cubicBezTo>
                <a:cubicBezTo>
                  <a:pt x="97" y="116"/>
                  <a:pt x="91" y="113"/>
                  <a:pt x="88" y="113"/>
                </a:cubicBezTo>
                <a:cubicBezTo>
                  <a:pt x="86" y="112"/>
                  <a:pt x="83" y="112"/>
                  <a:pt x="81" y="112"/>
                </a:cubicBezTo>
                <a:cubicBezTo>
                  <a:pt x="79" y="112"/>
                  <a:pt x="78" y="109"/>
                  <a:pt x="76" y="108"/>
                </a:cubicBezTo>
                <a:cubicBezTo>
                  <a:pt x="78" y="108"/>
                  <a:pt x="78" y="109"/>
                  <a:pt x="79" y="110"/>
                </a:cubicBezTo>
                <a:cubicBezTo>
                  <a:pt x="81" y="111"/>
                  <a:pt x="82" y="110"/>
                  <a:pt x="84" y="111"/>
                </a:cubicBezTo>
                <a:cubicBezTo>
                  <a:pt x="86" y="111"/>
                  <a:pt x="87" y="112"/>
                  <a:pt x="89" y="112"/>
                </a:cubicBezTo>
                <a:cubicBezTo>
                  <a:pt x="90" y="112"/>
                  <a:pt x="92" y="111"/>
                  <a:pt x="94" y="110"/>
                </a:cubicBezTo>
                <a:cubicBezTo>
                  <a:pt x="97" y="110"/>
                  <a:pt x="98" y="106"/>
                  <a:pt x="101" y="104"/>
                </a:cubicBezTo>
                <a:cubicBezTo>
                  <a:pt x="104" y="103"/>
                  <a:pt x="106" y="105"/>
                  <a:pt x="109" y="104"/>
                </a:cubicBezTo>
                <a:cubicBezTo>
                  <a:pt x="113" y="102"/>
                  <a:pt x="113" y="99"/>
                  <a:pt x="109" y="99"/>
                </a:cubicBezTo>
                <a:cubicBezTo>
                  <a:pt x="107" y="98"/>
                  <a:pt x="106" y="98"/>
                  <a:pt x="106" y="96"/>
                </a:cubicBezTo>
                <a:cubicBezTo>
                  <a:pt x="107" y="95"/>
                  <a:pt x="106" y="94"/>
                  <a:pt x="105" y="93"/>
                </a:cubicBezTo>
                <a:cubicBezTo>
                  <a:pt x="103" y="93"/>
                  <a:pt x="100" y="96"/>
                  <a:pt x="98" y="97"/>
                </a:cubicBezTo>
                <a:cubicBezTo>
                  <a:pt x="96" y="98"/>
                  <a:pt x="93" y="99"/>
                  <a:pt x="92" y="97"/>
                </a:cubicBezTo>
                <a:cubicBezTo>
                  <a:pt x="95" y="98"/>
                  <a:pt x="97" y="94"/>
                  <a:pt x="100" y="94"/>
                </a:cubicBezTo>
                <a:cubicBezTo>
                  <a:pt x="102" y="93"/>
                  <a:pt x="106" y="92"/>
                  <a:pt x="108" y="93"/>
                </a:cubicBezTo>
                <a:cubicBezTo>
                  <a:pt x="109" y="93"/>
                  <a:pt x="114" y="89"/>
                  <a:pt x="115" y="88"/>
                </a:cubicBezTo>
                <a:cubicBezTo>
                  <a:pt x="116" y="87"/>
                  <a:pt x="119" y="83"/>
                  <a:pt x="116" y="83"/>
                </a:cubicBezTo>
                <a:cubicBezTo>
                  <a:pt x="116" y="83"/>
                  <a:pt x="118" y="83"/>
                  <a:pt x="117" y="83"/>
                </a:cubicBezTo>
                <a:cubicBezTo>
                  <a:pt x="118" y="82"/>
                  <a:pt x="119" y="81"/>
                  <a:pt x="120" y="80"/>
                </a:cubicBezTo>
                <a:cubicBezTo>
                  <a:pt x="121" y="79"/>
                  <a:pt x="122" y="78"/>
                  <a:pt x="123" y="77"/>
                </a:cubicBezTo>
                <a:cubicBezTo>
                  <a:pt x="125" y="75"/>
                  <a:pt x="125" y="74"/>
                  <a:pt x="126" y="71"/>
                </a:cubicBezTo>
                <a:cubicBezTo>
                  <a:pt x="127" y="69"/>
                  <a:pt x="129" y="68"/>
                  <a:pt x="130" y="66"/>
                </a:cubicBezTo>
                <a:cubicBezTo>
                  <a:pt x="131" y="64"/>
                  <a:pt x="130" y="62"/>
                  <a:pt x="131" y="59"/>
                </a:cubicBezTo>
                <a:cubicBezTo>
                  <a:pt x="133" y="57"/>
                  <a:pt x="140" y="52"/>
                  <a:pt x="139" y="48"/>
                </a:cubicBezTo>
                <a:cubicBezTo>
                  <a:pt x="137" y="45"/>
                  <a:pt x="137" y="42"/>
                  <a:pt x="133" y="41"/>
                </a:cubicBezTo>
                <a:cubicBezTo>
                  <a:pt x="131" y="41"/>
                  <a:pt x="129" y="43"/>
                  <a:pt x="127" y="42"/>
                </a:cubicBezTo>
                <a:cubicBezTo>
                  <a:pt x="125" y="41"/>
                  <a:pt x="123" y="42"/>
                  <a:pt x="121" y="42"/>
                </a:cubicBezTo>
                <a:cubicBezTo>
                  <a:pt x="118" y="42"/>
                  <a:pt x="115" y="41"/>
                  <a:pt x="112" y="41"/>
                </a:cubicBezTo>
                <a:cubicBezTo>
                  <a:pt x="111" y="41"/>
                  <a:pt x="109" y="41"/>
                  <a:pt x="107" y="41"/>
                </a:cubicBezTo>
                <a:cubicBezTo>
                  <a:pt x="105" y="42"/>
                  <a:pt x="103" y="42"/>
                  <a:pt x="101" y="41"/>
                </a:cubicBezTo>
                <a:cubicBezTo>
                  <a:pt x="99" y="41"/>
                  <a:pt x="98" y="40"/>
                  <a:pt x="96" y="40"/>
                </a:cubicBezTo>
                <a:cubicBezTo>
                  <a:pt x="94" y="40"/>
                  <a:pt x="92" y="40"/>
                  <a:pt x="91" y="41"/>
                </a:cubicBezTo>
                <a:cubicBezTo>
                  <a:pt x="90" y="42"/>
                  <a:pt x="88" y="42"/>
                  <a:pt x="88" y="43"/>
                </a:cubicBezTo>
                <a:cubicBezTo>
                  <a:pt x="85" y="44"/>
                  <a:pt x="90" y="42"/>
                  <a:pt x="86" y="43"/>
                </a:cubicBezTo>
                <a:cubicBezTo>
                  <a:pt x="85" y="43"/>
                  <a:pt x="84" y="44"/>
                  <a:pt x="83" y="44"/>
                </a:cubicBezTo>
                <a:cubicBezTo>
                  <a:pt x="80" y="46"/>
                  <a:pt x="77" y="45"/>
                  <a:pt x="74" y="46"/>
                </a:cubicBezTo>
                <a:cubicBezTo>
                  <a:pt x="77" y="46"/>
                  <a:pt x="73" y="48"/>
                  <a:pt x="72" y="49"/>
                </a:cubicBezTo>
                <a:cubicBezTo>
                  <a:pt x="69" y="51"/>
                  <a:pt x="71" y="48"/>
                  <a:pt x="69" y="47"/>
                </a:cubicBezTo>
                <a:cubicBezTo>
                  <a:pt x="71" y="47"/>
                  <a:pt x="72" y="46"/>
                  <a:pt x="73" y="46"/>
                </a:cubicBezTo>
                <a:cubicBezTo>
                  <a:pt x="74" y="46"/>
                  <a:pt x="73" y="46"/>
                  <a:pt x="74" y="45"/>
                </a:cubicBezTo>
                <a:cubicBezTo>
                  <a:pt x="74" y="45"/>
                  <a:pt x="77" y="42"/>
                  <a:pt x="77" y="42"/>
                </a:cubicBezTo>
                <a:cubicBezTo>
                  <a:pt x="76" y="41"/>
                  <a:pt x="74" y="42"/>
                  <a:pt x="74" y="42"/>
                </a:cubicBezTo>
                <a:cubicBezTo>
                  <a:pt x="72" y="42"/>
                  <a:pt x="71" y="42"/>
                  <a:pt x="70" y="43"/>
                </a:cubicBezTo>
                <a:cubicBezTo>
                  <a:pt x="68" y="44"/>
                  <a:pt x="67" y="45"/>
                  <a:pt x="65" y="46"/>
                </a:cubicBezTo>
                <a:cubicBezTo>
                  <a:pt x="63" y="43"/>
                  <a:pt x="77" y="39"/>
                  <a:pt x="77" y="40"/>
                </a:cubicBezTo>
                <a:cubicBezTo>
                  <a:pt x="77" y="43"/>
                  <a:pt x="84" y="36"/>
                  <a:pt x="84" y="34"/>
                </a:cubicBezTo>
                <a:cubicBezTo>
                  <a:pt x="84" y="33"/>
                  <a:pt x="81" y="36"/>
                  <a:pt x="81" y="36"/>
                </a:cubicBezTo>
                <a:cubicBezTo>
                  <a:pt x="79" y="36"/>
                  <a:pt x="79" y="35"/>
                  <a:pt x="77" y="35"/>
                </a:cubicBezTo>
                <a:cubicBezTo>
                  <a:pt x="75" y="36"/>
                  <a:pt x="68" y="34"/>
                  <a:pt x="67" y="32"/>
                </a:cubicBezTo>
                <a:cubicBezTo>
                  <a:pt x="69" y="33"/>
                  <a:pt x="68" y="34"/>
                  <a:pt x="70" y="34"/>
                </a:cubicBezTo>
                <a:cubicBezTo>
                  <a:pt x="72" y="33"/>
                  <a:pt x="73" y="34"/>
                  <a:pt x="75" y="34"/>
                </a:cubicBezTo>
                <a:cubicBezTo>
                  <a:pt x="76" y="34"/>
                  <a:pt x="78" y="34"/>
                  <a:pt x="78" y="32"/>
                </a:cubicBezTo>
                <a:cubicBezTo>
                  <a:pt x="78" y="31"/>
                  <a:pt x="76" y="31"/>
                  <a:pt x="76" y="31"/>
                </a:cubicBezTo>
                <a:cubicBezTo>
                  <a:pt x="76" y="31"/>
                  <a:pt x="79" y="30"/>
                  <a:pt x="80" y="29"/>
                </a:cubicBezTo>
                <a:cubicBezTo>
                  <a:pt x="83" y="28"/>
                  <a:pt x="86" y="26"/>
                  <a:pt x="88" y="24"/>
                </a:cubicBezTo>
                <a:cubicBezTo>
                  <a:pt x="91" y="22"/>
                  <a:pt x="93" y="20"/>
                  <a:pt x="96" y="18"/>
                </a:cubicBezTo>
                <a:cubicBezTo>
                  <a:pt x="98" y="16"/>
                  <a:pt x="101" y="15"/>
                  <a:pt x="103" y="13"/>
                </a:cubicBezTo>
                <a:cubicBezTo>
                  <a:pt x="105" y="12"/>
                  <a:pt x="107" y="9"/>
                  <a:pt x="105" y="8"/>
                </a:cubicBezTo>
                <a:cubicBezTo>
                  <a:pt x="103" y="7"/>
                  <a:pt x="107" y="3"/>
                  <a:pt x="108" y="2"/>
                </a:cubicBezTo>
                <a:cubicBezTo>
                  <a:pt x="108" y="0"/>
                  <a:pt x="102" y="1"/>
                  <a:pt x="101" y="1"/>
                </a:cubicBezTo>
                <a:cubicBezTo>
                  <a:pt x="101" y="1"/>
                  <a:pt x="97" y="0"/>
                  <a:pt x="97" y="1"/>
                </a:cubicBezTo>
                <a:cubicBezTo>
                  <a:pt x="97" y="1"/>
                  <a:pt x="99" y="2"/>
                  <a:pt x="98" y="3"/>
                </a:cubicBezTo>
                <a:cubicBezTo>
                  <a:pt x="98" y="4"/>
                  <a:pt x="95" y="3"/>
                  <a:pt x="94" y="3"/>
                </a:cubicBezTo>
                <a:cubicBezTo>
                  <a:pt x="92" y="2"/>
                  <a:pt x="90" y="2"/>
                  <a:pt x="88" y="3"/>
                </a:cubicBezTo>
                <a:cubicBezTo>
                  <a:pt x="87" y="4"/>
                  <a:pt x="80" y="6"/>
                  <a:pt x="80" y="3"/>
                </a:cubicBezTo>
                <a:cubicBezTo>
                  <a:pt x="78" y="5"/>
                  <a:pt x="75" y="6"/>
                  <a:pt x="72" y="6"/>
                </a:cubicBezTo>
                <a:cubicBezTo>
                  <a:pt x="71" y="6"/>
                  <a:pt x="70" y="6"/>
                  <a:pt x="69" y="7"/>
                </a:cubicBezTo>
                <a:cubicBezTo>
                  <a:pt x="68" y="8"/>
                  <a:pt x="67" y="9"/>
                  <a:pt x="66" y="9"/>
                </a:cubicBezTo>
                <a:cubicBezTo>
                  <a:pt x="67" y="7"/>
                  <a:pt x="69" y="4"/>
                  <a:pt x="65" y="4"/>
                </a:cubicBezTo>
                <a:cubicBezTo>
                  <a:pt x="63" y="4"/>
                  <a:pt x="61" y="8"/>
                  <a:pt x="58" y="9"/>
                </a:cubicBezTo>
                <a:cubicBezTo>
                  <a:pt x="59" y="8"/>
                  <a:pt x="60" y="7"/>
                  <a:pt x="61" y="6"/>
                </a:cubicBezTo>
                <a:cubicBezTo>
                  <a:pt x="62" y="5"/>
                  <a:pt x="59" y="4"/>
                  <a:pt x="59" y="3"/>
                </a:cubicBezTo>
                <a:cubicBezTo>
                  <a:pt x="58" y="4"/>
                  <a:pt x="58" y="6"/>
                  <a:pt x="57" y="6"/>
                </a:cubicBezTo>
                <a:cubicBezTo>
                  <a:pt x="59" y="3"/>
                  <a:pt x="54" y="1"/>
                  <a:pt x="52" y="3"/>
                </a:cubicBezTo>
                <a:cubicBezTo>
                  <a:pt x="51" y="4"/>
                  <a:pt x="51" y="5"/>
                  <a:pt x="49" y="7"/>
                </a:cubicBezTo>
                <a:cubicBezTo>
                  <a:pt x="48" y="8"/>
                  <a:pt x="51" y="9"/>
                  <a:pt x="52" y="10"/>
                </a:cubicBezTo>
                <a:cubicBezTo>
                  <a:pt x="51" y="9"/>
                  <a:pt x="49" y="9"/>
                  <a:pt x="49" y="10"/>
                </a:cubicBezTo>
                <a:cubicBezTo>
                  <a:pt x="49" y="11"/>
                  <a:pt x="51" y="12"/>
                  <a:pt x="51" y="12"/>
                </a:cubicBezTo>
                <a:cubicBezTo>
                  <a:pt x="49" y="12"/>
                  <a:pt x="46" y="10"/>
                  <a:pt x="47" y="14"/>
                </a:cubicBezTo>
                <a:cubicBezTo>
                  <a:pt x="48" y="18"/>
                  <a:pt x="51" y="17"/>
                  <a:pt x="53" y="17"/>
                </a:cubicBezTo>
                <a:cubicBezTo>
                  <a:pt x="52" y="17"/>
                  <a:pt x="52" y="18"/>
                  <a:pt x="52" y="18"/>
                </a:cubicBezTo>
                <a:cubicBezTo>
                  <a:pt x="52" y="18"/>
                  <a:pt x="52" y="18"/>
                  <a:pt x="53" y="19"/>
                </a:cubicBezTo>
                <a:cubicBezTo>
                  <a:pt x="51" y="18"/>
                  <a:pt x="50" y="18"/>
                  <a:pt x="49" y="17"/>
                </a:cubicBezTo>
                <a:cubicBezTo>
                  <a:pt x="47" y="16"/>
                  <a:pt x="45" y="18"/>
                  <a:pt x="43" y="18"/>
                </a:cubicBezTo>
                <a:cubicBezTo>
                  <a:pt x="42" y="18"/>
                  <a:pt x="40" y="16"/>
                  <a:pt x="41" y="19"/>
                </a:cubicBezTo>
                <a:cubicBezTo>
                  <a:pt x="41" y="20"/>
                  <a:pt x="42" y="22"/>
                  <a:pt x="44" y="22"/>
                </a:cubicBezTo>
                <a:cubicBezTo>
                  <a:pt x="42" y="23"/>
                  <a:pt x="43" y="26"/>
                  <a:pt x="41" y="25"/>
                </a:cubicBezTo>
                <a:cubicBezTo>
                  <a:pt x="40" y="25"/>
                  <a:pt x="40" y="25"/>
                  <a:pt x="39" y="24"/>
                </a:cubicBezTo>
                <a:cubicBezTo>
                  <a:pt x="38" y="24"/>
                  <a:pt x="37" y="25"/>
                  <a:pt x="38" y="25"/>
                </a:cubicBezTo>
                <a:cubicBezTo>
                  <a:pt x="38" y="27"/>
                  <a:pt x="46" y="30"/>
                  <a:pt x="44" y="31"/>
                </a:cubicBezTo>
                <a:cubicBezTo>
                  <a:pt x="45" y="33"/>
                  <a:pt x="47" y="33"/>
                  <a:pt x="47" y="35"/>
                </a:cubicBezTo>
                <a:cubicBezTo>
                  <a:pt x="45" y="33"/>
                  <a:pt x="42" y="32"/>
                  <a:pt x="39" y="31"/>
                </a:cubicBezTo>
                <a:cubicBezTo>
                  <a:pt x="37" y="30"/>
                  <a:pt x="40" y="32"/>
                  <a:pt x="40" y="32"/>
                </a:cubicBezTo>
                <a:cubicBezTo>
                  <a:pt x="41" y="33"/>
                  <a:pt x="43" y="33"/>
                  <a:pt x="43" y="35"/>
                </a:cubicBezTo>
                <a:cubicBezTo>
                  <a:pt x="42" y="34"/>
                  <a:pt x="39" y="31"/>
                  <a:pt x="37" y="33"/>
                </a:cubicBezTo>
                <a:cubicBezTo>
                  <a:pt x="36" y="34"/>
                  <a:pt x="35" y="35"/>
                  <a:pt x="34" y="32"/>
                </a:cubicBezTo>
                <a:cubicBezTo>
                  <a:pt x="32" y="30"/>
                  <a:pt x="30" y="33"/>
                  <a:pt x="32" y="35"/>
                </a:cubicBezTo>
                <a:cubicBezTo>
                  <a:pt x="34" y="36"/>
                  <a:pt x="32" y="37"/>
                  <a:pt x="32" y="38"/>
                </a:cubicBezTo>
                <a:cubicBezTo>
                  <a:pt x="30" y="38"/>
                  <a:pt x="30" y="31"/>
                  <a:pt x="27" y="34"/>
                </a:cubicBezTo>
                <a:cubicBezTo>
                  <a:pt x="24" y="38"/>
                  <a:pt x="30" y="40"/>
                  <a:pt x="30" y="41"/>
                </a:cubicBezTo>
                <a:cubicBezTo>
                  <a:pt x="29" y="42"/>
                  <a:pt x="27" y="40"/>
                  <a:pt x="26" y="42"/>
                </a:cubicBezTo>
                <a:cubicBezTo>
                  <a:pt x="26" y="43"/>
                  <a:pt x="27" y="44"/>
                  <a:pt x="27" y="45"/>
                </a:cubicBezTo>
                <a:cubicBezTo>
                  <a:pt x="28" y="45"/>
                  <a:pt x="29" y="47"/>
                  <a:pt x="30" y="47"/>
                </a:cubicBezTo>
                <a:cubicBezTo>
                  <a:pt x="31" y="47"/>
                  <a:pt x="33" y="46"/>
                  <a:pt x="34" y="47"/>
                </a:cubicBezTo>
                <a:cubicBezTo>
                  <a:pt x="34" y="48"/>
                  <a:pt x="31" y="48"/>
                  <a:pt x="31" y="48"/>
                </a:cubicBezTo>
                <a:cubicBezTo>
                  <a:pt x="29" y="48"/>
                  <a:pt x="28" y="47"/>
                  <a:pt x="27" y="47"/>
                </a:cubicBezTo>
                <a:cubicBezTo>
                  <a:pt x="24" y="45"/>
                  <a:pt x="23" y="51"/>
                  <a:pt x="25" y="52"/>
                </a:cubicBezTo>
                <a:cubicBezTo>
                  <a:pt x="24" y="54"/>
                  <a:pt x="25" y="56"/>
                  <a:pt x="27" y="55"/>
                </a:cubicBezTo>
                <a:cubicBezTo>
                  <a:pt x="27" y="55"/>
                  <a:pt x="31" y="53"/>
                  <a:pt x="30" y="54"/>
                </a:cubicBezTo>
                <a:cubicBezTo>
                  <a:pt x="29" y="54"/>
                  <a:pt x="30" y="55"/>
                  <a:pt x="31" y="55"/>
                </a:cubicBezTo>
                <a:cubicBezTo>
                  <a:pt x="32" y="55"/>
                  <a:pt x="32" y="55"/>
                  <a:pt x="33" y="54"/>
                </a:cubicBezTo>
                <a:cubicBezTo>
                  <a:pt x="33" y="54"/>
                  <a:pt x="34" y="52"/>
                  <a:pt x="35" y="53"/>
                </a:cubicBezTo>
                <a:cubicBezTo>
                  <a:pt x="36" y="53"/>
                  <a:pt x="32" y="55"/>
                  <a:pt x="32" y="55"/>
                </a:cubicBezTo>
                <a:cubicBezTo>
                  <a:pt x="31" y="56"/>
                  <a:pt x="29" y="55"/>
                  <a:pt x="28" y="56"/>
                </a:cubicBezTo>
                <a:cubicBezTo>
                  <a:pt x="24" y="59"/>
                  <a:pt x="35" y="57"/>
                  <a:pt x="35" y="57"/>
                </a:cubicBezTo>
                <a:cubicBezTo>
                  <a:pt x="32" y="58"/>
                  <a:pt x="33" y="60"/>
                  <a:pt x="36" y="60"/>
                </a:cubicBezTo>
                <a:cubicBezTo>
                  <a:pt x="34" y="62"/>
                  <a:pt x="33" y="58"/>
                  <a:pt x="31" y="59"/>
                </a:cubicBezTo>
                <a:cubicBezTo>
                  <a:pt x="29" y="59"/>
                  <a:pt x="30" y="62"/>
                  <a:pt x="28" y="63"/>
                </a:cubicBezTo>
                <a:cubicBezTo>
                  <a:pt x="25" y="65"/>
                  <a:pt x="35" y="65"/>
                  <a:pt x="35" y="66"/>
                </a:cubicBezTo>
                <a:cubicBezTo>
                  <a:pt x="33" y="66"/>
                  <a:pt x="31" y="66"/>
                  <a:pt x="29" y="65"/>
                </a:cubicBezTo>
                <a:cubicBezTo>
                  <a:pt x="28" y="65"/>
                  <a:pt x="23" y="66"/>
                  <a:pt x="24" y="68"/>
                </a:cubicBezTo>
                <a:cubicBezTo>
                  <a:pt x="25" y="70"/>
                  <a:pt x="26" y="68"/>
                  <a:pt x="27" y="69"/>
                </a:cubicBezTo>
                <a:cubicBezTo>
                  <a:pt x="27" y="69"/>
                  <a:pt x="27" y="69"/>
                  <a:pt x="27" y="70"/>
                </a:cubicBezTo>
                <a:cubicBezTo>
                  <a:pt x="28" y="71"/>
                  <a:pt x="30" y="71"/>
                  <a:pt x="31" y="70"/>
                </a:cubicBezTo>
                <a:cubicBezTo>
                  <a:pt x="28" y="73"/>
                  <a:pt x="26" y="68"/>
                  <a:pt x="23" y="70"/>
                </a:cubicBezTo>
                <a:cubicBezTo>
                  <a:pt x="22" y="71"/>
                  <a:pt x="22" y="75"/>
                  <a:pt x="20" y="75"/>
                </a:cubicBezTo>
                <a:cubicBezTo>
                  <a:pt x="21" y="76"/>
                  <a:pt x="23" y="75"/>
                  <a:pt x="25" y="75"/>
                </a:cubicBezTo>
                <a:cubicBezTo>
                  <a:pt x="24" y="75"/>
                  <a:pt x="24" y="76"/>
                  <a:pt x="24" y="76"/>
                </a:cubicBezTo>
                <a:cubicBezTo>
                  <a:pt x="25" y="77"/>
                  <a:pt x="26" y="75"/>
                  <a:pt x="27" y="76"/>
                </a:cubicBezTo>
                <a:cubicBezTo>
                  <a:pt x="25" y="77"/>
                  <a:pt x="24" y="76"/>
                  <a:pt x="22" y="77"/>
                </a:cubicBezTo>
                <a:cubicBezTo>
                  <a:pt x="20" y="79"/>
                  <a:pt x="23" y="78"/>
                  <a:pt x="22" y="79"/>
                </a:cubicBezTo>
                <a:cubicBezTo>
                  <a:pt x="22" y="80"/>
                  <a:pt x="21" y="80"/>
                  <a:pt x="20" y="80"/>
                </a:cubicBezTo>
                <a:cubicBezTo>
                  <a:pt x="21" y="80"/>
                  <a:pt x="21" y="80"/>
                  <a:pt x="21" y="81"/>
                </a:cubicBezTo>
                <a:cubicBezTo>
                  <a:pt x="20" y="81"/>
                  <a:pt x="19" y="80"/>
                  <a:pt x="18" y="80"/>
                </a:cubicBezTo>
                <a:cubicBezTo>
                  <a:pt x="17" y="80"/>
                  <a:pt x="15" y="80"/>
                  <a:pt x="14" y="81"/>
                </a:cubicBezTo>
                <a:cubicBezTo>
                  <a:pt x="14" y="81"/>
                  <a:pt x="8" y="83"/>
                  <a:pt x="11" y="84"/>
                </a:cubicBezTo>
                <a:cubicBezTo>
                  <a:pt x="14" y="84"/>
                  <a:pt x="18" y="84"/>
                  <a:pt x="20" y="84"/>
                </a:cubicBezTo>
                <a:cubicBezTo>
                  <a:pt x="21" y="84"/>
                  <a:pt x="21" y="84"/>
                  <a:pt x="22" y="84"/>
                </a:cubicBezTo>
                <a:cubicBezTo>
                  <a:pt x="21" y="84"/>
                  <a:pt x="20" y="85"/>
                  <a:pt x="21" y="86"/>
                </a:cubicBezTo>
                <a:cubicBezTo>
                  <a:pt x="12" y="83"/>
                  <a:pt x="20" y="93"/>
                  <a:pt x="23" y="89"/>
                </a:cubicBezTo>
                <a:cubicBezTo>
                  <a:pt x="22" y="91"/>
                  <a:pt x="25" y="91"/>
                  <a:pt x="26" y="91"/>
                </a:cubicBezTo>
                <a:cubicBezTo>
                  <a:pt x="28" y="90"/>
                  <a:pt x="30" y="88"/>
                  <a:pt x="32" y="87"/>
                </a:cubicBezTo>
                <a:cubicBezTo>
                  <a:pt x="33" y="85"/>
                  <a:pt x="35" y="84"/>
                  <a:pt x="37" y="83"/>
                </a:cubicBezTo>
                <a:cubicBezTo>
                  <a:pt x="39" y="81"/>
                  <a:pt x="40" y="79"/>
                  <a:pt x="42" y="78"/>
                </a:cubicBezTo>
                <a:cubicBezTo>
                  <a:pt x="42" y="79"/>
                  <a:pt x="38" y="81"/>
                  <a:pt x="39" y="83"/>
                </a:cubicBezTo>
                <a:cubicBezTo>
                  <a:pt x="39" y="83"/>
                  <a:pt x="40" y="83"/>
                  <a:pt x="41" y="83"/>
                </a:cubicBezTo>
                <a:cubicBezTo>
                  <a:pt x="38" y="84"/>
                  <a:pt x="36" y="85"/>
                  <a:pt x="36" y="85"/>
                </a:cubicBezTo>
                <a:cubicBezTo>
                  <a:pt x="36" y="86"/>
                  <a:pt x="32" y="88"/>
                  <a:pt x="33" y="89"/>
                </a:cubicBezTo>
                <a:cubicBezTo>
                  <a:pt x="33" y="91"/>
                  <a:pt x="37" y="89"/>
                  <a:pt x="37" y="89"/>
                </a:cubicBezTo>
                <a:cubicBezTo>
                  <a:pt x="36" y="90"/>
                  <a:pt x="35" y="91"/>
                  <a:pt x="34" y="91"/>
                </a:cubicBezTo>
                <a:cubicBezTo>
                  <a:pt x="32" y="90"/>
                  <a:pt x="31" y="93"/>
                  <a:pt x="31" y="93"/>
                </a:cubicBezTo>
                <a:cubicBezTo>
                  <a:pt x="32" y="93"/>
                  <a:pt x="32" y="92"/>
                  <a:pt x="32" y="92"/>
                </a:cubicBezTo>
                <a:cubicBezTo>
                  <a:pt x="33" y="92"/>
                  <a:pt x="33" y="93"/>
                  <a:pt x="34" y="93"/>
                </a:cubicBezTo>
                <a:cubicBezTo>
                  <a:pt x="35" y="93"/>
                  <a:pt x="36" y="93"/>
                  <a:pt x="37" y="93"/>
                </a:cubicBezTo>
                <a:cubicBezTo>
                  <a:pt x="40" y="93"/>
                  <a:pt x="40" y="90"/>
                  <a:pt x="43" y="89"/>
                </a:cubicBezTo>
                <a:cubicBezTo>
                  <a:pt x="40" y="93"/>
                  <a:pt x="39" y="94"/>
                  <a:pt x="35" y="94"/>
                </a:cubicBezTo>
                <a:cubicBezTo>
                  <a:pt x="34" y="94"/>
                  <a:pt x="28" y="96"/>
                  <a:pt x="29" y="97"/>
                </a:cubicBezTo>
                <a:cubicBezTo>
                  <a:pt x="29" y="98"/>
                  <a:pt x="31" y="97"/>
                  <a:pt x="31" y="97"/>
                </a:cubicBezTo>
                <a:cubicBezTo>
                  <a:pt x="29" y="99"/>
                  <a:pt x="27" y="98"/>
                  <a:pt x="27" y="101"/>
                </a:cubicBezTo>
                <a:cubicBezTo>
                  <a:pt x="27" y="103"/>
                  <a:pt x="28" y="101"/>
                  <a:pt x="29" y="101"/>
                </a:cubicBezTo>
                <a:cubicBezTo>
                  <a:pt x="30" y="101"/>
                  <a:pt x="28" y="103"/>
                  <a:pt x="28" y="103"/>
                </a:cubicBezTo>
                <a:cubicBezTo>
                  <a:pt x="27" y="104"/>
                  <a:pt x="26" y="106"/>
                  <a:pt x="26" y="107"/>
                </a:cubicBezTo>
                <a:cubicBezTo>
                  <a:pt x="26" y="107"/>
                  <a:pt x="28" y="104"/>
                  <a:pt x="28" y="105"/>
                </a:cubicBezTo>
                <a:cubicBezTo>
                  <a:pt x="28" y="104"/>
                  <a:pt x="27" y="110"/>
                  <a:pt x="28" y="109"/>
                </a:cubicBezTo>
                <a:cubicBezTo>
                  <a:pt x="28" y="108"/>
                  <a:pt x="20" y="114"/>
                  <a:pt x="22" y="115"/>
                </a:cubicBezTo>
                <a:cubicBezTo>
                  <a:pt x="23" y="115"/>
                  <a:pt x="25" y="111"/>
                  <a:pt x="26" y="111"/>
                </a:cubicBezTo>
                <a:cubicBezTo>
                  <a:pt x="25" y="113"/>
                  <a:pt x="23" y="114"/>
                  <a:pt x="22" y="117"/>
                </a:cubicBezTo>
                <a:cubicBezTo>
                  <a:pt x="22" y="118"/>
                  <a:pt x="25" y="116"/>
                  <a:pt x="26" y="116"/>
                </a:cubicBezTo>
                <a:cubicBezTo>
                  <a:pt x="25" y="117"/>
                  <a:pt x="22" y="119"/>
                  <a:pt x="23" y="121"/>
                </a:cubicBezTo>
                <a:cubicBezTo>
                  <a:pt x="25" y="124"/>
                  <a:pt x="27" y="120"/>
                  <a:pt x="29" y="120"/>
                </a:cubicBezTo>
                <a:cubicBezTo>
                  <a:pt x="27" y="123"/>
                  <a:pt x="23" y="124"/>
                  <a:pt x="22" y="128"/>
                </a:cubicBezTo>
                <a:cubicBezTo>
                  <a:pt x="20" y="132"/>
                  <a:pt x="19" y="135"/>
                  <a:pt x="18" y="139"/>
                </a:cubicBezTo>
                <a:cubicBezTo>
                  <a:pt x="15" y="143"/>
                  <a:pt x="20" y="142"/>
                  <a:pt x="22" y="142"/>
                </a:cubicBezTo>
                <a:cubicBezTo>
                  <a:pt x="24" y="142"/>
                  <a:pt x="27" y="138"/>
                  <a:pt x="24" y="137"/>
                </a:cubicBezTo>
                <a:cubicBezTo>
                  <a:pt x="25" y="137"/>
                  <a:pt x="27" y="133"/>
                  <a:pt x="27" y="131"/>
                </a:cubicBezTo>
                <a:cubicBezTo>
                  <a:pt x="28" y="129"/>
                  <a:pt x="27" y="128"/>
                  <a:pt x="28" y="126"/>
                </a:cubicBezTo>
                <a:cubicBezTo>
                  <a:pt x="29" y="125"/>
                  <a:pt x="32" y="124"/>
                  <a:pt x="32" y="122"/>
                </a:cubicBezTo>
                <a:cubicBezTo>
                  <a:pt x="33" y="120"/>
                  <a:pt x="30" y="118"/>
                  <a:pt x="30" y="116"/>
                </a:cubicBezTo>
                <a:cubicBezTo>
                  <a:pt x="30" y="115"/>
                  <a:pt x="30" y="111"/>
                  <a:pt x="30" y="112"/>
                </a:cubicBezTo>
                <a:cubicBezTo>
                  <a:pt x="31" y="114"/>
                  <a:pt x="34" y="110"/>
                  <a:pt x="34" y="109"/>
                </a:cubicBezTo>
                <a:cubicBezTo>
                  <a:pt x="36" y="107"/>
                  <a:pt x="39" y="107"/>
                  <a:pt x="41" y="105"/>
                </a:cubicBezTo>
                <a:cubicBezTo>
                  <a:pt x="42" y="102"/>
                  <a:pt x="44" y="102"/>
                  <a:pt x="46" y="101"/>
                </a:cubicBezTo>
                <a:cubicBezTo>
                  <a:pt x="45" y="102"/>
                  <a:pt x="44" y="103"/>
                  <a:pt x="43" y="103"/>
                </a:cubicBezTo>
                <a:cubicBezTo>
                  <a:pt x="42" y="104"/>
                  <a:pt x="41" y="105"/>
                  <a:pt x="40" y="106"/>
                </a:cubicBezTo>
                <a:cubicBezTo>
                  <a:pt x="39" y="108"/>
                  <a:pt x="37" y="108"/>
                  <a:pt x="35" y="110"/>
                </a:cubicBezTo>
                <a:cubicBezTo>
                  <a:pt x="34" y="112"/>
                  <a:pt x="32" y="114"/>
                  <a:pt x="33" y="116"/>
                </a:cubicBezTo>
                <a:cubicBezTo>
                  <a:pt x="33" y="117"/>
                  <a:pt x="34" y="121"/>
                  <a:pt x="35" y="120"/>
                </a:cubicBezTo>
                <a:cubicBezTo>
                  <a:pt x="35" y="120"/>
                  <a:pt x="37" y="114"/>
                  <a:pt x="37" y="114"/>
                </a:cubicBezTo>
                <a:cubicBezTo>
                  <a:pt x="37" y="115"/>
                  <a:pt x="40" y="118"/>
                  <a:pt x="40" y="116"/>
                </a:cubicBezTo>
                <a:cubicBezTo>
                  <a:pt x="40" y="116"/>
                  <a:pt x="39" y="113"/>
                  <a:pt x="39" y="113"/>
                </a:cubicBezTo>
                <a:cubicBezTo>
                  <a:pt x="40" y="113"/>
                  <a:pt x="40" y="117"/>
                  <a:pt x="42" y="118"/>
                </a:cubicBezTo>
                <a:cubicBezTo>
                  <a:pt x="43" y="119"/>
                  <a:pt x="46" y="114"/>
                  <a:pt x="44" y="113"/>
                </a:cubicBezTo>
                <a:cubicBezTo>
                  <a:pt x="47" y="115"/>
                  <a:pt x="45" y="106"/>
                  <a:pt x="46" y="105"/>
                </a:cubicBezTo>
                <a:cubicBezTo>
                  <a:pt x="46" y="105"/>
                  <a:pt x="47" y="108"/>
                  <a:pt x="47" y="108"/>
                </a:cubicBezTo>
                <a:cubicBezTo>
                  <a:pt x="48" y="107"/>
                  <a:pt x="49" y="105"/>
                  <a:pt x="50" y="104"/>
                </a:cubicBezTo>
                <a:cubicBezTo>
                  <a:pt x="49" y="107"/>
                  <a:pt x="45" y="109"/>
                  <a:pt x="47" y="113"/>
                </a:cubicBezTo>
                <a:cubicBezTo>
                  <a:pt x="48" y="115"/>
                  <a:pt x="50" y="114"/>
                  <a:pt x="48" y="112"/>
                </a:cubicBezTo>
                <a:cubicBezTo>
                  <a:pt x="48" y="112"/>
                  <a:pt x="47" y="109"/>
                  <a:pt x="48" y="109"/>
                </a:cubicBezTo>
                <a:cubicBezTo>
                  <a:pt x="47" y="109"/>
                  <a:pt x="50" y="113"/>
                  <a:pt x="50" y="113"/>
                </a:cubicBezTo>
                <a:cubicBezTo>
                  <a:pt x="52" y="115"/>
                  <a:pt x="55" y="115"/>
                  <a:pt x="57" y="116"/>
                </a:cubicBezTo>
                <a:cubicBezTo>
                  <a:pt x="54" y="117"/>
                  <a:pt x="46" y="112"/>
                  <a:pt x="45" y="118"/>
                </a:cubicBezTo>
                <a:cubicBezTo>
                  <a:pt x="45" y="120"/>
                  <a:pt x="46" y="122"/>
                  <a:pt x="45" y="124"/>
                </a:cubicBezTo>
                <a:cubicBezTo>
                  <a:pt x="44" y="125"/>
                  <a:pt x="44" y="126"/>
                  <a:pt x="45" y="127"/>
                </a:cubicBezTo>
                <a:cubicBezTo>
                  <a:pt x="46" y="127"/>
                  <a:pt x="52" y="130"/>
                  <a:pt x="50" y="132"/>
                </a:cubicBezTo>
                <a:cubicBezTo>
                  <a:pt x="55" y="134"/>
                  <a:pt x="48" y="138"/>
                  <a:pt x="47" y="139"/>
                </a:cubicBezTo>
                <a:cubicBezTo>
                  <a:pt x="45" y="142"/>
                  <a:pt x="44" y="146"/>
                  <a:pt x="41" y="148"/>
                </a:cubicBezTo>
                <a:cubicBezTo>
                  <a:pt x="39" y="150"/>
                  <a:pt x="38" y="151"/>
                  <a:pt x="38" y="154"/>
                </a:cubicBezTo>
                <a:cubicBezTo>
                  <a:pt x="38" y="154"/>
                  <a:pt x="39" y="162"/>
                  <a:pt x="37" y="158"/>
                </a:cubicBezTo>
                <a:cubicBezTo>
                  <a:pt x="36" y="157"/>
                  <a:pt x="37" y="152"/>
                  <a:pt x="34" y="155"/>
                </a:cubicBezTo>
                <a:cubicBezTo>
                  <a:pt x="31" y="159"/>
                  <a:pt x="36" y="163"/>
                  <a:pt x="38" y="166"/>
                </a:cubicBezTo>
                <a:cubicBezTo>
                  <a:pt x="38" y="166"/>
                  <a:pt x="40" y="174"/>
                  <a:pt x="41" y="171"/>
                </a:cubicBezTo>
                <a:cubicBezTo>
                  <a:pt x="42" y="168"/>
                  <a:pt x="39" y="166"/>
                  <a:pt x="39" y="164"/>
                </a:cubicBezTo>
                <a:cubicBezTo>
                  <a:pt x="40" y="159"/>
                  <a:pt x="46" y="163"/>
                  <a:pt x="49" y="164"/>
                </a:cubicBezTo>
                <a:cubicBezTo>
                  <a:pt x="51" y="165"/>
                  <a:pt x="52" y="169"/>
                  <a:pt x="55" y="169"/>
                </a:cubicBezTo>
                <a:cubicBezTo>
                  <a:pt x="57" y="169"/>
                  <a:pt x="58" y="165"/>
                  <a:pt x="57" y="163"/>
                </a:cubicBezTo>
                <a:cubicBezTo>
                  <a:pt x="56" y="163"/>
                  <a:pt x="55" y="163"/>
                  <a:pt x="55" y="161"/>
                </a:cubicBezTo>
                <a:cubicBezTo>
                  <a:pt x="55" y="161"/>
                  <a:pt x="55" y="159"/>
                  <a:pt x="56" y="160"/>
                </a:cubicBezTo>
                <a:cubicBezTo>
                  <a:pt x="58" y="162"/>
                  <a:pt x="59" y="163"/>
                  <a:pt x="61" y="161"/>
                </a:cubicBezTo>
                <a:cubicBezTo>
                  <a:pt x="60" y="163"/>
                  <a:pt x="62" y="165"/>
                  <a:pt x="64" y="165"/>
                </a:cubicBezTo>
                <a:cubicBezTo>
                  <a:pt x="64" y="165"/>
                  <a:pt x="65" y="163"/>
                  <a:pt x="65" y="163"/>
                </a:cubicBezTo>
                <a:cubicBezTo>
                  <a:pt x="66" y="164"/>
                  <a:pt x="65" y="165"/>
                  <a:pt x="66" y="165"/>
                </a:cubicBezTo>
                <a:cubicBezTo>
                  <a:pt x="67" y="165"/>
                  <a:pt x="68" y="165"/>
                  <a:pt x="69" y="165"/>
                </a:cubicBezTo>
                <a:cubicBezTo>
                  <a:pt x="70" y="164"/>
                  <a:pt x="71" y="163"/>
                  <a:pt x="72" y="163"/>
                </a:cubicBezTo>
                <a:cubicBezTo>
                  <a:pt x="72" y="162"/>
                  <a:pt x="71" y="161"/>
                  <a:pt x="73" y="161"/>
                </a:cubicBezTo>
                <a:cubicBezTo>
                  <a:pt x="72" y="162"/>
                  <a:pt x="76" y="161"/>
                  <a:pt x="77" y="161"/>
                </a:cubicBezTo>
                <a:cubicBezTo>
                  <a:pt x="78" y="160"/>
                  <a:pt x="79" y="161"/>
                  <a:pt x="80" y="160"/>
                </a:cubicBezTo>
                <a:cubicBezTo>
                  <a:pt x="80" y="159"/>
                  <a:pt x="80" y="158"/>
                  <a:pt x="80" y="157"/>
                </a:cubicBezTo>
                <a:cubicBezTo>
                  <a:pt x="81" y="155"/>
                  <a:pt x="86" y="156"/>
                  <a:pt x="88" y="156"/>
                </a:cubicBezTo>
                <a:cubicBezTo>
                  <a:pt x="90" y="157"/>
                  <a:pt x="94" y="155"/>
                  <a:pt x="96" y="157"/>
                </a:cubicBezTo>
                <a:cubicBezTo>
                  <a:pt x="95" y="157"/>
                  <a:pt x="95" y="157"/>
                  <a:pt x="94" y="157"/>
                </a:cubicBezTo>
                <a:cubicBezTo>
                  <a:pt x="94" y="157"/>
                  <a:pt x="95" y="157"/>
                  <a:pt x="96" y="157"/>
                </a:cubicBezTo>
                <a:cubicBezTo>
                  <a:pt x="94" y="158"/>
                  <a:pt x="89" y="157"/>
                  <a:pt x="88" y="158"/>
                </a:cubicBezTo>
                <a:cubicBezTo>
                  <a:pt x="88" y="159"/>
                  <a:pt x="89" y="162"/>
                  <a:pt x="87" y="160"/>
                </a:cubicBezTo>
                <a:cubicBezTo>
                  <a:pt x="85" y="159"/>
                  <a:pt x="85" y="162"/>
                  <a:pt x="84" y="163"/>
                </a:cubicBezTo>
                <a:cubicBezTo>
                  <a:pt x="83" y="164"/>
                  <a:pt x="83" y="165"/>
                  <a:pt x="83" y="166"/>
                </a:cubicBezTo>
                <a:cubicBezTo>
                  <a:pt x="82" y="167"/>
                  <a:pt x="81" y="168"/>
                  <a:pt x="80" y="169"/>
                </a:cubicBezTo>
                <a:cubicBezTo>
                  <a:pt x="79" y="171"/>
                  <a:pt x="77" y="174"/>
                  <a:pt x="77" y="176"/>
                </a:cubicBezTo>
                <a:cubicBezTo>
                  <a:pt x="77" y="178"/>
                  <a:pt x="80" y="181"/>
                  <a:pt x="81" y="182"/>
                </a:cubicBezTo>
                <a:cubicBezTo>
                  <a:pt x="83" y="184"/>
                  <a:pt x="82" y="187"/>
                  <a:pt x="84" y="189"/>
                </a:cubicBezTo>
                <a:cubicBezTo>
                  <a:pt x="86" y="192"/>
                  <a:pt x="87" y="188"/>
                  <a:pt x="88" y="187"/>
                </a:cubicBezTo>
                <a:cubicBezTo>
                  <a:pt x="89" y="189"/>
                  <a:pt x="85" y="194"/>
                  <a:pt x="88" y="195"/>
                </a:cubicBezTo>
                <a:cubicBezTo>
                  <a:pt x="91" y="195"/>
                  <a:pt x="92" y="191"/>
                  <a:pt x="93" y="189"/>
                </a:cubicBezTo>
                <a:cubicBezTo>
                  <a:pt x="92" y="190"/>
                  <a:pt x="95" y="192"/>
                  <a:pt x="96" y="191"/>
                </a:cubicBezTo>
                <a:cubicBezTo>
                  <a:pt x="97" y="191"/>
                  <a:pt x="99" y="189"/>
                  <a:pt x="100" y="188"/>
                </a:cubicBezTo>
                <a:cubicBezTo>
                  <a:pt x="101" y="189"/>
                  <a:pt x="98" y="189"/>
                  <a:pt x="99" y="190"/>
                </a:cubicBezTo>
                <a:cubicBezTo>
                  <a:pt x="99" y="191"/>
                  <a:pt x="99" y="192"/>
                  <a:pt x="99" y="193"/>
                </a:cubicBezTo>
                <a:cubicBezTo>
                  <a:pt x="99" y="194"/>
                  <a:pt x="97" y="195"/>
                  <a:pt x="97" y="196"/>
                </a:cubicBezTo>
                <a:cubicBezTo>
                  <a:pt x="95" y="198"/>
                  <a:pt x="97" y="199"/>
                  <a:pt x="98" y="198"/>
                </a:cubicBezTo>
                <a:cubicBezTo>
                  <a:pt x="97" y="201"/>
                  <a:pt x="92" y="200"/>
                  <a:pt x="91" y="203"/>
                </a:cubicBezTo>
                <a:cubicBezTo>
                  <a:pt x="91" y="205"/>
                  <a:pt x="91" y="207"/>
                  <a:pt x="91" y="208"/>
                </a:cubicBezTo>
                <a:cubicBezTo>
                  <a:pt x="92" y="210"/>
                  <a:pt x="94" y="209"/>
                  <a:pt x="96" y="210"/>
                </a:cubicBezTo>
                <a:cubicBezTo>
                  <a:pt x="94" y="212"/>
                  <a:pt x="91" y="213"/>
                  <a:pt x="90" y="216"/>
                </a:cubicBezTo>
                <a:cubicBezTo>
                  <a:pt x="89" y="218"/>
                  <a:pt x="90" y="220"/>
                  <a:pt x="91" y="222"/>
                </a:cubicBezTo>
                <a:cubicBezTo>
                  <a:pt x="92" y="225"/>
                  <a:pt x="93" y="226"/>
                  <a:pt x="95" y="227"/>
                </a:cubicBezTo>
                <a:cubicBezTo>
                  <a:pt x="97" y="228"/>
                  <a:pt x="98" y="226"/>
                  <a:pt x="100" y="226"/>
                </a:cubicBezTo>
                <a:cubicBezTo>
                  <a:pt x="98" y="227"/>
                  <a:pt x="97" y="230"/>
                  <a:pt x="94" y="229"/>
                </a:cubicBezTo>
                <a:cubicBezTo>
                  <a:pt x="92" y="228"/>
                  <a:pt x="93" y="224"/>
                  <a:pt x="90" y="223"/>
                </a:cubicBezTo>
                <a:cubicBezTo>
                  <a:pt x="83" y="221"/>
                  <a:pt x="89" y="228"/>
                  <a:pt x="89" y="231"/>
                </a:cubicBezTo>
                <a:cubicBezTo>
                  <a:pt x="86" y="228"/>
                  <a:pt x="82" y="226"/>
                  <a:pt x="78" y="227"/>
                </a:cubicBezTo>
                <a:cubicBezTo>
                  <a:pt x="76" y="228"/>
                  <a:pt x="74" y="229"/>
                  <a:pt x="72" y="229"/>
                </a:cubicBezTo>
                <a:cubicBezTo>
                  <a:pt x="70" y="229"/>
                  <a:pt x="68" y="227"/>
                  <a:pt x="66" y="227"/>
                </a:cubicBezTo>
                <a:cubicBezTo>
                  <a:pt x="66" y="228"/>
                  <a:pt x="67" y="228"/>
                  <a:pt x="66" y="229"/>
                </a:cubicBezTo>
                <a:cubicBezTo>
                  <a:pt x="65" y="229"/>
                  <a:pt x="64" y="230"/>
                  <a:pt x="63" y="230"/>
                </a:cubicBezTo>
                <a:cubicBezTo>
                  <a:pt x="62" y="231"/>
                  <a:pt x="60" y="231"/>
                  <a:pt x="59" y="232"/>
                </a:cubicBezTo>
                <a:cubicBezTo>
                  <a:pt x="57" y="232"/>
                  <a:pt x="56" y="232"/>
                  <a:pt x="55" y="234"/>
                </a:cubicBezTo>
                <a:cubicBezTo>
                  <a:pt x="53" y="236"/>
                  <a:pt x="51" y="236"/>
                  <a:pt x="51" y="239"/>
                </a:cubicBezTo>
                <a:cubicBezTo>
                  <a:pt x="50" y="242"/>
                  <a:pt x="46" y="243"/>
                  <a:pt x="44" y="244"/>
                </a:cubicBezTo>
                <a:cubicBezTo>
                  <a:pt x="42" y="245"/>
                  <a:pt x="39" y="247"/>
                  <a:pt x="39" y="249"/>
                </a:cubicBezTo>
                <a:cubicBezTo>
                  <a:pt x="38" y="251"/>
                  <a:pt x="44" y="249"/>
                  <a:pt x="45" y="250"/>
                </a:cubicBezTo>
                <a:cubicBezTo>
                  <a:pt x="46" y="251"/>
                  <a:pt x="47" y="247"/>
                  <a:pt x="49" y="246"/>
                </a:cubicBezTo>
                <a:cubicBezTo>
                  <a:pt x="52" y="246"/>
                  <a:pt x="55" y="245"/>
                  <a:pt x="59" y="245"/>
                </a:cubicBezTo>
                <a:cubicBezTo>
                  <a:pt x="58" y="246"/>
                  <a:pt x="57" y="246"/>
                  <a:pt x="57" y="248"/>
                </a:cubicBezTo>
                <a:cubicBezTo>
                  <a:pt x="57" y="249"/>
                  <a:pt x="57" y="249"/>
                  <a:pt x="57" y="250"/>
                </a:cubicBezTo>
                <a:cubicBezTo>
                  <a:pt x="56" y="252"/>
                  <a:pt x="59" y="254"/>
                  <a:pt x="60" y="253"/>
                </a:cubicBezTo>
                <a:cubicBezTo>
                  <a:pt x="59" y="255"/>
                  <a:pt x="56" y="255"/>
                  <a:pt x="56" y="259"/>
                </a:cubicBezTo>
                <a:cubicBezTo>
                  <a:pt x="57" y="261"/>
                  <a:pt x="60" y="261"/>
                  <a:pt x="61" y="261"/>
                </a:cubicBezTo>
                <a:cubicBezTo>
                  <a:pt x="60" y="262"/>
                  <a:pt x="59" y="262"/>
                  <a:pt x="58" y="263"/>
                </a:cubicBezTo>
                <a:cubicBezTo>
                  <a:pt x="57" y="264"/>
                  <a:pt x="57" y="265"/>
                  <a:pt x="57" y="267"/>
                </a:cubicBezTo>
                <a:cubicBezTo>
                  <a:pt x="55" y="270"/>
                  <a:pt x="53" y="273"/>
                  <a:pt x="50" y="275"/>
                </a:cubicBezTo>
                <a:cubicBezTo>
                  <a:pt x="48" y="276"/>
                  <a:pt x="46" y="277"/>
                  <a:pt x="43" y="278"/>
                </a:cubicBezTo>
                <a:cubicBezTo>
                  <a:pt x="42" y="279"/>
                  <a:pt x="38" y="278"/>
                  <a:pt x="38" y="281"/>
                </a:cubicBezTo>
                <a:cubicBezTo>
                  <a:pt x="37" y="278"/>
                  <a:pt x="34" y="283"/>
                  <a:pt x="33" y="283"/>
                </a:cubicBezTo>
                <a:cubicBezTo>
                  <a:pt x="32" y="284"/>
                  <a:pt x="31" y="284"/>
                  <a:pt x="30" y="284"/>
                </a:cubicBezTo>
                <a:cubicBezTo>
                  <a:pt x="29" y="285"/>
                  <a:pt x="29" y="284"/>
                  <a:pt x="28" y="283"/>
                </a:cubicBezTo>
                <a:cubicBezTo>
                  <a:pt x="26" y="283"/>
                  <a:pt x="27" y="285"/>
                  <a:pt x="26" y="286"/>
                </a:cubicBezTo>
                <a:cubicBezTo>
                  <a:pt x="25" y="287"/>
                  <a:pt x="24" y="287"/>
                  <a:pt x="23" y="287"/>
                </a:cubicBezTo>
                <a:cubicBezTo>
                  <a:pt x="21" y="288"/>
                  <a:pt x="19" y="288"/>
                  <a:pt x="19" y="291"/>
                </a:cubicBezTo>
                <a:cubicBezTo>
                  <a:pt x="20" y="290"/>
                  <a:pt x="24" y="290"/>
                  <a:pt x="24" y="292"/>
                </a:cubicBezTo>
                <a:cubicBezTo>
                  <a:pt x="25" y="294"/>
                  <a:pt x="22" y="296"/>
                  <a:pt x="20" y="296"/>
                </a:cubicBezTo>
                <a:cubicBezTo>
                  <a:pt x="21" y="297"/>
                  <a:pt x="22" y="298"/>
                  <a:pt x="23" y="298"/>
                </a:cubicBezTo>
                <a:cubicBezTo>
                  <a:pt x="22" y="298"/>
                  <a:pt x="24" y="297"/>
                  <a:pt x="24" y="297"/>
                </a:cubicBezTo>
                <a:cubicBezTo>
                  <a:pt x="25" y="297"/>
                  <a:pt x="26" y="297"/>
                  <a:pt x="28" y="297"/>
                </a:cubicBezTo>
                <a:cubicBezTo>
                  <a:pt x="29" y="297"/>
                  <a:pt x="32" y="296"/>
                  <a:pt x="30" y="294"/>
                </a:cubicBezTo>
                <a:cubicBezTo>
                  <a:pt x="31" y="294"/>
                  <a:pt x="32" y="294"/>
                  <a:pt x="33" y="294"/>
                </a:cubicBezTo>
                <a:cubicBezTo>
                  <a:pt x="31" y="294"/>
                  <a:pt x="30" y="296"/>
                  <a:pt x="32" y="297"/>
                </a:cubicBezTo>
                <a:cubicBezTo>
                  <a:pt x="31" y="297"/>
                  <a:pt x="25" y="298"/>
                  <a:pt x="24" y="298"/>
                </a:cubicBezTo>
                <a:cubicBezTo>
                  <a:pt x="24" y="299"/>
                  <a:pt x="27" y="302"/>
                  <a:pt x="29" y="302"/>
                </a:cubicBezTo>
                <a:cubicBezTo>
                  <a:pt x="31" y="301"/>
                  <a:pt x="31" y="300"/>
                  <a:pt x="33" y="300"/>
                </a:cubicBezTo>
                <a:cubicBezTo>
                  <a:pt x="34" y="300"/>
                  <a:pt x="36" y="300"/>
                  <a:pt x="37" y="298"/>
                </a:cubicBezTo>
                <a:cubicBezTo>
                  <a:pt x="38" y="295"/>
                  <a:pt x="41" y="297"/>
                  <a:pt x="43" y="296"/>
                </a:cubicBezTo>
                <a:cubicBezTo>
                  <a:pt x="44" y="296"/>
                  <a:pt x="45" y="293"/>
                  <a:pt x="47" y="294"/>
                </a:cubicBezTo>
                <a:cubicBezTo>
                  <a:pt x="47" y="295"/>
                  <a:pt x="46" y="296"/>
                  <a:pt x="47" y="297"/>
                </a:cubicBezTo>
                <a:cubicBezTo>
                  <a:pt x="47" y="296"/>
                  <a:pt x="46" y="296"/>
                  <a:pt x="46" y="297"/>
                </a:cubicBezTo>
                <a:cubicBezTo>
                  <a:pt x="45" y="299"/>
                  <a:pt x="54" y="300"/>
                  <a:pt x="55" y="299"/>
                </a:cubicBezTo>
                <a:cubicBezTo>
                  <a:pt x="55" y="302"/>
                  <a:pt x="49" y="299"/>
                  <a:pt x="48" y="303"/>
                </a:cubicBezTo>
                <a:cubicBezTo>
                  <a:pt x="48" y="306"/>
                  <a:pt x="55" y="304"/>
                  <a:pt x="57" y="303"/>
                </a:cubicBezTo>
                <a:cubicBezTo>
                  <a:pt x="55" y="302"/>
                  <a:pt x="60" y="301"/>
                  <a:pt x="61" y="302"/>
                </a:cubicBezTo>
                <a:cubicBezTo>
                  <a:pt x="64" y="302"/>
                  <a:pt x="63" y="307"/>
                  <a:pt x="65" y="307"/>
                </a:cubicBezTo>
                <a:cubicBezTo>
                  <a:pt x="67" y="308"/>
                  <a:pt x="69" y="310"/>
                  <a:pt x="71" y="311"/>
                </a:cubicBezTo>
                <a:cubicBezTo>
                  <a:pt x="73" y="312"/>
                  <a:pt x="77" y="312"/>
                  <a:pt x="79" y="311"/>
                </a:cubicBezTo>
                <a:cubicBezTo>
                  <a:pt x="81" y="311"/>
                  <a:pt x="81" y="309"/>
                  <a:pt x="82" y="308"/>
                </a:cubicBezTo>
                <a:cubicBezTo>
                  <a:pt x="82" y="307"/>
                  <a:pt x="84" y="306"/>
                  <a:pt x="85" y="305"/>
                </a:cubicBezTo>
                <a:cubicBezTo>
                  <a:pt x="87" y="304"/>
                  <a:pt x="89" y="305"/>
                  <a:pt x="91" y="304"/>
                </a:cubicBezTo>
                <a:cubicBezTo>
                  <a:pt x="96" y="303"/>
                  <a:pt x="100" y="295"/>
                  <a:pt x="105" y="295"/>
                </a:cubicBezTo>
                <a:cubicBezTo>
                  <a:pt x="105" y="295"/>
                  <a:pt x="105" y="295"/>
                  <a:pt x="105" y="295"/>
                </a:cubicBezTo>
                <a:cubicBezTo>
                  <a:pt x="105" y="294"/>
                  <a:pt x="99" y="301"/>
                  <a:pt x="99" y="301"/>
                </a:cubicBezTo>
                <a:cubicBezTo>
                  <a:pt x="97" y="304"/>
                  <a:pt x="95" y="306"/>
                  <a:pt x="92" y="307"/>
                </a:cubicBezTo>
                <a:cubicBezTo>
                  <a:pt x="90" y="309"/>
                  <a:pt x="88" y="311"/>
                  <a:pt x="86" y="314"/>
                </a:cubicBezTo>
                <a:cubicBezTo>
                  <a:pt x="85" y="315"/>
                  <a:pt x="85" y="315"/>
                  <a:pt x="85" y="317"/>
                </a:cubicBezTo>
                <a:cubicBezTo>
                  <a:pt x="85" y="318"/>
                  <a:pt x="85" y="319"/>
                  <a:pt x="84" y="320"/>
                </a:cubicBezTo>
                <a:cubicBezTo>
                  <a:pt x="84" y="319"/>
                  <a:pt x="84" y="319"/>
                  <a:pt x="84" y="319"/>
                </a:cubicBezTo>
                <a:cubicBezTo>
                  <a:pt x="82" y="320"/>
                  <a:pt x="75" y="321"/>
                  <a:pt x="72" y="320"/>
                </a:cubicBezTo>
                <a:cubicBezTo>
                  <a:pt x="69" y="318"/>
                  <a:pt x="64" y="317"/>
                  <a:pt x="60" y="318"/>
                </a:cubicBezTo>
                <a:cubicBezTo>
                  <a:pt x="59" y="318"/>
                  <a:pt x="49" y="319"/>
                  <a:pt x="49" y="320"/>
                </a:cubicBezTo>
                <a:cubicBezTo>
                  <a:pt x="49" y="321"/>
                  <a:pt x="49" y="321"/>
                  <a:pt x="48" y="322"/>
                </a:cubicBezTo>
                <a:cubicBezTo>
                  <a:pt x="47" y="322"/>
                  <a:pt x="49" y="324"/>
                  <a:pt x="49" y="324"/>
                </a:cubicBezTo>
                <a:cubicBezTo>
                  <a:pt x="49" y="326"/>
                  <a:pt x="46" y="328"/>
                  <a:pt x="45" y="328"/>
                </a:cubicBezTo>
                <a:cubicBezTo>
                  <a:pt x="43" y="329"/>
                  <a:pt x="42" y="328"/>
                  <a:pt x="41" y="327"/>
                </a:cubicBezTo>
                <a:cubicBezTo>
                  <a:pt x="38" y="327"/>
                  <a:pt x="38" y="333"/>
                  <a:pt x="38" y="335"/>
                </a:cubicBezTo>
                <a:cubicBezTo>
                  <a:pt x="38" y="340"/>
                  <a:pt x="34" y="340"/>
                  <a:pt x="32" y="343"/>
                </a:cubicBezTo>
                <a:cubicBezTo>
                  <a:pt x="30" y="345"/>
                  <a:pt x="29" y="348"/>
                  <a:pt x="26" y="346"/>
                </a:cubicBezTo>
                <a:cubicBezTo>
                  <a:pt x="25" y="348"/>
                  <a:pt x="27" y="348"/>
                  <a:pt x="28" y="349"/>
                </a:cubicBezTo>
                <a:cubicBezTo>
                  <a:pt x="25" y="349"/>
                  <a:pt x="24" y="346"/>
                  <a:pt x="22" y="351"/>
                </a:cubicBezTo>
                <a:cubicBezTo>
                  <a:pt x="22" y="353"/>
                  <a:pt x="19" y="353"/>
                  <a:pt x="19" y="354"/>
                </a:cubicBezTo>
                <a:cubicBezTo>
                  <a:pt x="18" y="356"/>
                  <a:pt x="18" y="357"/>
                  <a:pt x="17" y="358"/>
                </a:cubicBezTo>
                <a:cubicBezTo>
                  <a:pt x="14" y="359"/>
                  <a:pt x="12" y="362"/>
                  <a:pt x="10" y="363"/>
                </a:cubicBezTo>
                <a:cubicBezTo>
                  <a:pt x="8" y="364"/>
                  <a:pt x="9" y="362"/>
                  <a:pt x="7" y="362"/>
                </a:cubicBezTo>
                <a:cubicBezTo>
                  <a:pt x="6" y="363"/>
                  <a:pt x="6" y="363"/>
                  <a:pt x="5" y="364"/>
                </a:cubicBezTo>
                <a:cubicBezTo>
                  <a:pt x="3" y="364"/>
                  <a:pt x="0" y="366"/>
                  <a:pt x="0" y="369"/>
                </a:cubicBezTo>
                <a:cubicBezTo>
                  <a:pt x="2" y="372"/>
                  <a:pt x="5" y="369"/>
                  <a:pt x="6" y="367"/>
                </a:cubicBezTo>
                <a:cubicBezTo>
                  <a:pt x="7" y="365"/>
                  <a:pt x="13" y="368"/>
                  <a:pt x="14" y="370"/>
                </a:cubicBezTo>
                <a:cubicBezTo>
                  <a:pt x="14" y="371"/>
                  <a:pt x="14" y="373"/>
                  <a:pt x="15" y="373"/>
                </a:cubicBezTo>
                <a:cubicBezTo>
                  <a:pt x="17" y="374"/>
                  <a:pt x="16" y="372"/>
                  <a:pt x="17" y="372"/>
                </a:cubicBezTo>
                <a:cubicBezTo>
                  <a:pt x="19" y="371"/>
                  <a:pt x="22" y="368"/>
                  <a:pt x="19" y="368"/>
                </a:cubicBezTo>
                <a:cubicBezTo>
                  <a:pt x="19" y="367"/>
                  <a:pt x="21" y="363"/>
                  <a:pt x="22" y="364"/>
                </a:cubicBezTo>
                <a:cubicBezTo>
                  <a:pt x="22" y="365"/>
                  <a:pt x="22" y="366"/>
                  <a:pt x="23" y="365"/>
                </a:cubicBezTo>
                <a:cubicBezTo>
                  <a:pt x="24" y="364"/>
                  <a:pt x="25" y="363"/>
                  <a:pt x="26" y="362"/>
                </a:cubicBezTo>
                <a:cubicBezTo>
                  <a:pt x="27" y="362"/>
                  <a:pt x="28" y="362"/>
                  <a:pt x="29" y="361"/>
                </a:cubicBezTo>
                <a:cubicBezTo>
                  <a:pt x="30" y="360"/>
                  <a:pt x="30" y="358"/>
                  <a:pt x="31" y="357"/>
                </a:cubicBezTo>
                <a:cubicBezTo>
                  <a:pt x="32" y="357"/>
                  <a:pt x="35" y="358"/>
                  <a:pt x="36" y="358"/>
                </a:cubicBezTo>
                <a:cubicBezTo>
                  <a:pt x="39" y="357"/>
                  <a:pt x="41" y="355"/>
                  <a:pt x="43" y="356"/>
                </a:cubicBezTo>
                <a:cubicBezTo>
                  <a:pt x="44" y="356"/>
                  <a:pt x="46" y="357"/>
                  <a:pt x="47" y="358"/>
                </a:cubicBezTo>
                <a:cubicBezTo>
                  <a:pt x="47" y="358"/>
                  <a:pt x="48" y="357"/>
                  <a:pt x="47" y="356"/>
                </a:cubicBezTo>
                <a:cubicBezTo>
                  <a:pt x="46" y="356"/>
                  <a:pt x="46" y="356"/>
                  <a:pt x="47" y="355"/>
                </a:cubicBezTo>
                <a:cubicBezTo>
                  <a:pt x="46" y="356"/>
                  <a:pt x="45" y="354"/>
                  <a:pt x="45" y="355"/>
                </a:cubicBezTo>
                <a:cubicBezTo>
                  <a:pt x="45" y="354"/>
                  <a:pt x="46" y="355"/>
                  <a:pt x="46" y="354"/>
                </a:cubicBezTo>
                <a:cubicBezTo>
                  <a:pt x="46" y="352"/>
                  <a:pt x="47" y="352"/>
                  <a:pt x="48" y="352"/>
                </a:cubicBezTo>
                <a:cubicBezTo>
                  <a:pt x="48" y="354"/>
                  <a:pt x="47" y="356"/>
                  <a:pt x="50" y="356"/>
                </a:cubicBezTo>
                <a:cubicBezTo>
                  <a:pt x="48" y="358"/>
                  <a:pt x="53" y="359"/>
                  <a:pt x="54" y="359"/>
                </a:cubicBezTo>
                <a:cubicBezTo>
                  <a:pt x="56" y="358"/>
                  <a:pt x="57" y="362"/>
                  <a:pt x="59" y="362"/>
                </a:cubicBezTo>
                <a:cubicBezTo>
                  <a:pt x="62" y="363"/>
                  <a:pt x="62" y="361"/>
                  <a:pt x="64" y="358"/>
                </a:cubicBezTo>
                <a:cubicBezTo>
                  <a:pt x="65" y="357"/>
                  <a:pt x="68" y="356"/>
                  <a:pt x="68" y="354"/>
                </a:cubicBezTo>
                <a:cubicBezTo>
                  <a:pt x="68" y="354"/>
                  <a:pt x="65" y="354"/>
                  <a:pt x="67" y="353"/>
                </a:cubicBezTo>
                <a:cubicBezTo>
                  <a:pt x="67" y="352"/>
                  <a:pt x="68" y="352"/>
                  <a:pt x="68" y="351"/>
                </a:cubicBezTo>
                <a:cubicBezTo>
                  <a:pt x="69" y="350"/>
                  <a:pt x="68" y="350"/>
                  <a:pt x="68" y="348"/>
                </a:cubicBezTo>
                <a:cubicBezTo>
                  <a:pt x="69" y="346"/>
                  <a:pt x="70" y="345"/>
                  <a:pt x="70" y="342"/>
                </a:cubicBezTo>
                <a:cubicBezTo>
                  <a:pt x="71" y="344"/>
                  <a:pt x="72" y="346"/>
                  <a:pt x="74" y="344"/>
                </a:cubicBezTo>
                <a:cubicBezTo>
                  <a:pt x="75" y="343"/>
                  <a:pt x="76" y="343"/>
                  <a:pt x="78" y="342"/>
                </a:cubicBezTo>
                <a:cubicBezTo>
                  <a:pt x="81" y="341"/>
                  <a:pt x="86" y="339"/>
                  <a:pt x="89" y="340"/>
                </a:cubicBezTo>
                <a:cubicBezTo>
                  <a:pt x="90" y="341"/>
                  <a:pt x="93" y="342"/>
                  <a:pt x="96" y="343"/>
                </a:cubicBezTo>
                <a:cubicBezTo>
                  <a:pt x="98" y="345"/>
                  <a:pt x="100" y="346"/>
                  <a:pt x="99" y="349"/>
                </a:cubicBezTo>
                <a:cubicBezTo>
                  <a:pt x="102" y="348"/>
                  <a:pt x="98" y="345"/>
                  <a:pt x="100" y="344"/>
                </a:cubicBezTo>
                <a:cubicBezTo>
                  <a:pt x="102" y="343"/>
                  <a:pt x="107" y="344"/>
                  <a:pt x="109" y="345"/>
                </a:cubicBezTo>
                <a:cubicBezTo>
                  <a:pt x="111" y="345"/>
                  <a:pt x="114" y="347"/>
                  <a:pt x="115" y="345"/>
                </a:cubicBezTo>
                <a:cubicBezTo>
                  <a:pt x="116" y="343"/>
                  <a:pt x="113" y="340"/>
                  <a:pt x="111" y="341"/>
                </a:cubicBezTo>
                <a:cubicBezTo>
                  <a:pt x="112" y="340"/>
                  <a:pt x="114" y="340"/>
                  <a:pt x="115" y="341"/>
                </a:cubicBezTo>
                <a:cubicBezTo>
                  <a:pt x="116" y="342"/>
                  <a:pt x="117" y="340"/>
                  <a:pt x="118" y="340"/>
                </a:cubicBezTo>
                <a:cubicBezTo>
                  <a:pt x="120" y="340"/>
                  <a:pt x="127" y="341"/>
                  <a:pt x="128" y="339"/>
                </a:cubicBezTo>
                <a:cubicBezTo>
                  <a:pt x="129" y="338"/>
                  <a:pt x="132" y="338"/>
                  <a:pt x="134" y="337"/>
                </a:cubicBezTo>
                <a:cubicBezTo>
                  <a:pt x="135" y="336"/>
                  <a:pt x="131" y="332"/>
                  <a:pt x="130" y="332"/>
                </a:cubicBezTo>
                <a:cubicBezTo>
                  <a:pt x="133" y="332"/>
                  <a:pt x="135" y="335"/>
                  <a:pt x="137" y="337"/>
                </a:cubicBezTo>
                <a:cubicBezTo>
                  <a:pt x="139" y="338"/>
                  <a:pt x="141" y="336"/>
                  <a:pt x="139" y="335"/>
                </a:cubicBezTo>
                <a:cubicBezTo>
                  <a:pt x="140" y="335"/>
                  <a:pt x="141" y="335"/>
                  <a:pt x="142" y="336"/>
                </a:cubicBezTo>
                <a:cubicBezTo>
                  <a:pt x="141" y="336"/>
                  <a:pt x="140" y="337"/>
                  <a:pt x="141" y="337"/>
                </a:cubicBezTo>
                <a:cubicBezTo>
                  <a:pt x="141" y="337"/>
                  <a:pt x="147" y="333"/>
                  <a:pt x="146" y="336"/>
                </a:cubicBezTo>
                <a:cubicBezTo>
                  <a:pt x="146" y="335"/>
                  <a:pt x="148" y="336"/>
                  <a:pt x="147" y="337"/>
                </a:cubicBezTo>
                <a:cubicBezTo>
                  <a:pt x="147" y="337"/>
                  <a:pt x="147" y="337"/>
                  <a:pt x="146" y="338"/>
                </a:cubicBezTo>
                <a:cubicBezTo>
                  <a:pt x="146" y="339"/>
                  <a:pt x="149" y="340"/>
                  <a:pt x="150" y="340"/>
                </a:cubicBezTo>
                <a:cubicBezTo>
                  <a:pt x="151" y="340"/>
                  <a:pt x="150" y="338"/>
                  <a:pt x="151" y="338"/>
                </a:cubicBezTo>
                <a:cubicBezTo>
                  <a:pt x="152" y="338"/>
                  <a:pt x="153" y="338"/>
                  <a:pt x="154" y="338"/>
                </a:cubicBezTo>
                <a:cubicBezTo>
                  <a:pt x="157" y="337"/>
                  <a:pt x="160" y="337"/>
                  <a:pt x="163" y="336"/>
                </a:cubicBezTo>
                <a:cubicBezTo>
                  <a:pt x="167" y="336"/>
                  <a:pt x="170" y="336"/>
                  <a:pt x="174" y="337"/>
                </a:cubicBezTo>
                <a:cubicBezTo>
                  <a:pt x="176" y="338"/>
                  <a:pt x="179" y="340"/>
                  <a:pt x="181" y="339"/>
                </a:cubicBezTo>
                <a:cubicBezTo>
                  <a:pt x="184" y="337"/>
                  <a:pt x="187" y="336"/>
                  <a:pt x="190" y="335"/>
                </a:cubicBezTo>
                <a:cubicBezTo>
                  <a:pt x="193" y="334"/>
                  <a:pt x="195" y="331"/>
                  <a:pt x="197" y="331"/>
                </a:cubicBezTo>
                <a:cubicBezTo>
                  <a:pt x="199" y="331"/>
                  <a:pt x="203" y="334"/>
                  <a:pt x="203" y="330"/>
                </a:cubicBezTo>
                <a:cubicBezTo>
                  <a:pt x="203" y="326"/>
                  <a:pt x="207" y="325"/>
                  <a:pt x="209" y="324"/>
                </a:cubicBezTo>
                <a:cubicBezTo>
                  <a:pt x="211" y="324"/>
                  <a:pt x="214" y="324"/>
                  <a:pt x="216" y="321"/>
                </a:cubicBezTo>
                <a:cubicBezTo>
                  <a:pt x="217" y="319"/>
                  <a:pt x="215" y="316"/>
                  <a:pt x="216" y="314"/>
                </a:cubicBezTo>
                <a:cubicBezTo>
                  <a:pt x="217" y="313"/>
                  <a:pt x="220" y="311"/>
                  <a:pt x="216" y="311"/>
                </a:cubicBezTo>
                <a:cubicBezTo>
                  <a:pt x="214" y="311"/>
                  <a:pt x="212" y="312"/>
                  <a:pt x="210" y="312"/>
                </a:cubicBezTo>
                <a:cubicBezTo>
                  <a:pt x="207" y="312"/>
                  <a:pt x="204" y="314"/>
                  <a:pt x="200" y="313"/>
                </a:cubicBezTo>
                <a:cubicBezTo>
                  <a:pt x="200" y="313"/>
                  <a:pt x="196" y="311"/>
                  <a:pt x="196" y="310"/>
                </a:cubicBezTo>
                <a:cubicBezTo>
                  <a:pt x="196" y="312"/>
                  <a:pt x="195" y="312"/>
                  <a:pt x="193" y="311"/>
                </a:cubicBezTo>
                <a:cubicBezTo>
                  <a:pt x="193" y="311"/>
                  <a:pt x="191" y="311"/>
                  <a:pt x="192" y="310"/>
                </a:cubicBezTo>
                <a:cubicBezTo>
                  <a:pt x="192" y="310"/>
                  <a:pt x="201" y="307"/>
                  <a:pt x="194" y="307"/>
                </a:cubicBezTo>
                <a:cubicBezTo>
                  <a:pt x="192" y="307"/>
                  <a:pt x="188" y="309"/>
                  <a:pt x="187" y="308"/>
                </a:cubicBezTo>
                <a:cubicBezTo>
                  <a:pt x="188" y="308"/>
                  <a:pt x="190" y="306"/>
                  <a:pt x="192" y="306"/>
                </a:cubicBezTo>
                <a:cubicBezTo>
                  <a:pt x="194" y="305"/>
                  <a:pt x="196" y="305"/>
                  <a:pt x="198" y="305"/>
                </a:cubicBezTo>
                <a:cubicBezTo>
                  <a:pt x="199" y="305"/>
                  <a:pt x="204" y="301"/>
                  <a:pt x="203" y="301"/>
                </a:cubicBezTo>
                <a:cubicBezTo>
                  <a:pt x="204" y="299"/>
                  <a:pt x="204" y="296"/>
                  <a:pt x="202" y="297"/>
                </a:cubicBezTo>
                <a:cubicBezTo>
                  <a:pt x="200" y="297"/>
                  <a:pt x="199" y="298"/>
                  <a:pt x="196" y="297"/>
                </a:cubicBezTo>
                <a:cubicBezTo>
                  <a:pt x="198" y="296"/>
                  <a:pt x="201" y="297"/>
                  <a:pt x="202" y="295"/>
                </a:cubicBezTo>
                <a:cubicBezTo>
                  <a:pt x="203" y="294"/>
                  <a:pt x="205" y="293"/>
                  <a:pt x="205" y="292"/>
                </a:cubicBezTo>
                <a:cubicBezTo>
                  <a:pt x="206" y="294"/>
                  <a:pt x="208" y="295"/>
                  <a:pt x="210" y="294"/>
                </a:cubicBezTo>
                <a:cubicBezTo>
                  <a:pt x="210" y="294"/>
                  <a:pt x="215" y="291"/>
                  <a:pt x="214" y="290"/>
                </a:cubicBezTo>
                <a:cubicBezTo>
                  <a:pt x="213" y="290"/>
                  <a:pt x="212" y="292"/>
                  <a:pt x="212" y="290"/>
                </a:cubicBezTo>
                <a:cubicBezTo>
                  <a:pt x="212" y="289"/>
                  <a:pt x="214" y="288"/>
                  <a:pt x="214" y="287"/>
                </a:cubicBezTo>
                <a:cubicBezTo>
                  <a:pt x="212" y="287"/>
                  <a:pt x="210" y="288"/>
                  <a:pt x="208" y="287"/>
                </a:cubicBezTo>
                <a:cubicBezTo>
                  <a:pt x="209" y="287"/>
                  <a:pt x="212" y="288"/>
                  <a:pt x="213" y="287"/>
                </a:cubicBezTo>
                <a:cubicBezTo>
                  <a:pt x="214" y="286"/>
                  <a:pt x="211" y="284"/>
                  <a:pt x="211" y="284"/>
                </a:cubicBezTo>
                <a:cubicBezTo>
                  <a:pt x="212" y="284"/>
                  <a:pt x="213" y="284"/>
                  <a:pt x="214" y="285"/>
                </a:cubicBezTo>
                <a:cubicBezTo>
                  <a:pt x="214" y="286"/>
                  <a:pt x="215" y="288"/>
                  <a:pt x="216" y="287"/>
                </a:cubicBezTo>
                <a:cubicBezTo>
                  <a:pt x="217" y="287"/>
                  <a:pt x="219" y="285"/>
                  <a:pt x="220" y="283"/>
                </a:cubicBezTo>
                <a:cubicBezTo>
                  <a:pt x="222" y="281"/>
                  <a:pt x="223" y="280"/>
                  <a:pt x="224" y="278"/>
                </a:cubicBezTo>
                <a:cubicBezTo>
                  <a:pt x="225" y="274"/>
                  <a:pt x="226" y="272"/>
                  <a:pt x="227" y="269"/>
                </a:cubicBezTo>
                <a:cubicBezTo>
                  <a:pt x="229" y="266"/>
                  <a:pt x="230" y="261"/>
                  <a:pt x="229" y="258"/>
                </a:cubicBezTo>
                <a:close/>
                <a:moveTo>
                  <a:pt x="23" y="83"/>
                </a:moveTo>
                <a:cubicBezTo>
                  <a:pt x="25" y="83"/>
                  <a:pt x="27" y="82"/>
                  <a:pt x="29" y="83"/>
                </a:cubicBezTo>
                <a:cubicBezTo>
                  <a:pt x="27" y="84"/>
                  <a:pt x="25" y="83"/>
                  <a:pt x="23" y="83"/>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24">
            <a:extLst>
              <a:ext uri="{FF2B5EF4-FFF2-40B4-BE49-F238E27FC236}">
                <a16:creationId xmlns:a16="http://schemas.microsoft.com/office/drawing/2014/main" id="{B0066B48-B46A-41E0-9DA1-D60742F25B63}"/>
              </a:ext>
            </a:extLst>
          </p:cNvPr>
          <p:cNvSpPr>
            <a:spLocks/>
          </p:cNvSpPr>
          <p:nvPr/>
        </p:nvSpPr>
        <p:spPr bwMode="auto">
          <a:xfrm>
            <a:off x="1146261" y="4560282"/>
            <a:ext cx="0" cy="357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1"/>
                  <a:pt x="0" y="1"/>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25">
            <a:extLst>
              <a:ext uri="{FF2B5EF4-FFF2-40B4-BE49-F238E27FC236}">
                <a16:creationId xmlns:a16="http://schemas.microsoft.com/office/drawing/2014/main" id="{03D27C1A-C69F-4E69-AC45-C382756E017A}"/>
              </a:ext>
            </a:extLst>
          </p:cNvPr>
          <p:cNvSpPr>
            <a:spLocks/>
          </p:cNvSpPr>
          <p:nvPr/>
        </p:nvSpPr>
        <p:spPr bwMode="auto">
          <a:xfrm>
            <a:off x="1043548" y="3901166"/>
            <a:ext cx="219593" cy="154946"/>
          </a:xfrm>
          <a:custGeom>
            <a:avLst/>
            <a:gdLst>
              <a:gd name="T0" fmla="*/ 58 w 79"/>
              <a:gd name="T1" fmla="*/ 53 h 55"/>
              <a:gd name="T2" fmla="*/ 65 w 79"/>
              <a:gd name="T3" fmla="*/ 50 h 55"/>
              <a:gd name="T4" fmla="*/ 70 w 79"/>
              <a:gd name="T5" fmla="*/ 45 h 55"/>
              <a:gd name="T6" fmla="*/ 76 w 79"/>
              <a:gd name="T7" fmla="*/ 41 h 55"/>
              <a:gd name="T8" fmla="*/ 71 w 79"/>
              <a:gd name="T9" fmla="*/ 40 h 55"/>
              <a:gd name="T10" fmla="*/ 73 w 79"/>
              <a:gd name="T11" fmla="*/ 34 h 55"/>
              <a:gd name="T12" fmla="*/ 74 w 79"/>
              <a:gd name="T13" fmla="*/ 33 h 55"/>
              <a:gd name="T14" fmla="*/ 72 w 79"/>
              <a:gd name="T15" fmla="*/ 31 h 55"/>
              <a:gd name="T16" fmla="*/ 76 w 79"/>
              <a:gd name="T17" fmla="*/ 35 h 55"/>
              <a:gd name="T18" fmla="*/ 77 w 79"/>
              <a:gd name="T19" fmla="*/ 41 h 55"/>
              <a:gd name="T20" fmla="*/ 79 w 79"/>
              <a:gd name="T21" fmla="*/ 34 h 55"/>
              <a:gd name="T22" fmla="*/ 75 w 79"/>
              <a:gd name="T23" fmla="*/ 26 h 55"/>
              <a:gd name="T24" fmla="*/ 67 w 79"/>
              <a:gd name="T25" fmla="*/ 29 h 55"/>
              <a:gd name="T26" fmla="*/ 66 w 79"/>
              <a:gd name="T27" fmla="*/ 28 h 55"/>
              <a:gd name="T28" fmla="*/ 69 w 79"/>
              <a:gd name="T29" fmla="*/ 25 h 55"/>
              <a:gd name="T30" fmla="*/ 73 w 79"/>
              <a:gd name="T31" fmla="*/ 19 h 55"/>
              <a:gd name="T32" fmla="*/ 71 w 79"/>
              <a:gd name="T33" fmla="*/ 19 h 55"/>
              <a:gd name="T34" fmla="*/ 72 w 79"/>
              <a:gd name="T35" fmla="*/ 21 h 55"/>
              <a:gd name="T36" fmla="*/ 70 w 79"/>
              <a:gd name="T37" fmla="*/ 20 h 55"/>
              <a:gd name="T38" fmla="*/ 70 w 79"/>
              <a:gd name="T39" fmla="*/ 18 h 55"/>
              <a:gd name="T40" fmla="*/ 66 w 79"/>
              <a:gd name="T41" fmla="*/ 14 h 55"/>
              <a:gd name="T42" fmla="*/ 66 w 79"/>
              <a:gd name="T43" fmla="*/ 11 h 55"/>
              <a:gd name="T44" fmla="*/ 64 w 79"/>
              <a:gd name="T45" fmla="*/ 10 h 55"/>
              <a:gd name="T46" fmla="*/ 64 w 79"/>
              <a:gd name="T47" fmla="*/ 4 h 55"/>
              <a:gd name="T48" fmla="*/ 59 w 79"/>
              <a:gd name="T49" fmla="*/ 3 h 55"/>
              <a:gd name="T50" fmla="*/ 50 w 79"/>
              <a:gd name="T51" fmla="*/ 3 h 55"/>
              <a:gd name="T52" fmla="*/ 39 w 79"/>
              <a:gd name="T53" fmla="*/ 5 h 55"/>
              <a:gd name="T54" fmla="*/ 36 w 79"/>
              <a:gd name="T55" fmla="*/ 9 h 55"/>
              <a:gd name="T56" fmla="*/ 29 w 79"/>
              <a:gd name="T57" fmla="*/ 10 h 55"/>
              <a:gd name="T58" fmla="*/ 24 w 79"/>
              <a:gd name="T59" fmla="*/ 14 h 55"/>
              <a:gd name="T60" fmla="*/ 22 w 79"/>
              <a:gd name="T61" fmla="*/ 19 h 55"/>
              <a:gd name="T62" fmla="*/ 19 w 79"/>
              <a:gd name="T63" fmla="*/ 22 h 55"/>
              <a:gd name="T64" fmla="*/ 14 w 79"/>
              <a:gd name="T65" fmla="*/ 25 h 55"/>
              <a:gd name="T66" fmla="*/ 8 w 79"/>
              <a:gd name="T67" fmla="*/ 26 h 55"/>
              <a:gd name="T68" fmla="*/ 14 w 79"/>
              <a:gd name="T69" fmla="*/ 28 h 55"/>
              <a:gd name="T70" fmla="*/ 8 w 79"/>
              <a:gd name="T71" fmla="*/ 32 h 55"/>
              <a:gd name="T72" fmla="*/ 5 w 79"/>
              <a:gd name="T73" fmla="*/ 33 h 55"/>
              <a:gd name="T74" fmla="*/ 0 w 79"/>
              <a:gd name="T75" fmla="*/ 35 h 55"/>
              <a:gd name="T76" fmla="*/ 7 w 79"/>
              <a:gd name="T77" fmla="*/ 43 h 55"/>
              <a:gd name="T78" fmla="*/ 8 w 79"/>
              <a:gd name="T79" fmla="*/ 46 h 55"/>
              <a:gd name="T80" fmla="*/ 12 w 79"/>
              <a:gd name="T81" fmla="*/ 47 h 55"/>
              <a:gd name="T82" fmla="*/ 17 w 79"/>
              <a:gd name="T83" fmla="*/ 50 h 55"/>
              <a:gd name="T84" fmla="*/ 21 w 79"/>
              <a:gd name="T85" fmla="*/ 49 h 55"/>
              <a:gd name="T86" fmla="*/ 23 w 79"/>
              <a:gd name="T87" fmla="*/ 50 h 55"/>
              <a:gd name="T88" fmla="*/ 24 w 79"/>
              <a:gd name="T89" fmla="*/ 48 h 55"/>
              <a:gd name="T90" fmla="*/ 24 w 79"/>
              <a:gd name="T91" fmla="*/ 50 h 55"/>
              <a:gd name="T92" fmla="*/ 26 w 79"/>
              <a:gd name="T93" fmla="*/ 47 h 55"/>
              <a:gd name="T94" fmla="*/ 29 w 79"/>
              <a:gd name="T95" fmla="*/ 44 h 55"/>
              <a:gd name="T96" fmla="*/ 30 w 79"/>
              <a:gd name="T97" fmla="*/ 40 h 55"/>
              <a:gd name="T98" fmla="*/ 36 w 79"/>
              <a:gd name="T99" fmla="*/ 39 h 55"/>
              <a:gd name="T100" fmla="*/ 37 w 79"/>
              <a:gd name="T101" fmla="*/ 42 h 55"/>
              <a:gd name="T102" fmla="*/ 39 w 79"/>
              <a:gd name="T103" fmla="*/ 46 h 55"/>
              <a:gd name="T104" fmla="*/ 43 w 79"/>
              <a:gd name="T105" fmla="*/ 50 h 55"/>
              <a:gd name="T106" fmla="*/ 47 w 79"/>
              <a:gd name="T107" fmla="*/ 53 h 55"/>
              <a:gd name="T108" fmla="*/ 51 w 79"/>
              <a:gd name="T109" fmla="*/ 52 h 55"/>
              <a:gd name="T110" fmla="*/ 52 w 79"/>
              <a:gd name="T111" fmla="*/ 50 h 55"/>
              <a:gd name="T112" fmla="*/ 59 w 79"/>
              <a:gd name="T113" fmla="*/ 53 h 55"/>
              <a:gd name="T114" fmla="*/ 58 w 79"/>
              <a:gd name="T115"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 h="55">
                <a:moveTo>
                  <a:pt x="58" y="53"/>
                </a:moveTo>
                <a:cubicBezTo>
                  <a:pt x="61" y="55"/>
                  <a:pt x="63" y="52"/>
                  <a:pt x="65" y="50"/>
                </a:cubicBezTo>
                <a:cubicBezTo>
                  <a:pt x="66" y="47"/>
                  <a:pt x="67" y="44"/>
                  <a:pt x="70" y="45"/>
                </a:cubicBezTo>
                <a:cubicBezTo>
                  <a:pt x="72" y="45"/>
                  <a:pt x="75" y="45"/>
                  <a:pt x="76" y="41"/>
                </a:cubicBezTo>
                <a:cubicBezTo>
                  <a:pt x="76" y="38"/>
                  <a:pt x="72" y="40"/>
                  <a:pt x="71" y="40"/>
                </a:cubicBezTo>
                <a:cubicBezTo>
                  <a:pt x="72" y="39"/>
                  <a:pt x="76" y="35"/>
                  <a:pt x="73" y="34"/>
                </a:cubicBezTo>
                <a:cubicBezTo>
                  <a:pt x="73" y="33"/>
                  <a:pt x="73" y="33"/>
                  <a:pt x="74" y="33"/>
                </a:cubicBezTo>
                <a:cubicBezTo>
                  <a:pt x="73" y="33"/>
                  <a:pt x="72" y="32"/>
                  <a:pt x="72" y="31"/>
                </a:cubicBezTo>
                <a:cubicBezTo>
                  <a:pt x="73" y="29"/>
                  <a:pt x="76" y="34"/>
                  <a:pt x="76" y="35"/>
                </a:cubicBezTo>
                <a:cubicBezTo>
                  <a:pt x="76" y="37"/>
                  <a:pt x="75" y="41"/>
                  <a:pt x="77" y="41"/>
                </a:cubicBezTo>
                <a:cubicBezTo>
                  <a:pt x="78" y="41"/>
                  <a:pt x="79" y="35"/>
                  <a:pt x="79" y="34"/>
                </a:cubicBezTo>
                <a:cubicBezTo>
                  <a:pt x="77" y="32"/>
                  <a:pt x="79" y="27"/>
                  <a:pt x="75" y="26"/>
                </a:cubicBezTo>
                <a:cubicBezTo>
                  <a:pt x="73" y="25"/>
                  <a:pt x="69" y="27"/>
                  <a:pt x="67" y="29"/>
                </a:cubicBezTo>
                <a:cubicBezTo>
                  <a:pt x="66" y="30"/>
                  <a:pt x="66" y="29"/>
                  <a:pt x="66" y="28"/>
                </a:cubicBezTo>
                <a:cubicBezTo>
                  <a:pt x="67" y="26"/>
                  <a:pt x="68" y="26"/>
                  <a:pt x="69" y="25"/>
                </a:cubicBezTo>
                <a:cubicBezTo>
                  <a:pt x="71" y="24"/>
                  <a:pt x="74" y="22"/>
                  <a:pt x="73" y="19"/>
                </a:cubicBezTo>
                <a:cubicBezTo>
                  <a:pt x="72" y="19"/>
                  <a:pt x="70" y="18"/>
                  <a:pt x="71" y="19"/>
                </a:cubicBezTo>
                <a:cubicBezTo>
                  <a:pt x="71" y="20"/>
                  <a:pt x="72" y="20"/>
                  <a:pt x="72" y="21"/>
                </a:cubicBezTo>
                <a:cubicBezTo>
                  <a:pt x="72" y="21"/>
                  <a:pt x="70" y="21"/>
                  <a:pt x="70" y="20"/>
                </a:cubicBezTo>
                <a:cubicBezTo>
                  <a:pt x="70" y="19"/>
                  <a:pt x="70" y="19"/>
                  <a:pt x="70" y="18"/>
                </a:cubicBezTo>
                <a:cubicBezTo>
                  <a:pt x="69" y="16"/>
                  <a:pt x="67" y="15"/>
                  <a:pt x="66" y="14"/>
                </a:cubicBezTo>
                <a:cubicBezTo>
                  <a:pt x="66" y="12"/>
                  <a:pt x="66" y="13"/>
                  <a:pt x="66" y="11"/>
                </a:cubicBezTo>
                <a:cubicBezTo>
                  <a:pt x="67" y="9"/>
                  <a:pt x="64" y="10"/>
                  <a:pt x="64" y="10"/>
                </a:cubicBezTo>
                <a:cubicBezTo>
                  <a:pt x="63" y="8"/>
                  <a:pt x="65" y="6"/>
                  <a:pt x="64" y="4"/>
                </a:cubicBezTo>
                <a:cubicBezTo>
                  <a:pt x="63" y="2"/>
                  <a:pt x="61" y="4"/>
                  <a:pt x="59" y="3"/>
                </a:cubicBezTo>
                <a:cubicBezTo>
                  <a:pt x="56" y="3"/>
                  <a:pt x="52" y="0"/>
                  <a:pt x="50" y="3"/>
                </a:cubicBezTo>
                <a:cubicBezTo>
                  <a:pt x="47" y="4"/>
                  <a:pt x="43" y="6"/>
                  <a:pt x="39" y="5"/>
                </a:cubicBezTo>
                <a:cubicBezTo>
                  <a:pt x="37" y="4"/>
                  <a:pt x="37" y="8"/>
                  <a:pt x="36" y="9"/>
                </a:cubicBezTo>
                <a:cubicBezTo>
                  <a:pt x="35" y="11"/>
                  <a:pt x="31" y="11"/>
                  <a:pt x="29" y="10"/>
                </a:cubicBezTo>
                <a:cubicBezTo>
                  <a:pt x="28" y="8"/>
                  <a:pt x="25" y="12"/>
                  <a:pt x="24" y="14"/>
                </a:cubicBezTo>
                <a:cubicBezTo>
                  <a:pt x="23" y="16"/>
                  <a:pt x="23" y="18"/>
                  <a:pt x="22" y="19"/>
                </a:cubicBezTo>
                <a:cubicBezTo>
                  <a:pt x="21" y="20"/>
                  <a:pt x="19" y="21"/>
                  <a:pt x="19" y="22"/>
                </a:cubicBezTo>
                <a:cubicBezTo>
                  <a:pt x="19" y="24"/>
                  <a:pt x="15" y="24"/>
                  <a:pt x="14" y="25"/>
                </a:cubicBezTo>
                <a:cubicBezTo>
                  <a:pt x="13" y="25"/>
                  <a:pt x="7" y="23"/>
                  <a:pt x="8" y="26"/>
                </a:cubicBezTo>
                <a:cubicBezTo>
                  <a:pt x="9" y="28"/>
                  <a:pt x="12" y="30"/>
                  <a:pt x="14" y="28"/>
                </a:cubicBezTo>
                <a:cubicBezTo>
                  <a:pt x="14" y="31"/>
                  <a:pt x="10" y="31"/>
                  <a:pt x="8" y="32"/>
                </a:cubicBezTo>
                <a:cubicBezTo>
                  <a:pt x="7" y="32"/>
                  <a:pt x="6" y="33"/>
                  <a:pt x="5" y="33"/>
                </a:cubicBezTo>
                <a:cubicBezTo>
                  <a:pt x="3" y="34"/>
                  <a:pt x="2" y="35"/>
                  <a:pt x="0" y="35"/>
                </a:cubicBezTo>
                <a:cubicBezTo>
                  <a:pt x="1" y="38"/>
                  <a:pt x="5" y="42"/>
                  <a:pt x="7" y="43"/>
                </a:cubicBezTo>
                <a:cubicBezTo>
                  <a:pt x="8" y="43"/>
                  <a:pt x="8" y="45"/>
                  <a:pt x="8" y="46"/>
                </a:cubicBezTo>
                <a:cubicBezTo>
                  <a:pt x="9" y="47"/>
                  <a:pt x="11" y="47"/>
                  <a:pt x="12" y="47"/>
                </a:cubicBezTo>
                <a:cubicBezTo>
                  <a:pt x="14" y="47"/>
                  <a:pt x="15" y="49"/>
                  <a:pt x="17" y="50"/>
                </a:cubicBezTo>
                <a:cubicBezTo>
                  <a:pt x="18" y="50"/>
                  <a:pt x="20" y="49"/>
                  <a:pt x="21" y="49"/>
                </a:cubicBezTo>
                <a:cubicBezTo>
                  <a:pt x="21" y="49"/>
                  <a:pt x="23" y="51"/>
                  <a:pt x="23" y="50"/>
                </a:cubicBezTo>
                <a:cubicBezTo>
                  <a:pt x="23" y="50"/>
                  <a:pt x="23" y="48"/>
                  <a:pt x="24" y="48"/>
                </a:cubicBezTo>
                <a:cubicBezTo>
                  <a:pt x="24" y="49"/>
                  <a:pt x="24" y="49"/>
                  <a:pt x="24" y="50"/>
                </a:cubicBezTo>
                <a:cubicBezTo>
                  <a:pt x="25" y="49"/>
                  <a:pt x="25" y="47"/>
                  <a:pt x="26" y="47"/>
                </a:cubicBezTo>
                <a:cubicBezTo>
                  <a:pt x="27" y="46"/>
                  <a:pt x="30" y="46"/>
                  <a:pt x="29" y="44"/>
                </a:cubicBezTo>
                <a:cubicBezTo>
                  <a:pt x="27" y="41"/>
                  <a:pt x="28" y="42"/>
                  <a:pt x="30" y="40"/>
                </a:cubicBezTo>
                <a:cubicBezTo>
                  <a:pt x="32" y="39"/>
                  <a:pt x="33" y="36"/>
                  <a:pt x="36" y="39"/>
                </a:cubicBezTo>
                <a:cubicBezTo>
                  <a:pt x="37" y="40"/>
                  <a:pt x="38" y="41"/>
                  <a:pt x="37" y="42"/>
                </a:cubicBezTo>
                <a:cubicBezTo>
                  <a:pt x="37" y="44"/>
                  <a:pt x="38" y="45"/>
                  <a:pt x="39" y="46"/>
                </a:cubicBezTo>
                <a:cubicBezTo>
                  <a:pt x="40" y="48"/>
                  <a:pt x="45" y="46"/>
                  <a:pt x="43" y="50"/>
                </a:cubicBezTo>
                <a:cubicBezTo>
                  <a:pt x="40" y="54"/>
                  <a:pt x="45" y="53"/>
                  <a:pt x="47" y="53"/>
                </a:cubicBezTo>
                <a:cubicBezTo>
                  <a:pt x="48" y="52"/>
                  <a:pt x="50" y="53"/>
                  <a:pt x="51" y="52"/>
                </a:cubicBezTo>
                <a:cubicBezTo>
                  <a:pt x="51" y="52"/>
                  <a:pt x="51" y="50"/>
                  <a:pt x="52" y="50"/>
                </a:cubicBezTo>
                <a:cubicBezTo>
                  <a:pt x="54" y="51"/>
                  <a:pt x="57" y="51"/>
                  <a:pt x="59" y="53"/>
                </a:cubicBezTo>
                <a:cubicBezTo>
                  <a:pt x="58" y="53"/>
                  <a:pt x="58" y="53"/>
                  <a:pt x="58" y="53"/>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26">
            <a:extLst>
              <a:ext uri="{FF2B5EF4-FFF2-40B4-BE49-F238E27FC236}">
                <a16:creationId xmlns:a16="http://schemas.microsoft.com/office/drawing/2014/main" id="{DF008E2E-1172-43C0-B911-7D4A566D9479}"/>
              </a:ext>
            </a:extLst>
          </p:cNvPr>
          <p:cNvSpPr>
            <a:spLocks/>
          </p:cNvSpPr>
          <p:nvPr/>
        </p:nvSpPr>
        <p:spPr bwMode="auto">
          <a:xfrm>
            <a:off x="1277308" y="3847531"/>
            <a:ext cx="25973" cy="35757"/>
          </a:xfrm>
          <a:custGeom>
            <a:avLst/>
            <a:gdLst>
              <a:gd name="T0" fmla="*/ 9 w 9"/>
              <a:gd name="T1" fmla="*/ 8 h 13"/>
              <a:gd name="T2" fmla="*/ 9 w 9"/>
              <a:gd name="T3" fmla="*/ 7 h 13"/>
              <a:gd name="T4" fmla="*/ 8 w 9"/>
              <a:gd name="T5" fmla="*/ 5 h 13"/>
              <a:gd name="T6" fmla="*/ 4 w 9"/>
              <a:gd name="T7" fmla="*/ 1 h 13"/>
              <a:gd name="T8" fmla="*/ 2 w 9"/>
              <a:gd name="T9" fmla="*/ 8 h 13"/>
              <a:gd name="T10" fmla="*/ 3 w 9"/>
              <a:gd name="T11" fmla="*/ 12 h 13"/>
              <a:gd name="T12" fmla="*/ 7 w 9"/>
              <a:gd name="T13" fmla="*/ 13 h 13"/>
              <a:gd name="T14" fmla="*/ 9 w 9"/>
              <a:gd name="T15" fmla="*/ 11 h 13"/>
              <a:gd name="T16" fmla="*/ 9 w 9"/>
              <a:gd name="T17" fmla="*/ 9 h 13"/>
              <a:gd name="T18" fmla="*/ 9 w 9"/>
              <a:gd name="T19"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9" y="8"/>
                </a:moveTo>
                <a:cubicBezTo>
                  <a:pt x="9" y="8"/>
                  <a:pt x="9" y="7"/>
                  <a:pt x="9" y="7"/>
                </a:cubicBezTo>
                <a:cubicBezTo>
                  <a:pt x="8" y="6"/>
                  <a:pt x="9" y="6"/>
                  <a:pt x="8" y="5"/>
                </a:cubicBezTo>
                <a:cubicBezTo>
                  <a:pt x="8" y="2"/>
                  <a:pt x="7" y="0"/>
                  <a:pt x="4" y="1"/>
                </a:cubicBezTo>
                <a:cubicBezTo>
                  <a:pt x="0" y="2"/>
                  <a:pt x="1" y="5"/>
                  <a:pt x="2" y="8"/>
                </a:cubicBezTo>
                <a:cubicBezTo>
                  <a:pt x="2" y="10"/>
                  <a:pt x="1" y="11"/>
                  <a:pt x="3" y="12"/>
                </a:cubicBezTo>
                <a:cubicBezTo>
                  <a:pt x="4" y="13"/>
                  <a:pt x="5" y="13"/>
                  <a:pt x="7" y="13"/>
                </a:cubicBezTo>
                <a:cubicBezTo>
                  <a:pt x="8" y="13"/>
                  <a:pt x="9" y="12"/>
                  <a:pt x="9" y="11"/>
                </a:cubicBezTo>
                <a:cubicBezTo>
                  <a:pt x="9" y="9"/>
                  <a:pt x="9" y="10"/>
                  <a:pt x="9" y="9"/>
                </a:cubicBezTo>
                <a:cubicBezTo>
                  <a:pt x="9" y="9"/>
                  <a:pt x="9" y="7"/>
                  <a:pt x="9" y="8"/>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27">
            <a:extLst>
              <a:ext uri="{FF2B5EF4-FFF2-40B4-BE49-F238E27FC236}">
                <a16:creationId xmlns:a16="http://schemas.microsoft.com/office/drawing/2014/main" id="{EE51114D-FAE8-4A4C-B7A3-263DB4A8D195}"/>
              </a:ext>
            </a:extLst>
          </p:cNvPr>
          <p:cNvSpPr>
            <a:spLocks/>
          </p:cNvSpPr>
          <p:nvPr/>
        </p:nvSpPr>
        <p:spPr bwMode="auto">
          <a:xfrm>
            <a:off x="1211194" y="3736685"/>
            <a:ext cx="61392" cy="48868"/>
          </a:xfrm>
          <a:custGeom>
            <a:avLst/>
            <a:gdLst>
              <a:gd name="T0" fmla="*/ 16 w 22"/>
              <a:gd name="T1" fmla="*/ 6 h 17"/>
              <a:gd name="T2" fmla="*/ 12 w 22"/>
              <a:gd name="T3" fmla="*/ 4 h 17"/>
              <a:gd name="T4" fmla="*/ 7 w 22"/>
              <a:gd name="T5" fmla="*/ 0 h 17"/>
              <a:gd name="T6" fmla="*/ 2 w 22"/>
              <a:gd name="T7" fmla="*/ 2 h 17"/>
              <a:gd name="T8" fmla="*/ 3 w 22"/>
              <a:gd name="T9" fmla="*/ 3 h 17"/>
              <a:gd name="T10" fmla="*/ 4 w 22"/>
              <a:gd name="T11" fmla="*/ 5 h 17"/>
              <a:gd name="T12" fmla="*/ 7 w 22"/>
              <a:gd name="T13" fmla="*/ 7 h 17"/>
              <a:gd name="T14" fmla="*/ 10 w 22"/>
              <a:gd name="T15" fmla="*/ 8 h 17"/>
              <a:gd name="T16" fmla="*/ 5 w 22"/>
              <a:gd name="T17" fmla="*/ 11 h 17"/>
              <a:gd name="T18" fmla="*/ 10 w 22"/>
              <a:gd name="T19" fmla="*/ 12 h 17"/>
              <a:gd name="T20" fmla="*/ 5 w 22"/>
              <a:gd name="T21" fmla="*/ 13 h 17"/>
              <a:gd name="T22" fmla="*/ 3 w 22"/>
              <a:gd name="T23" fmla="*/ 14 h 17"/>
              <a:gd name="T24" fmla="*/ 0 w 22"/>
              <a:gd name="T25" fmla="*/ 14 h 17"/>
              <a:gd name="T26" fmla="*/ 2 w 22"/>
              <a:gd name="T27" fmla="*/ 17 h 17"/>
              <a:gd name="T28" fmla="*/ 8 w 22"/>
              <a:gd name="T29" fmla="*/ 15 h 17"/>
              <a:gd name="T30" fmla="*/ 14 w 22"/>
              <a:gd name="T31" fmla="*/ 13 h 17"/>
              <a:gd name="T32" fmla="*/ 14 w 22"/>
              <a:gd name="T33" fmla="*/ 14 h 17"/>
              <a:gd name="T34" fmla="*/ 17 w 22"/>
              <a:gd name="T35" fmla="*/ 12 h 17"/>
              <a:gd name="T36" fmla="*/ 20 w 22"/>
              <a:gd name="T37" fmla="*/ 9 h 17"/>
              <a:gd name="T38" fmla="*/ 16 w 22"/>
              <a:gd name="T3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7">
                <a:moveTo>
                  <a:pt x="16" y="6"/>
                </a:moveTo>
                <a:cubicBezTo>
                  <a:pt x="14" y="5"/>
                  <a:pt x="13" y="6"/>
                  <a:pt x="12" y="4"/>
                </a:cubicBezTo>
                <a:cubicBezTo>
                  <a:pt x="11" y="2"/>
                  <a:pt x="9" y="0"/>
                  <a:pt x="7" y="0"/>
                </a:cubicBezTo>
                <a:cubicBezTo>
                  <a:pt x="6" y="0"/>
                  <a:pt x="3" y="1"/>
                  <a:pt x="2" y="2"/>
                </a:cubicBezTo>
                <a:cubicBezTo>
                  <a:pt x="2" y="3"/>
                  <a:pt x="3" y="3"/>
                  <a:pt x="3" y="3"/>
                </a:cubicBezTo>
                <a:cubicBezTo>
                  <a:pt x="2" y="5"/>
                  <a:pt x="2" y="5"/>
                  <a:pt x="4" y="5"/>
                </a:cubicBezTo>
                <a:cubicBezTo>
                  <a:pt x="5" y="6"/>
                  <a:pt x="6" y="7"/>
                  <a:pt x="7" y="7"/>
                </a:cubicBezTo>
                <a:cubicBezTo>
                  <a:pt x="8" y="7"/>
                  <a:pt x="13" y="6"/>
                  <a:pt x="10" y="8"/>
                </a:cubicBezTo>
                <a:cubicBezTo>
                  <a:pt x="8" y="9"/>
                  <a:pt x="7" y="9"/>
                  <a:pt x="5" y="11"/>
                </a:cubicBezTo>
                <a:cubicBezTo>
                  <a:pt x="3" y="13"/>
                  <a:pt x="10" y="12"/>
                  <a:pt x="10" y="12"/>
                </a:cubicBezTo>
                <a:cubicBezTo>
                  <a:pt x="9" y="13"/>
                  <a:pt x="6" y="13"/>
                  <a:pt x="5" y="13"/>
                </a:cubicBezTo>
                <a:cubicBezTo>
                  <a:pt x="4" y="13"/>
                  <a:pt x="3" y="14"/>
                  <a:pt x="3" y="14"/>
                </a:cubicBezTo>
                <a:cubicBezTo>
                  <a:pt x="2" y="14"/>
                  <a:pt x="0" y="11"/>
                  <a:pt x="0" y="14"/>
                </a:cubicBezTo>
                <a:cubicBezTo>
                  <a:pt x="0" y="16"/>
                  <a:pt x="1" y="17"/>
                  <a:pt x="2" y="17"/>
                </a:cubicBezTo>
                <a:cubicBezTo>
                  <a:pt x="4" y="15"/>
                  <a:pt x="6" y="16"/>
                  <a:pt x="8" y="15"/>
                </a:cubicBezTo>
                <a:cubicBezTo>
                  <a:pt x="9" y="15"/>
                  <a:pt x="14" y="13"/>
                  <a:pt x="14" y="13"/>
                </a:cubicBezTo>
                <a:cubicBezTo>
                  <a:pt x="14" y="14"/>
                  <a:pt x="14" y="14"/>
                  <a:pt x="14" y="14"/>
                </a:cubicBezTo>
                <a:cubicBezTo>
                  <a:pt x="16" y="15"/>
                  <a:pt x="21" y="11"/>
                  <a:pt x="17" y="12"/>
                </a:cubicBezTo>
                <a:cubicBezTo>
                  <a:pt x="18" y="11"/>
                  <a:pt x="21" y="11"/>
                  <a:pt x="20" y="9"/>
                </a:cubicBezTo>
                <a:cubicBezTo>
                  <a:pt x="22" y="9"/>
                  <a:pt x="17" y="6"/>
                  <a:pt x="16" y="6"/>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28">
            <a:extLst>
              <a:ext uri="{FF2B5EF4-FFF2-40B4-BE49-F238E27FC236}">
                <a16:creationId xmlns:a16="http://schemas.microsoft.com/office/drawing/2014/main" id="{10491066-3518-472D-BD17-7DD5E41E08F0}"/>
              </a:ext>
            </a:extLst>
          </p:cNvPr>
          <p:cNvSpPr>
            <a:spLocks/>
          </p:cNvSpPr>
          <p:nvPr/>
        </p:nvSpPr>
        <p:spPr bwMode="auto">
          <a:xfrm>
            <a:off x="1224181" y="3798663"/>
            <a:ext cx="42502" cy="42908"/>
          </a:xfrm>
          <a:custGeom>
            <a:avLst/>
            <a:gdLst>
              <a:gd name="T0" fmla="*/ 10 w 15"/>
              <a:gd name="T1" fmla="*/ 6 h 15"/>
              <a:gd name="T2" fmla="*/ 13 w 15"/>
              <a:gd name="T3" fmla="*/ 0 h 15"/>
              <a:gd name="T4" fmla="*/ 7 w 15"/>
              <a:gd name="T5" fmla="*/ 3 h 15"/>
              <a:gd name="T6" fmla="*/ 7 w 15"/>
              <a:gd name="T7" fmla="*/ 7 h 15"/>
              <a:gd name="T8" fmla="*/ 1 w 15"/>
              <a:gd name="T9" fmla="*/ 10 h 15"/>
              <a:gd name="T10" fmla="*/ 4 w 15"/>
              <a:gd name="T11" fmla="*/ 15 h 15"/>
              <a:gd name="T12" fmla="*/ 10 w 15"/>
              <a:gd name="T13" fmla="*/ 6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10" y="6"/>
                </a:moveTo>
                <a:cubicBezTo>
                  <a:pt x="10" y="5"/>
                  <a:pt x="15" y="0"/>
                  <a:pt x="13" y="0"/>
                </a:cubicBezTo>
                <a:cubicBezTo>
                  <a:pt x="11" y="0"/>
                  <a:pt x="9" y="2"/>
                  <a:pt x="7" y="3"/>
                </a:cubicBezTo>
                <a:cubicBezTo>
                  <a:pt x="5" y="5"/>
                  <a:pt x="3" y="7"/>
                  <a:pt x="7" y="7"/>
                </a:cubicBezTo>
                <a:cubicBezTo>
                  <a:pt x="5" y="9"/>
                  <a:pt x="2" y="7"/>
                  <a:pt x="1" y="10"/>
                </a:cubicBezTo>
                <a:cubicBezTo>
                  <a:pt x="0" y="13"/>
                  <a:pt x="2" y="15"/>
                  <a:pt x="4" y="15"/>
                </a:cubicBezTo>
                <a:cubicBezTo>
                  <a:pt x="6" y="12"/>
                  <a:pt x="8" y="8"/>
                  <a:pt x="10" y="6"/>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29">
            <a:extLst>
              <a:ext uri="{FF2B5EF4-FFF2-40B4-BE49-F238E27FC236}">
                <a16:creationId xmlns:a16="http://schemas.microsoft.com/office/drawing/2014/main" id="{F2A9A8A6-4431-4CE3-87D2-B95AF3715EBA}"/>
              </a:ext>
            </a:extLst>
          </p:cNvPr>
          <p:cNvSpPr>
            <a:spLocks/>
          </p:cNvSpPr>
          <p:nvPr/>
        </p:nvSpPr>
        <p:spPr bwMode="auto">
          <a:xfrm>
            <a:off x="1316269" y="4126434"/>
            <a:ext cx="50767" cy="36949"/>
          </a:xfrm>
          <a:custGeom>
            <a:avLst/>
            <a:gdLst>
              <a:gd name="T0" fmla="*/ 8 w 18"/>
              <a:gd name="T1" fmla="*/ 13 h 13"/>
              <a:gd name="T2" fmla="*/ 13 w 18"/>
              <a:gd name="T3" fmla="*/ 9 h 13"/>
              <a:gd name="T4" fmla="*/ 16 w 18"/>
              <a:gd name="T5" fmla="*/ 8 h 13"/>
              <a:gd name="T6" fmla="*/ 18 w 18"/>
              <a:gd name="T7" fmla="*/ 5 h 13"/>
              <a:gd name="T8" fmla="*/ 12 w 18"/>
              <a:gd name="T9" fmla="*/ 3 h 13"/>
              <a:gd name="T10" fmla="*/ 6 w 18"/>
              <a:gd name="T11" fmla="*/ 0 h 13"/>
              <a:gd name="T12" fmla="*/ 7 w 18"/>
              <a:gd name="T13" fmla="*/ 11 h 13"/>
              <a:gd name="T14" fmla="*/ 8 w 18"/>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8" y="13"/>
                </a:moveTo>
                <a:cubicBezTo>
                  <a:pt x="9" y="12"/>
                  <a:pt x="12" y="10"/>
                  <a:pt x="13" y="9"/>
                </a:cubicBezTo>
                <a:cubicBezTo>
                  <a:pt x="14" y="8"/>
                  <a:pt x="15" y="8"/>
                  <a:pt x="16" y="8"/>
                </a:cubicBezTo>
                <a:cubicBezTo>
                  <a:pt x="17" y="7"/>
                  <a:pt x="17" y="6"/>
                  <a:pt x="18" y="5"/>
                </a:cubicBezTo>
                <a:cubicBezTo>
                  <a:pt x="14" y="4"/>
                  <a:pt x="14" y="7"/>
                  <a:pt x="12" y="3"/>
                </a:cubicBezTo>
                <a:cubicBezTo>
                  <a:pt x="10" y="0"/>
                  <a:pt x="9" y="0"/>
                  <a:pt x="6" y="0"/>
                </a:cubicBezTo>
                <a:cubicBezTo>
                  <a:pt x="0" y="2"/>
                  <a:pt x="3" y="13"/>
                  <a:pt x="7" y="11"/>
                </a:cubicBezTo>
                <a:cubicBezTo>
                  <a:pt x="6" y="12"/>
                  <a:pt x="7" y="13"/>
                  <a:pt x="8" y="13"/>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30">
            <a:extLst>
              <a:ext uri="{FF2B5EF4-FFF2-40B4-BE49-F238E27FC236}">
                <a16:creationId xmlns:a16="http://schemas.microsoft.com/office/drawing/2014/main" id="{8766C39D-7CE3-457F-8AC5-68ADE7CB2EC0}"/>
              </a:ext>
            </a:extLst>
          </p:cNvPr>
          <p:cNvSpPr>
            <a:spLocks/>
          </p:cNvSpPr>
          <p:nvPr/>
        </p:nvSpPr>
        <p:spPr bwMode="auto">
          <a:xfrm>
            <a:off x="1191124" y="3821309"/>
            <a:ext cx="41322" cy="45292"/>
          </a:xfrm>
          <a:custGeom>
            <a:avLst/>
            <a:gdLst>
              <a:gd name="T0" fmla="*/ 6 w 15"/>
              <a:gd name="T1" fmla="*/ 16 h 16"/>
              <a:gd name="T2" fmla="*/ 10 w 15"/>
              <a:gd name="T3" fmla="*/ 13 h 16"/>
              <a:gd name="T4" fmla="*/ 14 w 15"/>
              <a:gd name="T5" fmla="*/ 11 h 16"/>
              <a:gd name="T6" fmla="*/ 12 w 15"/>
              <a:gd name="T7" fmla="*/ 5 h 16"/>
              <a:gd name="T8" fmla="*/ 10 w 15"/>
              <a:gd name="T9" fmla="*/ 1 h 16"/>
              <a:gd name="T10" fmla="*/ 6 w 15"/>
              <a:gd name="T11" fmla="*/ 5 h 16"/>
              <a:gd name="T12" fmla="*/ 6 w 15"/>
              <a:gd name="T13" fmla="*/ 3 h 16"/>
              <a:gd name="T14" fmla="*/ 2 w 15"/>
              <a:gd name="T15" fmla="*/ 6 h 16"/>
              <a:gd name="T16" fmla="*/ 0 w 15"/>
              <a:gd name="T17" fmla="*/ 11 h 16"/>
              <a:gd name="T18" fmla="*/ 4 w 15"/>
              <a:gd name="T19" fmla="*/ 10 h 16"/>
              <a:gd name="T20" fmla="*/ 8 w 15"/>
              <a:gd name="T21" fmla="*/ 7 h 16"/>
              <a:gd name="T22" fmla="*/ 6 w 15"/>
              <a:gd name="T23" fmla="*/ 9 h 16"/>
              <a:gd name="T24" fmla="*/ 7 w 15"/>
              <a:gd name="T25" fmla="*/ 12 h 16"/>
              <a:gd name="T26" fmla="*/ 6 w 15"/>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6">
                <a:moveTo>
                  <a:pt x="6" y="16"/>
                </a:moveTo>
                <a:cubicBezTo>
                  <a:pt x="8" y="15"/>
                  <a:pt x="8" y="14"/>
                  <a:pt x="10" y="13"/>
                </a:cubicBezTo>
                <a:cubicBezTo>
                  <a:pt x="11" y="13"/>
                  <a:pt x="13" y="13"/>
                  <a:pt x="14" y="11"/>
                </a:cubicBezTo>
                <a:cubicBezTo>
                  <a:pt x="15" y="10"/>
                  <a:pt x="13" y="7"/>
                  <a:pt x="12" y="5"/>
                </a:cubicBezTo>
                <a:cubicBezTo>
                  <a:pt x="12" y="3"/>
                  <a:pt x="13" y="0"/>
                  <a:pt x="10" y="1"/>
                </a:cubicBezTo>
                <a:cubicBezTo>
                  <a:pt x="9" y="2"/>
                  <a:pt x="6" y="3"/>
                  <a:pt x="6" y="5"/>
                </a:cubicBezTo>
                <a:cubicBezTo>
                  <a:pt x="6" y="4"/>
                  <a:pt x="6" y="3"/>
                  <a:pt x="6" y="3"/>
                </a:cubicBezTo>
                <a:cubicBezTo>
                  <a:pt x="4" y="3"/>
                  <a:pt x="2" y="4"/>
                  <a:pt x="2" y="6"/>
                </a:cubicBezTo>
                <a:cubicBezTo>
                  <a:pt x="2" y="8"/>
                  <a:pt x="1" y="9"/>
                  <a:pt x="0" y="11"/>
                </a:cubicBezTo>
                <a:cubicBezTo>
                  <a:pt x="0" y="13"/>
                  <a:pt x="3" y="10"/>
                  <a:pt x="4" y="10"/>
                </a:cubicBezTo>
                <a:cubicBezTo>
                  <a:pt x="4" y="10"/>
                  <a:pt x="8" y="5"/>
                  <a:pt x="8" y="7"/>
                </a:cubicBezTo>
                <a:cubicBezTo>
                  <a:pt x="8" y="8"/>
                  <a:pt x="6" y="8"/>
                  <a:pt x="6" y="9"/>
                </a:cubicBezTo>
                <a:cubicBezTo>
                  <a:pt x="5" y="10"/>
                  <a:pt x="7" y="10"/>
                  <a:pt x="7" y="12"/>
                </a:cubicBezTo>
                <a:cubicBezTo>
                  <a:pt x="7" y="13"/>
                  <a:pt x="3" y="15"/>
                  <a:pt x="6" y="16"/>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31">
            <a:extLst>
              <a:ext uri="{FF2B5EF4-FFF2-40B4-BE49-F238E27FC236}">
                <a16:creationId xmlns:a16="http://schemas.microsoft.com/office/drawing/2014/main" id="{1D219BA2-44C8-49FE-A7D7-7DC65267266E}"/>
              </a:ext>
            </a:extLst>
          </p:cNvPr>
          <p:cNvSpPr>
            <a:spLocks/>
          </p:cNvSpPr>
          <p:nvPr/>
        </p:nvSpPr>
        <p:spPr bwMode="auto">
          <a:xfrm>
            <a:off x="1738927" y="4363620"/>
            <a:ext cx="30696" cy="14303"/>
          </a:xfrm>
          <a:custGeom>
            <a:avLst/>
            <a:gdLst>
              <a:gd name="T0" fmla="*/ 3 w 11"/>
              <a:gd name="T1" fmla="*/ 2 h 5"/>
              <a:gd name="T2" fmla="*/ 7 w 11"/>
              <a:gd name="T3" fmla="*/ 5 h 5"/>
              <a:gd name="T4" fmla="*/ 3 w 11"/>
              <a:gd name="T5" fmla="*/ 2 h 5"/>
            </a:gdLst>
            <a:ahLst/>
            <a:cxnLst>
              <a:cxn ang="0">
                <a:pos x="T0" y="T1"/>
              </a:cxn>
              <a:cxn ang="0">
                <a:pos x="T2" y="T3"/>
              </a:cxn>
              <a:cxn ang="0">
                <a:pos x="T4" y="T5"/>
              </a:cxn>
            </a:cxnLst>
            <a:rect l="0" t="0" r="r" b="b"/>
            <a:pathLst>
              <a:path w="11" h="5">
                <a:moveTo>
                  <a:pt x="3" y="2"/>
                </a:moveTo>
                <a:cubicBezTo>
                  <a:pt x="0" y="4"/>
                  <a:pt x="6" y="5"/>
                  <a:pt x="7" y="5"/>
                </a:cubicBezTo>
                <a:cubicBezTo>
                  <a:pt x="11" y="5"/>
                  <a:pt x="5" y="0"/>
                  <a:pt x="3" y="2"/>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32">
            <a:extLst>
              <a:ext uri="{FF2B5EF4-FFF2-40B4-BE49-F238E27FC236}">
                <a16:creationId xmlns:a16="http://schemas.microsoft.com/office/drawing/2014/main" id="{5EB4F815-ACFD-4D48-BE40-0EE9450BEB07}"/>
              </a:ext>
            </a:extLst>
          </p:cNvPr>
          <p:cNvSpPr>
            <a:spLocks/>
          </p:cNvSpPr>
          <p:nvPr/>
        </p:nvSpPr>
        <p:spPr bwMode="auto">
          <a:xfrm>
            <a:off x="1182860" y="3731918"/>
            <a:ext cx="22432" cy="16686"/>
          </a:xfrm>
          <a:custGeom>
            <a:avLst/>
            <a:gdLst>
              <a:gd name="T0" fmla="*/ 8 w 8"/>
              <a:gd name="T1" fmla="*/ 1 h 6"/>
              <a:gd name="T2" fmla="*/ 2 w 8"/>
              <a:gd name="T3" fmla="*/ 6 h 6"/>
              <a:gd name="T4" fmla="*/ 8 w 8"/>
              <a:gd name="T5" fmla="*/ 1 h 6"/>
            </a:gdLst>
            <a:ahLst/>
            <a:cxnLst>
              <a:cxn ang="0">
                <a:pos x="T0" y="T1"/>
              </a:cxn>
              <a:cxn ang="0">
                <a:pos x="T2" y="T3"/>
              </a:cxn>
              <a:cxn ang="0">
                <a:pos x="T4" y="T5"/>
              </a:cxn>
            </a:cxnLst>
            <a:rect l="0" t="0" r="r" b="b"/>
            <a:pathLst>
              <a:path w="8" h="6">
                <a:moveTo>
                  <a:pt x="8" y="1"/>
                </a:moveTo>
                <a:cubicBezTo>
                  <a:pt x="8" y="0"/>
                  <a:pt x="0" y="4"/>
                  <a:pt x="2" y="6"/>
                </a:cubicBezTo>
                <a:cubicBezTo>
                  <a:pt x="3" y="4"/>
                  <a:pt x="8" y="5"/>
                  <a:pt x="8" y="1"/>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Line 33">
            <a:extLst>
              <a:ext uri="{FF2B5EF4-FFF2-40B4-BE49-F238E27FC236}">
                <a16:creationId xmlns:a16="http://schemas.microsoft.com/office/drawing/2014/main" id="{B31DA2C7-B11E-45DD-BCF0-6584CA7E5C2E}"/>
              </a:ext>
            </a:extLst>
          </p:cNvPr>
          <p:cNvSpPr>
            <a:spLocks noChangeShapeType="1"/>
          </p:cNvSpPr>
          <p:nvPr/>
        </p:nvSpPr>
        <p:spPr bwMode="auto">
          <a:xfrm>
            <a:off x="1467387" y="3472085"/>
            <a:ext cx="0" cy="0"/>
          </a:xfrm>
          <a:prstGeom prst="lin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Line 34">
            <a:extLst>
              <a:ext uri="{FF2B5EF4-FFF2-40B4-BE49-F238E27FC236}">
                <a16:creationId xmlns:a16="http://schemas.microsoft.com/office/drawing/2014/main" id="{E7222E96-631A-4F15-A4D9-2053012C9925}"/>
              </a:ext>
            </a:extLst>
          </p:cNvPr>
          <p:cNvSpPr>
            <a:spLocks noChangeShapeType="1"/>
          </p:cNvSpPr>
          <p:nvPr/>
        </p:nvSpPr>
        <p:spPr bwMode="auto">
          <a:xfrm>
            <a:off x="1467387" y="3472085"/>
            <a:ext cx="0" cy="0"/>
          </a:xfrm>
          <a:prstGeom prst="line">
            <a:avLst/>
          </a:prstGeom>
          <a:solidFill>
            <a:schemeClr val="tx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35">
            <a:extLst>
              <a:ext uri="{FF2B5EF4-FFF2-40B4-BE49-F238E27FC236}">
                <a16:creationId xmlns:a16="http://schemas.microsoft.com/office/drawing/2014/main" id="{D2FAB22C-35CF-4306-A332-9C727FA6C0CE}"/>
              </a:ext>
            </a:extLst>
          </p:cNvPr>
          <p:cNvSpPr>
            <a:spLocks/>
          </p:cNvSpPr>
          <p:nvPr/>
        </p:nvSpPr>
        <p:spPr bwMode="auto">
          <a:xfrm>
            <a:off x="1215917" y="3802239"/>
            <a:ext cx="11806" cy="10727"/>
          </a:xfrm>
          <a:custGeom>
            <a:avLst/>
            <a:gdLst>
              <a:gd name="T0" fmla="*/ 4 w 4"/>
              <a:gd name="T1" fmla="*/ 0 h 4"/>
              <a:gd name="T2" fmla="*/ 0 w 4"/>
              <a:gd name="T3" fmla="*/ 3 h 4"/>
              <a:gd name="T4" fmla="*/ 1 w 4"/>
              <a:gd name="T5" fmla="*/ 3 h 4"/>
              <a:gd name="T6" fmla="*/ 4 w 4"/>
              <a:gd name="T7" fmla="*/ 0 h 4"/>
            </a:gdLst>
            <a:ahLst/>
            <a:cxnLst>
              <a:cxn ang="0">
                <a:pos x="T0" y="T1"/>
              </a:cxn>
              <a:cxn ang="0">
                <a:pos x="T2" y="T3"/>
              </a:cxn>
              <a:cxn ang="0">
                <a:pos x="T4" y="T5"/>
              </a:cxn>
              <a:cxn ang="0">
                <a:pos x="T6" y="T7"/>
              </a:cxn>
            </a:cxnLst>
            <a:rect l="0" t="0" r="r" b="b"/>
            <a:pathLst>
              <a:path w="4" h="4">
                <a:moveTo>
                  <a:pt x="4" y="0"/>
                </a:moveTo>
                <a:cubicBezTo>
                  <a:pt x="2" y="0"/>
                  <a:pt x="1" y="2"/>
                  <a:pt x="0" y="3"/>
                </a:cubicBezTo>
                <a:cubicBezTo>
                  <a:pt x="0" y="3"/>
                  <a:pt x="1" y="4"/>
                  <a:pt x="1" y="3"/>
                </a:cubicBezTo>
                <a:cubicBezTo>
                  <a:pt x="2" y="3"/>
                  <a:pt x="3" y="1"/>
                  <a:pt x="4" y="0"/>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36">
            <a:extLst>
              <a:ext uri="{FF2B5EF4-FFF2-40B4-BE49-F238E27FC236}">
                <a16:creationId xmlns:a16="http://schemas.microsoft.com/office/drawing/2014/main" id="{1D7B6ADB-BFF4-4057-A0E0-34AB3D32E40A}"/>
              </a:ext>
            </a:extLst>
          </p:cNvPr>
          <p:cNvSpPr>
            <a:spLocks/>
          </p:cNvSpPr>
          <p:nvPr/>
        </p:nvSpPr>
        <p:spPr bwMode="auto">
          <a:xfrm>
            <a:off x="1160429" y="3748604"/>
            <a:ext cx="24793" cy="14303"/>
          </a:xfrm>
          <a:custGeom>
            <a:avLst/>
            <a:gdLst>
              <a:gd name="T0" fmla="*/ 2 w 9"/>
              <a:gd name="T1" fmla="*/ 2 h 5"/>
              <a:gd name="T2" fmla="*/ 3 w 9"/>
              <a:gd name="T3" fmla="*/ 5 h 5"/>
              <a:gd name="T4" fmla="*/ 7 w 9"/>
              <a:gd name="T5" fmla="*/ 2 h 5"/>
              <a:gd name="T6" fmla="*/ 7 w 9"/>
              <a:gd name="T7" fmla="*/ 1 h 5"/>
              <a:gd name="T8" fmla="*/ 2 w 9"/>
              <a:gd name="T9" fmla="*/ 2 h 5"/>
            </a:gdLst>
            <a:ahLst/>
            <a:cxnLst>
              <a:cxn ang="0">
                <a:pos x="T0" y="T1"/>
              </a:cxn>
              <a:cxn ang="0">
                <a:pos x="T2" y="T3"/>
              </a:cxn>
              <a:cxn ang="0">
                <a:pos x="T4" y="T5"/>
              </a:cxn>
              <a:cxn ang="0">
                <a:pos x="T6" y="T7"/>
              </a:cxn>
              <a:cxn ang="0">
                <a:pos x="T8" y="T9"/>
              </a:cxn>
            </a:cxnLst>
            <a:rect l="0" t="0" r="r" b="b"/>
            <a:pathLst>
              <a:path w="9" h="5">
                <a:moveTo>
                  <a:pt x="2" y="2"/>
                </a:moveTo>
                <a:cubicBezTo>
                  <a:pt x="0" y="3"/>
                  <a:pt x="2" y="5"/>
                  <a:pt x="3" y="5"/>
                </a:cubicBezTo>
                <a:cubicBezTo>
                  <a:pt x="4" y="3"/>
                  <a:pt x="5" y="2"/>
                  <a:pt x="7" y="2"/>
                </a:cubicBezTo>
                <a:cubicBezTo>
                  <a:pt x="9" y="2"/>
                  <a:pt x="8" y="0"/>
                  <a:pt x="7" y="1"/>
                </a:cubicBezTo>
                <a:cubicBezTo>
                  <a:pt x="5" y="2"/>
                  <a:pt x="3" y="1"/>
                  <a:pt x="2" y="2"/>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37">
            <a:extLst>
              <a:ext uri="{FF2B5EF4-FFF2-40B4-BE49-F238E27FC236}">
                <a16:creationId xmlns:a16="http://schemas.microsoft.com/office/drawing/2014/main" id="{B0334A23-FFE4-49F3-8423-37B23B7D2E9F}"/>
              </a:ext>
            </a:extLst>
          </p:cNvPr>
          <p:cNvSpPr>
            <a:spLocks/>
          </p:cNvSpPr>
          <p:nvPr/>
        </p:nvSpPr>
        <p:spPr bwMode="auto">
          <a:xfrm>
            <a:off x="1481554" y="4636563"/>
            <a:ext cx="24793" cy="11919"/>
          </a:xfrm>
          <a:custGeom>
            <a:avLst/>
            <a:gdLst>
              <a:gd name="T0" fmla="*/ 5 w 9"/>
              <a:gd name="T1" fmla="*/ 0 h 4"/>
              <a:gd name="T2" fmla="*/ 1 w 9"/>
              <a:gd name="T3" fmla="*/ 0 h 4"/>
              <a:gd name="T4" fmla="*/ 1 w 9"/>
              <a:gd name="T5" fmla="*/ 3 h 4"/>
              <a:gd name="T6" fmla="*/ 6 w 9"/>
              <a:gd name="T7" fmla="*/ 4 h 4"/>
              <a:gd name="T8" fmla="*/ 5 w 9"/>
              <a:gd name="T9" fmla="*/ 0 h 4"/>
            </a:gdLst>
            <a:ahLst/>
            <a:cxnLst>
              <a:cxn ang="0">
                <a:pos x="T0" y="T1"/>
              </a:cxn>
              <a:cxn ang="0">
                <a:pos x="T2" y="T3"/>
              </a:cxn>
              <a:cxn ang="0">
                <a:pos x="T4" y="T5"/>
              </a:cxn>
              <a:cxn ang="0">
                <a:pos x="T6" y="T7"/>
              </a:cxn>
              <a:cxn ang="0">
                <a:pos x="T8" y="T9"/>
              </a:cxn>
            </a:cxnLst>
            <a:rect l="0" t="0" r="r" b="b"/>
            <a:pathLst>
              <a:path w="9" h="4">
                <a:moveTo>
                  <a:pt x="5" y="0"/>
                </a:moveTo>
                <a:cubicBezTo>
                  <a:pt x="4" y="1"/>
                  <a:pt x="3" y="0"/>
                  <a:pt x="1" y="0"/>
                </a:cubicBezTo>
                <a:cubicBezTo>
                  <a:pt x="0" y="0"/>
                  <a:pt x="2" y="3"/>
                  <a:pt x="1" y="3"/>
                </a:cubicBezTo>
                <a:cubicBezTo>
                  <a:pt x="3" y="2"/>
                  <a:pt x="4" y="4"/>
                  <a:pt x="6" y="4"/>
                </a:cubicBezTo>
                <a:cubicBezTo>
                  <a:pt x="9" y="4"/>
                  <a:pt x="7" y="1"/>
                  <a:pt x="5" y="0"/>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38">
            <a:extLst>
              <a:ext uri="{FF2B5EF4-FFF2-40B4-BE49-F238E27FC236}">
                <a16:creationId xmlns:a16="http://schemas.microsoft.com/office/drawing/2014/main" id="{3264E540-B699-4D35-B28C-794EF9EDFC4D}"/>
              </a:ext>
            </a:extLst>
          </p:cNvPr>
          <p:cNvSpPr>
            <a:spLocks/>
          </p:cNvSpPr>
          <p:nvPr/>
        </p:nvSpPr>
        <p:spPr bwMode="auto">
          <a:xfrm>
            <a:off x="1313908" y="4004860"/>
            <a:ext cx="42502" cy="45292"/>
          </a:xfrm>
          <a:custGeom>
            <a:avLst/>
            <a:gdLst>
              <a:gd name="T0" fmla="*/ 9 w 15"/>
              <a:gd name="T1" fmla="*/ 2 h 16"/>
              <a:gd name="T2" fmla="*/ 6 w 15"/>
              <a:gd name="T3" fmla="*/ 7 h 16"/>
              <a:gd name="T4" fmla="*/ 2 w 15"/>
              <a:gd name="T5" fmla="*/ 10 h 16"/>
              <a:gd name="T6" fmla="*/ 0 w 15"/>
              <a:gd name="T7" fmla="*/ 16 h 16"/>
              <a:gd name="T8" fmla="*/ 6 w 15"/>
              <a:gd name="T9" fmla="*/ 14 h 16"/>
              <a:gd name="T10" fmla="*/ 13 w 15"/>
              <a:gd name="T11" fmla="*/ 7 h 16"/>
              <a:gd name="T12" fmla="*/ 13 w 15"/>
              <a:gd name="T13" fmla="*/ 1 h 16"/>
              <a:gd name="T14" fmla="*/ 9 w 15"/>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9" y="2"/>
                </a:moveTo>
                <a:cubicBezTo>
                  <a:pt x="8" y="3"/>
                  <a:pt x="7" y="5"/>
                  <a:pt x="6" y="7"/>
                </a:cubicBezTo>
                <a:cubicBezTo>
                  <a:pt x="5" y="8"/>
                  <a:pt x="3" y="9"/>
                  <a:pt x="2" y="10"/>
                </a:cubicBezTo>
                <a:cubicBezTo>
                  <a:pt x="2" y="11"/>
                  <a:pt x="0" y="15"/>
                  <a:pt x="0" y="16"/>
                </a:cubicBezTo>
                <a:cubicBezTo>
                  <a:pt x="1" y="16"/>
                  <a:pt x="5" y="15"/>
                  <a:pt x="6" y="14"/>
                </a:cubicBezTo>
                <a:cubicBezTo>
                  <a:pt x="9" y="13"/>
                  <a:pt x="11" y="10"/>
                  <a:pt x="13" y="7"/>
                </a:cubicBezTo>
                <a:cubicBezTo>
                  <a:pt x="15" y="6"/>
                  <a:pt x="13" y="3"/>
                  <a:pt x="13" y="1"/>
                </a:cubicBezTo>
                <a:cubicBezTo>
                  <a:pt x="14" y="0"/>
                  <a:pt x="10" y="2"/>
                  <a:pt x="9" y="2"/>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39">
            <a:extLst>
              <a:ext uri="{FF2B5EF4-FFF2-40B4-BE49-F238E27FC236}">
                <a16:creationId xmlns:a16="http://schemas.microsoft.com/office/drawing/2014/main" id="{E7ACF23D-CC88-4E51-ABBB-81FC014504EE}"/>
              </a:ext>
            </a:extLst>
          </p:cNvPr>
          <p:cNvSpPr>
            <a:spLocks/>
          </p:cNvSpPr>
          <p:nvPr/>
        </p:nvSpPr>
        <p:spPr bwMode="auto">
          <a:xfrm>
            <a:off x="1448497" y="4605574"/>
            <a:ext cx="16529" cy="11919"/>
          </a:xfrm>
          <a:custGeom>
            <a:avLst/>
            <a:gdLst>
              <a:gd name="T0" fmla="*/ 0 w 6"/>
              <a:gd name="T1" fmla="*/ 4 h 4"/>
              <a:gd name="T2" fmla="*/ 3 w 6"/>
              <a:gd name="T3" fmla="*/ 4 h 4"/>
              <a:gd name="T4" fmla="*/ 5 w 6"/>
              <a:gd name="T5" fmla="*/ 0 h 4"/>
              <a:gd name="T6" fmla="*/ 0 w 6"/>
              <a:gd name="T7" fmla="*/ 4 h 4"/>
            </a:gdLst>
            <a:ahLst/>
            <a:cxnLst>
              <a:cxn ang="0">
                <a:pos x="T0" y="T1"/>
              </a:cxn>
              <a:cxn ang="0">
                <a:pos x="T2" y="T3"/>
              </a:cxn>
              <a:cxn ang="0">
                <a:pos x="T4" y="T5"/>
              </a:cxn>
              <a:cxn ang="0">
                <a:pos x="T6" y="T7"/>
              </a:cxn>
            </a:cxnLst>
            <a:rect l="0" t="0" r="r" b="b"/>
            <a:pathLst>
              <a:path w="6" h="4">
                <a:moveTo>
                  <a:pt x="0" y="4"/>
                </a:moveTo>
                <a:cubicBezTo>
                  <a:pt x="1" y="4"/>
                  <a:pt x="2" y="4"/>
                  <a:pt x="3" y="4"/>
                </a:cubicBezTo>
                <a:cubicBezTo>
                  <a:pt x="4" y="4"/>
                  <a:pt x="6" y="0"/>
                  <a:pt x="5" y="0"/>
                </a:cubicBezTo>
                <a:cubicBezTo>
                  <a:pt x="4" y="0"/>
                  <a:pt x="1" y="2"/>
                  <a:pt x="0" y="4"/>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40">
            <a:extLst>
              <a:ext uri="{FF2B5EF4-FFF2-40B4-BE49-F238E27FC236}">
                <a16:creationId xmlns:a16="http://schemas.microsoft.com/office/drawing/2014/main" id="{D5B648BC-D48F-4612-8911-983520AD05AB}"/>
              </a:ext>
            </a:extLst>
          </p:cNvPr>
          <p:cNvSpPr>
            <a:spLocks/>
          </p:cNvSpPr>
          <p:nvPr/>
        </p:nvSpPr>
        <p:spPr bwMode="auto">
          <a:xfrm>
            <a:off x="1892406" y="4360044"/>
            <a:ext cx="323487" cy="245530"/>
          </a:xfrm>
          <a:custGeom>
            <a:avLst/>
            <a:gdLst>
              <a:gd name="T0" fmla="*/ 112 w 116"/>
              <a:gd name="T1" fmla="*/ 44 h 87"/>
              <a:gd name="T2" fmla="*/ 111 w 116"/>
              <a:gd name="T3" fmla="*/ 39 h 87"/>
              <a:gd name="T4" fmla="*/ 105 w 116"/>
              <a:gd name="T5" fmla="*/ 35 h 87"/>
              <a:gd name="T6" fmla="*/ 94 w 116"/>
              <a:gd name="T7" fmla="*/ 33 h 87"/>
              <a:gd name="T8" fmla="*/ 96 w 116"/>
              <a:gd name="T9" fmla="*/ 24 h 87"/>
              <a:gd name="T10" fmla="*/ 99 w 116"/>
              <a:gd name="T11" fmla="*/ 18 h 87"/>
              <a:gd name="T12" fmla="*/ 91 w 116"/>
              <a:gd name="T13" fmla="*/ 11 h 87"/>
              <a:gd name="T14" fmla="*/ 82 w 116"/>
              <a:gd name="T15" fmla="*/ 11 h 87"/>
              <a:gd name="T16" fmla="*/ 79 w 116"/>
              <a:gd name="T17" fmla="*/ 8 h 87"/>
              <a:gd name="T18" fmla="*/ 76 w 116"/>
              <a:gd name="T19" fmla="*/ 2 h 87"/>
              <a:gd name="T20" fmla="*/ 69 w 116"/>
              <a:gd name="T21" fmla="*/ 4 h 87"/>
              <a:gd name="T22" fmla="*/ 68 w 116"/>
              <a:gd name="T23" fmla="*/ 0 h 87"/>
              <a:gd name="T24" fmla="*/ 61 w 116"/>
              <a:gd name="T25" fmla="*/ 1 h 87"/>
              <a:gd name="T26" fmla="*/ 57 w 116"/>
              <a:gd name="T27" fmla="*/ 6 h 87"/>
              <a:gd name="T28" fmla="*/ 53 w 116"/>
              <a:gd name="T29" fmla="*/ 11 h 87"/>
              <a:gd name="T30" fmla="*/ 47 w 116"/>
              <a:gd name="T31" fmla="*/ 11 h 87"/>
              <a:gd name="T32" fmla="*/ 38 w 116"/>
              <a:gd name="T33" fmla="*/ 11 h 87"/>
              <a:gd name="T34" fmla="*/ 30 w 116"/>
              <a:gd name="T35" fmla="*/ 10 h 87"/>
              <a:gd name="T36" fmla="*/ 26 w 116"/>
              <a:gd name="T37" fmla="*/ 6 h 87"/>
              <a:gd name="T38" fmla="*/ 7 w 116"/>
              <a:gd name="T39" fmla="*/ 15 h 87"/>
              <a:gd name="T40" fmla="*/ 3 w 116"/>
              <a:gd name="T41" fmla="*/ 25 h 87"/>
              <a:gd name="T42" fmla="*/ 6 w 116"/>
              <a:gd name="T43" fmla="*/ 31 h 87"/>
              <a:gd name="T44" fmla="*/ 14 w 116"/>
              <a:gd name="T45" fmla="*/ 33 h 87"/>
              <a:gd name="T46" fmla="*/ 20 w 116"/>
              <a:gd name="T47" fmla="*/ 34 h 87"/>
              <a:gd name="T48" fmla="*/ 23 w 116"/>
              <a:gd name="T49" fmla="*/ 43 h 87"/>
              <a:gd name="T50" fmla="*/ 29 w 116"/>
              <a:gd name="T51" fmla="*/ 44 h 87"/>
              <a:gd name="T52" fmla="*/ 33 w 116"/>
              <a:gd name="T53" fmla="*/ 51 h 87"/>
              <a:gd name="T54" fmla="*/ 44 w 116"/>
              <a:gd name="T55" fmla="*/ 51 h 87"/>
              <a:gd name="T56" fmla="*/ 48 w 116"/>
              <a:gd name="T57" fmla="*/ 54 h 87"/>
              <a:gd name="T58" fmla="*/ 49 w 116"/>
              <a:gd name="T59" fmla="*/ 60 h 87"/>
              <a:gd name="T60" fmla="*/ 47 w 116"/>
              <a:gd name="T61" fmla="*/ 66 h 87"/>
              <a:gd name="T62" fmla="*/ 62 w 116"/>
              <a:gd name="T63" fmla="*/ 67 h 87"/>
              <a:gd name="T64" fmla="*/ 67 w 116"/>
              <a:gd name="T65" fmla="*/ 60 h 87"/>
              <a:gd name="T66" fmla="*/ 68 w 116"/>
              <a:gd name="T67" fmla="*/ 68 h 87"/>
              <a:gd name="T68" fmla="*/ 73 w 116"/>
              <a:gd name="T69" fmla="*/ 75 h 87"/>
              <a:gd name="T70" fmla="*/ 82 w 116"/>
              <a:gd name="T71" fmla="*/ 82 h 87"/>
              <a:gd name="T72" fmla="*/ 87 w 116"/>
              <a:gd name="T73" fmla="*/ 86 h 87"/>
              <a:gd name="T74" fmla="*/ 95 w 116"/>
              <a:gd name="T75" fmla="*/ 85 h 87"/>
              <a:gd name="T76" fmla="*/ 99 w 116"/>
              <a:gd name="T77" fmla="*/ 82 h 87"/>
              <a:gd name="T78" fmla="*/ 99 w 116"/>
              <a:gd name="T79" fmla="*/ 78 h 87"/>
              <a:gd name="T80" fmla="*/ 96 w 116"/>
              <a:gd name="T81" fmla="*/ 71 h 87"/>
              <a:gd name="T82" fmla="*/ 98 w 116"/>
              <a:gd name="T83" fmla="*/ 65 h 87"/>
              <a:gd name="T84" fmla="*/ 104 w 116"/>
              <a:gd name="T85" fmla="*/ 58 h 87"/>
              <a:gd name="T86" fmla="*/ 111 w 116"/>
              <a:gd name="T87" fmla="*/ 55 h 87"/>
              <a:gd name="T88" fmla="*/ 115 w 116"/>
              <a:gd name="T89" fmla="*/ 5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87">
                <a:moveTo>
                  <a:pt x="115" y="51"/>
                </a:moveTo>
                <a:cubicBezTo>
                  <a:pt x="113" y="48"/>
                  <a:pt x="116" y="45"/>
                  <a:pt x="112" y="44"/>
                </a:cubicBezTo>
                <a:cubicBezTo>
                  <a:pt x="111" y="44"/>
                  <a:pt x="109" y="44"/>
                  <a:pt x="109" y="42"/>
                </a:cubicBezTo>
                <a:cubicBezTo>
                  <a:pt x="109" y="41"/>
                  <a:pt x="112" y="40"/>
                  <a:pt x="111" y="39"/>
                </a:cubicBezTo>
                <a:cubicBezTo>
                  <a:pt x="111" y="38"/>
                  <a:pt x="109" y="38"/>
                  <a:pt x="108" y="37"/>
                </a:cubicBezTo>
                <a:cubicBezTo>
                  <a:pt x="107" y="35"/>
                  <a:pt x="106" y="33"/>
                  <a:pt x="105" y="35"/>
                </a:cubicBezTo>
                <a:cubicBezTo>
                  <a:pt x="104" y="32"/>
                  <a:pt x="101" y="32"/>
                  <a:pt x="98" y="32"/>
                </a:cubicBezTo>
                <a:cubicBezTo>
                  <a:pt x="97" y="32"/>
                  <a:pt x="95" y="33"/>
                  <a:pt x="94" y="33"/>
                </a:cubicBezTo>
                <a:cubicBezTo>
                  <a:pt x="95" y="30"/>
                  <a:pt x="93" y="30"/>
                  <a:pt x="93" y="28"/>
                </a:cubicBezTo>
                <a:cubicBezTo>
                  <a:pt x="93" y="27"/>
                  <a:pt x="97" y="24"/>
                  <a:pt x="96" y="24"/>
                </a:cubicBezTo>
                <a:cubicBezTo>
                  <a:pt x="96" y="24"/>
                  <a:pt x="96" y="24"/>
                  <a:pt x="96" y="24"/>
                </a:cubicBezTo>
                <a:cubicBezTo>
                  <a:pt x="96" y="24"/>
                  <a:pt x="98" y="18"/>
                  <a:pt x="99" y="18"/>
                </a:cubicBezTo>
                <a:cubicBezTo>
                  <a:pt x="97" y="16"/>
                  <a:pt x="100" y="15"/>
                  <a:pt x="97" y="14"/>
                </a:cubicBezTo>
                <a:cubicBezTo>
                  <a:pt x="96" y="14"/>
                  <a:pt x="91" y="13"/>
                  <a:pt x="91" y="11"/>
                </a:cubicBezTo>
                <a:cubicBezTo>
                  <a:pt x="91" y="8"/>
                  <a:pt x="86" y="10"/>
                  <a:pt x="85" y="10"/>
                </a:cubicBezTo>
                <a:cubicBezTo>
                  <a:pt x="84" y="11"/>
                  <a:pt x="83" y="11"/>
                  <a:pt x="82" y="11"/>
                </a:cubicBezTo>
                <a:cubicBezTo>
                  <a:pt x="81" y="11"/>
                  <a:pt x="82" y="10"/>
                  <a:pt x="81" y="10"/>
                </a:cubicBezTo>
                <a:cubicBezTo>
                  <a:pt x="80" y="9"/>
                  <a:pt x="81" y="9"/>
                  <a:pt x="79" y="8"/>
                </a:cubicBezTo>
                <a:cubicBezTo>
                  <a:pt x="78" y="8"/>
                  <a:pt x="78" y="7"/>
                  <a:pt x="78" y="7"/>
                </a:cubicBezTo>
                <a:cubicBezTo>
                  <a:pt x="77" y="5"/>
                  <a:pt x="78" y="3"/>
                  <a:pt x="76" y="2"/>
                </a:cubicBezTo>
                <a:cubicBezTo>
                  <a:pt x="76" y="1"/>
                  <a:pt x="74" y="4"/>
                  <a:pt x="73" y="4"/>
                </a:cubicBezTo>
                <a:cubicBezTo>
                  <a:pt x="72" y="5"/>
                  <a:pt x="70" y="4"/>
                  <a:pt x="69" y="4"/>
                </a:cubicBezTo>
                <a:cubicBezTo>
                  <a:pt x="69" y="4"/>
                  <a:pt x="69" y="4"/>
                  <a:pt x="69" y="4"/>
                </a:cubicBezTo>
                <a:cubicBezTo>
                  <a:pt x="69" y="2"/>
                  <a:pt x="70" y="0"/>
                  <a:pt x="68" y="0"/>
                </a:cubicBezTo>
                <a:cubicBezTo>
                  <a:pt x="66" y="2"/>
                  <a:pt x="65" y="4"/>
                  <a:pt x="63" y="4"/>
                </a:cubicBezTo>
                <a:cubicBezTo>
                  <a:pt x="60" y="4"/>
                  <a:pt x="62" y="2"/>
                  <a:pt x="61" y="1"/>
                </a:cubicBezTo>
                <a:cubicBezTo>
                  <a:pt x="60" y="0"/>
                  <a:pt x="58" y="2"/>
                  <a:pt x="57" y="2"/>
                </a:cubicBezTo>
                <a:cubicBezTo>
                  <a:pt x="57" y="3"/>
                  <a:pt x="58" y="5"/>
                  <a:pt x="57" y="6"/>
                </a:cubicBezTo>
                <a:cubicBezTo>
                  <a:pt x="57" y="8"/>
                  <a:pt x="53" y="6"/>
                  <a:pt x="52" y="6"/>
                </a:cubicBezTo>
                <a:cubicBezTo>
                  <a:pt x="53" y="7"/>
                  <a:pt x="55" y="9"/>
                  <a:pt x="53" y="11"/>
                </a:cubicBezTo>
                <a:cubicBezTo>
                  <a:pt x="54" y="9"/>
                  <a:pt x="52" y="8"/>
                  <a:pt x="52" y="7"/>
                </a:cubicBezTo>
                <a:cubicBezTo>
                  <a:pt x="50" y="8"/>
                  <a:pt x="48" y="10"/>
                  <a:pt x="47" y="11"/>
                </a:cubicBezTo>
                <a:cubicBezTo>
                  <a:pt x="45" y="12"/>
                  <a:pt x="43" y="13"/>
                  <a:pt x="42" y="13"/>
                </a:cubicBezTo>
                <a:cubicBezTo>
                  <a:pt x="41" y="13"/>
                  <a:pt x="38" y="13"/>
                  <a:pt x="38" y="11"/>
                </a:cubicBezTo>
                <a:cubicBezTo>
                  <a:pt x="38" y="10"/>
                  <a:pt x="35" y="10"/>
                  <a:pt x="35" y="9"/>
                </a:cubicBezTo>
                <a:cubicBezTo>
                  <a:pt x="34" y="9"/>
                  <a:pt x="31" y="8"/>
                  <a:pt x="30" y="10"/>
                </a:cubicBezTo>
                <a:cubicBezTo>
                  <a:pt x="30" y="11"/>
                  <a:pt x="29" y="12"/>
                  <a:pt x="28" y="12"/>
                </a:cubicBezTo>
                <a:cubicBezTo>
                  <a:pt x="26" y="11"/>
                  <a:pt x="26" y="8"/>
                  <a:pt x="26" y="6"/>
                </a:cubicBezTo>
                <a:cubicBezTo>
                  <a:pt x="23" y="7"/>
                  <a:pt x="19" y="8"/>
                  <a:pt x="16" y="10"/>
                </a:cubicBezTo>
                <a:cubicBezTo>
                  <a:pt x="13" y="11"/>
                  <a:pt x="10" y="13"/>
                  <a:pt x="7" y="15"/>
                </a:cubicBezTo>
                <a:cubicBezTo>
                  <a:pt x="6" y="15"/>
                  <a:pt x="0" y="17"/>
                  <a:pt x="1" y="19"/>
                </a:cubicBezTo>
                <a:cubicBezTo>
                  <a:pt x="2" y="20"/>
                  <a:pt x="4" y="24"/>
                  <a:pt x="3" y="25"/>
                </a:cubicBezTo>
                <a:cubicBezTo>
                  <a:pt x="2" y="28"/>
                  <a:pt x="3" y="30"/>
                  <a:pt x="4" y="30"/>
                </a:cubicBezTo>
                <a:cubicBezTo>
                  <a:pt x="5" y="30"/>
                  <a:pt x="6" y="31"/>
                  <a:pt x="6" y="31"/>
                </a:cubicBezTo>
                <a:cubicBezTo>
                  <a:pt x="8" y="32"/>
                  <a:pt x="9" y="35"/>
                  <a:pt x="10" y="35"/>
                </a:cubicBezTo>
                <a:cubicBezTo>
                  <a:pt x="11" y="35"/>
                  <a:pt x="12" y="33"/>
                  <a:pt x="14" y="33"/>
                </a:cubicBezTo>
                <a:cubicBezTo>
                  <a:pt x="15" y="32"/>
                  <a:pt x="17" y="31"/>
                  <a:pt x="19" y="31"/>
                </a:cubicBezTo>
                <a:cubicBezTo>
                  <a:pt x="19" y="32"/>
                  <a:pt x="20" y="34"/>
                  <a:pt x="20" y="34"/>
                </a:cubicBezTo>
                <a:cubicBezTo>
                  <a:pt x="22" y="35"/>
                  <a:pt x="21" y="37"/>
                  <a:pt x="22" y="39"/>
                </a:cubicBezTo>
                <a:cubicBezTo>
                  <a:pt x="22" y="40"/>
                  <a:pt x="22" y="42"/>
                  <a:pt x="23" y="43"/>
                </a:cubicBezTo>
                <a:cubicBezTo>
                  <a:pt x="23" y="44"/>
                  <a:pt x="24" y="45"/>
                  <a:pt x="28" y="43"/>
                </a:cubicBezTo>
                <a:cubicBezTo>
                  <a:pt x="28" y="43"/>
                  <a:pt x="29" y="44"/>
                  <a:pt x="29" y="44"/>
                </a:cubicBezTo>
                <a:cubicBezTo>
                  <a:pt x="30" y="44"/>
                  <a:pt x="30" y="44"/>
                  <a:pt x="31" y="44"/>
                </a:cubicBezTo>
                <a:cubicBezTo>
                  <a:pt x="34" y="45"/>
                  <a:pt x="33" y="48"/>
                  <a:pt x="33" y="51"/>
                </a:cubicBezTo>
                <a:cubicBezTo>
                  <a:pt x="34" y="54"/>
                  <a:pt x="36" y="50"/>
                  <a:pt x="38" y="50"/>
                </a:cubicBezTo>
                <a:cubicBezTo>
                  <a:pt x="40" y="50"/>
                  <a:pt x="40" y="52"/>
                  <a:pt x="44" y="51"/>
                </a:cubicBezTo>
                <a:cubicBezTo>
                  <a:pt x="46" y="51"/>
                  <a:pt x="47" y="54"/>
                  <a:pt x="48" y="54"/>
                </a:cubicBezTo>
                <a:cubicBezTo>
                  <a:pt x="48" y="55"/>
                  <a:pt x="48" y="54"/>
                  <a:pt x="48" y="54"/>
                </a:cubicBezTo>
                <a:cubicBezTo>
                  <a:pt x="50" y="55"/>
                  <a:pt x="48" y="57"/>
                  <a:pt x="47" y="59"/>
                </a:cubicBezTo>
                <a:cubicBezTo>
                  <a:pt x="47" y="60"/>
                  <a:pt x="48" y="60"/>
                  <a:pt x="49" y="60"/>
                </a:cubicBezTo>
                <a:cubicBezTo>
                  <a:pt x="49" y="60"/>
                  <a:pt x="49" y="62"/>
                  <a:pt x="49" y="62"/>
                </a:cubicBezTo>
                <a:cubicBezTo>
                  <a:pt x="50" y="63"/>
                  <a:pt x="47" y="64"/>
                  <a:pt x="47" y="66"/>
                </a:cubicBezTo>
                <a:cubicBezTo>
                  <a:pt x="47" y="68"/>
                  <a:pt x="50" y="67"/>
                  <a:pt x="52" y="68"/>
                </a:cubicBezTo>
                <a:cubicBezTo>
                  <a:pt x="55" y="69"/>
                  <a:pt x="58" y="69"/>
                  <a:pt x="62" y="67"/>
                </a:cubicBezTo>
                <a:cubicBezTo>
                  <a:pt x="64" y="66"/>
                  <a:pt x="63" y="65"/>
                  <a:pt x="64" y="63"/>
                </a:cubicBezTo>
                <a:cubicBezTo>
                  <a:pt x="65" y="62"/>
                  <a:pt x="66" y="60"/>
                  <a:pt x="67" y="60"/>
                </a:cubicBezTo>
                <a:cubicBezTo>
                  <a:pt x="69" y="58"/>
                  <a:pt x="70" y="60"/>
                  <a:pt x="69" y="62"/>
                </a:cubicBezTo>
                <a:cubicBezTo>
                  <a:pt x="68" y="63"/>
                  <a:pt x="66" y="68"/>
                  <a:pt x="68" y="68"/>
                </a:cubicBezTo>
                <a:cubicBezTo>
                  <a:pt x="70" y="69"/>
                  <a:pt x="67" y="73"/>
                  <a:pt x="68" y="75"/>
                </a:cubicBezTo>
                <a:cubicBezTo>
                  <a:pt x="69" y="75"/>
                  <a:pt x="72" y="75"/>
                  <a:pt x="73" y="75"/>
                </a:cubicBezTo>
                <a:cubicBezTo>
                  <a:pt x="74" y="75"/>
                  <a:pt x="76" y="76"/>
                  <a:pt x="76" y="77"/>
                </a:cubicBezTo>
                <a:cubicBezTo>
                  <a:pt x="77" y="80"/>
                  <a:pt x="83" y="78"/>
                  <a:pt x="82" y="82"/>
                </a:cubicBezTo>
                <a:cubicBezTo>
                  <a:pt x="81" y="83"/>
                  <a:pt x="84" y="83"/>
                  <a:pt x="84" y="83"/>
                </a:cubicBezTo>
                <a:cubicBezTo>
                  <a:pt x="86" y="83"/>
                  <a:pt x="86" y="85"/>
                  <a:pt x="87" y="86"/>
                </a:cubicBezTo>
                <a:cubicBezTo>
                  <a:pt x="87" y="87"/>
                  <a:pt x="90" y="87"/>
                  <a:pt x="91" y="87"/>
                </a:cubicBezTo>
                <a:cubicBezTo>
                  <a:pt x="92" y="86"/>
                  <a:pt x="93" y="85"/>
                  <a:pt x="95" y="85"/>
                </a:cubicBezTo>
                <a:cubicBezTo>
                  <a:pt x="95" y="85"/>
                  <a:pt x="97" y="86"/>
                  <a:pt x="97" y="85"/>
                </a:cubicBezTo>
                <a:cubicBezTo>
                  <a:pt x="98" y="84"/>
                  <a:pt x="99" y="83"/>
                  <a:pt x="99" y="82"/>
                </a:cubicBezTo>
                <a:cubicBezTo>
                  <a:pt x="100" y="80"/>
                  <a:pt x="99" y="81"/>
                  <a:pt x="98" y="80"/>
                </a:cubicBezTo>
                <a:cubicBezTo>
                  <a:pt x="98" y="79"/>
                  <a:pt x="99" y="79"/>
                  <a:pt x="99" y="78"/>
                </a:cubicBezTo>
                <a:cubicBezTo>
                  <a:pt x="98" y="78"/>
                  <a:pt x="97" y="78"/>
                  <a:pt x="97" y="78"/>
                </a:cubicBezTo>
                <a:cubicBezTo>
                  <a:pt x="96" y="76"/>
                  <a:pt x="94" y="72"/>
                  <a:pt x="96" y="71"/>
                </a:cubicBezTo>
                <a:cubicBezTo>
                  <a:pt x="93" y="70"/>
                  <a:pt x="97" y="67"/>
                  <a:pt x="98" y="67"/>
                </a:cubicBezTo>
                <a:cubicBezTo>
                  <a:pt x="98" y="67"/>
                  <a:pt x="98" y="65"/>
                  <a:pt x="98" y="65"/>
                </a:cubicBezTo>
                <a:cubicBezTo>
                  <a:pt x="98" y="63"/>
                  <a:pt x="99" y="62"/>
                  <a:pt x="100" y="61"/>
                </a:cubicBezTo>
                <a:cubicBezTo>
                  <a:pt x="100" y="60"/>
                  <a:pt x="102" y="58"/>
                  <a:pt x="104" y="58"/>
                </a:cubicBezTo>
                <a:cubicBezTo>
                  <a:pt x="104" y="60"/>
                  <a:pt x="106" y="58"/>
                  <a:pt x="107" y="60"/>
                </a:cubicBezTo>
                <a:cubicBezTo>
                  <a:pt x="108" y="58"/>
                  <a:pt x="109" y="54"/>
                  <a:pt x="111" y="55"/>
                </a:cubicBezTo>
                <a:cubicBezTo>
                  <a:pt x="112" y="54"/>
                  <a:pt x="112" y="53"/>
                  <a:pt x="113" y="52"/>
                </a:cubicBezTo>
                <a:cubicBezTo>
                  <a:pt x="114" y="52"/>
                  <a:pt x="116" y="52"/>
                  <a:pt x="115" y="5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41">
            <a:extLst>
              <a:ext uri="{FF2B5EF4-FFF2-40B4-BE49-F238E27FC236}">
                <a16:creationId xmlns:a16="http://schemas.microsoft.com/office/drawing/2014/main" id="{D967E33A-185B-4D1F-AEC8-A1D464E5A16E}"/>
              </a:ext>
            </a:extLst>
          </p:cNvPr>
          <p:cNvSpPr>
            <a:spLocks/>
          </p:cNvSpPr>
          <p:nvPr/>
        </p:nvSpPr>
        <p:spPr bwMode="auto">
          <a:xfrm>
            <a:off x="2197002" y="4115707"/>
            <a:ext cx="18890" cy="8344"/>
          </a:xfrm>
          <a:custGeom>
            <a:avLst/>
            <a:gdLst>
              <a:gd name="T0" fmla="*/ 4 w 7"/>
              <a:gd name="T1" fmla="*/ 2 h 3"/>
              <a:gd name="T2" fmla="*/ 7 w 7"/>
              <a:gd name="T3" fmla="*/ 1 h 3"/>
              <a:gd name="T4" fmla="*/ 3 w 7"/>
              <a:gd name="T5" fmla="*/ 0 h 3"/>
              <a:gd name="T6" fmla="*/ 1 w 7"/>
              <a:gd name="T7" fmla="*/ 2 h 3"/>
              <a:gd name="T8" fmla="*/ 4 w 7"/>
              <a:gd name="T9" fmla="*/ 2 h 3"/>
            </a:gdLst>
            <a:ahLst/>
            <a:cxnLst>
              <a:cxn ang="0">
                <a:pos x="T0" y="T1"/>
              </a:cxn>
              <a:cxn ang="0">
                <a:pos x="T2" y="T3"/>
              </a:cxn>
              <a:cxn ang="0">
                <a:pos x="T4" y="T5"/>
              </a:cxn>
              <a:cxn ang="0">
                <a:pos x="T6" y="T7"/>
              </a:cxn>
              <a:cxn ang="0">
                <a:pos x="T8" y="T9"/>
              </a:cxn>
            </a:cxnLst>
            <a:rect l="0" t="0" r="r" b="b"/>
            <a:pathLst>
              <a:path w="7" h="3">
                <a:moveTo>
                  <a:pt x="4" y="2"/>
                </a:moveTo>
                <a:cubicBezTo>
                  <a:pt x="5" y="1"/>
                  <a:pt x="6" y="1"/>
                  <a:pt x="7" y="1"/>
                </a:cubicBezTo>
                <a:cubicBezTo>
                  <a:pt x="6" y="0"/>
                  <a:pt x="4" y="0"/>
                  <a:pt x="3" y="0"/>
                </a:cubicBezTo>
                <a:cubicBezTo>
                  <a:pt x="2" y="1"/>
                  <a:pt x="0" y="2"/>
                  <a:pt x="1" y="2"/>
                </a:cubicBezTo>
                <a:cubicBezTo>
                  <a:pt x="1" y="3"/>
                  <a:pt x="3" y="2"/>
                  <a:pt x="4" y="2"/>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42">
            <a:extLst>
              <a:ext uri="{FF2B5EF4-FFF2-40B4-BE49-F238E27FC236}">
                <a16:creationId xmlns:a16="http://schemas.microsoft.com/office/drawing/2014/main" id="{7B151FDB-7C29-4DCE-A9E5-A567224BD5F6}"/>
              </a:ext>
            </a:extLst>
          </p:cNvPr>
          <p:cNvSpPr>
            <a:spLocks/>
          </p:cNvSpPr>
          <p:nvPr/>
        </p:nvSpPr>
        <p:spPr bwMode="auto">
          <a:xfrm>
            <a:off x="2004563" y="4315945"/>
            <a:ext cx="47224" cy="27414"/>
          </a:xfrm>
          <a:custGeom>
            <a:avLst/>
            <a:gdLst>
              <a:gd name="T0" fmla="*/ 10 w 17"/>
              <a:gd name="T1" fmla="*/ 8 h 10"/>
              <a:gd name="T2" fmla="*/ 15 w 17"/>
              <a:gd name="T3" fmla="*/ 9 h 10"/>
              <a:gd name="T4" fmla="*/ 11 w 17"/>
              <a:gd name="T5" fmla="*/ 5 h 10"/>
              <a:gd name="T6" fmla="*/ 2 w 17"/>
              <a:gd name="T7" fmla="*/ 2 h 10"/>
              <a:gd name="T8" fmla="*/ 6 w 17"/>
              <a:gd name="T9" fmla="*/ 4 h 10"/>
              <a:gd name="T10" fmla="*/ 10 w 17"/>
              <a:gd name="T11" fmla="*/ 8 h 10"/>
            </a:gdLst>
            <a:ahLst/>
            <a:cxnLst>
              <a:cxn ang="0">
                <a:pos x="T0" y="T1"/>
              </a:cxn>
              <a:cxn ang="0">
                <a:pos x="T2" y="T3"/>
              </a:cxn>
              <a:cxn ang="0">
                <a:pos x="T4" y="T5"/>
              </a:cxn>
              <a:cxn ang="0">
                <a:pos x="T6" y="T7"/>
              </a:cxn>
              <a:cxn ang="0">
                <a:pos x="T8" y="T9"/>
              </a:cxn>
              <a:cxn ang="0">
                <a:pos x="T10" y="T11"/>
              </a:cxn>
            </a:cxnLst>
            <a:rect l="0" t="0" r="r" b="b"/>
            <a:pathLst>
              <a:path w="17" h="10">
                <a:moveTo>
                  <a:pt x="10" y="8"/>
                </a:moveTo>
                <a:cubicBezTo>
                  <a:pt x="11" y="9"/>
                  <a:pt x="13" y="10"/>
                  <a:pt x="15" y="9"/>
                </a:cubicBezTo>
                <a:cubicBezTo>
                  <a:pt x="17" y="8"/>
                  <a:pt x="11" y="5"/>
                  <a:pt x="11" y="5"/>
                </a:cubicBezTo>
                <a:cubicBezTo>
                  <a:pt x="8" y="3"/>
                  <a:pt x="5" y="0"/>
                  <a:pt x="2" y="2"/>
                </a:cubicBezTo>
                <a:cubicBezTo>
                  <a:pt x="0" y="4"/>
                  <a:pt x="6" y="3"/>
                  <a:pt x="6" y="4"/>
                </a:cubicBezTo>
                <a:cubicBezTo>
                  <a:pt x="8" y="6"/>
                  <a:pt x="7" y="7"/>
                  <a:pt x="10" y="8"/>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43">
            <a:extLst>
              <a:ext uri="{FF2B5EF4-FFF2-40B4-BE49-F238E27FC236}">
                <a16:creationId xmlns:a16="http://schemas.microsoft.com/office/drawing/2014/main" id="{0C0A91DE-8D8D-44EC-B453-1178486265D1}"/>
              </a:ext>
            </a:extLst>
          </p:cNvPr>
          <p:cNvSpPr>
            <a:spLocks noEditPoints="1"/>
          </p:cNvSpPr>
          <p:nvPr/>
        </p:nvSpPr>
        <p:spPr bwMode="auto">
          <a:xfrm>
            <a:off x="1967965" y="4115707"/>
            <a:ext cx="321125" cy="338497"/>
          </a:xfrm>
          <a:custGeom>
            <a:avLst/>
            <a:gdLst>
              <a:gd name="T0" fmla="*/ 111 w 115"/>
              <a:gd name="T1" fmla="*/ 9 h 120"/>
              <a:gd name="T2" fmla="*/ 95 w 115"/>
              <a:gd name="T3" fmla="*/ 3 h 120"/>
              <a:gd name="T4" fmla="*/ 79 w 115"/>
              <a:gd name="T5" fmla="*/ 5 h 120"/>
              <a:gd name="T6" fmla="*/ 62 w 115"/>
              <a:gd name="T7" fmla="*/ 14 h 120"/>
              <a:gd name="T8" fmla="*/ 52 w 115"/>
              <a:gd name="T9" fmla="*/ 24 h 120"/>
              <a:gd name="T10" fmla="*/ 44 w 115"/>
              <a:gd name="T11" fmla="*/ 24 h 120"/>
              <a:gd name="T12" fmla="*/ 37 w 115"/>
              <a:gd name="T13" fmla="*/ 44 h 120"/>
              <a:gd name="T14" fmla="*/ 26 w 115"/>
              <a:gd name="T15" fmla="*/ 62 h 120"/>
              <a:gd name="T16" fmla="*/ 19 w 115"/>
              <a:gd name="T17" fmla="*/ 66 h 120"/>
              <a:gd name="T18" fmla="*/ 32 w 115"/>
              <a:gd name="T19" fmla="*/ 78 h 120"/>
              <a:gd name="T20" fmla="*/ 40 w 115"/>
              <a:gd name="T21" fmla="*/ 77 h 120"/>
              <a:gd name="T22" fmla="*/ 43 w 115"/>
              <a:gd name="T23" fmla="*/ 78 h 120"/>
              <a:gd name="T24" fmla="*/ 27 w 115"/>
              <a:gd name="T25" fmla="*/ 81 h 120"/>
              <a:gd name="T26" fmla="*/ 24 w 115"/>
              <a:gd name="T27" fmla="*/ 83 h 120"/>
              <a:gd name="T28" fmla="*/ 25 w 115"/>
              <a:gd name="T29" fmla="*/ 87 h 120"/>
              <a:gd name="T30" fmla="*/ 19 w 115"/>
              <a:gd name="T31" fmla="*/ 87 h 120"/>
              <a:gd name="T32" fmla="*/ 8 w 115"/>
              <a:gd name="T33" fmla="*/ 83 h 120"/>
              <a:gd name="T34" fmla="*/ 6 w 115"/>
              <a:gd name="T35" fmla="*/ 89 h 120"/>
              <a:gd name="T36" fmla="*/ 19 w 115"/>
              <a:gd name="T37" fmla="*/ 91 h 120"/>
              <a:gd name="T38" fmla="*/ 26 w 115"/>
              <a:gd name="T39" fmla="*/ 92 h 120"/>
              <a:gd name="T40" fmla="*/ 30 w 115"/>
              <a:gd name="T41" fmla="*/ 89 h 120"/>
              <a:gd name="T42" fmla="*/ 35 w 115"/>
              <a:gd name="T43" fmla="*/ 90 h 120"/>
              <a:gd name="T44" fmla="*/ 43 w 115"/>
              <a:gd name="T45" fmla="*/ 89 h 120"/>
              <a:gd name="T46" fmla="*/ 47 w 115"/>
              <a:gd name="T47" fmla="*/ 90 h 120"/>
              <a:gd name="T48" fmla="*/ 51 w 115"/>
              <a:gd name="T49" fmla="*/ 94 h 120"/>
              <a:gd name="T50" fmla="*/ 57 w 115"/>
              <a:gd name="T51" fmla="*/ 98 h 120"/>
              <a:gd name="T52" fmla="*/ 66 w 115"/>
              <a:gd name="T53" fmla="*/ 100 h 120"/>
              <a:gd name="T54" fmla="*/ 72 w 115"/>
              <a:gd name="T55" fmla="*/ 105 h 120"/>
              <a:gd name="T56" fmla="*/ 68 w 115"/>
              <a:gd name="T57" fmla="*/ 111 h 120"/>
              <a:gd name="T58" fmla="*/ 66 w 115"/>
              <a:gd name="T59" fmla="*/ 116 h 120"/>
              <a:gd name="T60" fmla="*/ 71 w 115"/>
              <a:gd name="T61" fmla="*/ 119 h 120"/>
              <a:gd name="T62" fmla="*/ 76 w 115"/>
              <a:gd name="T63" fmla="*/ 118 h 120"/>
              <a:gd name="T64" fmla="*/ 77 w 115"/>
              <a:gd name="T65" fmla="*/ 110 h 120"/>
              <a:gd name="T66" fmla="*/ 73 w 115"/>
              <a:gd name="T67" fmla="*/ 107 h 120"/>
              <a:gd name="T68" fmla="*/ 82 w 115"/>
              <a:gd name="T69" fmla="*/ 102 h 120"/>
              <a:gd name="T70" fmla="*/ 79 w 115"/>
              <a:gd name="T71" fmla="*/ 101 h 120"/>
              <a:gd name="T72" fmla="*/ 84 w 115"/>
              <a:gd name="T73" fmla="*/ 89 h 120"/>
              <a:gd name="T74" fmla="*/ 78 w 115"/>
              <a:gd name="T75" fmla="*/ 79 h 120"/>
              <a:gd name="T76" fmla="*/ 76 w 115"/>
              <a:gd name="T77" fmla="*/ 73 h 120"/>
              <a:gd name="T78" fmla="*/ 81 w 115"/>
              <a:gd name="T79" fmla="*/ 70 h 120"/>
              <a:gd name="T80" fmla="*/ 89 w 115"/>
              <a:gd name="T81" fmla="*/ 72 h 120"/>
              <a:gd name="T82" fmla="*/ 98 w 115"/>
              <a:gd name="T83" fmla="*/ 69 h 120"/>
              <a:gd name="T84" fmla="*/ 98 w 115"/>
              <a:gd name="T85" fmla="*/ 64 h 120"/>
              <a:gd name="T86" fmla="*/ 103 w 115"/>
              <a:gd name="T87" fmla="*/ 60 h 120"/>
              <a:gd name="T88" fmla="*/ 109 w 115"/>
              <a:gd name="T89" fmla="*/ 55 h 120"/>
              <a:gd name="T90" fmla="*/ 107 w 115"/>
              <a:gd name="T91" fmla="*/ 46 h 120"/>
              <a:gd name="T92" fmla="*/ 101 w 115"/>
              <a:gd name="T93" fmla="*/ 46 h 120"/>
              <a:gd name="T94" fmla="*/ 100 w 115"/>
              <a:gd name="T95" fmla="*/ 38 h 120"/>
              <a:gd name="T96" fmla="*/ 110 w 115"/>
              <a:gd name="T97" fmla="*/ 29 h 120"/>
              <a:gd name="T98" fmla="*/ 113 w 115"/>
              <a:gd name="T99" fmla="*/ 16 h 120"/>
              <a:gd name="T100" fmla="*/ 74 w 115"/>
              <a:gd name="T101" fmla="*/ 44 h 120"/>
              <a:gd name="T102" fmla="*/ 62 w 115"/>
              <a:gd name="T103" fmla="*/ 43 h 120"/>
              <a:gd name="T104" fmla="*/ 53 w 115"/>
              <a:gd name="T105" fmla="*/ 51 h 120"/>
              <a:gd name="T106" fmla="*/ 65 w 115"/>
              <a:gd name="T107" fmla="*/ 50 h 120"/>
              <a:gd name="T108" fmla="*/ 72 w 115"/>
              <a:gd name="T109" fmla="*/ 46 h 120"/>
              <a:gd name="T110" fmla="*/ 57 w 115"/>
              <a:gd name="T111" fmla="*/ 53 h 120"/>
              <a:gd name="T112" fmla="*/ 51 w 115"/>
              <a:gd name="T113" fmla="*/ 47 h 120"/>
              <a:gd name="T114" fmla="*/ 51 w 115"/>
              <a:gd name="T115" fmla="*/ 38 h 120"/>
              <a:gd name="T116" fmla="*/ 54 w 115"/>
              <a:gd name="T117" fmla="*/ 33 h 120"/>
              <a:gd name="T118" fmla="*/ 61 w 115"/>
              <a:gd name="T119" fmla="*/ 22 h 120"/>
              <a:gd name="T120" fmla="*/ 66 w 115"/>
              <a:gd name="T121" fmla="*/ 29 h 120"/>
              <a:gd name="T122" fmla="*/ 68 w 115"/>
              <a:gd name="T123" fmla="*/ 38 h 120"/>
              <a:gd name="T124" fmla="*/ 73 w 115"/>
              <a:gd name="T125"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 h="120">
                <a:moveTo>
                  <a:pt x="113" y="12"/>
                </a:moveTo>
                <a:cubicBezTo>
                  <a:pt x="112" y="12"/>
                  <a:pt x="109" y="11"/>
                  <a:pt x="111" y="9"/>
                </a:cubicBezTo>
                <a:cubicBezTo>
                  <a:pt x="107" y="10"/>
                  <a:pt x="106" y="7"/>
                  <a:pt x="104" y="4"/>
                </a:cubicBezTo>
                <a:cubicBezTo>
                  <a:pt x="102" y="0"/>
                  <a:pt x="98" y="3"/>
                  <a:pt x="95" y="3"/>
                </a:cubicBezTo>
                <a:cubicBezTo>
                  <a:pt x="92" y="4"/>
                  <a:pt x="90" y="5"/>
                  <a:pt x="88" y="5"/>
                </a:cubicBezTo>
                <a:cubicBezTo>
                  <a:pt x="85" y="5"/>
                  <a:pt x="82" y="5"/>
                  <a:pt x="79" y="5"/>
                </a:cubicBezTo>
                <a:cubicBezTo>
                  <a:pt x="76" y="5"/>
                  <a:pt x="73" y="6"/>
                  <a:pt x="69" y="8"/>
                </a:cubicBezTo>
                <a:cubicBezTo>
                  <a:pt x="66" y="9"/>
                  <a:pt x="63" y="11"/>
                  <a:pt x="62" y="14"/>
                </a:cubicBezTo>
                <a:cubicBezTo>
                  <a:pt x="61" y="16"/>
                  <a:pt x="61" y="18"/>
                  <a:pt x="59" y="19"/>
                </a:cubicBezTo>
                <a:cubicBezTo>
                  <a:pt x="56" y="20"/>
                  <a:pt x="54" y="22"/>
                  <a:pt x="52" y="24"/>
                </a:cubicBezTo>
                <a:cubicBezTo>
                  <a:pt x="51" y="25"/>
                  <a:pt x="49" y="26"/>
                  <a:pt x="47" y="26"/>
                </a:cubicBezTo>
                <a:cubicBezTo>
                  <a:pt x="45" y="27"/>
                  <a:pt x="42" y="26"/>
                  <a:pt x="44" y="24"/>
                </a:cubicBezTo>
                <a:cubicBezTo>
                  <a:pt x="41" y="23"/>
                  <a:pt x="40" y="30"/>
                  <a:pt x="39" y="33"/>
                </a:cubicBezTo>
                <a:cubicBezTo>
                  <a:pt x="38" y="36"/>
                  <a:pt x="37" y="40"/>
                  <a:pt x="37" y="44"/>
                </a:cubicBezTo>
                <a:cubicBezTo>
                  <a:pt x="36" y="48"/>
                  <a:pt x="34" y="51"/>
                  <a:pt x="31" y="55"/>
                </a:cubicBezTo>
                <a:cubicBezTo>
                  <a:pt x="29" y="58"/>
                  <a:pt x="27" y="60"/>
                  <a:pt x="26" y="62"/>
                </a:cubicBezTo>
                <a:cubicBezTo>
                  <a:pt x="24" y="64"/>
                  <a:pt x="23" y="66"/>
                  <a:pt x="21" y="66"/>
                </a:cubicBezTo>
                <a:cubicBezTo>
                  <a:pt x="21" y="66"/>
                  <a:pt x="19" y="66"/>
                  <a:pt x="19" y="66"/>
                </a:cubicBezTo>
                <a:cubicBezTo>
                  <a:pt x="19" y="69"/>
                  <a:pt x="19" y="72"/>
                  <a:pt x="22" y="73"/>
                </a:cubicBezTo>
                <a:cubicBezTo>
                  <a:pt x="25" y="75"/>
                  <a:pt x="28" y="78"/>
                  <a:pt x="32" y="78"/>
                </a:cubicBezTo>
                <a:cubicBezTo>
                  <a:pt x="37" y="78"/>
                  <a:pt x="38" y="76"/>
                  <a:pt x="41" y="74"/>
                </a:cubicBezTo>
                <a:cubicBezTo>
                  <a:pt x="41" y="75"/>
                  <a:pt x="40" y="76"/>
                  <a:pt x="40" y="77"/>
                </a:cubicBezTo>
                <a:cubicBezTo>
                  <a:pt x="40" y="76"/>
                  <a:pt x="41" y="76"/>
                  <a:pt x="42" y="76"/>
                </a:cubicBezTo>
                <a:cubicBezTo>
                  <a:pt x="40" y="77"/>
                  <a:pt x="42" y="78"/>
                  <a:pt x="43" y="78"/>
                </a:cubicBezTo>
                <a:cubicBezTo>
                  <a:pt x="39" y="77"/>
                  <a:pt x="36" y="80"/>
                  <a:pt x="33" y="79"/>
                </a:cubicBezTo>
                <a:cubicBezTo>
                  <a:pt x="30" y="79"/>
                  <a:pt x="29" y="80"/>
                  <a:pt x="27" y="81"/>
                </a:cubicBezTo>
                <a:cubicBezTo>
                  <a:pt x="25" y="82"/>
                  <a:pt x="22" y="79"/>
                  <a:pt x="21" y="81"/>
                </a:cubicBezTo>
                <a:cubicBezTo>
                  <a:pt x="21" y="82"/>
                  <a:pt x="24" y="83"/>
                  <a:pt x="24" y="83"/>
                </a:cubicBezTo>
                <a:cubicBezTo>
                  <a:pt x="23" y="82"/>
                  <a:pt x="17" y="82"/>
                  <a:pt x="18" y="84"/>
                </a:cubicBezTo>
                <a:cubicBezTo>
                  <a:pt x="20" y="86"/>
                  <a:pt x="23" y="86"/>
                  <a:pt x="25" y="87"/>
                </a:cubicBezTo>
                <a:cubicBezTo>
                  <a:pt x="29" y="88"/>
                  <a:pt x="24" y="91"/>
                  <a:pt x="22" y="90"/>
                </a:cubicBezTo>
                <a:cubicBezTo>
                  <a:pt x="20" y="90"/>
                  <a:pt x="20" y="87"/>
                  <a:pt x="19" y="87"/>
                </a:cubicBezTo>
                <a:cubicBezTo>
                  <a:pt x="17" y="86"/>
                  <a:pt x="16" y="85"/>
                  <a:pt x="14" y="85"/>
                </a:cubicBezTo>
                <a:cubicBezTo>
                  <a:pt x="17" y="83"/>
                  <a:pt x="9" y="83"/>
                  <a:pt x="8" y="83"/>
                </a:cubicBezTo>
                <a:cubicBezTo>
                  <a:pt x="6" y="83"/>
                  <a:pt x="0" y="83"/>
                  <a:pt x="2" y="87"/>
                </a:cubicBezTo>
                <a:cubicBezTo>
                  <a:pt x="3" y="89"/>
                  <a:pt x="4" y="90"/>
                  <a:pt x="6" y="89"/>
                </a:cubicBezTo>
                <a:cubicBezTo>
                  <a:pt x="9" y="89"/>
                  <a:pt x="9" y="90"/>
                  <a:pt x="11" y="91"/>
                </a:cubicBezTo>
                <a:cubicBezTo>
                  <a:pt x="14" y="93"/>
                  <a:pt x="15" y="88"/>
                  <a:pt x="19" y="91"/>
                </a:cubicBezTo>
                <a:cubicBezTo>
                  <a:pt x="20" y="91"/>
                  <a:pt x="22" y="92"/>
                  <a:pt x="23" y="91"/>
                </a:cubicBezTo>
                <a:cubicBezTo>
                  <a:pt x="26" y="91"/>
                  <a:pt x="24" y="91"/>
                  <a:pt x="26" y="92"/>
                </a:cubicBezTo>
                <a:cubicBezTo>
                  <a:pt x="27" y="93"/>
                  <a:pt x="29" y="94"/>
                  <a:pt x="30" y="93"/>
                </a:cubicBezTo>
                <a:cubicBezTo>
                  <a:pt x="31" y="92"/>
                  <a:pt x="28" y="90"/>
                  <a:pt x="30" y="89"/>
                </a:cubicBezTo>
                <a:cubicBezTo>
                  <a:pt x="31" y="89"/>
                  <a:pt x="33" y="87"/>
                  <a:pt x="34" y="88"/>
                </a:cubicBezTo>
                <a:cubicBezTo>
                  <a:pt x="35" y="89"/>
                  <a:pt x="33" y="90"/>
                  <a:pt x="35" y="90"/>
                </a:cubicBezTo>
                <a:cubicBezTo>
                  <a:pt x="37" y="91"/>
                  <a:pt x="38" y="90"/>
                  <a:pt x="39" y="88"/>
                </a:cubicBezTo>
                <a:cubicBezTo>
                  <a:pt x="40" y="88"/>
                  <a:pt x="43" y="86"/>
                  <a:pt x="43" y="89"/>
                </a:cubicBezTo>
                <a:cubicBezTo>
                  <a:pt x="42" y="92"/>
                  <a:pt x="42" y="89"/>
                  <a:pt x="41" y="91"/>
                </a:cubicBezTo>
                <a:cubicBezTo>
                  <a:pt x="42" y="90"/>
                  <a:pt x="45" y="92"/>
                  <a:pt x="47" y="90"/>
                </a:cubicBezTo>
                <a:cubicBezTo>
                  <a:pt x="49" y="88"/>
                  <a:pt x="49" y="88"/>
                  <a:pt x="50" y="91"/>
                </a:cubicBezTo>
                <a:cubicBezTo>
                  <a:pt x="50" y="92"/>
                  <a:pt x="51" y="93"/>
                  <a:pt x="51" y="94"/>
                </a:cubicBezTo>
                <a:cubicBezTo>
                  <a:pt x="51" y="96"/>
                  <a:pt x="53" y="95"/>
                  <a:pt x="53" y="95"/>
                </a:cubicBezTo>
                <a:cubicBezTo>
                  <a:pt x="55" y="97"/>
                  <a:pt x="54" y="98"/>
                  <a:pt x="57" y="98"/>
                </a:cubicBezTo>
                <a:cubicBezTo>
                  <a:pt x="59" y="97"/>
                  <a:pt x="61" y="96"/>
                  <a:pt x="63" y="96"/>
                </a:cubicBezTo>
                <a:cubicBezTo>
                  <a:pt x="64" y="97"/>
                  <a:pt x="64" y="100"/>
                  <a:pt x="66" y="100"/>
                </a:cubicBezTo>
                <a:cubicBezTo>
                  <a:pt x="68" y="101"/>
                  <a:pt x="69" y="101"/>
                  <a:pt x="71" y="102"/>
                </a:cubicBezTo>
                <a:cubicBezTo>
                  <a:pt x="73" y="103"/>
                  <a:pt x="71" y="104"/>
                  <a:pt x="72" y="105"/>
                </a:cubicBezTo>
                <a:cubicBezTo>
                  <a:pt x="71" y="105"/>
                  <a:pt x="70" y="106"/>
                  <a:pt x="70" y="108"/>
                </a:cubicBezTo>
                <a:cubicBezTo>
                  <a:pt x="70" y="109"/>
                  <a:pt x="69" y="110"/>
                  <a:pt x="68" y="111"/>
                </a:cubicBezTo>
                <a:cubicBezTo>
                  <a:pt x="69" y="111"/>
                  <a:pt x="69" y="111"/>
                  <a:pt x="69" y="111"/>
                </a:cubicBezTo>
                <a:cubicBezTo>
                  <a:pt x="69" y="111"/>
                  <a:pt x="66" y="115"/>
                  <a:pt x="66" y="116"/>
                </a:cubicBezTo>
                <a:cubicBezTo>
                  <a:pt x="66" y="117"/>
                  <a:pt x="68" y="118"/>
                  <a:pt x="67" y="120"/>
                </a:cubicBezTo>
                <a:cubicBezTo>
                  <a:pt x="69" y="120"/>
                  <a:pt x="70" y="119"/>
                  <a:pt x="71" y="119"/>
                </a:cubicBezTo>
                <a:cubicBezTo>
                  <a:pt x="72" y="119"/>
                  <a:pt x="73" y="120"/>
                  <a:pt x="74" y="120"/>
                </a:cubicBezTo>
                <a:cubicBezTo>
                  <a:pt x="76" y="120"/>
                  <a:pt x="78" y="120"/>
                  <a:pt x="76" y="118"/>
                </a:cubicBezTo>
                <a:cubicBezTo>
                  <a:pt x="76" y="118"/>
                  <a:pt x="79" y="115"/>
                  <a:pt x="79" y="114"/>
                </a:cubicBezTo>
                <a:cubicBezTo>
                  <a:pt x="79" y="112"/>
                  <a:pt x="76" y="112"/>
                  <a:pt x="77" y="110"/>
                </a:cubicBezTo>
                <a:cubicBezTo>
                  <a:pt x="76" y="110"/>
                  <a:pt x="75" y="110"/>
                  <a:pt x="73" y="110"/>
                </a:cubicBezTo>
                <a:cubicBezTo>
                  <a:pt x="74" y="109"/>
                  <a:pt x="72" y="108"/>
                  <a:pt x="73" y="107"/>
                </a:cubicBezTo>
                <a:cubicBezTo>
                  <a:pt x="74" y="106"/>
                  <a:pt x="74" y="107"/>
                  <a:pt x="74" y="107"/>
                </a:cubicBezTo>
                <a:cubicBezTo>
                  <a:pt x="77" y="106"/>
                  <a:pt x="79" y="104"/>
                  <a:pt x="82" y="102"/>
                </a:cubicBezTo>
                <a:cubicBezTo>
                  <a:pt x="81" y="101"/>
                  <a:pt x="81" y="101"/>
                  <a:pt x="82" y="101"/>
                </a:cubicBezTo>
                <a:cubicBezTo>
                  <a:pt x="81" y="101"/>
                  <a:pt x="80" y="103"/>
                  <a:pt x="79" y="101"/>
                </a:cubicBezTo>
                <a:cubicBezTo>
                  <a:pt x="78" y="100"/>
                  <a:pt x="80" y="98"/>
                  <a:pt x="80" y="97"/>
                </a:cubicBezTo>
                <a:cubicBezTo>
                  <a:pt x="82" y="94"/>
                  <a:pt x="84" y="93"/>
                  <a:pt x="84" y="89"/>
                </a:cubicBezTo>
                <a:cubicBezTo>
                  <a:pt x="83" y="86"/>
                  <a:pt x="81" y="85"/>
                  <a:pt x="81" y="81"/>
                </a:cubicBezTo>
                <a:cubicBezTo>
                  <a:pt x="80" y="80"/>
                  <a:pt x="78" y="80"/>
                  <a:pt x="78" y="79"/>
                </a:cubicBezTo>
                <a:cubicBezTo>
                  <a:pt x="78" y="78"/>
                  <a:pt x="77" y="77"/>
                  <a:pt x="76" y="77"/>
                </a:cubicBezTo>
                <a:cubicBezTo>
                  <a:pt x="78" y="76"/>
                  <a:pt x="76" y="74"/>
                  <a:pt x="76" y="73"/>
                </a:cubicBezTo>
                <a:cubicBezTo>
                  <a:pt x="76" y="72"/>
                  <a:pt x="81" y="72"/>
                  <a:pt x="82" y="72"/>
                </a:cubicBezTo>
                <a:cubicBezTo>
                  <a:pt x="84" y="73"/>
                  <a:pt x="81" y="70"/>
                  <a:pt x="81" y="70"/>
                </a:cubicBezTo>
                <a:cubicBezTo>
                  <a:pt x="81" y="70"/>
                  <a:pt x="86" y="71"/>
                  <a:pt x="86" y="72"/>
                </a:cubicBezTo>
                <a:cubicBezTo>
                  <a:pt x="87" y="72"/>
                  <a:pt x="90" y="74"/>
                  <a:pt x="89" y="72"/>
                </a:cubicBezTo>
                <a:cubicBezTo>
                  <a:pt x="91" y="72"/>
                  <a:pt x="92" y="71"/>
                  <a:pt x="94" y="70"/>
                </a:cubicBezTo>
                <a:cubicBezTo>
                  <a:pt x="96" y="70"/>
                  <a:pt x="97" y="69"/>
                  <a:pt x="98" y="69"/>
                </a:cubicBezTo>
                <a:cubicBezTo>
                  <a:pt x="100" y="70"/>
                  <a:pt x="103" y="67"/>
                  <a:pt x="101" y="65"/>
                </a:cubicBezTo>
                <a:cubicBezTo>
                  <a:pt x="100" y="64"/>
                  <a:pt x="99" y="65"/>
                  <a:pt x="98" y="64"/>
                </a:cubicBezTo>
                <a:cubicBezTo>
                  <a:pt x="97" y="62"/>
                  <a:pt x="100" y="62"/>
                  <a:pt x="100" y="61"/>
                </a:cubicBezTo>
                <a:cubicBezTo>
                  <a:pt x="100" y="60"/>
                  <a:pt x="102" y="61"/>
                  <a:pt x="103" y="60"/>
                </a:cubicBezTo>
                <a:cubicBezTo>
                  <a:pt x="105" y="59"/>
                  <a:pt x="105" y="58"/>
                  <a:pt x="106" y="57"/>
                </a:cubicBezTo>
                <a:cubicBezTo>
                  <a:pt x="107" y="56"/>
                  <a:pt x="108" y="55"/>
                  <a:pt x="109" y="55"/>
                </a:cubicBezTo>
                <a:cubicBezTo>
                  <a:pt x="109" y="55"/>
                  <a:pt x="108" y="53"/>
                  <a:pt x="109" y="52"/>
                </a:cubicBezTo>
                <a:cubicBezTo>
                  <a:pt x="109" y="50"/>
                  <a:pt x="109" y="47"/>
                  <a:pt x="107" y="46"/>
                </a:cubicBezTo>
                <a:cubicBezTo>
                  <a:pt x="107" y="46"/>
                  <a:pt x="106" y="47"/>
                  <a:pt x="105" y="47"/>
                </a:cubicBezTo>
                <a:cubicBezTo>
                  <a:pt x="103" y="46"/>
                  <a:pt x="102" y="46"/>
                  <a:pt x="101" y="46"/>
                </a:cubicBezTo>
                <a:cubicBezTo>
                  <a:pt x="99" y="45"/>
                  <a:pt x="97" y="42"/>
                  <a:pt x="100" y="41"/>
                </a:cubicBezTo>
                <a:cubicBezTo>
                  <a:pt x="99" y="41"/>
                  <a:pt x="99" y="39"/>
                  <a:pt x="100" y="38"/>
                </a:cubicBezTo>
                <a:cubicBezTo>
                  <a:pt x="101" y="36"/>
                  <a:pt x="104" y="38"/>
                  <a:pt x="106" y="38"/>
                </a:cubicBezTo>
                <a:cubicBezTo>
                  <a:pt x="111" y="39"/>
                  <a:pt x="109" y="32"/>
                  <a:pt x="110" y="29"/>
                </a:cubicBezTo>
                <a:cubicBezTo>
                  <a:pt x="111" y="27"/>
                  <a:pt x="113" y="26"/>
                  <a:pt x="114" y="23"/>
                </a:cubicBezTo>
                <a:cubicBezTo>
                  <a:pt x="115" y="21"/>
                  <a:pt x="113" y="19"/>
                  <a:pt x="113" y="16"/>
                </a:cubicBezTo>
                <a:cubicBezTo>
                  <a:pt x="114" y="15"/>
                  <a:pt x="115" y="12"/>
                  <a:pt x="113" y="12"/>
                </a:cubicBezTo>
                <a:close/>
                <a:moveTo>
                  <a:pt x="74" y="44"/>
                </a:moveTo>
                <a:cubicBezTo>
                  <a:pt x="75" y="40"/>
                  <a:pt x="68" y="39"/>
                  <a:pt x="66" y="40"/>
                </a:cubicBezTo>
                <a:cubicBezTo>
                  <a:pt x="65" y="41"/>
                  <a:pt x="63" y="42"/>
                  <a:pt x="62" y="43"/>
                </a:cubicBezTo>
                <a:cubicBezTo>
                  <a:pt x="61" y="44"/>
                  <a:pt x="59" y="45"/>
                  <a:pt x="58" y="46"/>
                </a:cubicBezTo>
                <a:cubicBezTo>
                  <a:pt x="57" y="46"/>
                  <a:pt x="50" y="50"/>
                  <a:pt x="53" y="51"/>
                </a:cubicBezTo>
                <a:cubicBezTo>
                  <a:pt x="56" y="52"/>
                  <a:pt x="62" y="56"/>
                  <a:pt x="64" y="53"/>
                </a:cubicBezTo>
                <a:cubicBezTo>
                  <a:pt x="65" y="51"/>
                  <a:pt x="64" y="50"/>
                  <a:pt x="65" y="50"/>
                </a:cubicBezTo>
                <a:cubicBezTo>
                  <a:pt x="66" y="49"/>
                  <a:pt x="67" y="49"/>
                  <a:pt x="68" y="49"/>
                </a:cubicBezTo>
                <a:cubicBezTo>
                  <a:pt x="69" y="48"/>
                  <a:pt x="71" y="48"/>
                  <a:pt x="72" y="46"/>
                </a:cubicBezTo>
                <a:cubicBezTo>
                  <a:pt x="70" y="49"/>
                  <a:pt x="66" y="51"/>
                  <a:pt x="66" y="52"/>
                </a:cubicBezTo>
                <a:cubicBezTo>
                  <a:pt x="62" y="56"/>
                  <a:pt x="60" y="54"/>
                  <a:pt x="57" y="53"/>
                </a:cubicBezTo>
                <a:cubicBezTo>
                  <a:pt x="54" y="51"/>
                  <a:pt x="51" y="52"/>
                  <a:pt x="48" y="50"/>
                </a:cubicBezTo>
                <a:cubicBezTo>
                  <a:pt x="48" y="49"/>
                  <a:pt x="52" y="48"/>
                  <a:pt x="51" y="47"/>
                </a:cubicBezTo>
                <a:cubicBezTo>
                  <a:pt x="49" y="45"/>
                  <a:pt x="52" y="45"/>
                  <a:pt x="51" y="43"/>
                </a:cubicBezTo>
                <a:cubicBezTo>
                  <a:pt x="51" y="42"/>
                  <a:pt x="48" y="37"/>
                  <a:pt x="51" y="38"/>
                </a:cubicBezTo>
                <a:cubicBezTo>
                  <a:pt x="52" y="38"/>
                  <a:pt x="53" y="39"/>
                  <a:pt x="54" y="38"/>
                </a:cubicBezTo>
                <a:cubicBezTo>
                  <a:pt x="57" y="37"/>
                  <a:pt x="59" y="32"/>
                  <a:pt x="54" y="33"/>
                </a:cubicBezTo>
                <a:cubicBezTo>
                  <a:pt x="51" y="33"/>
                  <a:pt x="53" y="27"/>
                  <a:pt x="50" y="25"/>
                </a:cubicBezTo>
                <a:cubicBezTo>
                  <a:pt x="52" y="24"/>
                  <a:pt x="60" y="16"/>
                  <a:pt x="61" y="22"/>
                </a:cubicBezTo>
                <a:cubicBezTo>
                  <a:pt x="61" y="24"/>
                  <a:pt x="59" y="28"/>
                  <a:pt x="62" y="29"/>
                </a:cubicBezTo>
                <a:cubicBezTo>
                  <a:pt x="63" y="29"/>
                  <a:pt x="65" y="30"/>
                  <a:pt x="66" y="29"/>
                </a:cubicBezTo>
                <a:cubicBezTo>
                  <a:pt x="68" y="28"/>
                  <a:pt x="69" y="29"/>
                  <a:pt x="70" y="29"/>
                </a:cubicBezTo>
                <a:cubicBezTo>
                  <a:pt x="67" y="30"/>
                  <a:pt x="65" y="36"/>
                  <a:pt x="68" y="38"/>
                </a:cubicBezTo>
                <a:cubicBezTo>
                  <a:pt x="69" y="39"/>
                  <a:pt x="74" y="38"/>
                  <a:pt x="74" y="40"/>
                </a:cubicBezTo>
                <a:cubicBezTo>
                  <a:pt x="74" y="40"/>
                  <a:pt x="73" y="40"/>
                  <a:pt x="73" y="40"/>
                </a:cubicBezTo>
                <a:cubicBezTo>
                  <a:pt x="75" y="42"/>
                  <a:pt x="74" y="45"/>
                  <a:pt x="74" y="44"/>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44">
            <a:extLst>
              <a:ext uri="{FF2B5EF4-FFF2-40B4-BE49-F238E27FC236}">
                <a16:creationId xmlns:a16="http://schemas.microsoft.com/office/drawing/2014/main" id="{1F613896-0A96-4565-B760-99EEE92F4C4D}"/>
              </a:ext>
            </a:extLst>
          </p:cNvPr>
          <p:cNvSpPr>
            <a:spLocks/>
          </p:cNvSpPr>
          <p:nvPr/>
        </p:nvSpPr>
        <p:spPr bwMode="auto">
          <a:xfrm>
            <a:off x="2115540" y="4120474"/>
            <a:ext cx="38960" cy="14303"/>
          </a:xfrm>
          <a:custGeom>
            <a:avLst/>
            <a:gdLst>
              <a:gd name="T0" fmla="*/ 14 w 14"/>
              <a:gd name="T1" fmla="*/ 1 h 5"/>
              <a:gd name="T2" fmla="*/ 6 w 14"/>
              <a:gd name="T3" fmla="*/ 3 h 5"/>
              <a:gd name="T4" fmla="*/ 2 w 14"/>
              <a:gd name="T5" fmla="*/ 5 h 5"/>
              <a:gd name="T6" fmla="*/ 14 w 14"/>
              <a:gd name="T7" fmla="*/ 1 h 5"/>
            </a:gdLst>
            <a:ahLst/>
            <a:cxnLst>
              <a:cxn ang="0">
                <a:pos x="T0" y="T1"/>
              </a:cxn>
              <a:cxn ang="0">
                <a:pos x="T2" y="T3"/>
              </a:cxn>
              <a:cxn ang="0">
                <a:pos x="T4" y="T5"/>
              </a:cxn>
              <a:cxn ang="0">
                <a:pos x="T6" y="T7"/>
              </a:cxn>
            </a:cxnLst>
            <a:rect l="0" t="0" r="r" b="b"/>
            <a:pathLst>
              <a:path w="14" h="5">
                <a:moveTo>
                  <a:pt x="14" y="1"/>
                </a:moveTo>
                <a:cubicBezTo>
                  <a:pt x="14" y="0"/>
                  <a:pt x="7" y="3"/>
                  <a:pt x="6" y="3"/>
                </a:cubicBezTo>
                <a:cubicBezTo>
                  <a:pt x="6" y="3"/>
                  <a:pt x="0" y="4"/>
                  <a:pt x="2" y="5"/>
                </a:cubicBezTo>
                <a:cubicBezTo>
                  <a:pt x="3" y="5"/>
                  <a:pt x="13" y="2"/>
                  <a:pt x="14" y="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45">
            <a:extLst>
              <a:ext uri="{FF2B5EF4-FFF2-40B4-BE49-F238E27FC236}">
                <a16:creationId xmlns:a16="http://schemas.microsoft.com/office/drawing/2014/main" id="{EA9F76E2-F111-49A4-826A-84D2E13E9F3F}"/>
              </a:ext>
            </a:extLst>
          </p:cNvPr>
          <p:cNvSpPr>
            <a:spLocks/>
          </p:cNvSpPr>
          <p:nvPr/>
        </p:nvSpPr>
        <p:spPr bwMode="auto">
          <a:xfrm>
            <a:off x="1964422" y="4369580"/>
            <a:ext cx="73198" cy="27414"/>
          </a:xfrm>
          <a:custGeom>
            <a:avLst/>
            <a:gdLst>
              <a:gd name="T0" fmla="*/ 18 w 26"/>
              <a:gd name="T1" fmla="*/ 2 h 10"/>
              <a:gd name="T2" fmla="*/ 16 w 26"/>
              <a:gd name="T3" fmla="*/ 3 h 10"/>
              <a:gd name="T4" fmla="*/ 7 w 26"/>
              <a:gd name="T5" fmla="*/ 2 h 10"/>
              <a:gd name="T6" fmla="*/ 0 w 26"/>
              <a:gd name="T7" fmla="*/ 3 h 10"/>
              <a:gd name="T8" fmla="*/ 3 w 26"/>
              <a:gd name="T9" fmla="*/ 9 h 10"/>
              <a:gd name="T10" fmla="*/ 5 w 26"/>
              <a:gd name="T11" fmla="*/ 7 h 10"/>
              <a:gd name="T12" fmla="*/ 10 w 26"/>
              <a:gd name="T13" fmla="*/ 7 h 10"/>
              <a:gd name="T14" fmla="*/ 12 w 26"/>
              <a:gd name="T15" fmla="*/ 8 h 10"/>
              <a:gd name="T16" fmla="*/ 16 w 26"/>
              <a:gd name="T17" fmla="*/ 10 h 10"/>
              <a:gd name="T18" fmla="*/ 26 w 26"/>
              <a:gd name="T19" fmla="*/ 4 h 10"/>
              <a:gd name="T20" fmla="*/ 20 w 26"/>
              <a:gd name="T21" fmla="*/ 3 h 10"/>
              <a:gd name="T22" fmla="*/ 18 w 26"/>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0">
                <a:moveTo>
                  <a:pt x="18" y="2"/>
                </a:moveTo>
                <a:cubicBezTo>
                  <a:pt x="17" y="3"/>
                  <a:pt x="17" y="3"/>
                  <a:pt x="16" y="3"/>
                </a:cubicBezTo>
                <a:cubicBezTo>
                  <a:pt x="12" y="5"/>
                  <a:pt x="10" y="3"/>
                  <a:pt x="7" y="2"/>
                </a:cubicBezTo>
                <a:cubicBezTo>
                  <a:pt x="4" y="1"/>
                  <a:pt x="2" y="2"/>
                  <a:pt x="0" y="3"/>
                </a:cubicBezTo>
                <a:cubicBezTo>
                  <a:pt x="0" y="5"/>
                  <a:pt x="0" y="9"/>
                  <a:pt x="3" y="9"/>
                </a:cubicBezTo>
                <a:cubicBezTo>
                  <a:pt x="4" y="8"/>
                  <a:pt x="4" y="7"/>
                  <a:pt x="5" y="7"/>
                </a:cubicBezTo>
                <a:cubicBezTo>
                  <a:pt x="6" y="5"/>
                  <a:pt x="8" y="6"/>
                  <a:pt x="10" y="7"/>
                </a:cubicBezTo>
                <a:cubicBezTo>
                  <a:pt x="10" y="7"/>
                  <a:pt x="12" y="7"/>
                  <a:pt x="12" y="8"/>
                </a:cubicBezTo>
                <a:cubicBezTo>
                  <a:pt x="12" y="10"/>
                  <a:pt x="15" y="10"/>
                  <a:pt x="16" y="10"/>
                </a:cubicBezTo>
                <a:cubicBezTo>
                  <a:pt x="20" y="9"/>
                  <a:pt x="23" y="6"/>
                  <a:pt x="26" y="4"/>
                </a:cubicBezTo>
                <a:cubicBezTo>
                  <a:pt x="25" y="3"/>
                  <a:pt x="22" y="3"/>
                  <a:pt x="20" y="3"/>
                </a:cubicBezTo>
                <a:cubicBezTo>
                  <a:pt x="20" y="2"/>
                  <a:pt x="18" y="0"/>
                  <a:pt x="18" y="2"/>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46">
            <a:extLst>
              <a:ext uri="{FF2B5EF4-FFF2-40B4-BE49-F238E27FC236}">
                <a16:creationId xmlns:a16="http://schemas.microsoft.com/office/drawing/2014/main" id="{78D2B20C-473F-4C80-84F1-496515FCA36C}"/>
              </a:ext>
            </a:extLst>
          </p:cNvPr>
          <p:cNvSpPr>
            <a:spLocks/>
          </p:cNvSpPr>
          <p:nvPr/>
        </p:nvSpPr>
        <p:spPr bwMode="auto">
          <a:xfrm>
            <a:off x="2074219" y="4155039"/>
            <a:ext cx="30696" cy="25030"/>
          </a:xfrm>
          <a:custGeom>
            <a:avLst/>
            <a:gdLst>
              <a:gd name="T0" fmla="*/ 4 w 11"/>
              <a:gd name="T1" fmla="*/ 9 h 9"/>
              <a:gd name="T2" fmla="*/ 8 w 11"/>
              <a:gd name="T3" fmla="*/ 0 h 9"/>
              <a:gd name="T4" fmla="*/ 4 w 11"/>
              <a:gd name="T5" fmla="*/ 9 h 9"/>
            </a:gdLst>
            <a:ahLst/>
            <a:cxnLst>
              <a:cxn ang="0">
                <a:pos x="T0" y="T1"/>
              </a:cxn>
              <a:cxn ang="0">
                <a:pos x="T2" y="T3"/>
              </a:cxn>
              <a:cxn ang="0">
                <a:pos x="T4" y="T5"/>
              </a:cxn>
            </a:cxnLst>
            <a:rect l="0" t="0" r="r" b="b"/>
            <a:pathLst>
              <a:path w="11" h="9">
                <a:moveTo>
                  <a:pt x="4" y="9"/>
                </a:moveTo>
                <a:cubicBezTo>
                  <a:pt x="5" y="8"/>
                  <a:pt x="11" y="2"/>
                  <a:pt x="8" y="0"/>
                </a:cubicBezTo>
                <a:cubicBezTo>
                  <a:pt x="7" y="0"/>
                  <a:pt x="0" y="8"/>
                  <a:pt x="4" y="9"/>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47">
            <a:extLst>
              <a:ext uri="{FF2B5EF4-FFF2-40B4-BE49-F238E27FC236}">
                <a16:creationId xmlns:a16="http://schemas.microsoft.com/office/drawing/2014/main" id="{90FE0092-288C-42F4-8C15-1C01F82769D9}"/>
              </a:ext>
            </a:extLst>
          </p:cNvPr>
          <p:cNvSpPr>
            <a:spLocks/>
          </p:cNvSpPr>
          <p:nvPr/>
        </p:nvSpPr>
        <p:spPr bwMode="auto">
          <a:xfrm>
            <a:off x="2154501" y="4118091"/>
            <a:ext cx="30696" cy="8344"/>
          </a:xfrm>
          <a:custGeom>
            <a:avLst/>
            <a:gdLst>
              <a:gd name="T0" fmla="*/ 5 w 11"/>
              <a:gd name="T1" fmla="*/ 2 h 3"/>
              <a:gd name="T2" fmla="*/ 11 w 11"/>
              <a:gd name="T3" fmla="*/ 1 h 3"/>
              <a:gd name="T4" fmla="*/ 2 w 11"/>
              <a:gd name="T5" fmla="*/ 1 h 3"/>
              <a:gd name="T6" fmla="*/ 2 w 11"/>
              <a:gd name="T7" fmla="*/ 3 h 3"/>
              <a:gd name="T8" fmla="*/ 5 w 11"/>
              <a:gd name="T9" fmla="*/ 2 h 3"/>
            </a:gdLst>
            <a:ahLst/>
            <a:cxnLst>
              <a:cxn ang="0">
                <a:pos x="T0" y="T1"/>
              </a:cxn>
              <a:cxn ang="0">
                <a:pos x="T2" y="T3"/>
              </a:cxn>
              <a:cxn ang="0">
                <a:pos x="T4" y="T5"/>
              </a:cxn>
              <a:cxn ang="0">
                <a:pos x="T6" y="T7"/>
              </a:cxn>
              <a:cxn ang="0">
                <a:pos x="T8" y="T9"/>
              </a:cxn>
            </a:cxnLst>
            <a:rect l="0" t="0" r="r" b="b"/>
            <a:pathLst>
              <a:path w="11" h="3">
                <a:moveTo>
                  <a:pt x="5" y="2"/>
                </a:moveTo>
                <a:cubicBezTo>
                  <a:pt x="7" y="2"/>
                  <a:pt x="9" y="2"/>
                  <a:pt x="11" y="1"/>
                </a:cubicBezTo>
                <a:cubicBezTo>
                  <a:pt x="8" y="0"/>
                  <a:pt x="5" y="1"/>
                  <a:pt x="2" y="1"/>
                </a:cubicBezTo>
                <a:cubicBezTo>
                  <a:pt x="1" y="1"/>
                  <a:pt x="0" y="2"/>
                  <a:pt x="2" y="3"/>
                </a:cubicBezTo>
                <a:cubicBezTo>
                  <a:pt x="3" y="3"/>
                  <a:pt x="4" y="2"/>
                  <a:pt x="5" y="2"/>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48">
            <a:extLst>
              <a:ext uri="{FF2B5EF4-FFF2-40B4-BE49-F238E27FC236}">
                <a16:creationId xmlns:a16="http://schemas.microsoft.com/office/drawing/2014/main" id="{266982D8-553D-4170-87D4-50AA0F722BFB}"/>
              </a:ext>
            </a:extLst>
          </p:cNvPr>
          <p:cNvSpPr>
            <a:spLocks/>
          </p:cNvSpPr>
          <p:nvPr/>
        </p:nvSpPr>
        <p:spPr bwMode="auto">
          <a:xfrm>
            <a:off x="1984493" y="4329055"/>
            <a:ext cx="44863" cy="22646"/>
          </a:xfrm>
          <a:custGeom>
            <a:avLst/>
            <a:gdLst>
              <a:gd name="T0" fmla="*/ 7 w 16"/>
              <a:gd name="T1" fmla="*/ 3 h 8"/>
              <a:gd name="T2" fmla="*/ 15 w 16"/>
              <a:gd name="T3" fmla="*/ 5 h 8"/>
              <a:gd name="T4" fmla="*/ 10 w 16"/>
              <a:gd name="T5" fmla="*/ 1 h 8"/>
              <a:gd name="T6" fmla="*/ 3 w 16"/>
              <a:gd name="T7" fmla="*/ 1 h 8"/>
              <a:gd name="T8" fmla="*/ 7 w 16"/>
              <a:gd name="T9" fmla="*/ 3 h 8"/>
            </a:gdLst>
            <a:ahLst/>
            <a:cxnLst>
              <a:cxn ang="0">
                <a:pos x="T0" y="T1"/>
              </a:cxn>
              <a:cxn ang="0">
                <a:pos x="T2" y="T3"/>
              </a:cxn>
              <a:cxn ang="0">
                <a:pos x="T4" y="T5"/>
              </a:cxn>
              <a:cxn ang="0">
                <a:pos x="T6" y="T7"/>
              </a:cxn>
              <a:cxn ang="0">
                <a:pos x="T8" y="T9"/>
              </a:cxn>
            </a:cxnLst>
            <a:rect l="0" t="0" r="r" b="b"/>
            <a:pathLst>
              <a:path w="16" h="8">
                <a:moveTo>
                  <a:pt x="7" y="3"/>
                </a:moveTo>
                <a:cubicBezTo>
                  <a:pt x="9" y="5"/>
                  <a:pt x="12" y="8"/>
                  <a:pt x="15" y="5"/>
                </a:cubicBezTo>
                <a:cubicBezTo>
                  <a:pt x="16" y="4"/>
                  <a:pt x="10" y="1"/>
                  <a:pt x="10" y="1"/>
                </a:cubicBezTo>
                <a:cubicBezTo>
                  <a:pt x="8" y="1"/>
                  <a:pt x="5" y="0"/>
                  <a:pt x="3" y="1"/>
                </a:cubicBezTo>
                <a:cubicBezTo>
                  <a:pt x="0" y="4"/>
                  <a:pt x="7" y="3"/>
                  <a:pt x="7" y="3"/>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49">
            <a:extLst>
              <a:ext uri="{FF2B5EF4-FFF2-40B4-BE49-F238E27FC236}">
                <a16:creationId xmlns:a16="http://schemas.microsoft.com/office/drawing/2014/main" id="{C6C19188-EADF-4474-A57B-53A4F5A5409F}"/>
              </a:ext>
            </a:extLst>
          </p:cNvPr>
          <p:cNvSpPr>
            <a:spLocks/>
          </p:cNvSpPr>
          <p:nvPr/>
        </p:nvSpPr>
        <p:spPr bwMode="auto">
          <a:xfrm>
            <a:off x="2241866" y="4101404"/>
            <a:ext cx="10626" cy="8344"/>
          </a:xfrm>
          <a:custGeom>
            <a:avLst/>
            <a:gdLst>
              <a:gd name="T0" fmla="*/ 4 w 4"/>
              <a:gd name="T1" fmla="*/ 1 h 3"/>
              <a:gd name="T2" fmla="*/ 0 w 4"/>
              <a:gd name="T3" fmla="*/ 2 h 3"/>
              <a:gd name="T4" fmla="*/ 3 w 4"/>
              <a:gd name="T5" fmla="*/ 3 h 3"/>
              <a:gd name="T6" fmla="*/ 4 w 4"/>
              <a:gd name="T7" fmla="*/ 1 h 3"/>
            </a:gdLst>
            <a:ahLst/>
            <a:cxnLst>
              <a:cxn ang="0">
                <a:pos x="T0" y="T1"/>
              </a:cxn>
              <a:cxn ang="0">
                <a:pos x="T2" y="T3"/>
              </a:cxn>
              <a:cxn ang="0">
                <a:pos x="T4" y="T5"/>
              </a:cxn>
              <a:cxn ang="0">
                <a:pos x="T6" y="T7"/>
              </a:cxn>
            </a:cxnLst>
            <a:rect l="0" t="0" r="r" b="b"/>
            <a:pathLst>
              <a:path w="4" h="3">
                <a:moveTo>
                  <a:pt x="4" y="1"/>
                </a:moveTo>
                <a:cubicBezTo>
                  <a:pt x="3" y="0"/>
                  <a:pt x="0" y="2"/>
                  <a:pt x="0" y="2"/>
                </a:cubicBezTo>
                <a:cubicBezTo>
                  <a:pt x="1" y="3"/>
                  <a:pt x="2" y="3"/>
                  <a:pt x="3" y="3"/>
                </a:cubicBezTo>
                <a:cubicBezTo>
                  <a:pt x="2" y="2"/>
                  <a:pt x="4" y="1"/>
                  <a:pt x="4" y="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50">
            <a:extLst>
              <a:ext uri="{FF2B5EF4-FFF2-40B4-BE49-F238E27FC236}">
                <a16:creationId xmlns:a16="http://schemas.microsoft.com/office/drawing/2014/main" id="{C0B57F20-3104-4623-BF05-1AEA028F2AF0}"/>
              </a:ext>
            </a:extLst>
          </p:cNvPr>
          <p:cNvSpPr>
            <a:spLocks/>
          </p:cNvSpPr>
          <p:nvPr/>
        </p:nvSpPr>
        <p:spPr bwMode="auto">
          <a:xfrm>
            <a:off x="2154501" y="4524526"/>
            <a:ext cx="70836" cy="89392"/>
          </a:xfrm>
          <a:custGeom>
            <a:avLst/>
            <a:gdLst>
              <a:gd name="T0" fmla="*/ 24 w 25"/>
              <a:gd name="T1" fmla="*/ 17 h 32"/>
              <a:gd name="T2" fmla="*/ 23 w 25"/>
              <a:gd name="T3" fmla="*/ 16 h 32"/>
              <a:gd name="T4" fmla="*/ 21 w 25"/>
              <a:gd name="T5" fmla="*/ 16 h 32"/>
              <a:gd name="T6" fmla="*/ 18 w 25"/>
              <a:gd name="T7" fmla="*/ 13 h 32"/>
              <a:gd name="T8" fmla="*/ 14 w 25"/>
              <a:gd name="T9" fmla="*/ 9 h 32"/>
              <a:gd name="T10" fmla="*/ 14 w 25"/>
              <a:gd name="T11" fmla="*/ 10 h 32"/>
              <a:gd name="T12" fmla="*/ 12 w 25"/>
              <a:gd name="T13" fmla="*/ 4 h 32"/>
              <a:gd name="T14" fmla="*/ 12 w 25"/>
              <a:gd name="T15" fmla="*/ 0 h 32"/>
              <a:gd name="T16" fmla="*/ 10 w 25"/>
              <a:gd name="T17" fmla="*/ 0 h 32"/>
              <a:gd name="T18" fmla="*/ 8 w 25"/>
              <a:gd name="T19" fmla="*/ 1 h 32"/>
              <a:gd name="T20" fmla="*/ 6 w 25"/>
              <a:gd name="T21" fmla="*/ 3 h 32"/>
              <a:gd name="T22" fmla="*/ 4 w 25"/>
              <a:gd name="T23" fmla="*/ 7 h 32"/>
              <a:gd name="T24" fmla="*/ 4 w 25"/>
              <a:gd name="T25" fmla="*/ 9 h 32"/>
              <a:gd name="T26" fmla="*/ 2 w 25"/>
              <a:gd name="T27" fmla="*/ 10 h 32"/>
              <a:gd name="T28" fmla="*/ 2 w 25"/>
              <a:gd name="T29" fmla="*/ 13 h 32"/>
              <a:gd name="T30" fmla="*/ 1 w 25"/>
              <a:gd name="T31" fmla="*/ 15 h 32"/>
              <a:gd name="T32" fmla="*/ 2 w 25"/>
              <a:gd name="T33" fmla="*/ 17 h 32"/>
              <a:gd name="T34" fmla="*/ 3 w 25"/>
              <a:gd name="T35" fmla="*/ 20 h 32"/>
              <a:gd name="T36" fmla="*/ 5 w 25"/>
              <a:gd name="T37" fmla="*/ 20 h 32"/>
              <a:gd name="T38" fmla="*/ 5 w 25"/>
              <a:gd name="T39" fmla="*/ 22 h 32"/>
              <a:gd name="T40" fmla="*/ 5 w 25"/>
              <a:gd name="T41" fmla="*/ 24 h 32"/>
              <a:gd name="T42" fmla="*/ 4 w 25"/>
              <a:gd name="T43" fmla="*/ 26 h 32"/>
              <a:gd name="T44" fmla="*/ 3 w 25"/>
              <a:gd name="T45" fmla="*/ 28 h 32"/>
              <a:gd name="T46" fmla="*/ 6 w 25"/>
              <a:gd name="T47" fmla="*/ 30 h 32"/>
              <a:gd name="T48" fmla="*/ 9 w 25"/>
              <a:gd name="T49" fmla="*/ 32 h 32"/>
              <a:gd name="T50" fmla="*/ 12 w 25"/>
              <a:gd name="T51" fmla="*/ 31 h 32"/>
              <a:gd name="T52" fmla="*/ 14 w 25"/>
              <a:gd name="T53" fmla="*/ 30 h 32"/>
              <a:gd name="T54" fmla="*/ 19 w 25"/>
              <a:gd name="T55" fmla="*/ 31 h 32"/>
              <a:gd name="T56" fmla="*/ 20 w 25"/>
              <a:gd name="T57" fmla="*/ 26 h 32"/>
              <a:gd name="T58" fmla="*/ 22 w 25"/>
              <a:gd name="T59" fmla="*/ 23 h 32"/>
              <a:gd name="T60" fmla="*/ 21 w 25"/>
              <a:gd name="T61" fmla="*/ 22 h 32"/>
              <a:gd name="T62" fmla="*/ 24 w 25"/>
              <a:gd name="T63" fmla="*/ 20 h 32"/>
              <a:gd name="T64" fmla="*/ 24 w 25"/>
              <a:gd name="T65"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32">
                <a:moveTo>
                  <a:pt x="24" y="17"/>
                </a:moveTo>
                <a:cubicBezTo>
                  <a:pt x="24" y="16"/>
                  <a:pt x="25" y="17"/>
                  <a:pt x="23" y="16"/>
                </a:cubicBezTo>
                <a:cubicBezTo>
                  <a:pt x="23" y="16"/>
                  <a:pt x="22" y="16"/>
                  <a:pt x="21" y="16"/>
                </a:cubicBezTo>
                <a:cubicBezTo>
                  <a:pt x="20" y="15"/>
                  <a:pt x="19" y="14"/>
                  <a:pt x="18" y="13"/>
                </a:cubicBezTo>
                <a:cubicBezTo>
                  <a:pt x="16" y="12"/>
                  <a:pt x="16" y="11"/>
                  <a:pt x="14" y="9"/>
                </a:cubicBezTo>
                <a:cubicBezTo>
                  <a:pt x="14" y="9"/>
                  <a:pt x="14" y="10"/>
                  <a:pt x="14" y="10"/>
                </a:cubicBezTo>
                <a:cubicBezTo>
                  <a:pt x="13" y="8"/>
                  <a:pt x="13" y="5"/>
                  <a:pt x="12" y="4"/>
                </a:cubicBezTo>
                <a:cubicBezTo>
                  <a:pt x="12" y="3"/>
                  <a:pt x="13" y="0"/>
                  <a:pt x="12" y="0"/>
                </a:cubicBezTo>
                <a:cubicBezTo>
                  <a:pt x="11" y="1"/>
                  <a:pt x="10" y="2"/>
                  <a:pt x="10" y="0"/>
                </a:cubicBezTo>
                <a:cubicBezTo>
                  <a:pt x="9" y="0"/>
                  <a:pt x="8" y="0"/>
                  <a:pt x="8" y="1"/>
                </a:cubicBezTo>
                <a:cubicBezTo>
                  <a:pt x="7" y="2"/>
                  <a:pt x="6" y="3"/>
                  <a:pt x="6" y="3"/>
                </a:cubicBezTo>
                <a:cubicBezTo>
                  <a:pt x="5" y="4"/>
                  <a:pt x="4" y="6"/>
                  <a:pt x="4" y="7"/>
                </a:cubicBezTo>
                <a:cubicBezTo>
                  <a:pt x="3" y="8"/>
                  <a:pt x="4" y="8"/>
                  <a:pt x="4" y="9"/>
                </a:cubicBezTo>
                <a:cubicBezTo>
                  <a:pt x="3" y="10"/>
                  <a:pt x="2" y="9"/>
                  <a:pt x="2" y="10"/>
                </a:cubicBezTo>
                <a:cubicBezTo>
                  <a:pt x="1" y="11"/>
                  <a:pt x="0" y="13"/>
                  <a:pt x="2" y="13"/>
                </a:cubicBezTo>
                <a:cubicBezTo>
                  <a:pt x="1" y="14"/>
                  <a:pt x="1" y="14"/>
                  <a:pt x="1" y="15"/>
                </a:cubicBezTo>
                <a:cubicBezTo>
                  <a:pt x="1" y="17"/>
                  <a:pt x="2" y="16"/>
                  <a:pt x="2" y="17"/>
                </a:cubicBezTo>
                <a:cubicBezTo>
                  <a:pt x="2" y="18"/>
                  <a:pt x="3" y="19"/>
                  <a:pt x="3" y="20"/>
                </a:cubicBezTo>
                <a:cubicBezTo>
                  <a:pt x="4" y="20"/>
                  <a:pt x="4" y="20"/>
                  <a:pt x="5" y="20"/>
                </a:cubicBezTo>
                <a:cubicBezTo>
                  <a:pt x="5" y="21"/>
                  <a:pt x="5" y="23"/>
                  <a:pt x="5" y="22"/>
                </a:cubicBezTo>
                <a:cubicBezTo>
                  <a:pt x="5" y="23"/>
                  <a:pt x="5" y="24"/>
                  <a:pt x="5" y="24"/>
                </a:cubicBezTo>
                <a:cubicBezTo>
                  <a:pt x="5" y="25"/>
                  <a:pt x="5" y="25"/>
                  <a:pt x="4" y="26"/>
                </a:cubicBezTo>
                <a:cubicBezTo>
                  <a:pt x="4" y="27"/>
                  <a:pt x="3" y="28"/>
                  <a:pt x="3" y="28"/>
                </a:cubicBezTo>
                <a:cubicBezTo>
                  <a:pt x="4" y="29"/>
                  <a:pt x="4" y="30"/>
                  <a:pt x="6" y="30"/>
                </a:cubicBezTo>
                <a:cubicBezTo>
                  <a:pt x="8" y="30"/>
                  <a:pt x="7" y="32"/>
                  <a:pt x="9" y="32"/>
                </a:cubicBezTo>
                <a:cubicBezTo>
                  <a:pt x="10" y="32"/>
                  <a:pt x="11" y="31"/>
                  <a:pt x="12" y="31"/>
                </a:cubicBezTo>
                <a:cubicBezTo>
                  <a:pt x="13" y="30"/>
                  <a:pt x="13" y="30"/>
                  <a:pt x="14" y="30"/>
                </a:cubicBezTo>
                <a:cubicBezTo>
                  <a:pt x="16" y="29"/>
                  <a:pt x="17" y="31"/>
                  <a:pt x="19" y="31"/>
                </a:cubicBezTo>
                <a:cubicBezTo>
                  <a:pt x="19" y="29"/>
                  <a:pt x="20" y="28"/>
                  <a:pt x="20" y="26"/>
                </a:cubicBezTo>
                <a:cubicBezTo>
                  <a:pt x="20" y="26"/>
                  <a:pt x="21" y="25"/>
                  <a:pt x="22" y="23"/>
                </a:cubicBezTo>
                <a:cubicBezTo>
                  <a:pt x="22" y="23"/>
                  <a:pt x="21" y="22"/>
                  <a:pt x="21" y="22"/>
                </a:cubicBezTo>
                <a:cubicBezTo>
                  <a:pt x="22" y="21"/>
                  <a:pt x="24" y="20"/>
                  <a:pt x="24" y="20"/>
                </a:cubicBezTo>
                <a:cubicBezTo>
                  <a:pt x="23" y="19"/>
                  <a:pt x="24" y="18"/>
                  <a:pt x="24" y="17"/>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51">
            <a:extLst>
              <a:ext uri="{FF2B5EF4-FFF2-40B4-BE49-F238E27FC236}">
                <a16:creationId xmlns:a16="http://schemas.microsoft.com/office/drawing/2014/main" id="{5C42D869-76FB-44C5-A28D-92CAEE35C07C}"/>
              </a:ext>
            </a:extLst>
          </p:cNvPr>
          <p:cNvSpPr>
            <a:spLocks/>
          </p:cNvSpPr>
          <p:nvPr/>
        </p:nvSpPr>
        <p:spPr bwMode="auto">
          <a:xfrm>
            <a:off x="2168668" y="4814156"/>
            <a:ext cx="391962" cy="253873"/>
          </a:xfrm>
          <a:custGeom>
            <a:avLst/>
            <a:gdLst>
              <a:gd name="T0" fmla="*/ 137 w 140"/>
              <a:gd name="T1" fmla="*/ 48 h 90"/>
              <a:gd name="T2" fmla="*/ 138 w 140"/>
              <a:gd name="T3" fmla="*/ 44 h 90"/>
              <a:gd name="T4" fmla="*/ 133 w 140"/>
              <a:gd name="T5" fmla="*/ 40 h 90"/>
              <a:gd name="T6" fmla="*/ 130 w 140"/>
              <a:gd name="T7" fmla="*/ 43 h 90"/>
              <a:gd name="T8" fmla="*/ 122 w 140"/>
              <a:gd name="T9" fmla="*/ 41 h 90"/>
              <a:gd name="T10" fmla="*/ 120 w 140"/>
              <a:gd name="T11" fmla="*/ 36 h 90"/>
              <a:gd name="T12" fmla="*/ 108 w 140"/>
              <a:gd name="T13" fmla="*/ 34 h 90"/>
              <a:gd name="T14" fmla="*/ 108 w 140"/>
              <a:gd name="T15" fmla="*/ 27 h 90"/>
              <a:gd name="T16" fmla="*/ 113 w 140"/>
              <a:gd name="T17" fmla="*/ 17 h 90"/>
              <a:gd name="T18" fmla="*/ 110 w 140"/>
              <a:gd name="T19" fmla="*/ 13 h 90"/>
              <a:gd name="T20" fmla="*/ 92 w 140"/>
              <a:gd name="T21" fmla="*/ 8 h 90"/>
              <a:gd name="T22" fmla="*/ 87 w 140"/>
              <a:gd name="T23" fmla="*/ 7 h 90"/>
              <a:gd name="T24" fmla="*/ 84 w 140"/>
              <a:gd name="T25" fmla="*/ 3 h 90"/>
              <a:gd name="T26" fmla="*/ 80 w 140"/>
              <a:gd name="T27" fmla="*/ 2 h 90"/>
              <a:gd name="T28" fmla="*/ 78 w 140"/>
              <a:gd name="T29" fmla="*/ 8 h 90"/>
              <a:gd name="T30" fmla="*/ 80 w 140"/>
              <a:gd name="T31" fmla="*/ 11 h 90"/>
              <a:gd name="T32" fmla="*/ 70 w 140"/>
              <a:gd name="T33" fmla="*/ 10 h 90"/>
              <a:gd name="T34" fmla="*/ 57 w 140"/>
              <a:gd name="T35" fmla="*/ 11 h 90"/>
              <a:gd name="T36" fmla="*/ 53 w 140"/>
              <a:gd name="T37" fmla="*/ 10 h 90"/>
              <a:gd name="T38" fmla="*/ 46 w 140"/>
              <a:gd name="T39" fmla="*/ 15 h 90"/>
              <a:gd name="T40" fmla="*/ 39 w 140"/>
              <a:gd name="T41" fmla="*/ 18 h 90"/>
              <a:gd name="T42" fmla="*/ 32 w 140"/>
              <a:gd name="T43" fmla="*/ 15 h 90"/>
              <a:gd name="T44" fmla="*/ 29 w 140"/>
              <a:gd name="T45" fmla="*/ 21 h 90"/>
              <a:gd name="T46" fmla="*/ 31 w 140"/>
              <a:gd name="T47" fmla="*/ 25 h 90"/>
              <a:gd name="T48" fmla="*/ 23 w 140"/>
              <a:gd name="T49" fmla="*/ 34 h 90"/>
              <a:gd name="T50" fmla="*/ 15 w 140"/>
              <a:gd name="T51" fmla="*/ 44 h 90"/>
              <a:gd name="T52" fmla="*/ 10 w 140"/>
              <a:gd name="T53" fmla="*/ 50 h 90"/>
              <a:gd name="T54" fmla="*/ 5 w 140"/>
              <a:gd name="T55" fmla="*/ 57 h 90"/>
              <a:gd name="T56" fmla="*/ 5 w 140"/>
              <a:gd name="T57" fmla="*/ 66 h 90"/>
              <a:gd name="T58" fmla="*/ 1 w 140"/>
              <a:gd name="T59" fmla="*/ 71 h 90"/>
              <a:gd name="T60" fmla="*/ 4 w 140"/>
              <a:gd name="T61" fmla="*/ 74 h 90"/>
              <a:gd name="T62" fmla="*/ 10 w 140"/>
              <a:gd name="T63" fmla="*/ 70 h 90"/>
              <a:gd name="T64" fmla="*/ 24 w 140"/>
              <a:gd name="T65" fmla="*/ 61 h 90"/>
              <a:gd name="T66" fmla="*/ 26 w 140"/>
              <a:gd name="T67" fmla="*/ 68 h 90"/>
              <a:gd name="T68" fmla="*/ 27 w 140"/>
              <a:gd name="T69" fmla="*/ 76 h 90"/>
              <a:gd name="T70" fmla="*/ 29 w 140"/>
              <a:gd name="T71" fmla="*/ 78 h 90"/>
              <a:gd name="T72" fmla="*/ 38 w 140"/>
              <a:gd name="T73" fmla="*/ 86 h 90"/>
              <a:gd name="T74" fmla="*/ 49 w 140"/>
              <a:gd name="T75" fmla="*/ 82 h 90"/>
              <a:gd name="T76" fmla="*/ 54 w 140"/>
              <a:gd name="T77" fmla="*/ 84 h 90"/>
              <a:gd name="T78" fmla="*/ 61 w 140"/>
              <a:gd name="T79" fmla="*/ 81 h 90"/>
              <a:gd name="T80" fmla="*/ 67 w 140"/>
              <a:gd name="T81" fmla="*/ 72 h 90"/>
              <a:gd name="T82" fmla="*/ 71 w 140"/>
              <a:gd name="T83" fmla="*/ 65 h 90"/>
              <a:gd name="T84" fmla="*/ 77 w 140"/>
              <a:gd name="T85" fmla="*/ 64 h 90"/>
              <a:gd name="T86" fmla="*/ 80 w 140"/>
              <a:gd name="T87" fmla="*/ 73 h 90"/>
              <a:gd name="T88" fmla="*/ 88 w 140"/>
              <a:gd name="T89" fmla="*/ 82 h 90"/>
              <a:gd name="T90" fmla="*/ 95 w 140"/>
              <a:gd name="T91" fmla="*/ 87 h 90"/>
              <a:gd name="T92" fmla="*/ 98 w 140"/>
              <a:gd name="T93" fmla="*/ 73 h 90"/>
              <a:gd name="T94" fmla="*/ 101 w 140"/>
              <a:gd name="T95" fmla="*/ 60 h 90"/>
              <a:gd name="T96" fmla="*/ 107 w 140"/>
              <a:gd name="T97" fmla="*/ 59 h 90"/>
              <a:gd name="T98" fmla="*/ 109 w 140"/>
              <a:gd name="T99" fmla="*/ 67 h 90"/>
              <a:gd name="T100" fmla="*/ 122 w 140"/>
              <a:gd name="T101" fmla="*/ 65 h 90"/>
              <a:gd name="T102" fmla="*/ 126 w 140"/>
              <a:gd name="T103" fmla="*/ 71 h 90"/>
              <a:gd name="T104" fmla="*/ 127 w 140"/>
              <a:gd name="T105" fmla="*/ 66 h 90"/>
              <a:gd name="T106" fmla="*/ 126 w 140"/>
              <a:gd name="T107" fmla="*/ 62 h 90"/>
              <a:gd name="T108" fmla="*/ 133 w 140"/>
              <a:gd name="T109"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 h="90">
                <a:moveTo>
                  <a:pt x="139" y="54"/>
                </a:moveTo>
                <a:cubicBezTo>
                  <a:pt x="137" y="51"/>
                  <a:pt x="135" y="52"/>
                  <a:pt x="137" y="48"/>
                </a:cubicBezTo>
                <a:cubicBezTo>
                  <a:pt x="137" y="48"/>
                  <a:pt x="137" y="47"/>
                  <a:pt x="137" y="46"/>
                </a:cubicBezTo>
                <a:cubicBezTo>
                  <a:pt x="137" y="45"/>
                  <a:pt x="138" y="45"/>
                  <a:pt x="138" y="44"/>
                </a:cubicBezTo>
                <a:cubicBezTo>
                  <a:pt x="138" y="43"/>
                  <a:pt x="139" y="40"/>
                  <a:pt x="138" y="39"/>
                </a:cubicBezTo>
                <a:cubicBezTo>
                  <a:pt x="136" y="36"/>
                  <a:pt x="135" y="36"/>
                  <a:pt x="133" y="40"/>
                </a:cubicBezTo>
                <a:cubicBezTo>
                  <a:pt x="133" y="40"/>
                  <a:pt x="131" y="39"/>
                  <a:pt x="131" y="41"/>
                </a:cubicBezTo>
                <a:cubicBezTo>
                  <a:pt x="131" y="42"/>
                  <a:pt x="131" y="42"/>
                  <a:pt x="130" y="43"/>
                </a:cubicBezTo>
                <a:cubicBezTo>
                  <a:pt x="129" y="43"/>
                  <a:pt x="128" y="43"/>
                  <a:pt x="126" y="43"/>
                </a:cubicBezTo>
                <a:cubicBezTo>
                  <a:pt x="125" y="42"/>
                  <a:pt x="124" y="41"/>
                  <a:pt x="122" y="41"/>
                </a:cubicBezTo>
                <a:cubicBezTo>
                  <a:pt x="122" y="40"/>
                  <a:pt x="121" y="40"/>
                  <a:pt x="120" y="40"/>
                </a:cubicBezTo>
                <a:cubicBezTo>
                  <a:pt x="119" y="39"/>
                  <a:pt x="121" y="37"/>
                  <a:pt x="120" y="36"/>
                </a:cubicBezTo>
                <a:cubicBezTo>
                  <a:pt x="119" y="35"/>
                  <a:pt x="117" y="35"/>
                  <a:pt x="116" y="35"/>
                </a:cubicBezTo>
                <a:cubicBezTo>
                  <a:pt x="114" y="34"/>
                  <a:pt x="110" y="33"/>
                  <a:pt x="108" y="34"/>
                </a:cubicBezTo>
                <a:cubicBezTo>
                  <a:pt x="108" y="33"/>
                  <a:pt x="109" y="33"/>
                  <a:pt x="109" y="31"/>
                </a:cubicBezTo>
                <a:cubicBezTo>
                  <a:pt x="108" y="29"/>
                  <a:pt x="108" y="28"/>
                  <a:pt x="108" y="27"/>
                </a:cubicBezTo>
                <a:cubicBezTo>
                  <a:pt x="109" y="25"/>
                  <a:pt x="111" y="23"/>
                  <a:pt x="112" y="21"/>
                </a:cubicBezTo>
                <a:cubicBezTo>
                  <a:pt x="113" y="21"/>
                  <a:pt x="114" y="18"/>
                  <a:pt x="113" y="17"/>
                </a:cubicBezTo>
                <a:cubicBezTo>
                  <a:pt x="113" y="16"/>
                  <a:pt x="111" y="16"/>
                  <a:pt x="111" y="15"/>
                </a:cubicBezTo>
                <a:cubicBezTo>
                  <a:pt x="110" y="14"/>
                  <a:pt x="111" y="14"/>
                  <a:pt x="110" y="13"/>
                </a:cubicBezTo>
                <a:cubicBezTo>
                  <a:pt x="107" y="9"/>
                  <a:pt x="102" y="8"/>
                  <a:pt x="98" y="7"/>
                </a:cubicBezTo>
                <a:cubicBezTo>
                  <a:pt x="96" y="7"/>
                  <a:pt x="94" y="7"/>
                  <a:pt x="92" y="8"/>
                </a:cubicBezTo>
                <a:cubicBezTo>
                  <a:pt x="91" y="8"/>
                  <a:pt x="88" y="6"/>
                  <a:pt x="89" y="6"/>
                </a:cubicBezTo>
                <a:cubicBezTo>
                  <a:pt x="88" y="5"/>
                  <a:pt x="86" y="4"/>
                  <a:pt x="87" y="7"/>
                </a:cubicBezTo>
                <a:cubicBezTo>
                  <a:pt x="86" y="6"/>
                  <a:pt x="86" y="6"/>
                  <a:pt x="85" y="6"/>
                </a:cubicBezTo>
                <a:cubicBezTo>
                  <a:pt x="85" y="4"/>
                  <a:pt x="86" y="4"/>
                  <a:pt x="84" y="3"/>
                </a:cubicBezTo>
                <a:cubicBezTo>
                  <a:pt x="84" y="2"/>
                  <a:pt x="83" y="1"/>
                  <a:pt x="82" y="3"/>
                </a:cubicBezTo>
                <a:cubicBezTo>
                  <a:pt x="82" y="2"/>
                  <a:pt x="80" y="0"/>
                  <a:pt x="80" y="2"/>
                </a:cubicBezTo>
                <a:cubicBezTo>
                  <a:pt x="78" y="3"/>
                  <a:pt x="77" y="3"/>
                  <a:pt x="76" y="5"/>
                </a:cubicBezTo>
                <a:cubicBezTo>
                  <a:pt x="76" y="7"/>
                  <a:pt x="75" y="8"/>
                  <a:pt x="78" y="8"/>
                </a:cubicBezTo>
                <a:cubicBezTo>
                  <a:pt x="79" y="8"/>
                  <a:pt x="81" y="6"/>
                  <a:pt x="82" y="8"/>
                </a:cubicBezTo>
                <a:cubicBezTo>
                  <a:pt x="82" y="8"/>
                  <a:pt x="81" y="10"/>
                  <a:pt x="80" y="11"/>
                </a:cubicBezTo>
                <a:cubicBezTo>
                  <a:pt x="80" y="7"/>
                  <a:pt x="77" y="10"/>
                  <a:pt x="78" y="11"/>
                </a:cubicBezTo>
                <a:cubicBezTo>
                  <a:pt x="75" y="12"/>
                  <a:pt x="73" y="10"/>
                  <a:pt x="70" y="10"/>
                </a:cubicBezTo>
                <a:cubicBezTo>
                  <a:pt x="68" y="9"/>
                  <a:pt x="66" y="12"/>
                  <a:pt x="63" y="12"/>
                </a:cubicBezTo>
                <a:cubicBezTo>
                  <a:pt x="61" y="12"/>
                  <a:pt x="59" y="10"/>
                  <a:pt x="57" y="11"/>
                </a:cubicBezTo>
                <a:cubicBezTo>
                  <a:pt x="55" y="12"/>
                  <a:pt x="54" y="14"/>
                  <a:pt x="51" y="12"/>
                </a:cubicBezTo>
                <a:cubicBezTo>
                  <a:pt x="52" y="12"/>
                  <a:pt x="53" y="11"/>
                  <a:pt x="53" y="10"/>
                </a:cubicBezTo>
                <a:cubicBezTo>
                  <a:pt x="52" y="10"/>
                  <a:pt x="48" y="12"/>
                  <a:pt x="48" y="13"/>
                </a:cubicBezTo>
                <a:cubicBezTo>
                  <a:pt x="48" y="16"/>
                  <a:pt x="46" y="14"/>
                  <a:pt x="46" y="15"/>
                </a:cubicBezTo>
                <a:cubicBezTo>
                  <a:pt x="45" y="15"/>
                  <a:pt x="46" y="16"/>
                  <a:pt x="46" y="16"/>
                </a:cubicBezTo>
                <a:cubicBezTo>
                  <a:pt x="44" y="17"/>
                  <a:pt x="41" y="18"/>
                  <a:pt x="39" y="18"/>
                </a:cubicBezTo>
                <a:cubicBezTo>
                  <a:pt x="37" y="18"/>
                  <a:pt x="40" y="14"/>
                  <a:pt x="36" y="15"/>
                </a:cubicBezTo>
                <a:cubicBezTo>
                  <a:pt x="35" y="15"/>
                  <a:pt x="33" y="14"/>
                  <a:pt x="32" y="15"/>
                </a:cubicBezTo>
                <a:cubicBezTo>
                  <a:pt x="31" y="15"/>
                  <a:pt x="33" y="16"/>
                  <a:pt x="32" y="17"/>
                </a:cubicBezTo>
                <a:cubicBezTo>
                  <a:pt x="32" y="17"/>
                  <a:pt x="28" y="21"/>
                  <a:pt x="29" y="21"/>
                </a:cubicBezTo>
                <a:cubicBezTo>
                  <a:pt x="30" y="21"/>
                  <a:pt x="34" y="20"/>
                  <a:pt x="34" y="22"/>
                </a:cubicBezTo>
                <a:cubicBezTo>
                  <a:pt x="34" y="24"/>
                  <a:pt x="30" y="23"/>
                  <a:pt x="31" y="25"/>
                </a:cubicBezTo>
                <a:cubicBezTo>
                  <a:pt x="31" y="26"/>
                  <a:pt x="29" y="28"/>
                  <a:pt x="28" y="30"/>
                </a:cubicBezTo>
                <a:cubicBezTo>
                  <a:pt x="26" y="31"/>
                  <a:pt x="24" y="33"/>
                  <a:pt x="23" y="34"/>
                </a:cubicBezTo>
                <a:cubicBezTo>
                  <a:pt x="21" y="38"/>
                  <a:pt x="19" y="36"/>
                  <a:pt x="16" y="39"/>
                </a:cubicBezTo>
                <a:cubicBezTo>
                  <a:pt x="14" y="40"/>
                  <a:pt x="17" y="42"/>
                  <a:pt x="15" y="44"/>
                </a:cubicBezTo>
                <a:cubicBezTo>
                  <a:pt x="14" y="45"/>
                  <a:pt x="16" y="46"/>
                  <a:pt x="15" y="47"/>
                </a:cubicBezTo>
                <a:cubicBezTo>
                  <a:pt x="14" y="49"/>
                  <a:pt x="12" y="49"/>
                  <a:pt x="10" y="50"/>
                </a:cubicBezTo>
                <a:cubicBezTo>
                  <a:pt x="9" y="51"/>
                  <a:pt x="7" y="53"/>
                  <a:pt x="6" y="54"/>
                </a:cubicBezTo>
                <a:cubicBezTo>
                  <a:pt x="5" y="55"/>
                  <a:pt x="6" y="56"/>
                  <a:pt x="5" y="57"/>
                </a:cubicBezTo>
                <a:cubicBezTo>
                  <a:pt x="5" y="59"/>
                  <a:pt x="4" y="59"/>
                  <a:pt x="4" y="61"/>
                </a:cubicBezTo>
                <a:cubicBezTo>
                  <a:pt x="3" y="63"/>
                  <a:pt x="6" y="63"/>
                  <a:pt x="5" y="66"/>
                </a:cubicBezTo>
                <a:cubicBezTo>
                  <a:pt x="5" y="67"/>
                  <a:pt x="5" y="68"/>
                  <a:pt x="4" y="69"/>
                </a:cubicBezTo>
                <a:cubicBezTo>
                  <a:pt x="4" y="70"/>
                  <a:pt x="1" y="70"/>
                  <a:pt x="1" y="71"/>
                </a:cubicBezTo>
                <a:cubicBezTo>
                  <a:pt x="0" y="72"/>
                  <a:pt x="1" y="74"/>
                  <a:pt x="0" y="75"/>
                </a:cubicBezTo>
                <a:cubicBezTo>
                  <a:pt x="1" y="74"/>
                  <a:pt x="2" y="74"/>
                  <a:pt x="4" y="74"/>
                </a:cubicBezTo>
                <a:cubicBezTo>
                  <a:pt x="5" y="74"/>
                  <a:pt x="6" y="74"/>
                  <a:pt x="7" y="73"/>
                </a:cubicBezTo>
                <a:cubicBezTo>
                  <a:pt x="7" y="73"/>
                  <a:pt x="10" y="70"/>
                  <a:pt x="10" y="70"/>
                </a:cubicBezTo>
                <a:cubicBezTo>
                  <a:pt x="6" y="67"/>
                  <a:pt x="9" y="64"/>
                  <a:pt x="12" y="63"/>
                </a:cubicBezTo>
                <a:cubicBezTo>
                  <a:pt x="16" y="61"/>
                  <a:pt x="20" y="60"/>
                  <a:pt x="24" y="61"/>
                </a:cubicBezTo>
                <a:cubicBezTo>
                  <a:pt x="25" y="62"/>
                  <a:pt x="26" y="63"/>
                  <a:pt x="25" y="64"/>
                </a:cubicBezTo>
                <a:cubicBezTo>
                  <a:pt x="25" y="66"/>
                  <a:pt x="25" y="66"/>
                  <a:pt x="26" y="68"/>
                </a:cubicBezTo>
                <a:cubicBezTo>
                  <a:pt x="27" y="70"/>
                  <a:pt x="25" y="71"/>
                  <a:pt x="25" y="73"/>
                </a:cubicBezTo>
                <a:cubicBezTo>
                  <a:pt x="25" y="75"/>
                  <a:pt x="26" y="75"/>
                  <a:pt x="27" y="76"/>
                </a:cubicBezTo>
                <a:cubicBezTo>
                  <a:pt x="28" y="76"/>
                  <a:pt x="28" y="78"/>
                  <a:pt x="28" y="78"/>
                </a:cubicBezTo>
                <a:cubicBezTo>
                  <a:pt x="27" y="80"/>
                  <a:pt x="29" y="78"/>
                  <a:pt x="29" y="78"/>
                </a:cubicBezTo>
                <a:cubicBezTo>
                  <a:pt x="31" y="79"/>
                  <a:pt x="31" y="81"/>
                  <a:pt x="32" y="83"/>
                </a:cubicBezTo>
                <a:cubicBezTo>
                  <a:pt x="33" y="86"/>
                  <a:pt x="36" y="87"/>
                  <a:pt x="38" y="86"/>
                </a:cubicBezTo>
                <a:cubicBezTo>
                  <a:pt x="40" y="85"/>
                  <a:pt x="43" y="85"/>
                  <a:pt x="45" y="84"/>
                </a:cubicBezTo>
                <a:cubicBezTo>
                  <a:pt x="46" y="84"/>
                  <a:pt x="48" y="81"/>
                  <a:pt x="49" y="82"/>
                </a:cubicBezTo>
                <a:cubicBezTo>
                  <a:pt x="51" y="83"/>
                  <a:pt x="52" y="82"/>
                  <a:pt x="53" y="84"/>
                </a:cubicBezTo>
                <a:cubicBezTo>
                  <a:pt x="54" y="84"/>
                  <a:pt x="54" y="84"/>
                  <a:pt x="54" y="84"/>
                </a:cubicBezTo>
                <a:cubicBezTo>
                  <a:pt x="55" y="84"/>
                  <a:pt x="58" y="85"/>
                  <a:pt x="58" y="84"/>
                </a:cubicBezTo>
                <a:cubicBezTo>
                  <a:pt x="59" y="82"/>
                  <a:pt x="59" y="82"/>
                  <a:pt x="61" y="81"/>
                </a:cubicBezTo>
                <a:cubicBezTo>
                  <a:pt x="64" y="81"/>
                  <a:pt x="62" y="78"/>
                  <a:pt x="64" y="77"/>
                </a:cubicBezTo>
                <a:cubicBezTo>
                  <a:pt x="65" y="76"/>
                  <a:pt x="67" y="75"/>
                  <a:pt x="67" y="72"/>
                </a:cubicBezTo>
                <a:cubicBezTo>
                  <a:pt x="67" y="71"/>
                  <a:pt x="64" y="69"/>
                  <a:pt x="66" y="68"/>
                </a:cubicBezTo>
                <a:cubicBezTo>
                  <a:pt x="68" y="67"/>
                  <a:pt x="69" y="67"/>
                  <a:pt x="71" y="65"/>
                </a:cubicBezTo>
                <a:cubicBezTo>
                  <a:pt x="72" y="63"/>
                  <a:pt x="72" y="61"/>
                  <a:pt x="74" y="61"/>
                </a:cubicBezTo>
                <a:cubicBezTo>
                  <a:pt x="76" y="60"/>
                  <a:pt x="77" y="62"/>
                  <a:pt x="77" y="64"/>
                </a:cubicBezTo>
                <a:cubicBezTo>
                  <a:pt x="77" y="65"/>
                  <a:pt x="76" y="68"/>
                  <a:pt x="76" y="70"/>
                </a:cubicBezTo>
                <a:cubicBezTo>
                  <a:pt x="76" y="71"/>
                  <a:pt x="79" y="72"/>
                  <a:pt x="80" y="73"/>
                </a:cubicBezTo>
                <a:cubicBezTo>
                  <a:pt x="82" y="77"/>
                  <a:pt x="84" y="76"/>
                  <a:pt x="86" y="77"/>
                </a:cubicBezTo>
                <a:cubicBezTo>
                  <a:pt x="90" y="78"/>
                  <a:pt x="85" y="80"/>
                  <a:pt x="88" y="82"/>
                </a:cubicBezTo>
                <a:cubicBezTo>
                  <a:pt x="90" y="84"/>
                  <a:pt x="92" y="86"/>
                  <a:pt x="90" y="89"/>
                </a:cubicBezTo>
                <a:cubicBezTo>
                  <a:pt x="92" y="87"/>
                  <a:pt x="94" y="90"/>
                  <a:pt x="95" y="87"/>
                </a:cubicBezTo>
                <a:cubicBezTo>
                  <a:pt x="96" y="84"/>
                  <a:pt x="93" y="84"/>
                  <a:pt x="93" y="82"/>
                </a:cubicBezTo>
                <a:cubicBezTo>
                  <a:pt x="93" y="79"/>
                  <a:pt x="96" y="75"/>
                  <a:pt x="98" y="73"/>
                </a:cubicBezTo>
                <a:cubicBezTo>
                  <a:pt x="100" y="71"/>
                  <a:pt x="102" y="69"/>
                  <a:pt x="102" y="66"/>
                </a:cubicBezTo>
                <a:cubicBezTo>
                  <a:pt x="102" y="64"/>
                  <a:pt x="101" y="62"/>
                  <a:pt x="101" y="60"/>
                </a:cubicBezTo>
                <a:cubicBezTo>
                  <a:pt x="102" y="57"/>
                  <a:pt x="105" y="60"/>
                  <a:pt x="105" y="60"/>
                </a:cubicBezTo>
                <a:cubicBezTo>
                  <a:pt x="106" y="60"/>
                  <a:pt x="107" y="59"/>
                  <a:pt x="107" y="59"/>
                </a:cubicBezTo>
                <a:cubicBezTo>
                  <a:pt x="108" y="61"/>
                  <a:pt x="107" y="62"/>
                  <a:pt x="107" y="64"/>
                </a:cubicBezTo>
                <a:cubicBezTo>
                  <a:pt x="108" y="65"/>
                  <a:pt x="108" y="66"/>
                  <a:pt x="109" y="67"/>
                </a:cubicBezTo>
                <a:cubicBezTo>
                  <a:pt x="111" y="69"/>
                  <a:pt x="114" y="68"/>
                  <a:pt x="116" y="66"/>
                </a:cubicBezTo>
                <a:cubicBezTo>
                  <a:pt x="116" y="65"/>
                  <a:pt x="121" y="64"/>
                  <a:pt x="122" y="65"/>
                </a:cubicBezTo>
                <a:cubicBezTo>
                  <a:pt x="124" y="65"/>
                  <a:pt x="123" y="67"/>
                  <a:pt x="124" y="68"/>
                </a:cubicBezTo>
                <a:cubicBezTo>
                  <a:pt x="124" y="69"/>
                  <a:pt x="125" y="70"/>
                  <a:pt x="126" y="71"/>
                </a:cubicBezTo>
                <a:cubicBezTo>
                  <a:pt x="127" y="72"/>
                  <a:pt x="129" y="71"/>
                  <a:pt x="129" y="69"/>
                </a:cubicBezTo>
                <a:cubicBezTo>
                  <a:pt x="129" y="68"/>
                  <a:pt x="127" y="68"/>
                  <a:pt x="127" y="66"/>
                </a:cubicBezTo>
                <a:cubicBezTo>
                  <a:pt x="127" y="65"/>
                  <a:pt x="128" y="64"/>
                  <a:pt x="129" y="63"/>
                </a:cubicBezTo>
                <a:cubicBezTo>
                  <a:pt x="129" y="62"/>
                  <a:pt x="127" y="62"/>
                  <a:pt x="126" y="62"/>
                </a:cubicBezTo>
                <a:cubicBezTo>
                  <a:pt x="123" y="61"/>
                  <a:pt x="127" y="55"/>
                  <a:pt x="128" y="54"/>
                </a:cubicBezTo>
                <a:cubicBezTo>
                  <a:pt x="131" y="51"/>
                  <a:pt x="131" y="54"/>
                  <a:pt x="133" y="56"/>
                </a:cubicBezTo>
                <a:cubicBezTo>
                  <a:pt x="135" y="58"/>
                  <a:pt x="140" y="57"/>
                  <a:pt x="139" y="54"/>
                </a:cubicBezTo>
                <a:close/>
              </a:path>
            </a:pathLst>
          </a:custGeom>
          <a:solidFill>
            <a:srgbClr val="D9D9D9"/>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52">
            <a:extLst>
              <a:ext uri="{FF2B5EF4-FFF2-40B4-BE49-F238E27FC236}">
                <a16:creationId xmlns:a16="http://schemas.microsoft.com/office/drawing/2014/main" id="{A3C93724-E18B-4FC9-A331-6621959A2E6B}"/>
              </a:ext>
            </a:extLst>
          </p:cNvPr>
          <p:cNvSpPr>
            <a:spLocks noEditPoints="1"/>
          </p:cNvSpPr>
          <p:nvPr/>
        </p:nvSpPr>
        <p:spPr bwMode="auto">
          <a:xfrm>
            <a:off x="2221795" y="4904740"/>
            <a:ext cx="1050741" cy="1162095"/>
          </a:xfrm>
          <a:custGeom>
            <a:avLst/>
            <a:gdLst>
              <a:gd name="T0" fmla="*/ 330 w 376"/>
              <a:gd name="T1" fmla="*/ 270 h 412"/>
              <a:gd name="T2" fmla="*/ 300 w 376"/>
              <a:gd name="T3" fmla="*/ 238 h 412"/>
              <a:gd name="T4" fmla="*/ 248 w 376"/>
              <a:gd name="T5" fmla="*/ 217 h 412"/>
              <a:gd name="T6" fmla="*/ 219 w 376"/>
              <a:gd name="T7" fmla="*/ 161 h 412"/>
              <a:gd name="T8" fmla="*/ 181 w 376"/>
              <a:gd name="T9" fmla="*/ 131 h 412"/>
              <a:gd name="T10" fmla="*/ 181 w 376"/>
              <a:gd name="T11" fmla="*/ 102 h 412"/>
              <a:gd name="T12" fmla="*/ 176 w 376"/>
              <a:gd name="T13" fmla="*/ 90 h 412"/>
              <a:gd name="T14" fmla="*/ 174 w 376"/>
              <a:gd name="T15" fmla="*/ 79 h 412"/>
              <a:gd name="T16" fmla="*/ 184 w 376"/>
              <a:gd name="T17" fmla="*/ 69 h 412"/>
              <a:gd name="T18" fmla="*/ 204 w 376"/>
              <a:gd name="T19" fmla="*/ 60 h 412"/>
              <a:gd name="T20" fmla="*/ 220 w 376"/>
              <a:gd name="T21" fmla="*/ 67 h 412"/>
              <a:gd name="T22" fmla="*/ 213 w 376"/>
              <a:gd name="T23" fmla="*/ 50 h 412"/>
              <a:gd name="T24" fmla="*/ 210 w 376"/>
              <a:gd name="T25" fmla="*/ 35 h 412"/>
              <a:gd name="T26" fmla="*/ 200 w 376"/>
              <a:gd name="T27" fmla="*/ 22 h 412"/>
              <a:gd name="T28" fmla="*/ 172 w 376"/>
              <a:gd name="T29" fmla="*/ 9 h 412"/>
              <a:gd name="T30" fmla="*/ 148 w 376"/>
              <a:gd name="T31" fmla="*/ 6 h 412"/>
              <a:gd name="T32" fmla="*/ 128 w 376"/>
              <a:gd name="T33" fmla="*/ 12 h 412"/>
              <a:gd name="T34" fmla="*/ 118 w 376"/>
              <a:gd name="T35" fmla="*/ 25 h 412"/>
              <a:gd name="T36" fmla="*/ 110 w 376"/>
              <a:gd name="T37" fmla="*/ 32 h 412"/>
              <a:gd name="T38" fmla="*/ 96 w 376"/>
              <a:gd name="T39" fmla="*/ 35 h 412"/>
              <a:gd name="T40" fmla="*/ 83 w 376"/>
              <a:gd name="T41" fmla="*/ 33 h 412"/>
              <a:gd name="T42" fmla="*/ 71 w 376"/>
              <a:gd name="T43" fmla="*/ 57 h 412"/>
              <a:gd name="T44" fmla="*/ 58 w 376"/>
              <a:gd name="T45" fmla="*/ 33 h 412"/>
              <a:gd name="T46" fmla="*/ 44 w 376"/>
              <a:gd name="T47" fmla="*/ 47 h 412"/>
              <a:gd name="T48" fmla="*/ 18 w 376"/>
              <a:gd name="T49" fmla="*/ 54 h 412"/>
              <a:gd name="T50" fmla="*/ 12 w 376"/>
              <a:gd name="T51" fmla="*/ 68 h 412"/>
              <a:gd name="T52" fmla="*/ 4 w 376"/>
              <a:gd name="T53" fmla="*/ 87 h 412"/>
              <a:gd name="T54" fmla="*/ 10 w 376"/>
              <a:gd name="T55" fmla="*/ 111 h 412"/>
              <a:gd name="T56" fmla="*/ 31 w 376"/>
              <a:gd name="T57" fmla="*/ 130 h 412"/>
              <a:gd name="T58" fmla="*/ 42 w 376"/>
              <a:gd name="T59" fmla="*/ 145 h 412"/>
              <a:gd name="T60" fmla="*/ 59 w 376"/>
              <a:gd name="T61" fmla="*/ 123 h 412"/>
              <a:gd name="T62" fmla="*/ 100 w 376"/>
              <a:gd name="T63" fmla="*/ 136 h 412"/>
              <a:gd name="T64" fmla="*/ 116 w 376"/>
              <a:gd name="T65" fmla="*/ 162 h 412"/>
              <a:gd name="T66" fmla="*/ 128 w 376"/>
              <a:gd name="T67" fmla="*/ 191 h 412"/>
              <a:gd name="T68" fmla="*/ 139 w 376"/>
              <a:gd name="T69" fmla="*/ 209 h 412"/>
              <a:gd name="T70" fmla="*/ 167 w 376"/>
              <a:gd name="T71" fmla="*/ 227 h 412"/>
              <a:gd name="T72" fmla="*/ 199 w 376"/>
              <a:gd name="T73" fmla="*/ 258 h 412"/>
              <a:gd name="T74" fmla="*/ 227 w 376"/>
              <a:gd name="T75" fmla="*/ 266 h 412"/>
              <a:gd name="T76" fmla="*/ 246 w 376"/>
              <a:gd name="T77" fmla="*/ 287 h 412"/>
              <a:gd name="T78" fmla="*/ 255 w 376"/>
              <a:gd name="T79" fmla="*/ 287 h 412"/>
              <a:gd name="T80" fmla="*/ 273 w 376"/>
              <a:gd name="T81" fmla="*/ 316 h 412"/>
              <a:gd name="T82" fmla="*/ 291 w 376"/>
              <a:gd name="T83" fmla="*/ 332 h 412"/>
              <a:gd name="T84" fmla="*/ 301 w 376"/>
              <a:gd name="T85" fmla="*/ 375 h 412"/>
              <a:gd name="T86" fmla="*/ 286 w 376"/>
              <a:gd name="T87" fmla="*/ 399 h 412"/>
              <a:gd name="T88" fmla="*/ 302 w 376"/>
              <a:gd name="T89" fmla="*/ 404 h 412"/>
              <a:gd name="T90" fmla="*/ 329 w 376"/>
              <a:gd name="T91" fmla="*/ 366 h 412"/>
              <a:gd name="T92" fmla="*/ 333 w 376"/>
              <a:gd name="T93" fmla="*/ 345 h 412"/>
              <a:gd name="T94" fmla="*/ 315 w 376"/>
              <a:gd name="T95" fmla="*/ 321 h 412"/>
              <a:gd name="T96" fmla="*/ 334 w 376"/>
              <a:gd name="T97" fmla="*/ 296 h 412"/>
              <a:gd name="T98" fmla="*/ 342 w 376"/>
              <a:gd name="T99" fmla="*/ 303 h 412"/>
              <a:gd name="T100" fmla="*/ 373 w 376"/>
              <a:gd name="T101" fmla="*/ 318 h 412"/>
              <a:gd name="T102" fmla="*/ 183 w 376"/>
              <a:gd name="T103" fmla="*/ 14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6" h="412">
                <a:moveTo>
                  <a:pt x="372" y="303"/>
                </a:moveTo>
                <a:cubicBezTo>
                  <a:pt x="370" y="301"/>
                  <a:pt x="368" y="298"/>
                  <a:pt x="365" y="296"/>
                </a:cubicBezTo>
                <a:cubicBezTo>
                  <a:pt x="363" y="295"/>
                  <a:pt x="361" y="294"/>
                  <a:pt x="360" y="291"/>
                </a:cubicBezTo>
                <a:cubicBezTo>
                  <a:pt x="359" y="286"/>
                  <a:pt x="351" y="284"/>
                  <a:pt x="347" y="282"/>
                </a:cubicBezTo>
                <a:cubicBezTo>
                  <a:pt x="340" y="280"/>
                  <a:pt x="337" y="273"/>
                  <a:pt x="330" y="270"/>
                </a:cubicBezTo>
                <a:cubicBezTo>
                  <a:pt x="326" y="268"/>
                  <a:pt x="321" y="266"/>
                  <a:pt x="317" y="264"/>
                </a:cubicBezTo>
                <a:cubicBezTo>
                  <a:pt x="314" y="263"/>
                  <a:pt x="312" y="262"/>
                  <a:pt x="309" y="260"/>
                </a:cubicBezTo>
                <a:cubicBezTo>
                  <a:pt x="305" y="258"/>
                  <a:pt x="300" y="256"/>
                  <a:pt x="296" y="254"/>
                </a:cubicBezTo>
                <a:cubicBezTo>
                  <a:pt x="294" y="252"/>
                  <a:pt x="289" y="249"/>
                  <a:pt x="291" y="245"/>
                </a:cubicBezTo>
                <a:cubicBezTo>
                  <a:pt x="293" y="242"/>
                  <a:pt x="298" y="241"/>
                  <a:pt x="300" y="238"/>
                </a:cubicBezTo>
                <a:cubicBezTo>
                  <a:pt x="304" y="227"/>
                  <a:pt x="285" y="231"/>
                  <a:pt x="282" y="231"/>
                </a:cubicBezTo>
                <a:cubicBezTo>
                  <a:pt x="279" y="231"/>
                  <a:pt x="275" y="232"/>
                  <a:pt x="271" y="232"/>
                </a:cubicBezTo>
                <a:cubicBezTo>
                  <a:pt x="269" y="231"/>
                  <a:pt x="266" y="231"/>
                  <a:pt x="264" y="229"/>
                </a:cubicBezTo>
                <a:cubicBezTo>
                  <a:pt x="260" y="226"/>
                  <a:pt x="255" y="226"/>
                  <a:pt x="253" y="221"/>
                </a:cubicBezTo>
                <a:cubicBezTo>
                  <a:pt x="253" y="219"/>
                  <a:pt x="250" y="218"/>
                  <a:pt x="248" y="217"/>
                </a:cubicBezTo>
                <a:cubicBezTo>
                  <a:pt x="246" y="215"/>
                  <a:pt x="245" y="212"/>
                  <a:pt x="243" y="211"/>
                </a:cubicBezTo>
                <a:cubicBezTo>
                  <a:pt x="239" y="208"/>
                  <a:pt x="235" y="204"/>
                  <a:pt x="232" y="199"/>
                </a:cubicBezTo>
                <a:cubicBezTo>
                  <a:pt x="229" y="194"/>
                  <a:pt x="227" y="188"/>
                  <a:pt x="226" y="182"/>
                </a:cubicBezTo>
                <a:cubicBezTo>
                  <a:pt x="225" y="178"/>
                  <a:pt x="224" y="174"/>
                  <a:pt x="223" y="171"/>
                </a:cubicBezTo>
                <a:cubicBezTo>
                  <a:pt x="221" y="168"/>
                  <a:pt x="219" y="164"/>
                  <a:pt x="219" y="161"/>
                </a:cubicBezTo>
                <a:cubicBezTo>
                  <a:pt x="217" y="154"/>
                  <a:pt x="212" y="156"/>
                  <a:pt x="208" y="153"/>
                </a:cubicBezTo>
                <a:cubicBezTo>
                  <a:pt x="205" y="150"/>
                  <a:pt x="202" y="147"/>
                  <a:pt x="199" y="145"/>
                </a:cubicBezTo>
                <a:cubicBezTo>
                  <a:pt x="198" y="143"/>
                  <a:pt x="196" y="142"/>
                  <a:pt x="194" y="141"/>
                </a:cubicBezTo>
                <a:cubicBezTo>
                  <a:pt x="191" y="140"/>
                  <a:pt x="189" y="139"/>
                  <a:pt x="187" y="137"/>
                </a:cubicBezTo>
                <a:cubicBezTo>
                  <a:pt x="185" y="135"/>
                  <a:pt x="183" y="133"/>
                  <a:pt x="181" y="131"/>
                </a:cubicBezTo>
                <a:cubicBezTo>
                  <a:pt x="178" y="126"/>
                  <a:pt x="176" y="120"/>
                  <a:pt x="176" y="114"/>
                </a:cubicBezTo>
                <a:cubicBezTo>
                  <a:pt x="176" y="113"/>
                  <a:pt x="174" y="99"/>
                  <a:pt x="177" y="102"/>
                </a:cubicBezTo>
                <a:cubicBezTo>
                  <a:pt x="178" y="102"/>
                  <a:pt x="179" y="104"/>
                  <a:pt x="180" y="103"/>
                </a:cubicBezTo>
                <a:cubicBezTo>
                  <a:pt x="180" y="101"/>
                  <a:pt x="178" y="99"/>
                  <a:pt x="180" y="98"/>
                </a:cubicBezTo>
                <a:cubicBezTo>
                  <a:pt x="180" y="98"/>
                  <a:pt x="180" y="101"/>
                  <a:pt x="181" y="102"/>
                </a:cubicBezTo>
                <a:cubicBezTo>
                  <a:pt x="182" y="100"/>
                  <a:pt x="182" y="98"/>
                  <a:pt x="183" y="96"/>
                </a:cubicBezTo>
                <a:cubicBezTo>
                  <a:pt x="184" y="95"/>
                  <a:pt x="183" y="94"/>
                  <a:pt x="182" y="95"/>
                </a:cubicBezTo>
                <a:cubicBezTo>
                  <a:pt x="182" y="95"/>
                  <a:pt x="178" y="91"/>
                  <a:pt x="178" y="91"/>
                </a:cubicBezTo>
                <a:cubicBezTo>
                  <a:pt x="178" y="91"/>
                  <a:pt x="179" y="93"/>
                  <a:pt x="179" y="93"/>
                </a:cubicBezTo>
                <a:cubicBezTo>
                  <a:pt x="179" y="93"/>
                  <a:pt x="176" y="89"/>
                  <a:pt x="176" y="90"/>
                </a:cubicBezTo>
                <a:cubicBezTo>
                  <a:pt x="176" y="89"/>
                  <a:pt x="177" y="88"/>
                  <a:pt x="177" y="87"/>
                </a:cubicBezTo>
                <a:cubicBezTo>
                  <a:pt x="176" y="86"/>
                  <a:pt x="176" y="85"/>
                  <a:pt x="176" y="83"/>
                </a:cubicBezTo>
                <a:cubicBezTo>
                  <a:pt x="173" y="87"/>
                  <a:pt x="175" y="82"/>
                  <a:pt x="173" y="81"/>
                </a:cubicBezTo>
                <a:cubicBezTo>
                  <a:pt x="173" y="84"/>
                  <a:pt x="171" y="80"/>
                  <a:pt x="172" y="80"/>
                </a:cubicBezTo>
                <a:cubicBezTo>
                  <a:pt x="172" y="79"/>
                  <a:pt x="173" y="81"/>
                  <a:pt x="174" y="79"/>
                </a:cubicBezTo>
                <a:cubicBezTo>
                  <a:pt x="174" y="78"/>
                  <a:pt x="174" y="76"/>
                  <a:pt x="175" y="75"/>
                </a:cubicBezTo>
                <a:cubicBezTo>
                  <a:pt x="175" y="71"/>
                  <a:pt x="178" y="73"/>
                  <a:pt x="180" y="71"/>
                </a:cubicBezTo>
                <a:cubicBezTo>
                  <a:pt x="179" y="71"/>
                  <a:pt x="178" y="71"/>
                  <a:pt x="179" y="70"/>
                </a:cubicBezTo>
                <a:cubicBezTo>
                  <a:pt x="180" y="72"/>
                  <a:pt x="180" y="70"/>
                  <a:pt x="181" y="69"/>
                </a:cubicBezTo>
                <a:cubicBezTo>
                  <a:pt x="183" y="68"/>
                  <a:pt x="183" y="70"/>
                  <a:pt x="184" y="69"/>
                </a:cubicBezTo>
                <a:cubicBezTo>
                  <a:pt x="183" y="72"/>
                  <a:pt x="180" y="71"/>
                  <a:pt x="179" y="74"/>
                </a:cubicBezTo>
                <a:cubicBezTo>
                  <a:pt x="184" y="73"/>
                  <a:pt x="188" y="70"/>
                  <a:pt x="192" y="68"/>
                </a:cubicBezTo>
                <a:cubicBezTo>
                  <a:pt x="196" y="66"/>
                  <a:pt x="199" y="66"/>
                  <a:pt x="202" y="63"/>
                </a:cubicBezTo>
                <a:cubicBezTo>
                  <a:pt x="199" y="64"/>
                  <a:pt x="200" y="62"/>
                  <a:pt x="201" y="60"/>
                </a:cubicBezTo>
                <a:cubicBezTo>
                  <a:pt x="201" y="60"/>
                  <a:pt x="203" y="60"/>
                  <a:pt x="204" y="60"/>
                </a:cubicBezTo>
                <a:cubicBezTo>
                  <a:pt x="205" y="60"/>
                  <a:pt x="213" y="63"/>
                  <a:pt x="209" y="63"/>
                </a:cubicBezTo>
                <a:cubicBezTo>
                  <a:pt x="211" y="64"/>
                  <a:pt x="213" y="62"/>
                  <a:pt x="214" y="61"/>
                </a:cubicBezTo>
                <a:cubicBezTo>
                  <a:pt x="212" y="60"/>
                  <a:pt x="216" y="58"/>
                  <a:pt x="218" y="61"/>
                </a:cubicBezTo>
                <a:cubicBezTo>
                  <a:pt x="219" y="62"/>
                  <a:pt x="221" y="65"/>
                  <a:pt x="222" y="66"/>
                </a:cubicBezTo>
                <a:cubicBezTo>
                  <a:pt x="221" y="67"/>
                  <a:pt x="220" y="66"/>
                  <a:pt x="220" y="67"/>
                </a:cubicBezTo>
                <a:cubicBezTo>
                  <a:pt x="221" y="67"/>
                  <a:pt x="224" y="69"/>
                  <a:pt x="225" y="66"/>
                </a:cubicBezTo>
                <a:cubicBezTo>
                  <a:pt x="226" y="65"/>
                  <a:pt x="223" y="62"/>
                  <a:pt x="222" y="61"/>
                </a:cubicBezTo>
                <a:cubicBezTo>
                  <a:pt x="221" y="59"/>
                  <a:pt x="214" y="58"/>
                  <a:pt x="215" y="55"/>
                </a:cubicBezTo>
                <a:cubicBezTo>
                  <a:pt x="216" y="54"/>
                  <a:pt x="218" y="50"/>
                  <a:pt x="216" y="50"/>
                </a:cubicBezTo>
                <a:cubicBezTo>
                  <a:pt x="215" y="50"/>
                  <a:pt x="214" y="51"/>
                  <a:pt x="213" y="50"/>
                </a:cubicBezTo>
                <a:cubicBezTo>
                  <a:pt x="210" y="48"/>
                  <a:pt x="217" y="43"/>
                  <a:pt x="218" y="41"/>
                </a:cubicBezTo>
                <a:cubicBezTo>
                  <a:pt x="217" y="41"/>
                  <a:pt x="215" y="40"/>
                  <a:pt x="214" y="40"/>
                </a:cubicBezTo>
                <a:cubicBezTo>
                  <a:pt x="213" y="39"/>
                  <a:pt x="213" y="39"/>
                  <a:pt x="212" y="39"/>
                </a:cubicBezTo>
                <a:cubicBezTo>
                  <a:pt x="211" y="38"/>
                  <a:pt x="210" y="39"/>
                  <a:pt x="211" y="40"/>
                </a:cubicBezTo>
                <a:cubicBezTo>
                  <a:pt x="210" y="41"/>
                  <a:pt x="209" y="36"/>
                  <a:pt x="210" y="35"/>
                </a:cubicBezTo>
                <a:cubicBezTo>
                  <a:pt x="210" y="33"/>
                  <a:pt x="212" y="33"/>
                  <a:pt x="213" y="32"/>
                </a:cubicBezTo>
                <a:cubicBezTo>
                  <a:pt x="216" y="30"/>
                  <a:pt x="218" y="30"/>
                  <a:pt x="219" y="26"/>
                </a:cubicBezTo>
                <a:cubicBezTo>
                  <a:pt x="217" y="26"/>
                  <a:pt x="216" y="25"/>
                  <a:pt x="214" y="24"/>
                </a:cubicBezTo>
                <a:cubicBezTo>
                  <a:pt x="213" y="24"/>
                  <a:pt x="212" y="24"/>
                  <a:pt x="210" y="24"/>
                </a:cubicBezTo>
                <a:cubicBezTo>
                  <a:pt x="206" y="24"/>
                  <a:pt x="203" y="23"/>
                  <a:pt x="200" y="22"/>
                </a:cubicBezTo>
                <a:cubicBezTo>
                  <a:pt x="193" y="22"/>
                  <a:pt x="188" y="21"/>
                  <a:pt x="181" y="19"/>
                </a:cubicBezTo>
                <a:cubicBezTo>
                  <a:pt x="180" y="18"/>
                  <a:pt x="178" y="18"/>
                  <a:pt x="177" y="17"/>
                </a:cubicBezTo>
                <a:cubicBezTo>
                  <a:pt x="177" y="15"/>
                  <a:pt x="177" y="15"/>
                  <a:pt x="175" y="14"/>
                </a:cubicBezTo>
                <a:cubicBezTo>
                  <a:pt x="174" y="13"/>
                  <a:pt x="176" y="11"/>
                  <a:pt x="175" y="10"/>
                </a:cubicBezTo>
                <a:cubicBezTo>
                  <a:pt x="174" y="10"/>
                  <a:pt x="173" y="10"/>
                  <a:pt x="172" y="9"/>
                </a:cubicBezTo>
                <a:cubicBezTo>
                  <a:pt x="170" y="8"/>
                  <a:pt x="169" y="4"/>
                  <a:pt x="172" y="3"/>
                </a:cubicBezTo>
                <a:cubicBezTo>
                  <a:pt x="175" y="2"/>
                  <a:pt x="172" y="0"/>
                  <a:pt x="170" y="1"/>
                </a:cubicBezTo>
                <a:cubicBezTo>
                  <a:pt x="166" y="2"/>
                  <a:pt x="161" y="7"/>
                  <a:pt x="156" y="5"/>
                </a:cubicBezTo>
                <a:cubicBezTo>
                  <a:pt x="155" y="4"/>
                  <a:pt x="152" y="5"/>
                  <a:pt x="151" y="5"/>
                </a:cubicBezTo>
                <a:cubicBezTo>
                  <a:pt x="149" y="5"/>
                  <a:pt x="149" y="6"/>
                  <a:pt x="148" y="6"/>
                </a:cubicBezTo>
                <a:cubicBezTo>
                  <a:pt x="147" y="6"/>
                  <a:pt x="146" y="5"/>
                  <a:pt x="145" y="5"/>
                </a:cubicBezTo>
                <a:cubicBezTo>
                  <a:pt x="143" y="5"/>
                  <a:pt x="140" y="6"/>
                  <a:pt x="139" y="8"/>
                </a:cubicBezTo>
                <a:cubicBezTo>
                  <a:pt x="138" y="10"/>
                  <a:pt x="138" y="12"/>
                  <a:pt x="137" y="14"/>
                </a:cubicBezTo>
                <a:cubicBezTo>
                  <a:pt x="136" y="16"/>
                  <a:pt x="129" y="15"/>
                  <a:pt x="128" y="14"/>
                </a:cubicBezTo>
                <a:cubicBezTo>
                  <a:pt x="127" y="13"/>
                  <a:pt x="129" y="13"/>
                  <a:pt x="128" y="12"/>
                </a:cubicBezTo>
                <a:cubicBezTo>
                  <a:pt x="127" y="11"/>
                  <a:pt x="127" y="11"/>
                  <a:pt x="125" y="11"/>
                </a:cubicBezTo>
                <a:cubicBezTo>
                  <a:pt x="123" y="11"/>
                  <a:pt x="121" y="13"/>
                  <a:pt x="119" y="11"/>
                </a:cubicBezTo>
                <a:cubicBezTo>
                  <a:pt x="119" y="13"/>
                  <a:pt x="116" y="17"/>
                  <a:pt x="117" y="19"/>
                </a:cubicBezTo>
                <a:cubicBezTo>
                  <a:pt x="117" y="21"/>
                  <a:pt x="119" y="20"/>
                  <a:pt x="120" y="22"/>
                </a:cubicBezTo>
                <a:cubicBezTo>
                  <a:pt x="120" y="23"/>
                  <a:pt x="119" y="25"/>
                  <a:pt x="118" y="25"/>
                </a:cubicBezTo>
                <a:cubicBezTo>
                  <a:pt x="116" y="25"/>
                  <a:pt x="115" y="25"/>
                  <a:pt x="114" y="23"/>
                </a:cubicBezTo>
                <a:cubicBezTo>
                  <a:pt x="113" y="23"/>
                  <a:pt x="112" y="21"/>
                  <a:pt x="112" y="21"/>
                </a:cubicBezTo>
                <a:cubicBezTo>
                  <a:pt x="110" y="22"/>
                  <a:pt x="108" y="21"/>
                  <a:pt x="108" y="23"/>
                </a:cubicBezTo>
                <a:cubicBezTo>
                  <a:pt x="107" y="25"/>
                  <a:pt x="106" y="26"/>
                  <a:pt x="106" y="27"/>
                </a:cubicBezTo>
                <a:cubicBezTo>
                  <a:pt x="106" y="30"/>
                  <a:pt x="110" y="29"/>
                  <a:pt x="110" y="32"/>
                </a:cubicBezTo>
                <a:cubicBezTo>
                  <a:pt x="110" y="33"/>
                  <a:pt x="108" y="33"/>
                  <a:pt x="108" y="34"/>
                </a:cubicBezTo>
                <a:cubicBezTo>
                  <a:pt x="108" y="36"/>
                  <a:pt x="110" y="36"/>
                  <a:pt x="110" y="37"/>
                </a:cubicBezTo>
                <a:cubicBezTo>
                  <a:pt x="111" y="41"/>
                  <a:pt x="106" y="38"/>
                  <a:pt x="105" y="36"/>
                </a:cubicBezTo>
                <a:cubicBezTo>
                  <a:pt x="104" y="32"/>
                  <a:pt x="103" y="31"/>
                  <a:pt x="100" y="33"/>
                </a:cubicBezTo>
                <a:cubicBezTo>
                  <a:pt x="98" y="34"/>
                  <a:pt x="96" y="33"/>
                  <a:pt x="96" y="35"/>
                </a:cubicBezTo>
                <a:cubicBezTo>
                  <a:pt x="96" y="36"/>
                  <a:pt x="95" y="36"/>
                  <a:pt x="94" y="36"/>
                </a:cubicBezTo>
                <a:cubicBezTo>
                  <a:pt x="91" y="36"/>
                  <a:pt x="88" y="33"/>
                  <a:pt x="88" y="30"/>
                </a:cubicBezTo>
                <a:cubicBezTo>
                  <a:pt x="88" y="28"/>
                  <a:pt x="89" y="26"/>
                  <a:pt x="87" y="28"/>
                </a:cubicBezTo>
                <a:cubicBezTo>
                  <a:pt x="86" y="29"/>
                  <a:pt x="86" y="27"/>
                  <a:pt x="85" y="27"/>
                </a:cubicBezTo>
                <a:cubicBezTo>
                  <a:pt x="81" y="27"/>
                  <a:pt x="83" y="31"/>
                  <a:pt x="83" y="33"/>
                </a:cubicBezTo>
                <a:cubicBezTo>
                  <a:pt x="83" y="37"/>
                  <a:pt x="80" y="40"/>
                  <a:pt x="78" y="43"/>
                </a:cubicBezTo>
                <a:cubicBezTo>
                  <a:pt x="77" y="44"/>
                  <a:pt x="77" y="45"/>
                  <a:pt x="76" y="46"/>
                </a:cubicBezTo>
                <a:cubicBezTo>
                  <a:pt x="75" y="47"/>
                  <a:pt x="75" y="47"/>
                  <a:pt x="75" y="48"/>
                </a:cubicBezTo>
                <a:cubicBezTo>
                  <a:pt x="74" y="51"/>
                  <a:pt x="75" y="51"/>
                  <a:pt x="76" y="53"/>
                </a:cubicBezTo>
                <a:cubicBezTo>
                  <a:pt x="78" y="57"/>
                  <a:pt x="73" y="56"/>
                  <a:pt x="71" y="57"/>
                </a:cubicBezTo>
                <a:cubicBezTo>
                  <a:pt x="73" y="53"/>
                  <a:pt x="70" y="51"/>
                  <a:pt x="68" y="50"/>
                </a:cubicBezTo>
                <a:cubicBezTo>
                  <a:pt x="66" y="48"/>
                  <a:pt x="71" y="47"/>
                  <a:pt x="69" y="45"/>
                </a:cubicBezTo>
                <a:cubicBezTo>
                  <a:pt x="67" y="44"/>
                  <a:pt x="65" y="46"/>
                  <a:pt x="63" y="44"/>
                </a:cubicBezTo>
                <a:cubicBezTo>
                  <a:pt x="61" y="42"/>
                  <a:pt x="60" y="41"/>
                  <a:pt x="58" y="39"/>
                </a:cubicBezTo>
                <a:cubicBezTo>
                  <a:pt x="56" y="37"/>
                  <a:pt x="57" y="35"/>
                  <a:pt x="58" y="33"/>
                </a:cubicBezTo>
                <a:cubicBezTo>
                  <a:pt x="58" y="31"/>
                  <a:pt x="58" y="28"/>
                  <a:pt x="56" y="29"/>
                </a:cubicBezTo>
                <a:cubicBezTo>
                  <a:pt x="53" y="30"/>
                  <a:pt x="52" y="36"/>
                  <a:pt x="48" y="36"/>
                </a:cubicBezTo>
                <a:cubicBezTo>
                  <a:pt x="45" y="36"/>
                  <a:pt x="47" y="38"/>
                  <a:pt x="48" y="40"/>
                </a:cubicBezTo>
                <a:cubicBezTo>
                  <a:pt x="49" y="42"/>
                  <a:pt x="48" y="43"/>
                  <a:pt x="46" y="44"/>
                </a:cubicBezTo>
                <a:cubicBezTo>
                  <a:pt x="45" y="45"/>
                  <a:pt x="44" y="46"/>
                  <a:pt x="44" y="47"/>
                </a:cubicBezTo>
                <a:cubicBezTo>
                  <a:pt x="44" y="48"/>
                  <a:pt x="44" y="49"/>
                  <a:pt x="43" y="49"/>
                </a:cubicBezTo>
                <a:cubicBezTo>
                  <a:pt x="40" y="50"/>
                  <a:pt x="40" y="51"/>
                  <a:pt x="39" y="52"/>
                </a:cubicBezTo>
                <a:cubicBezTo>
                  <a:pt x="36" y="55"/>
                  <a:pt x="34" y="50"/>
                  <a:pt x="31" y="50"/>
                </a:cubicBezTo>
                <a:cubicBezTo>
                  <a:pt x="29" y="50"/>
                  <a:pt x="28" y="51"/>
                  <a:pt x="26" y="52"/>
                </a:cubicBezTo>
                <a:cubicBezTo>
                  <a:pt x="24" y="53"/>
                  <a:pt x="20" y="54"/>
                  <a:pt x="18" y="54"/>
                </a:cubicBezTo>
                <a:cubicBezTo>
                  <a:pt x="17" y="54"/>
                  <a:pt x="16" y="54"/>
                  <a:pt x="15" y="53"/>
                </a:cubicBezTo>
                <a:cubicBezTo>
                  <a:pt x="13" y="52"/>
                  <a:pt x="13" y="52"/>
                  <a:pt x="12" y="54"/>
                </a:cubicBezTo>
                <a:cubicBezTo>
                  <a:pt x="10" y="56"/>
                  <a:pt x="7" y="55"/>
                  <a:pt x="6" y="58"/>
                </a:cubicBezTo>
                <a:cubicBezTo>
                  <a:pt x="5" y="61"/>
                  <a:pt x="8" y="62"/>
                  <a:pt x="9" y="64"/>
                </a:cubicBezTo>
                <a:cubicBezTo>
                  <a:pt x="12" y="65"/>
                  <a:pt x="11" y="66"/>
                  <a:pt x="12" y="68"/>
                </a:cubicBezTo>
                <a:cubicBezTo>
                  <a:pt x="12" y="71"/>
                  <a:pt x="14" y="72"/>
                  <a:pt x="16" y="73"/>
                </a:cubicBezTo>
                <a:cubicBezTo>
                  <a:pt x="17" y="75"/>
                  <a:pt x="18" y="75"/>
                  <a:pt x="17" y="78"/>
                </a:cubicBezTo>
                <a:cubicBezTo>
                  <a:pt x="16" y="79"/>
                  <a:pt x="16" y="82"/>
                  <a:pt x="16" y="82"/>
                </a:cubicBezTo>
                <a:cubicBezTo>
                  <a:pt x="14" y="84"/>
                  <a:pt x="11" y="85"/>
                  <a:pt x="9" y="86"/>
                </a:cubicBezTo>
                <a:cubicBezTo>
                  <a:pt x="8" y="88"/>
                  <a:pt x="5" y="86"/>
                  <a:pt x="4" y="87"/>
                </a:cubicBezTo>
                <a:cubicBezTo>
                  <a:pt x="0" y="88"/>
                  <a:pt x="0" y="90"/>
                  <a:pt x="3" y="92"/>
                </a:cubicBezTo>
                <a:cubicBezTo>
                  <a:pt x="4" y="94"/>
                  <a:pt x="4" y="94"/>
                  <a:pt x="4" y="97"/>
                </a:cubicBezTo>
                <a:cubicBezTo>
                  <a:pt x="7" y="102"/>
                  <a:pt x="11" y="98"/>
                  <a:pt x="12" y="102"/>
                </a:cubicBezTo>
                <a:cubicBezTo>
                  <a:pt x="12" y="103"/>
                  <a:pt x="15" y="108"/>
                  <a:pt x="13" y="107"/>
                </a:cubicBezTo>
                <a:cubicBezTo>
                  <a:pt x="10" y="107"/>
                  <a:pt x="11" y="109"/>
                  <a:pt x="10" y="111"/>
                </a:cubicBezTo>
                <a:cubicBezTo>
                  <a:pt x="9" y="112"/>
                  <a:pt x="6" y="114"/>
                  <a:pt x="8" y="116"/>
                </a:cubicBezTo>
                <a:cubicBezTo>
                  <a:pt x="10" y="119"/>
                  <a:pt x="8" y="119"/>
                  <a:pt x="8" y="120"/>
                </a:cubicBezTo>
                <a:cubicBezTo>
                  <a:pt x="9" y="125"/>
                  <a:pt x="13" y="127"/>
                  <a:pt x="17" y="129"/>
                </a:cubicBezTo>
                <a:cubicBezTo>
                  <a:pt x="20" y="130"/>
                  <a:pt x="22" y="132"/>
                  <a:pt x="24" y="132"/>
                </a:cubicBezTo>
                <a:cubicBezTo>
                  <a:pt x="27" y="132"/>
                  <a:pt x="29" y="130"/>
                  <a:pt x="31" y="130"/>
                </a:cubicBezTo>
                <a:cubicBezTo>
                  <a:pt x="32" y="130"/>
                  <a:pt x="34" y="134"/>
                  <a:pt x="33" y="135"/>
                </a:cubicBezTo>
                <a:cubicBezTo>
                  <a:pt x="32" y="137"/>
                  <a:pt x="31" y="139"/>
                  <a:pt x="29" y="141"/>
                </a:cubicBezTo>
                <a:cubicBezTo>
                  <a:pt x="28" y="142"/>
                  <a:pt x="26" y="144"/>
                  <a:pt x="27" y="146"/>
                </a:cubicBezTo>
                <a:cubicBezTo>
                  <a:pt x="27" y="148"/>
                  <a:pt x="30" y="148"/>
                  <a:pt x="32" y="147"/>
                </a:cubicBezTo>
                <a:cubicBezTo>
                  <a:pt x="35" y="147"/>
                  <a:pt x="39" y="146"/>
                  <a:pt x="42" y="145"/>
                </a:cubicBezTo>
                <a:cubicBezTo>
                  <a:pt x="43" y="144"/>
                  <a:pt x="47" y="142"/>
                  <a:pt x="47" y="140"/>
                </a:cubicBezTo>
                <a:cubicBezTo>
                  <a:pt x="48" y="140"/>
                  <a:pt x="47" y="139"/>
                  <a:pt x="47" y="139"/>
                </a:cubicBezTo>
                <a:cubicBezTo>
                  <a:pt x="48" y="138"/>
                  <a:pt x="49" y="137"/>
                  <a:pt x="50" y="136"/>
                </a:cubicBezTo>
                <a:cubicBezTo>
                  <a:pt x="51" y="133"/>
                  <a:pt x="51" y="132"/>
                  <a:pt x="53" y="131"/>
                </a:cubicBezTo>
                <a:cubicBezTo>
                  <a:pt x="56" y="129"/>
                  <a:pt x="56" y="125"/>
                  <a:pt x="59" y="123"/>
                </a:cubicBezTo>
                <a:cubicBezTo>
                  <a:pt x="61" y="122"/>
                  <a:pt x="64" y="120"/>
                  <a:pt x="66" y="120"/>
                </a:cubicBezTo>
                <a:cubicBezTo>
                  <a:pt x="69" y="119"/>
                  <a:pt x="72" y="120"/>
                  <a:pt x="74" y="121"/>
                </a:cubicBezTo>
                <a:cubicBezTo>
                  <a:pt x="77" y="122"/>
                  <a:pt x="78" y="124"/>
                  <a:pt x="80" y="125"/>
                </a:cubicBezTo>
                <a:cubicBezTo>
                  <a:pt x="79" y="120"/>
                  <a:pt x="86" y="126"/>
                  <a:pt x="87" y="127"/>
                </a:cubicBezTo>
                <a:cubicBezTo>
                  <a:pt x="91" y="130"/>
                  <a:pt x="95" y="134"/>
                  <a:pt x="100" y="136"/>
                </a:cubicBezTo>
                <a:cubicBezTo>
                  <a:pt x="100" y="136"/>
                  <a:pt x="99" y="134"/>
                  <a:pt x="99" y="134"/>
                </a:cubicBezTo>
                <a:cubicBezTo>
                  <a:pt x="100" y="133"/>
                  <a:pt x="102" y="135"/>
                  <a:pt x="103" y="135"/>
                </a:cubicBezTo>
                <a:cubicBezTo>
                  <a:pt x="106" y="137"/>
                  <a:pt x="108" y="138"/>
                  <a:pt x="111" y="141"/>
                </a:cubicBezTo>
                <a:cubicBezTo>
                  <a:pt x="113" y="144"/>
                  <a:pt x="113" y="148"/>
                  <a:pt x="113" y="152"/>
                </a:cubicBezTo>
                <a:cubicBezTo>
                  <a:pt x="114" y="155"/>
                  <a:pt x="114" y="160"/>
                  <a:pt x="116" y="162"/>
                </a:cubicBezTo>
                <a:cubicBezTo>
                  <a:pt x="118" y="164"/>
                  <a:pt x="120" y="169"/>
                  <a:pt x="121" y="173"/>
                </a:cubicBezTo>
                <a:cubicBezTo>
                  <a:pt x="122" y="175"/>
                  <a:pt x="122" y="177"/>
                  <a:pt x="122" y="179"/>
                </a:cubicBezTo>
                <a:cubicBezTo>
                  <a:pt x="121" y="181"/>
                  <a:pt x="120" y="182"/>
                  <a:pt x="120" y="184"/>
                </a:cubicBezTo>
                <a:cubicBezTo>
                  <a:pt x="119" y="187"/>
                  <a:pt x="125" y="185"/>
                  <a:pt x="127" y="186"/>
                </a:cubicBezTo>
                <a:cubicBezTo>
                  <a:pt x="129" y="186"/>
                  <a:pt x="131" y="190"/>
                  <a:pt x="128" y="191"/>
                </a:cubicBezTo>
                <a:cubicBezTo>
                  <a:pt x="130" y="194"/>
                  <a:pt x="134" y="193"/>
                  <a:pt x="136" y="196"/>
                </a:cubicBezTo>
                <a:cubicBezTo>
                  <a:pt x="137" y="197"/>
                  <a:pt x="138" y="198"/>
                  <a:pt x="139" y="200"/>
                </a:cubicBezTo>
                <a:cubicBezTo>
                  <a:pt x="139" y="201"/>
                  <a:pt x="140" y="202"/>
                  <a:pt x="141" y="203"/>
                </a:cubicBezTo>
                <a:cubicBezTo>
                  <a:pt x="142" y="204"/>
                  <a:pt x="143" y="205"/>
                  <a:pt x="142" y="207"/>
                </a:cubicBezTo>
                <a:cubicBezTo>
                  <a:pt x="141" y="208"/>
                  <a:pt x="139" y="207"/>
                  <a:pt x="139" y="209"/>
                </a:cubicBezTo>
                <a:cubicBezTo>
                  <a:pt x="139" y="210"/>
                  <a:pt x="141" y="211"/>
                  <a:pt x="142" y="211"/>
                </a:cubicBezTo>
                <a:cubicBezTo>
                  <a:pt x="142" y="211"/>
                  <a:pt x="142" y="210"/>
                  <a:pt x="143" y="209"/>
                </a:cubicBezTo>
                <a:cubicBezTo>
                  <a:pt x="145" y="206"/>
                  <a:pt x="155" y="213"/>
                  <a:pt x="157" y="215"/>
                </a:cubicBezTo>
                <a:cubicBezTo>
                  <a:pt x="159" y="218"/>
                  <a:pt x="159" y="221"/>
                  <a:pt x="161" y="224"/>
                </a:cubicBezTo>
                <a:cubicBezTo>
                  <a:pt x="163" y="226"/>
                  <a:pt x="165" y="226"/>
                  <a:pt x="167" y="227"/>
                </a:cubicBezTo>
                <a:cubicBezTo>
                  <a:pt x="170" y="229"/>
                  <a:pt x="172" y="231"/>
                  <a:pt x="174" y="235"/>
                </a:cubicBezTo>
                <a:cubicBezTo>
                  <a:pt x="175" y="239"/>
                  <a:pt x="176" y="240"/>
                  <a:pt x="179" y="241"/>
                </a:cubicBezTo>
                <a:cubicBezTo>
                  <a:pt x="181" y="243"/>
                  <a:pt x="184" y="246"/>
                  <a:pt x="185" y="248"/>
                </a:cubicBezTo>
                <a:cubicBezTo>
                  <a:pt x="187" y="252"/>
                  <a:pt x="189" y="251"/>
                  <a:pt x="191" y="253"/>
                </a:cubicBezTo>
                <a:cubicBezTo>
                  <a:pt x="194" y="256"/>
                  <a:pt x="197" y="254"/>
                  <a:pt x="199" y="258"/>
                </a:cubicBezTo>
                <a:cubicBezTo>
                  <a:pt x="200" y="261"/>
                  <a:pt x="201" y="263"/>
                  <a:pt x="204" y="261"/>
                </a:cubicBezTo>
                <a:cubicBezTo>
                  <a:pt x="207" y="260"/>
                  <a:pt x="208" y="259"/>
                  <a:pt x="211" y="260"/>
                </a:cubicBezTo>
                <a:cubicBezTo>
                  <a:pt x="213" y="261"/>
                  <a:pt x="216" y="264"/>
                  <a:pt x="218" y="263"/>
                </a:cubicBezTo>
                <a:cubicBezTo>
                  <a:pt x="216" y="261"/>
                  <a:pt x="220" y="261"/>
                  <a:pt x="221" y="261"/>
                </a:cubicBezTo>
                <a:cubicBezTo>
                  <a:pt x="224" y="261"/>
                  <a:pt x="226" y="264"/>
                  <a:pt x="227" y="266"/>
                </a:cubicBezTo>
                <a:cubicBezTo>
                  <a:pt x="228" y="269"/>
                  <a:pt x="230" y="272"/>
                  <a:pt x="231" y="275"/>
                </a:cubicBezTo>
                <a:cubicBezTo>
                  <a:pt x="232" y="275"/>
                  <a:pt x="234" y="282"/>
                  <a:pt x="234" y="282"/>
                </a:cubicBezTo>
                <a:cubicBezTo>
                  <a:pt x="235" y="280"/>
                  <a:pt x="235" y="280"/>
                  <a:pt x="237" y="281"/>
                </a:cubicBezTo>
                <a:cubicBezTo>
                  <a:pt x="239" y="282"/>
                  <a:pt x="238" y="281"/>
                  <a:pt x="239" y="280"/>
                </a:cubicBezTo>
                <a:cubicBezTo>
                  <a:pt x="241" y="280"/>
                  <a:pt x="249" y="284"/>
                  <a:pt x="246" y="287"/>
                </a:cubicBezTo>
                <a:cubicBezTo>
                  <a:pt x="245" y="287"/>
                  <a:pt x="242" y="290"/>
                  <a:pt x="242" y="291"/>
                </a:cubicBezTo>
                <a:cubicBezTo>
                  <a:pt x="243" y="292"/>
                  <a:pt x="245" y="290"/>
                  <a:pt x="246" y="290"/>
                </a:cubicBezTo>
                <a:cubicBezTo>
                  <a:pt x="248" y="289"/>
                  <a:pt x="249" y="290"/>
                  <a:pt x="251" y="289"/>
                </a:cubicBezTo>
                <a:cubicBezTo>
                  <a:pt x="252" y="288"/>
                  <a:pt x="252" y="289"/>
                  <a:pt x="254" y="289"/>
                </a:cubicBezTo>
                <a:cubicBezTo>
                  <a:pt x="254" y="288"/>
                  <a:pt x="254" y="288"/>
                  <a:pt x="255" y="287"/>
                </a:cubicBezTo>
                <a:cubicBezTo>
                  <a:pt x="259" y="286"/>
                  <a:pt x="261" y="294"/>
                  <a:pt x="263" y="297"/>
                </a:cubicBezTo>
                <a:cubicBezTo>
                  <a:pt x="264" y="301"/>
                  <a:pt x="262" y="301"/>
                  <a:pt x="262" y="305"/>
                </a:cubicBezTo>
                <a:cubicBezTo>
                  <a:pt x="262" y="307"/>
                  <a:pt x="260" y="306"/>
                  <a:pt x="262" y="307"/>
                </a:cubicBezTo>
                <a:cubicBezTo>
                  <a:pt x="263" y="308"/>
                  <a:pt x="265" y="309"/>
                  <a:pt x="266" y="310"/>
                </a:cubicBezTo>
                <a:cubicBezTo>
                  <a:pt x="267" y="310"/>
                  <a:pt x="275" y="314"/>
                  <a:pt x="273" y="316"/>
                </a:cubicBezTo>
                <a:cubicBezTo>
                  <a:pt x="274" y="316"/>
                  <a:pt x="276" y="319"/>
                  <a:pt x="278" y="317"/>
                </a:cubicBezTo>
                <a:cubicBezTo>
                  <a:pt x="279" y="316"/>
                  <a:pt x="280" y="314"/>
                  <a:pt x="283" y="314"/>
                </a:cubicBezTo>
                <a:cubicBezTo>
                  <a:pt x="284" y="315"/>
                  <a:pt x="286" y="316"/>
                  <a:pt x="287" y="318"/>
                </a:cubicBezTo>
                <a:cubicBezTo>
                  <a:pt x="289" y="320"/>
                  <a:pt x="289" y="322"/>
                  <a:pt x="289" y="324"/>
                </a:cubicBezTo>
                <a:cubicBezTo>
                  <a:pt x="289" y="327"/>
                  <a:pt x="290" y="330"/>
                  <a:pt x="291" y="332"/>
                </a:cubicBezTo>
                <a:cubicBezTo>
                  <a:pt x="291" y="334"/>
                  <a:pt x="291" y="337"/>
                  <a:pt x="292" y="338"/>
                </a:cubicBezTo>
                <a:cubicBezTo>
                  <a:pt x="294" y="340"/>
                  <a:pt x="296" y="341"/>
                  <a:pt x="297" y="344"/>
                </a:cubicBezTo>
                <a:cubicBezTo>
                  <a:pt x="297" y="347"/>
                  <a:pt x="298" y="349"/>
                  <a:pt x="298" y="352"/>
                </a:cubicBezTo>
                <a:cubicBezTo>
                  <a:pt x="299" y="356"/>
                  <a:pt x="299" y="362"/>
                  <a:pt x="303" y="366"/>
                </a:cubicBezTo>
                <a:cubicBezTo>
                  <a:pt x="306" y="368"/>
                  <a:pt x="304" y="375"/>
                  <a:pt x="301" y="375"/>
                </a:cubicBezTo>
                <a:cubicBezTo>
                  <a:pt x="299" y="375"/>
                  <a:pt x="291" y="375"/>
                  <a:pt x="292" y="380"/>
                </a:cubicBezTo>
                <a:cubicBezTo>
                  <a:pt x="293" y="382"/>
                  <a:pt x="295" y="382"/>
                  <a:pt x="295" y="385"/>
                </a:cubicBezTo>
                <a:cubicBezTo>
                  <a:pt x="294" y="387"/>
                  <a:pt x="293" y="390"/>
                  <a:pt x="292" y="392"/>
                </a:cubicBezTo>
                <a:cubicBezTo>
                  <a:pt x="291" y="394"/>
                  <a:pt x="290" y="396"/>
                  <a:pt x="287" y="396"/>
                </a:cubicBezTo>
                <a:cubicBezTo>
                  <a:pt x="286" y="397"/>
                  <a:pt x="286" y="397"/>
                  <a:pt x="286" y="399"/>
                </a:cubicBezTo>
                <a:cubicBezTo>
                  <a:pt x="286" y="400"/>
                  <a:pt x="286" y="401"/>
                  <a:pt x="286" y="402"/>
                </a:cubicBezTo>
                <a:cubicBezTo>
                  <a:pt x="286" y="404"/>
                  <a:pt x="286" y="404"/>
                  <a:pt x="287" y="405"/>
                </a:cubicBezTo>
                <a:cubicBezTo>
                  <a:pt x="287" y="407"/>
                  <a:pt x="286" y="409"/>
                  <a:pt x="288" y="410"/>
                </a:cubicBezTo>
                <a:cubicBezTo>
                  <a:pt x="291" y="412"/>
                  <a:pt x="298" y="412"/>
                  <a:pt x="300" y="410"/>
                </a:cubicBezTo>
                <a:cubicBezTo>
                  <a:pt x="302" y="409"/>
                  <a:pt x="302" y="406"/>
                  <a:pt x="302" y="404"/>
                </a:cubicBezTo>
                <a:cubicBezTo>
                  <a:pt x="303" y="401"/>
                  <a:pt x="305" y="399"/>
                  <a:pt x="306" y="397"/>
                </a:cubicBezTo>
                <a:cubicBezTo>
                  <a:pt x="308" y="394"/>
                  <a:pt x="312" y="393"/>
                  <a:pt x="314" y="390"/>
                </a:cubicBezTo>
                <a:cubicBezTo>
                  <a:pt x="317" y="387"/>
                  <a:pt x="316" y="381"/>
                  <a:pt x="315" y="378"/>
                </a:cubicBezTo>
                <a:cubicBezTo>
                  <a:pt x="313" y="372"/>
                  <a:pt x="318" y="369"/>
                  <a:pt x="322" y="367"/>
                </a:cubicBezTo>
                <a:cubicBezTo>
                  <a:pt x="324" y="366"/>
                  <a:pt x="327" y="364"/>
                  <a:pt x="329" y="366"/>
                </a:cubicBezTo>
                <a:cubicBezTo>
                  <a:pt x="330" y="367"/>
                  <a:pt x="332" y="365"/>
                  <a:pt x="332" y="367"/>
                </a:cubicBezTo>
                <a:cubicBezTo>
                  <a:pt x="333" y="366"/>
                  <a:pt x="334" y="365"/>
                  <a:pt x="335" y="364"/>
                </a:cubicBezTo>
                <a:cubicBezTo>
                  <a:pt x="335" y="363"/>
                  <a:pt x="334" y="362"/>
                  <a:pt x="335" y="361"/>
                </a:cubicBezTo>
                <a:cubicBezTo>
                  <a:pt x="331" y="361"/>
                  <a:pt x="333" y="354"/>
                  <a:pt x="333" y="351"/>
                </a:cubicBezTo>
                <a:cubicBezTo>
                  <a:pt x="332" y="349"/>
                  <a:pt x="333" y="348"/>
                  <a:pt x="333" y="345"/>
                </a:cubicBezTo>
                <a:cubicBezTo>
                  <a:pt x="333" y="344"/>
                  <a:pt x="331" y="342"/>
                  <a:pt x="330" y="342"/>
                </a:cubicBezTo>
                <a:cubicBezTo>
                  <a:pt x="328" y="340"/>
                  <a:pt x="326" y="340"/>
                  <a:pt x="324" y="338"/>
                </a:cubicBezTo>
                <a:cubicBezTo>
                  <a:pt x="322" y="336"/>
                  <a:pt x="321" y="334"/>
                  <a:pt x="319" y="334"/>
                </a:cubicBezTo>
                <a:cubicBezTo>
                  <a:pt x="315" y="335"/>
                  <a:pt x="313" y="333"/>
                  <a:pt x="312" y="329"/>
                </a:cubicBezTo>
                <a:cubicBezTo>
                  <a:pt x="311" y="326"/>
                  <a:pt x="313" y="323"/>
                  <a:pt x="315" y="321"/>
                </a:cubicBezTo>
                <a:cubicBezTo>
                  <a:pt x="316" y="319"/>
                  <a:pt x="315" y="318"/>
                  <a:pt x="315" y="316"/>
                </a:cubicBezTo>
                <a:cubicBezTo>
                  <a:pt x="315" y="314"/>
                  <a:pt x="316" y="312"/>
                  <a:pt x="318" y="310"/>
                </a:cubicBezTo>
                <a:cubicBezTo>
                  <a:pt x="319" y="309"/>
                  <a:pt x="320" y="306"/>
                  <a:pt x="321" y="304"/>
                </a:cubicBezTo>
                <a:cubicBezTo>
                  <a:pt x="322" y="301"/>
                  <a:pt x="326" y="293"/>
                  <a:pt x="331" y="294"/>
                </a:cubicBezTo>
                <a:cubicBezTo>
                  <a:pt x="332" y="294"/>
                  <a:pt x="333" y="296"/>
                  <a:pt x="334" y="296"/>
                </a:cubicBezTo>
                <a:cubicBezTo>
                  <a:pt x="334" y="296"/>
                  <a:pt x="334" y="295"/>
                  <a:pt x="335" y="295"/>
                </a:cubicBezTo>
                <a:cubicBezTo>
                  <a:pt x="335" y="295"/>
                  <a:pt x="338" y="295"/>
                  <a:pt x="337" y="296"/>
                </a:cubicBezTo>
                <a:cubicBezTo>
                  <a:pt x="337" y="297"/>
                  <a:pt x="335" y="296"/>
                  <a:pt x="335" y="296"/>
                </a:cubicBezTo>
                <a:cubicBezTo>
                  <a:pt x="335" y="297"/>
                  <a:pt x="334" y="299"/>
                  <a:pt x="334" y="299"/>
                </a:cubicBezTo>
                <a:cubicBezTo>
                  <a:pt x="334" y="300"/>
                  <a:pt x="340" y="302"/>
                  <a:pt x="342" y="303"/>
                </a:cubicBezTo>
                <a:cubicBezTo>
                  <a:pt x="345" y="305"/>
                  <a:pt x="349" y="303"/>
                  <a:pt x="353" y="304"/>
                </a:cubicBezTo>
                <a:cubicBezTo>
                  <a:pt x="355" y="305"/>
                  <a:pt x="362" y="313"/>
                  <a:pt x="359" y="315"/>
                </a:cubicBezTo>
                <a:cubicBezTo>
                  <a:pt x="360" y="315"/>
                  <a:pt x="360" y="318"/>
                  <a:pt x="361" y="320"/>
                </a:cubicBezTo>
                <a:cubicBezTo>
                  <a:pt x="363" y="323"/>
                  <a:pt x="366" y="324"/>
                  <a:pt x="369" y="325"/>
                </a:cubicBezTo>
                <a:cubicBezTo>
                  <a:pt x="374" y="328"/>
                  <a:pt x="372" y="322"/>
                  <a:pt x="373" y="318"/>
                </a:cubicBezTo>
                <a:cubicBezTo>
                  <a:pt x="374" y="316"/>
                  <a:pt x="376" y="314"/>
                  <a:pt x="376" y="311"/>
                </a:cubicBezTo>
                <a:cubicBezTo>
                  <a:pt x="375" y="308"/>
                  <a:pt x="373" y="305"/>
                  <a:pt x="372" y="303"/>
                </a:cubicBezTo>
                <a:close/>
                <a:moveTo>
                  <a:pt x="183" y="142"/>
                </a:moveTo>
                <a:cubicBezTo>
                  <a:pt x="182" y="143"/>
                  <a:pt x="180" y="143"/>
                  <a:pt x="180" y="141"/>
                </a:cubicBezTo>
                <a:cubicBezTo>
                  <a:pt x="180" y="138"/>
                  <a:pt x="184" y="138"/>
                  <a:pt x="183" y="142"/>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53">
            <a:extLst>
              <a:ext uri="{FF2B5EF4-FFF2-40B4-BE49-F238E27FC236}">
                <a16:creationId xmlns:a16="http://schemas.microsoft.com/office/drawing/2014/main" id="{2D25D00A-C653-44C9-80D5-0293B8DB84A9}"/>
              </a:ext>
            </a:extLst>
          </p:cNvPr>
          <p:cNvSpPr>
            <a:spLocks/>
          </p:cNvSpPr>
          <p:nvPr/>
        </p:nvSpPr>
        <p:spPr bwMode="auto">
          <a:xfrm>
            <a:off x="2730637" y="6013199"/>
            <a:ext cx="290430" cy="214541"/>
          </a:xfrm>
          <a:custGeom>
            <a:avLst/>
            <a:gdLst>
              <a:gd name="T0" fmla="*/ 100 w 104"/>
              <a:gd name="T1" fmla="*/ 1 h 76"/>
              <a:gd name="T2" fmla="*/ 96 w 104"/>
              <a:gd name="T3" fmla="*/ 4 h 76"/>
              <a:gd name="T4" fmla="*/ 91 w 104"/>
              <a:gd name="T5" fmla="*/ 5 h 76"/>
              <a:gd name="T6" fmla="*/ 91 w 104"/>
              <a:gd name="T7" fmla="*/ 3 h 76"/>
              <a:gd name="T8" fmla="*/ 86 w 104"/>
              <a:gd name="T9" fmla="*/ 8 h 76"/>
              <a:gd name="T10" fmla="*/ 76 w 104"/>
              <a:gd name="T11" fmla="*/ 7 h 76"/>
              <a:gd name="T12" fmla="*/ 69 w 104"/>
              <a:gd name="T13" fmla="*/ 12 h 76"/>
              <a:gd name="T14" fmla="*/ 57 w 104"/>
              <a:gd name="T15" fmla="*/ 14 h 76"/>
              <a:gd name="T16" fmla="*/ 50 w 104"/>
              <a:gd name="T17" fmla="*/ 13 h 76"/>
              <a:gd name="T18" fmla="*/ 44 w 104"/>
              <a:gd name="T19" fmla="*/ 16 h 76"/>
              <a:gd name="T20" fmla="*/ 38 w 104"/>
              <a:gd name="T21" fmla="*/ 13 h 76"/>
              <a:gd name="T22" fmla="*/ 35 w 104"/>
              <a:gd name="T23" fmla="*/ 10 h 76"/>
              <a:gd name="T24" fmla="*/ 27 w 104"/>
              <a:gd name="T25" fmla="*/ 6 h 76"/>
              <a:gd name="T26" fmla="*/ 22 w 104"/>
              <a:gd name="T27" fmla="*/ 6 h 76"/>
              <a:gd name="T28" fmla="*/ 20 w 104"/>
              <a:gd name="T29" fmla="*/ 12 h 76"/>
              <a:gd name="T30" fmla="*/ 14 w 104"/>
              <a:gd name="T31" fmla="*/ 11 h 76"/>
              <a:gd name="T32" fmla="*/ 11 w 104"/>
              <a:gd name="T33" fmla="*/ 6 h 76"/>
              <a:gd name="T34" fmla="*/ 9 w 104"/>
              <a:gd name="T35" fmla="*/ 10 h 76"/>
              <a:gd name="T36" fmla="*/ 7 w 104"/>
              <a:gd name="T37" fmla="*/ 12 h 76"/>
              <a:gd name="T38" fmla="*/ 4 w 104"/>
              <a:gd name="T39" fmla="*/ 13 h 76"/>
              <a:gd name="T40" fmla="*/ 2 w 104"/>
              <a:gd name="T41" fmla="*/ 20 h 76"/>
              <a:gd name="T42" fmla="*/ 1 w 104"/>
              <a:gd name="T43" fmla="*/ 23 h 76"/>
              <a:gd name="T44" fmla="*/ 1 w 104"/>
              <a:gd name="T45" fmla="*/ 25 h 76"/>
              <a:gd name="T46" fmla="*/ 4 w 104"/>
              <a:gd name="T47" fmla="*/ 30 h 76"/>
              <a:gd name="T48" fmla="*/ 9 w 104"/>
              <a:gd name="T49" fmla="*/ 34 h 76"/>
              <a:gd name="T50" fmla="*/ 16 w 104"/>
              <a:gd name="T51" fmla="*/ 34 h 76"/>
              <a:gd name="T52" fmla="*/ 20 w 104"/>
              <a:gd name="T53" fmla="*/ 37 h 76"/>
              <a:gd name="T54" fmla="*/ 26 w 104"/>
              <a:gd name="T55" fmla="*/ 39 h 76"/>
              <a:gd name="T56" fmla="*/ 32 w 104"/>
              <a:gd name="T57" fmla="*/ 44 h 76"/>
              <a:gd name="T58" fmla="*/ 38 w 104"/>
              <a:gd name="T59" fmla="*/ 47 h 76"/>
              <a:gd name="T60" fmla="*/ 43 w 104"/>
              <a:gd name="T61" fmla="*/ 52 h 76"/>
              <a:gd name="T62" fmla="*/ 49 w 104"/>
              <a:gd name="T63" fmla="*/ 55 h 76"/>
              <a:gd name="T64" fmla="*/ 57 w 104"/>
              <a:gd name="T65" fmla="*/ 55 h 76"/>
              <a:gd name="T66" fmla="*/ 64 w 104"/>
              <a:gd name="T67" fmla="*/ 61 h 76"/>
              <a:gd name="T68" fmla="*/ 68 w 104"/>
              <a:gd name="T69" fmla="*/ 69 h 76"/>
              <a:gd name="T70" fmla="*/ 73 w 104"/>
              <a:gd name="T71" fmla="*/ 71 h 76"/>
              <a:gd name="T72" fmla="*/ 80 w 104"/>
              <a:gd name="T73" fmla="*/ 72 h 76"/>
              <a:gd name="T74" fmla="*/ 86 w 104"/>
              <a:gd name="T75" fmla="*/ 74 h 76"/>
              <a:gd name="T76" fmla="*/ 89 w 104"/>
              <a:gd name="T77" fmla="*/ 75 h 76"/>
              <a:gd name="T78" fmla="*/ 88 w 104"/>
              <a:gd name="T79" fmla="*/ 70 h 76"/>
              <a:gd name="T80" fmla="*/ 91 w 104"/>
              <a:gd name="T81" fmla="*/ 62 h 76"/>
              <a:gd name="T82" fmla="*/ 95 w 104"/>
              <a:gd name="T83" fmla="*/ 59 h 76"/>
              <a:gd name="T84" fmla="*/ 94 w 104"/>
              <a:gd name="T85" fmla="*/ 57 h 76"/>
              <a:gd name="T86" fmla="*/ 94 w 104"/>
              <a:gd name="T87" fmla="*/ 55 h 76"/>
              <a:gd name="T88" fmla="*/ 92 w 104"/>
              <a:gd name="T89" fmla="*/ 53 h 76"/>
              <a:gd name="T90" fmla="*/ 92 w 104"/>
              <a:gd name="T91" fmla="*/ 50 h 76"/>
              <a:gd name="T92" fmla="*/ 90 w 104"/>
              <a:gd name="T93" fmla="*/ 47 h 76"/>
              <a:gd name="T94" fmla="*/ 87 w 104"/>
              <a:gd name="T95" fmla="*/ 42 h 76"/>
              <a:gd name="T96" fmla="*/ 89 w 104"/>
              <a:gd name="T97" fmla="*/ 35 h 76"/>
              <a:gd name="T98" fmla="*/ 90 w 104"/>
              <a:gd name="T99" fmla="*/ 27 h 76"/>
              <a:gd name="T100" fmla="*/ 94 w 104"/>
              <a:gd name="T101" fmla="*/ 19 h 76"/>
              <a:gd name="T102" fmla="*/ 98 w 104"/>
              <a:gd name="T103" fmla="*/ 13 h 76"/>
              <a:gd name="T104" fmla="*/ 104 w 104"/>
              <a:gd name="T105" fmla="*/ 2 h 76"/>
              <a:gd name="T106" fmla="*/ 100 w 104"/>
              <a:gd name="T107"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76">
                <a:moveTo>
                  <a:pt x="100" y="1"/>
                </a:moveTo>
                <a:cubicBezTo>
                  <a:pt x="98" y="2"/>
                  <a:pt x="98" y="3"/>
                  <a:pt x="96" y="4"/>
                </a:cubicBezTo>
                <a:cubicBezTo>
                  <a:pt x="95" y="4"/>
                  <a:pt x="92" y="6"/>
                  <a:pt x="91" y="5"/>
                </a:cubicBezTo>
                <a:cubicBezTo>
                  <a:pt x="91" y="4"/>
                  <a:pt x="92" y="3"/>
                  <a:pt x="91" y="3"/>
                </a:cubicBezTo>
                <a:cubicBezTo>
                  <a:pt x="92" y="5"/>
                  <a:pt x="88" y="9"/>
                  <a:pt x="86" y="8"/>
                </a:cubicBezTo>
                <a:cubicBezTo>
                  <a:pt x="82" y="7"/>
                  <a:pt x="80" y="6"/>
                  <a:pt x="76" y="7"/>
                </a:cubicBezTo>
                <a:cubicBezTo>
                  <a:pt x="73" y="8"/>
                  <a:pt x="72" y="11"/>
                  <a:pt x="69" y="12"/>
                </a:cubicBezTo>
                <a:cubicBezTo>
                  <a:pt x="65" y="14"/>
                  <a:pt x="61" y="14"/>
                  <a:pt x="57" y="14"/>
                </a:cubicBezTo>
                <a:cubicBezTo>
                  <a:pt x="56" y="13"/>
                  <a:pt x="52" y="12"/>
                  <a:pt x="50" y="13"/>
                </a:cubicBezTo>
                <a:cubicBezTo>
                  <a:pt x="48" y="14"/>
                  <a:pt x="46" y="16"/>
                  <a:pt x="44" y="16"/>
                </a:cubicBezTo>
                <a:cubicBezTo>
                  <a:pt x="42" y="16"/>
                  <a:pt x="39" y="14"/>
                  <a:pt x="38" y="13"/>
                </a:cubicBezTo>
                <a:cubicBezTo>
                  <a:pt x="36" y="12"/>
                  <a:pt x="37" y="9"/>
                  <a:pt x="35" y="10"/>
                </a:cubicBezTo>
                <a:cubicBezTo>
                  <a:pt x="30" y="12"/>
                  <a:pt x="32" y="2"/>
                  <a:pt x="27" y="6"/>
                </a:cubicBezTo>
                <a:cubicBezTo>
                  <a:pt x="25" y="7"/>
                  <a:pt x="24" y="6"/>
                  <a:pt x="22" y="6"/>
                </a:cubicBezTo>
                <a:cubicBezTo>
                  <a:pt x="20" y="7"/>
                  <a:pt x="22" y="10"/>
                  <a:pt x="20" y="12"/>
                </a:cubicBezTo>
                <a:cubicBezTo>
                  <a:pt x="18" y="13"/>
                  <a:pt x="16" y="14"/>
                  <a:pt x="14" y="11"/>
                </a:cubicBezTo>
                <a:cubicBezTo>
                  <a:pt x="13" y="10"/>
                  <a:pt x="12" y="7"/>
                  <a:pt x="11" y="6"/>
                </a:cubicBezTo>
                <a:cubicBezTo>
                  <a:pt x="10" y="6"/>
                  <a:pt x="10" y="9"/>
                  <a:pt x="9" y="10"/>
                </a:cubicBezTo>
                <a:cubicBezTo>
                  <a:pt x="8" y="10"/>
                  <a:pt x="7" y="11"/>
                  <a:pt x="7" y="12"/>
                </a:cubicBezTo>
                <a:cubicBezTo>
                  <a:pt x="6" y="12"/>
                  <a:pt x="5" y="12"/>
                  <a:pt x="4" y="13"/>
                </a:cubicBezTo>
                <a:cubicBezTo>
                  <a:pt x="2" y="14"/>
                  <a:pt x="3" y="18"/>
                  <a:pt x="2" y="20"/>
                </a:cubicBezTo>
                <a:cubicBezTo>
                  <a:pt x="2" y="21"/>
                  <a:pt x="3" y="23"/>
                  <a:pt x="1" y="23"/>
                </a:cubicBezTo>
                <a:cubicBezTo>
                  <a:pt x="0" y="24"/>
                  <a:pt x="1" y="24"/>
                  <a:pt x="1" y="25"/>
                </a:cubicBezTo>
                <a:cubicBezTo>
                  <a:pt x="2" y="27"/>
                  <a:pt x="2" y="29"/>
                  <a:pt x="4" y="30"/>
                </a:cubicBezTo>
                <a:cubicBezTo>
                  <a:pt x="7" y="31"/>
                  <a:pt x="7" y="33"/>
                  <a:pt x="9" y="34"/>
                </a:cubicBezTo>
                <a:cubicBezTo>
                  <a:pt x="11" y="35"/>
                  <a:pt x="13" y="34"/>
                  <a:pt x="16" y="34"/>
                </a:cubicBezTo>
                <a:cubicBezTo>
                  <a:pt x="19" y="34"/>
                  <a:pt x="18" y="36"/>
                  <a:pt x="20" y="37"/>
                </a:cubicBezTo>
                <a:cubicBezTo>
                  <a:pt x="22" y="38"/>
                  <a:pt x="24" y="37"/>
                  <a:pt x="26" y="39"/>
                </a:cubicBezTo>
                <a:cubicBezTo>
                  <a:pt x="28" y="40"/>
                  <a:pt x="30" y="43"/>
                  <a:pt x="32" y="44"/>
                </a:cubicBezTo>
                <a:cubicBezTo>
                  <a:pt x="34" y="46"/>
                  <a:pt x="36" y="46"/>
                  <a:pt x="38" y="47"/>
                </a:cubicBezTo>
                <a:cubicBezTo>
                  <a:pt x="40" y="49"/>
                  <a:pt x="41" y="51"/>
                  <a:pt x="43" y="52"/>
                </a:cubicBezTo>
                <a:cubicBezTo>
                  <a:pt x="45" y="53"/>
                  <a:pt x="47" y="55"/>
                  <a:pt x="49" y="55"/>
                </a:cubicBezTo>
                <a:cubicBezTo>
                  <a:pt x="52" y="55"/>
                  <a:pt x="54" y="54"/>
                  <a:pt x="57" y="55"/>
                </a:cubicBezTo>
                <a:cubicBezTo>
                  <a:pt x="60" y="56"/>
                  <a:pt x="62" y="58"/>
                  <a:pt x="64" y="61"/>
                </a:cubicBezTo>
                <a:cubicBezTo>
                  <a:pt x="66" y="63"/>
                  <a:pt x="66" y="67"/>
                  <a:pt x="68" y="69"/>
                </a:cubicBezTo>
                <a:cubicBezTo>
                  <a:pt x="69" y="70"/>
                  <a:pt x="72" y="70"/>
                  <a:pt x="73" y="71"/>
                </a:cubicBezTo>
                <a:cubicBezTo>
                  <a:pt x="76" y="73"/>
                  <a:pt x="77" y="72"/>
                  <a:pt x="80" y="72"/>
                </a:cubicBezTo>
                <a:cubicBezTo>
                  <a:pt x="81" y="73"/>
                  <a:pt x="86" y="74"/>
                  <a:pt x="86" y="74"/>
                </a:cubicBezTo>
                <a:cubicBezTo>
                  <a:pt x="87" y="76"/>
                  <a:pt x="88" y="75"/>
                  <a:pt x="89" y="75"/>
                </a:cubicBezTo>
                <a:cubicBezTo>
                  <a:pt x="89" y="73"/>
                  <a:pt x="88" y="72"/>
                  <a:pt x="88" y="70"/>
                </a:cubicBezTo>
                <a:cubicBezTo>
                  <a:pt x="88" y="67"/>
                  <a:pt x="88" y="64"/>
                  <a:pt x="91" y="62"/>
                </a:cubicBezTo>
                <a:cubicBezTo>
                  <a:pt x="92" y="61"/>
                  <a:pt x="94" y="59"/>
                  <a:pt x="95" y="59"/>
                </a:cubicBezTo>
                <a:cubicBezTo>
                  <a:pt x="95" y="59"/>
                  <a:pt x="93" y="57"/>
                  <a:pt x="94" y="57"/>
                </a:cubicBezTo>
                <a:cubicBezTo>
                  <a:pt x="94" y="56"/>
                  <a:pt x="95" y="56"/>
                  <a:pt x="94" y="55"/>
                </a:cubicBezTo>
                <a:cubicBezTo>
                  <a:pt x="93" y="55"/>
                  <a:pt x="91" y="54"/>
                  <a:pt x="92" y="53"/>
                </a:cubicBezTo>
                <a:cubicBezTo>
                  <a:pt x="89" y="53"/>
                  <a:pt x="91" y="48"/>
                  <a:pt x="92" y="50"/>
                </a:cubicBezTo>
                <a:cubicBezTo>
                  <a:pt x="92" y="48"/>
                  <a:pt x="93" y="47"/>
                  <a:pt x="90" y="47"/>
                </a:cubicBezTo>
                <a:cubicBezTo>
                  <a:pt x="88" y="46"/>
                  <a:pt x="87" y="44"/>
                  <a:pt x="87" y="42"/>
                </a:cubicBezTo>
                <a:cubicBezTo>
                  <a:pt x="87" y="39"/>
                  <a:pt x="87" y="37"/>
                  <a:pt x="89" y="35"/>
                </a:cubicBezTo>
                <a:cubicBezTo>
                  <a:pt x="90" y="33"/>
                  <a:pt x="90" y="30"/>
                  <a:pt x="90" y="27"/>
                </a:cubicBezTo>
                <a:cubicBezTo>
                  <a:pt x="91" y="24"/>
                  <a:pt x="92" y="22"/>
                  <a:pt x="94" y="19"/>
                </a:cubicBezTo>
                <a:cubicBezTo>
                  <a:pt x="96" y="17"/>
                  <a:pt x="97" y="15"/>
                  <a:pt x="98" y="13"/>
                </a:cubicBezTo>
                <a:cubicBezTo>
                  <a:pt x="101" y="9"/>
                  <a:pt x="101" y="4"/>
                  <a:pt x="104" y="2"/>
                </a:cubicBezTo>
                <a:cubicBezTo>
                  <a:pt x="103" y="2"/>
                  <a:pt x="101" y="0"/>
                  <a:pt x="100" y="1"/>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54">
            <a:extLst>
              <a:ext uri="{FF2B5EF4-FFF2-40B4-BE49-F238E27FC236}">
                <a16:creationId xmlns:a16="http://schemas.microsoft.com/office/drawing/2014/main" id="{024197E5-DEFD-4D8B-96F6-D92E92E57415}"/>
              </a:ext>
            </a:extLst>
          </p:cNvPr>
          <p:cNvSpPr>
            <a:spLocks/>
          </p:cNvSpPr>
          <p:nvPr/>
        </p:nvSpPr>
        <p:spPr bwMode="auto">
          <a:xfrm>
            <a:off x="2348120" y="5641329"/>
            <a:ext cx="149938" cy="301549"/>
          </a:xfrm>
          <a:custGeom>
            <a:avLst/>
            <a:gdLst>
              <a:gd name="T0" fmla="*/ 49 w 54"/>
              <a:gd name="T1" fmla="*/ 17 h 107"/>
              <a:gd name="T2" fmla="*/ 47 w 54"/>
              <a:gd name="T3" fmla="*/ 16 h 107"/>
              <a:gd name="T4" fmla="*/ 46 w 54"/>
              <a:gd name="T5" fmla="*/ 14 h 107"/>
              <a:gd name="T6" fmla="*/ 49 w 54"/>
              <a:gd name="T7" fmla="*/ 12 h 107"/>
              <a:gd name="T8" fmla="*/ 44 w 54"/>
              <a:gd name="T9" fmla="*/ 11 h 107"/>
              <a:gd name="T10" fmla="*/ 42 w 54"/>
              <a:gd name="T11" fmla="*/ 7 h 107"/>
              <a:gd name="T12" fmla="*/ 37 w 54"/>
              <a:gd name="T13" fmla="*/ 2 h 107"/>
              <a:gd name="T14" fmla="*/ 35 w 54"/>
              <a:gd name="T15" fmla="*/ 0 h 107"/>
              <a:gd name="T16" fmla="*/ 33 w 54"/>
              <a:gd name="T17" fmla="*/ 5 h 107"/>
              <a:gd name="T18" fmla="*/ 22 w 54"/>
              <a:gd name="T19" fmla="*/ 14 h 107"/>
              <a:gd name="T20" fmla="*/ 15 w 54"/>
              <a:gd name="T21" fmla="*/ 18 h 107"/>
              <a:gd name="T22" fmla="*/ 4 w 54"/>
              <a:gd name="T23" fmla="*/ 16 h 107"/>
              <a:gd name="T24" fmla="*/ 3 w 54"/>
              <a:gd name="T25" fmla="*/ 17 h 107"/>
              <a:gd name="T26" fmla="*/ 2 w 54"/>
              <a:gd name="T27" fmla="*/ 25 h 107"/>
              <a:gd name="T28" fmla="*/ 3 w 54"/>
              <a:gd name="T29" fmla="*/ 29 h 107"/>
              <a:gd name="T30" fmla="*/ 6 w 54"/>
              <a:gd name="T31" fmla="*/ 32 h 107"/>
              <a:gd name="T32" fmla="*/ 11 w 54"/>
              <a:gd name="T33" fmla="*/ 44 h 107"/>
              <a:gd name="T34" fmla="*/ 8 w 54"/>
              <a:gd name="T35" fmla="*/ 55 h 107"/>
              <a:gd name="T36" fmla="*/ 9 w 54"/>
              <a:gd name="T37" fmla="*/ 61 h 107"/>
              <a:gd name="T38" fmla="*/ 10 w 54"/>
              <a:gd name="T39" fmla="*/ 61 h 107"/>
              <a:gd name="T40" fmla="*/ 13 w 54"/>
              <a:gd name="T41" fmla="*/ 68 h 107"/>
              <a:gd name="T42" fmla="*/ 10 w 54"/>
              <a:gd name="T43" fmla="*/ 69 h 107"/>
              <a:gd name="T44" fmla="*/ 9 w 54"/>
              <a:gd name="T45" fmla="*/ 82 h 107"/>
              <a:gd name="T46" fmla="*/ 9 w 54"/>
              <a:gd name="T47" fmla="*/ 86 h 107"/>
              <a:gd name="T48" fmla="*/ 11 w 54"/>
              <a:gd name="T49" fmla="*/ 97 h 107"/>
              <a:gd name="T50" fmla="*/ 10 w 54"/>
              <a:gd name="T51" fmla="*/ 102 h 107"/>
              <a:gd name="T52" fmla="*/ 14 w 54"/>
              <a:gd name="T53" fmla="*/ 100 h 107"/>
              <a:gd name="T54" fmla="*/ 17 w 54"/>
              <a:gd name="T55" fmla="*/ 107 h 107"/>
              <a:gd name="T56" fmla="*/ 25 w 54"/>
              <a:gd name="T57" fmla="*/ 105 h 107"/>
              <a:gd name="T58" fmla="*/ 28 w 54"/>
              <a:gd name="T59" fmla="*/ 96 h 107"/>
              <a:gd name="T60" fmla="*/ 28 w 54"/>
              <a:gd name="T61" fmla="*/ 90 h 107"/>
              <a:gd name="T62" fmla="*/ 35 w 54"/>
              <a:gd name="T63" fmla="*/ 92 h 107"/>
              <a:gd name="T64" fmla="*/ 43 w 54"/>
              <a:gd name="T65" fmla="*/ 95 h 107"/>
              <a:gd name="T66" fmla="*/ 47 w 54"/>
              <a:gd name="T67" fmla="*/ 90 h 107"/>
              <a:gd name="T68" fmla="*/ 48 w 54"/>
              <a:gd name="T69" fmla="*/ 81 h 107"/>
              <a:gd name="T70" fmla="*/ 50 w 54"/>
              <a:gd name="T71" fmla="*/ 58 h 107"/>
              <a:gd name="T72" fmla="*/ 49 w 54"/>
              <a:gd name="T73" fmla="*/ 51 h 107"/>
              <a:gd name="T74" fmla="*/ 54 w 54"/>
              <a:gd name="T75" fmla="*/ 32 h 107"/>
              <a:gd name="T76" fmla="*/ 51 w 54"/>
              <a:gd name="T77" fmla="*/ 1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107">
                <a:moveTo>
                  <a:pt x="51" y="19"/>
                </a:moveTo>
                <a:cubicBezTo>
                  <a:pt x="50" y="18"/>
                  <a:pt x="49" y="18"/>
                  <a:pt x="49" y="17"/>
                </a:cubicBezTo>
                <a:cubicBezTo>
                  <a:pt x="49" y="17"/>
                  <a:pt x="48" y="15"/>
                  <a:pt x="48" y="15"/>
                </a:cubicBezTo>
                <a:cubicBezTo>
                  <a:pt x="47" y="15"/>
                  <a:pt x="48" y="16"/>
                  <a:pt x="47" y="16"/>
                </a:cubicBezTo>
                <a:cubicBezTo>
                  <a:pt x="46" y="16"/>
                  <a:pt x="45" y="15"/>
                  <a:pt x="44" y="15"/>
                </a:cubicBezTo>
                <a:cubicBezTo>
                  <a:pt x="45" y="14"/>
                  <a:pt x="46" y="14"/>
                  <a:pt x="46" y="14"/>
                </a:cubicBezTo>
                <a:cubicBezTo>
                  <a:pt x="47" y="13"/>
                  <a:pt x="47" y="12"/>
                  <a:pt x="47" y="12"/>
                </a:cubicBezTo>
                <a:cubicBezTo>
                  <a:pt x="48" y="11"/>
                  <a:pt x="49" y="12"/>
                  <a:pt x="49" y="12"/>
                </a:cubicBezTo>
                <a:cubicBezTo>
                  <a:pt x="49" y="11"/>
                  <a:pt x="46" y="11"/>
                  <a:pt x="46" y="10"/>
                </a:cubicBezTo>
                <a:cubicBezTo>
                  <a:pt x="45" y="10"/>
                  <a:pt x="45" y="11"/>
                  <a:pt x="44" y="11"/>
                </a:cubicBezTo>
                <a:cubicBezTo>
                  <a:pt x="45" y="10"/>
                  <a:pt x="46" y="7"/>
                  <a:pt x="45" y="6"/>
                </a:cubicBezTo>
                <a:cubicBezTo>
                  <a:pt x="44" y="4"/>
                  <a:pt x="43" y="5"/>
                  <a:pt x="42" y="7"/>
                </a:cubicBezTo>
                <a:cubicBezTo>
                  <a:pt x="42" y="6"/>
                  <a:pt x="41" y="2"/>
                  <a:pt x="39" y="2"/>
                </a:cubicBezTo>
                <a:cubicBezTo>
                  <a:pt x="39" y="2"/>
                  <a:pt x="38" y="4"/>
                  <a:pt x="37" y="2"/>
                </a:cubicBezTo>
                <a:cubicBezTo>
                  <a:pt x="37" y="1"/>
                  <a:pt x="37" y="1"/>
                  <a:pt x="37" y="3"/>
                </a:cubicBezTo>
                <a:cubicBezTo>
                  <a:pt x="37" y="2"/>
                  <a:pt x="37" y="0"/>
                  <a:pt x="35" y="0"/>
                </a:cubicBezTo>
                <a:cubicBezTo>
                  <a:pt x="34" y="0"/>
                  <a:pt x="33" y="1"/>
                  <a:pt x="33" y="1"/>
                </a:cubicBezTo>
                <a:cubicBezTo>
                  <a:pt x="34" y="1"/>
                  <a:pt x="33" y="4"/>
                  <a:pt x="33" y="5"/>
                </a:cubicBezTo>
                <a:cubicBezTo>
                  <a:pt x="32" y="6"/>
                  <a:pt x="30" y="6"/>
                  <a:pt x="29" y="6"/>
                </a:cubicBezTo>
                <a:cubicBezTo>
                  <a:pt x="26" y="8"/>
                  <a:pt x="25" y="11"/>
                  <a:pt x="22" y="14"/>
                </a:cubicBezTo>
                <a:cubicBezTo>
                  <a:pt x="21" y="15"/>
                  <a:pt x="20" y="15"/>
                  <a:pt x="19" y="15"/>
                </a:cubicBezTo>
                <a:cubicBezTo>
                  <a:pt x="17" y="16"/>
                  <a:pt x="16" y="17"/>
                  <a:pt x="15" y="18"/>
                </a:cubicBezTo>
                <a:cubicBezTo>
                  <a:pt x="13" y="20"/>
                  <a:pt x="10" y="20"/>
                  <a:pt x="8" y="19"/>
                </a:cubicBezTo>
                <a:cubicBezTo>
                  <a:pt x="7" y="18"/>
                  <a:pt x="5" y="18"/>
                  <a:pt x="4" y="16"/>
                </a:cubicBezTo>
                <a:cubicBezTo>
                  <a:pt x="4" y="16"/>
                  <a:pt x="3" y="12"/>
                  <a:pt x="3" y="13"/>
                </a:cubicBezTo>
                <a:cubicBezTo>
                  <a:pt x="2" y="15"/>
                  <a:pt x="3" y="16"/>
                  <a:pt x="3" y="17"/>
                </a:cubicBezTo>
                <a:cubicBezTo>
                  <a:pt x="3" y="18"/>
                  <a:pt x="3" y="19"/>
                  <a:pt x="2" y="19"/>
                </a:cubicBezTo>
                <a:cubicBezTo>
                  <a:pt x="1" y="21"/>
                  <a:pt x="0" y="23"/>
                  <a:pt x="2" y="25"/>
                </a:cubicBezTo>
                <a:cubicBezTo>
                  <a:pt x="4" y="27"/>
                  <a:pt x="0" y="29"/>
                  <a:pt x="1" y="31"/>
                </a:cubicBezTo>
                <a:cubicBezTo>
                  <a:pt x="1" y="30"/>
                  <a:pt x="2" y="29"/>
                  <a:pt x="3" y="29"/>
                </a:cubicBezTo>
                <a:cubicBezTo>
                  <a:pt x="3" y="29"/>
                  <a:pt x="2" y="31"/>
                  <a:pt x="5" y="30"/>
                </a:cubicBezTo>
                <a:cubicBezTo>
                  <a:pt x="6" y="29"/>
                  <a:pt x="6" y="31"/>
                  <a:pt x="6" y="32"/>
                </a:cubicBezTo>
                <a:cubicBezTo>
                  <a:pt x="8" y="35"/>
                  <a:pt x="8" y="37"/>
                  <a:pt x="8" y="41"/>
                </a:cubicBezTo>
                <a:cubicBezTo>
                  <a:pt x="8" y="42"/>
                  <a:pt x="11" y="42"/>
                  <a:pt x="11" y="44"/>
                </a:cubicBezTo>
                <a:cubicBezTo>
                  <a:pt x="12" y="46"/>
                  <a:pt x="10" y="48"/>
                  <a:pt x="11" y="50"/>
                </a:cubicBezTo>
                <a:cubicBezTo>
                  <a:pt x="12" y="53"/>
                  <a:pt x="10" y="55"/>
                  <a:pt x="8" y="55"/>
                </a:cubicBezTo>
                <a:cubicBezTo>
                  <a:pt x="9" y="55"/>
                  <a:pt x="9" y="58"/>
                  <a:pt x="9" y="58"/>
                </a:cubicBezTo>
                <a:cubicBezTo>
                  <a:pt x="9" y="59"/>
                  <a:pt x="9" y="60"/>
                  <a:pt x="9" y="61"/>
                </a:cubicBezTo>
                <a:cubicBezTo>
                  <a:pt x="9" y="62"/>
                  <a:pt x="10" y="61"/>
                  <a:pt x="10" y="63"/>
                </a:cubicBezTo>
                <a:cubicBezTo>
                  <a:pt x="10" y="62"/>
                  <a:pt x="11" y="61"/>
                  <a:pt x="10" y="61"/>
                </a:cubicBezTo>
                <a:cubicBezTo>
                  <a:pt x="11" y="58"/>
                  <a:pt x="15" y="64"/>
                  <a:pt x="13" y="67"/>
                </a:cubicBezTo>
                <a:cubicBezTo>
                  <a:pt x="14" y="66"/>
                  <a:pt x="12" y="67"/>
                  <a:pt x="13" y="68"/>
                </a:cubicBezTo>
                <a:cubicBezTo>
                  <a:pt x="13" y="69"/>
                  <a:pt x="13" y="70"/>
                  <a:pt x="14" y="70"/>
                </a:cubicBezTo>
                <a:cubicBezTo>
                  <a:pt x="12" y="71"/>
                  <a:pt x="10" y="66"/>
                  <a:pt x="10" y="69"/>
                </a:cubicBezTo>
                <a:cubicBezTo>
                  <a:pt x="10" y="72"/>
                  <a:pt x="11" y="75"/>
                  <a:pt x="10" y="77"/>
                </a:cubicBezTo>
                <a:cubicBezTo>
                  <a:pt x="9" y="80"/>
                  <a:pt x="8" y="80"/>
                  <a:pt x="9" y="82"/>
                </a:cubicBezTo>
                <a:cubicBezTo>
                  <a:pt x="9" y="83"/>
                  <a:pt x="8" y="83"/>
                  <a:pt x="8" y="84"/>
                </a:cubicBezTo>
                <a:cubicBezTo>
                  <a:pt x="8" y="85"/>
                  <a:pt x="9" y="85"/>
                  <a:pt x="9" y="86"/>
                </a:cubicBezTo>
                <a:cubicBezTo>
                  <a:pt x="10" y="89"/>
                  <a:pt x="9" y="89"/>
                  <a:pt x="8" y="90"/>
                </a:cubicBezTo>
                <a:cubicBezTo>
                  <a:pt x="7" y="93"/>
                  <a:pt x="11" y="95"/>
                  <a:pt x="11" y="97"/>
                </a:cubicBezTo>
                <a:cubicBezTo>
                  <a:pt x="11" y="99"/>
                  <a:pt x="8" y="96"/>
                  <a:pt x="8" y="97"/>
                </a:cubicBezTo>
                <a:cubicBezTo>
                  <a:pt x="6" y="98"/>
                  <a:pt x="9" y="105"/>
                  <a:pt x="10" y="102"/>
                </a:cubicBezTo>
                <a:cubicBezTo>
                  <a:pt x="10" y="102"/>
                  <a:pt x="12" y="97"/>
                  <a:pt x="12" y="98"/>
                </a:cubicBezTo>
                <a:cubicBezTo>
                  <a:pt x="12" y="99"/>
                  <a:pt x="13" y="99"/>
                  <a:pt x="14" y="100"/>
                </a:cubicBezTo>
                <a:cubicBezTo>
                  <a:pt x="14" y="102"/>
                  <a:pt x="16" y="103"/>
                  <a:pt x="15" y="105"/>
                </a:cubicBezTo>
                <a:cubicBezTo>
                  <a:pt x="15" y="106"/>
                  <a:pt x="16" y="107"/>
                  <a:pt x="17" y="107"/>
                </a:cubicBezTo>
                <a:cubicBezTo>
                  <a:pt x="16" y="104"/>
                  <a:pt x="20" y="105"/>
                  <a:pt x="21" y="106"/>
                </a:cubicBezTo>
                <a:cubicBezTo>
                  <a:pt x="22" y="106"/>
                  <a:pt x="24" y="106"/>
                  <a:pt x="25" y="105"/>
                </a:cubicBezTo>
                <a:cubicBezTo>
                  <a:pt x="26" y="104"/>
                  <a:pt x="28" y="103"/>
                  <a:pt x="29" y="101"/>
                </a:cubicBezTo>
                <a:cubicBezTo>
                  <a:pt x="29" y="99"/>
                  <a:pt x="28" y="98"/>
                  <a:pt x="28" y="96"/>
                </a:cubicBezTo>
                <a:cubicBezTo>
                  <a:pt x="28" y="94"/>
                  <a:pt x="30" y="93"/>
                  <a:pt x="30" y="92"/>
                </a:cubicBezTo>
                <a:cubicBezTo>
                  <a:pt x="30" y="92"/>
                  <a:pt x="27" y="90"/>
                  <a:pt x="28" y="90"/>
                </a:cubicBezTo>
                <a:cubicBezTo>
                  <a:pt x="29" y="90"/>
                  <a:pt x="31" y="92"/>
                  <a:pt x="31" y="92"/>
                </a:cubicBezTo>
                <a:cubicBezTo>
                  <a:pt x="33" y="93"/>
                  <a:pt x="33" y="92"/>
                  <a:pt x="35" y="92"/>
                </a:cubicBezTo>
                <a:cubicBezTo>
                  <a:pt x="37" y="91"/>
                  <a:pt x="39" y="93"/>
                  <a:pt x="41" y="95"/>
                </a:cubicBezTo>
                <a:cubicBezTo>
                  <a:pt x="42" y="96"/>
                  <a:pt x="42" y="95"/>
                  <a:pt x="43" y="95"/>
                </a:cubicBezTo>
                <a:cubicBezTo>
                  <a:pt x="44" y="96"/>
                  <a:pt x="44" y="97"/>
                  <a:pt x="44" y="97"/>
                </a:cubicBezTo>
                <a:cubicBezTo>
                  <a:pt x="46" y="96"/>
                  <a:pt x="46" y="91"/>
                  <a:pt x="47" y="90"/>
                </a:cubicBezTo>
                <a:cubicBezTo>
                  <a:pt x="48" y="88"/>
                  <a:pt x="48" y="88"/>
                  <a:pt x="47" y="86"/>
                </a:cubicBezTo>
                <a:cubicBezTo>
                  <a:pt x="47" y="85"/>
                  <a:pt x="48" y="83"/>
                  <a:pt x="48" y="81"/>
                </a:cubicBezTo>
                <a:cubicBezTo>
                  <a:pt x="49" y="74"/>
                  <a:pt x="51" y="66"/>
                  <a:pt x="51" y="59"/>
                </a:cubicBezTo>
                <a:cubicBezTo>
                  <a:pt x="51" y="59"/>
                  <a:pt x="50" y="59"/>
                  <a:pt x="50" y="58"/>
                </a:cubicBezTo>
                <a:cubicBezTo>
                  <a:pt x="50" y="57"/>
                  <a:pt x="50" y="56"/>
                  <a:pt x="51" y="55"/>
                </a:cubicBezTo>
                <a:cubicBezTo>
                  <a:pt x="51" y="53"/>
                  <a:pt x="51" y="52"/>
                  <a:pt x="49" y="51"/>
                </a:cubicBezTo>
                <a:cubicBezTo>
                  <a:pt x="46" y="47"/>
                  <a:pt x="48" y="43"/>
                  <a:pt x="51" y="40"/>
                </a:cubicBezTo>
                <a:cubicBezTo>
                  <a:pt x="53" y="38"/>
                  <a:pt x="54" y="35"/>
                  <a:pt x="54" y="32"/>
                </a:cubicBezTo>
                <a:cubicBezTo>
                  <a:pt x="53" y="29"/>
                  <a:pt x="51" y="24"/>
                  <a:pt x="49" y="21"/>
                </a:cubicBezTo>
                <a:cubicBezTo>
                  <a:pt x="49" y="21"/>
                  <a:pt x="50" y="19"/>
                  <a:pt x="51" y="19"/>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55">
            <a:extLst>
              <a:ext uri="{FF2B5EF4-FFF2-40B4-BE49-F238E27FC236}">
                <a16:creationId xmlns:a16="http://schemas.microsoft.com/office/drawing/2014/main" id="{D06AF11B-ECAA-4002-B10F-101B968502F5}"/>
              </a:ext>
            </a:extLst>
          </p:cNvPr>
          <p:cNvSpPr>
            <a:spLocks/>
          </p:cNvSpPr>
          <p:nvPr/>
        </p:nvSpPr>
        <p:spPr bwMode="auto">
          <a:xfrm>
            <a:off x="2518128" y="5435131"/>
            <a:ext cx="36599" cy="22646"/>
          </a:xfrm>
          <a:custGeom>
            <a:avLst/>
            <a:gdLst>
              <a:gd name="T0" fmla="*/ 12 w 13"/>
              <a:gd name="T1" fmla="*/ 1 h 8"/>
              <a:gd name="T2" fmla="*/ 10 w 13"/>
              <a:gd name="T3" fmla="*/ 3 h 8"/>
              <a:gd name="T4" fmla="*/ 7 w 13"/>
              <a:gd name="T5" fmla="*/ 3 h 8"/>
              <a:gd name="T6" fmla="*/ 2 w 13"/>
              <a:gd name="T7" fmla="*/ 4 h 8"/>
              <a:gd name="T8" fmla="*/ 7 w 13"/>
              <a:gd name="T9" fmla="*/ 6 h 8"/>
              <a:gd name="T10" fmla="*/ 9 w 13"/>
              <a:gd name="T11" fmla="*/ 6 h 8"/>
              <a:gd name="T12" fmla="*/ 12 w 13"/>
              <a:gd name="T13" fmla="*/ 8 h 8"/>
              <a:gd name="T14" fmla="*/ 11 w 13"/>
              <a:gd name="T15" fmla="*/ 5 h 8"/>
              <a:gd name="T16" fmla="*/ 12 w 13"/>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8">
                <a:moveTo>
                  <a:pt x="12" y="1"/>
                </a:moveTo>
                <a:cubicBezTo>
                  <a:pt x="12" y="0"/>
                  <a:pt x="10" y="3"/>
                  <a:pt x="10" y="3"/>
                </a:cubicBezTo>
                <a:cubicBezTo>
                  <a:pt x="9" y="4"/>
                  <a:pt x="8" y="2"/>
                  <a:pt x="7" y="3"/>
                </a:cubicBezTo>
                <a:cubicBezTo>
                  <a:pt x="6" y="5"/>
                  <a:pt x="4" y="2"/>
                  <a:pt x="2" y="4"/>
                </a:cubicBezTo>
                <a:cubicBezTo>
                  <a:pt x="0" y="7"/>
                  <a:pt x="5" y="7"/>
                  <a:pt x="7" y="6"/>
                </a:cubicBezTo>
                <a:cubicBezTo>
                  <a:pt x="8" y="6"/>
                  <a:pt x="8" y="6"/>
                  <a:pt x="9" y="6"/>
                </a:cubicBezTo>
                <a:cubicBezTo>
                  <a:pt x="10" y="5"/>
                  <a:pt x="11" y="8"/>
                  <a:pt x="12" y="8"/>
                </a:cubicBezTo>
                <a:cubicBezTo>
                  <a:pt x="13" y="7"/>
                  <a:pt x="12" y="6"/>
                  <a:pt x="11" y="5"/>
                </a:cubicBezTo>
                <a:cubicBezTo>
                  <a:pt x="12" y="5"/>
                  <a:pt x="13" y="2"/>
                  <a:pt x="12" y="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56">
            <a:extLst>
              <a:ext uri="{FF2B5EF4-FFF2-40B4-BE49-F238E27FC236}">
                <a16:creationId xmlns:a16="http://schemas.microsoft.com/office/drawing/2014/main" id="{6877D639-3FC0-4720-82F4-2171F305FB52}"/>
              </a:ext>
            </a:extLst>
          </p:cNvPr>
          <p:cNvSpPr>
            <a:spLocks/>
          </p:cNvSpPr>
          <p:nvPr/>
        </p:nvSpPr>
        <p:spPr bwMode="auto">
          <a:xfrm>
            <a:off x="2470904" y="4885669"/>
            <a:ext cx="14167" cy="27414"/>
          </a:xfrm>
          <a:custGeom>
            <a:avLst/>
            <a:gdLst>
              <a:gd name="T0" fmla="*/ 4 w 5"/>
              <a:gd name="T1" fmla="*/ 5 h 10"/>
              <a:gd name="T2" fmla="*/ 2 w 5"/>
              <a:gd name="T3" fmla="*/ 2 h 10"/>
              <a:gd name="T4" fmla="*/ 2 w 5"/>
              <a:gd name="T5" fmla="*/ 0 h 10"/>
              <a:gd name="T6" fmla="*/ 0 w 5"/>
              <a:gd name="T7" fmla="*/ 4 h 10"/>
              <a:gd name="T8" fmla="*/ 1 w 5"/>
              <a:gd name="T9" fmla="*/ 6 h 10"/>
              <a:gd name="T10" fmla="*/ 0 w 5"/>
              <a:gd name="T11" fmla="*/ 9 h 10"/>
              <a:gd name="T12" fmla="*/ 4 w 5"/>
              <a:gd name="T13" fmla="*/ 8 h 10"/>
              <a:gd name="T14" fmla="*/ 4 w 5"/>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4" y="5"/>
                </a:moveTo>
                <a:cubicBezTo>
                  <a:pt x="3" y="4"/>
                  <a:pt x="3" y="3"/>
                  <a:pt x="2" y="2"/>
                </a:cubicBezTo>
                <a:cubicBezTo>
                  <a:pt x="2" y="0"/>
                  <a:pt x="2" y="0"/>
                  <a:pt x="2" y="0"/>
                </a:cubicBezTo>
                <a:cubicBezTo>
                  <a:pt x="1" y="1"/>
                  <a:pt x="0" y="2"/>
                  <a:pt x="0" y="4"/>
                </a:cubicBezTo>
                <a:cubicBezTo>
                  <a:pt x="0" y="4"/>
                  <a:pt x="1" y="5"/>
                  <a:pt x="1" y="6"/>
                </a:cubicBezTo>
                <a:cubicBezTo>
                  <a:pt x="1" y="8"/>
                  <a:pt x="0" y="8"/>
                  <a:pt x="0" y="9"/>
                </a:cubicBezTo>
                <a:cubicBezTo>
                  <a:pt x="2" y="8"/>
                  <a:pt x="3" y="10"/>
                  <a:pt x="4" y="8"/>
                </a:cubicBezTo>
                <a:cubicBezTo>
                  <a:pt x="5" y="7"/>
                  <a:pt x="5" y="5"/>
                  <a:pt x="4" y="5"/>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57">
            <a:extLst>
              <a:ext uri="{FF2B5EF4-FFF2-40B4-BE49-F238E27FC236}">
                <a16:creationId xmlns:a16="http://schemas.microsoft.com/office/drawing/2014/main" id="{AA9AE881-9580-467A-93D4-BE54834E7E06}"/>
              </a:ext>
            </a:extLst>
          </p:cNvPr>
          <p:cNvSpPr>
            <a:spLocks/>
          </p:cNvSpPr>
          <p:nvPr/>
        </p:nvSpPr>
        <p:spPr bwMode="auto">
          <a:xfrm>
            <a:off x="2309160" y="4084718"/>
            <a:ext cx="12987" cy="4768"/>
          </a:xfrm>
          <a:custGeom>
            <a:avLst/>
            <a:gdLst>
              <a:gd name="T0" fmla="*/ 1 w 5"/>
              <a:gd name="T1" fmla="*/ 1 h 2"/>
              <a:gd name="T2" fmla="*/ 0 w 5"/>
              <a:gd name="T3" fmla="*/ 2 h 2"/>
              <a:gd name="T4" fmla="*/ 5 w 5"/>
              <a:gd name="T5" fmla="*/ 1 h 2"/>
              <a:gd name="T6" fmla="*/ 1 w 5"/>
              <a:gd name="T7" fmla="*/ 1 h 2"/>
            </a:gdLst>
            <a:ahLst/>
            <a:cxnLst>
              <a:cxn ang="0">
                <a:pos x="T0" y="T1"/>
              </a:cxn>
              <a:cxn ang="0">
                <a:pos x="T2" y="T3"/>
              </a:cxn>
              <a:cxn ang="0">
                <a:pos x="T4" y="T5"/>
              </a:cxn>
              <a:cxn ang="0">
                <a:pos x="T6" y="T7"/>
              </a:cxn>
            </a:cxnLst>
            <a:rect l="0" t="0" r="r" b="b"/>
            <a:pathLst>
              <a:path w="5" h="2">
                <a:moveTo>
                  <a:pt x="1" y="1"/>
                </a:moveTo>
                <a:cubicBezTo>
                  <a:pt x="1" y="1"/>
                  <a:pt x="0" y="1"/>
                  <a:pt x="0" y="2"/>
                </a:cubicBezTo>
                <a:cubicBezTo>
                  <a:pt x="0" y="2"/>
                  <a:pt x="4" y="1"/>
                  <a:pt x="5" y="1"/>
                </a:cubicBezTo>
                <a:cubicBezTo>
                  <a:pt x="4" y="0"/>
                  <a:pt x="2" y="1"/>
                  <a:pt x="1" y="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61">
            <a:extLst>
              <a:ext uri="{FF2B5EF4-FFF2-40B4-BE49-F238E27FC236}">
                <a16:creationId xmlns:a16="http://schemas.microsoft.com/office/drawing/2014/main" id="{33C686A4-8652-414E-8D3C-DE7469D0708E}"/>
              </a:ext>
            </a:extLst>
          </p:cNvPr>
          <p:cNvSpPr>
            <a:spLocks noEditPoints="1"/>
          </p:cNvSpPr>
          <p:nvPr/>
        </p:nvSpPr>
        <p:spPr bwMode="auto">
          <a:xfrm>
            <a:off x="2172209" y="3923812"/>
            <a:ext cx="762673" cy="961857"/>
          </a:xfrm>
          <a:custGeom>
            <a:avLst/>
            <a:gdLst>
              <a:gd name="T0" fmla="*/ 263 w 273"/>
              <a:gd name="T1" fmla="*/ 133 h 341"/>
              <a:gd name="T2" fmla="*/ 253 w 273"/>
              <a:gd name="T3" fmla="*/ 104 h 341"/>
              <a:gd name="T4" fmla="*/ 252 w 273"/>
              <a:gd name="T5" fmla="*/ 80 h 341"/>
              <a:gd name="T6" fmla="*/ 234 w 273"/>
              <a:gd name="T7" fmla="*/ 53 h 341"/>
              <a:gd name="T8" fmla="*/ 235 w 273"/>
              <a:gd name="T9" fmla="*/ 47 h 341"/>
              <a:gd name="T10" fmla="*/ 239 w 273"/>
              <a:gd name="T11" fmla="*/ 53 h 341"/>
              <a:gd name="T12" fmla="*/ 233 w 273"/>
              <a:gd name="T13" fmla="*/ 43 h 341"/>
              <a:gd name="T14" fmla="*/ 213 w 273"/>
              <a:gd name="T15" fmla="*/ 34 h 341"/>
              <a:gd name="T16" fmla="*/ 197 w 273"/>
              <a:gd name="T17" fmla="*/ 31 h 341"/>
              <a:gd name="T18" fmla="*/ 191 w 273"/>
              <a:gd name="T19" fmla="*/ 34 h 341"/>
              <a:gd name="T20" fmla="*/ 167 w 273"/>
              <a:gd name="T21" fmla="*/ 45 h 341"/>
              <a:gd name="T22" fmla="*/ 154 w 273"/>
              <a:gd name="T23" fmla="*/ 47 h 341"/>
              <a:gd name="T24" fmla="*/ 153 w 273"/>
              <a:gd name="T25" fmla="*/ 31 h 341"/>
              <a:gd name="T26" fmla="*/ 128 w 273"/>
              <a:gd name="T27" fmla="*/ 31 h 341"/>
              <a:gd name="T28" fmla="*/ 121 w 273"/>
              <a:gd name="T29" fmla="*/ 18 h 341"/>
              <a:gd name="T30" fmla="*/ 107 w 273"/>
              <a:gd name="T31" fmla="*/ 13 h 341"/>
              <a:gd name="T32" fmla="*/ 77 w 273"/>
              <a:gd name="T33" fmla="*/ 2 h 341"/>
              <a:gd name="T34" fmla="*/ 89 w 273"/>
              <a:gd name="T35" fmla="*/ 21 h 341"/>
              <a:gd name="T36" fmla="*/ 85 w 273"/>
              <a:gd name="T37" fmla="*/ 35 h 341"/>
              <a:gd name="T38" fmla="*/ 93 w 273"/>
              <a:gd name="T39" fmla="*/ 46 h 341"/>
              <a:gd name="T40" fmla="*/ 113 w 273"/>
              <a:gd name="T41" fmla="*/ 65 h 341"/>
              <a:gd name="T42" fmla="*/ 91 w 273"/>
              <a:gd name="T43" fmla="*/ 54 h 341"/>
              <a:gd name="T44" fmla="*/ 79 w 273"/>
              <a:gd name="T45" fmla="*/ 71 h 341"/>
              <a:gd name="T46" fmla="*/ 66 w 273"/>
              <a:gd name="T47" fmla="*/ 70 h 341"/>
              <a:gd name="T48" fmla="*/ 49 w 273"/>
              <a:gd name="T49" fmla="*/ 61 h 341"/>
              <a:gd name="T50" fmla="*/ 41 w 273"/>
              <a:gd name="T51" fmla="*/ 85 h 341"/>
              <a:gd name="T52" fmla="*/ 27 w 273"/>
              <a:gd name="T53" fmla="*/ 113 h 341"/>
              <a:gd name="T54" fmla="*/ 30 w 273"/>
              <a:gd name="T55" fmla="*/ 128 h 341"/>
              <a:gd name="T56" fmla="*/ 14 w 273"/>
              <a:gd name="T57" fmla="*/ 140 h 341"/>
              <a:gd name="T58" fmla="*/ 7 w 273"/>
              <a:gd name="T59" fmla="*/ 149 h 341"/>
              <a:gd name="T60" fmla="*/ 9 w 273"/>
              <a:gd name="T61" fmla="*/ 170 h 341"/>
              <a:gd name="T62" fmla="*/ 3 w 273"/>
              <a:gd name="T63" fmla="*/ 186 h 341"/>
              <a:gd name="T64" fmla="*/ 14 w 273"/>
              <a:gd name="T65" fmla="*/ 201 h 341"/>
              <a:gd name="T66" fmla="*/ 7 w 273"/>
              <a:gd name="T67" fmla="*/ 221 h 341"/>
              <a:gd name="T68" fmla="*/ 13 w 273"/>
              <a:gd name="T69" fmla="*/ 244 h 341"/>
              <a:gd name="T70" fmla="*/ 31 w 273"/>
              <a:gd name="T71" fmla="*/ 255 h 341"/>
              <a:gd name="T72" fmla="*/ 69 w 273"/>
              <a:gd name="T73" fmla="*/ 266 h 341"/>
              <a:gd name="T74" fmla="*/ 54 w 273"/>
              <a:gd name="T75" fmla="*/ 294 h 341"/>
              <a:gd name="T76" fmla="*/ 52 w 273"/>
              <a:gd name="T77" fmla="*/ 326 h 341"/>
              <a:gd name="T78" fmla="*/ 77 w 273"/>
              <a:gd name="T79" fmla="*/ 327 h 341"/>
              <a:gd name="T80" fmla="*/ 84 w 273"/>
              <a:gd name="T81" fmla="*/ 322 h 341"/>
              <a:gd name="T82" fmla="*/ 116 w 273"/>
              <a:gd name="T83" fmla="*/ 327 h 341"/>
              <a:gd name="T84" fmla="*/ 137 w 273"/>
              <a:gd name="T85" fmla="*/ 334 h 341"/>
              <a:gd name="T86" fmla="*/ 149 w 273"/>
              <a:gd name="T87" fmla="*/ 331 h 341"/>
              <a:gd name="T88" fmla="*/ 172 w 273"/>
              <a:gd name="T89" fmla="*/ 328 h 341"/>
              <a:gd name="T90" fmla="*/ 194 w 273"/>
              <a:gd name="T91" fmla="*/ 322 h 341"/>
              <a:gd name="T92" fmla="*/ 212 w 273"/>
              <a:gd name="T93" fmla="*/ 320 h 341"/>
              <a:gd name="T94" fmla="*/ 235 w 273"/>
              <a:gd name="T95" fmla="*/ 285 h 341"/>
              <a:gd name="T96" fmla="*/ 230 w 273"/>
              <a:gd name="T97" fmla="*/ 266 h 341"/>
              <a:gd name="T98" fmla="*/ 199 w 273"/>
              <a:gd name="T99" fmla="*/ 237 h 341"/>
              <a:gd name="T100" fmla="*/ 190 w 273"/>
              <a:gd name="T101" fmla="*/ 217 h 341"/>
              <a:gd name="T102" fmla="*/ 195 w 273"/>
              <a:gd name="T103" fmla="*/ 206 h 341"/>
              <a:gd name="T104" fmla="*/ 216 w 273"/>
              <a:gd name="T105" fmla="*/ 199 h 341"/>
              <a:gd name="T106" fmla="*/ 239 w 273"/>
              <a:gd name="T107" fmla="*/ 188 h 341"/>
              <a:gd name="T108" fmla="*/ 257 w 273"/>
              <a:gd name="T109" fmla="*/ 175 h 341"/>
              <a:gd name="T110" fmla="*/ 268 w 273"/>
              <a:gd name="T111" fmla="*/ 18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341">
                <a:moveTo>
                  <a:pt x="270" y="161"/>
                </a:moveTo>
                <a:cubicBezTo>
                  <a:pt x="270" y="159"/>
                  <a:pt x="271" y="157"/>
                  <a:pt x="269" y="156"/>
                </a:cubicBezTo>
                <a:cubicBezTo>
                  <a:pt x="267" y="155"/>
                  <a:pt x="262" y="155"/>
                  <a:pt x="263" y="151"/>
                </a:cubicBezTo>
                <a:cubicBezTo>
                  <a:pt x="265" y="148"/>
                  <a:pt x="261" y="145"/>
                  <a:pt x="260" y="142"/>
                </a:cubicBezTo>
                <a:cubicBezTo>
                  <a:pt x="259" y="140"/>
                  <a:pt x="260" y="139"/>
                  <a:pt x="261" y="138"/>
                </a:cubicBezTo>
                <a:cubicBezTo>
                  <a:pt x="263" y="136"/>
                  <a:pt x="262" y="135"/>
                  <a:pt x="263" y="133"/>
                </a:cubicBezTo>
                <a:cubicBezTo>
                  <a:pt x="264" y="131"/>
                  <a:pt x="263" y="131"/>
                  <a:pt x="262" y="129"/>
                </a:cubicBezTo>
                <a:cubicBezTo>
                  <a:pt x="261" y="128"/>
                  <a:pt x="262" y="126"/>
                  <a:pt x="262" y="125"/>
                </a:cubicBezTo>
                <a:cubicBezTo>
                  <a:pt x="262" y="122"/>
                  <a:pt x="259" y="122"/>
                  <a:pt x="257" y="120"/>
                </a:cubicBezTo>
                <a:cubicBezTo>
                  <a:pt x="255" y="115"/>
                  <a:pt x="259" y="114"/>
                  <a:pt x="259" y="111"/>
                </a:cubicBezTo>
                <a:cubicBezTo>
                  <a:pt x="259" y="109"/>
                  <a:pt x="260" y="109"/>
                  <a:pt x="258" y="108"/>
                </a:cubicBezTo>
                <a:cubicBezTo>
                  <a:pt x="257" y="106"/>
                  <a:pt x="255" y="105"/>
                  <a:pt x="253" y="104"/>
                </a:cubicBezTo>
                <a:cubicBezTo>
                  <a:pt x="250" y="101"/>
                  <a:pt x="247" y="100"/>
                  <a:pt x="244" y="97"/>
                </a:cubicBezTo>
                <a:cubicBezTo>
                  <a:pt x="244" y="97"/>
                  <a:pt x="245" y="95"/>
                  <a:pt x="245" y="94"/>
                </a:cubicBezTo>
                <a:cubicBezTo>
                  <a:pt x="244" y="92"/>
                  <a:pt x="245" y="91"/>
                  <a:pt x="247" y="90"/>
                </a:cubicBezTo>
                <a:cubicBezTo>
                  <a:pt x="249" y="89"/>
                  <a:pt x="251" y="88"/>
                  <a:pt x="251" y="86"/>
                </a:cubicBezTo>
                <a:cubicBezTo>
                  <a:pt x="252" y="84"/>
                  <a:pt x="251" y="83"/>
                  <a:pt x="251" y="82"/>
                </a:cubicBezTo>
                <a:cubicBezTo>
                  <a:pt x="252" y="81"/>
                  <a:pt x="252" y="81"/>
                  <a:pt x="252" y="80"/>
                </a:cubicBezTo>
                <a:cubicBezTo>
                  <a:pt x="253" y="79"/>
                  <a:pt x="253" y="76"/>
                  <a:pt x="252" y="73"/>
                </a:cubicBezTo>
                <a:cubicBezTo>
                  <a:pt x="251" y="72"/>
                  <a:pt x="250" y="70"/>
                  <a:pt x="250" y="69"/>
                </a:cubicBezTo>
                <a:cubicBezTo>
                  <a:pt x="248" y="66"/>
                  <a:pt x="250" y="61"/>
                  <a:pt x="246" y="60"/>
                </a:cubicBezTo>
                <a:cubicBezTo>
                  <a:pt x="248" y="59"/>
                  <a:pt x="247" y="57"/>
                  <a:pt x="246" y="58"/>
                </a:cubicBezTo>
                <a:cubicBezTo>
                  <a:pt x="245" y="59"/>
                  <a:pt x="243" y="58"/>
                  <a:pt x="242" y="58"/>
                </a:cubicBezTo>
                <a:cubicBezTo>
                  <a:pt x="241" y="58"/>
                  <a:pt x="233" y="55"/>
                  <a:pt x="234" y="53"/>
                </a:cubicBezTo>
                <a:cubicBezTo>
                  <a:pt x="234" y="52"/>
                  <a:pt x="238" y="51"/>
                  <a:pt x="236" y="50"/>
                </a:cubicBezTo>
                <a:cubicBezTo>
                  <a:pt x="235" y="49"/>
                  <a:pt x="233" y="47"/>
                  <a:pt x="232" y="46"/>
                </a:cubicBezTo>
                <a:cubicBezTo>
                  <a:pt x="232" y="46"/>
                  <a:pt x="233" y="45"/>
                  <a:pt x="233" y="45"/>
                </a:cubicBezTo>
                <a:cubicBezTo>
                  <a:pt x="233" y="46"/>
                  <a:pt x="233" y="46"/>
                  <a:pt x="233" y="46"/>
                </a:cubicBezTo>
                <a:cubicBezTo>
                  <a:pt x="233" y="46"/>
                  <a:pt x="235" y="45"/>
                  <a:pt x="235" y="46"/>
                </a:cubicBezTo>
                <a:cubicBezTo>
                  <a:pt x="236" y="46"/>
                  <a:pt x="235" y="47"/>
                  <a:pt x="235" y="47"/>
                </a:cubicBezTo>
                <a:cubicBezTo>
                  <a:pt x="238" y="48"/>
                  <a:pt x="236" y="42"/>
                  <a:pt x="240" y="46"/>
                </a:cubicBezTo>
                <a:cubicBezTo>
                  <a:pt x="240" y="47"/>
                  <a:pt x="241" y="48"/>
                  <a:pt x="241" y="49"/>
                </a:cubicBezTo>
                <a:cubicBezTo>
                  <a:pt x="240" y="50"/>
                  <a:pt x="239" y="48"/>
                  <a:pt x="238" y="50"/>
                </a:cubicBezTo>
                <a:cubicBezTo>
                  <a:pt x="239" y="46"/>
                  <a:pt x="236" y="48"/>
                  <a:pt x="237" y="49"/>
                </a:cubicBezTo>
                <a:cubicBezTo>
                  <a:pt x="238" y="50"/>
                  <a:pt x="237" y="52"/>
                  <a:pt x="235" y="53"/>
                </a:cubicBezTo>
                <a:cubicBezTo>
                  <a:pt x="233" y="54"/>
                  <a:pt x="238" y="54"/>
                  <a:pt x="239" y="53"/>
                </a:cubicBezTo>
                <a:cubicBezTo>
                  <a:pt x="241" y="53"/>
                  <a:pt x="244" y="52"/>
                  <a:pt x="246" y="53"/>
                </a:cubicBezTo>
                <a:cubicBezTo>
                  <a:pt x="245" y="52"/>
                  <a:pt x="245" y="51"/>
                  <a:pt x="246" y="50"/>
                </a:cubicBezTo>
                <a:cubicBezTo>
                  <a:pt x="243" y="49"/>
                  <a:pt x="242" y="46"/>
                  <a:pt x="239" y="45"/>
                </a:cubicBezTo>
                <a:cubicBezTo>
                  <a:pt x="238" y="44"/>
                  <a:pt x="235" y="43"/>
                  <a:pt x="234" y="41"/>
                </a:cubicBezTo>
                <a:cubicBezTo>
                  <a:pt x="233" y="39"/>
                  <a:pt x="231" y="41"/>
                  <a:pt x="233" y="42"/>
                </a:cubicBezTo>
                <a:cubicBezTo>
                  <a:pt x="234" y="42"/>
                  <a:pt x="234" y="43"/>
                  <a:pt x="233" y="43"/>
                </a:cubicBezTo>
                <a:cubicBezTo>
                  <a:pt x="233" y="42"/>
                  <a:pt x="230" y="41"/>
                  <a:pt x="231" y="40"/>
                </a:cubicBezTo>
                <a:cubicBezTo>
                  <a:pt x="229" y="40"/>
                  <a:pt x="226" y="41"/>
                  <a:pt x="224" y="42"/>
                </a:cubicBezTo>
                <a:cubicBezTo>
                  <a:pt x="223" y="44"/>
                  <a:pt x="223" y="41"/>
                  <a:pt x="221" y="41"/>
                </a:cubicBezTo>
                <a:cubicBezTo>
                  <a:pt x="222" y="39"/>
                  <a:pt x="220" y="40"/>
                  <a:pt x="220" y="40"/>
                </a:cubicBezTo>
                <a:cubicBezTo>
                  <a:pt x="220" y="38"/>
                  <a:pt x="216" y="35"/>
                  <a:pt x="214" y="36"/>
                </a:cubicBezTo>
                <a:cubicBezTo>
                  <a:pt x="215" y="35"/>
                  <a:pt x="213" y="36"/>
                  <a:pt x="213" y="34"/>
                </a:cubicBezTo>
                <a:cubicBezTo>
                  <a:pt x="213" y="34"/>
                  <a:pt x="213" y="33"/>
                  <a:pt x="213" y="32"/>
                </a:cubicBezTo>
                <a:cubicBezTo>
                  <a:pt x="212" y="31"/>
                  <a:pt x="211" y="29"/>
                  <a:pt x="210" y="28"/>
                </a:cubicBezTo>
                <a:cubicBezTo>
                  <a:pt x="208" y="28"/>
                  <a:pt x="207" y="32"/>
                  <a:pt x="205" y="32"/>
                </a:cubicBezTo>
                <a:cubicBezTo>
                  <a:pt x="204" y="31"/>
                  <a:pt x="202" y="30"/>
                  <a:pt x="201" y="31"/>
                </a:cubicBezTo>
                <a:cubicBezTo>
                  <a:pt x="203" y="28"/>
                  <a:pt x="200" y="31"/>
                  <a:pt x="199" y="31"/>
                </a:cubicBezTo>
                <a:cubicBezTo>
                  <a:pt x="198" y="31"/>
                  <a:pt x="198" y="31"/>
                  <a:pt x="197" y="31"/>
                </a:cubicBezTo>
                <a:cubicBezTo>
                  <a:pt x="197" y="32"/>
                  <a:pt x="191" y="35"/>
                  <a:pt x="194" y="36"/>
                </a:cubicBezTo>
                <a:cubicBezTo>
                  <a:pt x="191" y="37"/>
                  <a:pt x="192" y="34"/>
                  <a:pt x="193" y="32"/>
                </a:cubicBezTo>
                <a:cubicBezTo>
                  <a:pt x="194" y="31"/>
                  <a:pt x="196" y="30"/>
                  <a:pt x="198" y="31"/>
                </a:cubicBezTo>
                <a:cubicBezTo>
                  <a:pt x="197" y="28"/>
                  <a:pt x="207" y="30"/>
                  <a:pt x="207" y="29"/>
                </a:cubicBezTo>
                <a:cubicBezTo>
                  <a:pt x="207" y="29"/>
                  <a:pt x="197" y="27"/>
                  <a:pt x="196" y="27"/>
                </a:cubicBezTo>
                <a:cubicBezTo>
                  <a:pt x="194" y="27"/>
                  <a:pt x="192" y="32"/>
                  <a:pt x="191" y="34"/>
                </a:cubicBezTo>
                <a:cubicBezTo>
                  <a:pt x="190" y="35"/>
                  <a:pt x="188" y="36"/>
                  <a:pt x="187" y="37"/>
                </a:cubicBezTo>
                <a:cubicBezTo>
                  <a:pt x="186" y="37"/>
                  <a:pt x="185" y="39"/>
                  <a:pt x="184" y="40"/>
                </a:cubicBezTo>
                <a:cubicBezTo>
                  <a:pt x="185" y="39"/>
                  <a:pt x="184" y="42"/>
                  <a:pt x="184" y="43"/>
                </a:cubicBezTo>
                <a:cubicBezTo>
                  <a:pt x="182" y="42"/>
                  <a:pt x="185" y="39"/>
                  <a:pt x="182" y="39"/>
                </a:cubicBezTo>
                <a:cubicBezTo>
                  <a:pt x="180" y="39"/>
                  <a:pt x="179" y="40"/>
                  <a:pt x="177" y="41"/>
                </a:cubicBezTo>
                <a:cubicBezTo>
                  <a:pt x="174" y="42"/>
                  <a:pt x="168" y="40"/>
                  <a:pt x="167" y="45"/>
                </a:cubicBezTo>
                <a:cubicBezTo>
                  <a:pt x="167" y="45"/>
                  <a:pt x="170" y="42"/>
                  <a:pt x="170" y="43"/>
                </a:cubicBezTo>
                <a:cubicBezTo>
                  <a:pt x="170" y="45"/>
                  <a:pt x="168" y="46"/>
                  <a:pt x="168" y="46"/>
                </a:cubicBezTo>
                <a:cubicBezTo>
                  <a:pt x="166" y="46"/>
                  <a:pt x="166" y="48"/>
                  <a:pt x="166" y="49"/>
                </a:cubicBezTo>
                <a:cubicBezTo>
                  <a:pt x="165" y="51"/>
                  <a:pt x="166" y="51"/>
                  <a:pt x="164" y="51"/>
                </a:cubicBezTo>
                <a:cubicBezTo>
                  <a:pt x="163" y="50"/>
                  <a:pt x="162" y="50"/>
                  <a:pt x="160" y="50"/>
                </a:cubicBezTo>
                <a:cubicBezTo>
                  <a:pt x="158" y="49"/>
                  <a:pt x="158" y="46"/>
                  <a:pt x="154" y="47"/>
                </a:cubicBezTo>
                <a:cubicBezTo>
                  <a:pt x="153" y="47"/>
                  <a:pt x="151" y="48"/>
                  <a:pt x="149" y="49"/>
                </a:cubicBezTo>
                <a:cubicBezTo>
                  <a:pt x="148" y="49"/>
                  <a:pt x="149" y="47"/>
                  <a:pt x="147" y="47"/>
                </a:cubicBezTo>
                <a:cubicBezTo>
                  <a:pt x="145" y="48"/>
                  <a:pt x="144" y="45"/>
                  <a:pt x="146" y="43"/>
                </a:cubicBezTo>
                <a:cubicBezTo>
                  <a:pt x="152" y="41"/>
                  <a:pt x="156" y="40"/>
                  <a:pt x="154" y="32"/>
                </a:cubicBezTo>
                <a:cubicBezTo>
                  <a:pt x="154" y="32"/>
                  <a:pt x="156" y="31"/>
                  <a:pt x="155" y="30"/>
                </a:cubicBezTo>
                <a:cubicBezTo>
                  <a:pt x="155" y="30"/>
                  <a:pt x="153" y="31"/>
                  <a:pt x="153" y="31"/>
                </a:cubicBezTo>
                <a:cubicBezTo>
                  <a:pt x="153" y="31"/>
                  <a:pt x="152" y="31"/>
                  <a:pt x="152" y="31"/>
                </a:cubicBezTo>
                <a:cubicBezTo>
                  <a:pt x="150" y="31"/>
                  <a:pt x="148" y="32"/>
                  <a:pt x="146" y="33"/>
                </a:cubicBezTo>
                <a:cubicBezTo>
                  <a:pt x="143" y="34"/>
                  <a:pt x="142" y="32"/>
                  <a:pt x="139" y="31"/>
                </a:cubicBezTo>
                <a:cubicBezTo>
                  <a:pt x="137" y="30"/>
                  <a:pt x="134" y="28"/>
                  <a:pt x="131" y="29"/>
                </a:cubicBezTo>
                <a:cubicBezTo>
                  <a:pt x="129" y="29"/>
                  <a:pt x="129" y="32"/>
                  <a:pt x="127" y="33"/>
                </a:cubicBezTo>
                <a:cubicBezTo>
                  <a:pt x="127" y="32"/>
                  <a:pt x="127" y="32"/>
                  <a:pt x="128" y="31"/>
                </a:cubicBezTo>
                <a:cubicBezTo>
                  <a:pt x="129" y="30"/>
                  <a:pt x="128" y="29"/>
                  <a:pt x="129" y="28"/>
                </a:cubicBezTo>
                <a:cubicBezTo>
                  <a:pt x="126" y="26"/>
                  <a:pt x="124" y="27"/>
                  <a:pt x="121" y="27"/>
                </a:cubicBezTo>
                <a:cubicBezTo>
                  <a:pt x="121" y="27"/>
                  <a:pt x="118" y="28"/>
                  <a:pt x="118" y="27"/>
                </a:cubicBezTo>
                <a:cubicBezTo>
                  <a:pt x="119" y="26"/>
                  <a:pt x="120" y="26"/>
                  <a:pt x="121" y="26"/>
                </a:cubicBezTo>
                <a:cubicBezTo>
                  <a:pt x="122" y="25"/>
                  <a:pt x="123" y="24"/>
                  <a:pt x="124" y="23"/>
                </a:cubicBezTo>
                <a:cubicBezTo>
                  <a:pt x="124" y="20"/>
                  <a:pt x="124" y="17"/>
                  <a:pt x="121" y="18"/>
                </a:cubicBezTo>
                <a:cubicBezTo>
                  <a:pt x="121" y="18"/>
                  <a:pt x="123" y="18"/>
                  <a:pt x="123" y="17"/>
                </a:cubicBezTo>
                <a:cubicBezTo>
                  <a:pt x="123" y="17"/>
                  <a:pt x="122" y="14"/>
                  <a:pt x="121" y="14"/>
                </a:cubicBezTo>
                <a:cubicBezTo>
                  <a:pt x="120" y="12"/>
                  <a:pt x="120" y="15"/>
                  <a:pt x="118" y="15"/>
                </a:cubicBezTo>
                <a:cubicBezTo>
                  <a:pt x="116" y="14"/>
                  <a:pt x="115" y="12"/>
                  <a:pt x="114" y="12"/>
                </a:cubicBezTo>
                <a:cubicBezTo>
                  <a:pt x="112" y="12"/>
                  <a:pt x="110" y="12"/>
                  <a:pt x="111" y="10"/>
                </a:cubicBezTo>
                <a:cubicBezTo>
                  <a:pt x="109" y="11"/>
                  <a:pt x="108" y="12"/>
                  <a:pt x="107" y="13"/>
                </a:cubicBezTo>
                <a:cubicBezTo>
                  <a:pt x="107" y="10"/>
                  <a:pt x="103" y="12"/>
                  <a:pt x="102" y="12"/>
                </a:cubicBezTo>
                <a:cubicBezTo>
                  <a:pt x="101" y="12"/>
                  <a:pt x="100" y="10"/>
                  <a:pt x="98" y="10"/>
                </a:cubicBezTo>
                <a:cubicBezTo>
                  <a:pt x="95" y="10"/>
                  <a:pt x="93" y="8"/>
                  <a:pt x="90" y="8"/>
                </a:cubicBezTo>
                <a:cubicBezTo>
                  <a:pt x="88" y="8"/>
                  <a:pt x="86" y="9"/>
                  <a:pt x="84" y="8"/>
                </a:cubicBezTo>
                <a:cubicBezTo>
                  <a:pt x="84" y="10"/>
                  <a:pt x="78" y="10"/>
                  <a:pt x="77" y="9"/>
                </a:cubicBezTo>
                <a:cubicBezTo>
                  <a:pt x="72" y="8"/>
                  <a:pt x="79" y="3"/>
                  <a:pt x="77" y="2"/>
                </a:cubicBezTo>
                <a:cubicBezTo>
                  <a:pt x="77" y="2"/>
                  <a:pt x="78" y="2"/>
                  <a:pt x="78" y="2"/>
                </a:cubicBezTo>
                <a:cubicBezTo>
                  <a:pt x="75" y="0"/>
                  <a:pt x="71" y="13"/>
                  <a:pt x="73" y="15"/>
                </a:cubicBezTo>
                <a:cubicBezTo>
                  <a:pt x="74" y="13"/>
                  <a:pt x="73" y="9"/>
                  <a:pt x="76" y="10"/>
                </a:cubicBezTo>
                <a:cubicBezTo>
                  <a:pt x="78" y="11"/>
                  <a:pt x="81" y="9"/>
                  <a:pt x="84" y="9"/>
                </a:cubicBezTo>
                <a:cubicBezTo>
                  <a:pt x="84" y="9"/>
                  <a:pt x="85" y="15"/>
                  <a:pt x="85" y="16"/>
                </a:cubicBezTo>
                <a:cubicBezTo>
                  <a:pt x="86" y="16"/>
                  <a:pt x="92" y="20"/>
                  <a:pt x="89" y="21"/>
                </a:cubicBezTo>
                <a:cubicBezTo>
                  <a:pt x="91" y="21"/>
                  <a:pt x="93" y="23"/>
                  <a:pt x="94" y="25"/>
                </a:cubicBezTo>
                <a:cubicBezTo>
                  <a:pt x="95" y="27"/>
                  <a:pt x="93" y="27"/>
                  <a:pt x="92" y="28"/>
                </a:cubicBezTo>
                <a:cubicBezTo>
                  <a:pt x="90" y="30"/>
                  <a:pt x="84" y="28"/>
                  <a:pt x="83" y="31"/>
                </a:cubicBezTo>
                <a:cubicBezTo>
                  <a:pt x="84" y="31"/>
                  <a:pt x="84" y="31"/>
                  <a:pt x="85" y="32"/>
                </a:cubicBezTo>
                <a:cubicBezTo>
                  <a:pt x="84" y="32"/>
                  <a:pt x="82" y="32"/>
                  <a:pt x="82" y="33"/>
                </a:cubicBezTo>
                <a:cubicBezTo>
                  <a:pt x="82" y="35"/>
                  <a:pt x="84" y="36"/>
                  <a:pt x="85" y="35"/>
                </a:cubicBezTo>
                <a:cubicBezTo>
                  <a:pt x="87" y="34"/>
                  <a:pt x="90" y="35"/>
                  <a:pt x="93" y="34"/>
                </a:cubicBezTo>
                <a:cubicBezTo>
                  <a:pt x="93" y="34"/>
                  <a:pt x="93" y="34"/>
                  <a:pt x="92" y="34"/>
                </a:cubicBezTo>
                <a:cubicBezTo>
                  <a:pt x="92" y="35"/>
                  <a:pt x="90" y="35"/>
                  <a:pt x="89" y="36"/>
                </a:cubicBezTo>
                <a:cubicBezTo>
                  <a:pt x="89" y="36"/>
                  <a:pt x="89" y="39"/>
                  <a:pt x="89" y="38"/>
                </a:cubicBezTo>
                <a:cubicBezTo>
                  <a:pt x="88" y="41"/>
                  <a:pt x="90" y="42"/>
                  <a:pt x="92" y="41"/>
                </a:cubicBezTo>
                <a:cubicBezTo>
                  <a:pt x="94" y="41"/>
                  <a:pt x="95" y="47"/>
                  <a:pt x="93" y="46"/>
                </a:cubicBezTo>
                <a:cubicBezTo>
                  <a:pt x="92" y="46"/>
                  <a:pt x="89" y="44"/>
                  <a:pt x="89" y="47"/>
                </a:cubicBezTo>
                <a:cubicBezTo>
                  <a:pt x="91" y="54"/>
                  <a:pt x="97" y="51"/>
                  <a:pt x="101" y="52"/>
                </a:cubicBezTo>
                <a:cubicBezTo>
                  <a:pt x="104" y="53"/>
                  <a:pt x="105" y="56"/>
                  <a:pt x="106" y="58"/>
                </a:cubicBezTo>
                <a:cubicBezTo>
                  <a:pt x="108" y="60"/>
                  <a:pt x="109" y="60"/>
                  <a:pt x="110" y="63"/>
                </a:cubicBezTo>
                <a:cubicBezTo>
                  <a:pt x="108" y="60"/>
                  <a:pt x="110" y="63"/>
                  <a:pt x="110" y="64"/>
                </a:cubicBezTo>
                <a:cubicBezTo>
                  <a:pt x="111" y="64"/>
                  <a:pt x="112" y="65"/>
                  <a:pt x="113" y="65"/>
                </a:cubicBezTo>
                <a:cubicBezTo>
                  <a:pt x="114" y="66"/>
                  <a:pt x="117" y="66"/>
                  <a:pt x="118" y="67"/>
                </a:cubicBezTo>
                <a:cubicBezTo>
                  <a:pt x="118" y="67"/>
                  <a:pt x="115" y="67"/>
                  <a:pt x="115" y="67"/>
                </a:cubicBezTo>
                <a:cubicBezTo>
                  <a:pt x="114" y="66"/>
                  <a:pt x="112" y="66"/>
                  <a:pt x="111" y="65"/>
                </a:cubicBezTo>
                <a:cubicBezTo>
                  <a:pt x="109" y="63"/>
                  <a:pt x="107" y="60"/>
                  <a:pt x="105" y="58"/>
                </a:cubicBezTo>
                <a:cubicBezTo>
                  <a:pt x="104" y="55"/>
                  <a:pt x="102" y="53"/>
                  <a:pt x="99" y="53"/>
                </a:cubicBezTo>
                <a:cubicBezTo>
                  <a:pt x="96" y="53"/>
                  <a:pt x="94" y="54"/>
                  <a:pt x="91" y="54"/>
                </a:cubicBezTo>
                <a:cubicBezTo>
                  <a:pt x="89" y="55"/>
                  <a:pt x="87" y="54"/>
                  <a:pt x="86" y="53"/>
                </a:cubicBezTo>
                <a:cubicBezTo>
                  <a:pt x="85" y="53"/>
                  <a:pt x="84" y="52"/>
                  <a:pt x="83" y="52"/>
                </a:cubicBezTo>
                <a:cubicBezTo>
                  <a:pt x="82" y="52"/>
                  <a:pt x="81" y="54"/>
                  <a:pt x="80" y="56"/>
                </a:cubicBezTo>
                <a:cubicBezTo>
                  <a:pt x="80" y="57"/>
                  <a:pt x="79" y="59"/>
                  <a:pt x="79" y="60"/>
                </a:cubicBezTo>
                <a:cubicBezTo>
                  <a:pt x="79" y="62"/>
                  <a:pt x="81" y="64"/>
                  <a:pt x="81" y="67"/>
                </a:cubicBezTo>
                <a:cubicBezTo>
                  <a:pt x="81" y="68"/>
                  <a:pt x="79" y="69"/>
                  <a:pt x="79" y="71"/>
                </a:cubicBezTo>
                <a:cubicBezTo>
                  <a:pt x="79" y="69"/>
                  <a:pt x="80" y="67"/>
                  <a:pt x="80" y="67"/>
                </a:cubicBezTo>
                <a:cubicBezTo>
                  <a:pt x="78" y="66"/>
                  <a:pt x="76" y="65"/>
                  <a:pt x="74" y="64"/>
                </a:cubicBezTo>
                <a:cubicBezTo>
                  <a:pt x="72" y="63"/>
                  <a:pt x="70" y="67"/>
                  <a:pt x="72" y="68"/>
                </a:cubicBezTo>
                <a:cubicBezTo>
                  <a:pt x="74" y="68"/>
                  <a:pt x="74" y="70"/>
                  <a:pt x="73" y="72"/>
                </a:cubicBezTo>
                <a:cubicBezTo>
                  <a:pt x="71" y="74"/>
                  <a:pt x="70" y="71"/>
                  <a:pt x="68" y="71"/>
                </a:cubicBezTo>
                <a:cubicBezTo>
                  <a:pt x="67" y="70"/>
                  <a:pt x="67" y="72"/>
                  <a:pt x="66" y="70"/>
                </a:cubicBezTo>
                <a:cubicBezTo>
                  <a:pt x="66" y="69"/>
                  <a:pt x="66" y="69"/>
                  <a:pt x="67" y="68"/>
                </a:cubicBezTo>
                <a:cubicBezTo>
                  <a:pt x="68" y="68"/>
                  <a:pt x="69" y="68"/>
                  <a:pt x="69" y="67"/>
                </a:cubicBezTo>
                <a:cubicBezTo>
                  <a:pt x="69" y="66"/>
                  <a:pt x="69" y="66"/>
                  <a:pt x="68" y="66"/>
                </a:cubicBezTo>
                <a:cubicBezTo>
                  <a:pt x="68" y="66"/>
                  <a:pt x="66" y="62"/>
                  <a:pt x="65" y="62"/>
                </a:cubicBezTo>
                <a:cubicBezTo>
                  <a:pt x="64" y="59"/>
                  <a:pt x="61" y="59"/>
                  <a:pt x="58" y="59"/>
                </a:cubicBezTo>
                <a:cubicBezTo>
                  <a:pt x="55" y="60"/>
                  <a:pt x="51" y="61"/>
                  <a:pt x="49" y="61"/>
                </a:cubicBezTo>
                <a:cubicBezTo>
                  <a:pt x="46" y="61"/>
                  <a:pt x="44" y="61"/>
                  <a:pt x="41" y="63"/>
                </a:cubicBezTo>
                <a:cubicBezTo>
                  <a:pt x="40" y="64"/>
                  <a:pt x="37" y="65"/>
                  <a:pt x="39" y="67"/>
                </a:cubicBezTo>
                <a:cubicBezTo>
                  <a:pt x="40" y="68"/>
                  <a:pt x="37" y="68"/>
                  <a:pt x="36" y="69"/>
                </a:cubicBezTo>
                <a:cubicBezTo>
                  <a:pt x="36" y="71"/>
                  <a:pt x="35" y="74"/>
                  <a:pt x="37" y="75"/>
                </a:cubicBezTo>
                <a:cubicBezTo>
                  <a:pt x="39" y="77"/>
                  <a:pt x="44" y="74"/>
                  <a:pt x="46" y="77"/>
                </a:cubicBezTo>
                <a:cubicBezTo>
                  <a:pt x="41" y="73"/>
                  <a:pt x="41" y="82"/>
                  <a:pt x="41" y="85"/>
                </a:cubicBezTo>
                <a:cubicBezTo>
                  <a:pt x="41" y="90"/>
                  <a:pt x="40" y="92"/>
                  <a:pt x="38" y="96"/>
                </a:cubicBezTo>
                <a:cubicBezTo>
                  <a:pt x="36" y="98"/>
                  <a:pt x="37" y="101"/>
                  <a:pt x="37" y="103"/>
                </a:cubicBezTo>
                <a:cubicBezTo>
                  <a:pt x="36" y="106"/>
                  <a:pt x="36" y="106"/>
                  <a:pt x="35" y="106"/>
                </a:cubicBezTo>
                <a:cubicBezTo>
                  <a:pt x="32" y="106"/>
                  <a:pt x="31" y="105"/>
                  <a:pt x="28" y="105"/>
                </a:cubicBezTo>
                <a:cubicBezTo>
                  <a:pt x="27" y="105"/>
                  <a:pt x="25" y="108"/>
                  <a:pt x="27" y="109"/>
                </a:cubicBezTo>
                <a:cubicBezTo>
                  <a:pt x="25" y="109"/>
                  <a:pt x="25" y="112"/>
                  <a:pt x="27" y="113"/>
                </a:cubicBezTo>
                <a:cubicBezTo>
                  <a:pt x="29" y="114"/>
                  <a:pt x="32" y="115"/>
                  <a:pt x="34" y="114"/>
                </a:cubicBezTo>
                <a:cubicBezTo>
                  <a:pt x="35" y="113"/>
                  <a:pt x="36" y="117"/>
                  <a:pt x="36" y="118"/>
                </a:cubicBezTo>
                <a:cubicBezTo>
                  <a:pt x="36" y="119"/>
                  <a:pt x="36" y="121"/>
                  <a:pt x="35" y="122"/>
                </a:cubicBezTo>
                <a:cubicBezTo>
                  <a:pt x="35" y="123"/>
                  <a:pt x="36" y="123"/>
                  <a:pt x="36" y="123"/>
                </a:cubicBezTo>
                <a:cubicBezTo>
                  <a:pt x="36" y="123"/>
                  <a:pt x="33" y="125"/>
                  <a:pt x="33" y="126"/>
                </a:cubicBezTo>
                <a:cubicBezTo>
                  <a:pt x="32" y="127"/>
                  <a:pt x="31" y="128"/>
                  <a:pt x="30" y="128"/>
                </a:cubicBezTo>
                <a:cubicBezTo>
                  <a:pt x="28" y="129"/>
                  <a:pt x="28" y="128"/>
                  <a:pt x="26" y="130"/>
                </a:cubicBezTo>
                <a:cubicBezTo>
                  <a:pt x="26" y="130"/>
                  <a:pt x="24" y="131"/>
                  <a:pt x="26" y="132"/>
                </a:cubicBezTo>
                <a:cubicBezTo>
                  <a:pt x="28" y="133"/>
                  <a:pt x="31" y="137"/>
                  <a:pt x="26" y="138"/>
                </a:cubicBezTo>
                <a:cubicBezTo>
                  <a:pt x="25" y="138"/>
                  <a:pt x="23" y="139"/>
                  <a:pt x="21" y="139"/>
                </a:cubicBezTo>
                <a:cubicBezTo>
                  <a:pt x="20" y="140"/>
                  <a:pt x="18" y="140"/>
                  <a:pt x="16" y="140"/>
                </a:cubicBezTo>
                <a:cubicBezTo>
                  <a:pt x="17" y="142"/>
                  <a:pt x="14" y="140"/>
                  <a:pt x="14" y="140"/>
                </a:cubicBezTo>
                <a:cubicBezTo>
                  <a:pt x="13" y="139"/>
                  <a:pt x="10" y="138"/>
                  <a:pt x="9" y="138"/>
                </a:cubicBezTo>
                <a:cubicBezTo>
                  <a:pt x="7" y="137"/>
                  <a:pt x="12" y="142"/>
                  <a:pt x="8" y="140"/>
                </a:cubicBezTo>
                <a:cubicBezTo>
                  <a:pt x="7" y="140"/>
                  <a:pt x="3" y="140"/>
                  <a:pt x="3" y="141"/>
                </a:cubicBezTo>
                <a:cubicBezTo>
                  <a:pt x="3" y="142"/>
                  <a:pt x="5" y="144"/>
                  <a:pt x="3" y="145"/>
                </a:cubicBezTo>
                <a:cubicBezTo>
                  <a:pt x="4" y="146"/>
                  <a:pt x="6" y="145"/>
                  <a:pt x="5" y="147"/>
                </a:cubicBezTo>
                <a:cubicBezTo>
                  <a:pt x="5" y="148"/>
                  <a:pt x="7" y="148"/>
                  <a:pt x="7" y="149"/>
                </a:cubicBezTo>
                <a:cubicBezTo>
                  <a:pt x="8" y="150"/>
                  <a:pt x="7" y="151"/>
                  <a:pt x="8" y="152"/>
                </a:cubicBezTo>
                <a:cubicBezTo>
                  <a:pt x="9" y="153"/>
                  <a:pt x="10" y="154"/>
                  <a:pt x="10" y="156"/>
                </a:cubicBezTo>
                <a:cubicBezTo>
                  <a:pt x="12" y="160"/>
                  <a:pt x="9" y="163"/>
                  <a:pt x="7" y="166"/>
                </a:cubicBezTo>
                <a:cubicBezTo>
                  <a:pt x="6" y="167"/>
                  <a:pt x="6" y="168"/>
                  <a:pt x="6" y="169"/>
                </a:cubicBezTo>
                <a:cubicBezTo>
                  <a:pt x="7" y="170"/>
                  <a:pt x="8" y="169"/>
                  <a:pt x="9" y="169"/>
                </a:cubicBezTo>
                <a:cubicBezTo>
                  <a:pt x="8" y="169"/>
                  <a:pt x="8" y="169"/>
                  <a:pt x="9" y="170"/>
                </a:cubicBezTo>
                <a:cubicBezTo>
                  <a:pt x="6" y="172"/>
                  <a:pt x="4" y="174"/>
                  <a:pt x="1" y="175"/>
                </a:cubicBezTo>
                <a:cubicBezTo>
                  <a:pt x="1" y="175"/>
                  <a:pt x="0" y="174"/>
                  <a:pt x="0" y="175"/>
                </a:cubicBezTo>
                <a:cubicBezTo>
                  <a:pt x="0" y="177"/>
                  <a:pt x="1" y="177"/>
                  <a:pt x="0" y="178"/>
                </a:cubicBezTo>
                <a:cubicBezTo>
                  <a:pt x="2" y="178"/>
                  <a:pt x="3" y="178"/>
                  <a:pt x="4" y="178"/>
                </a:cubicBezTo>
                <a:cubicBezTo>
                  <a:pt x="3" y="180"/>
                  <a:pt x="6" y="181"/>
                  <a:pt x="6" y="182"/>
                </a:cubicBezTo>
                <a:cubicBezTo>
                  <a:pt x="6" y="183"/>
                  <a:pt x="3" y="186"/>
                  <a:pt x="3" y="186"/>
                </a:cubicBezTo>
                <a:cubicBezTo>
                  <a:pt x="4" y="187"/>
                  <a:pt x="4" y="189"/>
                  <a:pt x="6" y="189"/>
                </a:cubicBezTo>
                <a:cubicBezTo>
                  <a:pt x="7" y="189"/>
                  <a:pt x="7" y="190"/>
                  <a:pt x="8" y="191"/>
                </a:cubicBezTo>
                <a:cubicBezTo>
                  <a:pt x="8" y="192"/>
                  <a:pt x="11" y="194"/>
                  <a:pt x="11" y="194"/>
                </a:cubicBezTo>
                <a:cubicBezTo>
                  <a:pt x="12" y="195"/>
                  <a:pt x="7" y="197"/>
                  <a:pt x="9" y="198"/>
                </a:cubicBezTo>
                <a:cubicBezTo>
                  <a:pt x="10" y="199"/>
                  <a:pt x="12" y="199"/>
                  <a:pt x="13" y="199"/>
                </a:cubicBezTo>
                <a:cubicBezTo>
                  <a:pt x="14" y="200"/>
                  <a:pt x="13" y="200"/>
                  <a:pt x="14" y="201"/>
                </a:cubicBezTo>
                <a:cubicBezTo>
                  <a:pt x="14" y="202"/>
                  <a:pt x="15" y="207"/>
                  <a:pt x="15" y="207"/>
                </a:cubicBezTo>
                <a:cubicBezTo>
                  <a:pt x="14" y="207"/>
                  <a:pt x="13" y="208"/>
                  <a:pt x="12" y="208"/>
                </a:cubicBezTo>
                <a:cubicBezTo>
                  <a:pt x="11" y="210"/>
                  <a:pt x="10" y="209"/>
                  <a:pt x="9" y="210"/>
                </a:cubicBezTo>
                <a:cubicBezTo>
                  <a:pt x="6" y="212"/>
                  <a:pt x="9" y="211"/>
                  <a:pt x="8" y="213"/>
                </a:cubicBezTo>
                <a:cubicBezTo>
                  <a:pt x="8" y="213"/>
                  <a:pt x="7" y="213"/>
                  <a:pt x="7" y="214"/>
                </a:cubicBezTo>
                <a:cubicBezTo>
                  <a:pt x="8" y="216"/>
                  <a:pt x="6" y="219"/>
                  <a:pt x="7" y="221"/>
                </a:cubicBezTo>
                <a:cubicBezTo>
                  <a:pt x="8" y="223"/>
                  <a:pt x="11" y="226"/>
                  <a:pt x="13" y="227"/>
                </a:cubicBezTo>
                <a:cubicBezTo>
                  <a:pt x="15" y="229"/>
                  <a:pt x="17" y="228"/>
                  <a:pt x="18" y="230"/>
                </a:cubicBezTo>
                <a:cubicBezTo>
                  <a:pt x="18" y="229"/>
                  <a:pt x="18" y="232"/>
                  <a:pt x="18" y="232"/>
                </a:cubicBezTo>
                <a:cubicBezTo>
                  <a:pt x="18" y="234"/>
                  <a:pt x="17" y="234"/>
                  <a:pt x="15" y="235"/>
                </a:cubicBezTo>
                <a:cubicBezTo>
                  <a:pt x="15" y="236"/>
                  <a:pt x="15" y="237"/>
                  <a:pt x="14" y="238"/>
                </a:cubicBezTo>
                <a:cubicBezTo>
                  <a:pt x="13" y="240"/>
                  <a:pt x="13" y="242"/>
                  <a:pt x="13" y="244"/>
                </a:cubicBezTo>
                <a:cubicBezTo>
                  <a:pt x="15" y="243"/>
                  <a:pt x="17" y="245"/>
                  <a:pt x="19" y="247"/>
                </a:cubicBezTo>
                <a:cubicBezTo>
                  <a:pt x="20" y="248"/>
                  <a:pt x="20" y="250"/>
                  <a:pt x="20" y="251"/>
                </a:cubicBezTo>
                <a:cubicBezTo>
                  <a:pt x="21" y="252"/>
                  <a:pt x="23" y="254"/>
                  <a:pt x="24" y="255"/>
                </a:cubicBezTo>
                <a:cubicBezTo>
                  <a:pt x="25" y="256"/>
                  <a:pt x="23" y="257"/>
                  <a:pt x="25" y="257"/>
                </a:cubicBezTo>
                <a:cubicBezTo>
                  <a:pt x="25" y="258"/>
                  <a:pt x="28" y="258"/>
                  <a:pt x="28" y="257"/>
                </a:cubicBezTo>
                <a:cubicBezTo>
                  <a:pt x="28" y="254"/>
                  <a:pt x="29" y="255"/>
                  <a:pt x="31" y="255"/>
                </a:cubicBezTo>
                <a:cubicBezTo>
                  <a:pt x="32" y="256"/>
                  <a:pt x="33" y="257"/>
                  <a:pt x="33" y="258"/>
                </a:cubicBezTo>
                <a:cubicBezTo>
                  <a:pt x="34" y="260"/>
                  <a:pt x="35" y="260"/>
                  <a:pt x="35" y="258"/>
                </a:cubicBezTo>
                <a:cubicBezTo>
                  <a:pt x="38" y="258"/>
                  <a:pt x="40" y="262"/>
                  <a:pt x="43" y="258"/>
                </a:cubicBezTo>
                <a:cubicBezTo>
                  <a:pt x="46" y="255"/>
                  <a:pt x="47" y="259"/>
                  <a:pt x="49" y="261"/>
                </a:cubicBezTo>
                <a:cubicBezTo>
                  <a:pt x="51" y="263"/>
                  <a:pt x="55" y="263"/>
                  <a:pt x="58" y="263"/>
                </a:cubicBezTo>
                <a:cubicBezTo>
                  <a:pt x="62" y="263"/>
                  <a:pt x="65" y="265"/>
                  <a:pt x="69" y="266"/>
                </a:cubicBezTo>
                <a:cubicBezTo>
                  <a:pt x="67" y="267"/>
                  <a:pt x="66" y="271"/>
                  <a:pt x="65" y="273"/>
                </a:cubicBezTo>
                <a:cubicBezTo>
                  <a:pt x="64" y="274"/>
                  <a:pt x="62" y="275"/>
                  <a:pt x="62" y="275"/>
                </a:cubicBezTo>
                <a:cubicBezTo>
                  <a:pt x="61" y="276"/>
                  <a:pt x="61" y="277"/>
                  <a:pt x="60" y="278"/>
                </a:cubicBezTo>
                <a:cubicBezTo>
                  <a:pt x="57" y="281"/>
                  <a:pt x="57" y="282"/>
                  <a:pt x="56" y="285"/>
                </a:cubicBezTo>
                <a:cubicBezTo>
                  <a:pt x="56" y="287"/>
                  <a:pt x="55" y="289"/>
                  <a:pt x="55" y="291"/>
                </a:cubicBezTo>
                <a:cubicBezTo>
                  <a:pt x="55" y="292"/>
                  <a:pt x="55" y="293"/>
                  <a:pt x="54" y="294"/>
                </a:cubicBezTo>
                <a:cubicBezTo>
                  <a:pt x="53" y="295"/>
                  <a:pt x="52" y="297"/>
                  <a:pt x="51" y="299"/>
                </a:cubicBezTo>
                <a:cubicBezTo>
                  <a:pt x="50" y="301"/>
                  <a:pt x="50" y="303"/>
                  <a:pt x="50" y="304"/>
                </a:cubicBezTo>
                <a:cubicBezTo>
                  <a:pt x="49" y="307"/>
                  <a:pt x="51" y="309"/>
                  <a:pt x="49" y="312"/>
                </a:cubicBezTo>
                <a:cubicBezTo>
                  <a:pt x="48" y="315"/>
                  <a:pt x="49" y="318"/>
                  <a:pt x="47" y="321"/>
                </a:cubicBezTo>
                <a:cubicBezTo>
                  <a:pt x="46" y="323"/>
                  <a:pt x="49" y="325"/>
                  <a:pt x="49" y="327"/>
                </a:cubicBezTo>
                <a:cubicBezTo>
                  <a:pt x="50" y="327"/>
                  <a:pt x="51" y="326"/>
                  <a:pt x="52" y="326"/>
                </a:cubicBezTo>
                <a:cubicBezTo>
                  <a:pt x="52" y="327"/>
                  <a:pt x="51" y="328"/>
                  <a:pt x="50" y="328"/>
                </a:cubicBezTo>
                <a:cubicBezTo>
                  <a:pt x="53" y="330"/>
                  <a:pt x="54" y="327"/>
                  <a:pt x="57" y="327"/>
                </a:cubicBezTo>
                <a:cubicBezTo>
                  <a:pt x="58" y="327"/>
                  <a:pt x="58" y="328"/>
                  <a:pt x="59" y="328"/>
                </a:cubicBezTo>
                <a:cubicBezTo>
                  <a:pt x="60" y="329"/>
                  <a:pt x="62" y="328"/>
                  <a:pt x="63" y="328"/>
                </a:cubicBezTo>
                <a:cubicBezTo>
                  <a:pt x="65" y="328"/>
                  <a:pt x="67" y="325"/>
                  <a:pt x="69" y="326"/>
                </a:cubicBezTo>
                <a:cubicBezTo>
                  <a:pt x="72" y="326"/>
                  <a:pt x="74" y="328"/>
                  <a:pt x="77" y="327"/>
                </a:cubicBezTo>
                <a:cubicBezTo>
                  <a:pt x="76" y="326"/>
                  <a:pt x="79" y="323"/>
                  <a:pt x="79" y="327"/>
                </a:cubicBezTo>
                <a:cubicBezTo>
                  <a:pt x="81" y="325"/>
                  <a:pt x="81" y="322"/>
                  <a:pt x="78" y="324"/>
                </a:cubicBezTo>
                <a:cubicBezTo>
                  <a:pt x="78" y="324"/>
                  <a:pt x="73" y="324"/>
                  <a:pt x="75" y="322"/>
                </a:cubicBezTo>
                <a:cubicBezTo>
                  <a:pt x="76" y="320"/>
                  <a:pt x="81" y="315"/>
                  <a:pt x="81" y="319"/>
                </a:cubicBezTo>
                <a:cubicBezTo>
                  <a:pt x="82" y="317"/>
                  <a:pt x="83" y="318"/>
                  <a:pt x="84" y="319"/>
                </a:cubicBezTo>
                <a:cubicBezTo>
                  <a:pt x="85" y="320"/>
                  <a:pt x="84" y="321"/>
                  <a:pt x="84" y="322"/>
                </a:cubicBezTo>
                <a:cubicBezTo>
                  <a:pt x="85" y="322"/>
                  <a:pt x="85" y="322"/>
                  <a:pt x="86" y="323"/>
                </a:cubicBezTo>
                <a:cubicBezTo>
                  <a:pt x="85" y="320"/>
                  <a:pt x="87" y="321"/>
                  <a:pt x="88" y="322"/>
                </a:cubicBezTo>
                <a:cubicBezTo>
                  <a:pt x="87" y="322"/>
                  <a:pt x="90" y="324"/>
                  <a:pt x="92" y="324"/>
                </a:cubicBezTo>
                <a:cubicBezTo>
                  <a:pt x="95" y="322"/>
                  <a:pt x="98" y="323"/>
                  <a:pt x="101" y="324"/>
                </a:cubicBezTo>
                <a:cubicBezTo>
                  <a:pt x="104" y="326"/>
                  <a:pt x="107" y="328"/>
                  <a:pt x="110" y="329"/>
                </a:cubicBezTo>
                <a:cubicBezTo>
                  <a:pt x="113" y="330"/>
                  <a:pt x="114" y="329"/>
                  <a:pt x="116" y="327"/>
                </a:cubicBezTo>
                <a:cubicBezTo>
                  <a:pt x="117" y="326"/>
                  <a:pt x="117" y="328"/>
                  <a:pt x="118" y="329"/>
                </a:cubicBezTo>
                <a:cubicBezTo>
                  <a:pt x="119" y="329"/>
                  <a:pt x="120" y="329"/>
                  <a:pt x="121" y="329"/>
                </a:cubicBezTo>
                <a:cubicBezTo>
                  <a:pt x="123" y="330"/>
                  <a:pt x="126" y="333"/>
                  <a:pt x="126" y="335"/>
                </a:cubicBezTo>
                <a:cubicBezTo>
                  <a:pt x="126" y="338"/>
                  <a:pt x="128" y="336"/>
                  <a:pt x="129" y="336"/>
                </a:cubicBezTo>
                <a:cubicBezTo>
                  <a:pt x="131" y="336"/>
                  <a:pt x="128" y="340"/>
                  <a:pt x="128" y="341"/>
                </a:cubicBezTo>
                <a:cubicBezTo>
                  <a:pt x="131" y="341"/>
                  <a:pt x="136" y="337"/>
                  <a:pt x="137" y="334"/>
                </a:cubicBezTo>
                <a:cubicBezTo>
                  <a:pt x="137" y="333"/>
                  <a:pt x="135" y="325"/>
                  <a:pt x="137" y="327"/>
                </a:cubicBezTo>
                <a:cubicBezTo>
                  <a:pt x="138" y="327"/>
                  <a:pt x="136" y="329"/>
                  <a:pt x="139" y="329"/>
                </a:cubicBezTo>
                <a:cubicBezTo>
                  <a:pt x="140" y="329"/>
                  <a:pt x="140" y="328"/>
                  <a:pt x="142" y="328"/>
                </a:cubicBezTo>
                <a:cubicBezTo>
                  <a:pt x="144" y="328"/>
                  <a:pt x="145" y="329"/>
                  <a:pt x="147" y="329"/>
                </a:cubicBezTo>
                <a:cubicBezTo>
                  <a:pt x="148" y="329"/>
                  <a:pt x="150" y="329"/>
                  <a:pt x="150" y="330"/>
                </a:cubicBezTo>
                <a:cubicBezTo>
                  <a:pt x="150" y="330"/>
                  <a:pt x="149" y="331"/>
                  <a:pt x="149" y="331"/>
                </a:cubicBezTo>
                <a:cubicBezTo>
                  <a:pt x="151" y="332"/>
                  <a:pt x="152" y="332"/>
                  <a:pt x="152" y="334"/>
                </a:cubicBezTo>
                <a:cubicBezTo>
                  <a:pt x="153" y="336"/>
                  <a:pt x="157" y="335"/>
                  <a:pt x="158" y="334"/>
                </a:cubicBezTo>
                <a:cubicBezTo>
                  <a:pt x="161" y="333"/>
                  <a:pt x="160" y="335"/>
                  <a:pt x="162" y="335"/>
                </a:cubicBezTo>
                <a:cubicBezTo>
                  <a:pt x="163" y="335"/>
                  <a:pt x="164" y="332"/>
                  <a:pt x="166" y="333"/>
                </a:cubicBezTo>
                <a:cubicBezTo>
                  <a:pt x="164" y="330"/>
                  <a:pt x="169" y="330"/>
                  <a:pt x="170" y="330"/>
                </a:cubicBezTo>
                <a:cubicBezTo>
                  <a:pt x="171" y="330"/>
                  <a:pt x="171" y="329"/>
                  <a:pt x="172" y="328"/>
                </a:cubicBezTo>
                <a:cubicBezTo>
                  <a:pt x="173" y="326"/>
                  <a:pt x="175" y="327"/>
                  <a:pt x="177" y="327"/>
                </a:cubicBezTo>
                <a:cubicBezTo>
                  <a:pt x="179" y="327"/>
                  <a:pt x="181" y="326"/>
                  <a:pt x="183" y="326"/>
                </a:cubicBezTo>
                <a:cubicBezTo>
                  <a:pt x="185" y="325"/>
                  <a:pt x="187" y="326"/>
                  <a:pt x="189" y="326"/>
                </a:cubicBezTo>
                <a:cubicBezTo>
                  <a:pt x="190" y="326"/>
                  <a:pt x="191" y="324"/>
                  <a:pt x="190" y="323"/>
                </a:cubicBezTo>
                <a:cubicBezTo>
                  <a:pt x="189" y="321"/>
                  <a:pt x="191" y="321"/>
                  <a:pt x="192" y="320"/>
                </a:cubicBezTo>
                <a:cubicBezTo>
                  <a:pt x="190" y="323"/>
                  <a:pt x="193" y="322"/>
                  <a:pt x="194" y="322"/>
                </a:cubicBezTo>
                <a:cubicBezTo>
                  <a:pt x="197" y="322"/>
                  <a:pt x="196" y="322"/>
                  <a:pt x="198" y="324"/>
                </a:cubicBezTo>
                <a:cubicBezTo>
                  <a:pt x="200" y="326"/>
                  <a:pt x="202" y="323"/>
                  <a:pt x="204" y="323"/>
                </a:cubicBezTo>
                <a:cubicBezTo>
                  <a:pt x="206" y="322"/>
                  <a:pt x="208" y="324"/>
                  <a:pt x="209" y="326"/>
                </a:cubicBezTo>
                <a:cubicBezTo>
                  <a:pt x="206" y="326"/>
                  <a:pt x="212" y="332"/>
                  <a:pt x="214" y="332"/>
                </a:cubicBezTo>
                <a:cubicBezTo>
                  <a:pt x="217" y="332"/>
                  <a:pt x="218" y="322"/>
                  <a:pt x="215" y="321"/>
                </a:cubicBezTo>
                <a:cubicBezTo>
                  <a:pt x="215" y="321"/>
                  <a:pt x="211" y="322"/>
                  <a:pt x="212" y="320"/>
                </a:cubicBezTo>
                <a:cubicBezTo>
                  <a:pt x="212" y="319"/>
                  <a:pt x="214" y="316"/>
                  <a:pt x="214" y="315"/>
                </a:cubicBezTo>
                <a:cubicBezTo>
                  <a:pt x="213" y="312"/>
                  <a:pt x="210" y="308"/>
                  <a:pt x="208" y="306"/>
                </a:cubicBezTo>
                <a:cubicBezTo>
                  <a:pt x="204" y="302"/>
                  <a:pt x="216" y="297"/>
                  <a:pt x="219" y="296"/>
                </a:cubicBezTo>
                <a:cubicBezTo>
                  <a:pt x="221" y="295"/>
                  <a:pt x="224" y="295"/>
                  <a:pt x="226" y="292"/>
                </a:cubicBezTo>
                <a:cubicBezTo>
                  <a:pt x="227" y="290"/>
                  <a:pt x="227" y="288"/>
                  <a:pt x="227" y="285"/>
                </a:cubicBezTo>
                <a:cubicBezTo>
                  <a:pt x="228" y="282"/>
                  <a:pt x="233" y="284"/>
                  <a:pt x="235" y="285"/>
                </a:cubicBezTo>
                <a:cubicBezTo>
                  <a:pt x="235" y="285"/>
                  <a:pt x="236" y="286"/>
                  <a:pt x="236" y="285"/>
                </a:cubicBezTo>
                <a:cubicBezTo>
                  <a:pt x="237" y="284"/>
                  <a:pt x="238" y="283"/>
                  <a:pt x="239" y="281"/>
                </a:cubicBezTo>
                <a:cubicBezTo>
                  <a:pt x="239" y="277"/>
                  <a:pt x="238" y="278"/>
                  <a:pt x="238" y="277"/>
                </a:cubicBezTo>
                <a:cubicBezTo>
                  <a:pt x="238" y="275"/>
                  <a:pt x="239" y="275"/>
                  <a:pt x="238" y="273"/>
                </a:cubicBezTo>
                <a:cubicBezTo>
                  <a:pt x="237" y="272"/>
                  <a:pt x="236" y="271"/>
                  <a:pt x="235" y="270"/>
                </a:cubicBezTo>
                <a:cubicBezTo>
                  <a:pt x="234" y="269"/>
                  <a:pt x="232" y="266"/>
                  <a:pt x="230" y="266"/>
                </a:cubicBezTo>
                <a:cubicBezTo>
                  <a:pt x="228" y="266"/>
                  <a:pt x="227" y="267"/>
                  <a:pt x="226" y="265"/>
                </a:cubicBezTo>
                <a:cubicBezTo>
                  <a:pt x="224" y="263"/>
                  <a:pt x="224" y="261"/>
                  <a:pt x="222" y="260"/>
                </a:cubicBezTo>
                <a:cubicBezTo>
                  <a:pt x="217" y="259"/>
                  <a:pt x="216" y="252"/>
                  <a:pt x="212" y="250"/>
                </a:cubicBezTo>
                <a:cubicBezTo>
                  <a:pt x="210" y="249"/>
                  <a:pt x="209" y="250"/>
                  <a:pt x="207" y="249"/>
                </a:cubicBezTo>
                <a:cubicBezTo>
                  <a:pt x="205" y="248"/>
                  <a:pt x="203" y="246"/>
                  <a:pt x="203" y="243"/>
                </a:cubicBezTo>
                <a:cubicBezTo>
                  <a:pt x="203" y="241"/>
                  <a:pt x="200" y="239"/>
                  <a:pt x="199" y="237"/>
                </a:cubicBezTo>
                <a:cubicBezTo>
                  <a:pt x="198" y="236"/>
                  <a:pt x="199" y="235"/>
                  <a:pt x="198" y="235"/>
                </a:cubicBezTo>
                <a:cubicBezTo>
                  <a:pt x="197" y="234"/>
                  <a:pt x="196" y="233"/>
                  <a:pt x="196" y="233"/>
                </a:cubicBezTo>
                <a:cubicBezTo>
                  <a:pt x="194" y="231"/>
                  <a:pt x="200" y="227"/>
                  <a:pt x="199" y="224"/>
                </a:cubicBezTo>
                <a:cubicBezTo>
                  <a:pt x="198" y="223"/>
                  <a:pt x="197" y="224"/>
                  <a:pt x="197" y="223"/>
                </a:cubicBezTo>
                <a:cubicBezTo>
                  <a:pt x="197" y="222"/>
                  <a:pt x="197" y="222"/>
                  <a:pt x="196" y="221"/>
                </a:cubicBezTo>
                <a:cubicBezTo>
                  <a:pt x="194" y="220"/>
                  <a:pt x="192" y="219"/>
                  <a:pt x="190" y="217"/>
                </a:cubicBezTo>
                <a:cubicBezTo>
                  <a:pt x="188" y="215"/>
                  <a:pt x="189" y="213"/>
                  <a:pt x="187" y="211"/>
                </a:cubicBezTo>
                <a:cubicBezTo>
                  <a:pt x="184" y="209"/>
                  <a:pt x="188" y="208"/>
                  <a:pt x="186" y="207"/>
                </a:cubicBezTo>
                <a:cubicBezTo>
                  <a:pt x="186" y="207"/>
                  <a:pt x="189" y="207"/>
                  <a:pt x="189" y="208"/>
                </a:cubicBezTo>
                <a:cubicBezTo>
                  <a:pt x="188" y="209"/>
                  <a:pt x="190" y="209"/>
                  <a:pt x="190" y="210"/>
                </a:cubicBezTo>
                <a:cubicBezTo>
                  <a:pt x="190" y="210"/>
                  <a:pt x="193" y="215"/>
                  <a:pt x="193" y="213"/>
                </a:cubicBezTo>
                <a:cubicBezTo>
                  <a:pt x="192" y="210"/>
                  <a:pt x="194" y="208"/>
                  <a:pt x="195" y="206"/>
                </a:cubicBezTo>
                <a:cubicBezTo>
                  <a:pt x="197" y="205"/>
                  <a:pt x="198" y="203"/>
                  <a:pt x="200" y="203"/>
                </a:cubicBezTo>
                <a:cubicBezTo>
                  <a:pt x="201" y="203"/>
                  <a:pt x="203" y="204"/>
                  <a:pt x="204" y="203"/>
                </a:cubicBezTo>
                <a:cubicBezTo>
                  <a:pt x="205" y="203"/>
                  <a:pt x="205" y="202"/>
                  <a:pt x="206" y="201"/>
                </a:cubicBezTo>
                <a:cubicBezTo>
                  <a:pt x="208" y="201"/>
                  <a:pt x="210" y="203"/>
                  <a:pt x="211" y="203"/>
                </a:cubicBezTo>
                <a:cubicBezTo>
                  <a:pt x="213" y="202"/>
                  <a:pt x="212" y="201"/>
                  <a:pt x="213" y="199"/>
                </a:cubicBezTo>
                <a:cubicBezTo>
                  <a:pt x="214" y="198"/>
                  <a:pt x="215" y="199"/>
                  <a:pt x="216" y="199"/>
                </a:cubicBezTo>
                <a:cubicBezTo>
                  <a:pt x="219" y="199"/>
                  <a:pt x="218" y="195"/>
                  <a:pt x="220" y="195"/>
                </a:cubicBezTo>
                <a:cubicBezTo>
                  <a:pt x="222" y="195"/>
                  <a:pt x="222" y="195"/>
                  <a:pt x="223" y="194"/>
                </a:cubicBezTo>
                <a:cubicBezTo>
                  <a:pt x="223" y="193"/>
                  <a:pt x="224" y="193"/>
                  <a:pt x="224" y="193"/>
                </a:cubicBezTo>
                <a:cubicBezTo>
                  <a:pt x="225" y="195"/>
                  <a:pt x="228" y="194"/>
                  <a:pt x="228" y="192"/>
                </a:cubicBezTo>
                <a:cubicBezTo>
                  <a:pt x="229" y="189"/>
                  <a:pt x="231" y="189"/>
                  <a:pt x="233" y="189"/>
                </a:cubicBezTo>
                <a:cubicBezTo>
                  <a:pt x="236" y="190"/>
                  <a:pt x="238" y="190"/>
                  <a:pt x="239" y="188"/>
                </a:cubicBezTo>
                <a:cubicBezTo>
                  <a:pt x="241" y="185"/>
                  <a:pt x="244" y="186"/>
                  <a:pt x="246" y="184"/>
                </a:cubicBezTo>
                <a:cubicBezTo>
                  <a:pt x="247" y="184"/>
                  <a:pt x="248" y="183"/>
                  <a:pt x="249" y="182"/>
                </a:cubicBezTo>
                <a:cubicBezTo>
                  <a:pt x="250" y="182"/>
                  <a:pt x="252" y="182"/>
                  <a:pt x="253" y="182"/>
                </a:cubicBezTo>
                <a:cubicBezTo>
                  <a:pt x="256" y="180"/>
                  <a:pt x="250" y="180"/>
                  <a:pt x="252" y="178"/>
                </a:cubicBezTo>
                <a:cubicBezTo>
                  <a:pt x="252" y="178"/>
                  <a:pt x="248" y="176"/>
                  <a:pt x="251" y="175"/>
                </a:cubicBezTo>
                <a:cubicBezTo>
                  <a:pt x="253" y="174"/>
                  <a:pt x="255" y="177"/>
                  <a:pt x="257" y="175"/>
                </a:cubicBezTo>
                <a:cubicBezTo>
                  <a:pt x="257" y="177"/>
                  <a:pt x="259" y="177"/>
                  <a:pt x="259" y="178"/>
                </a:cubicBezTo>
                <a:cubicBezTo>
                  <a:pt x="260" y="179"/>
                  <a:pt x="259" y="180"/>
                  <a:pt x="259" y="180"/>
                </a:cubicBezTo>
                <a:cubicBezTo>
                  <a:pt x="259" y="181"/>
                  <a:pt x="261" y="180"/>
                  <a:pt x="261" y="180"/>
                </a:cubicBezTo>
                <a:cubicBezTo>
                  <a:pt x="262" y="181"/>
                  <a:pt x="261" y="182"/>
                  <a:pt x="261" y="183"/>
                </a:cubicBezTo>
                <a:cubicBezTo>
                  <a:pt x="261" y="184"/>
                  <a:pt x="264" y="185"/>
                  <a:pt x="265" y="185"/>
                </a:cubicBezTo>
                <a:cubicBezTo>
                  <a:pt x="267" y="185"/>
                  <a:pt x="267" y="182"/>
                  <a:pt x="268" y="180"/>
                </a:cubicBezTo>
                <a:cubicBezTo>
                  <a:pt x="271" y="177"/>
                  <a:pt x="272" y="171"/>
                  <a:pt x="273" y="166"/>
                </a:cubicBezTo>
                <a:cubicBezTo>
                  <a:pt x="273" y="164"/>
                  <a:pt x="271" y="163"/>
                  <a:pt x="270" y="161"/>
                </a:cubicBezTo>
                <a:close/>
                <a:moveTo>
                  <a:pt x="79" y="72"/>
                </a:moveTo>
                <a:cubicBezTo>
                  <a:pt x="79" y="73"/>
                  <a:pt x="79" y="74"/>
                  <a:pt x="79" y="75"/>
                </a:cubicBezTo>
                <a:cubicBezTo>
                  <a:pt x="79" y="75"/>
                  <a:pt x="79" y="73"/>
                  <a:pt x="79" y="72"/>
                </a:cubicBezTo>
                <a:close/>
              </a:path>
            </a:pathLst>
          </a:custGeom>
          <a:solidFill>
            <a:srgbClr val="D9D9D9"/>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62">
            <a:extLst>
              <a:ext uri="{FF2B5EF4-FFF2-40B4-BE49-F238E27FC236}">
                <a16:creationId xmlns:a16="http://schemas.microsoft.com/office/drawing/2014/main" id="{89426ACE-3557-4F59-BD3A-5EA71BA3BC96}"/>
              </a:ext>
            </a:extLst>
          </p:cNvPr>
          <p:cNvSpPr>
            <a:spLocks/>
          </p:cNvSpPr>
          <p:nvPr/>
        </p:nvSpPr>
        <p:spPr bwMode="auto">
          <a:xfrm>
            <a:off x="2280825" y="4087101"/>
            <a:ext cx="16529" cy="5960"/>
          </a:xfrm>
          <a:custGeom>
            <a:avLst/>
            <a:gdLst>
              <a:gd name="T0" fmla="*/ 6 w 6"/>
              <a:gd name="T1" fmla="*/ 1 h 2"/>
              <a:gd name="T2" fmla="*/ 0 w 6"/>
              <a:gd name="T3" fmla="*/ 2 h 2"/>
              <a:gd name="T4" fmla="*/ 1 w 6"/>
              <a:gd name="T5" fmla="*/ 2 h 2"/>
              <a:gd name="T6" fmla="*/ 6 w 6"/>
              <a:gd name="T7" fmla="*/ 1 h 2"/>
            </a:gdLst>
            <a:ahLst/>
            <a:cxnLst>
              <a:cxn ang="0">
                <a:pos x="T0" y="T1"/>
              </a:cxn>
              <a:cxn ang="0">
                <a:pos x="T2" y="T3"/>
              </a:cxn>
              <a:cxn ang="0">
                <a:pos x="T4" y="T5"/>
              </a:cxn>
              <a:cxn ang="0">
                <a:pos x="T6" y="T7"/>
              </a:cxn>
            </a:cxnLst>
            <a:rect l="0" t="0" r="r" b="b"/>
            <a:pathLst>
              <a:path w="6" h="2">
                <a:moveTo>
                  <a:pt x="6" y="1"/>
                </a:moveTo>
                <a:cubicBezTo>
                  <a:pt x="5" y="0"/>
                  <a:pt x="2" y="1"/>
                  <a:pt x="0" y="2"/>
                </a:cubicBezTo>
                <a:cubicBezTo>
                  <a:pt x="1" y="2"/>
                  <a:pt x="1" y="2"/>
                  <a:pt x="1" y="2"/>
                </a:cubicBezTo>
                <a:cubicBezTo>
                  <a:pt x="3" y="2"/>
                  <a:pt x="5" y="2"/>
                  <a:pt x="6" y="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193">
            <a:extLst>
              <a:ext uri="{FF2B5EF4-FFF2-40B4-BE49-F238E27FC236}">
                <a16:creationId xmlns:a16="http://schemas.microsoft.com/office/drawing/2014/main" id="{22F01E77-2144-4C62-9252-74854C3AFA0F}"/>
              </a:ext>
            </a:extLst>
          </p:cNvPr>
          <p:cNvSpPr>
            <a:spLocks/>
          </p:cNvSpPr>
          <p:nvPr/>
        </p:nvSpPr>
        <p:spPr bwMode="auto">
          <a:xfrm>
            <a:off x="2283186" y="5321902"/>
            <a:ext cx="5903" cy="9535"/>
          </a:xfrm>
          <a:custGeom>
            <a:avLst/>
            <a:gdLst>
              <a:gd name="T0" fmla="*/ 1 w 2"/>
              <a:gd name="T1" fmla="*/ 2 h 3"/>
              <a:gd name="T2" fmla="*/ 1 w 2"/>
              <a:gd name="T3" fmla="*/ 2 h 3"/>
              <a:gd name="T4" fmla="*/ 2 w 2"/>
              <a:gd name="T5" fmla="*/ 0 h 3"/>
              <a:gd name="T6" fmla="*/ 1 w 2"/>
              <a:gd name="T7" fmla="*/ 2 h 3"/>
            </a:gdLst>
            <a:ahLst/>
            <a:cxnLst>
              <a:cxn ang="0">
                <a:pos x="T0" y="T1"/>
              </a:cxn>
              <a:cxn ang="0">
                <a:pos x="T2" y="T3"/>
              </a:cxn>
              <a:cxn ang="0">
                <a:pos x="T4" y="T5"/>
              </a:cxn>
              <a:cxn ang="0">
                <a:pos x="T6" y="T7"/>
              </a:cxn>
            </a:cxnLst>
            <a:rect l="0" t="0" r="r" b="b"/>
            <a:pathLst>
              <a:path w="2" h="3">
                <a:moveTo>
                  <a:pt x="1" y="2"/>
                </a:moveTo>
                <a:cubicBezTo>
                  <a:pt x="1" y="2"/>
                  <a:pt x="1" y="3"/>
                  <a:pt x="1" y="2"/>
                </a:cubicBezTo>
                <a:cubicBezTo>
                  <a:pt x="1" y="1"/>
                  <a:pt x="2" y="0"/>
                  <a:pt x="2" y="0"/>
                </a:cubicBezTo>
                <a:cubicBezTo>
                  <a:pt x="2" y="0"/>
                  <a:pt x="0" y="2"/>
                  <a:pt x="1" y="2"/>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206">
            <a:extLst>
              <a:ext uri="{FF2B5EF4-FFF2-40B4-BE49-F238E27FC236}">
                <a16:creationId xmlns:a16="http://schemas.microsoft.com/office/drawing/2014/main" id="{A6D206F7-C3B0-4926-BCE1-29620AC115EE}"/>
              </a:ext>
            </a:extLst>
          </p:cNvPr>
          <p:cNvSpPr>
            <a:spLocks/>
          </p:cNvSpPr>
          <p:nvPr/>
        </p:nvSpPr>
        <p:spPr bwMode="auto">
          <a:xfrm>
            <a:off x="984518" y="5940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207">
            <a:extLst>
              <a:ext uri="{FF2B5EF4-FFF2-40B4-BE49-F238E27FC236}">
                <a16:creationId xmlns:a16="http://schemas.microsoft.com/office/drawing/2014/main" id="{CC16F3B9-CB6C-4410-AB69-2ECE4870EDAB}"/>
              </a:ext>
            </a:extLst>
          </p:cNvPr>
          <p:cNvSpPr>
            <a:spLocks/>
          </p:cNvSpPr>
          <p:nvPr/>
        </p:nvSpPr>
        <p:spPr bwMode="auto">
          <a:xfrm>
            <a:off x="2718830" y="5290913"/>
            <a:ext cx="20071" cy="22646"/>
          </a:xfrm>
          <a:custGeom>
            <a:avLst/>
            <a:gdLst>
              <a:gd name="T0" fmla="*/ 1 w 7"/>
              <a:gd name="T1" fmla="*/ 1 h 8"/>
              <a:gd name="T2" fmla="*/ 1 w 7"/>
              <a:gd name="T3" fmla="*/ 1 h 8"/>
              <a:gd name="T4" fmla="*/ 1 w 7"/>
              <a:gd name="T5" fmla="*/ 2 h 8"/>
              <a:gd name="T6" fmla="*/ 1 w 7"/>
              <a:gd name="T7" fmla="*/ 2 h 8"/>
              <a:gd name="T8" fmla="*/ 1 w 7"/>
              <a:gd name="T9" fmla="*/ 2 h 8"/>
              <a:gd name="T10" fmla="*/ 1 w 7"/>
              <a:gd name="T11" fmla="*/ 2 h 8"/>
              <a:gd name="T12" fmla="*/ 1 w 7"/>
              <a:gd name="T13" fmla="*/ 2 h 8"/>
              <a:gd name="T14" fmla="*/ 0 w 7"/>
              <a:gd name="T15" fmla="*/ 4 h 8"/>
              <a:gd name="T16" fmla="*/ 3 w 7"/>
              <a:gd name="T17" fmla="*/ 8 h 8"/>
              <a:gd name="T18" fmla="*/ 4 w 7"/>
              <a:gd name="T19" fmla="*/ 8 h 8"/>
              <a:gd name="T20" fmla="*/ 6 w 7"/>
              <a:gd name="T21" fmla="*/ 6 h 8"/>
              <a:gd name="T22" fmla="*/ 6 w 7"/>
              <a:gd name="T23" fmla="*/ 6 h 8"/>
              <a:gd name="T24" fmla="*/ 7 w 7"/>
              <a:gd name="T25" fmla="*/ 3 h 8"/>
              <a:gd name="T26" fmla="*/ 6 w 7"/>
              <a:gd name="T27" fmla="*/ 1 h 8"/>
              <a:gd name="T28" fmla="*/ 4 w 7"/>
              <a:gd name="T29" fmla="*/ 0 h 8"/>
              <a:gd name="T30" fmla="*/ 1 w 7"/>
              <a:gd name="T3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8">
                <a:moveTo>
                  <a:pt x="1" y="1"/>
                </a:moveTo>
                <a:cubicBezTo>
                  <a:pt x="1" y="1"/>
                  <a:pt x="1" y="1"/>
                  <a:pt x="1" y="1"/>
                </a:cubicBezTo>
                <a:cubicBezTo>
                  <a:pt x="1" y="1"/>
                  <a:pt x="1" y="1"/>
                  <a:pt x="1" y="2"/>
                </a:cubicBezTo>
                <a:cubicBezTo>
                  <a:pt x="1" y="2"/>
                  <a:pt x="1" y="2"/>
                  <a:pt x="1" y="2"/>
                </a:cubicBezTo>
                <a:cubicBezTo>
                  <a:pt x="1" y="2"/>
                  <a:pt x="1" y="2"/>
                  <a:pt x="1" y="2"/>
                </a:cubicBezTo>
                <a:cubicBezTo>
                  <a:pt x="1" y="2"/>
                  <a:pt x="1" y="2"/>
                  <a:pt x="1" y="2"/>
                </a:cubicBezTo>
                <a:cubicBezTo>
                  <a:pt x="1" y="2"/>
                  <a:pt x="1" y="2"/>
                  <a:pt x="1" y="2"/>
                </a:cubicBezTo>
                <a:cubicBezTo>
                  <a:pt x="0" y="3"/>
                  <a:pt x="0" y="3"/>
                  <a:pt x="0" y="4"/>
                </a:cubicBezTo>
                <a:cubicBezTo>
                  <a:pt x="0" y="7"/>
                  <a:pt x="2" y="8"/>
                  <a:pt x="3" y="8"/>
                </a:cubicBezTo>
                <a:cubicBezTo>
                  <a:pt x="3" y="8"/>
                  <a:pt x="3" y="8"/>
                  <a:pt x="4" y="8"/>
                </a:cubicBezTo>
                <a:cubicBezTo>
                  <a:pt x="4" y="8"/>
                  <a:pt x="6" y="7"/>
                  <a:pt x="6" y="6"/>
                </a:cubicBezTo>
                <a:cubicBezTo>
                  <a:pt x="6" y="6"/>
                  <a:pt x="6" y="6"/>
                  <a:pt x="6" y="6"/>
                </a:cubicBezTo>
                <a:cubicBezTo>
                  <a:pt x="7" y="5"/>
                  <a:pt x="7" y="4"/>
                  <a:pt x="7" y="3"/>
                </a:cubicBezTo>
                <a:cubicBezTo>
                  <a:pt x="7" y="2"/>
                  <a:pt x="7" y="1"/>
                  <a:pt x="6" y="1"/>
                </a:cubicBezTo>
                <a:cubicBezTo>
                  <a:pt x="5" y="0"/>
                  <a:pt x="5" y="0"/>
                  <a:pt x="4" y="0"/>
                </a:cubicBezTo>
                <a:cubicBezTo>
                  <a:pt x="3" y="0"/>
                  <a:pt x="2" y="1"/>
                  <a:pt x="1" y="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209">
            <a:extLst>
              <a:ext uri="{FF2B5EF4-FFF2-40B4-BE49-F238E27FC236}">
                <a16:creationId xmlns:a16="http://schemas.microsoft.com/office/drawing/2014/main" id="{20CFB6EC-2B62-48FA-9FF0-71D74487D48C}"/>
              </a:ext>
            </a:extLst>
          </p:cNvPr>
          <p:cNvSpPr>
            <a:spLocks/>
          </p:cNvSpPr>
          <p:nvPr/>
        </p:nvSpPr>
        <p:spPr bwMode="auto">
          <a:xfrm>
            <a:off x="1074244" y="3973871"/>
            <a:ext cx="2361"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0" y="0"/>
                  <a:pt x="0" y="0"/>
                  <a:pt x="0" y="0"/>
                </a:cubicBezTo>
                <a:cubicBezTo>
                  <a:pt x="0" y="0"/>
                  <a:pt x="0" y="0"/>
                  <a:pt x="0" y="0"/>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210">
            <a:extLst>
              <a:ext uri="{FF2B5EF4-FFF2-40B4-BE49-F238E27FC236}">
                <a16:creationId xmlns:a16="http://schemas.microsoft.com/office/drawing/2014/main" id="{CB779014-0BA4-40AF-88B1-59021008BBBF}"/>
              </a:ext>
            </a:extLst>
          </p:cNvPr>
          <p:cNvSpPr>
            <a:spLocks noEditPoints="1"/>
          </p:cNvSpPr>
          <p:nvPr/>
        </p:nvSpPr>
        <p:spPr bwMode="auto">
          <a:xfrm>
            <a:off x="1518152" y="5410102"/>
            <a:ext cx="267998" cy="76281"/>
          </a:xfrm>
          <a:custGeom>
            <a:avLst/>
            <a:gdLst>
              <a:gd name="T0" fmla="*/ 91 w 96"/>
              <a:gd name="T1" fmla="*/ 22 h 27"/>
              <a:gd name="T2" fmla="*/ 92 w 96"/>
              <a:gd name="T3" fmla="*/ 22 h 27"/>
              <a:gd name="T4" fmla="*/ 96 w 96"/>
              <a:gd name="T5" fmla="*/ 23 h 27"/>
              <a:gd name="T6" fmla="*/ 95 w 96"/>
              <a:gd name="T7" fmla="*/ 24 h 27"/>
              <a:gd name="T8" fmla="*/ 90 w 96"/>
              <a:gd name="T9" fmla="*/ 27 h 27"/>
              <a:gd name="T10" fmla="*/ 90 w 96"/>
              <a:gd name="T11" fmla="*/ 27 h 27"/>
              <a:gd name="T12" fmla="*/ 90 w 96"/>
              <a:gd name="T13" fmla="*/ 25 h 27"/>
              <a:gd name="T14" fmla="*/ 90 w 96"/>
              <a:gd name="T15" fmla="*/ 24 h 27"/>
              <a:gd name="T16" fmla="*/ 89 w 96"/>
              <a:gd name="T17" fmla="*/ 23 h 27"/>
              <a:gd name="T18" fmla="*/ 90 w 96"/>
              <a:gd name="T19" fmla="*/ 23 h 27"/>
              <a:gd name="T20" fmla="*/ 91 w 96"/>
              <a:gd name="T21" fmla="*/ 22 h 27"/>
              <a:gd name="T22" fmla="*/ 91 w 96"/>
              <a:gd name="T23" fmla="*/ 22 h 27"/>
              <a:gd name="T24" fmla="*/ 0 w 96"/>
              <a:gd name="T25" fmla="*/ 0 h 27"/>
              <a:gd name="T26" fmla="*/ 0 w 96"/>
              <a:gd name="T27" fmla="*/ 0 h 27"/>
              <a:gd name="T28" fmla="*/ 0 w 96"/>
              <a:gd name="T29" fmla="*/ 0 h 27"/>
              <a:gd name="T30" fmla="*/ 0 w 96"/>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7">
                <a:moveTo>
                  <a:pt x="91" y="22"/>
                </a:moveTo>
                <a:cubicBezTo>
                  <a:pt x="91" y="22"/>
                  <a:pt x="91" y="22"/>
                  <a:pt x="92" y="22"/>
                </a:cubicBezTo>
                <a:cubicBezTo>
                  <a:pt x="93" y="23"/>
                  <a:pt x="95" y="23"/>
                  <a:pt x="96" y="23"/>
                </a:cubicBezTo>
                <a:cubicBezTo>
                  <a:pt x="95" y="24"/>
                  <a:pt x="95" y="24"/>
                  <a:pt x="95" y="24"/>
                </a:cubicBezTo>
                <a:cubicBezTo>
                  <a:pt x="93" y="26"/>
                  <a:pt x="91" y="27"/>
                  <a:pt x="90" y="27"/>
                </a:cubicBezTo>
                <a:cubicBezTo>
                  <a:pt x="90" y="27"/>
                  <a:pt x="90" y="27"/>
                  <a:pt x="90" y="27"/>
                </a:cubicBezTo>
                <a:cubicBezTo>
                  <a:pt x="90" y="27"/>
                  <a:pt x="90" y="26"/>
                  <a:pt x="90" y="25"/>
                </a:cubicBezTo>
                <a:cubicBezTo>
                  <a:pt x="90" y="24"/>
                  <a:pt x="90" y="24"/>
                  <a:pt x="90" y="24"/>
                </a:cubicBezTo>
                <a:cubicBezTo>
                  <a:pt x="90" y="24"/>
                  <a:pt x="90" y="23"/>
                  <a:pt x="89" y="23"/>
                </a:cubicBezTo>
                <a:cubicBezTo>
                  <a:pt x="89" y="23"/>
                  <a:pt x="90" y="23"/>
                  <a:pt x="90" y="23"/>
                </a:cubicBezTo>
                <a:cubicBezTo>
                  <a:pt x="90" y="23"/>
                  <a:pt x="91" y="22"/>
                  <a:pt x="91" y="22"/>
                </a:cubicBezTo>
                <a:cubicBezTo>
                  <a:pt x="91" y="22"/>
                  <a:pt x="91" y="22"/>
                  <a:pt x="91" y="22"/>
                </a:cubicBezTo>
                <a:close/>
                <a:moveTo>
                  <a:pt x="0" y="0"/>
                </a:moveTo>
                <a:cubicBezTo>
                  <a:pt x="0" y="0"/>
                  <a:pt x="0" y="0"/>
                  <a:pt x="0" y="0"/>
                </a:cubicBezTo>
                <a:cubicBezTo>
                  <a:pt x="0" y="0"/>
                  <a:pt x="0" y="0"/>
                  <a:pt x="0" y="0"/>
                </a:cubicBezTo>
                <a:cubicBezTo>
                  <a:pt x="0" y="0"/>
                  <a:pt x="0" y="0"/>
                  <a:pt x="0" y="0"/>
                </a:cubicBezTo>
                <a:close/>
              </a:path>
            </a:pathLst>
          </a:custGeom>
          <a:solidFill>
            <a:schemeClr val="tx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211">
            <a:extLst>
              <a:ext uri="{FF2B5EF4-FFF2-40B4-BE49-F238E27FC236}">
                <a16:creationId xmlns:a16="http://schemas.microsoft.com/office/drawing/2014/main" id="{190AC74F-FDC9-471B-A22A-53F114FF37B6}"/>
              </a:ext>
            </a:extLst>
          </p:cNvPr>
          <p:cNvSpPr>
            <a:spLocks/>
          </p:cNvSpPr>
          <p:nvPr/>
        </p:nvSpPr>
        <p:spPr bwMode="auto">
          <a:xfrm>
            <a:off x="2241865" y="43016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212">
            <a:extLst>
              <a:ext uri="{FF2B5EF4-FFF2-40B4-BE49-F238E27FC236}">
                <a16:creationId xmlns:a16="http://schemas.microsoft.com/office/drawing/2014/main" id="{CC9D8AC6-A984-4CCC-808C-5F14BDDC04AE}"/>
              </a:ext>
            </a:extLst>
          </p:cNvPr>
          <p:cNvSpPr>
            <a:spLocks/>
          </p:cNvSpPr>
          <p:nvPr/>
        </p:nvSpPr>
        <p:spPr bwMode="auto">
          <a:xfrm>
            <a:off x="2078941" y="4374347"/>
            <a:ext cx="0" cy="3576"/>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0"/>
                  <a:pt x="0" y="0"/>
                </a:cubicBezTo>
                <a:cubicBezTo>
                  <a:pt x="0" y="0"/>
                  <a:pt x="0" y="0"/>
                  <a:pt x="0" y="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213">
            <a:extLst>
              <a:ext uri="{FF2B5EF4-FFF2-40B4-BE49-F238E27FC236}">
                <a16:creationId xmlns:a16="http://schemas.microsoft.com/office/drawing/2014/main" id="{3819703A-F172-4E2D-88ED-2819228FC9DE}"/>
              </a:ext>
            </a:extLst>
          </p:cNvPr>
          <p:cNvSpPr>
            <a:spLocks/>
          </p:cNvSpPr>
          <p:nvPr/>
        </p:nvSpPr>
        <p:spPr bwMode="auto">
          <a:xfrm>
            <a:off x="2280825" y="5317134"/>
            <a:ext cx="14167" cy="16686"/>
          </a:xfrm>
          <a:custGeom>
            <a:avLst/>
            <a:gdLst>
              <a:gd name="T0" fmla="*/ 0 w 5"/>
              <a:gd name="T1" fmla="*/ 4 h 6"/>
              <a:gd name="T2" fmla="*/ 2 w 5"/>
              <a:gd name="T3" fmla="*/ 6 h 6"/>
              <a:gd name="T4" fmla="*/ 2 w 5"/>
              <a:gd name="T5" fmla="*/ 6 h 6"/>
              <a:gd name="T6" fmla="*/ 4 w 5"/>
              <a:gd name="T7" fmla="*/ 4 h 6"/>
              <a:gd name="T8" fmla="*/ 5 w 5"/>
              <a:gd name="T9" fmla="*/ 4 h 6"/>
              <a:gd name="T10" fmla="*/ 5 w 5"/>
              <a:gd name="T11" fmla="*/ 1 h 6"/>
              <a:gd name="T12" fmla="*/ 3 w 5"/>
              <a:gd name="T13" fmla="*/ 0 h 6"/>
              <a:gd name="T14" fmla="*/ 0 w 5"/>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4"/>
                </a:moveTo>
                <a:cubicBezTo>
                  <a:pt x="0" y="5"/>
                  <a:pt x="1" y="6"/>
                  <a:pt x="2" y="6"/>
                </a:cubicBezTo>
                <a:cubicBezTo>
                  <a:pt x="2" y="6"/>
                  <a:pt x="2" y="6"/>
                  <a:pt x="2" y="6"/>
                </a:cubicBezTo>
                <a:cubicBezTo>
                  <a:pt x="3" y="6"/>
                  <a:pt x="4" y="5"/>
                  <a:pt x="4" y="4"/>
                </a:cubicBezTo>
                <a:cubicBezTo>
                  <a:pt x="4" y="4"/>
                  <a:pt x="4" y="4"/>
                  <a:pt x="5" y="4"/>
                </a:cubicBezTo>
                <a:cubicBezTo>
                  <a:pt x="5" y="3"/>
                  <a:pt x="5" y="2"/>
                  <a:pt x="5" y="1"/>
                </a:cubicBezTo>
                <a:cubicBezTo>
                  <a:pt x="4" y="1"/>
                  <a:pt x="4" y="0"/>
                  <a:pt x="3" y="0"/>
                </a:cubicBezTo>
                <a:cubicBezTo>
                  <a:pt x="1" y="1"/>
                  <a:pt x="0" y="1"/>
                  <a:pt x="0" y="4"/>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120">
            <a:extLst>
              <a:ext uri="{FF2B5EF4-FFF2-40B4-BE49-F238E27FC236}">
                <a16:creationId xmlns:a16="http://schemas.microsoft.com/office/drawing/2014/main" id="{A28CBE41-AB44-48F3-A43F-A729C478F440}"/>
              </a:ext>
            </a:extLst>
          </p:cNvPr>
          <p:cNvSpPr>
            <a:spLocks/>
          </p:cNvSpPr>
          <p:nvPr/>
        </p:nvSpPr>
        <p:spPr bwMode="auto">
          <a:xfrm>
            <a:off x="2853420" y="3951225"/>
            <a:ext cx="848858" cy="716328"/>
          </a:xfrm>
          <a:custGeom>
            <a:avLst/>
            <a:gdLst>
              <a:gd name="T0" fmla="*/ 294 w 304"/>
              <a:gd name="T1" fmla="*/ 167 h 254"/>
              <a:gd name="T2" fmla="*/ 284 w 304"/>
              <a:gd name="T3" fmla="*/ 154 h 254"/>
              <a:gd name="T4" fmla="*/ 282 w 304"/>
              <a:gd name="T5" fmla="*/ 133 h 254"/>
              <a:gd name="T6" fmla="*/ 272 w 304"/>
              <a:gd name="T7" fmla="*/ 115 h 254"/>
              <a:gd name="T8" fmla="*/ 276 w 304"/>
              <a:gd name="T9" fmla="*/ 100 h 254"/>
              <a:gd name="T10" fmla="*/ 286 w 304"/>
              <a:gd name="T11" fmla="*/ 74 h 254"/>
              <a:gd name="T12" fmla="*/ 271 w 304"/>
              <a:gd name="T13" fmla="*/ 37 h 254"/>
              <a:gd name="T14" fmla="*/ 257 w 304"/>
              <a:gd name="T15" fmla="*/ 21 h 254"/>
              <a:gd name="T16" fmla="*/ 181 w 304"/>
              <a:gd name="T17" fmla="*/ 21 h 254"/>
              <a:gd name="T18" fmla="*/ 151 w 304"/>
              <a:gd name="T19" fmla="*/ 27 h 254"/>
              <a:gd name="T20" fmla="*/ 159 w 304"/>
              <a:gd name="T21" fmla="*/ 18 h 254"/>
              <a:gd name="T22" fmla="*/ 123 w 304"/>
              <a:gd name="T23" fmla="*/ 6 h 254"/>
              <a:gd name="T24" fmla="*/ 121 w 304"/>
              <a:gd name="T25" fmla="*/ 2 h 254"/>
              <a:gd name="T26" fmla="*/ 66 w 304"/>
              <a:gd name="T27" fmla="*/ 16 h 254"/>
              <a:gd name="T28" fmla="*/ 61 w 304"/>
              <a:gd name="T29" fmla="*/ 22 h 254"/>
              <a:gd name="T30" fmla="*/ 57 w 304"/>
              <a:gd name="T31" fmla="*/ 25 h 254"/>
              <a:gd name="T32" fmla="*/ 6 w 304"/>
              <a:gd name="T33" fmla="*/ 41 h 254"/>
              <a:gd name="T34" fmla="*/ 6 w 304"/>
              <a:gd name="T35" fmla="*/ 42 h 254"/>
              <a:gd name="T36" fmla="*/ 14 w 304"/>
              <a:gd name="T37" fmla="*/ 44 h 254"/>
              <a:gd name="T38" fmla="*/ 4 w 304"/>
              <a:gd name="T39" fmla="*/ 48 h 254"/>
              <a:gd name="T40" fmla="*/ 5 w 304"/>
              <a:gd name="T41" fmla="*/ 56 h 254"/>
              <a:gd name="T42" fmla="*/ 1 w 304"/>
              <a:gd name="T43" fmla="*/ 82 h 254"/>
              <a:gd name="T44" fmla="*/ 13 w 304"/>
              <a:gd name="T45" fmla="*/ 97 h 254"/>
              <a:gd name="T46" fmla="*/ 17 w 304"/>
              <a:gd name="T47" fmla="*/ 118 h 254"/>
              <a:gd name="T48" fmla="*/ 15 w 304"/>
              <a:gd name="T49" fmla="*/ 131 h 254"/>
              <a:gd name="T50" fmla="*/ 27 w 304"/>
              <a:gd name="T51" fmla="*/ 151 h 254"/>
              <a:gd name="T52" fmla="*/ 23 w 304"/>
              <a:gd name="T53" fmla="*/ 173 h 254"/>
              <a:gd name="T54" fmla="*/ 32 w 304"/>
              <a:gd name="T55" fmla="*/ 167 h 254"/>
              <a:gd name="T56" fmla="*/ 36 w 304"/>
              <a:gd name="T57" fmla="*/ 172 h 254"/>
              <a:gd name="T58" fmla="*/ 53 w 304"/>
              <a:gd name="T59" fmla="*/ 179 h 254"/>
              <a:gd name="T60" fmla="*/ 65 w 304"/>
              <a:gd name="T61" fmla="*/ 183 h 254"/>
              <a:gd name="T62" fmla="*/ 67 w 304"/>
              <a:gd name="T63" fmla="*/ 194 h 254"/>
              <a:gd name="T64" fmla="*/ 81 w 304"/>
              <a:gd name="T65" fmla="*/ 205 h 254"/>
              <a:gd name="T66" fmla="*/ 88 w 304"/>
              <a:gd name="T67" fmla="*/ 192 h 254"/>
              <a:gd name="T68" fmla="*/ 102 w 304"/>
              <a:gd name="T69" fmla="*/ 200 h 254"/>
              <a:gd name="T70" fmla="*/ 107 w 304"/>
              <a:gd name="T71" fmla="*/ 204 h 254"/>
              <a:gd name="T72" fmla="*/ 119 w 304"/>
              <a:gd name="T73" fmla="*/ 209 h 254"/>
              <a:gd name="T74" fmla="*/ 130 w 304"/>
              <a:gd name="T75" fmla="*/ 214 h 254"/>
              <a:gd name="T76" fmla="*/ 138 w 304"/>
              <a:gd name="T77" fmla="*/ 222 h 254"/>
              <a:gd name="T78" fmla="*/ 152 w 304"/>
              <a:gd name="T79" fmla="*/ 237 h 254"/>
              <a:gd name="T80" fmla="*/ 169 w 304"/>
              <a:gd name="T81" fmla="*/ 235 h 254"/>
              <a:gd name="T82" fmla="*/ 183 w 304"/>
              <a:gd name="T83" fmla="*/ 246 h 254"/>
              <a:gd name="T84" fmla="*/ 197 w 304"/>
              <a:gd name="T85" fmla="*/ 238 h 254"/>
              <a:gd name="T86" fmla="*/ 213 w 304"/>
              <a:gd name="T87" fmla="*/ 239 h 254"/>
              <a:gd name="T88" fmla="*/ 232 w 304"/>
              <a:gd name="T89" fmla="*/ 237 h 254"/>
              <a:gd name="T90" fmla="*/ 244 w 304"/>
              <a:gd name="T91" fmla="*/ 246 h 254"/>
              <a:gd name="T92" fmla="*/ 265 w 304"/>
              <a:gd name="T93" fmla="*/ 249 h 254"/>
              <a:gd name="T94" fmla="*/ 260 w 304"/>
              <a:gd name="T95" fmla="*/ 229 h 254"/>
              <a:gd name="T96" fmla="*/ 287 w 304"/>
              <a:gd name="T97" fmla="*/ 197 h 254"/>
              <a:gd name="T98" fmla="*/ 301 w 304"/>
              <a:gd name="T99" fmla="*/ 18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4" h="254">
                <a:moveTo>
                  <a:pt x="299" y="180"/>
                </a:moveTo>
                <a:cubicBezTo>
                  <a:pt x="298" y="179"/>
                  <a:pt x="295" y="177"/>
                  <a:pt x="295" y="176"/>
                </a:cubicBezTo>
                <a:cubicBezTo>
                  <a:pt x="295" y="173"/>
                  <a:pt x="304" y="175"/>
                  <a:pt x="298" y="172"/>
                </a:cubicBezTo>
                <a:cubicBezTo>
                  <a:pt x="296" y="171"/>
                  <a:pt x="295" y="169"/>
                  <a:pt x="294" y="167"/>
                </a:cubicBezTo>
                <a:cubicBezTo>
                  <a:pt x="293" y="166"/>
                  <a:pt x="293" y="164"/>
                  <a:pt x="292" y="163"/>
                </a:cubicBezTo>
                <a:cubicBezTo>
                  <a:pt x="292" y="162"/>
                  <a:pt x="291" y="161"/>
                  <a:pt x="290" y="160"/>
                </a:cubicBezTo>
                <a:cubicBezTo>
                  <a:pt x="289" y="159"/>
                  <a:pt x="288" y="158"/>
                  <a:pt x="287" y="157"/>
                </a:cubicBezTo>
                <a:cubicBezTo>
                  <a:pt x="286" y="156"/>
                  <a:pt x="285" y="155"/>
                  <a:pt x="284" y="154"/>
                </a:cubicBezTo>
                <a:cubicBezTo>
                  <a:pt x="283" y="152"/>
                  <a:pt x="285" y="151"/>
                  <a:pt x="285" y="150"/>
                </a:cubicBezTo>
                <a:cubicBezTo>
                  <a:pt x="285" y="148"/>
                  <a:pt x="282" y="145"/>
                  <a:pt x="281" y="144"/>
                </a:cubicBezTo>
                <a:cubicBezTo>
                  <a:pt x="280" y="142"/>
                  <a:pt x="280" y="137"/>
                  <a:pt x="280" y="135"/>
                </a:cubicBezTo>
                <a:cubicBezTo>
                  <a:pt x="281" y="134"/>
                  <a:pt x="281" y="133"/>
                  <a:pt x="282" y="133"/>
                </a:cubicBezTo>
                <a:cubicBezTo>
                  <a:pt x="282" y="131"/>
                  <a:pt x="282" y="130"/>
                  <a:pt x="282" y="129"/>
                </a:cubicBezTo>
                <a:cubicBezTo>
                  <a:pt x="282" y="126"/>
                  <a:pt x="285" y="125"/>
                  <a:pt x="282" y="120"/>
                </a:cubicBezTo>
                <a:cubicBezTo>
                  <a:pt x="280" y="119"/>
                  <a:pt x="278" y="119"/>
                  <a:pt x="277" y="117"/>
                </a:cubicBezTo>
                <a:cubicBezTo>
                  <a:pt x="277" y="116"/>
                  <a:pt x="273" y="115"/>
                  <a:pt x="272" y="115"/>
                </a:cubicBezTo>
                <a:cubicBezTo>
                  <a:pt x="271" y="114"/>
                  <a:pt x="269" y="114"/>
                  <a:pt x="268" y="113"/>
                </a:cubicBezTo>
                <a:cubicBezTo>
                  <a:pt x="267" y="111"/>
                  <a:pt x="267" y="112"/>
                  <a:pt x="268" y="110"/>
                </a:cubicBezTo>
                <a:cubicBezTo>
                  <a:pt x="269" y="109"/>
                  <a:pt x="269" y="107"/>
                  <a:pt x="270" y="106"/>
                </a:cubicBezTo>
                <a:cubicBezTo>
                  <a:pt x="272" y="104"/>
                  <a:pt x="273" y="101"/>
                  <a:pt x="276" y="100"/>
                </a:cubicBezTo>
                <a:cubicBezTo>
                  <a:pt x="277" y="98"/>
                  <a:pt x="280" y="98"/>
                  <a:pt x="283" y="97"/>
                </a:cubicBezTo>
                <a:cubicBezTo>
                  <a:pt x="286" y="96"/>
                  <a:pt x="288" y="94"/>
                  <a:pt x="288" y="91"/>
                </a:cubicBezTo>
                <a:cubicBezTo>
                  <a:pt x="289" y="87"/>
                  <a:pt x="288" y="81"/>
                  <a:pt x="286" y="78"/>
                </a:cubicBezTo>
                <a:cubicBezTo>
                  <a:pt x="286" y="77"/>
                  <a:pt x="286" y="75"/>
                  <a:pt x="286" y="74"/>
                </a:cubicBezTo>
                <a:cubicBezTo>
                  <a:pt x="286" y="73"/>
                  <a:pt x="285" y="71"/>
                  <a:pt x="284" y="71"/>
                </a:cubicBezTo>
                <a:cubicBezTo>
                  <a:pt x="283" y="68"/>
                  <a:pt x="281" y="65"/>
                  <a:pt x="280" y="62"/>
                </a:cubicBezTo>
                <a:cubicBezTo>
                  <a:pt x="278" y="54"/>
                  <a:pt x="275" y="49"/>
                  <a:pt x="273" y="42"/>
                </a:cubicBezTo>
                <a:cubicBezTo>
                  <a:pt x="272" y="41"/>
                  <a:pt x="271" y="38"/>
                  <a:pt x="271" y="37"/>
                </a:cubicBezTo>
                <a:cubicBezTo>
                  <a:pt x="271" y="36"/>
                  <a:pt x="272" y="35"/>
                  <a:pt x="272" y="34"/>
                </a:cubicBezTo>
                <a:cubicBezTo>
                  <a:pt x="271" y="31"/>
                  <a:pt x="269" y="29"/>
                  <a:pt x="268" y="28"/>
                </a:cubicBezTo>
                <a:cubicBezTo>
                  <a:pt x="265" y="26"/>
                  <a:pt x="262" y="25"/>
                  <a:pt x="260" y="24"/>
                </a:cubicBezTo>
                <a:cubicBezTo>
                  <a:pt x="257" y="24"/>
                  <a:pt x="258" y="23"/>
                  <a:pt x="257" y="21"/>
                </a:cubicBezTo>
                <a:cubicBezTo>
                  <a:pt x="252" y="18"/>
                  <a:pt x="249" y="22"/>
                  <a:pt x="245" y="22"/>
                </a:cubicBezTo>
                <a:cubicBezTo>
                  <a:pt x="238" y="23"/>
                  <a:pt x="231" y="23"/>
                  <a:pt x="225" y="23"/>
                </a:cubicBezTo>
                <a:cubicBezTo>
                  <a:pt x="216" y="23"/>
                  <a:pt x="208" y="23"/>
                  <a:pt x="200" y="22"/>
                </a:cubicBezTo>
                <a:cubicBezTo>
                  <a:pt x="194" y="22"/>
                  <a:pt x="187" y="21"/>
                  <a:pt x="181" y="21"/>
                </a:cubicBezTo>
                <a:cubicBezTo>
                  <a:pt x="177" y="20"/>
                  <a:pt x="173" y="19"/>
                  <a:pt x="169" y="19"/>
                </a:cubicBezTo>
                <a:cubicBezTo>
                  <a:pt x="167" y="19"/>
                  <a:pt x="163" y="17"/>
                  <a:pt x="162" y="19"/>
                </a:cubicBezTo>
                <a:cubicBezTo>
                  <a:pt x="160" y="21"/>
                  <a:pt x="158" y="22"/>
                  <a:pt x="156" y="23"/>
                </a:cubicBezTo>
                <a:cubicBezTo>
                  <a:pt x="155" y="23"/>
                  <a:pt x="152" y="27"/>
                  <a:pt x="151" y="27"/>
                </a:cubicBezTo>
                <a:cubicBezTo>
                  <a:pt x="151" y="26"/>
                  <a:pt x="151" y="26"/>
                  <a:pt x="151" y="25"/>
                </a:cubicBezTo>
                <a:cubicBezTo>
                  <a:pt x="148" y="26"/>
                  <a:pt x="148" y="24"/>
                  <a:pt x="147" y="23"/>
                </a:cubicBezTo>
                <a:cubicBezTo>
                  <a:pt x="149" y="22"/>
                  <a:pt x="151" y="22"/>
                  <a:pt x="153" y="21"/>
                </a:cubicBezTo>
                <a:cubicBezTo>
                  <a:pt x="155" y="20"/>
                  <a:pt x="157" y="19"/>
                  <a:pt x="159" y="18"/>
                </a:cubicBezTo>
                <a:cubicBezTo>
                  <a:pt x="157" y="17"/>
                  <a:pt x="153" y="20"/>
                  <a:pt x="152" y="21"/>
                </a:cubicBezTo>
                <a:cubicBezTo>
                  <a:pt x="149" y="22"/>
                  <a:pt x="144" y="22"/>
                  <a:pt x="140" y="22"/>
                </a:cubicBezTo>
                <a:cubicBezTo>
                  <a:pt x="133" y="22"/>
                  <a:pt x="126" y="19"/>
                  <a:pt x="125" y="10"/>
                </a:cubicBezTo>
                <a:cubicBezTo>
                  <a:pt x="124" y="11"/>
                  <a:pt x="124" y="7"/>
                  <a:pt x="123" y="6"/>
                </a:cubicBezTo>
                <a:cubicBezTo>
                  <a:pt x="121" y="4"/>
                  <a:pt x="124" y="4"/>
                  <a:pt x="125" y="4"/>
                </a:cubicBezTo>
                <a:cubicBezTo>
                  <a:pt x="127" y="5"/>
                  <a:pt x="129" y="7"/>
                  <a:pt x="131" y="8"/>
                </a:cubicBezTo>
                <a:cubicBezTo>
                  <a:pt x="132" y="9"/>
                  <a:pt x="134" y="12"/>
                  <a:pt x="135" y="11"/>
                </a:cubicBezTo>
                <a:cubicBezTo>
                  <a:pt x="136" y="8"/>
                  <a:pt x="122" y="3"/>
                  <a:pt x="121" y="2"/>
                </a:cubicBezTo>
                <a:cubicBezTo>
                  <a:pt x="115" y="0"/>
                  <a:pt x="107" y="2"/>
                  <a:pt x="101" y="3"/>
                </a:cubicBezTo>
                <a:cubicBezTo>
                  <a:pt x="97" y="4"/>
                  <a:pt x="93" y="5"/>
                  <a:pt x="89" y="6"/>
                </a:cubicBezTo>
                <a:cubicBezTo>
                  <a:pt x="86" y="7"/>
                  <a:pt x="84" y="9"/>
                  <a:pt x="80" y="11"/>
                </a:cubicBezTo>
                <a:cubicBezTo>
                  <a:pt x="76" y="13"/>
                  <a:pt x="69" y="11"/>
                  <a:pt x="66" y="16"/>
                </a:cubicBezTo>
                <a:cubicBezTo>
                  <a:pt x="67" y="16"/>
                  <a:pt x="66" y="17"/>
                  <a:pt x="65" y="17"/>
                </a:cubicBezTo>
                <a:cubicBezTo>
                  <a:pt x="64" y="18"/>
                  <a:pt x="62" y="20"/>
                  <a:pt x="61" y="22"/>
                </a:cubicBezTo>
                <a:cubicBezTo>
                  <a:pt x="62" y="21"/>
                  <a:pt x="63" y="22"/>
                  <a:pt x="62" y="23"/>
                </a:cubicBezTo>
                <a:cubicBezTo>
                  <a:pt x="61" y="23"/>
                  <a:pt x="58" y="24"/>
                  <a:pt x="61" y="22"/>
                </a:cubicBezTo>
                <a:cubicBezTo>
                  <a:pt x="60" y="23"/>
                  <a:pt x="59" y="24"/>
                  <a:pt x="57" y="25"/>
                </a:cubicBezTo>
                <a:cubicBezTo>
                  <a:pt x="58" y="25"/>
                  <a:pt x="59" y="24"/>
                  <a:pt x="59" y="25"/>
                </a:cubicBezTo>
                <a:cubicBezTo>
                  <a:pt x="60" y="26"/>
                  <a:pt x="56" y="26"/>
                  <a:pt x="55" y="26"/>
                </a:cubicBezTo>
                <a:cubicBezTo>
                  <a:pt x="56" y="26"/>
                  <a:pt x="56" y="26"/>
                  <a:pt x="57" y="25"/>
                </a:cubicBezTo>
                <a:cubicBezTo>
                  <a:pt x="52" y="27"/>
                  <a:pt x="47" y="28"/>
                  <a:pt x="42" y="29"/>
                </a:cubicBezTo>
                <a:cubicBezTo>
                  <a:pt x="37" y="30"/>
                  <a:pt x="32" y="31"/>
                  <a:pt x="27" y="33"/>
                </a:cubicBezTo>
                <a:cubicBezTo>
                  <a:pt x="22" y="34"/>
                  <a:pt x="17" y="35"/>
                  <a:pt x="13" y="38"/>
                </a:cubicBezTo>
                <a:cubicBezTo>
                  <a:pt x="11" y="39"/>
                  <a:pt x="8" y="41"/>
                  <a:pt x="6" y="41"/>
                </a:cubicBezTo>
                <a:cubicBezTo>
                  <a:pt x="4" y="40"/>
                  <a:pt x="2" y="40"/>
                  <a:pt x="1" y="41"/>
                </a:cubicBezTo>
                <a:cubicBezTo>
                  <a:pt x="2" y="43"/>
                  <a:pt x="3" y="45"/>
                  <a:pt x="5" y="45"/>
                </a:cubicBezTo>
                <a:cubicBezTo>
                  <a:pt x="4" y="44"/>
                  <a:pt x="7" y="45"/>
                  <a:pt x="7" y="43"/>
                </a:cubicBezTo>
                <a:cubicBezTo>
                  <a:pt x="7" y="42"/>
                  <a:pt x="7" y="42"/>
                  <a:pt x="6" y="42"/>
                </a:cubicBezTo>
                <a:cubicBezTo>
                  <a:pt x="7" y="42"/>
                  <a:pt x="7" y="42"/>
                  <a:pt x="8" y="42"/>
                </a:cubicBezTo>
                <a:cubicBezTo>
                  <a:pt x="7" y="44"/>
                  <a:pt x="10" y="43"/>
                  <a:pt x="11" y="43"/>
                </a:cubicBezTo>
                <a:cubicBezTo>
                  <a:pt x="13" y="44"/>
                  <a:pt x="12" y="44"/>
                  <a:pt x="13" y="46"/>
                </a:cubicBezTo>
                <a:cubicBezTo>
                  <a:pt x="13" y="45"/>
                  <a:pt x="13" y="44"/>
                  <a:pt x="14" y="44"/>
                </a:cubicBezTo>
                <a:cubicBezTo>
                  <a:pt x="13" y="45"/>
                  <a:pt x="14" y="47"/>
                  <a:pt x="13" y="48"/>
                </a:cubicBezTo>
                <a:cubicBezTo>
                  <a:pt x="12" y="48"/>
                  <a:pt x="11" y="49"/>
                  <a:pt x="12" y="51"/>
                </a:cubicBezTo>
                <a:cubicBezTo>
                  <a:pt x="13" y="53"/>
                  <a:pt x="13" y="52"/>
                  <a:pt x="13" y="55"/>
                </a:cubicBezTo>
                <a:cubicBezTo>
                  <a:pt x="11" y="53"/>
                  <a:pt x="7" y="48"/>
                  <a:pt x="4" y="48"/>
                </a:cubicBezTo>
                <a:cubicBezTo>
                  <a:pt x="4" y="48"/>
                  <a:pt x="4" y="50"/>
                  <a:pt x="4" y="50"/>
                </a:cubicBezTo>
                <a:cubicBezTo>
                  <a:pt x="3" y="50"/>
                  <a:pt x="3" y="50"/>
                  <a:pt x="4" y="52"/>
                </a:cubicBezTo>
                <a:cubicBezTo>
                  <a:pt x="4" y="52"/>
                  <a:pt x="4" y="53"/>
                  <a:pt x="5" y="53"/>
                </a:cubicBezTo>
                <a:cubicBezTo>
                  <a:pt x="5" y="54"/>
                  <a:pt x="5" y="55"/>
                  <a:pt x="5" y="56"/>
                </a:cubicBezTo>
                <a:cubicBezTo>
                  <a:pt x="5" y="58"/>
                  <a:pt x="6" y="60"/>
                  <a:pt x="7" y="62"/>
                </a:cubicBezTo>
                <a:cubicBezTo>
                  <a:pt x="7" y="64"/>
                  <a:pt x="10" y="69"/>
                  <a:pt x="8" y="70"/>
                </a:cubicBezTo>
                <a:cubicBezTo>
                  <a:pt x="6" y="73"/>
                  <a:pt x="8" y="78"/>
                  <a:pt x="5" y="79"/>
                </a:cubicBezTo>
                <a:cubicBezTo>
                  <a:pt x="3" y="80"/>
                  <a:pt x="2" y="80"/>
                  <a:pt x="1" y="82"/>
                </a:cubicBezTo>
                <a:cubicBezTo>
                  <a:pt x="0" y="83"/>
                  <a:pt x="1" y="84"/>
                  <a:pt x="1" y="85"/>
                </a:cubicBezTo>
                <a:cubicBezTo>
                  <a:pt x="0" y="88"/>
                  <a:pt x="2" y="88"/>
                  <a:pt x="4" y="90"/>
                </a:cubicBezTo>
                <a:cubicBezTo>
                  <a:pt x="6" y="91"/>
                  <a:pt x="7" y="92"/>
                  <a:pt x="8" y="93"/>
                </a:cubicBezTo>
                <a:cubicBezTo>
                  <a:pt x="10" y="94"/>
                  <a:pt x="11" y="95"/>
                  <a:pt x="13" y="97"/>
                </a:cubicBezTo>
                <a:cubicBezTo>
                  <a:pt x="16" y="98"/>
                  <a:pt x="16" y="103"/>
                  <a:pt x="13" y="104"/>
                </a:cubicBezTo>
                <a:cubicBezTo>
                  <a:pt x="12" y="106"/>
                  <a:pt x="13" y="111"/>
                  <a:pt x="15" y="112"/>
                </a:cubicBezTo>
                <a:cubicBezTo>
                  <a:pt x="15" y="112"/>
                  <a:pt x="17" y="112"/>
                  <a:pt x="18" y="113"/>
                </a:cubicBezTo>
                <a:cubicBezTo>
                  <a:pt x="18" y="115"/>
                  <a:pt x="17" y="116"/>
                  <a:pt x="17" y="118"/>
                </a:cubicBezTo>
                <a:cubicBezTo>
                  <a:pt x="18" y="119"/>
                  <a:pt x="19" y="119"/>
                  <a:pt x="19" y="120"/>
                </a:cubicBezTo>
                <a:cubicBezTo>
                  <a:pt x="20" y="121"/>
                  <a:pt x="19" y="123"/>
                  <a:pt x="19" y="124"/>
                </a:cubicBezTo>
                <a:cubicBezTo>
                  <a:pt x="18" y="125"/>
                  <a:pt x="18" y="127"/>
                  <a:pt x="17" y="128"/>
                </a:cubicBezTo>
                <a:cubicBezTo>
                  <a:pt x="17" y="129"/>
                  <a:pt x="15" y="130"/>
                  <a:pt x="15" y="131"/>
                </a:cubicBezTo>
                <a:cubicBezTo>
                  <a:pt x="16" y="134"/>
                  <a:pt x="19" y="136"/>
                  <a:pt x="20" y="139"/>
                </a:cubicBezTo>
                <a:cubicBezTo>
                  <a:pt x="21" y="142"/>
                  <a:pt x="18" y="143"/>
                  <a:pt x="21" y="145"/>
                </a:cubicBezTo>
                <a:cubicBezTo>
                  <a:pt x="23" y="145"/>
                  <a:pt x="25" y="146"/>
                  <a:pt x="26" y="147"/>
                </a:cubicBezTo>
                <a:cubicBezTo>
                  <a:pt x="27" y="148"/>
                  <a:pt x="26" y="150"/>
                  <a:pt x="27" y="151"/>
                </a:cubicBezTo>
                <a:cubicBezTo>
                  <a:pt x="27" y="153"/>
                  <a:pt x="28" y="154"/>
                  <a:pt x="28" y="156"/>
                </a:cubicBezTo>
                <a:cubicBezTo>
                  <a:pt x="28" y="158"/>
                  <a:pt x="28" y="160"/>
                  <a:pt x="28" y="161"/>
                </a:cubicBezTo>
                <a:cubicBezTo>
                  <a:pt x="27" y="164"/>
                  <a:pt x="26" y="166"/>
                  <a:pt x="25" y="168"/>
                </a:cubicBezTo>
                <a:cubicBezTo>
                  <a:pt x="25" y="170"/>
                  <a:pt x="23" y="171"/>
                  <a:pt x="23" y="173"/>
                </a:cubicBezTo>
                <a:cubicBezTo>
                  <a:pt x="24" y="173"/>
                  <a:pt x="28" y="174"/>
                  <a:pt x="28" y="172"/>
                </a:cubicBezTo>
                <a:cubicBezTo>
                  <a:pt x="28" y="171"/>
                  <a:pt x="29" y="170"/>
                  <a:pt x="28" y="169"/>
                </a:cubicBezTo>
                <a:cubicBezTo>
                  <a:pt x="28" y="169"/>
                  <a:pt x="27" y="167"/>
                  <a:pt x="27" y="168"/>
                </a:cubicBezTo>
                <a:cubicBezTo>
                  <a:pt x="27" y="165"/>
                  <a:pt x="31" y="167"/>
                  <a:pt x="32" y="167"/>
                </a:cubicBezTo>
                <a:cubicBezTo>
                  <a:pt x="32" y="167"/>
                  <a:pt x="32" y="167"/>
                  <a:pt x="33" y="167"/>
                </a:cubicBezTo>
                <a:cubicBezTo>
                  <a:pt x="33" y="167"/>
                  <a:pt x="33" y="168"/>
                  <a:pt x="33" y="168"/>
                </a:cubicBezTo>
                <a:cubicBezTo>
                  <a:pt x="34" y="168"/>
                  <a:pt x="35" y="167"/>
                  <a:pt x="36" y="168"/>
                </a:cubicBezTo>
                <a:cubicBezTo>
                  <a:pt x="37" y="170"/>
                  <a:pt x="35" y="170"/>
                  <a:pt x="36" y="172"/>
                </a:cubicBezTo>
                <a:cubicBezTo>
                  <a:pt x="37" y="172"/>
                  <a:pt x="39" y="176"/>
                  <a:pt x="40" y="176"/>
                </a:cubicBezTo>
                <a:cubicBezTo>
                  <a:pt x="41" y="177"/>
                  <a:pt x="41" y="175"/>
                  <a:pt x="42" y="176"/>
                </a:cubicBezTo>
                <a:cubicBezTo>
                  <a:pt x="43" y="176"/>
                  <a:pt x="45" y="177"/>
                  <a:pt x="46" y="177"/>
                </a:cubicBezTo>
                <a:cubicBezTo>
                  <a:pt x="48" y="178"/>
                  <a:pt x="51" y="178"/>
                  <a:pt x="53" y="179"/>
                </a:cubicBezTo>
                <a:cubicBezTo>
                  <a:pt x="54" y="181"/>
                  <a:pt x="58" y="180"/>
                  <a:pt x="58" y="182"/>
                </a:cubicBezTo>
                <a:cubicBezTo>
                  <a:pt x="58" y="183"/>
                  <a:pt x="58" y="184"/>
                  <a:pt x="59" y="184"/>
                </a:cubicBezTo>
                <a:cubicBezTo>
                  <a:pt x="60" y="184"/>
                  <a:pt x="61" y="183"/>
                  <a:pt x="61" y="182"/>
                </a:cubicBezTo>
                <a:cubicBezTo>
                  <a:pt x="63" y="182"/>
                  <a:pt x="64" y="183"/>
                  <a:pt x="65" y="183"/>
                </a:cubicBezTo>
                <a:cubicBezTo>
                  <a:pt x="66" y="182"/>
                  <a:pt x="65" y="182"/>
                  <a:pt x="67" y="182"/>
                </a:cubicBezTo>
                <a:cubicBezTo>
                  <a:pt x="69" y="182"/>
                  <a:pt x="71" y="183"/>
                  <a:pt x="71" y="186"/>
                </a:cubicBezTo>
                <a:cubicBezTo>
                  <a:pt x="71" y="188"/>
                  <a:pt x="66" y="190"/>
                  <a:pt x="64" y="191"/>
                </a:cubicBezTo>
                <a:cubicBezTo>
                  <a:pt x="64" y="192"/>
                  <a:pt x="67" y="194"/>
                  <a:pt x="67" y="194"/>
                </a:cubicBezTo>
                <a:cubicBezTo>
                  <a:pt x="68" y="195"/>
                  <a:pt x="69" y="194"/>
                  <a:pt x="70" y="195"/>
                </a:cubicBezTo>
                <a:cubicBezTo>
                  <a:pt x="70" y="196"/>
                  <a:pt x="71" y="197"/>
                  <a:pt x="71" y="197"/>
                </a:cubicBezTo>
                <a:cubicBezTo>
                  <a:pt x="74" y="199"/>
                  <a:pt x="74" y="201"/>
                  <a:pt x="76" y="204"/>
                </a:cubicBezTo>
                <a:cubicBezTo>
                  <a:pt x="77" y="206"/>
                  <a:pt x="79" y="207"/>
                  <a:pt x="81" y="205"/>
                </a:cubicBezTo>
                <a:cubicBezTo>
                  <a:pt x="82" y="204"/>
                  <a:pt x="83" y="202"/>
                  <a:pt x="84" y="202"/>
                </a:cubicBezTo>
                <a:cubicBezTo>
                  <a:pt x="85" y="202"/>
                  <a:pt x="85" y="202"/>
                  <a:pt x="86" y="202"/>
                </a:cubicBezTo>
                <a:cubicBezTo>
                  <a:pt x="86" y="201"/>
                  <a:pt x="89" y="199"/>
                  <a:pt x="89" y="201"/>
                </a:cubicBezTo>
                <a:cubicBezTo>
                  <a:pt x="89" y="198"/>
                  <a:pt x="81" y="190"/>
                  <a:pt x="88" y="192"/>
                </a:cubicBezTo>
                <a:cubicBezTo>
                  <a:pt x="90" y="193"/>
                  <a:pt x="92" y="194"/>
                  <a:pt x="93" y="194"/>
                </a:cubicBezTo>
                <a:cubicBezTo>
                  <a:pt x="95" y="194"/>
                  <a:pt x="94" y="195"/>
                  <a:pt x="95" y="195"/>
                </a:cubicBezTo>
                <a:cubicBezTo>
                  <a:pt x="96" y="196"/>
                  <a:pt x="101" y="197"/>
                  <a:pt x="99" y="199"/>
                </a:cubicBezTo>
                <a:cubicBezTo>
                  <a:pt x="100" y="198"/>
                  <a:pt x="102" y="200"/>
                  <a:pt x="102" y="200"/>
                </a:cubicBezTo>
                <a:cubicBezTo>
                  <a:pt x="103" y="200"/>
                  <a:pt x="104" y="199"/>
                  <a:pt x="105" y="199"/>
                </a:cubicBezTo>
                <a:cubicBezTo>
                  <a:pt x="106" y="199"/>
                  <a:pt x="108" y="200"/>
                  <a:pt x="109" y="198"/>
                </a:cubicBezTo>
                <a:cubicBezTo>
                  <a:pt x="111" y="194"/>
                  <a:pt x="110" y="200"/>
                  <a:pt x="111" y="201"/>
                </a:cubicBezTo>
                <a:cubicBezTo>
                  <a:pt x="112" y="203"/>
                  <a:pt x="107" y="202"/>
                  <a:pt x="107" y="204"/>
                </a:cubicBezTo>
                <a:cubicBezTo>
                  <a:pt x="107" y="205"/>
                  <a:pt x="110" y="206"/>
                  <a:pt x="111" y="206"/>
                </a:cubicBezTo>
                <a:cubicBezTo>
                  <a:pt x="111" y="207"/>
                  <a:pt x="112" y="209"/>
                  <a:pt x="113" y="210"/>
                </a:cubicBezTo>
                <a:cubicBezTo>
                  <a:pt x="114" y="212"/>
                  <a:pt x="119" y="212"/>
                  <a:pt x="120" y="210"/>
                </a:cubicBezTo>
                <a:cubicBezTo>
                  <a:pt x="120" y="209"/>
                  <a:pt x="120" y="209"/>
                  <a:pt x="119" y="209"/>
                </a:cubicBezTo>
                <a:cubicBezTo>
                  <a:pt x="119" y="209"/>
                  <a:pt x="120" y="208"/>
                  <a:pt x="121" y="208"/>
                </a:cubicBezTo>
                <a:cubicBezTo>
                  <a:pt x="121" y="209"/>
                  <a:pt x="121" y="209"/>
                  <a:pt x="122" y="210"/>
                </a:cubicBezTo>
                <a:cubicBezTo>
                  <a:pt x="123" y="212"/>
                  <a:pt x="125" y="211"/>
                  <a:pt x="126" y="212"/>
                </a:cubicBezTo>
                <a:cubicBezTo>
                  <a:pt x="128" y="213"/>
                  <a:pt x="128" y="214"/>
                  <a:pt x="130" y="214"/>
                </a:cubicBezTo>
                <a:cubicBezTo>
                  <a:pt x="132" y="213"/>
                  <a:pt x="133" y="215"/>
                  <a:pt x="135" y="215"/>
                </a:cubicBezTo>
                <a:cubicBezTo>
                  <a:pt x="136" y="215"/>
                  <a:pt x="135" y="214"/>
                  <a:pt x="136" y="215"/>
                </a:cubicBezTo>
                <a:cubicBezTo>
                  <a:pt x="137" y="215"/>
                  <a:pt x="137" y="216"/>
                  <a:pt x="137" y="216"/>
                </a:cubicBezTo>
                <a:cubicBezTo>
                  <a:pt x="137" y="218"/>
                  <a:pt x="137" y="219"/>
                  <a:pt x="138" y="222"/>
                </a:cubicBezTo>
                <a:cubicBezTo>
                  <a:pt x="140" y="225"/>
                  <a:pt x="144" y="224"/>
                  <a:pt x="145" y="229"/>
                </a:cubicBezTo>
                <a:cubicBezTo>
                  <a:pt x="146" y="231"/>
                  <a:pt x="145" y="232"/>
                  <a:pt x="147" y="232"/>
                </a:cubicBezTo>
                <a:cubicBezTo>
                  <a:pt x="149" y="232"/>
                  <a:pt x="149" y="234"/>
                  <a:pt x="149" y="236"/>
                </a:cubicBezTo>
                <a:cubicBezTo>
                  <a:pt x="149" y="238"/>
                  <a:pt x="151" y="237"/>
                  <a:pt x="152" y="237"/>
                </a:cubicBezTo>
                <a:cubicBezTo>
                  <a:pt x="154" y="237"/>
                  <a:pt x="155" y="238"/>
                  <a:pt x="156" y="235"/>
                </a:cubicBezTo>
                <a:cubicBezTo>
                  <a:pt x="157" y="233"/>
                  <a:pt x="157" y="232"/>
                  <a:pt x="159" y="231"/>
                </a:cubicBezTo>
                <a:cubicBezTo>
                  <a:pt x="161" y="231"/>
                  <a:pt x="162" y="228"/>
                  <a:pt x="164" y="228"/>
                </a:cubicBezTo>
                <a:cubicBezTo>
                  <a:pt x="167" y="228"/>
                  <a:pt x="165" y="236"/>
                  <a:pt x="169" y="235"/>
                </a:cubicBezTo>
                <a:cubicBezTo>
                  <a:pt x="168" y="239"/>
                  <a:pt x="173" y="236"/>
                  <a:pt x="174" y="238"/>
                </a:cubicBezTo>
                <a:cubicBezTo>
                  <a:pt x="175" y="240"/>
                  <a:pt x="173" y="246"/>
                  <a:pt x="174" y="246"/>
                </a:cubicBezTo>
                <a:cubicBezTo>
                  <a:pt x="176" y="246"/>
                  <a:pt x="178" y="244"/>
                  <a:pt x="180" y="245"/>
                </a:cubicBezTo>
                <a:cubicBezTo>
                  <a:pt x="181" y="245"/>
                  <a:pt x="183" y="248"/>
                  <a:pt x="183" y="246"/>
                </a:cubicBezTo>
                <a:cubicBezTo>
                  <a:pt x="184" y="245"/>
                  <a:pt x="184" y="243"/>
                  <a:pt x="184" y="242"/>
                </a:cubicBezTo>
                <a:cubicBezTo>
                  <a:pt x="186" y="240"/>
                  <a:pt x="188" y="241"/>
                  <a:pt x="189" y="239"/>
                </a:cubicBezTo>
                <a:cubicBezTo>
                  <a:pt x="190" y="239"/>
                  <a:pt x="190" y="238"/>
                  <a:pt x="190" y="238"/>
                </a:cubicBezTo>
                <a:cubicBezTo>
                  <a:pt x="192" y="236"/>
                  <a:pt x="196" y="238"/>
                  <a:pt x="197" y="238"/>
                </a:cubicBezTo>
                <a:cubicBezTo>
                  <a:pt x="199" y="237"/>
                  <a:pt x="200" y="235"/>
                  <a:pt x="202" y="237"/>
                </a:cubicBezTo>
                <a:cubicBezTo>
                  <a:pt x="203" y="238"/>
                  <a:pt x="204" y="239"/>
                  <a:pt x="205" y="240"/>
                </a:cubicBezTo>
                <a:cubicBezTo>
                  <a:pt x="208" y="240"/>
                  <a:pt x="208" y="242"/>
                  <a:pt x="211" y="240"/>
                </a:cubicBezTo>
                <a:cubicBezTo>
                  <a:pt x="211" y="240"/>
                  <a:pt x="213" y="239"/>
                  <a:pt x="213" y="239"/>
                </a:cubicBezTo>
                <a:cubicBezTo>
                  <a:pt x="213" y="237"/>
                  <a:pt x="211" y="237"/>
                  <a:pt x="213" y="236"/>
                </a:cubicBezTo>
                <a:cubicBezTo>
                  <a:pt x="214" y="235"/>
                  <a:pt x="216" y="237"/>
                  <a:pt x="218" y="236"/>
                </a:cubicBezTo>
                <a:cubicBezTo>
                  <a:pt x="219" y="235"/>
                  <a:pt x="219" y="235"/>
                  <a:pt x="221" y="236"/>
                </a:cubicBezTo>
                <a:cubicBezTo>
                  <a:pt x="225" y="237"/>
                  <a:pt x="228" y="235"/>
                  <a:pt x="232" y="237"/>
                </a:cubicBezTo>
                <a:cubicBezTo>
                  <a:pt x="233" y="238"/>
                  <a:pt x="233" y="239"/>
                  <a:pt x="234" y="238"/>
                </a:cubicBezTo>
                <a:cubicBezTo>
                  <a:pt x="236" y="237"/>
                  <a:pt x="238" y="238"/>
                  <a:pt x="238" y="239"/>
                </a:cubicBezTo>
                <a:cubicBezTo>
                  <a:pt x="239" y="240"/>
                  <a:pt x="240" y="241"/>
                  <a:pt x="241" y="242"/>
                </a:cubicBezTo>
                <a:cubicBezTo>
                  <a:pt x="242" y="244"/>
                  <a:pt x="242" y="246"/>
                  <a:pt x="244" y="246"/>
                </a:cubicBezTo>
                <a:cubicBezTo>
                  <a:pt x="246" y="247"/>
                  <a:pt x="247" y="247"/>
                  <a:pt x="248" y="248"/>
                </a:cubicBezTo>
                <a:cubicBezTo>
                  <a:pt x="250" y="249"/>
                  <a:pt x="252" y="248"/>
                  <a:pt x="253" y="250"/>
                </a:cubicBezTo>
                <a:cubicBezTo>
                  <a:pt x="254" y="250"/>
                  <a:pt x="268" y="254"/>
                  <a:pt x="268" y="254"/>
                </a:cubicBezTo>
                <a:cubicBezTo>
                  <a:pt x="268" y="253"/>
                  <a:pt x="266" y="250"/>
                  <a:pt x="265" y="249"/>
                </a:cubicBezTo>
                <a:cubicBezTo>
                  <a:pt x="265" y="249"/>
                  <a:pt x="262" y="247"/>
                  <a:pt x="262" y="247"/>
                </a:cubicBezTo>
                <a:cubicBezTo>
                  <a:pt x="262" y="246"/>
                  <a:pt x="263" y="245"/>
                  <a:pt x="263" y="244"/>
                </a:cubicBezTo>
                <a:cubicBezTo>
                  <a:pt x="263" y="242"/>
                  <a:pt x="263" y="240"/>
                  <a:pt x="262" y="238"/>
                </a:cubicBezTo>
                <a:cubicBezTo>
                  <a:pt x="261" y="235"/>
                  <a:pt x="259" y="232"/>
                  <a:pt x="260" y="229"/>
                </a:cubicBezTo>
                <a:cubicBezTo>
                  <a:pt x="262" y="226"/>
                  <a:pt x="265" y="224"/>
                  <a:pt x="266" y="221"/>
                </a:cubicBezTo>
                <a:cubicBezTo>
                  <a:pt x="269" y="218"/>
                  <a:pt x="271" y="214"/>
                  <a:pt x="273" y="211"/>
                </a:cubicBezTo>
                <a:cubicBezTo>
                  <a:pt x="276" y="208"/>
                  <a:pt x="279" y="205"/>
                  <a:pt x="282" y="202"/>
                </a:cubicBezTo>
                <a:cubicBezTo>
                  <a:pt x="284" y="200"/>
                  <a:pt x="286" y="199"/>
                  <a:pt x="287" y="197"/>
                </a:cubicBezTo>
                <a:cubicBezTo>
                  <a:pt x="288" y="196"/>
                  <a:pt x="289" y="195"/>
                  <a:pt x="290" y="194"/>
                </a:cubicBezTo>
                <a:cubicBezTo>
                  <a:pt x="292" y="192"/>
                  <a:pt x="295" y="194"/>
                  <a:pt x="297" y="193"/>
                </a:cubicBezTo>
                <a:cubicBezTo>
                  <a:pt x="299" y="192"/>
                  <a:pt x="297" y="190"/>
                  <a:pt x="298" y="189"/>
                </a:cubicBezTo>
                <a:cubicBezTo>
                  <a:pt x="299" y="188"/>
                  <a:pt x="300" y="188"/>
                  <a:pt x="301" y="187"/>
                </a:cubicBezTo>
                <a:cubicBezTo>
                  <a:pt x="302" y="186"/>
                  <a:pt x="299" y="180"/>
                  <a:pt x="299" y="180"/>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123">
            <a:extLst>
              <a:ext uri="{FF2B5EF4-FFF2-40B4-BE49-F238E27FC236}">
                <a16:creationId xmlns:a16="http://schemas.microsoft.com/office/drawing/2014/main" id="{56DF719D-1275-4B8E-B580-6F097A750680}"/>
              </a:ext>
            </a:extLst>
          </p:cNvPr>
          <p:cNvSpPr>
            <a:spLocks/>
          </p:cNvSpPr>
          <p:nvPr/>
        </p:nvSpPr>
        <p:spPr bwMode="auto">
          <a:xfrm>
            <a:off x="2806196" y="4933345"/>
            <a:ext cx="276262" cy="185935"/>
          </a:xfrm>
          <a:custGeom>
            <a:avLst/>
            <a:gdLst>
              <a:gd name="T0" fmla="*/ 95 w 99"/>
              <a:gd name="T1" fmla="*/ 14 h 66"/>
              <a:gd name="T2" fmla="*/ 92 w 99"/>
              <a:gd name="T3" fmla="*/ 9 h 66"/>
              <a:gd name="T4" fmla="*/ 89 w 99"/>
              <a:gd name="T5" fmla="*/ 1 h 66"/>
              <a:gd name="T6" fmla="*/ 79 w 99"/>
              <a:gd name="T7" fmla="*/ 3 h 66"/>
              <a:gd name="T8" fmla="*/ 76 w 99"/>
              <a:gd name="T9" fmla="*/ 8 h 66"/>
              <a:gd name="T10" fmla="*/ 66 w 99"/>
              <a:gd name="T11" fmla="*/ 11 h 66"/>
              <a:gd name="T12" fmla="*/ 58 w 99"/>
              <a:gd name="T13" fmla="*/ 10 h 66"/>
              <a:gd name="T14" fmla="*/ 43 w 99"/>
              <a:gd name="T15" fmla="*/ 16 h 66"/>
              <a:gd name="T16" fmla="*/ 29 w 99"/>
              <a:gd name="T17" fmla="*/ 20 h 66"/>
              <a:gd name="T18" fmla="*/ 17 w 99"/>
              <a:gd name="T19" fmla="*/ 16 h 66"/>
              <a:gd name="T20" fmla="*/ 4 w 99"/>
              <a:gd name="T21" fmla="*/ 21 h 66"/>
              <a:gd name="T22" fmla="*/ 2 w 99"/>
              <a:gd name="T23" fmla="*/ 30 h 66"/>
              <a:gd name="T24" fmla="*/ 5 w 99"/>
              <a:gd name="T25" fmla="*/ 30 h 66"/>
              <a:gd name="T26" fmla="*/ 3 w 99"/>
              <a:gd name="T27" fmla="*/ 37 h 66"/>
              <a:gd name="T28" fmla="*/ 7 w 99"/>
              <a:gd name="T29" fmla="*/ 47 h 66"/>
              <a:gd name="T30" fmla="*/ 14 w 99"/>
              <a:gd name="T31" fmla="*/ 52 h 66"/>
              <a:gd name="T32" fmla="*/ 10 w 99"/>
              <a:gd name="T33" fmla="*/ 57 h 66"/>
              <a:gd name="T34" fmla="*/ 9 w 99"/>
              <a:gd name="T35" fmla="*/ 63 h 66"/>
              <a:gd name="T36" fmla="*/ 19 w 99"/>
              <a:gd name="T37" fmla="*/ 63 h 66"/>
              <a:gd name="T38" fmla="*/ 24 w 99"/>
              <a:gd name="T39" fmla="*/ 62 h 66"/>
              <a:gd name="T40" fmla="*/ 36 w 99"/>
              <a:gd name="T41" fmla="*/ 56 h 66"/>
              <a:gd name="T42" fmla="*/ 41 w 99"/>
              <a:gd name="T43" fmla="*/ 60 h 66"/>
              <a:gd name="T44" fmla="*/ 53 w 99"/>
              <a:gd name="T45" fmla="*/ 63 h 66"/>
              <a:gd name="T46" fmla="*/ 62 w 99"/>
              <a:gd name="T47" fmla="*/ 62 h 66"/>
              <a:gd name="T48" fmla="*/ 62 w 99"/>
              <a:gd name="T49" fmla="*/ 55 h 66"/>
              <a:gd name="T50" fmla="*/ 58 w 99"/>
              <a:gd name="T51" fmla="*/ 52 h 66"/>
              <a:gd name="T52" fmla="*/ 68 w 99"/>
              <a:gd name="T53" fmla="*/ 47 h 66"/>
              <a:gd name="T54" fmla="*/ 72 w 99"/>
              <a:gd name="T55" fmla="*/ 37 h 66"/>
              <a:gd name="T56" fmla="*/ 73 w 99"/>
              <a:gd name="T57" fmla="*/ 30 h 66"/>
              <a:gd name="T58" fmla="*/ 78 w 99"/>
              <a:gd name="T59" fmla="*/ 27 h 66"/>
              <a:gd name="T60" fmla="*/ 85 w 99"/>
              <a:gd name="T61" fmla="*/ 21 h 66"/>
              <a:gd name="T62" fmla="*/ 88 w 99"/>
              <a:gd name="T63" fmla="*/ 1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66">
                <a:moveTo>
                  <a:pt x="99" y="18"/>
                </a:moveTo>
                <a:cubicBezTo>
                  <a:pt x="97" y="17"/>
                  <a:pt x="96" y="15"/>
                  <a:pt x="95" y="14"/>
                </a:cubicBezTo>
                <a:cubicBezTo>
                  <a:pt x="94" y="13"/>
                  <a:pt x="93" y="12"/>
                  <a:pt x="92" y="11"/>
                </a:cubicBezTo>
                <a:cubicBezTo>
                  <a:pt x="91" y="9"/>
                  <a:pt x="92" y="10"/>
                  <a:pt x="92" y="9"/>
                </a:cubicBezTo>
                <a:cubicBezTo>
                  <a:pt x="93" y="8"/>
                  <a:pt x="91" y="7"/>
                  <a:pt x="91" y="7"/>
                </a:cubicBezTo>
                <a:cubicBezTo>
                  <a:pt x="88" y="5"/>
                  <a:pt x="91" y="2"/>
                  <a:pt x="89" y="1"/>
                </a:cubicBezTo>
                <a:cubicBezTo>
                  <a:pt x="88" y="0"/>
                  <a:pt x="86" y="0"/>
                  <a:pt x="85" y="1"/>
                </a:cubicBezTo>
                <a:cubicBezTo>
                  <a:pt x="83" y="0"/>
                  <a:pt x="80" y="1"/>
                  <a:pt x="79" y="3"/>
                </a:cubicBezTo>
                <a:cubicBezTo>
                  <a:pt x="79" y="6"/>
                  <a:pt x="81" y="7"/>
                  <a:pt x="81" y="10"/>
                </a:cubicBezTo>
                <a:cubicBezTo>
                  <a:pt x="79" y="8"/>
                  <a:pt x="78" y="8"/>
                  <a:pt x="76" y="8"/>
                </a:cubicBezTo>
                <a:cubicBezTo>
                  <a:pt x="75" y="7"/>
                  <a:pt x="73" y="8"/>
                  <a:pt x="72" y="8"/>
                </a:cubicBezTo>
                <a:cubicBezTo>
                  <a:pt x="70" y="8"/>
                  <a:pt x="66" y="8"/>
                  <a:pt x="66" y="11"/>
                </a:cubicBezTo>
                <a:cubicBezTo>
                  <a:pt x="65" y="12"/>
                  <a:pt x="64" y="12"/>
                  <a:pt x="63" y="11"/>
                </a:cubicBezTo>
                <a:cubicBezTo>
                  <a:pt x="61" y="10"/>
                  <a:pt x="60" y="10"/>
                  <a:pt x="58" y="10"/>
                </a:cubicBezTo>
                <a:cubicBezTo>
                  <a:pt x="56" y="10"/>
                  <a:pt x="50" y="9"/>
                  <a:pt x="49" y="12"/>
                </a:cubicBezTo>
                <a:cubicBezTo>
                  <a:pt x="47" y="8"/>
                  <a:pt x="44" y="16"/>
                  <a:pt x="43" y="16"/>
                </a:cubicBezTo>
                <a:cubicBezTo>
                  <a:pt x="41" y="18"/>
                  <a:pt x="37" y="19"/>
                  <a:pt x="36" y="22"/>
                </a:cubicBezTo>
                <a:cubicBezTo>
                  <a:pt x="34" y="20"/>
                  <a:pt x="32" y="20"/>
                  <a:pt x="29" y="20"/>
                </a:cubicBezTo>
                <a:cubicBezTo>
                  <a:pt x="27" y="20"/>
                  <a:pt x="25" y="20"/>
                  <a:pt x="23" y="19"/>
                </a:cubicBezTo>
                <a:cubicBezTo>
                  <a:pt x="21" y="18"/>
                  <a:pt x="19" y="17"/>
                  <a:pt x="17" y="16"/>
                </a:cubicBezTo>
                <a:cubicBezTo>
                  <a:pt x="15" y="16"/>
                  <a:pt x="12" y="17"/>
                  <a:pt x="10" y="16"/>
                </a:cubicBezTo>
                <a:cubicBezTo>
                  <a:pt x="9" y="20"/>
                  <a:pt x="7" y="20"/>
                  <a:pt x="4" y="21"/>
                </a:cubicBezTo>
                <a:cubicBezTo>
                  <a:pt x="2" y="22"/>
                  <a:pt x="1" y="23"/>
                  <a:pt x="0" y="25"/>
                </a:cubicBezTo>
                <a:cubicBezTo>
                  <a:pt x="0" y="26"/>
                  <a:pt x="1" y="31"/>
                  <a:pt x="2" y="30"/>
                </a:cubicBezTo>
                <a:cubicBezTo>
                  <a:pt x="1" y="29"/>
                  <a:pt x="2" y="28"/>
                  <a:pt x="3" y="29"/>
                </a:cubicBezTo>
                <a:cubicBezTo>
                  <a:pt x="4" y="29"/>
                  <a:pt x="4" y="29"/>
                  <a:pt x="5" y="30"/>
                </a:cubicBezTo>
                <a:cubicBezTo>
                  <a:pt x="6" y="30"/>
                  <a:pt x="8" y="31"/>
                  <a:pt x="9" y="31"/>
                </a:cubicBezTo>
                <a:cubicBezTo>
                  <a:pt x="8" y="34"/>
                  <a:pt x="6" y="36"/>
                  <a:pt x="3" y="37"/>
                </a:cubicBezTo>
                <a:cubicBezTo>
                  <a:pt x="4" y="38"/>
                  <a:pt x="3" y="41"/>
                  <a:pt x="5" y="40"/>
                </a:cubicBezTo>
                <a:cubicBezTo>
                  <a:pt x="11" y="39"/>
                  <a:pt x="5" y="45"/>
                  <a:pt x="7" y="47"/>
                </a:cubicBezTo>
                <a:cubicBezTo>
                  <a:pt x="7" y="49"/>
                  <a:pt x="9" y="49"/>
                  <a:pt x="10" y="49"/>
                </a:cubicBezTo>
                <a:cubicBezTo>
                  <a:pt x="12" y="50"/>
                  <a:pt x="13" y="50"/>
                  <a:pt x="14" y="52"/>
                </a:cubicBezTo>
                <a:cubicBezTo>
                  <a:pt x="15" y="53"/>
                  <a:pt x="17" y="55"/>
                  <a:pt x="16" y="56"/>
                </a:cubicBezTo>
                <a:cubicBezTo>
                  <a:pt x="15" y="59"/>
                  <a:pt x="12" y="57"/>
                  <a:pt x="10" y="57"/>
                </a:cubicBezTo>
                <a:cubicBezTo>
                  <a:pt x="14" y="59"/>
                  <a:pt x="7" y="60"/>
                  <a:pt x="6" y="60"/>
                </a:cubicBezTo>
                <a:cubicBezTo>
                  <a:pt x="7" y="61"/>
                  <a:pt x="7" y="63"/>
                  <a:pt x="9" y="63"/>
                </a:cubicBezTo>
                <a:cubicBezTo>
                  <a:pt x="10" y="63"/>
                  <a:pt x="13" y="62"/>
                  <a:pt x="14" y="64"/>
                </a:cubicBezTo>
                <a:cubicBezTo>
                  <a:pt x="16" y="66"/>
                  <a:pt x="17" y="63"/>
                  <a:pt x="19" y="63"/>
                </a:cubicBezTo>
                <a:cubicBezTo>
                  <a:pt x="20" y="63"/>
                  <a:pt x="18" y="61"/>
                  <a:pt x="19" y="61"/>
                </a:cubicBezTo>
                <a:cubicBezTo>
                  <a:pt x="21" y="60"/>
                  <a:pt x="22" y="63"/>
                  <a:pt x="24" y="62"/>
                </a:cubicBezTo>
                <a:cubicBezTo>
                  <a:pt x="26" y="61"/>
                  <a:pt x="27" y="61"/>
                  <a:pt x="30" y="61"/>
                </a:cubicBezTo>
                <a:cubicBezTo>
                  <a:pt x="33" y="62"/>
                  <a:pt x="35" y="59"/>
                  <a:pt x="36" y="56"/>
                </a:cubicBezTo>
                <a:cubicBezTo>
                  <a:pt x="37" y="53"/>
                  <a:pt x="37" y="54"/>
                  <a:pt x="38" y="56"/>
                </a:cubicBezTo>
                <a:cubicBezTo>
                  <a:pt x="41" y="58"/>
                  <a:pt x="41" y="59"/>
                  <a:pt x="41" y="60"/>
                </a:cubicBezTo>
                <a:cubicBezTo>
                  <a:pt x="43" y="61"/>
                  <a:pt x="45" y="64"/>
                  <a:pt x="47" y="61"/>
                </a:cubicBezTo>
                <a:cubicBezTo>
                  <a:pt x="48" y="59"/>
                  <a:pt x="52" y="62"/>
                  <a:pt x="53" y="63"/>
                </a:cubicBezTo>
                <a:cubicBezTo>
                  <a:pt x="55" y="64"/>
                  <a:pt x="56" y="65"/>
                  <a:pt x="58" y="63"/>
                </a:cubicBezTo>
                <a:cubicBezTo>
                  <a:pt x="59" y="63"/>
                  <a:pt x="61" y="64"/>
                  <a:pt x="62" y="62"/>
                </a:cubicBezTo>
                <a:cubicBezTo>
                  <a:pt x="61" y="61"/>
                  <a:pt x="59" y="59"/>
                  <a:pt x="59" y="57"/>
                </a:cubicBezTo>
                <a:cubicBezTo>
                  <a:pt x="59" y="55"/>
                  <a:pt x="61" y="54"/>
                  <a:pt x="62" y="55"/>
                </a:cubicBezTo>
                <a:cubicBezTo>
                  <a:pt x="62" y="55"/>
                  <a:pt x="62" y="54"/>
                  <a:pt x="61" y="53"/>
                </a:cubicBezTo>
                <a:cubicBezTo>
                  <a:pt x="59" y="53"/>
                  <a:pt x="58" y="52"/>
                  <a:pt x="58" y="52"/>
                </a:cubicBezTo>
                <a:cubicBezTo>
                  <a:pt x="60" y="50"/>
                  <a:pt x="62" y="49"/>
                  <a:pt x="63" y="48"/>
                </a:cubicBezTo>
                <a:cubicBezTo>
                  <a:pt x="64" y="47"/>
                  <a:pt x="66" y="47"/>
                  <a:pt x="68" y="47"/>
                </a:cubicBezTo>
                <a:cubicBezTo>
                  <a:pt x="73" y="47"/>
                  <a:pt x="71" y="45"/>
                  <a:pt x="71" y="42"/>
                </a:cubicBezTo>
                <a:cubicBezTo>
                  <a:pt x="71" y="41"/>
                  <a:pt x="72" y="38"/>
                  <a:pt x="72" y="37"/>
                </a:cubicBezTo>
                <a:cubicBezTo>
                  <a:pt x="71" y="36"/>
                  <a:pt x="70" y="36"/>
                  <a:pt x="69" y="35"/>
                </a:cubicBezTo>
                <a:cubicBezTo>
                  <a:pt x="66" y="32"/>
                  <a:pt x="70" y="29"/>
                  <a:pt x="73" y="30"/>
                </a:cubicBezTo>
                <a:cubicBezTo>
                  <a:pt x="74" y="30"/>
                  <a:pt x="74" y="29"/>
                  <a:pt x="75" y="28"/>
                </a:cubicBezTo>
                <a:cubicBezTo>
                  <a:pt x="76" y="27"/>
                  <a:pt x="77" y="27"/>
                  <a:pt x="78" y="27"/>
                </a:cubicBezTo>
                <a:cubicBezTo>
                  <a:pt x="80" y="27"/>
                  <a:pt x="83" y="25"/>
                  <a:pt x="82" y="22"/>
                </a:cubicBezTo>
                <a:cubicBezTo>
                  <a:pt x="84" y="23"/>
                  <a:pt x="84" y="21"/>
                  <a:pt x="85" y="21"/>
                </a:cubicBezTo>
                <a:cubicBezTo>
                  <a:pt x="86" y="22"/>
                  <a:pt x="87" y="22"/>
                  <a:pt x="87" y="23"/>
                </a:cubicBezTo>
                <a:cubicBezTo>
                  <a:pt x="90" y="24"/>
                  <a:pt x="88" y="21"/>
                  <a:pt x="88" y="19"/>
                </a:cubicBezTo>
                <a:cubicBezTo>
                  <a:pt x="86" y="11"/>
                  <a:pt x="97" y="19"/>
                  <a:pt x="99" y="18"/>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124">
            <a:extLst>
              <a:ext uri="{FF2B5EF4-FFF2-40B4-BE49-F238E27FC236}">
                <a16:creationId xmlns:a16="http://schemas.microsoft.com/office/drawing/2014/main" id="{480DD42E-C81B-4E7B-9283-B4DBA252531B}"/>
              </a:ext>
            </a:extLst>
          </p:cNvPr>
          <p:cNvSpPr>
            <a:spLocks/>
          </p:cNvSpPr>
          <p:nvPr/>
        </p:nvSpPr>
        <p:spPr bwMode="auto">
          <a:xfrm>
            <a:off x="2884116" y="5144309"/>
            <a:ext cx="24793" cy="73897"/>
          </a:xfrm>
          <a:custGeom>
            <a:avLst/>
            <a:gdLst>
              <a:gd name="T0" fmla="*/ 6 w 9"/>
              <a:gd name="T1" fmla="*/ 15 h 26"/>
              <a:gd name="T2" fmla="*/ 5 w 9"/>
              <a:gd name="T3" fmla="*/ 9 h 26"/>
              <a:gd name="T4" fmla="*/ 3 w 9"/>
              <a:gd name="T5" fmla="*/ 3 h 26"/>
              <a:gd name="T6" fmla="*/ 0 w 9"/>
              <a:gd name="T7" fmla="*/ 3 h 26"/>
              <a:gd name="T8" fmla="*/ 3 w 9"/>
              <a:gd name="T9" fmla="*/ 8 h 26"/>
              <a:gd name="T10" fmla="*/ 4 w 9"/>
              <a:gd name="T11" fmla="*/ 13 h 26"/>
              <a:gd name="T12" fmla="*/ 1 w 9"/>
              <a:gd name="T13" fmla="*/ 11 h 26"/>
              <a:gd name="T14" fmla="*/ 7 w 9"/>
              <a:gd name="T15" fmla="*/ 26 h 26"/>
              <a:gd name="T16" fmla="*/ 7 w 9"/>
              <a:gd name="T17" fmla="*/ 23 h 26"/>
              <a:gd name="T18" fmla="*/ 6 w 9"/>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6">
                <a:moveTo>
                  <a:pt x="6" y="15"/>
                </a:moveTo>
                <a:cubicBezTo>
                  <a:pt x="6" y="12"/>
                  <a:pt x="7" y="11"/>
                  <a:pt x="5" y="9"/>
                </a:cubicBezTo>
                <a:cubicBezTo>
                  <a:pt x="3" y="7"/>
                  <a:pt x="3" y="5"/>
                  <a:pt x="3" y="3"/>
                </a:cubicBezTo>
                <a:cubicBezTo>
                  <a:pt x="3" y="1"/>
                  <a:pt x="1" y="0"/>
                  <a:pt x="0" y="3"/>
                </a:cubicBezTo>
                <a:cubicBezTo>
                  <a:pt x="0" y="5"/>
                  <a:pt x="2" y="6"/>
                  <a:pt x="3" y="8"/>
                </a:cubicBezTo>
                <a:cubicBezTo>
                  <a:pt x="3" y="9"/>
                  <a:pt x="5" y="12"/>
                  <a:pt x="4" y="13"/>
                </a:cubicBezTo>
                <a:cubicBezTo>
                  <a:pt x="3" y="13"/>
                  <a:pt x="2" y="11"/>
                  <a:pt x="1" y="11"/>
                </a:cubicBezTo>
                <a:cubicBezTo>
                  <a:pt x="0" y="12"/>
                  <a:pt x="6" y="25"/>
                  <a:pt x="7" y="26"/>
                </a:cubicBezTo>
                <a:cubicBezTo>
                  <a:pt x="9" y="25"/>
                  <a:pt x="8" y="24"/>
                  <a:pt x="7" y="23"/>
                </a:cubicBezTo>
                <a:cubicBezTo>
                  <a:pt x="6" y="21"/>
                  <a:pt x="6" y="18"/>
                  <a:pt x="6" y="15"/>
                </a:cubicBezTo>
                <a:close/>
              </a:path>
            </a:pathLst>
          </a:custGeom>
          <a:solidFill>
            <a:srgbClr val="00B0F2"/>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125">
            <a:extLst>
              <a:ext uri="{FF2B5EF4-FFF2-40B4-BE49-F238E27FC236}">
                <a16:creationId xmlns:a16="http://schemas.microsoft.com/office/drawing/2014/main" id="{469C3310-F912-40F3-96D5-19298F008567}"/>
              </a:ext>
            </a:extLst>
          </p:cNvPr>
          <p:cNvSpPr>
            <a:spLocks/>
          </p:cNvSpPr>
          <p:nvPr/>
        </p:nvSpPr>
        <p:spPr bwMode="auto">
          <a:xfrm>
            <a:off x="2926618" y="5206288"/>
            <a:ext cx="43683" cy="51252"/>
          </a:xfrm>
          <a:custGeom>
            <a:avLst/>
            <a:gdLst>
              <a:gd name="T0" fmla="*/ 7 w 16"/>
              <a:gd name="T1" fmla="*/ 11 h 18"/>
              <a:gd name="T2" fmla="*/ 9 w 16"/>
              <a:gd name="T3" fmla="*/ 13 h 18"/>
              <a:gd name="T4" fmla="*/ 12 w 16"/>
              <a:gd name="T5" fmla="*/ 14 h 18"/>
              <a:gd name="T6" fmla="*/ 14 w 16"/>
              <a:gd name="T7" fmla="*/ 18 h 18"/>
              <a:gd name="T8" fmla="*/ 13 w 16"/>
              <a:gd name="T9" fmla="*/ 17 h 18"/>
              <a:gd name="T10" fmla="*/ 15 w 16"/>
              <a:gd name="T11" fmla="*/ 17 h 18"/>
              <a:gd name="T12" fmla="*/ 15 w 16"/>
              <a:gd name="T13" fmla="*/ 17 h 18"/>
              <a:gd name="T14" fmla="*/ 16 w 16"/>
              <a:gd name="T15" fmla="*/ 17 h 18"/>
              <a:gd name="T16" fmla="*/ 14 w 16"/>
              <a:gd name="T17" fmla="*/ 15 h 18"/>
              <a:gd name="T18" fmla="*/ 16 w 16"/>
              <a:gd name="T19" fmla="*/ 16 h 18"/>
              <a:gd name="T20" fmla="*/ 13 w 16"/>
              <a:gd name="T21" fmla="*/ 12 h 18"/>
              <a:gd name="T22" fmla="*/ 10 w 16"/>
              <a:gd name="T23" fmla="*/ 10 h 18"/>
              <a:gd name="T24" fmla="*/ 10 w 16"/>
              <a:gd name="T25" fmla="*/ 11 h 18"/>
              <a:gd name="T26" fmla="*/ 6 w 16"/>
              <a:gd name="T27" fmla="*/ 7 h 18"/>
              <a:gd name="T28" fmla="*/ 11 w 16"/>
              <a:gd name="T29" fmla="*/ 9 h 18"/>
              <a:gd name="T30" fmla="*/ 7 w 16"/>
              <a:gd name="T31" fmla="*/ 6 h 18"/>
              <a:gd name="T32" fmla="*/ 5 w 16"/>
              <a:gd name="T33" fmla="*/ 6 h 18"/>
              <a:gd name="T34" fmla="*/ 0 w 16"/>
              <a:gd name="T35" fmla="*/ 0 h 18"/>
              <a:gd name="T36" fmla="*/ 4 w 16"/>
              <a:gd name="T37" fmla="*/ 6 h 18"/>
              <a:gd name="T38" fmla="*/ 7 w 1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18">
                <a:moveTo>
                  <a:pt x="7" y="11"/>
                </a:moveTo>
                <a:cubicBezTo>
                  <a:pt x="8" y="11"/>
                  <a:pt x="8" y="13"/>
                  <a:pt x="9" y="13"/>
                </a:cubicBezTo>
                <a:cubicBezTo>
                  <a:pt x="10" y="14"/>
                  <a:pt x="11" y="13"/>
                  <a:pt x="12" y="14"/>
                </a:cubicBezTo>
                <a:cubicBezTo>
                  <a:pt x="12" y="16"/>
                  <a:pt x="12" y="17"/>
                  <a:pt x="14" y="18"/>
                </a:cubicBezTo>
                <a:cubicBezTo>
                  <a:pt x="13" y="18"/>
                  <a:pt x="13" y="17"/>
                  <a:pt x="13" y="17"/>
                </a:cubicBezTo>
                <a:cubicBezTo>
                  <a:pt x="14" y="17"/>
                  <a:pt x="14" y="17"/>
                  <a:pt x="15" y="17"/>
                </a:cubicBezTo>
                <a:cubicBezTo>
                  <a:pt x="15" y="17"/>
                  <a:pt x="15" y="17"/>
                  <a:pt x="15" y="17"/>
                </a:cubicBezTo>
                <a:cubicBezTo>
                  <a:pt x="15" y="17"/>
                  <a:pt x="15" y="17"/>
                  <a:pt x="16" y="17"/>
                </a:cubicBezTo>
                <a:cubicBezTo>
                  <a:pt x="15" y="16"/>
                  <a:pt x="14" y="15"/>
                  <a:pt x="14" y="15"/>
                </a:cubicBezTo>
                <a:cubicBezTo>
                  <a:pt x="14" y="15"/>
                  <a:pt x="16" y="17"/>
                  <a:pt x="16" y="16"/>
                </a:cubicBezTo>
                <a:cubicBezTo>
                  <a:pt x="16" y="16"/>
                  <a:pt x="13" y="13"/>
                  <a:pt x="13" y="12"/>
                </a:cubicBezTo>
                <a:cubicBezTo>
                  <a:pt x="12" y="12"/>
                  <a:pt x="11" y="11"/>
                  <a:pt x="10" y="10"/>
                </a:cubicBezTo>
                <a:cubicBezTo>
                  <a:pt x="10" y="10"/>
                  <a:pt x="9" y="11"/>
                  <a:pt x="10" y="11"/>
                </a:cubicBezTo>
                <a:cubicBezTo>
                  <a:pt x="9" y="11"/>
                  <a:pt x="6" y="7"/>
                  <a:pt x="6" y="7"/>
                </a:cubicBezTo>
                <a:cubicBezTo>
                  <a:pt x="6" y="7"/>
                  <a:pt x="11" y="9"/>
                  <a:pt x="11" y="9"/>
                </a:cubicBezTo>
                <a:cubicBezTo>
                  <a:pt x="10" y="8"/>
                  <a:pt x="8" y="7"/>
                  <a:pt x="7" y="6"/>
                </a:cubicBezTo>
                <a:cubicBezTo>
                  <a:pt x="6" y="5"/>
                  <a:pt x="3" y="3"/>
                  <a:pt x="5" y="6"/>
                </a:cubicBezTo>
                <a:cubicBezTo>
                  <a:pt x="3" y="5"/>
                  <a:pt x="2" y="2"/>
                  <a:pt x="0" y="0"/>
                </a:cubicBezTo>
                <a:cubicBezTo>
                  <a:pt x="0" y="3"/>
                  <a:pt x="2" y="4"/>
                  <a:pt x="4" y="6"/>
                </a:cubicBezTo>
                <a:cubicBezTo>
                  <a:pt x="5" y="8"/>
                  <a:pt x="6" y="9"/>
                  <a:pt x="7" y="11"/>
                </a:cubicBezTo>
                <a:close/>
              </a:path>
            </a:pathLst>
          </a:custGeom>
          <a:solidFill>
            <a:srgbClr val="00B0F2"/>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126">
            <a:extLst>
              <a:ext uri="{FF2B5EF4-FFF2-40B4-BE49-F238E27FC236}">
                <a16:creationId xmlns:a16="http://schemas.microsoft.com/office/drawing/2014/main" id="{114E6676-221C-430C-9658-B685852374F6}"/>
              </a:ext>
            </a:extLst>
          </p:cNvPr>
          <p:cNvSpPr>
            <a:spLocks/>
          </p:cNvSpPr>
          <p:nvPr/>
        </p:nvSpPr>
        <p:spPr bwMode="auto">
          <a:xfrm>
            <a:off x="3088361" y="5420828"/>
            <a:ext cx="55489" cy="11919"/>
          </a:xfrm>
          <a:custGeom>
            <a:avLst/>
            <a:gdLst>
              <a:gd name="T0" fmla="*/ 3 w 20"/>
              <a:gd name="T1" fmla="*/ 1 h 4"/>
              <a:gd name="T2" fmla="*/ 5 w 20"/>
              <a:gd name="T3" fmla="*/ 2 h 4"/>
              <a:gd name="T4" fmla="*/ 10 w 20"/>
              <a:gd name="T5" fmla="*/ 4 h 4"/>
              <a:gd name="T6" fmla="*/ 15 w 20"/>
              <a:gd name="T7" fmla="*/ 3 h 4"/>
              <a:gd name="T8" fmla="*/ 20 w 20"/>
              <a:gd name="T9" fmla="*/ 4 h 4"/>
              <a:gd name="T10" fmla="*/ 12 w 20"/>
              <a:gd name="T11" fmla="*/ 1 h 4"/>
              <a:gd name="T12" fmla="*/ 3 w 20"/>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3" y="1"/>
                </a:moveTo>
                <a:cubicBezTo>
                  <a:pt x="4" y="1"/>
                  <a:pt x="4" y="1"/>
                  <a:pt x="5" y="2"/>
                </a:cubicBezTo>
                <a:cubicBezTo>
                  <a:pt x="0" y="4"/>
                  <a:pt x="9" y="4"/>
                  <a:pt x="10" y="4"/>
                </a:cubicBezTo>
                <a:cubicBezTo>
                  <a:pt x="12" y="4"/>
                  <a:pt x="13" y="3"/>
                  <a:pt x="15" y="3"/>
                </a:cubicBezTo>
                <a:cubicBezTo>
                  <a:pt x="17" y="3"/>
                  <a:pt x="19" y="4"/>
                  <a:pt x="20" y="4"/>
                </a:cubicBezTo>
                <a:cubicBezTo>
                  <a:pt x="17" y="2"/>
                  <a:pt x="16" y="0"/>
                  <a:pt x="12" y="1"/>
                </a:cubicBezTo>
                <a:cubicBezTo>
                  <a:pt x="9" y="2"/>
                  <a:pt x="6" y="0"/>
                  <a:pt x="3" y="1"/>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127">
            <a:extLst>
              <a:ext uri="{FF2B5EF4-FFF2-40B4-BE49-F238E27FC236}">
                <a16:creationId xmlns:a16="http://schemas.microsoft.com/office/drawing/2014/main" id="{99E8CFFD-7E43-48BA-BACC-C935064215E1}"/>
              </a:ext>
            </a:extLst>
          </p:cNvPr>
          <p:cNvSpPr>
            <a:spLocks/>
          </p:cNvSpPr>
          <p:nvPr/>
        </p:nvSpPr>
        <p:spPr bwMode="auto">
          <a:xfrm>
            <a:off x="3110793" y="5447050"/>
            <a:ext cx="16529" cy="8344"/>
          </a:xfrm>
          <a:custGeom>
            <a:avLst/>
            <a:gdLst>
              <a:gd name="T0" fmla="*/ 0 w 6"/>
              <a:gd name="T1" fmla="*/ 1 h 3"/>
              <a:gd name="T2" fmla="*/ 3 w 6"/>
              <a:gd name="T3" fmla="*/ 3 h 3"/>
              <a:gd name="T4" fmla="*/ 0 w 6"/>
              <a:gd name="T5" fmla="*/ 1 h 3"/>
            </a:gdLst>
            <a:ahLst/>
            <a:cxnLst>
              <a:cxn ang="0">
                <a:pos x="T0" y="T1"/>
              </a:cxn>
              <a:cxn ang="0">
                <a:pos x="T2" y="T3"/>
              </a:cxn>
              <a:cxn ang="0">
                <a:pos x="T4" y="T5"/>
              </a:cxn>
            </a:cxnLst>
            <a:rect l="0" t="0" r="r" b="b"/>
            <a:pathLst>
              <a:path w="6" h="3">
                <a:moveTo>
                  <a:pt x="0" y="1"/>
                </a:moveTo>
                <a:cubicBezTo>
                  <a:pt x="1" y="3"/>
                  <a:pt x="2" y="3"/>
                  <a:pt x="3" y="3"/>
                </a:cubicBezTo>
                <a:cubicBezTo>
                  <a:pt x="6" y="2"/>
                  <a:pt x="2" y="0"/>
                  <a:pt x="0" y="1"/>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8" name="Freeform 128">
            <a:extLst>
              <a:ext uri="{FF2B5EF4-FFF2-40B4-BE49-F238E27FC236}">
                <a16:creationId xmlns:a16="http://schemas.microsoft.com/office/drawing/2014/main" id="{FDDA9556-B3CD-4C67-9015-53D56EBF947F}"/>
              </a:ext>
            </a:extLst>
          </p:cNvPr>
          <p:cNvSpPr>
            <a:spLocks/>
          </p:cNvSpPr>
          <p:nvPr/>
        </p:nvSpPr>
        <p:spPr bwMode="auto">
          <a:xfrm>
            <a:off x="2810918" y="4975061"/>
            <a:ext cx="523010" cy="451728"/>
          </a:xfrm>
          <a:custGeom>
            <a:avLst/>
            <a:gdLst>
              <a:gd name="T0" fmla="*/ 173 w 187"/>
              <a:gd name="T1" fmla="*/ 53 h 160"/>
              <a:gd name="T2" fmla="*/ 172 w 187"/>
              <a:gd name="T3" fmla="*/ 44 h 160"/>
              <a:gd name="T4" fmla="*/ 169 w 187"/>
              <a:gd name="T5" fmla="*/ 37 h 160"/>
              <a:gd name="T6" fmla="*/ 168 w 187"/>
              <a:gd name="T7" fmla="*/ 31 h 160"/>
              <a:gd name="T8" fmla="*/ 156 w 187"/>
              <a:gd name="T9" fmla="*/ 33 h 160"/>
              <a:gd name="T10" fmla="*/ 145 w 187"/>
              <a:gd name="T11" fmla="*/ 34 h 160"/>
              <a:gd name="T12" fmla="*/ 133 w 187"/>
              <a:gd name="T13" fmla="*/ 32 h 160"/>
              <a:gd name="T14" fmla="*/ 119 w 187"/>
              <a:gd name="T15" fmla="*/ 25 h 160"/>
              <a:gd name="T16" fmla="*/ 116 w 187"/>
              <a:gd name="T17" fmla="*/ 20 h 160"/>
              <a:gd name="T18" fmla="*/ 99 w 187"/>
              <a:gd name="T19" fmla="*/ 4 h 160"/>
              <a:gd name="T20" fmla="*/ 87 w 187"/>
              <a:gd name="T21" fmla="*/ 7 h 160"/>
              <a:gd name="T22" fmla="*/ 72 w 187"/>
              <a:gd name="T23" fmla="*/ 14 h 160"/>
              <a:gd name="T24" fmla="*/ 69 w 187"/>
              <a:gd name="T25" fmla="*/ 27 h 160"/>
              <a:gd name="T26" fmla="*/ 60 w 187"/>
              <a:gd name="T27" fmla="*/ 34 h 160"/>
              <a:gd name="T28" fmla="*/ 57 w 187"/>
              <a:gd name="T29" fmla="*/ 42 h 160"/>
              <a:gd name="T30" fmla="*/ 49 w 187"/>
              <a:gd name="T31" fmla="*/ 46 h 160"/>
              <a:gd name="T32" fmla="*/ 39 w 187"/>
              <a:gd name="T33" fmla="*/ 45 h 160"/>
              <a:gd name="T34" fmla="*/ 36 w 187"/>
              <a:gd name="T35" fmla="*/ 39 h 160"/>
              <a:gd name="T36" fmla="*/ 20 w 187"/>
              <a:gd name="T37" fmla="*/ 47 h 160"/>
              <a:gd name="T38" fmla="*/ 12 w 187"/>
              <a:gd name="T39" fmla="*/ 49 h 160"/>
              <a:gd name="T40" fmla="*/ 5 w 187"/>
              <a:gd name="T41" fmla="*/ 54 h 160"/>
              <a:gd name="T42" fmla="*/ 6 w 187"/>
              <a:gd name="T43" fmla="*/ 64 h 160"/>
              <a:gd name="T44" fmla="*/ 11 w 187"/>
              <a:gd name="T45" fmla="*/ 74 h 160"/>
              <a:gd name="T46" fmla="*/ 18 w 187"/>
              <a:gd name="T47" fmla="*/ 77 h 160"/>
              <a:gd name="T48" fmla="*/ 19 w 187"/>
              <a:gd name="T49" fmla="*/ 67 h 160"/>
              <a:gd name="T50" fmla="*/ 23 w 187"/>
              <a:gd name="T51" fmla="*/ 63 h 160"/>
              <a:gd name="T52" fmla="*/ 34 w 187"/>
              <a:gd name="T53" fmla="*/ 55 h 160"/>
              <a:gd name="T54" fmla="*/ 45 w 187"/>
              <a:gd name="T55" fmla="*/ 67 h 160"/>
              <a:gd name="T56" fmla="*/ 58 w 187"/>
              <a:gd name="T57" fmla="*/ 96 h 160"/>
              <a:gd name="T58" fmla="*/ 69 w 187"/>
              <a:gd name="T59" fmla="*/ 103 h 160"/>
              <a:gd name="T60" fmla="*/ 65 w 187"/>
              <a:gd name="T61" fmla="*/ 103 h 160"/>
              <a:gd name="T62" fmla="*/ 58 w 187"/>
              <a:gd name="T63" fmla="*/ 101 h 160"/>
              <a:gd name="T64" fmla="*/ 53 w 187"/>
              <a:gd name="T65" fmla="*/ 101 h 160"/>
              <a:gd name="T66" fmla="*/ 65 w 187"/>
              <a:gd name="T67" fmla="*/ 117 h 160"/>
              <a:gd name="T68" fmla="*/ 79 w 187"/>
              <a:gd name="T69" fmla="*/ 127 h 160"/>
              <a:gd name="T70" fmla="*/ 81 w 187"/>
              <a:gd name="T71" fmla="*/ 134 h 160"/>
              <a:gd name="T72" fmla="*/ 94 w 187"/>
              <a:gd name="T73" fmla="*/ 135 h 160"/>
              <a:gd name="T74" fmla="*/ 115 w 187"/>
              <a:gd name="T75" fmla="*/ 146 h 160"/>
              <a:gd name="T76" fmla="*/ 129 w 187"/>
              <a:gd name="T77" fmla="*/ 157 h 160"/>
              <a:gd name="T78" fmla="*/ 123 w 187"/>
              <a:gd name="T79" fmla="*/ 145 h 160"/>
              <a:gd name="T80" fmla="*/ 106 w 187"/>
              <a:gd name="T81" fmla="*/ 125 h 160"/>
              <a:gd name="T82" fmla="*/ 92 w 187"/>
              <a:gd name="T83" fmla="*/ 110 h 160"/>
              <a:gd name="T84" fmla="*/ 85 w 187"/>
              <a:gd name="T85" fmla="*/ 96 h 160"/>
              <a:gd name="T86" fmla="*/ 82 w 187"/>
              <a:gd name="T87" fmla="*/ 86 h 160"/>
              <a:gd name="T88" fmla="*/ 74 w 187"/>
              <a:gd name="T89" fmla="*/ 81 h 160"/>
              <a:gd name="T90" fmla="*/ 72 w 187"/>
              <a:gd name="T91" fmla="*/ 70 h 160"/>
              <a:gd name="T92" fmla="*/ 85 w 187"/>
              <a:gd name="T93" fmla="*/ 65 h 160"/>
              <a:gd name="T94" fmla="*/ 94 w 187"/>
              <a:gd name="T95" fmla="*/ 61 h 160"/>
              <a:gd name="T96" fmla="*/ 112 w 187"/>
              <a:gd name="T97" fmla="*/ 60 h 160"/>
              <a:gd name="T98" fmla="*/ 125 w 187"/>
              <a:gd name="T99" fmla="*/ 62 h 160"/>
              <a:gd name="T100" fmla="*/ 138 w 187"/>
              <a:gd name="T101" fmla="*/ 66 h 160"/>
              <a:gd name="T102" fmla="*/ 149 w 187"/>
              <a:gd name="T103" fmla="*/ 62 h 160"/>
              <a:gd name="T104" fmla="*/ 158 w 187"/>
              <a:gd name="T105" fmla="*/ 65 h 160"/>
              <a:gd name="T106" fmla="*/ 165 w 187"/>
              <a:gd name="T107" fmla="*/ 69 h 160"/>
              <a:gd name="T108" fmla="*/ 177 w 187"/>
              <a:gd name="T109" fmla="*/ 70 h 160"/>
              <a:gd name="T110" fmla="*/ 175 w 187"/>
              <a:gd name="T111" fmla="*/ 62 h 160"/>
              <a:gd name="T112" fmla="*/ 181 w 187"/>
              <a:gd name="T113"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160">
                <a:moveTo>
                  <a:pt x="185" y="58"/>
                </a:moveTo>
                <a:cubicBezTo>
                  <a:pt x="184" y="58"/>
                  <a:pt x="182" y="58"/>
                  <a:pt x="181" y="58"/>
                </a:cubicBezTo>
                <a:cubicBezTo>
                  <a:pt x="178" y="57"/>
                  <a:pt x="176" y="55"/>
                  <a:pt x="173" y="53"/>
                </a:cubicBezTo>
                <a:cubicBezTo>
                  <a:pt x="170" y="51"/>
                  <a:pt x="173" y="51"/>
                  <a:pt x="172" y="49"/>
                </a:cubicBezTo>
                <a:cubicBezTo>
                  <a:pt x="171" y="46"/>
                  <a:pt x="176" y="47"/>
                  <a:pt x="174" y="45"/>
                </a:cubicBezTo>
                <a:cubicBezTo>
                  <a:pt x="174" y="45"/>
                  <a:pt x="172" y="44"/>
                  <a:pt x="172" y="44"/>
                </a:cubicBezTo>
                <a:cubicBezTo>
                  <a:pt x="171" y="44"/>
                  <a:pt x="170" y="46"/>
                  <a:pt x="169" y="44"/>
                </a:cubicBezTo>
                <a:cubicBezTo>
                  <a:pt x="168" y="42"/>
                  <a:pt x="170" y="41"/>
                  <a:pt x="170" y="39"/>
                </a:cubicBezTo>
                <a:cubicBezTo>
                  <a:pt x="171" y="37"/>
                  <a:pt x="169" y="38"/>
                  <a:pt x="169" y="37"/>
                </a:cubicBezTo>
                <a:cubicBezTo>
                  <a:pt x="169" y="35"/>
                  <a:pt x="171" y="36"/>
                  <a:pt x="170" y="34"/>
                </a:cubicBezTo>
                <a:cubicBezTo>
                  <a:pt x="169" y="33"/>
                  <a:pt x="167" y="31"/>
                  <a:pt x="167" y="31"/>
                </a:cubicBezTo>
                <a:cubicBezTo>
                  <a:pt x="167" y="30"/>
                  <a:pt x="167" y="31"/>
                  <a:pt x="168" y="31"/>
                </a:cubicBezTo>
                <a:cubicBezTo>
                  <a:pt x="167" y="31"/>
                  <a:pt x="168" y="27"/>
                  <a:pt x="168" y="27"/>
                </a:cubicBezTo>
                <a:cubicBezTo>
                  <a:pt x="165" y="29"/>
                  <a:pt x="164" y="27"/>
                  <a:pt x="161" y="28"/>
                </a:cubicBezTo>
                <a:cubicBezTo>
                  <a:pt x="159" y="29"/>
                  <a:pt x="159" y="32"/>
                  <a:pt x="156" y="33"/>
                </a:cubicBezTo>
                <a:cubicBezTo>
                  <a:pt x="155" y="34"/>
                  <a:pt x="154" y="35"/>
                  <a:pt x="153" y="35"/>
                </a:cubicBezTo>
                <a:cubicBezTo>
                  <a:pt x="153" y="35"/>
                  <a:pt x="152" y="35"/>
                  <a:pt x="152" y="35"/>
                </a:cubicBezTo>
                <a:cubicBezTo>
                  <a:pt x="150" y="34"/>
                  <a:pt x="147" y="34"/>
                  <a:pt x="145" y="34"/>
                </a:cubicBezTo>
                <a:cubicBezTo>
                  <a:pt x="143" y="35"/>
                  <a:pt x="142" y="34"/>
                  <a:pt x="141" y="34"/>
                </a:cubicBezTo>
                <a:cubicBezTo>
                  <a:pt x="139" y="33"/>
                  <a:pt x="138" y="34"/>
                  <a:pt x="137" y="34"/>
                </a:cubicBezTo>
                <a:cubicBezTo>
                  <a:pt x="136" y="34"/>
                  <a:pt x="135" y="33"/>
                  <a:pt x="133" y="32"/>
                </a:cubicBezTo>
                <a:cubicBezTo>
                  <a:pt x="130" y="31"/>
                  <a:pt x="126" y="23"/>
                  <a:pt x="122" y="27"/>
                </a:cubicBezTo>
                <a:cubicBezTo>
                  <a:pt x="122" y="27"/>
                  <a:pt x="121" y="26"/>
                  <a:pt x="120" y="26"/>
                </a:cubicBezTo>
                <a:cubicBezTo>
                  <a:pt x="122" y="26"/>
                  <a:pt x="121" y="24"/>
                  <a:pt x="119" y="25"/>
                </a:cubicBezTo>
                <a:cubicBezTo>
                  <a:pt x="119" y="24"/>
                  <a:pt x="116" y="23"/>
                  <a:pt x="118" y="23"/>
                </a:cubicBezTo>
                <a:cubicBezTo>
                  <a:pt x="117" y="23"/>
                  <a:pt x="118" y="20"/>
                  <a:pt x="115" y="20"/>
                </a:cubicBezTo>
                <a:cubicBezTo>
                  <a:pt x="116" y="20"/>
                  <a:pt x="116" y="20"/>
                  <a:pt x="116" y="20"/>
                </a:cubicBezTo>
                <a:cubicBezTo>
                  <a:pt x="114" y="16"/>
                  <a:pt x="108" y="15"/>
                  <a:pt x="106" y="10"/>
                </a:cubicBezTo>
                <a:cubicBezTo>
                  <a:pt x="105" y="9"/>
                  <a:pt x="104" y="7"/>
                  <a:pt x="102" y="7"/>
                </a:cubicBezTo>
                <a:cubicBezTo>
                  <a:pt x="100" y="7"/>
                  <a:pt x="100" y="5"/>
                  <a:pt x="99" y="4"/>
                </a:cubicBezTo>
                <a:cubicBezTo>
                  <a:pt x="97" y="3"/>
                  <a:pt x="95" y="3"/>
                  <a:pt x="94" y="2"/>
                </a:cubicBezTo>
                <a:cubicBezTo>
                  <a:pt x="92" y="1"/>
                  <a:pt x="90" y="0"/>
                  <a:pt x="89" y="0"/>
                </a:cubicBezTo>
                <a:cubicBezTo>
                  <a:pt x="85" y="0"/>
                  <a:pt x="87" y="4"/>
                  <a:pt x="87" y="7"/>
                </a:cubicBezTo>
                <a:cubicBezTo>
                  <a:pt x="87" y="7"/>
                  <a:pt x="81" y="7"/>
                  <a:pt x="80" y="7"/>
                </a:cubicBezTo>
                <a:cubicBezTo>
                  <a:pt x="82" y="11"/>
                  <a:pt x="77" y="12"/>
                  <a:pt x="75" y="12"/>
                </a:cubicBezTo>
                <a:cubicBezTo>
                  <a:pt x="73" y="13"/>
                  <a:pt x="73" y="13"/>
                  <a:pt x="72" y="14"/>
                </a:cubicBezTo>
                <a:cubicBezTo>
                  <a:pt x="71" y="15"/>
                  <a:pt x="69" y="14"/>
                  <a:pt x="68" y="15"/>
                </a:cubicBezTo>
                <a:cubicBezTo>
                  <a:pt x="65" y="16"/>
                  <a:pt x="66" y="19"/>
                  <a:pt x="68" y="21"/>
                </a:cubicBezTo>
                <a:cubicBezTo>
                  <a:pt x="70" y="22"/>
                  <a:pt x="69" y="25"/>
                  <a:pt x="69" y="27"/>
                </a:cubicBezTo>
                <a:cubicBezTo>
                  <a:pt x="69" y="30"/>
                  <a:pt x="70" y="32"/>
                  <a:pt x="67" y="32"/>
                </a:cubicBezTo>
                <a:cubicBezTo>
                  <a:pt x="66" y="32"/>
                  <a:pt x="62" y="32"/>
                  <a:pt x="62" y="33"/>
                </a:cubicBezTo>
                <a:cubicBezTo>
                  <a:pt x="62" y="34"/>
                  <a:pt x="61" y="34"/>
                  <a:pt x="60" y="34"/>
                </a:cubicBezTo>
                <a:cubicBezTo>
                  <a:pt x="59" y="35"/>
                  <a:pt x="55" y="36"/>
                  <a:pt x="57" y="37"/>
                </a:cubicBezTo>
                <a:cubicBezTo>
                  <a:pt x="58" y="38"/>
                  <a:pt x="59" y="38"/>
                  <a:pt x="60" y="40"/>
                </a:cubicBezTo>
                <a:cubicBezTo>
                  <a:pt x="59" y="39"/>
                  <a:pt x="57" y="41"/>
                  <a:pt x="57" y="42"/>
                </a:cubicBezTo>
                <a:cubicBezTo>
                  <a:pt x="57" y="45"/>
                  <a:pt x="58" y="46"/>
                  <a:pt x="60" y="47"/>
                </a:cubicBezTo>
                <a:cubicBezTo>
                  <a:pt x="59" y="49"/>
                  <a:pt x="54" y="50"/>
                  <a:pt x="52" y="49"/>
                </a:cubicBezTo>
                <a:cubicBezTo>
                  <a:pt x="51" y="48"/>
                  <a:pt x="50" y="47"/>
                  <a:pt x="49" y="46"/>
                </a:cubicBezTo>
                <a:cubicBezTo>
                  <a:pt x="48" y="46"/>
                  <a:pt x="46" y="45"/>
                  <a:pt x="46" y="45"/>
                </a:cubicBezTo>
                <a:cubicBezTo>
                  <a:pt x="45" y="46"/>
                  <a:pt x="45" y="48"/>
                  <a:pt x="44" y="48"/>
                </a:cubicBezTo>
                <a:cubicBezTo>
                  <a:pt x="42" y="48"/>
                  <a:pt x="40" y="45"/>
                  <a:pt x="39" y="45"/>
                </a:cubicBezTo>
                <a:cubicBezTo>
                  <a:pt x="38" y="44"/>
                  <a:pt x="39" y="43"/>
                  <a:pt x="38" y="43"/>
                </a:cubicBezTo>
                <a:cubicBezTo>
                  <a:pt x="38" y="42"/>
                  <a:pt x="37" y="42"/>
                  <a:pt x="36" y="41"/>
                </a:cubicBezTo>
                <a:cubicBezTo>
                  <a:pt x="36" y="41"/>
                  <a:pt x="36" y="40"/>
                  <a:pt x="36" y="39"/>
                </a:cubicBezTo>
                <a:cubicBezTo>
                  <a:pt x="35" y="39"/>
                  <a:pt x="32" y="45"/>
                  <a:pt x="32" y="45"/>
                </a:cubicBezTo>
                <a:cubicBezTo>
                  <a:pt x="29" y="48"/>
                  <a:pt x="27" y="45"/>
                  <a:pt x="24" y="47"/>
                </a:cubicBezTo>
                <a:cubicBezTo>
                  <a:pt x="23" y="47"/>
                  <a:pt x="21" y="48"/>
                  <a:pt x="20" y="47"/>
                </a:cubicBezTo>
                <a:cubicBezTo>
                  <a:pt x="19" y="46"/>
                  <a:pt x="18" y="45"/>
                  <a:pt x="18" y="46"/>
                </a:cubicBezTo>
                <a:cubicBezTo>
                  <a:pt x="16" y="46"/>
                  <a:pt x="18" y="48"/>
                  <a:pt x="16" y="48"/>
                </a:cubicBezTo>
                <a:cubicBezTo>
                  <a:pt x="15" y="48"/>
                  <a:pt x="14" y="50"/>
                  <a:pt x="12" y="49"/>
                </a:cubicBezTo>
                <a:cubicBezTo>
                  <a:pt x="11" y="49"/>
                  <a:pt x="10" y="48"/>
                  <a:pt x="9" y="48"/>
                </a:cubicBezTo>
                <a:cubicBezTo>
                  <a:pt x="7" y="48"/>
                  <a:pt x="6" y="47"/>
                  <a:pt x="4" y="47"/>
                </a:cubicBezTo>
                <a:cubicBezTo>
                  <a:pt x="0" y="46"/>
                  <a:pt x="3" y="55"/>
                  <a:pt x="5" y="54"/>
                </a:cubicBezTo>
                <a:cubicBezTo>
                  <a:pt x="4" y="56"/>
                  <a:pt x="5" y="60"/>
                  <a:pt x="5" y="62"/>
                </a:cubicBezTo>
                <a:cubicBezTo>
                  <a:pt x="6" y="63"/>
                  <a:pt x="8" y="63"/>
                  <a:pt x="9" y="63"/>
                </a:cubicBezTo>
                <a:cubicBezTo>
                  <a:pt x="8" y="63"/>
                  <a:pt x="6" y="63"/>
                  <a:pt x="6" y="64"/>
                </a:cubicBezTo>
                <a:cubicBezTo>
                  <a:pt x="6" y="65"/>
                  <a:pt x="7" y="67"/>
                  <a:pt x="8" y="67"/>
                </a:cubicBezTo>
                <a:cubicBezTo>
                  <a:pt x="9" y="69"/>
                  <a:pt x="11" y="74"/>
                  <a:pt x="13" y="74"/>
                </a:cubicBezTo>
                <a:cubicBezTo>
                  <a:pt x="12" y="74"/>
                  <a:pt x="12" y="75"/>
                  <a:pt x="11" y="74"/>
                </a:cubicBezTo>
                <a:cubicBezTo>
                  <a:pt x="13" y="76"/>
                  <a:pt x="15" y="77"/>
                  <a:pt x="15" y="79"/>
                </a:cubicBezTo>
                <a:cubicBezTo>
                  <a:pt x="15" y="78"/>
                  <a:pt x="15" y="77"/>
                  <a:pt x="14" y="76"/>
                </a:cubicBezTo>
                <a:cubicBezTo>
                  <a:pt x="15" y="76"/>
                  <a:pt x="17" y="78"/>
                  <a:pt x="18" y="77"/>
                </a:cubicBezTo>
                <a:cubicBezTo>
                  <a:pt x="18" y="77"/>
                  <a:pt x="17" y="75"/>
                  <a:pt x="17" y="74"/>
                </a:cubicBezTo>
                <a:cubicBezTo>
                  <a:pt x="17" y="73"/>
                  <a:pt x="18" y="73"/>
                  <a:pt x="19" y="72"/>
                </a:cubicBezTo>
                <a:cubicBezTo>
                  <a:pt x="21" y="70"/>
                  <a:pt x="18" y="69"/>
                  <a:pt x="19" y="67"/>
                </a:cubicBezTo>
                <a:cubicBezTo>
                  <a:pt x="20" y="68"/>
                  <a:pt x="21" y="69"/>
                  <a:pt x="20" y="71"/>
                </a:cubicBezTo>
                <a:cubicBezTo>
                  <a:pt x="21" y="70"/>
                  <a:pt x="24" y="71"/>
                  <a:pt x="23" y="68"/>
                </a:cubicBezTo>
                <a:cubicBezTo>
                  <a:pt x="22" y="66"/>
                  <a:pt x="24" y="64"/>
                  <a:pt x="23" y="63"/>
                </a:cubicBezTo>
                <a:cubicBezTo>
                  <a:pt x="25" y="64"/>
                  <a:pt x="26" y="56"/>
                  <a:pt x="26" y="55"/>
                </a:cubicBezTo>
                <a:cubicBezTo>
                  <a:pt x="28" y="52"/>
                  <a:pt x="30" y="54"/>
                  <a:pt x="32" y="55"/>
                </a:cubicBezTo>
                <a:cubicBezTo>
                  <a:pt x="32" y="55"/>
                  <a:pt x="35" y="57"/>
                  <a:pt x="34" y="55"/>
                </a:cubicBezTo>
                <a:cubicBezTo>
                  <a:pt x="35" y="55"/>
                  <a:pt x="36" y="57"/>
                  <a:pt x="36" y="58"/>
                </a:cubicBezTo>
                <a:cubicBezTo>
                  <a:pt x="37" y="59"/>
                  <a:pt x="38" y="60"/>
                  <a:pt x="40" y="61"/>
                </a:cubicBezTo>
                <a:cubicBezTo>
                  <a:pt x="42" y="63"/>
                  <a:pt x="44" y="63"/>
                  <a:pt x="45" y="67"/>
                </a:cubicBezTo>
                <a:cubicBezTo>
                  <a:pt x="47" y="71"/>
                  <a:pt x="44" y="77"/>
                  <a:pt x="46" y="82"/>
                </a:cubicBezTo>
                <a:cubicBezTo>
                  <a:pt x="47" y="85"/>
                  <a:pt x="50" y="88"/>
                  <a:pt x="53" y="91"/>
                </a:cubicBezTo>
                <a:cubicBezTo>
                  <a:pt x="54" y="93"/>
                  <a:pt x="56" y="95"/>
                  <a:pt x="58" y="96"/>
                </a:cubicBezTo>
                <a:cubicBezTo>
                  <a:pt x="59" y="97"/>
                  <a:pt x="63" y="101"/>
                  <a:pt x="65" y="101"/>
                </a:cubicBezTo>
                <a:cubicBezTo>
                  <a:pt x="66" y="101"/>
                  <a:pt x="66" y="102"/>
                  <a:pt x="66" y="103"/>
                </a:cubicBezTo>
                <a:cubicBezTo>
                  <a:pt x="66" y="104"/>
                  <a:pt x="68" y="103"/>
                  <a:pt x="69" y="103"/>
                </a:cubicBezTo>
                <a:cubicBezTo>
                  <a:pt x="68" y="103"/>
                  <a:pt x="68" y="106"/>
                  <a:pt x="69" y="107"/>
                </a:cubicBezTo>
                <a:cubicBezTo>
                  <a:pt x="68" y="106"/>
                  <a:pt x="67" y="105"/>
                  <a:pt x="66" y="105"/>
                </a:cubicBezTo>
                <a:cubicBezTo>
                  <a:pt x="63" y="106"/>
                  <a:pt x="65" y="103"/>
                  <a:pt x="65" y="103"/>
                </a:cubicBezTo>
                <a:cubicBezTo>
                  <a:pt x="65" y="101"/>
                  <a:pt x="62" y="101"/>
                  <a:pt x="61" y="101"/>
                </a:cubicBezTo>
                <a:cubicBezTo>
                  <a:pt x="61" y="101"/>
                  <a:pt x="58" y="98"/>
                  <a:pt x="58" y="99"/>
                </a:cubicBezTo>
                <a:cubicBezTo>
                  <a:pt x="58" y="99"/>
                  <a:pt x="60" y="102"/>
                  <a:pt x="58" y="101"/>
                </a:cubicBezTo>
                <a:cubicBezTo>
                  <a:pt x="58" y="101"/>
                  <a:pt x="55" y="100"/>
                  <a:pt x="55" y="100"/>
                </a:cubicBezTo>
                <a:cubicBezTo>
                  <a:pt x="55" y="101"/>
                  <a:pt x="55" y="102"/>
                  <a:pt x="56" y="102"/>
                </a:cubicBezTo>
                <a:cubicBezTo>
                  <a:pt x="55" y="102"/>
                  <a:pt x="54" y="100"/>
                  <a:pt x="53" y="101"/>
                </a:cubicBezTo>
                <a:cubicBezTo>
                  <a:pt x="53" y="101"/>
                  <a:pt x="54" y="105"/>
                  <a:pt x="55" y="105"/>
                </a:cubicBezTo>
                <a:cubicBezTo>
                  <a:pt x="56" y="108"/>
                  <a:pt x="58" y="109"/>
                  <a:pt x="60" y="111"/>
                </a:cubicBezTo>
                <a:cubicBezTo>
                  <a:pt x="61" y="113"/>
                  <a:pt x="63" y="116"/>
                  <a:pt x="65" y="117"/>
                </a:cubicBezTo>
                <a:cubicBezTo>
                  <a:pt x="67" y="119"/>
                  <a:pt x="70" y="120"/>
                  <a:pt x="71" y="122"/>
                </a:cubicBezTo>
                <a:cubicBezTo>
                  <a:pt x="70" y="122"/>
                  <a:pt x="70" y="121"/>
                  <a:pt x="69" y="121"/>
                </a:cubicBezTo>
                <a:cubicBezTo>
                  <a:pt x="70" y="122"/>
                  <a:pt x="79" y="128"/>
                  <a:pt x="79" y="127"/>
                </a:cubicBezTo>
                <a:cubicBezTo>
                  <a:pt x="79" y="128"/>
                  <a:pt x="80" y="129"/>
                  <a:pt x="78" y="129"/>
                </a:cubicBezTo>
                <a:cubicBezTo>
                  <a:pt x="79" y="129"/>
                  <a:pt x="80" y="129"/>
                  <a:pt x="80" y="130"/>
                </a:cubicBezTo>
                <a:cubicBezTo>
                  <a:pt x="78" y="129"/>
                  <a:pt x="79" y="134"/>
                  <a:pt x="81" y="134"/>
                </a:cubicBezTo>
                <a:cubicBezTo>
                  <a:pt x="79" y="138"/>
                  <a:pt x="89" y="136"/>
                  <a:pt x="85" y="134"/>
                </a:cubicBezTo>
                <a:cubicBezTo>
                  <a:pt x="89" y="135"/>
                  <a:pt x="93" y="131"/>
                  <a:pt x="96" y="134"/>
                </a:cubicBezTo>
                <a:cubicBezTo>
                  <a:pt x="95" y="134"/>
                  <a:pt x="94" y="135"/>
                  <a:pt x="94" y="135"/>
                </a:cubicBezTo>
                <a:cubicBezTo>
                  <a:pt x="96" y="136"/>
                  <a:pt x="97" y="135"/>
                  <a:pt x="99" y="137"/>
                </a:cubicBezTo>
                <a:cubicBezTo>
                  <a:pt x="101" y="138"/>
                  <a:pt x="103" y="138"/>
                  <a:pt x="104" y="139"/>
                </a:cubicBezTo>
                <a:cubicBezTo>
                  <a:pt x="109" y="140"/>
                  <a:pt x="111" y="142"/>
                  <a:pt x="115" y="146"/>
                </a:cubicBezTo>
                <a:cubicBezTo>
                  <a:pt x="117" y="149"/>
                  <a:pt x="121" y="150"/>
                  <a:pt x="124" y="154"/>
                </a:cubicBezTo>
                <a:cubicBezTo>
                  <a:pt x="125" y="155"/>
                  <a:pt x="128" y="156"/>
                  <a:pt x="127" y="157"/>
                </a:cubicBezTo>
                <a:cubicBezTo>
                  <a:pt x="128" y="157"/>
                  <a:pt x="128" y="157"/>
                  <a:pt x="129" y="157"/>
                </a:cubicBezTo>
                <a:cubicBezTo>
                  <a:pt x="126" y="158"/>
                  <a:pt x="132" y="160"/>
                  <a:pt x="133" y="160"/>
                </a:cubicBezTo>
                <a:cubicBezTo>
                  <a:pt x="137" y="160"/>
                  <a:pt x="133" y="154"/>
                  <a:pt x="131" y="153"/>
                </a:cubicBezTo>
                <a:cubicBezTo>
                  <a:pt x="128" y="151"/>
                  <a:pt x="125" y="148"/>
                  <a:pt x="123" y="145"/>
                </a:cubicBezTo>
                <a:cubicBezTo>
                  <a:pt x="121" y="142"/>
                  <a:pt x="122" y="141"/>
                  <a:pt x="122" y="138"/>
                </a:cubicBezTo>
                <a:cubicBezTo>
                  <a:pt x="122" y="136"/>
                  <a:pt x="119" y="136"/>
                  <a:pt x="117" y="135"/>
                </a:cubicBezTo>
                <a:cubicBezTo>
                  <a:pt x="113" y="133"/>
                  <a:pt x="110" y="128"/>
                  <a:pt x="106" y="125"/>
                </a:cubicBezTo>
                <a:cubicBezTo>
                  <a:pt x="104" y="123"/>
                  <a:pt x="102" y="121"/>
                  <a:pt x="101" y="118"/>
                </a:cubicBezTo>
                <a:cubicBezTo>
                  <a:pt x="99" y="117"/>
                  <a:pt x="98" y="114"/>
                  <a:pt x="96" y="113"/>
                </a:cubicBezTo>
                <a:cubicBezTo>
                  <a:pt x="95" y="112"/>
                  <a:pt x="93" y="111"/>
                  <a:pt x="92" y="110"/>
                </a:cubicBezTo>
                <a:cubicBezTo>
                  <a:pt x="91" y="108"/>
                  <a:pt x="90" y="106"/>
                  <a:pt x="89" y="105"/>
                </a:cubicBezTo>
                <a:cubicBezTo>
                  <a:pt x="88" y="103"/>
                  <a:pt x="87" y="101"/>
                  <a:pt x="87" y="99"/>
                </a:cubicBezTo>
                <a:cubicBezTo>
                  <a:pt x="87" y="97"/>
                  <a:pt x="87" y="96"/>
                  <a:pt x="85" y="96"/>
                </a:cubicBezTo>
                <a:cubicBezTo>
                  <a:pt x="87" y="94"/>
                  <a:pt x="85" y="90"/>
                  <a:pt x="84" y="89"/>
                </a:cubicBezTo>
                <a:cubicBezTo>
                  <a:pt x="83" y="89"/>
                  <a:pt x="82" y="91"/>
                  <a:pt x="81" y="89"/>
                </a:cubicBezTo>
                <a:cubicBezTo>
                  <a:pt x="81" y="88"/>
                  <a:pt x="82" y="87"/>
                  <a:pt x="82" y="86"/>
                </a:cubicBezTo>
                <a:cubicBezTo>
                  <a:pt x="81" y="84"/>
                  <a:pt x="80" y="85"/>
                  <a:pt x="79" y="83"/>
                </a:cubicBezTo>
                <a:cubicBezTo>
                  <a:pt x="79" y="82"/>
                  <a:pt x="78" y="81"/>
                  <a:pt x="76" y="81"/>
                </a:cubicBezTo>
                <a:cubicBezTo>
                  <a:pt x="75" y="81"/>
                  <a:pt x="75" y="83"/>
                  <a:pt x="74" y="81"/>
                </a:cubicBezTo>
                <a:cubicBezTo>
                  <a:pt x="73" y="80"/>
                  <a:pt x="72" y="79"/>
                  <a:pt x="72" y="78"/>
                </a:cubicBezTo>
                <a:cubicBezTo>
                  <a:pt x="71" y="76"/>
                  <a:pt x="73" y="77"/>
                  <a:pt x="73" y="75"/>
                </a:cubicBezTo>
                <a:cubicBezTo>
                  <a:pt x="73" y="73"/>
                  <a:pt x="72" y="72"/>
                  <a:pt x="72" y="70"/>
                </a:cubicBezTo>
                <a:cubicBezTo>
                  <a:pt x="73" y="67"/>
                  <a:pt x="73" y="64"/>
                  <a:pt x="73" y="61"/>
                </a:cubicBezTo>
                <a:cubicBezTo>
                  <a:pt x="73" y="57"/>
                  <a:pt x="80" y="59"/>
                  <a:pt x="82" y="60"/>
                </a:cubicBezTo>
                <a:cubicBezTo>
                  <a:pt x="83" y="62"/>
                  <a:pt x="84" y="64"/>
                  <a:pt x="85" y="65"/>
                </a:cubicBezTo>
                <a:cubicBezTo>
                  <a:pt x="86" y="67"/>
                  <a:pt x="87" y="68"/>
                  <a:pt x="89" y="68"/>
                </a:cubicBezTo>
                <a:cubicBezTo>
                  <a:pt x="91" y="68"/>
                  <a:pt x="91" y="66"/>
                  <a:pt x="92" y="65"/>
                </a:cubicBezTo>
                <a:cubicBezTo>
                  <a:pt x="92" y="63"/>
                  <a:pt x="93" y="62"/>
                  <a:pt x="94" y="61"/>
                </a:cubicBezTo>
                <a:cubicBezTo>
                  <a:pt x="96" y="58"/>
                  <a:pt x="99" y="59"/>
                  <a:pt x="104" y="60"/>
                </a:cubicBezTo>
                <a:cubicBezTo>
                  <a:pt x="106" y="61"/>
                  <a:pt x="106" y="57"/>
                  <a:pt x="108" y="57"/>
                </a:cubicBezTo>
                <a:cubicBezTo>
                  <a:pt x="108" y="58"/>
                  <a:pt x="112" y="58"/>
                  <a:pt x="112" y="60"/>
                </a:cubicBezTo>
                <a:cubicBezTo>
                  <a:pt x="114" y="61"/>
                  <a:pt x="116" y="63"/>
                  <a:pt x="118" y="62"/>
                </a:cubicBezTo>
                <a:cubicBezTo>
                  <a:pt x="119" y="62"/>
                  <a:pt x="119" y="60"/>
                  <a:pt x="121" y="61"/>
                </a:cubicBezTo>
                <a:cubicBezTo>
                  <a:pt x="121" y="62"/>
                  <a:pt x="125" y="62"/>
                  <a:pt x="125" y="62"/>
                </a:cubicBezTo>
                <a:cubicBezTo>
                  <a:pt x="125" y="63"/>
                  <a:pt x="126" y="63"/>
                  <a:pt x="126" y="63"/>
                </a:cubicBezTo>
                <a:cubicBezTo>
                  <a:pt x="128" y="65"/>
                  <a:pt x="131" y="63"/>
                  <a:pt x="134" y="64"/>
                </a:cubicBezTo>
                <a:cubicBezTo>
                  <a:pt x="135" y="65"/>
                  <a:pt x="137" y="67"/>
                  <a:pt x="138" y="66"/>
                </a:cubicBezTo>
                <a:cubicBezTo>
                  <a:pt x="139" y="65"/>
                  <a:pt x="140" y="64"/>
                  <a:pt x="141" y="63"/>
                </a:cubicBezTo>
                <a:cubicBezTo>
                  <a:pt x="143" y="61"/>
                  <a:pt x="144" y="65"/>
                  <a:pt x="146" y="65"/>
                </a:cubicBezTo>
                <a:cubicBezTo>
                  <a:pt x="149" y="65"/>
                  <a:pt x="148" y="63"/>
                  <a:pt x="149" y="62"/>
                </a:cubicBezTo>
                <a:cubicBezTo>
                  <a:pt x="150" y="62"/>
                  <a:pt x="151" y="63"/>
                  <a:pt x="152" y="64"/>
                </a:cubicBezTo>
                <a:cubicBezTo>
                  <a:pt x="152" y="64"/>
                  <a:pt x="158" y="66"/>
                  <a:pt x="158" y="66"/>
                </a:cubicBezTo>
                <a:cubicBezTo>
                  <a:pt x="158" y="65"/>
                  <a:pt x="158" y="65"/>
                  <a:pt x="158" y="65"/>
                </a:cubicBezTo>
                <a:cubicBezTo>
                  <a:pt x="160" y="66"/>
                  <a:pt x="160" y="64"/>
                  <a:pt x="161" y="65"/>
                </a:cubicBezTo>
                <a:cubicBezTo>
                  <a:pt x="160" y="67"/>
                  <a:pt x="162" y="65"/>
                  <a:pt x="163" y="65"/>
                </a:cubicBezTo>
                <a:cubicBezTo>
                  <a:pt x="162" y="66"/>
                  <a:pt x="164" y="69"/>
                  <a:pt x="165" y="69"/>
                </a:cubicBezTo>
                <a:cubicBezTo>
                  <a:pt x="166" y="69"/>
                  <a:pt x="167" y="72"/>
                  <a:pt x="165" y="71"/>
                </a:cubicBezTo>
                <a:cubicBezTo>
                  <a:pt x="167" y="76"/>
                  <a:pt x="171" y="75"/>
                  <a:pt x="174" y="75"/>
                </a:cubicBezTo>
                <a:cubicBezTo>
                  <a:pt x="171" y="71"/>
                  <a:pt x="177" y="73"/>
                  <a:pt x="177" y="70"/>
                </a:cubicBezTo>
                <a:cubicBezTo>
                  <a:pt x="177" y="69"/>
                  <a:pt x="176" y="70"/>
                  <a:pt x="176" y="69"/>
                </a:cubicBezTo>
                <a:cubicBezTo>
                  <a:pt x="176" y="68"/>
                  <a:pt x="176" y="67"/>
                  <a:pt x="176" y="67"/>
                </a:cubicBezTo>
                <a:cubicBezTo>
                  <a:pt x="176" y="66"/>
                  <a:pt x="175" y="63"/>
                  <a:pt x="175" y="62"/>
                </a:cubicBezTo>
                <a:cubicBezTo>
                  <a:pt x="175" y="62"/>
                  <a:pt x="177" y="62"/>
                  <a:pt x="177" y="62"/>
                </a:cubicBezTo>
                <a:cubicBezTo>
                  <a:pt x="177" y="61"/>
                  <a:pt x="177" y="60"/>
                  <a:pt x="177" y="60"/>
                </a:cubicBezTo>
                <a:cubicBezTo>
                  <a:pt x="178" y="59"/>
                  <a:pt x="180" y="61"/>
                  <a:pt x="181" y="61"/>
                </a:cubicBezTo>
                <a:cubicBezTo>
                  <a:pt x="182" y="61"/>
                  <a:pt x="183" y="61"/>
                  <a:pt x="184" y="61"/>
                </a:cubicBezTo>
                <a:cubicBezTo>
                  <a:pt x="185" y="61"/>
                  <a:pt x="187" y="59"/>
                  <a:pt x="185" y="58"/>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129">
            <a:extLst>
              <a:ext uri="{FF2B5EF4-FFF2-40B4-BE49-F238E27FC236}">
                <a16:creationId xmlns:a16="http://schemas.microsoft.com/office/drawing/2014/main" id="{D96D6A75-A4EB-4ADE-87D8-1FD533066698}"/>
              </a:ext>
            </a:extLst>
          </p:cNvPr>
          <p:cNvSpPr>
            <a:spLocks/>
          </p:cNvSpPr>
          <p:nvPr/>
        </p:nvSpPr>
        <p:spPr bwMode="auto">
          <a:xfrm>
            <a:off x="3124960" y="5416061"/>
            <a:ext cx="139312" cy="81049"/>
          </a:xfrm>
          <a:custGeom>
            <a:avLst/>
            <a:gdLst>
              <a:gd name="T0" fmla="*/ 44 w 50"/>
              <a:gd name="T1" fmla="*/ 20 h 29"/>
              <a:gd name="T2" fmla="*/ 39 w 50"/>
              <a:gd name="T3" fmla="*/ 18 h 29"/>
              <a:gd name="T4" fmla="*/ 35 w 50"/>
              <a:gd name="T5" fmla="*/ 15 h 29"/>
              <a:gd name="T6" fmla="*/ 28 w 50"/>
              <a:gd name="T7" fmla="*/ 7 h 29"/>
              <a:gd name="T8" fmla="*/ 22 w 50"/>
              <a:gd name="T9" fmla="*/ 7 h 29"/>
              <a:gd name="T10" fmla="*/ 24 w 50"/>
              <a:gd name="T11" fmla="*/ 9 h 29"/>
              <a:gd name="T12" fmla="*/ 19 w 50"/>
              <a:gd name="T13" fmla="*/ 6 h 29"/>
              <a:gd name="T14" fmla="*/ 16 w 50"/>
              <a:gd name="T15" fmla="*/ 5 h 29"/>
              <a:gd name="T16" fmla="*/ 14 w 50"/>
              <a:gd name="T17" fmla="*/ 4 h 29"/>
              <a:gd name="T18" fmla="*/ 1 w 50"/>
              <a:gd name="T19" fmla="*/ 0 h 29"/>
              <a:gd name="T20" fmla="*/ 3 w 50"/>
              <a:gd name="T21" fmla="*/ 2 h 29"/>
              <a:gd name="T22" fmla="*/ 8 w 50"/>
              <a:gd name="T23" fmla="*/ 3 h 29"/>
              <a:gd name="T24" fmla="*/ 14 w 50"/>
              <a:gd name="T25" fmla="*/ 6 h 29"/>
              <a:gd name="T26" fmla="*/ 20 w 50"/>
              <a:gd name="T27" fmla="*/ 9 h 29"/>
              <a:gd name="T28" fmla="*/ 25 w 50"/>
              <a:gd name="T29" fmla="*/ 12 h 29"/>
              <a:gd name="T30" fmla="*/ 24 w 50"/>
              <a:gd name="T31" fmla="*/ 10 h 29"/>
              <a:gd name="T32" fmla="*/ 28 w 50"/>
              <a:gd name="T33" fmla="*/ 11 h 29"/>
              <a:gd name="T34" fmla="*/ 30 w 50"/>
              <a:gd name="T35" fmla="*/ 13 h 29"/>
              <a:gd name="T36" fmla="*/ 35 w 50"/>
              <a:gd name="T37" fmla="*/ 17 h 29"/>
              <a:gd name="T38" fmla="*/ 39 w 50"/>
              <a:gd name="T39" fmla="*/ 19 h 29"/>
              <a:gd name="T40" fmla="*/ 40 w 50"/>
              <a:gd name="T41" fmla="*/ 21 h 29"/>
              <a:gd name="T42" fmla="*/ 50 w 50"/>
              <a:gd name="T43" fmla="*/ 29 h 29"/>
              <a:gd name="T44" fmla="*/ 49 w 50"/>
              <a:gd name="T45" fmla="*/ 26 h 29"/>
              <a:gd name="T46" fmla="*/ 44 w 50"/>
              <a:gd name="T47"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29">
                <a:moveTo>
                  <a:pt x="44" y="20"/>
                </a:moveTo>
                <a:cubicBezTo>
                  <a:pt x="42" y="19"/>
                  <a:pt x="41" y="20"/>
                  <a:pt x="39" y="18"/>
                </a:cubicBezTo>
                <a:cubicBezTo>
                  <a:pt x="38" y="17"/>
                  <a:pt x="37" y="16"/>
                  <a:pt x="35" y="15"/>
                </a:cubicBezTo>
                <a:cubicBezTo>
                  <a:pt x="32" y="12"/>
                  <a:pt x="29" y="11"/>
                  <a:pt x="28" y="7"/>
                </a:cubicBezTo>
                <a:cubicBezTo>
                  <a:pt x="27" y="4"/>
                  <a:pt x="23" y="5"/>
                  <a:pt x="22" y="7"/>
                </a:cubicBezTo>
                <a:cubicBezTo>
                  <a:pt x="23" y="7"/>
                  <a:pt x="24" y="7"/>
                  <a:pt x="24" y="9"/>
                </a:cubicBezTo>
                <a:cubicBezTo>
                  <a:pt x="23" y="8"/>
                  <a:pt x="21" y="7"/>
                  <a:pt x="19" y="6"/>
                </a:cubicBezTo>
                <a:cubicBezTo>
                  <a:pt x="18" y="6"/>
                  <a:pt x="16" y="6"/>
                  <a:pt x="16" y="5"/>
                </a:cubicBezTo>
                <a:cubicBezTo>
                  <a:pt x="15" y="5"/>
                  <a:pt x="15" y="4"/>
                  <a:pt x="14" y="4"/>
                </a:cubicBezTo>
                <a:cubicBezTo>
                  <a:pt x="10" y="1"/>
                  <a:pt x="6" y="0"/>
                  <a:pt x="1" y="0"/>
                </a:cubicBezTo>
                <a:cubicBezTo>
                  <a:pt x="3" y="1"/>
                  <a:pt x="0" y="1"/>
                  <a:pt x="3" y="2"/>
                </a:cubicBezTo>
                <a:cubicBezTo>
                  <a:pt x="5" y="2"/>
                  <a:pt x="6" y="2"/>
                  <a:pt x="8" y="3"/>
                </a:cubicBezTo>
                <a:cubicBezTo>
                  <a:pt x="10" y="3"/>
                  <a:pt x="12" y="4"/>
                  <a:pt x="14" y="6"/>
                </a:cubicBezTo>
                <a:cubicBezTo>
                  <a:pt x="16" y="7"/>
                  <a:pt x="17" y="8"/>
                  <a:pt x="20" y="9"/>
                </a:cubicBezTo>
                <a:cubicBezTo>
                  <a:pt x="21" y="10"/>
                  <a:pt x="25" y="10"/>
                  <a:pt x="25" y="12"/>
                </a:cubicBezTo>
                <a:cubicBezTo>
                  <a:pt x="25" y="11"/>
                  <a:pt x="25" y="11"/>
                  <a:pt x="24" y="10"/>
                </a:cubicBezTo>
                <a:cubicBezTo>
                  <a:pt x="25" y="11"/>
                  <a:pt x="27" y="11"/>
                  <a:pt x="28" y="11"/>
                </a:cubicBezTo>
                <a:cubicBezTo>
                  <a:pt x="30" y="11"/>
                  <a:pt x="29" y="11"/>
                  <a:pt x="30" y="13"/>
                </a:cubicBezTo>
                <a:cubicBezTo>
                  <a:pt x="31" y="15"/>
                  <a:pt x="34" y="15"/>
                  <a:pt x="35" y="17"/>
                </a:cubicBezTo>
                <a:cubicBezTo>
                  <a:pt x="36" y="18"/>
                  <a:pt x="38" y="18"/>
                  <a:pt x="39" y="19"/>
                </a:cubicBezTo>
                <a:cubicBezTo>
                  <a:pt x="41" y="19"/>
                  <a:pt x="39" y="20"/>
                  <a:pt x="40" y="21"/>
                </a:cubicBezTo>
                <a:cubicBezTo>
                  <a:pt x="43" y="24"/>
                  <a:pt x="47" y="26"/>
                  <a:pt x="50" y="29"/>
                </a:cubicBezTo>
                <a:cubicBezTo>
                  <a:pt x="50" y="28"/>
                  <a:pt x="50" y="27"/>
                  <a:pt x="49" y="26"/>
                </a:cubicBezTo>
                <a:cubicBezTo>
                  <a:pt x="47" y="25"/>
                  <a:pt x="48" y="20"/>
                  <a:pt x="44" y="20"/>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130">
            <a:extLst>
              <a:ext uri="{FF2B5EF4-FFF2-40B4-BE49-F238E27FC236}">
                <a16:creationId xmlns:a16="http://schemas.microsoft.com/office/drawing/2014/main" id="{5134CDBC-B8D2-4399-B75F-CEE8CBC2B95F}"/>
              </a:ext>
            </a:extLst>
          </p:cNvPr>
          <p:cNvSpPr>
            <a:spLocks/>
          </p:cNvSpPr>
          <p:nvPr/>
        </p:nvSpPr>
        <p:spPr bwMode="auto">
          <a:xfrm>
            <a:off x="3074194" y="5370769"/>
            <a:ext cx="44863" cy="19070"/>
          </a:xfrm>
          <a:custGeom>
            <a:avLst/>
            <a:gdLst>
              <a:gd name="T0" fmla="*/ 9 w 16"/>
              <a:gd name="T1" fmla="*/ 6 h 7"/>
              <a:gd name="T2" fmla="*/ 15 w 16"/>
              <a:gd name="T3" fmla="*/ 5 h 7"/>
              <a:gd name="T4" fmla="*/ 13 w 16"/>
              <a:gd name="T5" fmla="*/ 3 h 7"/>
              <a:gd name="T6" fmla="*/ 5 w 16"/>
              <a:gd name="T7" fmla="*/ 1 h 7"/>
              <a:gd name="T8" fmla="*/ 1 w 16"/>
              <a:gd name="T9" fmla="*/ 1 h 7"/>
              <a:gd name="T10" fmla="*/ 0 w 16"/>
              <a:gd name="T11" fmla="*/ 3 h 7"/>
              <a:gd name="T12" fmla="*/ 9 w 16"/>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16" h="7">
                <a:moveTo>
                  <a:pt x="9" y="6"/>
                </a:moveTo>
                <a:cubicBezTo>
                  <a:pt x="11" y="6"/>
                  <a:pt x="13" y="7"/>
                  <a:pt x="15" y="5"/>
                </a:cubicBezTo>
                <a:cubicBezTo>
                  <a:pt x="16" y="4"/>
                  <a:pt x="14" y="3"/>
                  <a:pt x="13" y="3"/>
                </a:cubicBezTo>
                <a:cubicBezTo>
                  <a:pt x="13" y="2"/>
                  <a:pt x="6" y="1"/>
                  <a:pt x="5" y="1"/>
                </a:cubicBezTo>
                <a:cubicBezTo>
                  <a:pt x="4" y="1"/>
                  <a:pt x="1" y="0"/>
                  <a:pt x="1" y="1"/>
                </a:cubicBezTo>
                <a:cubicBezTo>
                  <a:pt x="1" y="2"/>
                  <a:pt x="2" y="3"/>
                  <a:pt x="0" y="3"/>
                </a:cubicBezTo>
                <a:cubicBezTo>
                  <a:pt x="2" y="6"/>
                  <a:pt x="6" y="6"/>
                  <a:pt x="9" y="6"/>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131">
            <a:extLst>
              <a:ext uri="{FF2B5EF4-FFF2-40B4-BE49-F238E27FC236}">
                <a16:creationId xmlns:a16="http://schemas.microsoft.com/office/drawing/2014/main" id="{F66C671F-1EB8-487D-8871-7C3CCF36C5F0}"/>
              </a:ext>
            </a:extLst>
          </p:cNvPr>
          <p:cNvSpPr>
            <a:spLocks/>
          </p:cNvSpPr>
          <p:nvPr/>
        </p:nvSpPr>
        <p:spPr bwMode="auto">
          <a:xfrm>
            <a:off x="3155656" y="5447050"/>
            <a:ext cx="38960" cy="10727"/>
          </a:xfrm>
          <a:custGeom>
            <a:avLst/>
            <a:gdLst>
              <a:gd name="T0" fmla="*/ 9 w 14"/>
              <a:gd name="T1" fmla="*/ 2 h 4"/>
              <a:gd name="T2" fmla="*/ 2 w 14"/>
              <a:gd name="T3" fmla="*/ 0 h 4"/>
              <a:gd name="T4" fmla="*/ 2 w 14"/>
              <a:gd name="T5" fmla="*/ 0 h 4"/>
              <a:gd name="T6" fmla="*/ 2 w 14"/>
              <a:gd name="T7" fmla="*/ 2 h 4"/>
              <a:gd name="T8" fmla="*/ 3 w 14"/>
              <a:gd name="T9" fmla="*/ 2 h 4"/>
              <a:gd name="T10" fmla="*/ 6 w 14"/>
              <a:gd name="T11" fmla="*/ 3 h 4"/>
              <a:gd name="T12" fmla="*/ 14 w 14"/>
              <a:gd name="T13" fmla="*/ 4 h 4"/>
              <a:gd name="T14" fmla="*/ 9 w 1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
                <a:moveTo>
                  <a:pt x="9" y="2"/>
                </a:moveTo>
                <a:cubicBezTo>
                  <a:pt x="10" y="2"/>
                  <a:pt x="4" y="1"/>
                  <a:pt x="2" y="0"/>
                </a:cubicBezTo>
                <a:cubicBezTo>
                  <a:pt x="3" y="0"/>
                  <a:pt x="2" y="0"/>
                  <a:pt x="2" y="0"/>
                </a:cubicBezTo>
                <a:cubicBezTo>
                  <a:pt x="0" y="0"/>
                  <a:pt x="1" y="1"/>
                  <a:pt x="2" y="2"/>
                </a:cubicBezTo>
                <a:cubicBezTo>
                  <a:pt x="1" y="0"/>
                  <a:pt x="3" y="1"/>
                  <a:pt x="3" y="2"/>
                </a:cubicBezTo>
                <a:cubicBezTo>
                  <a:pt x="4" y="2"/>
                  <a:pt x="5" y="2"/>
                  <a:pt x="6" y="3"/>
                </a:cubicBezTo>
                <a:cubicBezTo>
                  <a:pt x="9" y="3"/>
                  <a:pt x="12" y="3"/>
                  <a:pt x="14" y="4"/>
                </a:cubicBezTo>
                <a:cubicBezTo>
                  <a:pt x="13" y="2"/>
                  <a:pt x="11" y="3"/>
                  <a:pt x="9" y="2"/>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132">
            <a:extLst>
              <a:ext uri="{FF2B5EF4-FFF2-40B4-BE49-F238E27FC236}">
                <a16:creationId xmlns:a16="http://schemas.microsoft.com/office/drawing/2014/main" id="{D1CF797C-678C-461F-BC8F-EACCA0D714C5}"/>
              </a:ext>
            </a:extLst>
          </p:cNvPr>
          <p:cNvSpPr>
            <a:spLocks/>
          </p:cNvSpPr>
          <p:nvPr/>
        </p:nvSpPr>
        <p:spPr bwMode="auto">
          <a:xfrm>
            <a:off x="3045859" y="5410102"/>
            <a:ext cx="16529" cy="8344"/>
          </a:xfrm>
          <a:custGeom>
            <a:avLst/>
            <a:gdLst>
              <a:gd name="T0" fmla="*/ 4 w 6"/>
              <a:gd name="T1" fmla="*/ 1 h 3"/>
              <a:gd name="T2" fmla="*/ 3 w 6"/>
              <a:gd name="T3" fmla="*/ 0 h 3"/>
              <a:gd name="T4" fmla="*/ 1 w 6"/>
              <a:gd name="T5" fmla="*/ 1 h 3"/>
              <a:gd name="T6" fmla="*/ 0 w 6"/>
              <a:gd name="T7" fmla="*/ 2 h 3"/>
              <a:gd name="T8" fmla="*/ 1 w 6"/>
              <a:gd name="T9" fmla="*/ 3 h 3"/>
              <a:gd name="T10" fmla="*/ 5 w 6"/>
              <a:gd name="T11" fmla="*/ 3 h 3"/>
              <a:gd name="T12" fmla="*/ 4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4" y="1"/>
                </a:moveTo>
                <a:cubicBezTo>
                  <a:pt x="4" y="1"/>
                  <a:pt x="3" y="0"/>
                  <a:pt x="3" y="0"/>
                </a:cubicBezTo>
                <a:cubicBezTo>
                  <a:pt x="2" y="0"/>
                  <a:pt x="2" y="0"/>
                  <a:pt x="1" y="1"/>
                </a:cubicBezTo>
                <a:cubicBezTo>
                  <a:pt x="0" y="1"/>
                  <a:pt x="0" y="1"/>
                  <a:pt x="0" y="2"/>
                </a:cubicBezTo>
                <a:cubicBezTo>
                  <a:pt x="0" y="1"/>
                  <a:pt x="1" y="3"/>
                  <a:pt x="1" y="3"/>
                </a:cubicBezTo>
                <a:cubicBezTo>
                  <a:pt x="2" y="3"/>
                  <a:pt x="4" y="3"/>
                  <a:pt x="5" y="3"/>
                </a:cubicBezTo>
                <a:cubicBezTo>
                  <a:pt x="6" y="1"/>
                  <a:pt x="5" y="0"/>
                  <a:pt x="4" y="1"/>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133">
            <a:extLst>
              <a:ext uri="{FF2B5EF4-FFF2-40B4-BE49-F238E27FC236}">
                <a16:creationId xmlns:a16="http://schemas.microsoft.com/office/drawing/2014/main" id="{29790D30-2871-4B38-BB02-C968FAF25760}"/>
              </a:ext>
            </a:extLst>
          </p:cNvPr>
          <p:cNvSpPr>
            <a:spLocks/>
          </p:cNvSpPr>
          <p:nvPr/>
        </p:nvSpPr>
        <p:spPr bwMode="auto">
          <a:xfrm>
            <a:off x="2934882" y="5274226"/>
            <a:ext cx="33057" cy="36949"/>
          </a:xfrm>
          <a:custGeom>
            <a:avLst/>
            <a:gdLst>
              <a:gd name="T0" fmla="*/ 7 w 12"/>
              <a:gd name="T1" fmla="*/ 6 h 13"/>
              <a:gd name="T2" fmla="*/ 1 w 12"/>
              <a:gd name="T3" fmla="*/ 0 h 13"/>
              <a:gd name="T4" fmla="*/ 2 w 12"/>
              <a:gd name="T5" fmla="*/ 1 h 13"/>
              <a:gd name="T6" fmla="*/ 0 w 12"/>
              <a:gd name="T7" fmla="*/ 0 h 13"/>
              <a:gd name="T8" fmla="*/ 5 w 12"/>
              <a:gd name="T9" fmla="*/ 5 h 13"/>
              <a:gd name="T10" fmla="*/ 12 w 12"/>
              <a:gd name="T11" fmla="*/ 13 h 13"/>
              <a:gd name="T12" fmla="*/ 10 w 12"/>
              <a:gd name="T13" fmla="*/ 10 h 13"/>
              <a:gd name="T14" fmla="*/ 12 w 12"/>
              <a:gd name="T15" fmla="*/ 11 h 13"/>
              <a:gd name="T16" fmla="*/ 7 w 12"/>
              <a:gd name="T1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7" y="6"/>
                </a:moveTo>
                <a:cubicBezTo>
                  <a:pt x="6" y="5"/>
                  <a:pt x="3" y="0"/>
                  <a:pt x="1" y="0"/>
                </a:cubicBezTo>
                <a:cubicBezTo>
                  <a:pt x="1" y="0"/>
                  <a:pt x="1" y="0"/>
                  <a:pt x="2" y="1"/>
                </a:cubicBezTo>
                <a:cubicBezTo>
                  <a:pt x="1" y="1"/>
                  <a:pt x="0" y="0"/>
                  <a:pt x="0" y="0"/>
                </a:cubicBezTo>
                <a:cubicBezTo>
                  <a:pt x="0" y="1"/>
                  <a:pt x="4" y="4"/>
                  <a:pt x="5" y="5"/>
                </a:cubicBezTo>
                <a:cubicBezTo>
                  <a:pt x="7" y="8"/>
                  <a:pt x="9" y="11"/>
                  <a:pt x="12" y="13"/>
                </a:cubicBezTo>
                <a:cubicBezTo>
                  <a:pt x="12" y="12"/>
                  <a:pt x="10" y="11"/>
                  <a:pt x="10" y="10"/>
                </a:cubicBezTo>
                <a:cubicBezTo>
                  <a:pt x="10" y="11"/>
                  <a:pt x="11" y="12"/>
                  <a:pt x="12" y="11"/>
                </a:cubicBezTo>
                <a:cubicBezTo>
                  <a:pt x="12" y="11"/>
                  <a:pt x="8" y="7"/>
                  <a:pt x="7" y="6"/>
                </a:cubicBezTo>
                <a:close/>
              </a:path>
            </a:pathLst>
          </a:custGeom>
          <a:solidFill>
            <a:srgbClr val="00B0F2"/>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134">
            <a:extLst>
              <a:ext uri="{FF2B5EF4-FFF2-40B4-BE49-F238E27FC236}">
                <a16:creationId xmlns:a16="http://schemas.microsoft.com/office/drawing/2014/main" id="{4AAB1428-4F3C-45A1-88D2-7A4A34E4D895}"/>
              </a:ext>
            </a:extLst>
          </p:cNvPr>
          <p:cNvSpPr>
            <a:spLocks/>
          </p:cNvSpPr>
          <p:nvPr/>
        </p:nvSpPr>
        <p:spPr bwMode="auto">
          <a:xfrm>
            <a:off x="2894741" y="5133583"/>
            <a:ext cx="36599" cy="41717"/>
          </a:xfrm>
          <a:custGeom>
            <a:avLst/>
            <a:gdLst>
              <a:gd name="T0" fmla="*/ 12 w 13"/>
              <a:gd name="T1" fmla="*/ 14 h 15"/>
              <a:gd name="T2" fmla="*/ 13 w 13"/>
              <a:gd name="T3" fmla="*/ 14 h 15"/>
              <a:gd name="T4" fmla="*/ 9 w 13"/>
              <a:gd name="T5" fmla="*/ 9 h 15"/>
              <a:gd name="T6" fmla="*/ 8 w 13"/>
              <a:gd name="T7" fmla="*/ 6 h 15"/>
              <a:gd name="T8" fmla="*/ 6 w 13"/>
              <a:gd name="T9" fmla="*/ 6 h 15"/>
              <a:gd name="T10" fmla="*/ 6 w 13"/>
              <a:gd name="T11" fmla="*/ 2 h 15"/>
              <a:gd name="T12" fmla="*/ 4 w 13"/>
              <a:gd name="T13" fmla="*/ 3 h 15"/>
              <a:gd name="T14" fmla="*/ 3 w 13"/>
              <a:gd name="T15" fmla="*/ 7 h 15"/>
              <a:gd name="T16" fmla="*/ 2 w 13"/>
              <a:gd name="T17" fmla="*/ 8 h 15"/>
              <a:gd name="T18" fmla="*/ 7 w 13"/>
              <a:gd name="T19" fmla="*/ 11 h 15"/>
              <a:gd name="T20" fmla="*/ 11 w 13"/>
              <a:gd name="T21" fmla="*/ 15 h 15"/>
              <a:gd name="T22" fmla="*/ 12 w 13"/>
              <a:gd name="T2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5">
                <a:moveTo>
                  <a:pt x="12" y="14"/>
                </a:moveTo>
                <a:cubicBezTo>
                  <a:pt x="12" y="14"/>
                  <a:pt x="13" y="14"/>
                  <a:pt x="13" y="14"/>
                </a:cubicBezTo>
                <a:cubicBezTo>
                  <a:pt x="13" y="11"/>
                  <a:pt x="11" y="10"/>
                  <a:pt x="9" y="9"/>
                </a:cubicBezTo>
                <a:cubicBezTo>
                  <a:pt x="7" y="9"/>
                  <a:pt x="9" y="7"/>
                  <a:pt x="8" y="6"/>
                </a:cubicBezTo>
                <a:cubicBezTo>
                  <a:pt x="8" y="5"/>
                  <a:pt x="7" y="7"/>
                  <a:pt x="6" y="6"/>
                </a:cubicBezTo>
                <a:cubicBezTo>
                  <a:pt x="6" y="6"/>
                  <a:pt x="7" y="3"/>
                  <a:pt x="6" y="2"/>
                </a:cubicBezTo>
                <a:cubicBezTo>
                  <a:pt x="4" y="0"/>
                  <a:pt x="5" y="5"/>
                  <a:pt x="4" y="3"/>
                </a:cubicBezTo>
                <a:cubicBezTo>
                  <a:pt x="4" y="3"/>
                  <a:pt x="5" y="7"/>
                  <a:pt x="3" y="7"/>
                </a:cubicBezTo>
                <a:cubicBezTo>
                  <a:pt x="2" y="7"/>
                  <a:pt x="2" y="7"/>
                  <a:pt x="2" y="8"/>
                </a:cubicBezTo>
                <a:cubicBezTo>
                  <a:pt x="0" y="11"/>
                  <a:pt x="5" y="12"/>
                  <a:pt x="7" y="11"/>
                </a:cubicBezTo>
                <a:cubicBezTo>
                  <a:pt x="5" y="12"/>
                  <a:pt x="10" y="15"/>
                  <a:pt x="11" y="15"/>
                </a:cubicBezTo>
                <a:cubicBezTo>
                  <a:pt x="11" y="15"/>
                  <a:pt x="11" y="13"/>
                  <a:pt x="12" y="14"/>
                </a:cubicBezTo>
                <a:close/>
              </a:path>
            </a:pathLst>
          </a:custGeom>
          <a:solidFill>
            <a:srgbClr val="00B0F2"/>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135">
            <a:extLst>
              <a:ext uri="{FF2B5EF4-FFF2-40B4-BE49-F238E27FC236}">
                <a16:creationId xmlns:a16="http://schemas.microsoft.com/office/drawing/2014/main" id="{ED380571-A952-4E31-B45F-2ACEDC01EFCD}"/>
              </a:ext>
            </a:extLst>
          </p:cNvPr>
          <p:cNvSpPr>
            <a:spLocks/>
          </p:cNvSpPr>
          <p:nvPr/>
        </p:nvSpPr>
        <p:spPr bwMode="auto">
          <a:xfrm>
            <a:off x="3074194" y="5389839"/>
            <a:ext cx="69656" cy="16686"/>
          </a:xfrm>
          <a:custGeom>
            <a:avLst/>
            <a:gdLst>
              <a:gd name="T0" fmla="*/ 10 w 25"/>
              <a:gd name="T1" fmla="*/ 5 h 6"/>
              <a:gd name="T2" fmla="*/ 21 w 25"/>
              <a:gd name="T3" fmla="*/ 6 h 6"/>
              <a:gd name="T4" fmla="*/ 25 w 25"/>
              <a:gd name="T5" fmla="*/ 5 h 6"/>
              <a:gd name="T6" fmla="*/ 19 w 25"/>
              <a:gd name="T7" fmla="*/ 4 h 6"/>
              <a:gd name="T8" fmla="*/ 13 w 25"/>
              <a:gd name="T9" fmla="*/ 4 h 6"/>
              <a:gd name="T10" fmla="*/ 8 w 25"/>
              <a:gd name="T11" fmla="*/ 2 h 6"/>
              <a:gd name="T12" fmla="*/ 4 w 25"/>
              <a:gd name="T13" fmla="*/ 1 h 6"/>
              <a:gd name="T14" fmla="*/ 6 w 25"/>
              <a:gd name="T15" fmla="*/ 3 h 6"/>
              <a:gd name="T16" fmla="*/ 2 w 25"/>
              <a:gd name="T17" fmla="*/ 1 h 6"/>
              <a:gd name="T18" fmla="*/ 0 w 25"/>
              <a:gd name="T19" fmla="*/ 2 h 6"/>
              <a:gd name="T20" fmla="*/ 10 w 25"/>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6">
                <a:moveTo>
                  <a:pt x="10" y="5"/>
                </a:moveTo>
                <a:cubicBezTo>
                  <a:pt x="14" y="6"/>
                  <a:pt x="18" y="6"/>
                  <a:pt x="21" y="6"/>
                </a:cubicBezTo>
                <a:cubicBezTo>
                  <a:pt x="22" y="6"/>
                  <a:pt x="24" y="6"/>
                  <a:pt x="25" y="5"/>
                </a:cubicBezTo>
                <a:cubicBezTo>
                  <a:pt x="24" y="4"/>
                  <a:pt x="21" y="4"/>
                  <a:pt x="19" y="4"/>
                </a:cubicBezTo>
                <a:cubicBezTo>
                  <a:pt x="17" y="4"/>
                  <a:pt x="15" y="4"/>
                  <a:pt x="13" y="4"/>
                </a:cubicBezTo>
                <a:cubicBezTo>
                  <a:pt x="11" y="3"/>
                  <a:pt x="11" y="3"/>
                  <a:pt x="8" y="2"/>
                </a:cubicBezTo>
                <a:cubicBezTo>
                  <a:pt x="7" y="1"/>
                  <a:pt x="5" y="0"/>
                  <a:pt x="4" y="1"/>
                </a:cubicBezTo>
                <a:cubicBezTo>
                  <a:pt x="5" y="1"/>
                  <a:pt x="5" y="2"/>
                  <a:pt x="6" y="3"/>
                </a:cubicBezTo>
                <a:cubicBezTo>
                  <a:pt x="5" y="3"/>
                  <a:pt x="4" y="1"/>
                  <a:pt x="2" y="1"/>
                </a:cubicBezTo>
                <a:cubicBezTo>
                  <a:pt x="1" y="1"/>
                  <a:pt x="1" y="2"/>
                  <a:pt x="0" y="2"/>
                </a:cubicBezTo>
                <a:cubicBezTo>
                  <a:pt x="3" y="4"/>
                  <a:pt x="7" y="5"/>
                  <a:pt x="10" y="5"/>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136">
            <a:extLst>
              <a:ext uri="{FF2B5EF4-FFF2-40B4-BE49-F238E27FC236}">
                <a16:creationId xmlns:a16="http://schemas.microsoft.com/office/drawing/2014/main" id="{81439D94-FE13-4D27-B7D9-AE77025AE92B}"/>
              </a:ext>
            </a:extLst>
          </p:cNvPr>
          <p:cNvSpPr>
            <a:spLocks/>
          </p:cNvSpPr>
          <p:nvPr/>
        </p:nvSpPr>
        <p:spPr bwMode="auto">
          <a:xfrm>
            <a:off x="3010441" y="5133583"/>
            <a:ext cx="345919" cy="340881"/>
          </a:xfrm>
          <a:custGeom>
            <a:avLst/>
            <a:gdLst>
              <a:gd name="T0" fmla="*/ 117 w 124"/>
              <a:gd name="T1" fmla="*/ 50 h 121"/>
              <a:gd name="T2" fmla="*/ 110 w 124"/>
              <a:gd name="T3" fmla="*/ 45 h 121"/>
              <a:gd name="T4" fmla="*/ 107 w 124"/>
              <a:gd name="T5" fmla="*/ 43 h 121"/>
              <a:gd name="T6" fmla="*/ 106 w 124"/>
              <a:gd name="T7" fmla="*/ 34 h 121"/>
              <a:gd name="T8" fmla="*/ 109 w 124"/>
              <a:gd name="T9" fmla="*/ 31 h 121"/>
              <a:gd name="T10" fmla="*/ 112 w 124"/>
              <a:gd name="T11" fmla="*/ 17 h 121"/>
              <a:gd name="T12" fmla="*/ 94 w 124"/>
              <a:gd name="T13" fmla="*/ 15 h 121"/>
              <a:gd name="T14" fmla="*/ 93 w 124"/>
              <a:gd name="T15" fmla="*/ 13 h 121"/>
              <a:gd name="T16" fmla="*/ 90 w 124"/>
              <a:gd name="T17" fmla="*/ 9 h 121"/>
              <a:gd name="T18" fmla="*/ 87 w 124"/>
              <a:gd name="T19" fmla="*/ 10 h 121"/>
              <a:gd name="T20" fmla="*/ 77 w 124"/>
              <a:gd name="T21" fmla="*/ 8 h 121"/>
              <a:gd name="T22" fmla="*/ 70 w 124"/>
              <a:gd name="T23" fmla="*/ 7 h 121"/>
              <a:gd name="T24" fmla="*/ 62 w 124"/>
              <a:gd name="T25" fmla="*/ 8 h 121"/>
              <a:gd name="T26" fmla="*/ 50 w 124"/>
              <a:gd name="T27" fmla="*/ 6 h 121"/>
              <a:gd name="T28" fmla="*/ 38 w 124"/>
              <a:gd name="T29" fmla="*/ 2 h 121"/>
              <a:gd name="T30" fmla="*/ 27 w 124"/>
              <a:gd name="T31" fmla="*/ 3 h 121"/>
              <a:gd name="T32" fmla="*/ 19 w 124"/>
              <a:gd name="T33" fmla="*/ 12 h 121"/>
              <a:gd name="T34" fmla="*/ 10 w 124"/>
              <a:gd name="T35" fmla="*/ 4 h 121"/>
              <a:gd name="T36" fmla="*/ 2 w 124"/>
              <a:gd name="T37" fmla="*/ 14 h 121"/>
              <a:gd name="T38" fmla="*/ 1 w 124"/>
              <a:gd name="T39" fmla="*/ 21 h 121"/>
              <a:gd name="T40" fmla="*/ 5 w 124"/>
              <a:gd name="T41" fmla="*/ 26 h 121"/>
              <a:gd name="T42" fmla="*/ 8 w 124"/>
              <a:gd name="T43" fmla="*/ 28 h 121"/>
              <a:gd name="T44" fmla="*/ 10 w 124"/>
              <a:gd name="T45" fmla="*/ 32 h 121"/>
              <a:gd name="T46" fmla="*/ 14 w 124"/>
              <a:gd name="T47" fmla="*/ 40 h 121"/>
              <a:gd name="T48" fmla="*/ 22 w 124"/>
              <a:gd name="T49" fmla="*/ 54 h 121"/>
              <a:gd name="T50" fmla="*/ 33 w 124"/>
              <a:gd name="T51" fmla="*/ 67 h 121"/>
              <a:gd name="T52" fmla="*/ 48 w 124"/>
              <a:gd name="T53" fmla="*/ 80 h 121"/>
              <a:gd name="T54" fmla="*/ 51 w 124"/>
              <a:gd name="T55" fmla="*/ 87 h 121"/>
              <a:gd name="T56" fmla="*/ 58 w 124"/>
              <a:gd name="T57" fmla="*/ 96 h 121"/>
              <a:gd name="T58" fmla="*/ 60 w 124"/>
              <a:gd name="T59" fmla="*/ 104 h 121"/>
              <a:gd name="T60" fmla="*/ 60 w 124"/>
              <a:gd name="T61" fmla="*/ 105 h 121"/>
              <a:gd name="T62" fmla="*/ 67 w 124"/>
              <a:gd name="T63" fmla="*/ 106 h 121"/>
              <a:gd name="T64" fmla="*/ 71 w 124"/>
              <a:gd name="T65" fmla="*/ 111 h 121"/>
              <a:gd name="T66" fmla="*/ 85 w 124"/>
              <a:gd name="T67" fmla="*/ 119 h 121"/>
              <a:gd name="T68" fmla="*/ 91 w 124"/>
              <a:gd name="T69" fmla="*/ 114 h 121"/>
              <a:gd name="T70" fmla="*/ 89 w 124"/>
              <a:gd name="T71" fmla="*/ 107 h 121"/>
              <a:gd name="T72" fmla="*/ 94 w 124"/>
              <a:gd name="T73" fmla="*/ 96 h 121"/>
              <a:gd name="T74" fmla="*/ 103 w 124"/>
              <a:gd name="T75" fmla="*/ 87 h 121"/>
              <a:gd name="T76" fmla="*/ 107 w 124"/>
              <a:gd name="T77" fmla="*/ 87 h 121"/>
              <a:gd name="T78" fmla="*/ 103 w 124"/>
              <a:gd name="T79" fmla="*/ 82 h 121"/>
              <a:gd name="T80" fmla="*/ 104 w 124"/>
              <a:gd name="T81" fmla="*/ 77 h 121"/>
              <a:gd name="T82" fmla="*/ 109 w 124"/>
              <a:gd name="T83" fmla="*/ 78 h 121"/>
              <a:gd name="T84" fmla="*/ 116 w 124"/>
              <a:gd name="T85" fmla="*/ 75 h 121"/>
              <a:gd name="T86" fmla="*/ 120 w 124"/>
              <a:gd name="T87" fmla="*/ 76 h 121"/>
              <a:gd name="T88" fmla="*/ 119 w 124"/>
              <a:gd name="T89" fmla="*/ 68 h 121"/>
              <a:gd name="T90" fmla="*/ 111 w 124"/>
              <a:gd name="T91" fmla="*/ 59 h 121"/>
              <a:gd name="T92" fmla="*/ 122 w 124"/>
              <a:gd name="T93" fmla="*/ 5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121">
                <a:moveTo>
                  <a:pt x="122" y="54"/>
                </a:moveTo>
                <a:cubicBezTo>
                  <a:pt x="121" y="56"/>
                  <a:pt x="118" y="50"/>
                  <a:pt x="117" y="50"/>
                </a:cubicBezTo>
                <a:cubicBezTo>
                  <a:pt x="114" y="50"/>
                  <a:pt x="114" y="46"/>
                  <a:pt x="112" y="45"/>
                </a:cubicBezTo>
                <a:cubicBezTo>
                  <a:pt x="111" y="45"/>
                  <a:pt x="110" y="46"/>
                  <a:pt x="110" y="45"/>
                </a:cubicBezTo>
                <a:cubicBezTo>
                  <a:pt x="109" y="44"/>
                  <a:pt x="109" y="44"/>
                  <a:pt x="108" y="44"/>
                </a:cubicBezTo>
                <a:cubicBezTo>
                  <a:pt x="108" y="44"/>
                  <a:pt x="107" y="43"/>
                  <a:pt x="107" y="43"/>
                </a:cubicBezTo>
                <a:cubicBezTo>
                  <a:pt x="106" y="41"/>
                  <a:pt x="106" y="40"/>
                  <a:pt x="107" y="38"/>
                </a:cubicBezTo>
                <a:cubicBezTo>
                  <a:pt x="108" y="37"/>
                  <a:pt x="106" y="36"/>
                  <a:pt x="106" y="34"/>
                </a:cubicBezTo>
                <a:cubicBezTo>
                  <a:pt x="107" y="33"/>
                  <a:pt x="107" y="34"/>
                  <a:pt x="108" y="34"/>
                </a:cubicBezTo>
                <a:cubicBezTo>
                  <a:pt x="108" y="33"/>
                  <a:pt x="109" y="32"/>
                  <a:pt x="109" y="31"/>
                </a:cubicBezTo>
                <a:cubicBezTo>
                  <a:pt x="110" y="29"/>
                  <a:pt x="111" y="27"/>
                  <a:pt x="112" y="25"/>
                </a:cubicBezTo>
                <a:cubicBezTo>
                  <a:pt x="113" y="22"/>
                  <a:pt x="115" y="18"/>
                  <a:pt x="112" y="17"/>
                </a:cubicBezTo>
                <a:cubicBezTo>
                  <a:pt x="109" y="16"/>
                  <a:pt x="106" y="18"/>
                  <a:pt x="103" y="19"/>
                </a:cubicBezTo>
                <a:cubicBezTo>
                  <a:pt x="99" y="20"/>
                  <a:pt x="96" y="20"/>
                  <a:pt x="94" y="15"/>
                </a:cubicBezTo>
                <a:cubicBezTo>
                  <a:pt x="96" y="15"/>
                  <a:pt x="95" y="14"/>
                  <a:pt x="95" y="13"/>
                </a:cubicBezTo>
                <a:cubicBezTo>
                  <a:pt x="95" y="12"/>
                  <a:pt x="94" y="13"/>
                  <a:pt x="93" y="13"/>
                </a:cubicBezTo>
                <a:cubicBezTo>
                  <a:pt x="93" y="12"/>
                  <a:pt x="91" y="10"/>
                  <a:pt x="92" y="9"/>
                </a:cubicBezTo>
                <a:cubicBezTo>
                  <a:pt x="91" y="9"/>
                  <a:pt x="89" y="11"/>
                  <a:pt x="90" y="9"/>
                </a:cubicBezTo>
                <a:cubicBezTo>
                  <a:pt x="89" y="8"/>
                  <a:pt x="89" y="10"/>
                  <a:pt x="87" y="9"/>
                </a:cubicBezTo>
                <a:cubicBezTo>
                  <a:pt x="87" y="9"/>
                  <a:pt x="87" y="9"/>
                  <a:pt x="87" y="10"/>
                </a:cubicBezTo>
                <a:cubicBezTo>
                  <a:pt x="87" y="10"/>
                  <a:pt x="81" y="8"/>
                  <a:pt x="80" y="8"/>
                </a:cubicBezTo>
                <a:cubicBezTo>
                  <a:pt x="79" y="7"/>
                  <a:pt x="78" y="5"/>
                  <a:pt x="77" y="8"/>
                </a:cubicBezTo>
                <a:cubicBezTo>
                  <a:pt x="77" y="9"/>
                  <a:pt x="75" y="9"/>
                  <a:pt x="74" y="9"/>
                </a:cubicBezTo>
                <a:cubicBezTo>
                  <a:pt x="73" y="8"/>
                  <a:pt x="72" y="5"/>
                  <a:pt x="70" y="7"/>
                </a:cubicBezTo>
                <a:cubicBezTo>
                  <a:pt x="68" y="8"/>
                  <a:pt x="68" y="10"/>
                  <a:pt x="66" y="10"/>
                </a:cubicBezTo>
                <a:cubicBezTo>
                  <a:pt x="65" y="10"/>
                  <a:pt x="63" y="9"/>
                  <a:pt x="62" y="8"/>
                </a:cubicBezTo>
                <a:cubicBezTo>
                  <a:pt x="61" y="7"/>
                  <a:pt x="56" y="8"/>
                  <a:pt x="55" y="7"/>
                </a:cubicBezTo>
                <a:cubicBezTo>
                  <a:pt x="54" y="5"/>
                  <a:pt x="52" y="7"/>
                  <a:pt x="50" y="6"/>
                </a:cubicBezTo>
                <a:cubicBezTo>
                  <a:pt x="47" y="4"/>
                  <a:pt x="46" y="7"/>
                  <a:pt x="42" y="4"/>
                </a:cubicBezTo>
                <a:cubicBezTo>
                  <a:pt x="41" y="3"/>
                  <a:pt x="40" y="2"/>
                  <a:pt x="38" y="2"/>
                </a:cubicBezTo>
                <a:cubicBezTo>
                  <a:pt x="37" y="2"/>
                  <a:pt x="38" y="1"/>
                  <a:pt x="37" y="0"/>
                </a:cubicBezTo>
                <a:cubicBezTo>
                  <a:pt x="34" y="6"/>
                  <a:pt x="31" y="3"/>
                  <a:pt x="27" y="3"/>
                </a:cubicBezTo>
                <a:cubicBezTo>
                  <a:pt x="24" y="2"/>
                  <a:pt x="22" y="6"/>
                  <a:pt x="21" y="8"/>
                </a:cubicBezTo>
                <a:cubicBezTo>
                  <a:pt x="20" y="9"/>
                  <a:pt x="20" y="11"/>
                  <a:pt x="19" y="12"/>
                </a:cubicBezTo>
                <a:cubicBezTo>
                  <a:pt x="18" y="13"/>
                  <a:pt x="16" y="11"/>
                  <a:pt x="14" y="9"/>
                </a:cubicBezTo>
                <a:cubicBezTo>
                  <a:pt x="12" y="7"/>
                  <a:pt x="11" y="5"/>
                  <a:pt x="10" y="4"/>
                </a:cubicBezTo>
                <a:cubicBezTo>
                  <a:pt x="7" y="1"/>
                  <a:pt x="2" y="3"/>
                  <a:pt x="2" y="8"/>
                </a:cubicBezTo>
                <a:cubicBezTo>
                  <a:pt x="2" y="9"/>
                  <a:pt x="2" y="13"/>
                  <a:pt x="2" y="14"/>
                </a:cubicBezTo>
                <a:cubicBezTo>
                  <a:pt x="0" y="16"/>
                  <a:pt x="3" y="18"/>
                  <a:pt x="2" y="20"/>
                </a:cubicBezTo>
                <a:cubicBezTo>
                  <a:pt x="2" y="21"/>
                  <a:pt x="1" y="20"/>
                  <a:pt x="1" y="21"/>
                </a:cubicBezTo>
                <a:cubicBezTo>
                  <a:pt x="1" y="22"/>
                  <a:pt x="1" y="23"/>
                  <a:pt x="2" y="24"/>
                </a:cubicBezTo>
                <a:cubicBezTo>
                  <a:pt x="3" y="25"/>
                  <a:pt x="4" y="25"/>
                  <a:pt x="5" y="26"/>
                </a:cubicBezTo>
                <a:cubicBezTo>
                  <a:pt x="5" y="26"/>
                  <a:pt x="5" y="25"/>
                  <a:pt x="6" y="25"/>
                </a:cubicBezTo>
                <a:cubicBezTo>
                  <a:pt x="7" y="25"/>
                  <a:pt x="8" y="27"/>
                  <a:pt x="8" y="28"/>
                </a:cubicBezTo>
                <a:cubicBezTo>
                  <a:pt x="9" y="29"/>
                  <a:pt x="10" y="28"/>
                  <a:pt x="11" y="30"/>
                </a:cubicBezTo>
                <a:cubicBezTo>
                  <a:pt x="11" y="31"/>
                  <a:pt x="10" y="31"/>
                  <a:pt x="10" y="32"/>
                </a:cubicBezTo>
                <a:cubicBezTo>
                  <a:pt x="10" y="34"/>
                  <a:pt x="12" y="33"/>
                  <a:pt x="13" y="33"/>
                </a:cubicBezTo>
                <a:cubicBezTo>
                  <a:pt x="14" y="35"/>
                  <a:pt x="16" y="38"/>
                  <a:pt x="14" y="40"/>
                </a:cubicBezTo>
                <a:cubicBezTo>
                  <a:pt x="17" y="40"/>
                  <a:pt x="15" y="47"/>
                  <a:pt x="18" y="49"/>
                </a:cubicBezTo>
                <a:cubicBezTo>
                  <a:pt x="20" y="51"/>
                  <a:pt x="20" y="53"/>
                  <a:pt x="22" y="54"/>
                </a:cubicBezTo>
                <a:cubicBezTo>
                  <a:pt x="24" y="55"/>
                  <a:pt x="24" y="56"/>
                  <a:pt x="25" y="57"/>
                </a:cubicBezTo>
                <a:cubicBezTo>
                  <a:pt x="29" y="60"/>
                  <a:pt x="30" y="64"/>
                  <a:pt x="33" y="67"/>
                </a:cubicBezTo>
                <a:cubicBezTo>
                  <a:pt x="36" y="70"/>
                  <a:pt x="39" y="73"/>
                  <a:pt x="42" y="76"/>
                </a:cubicBezTo>
                <a:cubicBezTo>
                  <a:pt x="44" y="78"/>
                  <a:pt x="46" y="79"/>
                  <a:pt x="48" y="80"/>
                </a:cubicBezTo>
                <a:cubicBezTo>
                  <a:pt x="49" y="80"/>
                  <a:pt x="51" y="80"/>
                  <a:pt x="51" y="82"/>
                </a:cubicBezTo>
                <a:cubicBezTo>
                  <a:pt x="51" y="84"/>
                  <a:pt x="51" y="86"/>
                  <a:pt x="51" y="87"/>
                </a:cubicBezTo>
                <a:cubicBezTo>
                  <a:pt x="52" y="89"/>
                  <a:pt x="53" y="90"/>
                  <a:pt x="54" y="92"/>
                </a:cubicBezTo>
                <a:cubicBezTo>
                  <a:pt x="56" y="93"/>
                  <a:pt x="56" y="95"/>
                  <a:pt x="58" y="96"/>
                </a:cubicBezTo>
                <a:cubicBezTo>
                  <a:pt x="60" y="97"/>
                  <a:pt x="62" y="98"/>
                  <a:pt x="63" y="99"/>
                </a:cubicBezTo>
                <a:cubicBezTo>
                  <a:pt x="65" y="103"/>
                  <a:pt x="63" y="103"/>
                  <a:pt x="60" y="104"/>
                </a:cubicBezTo>
                <a:cubicBezTo>
                  <a:pt x="61" y="105"/>
                  <a:pt x="61" y="105"/>
                  <a:pt x="61" y="106"/>
                </a:cubicBezTo>
                <a:cubicBezTo>
                  <a:pt x="61" y="105"/>
                  <a:pt x="60" y="105"/>
                  <a:pt x="60" y="105"/>
                </a:cubicBezTo>
                <a:cubicBezTo>
                  <a:pt x="61" y="105"/>
                  <a:pt x="63" y="108"/>
                  <a:pt x="64" y="106"/>
                </a:cubicBezTo>
                <a:cubicBezTo>
                  <a:pt x="64" y="105"/>
                  <a:pt x="66" y="106"/>
                  <a:pt x="67" y="106"/>
                </a:cubicBezTo>
                <a:cubicBezTo>
                  <a:pt x="68" y="107"/>
                  <a:pt x="68" y="105"/>
                  <a:pt x="69" y="107"/>
                </a:cubicBezTo>
                <a:cubicBezTo>
                  <a:pt x="70" y="108"/>
                  <a:pt x="70" y="109"/>
                  <a:pt x="71" y="111"/>
                </a:cubicBezTo>
                <a:cubicBezTo>
                  <a:pt x="74" y="113"/>
                  <a:pt x="77" y="116"/>
                  <a:pt x="81" y="118"/>
                </a:cubicBezTo>
                <a:cubicBezTo>
                  <a:pt x="83" y="120"/>
                  <a:pt x="83" y="119"/>
                  <a:pt x="85" y="119"/>
                </a:cubicBezTo>
                <a:cubicBezTo>
                  <a:pt x="86" y="120"/>
                  <a:pt x="87" y="121"/>
                  <a:pt x="89" y="121"/>
                </a:cubicBezTo>
                <a:cubicBezTo>
                  <a:pt x="91" y="121"/>
                  <a:pt x="93" y="117"/>
                  <a:pt x="91" y="114"/>
                </a:cubicBezTo>
                <a:cubicBezTo>
                  <a:pt x="90" y="113"/>
                  <a:pt x="89" y="112"/>
                  <a:pt x="88" y="111"/>
                </a:cubicBezTo>
                <a:cubicBezTo>
                  <a:pt x="88" y="109"/>
                  <a:pt x="89" y="109"/>
                  <a:pt x="89" y="107"/>
                </a:cubicBezTo>
                <a:cubicBezTo>
                  <a:pt x="89" y="105"/>
                  <a:pt x="87" y="101"/>
                  <a:pt x="90" y="101"/>
                </a:cubicBezTo>
                <a:cubicBezTo>
                  <a:pt x="95" y="101"/>
                  <a:pt x="93" y="101"/>
                  <a:pt x="94" y="96"/>
                </a:cubicBezTo>
                <a:cubicBezTo>
                  <a:pt x="94" y="93"/>
                  <a:pt x="95" y="91"/>
                  <a:pt x="97" y="89"/>
                </a:cubicBezTo>
                <a:cubicBezTo>
                  <a:pt x="99" y="88"/>
                  <a:pt x="100" y="84"/>
                  <a:pt x="103" y="87"/>
                </a:cubicBezTo>
                <a:cubicBezTo>
                  <a:pt x="104" y="89"/>
                  <a:pt x="104" y="92"/>
                  <a:pt x="106" y="88"/>
                </a:cubicBezTo>
                <a:cubicBezTo>
                  <a:pt x="106" y="88"/>
                  <a:pt x="108" y="88"/>
                  <a:pt x="107" y="87"/>
                </a:cubicBezTo>
                <a:cubicBezTo>
                  <a:pt x="106" y="86"/>
                  <a:pt x="106" y="84"/>
                  <a:pt x="105" y="83"/>
                </a:cubicBezTo>
                <a:cubicBezTo>
                  <a:pt x="105" y="82"/>
                  <a:pt x="104" y="83"/>
                  <a:pt x="103" y="82"/>
                </a:cubicBezTo>
                <a:cubicBezTo>
                  <a:pt x="103" y="81"/>
                  <a:pt x="103" y="80"/>
                  <a:pt x="102" y="79"/>
                </a:cubicBezTo>
                <a:cubicBezTo>
                  <a:pt x="101" y="79"/>
                  <a:pt x="103" y="78"/>
                  <a:pt x="104" y="77"/>
                </a:cubicBezTo>
                <a:cubicBezTo>
                  <a:pt x="105" y="76"/>
                  <a:pt x="105" y="78"/>
                  <a:pt x="106" y="79"/>
                </a:cubicBezTo>
                <a:cubicBezTo>
                  <a:pt x="107" y="79"/>
                  <a:pt x="108" y="78"/>
                  <a:pt x="109" y="78"/>
                </a:cubicBezTo>
                <a:cubicBezTo>
                  <a:pt x="111" y="78"/>
                  <a:pt x="111" y="77"/>
                  <a:pt x="112" y="76"/>
                </a:cubicBezTo>
                <a:cubicBezTo>
                  <a:pt x="113" y="75"/>
                  <a:pt x="115" y="74"/>
                  <a:pt x="116" y="75"/>
                </a:cubicBezTo>
                <a:cubicBezTo>
                  <a:pt x="116" y="75"/>
                  <a:pt x="117" y="77"/>
                  <a:pt x="117" y="77"/>
                </a:cubicBezTo>
                <a:cubicBezTo>
                  <a:pt x="117" y="77"/>
                  <a:pt x="120" y="76"/>
                  <a:pt x="120" y="76"/>
                </a:cubicBezTo>
                <a:cubicBezTo>
                  <a:pt x="120" y="76"/>
                  <a:pt x="119" y="74"/>
                  <a:pt x="120" y="73"/>
                </a:cubicBezTo>
                <a:cubicBezTo>
                  <a:pt x="120" y="71"/>
                  <a:pt x="120" y="69"/>
                  <a:pt x="119" y="68"/>
                </a:cubicBezTo>
                <a:cubicBezTo>
                  <a:pt x="118" y="66"/>
                  <a:pt x="116" y="65"/>
                  <a:pt x="114" y="63"/>
                </a:cubicBezTo>
                <a:cubicBezTo>
                  <a:pt x="113" y="62"/>
                  <a:pt x="112" y="60"/>
                  <a:pt x="111" y="59"/>
                </a:cubicBezTo>
                <a:cubicBezTo>
                  <a:pt x="109" y="55"/>
                  <a:pt x="116" y="60"/>
                  <a:pt x="118" y="60"/>
                </a:cubicBezTo>
                <a:cubicBezTo>
                  <a:pt x="119" y="60"/>
                  <a:pt x="124" y="56"/>
                  <a:pt x="122" y="54"/>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137">
            <a:extLst>
              <a:ext uri="{FF2B5EF4-FFF2-40B4-BE49-F238E27FC236}">
                <a16:creationId xmlns:a16="http://schemas.microsoft.com/office/drawing/2014/main" id="{9D220408-FACD-4C92-97D2-33AB3D662674}"/>
              </a:ext>
            </a:extLst>
          </p:cNvPr>
          <p:cNvSpPr>
            <a:spLocks/>
          </p:cNvSpPr>
          <p:nvPr/>
        </p:nvSpPr>
        <p:spPr bwMode="auto">
          <a:xfrm>
            <a:off x="3252466" y="5350507"/>
            <a:ext cx="179453" cy="214541"/>
          </a:xfrm>
          <a:custGeom>
            <a:avLst/>
            <a:gdLst>
              <a:gd name="T0" fmla="*/ 58 w 64"/>
              <a:gd name="T1" fmla="*/ 27 h 76"/>
              <a:gd name="T2" fmla="*/ 50 w 64"/>
              <a:gd name="T3" fmla="*/ 22 h 76"/>
              <a:gd name="T4" fmla="*/ 44 w 64"/>
              <a:gd name="T5" fmla="*/ 21 h 76"/>
              <a:gd name="T6" fmla="*/ 40 w 64"/>
              <a:gd name="T7" fmla="*/ 18 h 76"/>
              <a:gd name="T8" fmla="*/ 37 w 64"/>
              <a:gd name="T9" fmla="*/ 17 h 76"/>
              <a:gd name="T10" fmla="*/ 30 w 64"/>
              <a:gd name="T11" fmla="*/ 8 h 76"/>
              <a:gd name="T12" fmla="*/ 25 w 64"/>
              <a:gd name="T13" fmla="*/ 5 h 76"/>
              <a:gd name="T14" fmla="*/ 24 w 64"/>
              <a:gd name="T15" fmla="*/ 1 h 76"/>
              <a:gd name="T16" fmla="*/ 19 w 64"/>
              <a:gd name="T17" fmla="*/ 1 h 76"/>
              <a:gd name="T18" fmla="*/ 15 w 64"/>
              <a:gd name="T19" fmla="*/ 2 h 76"/>
              <a:gd name="T20" fmla="*/ 18 w 64"/>
              <a:gd name="T21" fmla="*/ 7 h 76"/>
              <a:gd name="T22" fmla="*/ 18 w 64"/>
              <a:gd name="T23" fmla="*/ 13 h 76"/>
              <a:gd name="T24" fmla="*/ 13 w 64"/>
              <a:gd name="T25" fmla="*/ 9 h 76"/>
              <a:gd name="T26" fmla="*/ 9 w 64"/>
              <a:gd name="T27" fmla="*/ 12 h 76"/>
              <a:gd name="T28" fmla="*/ 7 w 64"/>
              <a:gd name="T29" fmla="*/ 19 h 76"/>
              <a:gd name="T30" fmla="*/ 6 w 64"/>
              <a:gd name="T31" fmla="*/ 24 h 76"/>
              <a:gd name="T32" fmla="*/ 2 w 64"/>
              <a:gd name="T33" fmla="*/ 25 h 76"/>
              <a:gd name="T34" fmla="*/ 2 w 64"/>
              <a:gd name="T35" fmla="*/ 30 h 76"/>
              <a:gd name="T36" fmla="*/ 3 w 64"/>
              <a:gd name="T37" fmla="*/ 36 h 76"/>
              <a:gd name="T38" fmla="*/ 5 w 64"/>
              <a:gd name="T39" fmla="*/ 40 h 76"/>
              <a:gd name="T40" fmla="*/ 2 w 64"/>
              <a:gd name="T41" fmla="*/ 44 h 76"/>
              <a:gd name="T42" fmla="*/ 2 w 64"/>
              <a:gd name="T43" fmla="*/ 48 h 76"/>
              <a:gd name="T44" fmla="*/ 6 w 64"/>
              <a:gd name="T45" fmla="*/ 50 h 76"/>
              <a:gd name="T46" fmla="*/ 9 w 64"/>
              <a:gd name="T47" fmla="*/ 48 h 76"/>
              <a:gd name="T48" fmla="*/ 9 w 64"/>
              <a:gd name="T49" fmla="*/ 47 h 76"/>
              <a:gd name="T50" fmla="*/ 12 w 64"/>
              <a:gd name="T51" fmla="*/ 50 h 76"/>
              <a:gd name="T52" fmla="*/ 9 w 64"/>
              <a:gd name="T53" fmla="*/ 49 h 76"/>
              <a:gd name="T54" fmla="*/ 7 w 64"/>
              <a:gd name="T55" fmla="*/ 51 h 76"/>
              <a:gd name="T56" fmla="*/ 6 w 64"/>
              <a:gd name="T57" fmla="*/ 53 h 76"/>
              <a:gd name="T58" fmla="*/ 9 w 64"/>
              <a:gd name="T59" fmla="*/ 52 h 76"/>
              <a:gd name="T60" fmla="*/ 10 w 64"/>
              <a:gd name="T61" fmla="*/ 54 h 76"/>
              <a:gd name="T62" fmla="*/ 15 w 64"/>
              <a:gd name="T63" fmla="*/ 57 h 76"/>
              <a:gd name="T64" fmla="*/ 20 w 64"/>
              <a:gd name="T65" fmla="*/ 63 h 76"/>
              <a:gd name="T66" fmla="*/ 24 w 64"/>
              <a:gd name="T67" fmla="*/ 71 h 76"/>
              <a:gd name="T68" fmla="*/ 31 w 64"/>
              <a:gd name="T69" fmla="*/ 76 h 76"/>
              <a:gd name="T70" fmla="*/ 31 w 64"/>
              <a:gd name="T71" fmla="*/ 71 h 76"/>
              <a:gd name="T72" fmla="*/ 31 w 64"/>
              <a:gd name="T73" fmla="*/ 67 h 76"/>
              <a:gd name="T74" fmla="*/ 30 w 64"/>
              <a:gd name="T75" fmla="*/ 63 h 76"/>
              <a:gd name="T76" fmla="*/ 29 w 64"/>
              <a:gd name="T77" fmla="*/ 61 h 76"/>
              <a:gd name="T78" fmla="*/ 32 w 64"/>
              <a:gd name="T79" fmla="*/ 55 h 76"/>
              <a:gd name="T80" fmla="*/ 35 w 64"/>
              <a:gd name="T81" fmla="*/ 49 h 76"/>
              <a:gd name="T82" fmla="*/ 42 w 64"/>
              <a:gd name="T83" fmla="*/ 41 h 76"/>
              <a:gd name="T84" fmla="*/ 44 w 64"/>
              <a:gd name="T85" fmla="*/ 48 h 76"/>
              <a:gd name="T86" fmla="*/ 51 w 64"/>
              <a:gd name="T87" fmla="*/ 45 h 76"/>
              <a:gd name="T88" fmla="*/ 53 w 64"/>
              <a:gd name="T89" fmla="*/ 45 h 76"/>
              <a:gd name="T90" fmla="*/ 54 w 64"/>
              <a:gd name="T91" fmla="*/ 41 h 76"/>
              <a:gd name="T92" fmla="*/ 52 w 64"/>
              <a:gd name="T93" fmla="*/ 36 h 76"/>
              <a:gd name="T94" fmla="*/ 57 w 64"/>
              <a:gd name="T95" fmla="*/ 35 h 76"/>
              <a:gd name="T96" fmla="*/ 61 w 64"/>
              <a:gd name="T97" fmla="*/ 32 h 76"/>
              <a:gd name="T98" fmla="*/ 58 w 64"/>
              <a:gd name="T99" fmla="*/ 2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76">
                <a:moveTo>
                  <a:pt x="58" y="27"/>
                </a:moveTo>
                <a:cubicBezTo>
                  <a:pt x="54" y="26"/>
                  <a:pt x="52" y="24"/>
                  <a:pt x="50" y="22"/>
                </a:cubicBezTo>
                <a:cubicBezTo>
                  <a:pt x="48" y="18"/>
                  <a:pt x="47" y="21"/>
                  <a:pt x="44" y="21"/>
                </a:cubicBezTo>
                <a:cubicBezTo>
                  <a:pt x="42" y="21"/>
                  <a:pt x="41" y="19"/>
                  <a:pt x="40" y="18"/>
                </a:cubicBezTo>
                <a:cubicBezTo>
                  <a:pt x="39" y="17"/>
                  <a:pt x="38" y="18"/>
                  <a:pt x="37" y="17"/>
                </a:cubicBezTo>
                <a:cubicBezTo>
                  <a:pt x="34" y="15"/>
                  <a:pt x="32" y="11"/>
                  <a:pt x="30" y="8"/>
                </a:cubicBezTo>
                <a:cubicBezTo>
                  <a:pt x="29" y="8"/>
                  <a:pt x="27" y="6"/>
                  <a:pt x="25" y="5"/>
                </a:cubicBezTo>
                <a:cubicBezTo>
                  <a:pt x="23" y="4"/>
                  <a:pt x="22" y="2"/>
                  <a:pt x="24" y="1"/>
                </a:cubicBezTo>
                <a:cubicBezTo>
                  <a:pt x="22" y="0"/>
                  <a:pt x="20" y="3"/>
                  <a:pt x="19" y="1"/>
                </a:cubicBezTo>
                <a:cubicBezTo>
                  <a:pt x="18" y="0"/>
                  <a:pt x="16" y="0"/>
                  <a:pt x="15" y="2"/>
                </a:cubicBezTo>
                <a:cubicBezTo>
                  <a:pt x="15" y="4"/>
                  <a:pt x="18" y="5"/>
                  <a:pt x="18" y="7"/>
                </a:cubicBezTo>
                <a:cubicBezTo>
                  <a:pt x="20" y="10"/>
                  <a:pt x="20" y="11"/>
                  <a:pt x="18" y="13"/>
                </a:cubicBezTo>
                <a:cubicBezTo>
                  <a:pt x="16" y="14"/>
                  <a:pt x="16" y="8"/>
                  <a:pt x="13" y="9"/>
                </a:cubicBezTo>
                <a:cubicBezTo>
                  <a:pt x="12" y="9"/>
                  <a:pt x="11" y="11"/>
                  <a:pt x="9" y="12"/>
                </a:cubicBezTo>
                <a:cubicBezTo>
                  <a:pt x="8" y="14"/>
                  <a:pt x="7" y="17"/>
                  <a:pt x="7" y="19"/>
                </a:cubicBezTo>
                <a:cubicBezTo>
                  <a:pt x="6" y="22"/>
                  <a:pt x="8" y="23"/>
                  <a:pt x="6" y="24"/>
                </a:cubicBezTo>
                <a:cubicBezTo>
                  <a:pt x="4" y="24"/>
                  <a:pt x="3" y="23"/>
                  <a:pt x="2" y="25"/>
                </a:cubicBezTo>
                <a:cubicBezTo>
                  <a:pt x="0" y="27"/>
                  <a:pt x="2" y="28"/>
                  <a:pt x="2" y="30"/>
                </a:cubicBezTo>
                <a:cubicBezTo>
                  <a:pt x="2" y="32"/>
                  <a:pt x="1" y="33"/>
                  <a:pt x="3" y="36"/>
                </a:cubicBezTo>
                <a:cubicBezTo>
                  <a:pt x="3" y="37"/>
                  <a:pt x="5" y="38"/>
                  <a:pt x="5" y="40"/>
                </a:cubicBezTo>
                <a:cubicBezTo>
                  <a:pt x="5" y="42"/>
                  <a:pt x="3" y="44"/>
                  <a:pt x="2" y="44"/>
                </a:cubicBezTo>
                <a:cubicBezTo>
                  <a:pt x="2" y="46"/>
                  <a:pt x="2" y="47"/>
                  <a:pt x="2" y="48"/>
                </a:cubicBezTo>
                <a:cubicBezTo>
                  <a:pt x="3" y="49"/>
                  <a:pt x="4" y="49"/>
                  <a:pt x="6" y="50"/>
                </a:cubicBezTo>
                <a:cubicBezTo>
                  <a:pt x="6" y="50"/>
                  <a:pt x="9" y="50"/>
                  <a:pt x="9" y="48"/>
                </a:cubicBezTo>
                <a:cubicBezTo>
                  <a:pt x="9" y="48"/>
                  <a:pt x="8" y="46"/>
                  <a:pt x="9" y="47"/>
                </a:cubicBezTo>
                <a:cubicBezTo>
                  <a:pt x="11" y="48"/>
                  <a:pt x="11" y="48"/>
                  <a:pt x="12" y="50"/>
                </a:cubicBezTo>
                <a:cubicBezTo>
                  <a:pt x="11" y="49"/>
                  <a:pt x="8" y="47"/>
                  <a:pt x="9" y="49"/>
                </a:cubicBezTo>
                <a:cubicBezTo>
                  <a:pt x="10" y="52"/>
                  <a:pt x="10" y="52"/>
                  <a:pt x="7" y="51"/>
                </a:cubicBezTo>
                <a:cubicBezTo>
                  <a:pt x="5" y="50"/>
                  <a:pt x="4" y="51"/>
                  <a:pt x="6" y="53"/>
                </a:cubicBezTo>
                <a:cubicBezTo>
                  <a:pt x="8" y="53"/>
                  <a:pt x="8" y="52"/>
                  <a:pt x="9" y="52"/>
                </a:cubicBezTo>
                <a:cubicBezTo>
                  <a:pt x="9" y="53"/>
                  <a:pt x="9" y="54"/>
                  <a:pt x="10" y="54"/>
                </a:cubicBezTo>
                <a:cubicBezTo>
                  <a:pt x="11" y="57"/>
                  <a:pt x="13" y="56"/>
                  <a:pt x="15" y="57"/>
                </a:cubicBezTo>
                <a:cubicBezTo>
                  <a:pt x="17" y="59"/>
                  <a:pt x="19" y="62"/>
                  <a:pt x="20" y="63"/>
                </a:cubicBezTo>
                <a:cubicBezTo>
                  <a:pt x="23" y="66"/>
                  <a:pt x="23" y="68"/>
                  <a:pt x="24" y="71"/>
                </a:cubicBezTo>
                <a:cubicBezTo>
                  <a:pt x="25" y="73"/>
                  <a:pt x="30" y="76"/>
                  <a:pt x="31" y="76"/>
                </a:cubicBezTo>
                <a:cubicBezTo>
                  <a:pt x="32" y="75"/>
                  <a:pt x="30" y="72"/>
                  <a:pt x="31" y="71"/>
                </a:cubicBezTo>
                <a:cubicBezTo>
                  <a:pt x="32" y="71"/>
                  <a:pt x="31" y="68"/>
                  <a:pt x="31" y="67"/>
                </a:cubicBezTo>
                <a:cubicBezTo>
                  <a:pt x="32" y="65"/>
                  <a:pt x="32" y="64"/>
                  <a:pt x="30" y="63"/>
                </a:cubicBezTo>
                <a:cubicBezTo>
                  <a:pt x="30" y="63"/>
                  <a:pt x="28" y="62"/>
                  <a:pt x="29" y="61"/>
                </a:cubicBezTo>
                <a:cubicBezTo>
                  <a:pt x="30" y="58"/>
                  <a:pt x="31" y="57"/>
                  <a:pt x="32" y="55"/>
                </a:cubicBezTo>
                <a:cubicBezTo>
                  <a:pt x="32" y="53"/>
                  <a:pt x="33" y="51"/>
                  <a:pt x="35" y="49"/>
                </a:cubicBezTo>
                <a:cubicBezTo>
                  <a:pt x="38" y="46"/>
                  <a:pt x="38" y="39"/>
                  <a:pt x="42" y="41"/>
                </a:cubicBezTo>
                <a:cubicBezTo>
                  <a:pt x="44" y="42"/>
                  <a:pt x="41" y="46"/>
                  <a:pt x="44" y="48"/>
                </a:cubicBezTo>
                <a:cubicBezTo>
                  <a:pt x="44" y="49"/>
                  <a:pt x="50" y="46"/>
                  <a:pt x="51" y="45"/>
                </a:cubicBezTo>
                <a:cubicBezTo>
                  <a:pt x="52" y="45"/>
                  <a:pt x="53" y="45"/>
                  <a:pt x="53" y="45"/>
                </a:cubicBezTo>
                <a:cubicBezTo>
                  <a:pt x="54" y="44"/>
                  <a:pt x="53" y="43"/>
                  <a:pt x="54" y="41"/>
                </a:cubicBezTo>
                <a:cubicBezTo>
                  <a:pt x="54" y="38"/>
                  <a:pt x="51" y="38"/>
                  <a:pt x="52" y="36"/>
                </a:cubicBezTo>
                <a:cubicBezTo>
                  <a:pt x="52" y="33"/>
                  <a:pt x="57" y="39"/>
                  <a:pt x="57" y="35"/>
                </a:cubicBezTo>
                <a:cubicBezTo>
                  <a:pt x="57" y="33"/>
                  <a:pt x="60" y="33"/>
                  <a:pt x="61" y="32"/>
                </a:cubicBezTo>
                <a:cubicBezTo>
                  <a:pt x="64" y="31"/>
                  <a:pt x="59" y="27"/>
                  <a:pt x="58" y="27"/>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138">
            <a:extLst>
              <a:ext uri="{FF2B5EF4-FFF2-40B4-BE49-F238E27FC236}">
                <a16:creationId xmlns:a16="http://schemas.microsoft.com/office/drawing/2014/main" id="{70A2076F-9FFD-420E-9191-9932034FE9FB}"/>
              </a:ext>
            </a:extLst>
          </p:cNvPr>
          <p:cNvSpPr>
            <a:spLocks/>
          </p:cNvSpPr>
          <p:nvPr/>
        </p:nvSpPr>
        <p:spPr bwMode="auto">
          <a:xfrm>
            <a:off x="3333928" y="5463737"/>
            <a:ext cx="161744" cy="383789"/>
          </a:xfrm>
          <a:custGeom>
            <a:avLst/>
            <a:gdLst>
              <a:gd name="T0" fmla="*/ 55 w 58"/>
              <a:gd name="T1" fmla="*/ 82 h 136"/>
              <a:gd name="T2" fmla="*/ 46 w 58"/>
              <a:gd name="T3" fmla="*/ 76 h 136"/>
              <a:gd name="T4" fmla="*/ 41 w 58"/>
              <a:gd name="T5" fmla="*/ 66 h 136"/>
              <a:gd name="T6" fmla="*/ 40 w 58"/>
              <a:gd name="T7" fmla="*/ 55 h 136"/>
              <a:gd name="T8" fmla="*/ 40 w 58"/>
              <a:gd name="T9" fmla="*/ 46 h 136"/>
              <a:gd name="T10" fmla="*/ 40 w 58"/>
              <a:gd name="T11" fmla="*/ 35 h 136"/>
              <a:gd name="T12" fmla="*/ 38 w 58"/>
              <a:gd name="T13" fmla="*/ 20 h 136"/>
              <a:gd name="T14" fmla="*/ 28 w 58"/>
              <a:gd name="T15" fmla="*/ 13 h 136"/>
              <a:gd name="T16" fmla="*/ 14 w 58"/>
              <a:gd name="T17" fmla="*/ 6 h 136"/>
              <a:gd name="T18" fmla="*/ 8 w 58"/>
              <a:gd name="T19" fmla="*/ 5 h 136"/>
              <a:gd name="T20" fmla="*/ 3 w 58"/>
              <a:gd name="T21" fmla="*/ 15 h 136"/>
              <a:gd name="T22" fmla="*/ 3 w 58"/>
              <a:gd name="T23" fmla="*/ 26 h 136"/>
              <a:gd name="T24" fmla="*/ 2 w 58"/>
              <a:gd name="T25" fmla="*/ 36 h 136"/>
              <a:gd name="T26" fmla="*/ 9 w 58"/>
              <a:gd name="T27" fmla="*/ 43 h 136"/>
              <a:gd name="T28" fmla="*/ 8 w 58"/>
              <a:gd name="T29" fmla="*/ 48 h 136"/>
              <a:gd name="T30" fmla="*/ 7 w 58"/>
              <a:gd name="T31" fmla="*/ 53 h 136"/>
              <a:gd name="T32" fmla="*/ 5 w 58"/>
              <a:gd name="T33" fmla="*/ 60 h 136"/>
              <a:gd name="T34" fmla="*/ 6 w 58"/>
              <a:gd name="T35" fmla="*/ 67 h 136"/>
              <a:gd name="T36" fmla="*/ 8 w 58"/>
              <a:gd name="T37" fmla="*/ 74 h 136"/>
              <a:gd name="T38" fmla="*/ 6 w 58"/>
              <a:gd name="T39" fmla="*/ 77 h 136"/>
              <a:gd name="T40" fmla="*/ 4 w 58"/>
              <a:gd name="T41" fmla="*/ 86 h 136"/>
              <a:gd name="T42" fmla="*/ 7 w 58"/>
              <a:gd name="T43" fmla="*/ 95 h 136"/>
              <a:gd name="T44" fmla="*/ 8 w 58"/>
              <a:gd name="T45" fmla="*/ 101 h 136"/>
              <a:gd name="T46" fmla="*/ 3 w 58"/>
              <a:gd name="T47" fmla="*/ 100 h 136"/>
              <a:gd name="T48" fmla="*/ 8 w 58"/>
              <a:gd name="T49" fmla="*/ 109 h 136"/>
              <a:gd name="T50" fmla="*/ 20 w 58"/>
              <a:gd name="T51" fmla="*/ 118 h 136"/>
              <a:gd name="T52" fmla="*/ 26 w 58"/>
              <a:gd name="T53" fmla="*/ 128 h 136"/>
              <a:gd name="T54" fmla="*/ 30 w 58"/>
              <a:gd name="T55" fmla="*/ 135 h 136"/>
              <a:gd name="T56" fmla="*/ 35 w 58"/>
              <a:gd name="T57" fmla="*/ 130 h 136"/>
              <a:gd name="T58" fmla="*/ 36 w 58"/>
              <a:gd name="T59" fmla="*/ 120 h 136"/>
              <a:gd name="T60" fmla="*/ 39 w 58"/>
              <a:gd name="T61" fmla="*/ 117 h 136"/>
              <a:gd name="T62" fmla="*/ 47 w 58"/>
              <a:gd name="T63" fmla="*/ 112 h 136"/>
              <a:gd name="T64" fmla="*/ 48 w 58"/>
              <a:gd name="T65" fmla="*/ 106 h 136"/>
              <a:gd name="T66" fmla="*/ 54 w 58"/>
              <a:gd name="T67"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 h="136">
                <a:moveTo>
                  <a:pt x="57" y="88"/>
                </a:moveTo>
                <a:cubicBezTo>
                  <a:pt x="56" y="86"/>
                  <a:pt x="54" y="87"/>
                  <a:pt x="55" y="82"/>
                </a:cubicBezTo>
                <a:cubicBezTo>
                  <a:pt x="55" y="80"/>
                  <a:pt x="55" y="79"/>
                  <a:pt x="53" y="78"/>
                </a:cubicBezTo>
                <a:cubicBezTo>
                  <a:pt x="50" y="76"/>
                  <a:pt x="48" y="82"/>
                  <a:pt x="46" y="76"/>
                </a:cubicBezTo>
                <a:cubicBezTo>
                  <a:pt x="46" y="73"/>
                  <a:pt x="46" y="71"/>
                  <a:pt x="43" y="70"/>
                </a:cubicBezTo>
                <a:cubicBezTo>
                  <a:pt x="42" y="69"/>
                  <a:pt x="42" y="67"/>
                  <a:pt x="41" y="66"/>
                </a:cubicBezTo>
                <a:cubicBezTo>
                  <a:pt x="40" y="64"/>
                  <a:pt x="39" y="60"/>
                  <a:pt x="40" y="58"/>
                </a:cubicBezTo>
                <a:cubicBezTo>
                  <a:pt x="41" y="57"/>
                  <a:pt x="41" y="56"/>
                  <a:pt x="40" y="55"/>
                </a:cubicBezTo>
                <a:cubicBezTo>
                  <a:pt x="39" y="54"/>
                  <a:pt x="36" y="51"/>
                  <a:pt x="38" y="50"/>
                </a:cubicBezTo>
                <a:cubicBezTo>
                  <a:pt x="39" y="49"/>
                  <a:pt x="41" y="49"/>
                  <a:pt x="40" y="46"/>
                </a:cubicBezTo>
                <a:cubicBezTo>
                  <a:pt x="39" y="45"/>
                  <a:pt x="38" y="41"/>
                  <a:pt x="39" y="39"/>
                </a:cubicBezTo>
                <a:cubicBezTo>
                  <a:pt x="41" y="38"/>
                  <a:pt x="40" y="37"/>
                  <a:pt x="40" y="35"/>
                </a:cubicBezTo>
                <a:cubicBezTo>
                  <a:pt x="42" y="32"/>
                  <a:pt x="42" y="30"/>
                  <a:pt x="40" y="27"/>
                </a:cubicBezTo>
                <a:cubicBezTo>
                  <a:pt x="39" y="25"/>
                  <a:pt x="39" y="22"/>
                  <a:pt x="38" y="20"/>
                </a:cubicBezTo>
                <a:cubicBezTo>
                  <a:pt x="37" y="17"/>
                  <a:pt x="34" y="16"/>
                  <a:pt x="32" y="15"/>
                </a:cubicBezTo>
                <a:cubicBezTo>
                  <a:pt x="30" y="15"/>
                  <a:pt x="29" y="14"/>
                  <a:pt x="28" y="13"/>
                </a:cubicBezTo>
                <a:cubicBezTo>
                  <a:pt x="27" y="10"/>
                  <a:pt x="26" y="3"/>
                  <a:pt x="22" y="5"/>
                </a:cubicBezTo>
                <a:cubicBezTo>
                  <a:pt x="19" y="6"/>
                  <a:pt x="15" y="10"/>
                  <a:pt x="14" y="6"/>
                </a:cubicBezTo>
                <a:cubicBezTo>
                  <a:pt x="13" y="5"/>
                  <a:pt x="15" y="1"/>
                  <a:pt x="12" y="0"/>
                </a:cubicBezTo>
                <a:cubicBezTo>
                  <a:pt x="10" y="0"/>
                  <a:pt x="9" y="4"/>
                  <a:pt x="8" y="5"/>
                </a:cubicBezTo>
                <a:cubicBezTo>
                  <a:pt x="8" y="6"/>
                  <a:pt x="7" y="8"/>
                  <a:pt x="6" y="9"/>
                </a:cubicBezTo>
                <a:cubicBezTo>
                  <a:pt x="4" y="11"/>
                  <a:pt x="3" y="13"/>
                  <a:pt x="3" y="15"/>
                </a:cubicBezTo>
                <a:cubicBezTo>
                  <a:pt x="2" y="16"/>
                  <a:pt x="0" y="19"/>
                  <a:pt x="0" y="21"/>
                </a:cubicBezTo>
                <a:cubicBezTo>
                  <a:pt x="0" y="24"/>
                  <a:pt x="3" y="23"/>
                  <a:pt x="3" y="26"/>
                </a:cubicBezTo>
                <a:cubicBezTo>
                  <a:pt x="3" y="28"/>
                  <a:pt x="3" y="30"/>
                  <a:pt x="2" y="31"/>
                </a:cubicBezTo>
                <a:cubicBezTo>
                  <a:pt x="1" y="33"/>
                  <a:pt x="3" y="35"/>
                  <a:pt x="2" y="36"/>
                </a:cubicBezTo>
                <a:cubicBezTo>
                  <a:pt x="4" y="35"/>
                  <a:pt x="8" y="36"/>
                  <a:pt x="9" y="38"/>
                </a:cubicBezTo>
                <a:cubicBezTo>
                  <a:pt x="10" y="39"/>
                  <a:pt x="9" y="42"/>
                  <a:pt x="9" y="43"/>
                </a:cubicBezTo>
                <a:cubicBezTo>
                  <a:pt x="9" y="45"/>
                  <a:pt x="10" y="46"/>
                  <a:pt x="10" y="47"/>
                </a:cubicBezTo>
                <a:cubicBezTo>
                  <a:pt x="10" y="47"/>
                  <a:pt x="9" y="48"/>
                  <a:pt x="8" y="48"/>
                </a:cubicBezTo>
                <a:cubicBezTo>
                  <a:pt x="7" y="49"/>
                  <a:pt x="6" y="49"/>
                  <a:pt x="5" y="48"/>
                </a:cubicBezTo>
                <a:cubicBezTo>
                  <a:pt x="5" y="51"/>
                  <a:pt x="8" y="50"/>
                  <a:pt x="7" y="53"/>
                </a:cubicBezTo>
                <a:cubicBezTo>
                  <a:pt x="7" y="54"/>
                  <a:pt x="5" y="57"/>
                  <a:pt x="4" y="56"/>
                </a:cubicBezTo>
                <a:cubicBezTo>
                  <a:pt x="4" y="57"/>
                  <a:pt x="4" y="59"/>
                  <a:pt x="5" y="60"/>
                </a:cubicBezTo>
                <a:cubicBezTo>
                  <a:pt x="5" y="61"/>
                  <a:pt x="6" y="60"/>
                  <a:pt x="6" y="61"/>
                </a:cubicBezTo>
                <a:cubicBezTo>
                  <a:pt x="8" y="62"/>
                  <a:pt x="7" y="65"/>
                  <a:pt x="6" y="67"/>
                </a:cubicBezTo>
                <a:cubicBezTo>
                  <a:pt x="5" y="71"/>
                  <a:pt x="7" y="74"/>
                  <a:pt x="7" y="78"/>
                </a:cubicBezTo>
                <a:cubicBezTo>
                  <a:pt x="7" y="77"/>
                  <a:pt x="8" y="76"/>
                  <a:pt x="8" y="74"/>
                </a:cubicBezTo>
                <a:cubicBezTo>
                  <a:pt x="8" y="76"/>
                  <a:pt x="10" y="80"/>
                  <a:pt x="7" y="80"/>
                </a:cubicBezTo>
                <a:cubicBezTo>
                  <a:pt x="6" y="80"/>
                  <a:pt x="5" y="78"/>
                  <a:pt x="6" y="77"/>
                </a:cubicBezTo>
                <a:cubicBezTo>
                  <a:pt x="4" y="78"/>
                  <a:pt x="5" y="79"/>
                  <a:pt x="5" y="81"/>
                </a:cubicBezTo>
                <a:cubicBezTo>
                  <a:pt x="5" y="83"/>
                  <a:pt x="4" y="85"/>
                  <a:pt x="4" y="86"/>
                </a:cubicBezTo>
                <a:cubicBezTo>
                  <a:pt x="4" y="90"/>
                  <a:pt x="1" y="91"/>
                  <a:pt x="5" y="95"/>
                </a:cubicBezTo>
                <a:cubicBezTo>
                  <a:pt x="5" y="92"/>
                  <a:pt x="7" y="94"/>
                  <a:pt x="7" y="95"/>
                </a:cubicBezTo>
                <a:cubicBezTo>
                  <a:pt x="8" y="98"/>
                  <a:pt x="6" y="97"/>
                  <a:pt x="5" y="95"/>
                </a:cubicBezTo>
                <a:cubicBezTo>
                  <a:pt x="5" y="98"/>
                  <a:pt x="8" y="98"/>
                  <a:pt x="8" y="101"/>
                </a:cubicBezTo>
                <a:cubicBezTo>
                  <a:pt x="8" y="103"/>
                  <a:pt x="8" y="106"/>
                  <a:pt x="6" y="104"/>
                </a:cubicBezTo>
                <a:cubicBezTo>
                  <a:pt x="6" y="103"/>
                  <a:pt x="4" y="99"/>
                  <a:pt x="3" y="100"/>
                </a:cubicBezTo>
                <a:cubicBezTo>
                  <a:pt x="2" y="100"/>
                  <a:pt x="3" y="103"/>
                  <a:pt x="4" y="103"/>
                </a:cubicBezTo>
                <a:cubicBezTo>
                  <a:pt x="5" y="106"/>
                  <a:pt x="7" y="108"/>
                  <a:pt x="8" y="109"/>
                </a:cubicBezTo>
                <a:cubicBezTo>
                  <a:pt x="10" y="111"/>
                  <a:pt x="12" y="112"/>
                  <a:pt x="14" y="113"/>
                </a:cubicBezTo>
                <a:cubicBezTo>
                  <a:pt x="15" y="114"/>
                  <a:pt x="18" y="116"/>
                  <a:pt x="20" y="118"/>
                </a:cubicBezTo>
                <a:cubicBezTo>
                  <a:pt x="23" y="120"/>
                  <a:pt x="24" y="122"/>
                  <a:pt x="23" y="124"/>
                </a:cubicBezTo>
                <a:cubicBezTo>
                  <a:pt x="25" y="124"/>
                  <a:pt x="26" y="125"/>
                  <a:pt x="26" y="128"/>
                </a:cubicBezTo>
                <a:cubicBezTo>
                  <a:pt x="26" y="129"/>
                  <a:pt x="25" y="133"/>
                  <a:pt x="25" y="133"/>
                </a:cubicBezTo>
                <a:cubicBezTo>
                  <a:pt x="26" y="133"/>
                  <a:pt x="30" y="134"/>
                  <a:pt x="30" y="135"/>
                </a:cubicBezTo>
                <a:cubicBezTo>
                  <a:pt x="32" y="136"/>
                  <a:pt x="33" y="135"/>
                  <a:pt x="34" y="133"/>
                </a:cubicBezTo>
                <a:cubicBezTo>
                  <a:pt x="36" y="131"/>
                  <a:pt x="36" y="132"/>
                  <a:pt x="35" y="130"/>
                </a:cubicBezTo>
                <a:cubicBezTo>
                  <a:pt x="35" y="128"/>
                  <a:pt x="36" y="128"/>
                  <a:pt x="37" y="129"/>
                </a:cubicBezTo>
                <a:cubicBezTo>
                  <a:pt x="41" y="130"/>
                  <a:pt x="35" y="120"/>
                  <a:pt x="36" y="120"/>
                </a:cubicBezTo>
                <a:cubicBezTo>
                  <a:pt x="36" y="119"/>
                  <a:pt x="37" y="120"/>
                  <a:pt x="37" y="120"/>
                </a:cubicBezTo>
                <a:cubicBezTo>
                  <a:pt x="38" y="119"/>
                  <a:pt x="38" y="118"/>
                  <a:pt x="39" y="117"/>
                </a:cubicBezTo>
                <a:cubicBezTo>
                  <a:pt x="40" y="115"/>
                  <a:pt x="42" y="117"/>
                  <a:pt x="44" y="116"/>
                </a:cubicBezTo>
                <a:cubicBezTo>
                  <a:pt x="46" y="116"/>
                  <a:pt x="47" y="113"/>
                  <a:pt x="47" y="112"/>
                </a:cubicBezTo>
                <a:cubicBezTo>
                  <a:pt x="47" y="111"/>
                  <a:pt x="48" y="110"/>
                  <a:pt x="48" y="108"/>
                </a:cubicBezTo>
                <a:cubicBezTo>
                  <a:pt x="48" y="108"/>
                  <a:pt x="48" y="107"/>
                  <a:pt x="48" y="106"/>
                </a:cubicBezTo>
                <a:cubicBezTo>
                  <a:pt x="49" y="105"/>
                  <a:pt x="50" y="103"/>
                  <a:pt x="50" y="101"/>
                </a:cubicBezTo>
                <a:cubicBezTo>
                  <a:pt x="51" y="99"/>
                  <a:pt x="50" y="98"/>
                  <a:pt x="54" y="98"/>
                </a:cubicBezTo>
                <a:cubicBezTo>
                  <a:pt x="57" y="99"/>
                  <a:pt x="58" y="91"/>
                  <a:pt x="57" y="88"/>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139">
            <a:extLst>
              <a:ext uri="{FF2B5EF4-FFF2-40B4-BE49-F238E27FC236}">
                <a16:creationId xmlns:a16="http://schemas.microsoft.com/office/drawing/2014/main" id="{B280327E-BF09-445C-825B-1CDEEA05757D}"/>
              </a:ext>
            </a:extLst>
          </p:cNvPr>
          <p:cNvSpPr>
            <a:spLocks/>
          </p:cNvSpPr>
          <p:nvPr/>
        </p:nvSpPr>
        <p:spPr bwMode="auto">
          <a:xfrm>
            <a:off x="3437821" y="5500686"/>
            <a:ext cx="229038" cy="194279"/>
          </a:xfrm>
          <a:custGeom>
            <a:avLst/>
            <a:gdLst>
              <a:gd name="T0" fmla="*/ 80 w 82"/>
              <a:gd name="T1" fmla="*/ 27 h 69"/>
              <a:gd name="T2" fmla="*/ 77 w 82"/>
              <a:gd name="T3" fmla="*/ 21 h 69"/>
              <a:gd name="T4" fmla="*/ 73 w 82"/>
              <a:gd name="T5" fmla="*/ 14 h 69"/>
              <a:gd name="T6" fmla="*/ 67 w 82"/>
              <a:gd name="T7" fmla="*/ 11 h 69"/>
              <a:gd name="T8" fmla="*/ 59 w 82"/>
              <a:gd name="T9" fmla="*/ 3 h 69"/>
              <a:gd name="T10" fmla="*/ 56 w 82"/>
              <a:gd name="T11" fmla="*/ 0 h 69"/>
              <a:gd name="T12" fmla="*/ 51 w 82"/>
              <a:gd name="T13" fmla="*/ 2 h 69"/>
              <a:gd name="T14" fmla="*/ 50 w 82"/>
              <a:gd name="T15" fmla="*/ 2 h 69"/>
              <a:gd name="T16" fmla="*/ 46 w 82"/>
              <a:gd name="T17" fmla="*/ 1 h 69"/>
              <a:gd name="T18" fmla="*/ 41 w 82"/>
              <a:gd name="T19" fmla="*/ 4 h 69"/>
              <a:gd name="T20" fmla="*/ 38 w 82"/>
              <a:gd name="T21" fmla="*/ 5 h 69"/>
              <a:gd name="T22" fmla="*/ 33 w 82"/>
              <a:gd name="T23" fmla="*/ 5 h 69"/>
              <a:gd name="T24" fmla="*/ 30 w 82"/>
              <a:gd name="T25" fmla="*/ 6 h 69"/>
              <a:gd name="T26" fmla="*/ 26 w 82"/>
              <a:gd name="T27" fmla="*/ 12 h 69"/>
              <a:gd name="T28" fmla="*/ 22 w 82"/>
              <a:gd name="T29" fmla="*/ 9 h 69"/>
              <a:gd name="T30" fmla="*/ 17 w 82"/>
              <a:gd name="T31" fmla="*/ 9 h 69"/>
              <a:gd name="T32" fmla="*/ 9 w 82"/>
              <a:gd name="T33" fmla="*/ 16 h 69"/>
              <a:gd name="T34" fmla="*/ 9 w 82"/>
              <a:gd name="T35" fmla="*/ 21 h 69"/>
              <a:gd name="T36" fmla="*/ 6 w 82"/>
              <a:gd name="T37" fmla="*/ 23 h 69"/>
              <a:gd name="T38" fmla="*/ 3 w 82"/>
              <a:gd name="T39" fmla="*/ 23 h 69"/>
              <a:gd name="T40" fmla="*/ 3 w 82"/>
              <a:gd name="T41" fmla="*/ 26 h 69"/>
              <a:gd name="T42" fmla="*/ 2 w 82"/>
              <a:gd name="T43" fmla="*/ 27 h 69"/>
              <a:gd name="T44" fmla="*/ 3 w 82"/>
              <a:gd name="T45" fmla="*/ 34 h 69"/>
              <a:gd name="T46" fmla="*/ 0 w 82"/>
              <a:gd name="T47" fmla="*/ 37 h 69"/>
              <a:gd name="T48" fmla="*/ 4 w 82"/>
              <a:gd name="T49" fmla="*/ 44 h 69"/>
              <a:gd name="T50" fmla="*/ 3 w 82"/>
              <a:gd name="T51" fmla="*/ 50 h 69"/>
              <a:gd name="T52" fmla="*/ 5 w 82"/>
              <a:gd name="T53" fmla="*/ 57 h 69"/>
              <a:gd name="T54" fmla="*/ 8 w 82"/>
              <a:gd name="T55" fmla="*/ 59 h 69"/>
              <a:gd name="T56" fmla="*/ 11 w 82"/>
              <a:gd name="T57" fmla="*/ 66 h 69"/>
              <a:gd name="T58" fmla="*/ 15 w 82"/>
              <a:gd name="T59" fmla="*/ 65 h 69"/>
              <a:gd name="T60" fmla="*/ 18 w 82"/>
              <a:gd name="T61" fmla="*/ 67 h 69"/>
              <a:gd name="T62" fmla="*/ 24 w 82"/>
              <a:gd name="T63" fmla="*/ 68 h 69"/>
              <a:gd name="T64" fmla="*/ 28 w 82"/>
              <a:gd name="T65" fmla="*/ 68 h 69"/>
              <a:gd name="T66" fmla="*/ 31 w 82"/>
              <a:gd name="T67" fmla="*/ 66 h 69"/>
              <a:gd name="T68" fmla="*/ 37 w 82"/>
              <a:gd name="T69" fmla="*/ 67 h 69"/>
              <a:gd name="T70" fmla="*/ 42 w 82"/>
              <a:gd name="T71" fmla="*/ 65 h 69"/>
              <a:gd name="T72" fmla="*/ 45 w 82"/>
              <a:gd name="T73" fmla="*/ 62 h 69"/>
              <a:gd name="T74" fmla="*/ 51 w 82"/>
              <a:gd name="T75" fmla="*/ 55 h 69"/>
              <a:gd name="T76" fmla="*/ 52 w 82"/>
              <a:gd name="T77" fmla="*/ 55 h 69"/>
              <a:gd name="T78" fmla="*/ 55 w 82"/>
              <a:gd name="T79" fmla="*/ 55 h 69"/>
              <a:gd name="T80" fmla="*/ 61 w 82"/>
              <a:gd name="T81" fmla="*/ 55 h 69"/>
              <a:gd name="T82" fmla="*/ 66 w 82"/>
              <a:gd name="T83" fmla="*/ 56 h 69"/>
              <a:gd name="T84" fmla="*/ 69 w 82"/>
              <a:gd name="T85" fmla="*/ 55 h 69"/>
              <a:gd name="T86" fmla="*/ 70 w 82"/>
              <a:gd name="T87" fmla="*/ 53 h 69"/>
              <a:gd name="T88" fmla="*/ 73 w 82"/>
              <a:gd name="T89" fmla="*/ 54 h 69"/>
              <a:gd name="T90" fmla="*/ 74 w 82"/>
              <a:gd name="T91" fmla="*/ 49 h 69"/>
              <a:gd name="T92" fmla="*/ 77 w 82"/>
              <a:gd name="T93" fmla="*/ 46 h 69"/>
              <a:gd name="T94" fmla="*/ 79 w 82"/>
              <a:gd name="T95" fmla="*/ 46 h 69"/>
              <a:gd name="T96" fmla="*/ 79 w 82"/>
              <a:gd name="T97" fmla="*/ 34 h 69"/>
              <a:gd name="T98" fmla="*/ 80 w 82"/>
              <a:gd name="T99"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69">
                <a:moveTo>
                  <a:pt x="80" y="27"/>
                </a:moveTo>
                <a:cubicBezTo>
                  <a:pt x="79" y="25"/>
                  <a:pt x="78" y="24"/>
                  <a:pt x="77" y="21"/>
                </a:cubicBezTo>
                <a:cubicBezTo>
                  <a:pt x="76" y="18"/>
                  <a:pt x="76" y="15"/>
                  <a:pt x="73" y="14"/>
                </a:cubicBezTo>
                <a:cubicBezTo>
                  <a:pt x="70" y="14"/>
                  <a:pt x="69" y="13"/>
                  <a:pt x="67" y="11"/>
                </a:cubicBezTo>
                <a:cubicBezTo>
                  <a:pt x="65" y="10"/>
                  <a:pt x="63" y="6"/>
                  <a:pt x="59" y="3"/>
                </a:cubicBezTo>
                <a:cubicBezTo>
                  <a:pt x="58" y="2"/>
                  <a:pt x="56" y="2"/>
                  <a:pt x="56" y="0"/>
                </a:cubicBezTo>
                <a:cubicBezTo>
                  <a:pt x="55" y="1"/>
                  <a:pt x="53" y="2"/>
                  <a:pt x="51" y="2"/>
                </a:cubicBezTo>
                <a:cubicBezTo>
                  <a:pt x="50" y="2"/>
                  <a:pt x="50" y="2"/>
                  <a:pt x="50" y="2"/>
                </a:cubicBezTo>
                <a:cubicBezTo>
                  <a:pt x="49" y="3"/>
                  <a:pt x="47" y="2"/>
                  <a:pt x="46" y="1"/>
                </a:cubicBezTo>
                <a:cubicBezTo>
                  <a:pt x="45" y="1"/>
                  <a:pt x="42" y="3"/>
                  <a:pt x="41" y="4"/>
                </a:cubicBezTo>
                <a:cubicBezTo>
                  <a:pt x="40" y="4"/>
                  <a:pt x="39" y="5"/>
                  <a:pt x="38" y="5"/>
                </a:cubicBezTo>
                <a:cubicBezTo>
                  <a:pt x="36" y="6"/>
                  <a:pt x="35" y="5"/>
                  <a:pt x="33" y="5"/>
                </a:cubicBezTo>
                <a:cubicBezTo>
                  <a:pt x="32" y="5"/>
                  <a:pt x="29" y="5"/>
                  <a:pt x="30" y="6"/>
                </a:cubicBezTo>
                <a:cubicBezTo>
                  <a:pt x="25" y="6"/>
                  <a:pt x="28" y="12"/>
                  <a:pt x="26" y="12"/>
                </a:cubicBezTo>
                <a:cubicBezTo>
                  <a:pt x="24" y="14"/>
                  <a:pt x="23" y="9"/>
                  <a:pt x="22" y="9"/>
                </a:cubicBezTo>
                <a:cubicBezTo>
                  <a:pt x="20" y="7"/>
                  <a:pt x="19" y="8"/>
                  <a:pt x="17" y="9"/>
                </a:cubicBezTo>
                <a:cubicBezTo>
                  <a:pt x="14" y="12"/>
                  <a:pt x="10" y="11"/>
                  <a:pt x="9" y="16"/>
                </a:cubicBezTo>
                <a:cubicBezTo>
                  <a:pt x="9" y="18"/>
                  <a:pt x="10" y="19"/>
                  <a:pt x="9" y="21"/>
                </a:cubicBezTo>
                <a:cubicBezTo>
                  <a:pt x="8" y="24"/>
                  <a:pt x="7" y="22"/>
                  <a:pt x="6" y="23"/>
                </a:cubicBezTo>
                <a:cubicBezTo>
                  <a:pt x="5" y="23"/>
                  <a:pt x="4" y="22"/>
                  <a:pt x="3" y="23"/>
                </a:cubicBezTo>
                <a:cubicBezTo>
                  <a:pt x="2" y="23"/>
                  <a:pt x="3" y="25"/>
                  <a:pt x="3" y="26"/>
                </a:cubicBezTo>
                <a:cubicBezTo>
                  <a:pt x="3" y="26"/>
                  <a:pt x="2" y="26"/>
                  <a:pt x="2" y="27"/>
                </a:cubicBezTo>
                <a:cubicBezTo>
                  <a:pt x="2" y="29"/>
                  <a:pt x="2" y="31"/>
                  <a:pt x="3" y="34"/>
                </a:cubicBezTo>
                <a:cubicBezTo>
                  <a:pt x="4" y="37"/>
                  <a:pt x="1" y="35"/>
                  <a:pt x="0" y="37"/>
                </a:cubicBezTo>
                <a:cubicBezTo>
                  <a:pt x="0" y="40"/>
                  <a:pt x="4" y="41"/>
                  <a:pt x="4" y="44"/>
                </a:cubicBezTo>
                <a:cubicBezTo>
                  <a:pt x="3" y="47"/>
                  <a:pt x="2" y="47"/>
                  <a:pt x="3" y="50"/>
                </a:cubicBezTo>
                <a:cubicBezTo>
                  <a:pt x="3" y="52"/>
                  <a:pt x="5" y="54"/>
                  <a:pt x="5" y="57"/>
                </a:cubicBezTo>
                <a:cubicBezTo>
                  <a:pt x="6" y="58"/>
                  <a:pt x="8" y="57"/>
                  <a:pt x="8" y="59"/>
                </a:cubicBezTo>
                <a:cubicBezTo>
                  <a:pt x="9" y="61"/>
                  <a:pt x="9" y="65"/>
                  <a:pt x="11" y="66"/>
                </a:cubicBezTo>
                <a:cubicBezTo>
                  <a:pt x="13" y="66"/>
                  <a:pt x="13" y="64"/>
                  <a:pt x="15" y="65"/>
                </a:cubicBezTo>
                <a:cubicBezTo>
                  <a:pt x="16" y="65"/>
                  <a:pt x="19" y="66"/>
                  <a:pt x="18" y="67"/>
                </a:cubicBezTo>
                <a:cubicBezTo>
                  <a:pt x="18" y="69"/>
                  <a:pt x="23" y="68"/>
                  <a:pt x="24" y="68"/>
                </a:cubicBezTo>
                <a:cubicBezTo>
                  <a:pt x="25" y="67"/>
                  <a:pt x="26" y="67"/>
                  <a:pt x="28" y="68"/>
                </a:cubicBezTo>
                <a:cubicBezTo>
                  <a:pt x="29" y="68"/>
                  <a:pt x="30" y="67"/>
                  <a:pt x="31" y="66"/>
                </a:cubicBezTo>
                <a:cubicBezTo>
                  <a:pt x="33" y="64"/>
                  <a:pt x="35" y="66"/>
                  <a:pt x="37" y="67"/>
                </a:cubicBezTo>
                <a:cubicBezTo>
                  <a:pt x="39" y="68"/>
                  <a:pt x="40" y="65"/>
                  <a:pt x="42" y="65"/>
                </a:cubicBezTo>
                <a:cubicBezTo>
                  <a:pt x="45" y="65"/>
                  <a:pt x="43" y="62"/>
                  <a:pt x="45" y="62"/>
                </a:cubicBezTo>
                <a:cubicBezTo>
                  <a:pt x="47" y="60"/>
                  <a:pt x="48" y="55"/>
                  <a:pt x="51" y="55"/>
                </a:cubicBezTo>
                <a:cubicBezTo>
                  <a:pt x="51" y="55"/>
                  <a:pt x="52" y="55"/>
                  <a:pt x="52" y="55"/>
                </a:cubicBezTo>
                <a:cubicBezTo>
                  <a:pt x="53" y="55"/>
                  <a:pt x="54" y="55"/>
                  <a:pt x="55" y="55"/>
                </a:cubicBezTo>
                <a:cubicBezTo>
                  <a:pt x="57" y="54"/>
                  <a:pt x="58" y="54"/>
                  <a:pt x="61" y="55"/>
                </a:cubicBezTo>
                <a:cubicBezTo>
                  <a:pt x="62" y="55"/>
                  <a:pt x="65" y="56"/>
                  <a:pt x="66" y="56"/>
                </a:cubicBezTo>
                <a:cubicBezTo>
                  <a:pt x="67" y="56"/>
                  <a:pt x="69" y="56"/>
                  <a:pt x="69" y="55"/>
                </a:cubicBezTo>
                <a:cubicBezTo>
                  <a:pt x="70" y="55"/>
                  <a:pt x="70" y="53"/>
                  <a:pt x="70" y="53"/>
                </a:cubicBezTo>
                <a:cubicBezTo>
                  <a:pt x="72" y="53"/>
                  <a:pt x="72" y="56"/>
                  <a:pt x="73" y="54"/>
                </a:cubicBezTo>
                <a:cubicBezTo>
                  <a:pt x="75" y="53"/>
                  <a:pt x="74" y="51"/>
                  <a:pt x="74" y="49"/>
                </a:cubicBezTo>
                <a:cubicBezTo>
                  <a:pt x="73" y="47"/>
                  <a:pt x="74" y="46"/>
                  <a:pt x="77" y="46"/>
                </a:cubicBezTo>
                <a:cubicBezTo>
                  <a:pt x="79" y="46"/>
                  <a:pt x="79" y="46"/>
                  <a:pt x="79" y="46"/>
                </a:cubicBezTo>
                <a:cubicBezTo>
                  <a:pt x="81" y="41"/>
                  <a:pt x="80" y="37"/>
                  <a:pt x="79" y="34"/>
                </a:cubicBezTo>
                <a:cubicBezTo>
                  <a:pt x="79" y="32"/>
                  <a:pt x="82" y="31"/>
                  <a:pt x="80" y="27"/>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140">
            <a:extLst>
              <a:ext uri="{FF2B5EF4-FFF2-40B4-BE49-F238E27FC236}">
                <a16:creationId xmlns:a16="http://schemas.microsoft.com/office/drawing/2014/main" id="{27E00ECB-3F4D-444C-895C-6B6A92B8D981}"/>
              </a:ext>
            </a:extLst>
          </p:cNvPr>
          <p:cNvSpPr>
            <a:spLocks/>
          </p:cNvSpPr>
          <p:nvPr/>
        </p:nvSpPr>
        <p:spPr bwMode="auto">
          <a:xfrm>
            <a:off x="3278439" y="5017969"/>
            <a:ext cx="376615" cy="549463"/>
          </a:xfrm>
          <a:custGeom>
            <a:avLst/>
            <a:gdLst>
              <a:gd name="T0" fmla="*/ 129 w 135"/>
              <a:gd name="T1" fmla="*/ 130 h 195"/>
              <a:gd name="T2" fmla="*/ 118 w 135"/>
              <a:gd name="T3" fmla="*/ 118 h 195"/>
              <a:gd name="T4" fmla="*/ 113 w 135"/>
              <a:gd name="T5" fmla="*/ 104 h 195"/>
              <a:gd name="T6" fmla="*/ 120 w 135"/>
              <a:gd name="T7" fmla="*/ 95 h 195"/>
              <a:gd name="T8" fmla="*/ 119 w 135"/>
              <a:gd name="T9" fmla="*/ 85 h 195"/>
              <a:gd name="T10" fmla="*/ 114 w 135"/>
              <a:gd name="T11" fmla="*/ 77 h 195"/>
              <a:gd name="T12" fmla="*/ 120 w 135"/>
              <a:gd name="T13" fmla="*/ 74 h 195"/>
              <a:gd name="T14" fmla="*/ 118 w 135"/>
              <a:gd name="T15" fmla="*/ 70 h 195"/>
              <a:gd name="T16" fmla="*/ 108 w 135"/>
              <a:gd name="T17" fmla="*/ 70 h 195"/>
              <a:gd name="T18" fmla="*/ 89 w 135"/>
              <a:gd name="T19" fmla="*/ 68 h 195"/>
              <a:gd name="T20" fmla="*/ 80 w 135"/>
              <a:gd name="T21" fmla="*/ 63 h 195"/>
              <a:gd name="T22" fmla="*/ 79 w 135"/>
              <a:gd name="T23" fmla="*/ 53 h 195"/>
              <a:gd name="T24" fmla="*/ 82 w 135"/>
              <a:gd name="T25" fmla="*/ 50 h 195"/>
              <a:gd name="T26" fmla="*/ 73 w 135"/>
              <a:gd name="T27" fmla="*/ 41 h 195"/>
              <a:gd name="T28" fmla="*/ 66 w 135"/>
              <a:gd name="T29" fmla="*/ 37 h 195"/>
              <a:gd name="T30" fmla="*/ 60 w 135"/>
              <a:gd name="T31" fmla="*/ 27 h 195"/>
              <a:gd name="T32" fmla="*/ 59 w 135"/>
              <a:gd name="T33" fmla="*/ 20 h 195"/>
              <a:gd name="T34" fmla="*/ 47 w 135"/>
              <a:gd name="T35" fmla="*/ 10 h 195"/>
              <a:gd name="T36" fmla="*/ 34 w 135"/>
              <a:gd name="T37" fmla="*/ 2 h 195"/>
              <a:gd name="T38" fmla="*/ 19 w 135"/>
              <a:gd name="T39" fmla="*/ 4 h 195"/>
              <a:gd name="T40" fmla="*/ 13 w 135"/>
              <a:gd name="T41" fmla="*/ 9 h 195"/>
              <a:gd name="T42" fmla="*/ 7 w 135"/>
              <a:gd name="T43" fmla="*/ 8 h 195"/>
              <a:gd name="T44" fmla="*/ 4 w 135"/>
              <a:gd name="T45" fmla="*/ 12 h 195"/>
              <a:gd name="T46" fmla="*/ 0 w 135"/>
              <a:gd name="T47" fmla="*/ 16 h 195"/>
              <a:gd name="T48" fmla="*/ 3 w 135"/>
              <a:gd name="T49" fmla="*/ 25 h 195"/>
              <a:gd name="T50" fmla="*/ 8 w 135"/>
              <a:gd name="T51" fmla="*/ 31 h 195"/>
              <a:gd name="T52" fmla="*/ 5 w 135"/>
              <a:gd name="T53" fmla="*/ 35 h 195"/>
              <a:gd name="T54" fmla="*/ 8 w 135"/>
              <a:gd name="T55" fmla="*/ 39 h 195"/>
              <a:gd name="T56" fmla="*/ 18 w 135"/>
              <a:gd name="T57" fmla="*/ 45 h 195"/>
              <a:gd name="T58" fmla="*/ 10 w 135"/>
              <a:gd name="T59" fmla="*/ 45 h 195"/>
              <a:gd name="T60" fmla="*/ 8 w 135"/>
              <a:gd name="T61" fmla="*/ 47 h 195"/>
              <a:gd name="T62" fmla="*/ 10 w 135"/>
              <a:gd name="T63" fmla="*/ 56 h 195"/>
              <a:gd name="T64" fmla="*/ 8 w 135"/>
              <a:gd name="T65" fmla="*/ 60 h 195"/>
              <a:gd name="T66" fmla="*/ 17 w 135"/>
              <a:gd name="T67" fmla="*/ 63 h 195"/>
              <a:gd name="T68" fmla="*/ 14 w 135"/>
              <a:gd name="T69" fmla="*/ 70 h 195"/>
              <a:gd name="T70" fmla="*/ 10 w 135"/>
              <a:gd name="T71" fmla="*/ 80 h 195"/>
              <a:gd name="T72" fmla="*/ 18 w 135"/>
              <a:gd name="T73" fmla="*/ 88 h 195"/>
              <a:gd name="T74" fmla="*/ 26 w 135"/>
              <a:gd name="T75" fmla="*/ 95 h 195"/>
              <a:gd name="T76" fmla="*/ 19 w 135"/>
              <a:gd name="T77" fmla="*/ 99 h 195"/>
              <a:gd name="T78" fmla="*/ 24 w 135"/>
              <a:gd name="T79" fmla="*/ 112 h 195"/>
              <a:gd name="T80" fmla="*/ 18 w 135"/>
              <a:gd name="T81" fmla="*/ 116 h 195"/>
              <a:gd name="T82" fmla="*/ 21 w 135"/>
              <a:gd name="T83" fmla="*/ 127 h 195"/>
              <a:gd name="T84" fmla="*/ 34 w 135"/>
              <a:gd name="T85" fmla="*/ 138 h 195"/>
              <a:gd name="T86" fmla="*/ 39 w 135"/>
              <a:gd name="T87" fmla="*/ 138 h 195"/>
              <a:gd name="T88" fmla="*/ 47 w 135"/>
              <a:gd name="T89" fmla="*/ 144 h 195"/>
              <a:gd name="T90" fmla="*/ 48 w 135"/>
              <a:gd name="T91" fmla="*/ 153 h 195"/>
              <a:gd name="T92" fmla="*/ 44 w 135"/>
              <a:gd name="T93" fmla="*/ 158 h 195"/>
              <a:gd name="T94" fmla="*/ 48 w 135"/>
              <a:gd name="T95" fmla="*/ 168 h 195"/>
              <a:gd name="T96" fmla="*/ 55 w 135"/>
              <a:gd name="T97" fmla="*/ 175 h 195"/>
              <a:gd name="T98" fmla="*/ 61 w 135"/>
              <a:gd name="T99" fmla="*/ 186 h 195"/>
              <a:gd name="T100" fmla="*/ 66 w 135"/>
              <a:gd name="T101" fmla="*/ 189 h 195"/>
              <a:gd name="T102" fmla="*/ 78 w 135"/>
              <a:gd name="T103" fmla="*/ 179 h 195"/>
              <a:gd name="T104" fmla="*/ 87 w 135"/>
              <a:gd name="T105" fmla="*/ 178 h 195"/>
              <a:gd name="T106" fmla="*/ 100 w 135"/>
              <a:gd name="T107" fmla="*/ 174 h 195"/>
              <a:gd name="T108" fmla="*/ 113 w 135"/>
              <a:gd name="T109" fmla="*/ 171 h 195"/>
              <a:gd name="T110" fmla="*/ 120 w 135"/>
              <a:gd name="T111" fmla="*/ 169 h 195"/>
              <a:gd name="T112" fmla="*/ 119 w 135"/>
              <a:gd name="T113" fmla="*/ 155 h 195"/>
              <a:gd name="T114" fmla="*/ 128 w 135"/>
              <a:gd name="T115" fmla="*/ 145 h 195"/>
              <a:gd name="T116" fmla="*/ 134 w 135"/>
              <a:gd name="T117" fmla="*/ 13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195">
                <a:moveTo>
                  <a:pt x="134" y="134"/>
                </a:moveTo>
                <a:cubicBezTo>
                  <a:pt x="132" y="133"/>
                  <a:pt x="131" y="132"/>
                  <a:pt x="129" y="130"/>
                </a:cubicBezTo>
                <a:cubicBezTo>
                  <a:pt x="128" y="128"/>
                  <a:pt x="126" y="126"/>
                  <a:pt x="124" y="125"/>
                </a:cubicBezTo>
                <a:cubicBezTo>
                  <a:pt x="121" y="123"/>
                  <a:pt x="119" y="122"/>
                  <a:pt x="118" y="118"/>
                </a:cubicBezTo>
                <a:cubicBezTo>
                  <a:pt x="117" y="116"/>
                  <a:pt x="117" y="114"/>
                  <a:pt x="115" y="112"/>
                </a:cubicBezTo>
                <a:cubicBezTo>
                  <a:pt x="113" y="110"/>
                  <a:pt x="113" y="107"/>
                  <a:pt x="113" y="104"/>
                </a:cubicBezTo>
                <a:cubicBezTo>
                  <a:pt x="113" y="103"/>
                  <a:pt x="113" y="99"/>
                  <a:pt x="114" y="98"/>
                </a:cubicBezTo>
                <a:cubicBezTo>
                  <a:pt x="116" y="97"/>
                  <a:pt x="118" y="96"/>
                  <a:pt x="120" y="95"/>
                </a:cubicBezTo>
                <a:cubicBezTo>
                  <a:pt x="120" y="94"/>
                  <a:pt x="120" y="91"/>
                  <a:pt x="121" y="89"/>
                </a:cubicBezTo>
                <a:cubicBezTo>
                  <a:pt x="122" y="87"/>
                  <a:pt x="122" y="86"/>
                  <a:pt x="119" y="85"/>
                </a:cubicBezTo>
                <a:cubicBezTo>
                  <a:pt x="117" y="84"/>
                  <a:pt x="117" y="82"/>
                  <a:pt x="115" y="80"/>
                </a:cubicBezTo>
                <a:cubicBezTo>
                  <a:pt x="115" y="79"/>
                  <a:pt x="113" y="77"/>
                  <a:pt x="114" y="77"/>
                </a:cubicBezTo>
                <a:cubicBezTo>
                  <a:pt x="115" y="76"/>
                  <a:pt x="116" y="77"/>
                  <a:pt x="117" y="76"/>
                </a:cubicBezTo>
                <a:cubicBezTo>
                  <a:pt x="118" y="75"/>
                  <a:pt x="117" y="72"/>
                  <a:pt x="120" y="74"/>
                </a:cubicBezTo>
                <a:cubicBezTo>
                  <a:pt x="121" y="75"/>
                  <a:pt x="124" y="75"/>
                  <a:pt x="123" y="73"/>
                </a:cubicBezTo>
                <a:cubicBezTo>
                  <a:pt x="122" y="71"/>
                  <a:pt x="120" y="71"/>
                  <a:pt x="118" y="70"/>
                </a:cubicBezTo>
                <a:cubicBezTo>
                  <a:pt x="116" y="69"/>
                  <a:pt x="115" y="66"/>
                  <a:pt x="113" y="66"/>
                </a:cubicBezTo>
                <a:cubicBezTo>
                  <a:pt x="112" y="67"/>
                  <a:pt x="109" y="68"/>
                  <a:pt x="108" y="70"/>
                </a:cubicBezTo>
                <a:cubicBezTo>
                  <a:pt x="106" y="74"/>
                  <a:pt x="105" y="80"/>
                  <a:pt x="101" y="73"/>
                </a:cubicBezTo>
                <a:cubicBezTo>
                  <a:pt x="100" y="68"/>
                  <a:pt x="94" y="69"/>
                  <a:pt x="89" y="68"/>
                </a:cubicBezTo>
                <a:cubicBezTo>
                  <a:pt x="87" y="68"/>
                  <a:pt x="87" y="66"/>
                  <a:pt x="87" y="65"/>
                </a:cubicBezTo>
                <a:cubicBezTo>
                  <a:pt x="85" y="62"/>
                  <a:pt x="82" y="64"/>
                  <a:pt x="80" y="63"/>
                </a:cubicBezTo>
                <a:cubicBezTo>
                  <a:pt x="75" y="58"/>
                  <a:pt x="87" y="59"/>
                  <a:pt x="85" y="57"/>
                </a:cubicBezTo>
                <a:cubicBezTo>
                  <a:pt x="84" y="56"/>
                  <a:pt x="79" y="55"/>
                  <a:pt x="79" y="53"/>
                </a:cubicBezTo>
                <a:cubicBezTo>
                  <a:pt x="79" y="53"/>
                  <a:pt x="80" y="52"/>
                  <a:pt x="81" y="52"/>
                </a:cubicBezTo>
                <a:cubicBezTo>
                  <a:pt x="82" y="52"/>
                  <a:pt x="81" y="51"/>
                  <a:pt x="82" y="50"/>
                </a:cubicBezTo>
                <a:cubicBezTo>
                  <a:pt x="82" y="48"/>
                  <a:pt x="84" y="46"/>
                  <a:pt x="81" y="44"/>
                </a:cubicBezTo>
                <a:cubicBezTo>
                  <a:pt x="78" y="43"/>
                  <a:pt x="74" y="44"/>
                  <a:pt x="73" y="41"/>
                </a:cubicBezTo>
                <a:cubicBezTo>
                  <a:pt x="72" y="39"/>
                  <a:pt x="70" y="40"/>
                  <a:pt x="69" y="40"/>
                </a:cubicBezTo>
                <a:cubicBezTo>
                  <a:pt x="68" y="39"/>
                  <a:pt x="67" y="38"/>
                  <a:pt x="66" y="37"/>
                </a:cubicBezTo>
                <a:cubicBezTo>
                  <a:pt x="65" y="36"/>
                  <a:pt x="59" y="32"/>
                  <a:pt x="61" y="31"/>
                </a:cubicBezTo>
                <a:cubicBezTo>
                  <a:pt x="62" y="29"/>
                  <a:pt x="60" y="28"/>
                  <a:pt x="60" y="27"/>
                </a:cubicBezTo>
                <a:cubicBezTo>
                  <a:pt x="59" y="26"/>
                  <a:pt x="60" y="25"/>
                  <a:pt x="60" y="24"/>
                </a:cubicBezTo>
                <a:cubicBezTo>
                  <a:pt x="60" y="22"/>
                  <a:pt x="60" y="18"/>
                  <a:pt x="59" y="20"/>
                </a:cubicBezTo>
                <a:cubicBezTo>
                  <a:pt x="57" y="22"/>
                  <a:pt x="55" y="16"/>
                  <a:pt x="54" y="16"/>
                </a:cubicBezTo>
                <a:cubicBezTo>
                  <a:pt x="53" y="13"/>
                  <a:pt x="49" y="12"/>
                  <a:pt x="47" y="10"/>
                </a:cubicBezTo>
                <a:cubicBezTo>
                  <a:pt x="44" y="8"/>
                  <a:pt x="43" y="4"/>
                  <a:pt x="40" y="2"/>
                </a:cubicBezTo>
                <a:cubicBezTo>
                  <a:pt x="38" y="1"/>
                  <a:pt x="36" y="3"/>
                  <a:pt x="34" y="2"/>
                </a:cubicBezTo>
                <a:cubicBezTo>
                  <a:pt x="32" y="1"/>
                  <a:pt x="29" y="4"/>
                  <a:pt x="27" y="2"/>
                </a:cubicBezTo>
                <a:cubicBezTo>
                  <a:pt x="24" y="0"/>
                  <a:pt x="20" y="1"/>
                  <a:pt x="19" y="4"/>
                </a:cubicBezTo>
                <a:cubicBezTo>
                  <a:pt x="18" y="6"/>
                  <a:pt x="17" y="7"/>
                  <a:pt x="15" y="7"/>
                </a:cubicBezTo>
                <a:cubicBezTo>
                  <a:pt x="13" y="8"/>
                  <a:pt x="14" y="9"/>
                  <a:pt x="13" y="9"/>
                </a:cubicBezTo>
                <a:cubicBezTo>
                  <a:pt x="12" y="10"/>
                  <a:pt x="10" y="10"/>
                  <a:pt x="9" y="10"/>
                </a:cubicBezTo>
                <a:cubicBezTo>
                  <a:pt x="8" y="9"/>
                  <a:pt x="8" y="7"/>
                  <a:pt x="7" y="8"/>
                </a:cubicBezTo>
                <a:cubicBezTo>
                  <a:pt x="6" y="9"/>
                  <a:pt x="6" y="11"/>
                  <a:pt x="5" y="11"/>
                </a:cubicBezTo>
                <a:cubicBezTo>
                  <a:pt x="4" y="11"/>
                  <a:pt x="4" y="11"/>
                  <a:pt x="4" y="12"/>
                </a:cubicBezTo>
                <a:cubicBezTo>
                  <a:pt x="3" y="12"/>
                  <a:pt x="2" y="12"/>
                  <a:pt x="1" y="12"/>
                </a:cubicBezTo>
                <a:cubicBezTo>
                  <a:pt x="1" y="13"/>
                  <a:pt x="1" y="15"/>
                  <a:pt x="0" y="16"/>
                </a:cubicBezTo>
                <a:cubicBezTo>
                  <a:pt x="0" y="16"/>
                  <a:pt x="4" y="20"/>
                  <a:pt x="3" y="21"/>
                </a:cubicBezTo>
                <a:cubicBezTo>
                  <a:pt x="1" y="23"/>
                  <a:pt x="5" y="23"/>
                  <a:pt x="3" y="25"/>
                </a:cubicBezTo>
                <a:cubicBezTo>
                  <a:pt x="2" y="27"/>
                  <a:pt x="2" y="31"/>
                  <a:pt x="4" y="30"/>
                </a:cubicBezTo>
                <a:cubicBezTo>
                  <a:pt x="5" y="29"/>
                  <a:pt x="8" y="29"/>
                  <a:pt x="8" y="31"/>
                </a:cubicBezTo>
                <a:cubicBezTo>
                  <a:pt x="8" y="33"/>
                  <a:pt x="5" y="32"/>
                  <a:pt x="5" y="32"/>
                </a:cubicBezTo>
                <a:cubicBezTo>
                  <a:pt x="4" y="33"/>
                  <a:pt x="6" y="35"/>
                  <a:pt x="5" y="35"/>
                </a:cubicBezTo>
                <a:cubicBezTo>
                  <a:pt x="4" y="36"/>
                  <a:pt x="4" y="37"/>
                  <a:pt x="5" y="37"/>
                </a:cubicBezTo>
                <a:cubicBezTo>
                  <a:pt x="6" y="39"/>
                  <a:pt x="7" y="37"/>
                  <a:pt x="8" y="39"/>
                </a:cubicBezTo>
                <a:cubicBezTo>
                  <a:pt x="8" y="40"/>
                  <a:pt x="9" y="41"/>
                  <a:pt x="10" y="41"/>
                </a:cubicBezTo>
                <a:cubicBezTo>
                  <a:pt x="11" y="42"/>
                  <a:pt x="19" y="43"/>
                  <a:pt x="18" y="45"/>
                </a:cubicBezTo>
                <a:cubicBezTo>
                  <a:pt x="17" y="47"/>
                  <a:pt x="15" y="45"/>
                  <a:pt x="14" y="46"/>
                </a:cubicBezTo>
                <a:cubicBezTo>
                  <a:pt x="12" y="46"/>
                  <a:pt x="10" y="44"/>
                  <a:pt x="10" y="45"/>
                </a:cubicBezTo>
                <a:cubicBezTo>
                  <a:pt x="9" y="45"/>
                  <a:pt x="11" y="47"/>
                  <a:pt x="10" y="47"/>
                </a:cubicBezTo>
                <a:cubicBezTo>
                  <a:pt x="9" y="47"/>
                  <a:pt x="8" y="46"/>
                  <a:pt x="8" y="47"/>
                </a:cubicBezTo>
                <a:cubicBezTo>
                  <a:pt x="7" y="47"/>
                  <a:pt x="9" y="52"/>
                  <a:pt x="9" y="53"/>
                </a:cubicBezTo>
                <a:cubicBezTo>
                  <a:pt x="9" y="55"/>
                  <a:pt x="11" y="54"/>
                  <a:pt x="10" y="56"/>
                </a:cubicBezTo>
                <a:cubicBezTo>
                  <a:pt x="10" y="57"/>
                  <a:pt x="8" y="57"/>
                  <a:pt x="7" y="57"/>
                </a:cubicBezTo>
                <a:cubicBezTo>
                  <a:pt x="6" y="58"/>
                  <a:pt x="7" y="60"/>
                  <a:pt x="8" y="60"/>
                </a:cubicBezTo>
                <a:cubicBezTo>
                  <a:pt x="9" y="59"/>
                  <a:pt x="11" y="58"/>
                  <a:pt x="12" y="58"/>
                </a:cubicBezTo>
                <a:cubicBezTo>
                  <a:pt x="17" y="57"/>
                  <a:pt x="18" y="59"/>
                  <a:pt x="17" y="63"/>
                </a:cubicBezTo>
                <a:cubicBezTo>
                  <a:pt x="17" y="65"/>
                  <a:pt x="16" y="66"/>
                  <a:pt x="16" y="67"/>
                </a:cubicBezTo>
                <a:cubicBezTo>
                  <a:pt x="15" y="68"/>
                  <a:pt x="15" y="69"/>
                  <a:pt x="14" y="70"/>
                </a:cubicBezTo>
                <a:cubicBezTo>
                  <a:pt x="13" y="71"/>
                  <a:pt x="12" y="74"/>
                  <a:pt x="11" y="74"/>
                </a:cubicBezTo>
                <a:cubicBezTo>
                  <a:pt x="9" y="76"/>
                  <a:pt x="12" y="78"/>
                  <a:pt x="10" y="80"/>
                </a:cubicBezTo>
                <a:cubicBezTo>
                  <a:pt x="9" y="81"/>
                  <a:pt x="11" y="85"/>
                  <a:pt x="12" y="85"/>
                </a:cubicBezTo>
                <a:cubicBezTo>
                  <a:pt x="14" y="86"/>
                  <a:pt x="17" y="85"/>
                  <a:pt x="18" y="88"/>
                </a:cubicBezTo>
                <a:cubicBezTo>
                  <a:pt x="18" y="89"/>
                  <a:pt x="19" y="91"/>
                  <a:pt x="21" y="91"/>
                </a:cubicBezTo>
                <a:cubicBezTo>
                  <a:pt x="22" y="91"/>
                  <a:pt x="25" y="97"/>
                  <a:pt x="26" y="95"/>
                </a:cubicBezTo>
                <a:cubicBezTo>
                  <a:pt x="28" y="96"/>
                  <a:pt x="25" y="99"/>
                  <a:pt x="24" y="99"/>
                </a:cubicBezTo>
                <a:cubicBezTo>
                  <a:pt x="22" y="100"/>
                  <a:pt x="20" y="100"/>
                  <a:pt x="19" y="99"/>
                </a:cubicBezTo>
                <a:cubicBezTo>
                  <a:pt x="16" y="98"/>
                  <a:pt x="14" y="97"/>
                  <a:pt x="17" y="101"/>
                </a:cubicBezTo>
                <a:cubicBezTo>
                  <a:pt x="19" y="105"/>
                  <a:pt x="23" y="108"/>
                  <a:pt x="24" y="112"/>
                </a:cubicBezTo>
                <a:cubicBezTo>
                  <a:pt x="24" y="116"/>
                  <a:pt x="24" y="117"/>
                  <a:pt x="22" y="118"/>
                </a:cubicBezTo>
                <a:cubicBezTo>
                  <a:pt x="21" y="118"/>
                  <a:pt x="19" y="115"/>
                  <a:pt x="18" y="116"/>
                </a:cubicBezTo>
                <a:cubicBezTo>
                  <a:pt x="17" y="116"/>
                  <a:pt x="15" y="118"/>
                  <a:pt x="14" y="120"/>
                </a:cubicBezTo>
                <a:cubicBezTo>
                  <a:pt x="13" y="123"/>
                  <a:pt x="20" y="125"/>
                  <a:pt x="21" y="127"/>
                </a:cubicBezTo>
                <a:cubicBezTo>
                  <a:pt x="24" y="130"/>
                  <a:pt x="26" y="135"/>
                  <a:pt x="30" y="135"/>
                </a:cubicBezTo>
                <a:cubicBezTo>
                  <a:pt x="32" y="135"/>
                  <a:pt x="32" y="138"/>
                  <a:pt x="34" y="138"/>
                </a:cubicBezTo>
                <a:cubicBezTo>
                  <a:pt x="35" y="139"/>
                  <a:pt x="36" y="139"/>
                  <a:pt x="37" y="139"/>
                </a:cubicBezTo>
                <a:cubicBezTo>
                  <a:pt x="37" y="138"/>
                  <a:pt x="38" y="138"/>
                  <a:pt x="39" y="138"/>
                </a:cubicBezTo>
                <a:cubicBezTo>
                  <a:pt x="40" y="138"/>
                  <a:pt x="41" y="140"/>
                  <a:pt x="42" y="141"/>
                </a:cubicBezTo>
                <a:cubicBezTo>
                  <a:pt x="43" y="143"/>
                  <a:pt x="45" y="144"/>
                  <a:pt x="47" y="144"/>
                </a:cubicBezTo>
                <a:cubicBezTo>
                  <a:pt x="48" y="145"/>
                  <a:pt x="56" y="149"/>
                  <a:pt x="51" y="150"/>
                </a:cubicBezTo>
                <a:cubicBezTo>
                  <a:pt x="50" y="151"/>
                  <a:pt x="48" y="151"/>
                  <a:pt x="48" y="153"/>
                </a:cubicBezTo>
                <a:cubicBezTo>
                  <a:pt x="48" y="155"/>
                  <a:pt x="46" y="154"/>
                  <a:pt x="45" y="153"/>
                </a:cubicBezTo>
                <a:cubicBezTo>
                  <a:pt x="40" y="150"/>
                  <a:pt x="44" y="158"/>
                  <a:pt x="44" y="158"/>
                </a:cubicBezTo>
                <a:cubicBezTo>
                  <a:pt x="44" y="159"/>
                  <a:pt x="44" y="162"/>
                  <a:pt x="44" y="163"/>
                </a:cubicBezTo>
                <a:cubicBezTo>
                  <a:pt x="45" y="165"/>
                  <a:pt x="47" y="166"/>
                  <a:pt x="48" y="168"/>
                </a:cubicBezTo>
                <a:cubicBezTo>
                  <a:pt x="48" y="169"/>
                  <a:pt x="49" y="172"/>
                  <a:pt x="50" y="173"/>
                </a:cubicBezTo>
                <a:cubicBezTo>
                  <a:pt x="51" y="174"/>
                  <a:pt x="53" y="174"/>
                  <a:pt x="55" y="175"/>
                </a:cubicBezTo>
                <a:cubicBezTo>
                  <a:pt x="57" y="177"/>
                  <a:pt x="58" y="179"/>
                  <a:pt x="59" y="181"/>
                </a:cubicBezTo>
                <a:cubicBezTo>
                  <a:pt x="59" y="182"/>
                  <a:pt x="60" y="184"/>
                  <a:pt x="61" y="186"/>
                </a:cubicBezTo>
                <a:cubicBezTo>
                  <a:pt x="62" y="189"/>
                  <a:pt x="59" y="193"/>
                  <a:pt x="62" y="194"/>
                </a:cubicBezTo>
                <a:cubicBezTo>
                  <a:pt x="65" y="195"/>
                  <a:pt x="67" y="193"/>
                  <a:pt x="66" y="189"/>
                </a:cubicBezTo>
                <a:cubicBezTo>
                  <a:pt x="66" y="184"/>
                  <a:pt x="68" y="183"/>
                  <a:pt x="72" y="182"/>
                </a:cubicBezTo>
                <a:cubicBezTo>
                  <a:pt x="74" y="181"/>
                  <a:pt x="76" y="178"/>
                  <a:pt x="78" y="179"/>
                </a:cubicBezTo>
                <a:cubicBezTo>
                  <a:pt x="80" y="180"/>
                  <a:pt x="81" y="183"/>
                  <a:pt x="82" y="184"/>
                </a:cubicBezTo>
                <a:cubicBezTo>
                  <a:pt x="84" y="184"/>
                  <a:pt x="83" y="174"/>
                  <a:pt x="87" y="178"/>
                </a:cubicBezTo>
                <a:cubicBezTo>
                  <a:pt x="86" y="176"/>
                  <a:pt x="91" y="176"/>
                  <a:pt x="92" y="176"/>
                </a:cubicBezTo>
                <a:cubicBezTo>
                  <a:pt x="95" y="177"/>
                  <a:pt x="97" y="176"/>
                  <a:pt x="100" y="174"/>
                </a:cubicBezTo>
                <a:cubicBezTo>
                  <a:pt x="101" y="173"/>
                  <a:pt x="102" y="172"/>
                  <a:pt x="104" y="173"/>
                </a:cubicBezTo>
                <a:cubicBezTo>
                  <a:pt x="108" y="174"/>
                  <a:pt x="111" y="173"/>
                  <a:pt x="113" y="171"/>
                </a:cubicBezTo>
                <a:cubicBezTo>
                  <a:pt x="113" y="174"/>
                  <a:pt x="116" y="174"/>
                  <a:pt x="118" y="173"/>
                </a:cubicBezTo>
                <a:cubicBezTo>
                  <a:pt x="119" y="172"/>
                  <a:pt x="120" y="170"/>
                  <a:pt x="120" y="169"/>
                </a:cubicBezTo>
                <a:cubicBezTo>
                  <a:pt x="124" y="165"/>
                  <a:pt x="119" y="164"/>
                  <a:pt x="118" y="161"/>
                </a:cubicBezTo>
                <a:cubicBezTo>
                  <a:pt x="117" y="159"/>
                  <a:pt x="119" y="157"/>
                  <a:pt x="119" y="155"/>
                </a:cubicBezTo>
                <a:cubicBezTo>
                  <a:pt x="119" y="153"/>
                  <a:pt x="117" y="152"/>
                  <a:pt x="118" y="150"/>
                </a:cubicBezTo>
                <a:cubicBezTo>
                  <a:pt x="121" y="146"/>
                  <a:pt x="126" y="150"/>
                  <a:pt x="128" y="145"/>
                </a:cubicBezTo>
                <a:cubicBezTo>
                  <a:pt x="128" y="144"/>
                  <a:pt x="130" y="142"/>
                  <a:pt x="132" y="140"/>
                </a:cubicBezTo>
                <a:cubicBezTo>
                  <a:pt x="134" y="138"/>
                  <a:pt x="135" y="136"/>
                  <a:pt x="134" y="134"/>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1" name="Freeform 141">
            <a:extLst>
              <a:ext uri="{FF2B5EF4-FFF2-40B4-BE49-F238E27FC236}">
                <a16:creationId xmlns:a16="http://schemas.microsoft.com/office/drawing/2014/main" id="{0B9862E6-0D43-41FB-8B97-A789DA573EB7}"/>
              </a:ext>
            </a:extLst>
          </p:cNvPr>
          <p:cNvSpPr>
            <a:spLocks/>
          </p:cNvSpPr>
          <p:nvPr/>
        </p:nvSpPr>
        <p:spPr bwMode="auto">
          <a:xfrm>
            <a:off x="3591300" y="5265882"/>
            <a:ext cx="550164" cy="375447"/>
          </a:xfrm>
          <a:custGeom>
            <a:avLst/>
            <a:gdLst>
              <a:gd name="T0" fmla="*/ 182 w 197"/>
              <a:gd name="T1" fmla="*/ 20 h 133"/>
              <a:gd name="T2" fmla="*/ 174 w 197"/>
              <a:gd name="T3" fmla="*/ 11 h 133"/>
              <a:gd name="T4" fmla="*/ 165 w 197"/>
              <a:gd name="T5" fmla="*/ 8 h 133"/>
              <a:gd name="T6" fmla="*/ 155 w 197"/>
              <a:gd name="T7" fmla="*/ 8 h 133"/>
              <a:gd name="T8" fmla="*/ 144 w 197"/>
              <a:gd name="T9" fmla="*/ 4 h 133"/>
              <a:gd name="T10" fmla="*/ 126 w 197"/>
              <a:gd name="T11" fmla="*/ 8 h 133"/>
              <a:gd name="T12" fmla="*/ 113 w 197"/>
              <a:gd name="T13" fmla="*/ 16 h 133"/>
              <a:gd name="T14" fmla="*/ 102 w 197"/>
              <a:gd name="T15" fmla="*/ 25 h 133"/>
              <a:gd name="T16" fmla="*/ 85 w 197"/>
              <a:gd name="T17" fmla="*/ 24 h 133"/>
              <a:gd name="T18" fmla="*/ 73 w 197"/>
              <a:gd name="T19" fmla="*/ 23 h 133"/>
              <a:gd name="T20" fmla="*/ 62 w 197"/>
              <a:gd name="T21" fmla="*/ 24 h 133"/>
              <a:gd name="T22" fmla="*/ 45 w 197"/>
              <a:gd name="T23" fmla="*/ 19 h 133"/>
              <a:gd name="T24" fmla="*/ 32 w 197"/>
              <a:gd name="T25" fmla="*/ 17 h 133"/>
              <a:gd name="T26" fmla="*/ 16 w 197"/>
              <a:gd name="T27" fmla="*/ 12 h 133"/>
              <a:gd name="T28" fmla="*/ 18 w 197"/>
              <a:gd name="T29" fmla="*/ 6 h 133"/>
              <a:gd name="T30" fmla="*/ 10 w 197"/>
              <a:gd name="T31" fmla="*/ 0 h 133"/>
              <a:gd name="T32" fmla="*/ 4 w 197"/>
              <a:gd name="T33" fmla="*/ 9 h 133"/>
              <a:gd name="T34" fmla="*/ 5 w 197"/>
              <a:gd name="T35" fmla="*/ 29 h 133"/>
              <a:gd name="T36" fmla="*/ 14 w 197"/>
              <a:gd name="T37" fmla="*/ 38 h 133"/>
              <a:gd name="T38" fmla="*/ 21 w 197"/>
              <a:gd name="T39" fmla="*/ 49 h 133"/>
              <a:gd name="T40" fmla="*/ 13 w 197"/>
              <a:gd name="T41" fmla="*/ 60 h 133"/>
              <a:gd name="T42" fmla="*/ 7 w 197"/>
              <a:gd name="T43" fmla="*/ 67 h 133"/>
              <a:gd name="T44" fmla="*/ 9 w 197"/>
              <a:gd name="T45" fmla="*/ 81 h 133"/>
              <a:gd name="T46" fmla="*/ 9 w 197"/>
              <a:gd name="T47" fmla="*/ 90 h 133"/>
              <a:gd name="T48" fmla="*/ 20 w 197"/>
              <a:gd name="T49" fmla="*/ 99 h 133"/>
              <a:gd name="T50" fmla="*/ 26 w 197"/>
              <a:gd name="T51" fmla="*/ 112 h 133"/>
              <a:gd name="T52" fmla="*/ 24 w 197"/>
              <a:gd name="T53" fmla="*/ 129 h 133"/>
              <a:gd name="T54" fmla="*/ 36 w 197"/>
              <a:gd name="T55" fmla="*/ 127 h 133"/>
              <a:gd name="T56" fmla="*/ 47 w 197"/>
              <a:gd name="T57" fmla="*/ 126 h 133"/>
              <a:gd name="T58" fmla="*/ 52 w 197"/>
              <a:gd name="T59" fmla="*/ 125 h 133"/>
              <a:gd name="T60" fmla="*/ 58 w 197"/>
              <a:gd name="T61" fmla="*/ 124 h 133"/>
              <a:gd name="T62" fmla="*/ 63 w 197"/>
              <a:gd name="T63" fmla="*/ 121 h 133"/>
              <a:gd name="T64" fmla="*/ 72 w 197"/>
              <a:gd name="T65" fmla="*/ 120 h 133"/>
              <a:gd name="T66" fmla="*/ 79 w 197"/>
              <a:gd name="T67" fmla="*/ 125 h 133"/>
              <a:gd name="T68" fmla="*/ 86 w 197"/>
              <a:gd name="T69" fmla="*/ 126 h 133"/>
              <a:gd name="T70" fmla="*/ 96 w 197"/>
              <a:gd name="T71" fmla="*/ 131 h 133"/>
              <a:gd name="T72" fmla="*/ 104 w 197"/>
              <a:gd name="T73" fmla="*/ 132 h 133"/>
              <a:gd name="T74" fmla="*/ 112 w 197"/>
              <a:gd name="T75" fmla="*/ 131 h 133"/>
              <a:gd name="T76" fmla="*/ 117 w 197"/>
              <a:gd name="T77" fmla="*/ 130 h 133"/>
              <a:gd name="T78" fmla="*/ 126 w 197"/>
              <a:gd name="T79" fmla="*/ 124 h 133"/>
              <a:gd name="T80" fmla="*/ 124 w 197"/>
              <a:gd name="T81" fmla="*/ 116 h 133"/>
              <a:gd name="T82" fmla="*/ 131 w 197"/>
              <a:gd name="T83" fmla="*/ 113 h 133"/>
              <a:gd name="T84" fmla="*/ 137 w 197"/>
              <a:gd name="T85" fmla="*/ 106 h 133"/>
              <a:gd name="T86" fmla="*/ 149 w 197"/>
              <a:gd name="T87" fmla="*/ 99 h 133"/>
              <a:gd name="T88" fmla="*/ 156 w 197"/>
              <a:gd name="T89" fmla="*/ 96 h 133"/>
              <a:gd name="T90" fmla="*/ 164 w 197"/>
              <a:gd name="T91" fmla="*/ 100 h 133"/>
              <a:gd name="T92" fmla="*/ 170 w 197"/>
              <a:gd name="T93" fmla="*/ 102 h 133"/>
              <a:gd name="T94" fmla="*/ 177 w 197"/>
              <a:gd name="T95" fmla="*/ 102 h 133"/>
              <a:gd name="T96" fmla="*/ 182 w 197"/>
              <a:gd name="T97" fmla="*/ 100 h 133"/>
              <a:gd name="T98" fmla="*/ 174 w 197"/>
              <a:gd name="T99" fmla="*/ 85 h 133"/>
              <a:gd name="T100" fmla="*/ 172 w 197"/>
              <a:gd name="T101" fmla="*/ 81 h 133"/>
              <a:gd name="T102" fmla="*/ 169 w 197"/>
              <a:gd name="T103" fmla="*/ 79 h 133"/>
              <a:gd name="T104" fmla="*/ 164 w 197"/>
              <a:gd name="T105" fmla="*/ 80 h 133"/>
              <a:gd name="T106" fmla="*/ 172 w 197"/>
              <a:gd name="T107" fmla="*/ 70 h 133"/>
              <a:gd name="T108" fmla="*/ 176 w 197"/>
              <a:gd name="T109" fmla="*/ 63 h 133"/>
              <a:gd name="T110" fmla="*/ 176 w 197"/>
              <a:gd name="T111" fmla="*/ 50 h 133"/>
              <a:gd name="T112" fmla="*/ 178 w 197"/>
              <a:gd name="T113" fmla="*/ 45 h 133"/>
              <a:gd name="T114" fmla="*/ 186 w 197"/>
              <a:gd name="T115" fmla="*/ 36 h 133"/>
              <a:gd name="T116" fmla="*/ 196 w 197"/>
              <a:gd name="T11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7" h="133">
                <a:moveTo>
                  <a:pt x="195" y="21"/>
                </a:moveTo>
                <a:cubicBezTo>
                  <a:pt x="191" y="22"/>
                  <a:pt x="186" y="21"/>
                  <a:pt x="182" y="20"/>
                </a:cubicBezTo>
                <a:cubicBezTo>
                  <a:pt x="180" y="19"/>
                  <a:pt x="178" y="18"/>
                  <a:pt x="177" y="17"/>
                </a:cubicBezTo>
                <a:cubicBezTo>
                  <a:pt x="175" y="15"/>
                  <a:pt x="175" y="13"/>
                  <a:pt x="174" y="11"/>
                </a:cubicBezTo>
                <a:cubicBezTo>
                  <a:pt x="173" y="10"/>
                  <a:pt x="171" y="12"/>
                  <a:pt x="169" y="12"/>
                </a:cubicBezTo>
                <a:cubicBezTo>
                  <a:pt x="166" y="13"/>
                  <a:pt x="167" y="9"/>
                  <a:pt x="165" y="8"/>
                </a:cubicBezTo>
                <a:cubicBezTo>
                  <a:pt x="164" y="8"/>
                  <a:pt x="161" y="9"/>
                  <a:pt x="160" y="9"/>
                </a:cubicBezTo>
                <a:cubicBezTo>
                  <a:pt x="158" y="10"/>
                  <a:pt x="157" y="9"/>
                  <a:pt x="155" y="8"/>
                </a:cubicBezTo>
                <a:cubicBezTo>
                  <a:pt x="154" y="7"/>
                  <a:pt x="153" y="5"/>
                  <a:pt x="152" y="5"/>
                </a:cubicBezTo>
                <a:cubicBezTo>
                  <a:pt x="149" y="5"/>
                  <a:pt x="147" y="4"/>
                  <a:pt x="144" y="4"/>
                </a:cubicBezTo>
                <a:cubicBezTo>
                  <a:pt x="141" y="4"/>
                  <a:pt x="138" y="6"/>
                  <a:pt x="135" y="7"/>
                </a:cubicBezTo>
                <a:cubicBezTo>
                  <a:pt x="132" y="8"/>
                  <a:pt x="129" y="8"/>
                  <a:pt x="126" y="8"/>
                </a:cubicBezTo>
                <a:cubicBezTo>
                  <a:pt x="124" y="9"/>
                  <a:pt x="122" y="9"/>
                  <a:pt x="120" y="10"/>
                </a:cubicBezTo>
                <a:cubicBezTo>
                  <a:pt x="117" y="11"/>
                  <a:pt x="115" y="14"/>
                  <a:pt x="113" y="16"/>
                </a:cubicBezTo>
                <a:cubicBezTo>
                  <a:pt x="111" y="18"/>
                  <a:pt x="109" y="20"/>
                  <a:pt x="108" y="23"/>
                </a:cubicBezTo>
                <a:cubicBezTo>
                  <a:pt x="107" y="24"/>
                  <a:pt x="104" y="24"/>
                  <a:pt x="102" y="25"/>
                </a:cubicBezTo>
                <a:cubicBezTo>
                  <a:pt x="99" y="26"/>
                  <a:pt x="96" y="27"/>
                  <a:pt x="93" y="26"/>
                </a:cubicBezTo>
                <a:cubicBezTo>
                  <a:pt x="91" y="24"/>
                  <a:pt x="88" y="25"/>
                  <a:pt x="85" y="24"/>
                </a:cubicBezTo>
                <a:cubicBezTo>
                  <a:pt x="82" y="22"/>
                  <a:pt x="80" y="23"/>
                  <a:pt x="77" y="23"/>
                </a:cubicBezTo>
                <a:cubicBezTo>
                  <a:pt x="76" y="23"/>
                  <a:pt x="75" y="23"/>
                  <a:pt x="73" y="23"/>
                </a:cubicBezTo>
                <a:cubicBezTo>
                  <a:pt x="72" y="22"/>
                  <a:pt x="71" y="21"/>
                  <a:pt x="69" y="21"/>
                </a:cubicBezTo>
                <a:cubicBezTo>
                  <a:pt x="67" y="20"/>
                  <a:pt x="64" y="23"/>
                  <a:pt x="62" y="24"/>
                </a:cubicBezTo>
                <a:cubicBezTo>
                  <a:pt x="59" y="24"/>
                  <a:pt x="56" y="24"/>
                  <a:pt x="53" y="22"/>
                </a:cubicBezTo>
                <a:cubicBezTo>
                  <a:pt x="50" y="21"/>
                  <a:pt x="48" y="20"/>
                  <a:pt x="45" y="19"/>
                </a:cubicBezTo>
                <a:cubicBezTo>
                  <a:pt x="43" y="19"/>
                  <a:pt x="41" y="19"/>
                  <a:pt x="39" y="19"/>
                </a:cubicBezTo>
                <a:cubicBezTo>
                  <a:pt x="36" y="18"/>
                  <a:pt x="35" y="16"/>
                  <a:pt x="32" y="17"/>
                </a:cubicBezTo>
                <a:cubicBezTo>
                  <a:pt x="29" y="17"/>
                  <a:pt x="27" y="19"/>
                  <a:pt x="24" y="19"/>
                </a:cubicBezTo>
                <a:cubicBezTo>
                  <a:pt x="20" y="19"/>
                  <a:pt x="13" y="18"/>
                  <a:pt x="16" y="12"/>
                </a:cubicBezTo>
                <a:cubicBezTo>
                  <a:pt x="17" y="10"/>
                  <a:pt x="22" y="8"/>
                  <a:pt x="21" y="7"/>
                </a:cubicBezTo>
                <a:cubicBezTo>
                  <a:pt x="20" y="6"/>
                  <a:pt x="19" y="6"/>
                  <a:pt x="18" y="6"/>
                </a:cubicBezTo>
                <a:cubicBezTo>
                  <a:pt x="17" y="5"/>
                  <a:pt x="16" y="4"/>
                  <a:pt x="15" y="4"/>
                </a:cubicBezTo>
                <a:cubicBezTo>
                  <a:pt x="13" y="3"/>
                  <a:pt x="11" y="2"/>
                  <a:pt x="10" y="0"/>
                </a:cubicBezTo>
                <a:cubicBezTo>
                  <a:pt x="7" y="1"/>
                  <a:pt x="9" y="5"/>
                  <a:pt x="8" y="7"/>
                </a:cubicBezTo>
                <a:cubicBezTo>
                  <a:pt x="7" y="7"/>
                  <a:pt x="4" y="9"/>
                  <a:pt x="4" y="9"/>
                </a:cubicBezTo>
                <a:cubicBezTo>
                  <a:pt x="0" y="9"/>
                  <a:pt x="1" y="19"/>
                  <a:pt x="2" y="21"/>
                </a:cubicBezTo>
                <a:cubicBezTo>
                  <a:pt x="3" y="24"/>
                  <a:pt x="5" y="26"/>
                  <a:pt x="5" y="29"/>
                </a:cubicBezTo>
                <a:cubicBezTo>
                  <a:pt x="6" y="32"/>
                  <a:pt x="7" y="34"/>
                  <a:pt x="9" y="35"/>
                </a:cubicBezTo>
                <a:cubicBezTo>
                  <a:pt x="11" y="36"/>
                  <a:pt x="13" y="37"/>
                  <a:pt x="14" y="38"/>
                </a:cubicBezTo>
                <a:cubicBezTo>
                  <a:pt x="16" y="40"/>
                  <a:pt x="17" y="44"/>
                  <a:pt x="19" y="45"/>
                </a:cubicBezTo>
                <a:cubicBezTo>
                  <a:pt x="21" y="46"/>
                  <a:pt x="23" y="46"/>
                  <a:pt x="21" y="49"/>
                </a:cubicBezTo>
                <a:cubicBezTo>
                  <a:pt x="20" y="51"/>
                  <a:pt x="19" y="53"/>
                  <a:pt x="17" y="54"/>
                </a:cubicBezTo>
                <a:cubicBezTo>
                  <a:pt x="15" y="56"/>
                  <a:pt x="16" y="59"/>
                  <a:pt x="13" y="60"/>
                </a:cubicBezTo>
                <a:cubicBezTo>
                  <a:pt x="11" y="61"/>
                  <a:pt x="9" y="59"/>
                  <a:pt x="7" y="61"/>
                </a:cubicBezTo>
                <a:cubicBezTo>
                  <a:pt x="5" y="63"/>
                  <a:pt x="7" y="64"/>
                  <a:pt x="7" y="67"/>
                </a:cubicBezTo>
                <a:cubicBezTo>
                  <a:pt x="7" y="69"/>
                  <a:pt x="5" y="72"/>
                  <a:pt x="7" y="74"/>
                </a:cubicBezTo>
                <a:cubicBezTo>
                  <a:pt x="8" y="77"/>
                  <a:pt x="11" y="77"/>
                  <a:pt x="9" y="81"/>
                </a:cubicBezTo>
                <a:cubicBezTo>
                  <a:pt x="7" y="83"/>
                  <a:pt x="6" y="85"/>
                  <a:pt x="4" y="85"/>
                </a:cubicBezTo>
                <a:cubicBezTo>
                  <a:pt x="6" y="87"/>
                  <a:pt x="7" y="89"/>
                  <a:pt x="9" y="90"/>
                </a:cubicBezTo>
                <a:cubicBezTo>
                  <a:pt x="10" y="93"/>
                  <a:pt x="12" y="95"/>
                  <a:pt x="15" y="96"/>
                </a:cubicBezTo>
                <a:cubicBezTo>
                  <a:pt x="17" y="97"/>
                  <a:pt x="19" y="97"/>
                  <a:pt x="20" y="99"/>
                </a:cubicBezTo>
                <a:cubicBezTo>
                  <a:pt x="21" y="101"/>
                  <a:pt x="21" y="104"/>
                  <a:pt x="22" y="106"/>
                </a:cubicBezTo>
                <a:cubicBezTo>
                  <a:pt x="23" y="108"/>
                  <a:pt x="26" y="110"/>
                  <a:pt x="26" y="112"/>
                </a:cubicBezTo>
                <a:cubicBezTo>
                  <a:pt x="26" y="114"/>
                  <a:pt x="24" y="115"/>
                  <a:pt x="24" y="117"/>
                </a:cubicBezTo>
                <a:cubicBezTo>
                  <a:pt x="25" y="120"/>
                  <a:pt x="26" y="127"/>
                  <a:pt x="24" y="129"/>
                </a:cubicBezTo>
                <a:cubicBezTo>
                  <a:pt x="26" y="129"/>
                  <a:pt x="30" y="131"/>
                  <a:pt x="32" y="130"/>
                </a:cubicBezTo>
                <a:cubicBezTo>
                  <a:pt x="33" y="129"/>
                  <a:pt x="34" y="126"/>
                  <a:pt x="36" y="127"/>
                </a:cubicBezTo>
                <a:cubicBezTo>
                  <a:pt x="37" y="127"/>
                  <a:pt x="37" y="128"/>
                  <a:pt x="39" y="127"/>
                </a:cubicBezTo>
                <a:cubicBezTo>
                  <a:pt x="42" y="126"/>
                  <a:pt x="44" y="128"/>
                  <a:pt x="47" y="126"/>
                </a:cubicBezTo>
                <a:cubicBezTo>
                  <a:pt x="48" y="126"/>
                  <a:pt x="50" y="127"/>
                  <a:pt x="50" y="126"/>
                </a:cubicBezTo>
                <a:cubicBezTo>
                  <a:pt x="51" y="125"/>
                  <a:pt x="51" y="125"/>
                  <a:pt x="52" y="125"/>
                </a:cubicBezTo>
                <a:cubicBezTo>
                  <a:pt x="52" y="124"/>
                  <a:pt x="55" y="123"/>
                  <a:pt x="55" y="123"/>
                </a:cubicBezTo>
                <a:cubicBezTo>
                  <a:pt x="56" y="123"/>
                  <a:pt x="56" y="124"/>
                  <a:pt x="58" y="124"/>
                </a:cubicBezTo>
                <a:cubicBezTo>
                  <a:pt x="60" y="123"/>
                  <a:pt x="59" y="122"/>
                  <a:pt x="60" y="121"/>
                </a:cubicBezTo>
                <a:cubicBezTo>
                  <a:pt x="61" y="119"/>
                  <a:pt x="62" y="121"/>
                  <a:pt x="63" y="121"/>
                </a:cubicBezTo>
                <a:cubicBezTo>
                  <a:pt x="65" y="121"/>
                  <a:pt x="66" y="117"/>
                  <a:pt x="67" y="120"/>
                </a:cubicBezTo>
                <a:cubicBezTo>
                  <a:pt x="67" y="122"/>
                  <a:pt x="71" y="120"/>
                  <a:pt x="72" y="120"/>
                </a:cubicBezTo>
                <a:cubicBezTo>
                  <a:pt x="74" y="119"/>
                  <a:pt x="75" y="120"/>
                  <a:pt x="75" y="122"/>
                </a:cubicBezTo>
                <a:cubicBezTo>
                  <a:pt x="76" y="124"/>
                  <a:pt x="76" y="125"/>
                  <a:pt x="79" y="125"/>
                </a:cubicBezTo>
                <a:cubicBezTo>
                  <a:pt x="79" y="126"/>
                  <a:pt x="83" y="129"/>
                  <a:pt x="83" y="128"/>
                </a:cubicBezTo>
                <a:cubicBezTo>
                  <a:pt x="84" y="128"/>
                  <a:pt x="83" y="126"/>
                  <a:pt x="86" y="126"/>
                </a:cubicBezTo>
                <a:cubicBezTo>
                  <a:pt x="88" y="126"/>
                  <a:pt x="90" y="127"/>
                  <a:pt x="91" y="129"/>
                </a:cubicBezTo>
                <a:cubicBezTo>
                  <a:pt x="93" y="129"/>
                  <a:pt x="95" y="130"/>
                  <a:pt x="96" y="131"/>
                </a:cubicBezTo>
                <a:cubicBezTo>
                  <a:pt x="97" y="132"/>
                  <a:pt x="98" y="133"/>
                  <a:pt x="99" y="133"/>
                </a:cubicBezTo>
                <a:cubicBezTo>
                  <a:pt x="101" y="133"/>
                  <a:pt x="102" y="133"/>
                  <a:pt x="104" y="132"/>
                </a:cubicBezTo>
                <a:cubicBezTo>
                  <a:pt x="106" y="131"/>
                  <a:pt x="108" y="130"/>
                  <a:pt x="110" y="130"/>
                </a:cubicBezTo>
                <a:cubicBezTo>
                  <a:pt x="110" y="130"/>
                  <a:pt x="111" y="131"/>
                  <a:pt x="112" y="131"/>
                </a:cubicBezTo>
                <a:cubicBezTo>
                  <a:pt x="112" y="131"/>
                  <a:pt x="112" y="130"/>
                  <a:pt x="112" y="130"/>
                </a:cubicBezTo>
                <a:cubicBezTo>
                  <a:pt x="114" y="130"/>
                  <a:pt x="115" y="129"/>
                  <a:pt x="117" y="130"/>
                </a:cubicBezTo>
                <a:cubicBezTo>
                  <a:pt x="119" y="130"/>
                  <a:pt x="125" y="130"/>
                  <a:pt x="126" y="127"/>
                </a:cubicBezTo>
                <a:cubicBezTo>
                  <a:pt x="126" y="126"/>
                  <a:pt x="127" y="125"/>
                  <a:pt x="126" y="124"/>
                </a:cubicBezTo>
                <a:cubicBezTo>
                  <a:pt x="125" y="123"/>
                  <a:pt x="127" y="121"/>
                  <a:pt x="126" y="120"/>
                </a:cubicBezTo>
                <a:cubicBezTo>
                  <a:pt x="125" y="119"/>
                  <a:pt x="125" y="117"/>
                  <a:pt x="124" y="116"/>
                </a:cubicBezTo>
                <a:cubicBezTo>
                  <a:pt x="123" y="115"/>
                  <a:pt x="121" y="115"/>
                  <a:pt x="123" y="113"/>
                </a:cubicBezTo>
                <a:cubicBezTo>
                  <a:pt x="126" y="110"/>
                  <a:pt x="128" y="113"/>
                  <a:pt x="131" y="113"/>
                </a:cubicBezTo>
                <a:cubicBezTo>
                  <a:pt x="128" y="110"/>
                  <a:pt x="132" y="108"/>
                  <a:pt x="134" y="108"/>
                </a:cubicBezTo>
                <a:cubicBezTo>
                  <a:pt x="136" y="108"/>
                  <a:pt x="137" y="107"/>
                  <a:pt x="137" y="106"/>
                </a:cubicBezTo>
                <a:cubicBezTo>
                  <a:pt x="138" y="105"/>
                  <a:pt x="137" y="104"/>
                  <a:pt x="137" y="103"/>
                </a:cubicBezTo>
                <a:cubicBezTo>
                  <a:pt x="138" y="99"/>
                  <a:pt x="145" y="103"/>
                  <a:pt x="149" y="99"/>
                </a:cubicBezTo>
                <a:cubicBezTo>
                  <a:pt x="151" y="98"/>
                  <a:pt x="151" y="96"/>
                  <a:pt x="153" y="96"/>
                </a:cubicBezTo>
                <a:cubicBezTo>
                  <a:pt x="154" y="96"/>
                  <a:pt x="155" y="97"/>
                  <a:pt x="156" y="96"/>
                </a:cubicBezTo>
                <a:cubicBezTo>
                  <a:pt x="157" y="96"/>
                  <a:pt x="157" y="95"/>
                  <a:pt x="158" y="95"/>
                </a:cubicBezTo>
                <a:cubicBezTo>
                  <a:pt x="161" y="94"/>
                  <a:pt x="162" y="98"/>
                  <a:pt x="164" y="100"/>
                </a:cubicBezTo>
                <a:cubicBezTo>
                  <a:pt x="165" y="100"/>
                  <a:pt x="168" y="104"/>
                  <a:pt x="169" y="103"/>
                </a:cubicBezTo>
                <a:cubicBezTo>
                  <a:pt x="168" y="104"/>
                  <a:pt x="171" y="101"/>
                  <a:pt x="170" y="102"/>
                </a:cubicBezTo>
                <a:cubicBezTo>
                  <a:pt x="171" y="101"/>
                  <a:pt x="172" y="101"/>
                  <a:pt x="173" y="101"/>
                </a:cubicBezTo>
                <a:cubicBezTo>
                  <a:pt x="174" y="101"/>
                  <a:pt x="176" y="102"/>
                  <a:pt x="177" y="102"/>
                </a:cubicBezTo>
                <a:cubicBezTo>
                  <a:pt x="177" y="101"/>
                  <a:pt x="176" y="100"/>
                  <a:pt x="177" y="100"/>
                </a:cubicBezTo>
                <a:cubicBezTo>
                  <a:pt x="178" y="99"/>
                  <a:pt x="181" y="101"/>
                  <a:pt x="182" y="100"/>
                </a:cubicBezTo>
                <a:cubicBezTo>
                  <a:pt x="185" y="99"/>
                  <a:pt x="175" y="90"/>
                  <a:pt x="174" y="89"/>
                </a:cubicBezTo>
                <a:cubicBezTo>
                  <a:pt x="173" y="88"/>
                  <a:pt x="175" y="86"/>
                  <a:pt x="174" y="85"/>
                </a:cubicBezTo>
                <a:cubicBezTo>
                  <a:pt x="173" y="84"/>
                  <a:pt x="173" y="85"/>
                  <a:pt x="172" y="84"/>
                </a:cubicBezTo>
                <a:cubicBezTo>
                  <a:pt x="172" y="83"/>
                  <a:pt x="172" y="82"/>
                  <a:pt x="172" y="81"/>
                </a:cubicBezTo>
                <a:cubicBezTo>
                  <a:pt x="171" y="80"/>
                  <a:pt x="170" y="82"/>
                  <a:pt x="170" y="81"/>
                </a:cubicBezTo>
                <a:cubicBezTo>
                  <a:pt x="170" y="80"/>
                  <a:pt x="170" y="80"/>
                  <a:pt x="169" y="79"/>
                </a:cubicBezTo>
                <a:cubicBezTo>
                  <a:pt x="168" y="79"/>
                  <a:pt x="167" y="80"/>
                  <a:pt x="166" y="80"/>
                </a:cubicBezTo>
                <a:cubicBezTo>
                  <a:pt x="165" y="80"/>
                  <a:pt x="164" y="78"/>
                  <a:pt x="164" y="80"/>
                </a:cubicBezTo>
                <a:cubicBezTo>
                  <a:pt x="162" y="77"/>
                  <a:pt x="167" y="74"/>
                  <a:pt x="169" y="75"/>
                </a:cubicBezTo>
                <a:cubicBezTo>
                  <a:pt x="168" y="72"/>
                  <a:pt x="170" y="71"/>
                  <a:pt x="172" y="70"/>
                </a:cubicBezTo>
                <a:cubicBezTo>
                  <a:pt x="169" y="68"/>
                  <a:pt x="173" y="68"/>
                  <a:pt x="174" y="68"/>
                </a:cubicBezTo>
                <a:cubicBezTo>
                  <a:pt x="177" y="68"/>
                  <a:pt x="177" y="67"/>
                  <a:pt x="176" y="63"/>
                </a:cubicBezTo>
                <a:cubicBezTo>
                  <a:pt x="176" y="61"/>
                  <a:pt x="176" y="59"/>
                  <a:pt x="176" y="57"/>
                </a:cubicBezTo>
                <a:cubicBezTo>
                  <a:pt x="176" y="55"/>
                  <a:pt x="176" y="52"/>
                  <a:pt x="176" y="50"/>
                </a:cubicBezTo>
                <a:cubicBezTo>
                  <a:pt x="177" y="48"/>
                  <a:pt x="177" y="48"/>
                  <a:pt x="176" y="47"/>
                </a:cubicBezTo>
                <a:cubicBezTo>
                  <a:pt x="174" y="46"/>
                  <a:pt x="178" y="45"/>
                  <a:pt x="178" y="45"/>
                </a:cubicBezTo>
                <a:cubicBezTo>
                  <a:pt x="180" y="45"/>
                  <a:pt x="180" y="40"/>
                  <a:pt x="181" y="38"/>
                </a:cubicBezTo>
                <a:cubicBezTo>
                  <a:pt x="182" y="36"/>
                  <a:pt x="184" y="36"/>
                  <a:pt x="186" y="36"/>
                </a:cubicBezTo>
                <a:cubicBezTo>
                  <a:pt x="188" y="36"/>
                  <a:pt x="189" y="36"/>
                  <a:pt x="191" y="37"/>
                </a:cubicBezTo>
                <a:cubicBezTo>
                  <a:pt x="193" y="38"/>
                  <a:pt x="195" y="36"/>
                  <a:pt x="196" y="33"/>
                </a:cubicBezTo>
                <a:cubicBezTo>
                  <a:pt x="197" y="30"/>
                  <a:pt x="194" y="25"/>
                  <a:pt x="195" y="21"/>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171">
            <a:extLst>
              <a:ext uri="{FF2B5EF4-FFF2-40B4-BE49-F238E27FC236}">
                <a16:creationId xmlns:a16="http://schemas.microsoft.com/office/drawing/2014/main" id="{1AEA84DC-131C-45B4-92D6-822B745B990E}"/>
              </a:ext>
            </a:extLst>
          </p:cNvPr>
          <p:cNvSpPr>
            <a:spLocks/>
          </p:cNvSpPr>
          <p:nvPr/>
        </p:nvSpPr>
        <p:spPr bwMode="auto">
          <a:xfrm>
            <a:off x="3554702" y="3379117"/>
            <a:ext cx="376615" cy="256257"/>
          </a:xfrm>
          <a:custGeom>
            <a:avLst/>
            <a:gdLst>
              <a:gd name="T0" fmla="*/ 128 w 135"/>
              <a:gd name="T1" fmla="*/ 9 h 91"/>
              <a:gd name="T2" fmla="*/ 110 w 135"/>
              <a:gd name="T3" fmla="*/ 10 h 91"/>
              <a:gd name="T4" fmla="*/ 90 w 135"/>
              <a:gd name="T5" fmla="*/ 5 h 91"/>
              <a:gd name="T6" fmla="*/ 76 w 135"/>
              <a:gd name="T7" fmla="*/ 3 h 91"/>
              <a:gd name="T8" fmla="*/ 68 w 135"/>
              <a:gd name="T9" fmla="*/ 2 h 91"/>
              <a:gd name="T10" fmla="*/ 63 w 135"/>
              <a:gd name="T11" fmla="*/ 1 h 91"/>
              <a:gd name="T12" fmla="*/ 58 w 135"/>
              <a:gd name="T13" fmla="*/ 1 h 91"/>
              <a:gd name="T14" fmla="*/ 56 w 135"/>
              <a:gd name="T15" fmla="*/ 6 h 91"/>
              <a:gd name="T16" fmla="*/ 49 w 135"/>
              <a:gd name="T17" fmla="*/ 7 h 91"/>
              <a:gd name="T18" fmla="*/ 38 w 135"/>
              <a:gd name="T19" fmla="*/ 6 h 91"/>
              <a:gd name="T20" fmla="*/ 36 w 135"/>
              <a:gd name="T21" fmla="*/ 9 h 91"/>
              <a:gd name="T22" fmla="*/ 26 w 135"/>
              <a:gd name="T23" fmla="*/ 9 h 91"/>
              <a:gd name="T24" fmla="*/ 21 w 135"/>
              <a:gd name="T25" fmla="*/ 11 h 91"/>
              <a:gd name="T26" fmla="*/ 19 w 135"/>
              <a:gd name="T27" fmla="*/ 15 h 91"/>
              <a:gd name="T28" fmla="*/ 10 w 135"/>
              <a:gd name="T29" fmla="*/ 18 h 91"/>
              <a:gd name="T30" fmla="*/ 2 w 135"/>
              <a:gd name="T31" fmla="*/ 21 h 91"/>
              <a:gd name="T32" fmla="*/ 4 w 135"/>
              <a:gd name="T33" fmla="*/ 29 h 91"/>
              <a:gd name="T34" fmla="*/ 6 w 135"/>
              <a:gd name="T35" fmla="*/ 26 h 91"/>
              <a:gd name="T36" fmla="*/ 2 w 135"/>
              <a:gd name="T37" fmla="*/ 31 h 91"/>
              <a:gd name="T38" fmla="*/ 3 w 135"/>
              <a:gd name="T39" fmla="*/ 38 h 91"/>
              <a:gd name="T40" fmla="*/ 13 w 135"/>
              <a:gd name="T41" fmla="*/ 39 h 91"/>
              <a:gd name="T42" fmla="*/ 6 w 135"/>
              <a:gd name="T43" fmla="*/ 47 h 91"/>
              <a:gd name="T44" fmla="*/ 15 w 135"/>
              <a:gd name="T45" fmla="*/ 56 h 91"/>
              <a:gd name="T46" fmla="*/ 29 w 135"/>
              <a:gd name="T47" fmla="*/ 55 h 91"/>
              <a:gd name="T48" fmla="*/ 34 w 135"/>
              <a:gd name="T49" fmla="*/ 61 h 91"/>
              <a:gd name="T50" fmla="*/ 31 w 135"/>
              <a:gd name="T51" fmla="*/ 76 h 91"/>
              <a:gd name="T52" fmla="*/ 43 w 135"/>
              <a:gd name="T53" fmla="*/ 70 h 91"/>
              <a:gd name="T54" fmla="*/ 55 w 135"/>
              <a:gd name="T55" fmla="*/ 68 h 91"/>
              <a:gd name="T56" fmla="*/ 59 w 135"/>
              <a:gd name="T57" fmla="*/ 68 h 91"/>
              <a:gd name="T58" fmla="*/ 65 w 135"/>
              <a:gd name="T59" fmla="*/ 71 h 91"/>
              <a:gd name="T60" fmla="*/ 74 w 135"/>
              <a:gd name="T61" fmla="*/ 76 h 91"/>
              <a:gd name="T62" fmla="*/ 80 w 135"/>
              <a:gd name="T63" fmla="*/ 79 h 91"/>
              <a:gd name="T64" fmla="*/ 87 w 135"/>
              <a:gd name="T65" fmla="*/ 86 h 91"/>
              <a:gd name="T66" fmla="*/ 98 w 135"/>
              <a:gd name="T67" fmla="*/ 89 h 91"/>
              <a:gd name="T68" fmla="*/ 104 w 135"/>
              <a:gd name="T69" fmla="*/ 86 h 91"/>
              <a:gd name="T70" fmla="*/ 110 w 135"/>
              <a:gd name="T71" fmla="*/ 88 h 91"/>
              <a:gd name="T72" fmla="*/ 118 w 135"/>
              <a:gd name="T73" fmla="*/ 88 h 91"/>
              <a:gd name="T74" fmla="*/ 120 w 135"/>
              <a:gd name="T75" fmla="*/ 83 h 91"/>
              <a:gd name="T76" fmla="*/ 122 w 135"/>
              <a:gd name="T77" fmla="*/ 78 h 91"/>
              <a:gd name="T78" fmla="*/ 126 w 135"/>
              <a:gd name="T79" fmla="*/ 74 h 91"/>
              <a:gd name="T80" fmla="*/ 124 w 135"/>
              <a:gd name="T81" fmla="*/ 68 h 91"/>
              <a:gd name="T82" fmla="*/ 119 w 135"/>
              <a:gd name="T83" fmla="*/ 56 h 91"/>
              <a:gd name="T84" fmla="*/ 116 w 135"/>
              <a:gd name="T85" fmla="*/ 43 h 91"/>
              <a:gd name="T86" fmla="*/ 124 w 135"/>
              <a:gd name="T87" fmla="*/ 21 h 91"/>
              <a:gd name="T88" fmla="*/ 128 w 135"/>
              <a:gd name="T89" fmla="*/ 1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 h="91">
                <a:moveTo>
                  <a:pt x="132" y="11"/>
                </a:moveTo>
                <a:cubicBezTo>
                  <a:pt x="131" y="10"/>
                  <a:pt x="129" y="9"/>
                  <a:pt x="128" y="9"/>
                </a:cubicBezTo>
                <a:cubicBezTo>
                  <a:pt x="127" y="9"/>
                  <a:pt x="126" y="10"/>
                  <a:pt x="125" y="11"/>
                </a:cubicBezTo>
                <a:cubicBezTo>
                  <a:pt x="121" y="13"/>
                  <a:pt x="115" y="10"/>
                  <a:pt x="110" y="10"/>
                </a:cubicBezTo>
                <a:cubicBezTo>
                  <a:pt x="106" y="10"/>
                  <a:pt x="100" y="10"/>
                  <a:pt x="96" y="9"/>
                </a:cubicBezTo>
                <a:cubicBezTo>
                  <a:pt x="94" y="8"/>
                  <a:pt x="92" y="6"/>
                  <a:pt x="90" y="5"/>
                </a:cubicBezTo>
                <a:cubicBezTo>
                  <a:pt x="88" y="5"/>
                  <a:pt x="86" y="6"/>
                  <a:pt x="84" y="5"/>
                </a:cubicBezTo>
                <a:cubicBezTo>
                  <a:pt x="83" y="5"/>
                  <a:pt x="79" y="4"/>
                  <a:pt x="76" y="3"/>
                </a:cubicBezTo>
                <a:cubicBezTo>
                  <a:pt x="74" y="2"/>
                  <a:pt x="71" y="2"/>
                  <a:pt x="71" y="3"/>
                </a:cubicBezTo>
                <a:cubicBezTo>
                  <a:pt x="70" y="4"/>
                  <a:pt x="70" y="2"/>
                  <a:pt x="68" y="2"/>
                </a:cubicBezTo>
                <a:cubicBezTo>
                  <a:pt x="67" y="3"/>
                  <a:pt x="68" y="5"/>
                  <a:pt x="66" y="4"/>
                </a:cubicBezTo>
                <a:cubicBezTo>
                  <a:pt x="64" y="3"/>
                  <a:pt x="65" y="0"/>
                  <a:pt x="63" y="1"/>
                </a:cubicBezTo>
                <a:cubicBezTo>
                  <a:pt x="62" y="1"/>
                  <a:pt x="63" y="4"/>
                  <a:pt x="63" y="4"/>
                </a:cubicBezTo>
                <a:cubicBezTo>
                  <a:pt x="62" y="7"/>
                  <a:pt x="59" y="2"/>
                  <a:pt x="58" y="1"/>
                </a:cubicBezTo>
                <a:cubicBezTo>
                  <a:pt x="56" y="0"/>
                  <a:pt x="57" y="5"/>
                  <a:pt x="59" y="6"/>
                </a:cubicBezTo>
                <a:cubicBezTo>
                  <a:pt x="58" y="6"/>
                  <a:pt x="57" y="6"/>
                  <a:pt x="56" y="6"/>
                </a:cubicBezTo>
                <a:cubicBezTo>
                  <a:pt x="55" y="7"/>
                  <a:pt x="55" y="7"/>
                  <a:pt x="55" y="8"/>
                </a:cubicBezTo>
                <a:cubicBezTo>
                  <a:pt x="53" y="8"/>
                  <a:pt x="51" y="7"/>
                  <a:pt x="49" y="7"/>
                </a:cubicBezTo>
                <a:cubicBezTo>
                  <a:pt x="47" y="6"/>
                  <a:pt x="44" y="8"/>
                  <a:pt x="41" y="6"/>
                </a:cubicBezTo>
                <a:cubicBezTo>
                  <a:pt x="41" y="6"/>
                  <a:pt x="38" y="4"/>
                  <a:pt x="38" y="6"/>
                </a:cubicBezTo>
                <a:cubicBezTo>
                  <a:pt x="38" y="7"/>
                  <a:pt x="39" y="8"/>
                  <a:pt x="39" y="9"/>
                </a:cubicBezTo>
                <a:cubicBezTo>
                  <a:pt x="38" y="10"/>
                  <a:pt x="36" y="9"/>
                  <a:pt x="36" y="9"/>
                </a:cubicBezTo>
                <a:cubicBezTo>
                  <a:pt x="35" y="8"/>
                  <a:pt x="33" y="9"/>
                  <a:pt x="35" y="10"/>
                </a:cubicBezTo>
                <a:cubicBezTo>
                  <a:pt x="32" y="11"/>
                  <a:pt x="29" y="7"/>
                  <a:pt x="26" y="9"/>
                </a:cubicBezTo>
                <a:cubicBezTo>
                  <a:pt x="25" y="9"/>
                  <a:pt x="25" y="11"/>
                  <a:pt x="24" y="11"/>
                </a:cubicBezTo>
                <a:cubicBezTo>
                  <a:pt x="23" y="12"/>
                  <a:pt x="22" y="11"/>
                  <a:pt x="21" y="11"/>
                </a:cubicBezTo>
                <a:cubicBezTo>
                  <a:pt x="22" y="12"/>
                  <a:pt x="23" y="13"/>
                  <a:pt x="23" y="13"/>
                </a:cubicBezTo>
                <a:cubicBezTo>
                  <a:pt x="23" y="14"/>
                  <a:pt x="14" y="9"/>
                  <a:pt x="19" y="15"/>
                </a:cubicBezTo>
                <a:cubicBezTo>
                  <a:pt x="21" y="18"/>
                  <a:pt x="12" y="16"/>
                  <a:pt x="11" y="17"/>
                </a:cubicBezTo>
                <a:cubicBezTo>
                  <a:pt x="9" y="18"/>
                  <a:pt x="10" y="17"/>
                  <a:pt x="10" y="18"/>
                </a:cubicBezTo>
                <a:cubicBezTo>
                  <a:pt x="10" y="18"/>
                  <a:pt x="6" y="18"/>
                  <a:pt x="6" y="18"/>
                </a:cubicBezTo>
                <a:cubicBezTo>
                  <a:pt x="5" y="18"/>
                  <a:pt x="2" y="19"/>
                  <a:pt x="2" y="21"/>
                </a:cubicBezTo>
                <a:cubicBezTo>
                  <a:pt x="3" y="22"/>
                  <a:pt x="5" y="23"/>
                  <a:pt x="4" y="25"/>
                </a:cubicBezTo>
                <a:cubicBezTo>
                  <a:pt x="3" y="24"/>
                  <a:pt x="0" y="29"/>
                  <a:pt x="4" y="29"/>
                </a:cubicBezTo>
                <a:cubicBezTo>
                  <a:pt x="5" y="29"/>
                  <a:pt x="5" y="29"/>
                  <a:pt x="6" y="29"/>
                </a:cubicBezTo>
                <a:cubicBezTo>
                  <a:pt x="7" y="28"/>
                  <a:pt x="7" y="27"/>
                  <a:pt x="6" y="26"/>
                </a:cubicBezTo>
                <a:cubicBezTo>
                  <a:pt x="7" y="27"/>
                  <a:pt x="8" y="29"/>
                  <a:pt x="7" y="30"/>
                </a:cubicBezTo>
                <a:cubicBezTo>
                  <a:pt x="6" y="31"/>
                  <a:pt x="3" y="30"/>
                  <a:pt x="2" y="31"/>
                </a:cubicBezTo>
                <a:cubicBezTo>
                  <a:pt x="1" y="32"/>
                  <a:pt x="5" y="35"/>
                  <a:pt x="5" y="36"/>
                </a:cubicBezTo>
                <a:cubicBezTo>
                  <a:pt x="4" y="36"/>
                  <a:pt x="3" y="37"/>
                  <a:pt x="3" y="38"/>
                </a:cubicBezTo>
                <a:cubicBezTo>
                  <a:pt x="7" y="39"/>
                  <a:pt x="11" y="36"/>
                  <a:pt x="15" y="38"/>
                </a:cubicBezTo>
                <a:cubicBezTo>
                  <a:pt x="12" y="37"/>
                  <a:pt x="14" y="38"/>
                  <a:pt x="13" y="39"/>
                </a:cubicBezTo>
                <a:cubicBezTo>
                  <a:pt x="13" y="39"/>
                  <a:pt x="4" y="37"/>
                  <a:pt x="6" y="41"/>
                </a:cubicBezTo>
                <a:cubicBezTo>
                  <a:pt x="4" y="40"/>
                  <a:pt x="6" y="47"/>
                  <a:pt x="6" y="47"/>
                </a:cubicBezTo>
                <a:cubicBezTo>
                  <a:pt x="7" y="46"/>
                  <a:pt x="10" y="47"/>
                  <a:pt x="11" y="49"/>
                </a:cubicBezTo>
                <a:cubicBezTo>
                  <a:pt x="12" y="52"/>
                  <a:pt x="11" y="56"/>
                  <a:pt x="15" y="56"/>
                </a:cubicBezTo>
                <a:cubicBezTo>
                  <a:pt x="18" y="55"/>
                  <a:pt x="20" y="58"/>
                  <a:pt x="23" y="59"/>
                </a:cubicBezTo>
                <a:cubicBezTo>
                  <a:pt x="25" y="61"/>
                  <a:pt x="28" y="57"/>
                  <a:pt x="29" y="55"/>
                </a:cubicBezTo>
                <a:cubicBezTo>
                  <a:pt x="30" y="53"/>
                  <a:pt x="36" y="55"/>
                  <a:pt x="36" y="57"/>
                </a:cubicBezTo>
                <a:cubicBezTo>
                  <a:pt x="36" y="58"/>
                  <a:pt x="34" y="59"/>
                  <a:pt x="34" y="61"/>
                </a:cubicBezTo>
                <a:cubicBezTo>
                  <a:pt x="33" y="62"/>
                  <a:pt x="34" y="64"/>
                  <a:pt x="34" y="66"/>
                </a:cubicBezTo>
                <a:cubicBezTo>
                  <a:pt x="34" y="69"/>
                  <a:pt x="32" y="73"/>
                  <a:pt x="31" y="76"/>
                </a:cubicBezTo>
                <a:cubicBezTo>
                  <a:pt x="34" y="76"/>
                  <a:pt x="36" y="72"/>
                  <a:pt x="39" y="72"/>
                </a:cubicBezTo>
                <a:cubicBezTo>
                  <a:pt x="42" y="72"/>
                  <a:pt x="41" y="71"/>
                  <a:pt x="43" y="70"/>
                </a:cubicBezTo>
                <a:cubicBezTo>
                  <a:pt x="44" y="70"/>
                  <a:pt x="45" y="71"/>
                  <a:pt x="46" y="70"/>
                </a:cubicBezTo>
                <a:cubicBezTo>
                  <a:pt x="48" y="69"/>
                  <a:pt x="54" y="65"/>
                  <a:pt x="55" y="68"/>
                </a:cubicBezTo>
                <a:cubicBezTo>
                  <a:pt x="56" y="71"/>
                  <a:pt x="59" y="70"/>
                  <a:pt x="57" y="67"/>
                </a:cubicBezTo>
                <a:cubicBezTo>
                  <a:pt x="57" y="66"/>
                  <a:pt x="58" y="67"/>
                  <a:pt x="59" y="68"/>
                </a:cubicBezTo>
                <a:cubicBezTo>
                  <a:pt x="59" y="69"/>
                  <a:pt x="61" y="68"/>
                  <a:pt x="62" y="69"/>
                </a:cubicBezTo>
                <a:cubicBezTo>
                  <a:pt x="63" y="71"/>
                  <a:pt x="64" y="71"/>
                  <a:pt x="65" y="71"/>
                </a:cubicBezTo>
                <a:cubicBezTo>
                  <a:pt x="67" y="72"/>
                  <a:pt x="67" y="74"/>
                  <a:pt x="68" y="74"/>
                </a:cubicBezTo>
                <a:cubicBezTo>
                  <a:pt x="72" y="73"/>
                  <a:pt x="71" y="75"/>
                  <a:pt x="74" y="76"/>
                </a:cubicBezTo>
                <a:cubicBezTo>
                  <a:pt x="75" y="76"/>
                  <a:pt x="77" y="76"/>
                  <a:pt x="78" y="76"/>
                </a:cubicBezTo>
                <a:cubicBezTo>
                  <a:pt x="80" y="76"/>
                  <a:pt x="79" y="78"/>
                  <a:pt x="80" y="79"/>
                </a:cubicBezTo>
                <a:cubicBezTo>
                  <a:pt x="81" y="80"/>
                  <a:pt x="82" y="81"/>
                  <a:pt x="83" y="82"/>
                </a:cubicBezTo>
                <a:cubicBezTo>
                  <a:pt x="84" y="83"/>
                  <a:pt x="86" y="85"/>
                  <a:pt x="87" y="86"/>
                </a:cubicBezTo>
                <a:cubicBezTo>
                  <a:pt x="89" y="88"/>
                  <a:pt x="93" y="89"/>
                  <a:pt x="95" y="90"/>
                </a:cubicBezTo>
                <a:cubicBezTo>
                  <a:pt x="96" y="90"/>
                  <a:pt x="97" y="89"/>
                  <a:pt x="98" y="89"/>
                </a:cubicBezTo>
                <a:cubicBezTo>
                  <a:pt x="99" y="88"/>
                  <a:pt x="100" y="88"/>
                  <a:pt x="102" y="88"/>
                </a:cubicBezTo>
                <a:cubicBezTo>
                  <a:pt x="103" y="88"/>
                  <a:pt x="103" y="86"/>
                  <a:pt x="104" y="86"/>
                </a:cubicBezTo>
                <a:cubicBezTo>
                  <a:pt x="104" y="85"/>
                  <a:pt x="107" y="86"/>
                  <a:pt x="107" y="86"/>
                </a:cubicBezTo>
                <a:cubicBezTo>
                  <a:pt x="109" y="87"/>
                  <a:pt x="109" y="88"/>
                  <a:pt x="110" y="88"/>
                </a:cubicBezTo>
                <a:cubicBezTo>
                  <a:pt x="112" y="89"/>
                  <a:pt x="114" y="89"/>
                  <a:pt x="115" y="89"/>
                </a:cubicBezTo>
                <a:cubicBezTo>
                  <a:pt x="118" y="90"/>
                  <a:pt x="118" y="91"/>
                  <a:pt x="118" y="88"/>
                </a:cubicBezTo>
                <a:cubicBezTo>
                  <a:pt x="118" y="87"/>
                  <a:pt x="119" y="86"/>
                  <a:pt x="119" y="85"/>
                </a:cubicBezTo>
                <a:cubicBezTo>
                  <a:pt x="119" y="84"/>
                  <a:pt x="118" y="84"/>
                  <a:pt x="120" y="83"/>
                </a:cubicBezTo>
                <a:cubicBezTo>
                  <a:pt x="121" y="82"/>
                  <a:pt x="121" y="83"/>
                  <a:pt x="122" y="81"/>
                </a:cubicBezTo>
                <a:cubicBezTo>
                  <a:pt x="122" y="80"/>
                  <a:pt x="123" y="78"/>
                  <a:pt x="122" y="78"/>
                </a:cubicBezTo>
                <a:cubicBezTo>
                  <a:pt x="123" y="78"/>
                  <a:pt x="131" y="76"/>
                  <a:pt x="129" y="75"/>
                </a:cubicBezTo>
                <a:cubicBezTo>
                  <a:pt x="128" y="74"/>
                  <a:pt x="127" y="74"/>
                  <a:pt x="126" y="74"/>
                </a:cubicBezTo>
                <a:cubicBezTo>
                  <a:pt x="125" y="73"/>
                  <a:pt x="126" y="72"/>
                  <a:pt x="126" y="71"/>
                </a:cubicBezTo>
                <a:cubicBezTo>
                  <a:pt x="125" y="69"/>
                  <a:pt x="123" y="70"/>
                  <a:pt x="124" y="68"/>
                </a:cubicBezTo>
                <a:cubicBezTo>
                  <a:pt x="125" y="66"/>
                  <a:pt x="123" y="66"/>
                  <a:pt x="122" y="65"/>
                </a:cubicBezTo>
                <a:cubicBezTo>
                  <a:pt x="118" y="62"/>
                  <a:pt x="117" y="60"/>
                  <a:pt x="119" y="56"/>
                </a:cubicBezTo>
                <a:cubicBezTo>
                  <a:pt x="120" y="54"/>
                  <a:pt x="119" y="51"/>
                  <a:pt x="118" y="49"/>
                </a:cubicBezTo>
                <a:cubicBezTo>
                  <a:pt x="117" y="46"/>
                  <a:pt x="116" y="44"/>
                  <a:pt x="116" y="43"/>
                </a:cubicBezTo>
                <a:cubicBezTo>
                  <a:pt x="114" y="38"/>
                  <a:pt x="114" y="35"/>
                  <a:pt x="118" y="31"/>
                </a:cubicBezTo>
                <a:cubicBezTo>
                  <a:pt x="122" y="29"/>
                  <a:pt x="124" y="26"/>
                  <a:pt x="124" y="21"/>
                </a:cubicBezTo>
                <a:cubicBezTo>
                  <a:pt x="125" y="15"/>
                  <a:pt x="127" y="16"/>
                  <a:pt x="131" y="15"/>
                </a:cubicBezTo>
                <a:cubicBezTo>
                  <a:pt x="130" y="15"/>
                  <a:pt x="129" y="15"/>
                  <a:pt x="128" y="14"/>
                </a:cubicBezTo>
                <a:cubicBezTo>
                  <a:pt x="129" y="14"/>
                  <a:pt x="135" y="14"/>
                  <a:pt x="132" y="11"/>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173">
            <a:extLst>
              <a:ext uri="{FF2B5EF4-FFF2-40B4-BE49-F238E27FC236}">
                <a16:creationId xmlns:a16="http://schemas.microsoft.com/office/drawing/2014/main" id="{B00119C3-5414-4EF3-B438-4C4495F5E6AE}"/>
              </a:ext>
            </a:extLst>
          </p:cNvPr>
          <p:cNvSpPr>
            <a:spLocks/>
          </p:cNvSpPr>
          <p:nvPr/>
        </p:nvSpPr>
        <p:spPr bwMode="auto">
          <a:xfrm>
            <a:off x="3389417" y="3565052"/>
            <a:ext cx="578498" cy="290822"/>
          </a:xfrm>
          <a:custGeom>
            <a:avLst/>
            <a:gdLst>
              <a:gd name="T0" fmla="*/ 203 w 207"/>
              <a:gd name="T1" fmla="*/ 65 h 103"/>
              <a:gd name="T2" fmla="*/ 196 w 207"/>
              <a:gd name="T3" fmla="*/ 57 h 103"/>
              <a:gd name="T4" fmla="*/ 189 w 207"/>
              <a:gd name="T5" fmla="*/ 53 h 103"/>
              <a:gd name="T6" fmla="*/ 191 w 207"/>
              <a:gd name="T7" fmla="*/ 44 h 103"/>
              <a:gd name="T8" fmla="*/ 192 w 207"/>
              <a:gd name="T9" fmla="*/ 35 h 103"/>
              <a:gd name="T10" fmla="*/ 183 w 207"/>
              <a:gd name="T11" fmla="*/ 28 h 103"/>
              <a:gd name="T12" fmla="*/ 177 w 207"/>
              <a:gd name="T13" fmla="*/ 24 h 103"/>
              <a:gd name="T14" fmla="*/ 162 w 207"/>
              <a:gd name="T15" fmla="*/ 21 h 103"/>
              <a:gd name="T16" fmla="*/ 149 w 207"/>
              <a:gd name="T17" fmla="*/ 22 h 103"/>
              <a:gd name="T18" fmla="*/ 138 w 207"/>
              <a:gd name="T19" fmla="*/ 12 h 103"/>
              <a:gd name="T20" fmla="*/ 129 w 207"/>
              <a:gd name="T21" fmla="*/ 7 h 103"/>
              <a:gd name="T22" fmla="*/ 122 w 207"/>
              <a:gd name="T23" fmla="*/ 5 h 103"/>
              <a:gd name="T24" fmla="*/ 116 w 207"/>
              <a:gd name="T25" fmla="*/ 1 h 103"/>
              <a:gd name="T26" fmla="*/ 112 w 207"/>
              <a:gd name="T27" fmla="*/ 1 h 103"/>
              <a:gd name="T28" fmla="*/ 104 w 207"/>
              <a:gd name="T29" fmla="*/ 5 h 103"/>
              <a:gd name="T30" fmla="*/ 95 w 207"/>
              <a:gd name="T31" fmla="*/ 7 h 103"/>
              <a:gd name="T32" fmla="*/ 90 w 207"/>
              <a:gd name="T33" fmla="*/ 10 h 103"/>
              <a:gd name="T34" fmla="*/ 92 w 207"/>
              <a:gd name="T35" fmla="*/ 22 h 103"/>
              <a:gd name="T36" fmla="*/ 90 w 207"/>
              <a:gd name="T37" fmla="*/ 41 h 103"/>
              <a:gd name="T38" fmla="*/ 77 w 207"/>
              <a:gd name="T39" fmla="*/ 48 h 103"/>
              <a:gd name="T40" fmla="*/ 63 w 207"/>
              <a:gd name="T41" fmla="*/ 42 h 103"/>
              <a:gd name="T42" fmla="*/ 49 w 207"/>
              <a:gd name="T43" fmla="*/ 25 h 103"/>
              <a:gd name="T44" fmla="*/ 42 w 207"/>
              <a:gd name="T45" fmla="*/ 15 h 103"/>
              <a:gd name="T46" fmla="*/ 28 w 207"/>
              <a:gd name="T47" fmla="*/ 20 h 103"/>
              <a:gd name="T48" fmla="*/ 11 w 207"/>
              <a:gd name="T49" fmla="*/ 33 h 103"/>
              <a:gd name="T50" fmla="*/ 1 w 207"/>
              <a:gd name="T51" fmla="*/ 56 h 103"/>
              <a:gd name="T52" fmla="*/ 2 w 207"/>
              <a:gd name="T53" fmla="*/ 69 h 103"/>
              <a:gd name="T54" fmla="*/ 1 w 207"/>
              <a:gd name="T55" fmla="*/ 67 h 103"/>
              <a:gd name="T56" fmla="*/ 0 w 207"/>
              <a:gd name="T57" fmla="*/ 79 h 103"/>
              <a:gd name="T58" fmla="*/ 7 w 207"/>
              <a:gd name="T59" fmla="*/ 85 h 103"/>
              <a:gd name="T60" fmla="*/ 15 w 207"/>
              <a:gd name="T61" fmla="*/ 77 h 103"/>
              <a:gd name="T62" fmla="*/ 30 w 207"/>
              <a:gd name="T63" fmla="*/ 72 h 103"/>
              <a:gd name="T64" fmla="*/ 47 w 207"/>
              <a:gd name="T65" fmla="*/ 72 h 103"/>
              <a:gd name="T66" fmla="*/ 63 w 207"/>
              <a:gd name="T67" fmla="*/ 74 h 103"/>
              <a:gd name="T68" fmla="*/ 77 w 207"/>
              <a:gd name="T69" fmla="*/ 73 h 103"/>
              <a:gd name="T70" fmla="*/ 91 w 207"/>
              <a:gd name="T71" fmla="*/ 78 h 103"/>
              <a:gd name="T72" fmla="*/ 103 w 207"/>
              <a:gd name="T73" fmla="*/ 75 h 103"/>
              <a:gd name="T74" fmla="*/ 113 w 207"/>
              <a:gd name="T75" fmla="*/ 71 h 103"/>
              <a:gd name="T76" fmla="*/ 135 w 207"/>
              <a:gd name="T77" fmla="*/ 84 h 103"/>
              <a:gd name="T78" fmla="*/ 150 w 207"/>
              <a:gd name="T79" fmla="*/ 93 h 103"/>
              <a:gd name="T80" fmla="*/ 161 w 207"/>
              <a:gd name="T81" fmla="*/ 102 h 103"/>
              <a:gd name="T82" fmla="*/ 172 w 207"/>
              <a:gd name="T83" fmla="*/ 97 h 103"/>
              <a:gd name="T84" fmla="*/ 182 w 207"/>
              <a:gd name="T85" fmla="*/ 97 h 103"/>
              <a:gd name="T86" fmla="*/ 191 w 207"/>
              <a:gd name="T87" fmla="*/ 97 h 103"/>
              <a:gd name="T88" fmla="*/ 196 w 207"/>
              <a:gd name="T89" fmla="*/ 89 h 103"/>
              <a:gd name="T90" fmla="*/ 207 w 207"/>
              <a:gd name="T91"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103">
                <a:moveTo>
                  <a:pt x="204" y="69"/>
                </a:moveTo>
                <a:cubicBezTo>
                  <a:pt x="203" y="68"/>
                  <a:pt x="204" y="66"/>
                  <a:pt x="203" y="65"/>
                </a:cubicBezTo>
                <a:cubicBezTo>
                  <a:pt x="201" y="64"/>
                  <a:pt x="200" y="63"/>
                  <a:pt x="200" y="61"/>
                </a:cubicBezTo>
                <a:cubicBezTo>
                  <a:pt x="199" y="59"/>
                  <a:pt x="197" y="59"/>
                  <a:pt x="196" y="57"/>
                </a:cubicBezTo>
                <a:cubicBezTo>
                  <a:pt x="195" y="56"/>
                  <a:pt x="197" y="55"/>
                  <a:pt x="196" y="54"/>
                </a:cubicBezTo>
                <a:cubicBezTo>
                  <a:pt x="194" y="51"/>
                  <a:pt x="191" y="52"/>
                  <a:pt x="189" y="53"/>
                </a:cubicBezTo>
                <a:cubicBezTo>
                  <a:pt x="187" y="53"/>
                  <a:pt x="189" y="49"/>
                  <a:pt x="190" y="49"/>
                </a:cubicBezTo>
                <a:cubicBezTo>
                  <a:pt x="190" y="48"/>
                  <a:pt x="191" y="46"/>
                  <a:pt x="191" y="44"/>
                </a:cubicBezTo>
                <a:cubicBezTo>
                  <a:pt x="191" y="43"/>
                  <a:pt x="187" y="41"/>
                  <a:pt x="190" y="41"/>
                </a:cubicBezTo>
                <a:cubicBezTo>
                  <a:pt x="192" y="40"/>
                  <a:pt x="193" y="37"/>
                  <a:pt x="192" y="35"/>
                </a:cubicBezTo>
                <a:cubicBezTo>
                  <a:pt x="192" y="33"/>
                  <a:pt x="189" y="32"/>
                  <a:pt x="188" y="31"/>
                </a:cubicBezTo>
                <a:cubicBezTo>
                  <a:pt x="186" y="30"/>
                  <a:pt x="184" y="29"/>
                  <a:pt x="183" y="28"/>
                </a:cubicBezTo>
                <a:cubicBezTo>
                  <a:pt x="181" y="27"/>
                  <a:pt x="184" y="24"/>
                  <a:pt x="181" y="24"/>
                </a:cubicBezTo>
                <a:cubicBezTo>
                  <a:pt x="179" y="24"/>
                  <a:pt x="178" y="24"/>
                  <a:pt x="177" y="24"/>
                </a:cubicBezTo>
                <a:cubicBezTo>
                  <a:pt x="173" y="23"/>
                  <a:pt x="170" y="23"/>
                  <a:pt x="167" y="21"/>
                </a:cubicBezTo>
                <a:cubicBezTo>
                  <a:pt x="164" y="19"/>
                  <a:pt x="163" y="19"/>
                  <a:pt x="162" y="21"/>
                </a:cubicBezTo>
                <a:cubicBezTo>
                  <a:pt x="161" y="23"/>
                  <a:pt x="158" y="22"/>
                  <a:pt x="156" y="23"/>
                </a:cubicBezTo>
                <a:cubicBezTo>
                  <a:pt x="154" y="25"/>
                  <a:pt x="151" y="23"/>
                  <a:pt x="149" y="22"/>
                </a:cubicBezTo>
                <a:cubicBezTo>
                  <a:pt x="146" y="21"/>
                  <a:pt x="145" y="18"/>
                  <a:pt x="143" y="16"/>
                </a:cubicBezTo>
                <a:cubicBezTo>
                  <a:pt x="142" y="15"/>
                  <a:pt x="139" y="14"/>
                  <a:pt x="138" y="12"/>
                </a:cubicBezTo>
                <a:cubicBezTo>
                  <a:pt x="138" y="10"/>
                  <a:pt x="137" y="10"/>
                  <a:pt x="135" y="10"/>
                </a:cubicBezTo>
                <a:cubicBezTo>
                  <a:pt x="132" y="10"/>
                  <a:pt x="131" y="7"/>
                  <a:pt x="129" y="7"/>
                </a:cubicBezTo>
                <a:cubicBezTo>
                  <a:pt x="128" y="7"/>
                  <a:pt x="126" y="8"/>
                  <a:pt x="125" y="6"/>
                </a:cubicBezTo>
                <a:cubicBezTo>
                  <a:pt x="125" y="5"/>
                  <a:pt x="123" y="5"/>
                  <a:pt x="122" y="5"/>
                </a:cubicBezTo>
                <a:cubicBezTo>
                  <a:pt x="121" y="4"/>
                  <a:pt x="121" y="3"/>
                  <a:pt x="120" y="3"/>
                </a:cubicBezTo>
                <a:cubicBezTo>
                  <a:pt x="119" y="2"/>
                  <a:pt x="117" y="1"/>
                  <a:pt x="116" y="1"/>
                </a:cubicBezTo>
                <a:cubicBezTo>
                  <a:pt x="116" y="1"/>
                  <a:pt x="117" y="4"/>
                  <a:pt x="117" y="4"/>
                </a:cubicBezTo>
                <a:cubicBezTo>
                  <a:pt x="115" y="6"/>
                  <a:pt x="114" y="2"/>
                  <a:pt x="112" y="1"/>
                </a:cubicBezTo>
                <a:cubicBezTo>
                  <a:pt x="110" y="0"/>
                  <a:pt x="109" y="3"/>
                  <a:pt x="107" y="4"/>
                </a:cubicBezTo>
                <a:cubicBezTo>
                  <a:pt x="106" y="4"/>
                  <a:pt x="105" y="5"/>
                  <a:pt x="104" y="5"/>
                </a:cubicBezTo>
                <a:cubicBezTo>
                  <a:pt x="103" y="5"/>
                  <a:pt x="102" y="3"/>
                  <a:pt x="101" y="5"/>
                </a:cubicBezTo>
                <a:cubicBezTo>
                  <a:pt x="100" y="7"/>
                  <a:pt x="96" y="6"/>
                  <a:pt x="95" y="7"/>
                </a:cubicBezTo>
                <a:cubicBezTo>
                  <a:pt x="94" y="8"/>
                  <a:pt x="93" y="9"/>
                  <a:pt x="92" y="10"/>
                </a:cubicBezTo>
                <a:cubicBezTo>
                  <a:pt x="91" y="10"/>
                  <a:pt x="90" y="9"/>
                  <a:pt x="90" y="10"/>
                </a:cubicBezTo>
                <a:cubicBezTo>
                  <a:pt x="88" y="11"/>
                  <a:pt x="90" y="14"/>
                  <a:pt x="90" y="16"/>
                </a:cubicBezTo>
                <a:cubicBezTo>
                  <a:pt x="92" y="18"/>
                  <a:pt x="92" y="20"/>
                  <a:pt x="92" y="22"/>
                </a:cubicBezTo>
                <a:cubicBezTo>
                  <a:pt x="93" y="25"/>
                  <a:pt x="93" y="27"/>
                  <a:pt x="94" y="29"/>
                </a:cubicBezTo>
                <a:cubicBezTo>
                  <a:pt x="96" y="35"/>
                  <a:pt x="94" y="37"/>
                  <a:pt x="90" y="41"/>
                </a:cubicBezTo>
                <a:cubicBezTo>
                  <a:pt x="88" y="42"/>
                  <a:pt x="86" y="43"/>
                  <a:pt x="84" y="45"/>
                </a:cubicBezTo>
                <a:cubicBezTo>
                  <a:pt x="83" y="47"/>
                  <a:pt x="79" y="47"/>
                  <a:pt x="77" y="48"/>
                </a:cubicBezTo>
                <a:cubicBezTo>
                  <a:pt x="74" y="48"/>
                  <a:pt x="72" y="46"/>
                  <a:pt x="69" y="45"/>
                </a:cubicBezTo>
                <a:cubicBezTo>
                  <a:pt x="67" y="45"/>
                  <a:pt x="64" y="44"/>
                  <a:pt x="63" y="42"/>
                </a:cubicBezTo>
                <a:cubicBezTo>
                  <a:pt x="60" y="38"/>
                  <a:pt x="61" y="32"/>
                  <a:pt x="56" y="30"/>
                </a:cubicBezTo>
                <a:cubicBezTo>
                  <a:pt x="53" y="29"/>
                  <a:pt x="52" y="27"/>
                  <a:pt x="49" y="25"/>
                </a:cubicBezTo>
                <a:cubicBezTo>
                  <a:pt x="47" y="23"/>
                  <a:pt x="44" y="23"/>
                  <a:pt x="43" y="20"/>
                </a:cubicBezTo>
                <a:cubicBezTo>
                  <a:pt x="42" y="18"/>
                  <a:pt x="42" y="16"/>
                  <a:pt x="42" y="15"/>
                </a:cubicBezTo>
                <a:cubicBezTo>
                  <a:pt x="41" y="14"/>
                  <a:pt x="37" y="16"/>
                  <a:pt x="37" y="16"/>
                </a:cubicBezTo>
                <a:cubicBezTo>
                  <a:pt x="34" y="17"/>
                  <a:pt x="31" y="19"/>
                  <a:pt x="28" y="20"/>
                </a:cubicBezTo>
                <a:cubicBezTo>
                  <a:pt x="25" y="21"/>
                  <a:pt x="23" y="21"/>
                  <a:pt x="20" y="22"/>
                </a:cubicBezTo>
                <a:cubicBezTo>
                  <a:pt x="16" y="23"/>
                  <a:pt x="13" y="29"/>
                  <a:pt x="11" y="33"/>
                </a:cubicBezTo>
                <a:cubicBezTo>
                  <a:pt x="8" y="38"/>
                  <a:pt x="12" y="44"/>
                  <a:pt x="8" y="48"/>
                </a:cubicBezTo>
                <a:cubicBezTo>
                  <a:pt x="5" y="51"/>
                  <a:pt x="1" y="51"/>
                  <a:pt x="1" y="56"/>
                </a:cubicBezTo>
                <a:cubicBezTo>
                  <a:pt x="2" y="59"/>
                  <a:pt x="0" y="62"/>
                  <a:pt x="0" y="65"/>
                </a:cubicBezTo>
                <a:cubicBezTo>
                  <a:pt x="0" y="67"/>
                  <a:pt x="2" y="68"/>
                  <a:pt x="2" y="69"/>
                </a:cubicBezTo>
                <a:cubicBezTo>
                  <a:pt x="3" y="71"/>
                  <a:pt x="2" y="74"/>
                  <a:pt x="2" y="71"/>
                </a:cubicBezTo>
                <a:cubicBezTo>
                  <a:pt x="1" y="70"/>
                  <a:pt x="2" y="67"/>
                  <a:pt x="1" y="67"/>
                </a:cubicBezTo>
                <a:cubicBezTo>
                  <a:pt x="0" y="67"/>
                  <a:pt x="1" y="70"/>
                  <a:pt x="1" y="70"/>
                </a:cubicBezTo>
                <a:cubicBezTo>
                  <a:pt x="0" y="73"/>
                  <a:pt x="0" y="76"/>
                  <a:pt x="0" y="79"/>
                </a:cubicBezTo>
                <a:cubicBezTo>
                  <a:pt x="1" y="81"/>
                  <a:pt x="2" y="83"/>
                  <a:pt x="3" y="84"/>
                </a:cubicBezTo>
                <a:cubicBezTo>
                  <a:pt x="3" y="86"/>
                  <a:pt x="6" y="85"/>
                  <a:pt x="7" y="85"/>
                </a:cubicBezTo>
                <a:cubicBezTo>
                  <a:pt x="8" y="85"/>
                  <a:pt x="8" y="82"/>
                  <a:pt x="9" y="80"/>
                </a:cubicBezTo>
                <a:cubicBezTo>
                  <a:pt x="11" y="79"/>
                  <a:pt x="13" y="77"/>
                  <a:pt x="15" y="77"/>
                </a:cubicBezTo>
                <a:cubicBezTo>
                  <a:pt x="18" y="76"/>
                  <a:pt x="20" y="75"/>
                  <a:pt x="22" y="75"/>
                </a:cubicBezTo>
                <a:cubicBezTo>
                  <a:pt x="25" y="74"/>
                  <a:pt x="27" y="73"/>
                  <a:pt x="30" y="72"/>
                </a:cubicBezTo>
                <a:cubicBezTo>
                  <a:pt x="32" y="70"/>
                  <a:pt x="34" y="72"/>
                  <a:pt x="37" y="72"/>
                </a:cubicBezTo>
                <a:cubicBezTo>
                  <a:pt x="41" y="72"/>
                  <a:pt x="44" y="71"/>
                  <a:pt x="47" y="72"/>
                </a:cubicBezTo>
                <a:cubicBezTo>
                  <a:pt x="49" y="73"/>
                  <a:pt x="51" y="74"/>
                  <a:pt x="53" y="72"/>
                </a:cubicBezTo>
                <a:cubicBezTo>
                  <a:pt x="58" y="68"/>
                  <a:pt x="57" y="79"/>
                  <a:pt x="63" y="74"/>
                </a:cubicBezTo>
                <a:cubicBezTo>
                  <a:pt x="66" y="72"/>
                  <a:pt x="67" y="73"/>
                  <a:pt x="70" y="74"/>
                </a:cubicBezTo>
                <a:cubicBezTo>
                  <a:pt x="75" y="76"/>
                  <a:pt x="74" y="73"/>
                  <a:pt x="77" y="73"/>
                </a:cubicBezTo>
                <a:cubicBezTo>
                  <a:pt x="80" y="75"/>
                  <a:pt x="81" y="74"/>
                  <a:pt x="83" y="74"/>
                </a:cubicBezTo>
                <a:cubicBezTo>
                  <a:pt x="86" y="75"/>
                  <a:pt x="88" y="77"/>
                  <a:pt x="91" y="78"/>
                </a:cubicBezTo>
                <a:cubicBezTo>
                  <a:pt x="94" y="78"/>
                  <a:pt x="95" y="75"/>
                  <a:pt x="98" y="77"/>
                </a:cubicBezTo>
                <a:cubicBezTo>
                  <a:pt x="100" y="78"/>
                  <a:pt x="102" y="77"/>
                  <a:pt x="103" y="75"/>
                </a:cubicBezTo>
                <a:cubicBezTo>
                  <a:pt x="104" y="74"/>
                  <a:pt x="107" y="72"/>
                  <a:pt x="109" y="71"/>
                </a:cubicBezTo>
                <a:cubicBezTo>
                  <a:pt x="112" y="69"/>
                  <a:pt x="112" y="70"/>
                  <a:pt x="113" y="71"/>
                </a:cubicBezTo>
                <a:cubicBezTo>
                  <a:pt x="115" y="76"/>
                  <a:pt x="116" y="81"/>
                  <a:pt x="122" y="81"/>
                </a:cubicBezTo>
                <a:cubicBezTo>
                  <a:pt x="125" y="82"/>
                  <a:pt x="135" y="81"/>
                  <a:pt x="135" y="84"/>
                </a:cubicBezTo>
                <a:cubicBezTo>
                  <a:pt x="137" y="86"/>
                  <a:pt x="141" y="88"/>
                  <a:pt x="143" y="89"/>
                </a:cubicBezTo>
                <a:cubicBezTo>
                  <a:pt x="145" y="90"/>
                  <a:pt x="147" y="92"/>
                  <a:pt x="150" y="93"/>
                </a:cubicBezTo>
                <a:cubicBezTo>
                  <a:pt x="152" y="95"/>
                  <a:pt x="153" y="98"/>
                  <a:pt x="154" y="99"/>
                </a:cubicBezTo>
                <a:cubicBezTo>
                  <a:pt x="156" y="101"/>
                  <a:pt x="159" y="102"/>
                  <a:pt x="161" y="102"/>
                </a:cubicBezTo>
                <a:cubicBezTo>
                  <a:pt x="164" y="103"/>
                  <a:pt x="165" y="101"/>
                  <a:pt x="168" y="102"/>
                </a:cubicBezTo>
                <a:cubicBezTo>
                  <a:pt x="170" y="102"/>
                  <a:pt x="171" y="99"/>
                  <a:pt x="172" y="97"/>
                </a:cubicBezTo>
                <a:cubicBezTo>
                  <a:pt x="174" y="95"/>
                  <a:pt x="175" y="95"/>
                  <a:pt x="177" y="95"/>
                </a:cubicBezTo>
                <a:cubicBezTo>
                  <a:pt x="179" y="95"/>
                  <a:pt x="180" y="97"/>
                  <a:pt x="182" y="97"/>
                </a:cubicBezTo>
                <a:cubicBezTo>
                  <a:pt x="184" y="98"/>
                  <a:pt x="185" y="96"/>
                  <a:pt x="187" y="97"/>
                </a:cubicBezTo>
                <a:cubicBezTo>
                  <a:pt x="188" y="97"/>
                  <a:pt x="190" y="98"/>
                  <a:pt x="191" y="97"/>
                </a:cubicBezTo>
                <a:cubicBezTo>
                  <a:pt x="193" y="96"/>
                  <a:pt x="192" y="94"/>
                  <a:pt x="192" y="92"/>
                </a:cubicBezTo>
                <a:cubicBezTo>
                  <a:pt x="193" y="91"/>
                  <a:pt x="196" y="90"/>
                  <a:pt x="196" y="89"/>
                </a:cubicBezTo>
                <a:cubicBezTo>
                  <a:pt x="196" y="86"/>
                  <a:pt x="204" y="81"/>
                  <a:pt x="206" y="82"/>
                </a:cubicBezTo>
                <a:cubicBezTo>
                  <a:pt x="207" y="83"/>
                  <a:pt x="207" y="78"/>
                  <a:pt x="207" y="77"/>
                </a:cubicBezTo>
                <a:cubicBezTo>
                  <a:pt x="207" y="74"/>
                  <a:pt x="206" y="71"/>
                  <a:pt x="204" y="69"/>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174">
            <a:extLst>
              <a:ext uri="{FF2B5EF4-FFF2-40B4-BE49-F238E27FC236}">
                <a16:creationId xmlns:a16="http://schemas.microsoft.com/office/drawing/2014/main" id="{2242C4D2-0ED5-4201-98B4-9393AEAE9295}"/>
              </a:ext>
            </a:extLst>
          </p:cNvPr>
          <p:cNvSpPr>
            <a:spLocks/>
          </p:cNvSpPr>
          <p:nvPr/>
        </p:nvSpPr>
        <p:spPr bwMode="auto">
          <a:xfrm>
            <a:off x="3397681" y="3762906"/>
            <a:ext cx="472243" cy="309892"/>
          </a:xfrm>
          <a:custGeom>
            <a:avLst/>
            <a:gdLst>
              <a:gd name="T0" fmla="*/ 160 w 169"/>
              <a:gd name="T1" fmla="*/ 48 h 110"/>
              <a:gd name="T2" fmla="*/ 158 w 169"/>
              <a:gd name="T3" fmla="*/ 32 h 110"/>
              <a:gd name="T4" fmla="*/ 147 w 169"/>
              <a:gd name="T5" fmla="*/ 24 h 110"/>
              <a:gd name="T6" fmla="*/ 134 w 169"/>
              <a:gd name="T7" fmla="*/ 15 h 110"/>
              <a:gd name="T8" fmla="*/ 125 w 169"/>
              <a:gd name="T9" fmla="*/ 12 h 110"/>
              <a:gd name="T10" fmla="*/ 108 w 169"/>
              <a:gd name="T11" fmla="*/ 0 h 110"/>
              <a:gd name="T12" fmla="*/ 98 w 169"/>
              <a:gd name="T13" fmla="*/ 7 h 110"/>
              <a:gd name="T14" fmla="*/ 84 w 169"/>
              <a:gd name="T15" fmla="*/ 6 h 110"/>
              <a:gd name="T16" fmla="*/ 73 w 169"/>
              <a:gd name="T17" fmla="*/ 3 h 110"/>
              <a:gd name="T18" fmla="*/ 63 w 169"/>
              <a:gd name="T19" fmla="*/ 3 h 110"/>
              <a:gd name="T20" fmla="*/ 52 w 169"/>
              <a:gd name="T21" fmla="*/ 1 h 110"/>
              <a:gd name="T22" fmla="*/ 39 w 169"/>
              <a:gd name="T23" fmla="*/ 1 h 110"/>
              <a:gd name="T24" fmla="*/ 19 w 169"/>
              <a:gd name="T25" fmla="*/ 4 h 110"/>
              <a:gd name="T26" fmla="*/ 5 w 169"/>
              <a:gd name="T27" fmla="*/ 12 h 110"/>
              <a:gd name="T28" fmla="*/ 1 w 169"/>
              <a:gd name="T29" fmla="*/ 26 h 110"/>
              <a:gd name="T30" fmla="*/ 7 w 169"/>
              <a:gd name="T31" fmla="*/ 43 h 110"/>
              <a:gd name="T32" fmla="*/ 8 w 169"/>
              <a:gd name="T33" fmla="*/ 51 h 110"/>
              <a:gd name="T34" fmla="*/ 22 w 169"/>
              <a:gd name="T35" fmla="*/ 55 h 110"/>
              <a:gd name="T36" fmla="*/ 31 w 169"/>
              <a:gd name="T37" fmla="*/ 59 h 110"/>
              <a:gd name="T38" fmla="*/ 38 w 169"/>
              <a:gd name="T39" fmla="*/ 59 h 110"/>
              <a:gd name="T40" fmla="*/ 49 w 169"/>
              <a:gd name="T41" fmla="*/ 62 h 110"/>
              <a:gd name="T42" fmla="*/ 55 w 169"/>
              <a:gd name="T43" fmla="*/ 70 h 110"/>
              <a:gd name="T44" fmla="*/ 55 w 169"/>
              <a:gd name="T45" fmla="*/ 89 h 110"/>
              <a:gd name="T46" fmla="*/ 64 w 169"/>
              <a:gd name="T47" fmla="*/ 91 h 110"/>
              <a:gd name="T48" fmla="*/ 77 w 169"/>
              <a:gd name="T49" fmla="*/ 101 h 110"/>
              <a:gd name="T50" fmla="*/ 86 w 169"/>
              <a:gd name="T51" fmla="*/ 107 h 110"/>
              <a:gd name="T52" fmla="*/ 100 w 169"/>
              <a:gd name="T53" fmla="*/ 108 h 110"/>
              <a:gd name="T54" fmla="*/ 115 w 169"/>
              <a:gd name="T55" fmla="*/ 105 h 110"/>
              <a:gd name="T56" fmla="*/ 125 w 169"/>
              <a:gd name="T57" fmla="*/ 97 h 110"/>
              <a:gd name="T58" fmla="*/ 134 w 169"/>
              <a:gd name="T59" fmla="*/ 91 h 110"/>
              <a:gd name="T60" fmla="*/ 135 w 169"/>
              <a:gd name="T61" fmla="*/ 94 h 110"/>
              <a:gd name="T62" fmla="*/ 134 w 169"/>
              <a:gd name="T63" fmla="*/ 96 h 110"/>
              <a:gd name="T64" fmla="*/ 138 w 169"/>
              <a:gd name="T65" fmla="*/ 90 h 110"/>
              <a:gd name="T66" fmla="*/ 137 w 169"/>
              <a:gd name="T67" fmla="*/ 85 h 110"/>
              <a:gd name="T68" fmla="*/ 139 w 169"/>
              <a:gd name="T69" fmla="*/ 73 h 110"/>
              <a:gd name="T70" fmla="*/ 140 w 169"/>
              <a:gd name="T71" fmla="*/ 67 h 110"/>
              <a:gd name="T72" fmla="*/ 151 w 169"/>
              <a:gd name="T73" fmla="*/ 61 h 110"/>
              <a:gd name="T74" fmla="*/ 159 w 169"/>
              <a:gd name="T75" fmla="*/ 55 h 110"/>
              <a:gd name="T76" fmla="*/ 165 w 169"/>
              <a:gd name="T77" fmla="*/ 5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9" h="110">
                <a:moveTo>
                  <a:pt x="166" y="48"/>
                </a:moveTo>
                <a:cubicBezTo>
                  <a:pt x="164" y="47"/>
                  <a:pt x="162" y="48"/>
                  <a:pt x="160" y="48"/>
                </a:cubicBezTo>
                <a:cubicBezTo>
                  <a:pt x="156" y="47"/>
                  <a:pt x="160" y="42"/>
                  <a:pt x="160" y="40"/>
                </a:cubicBezTo>
                <a:cubicBezTo>
                  <a:pt x="159" y="36"/>
                  <a:pt x="164" y="33"/>
                  <a:pt x="158" y="32"/>
                </a:cubicBezTo>
                <a:cubicBezTo>
                  <a:pt x="156" y="32"/>
                  <a:pt x="153" y="31"/>
                  <a:pt x="151" y="29"/>
                </a:cubicBezTo>
                <a:cubicBezTo>
                  <a:pt x="150" y="27"/>
                  <a:pt x="149" y="25"/>
                  <a:pt x="147" y="24"/>
                </a:cubicBezTo>
                <a:cubicBezTo>
                  <a:pt x="145" y="22"/>
                  <a:pt x="143" y="21"/>
                  <a:pt x="141" y="19"/>
                </a:cubicBezTo>
                <a:cubicBezTo>
                  <a:pt x="139" y="18"/>
                  <a:pt x="136" y="17"/>
                  <a:pt x="134" y="15"/>
                </a:cubicBezTo>
                <a:cubicBezTo>
                  <a:pt x="133" y="15"/>
                  <a:pt x="133" y="13"/>
                  <a:pt x="131" y="13"/>
                </a:cubicBezTo>
                <a:cubicBezTo>
                  <a:pt x="129" y="12"/>
                  <a:pt x="127" y="12"/>
                  <a:pt x="125" y="12"/>
                </a:cubicBezTo>
                <a:cubicBezTo>
                  <a:pt x="122" y="11"/>
                  <a:pt x="116" y="12"/>
                  <a:pt x="114" y="8"/>
                </a:cubicBezTo>
                <a:cubicBezTo>
                  <a:pt x="112" y="6"/>
                  <a:pt x="111" y="0"/>
                  <a:pt x="108" y="0"/>
                </a:cubicBezTo>
                <a:cubicBezTo>
                  <a:pt x="107" y="2"/>
                  <a:pt x="104" y="2"/>
                  <a:pt x="102" y="3"/>
                </a:cubicBezTo>
                <a:cubicBezTo>
                  <a:pt x="101" y="4"/>
                  <a:pt x="100" y="7"/>
                  <a:pt x="98" y="7"/>
                </a:cubicBezTo>
                <a:cubicBezTo>
                  <a:pt x="95" y="8"/>
                  <a:pt x="93" y="5"/>
                  <a:pt x="91" y="6"/>
                </a:cubicBezTo>
                <a:cubicBezTo>
                  <a:pt x="88" y="8"/>
                  <a:pt x="86" y="7"/>
                  <a:pt x="84" y="6"/>
                </a:cubicBezTo>
                <a:cubicBezTo>
                  <a:pt x="81" y="4"/>
                  <a:pt x="79" y="5"/>
                  <a:pt x="76" y="4"/>
                </a:cubicBezTo>
                <a:cubicBezTo>
                  <a:pt x="75" y="4"/>
                  <a:pt x="74" y="3"/>
                  <a:pt x="73" y="3"/>
                </a:cubicBezTo>
                <a:cubicBezTo>
                  <a:pt x="72" y="3"/>
                  <a:pt x="71" y="5"/>
                  <a:pt x="70" y="4"/>
                </a:cubicBezTo>
                <a:cubicBezTo>
                  <a:pt x="68" y="4"/>
                  <a:pt x="65" y="3"/>
                  <a:pt x="63" y="3"/>
                </a:cubicBezTo>
                <a:cubicBezTo>
                  <a:pt x="60" y="3"/>
                  <a:pt x="60" y="5"/>
                  <a:pt x="58" y="5"/>
                </a:cubicBezTo>
                <a:cubicBezTo>
                  <a:pt x="55" y="5"/>
                  <a:pt x="55" y="1"/>
                  <a:pt x="52" y="1"/>
                </a:cubicBezTo>
                <a:cubicBezTo>
                  <a:pt x="50" y="1"/>
                  <a:pt x="49" y="4"/>
                  <a:pt x="46" y="3"/>
                </a:cubicBezTo>
                <a:cubicBezTo>
                  <a:pt x="44" y="3"/>
                  <a:pt x="41" y="2"/>
                  <a:pt x="39" y="1"/>
                </a:cubicBezTo>
                <a:cubicBezTo>
                  <a:pt x="35" y="1"/>
                  <a:pt x="32" y="0"/>
                  <a:pt x="29" y="1"/>
                </a:cubicBezTo>
                <a:cubicBezTo>
                  <a:pt x="25" y="2"/>
                  <a:pt x="22" y="3"/>
                  <a:pt x="19" y="4"/>
                </a:cubicBezTo>
                <a:cubicBezTo>
                  <a:pt x="16" y="5"/>
                  <a:pt x="14" y="6"/>
                  <a:pt x="11" y="7"/>
                </a:cubicBezTo>
                <a:cubicBezTo>
                  <a:pt x="9" y="8"/>
                  <a:pt x="6" y="9"/>
                  <a:pt x="5" y="12"/>
                </a:cubicBezTo>
                <a:cubicBezTo>
                  <a:pt x="5" y="16"/>
                  <a:pt x="2" y="15"/>
                  <a:pt x="0" y="15"/>
                </a:cubicBezTo>
                <a:cubicBezTo>
                  <a:pt x="1" y="19"/>
                  <a:pt x="0" y="23"/>
                  <a:pt x="1" y="26"/>
                </a:cubicBezTo>
                <a:cubicBezTo>
                  <a:pt x="2" y="29"/>
                  <a:pt x="3" y="32"/>
                  <a:pt x="4" y="35"/>
                </a:cubicBezTo>
                <a:cubicBezTo>
                  <a:pt x="5" y="37"/>
                  <a:pt x="8" y="41"/>
                  <a:pt x="7" y="43"/>
                </a:cubicBezTo>
                <a:cubicBezTo>
                  <a:pt x="7" y="43"/>
                  <a:pt x="6" y="47"/>
                  <a:pt x="6" y="47"/>
                </a:cubicBezTo>
                <a:cubicBezTo>
                  <a:pt x="9" y="45"/>
                  <a:pt x="9" y="48"/>
                  <a:pt x="8" y="51"/>
                </a:cubicBezTo>
                <a:cubicBezTo>
                  <a:pt x="13" y="48"/>
                  <a:pt x="12" y="52"/>
                  <a:pt x="16" y="53"/>
                </a:cubicBezTo>
                <a:cubicBezTo>
                  <a:pt x="18" y="54"/>
                  <a:pt x="20" y="54"/>
                  <a:pt x="22" y="55"/>
                </a:cubicBezTo>
                <a:cubicBezTo>
                  <a:pt x="24" y="56"/>
                  <a:pt x="25" y="57"/>
                  <a:pt x="27" y="58"/>
                </a:cubicBezTo>
                <a:cubicBezTo>
                  <a:pt x="28" y="58"/>
                  <a:pt x="30" y="57"/>
                  <a:pt x="31" y="59"/>
                </a:cubicBezTo>
                <a:cubicBezTo>
                  <a:pt x="31" y="61"/>
                  <a:pt x="33" y="60"/>
                  <a:pt x="34" y="60"/>
                </a:cubicBezTo>
                <a:cubicBezTo>
                  <a:pt x="36" y="59"/>
                  <a:pt x="37" y="59"/>
                  <a:pt x="38" y="59"/>
                </a:cubicBezTo>
                <a:cubicBezTo>
                  <a:pt x="41" y="58"/>
                  <a:pt x="44" y="59"/>
                  <a:pt x="46" y="58"/>
                </a:cubicBezTo>
                <a:cubicBezTo>
                  <a:pt x="47" y="58"/>
                  <a:pt x="48" y="61"/>
                  <a:pt x="49" y="62"/>
                </a:cubicBezTo>
                <a:cubicBezTo>
                  <a:pt x="49" y="63"/>
                  <a:pt x="51" y="62"/>
                  <a:pt x="52" y="63"/>
                </a:cubicBezTo>
                <a:cubicBezTo>
                  <a:pt x="53" y="65"/>
                  <a:pt x="58" y="67"/>
                  <a:pt x="55" y="70"/>
                </a:cubicBezTo>
                <a:cubicBezTo>
                  <a:pt x="53" y="74"/>
                  <a:pt x="52" y="75"/>
                  <a:pt x="52" y="79"/>
                </a:cubicBezTo>
                <a:cubicBezTo>
                  <a:pt x="52" y="83"/>
                  <a:pt x="53" y="86"/>
                  <a:pt x="55" y="89"/>
                </a:cubicBezTo>
                <a:cubicBezTo>
                  <a:pt x="56" y="86"/>
                  <a:pt x="59" y="87"/>
                  <a:pt x="60" y="88"/>
                </a:cubicBezTo>
                <a:cubicBezTo>
                  <a:pt x="62" y="89"/>
                  <a:pt x="62" y="90"/>
                  <a:pt x="64" y="91"/>
                </a:cubicBezTo>
                <a:cubicBezTo>
                  <a:pt x="66" y="92"/>
                  <a:pt x="69" y="93"/>
                  <a:pt x="72" y="94"/>
                </a:cubicBezTo>
                <a:cubicBezTo>
                  <a:pt x="74" y="96"/>
                  <a:pt x="76" y="98"/>
                  <a:pt x="77" y="101"/>
                </a:cubicBezTo>
                <a:cubicBezTo>
                  <a:pt x="77" y="104"/>
                  <a:pt x="75" y="105"/>
                  <a:pt x="78" y="107"/>
                </a:cubicBezTo>
                <a:cubicBezTo>
                  <a:pt x="82" y="109"/>
                  <a:pt x="84" y="108"/>
                  <a:pt x="86" y="107"/>
                </a:cubicBezTo>
                <a:cubicBezTo>
                  <a:pt x="89" y="106"/>
                  <a:pt x="93" y="108"/>
                  <a:pt x="95" y="106"/>
                </a:cubicBezTo>
                <a:cubicBezTo>
                  <a:pt x="98" y="105"/>
                  <a:pt x="98" y="107"/>
                  <a:pt x="100" y="108"/>
                </a:cubicBezTo>
                <a:cubicBezTo>
                  <a:pt x="102" y="110"/>
                  <a:pt x="106" y="107"/>
                  <a:pt x="109" y="105"/>
                </a:cubicBezTo>
                <a:cubicBezTo>
                  <a:pt x="111" y="103"/>
                  <a:pt x="113" y="106"/>
                  <a:pt x="115" y="105"/>
                </a:cubicBezTo>
                <a:cubicBezTo>
                  <a:pt x="118" y="103"/>
                  <a:pt x="111" y="99"/>
                  <a:pt x="118" y="98"/>
                </a:cubicBezTo>
                <a:cubicBezTo>
                  <a:pt x="121" y="98"/>
                  <a:pt x="121" y="100"/>
                  <a:pt x="125" y="97"/>
                </a:cubicBezTo>
                <a:cubicBezTo>
                  <a:pt x="126" y="95"/>
                  <a:pt x="125" y="93"/>
                  <a:pt x="128" y="93"/>
                </a:cubicBezTo>
                <a:cubicBezTo>
                  <a:pt x="132" y="94"/>
                  <a:pt x="132" y="91"/>
                  <a:pt x="134" y="91"/>
                </a:cubicBezTo>
                <a:cubicBezTo>
                  <a:pt x="134" y="92"/>
                  <a:pt x="136" y="94"/>
                  <a:pt x="136" y="94"/>
                </a:cubicBezTo>
                <a:cubicBezTo>
                  <a:pt x="136" y="94"/>
                  <a:pt x="135" y="94"/>
                  <a:pt x="135" y="94"/>
                </a:cubicBezTo>
                <a:cubicBezTo>
                  <a:pt x="135" y="95"/>
                  <a:pt x="135" y="95"/>
                  <a:pt x="135" y="95"/>
                </a:cubicBezTo>
                <a:cubicBezTo>
                  <a:pt x="135" y="95"/>
                  <a:pt x="135" y="97"/>
                  <a:pt x="134" y="96"/>
                </a:cubicBezTo>
                <a:cubicBezTo>
                  <a:pt x="135" y="100"/>
                  <a:pt x="142" y="98"/>
                  <a:pt x="143" y="97"/>
                </a:cubicBezTo>
                <a:cubicBezTo>
                  <a:pt x="143" y="94"/>
                  <a:pt x="141" y="90"/>
                  <a:pt x="138" y="90"/>
                </a:cubicBezTo>
                <a:cubicBezTo>
                  <a:pt x="137" y="91"/>
                  <a:pt x="134" y="91"/>
                  <a:pt x="135" y="89"/>
                </a:cubicBezTo>
                <a:cubicBezTo>
                  <a:pt x="136" y="87"/>
                  <a:pt x="138" y="87"/>
                  <a:pt x="137" y="85"/>
                </a:cubicBezTo>
                <a:cubicBezTo>
                  <a:pt x="137" y="80"/>
                  <a:pt x="140" y="82"/>
                  <a:pt x="140" y="79"/>
                </a:cubicBezTo>
                <a:cubicBezTo>
                  <a:pt x="140" y="77"/>
                  <a:pt x="139" y="75"/>
                  <a:pt x="139" y="73"/>
                </a:cubicBezTo>
                <a:cubicBezTo>
                  <a:pt x="139" y="71"/>
                  <a:pt x="140" y="71"/>
                  <a:pt x="140" y="69"/>
                </a:cubicBezTo>
                <a:cubicBezTo>
                  <a:pt x="141" y="69"/>
                  <a:pt x="140" y="68"/>
                  <a:pt x="140" y="67"/>
                </a:cubicBezTo>
                <a:cubicBezTo>
                  <a:pt x="140" y="66"/>
                  <a:pt x="142" y="66"/>
                  <a:pt x="142" y="64"/>
                </a:cubicBezTo>
                <a:cubicBezTo>
                  <a:pt x="144" y="61"/>
                  <a:pt x="148" y="66"/>
                  <a:pt x="151" y="61"/>
                </a:cubicBezTo>
                <a:cubicBezTo>
                  <a:pt x="152" y="59"/>
                  <a:pt x="153" y="55"/>
                  <a:pt x="154" y="55"/>
                </a:cubicBezTo>
                <a:cubicBezTo>
                  <a:pt x="156" y="55"/>
                  <a:pt x="157" y="56"/>
                  <a:pt x="159" y="55"/>
                </a:cubicBezTo>
                <a:cubicBezTo>
                  <a:pt x="161" y="55"/>
                  <a:pt x="163" y="57"/>
                  <a:pt x="163" y="56"/>
                </a:cubicBezTo>
                <a:cubicBezTo>
                  <a:pt x="164" y="54"/>
                  <a:pt x="164" y="51"/>
                  <a:pt x="165" y="51"/>
                </a:cubicBezTo>
                <a:cubicBezTo>
                  <a:pt x="168" y="50"/>
                  <a:pt x="169" y="49"/>
                  <a:pt x="166" y="48"/>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177">
            <a:extLst>
              <a:ext uri="{FF2B5EF4-FFF2-40B4-BE49-F238E27FC236}">
                <a16:creationId xmlns:a16="http://schemas.microsoft.com/office/drawing/2014/main" id="{F4B3CACE-D2A6-40DC-A210-96F7F1DA9723}"/>
              </a:ext>
            </a:extLst>
          </p:cNvPr>
          <p:cNvSpPr>
            <a:spLocks/>
          </p:cNvSpPr>
          <p:nvPr/>
        </p:nvSpPr>
        <p:spPr bwMode="auto">
          <a:xfrm>
            <a:off x="3392958" y="4761712"/>
            <a:ext cx="824065" cy="580452"/>
          </a:xfrm>
          <a:custGeom>
            <a:avLst/>
            <a:gdLst>
              <a:gd name="T0" fmla="*/ 285 w 295"/>
              <a:gd name="T1" fmla="*/ 126 h 206"/>
              <a:gd name="T2" fmla="*/ 267 w 295"/>
              <a:gd name="T3" fmla="*/ 131 h 206"/>
              <a:gd name="T4" fmla="*/ 262 w 295"/>
              <a:gd name="T5" fmla="*/ 134 h 206"/>
              <a:gd name="T6" fmla="*/ 248 w 295"/>
              <a:gd name="T7" fmla="*/ 124 h 206"/>
              <a:gd name="T8" fmla="*/ 244 w 295"/>
              <a:gd name="T9" fmla="*/ 108 h 206"/>
              <a:gd name="T10" fmla="*/ 243 w 295"/>
              <a:gd name="T11" fmla="*/ 91 h 206"/>
              <a:gd name="T12" fmla="*/ 245 w 295"/>
              <a:gd name="T13" fmla="*/ 77 h 206"/>
              <a:gd name="T14" fmla="*/ 236 w 295"/>
              <a:gd name="T15" fmla="*/ 54 h 206"/>
              <a:gd name="T16" fmla="*/ 219 w 295"/>
              <a:gd name="T17" fmla="*/ 34 h 206"/>
              <a:gd name="T18" fmla="*/ 212 w 295"/>
              <a:gd name="T19" fmla="*/ 22 h 206"/>
              <a:gd name="T20" fmla="*/ 208 w 295"/>
              <a:gd name="T21" fmla="*/ 13 h 206"/>
              <a:gd name="T22" fmla="*/ 201 w 295"/>
              <a:gd name="T23" fmla="*/ 5 h 206"/>
              <a:gd name="T24" fmla="*/ 182 w 295"/>
              <a:gd name="T25" fmla="*/ 4 h 206"/>
              <a:gd name="T26" fmla="*/ 156 w 295"/>
              <a:gd name="T27" fmla="*/ 15 h 206"/>
              <a:gd name="T28" fmla="*/ 136 w 295"/>
              <a:gd name="T29" fmla="*/ 20 h 206"/>
              <a:gd name="T30" fmla="*/ 115 w 295"/>
              <a:gd name="T31" fmla="*/ 15 h 206"/>
              <a:gd name="T32" fmla="*/ 104 w 295"/>
              <a:gd name="T33" fmla="*/ 13 h 206"/>
              <a:gd name="T34" fmla="*/ 82 w 295"/>
              <a:gd name="T35" fmla="*/ 12 h 206"/>
              <a:gd name="T36" fmla="*/ 75 w 295"/>
              <a:gd name="T37" fmla="*/ 18 h 206"/>
              <a:gd name="T38" fmla="*/ 65 w 295"/>
              <a:gd name="T39" fmla="*/ 21 h 206"/>
              <a:gd name="T40" fmla="*/ 57 w 295"/>
              <a:gd name="T41" fmla="*/ 29 h 206"/>
              <a:gd name="T42" fmla="*/ 50 w 295"/>
              <a:gd name="T43" fmla="*/ 40 h 206"/>
              <a:gd name="T44" fmla="*/ 43 w 295"/>
              <a:gd name="T45" fmla="*/ 55 h 206"/>
              <a:gd name="T46" fmla="*/ 41 w 295"/>
              <a:gd name="T47" fmla="*/ 60 h 206"/>
              <a:gd name="T48" fmla="*/ 37 w 295"/>
              <a:gd name="T49" fmla="*/ 70 h 206"/>
              <a:gd name="T50" fmla="*/ 30 w 295"/>
              <a:gd name="T51" fmla="*/ 83 h 206"/>
              <a:gd name="T52" fmla="*/ 16 w 295"/>
              <a:gd name="T53" fmla="*/ 90 h 206"/>
              <a:gd name="T54" fmla="*/ 2 w 295"/>
              <a:gd name="T55" fmla="*/ 94 h 206"/>
              <a:gd name="T56" fmla="*/ 19 w 295"/>
              <a:gd name="T57" fmla="*/ 111 h 206"/>
              <a:gd name="T58" fmla="*/ 23 w 295"/>
              <a:gd name="T59" fmla="*/ 126 h 206"/>
              <a:gd name="T60" fmla="*/ 35 w 295"/>
              <a:gd name="T61" fmla="*/ 134 h 206"/>
              <a:gd name="T62" fmla="*/ 38 w 295"/>
              <a:gd name="T63" fmla="*/ 144 h 206"/>
              <a:gd name="T64" fmla="*/ 43 w 295"/>
              <a:gd name="T65" fmla="*/ 154 h 206"/>
              <a:gd name="T66" fmla="*/ 57 w 295"/>
              <a:gd name="T67" fmla="*/ 161 h 206"/>
              <a:gd name="T68" fmla="*/ 73 w 295"/>
              <a:gd name="T69" fmla="*/ 158 h 206"/>
              <a:gd name="T70" fmla="*/ 77 w 295"/>
              <a:gd name="T71" fmla="*/ 166 h 206"/>
              <a:gd name="T72" fmla="*/ 80 w 295"/>
              <a:gd name="T73" fmla="*/ 177 h 206"/>
              <a:gd name="T74" fmla="*/ 89 w 295"/>
              <a:gd name="T75" fmla="*/ 185 h 206"/>
              <a:gd name="T76" fmla="*/ 88 w 295"/>
              <a:gd name="T77" fmla="*/ 196 h 206"/>
              <a:gd name="T78" fmla="*/ 116 w 295"/>
              <a:gd name="T79" fmla="*/ 198 h 206"/>
              <a:gd name="T80" fmla="*/ 148 w 295"/>
              <a:gd name="T81" fmla="*/ 202 h 206"/>
              <a:gd name="T82" fmla="*/ 172 w 295"/>
              <a:gd name="T83" fmla="*/ 205 h 206"/>
              <a:gd name="T84" fmla="*/ 203 w 295"/>
              <a:gd name="T85" fmla="*/ 186 h 206"/>
              <a:gd name="T86" fmla="*/ 224 w 295"/>
              <a:gd name="T87" fmla="*/ 184 h 206"/>
              <a:gd name="T88" fmla="*/ 239 w 295"/>
              <a:gd name="T89" fmla="*/ 191 h 206"/>
              <a:gd name="T90" fmla="*/ 252 w 295"/>
              <a:gd name="T91" fmla="*/ 199 h 206"/>
              <a:gd name="T92" fmla="*/ 267 w 295"/>
              <a:gd name="T93" fmla="*/ 182 h 206"/>
              <a:gd name="T94" fmla="*/ 273 w 295"/>
              <a:gd name="T95" fmla="*/ 163 h 206"/>
              <a:gd name="T96" fmla="*/ 269 w 295"/>
              <a:gd name="T97" fmla="*/ 163 h 206"/>
              <a:gd name="T98" fmla="*/ 274 w 295"/>
              <a:gd name="T99" fmla="*/ 159 h 206"/>
              <a:gd name="T100" fmla="*/ 270 w 295"/>
              <a:gd name="T101" fmla="*/ 158 h 206"/>
              <a:gd name="T102" fmla="*/ 272 w 295"/>
              <a:gd name="T103" fmla="*/ 145 h 206"/>
              <a:gd name="T104" fmla="*/ 278 w 295"/>
              <a:gd name="T105" fmla="*/ 151 h 206"/>
              <a:gd name="T106" fmla="*/ 282 w 295"/>
              <a:gd name="T107" fmla="*/ 15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06">
                <a:moveTo>
                  <a:pt x="295" y="138"/>
                </a:moveTo>
                <a:cubicBezTo>
                  <a:pt x="292" y="138"/>
                  <a:pt x="295" y="132"/>
                  <a:pt x="293" y="130"/>
                </a:cubicBezTo>
                <a:cubicBezTo>
                  <a:pt x="292" y="127"/>
                  <a:pt x="288" y="126"/>
                  <a:pt x="285" y="126"/>
                </a:cubicBezTo>
                <a:cubicBezTo>
                  <a:pt x="280" y="125"/>
                  <a:pt x="277" y="128"/>
                  <a:pt x="273" y="130"/>
                </a:cubicBezTo>
                <a:cubicBezTo>
                  <a:pt x="272" y="131"/>
                  <a:pt x="272" y="133"/>
                  <a:pt x="271" y="132"/>
                </a:cubicBezTo>
                <a:cubicBezTo>
                  <a:pt x="269" y="132"/>
                  <a:pt x="268" y="130"/>
                  <a:pt x="267" y="131"/>
                </a:cubicBezTo>
                <a:cubicBezTo>
                  <a:pt x="266" y="131"/>
                  <a:pt x="266" y="133"/>
                  <a:pt x="267" y="134"/>
                </a:cubicBezTo>
                <a:cubicBezTo>
                  <a:pt x="268" y="134"/>
                  <a:pt x="264" y="135"/>
                  <a:pt x="264" y="135"/>
                </a:cubicBezTo>
                <a:cubicBezTo>
                  <a:pt x="264" y="134"/>
                  <a:pt x="263" y="134"/>
                  <a:pt x="262" y="134"/>
                </a:cubicBezTo>
                <a:cubicBezTo>
                  <a:pt x="259" y="133"/>
                  <a:pt x="257" y="133"/>
                  <a:pt x="255" y="132"/>
                </a:cubicBezTo>
                <a:cubicBezTo>
                  <a:pt x="253" y="131"/>
                  <a:pt x="251" y="129"/>
                  <a:pt x="251" y="127"/>
                </a:cubicBezTo>
                <a:cubicBezTo>
                  <a:pt x="251" y="125"/>
                  <a:pt x="249" y="124"/>
                  <a:pt x="248" y="124"/>
                </a:cubicBezTo>
                <a:cubicBezTo>
                  <a:pt x="247" y="122"/>
                  <a:pt x="246" y="120"/>
                  <a:pt x="245" y="119"/>
                </a:cubicBezTo>
                <a:cubicBezTo>
                  <a:pt x="244" y="118"/>
                  <a:pt x="243" y="117"/>
                  <a:pt x="245" y="117"/>
                </a:cubicBezTo>
                <a:cubicBezTo>
                  <a:pt x="248" y="116"/>
                  <a:pt x="245" y="110"/>
                  <a:pt x="244" y="108"/>
                </a:cubicBezTo>
                <a:cubicBezTo>
                  <a:pt x="244" y="107"/>
                  <a:pt x="244" y="106"/>
                  <a:pt x="244" y="104"/>
                </a:cubicBezTo>
                <a:cubicBezTo>
                  <a:pt x="243" y="102"/>
                  <a:pt x="242" y="100"/>
                  <a:pt x="243" y="97"/>
                </a:cubicBezTo>
                <a:cubicBezTo>
                  <a:pt x="243" y="95"/>
                  <a:pt x="244" y="93"/>
                  <a:pt x="243" y="91"/>
                </a:cubicBezTo>
                <a:cubicBezTo>
                  <a:pt x="243" y="89"/>
                  <a:pt x="244" y="88"/>
                  <a:pt x="244" y="87"/>
                </a:cubicBezTo>
                <a:cubicBezTo>
                  <a:pt x="245" y="85"/>
                  <a:pt x="245" y="84"/>
                  <a:pt x="246" y="82"/>
                </a:cubicBezTo>
                <a:cubicBezTo>
                  <a:pt x="247" y="80"/>
                  <a:pt x="245" y="79"/>
                  <a:pt x="245" y="77"/>
                </a:cubicBezTo>
                <a:cubicBezTo>
                  <a:pt x="245" y="75"/>
                  <a:pt x="246" y="73"/>
                  <a:pt x="245" y="71"/>
                </a:cubicBezTo>
                <a:cubicBezTo>
                  <a:pt x="244" y="69"/>
                  <a:pt x="243" y="67"/>
                  <a:pt x="242" y="65"/>
                </a:cubicBezTo>
                <a:cubicBezTo>
                  <a:pt x="240" y="61"/>
                  <a:pt x="242" y="56"/>
                  <a:pt x="236" y="54"/>
                </a:cubicBezTo>
                <a:cubicBezTo>
                  <a:pt x="232" y="52"/>
                  <a:pt x="231" y="49"/>
                  <a:pt x="228" y="45"/>
                </a:cubicBezTo>
                <a:cubicBezTo>
                  <a:pt x="227" y="42"/>
                  <a:pt x="221" y="41"/>
                  <a:pt x="222" y="37"/>
                </a:cubicBezTo>
                <a:cubicBezTo>
                  <a:pt x="222" y="35"/>
                  <a:pt x="220" y="35"/>
                  <a:pt x="219" y="34"/>
                </a:cubicBezTo>
                <a:cubicBezTo>
                  <a:pt x="218" y="33"/>
                  <a:pt x="218" y="31"/>
                  <a:pt x="217" y="31"/>
                </a:cubicBezTo>
                <a:cubicBezTo>
                  <a:pt x="215" y="29"/>
                  <a:pt x="214" y="28"/>
                  <a:pt x="212" y="26"/>
                </a:cubicBezTo>
                <a:cubicBezTo>
                  <a:pt x="212" y="24"/>
                  <a:pt x="213" y="24"/>
                  <a:pt x="212" y="22"/>
                </a:cubicBezTo>
                <a:cubicBezTo>
                  <a:pt x="210" y="20"/>
                  <a:pt x="210" y="19"/>
                  <a:pt x="209" y="16"/>
                </a:cubicBezTo>
                <a:cubicBezTo>
                  <a:pt x="209" y="15"/>
                  <a:pt x="209" y="16"/>
                  <a:pt x="208" y="16"/>
                </a:cubicBezTo>
                <a:cubicBezTo>
                  <a:pt x="208" y="15"/>
                  <a:pt x="208" y="14"/>
                  <a:pt x="208" y="13"/>
                </a:cubicBezTo>
                <a:cubicBezTo>
                  <a:pt x="207" y="12"/>
                  <a:pt x="206" y="12"/>
                  <a:pt x="206" y="10"/>
                </a:cubicBezTo>
                <a:cubicBezTo>
                  <a:pt x="205" y="9"/>
                  <a:pt x="204" y="9"/>
                  <a:pt x="204" y="7"/>
                </a:cubicBezTo>
                <a:cubicBezTo>
                  <a:pt x="204" y="6"/>
                  <a:pt x="202" y="6"/>
                  <a:pt x="201" y="5"/>
                </a:cubicBezTo>
                <a:cubicBezTo>
                  <a:pt x="203" y="5"/>
                  <a:pt x="199" y="3"/>
                  <a:pt x="198" y="2"/>
                </a:cubicBezTo>
                <a:cubicBezTo>
                  <a:pt x="196" y="0"/>
                  <a:pt x="193" y="2"/>
                  <a:pt x="191" y="0"/>
                </a:cubicBezTo>
                <a:cubicBezTo>
                  <a:pt x="188" y="3"/>
                  <a:pt x="184" y="1"/>
                  <a:pt x="182" y="4"/>
                </a:cubicBezTo>
                <a:cubicBezTo>
                  <a:pt x="180" y="5"/>
                  <a:pt x="180" y="9"/>
                  <a:pt x="178" y="11"/>
                </a:cubicBezTo>
                <a:cubicBezTo>
                  <a:pt x="176" y="14"/>
                  <a:pt x="170" y="13"/>
                  <a:pt x="167" y="13"/>
                </a:cubicBezTo>
                <a:cubicBezTo>
                  <a:pt x="164" y="15"/>
                  <a:pt x="160" y="14"/>
                  <a:pt x="156" y="15"/>
                </a:cubicBezTo>
                <a:cubicBezTo>
                  <a:pt x="152" y="15"/>
                  <a:pt x="150" y="16"/>
                  <a:pt x="148" y="20"/>
                </a:cubicBezTo>
                <a:cubicBezTo>
                  <a:pt x="146" y="23"/>
                  <a:pt x="142" y="25"/>
                  <a:pt x="140" y="24"/>
                </a:cubicBezTo>
                <a:cubicBezTo>
                  <a:pt x="138" y="23"/>
                  <a:pt x="137" y="20"/>
                  <a:pt x="136" y="20"/>
                </a:cubicBezTo>
                <a:cubicBezTo>
                  <a:pt x="134" y="18"/>
                  <a:pt x="134" y="18"/>
                  <a:pt x="132" y="16"/>
                </a:cubicBezTo>
                <a:cubicBezTo>
                  <a:pt x="129" y="13"/>
                  <a:pt x="126" y="13"/>
                  <a:pt x="122" y="14"/>
                </a:cubicBezTo>
                <a:cubicBezTo>
                  <a:pt x="120" y="15"/>
                  <a:pt x="117" y="16"/>
                  <a:pt x="115" y="15"/>
                </a:cubicBezTo>
                <a:cubicBezTo>
                  <a:pt x="113" y="14"/>
                  <a:pt x="112" y="13"/>
                  <a:pt x="110" y="14"/>
                </a:cubicBezTo>
                <a:cubicBezTo>
                  <a:pt x="109" y="14"/>
                  <a:pt x="108" y="15"/>
                  <a:pt x="107" y="14"/>
                </a:cubicBezTo>
                <a:cubicBezTo>
                  <a:pt x="106" y="13"/>
                  <a:pt x="105" y="13"/>
                  <a:pt x="104" y="13"/>
                </a:cubicBezTo>
                <a:cubicBezTo>
                  <a:pt x="100" y="12"/>
                  <a:pt x="95" y="13"/>
                  <a:pt x="92" y="11"/>
                </a:cubicBezTo>
                <a:cubicBezTo>
                  <a:pt x="90" y="10"/>
                  <a:pt x="86" y="4"/>
                  <a:pt x="84" y="8"/>
                </a:cubicBezTo>
                <a:cubicBezTo>
                  <a:pt x="84" y="10"/>
                  <a:pt x="84" y="12"/>
                  <a:pt x="82" y="12"/>
                </a:cubicBezTo>
                <a:cubicBezTo>
                  <a:pt x="81" y="12"/>
                  <a:pt x="79" y="10"/>
                  <a:pt x="79" y="11"/>
                </a:cubicBezTo>
                <a:cubicBezTo>
                  <a:pt x="79" y="13"/>
                  <a:pt x="77" y="16"/>
                  <a:pt x="76" y="16"/>
                </a:cubicBezTo>
                <a:cubicBezTo>
                  <a:pt x="75" y="17"/>
                  <a:pt x="74" y="17"/>
                  <a:pt x="75" y="18"/>
                </a:cubicBezTo>
                <a:cubicBezTo>
                  <a:pt x="75" y="19"/>
                  <a:pt x="73" y="20"/>
                  <a:pt x="73" y="20"/>
                </a:cubicBezTo>
                <a:cubicBezTo>
                  <a:pt x="72" y="21"/>
                  <a:pt x="70" y="22"/>
                  <a:pt x="69" y="22"/>
                </a:cubicBezTo>
                <a:cubicBezTo>
                  <a:pt x="68" y="22"/>
                  <a:pt x="66" y="20"/>
                  <a:pt x="65" y="21"/>
                </a:cubicBezTo>
                <a:cubicBezTo>
                  <a:pt x="64" y="21"/>
                  <a:pt x="65" y="23"/>
                  <a:pt x="64" y="23"/>
                </a:cubicBezTo>
                <a:cubicBezTo>
                  <a:pt x="63" y="23"/>
                  <a:pt x="62" y="23"/>
                  <a:pt x="61" y="23"/>
                </a:cubicBezTo>
                <a:cubicBezTo>
                  <a:pt x="59" y="23"/>
                  <a:pt x="58" y="27"/>
                  <a:pt x="57" y="29"/>
                </a:cubicBezTo>
                <a:cubicBezTo>
                  <a:pt x="56" y="30"/>
                  <a:pt x="54" y="31"/>
                  <a:pt x="53" y="32"/>
                </a:cubicBezTo>
                <a:cubicBezTo>
                  <a:pt x="51" y="34"/>
                  <a:pt x="53" y="36"/>
                  <a:pt x="52" y="39"/>
                </a:cubicBezTo>
                <a:cubicBezTo>
                  <a:pt x="52" y="40"/>
                  <a:pt x="51" y="39"/>
                  <a:pt x="50" y="40"/>
                </a:cubicBezTo>
                <a:cubicBezTo>
                  <a:pt x="49" y="41"/>
                  <a:pt x="49" y="42"/>
                  <a:pt x="48" y="43"/>
                </a:cubicBezTo>
                <a:cubicBezTo>
                  <a:pt x="48" y="46"/>
                  <a:pt x="48" y="48"/>
                  <a:pt x="46" y="50"/>
                </a:cubicBezTo>
                <a:cubicBezTo>
                  <a:pt x="46" y="51"/>
                  <a:pt x="41" y="53"/>
                  <a:pt x="43" y="55"/>
                </a:cubicBezTo>
                <a:cubicBezTo>
                  <a:pt x="44" y="56"/>
                  <a:pt x="43" y="57"/>
                  <a:pt x="42" y="59"/>
                </a:cubicBezTo>
                <a:cubicBezTo>
                  <a:pt x="42" y="59"/>
                  <a:pt x="41" y="59"/>
                  <a:pt x="41" y="59"/>
                </a:cubicBezTo>
                <a:cubicBezTo>
                  <a:pt x="41" y="60"/>
                  <a:pt x="41" y="60"/>
                  <a:pt x="41" y="60"/>
                </a:cubicBezTo>
                <a:cubicBezTo>
                  <a:pt x="41" y="62"/>
                  <a:pt x="41" y="63"/>
                  <a:pt x="40" y="63"/>
                </a:cubicBezTo>
                <a:cubicBezTo>
                  <a:pt x="38" y="64"/>
                  <a:pt x="38" y="67"/>
                  <a:pt x="39" y="68"/>
                </a:cubicBezTo>
                <a:cubicBezTo>
                  <a:pt x="40" y="70"/>
                  <a:pt x="37" y="69"/>
                  <a:pt x="37" y="70"/>
                </a:cubicBezTo>
                <a:cubicBezTo>
                  <a:pt x="36" y="73"/>
                  <a:pt x="33" y="71"/>
                  <a:pt x="33" y="74"/>
                </a:cubicBezTo>
                <a:cubicBezTo>
                  <a:pt x="33" y="76"/>
                  <a:pt x="31" y="77"/>
                  <a:pt x="32" y="80"/>
                </a:cubicBezTo>
                <a:cubicBezTo>
                  <a:pt x="34" y="82"/>
                  <a:pt x="30" y="81"/>
                  <a:pt x="30" y="83"/>
                </a:cubicBezTo>
                <a:cubicBezTo>
                  <a:pt x="29" y="86"/>
                  <a:pt x="29" y="86"/>
                  <a:pt x="28" y="87"/>
                </a:cubicBezTo>
                <a:cubicBezTo>
                  <a:pt x="26" y="90"/>
                  <a:pt x="26" y="89"/>
                  <a:pt x="23" y="88"/>
                </a:cubicBezTo>
                <a:cubicBezTo>
                  <a:pt x="21" y="88"/>
                  <a:pt x="17" y="87"/>
                  <a:pt x="16" y="90"/>
                </a:cubicBezTo>
                <a:cubicBezTo>
                  <a:pt x="16" y="93"/>
                  <a:pt x="14" y="95"/>
                  <a:pt x="12" y="93"/>
                </a:cubicBezTo>
                <a:cubicBezTo>
                  <a:pt x="10" y="92"/>
                  <a:pt x="9" y="92"/>
                  <a:pt x="8" y="93"/>
                </a:cubicBezTo>
                <a:cubicBezTo>
                  <a:pt x="6" y="94"/>
                  <a:pt x="4" y="92"/>
                  <a:pt x="2" y="94"/>
                </a:cubicBezTo>
                <a:cubicBezTo>
                  <a:pt x="0" y="97"/>
                  <a:pt x="10" y="104"/>
                  <a:pt x="11" y="105"/>
                </a:cubicBezTo>
                <a:cubicBezTo>
                  <a:pt x="14" y="106"/>
                  <a:pt x="14" y="108"/>
                  <a:pt x="15" y="111"/>
                </a:cubicBezTo>
                <a:cubicBezTo>
                  <a:pt x="17" y="112"/>
                  <a:pt x="18" y="109"/>
                  <a:pt x="19" y="111"/>
                </a:cubicBezTo>
                <a:cubicBezTo>
                  <a:pt x="20" y="113"/>
                  <a:pt x="18" y="116"/>
                  <a:pt x="18" y="118"/>
                </a:cubicBezTo>
                <a:cubicBezTo>
                  <a:pt x="19" y="120"/>
                  <a:pt x="21" y="121"/>
                  <a:pt x="19" y="122"/>
                </a:cubicBezTo>
                <a:cubicBezTo>
                  <a:pt x="18" y="122"/>
                  <a:pt x="22" y="126"/>
                  <a:pt x="23" y="126"/>
                </a:cubicBezTo>
                <a:cubicBezTo>
                  <a:pt x="25" y="128"/>
                  <a:pt x="26" y="130"/>
                  <a:pt x="28" y="131"/>
                </a:cubicBezTo>
                <a:cubicBezTo>
                  <a:pt x="30" y="131"/>
                  <a:pt x="31" y="130"/>
                  <a:pt x="32" y="132"/>
                </a:cubicBezTo>
                <a:cubicBezTo>
                  <a:pt x="32" y="133"/>
                  <a:pt x="34" y="134"/>
                  <a:pt x="35" y="134"/>
                </a:cubicBezTo>
                <a:cubicBezTo>
                  <a:pt x="37" y="135"/>
                  <a:pt x="40" y="135"/>
                  <a:pt x="42" y="137"/>
                </a:cubicBezTo>
                <a:cubicBezTo>
                  <a:pt x="42" y="138"/>
                  <a:pt x="41" y="139"/>
                  <a:pt x="41" y="141"/>
                </a:cubicBezTo>
                <a:cubicBezTo>
                  <a:pt x="40" y="144"/>
                  <a:pt x="39" y="142"/>
                  <a:pt x="38" y="144"/>
                </a:cubicBezTo>
                <a:cubicBezTo>
                  <a:pt x="37" y="146"/>
                  <a:pt x="48" y="148"/>
                  <a:pt x="42" y="150"/>
                </a:cubicBezTo>
                <a:cubicBezTo>
                  <a:pt x="41" y="150"/>
                  <a:pt x="39" y="150"/>
                  <a:pt x="38" y="151"/>
                </a:cubicBezTo>
                <a:cubicBezTo>
                  <a:pt x="38" y="154"/>
                  <a:pt x="41" y="154"/>
                  <a:pt x="43" y="154"/>
                </a:cubicBezTo>
                <a:cubicBezTo>
                  <a:pt x="46" y="155"/>
                  <a:pt x="46" y="156"/>
                  <a:pt x="47" y="159"/>
                </a:cubicBezTo>
                <a:cubicBezTo>
                  <a:pt x="47" y="160"/>
                  <a:pt x="51" y="159"/>
                  <a:pt x="52" y="159"/>
                </a:cubicBezTo>
                <a:cubicBezTo>
                  <a:pt x="54" y="160"/>
                  <a:pt x="56" y="160"/>
                  <a:pt x="57" y="161"/>
                </a:cubicBezTo>
                <a:cubicBezTo>
                  <a:pt x="58" y="162"/>
                  <a:pt x="59" y="163"/>
                  <a:pt x="61" y="165"/>
                </a:cubicBezTo>
                <a:cubicBezTo>
                  <a:pt x="64" y="172"/>
                  <a:pt x="66" y="164"/>
                  <a:pt x="68" y="161"/>
                </a:cubicBezTo>
                <a:cubicBezTo>
                  <a:pt x="68" y="160"/>
                  <a:pt x="72" y="156"/>
                  <a:pt x="73" y="158"/>
                </a:cubicBezTo>
                <a:cubicBezTo>
                  <a:pt x="75" y="159"/>
                  <a:pt x="76" y="161"/>
                  <a:pt x="78" y="162"/>
                </a:cubicBezTo>
                <a:cubicBezTo>
                  <a:pt x="80" y="162"/>
                  <a:pt x="84" y="166"/>
                  <a:pt x="81" y="166"/>
                </a:cubicBezTo>
                <a:cubicBezTo>
                  <a:pt x="80" y="166"/>
                  <a:pt x="77" y="163"/>
                  <a:pt x="77" y="166"/>
                </a:cubicBezTo>
                <a:cubicBezTo>
                  <a:pt x="76" y="167"/>
                  <a:pt x="73" y="167"/>
                  <a:pt x="73" y="168"/>
                </a:cubicBezTo>
                <a:cubicBezTo>
                  <a:pt x="73" y="169"/>
                  <a:pt x="74" y="172"/>
                  <a:pt x="75" y="173"/>
                </a:cubicBezTo>
                <a:cubicBezTo>
                  <a:pt x="76" y="176"/>
                  <a:pt x="78" y="175"/>
                  <a:pt x="80" y="177"/>
                </a:cubicBezTo>
                <a:cubicBezTo>
                  <a:pt x="81" y="177"/>
                  <a:pt x="80" y="178"/>
                  <a:pt x="81" y="179"/>
                </a:cubicBezTo>
                <a:cubicBezTo>
                  <a:pt x="81" y="180"/>
                  <a:pt x="82" y="180"/>
                  <a:pt x="83" y="180"/>
                </a:cubicBezTo>
                <a:cubicBezTo>
                  <a:pt x="85" y="182"/>
                  <a:pt x="87" y="184"/>
                  <a:pt x="89" y="185"/>
                </a:cubicBezTo>
                <a:cubicBezTo>
                  <a:pt x="90" y="185"/>
                  <a:pt x="93" y="185"/>
                  <a:pt x="92" y="187"/>
                </a:cubicBezTo>
                <a:cubicBezTo>
                  <a:pt x="91" y="190"/>
                  <a:pt x="88" y="189"/>
                  <a:pt x="87" y="191"/>
                </a:cubicBezTo>
                <a:cubicBezTo>
                  <a:pt x="86" y="193"/>
                  <a:pt x="86" y="195"/>
                  <a:pt x="88" y="196"/>
                </a:cubicBezTo>
                <a:cubicBezTo>
                  <a:pt x="91" y="199"/>
                  <a:pt x="96" y="198"/>
                  <a:pt x="99" y="196"/>
                </a:cubicBezTo>
                <a:cubicBezTo>
                  <a:pt x="103" y="195"/>
                  <a:pt x="105" y="196"/>
                  <a:pt x="109" y="197"/>
                </a:cubicBezTo>
                <a:cubicBezTo>
                  <a:pt x="111" y="199"/>
                  <a:pt x="113" y="197"/>
                  <a:pt x="116" y="198"/>
                </a:cubicBezTo>
                <a:cubicBezTo>
                  <a:pt x="121" y="200"/>
                  <a:pt x="127" y="204"/>
                  <a:pt x="133" y="203"/>
                </a:cubicBezTo>
                <a:cubicBezTo>
                  <a:pt x="136" y="202"/>
                  <a:pt x="138" y="199"/>
                  <a:pt x="141" y="200"/>
                </a:cubicBezTo>
                <a:cubicBezTo>
                  <a:pt x="144" y="201"/>
                  <a:pt x="146" y="202"/>
                  <a:pt x="148" y="202"/>
                </a:cubicBezTo>
                <a:cubicBezTo>
                  <a:pt x="151" y="202"/>
                  <a:pt x="153" y="202"/>
                  <a:pt x="156" y="203"/>
                </a:cubicBezTo>
                <a:cubicBezTo>
                  <a:pt x="159" y="203"/>
                  <a:pt x="162" y="203"/>
                  <a:pt x="164" y="205"/>
                </a:cubicBezTo>
                <a:cubicBezTo>
                  <a:pt x="166" y="206"/>
                  <a:pt x="169" y="206"/>
                  <a:pt x="172" y="205"/>
                </a:cubicBezTo>
                <a:cubicBezTo>
                  <a:pt x="174" y="205"/>
                  <a:pt x="177" y="203"/>
                  <a:pt x="179" y="202"/>
                </a:cubicBezTo>
                <a:cubicBezTo>
                  <a:pt x="183" y="198"/>
                  <a:pt x="185" y="192"/>
                  <a:pt x="190" y="189"/>
                </a:cubicBezTo>
                <a:cubicBezTo>
                  <a:pt x="194" y="187"/>
                  <a:pt x="198" y="187"/>
                  <a:pt x="203" y="186"/>
                </a:cubicBezTo>
                <a:cubicBezTo>
                  <a:pt x="205" y="186"/>
                  <a:pt x="207" y="185"/>
                  <a:pt x="209" y="185"/>
                </a:cubicBezTo>
                <a:cubicBezTo>
                  <a:pt x="211" y="183"/>
                  <a:pt x="214" y="183"/>
                  <a:pt x="217" y="183"/>
                </a:cubicBezTo>
                <a:cubicBezTo>
                  <a:pt x="218" y="183"/>
                  <a:pt x="222" y="183"/>
                  <a:pt x="224" y="184"/>
                </a:cubicBezTo>
                <a:cubicBezTo>
                  <a:pt x="225" y="185"/>
                  <a:pt x="226" y="187"/>
                  <a:pt x="228" y="188"/>
                </a:cubicBezTo>
                <a:cubicBezTo>
                  <a:pt x="230" y="189"/>
                  <a:pt x="233" y="189"/>
                  <a:pt x="235" y="188"/>
                </a:cubicBezTo>
                <a:cubicBezTo>
                  <a:pt x="237" y="187"/>
                  <a:pt x="237" y="190"/>
                  <a:pt x="239" y="191"/>
                </a:cubicBezTo>
                <a:cubicBezTo>
                  <a:pt x="241" y="192"/>
                  <a:pt x="243" y="189"/>
                  <a:pt x="245" y="189"/>
                </a:cubicBezTo>
                <a:cubicBezTo>
                  <a:pt x="246" y="190"/>
                  <a:pt x="246" y="193"/>
                  <a:pt x="247" y="195"/>
                </a:cubicBezTo>
                <a:cubicBezTo>
                  <a:pt x="248" y="197"/>
                  <a:pt x="250" y="198"/>
                  <a:pt x="252" y="199"/>
                </a:cubicBezTo>
                <a:cubicBezTo>
                  <a:pt x="256" y="201"/>
                  <a:pt x="261" y="201"/>
                  <a:pt x="266" y="200"/>
                </a:cubicBezTo>
                <a:cubicBezTo>
                  <a:pt x="265" y="196"/>
                  <a:pt x="268" y="192"/>
                  <a:pt x="267" y="188"/>
                </a:cubicBezTo>
                <a:cubicBezTo>
                  <a:pt x="267" y="187"/>
                  <a:pt x="265" y="182"/>
                  <a:pt x="267" y="182"/>
                </a:cubicBezTo>
                <a:cubicBezTo>
                  <a:pt x="267" y="180"/>
                  <a:pt x="266" y="179"/>
                  <a:pt x="265" y="177"/>
                </a:cubicBezTo>
                <a:cubicBezTo>
                  <a:pt x="265" y="175"/>
                  <a:pt x="266" y="174"/>
                  <a:pt x="267" y="173"/>
                </a:cubicBezTo>
                <a:cubicBezTo>
                  <a:pt x="269" y="170"/>
                  <a:pt x="272" y="166"/>
                  <a:pt x="273" y="163"/>
                </a:cubicBezTo>
                <a:cubicBezTo>
                  <a:pt x="271" y="164"/>
                  <a:pt x="269" y="166"/>
                  <a:pt x="269" y="169"/>
                </a:cubicBezTo>
                <a:cubicBezTo>
                  <a:pt x="269" y="169"/>
                  <a:pt x="268" y="163"/>
                  <a:pt x="268" y="164"/>
                </a:cubicBezTo>
                <a:cubicBezTo>
                  <a:pt x="268" y="164"/>
                  <a:pt x="268" y="163"/>
                  <a:pt x="269" y="163"/>
                </a:cubicBezTo>
                <a:cubicBezTo>
                  <a:pt x="268" y="163"/>
                  <a:pt x="268" y="161"/>
                  <a:pt x="269" y="161"/>
                </a:cubicBezTo>
                <a:cubicBezTo>
                  <a:pt x="269" y="162"/>
                  <a:pt x="269" y="162"/>
                  <a:pt x="269" y="162"/>
                </a:cubicBezTo>
                <a:cubicBezTo>
                  <a:pt x="271" y="162"/>
                  <a:pt x="273" y="160"/>
                  <a:pt x="274" y="159"/>
                </a:cubicBezTo>
                <a:cubicBezTo>
                  <a:pt x="275" y="159"/>
                  <a:pt x="275" y="161"/>
                  <a:pt x="275" y="161"/>
                </a:cubicBezTo>
                <a:cubicBezTo>
                  <a:pt x="277" y="159"/>
                  <a:pt x="273" y="158"/>
                  <a:pt x="272" y="158"/>
                </a:cubicBezTo>
                <a:cubicBezTo>
                  <a:pt x="273" y="162"/>
                  <a:pt x="267" y="160"/>
                  <a:pt x="270" y="158"/>
                </a:cubicBezTo>
                <a:cubicBezTo>
                  <a:pt x="267" y="158"/>
                  <a:pt x="273" y="155"/>
                  <a:pt x="273" y="155"/>
                </a:cubicBezTo>
                <a:cubicBezTo>
                  <a:pt x="274" y="154"/>
                  <a:pt x="273" y="152"/>
                  <a:pt x="273" y="152"/>
                </a:cubicBezTo>
                <a:cubicBezTo>
                  <a:pt x="271" y="150"/>
                  <a:pt x="270" y="147"/>
                  <a:pt x="272" y="145"/>
                </a:cubicBezTo>
                <a:cubicBezTo>
                  <a:pt x="273" y="145"/>
                  <a:pt x="279" y="144"/>
                  <a:pt x="278" y="146"/>
                </a:cubicBezTo>
                <a:cubicBezTo>
                  <a:pt x="277" y="148"/>
                  <a:pt x="276" y="148"/>
                  <a:pt x="276" y="150"/>
                </a:cubicBezTo>
                <a:cubicBezTo>
                  <a:pt x="276" y="152"/>
                  <a:pt x="279" y="153"/>
                  <a:pt x="278" y="151"/>
                </a:cubicBezTo>
                <a:cubicBezTo>
                  <a:pt x="282" y="154"/>
                  <a:pt x="277" y="154"/>
                  <a:pt x="275" y="156"/>
                </a:cubicBezTo>
                <a:cubicBezTo>
                  <a:pt x="274" y="157"/>
                  <a:pt x="275" y="158"/>
                  <a:pt x="276" y="157"/>
                </a:cubicBezTo>
                <a:cubicBezTo>
                  <a:pt x="278" y="156"/>
                  <a:pt x="280" y="154"/>
                  <a:pt x="282" y="154"/>
                </a:cubicBezTo>
                <a:cubicBezTo>
                  <a:pt x="286" y="153"/>
                  <a:pt x="293" y="155"/>
                  <a:pt x="294" y="149"/>
                </a:cubicBezTo>
                <a:cubicBezTo>
                  <a:pt x="295" y="146"/>
                  <a:pt x="293" y="141"/>
                  <a:pt x="295" y="138"/>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178">
            <a:extLst>
              <a:ext uri="{FF2B5EF4-FFF2-40B4-BE49-F238E27FC236}">
                <a16:creationId xmlns:a16="http://schemas.microsoft.com/office/drawing/2014/main" id="{585CF433-8081-45E7-8F8F-FAA0CC4AD5EC}"/>
              </a:ext>
            </a:extLst>
          </p:cNvPr>
          <p:cNvSpPr>
            <a:spLocks/>
          </p:cNvSpPr>
          <p:nvPr/>
        </p:nvSpPr>
        <p:spPr bwMode="auto">
          <a:xfrm>
            <a:off x="3926593" y="4729531"/>
            <a:ext cx="315223" cy="383789"/>
          </a:xfrm>
          <a:custGeom>
            <a:avLst/>
            <a:gdLst>
              <a:gd name="T0" fmla="*/ 106 w 113"/>
              <a:gd name="T1" fmla="*/ 87 h 136"/>
              <a:gd name="T2" fmla="*/ 107 w 113"/>
              <a:gd name="T3" fmla="*/ 77 h 136"/>
              <a:gd name="T4" fmla="*/ 97 w 113"/>
              <a:gd name="T5" fmla="*/ 70 h 136"/>
              <a:gd name="T6" fmla="*/ 95 w 113"/>
              <a:gd name="T7" fmla="*/ 64 h 136"/>
              <a:gd name="T8" fmla="*/ 92 w 113"/>
              <a:gd name="T9" fmla="*/ 61 h 136"/>
              <a:gd name="T10" fmla="*/ 91 w 113"/>
              <a:gd name="T11" fmla="*/ 52 h 136"/>
              <a:gd name="T12" fmla="*/ 85 w 113"/>
              <a:gd name="T13" fmla="*/ 50 h 136"/>
              <a:gd name="T14" fmla="*/ 80 w 113"/>
              <a:gd name="T15" fmla="*/ 46 h 136"/>
              <a:gd name="T16" fmla="*/ 81 w 113"/>
              <a:gd name="T17" fmla="*/ 36 h 136"/>
              <a:gd name="T18" fmla="*/ 79 w 113"/>
              <a:gd name="T19" fmla="*/ 31 h 136"/>
              <a:gd name="T20" fmla="*/ 78 w 113"/>
              <a:gd name="T21" fmla="*/ 26 h 136"/>
              <a:gd name="T22" fmla="*/ 73 w 113"/>
              <a:gd name="T23" fmla="*/ 26 h 136"/>
              <a:gd name="T24" fmla="*/ 62 w 113"/>
              <a:gd name="T25" fmla="*/ 16 h 136"/>
              <a:gd name="T26" fmla="*/ 54 w 113"/>
              <a:gd name="T27" fmla="*/ 15 h 136"/>
              <a:gd name="T28" fmla="*/ 53 w 113"/>
              <a:gd name="T29" fmla="*/ 13 h 136"/>
              <a:gd name="T30" fmla="*/ 46 w 113"/>
              <a:gd name="T31" fmla="*/ 12 h 136"/>
              <a:gd name="T32" fmla="*/ 44 w 113"/>
              <a:gd name="T33" fmla="*/ 10 h 136"/>
              <a:gd name="T34" fmla="*/ 36 w 113"/>
              <a:gd name="T35" fmla="*/ 5 h 136"/>
              <a:gd name="T36" fmla="*/ 26 w 113"/>
              <a:gd name="T37" fmla="*/ 2 h 136"/>
              <a:gd name="T38" fmla="*/ 19 w 113"/>
              <a:gd name="T39" fmla="*/ 5 h 136"/>
              <a:gd name="T40" fmla="*/ 12 w 113"/>
              <a:gd name="T41" fmla="*/ 6 h 136"/>
              <a:gd name="T42" fmla="*/ 4 w 113"/>
              <a:gd name="T43" fmla="*/ 6 h 136"/>
              <a:gd name="T44" fmla="*/ 1 w 113"/>
              <a:gd name="T45" fmla="*/ 9 h 136"/>
              <a:gd name="T46" fmla="*/ 7 w 113"/>
              <a:gd name="T47" fmla="*/ 13 h 136"/>
              <a:gd name="T48" fmla="*/ 13 w 113"/>
              <a:gd name="T49" fmla="*/ 18 h 136"/>
              <a:gd name="T50" fmla="*/ 17 w 113"/>
              <a:gd name="T51" fmla="*/ 27 h 136"/>
              <a:gd name="T52" fmla="*/ 21 w 113"/>
              <a:gd name="T53" fmla="*/ 35 h 136"/>
              <a:gd name="T54" fmla="*/ 28 w 113"/>
              <a:gd name="T55" fmla="*/ 44 h 136"/>
              <a:gd name="T56" fmla="*/ 31 w 113"/>
              <a:gd name="T57" fmla="*/ 50 h 136"/>
              <a:gd name="T58" fmla="*/ 41 w 113"/>
              <a:gd name="T59" fmla="*/ 62 h 136"/>
              <a:gd name="T60" fmla="*/ 50 w 113"/>
              <a:gd name="T61" fmla="*/ 72 h 136"/>
              <a:gd name="T62" fmla="*/ 54 w 113"/>
              <a:gd name="T63" fmla="*/ 83 h 136"/>
              <a:gd name="T64" fmla="*/ 54 w 113"/>
              <a:gd name="T65" fmla="*/ 98 h 136"/>
              <a:gd name="T66" fmla="*/ 52 w 113"/>
              <a:gd name="T67" fmla="*/ 105 h 136"/>
              <a:gd name="T68" fmla="*/ 53 w 113"/>
              <a:gd name="T69" fmla="*/ 116 h 136"/>
              <a:gd name="T70" fmla="*/ 54 w 113"/>
              <a:gd name="T71" fmla="*/ 128 h 136"/>
              <a:gd name="T72" fmla="*/ 58 w 113"/>
              <a:gd name="T73" fmla="*/ 136 h 136"/>
              <a:gd name="T74" fmla="*/ 66 w 113"/>
              <a:gd name="T75" fmla="*/ 127 h 136"/>
              <a:gd name="T76" fmla="*/ 68 w 113"/>
              <a:gd name="T77" fmla="*/ 122 h 136"/>
              <a:gd name="T78" fmla="*/ 73 w 113"/>
              <a:gd name="T79" fmla="*/ 117 h 136"/>
              <a:gd name="T80" fmla="*/ 78 w 113"/>
              <a:gd name="T81" fmla="*/ 111 h 136"/>
              <a:gd name="T82" fmla="*/ 79 w 113"/>
              <a:gd name="T83" fmla="*/ 102 h 136"/>
              <a:gd name="T84" fmla="*/ 78 w 113"/>
              <a:gd name="T85" fmla="*/ 90 h 136"/>
              <a:gd name="T86" fmla="*/ 85 w 113"/>
              <a:gd name="T87" fmla="*/ 90 h 136"/>
              <a:gd name="T88" fmla="*/ 88 w 113"/>
              <a:gd name="T89" fmla="*/ 92 h 136"/>
              <a:gd name="T90" fmla="*/ 93 w 113"/>
              <a:gd name="T91" fmla="*/ 90 h 136"/>
              <a:gd name="T92" fmla="*/ 98 w 113"/>
              <a:gd name="T93" fmla="*/ 95 h 136"/>
              <a:gd name="T94" fmla="*/ 101 w 113"/>
              <a:gd name="T95" fmla="*/ 90 h 136"/>
              <a:gd name="T96" fmla="*/ 106 w 113"/>
              <a:gd name="T97" fmla="*/ 95 h 136"/>
              <a:gd name="T98" fmla="*/ 113 w 113"/>
              <a:gd name="T99" fmla="*/ 9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136">
                <a:moveTo>
                  <a:pt x="108" y="89"/>
                </a:moveTo>
                <a:cubicBezTo>
                  <a:pt x="107" y="89"/>
                  <a:pt x="106" y="88"/>
                  <a:pt x="106" y="87"/>
                </a:cubicBezTo>
                <a:cubicBezTo>
                  <a:pt x="106" y="86"/>
                  <a:pt x="107" y="87"/>
                  <a:pt x="107" y="86"/>
                </a:cubicBezTo>
                <a:cubicBezTo>
                  <a:pt x="107" y="83"/>
                  <a:pt x="107" y="80"/>
                  <a:pt x="107" y="77"/>
                </a:cubicBezTo>
                <a:cubicBezTo>
                  <a:pt x="106" y="74"/>
                  <a:pt x="103" y="73"/>
                  <a:pt x="101" y="73"/>
                </a:cubicBezTo>
                <a:cubicBezTo>
                  <a:pt x="99" y="72"/>
                  <a:pt x="99" y="70"/>
                  <a:pt x="97" y="70"/>
                </a:cubicBezTo>
                <a:cubicBezTo>
                  <a:pt x="95" y="70"/>
                  <a:pt x="94" y="69"/>
                  <a:pt x="94" y="68"/>
                </a:cubicBezTo>
                <a:cubicBezTo>
                  <a:pt x="94" y="66"/>
                  <a:pt x="96" y="65"/>
                  <a:pt x="95" y="64"/>
                </a:cubicBezTo>
                <a:cubicBezTo>
                  <a:pt x="94" y="63"/>
                  <a:pt x="93" y="62"/>
                  <a:pt x="93" y="64"/>
                </a:cubicBezTo>
                <a:cubicBezTo>
                  <a:pt x="90" y="62"/>
                  <a:pt x="92" y="63"/>
                  <a:pt x="92" y="61"/>
                </a:cubicBezTo>
                <a:cubicBezTo>
                  <a:pt x="93" y="60"/>
                  <a:pt x="93" y="58"/>
                  <a:pt x="93" y="56"/>
                </a:cubicBezTo>
                <a:cubicBezTo>
                  <a:pt x="93" y="54"/>
                  <a:pt x="93" y="51"/>
                  <a:pt x="91" y="52"/>
                </a:cubicBezTo>
                <a:cubicBezTo>
                  <a:pt x="90" y="52"/>
                  <a:pt x="89" y="55"/>
                  <a:pt x="87" y="53"/>
                </a:cubicBezTo>
                <a:cubicBezTo>
                  <a:pt x="87" y="52"/>
                  <a:pt x="86" y="50"/>
                  <a:pt x="85" y="50"/>
                </a:cubicBezTo>
                <a:cubicBezTo>
                  <a:pt x="84" y="50"/>
                  <a:pt x="84" y="48"/>
                  <a:pt x="83" y="48"/>
                </a:cubicBezTo>
                <a:cubicBezTo>
                  <a:pt x="81" y="46"/>
                  <a:pt x="81" y="48"/>
                  <a:pt x="80" y="46"/>
                </a:cubicBezTo>
                <a:cubicBezTo>
                  <a:pt x="78" y="43"/>
                  <a:pt x="79" y="43"/>
                  <a:pt x="80" y="40"/>
                </a:cubicBezTo>
                <a:cubicBezTo>
                  <a:pt x="81" y="38"/>
                  <a:pt x="80" y="38"/>
                  <a:pt x="81" y="36"/>
                </a:cubicBezTo>
                <a:cubicBezTo>
                  <a:pt x="81" y="35"/>
                  <a:pt x="81" y="34"/>
                  <a:pt x="81" y="33"/>
                </a:cubicBezTo>
                <a:cubicBezTo>
                  <a:pt x="80" y="32"/>
                  <a:pt x="79" y="32"/>
                  <a:pt x="79" y="31"/>
                </a:cubicBezTo>
                <a:cubicBezTo>
                  <a:pt x="79" y="30"/>
                  <a:pt x="80" y="29"/>
                  <a:pt x="80" y="28"/>
                </a:cubicBezTo>
                <a:cubicBezTo>
                  <a:pt x="80" y="27"/>
                  <a:pt x="79" y="28"/>
                  <a:pt x="78" y="26"/>
                </a:cubicBezTo>
                <a:cubicBezTo>
                  <a:pt x="78" y="26"/>
                  <a:pt x="78" y="24"/>
                  <a:pt x="77" y="24"/>
                </a:cubicBezTo>
                <a:cubicBezTo>
                  <a:pt x="75" y="21"/>
                  <a:pt x="75" y="26"/>
                  <a:pt x="73" y="26"/>
                </a:cubicBezTo>
                <a:cubicBezTo>
                  <a:pt x="71" y="26"/>
                  <a:pt x="69" y="23"/>
                  <a:pt x="68" y="21"/>
                </a:cubicBezTo>
                <a:cubicBezTo>
                  <a:pt x="67" y="19"/>
                  <a:pt x="66" y="17"/>
                  <a:pt x="62" y="16"/>
                </a:cubicBezTo>
                <a:cubicBezTo>
                  <a:pt x="60" y="15"/>
                  <a:pt x="57" y="16"/>
                  <a:pt x="56" y="18"/>
                </a:cubicBezTo>
                <a:cubicBezTo>
                  <a:pt x="56" y="22"/>
                  <a:pt x="55" y="16"/>
                  <a:pt x="54" y="15"/>
                </a:cubicBezTo>
                <a:cubicBezTo>
                  <a:pt x="54" y="15"/>
                  <a:pt x="52" y="19"/>
                  <a:pt x="51" y="17"/>
                </a:cubicBezTo>
                <a:cubicBezTo>
                  <a:pt x="51" y="16"/>
                  <a:pt x="53" y="15"/>
                  <a:pt x="53" y="13"/>
                </a:cubicBezTo>
                <a:cubicBezTo>
                  <a:pt x="52" y="11"/>
                  <a:pt x="50" y="13"/>
                  <a:pt x="50" y="13"/>
                </a:cubicBezTo>
                <a:cubicBezTo>
                  <a:pt x="48" y="14"/>
                  <a:pt x="47" y="14"/>
                  <a:pt x="46" y="12"/>
                </a:cubicBezTo>
                <a:cubicBezTo>
                  <a:pt x="46" y="11"/>
                  <a:pt x="45" y="13"/>
                  <a:pt x="45" y="13"/>
                </a:cubicBezTo>
                <a:cubicBezTo>
                  <a:pt x="43" y="12"/>
                  <a:pt x="44" y="11"/>
                  <a:pt x="44" y="10"/>
                </a:cubicBezTo>
                <a:cubicBezTo>
                  <a:pt x="43" y="9"/>
                  <a:pt x="42" y="9"/>
                  <a:pt x="42" y="9"/>
                </a:cubicBezTo>
                <a:cubicBezTo>
                  <a:pt x="39" y="8"/>
                  <a:pt x="38" y="7"/>
                  <a:pt x="36" y="5"/>
                </a:cubicBezTo>
                <a:cubicBezTo>
                  <a:pt x="34" y="3"/>
                  <a:pt x="32" y="4"/>
                  <a:pt x="30" y="3"/>
                </a:cubicBezTo>
                <a:cubicBezTo>
                  <a:pt x="27" y="0"/>
                  <a:pt x="27" y="2"/>
                  <a:pt x="26" y="2"/>
                </a:cubicBezTo>
                <a:cubicBezTo>
                  <a:pt x="24" y="3"/>
                  <a:pt x="24" y="3"/>
                  <a:pt x="22" y="3"/>
                </a:cubicBezTo>
                <a:cubicBezTo>
                  <a:pt x="21" y="3"/>
                  <a:pt x="20" y="4"/>
                  <a:pt x="19" y="5"/>
                </a:cubicBezTo>
                <a:cubicBezTo>
                  <a:pt x="17" y="8"/>
                  <a:pt x="15" y="6"/>
                  <a:pt x="13" y="5"/>
                </a:cubicBezTo>
                <a:cubicBezTo>
                  <a:pt x="11" y="4"/>
                  <a:pt x="12" y="6"/>
                  <a:pt x="12" y="6"/>
                </a:cubicBezTo>
                <a:cubicBezTo>
                  <a:pt x="11" y="7"/>
                  <a:pt x="10" y="7"/>
                  <a:pt x="9" y="7"/>
                </a:cubicBezTo>
                <a:cubicBezTo>
                  <a:pt x="8" y="6"/>
                  <a:pt x="5" y="4"/>
                  <a:pt x="4" y="6"/>
                </a:cubicBezTo>
                <a:cubicBezTo>
                  <a:pt x="3" y="9"/>
                  <a:pt x="7" y="10"/>
                  <a:pt x="2" y="9"/>
                </a:cubicBezTo>
                <a:cubicBezTo>
                  <a:pt x="2" y="8"/>
                  <a:pt x="2" y="7"/>
                  <a:pt x="1" y="9"/>
                </a:cubicBezTo>
                <a:cubicBezTo>
                  <a:pt x="1" y="10"/>
                  <a:pt x="0" y="10"/>
                  <a:pt x="0" y="11"/>
                </a:cubicBezTo>
                <a:cubicBezTo>
                  <a:pt x="2" y="13"/>
                  <a:pt x="5" y="11"/>
                  <a:pt x="7" y="13"/>
                </a:cubicBezTo>
                <a:cubicBezTo>
                  <a:pt x="7" y="14"/>
                  <a:pt x="13" y="16"/>
                  <a:pt x="10" y="16"/>
                </a:cubicBezTo>
                <a:cubicBezTo>
                  <a:pt x="11" y="17"/>
                  <a:pt x="13" y="17"/>
                  <a:pt x="13" y="18"/>
                </a:cubicBezTo>
                <a:cubicBezTo>
                  <a:pt x="13" y="19"/>
                  <a:pt x="13" y="19"/>
                  <a:pt x="14" y="21"/>
                </a:cubicBezTo>
                <a:cubicBezTo>
                  <a:pt x="16" y="23"/>
                  <a:pt x="16" y="24"/>
                  <a:pt x="17" y="27"/>
                </a:cubicBezTo>
                <a:cubicBezTo>
                  <a:pt x="19" y="29"/>
                  <a:pt x="19" y="32"/>
                  <a:pt x="21" y="34"/>
                </a:cubicBezTo>
                <a:cubicBezTo>
                  <a:pt x="22" y="36"/>
                  <a:pt x="21" y="35"/>
                  <a:pt x="21" y="35"/>
                </a:cubicBezTo>
                <a:cubicBezTo>
                  <a:pt x="21" y="37"/>
                  <a:pt x="23" y="39"/>
                  <a:pt x="24" y="40"/>
                </a:cubicBezTo>
                <a:cubicBezTo>
                  <a:pt x="26" y="41"/>
                  <a:pt x="26" y="43"/>
                  <a:pt x="28" y="44"/>
                </a:cubicBezTo>
                <a:cubicBezTo>
                  <a:pt x="29" y="45"/>
                  <a:pt x="30" y="45"/>
                  <a:pt x="31" y="47"/>
                </a:cubicBezTo>
                <a:cubicBezTo>
                  <a:pt x="31" y="48"/>
                  <a:pt x="31" y="49"/>
                  <a:pt x="31" y="50"/>
                </a:cubicBezTo>
                <a:cubicBezTo>
                  <a:pt x="32" y="52"/>
                  <a:pt x="33" y="53"/>
                  <a:pt x="35" y="54"/>
                </a:cubicBezTo>
                <a:cubicBezTo>
                  <a:pt x="38" y="56"/>
                  <a:pt x="38" y="59"/>
                  <a:pt x="41" y="62"/>
                </a:cubicBezTo>
                <a:cubicBezTo>
                  <a:pt x="43" y="64"/>
                  <a:pt x="46" y="65"/>
                  <a:pt x="48" y="67"/>
                </a:cubicBezTo>
                <a:cubicBezTo>
                  <a:pt x="49" y="69"/>
                  <a:pt x="49" y="70"/>
                  <a:pt x="50" y="72"/>
                </a:cubicBezTo>
                <a:cubicBezTo>
                  <a:pt x="51" y="74"/>
                  <a:pt x="51" y="76"/>
                  <a:pt x="52" y="78"/>
                </a:cubicBezTo>
                <a:cubicBezTo>
                  <a:pt x="53" y="79"/>
                  <a:pt x="54" y="81"/>
                  <a:pt x="54" y="83"/>
                </a:cubicBezTo>
                <a:cubicBezTo>
                  <a:pt x="55" y="85"/>
                  <a:pt x="53" y="87"/>
                  <a:pt x="54" y="89"/>
                </a:cubicBezTo>
                <a:cubicBezTo>
                  <a:pt x="56" y="93"/>
                  <a:pt x="54" y="94"/>
                  <a:pt x="54" y="98"/>
                </a:cubicBezTo>
                <a:cubicBezTo>
                  <a:pt x="54" y="99"/>
                  <a:pt x="52" y="100"/>
                  <a:pt x="52" y="101"/>
                </a:cubicBezTo>
                <a:cubicBezTo>
                  <a:pt x="52" y="102"/>
                  <a:pt x="52" y="104"/>
                  <a:pt x="52" y="105"/>
                </a:cubicBezTo>
                <a:cubicBezTo>
                  <a:pt x="52" y="107"/>
                  <a:pt x="51" y="109"/>
                  <a:pt x="52" y="111"/>
                </a:cubicBezTo>
                <a:cubicBezTo>
                  <a:pt x="52" y="113"/>
                  <a:pt x="53" y="114"/>
                  <a:pt x="53" y="116"/>
                </a:cubicBezTo>
                <a:cubicBezTo>
                  <a:pt x="53" y="120"/>
                  <a:pt x="55" y="122"/>
                  <a:pt x="55" y="126"/>
                </a:cubicBezTo>
                <a:cubicBezTo>
                  <a:pt x="55" y="127"/>
                  <a:pt x="55" y="128"/>
                  <a:pt x="54" y="128"/>
                </a:cubicBezTo>
                <a:cubicBezTo>
                  <a:pt x="53" y="128"/>
                  <a:pt x="52" y="129"/>
                  <a:pt x="53" y="130"/>
                </a:cubicBezTo>
                <a:cubicBezTo>
                  <a:pt x="56" y="131"/>
                  <a:pt x="55" y="134"/>
                  <a:pt x="58" y="136"/>
                </a:cubicBezTo>
                <a:cubicBezTo>
                  <a:pt x="57" y="130"/>
                  <a:pt x="63" y="133"/>
                  <a:pt x="66" y="133"/>
                </a:cubicBezTo>
                <a:cubicBezTo>
                  <a:pt x="68" y="133"/>
                  <a:pt x="67" y="127"/>
                  <a:pt x="66" y="127"/>
                </a:cubicBezTo>
                <a:cubicBezTo>
                  <a:pt x="64" y="125"/>
                  <a:pt x="67" y="125"/>
                  <a:pt x="67" y="124"/>
                </a:cubicBezTo>
                <a:cubicBezTo>
                  <a:pt x="68" y="123"/>
                  <a:pt x="68" y="122"/>
                  <a:pt x="68" y="122"/>
                </a:cubicBezTo>
                <a:cubicBezTo>
                  <a:pt x="69" y="121"/>
                  <a:pt x="70" y="122"/>
                  <a:pt x="71" y="120"/>
                </a:cubicBezTo>
                <a:cubicBezTo>
                  <a:pt x="71" y="119"/>
                  <a:pt x="73" y="119"/>
                  <a:pt x="73" y="117"/>
                </a:cubicBezTo>
                <a:cubicBezTo>
                  <a:pt x="73" y="116"/>
                  <a:pt x="72" y="114"/>
                  <a:pt x="73" y="113"/>
                </a:cubicBezTo>
                <a:cubicBezTo>
                  <a:pt x="74" y="112"/>
                  <a:pt x="77" y="112"/>
                  <a:pt x="78" y="111"/>
                </a:cubicBezTo>
                <a:cubicBezTo>
                  <a:pt x="80" y="110"/>
                  <a:pt x="78" y="108"/>
                  <a:pt x="79" y="106"/>
                </a:cubicBezTo>
                <a:cubicBezTo>
                  <a:pt x="79" y="105"/>
                  <a:pt x="81" y="103"/>
                  <a:pt x="79" y="102"/>
                </a:cubicBezTo>
                <a:cubicBezTo>
                  <a:pt x="78" y="101"/>
                  <a:pt x="77" y="99"/>
                  <a:pt x="77" y="97"/>
                </a:cubicBezTo>
                <a:cubicBezTo>
                  <a:pt x="77" y="94"/>
                  <a:pt x="75" y="92"/>
                  <a:pt x="78" y="90"/>
                </a:cubicBezTo>
                <a:cubicBezTo>
                  <a:pt x="79" y="89"/>
                  <a:pt x="81" y="88"/>
                  <a:pt x="82" y="88"/>
                </a:cubicBezTo>
                <a:cubicBezTo>
                  <a:pt x="84" y="87"/>
                  <a:pt x="85" y="88"/>
                  <a:pt x="85" y="90"/>
                </a:cubicBezTo>
                <a:cubicBezTo>
                  <a:pt x="85" y="91"/>
                  <a:pt x="86" y="94"/>
                  <a:pt x="85" y="94"/>
                </a:cubicBezTo>
                <a:cubicBezTo>
                  <a:pt x="86" y="94"/>
                  <a:pt x="88" y="94"/>
                  <a:pt x="88" y="92"/>
                </a:cubicBezTo>
                <a:cubicBezTo>
                  <a:pt x="88" y="91"/>
                  <a:pt x="88" y="89"/>
                  <a:pt x="89" y="91"/>
                </a:cubicBezTo>
                <a:cubicBezTo>
                  <a:pt x="91" y="95"/>
                  <a:pt x="91" y="89"/>
                  <a:pt x="93" y="90"/>
                </a:cubicBezTo>
                <a:cubicBezTo>
                  <a:pt x="94" y="90"/>
                  <a:pt x="92" y="93"/>
                  <a:pt x="95" y="92"/>
                </a:cubicBezTo>
                <a:cubicBezTo>
                  <a:pt x="96" y="93"/>
                  <a:pt x="97" y="95"/>
                  <a:pt x="98" y="95"/>
                </a:cubicBezTo>
                <a:cubicBezTo>
                  <a:pt x="99" y="94"/>
                  <a:pt x="99" y="93"/>
                  <a:pt x="99" y="92"/>
                </a:cubicBezTo>
                <a:cubicBezTo>
                  <a:pt x="100" y="91"/>
                  <a:pt x="101" y="92"/>
                  <a:pt x="101" y="90"/>
                </a:cubicBezTo>
                <a:cubicBezTo>
                  <a:pt x="102" y="92"/>
                  <a:pt x="103" y="92"/>
                  <a:pt x="104" y="95"/>
                </a:cubicBezTo>
                <a:cubicBezTo>
                  <a:pt x="104" y="96"/>
                  <a:pt x="105" y="96"/>
                  <a:pt x="106" y="95"/>
                </a:cubicBezTo>
                <a:cubicBezTo>
                  <a:pt x="107" y="94"/>
                  <a:pt x="108" y="94"/>
                  <a:pt x="110" y="94"/>
                </a:cubicBezTo>
                <a:cubicBezTo>
                  <a:pt x="111" y="95"/>
                  <a:pt x="113" y="95"/>
                  <a:pt x="113" y="93"/>
                </a:cubicBezTo>
                <a:cubicBezTo>
                  <a:pt x="113" y="93"/>
                  <a:pt x="108" y="89"/>
                  <a:pt x="108" y="89"/>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215">
            <a:extLst>
              <a:ext uri="{FF2B5EF4-FFF2-40B4-BE49-F238E27FC236}">
                <a16:creationId xmlns:a16="http://schemas.microsoft.com/office/drawing/2014/main" id="{24EA6A34-C2F1-4B6F-AE8C-A81F0AE7B535}"/>
              </a:ext>
            </a:extLst>
          </p:cNvPr>
          <p:cNvSpPr>
            <a:spLocks/>
          </p:cNvSpPr>
          <p:nvPr/>
        </p:nvSpPr>
        <p:spPr bwMode="auto">
          <a:xfrm>
            <a:off x="3168642" y="506564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8" name="Rectangle 216">
            <a:extLst>
              <a:ext uri="{FF2B5EF4-FFF2-40B4-BE49-F238E27FC236}">
                <a16:creationId xmlns:a16="http://schemas.microsoft.com/office/drawing/2014/main" id="{B0045A34-E7D8-4DDF-B581-43E8B7261A35}"/>
              </a:ext>
            </a:extLst>
          </p:cNvPr>
          <p:cNvSpPr>
            <a:spLocks noChangeArrowheads="1"/>
          </p:cNvSpPr>
          <p:nvPr/>
        </p:nvSpPr>
        <p:spPr bwMode="auto">
          <a:xfrm>
            <a:off x="3043498" y="4708077"/>
            <a:ext cx="1181" cy="1192"/>
          </a:xfrm>
          <a:prstGeom prst="rect">
            <a:avLst/>
          </a:prstGeom>
          <a:solidFill>
            <a:srgbClr val="00B0F2"/>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222">
            <a:extLst>
              <a:ext uri="{FF2B5EF4-FFF2-40B4-BE49-F238E27FC236}">
                <a16:creationId xmlns:a16="http://schemas.microsoft.com/office/drawing/2014/main" id="{9F24269B-9C3D-41FF-A392-DB5BC13EA210}"/>
              </a:ext>
            </a:extLst>
          </p:cNvPr>
          <p:cNvSpPr>
            <a:spLocks/>
          </p:cNvSpPr>
          <p:nvPr/>
        </p:nvSpPr>
        <p:spPr bwMode="auto">
          <a:xfrm>
            <a:off x="3397681" y="5387455"/>
            <a:ext cx="165285" cy="177592"/>
          </a:xfrm>
          <a:custGeom>
            <a:avLst/>
            <a:gdLst>
              <a:gd name="T0" fmla="*/ 126 w 140"/>
              <a:gd name="T1" fmla="*/ 61 h 149"/>
              <a:gd name="T2" fmla="*/ 107 w 140"/>
              <a:gd name="T3" fmla="*/ 57 h 149"/>
              <a:gd name="T4" fmla="*/ 105 w 140"/>
              <a:gd name="T5" fmla="*/ 43 h 149"/>
              <a:gd name="T6" fmla="*/ 90 w 140"/>
              <a:gd name="T7" fmla="*/ 38 h 149"/>
              <a:gd name="T8" fmla="*/ 86 w 140"/>
              <a:gd name="T9" fmla="*/ 33 h 149"/>
              <a:gd name="T10" fmla="*/ 86 w 140"/>
              <a:gd name="T11" fmla="*/ 28 h 149"/>
              <a:gd name="T12" fmla="*/ 81 w 140"/>
              <a:gd name="T13" fmla="*/ 28 h 149"/>
              <a:gd name="T14" fmla="*/ 76 w 140"/>
              <a:gd name="T15" fmla="*/ 26 h 149"/>
              <a:gd name="T16" fmla="*/ 79 w 140"/>
              <a:gd name="T17" fmla="*/ 21 h 149"/>
              <a:gd name="T18" fmla="*/ 76 w 140"/>
              <a:gd name="T19" fmla="*/ 19 h 149"/>
              <a:gd name="T20" fmla="*/ 67 w 140"/>
              <a:gd name="T21" fmla="*/ 16 h 149"/>
              <a:gd name="T22" fmla="*/ 60 w 140"/>
              <a:gd name="T23" fmla="*/ 12 h 149"/>
              <a:gd name="T24" fmla="*/ 60 w 140"/>
              <a:gd name="T25" fmla="*/ 5 h 149"/>
              <a:gd name="T26" fmla="*/ 57 w 140"/>
              <a:gd name="T27" fmla="*/ 5 h 149"/>
              <a:gd name="T28" fmla="*/ 57 w 140"/>
              <a:gd name="T29" fmla="*/ 2 h 149"/>
              <a:gd name="T30" fmla="*/ 45 w 140"/>
              <a:gd name="T31" fmla="*/ 0 h 149"/>
              <a:gd name="T32" fmla="*/ 41 w 140"/>
              <a:gd name="T33" fmla="*/ 5 h 149"/>
              <a:gd name="T34" fmla="*/ 36 w 140"/>
              <a:gd name="T35" fmla="*/ 12 h 149"/>
              <a:gd name="T36" fmla="*/ 38 w 140"/>
              <a:gd name="T37" fmla="*/ 19 h 149"/>
              <a:gd name="T38" fmla="*/ 41 w 140"/>
              <a:gd name="T39" fmla="*/ 21 h 149"/>
              <a:gd name="T40" fmla="*/ 45 w 140"/>
              <a:gd name="T41" fmla="*/ 24 h 149"/>
              <a:gd name="T42" fmla="*/ 45 w 140"/>
              <a:gd name="T43" fmla="*/ 26 h 149"/>
              <a:gd name="T44" fmla="*/ 38 w 140"/>
              <a:gd name="T45" fmla="*/ 33 h 149"/>
              <a:gd name="T46" fmla="*/ 31 w 140"/>
              <a:gd name="T47" fmla="*/ 38 h 149"/>
              <a:gd name="T48" fmla="*/ 22 w 140"/>
              <a:gd name="T49" fmla="*/ 43 h 149"/>
              <a:gd name="T50" fmla="*/ 19 w 140"/>
              <a:gd name="T51" fmla="*/ 47 h 149"/>
              <a:gd name="T52" fmla="*/ 15 w 140"/>
              <a:gd name="T53" fmla="*/ 47 h 149"/>
              <a:gd name="T54" fmla="*/ 10 w 140"/>
              <a:gd name="T55" fmla="*/ 50 h 149"/>
              <a:gd name="T56" fmla="*/ 5 w 140"/>
              <a:gd name="T57" fmla="*/ 52 h 149"/>
              <a:gd name="T58" fmla="*/ 0 w 140"/>
              <a:gd name="T59" fmla="*/ 52 h 149"/>
              <a:gd name="T60" fmla="*/ 0 w 140"/>
              <a:gd name="T61" fmla="*/ 54 h 149"/>
              <a:gd name="T62" fmla="*/ 5 w 140"/>
              <a:gd name="T63" fmla="*/ 59 h 149"/>
              <a:gd name="T64" fmla="*/ 5 w 140"/>
              <a:gd name="T65" fmla="*/ 69 h 149"/>
              <a:gd name="T66" fmla="*/ 8 w 140"/>
              <a:gd name="T67" fmla="*/ 76 h 149"/>
              <a:gd name="T68" fmla="*/ 8 w 140"/>
              <a:gd name="T69" fmla="*/ 80 h 149"/>
              <a:gd name="T70" fmla="*/ 10 w 140"/>
              <a:gd name="T71" fmla="*/ 95 h 149"/>
              <a:gd name="T72" fmla="*/ 22 w 140"/>
              <a:gd name="T73" fmla="*/ 104 h 149"/>
              <a:gd name="T74" fmla="*/ 29 w 140"/>
              <a:gd name="T75" fmla="*/ 111 h 149"/>
              <a:gd name="T76" fmla="*/ 36 w 140"/>
              <a:gd name="T77" fmla="*/ 128 h 149"/>
              <a:gd name="T78" fmla="*/ 41 w 140"/>
              <a:gd name="T79" fmla="*/ 149 h 149"/>
              <a:gd name="T80" fmla="*/ 53 w 140"/>
              <a:gd name="T81" fmla="*/ 149 h 149"/>
              <a:gd name="T82" fmla="*/ 55 w 140"/>
              <a:gd name="T83" fmla="*/ 137 h 149"/>
              <a:gd name="T84" fmla="*/ 55 w 140"/>
              <a:gd name="T85" fmla="*/ 132 h 149"/>
              <a:gd name="T86" fmla="*/ 74 w 140"/>
              <a:gd name="T87" fmla="*/ 116 h 149"/>
              <a:gd name="T88" fmla="*/ 76 w 140"/>
              <a:gd name="T89" fmla="*/ 118 h 149"/>
              <a:gd name="T90" fmla="*/ 76 w 140"/>
              <a:gd name="T91" fmla="*/ 116 h 149"/>
              <a:gd name="T92" fmla="*/ 83 w 140"/>
              <a:gd name="T93" fmla="*/ 114 h 149"/>
              <a:gd name="T94" fmla="*/ 100 w 140"/>
              <a:gd name="T95" fmla="*/ 111 h 149"/>
              <a:gd name="T96" fmla="*/ 109 w 140"/>
              <a:gd name="T97" fmla="*/ 106 h 149"/>
              <a:gd name="T98" fmla="*/ 112 w 140"/>
              <a:gd name="T99" fmla="*/ 106 h 149"/>
              <a:gd name="T100" fmla="*/ 116 w 140"/>
              <a:gd name="T101" fmla="*/ 104 h 149"/>
              <a:gd name="T102" fmla="*/ 119 w 140"/>
              <a:gd name="T103" fmla="*/ 106 h 149"/>
              <a:gd name="T104" fmla="*/ 123 w 140"/>
              <a:gd name="T105" fmla="*/ 106 h 149"/>
              <a:gd name="T106" fmla="*/ 135 w 140"/>
              <a:gd name="T107" fmla="*/ 106 h 149"/>
              <a:gd name="T108" fmla="*/ 140 w 140"/>
              <a:gd name="T109" fmla="*/ 97 h 149"/>
              <a:gd name="T110" fmla="*/ 138 w 140"/>
              <a:gd name="T111" fmla="*/ 87 h 149"/>
              <a:gd name="T112" fmla="*/ 135 w 140"/>
              <a:gd name="T113" fmla="*/ 83 h 149"/>
              <a:gd name="T114" fmla="*/ 133 w 140"/>
              <a:gd name="T115" fmla="*/ 76 h 149"/>
              <a:gd name="T116" fmla="*/ 135 w 140"/>
              <a:gd name="T117" fmla="*/ 71 h 149"/>
              <a:gd name="T118" fmla="*/ 135 w 140"/>
              <a:gd name="T119" fmla="*/ 7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0" h="149">
                <a:moveTo>
                  <a:pt x="135" y="71"/>
                </a:moveTo>
                <a:lnTo>
                  <a:pt x="126" y="61"/>
                </a:lnTo>
                <a:lnTo>
                  <a:pt x="119" y="59"/>
                </a:lnTo>
                <a:lnTo>
                  <a:pt x="107" y="57"/>
                </a:lnTo>
                <a:lnTo>
                  <a:pt x="97" y="52"/>
                </a:lnTo>
                <a:lnTo>
                  <a:pt x="105" y="43"/>
                </a:lnTo>
                <a:lnTo>
                  <a:pt x="90" y="38"/>
                </a:lnTo>
                <a:lnTo>
                  <a:pt x="90" y="38"/>
                </a:lnTo>
                <a:lnTo>
                  <a:pt x="88" y="38"/>
                </a:lnTo>
                <a:lnTo>
                  <a:pt x="86" y="33"/>
                </a:lnTo>
                <a:lnTo>
                  <a:pt x="86" y="33"/>
                </a:lnTo>
                <a:lnTo>
                  <a:pt x="86" y="28"/>
                </a:lnTo>
                <a:lnTo>
                  <a:pt x="86" y="28"/>
                </a:lnTo>
                <a:lnTo>
                  <a:pt x="81" y="28"/>
                </a:lnTo>
                <a:lnTo>
                  <a:pt x="79" y="28"/>
                </a:lnTo>
                <a:lnTo>
                  <a:pt x="76" y="26"/>
                </a:lnTo>
                <a:lnTo>
                  <a:pt x="76" y="26"/>
                </a:lnTo>
                <a:lnTo>
                  <a:pt x="79" y="21"/>
                </a:lnTo>
                <a:lnTo>
                  <a:pt x="76" y="19"/>
                </a:lnTo>
                <a:lnTo>
                  <a:pt x="76" y="19"/>
                </a:lnTo>
                <a:lnTo>
                  <a:pt x="74" y="16"/>
                </a:lnTo>
                <a:lnTo>
                  <a:pt x="67" y="16"/>
                </a:lnTo>
                <a:lnTo>
                  <a:pt x="67" y="16"/>
                </a:lnTo>
                <a:lnTo>
                  <a:pt x="60" y="12"/>
                </a:lnTo>
                <a:lnTo>
                  <a:pt x="57" y="12"/>
                </a:lnTo>
                <a:lnTo>
                  <a:pt x="60" y="5"/>
                </a:lnTo>
                <a:lnTo>
                  <a:pt x="60" y="5"/>
                </a:lnTo>
                <a:lnTo>
                  <a:pt x="57" y="5"/>
                </a:lnTo>
                <a:lnTo>
                  <a:pt x="57" y="2"/>
                </a:lnTo>
                <a:lnTo>
                  <a:pt x="57" y="2"/>
                </a:lnTo>
                <a:lnTo>
                  <a:pt x="45" y="0"/>
                </a:lnTo>
                <a:lnTo>
                  <a:pt x="45" y="0"/>
                </a:lnTo>
                <a:lnTo>
                  <a:pt x="41" y="5"/>
                </a:lnTo>
                <a:lnTo>
                  <a:pt x="41" y="5"/>
                </a:lnTo>
                <a:lnTo>
                  <a:pt x="38" y="9"/>
                </a:lnTo>
                <a:lnTo>
                  <a:pt x="36" y="12"/>
                </a:lnTo>
                <a:lnTo>
                  <a:pt x="36" y="12"/>
                </a:lnTo>
                <a:lnTo>
                  <a:pt x="38" y="19"/>
                </a:lnTo>
                <a:lnTo>
                  <a:pt x="38" y="19"/>
                </a:lnTo>
                <a:lnTo>
                  <a:pt x="41" y="21"/>
                </a:lnTo>
                <a:lnTo>
                  <a:pt x="43" y="21"/>
                </a:lnTo>
                <a:lnTo>
                  <a:pt x="45" y="24"/>
                </a:lnTo>
                <a:lnTo>
                  <a:pt x="45" y="26"/>
                </a:lnTo>
                <a:lnTo>
                  <a:pt x="45" y="26"/>
                </a:lnTo>
                <a:lnTo>
                  <a:pt x="43" y="28"/>
                </a:lnTo>
                <a:lnTo>
                  <a:pt x="38" y="33"/>
                </a:lnTo>
                <a:lnTo>
                  <a:pt x="38" y="33"/>
                </a:lnTo>
                <a:lnTo>
                  <a:pt x="31" y="38"/>
                </a:lnTo>
                <a:lnTo>
                  <a:pt x="22" y="43"/>
                </a:lnTo>
                <a:lnTo>
                  <a:pt x="22" y="43"/>
                </a:lnTo>
                <a:lnTo>
                  <a:pt x="22" y="45"/>
                </a:lnTo>
                <a:lnTo>
                  <a:pt x="19" y="47"/>
                </a:lnTo>
                <a:lnTo>
                  <a:pt x="19" y="47"/>
                </a:lnTo>
                <a:lnTo>
                  <a:pt x="15" y="47"/>
                </a:lnTo>
                <a:lnTo>
                  <a:pt x="10" y="50"/>
                </a:lnTo>
                <a:lnTo>
                  <a:pt x="10" y="50"/>
                </a:lnTo>
                <a:lnTo>
                  <a:pt x="8" y="52"/>
                </a:lnTo>
                <a:lnTo>
                  <a:pt x="5" y="52"/>
                </a:lnTo>
                <a:lnTo>
                  <a:pt x="5" y="52"/>
                </a:lnTo>
                <a:lnTo>
                  <a:pt x="0" y="52"/>
                </a:lnTo>
                <a:lnTo>
                  <a:pt x="0" y="52"/>
                </a:lnTo>
                <a:lnTo>
                  <a:pt x="0" y="54"/>
                </a:lnTo>
                <a:lnTo>
                  <a:pt x="3" y="59"/>
                </a:lnTo>
                <a:lnTo>
                  <a:pt x="5" y="59"/>
                </a:lnTo>
                <a:lnTo>
                  <a:pt x="5" y="66"/>
                </a:lnTo>
                <a:lnTo>
                  <a:pt x="5" y="69"/>
                </a:lnTo>
                <a:lnTo>
                  <a:pt x="5" y="71"/>
                </a:lnTo>
                <a:lnTo>
                  <a:pt x="8" y="76"/>
                </a:lnTo>
                <a:lnTo>
                  <a:pt x="8" y="76"/>
                </a:lnTo>
                <a:lnTo>
                  <a:pt x="8" y="80"/>
                </a:lnTo>
                <a:lnTo>
                  <a:pt x="10" y="85"/>
                </a:lnTo>
                <a:lnTo>
                  <a:pt x="10" y="95"/>
                </a:lnTo>
                <a:lnTo>
                  <a:pt x="12" y="102"/>
                </a:lnTo>
                <a:lnTo>
                  <a:pt x="22" y="104"/>
                </a:lnTo>
                <a:lnTo>
                  <a:pt x="26" y="106"/>
                </a:lnTo>
                <a:lnTo>
                  <a:pt x="29" y="111"/>
                </a:lnTo>
                <a:lnTo>
                  <a:pt x="34" y="123"/>
                </a:lnTo>
                <a:lnTo>
                  <a:pt x="36" y="128"/>
                </a:lnTo>
                <a:lnTo>
                  <a:pt x="38" y="130"/>
                </a:lnTo>
                <a:lnTo>
                  <a:pt x="41" y="149"/>
                </a:lnTo>
                <a:lnTo>
                  <a:pt x="45" y="149"/>
                </a:lnTo>
                <a:lnTo>
                  <a:pt x="53" y="149"/>
                </a:lnTo>
                <a:lnTo>
                  <a:pt x="55" y="140"/>
                </a:lnTo>
                <a:lnTo>
                  <a:pt x="55" y="137"/>
                </a:lnTo>
                <a:lnTo>
                  <a:pt x="55" y="135"/>
                </a:lnTo>
                <a:lnTo>
                  <a:pt x="55" y="132"/>
                </a:lnTo>
                <a:lnTo>
                  <a:pt x="62" y="123"/>
                </a:lnTo>
                <a:lnTo>
                  <a:pt x="74" y="116"/>
                </a:lnTo>
                <a:lnTo>
                  <a:pt x="74" y="116"/>
                </a:lnTo>
                <a:lnTo>
                  <a:pt x="76" y="118"/>
                </a:lnTo>
                <a:lnTo>
                  <a:pt x="76" y="116"/>
                </a:lnTo>
                <a:lnTo>
                  <a:pt x="76" y="116"/>
                </a:lnTo>
                <a:lnTo>
                  <a:pt x="76" y="116"/>
                </a:lnTo>
                <a:lnTo>
                  <a:pt x="83" y="114"/>
                </a:lnTo>
                <a:lnTo>
                  <a:pt x="93" y="125"/>
                </a:lnTo>
                <a:lnTo>
                  <a:pt x="100" y="111"/>
                </a:lnTo>
                <a:lnTo>
                  <a:pt x="109" y="106"/>
                </a:lnTo>
                <a:lnTo>
                  <a:pt x="109" y="106"/>
                </a:lnTo>
                <a:lnTo>
                  <a:pt x="112" y="106"/>
                </a:lnTo>
                <a:lnTo>
                  <a:pt x="112" y="106"/>
                </a:lnTo>
                <a:lnTo>
                  <a:pt x="114" y="104"/>
                </a:lnTo>
                <a:lnTo>
                  <a:pt x="116" y="104"/>
                </a:lnTo>
                <a:lnTo>
                  <a:pt x="119" y="106"/>
                </a:lnTo>
                <a:lnTo>
                  <a:pt x="119" y="106"/>
                </a:lnTo>
                <a:lnTo>
                  <a:pt x="123" y="106"/>
                </a:lnTo>
                <a:lnTo>
                  <a:pt x="123" y="106"/>
                </a:lnTo>
                <a:lnTo>
                  <a:pt x="128" y="104"/>
                </a:lnTo>
                <a:lnTo>
                  <a:pt x="135" y="106"/>
                </a:lnTo>
                <a:lnTo>
                  <a:pt x="138" y="99"/>
                </a:lnTo>
                <a:lnTo>
                  <a:pt x="140" y="97"/>
                </a:lnTo>
                <a:lnTo>
                  <a:pt x="138" y="92"/>
                </a:lnTo>
                <a:lnTo>
                  <a:pt x="138" y="87"/>
                </a:lnTo>
                <a:lnTo>
                  <a:pt x="135" y="87"/>
                </a:lnTo>
                <a:lnTo>
                  <a:pt x="135" y="83"/>
                </a:lnTo>
                <a:lnTo>
                  <a:pt x="135" y="78"/>
                </a:lnTo>
                <a:lnTo>
                  <a:pt x="133" y="76"/>
                </a:lnTo>
                <a:lnTo>
                  <a:pt x="133" y="73"/>
                </a:lnTo>
                <a:lnTo>
                  <a:pt x="135" y="71"/>
                </a:lnTo>
                <a:lnTo>
                  <a:pt x="135" y="71"/>
                </a:lnTo>
                <a:lnTo>
                  <a:pt x="135" y="71"/>
                </a:ln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58">
            <a:extLst>
              <a:ext uri="{FF2B5EF4-FFF2-40B4-BE49-F238E27FC236}">
                <a16:creationId xmlns:a16="http://schemas.microsoft.com/office/drawing/2014/main" id="{09CAD10A-27A5-48D4-A997-A345823132AD}"/>
              </a:ext>
            </a:extLst>
          </p:cNvPr>
          <p:cNvSpPr>
            <a:spLocks/>
          </p:cNvSpPr>
          <p:nvPr/>
        </p:nvSpPr>
        <p:spPr bwMode="auto">
          <a:xfrm>
            <a:off x="2581864" y="3979012"/>
            <a:ext cx="28335" cy="17879"/>
          </a:xfrm>
          <a:custGeom>
            <a:avLst/>
            <a:gdLst>
              <a:gd name="T0" fmla="*/ 4 w 10"/>
              <a:gd name="T1" fmla="*/ 5 h 6"/>
              <a:gd name="T2" fmla="*/ 8 w 10"/>
              <a:gd name="T3" fmla="*/ 5 h 6"/>
              <a:gd name="T4" fmla="*/ 10 w 10"/>
              <a:gd name="T5" fmla="*/ 6 h 6"/>
              <a:gd name="T6" fmla="*/ 5 w 10"/>
              <a:gd name="T7" fmla="*/ 0 h 6"/>
              <a:gd name="T8" fmla="*/ 1 w 10"/>
              <a:gd name="T9" fmla="*/ 4 h 6"/>
              <a:gd name="T10" fmla="*/ 4 w 10"/>
              <a:gd name="T11" fmla="*/ 5 h 6"/>
            </a:gdLst>
            <a:ahLst/>
            <a:cxnLst>
              <a:cxn ang="0">
                <a:pos x="T0" y="T1"/>
              </a:cxn>
              <a:cxn ang="0">
                <a:pos x="T2" y="T3"/>
              </a:cxn>
              <a:cxn ang="0">
                <a:pos x="T4" y="T5"/>
              </a:cxn>
              <a:cxn ang="0">
                <a:pos x="T6" y="T7"/>
              </a:cxn>
              <a:cxn ang="0">
                <a:pos x="T8" y="T9"/>
              </a:cxn>
              <a:cxn ang="0">
                <a:pos x="T10" y="T11"/>
              </a:cxn>
            </a:cxnLst>
            <a:rect l="0" t="0" r="r" b="b"/>
            <a:pathLst>
              <a:path w="10" h="6">
                <a:moveTo>
                  <a:pt x="4" y="5"/>
                </a:moveTo>
                <a:cubicBezTo>
                  <a:pt x="4" y="6"/>
                  <a:pt x="6" y="5"/>
                  <a:pt x="8" y="5"/>
                </a:cubicBezTo>
                <a:cubicBezTo>
                  <a:pt x="8" y="5"/>
                  <a:pt x="9" y="6"/>
                  <a:pt x="10" y="6"/>
                </a:cubicBezTo>
                <a:cubicBezTo>
                  <a:pt x="9" y="3"/>
                  <a:pt x="7" y="1"/>
                  <a:pt x="5" y="0"/>
                </a:cubicBezTo>
                <a:cubicBezTo>
                  <a:pt x="3" y="0"/>
                  <a:pt x="0" y="2"/>
                  <a:pt x="1" y="4"/>
                </a:cubicBezTo>
                <a:cubicBezTo>
                  <a:pt x="1" y="3"/>
                  <a:pt x="4" y="4"/>
                  <a:pt x="4" y="5"/>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59">
            <a:extLst>
              <a:ext uri="{FF2B5EF4-FFF2-40B4-BE49-F238E27FC236}">
                <a16:creationId xmlns:a16="http://schemas.microsoft.com/office/drawing/2014/main" id="{D686CD58-A2BE-47F5-AE92-CA9AD5F69EB4}"/>
              </a:ext>
            </a:extLst>
          </p:cNvPr>
          <p:cNvSpPr>
            <a:spLocks/>
          </p:cNvSpPr>
          <p:nvPr/>
        </p:nvSpPr>
        <p:spPr bwMode="auto">
          <a:xfrm>
            <a:off x="2766038" y="398854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60">
            <a:extLst>
              <a:ext uri="{FF2B5EF4-FFF2-40B4-BE49-F238E27FC236}">
                <a16:creationId xmlns:a16="http://schemas.microsoft.com/office/drawing/2014/main" id="{279F1B0A-4D24-4B99-8A57-529CDF6EA2CD}"/>
              </a:ext>
            </a:extLst>
          </p:cNvPr>
          <p:cNvSpPr>
            <a:spLocks/>
          </p:cNvSpPr>
          <p:nvPr/>
        </p:nvSpPr>
        <p:spPr bwMode="auto">
          <a:xfrm>
            <a:off x="2579502" y="3999274"/>
            <a:ext cx="4722" cy="0"/>
          </a:xfrm>
          <a:custGeom>
            <a:avLst/>
            <a:gdLst>
              <a:gd name="T0" fmla="*/ 2 w 2"/>
              <a:gd name="T1" fmla="*/ 2 w 2"/>
              <a:gd name="T2" fmla="*/ 2 w 2"/>
            </a:gdLst>
            <a:ahLst/>
            <a:cxnLst>
              <a:cxn ang="0">
                <a:pos x="T0" y="0"/>
              </a:cxn>
              <a:cxn ang="0">
                <a:pos x="T1" y="0"/>
              </a:cxn>
              <a:cxn ang="0">
                <a:pos x="T2" y="0"/>
              </a:cxn>
            </a:cxnLst>
            <a:rect l="0" t="0" r="r" b="b"/>
            <a:pathLst>
              <a:path w="2">
                <a:moveTo>
                  <a:pt x="2" y="0"/>
                </a:moveTo>
                <a:cubicBezTo>
                  <a:pt x="2" y="0"/>
                  <a:pt x="2" y="0"/>
                  <a:pt x="2" y="0"/>
                </a:cubicBezTo>
                <a:cubicBezTo>
                  <a:pt x="0" y="0"/>
                  <a:pt x="1" y="0"/>
                  <a:pt x="2" y="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63">
            <a:extLst>
              <a:ext uri="{FF2B5EF4-FFF2-40B4-BE49-F238E27FC236}">
                <a16:creationId xmlns:a16="http://schemas.microsoft.com/office/drawing/2014/main" id="{3F7585FB-0FE1-416C-839A-E0C9A523E508}"/>
              </a:ext>
            </a:extLst>
          </p:cNvPr>
          <p:cNvSpPr>
            <a:spLocks/>
          </p:cNvSpPr>
          <p:nvPr/>
        </p:nvSpPr>
        <p:spPr bwMode="auto">
          <a:xfrm>
            <a:off x="2349283" y="2952793"/>
            <a:ext cx="25973" cy="14303"/>
          </a:xfrm>
          <a:custGeom>
            <a:avLst/>
            <a:gdLst>
              <a:gd name="T0" fmla="*/ 4 w 9"/>
              <a:gd name="T1" fmla="*/ 4 h 5"/>
              <a:gd name="T2" fmla="*/ 4 w 9"/>
              <a:gd name="T3" fmla="*/ 1 h 5"/>
              <a:gd name="T4" fmla="*/ 4 w 9"/>
              <a:gd name="T5" fmla="*/ 4 h 5"/>
            </a:gdLst>
            <a:ahLst/>
            <a:cxnLst>
              <a:cxn ang="0">
                <a:pos x="T0" y="T1"/>
              </a:cxn>
              <a:cxn ang="0">
                <a:pos x="T2" y="T3"/>
              </a:cxn>
              <a:cxn ang="0">
                <a:pos x="T4" y="T5"/>
              </a:cxn>
            </a:cxnLst>
            <a:rect l="0" t="0" r="r" b="b"/>
            <a:pathLst>
              <a:path w="9" h="5">
                <a:moveTo>
                  <a:pt x="4" y="4"/>
                </a:moveTo>
                <a:cubicBezTo>
                  <a:pt x="9" y="4"/>
                  <a:pt x="7" y="0"/>
                  <a:pt x="4" y="1"/>
                </a:cubicBezTo>
                <a:cubicBezTo>
                  <a:pt x="0" y="2"/>
                  <a:pt x="1" y="5"/>
                  <a:pt x="4" y="4"/>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Freeform 64">
            <a:extLst>
              <a:ext uri="{FF2B5EF4-FFF2-40B4-BE49-F238E27FC236}">
                <a16:creationId xmlns:a16="http://schemas.microsoft.com/office/drawing/2014/main" id="{A811026F-83DB-4D63-874F-FAB1F11AFACC}"/>
              </a:ext>
            </a:extLst>
          </p:cNvPr>
          <p:cNvSpPr>
            <a:spLocks/>
          </p:cNvSpPr>
          <p:nvPr/>
        </p:nvSpPr>
        <p:spPr bwMode="auto">
          <a:xfrm>
            <a:off x="2171012" y="3060063"/>
            <a:ext cx="22432" cy="16686"/>
          </a:xfrm>
          <a:custGeom>
            <a:avLst/>
            <a:gdLst>
              <a:gd name="T0" fmla="*/ 6 w 8"/>
              <a:gd name="T1" fmla="*/ 4 h 6"/>
              <a:gd name="T2" fmla="*/ 7 w 8"/>
              <a:gd name="T3" fmla="*/ 1 h 6"/>
              <a:gd name="T4" fmla="*/ 1 w 8"/>
              <a:gd name="T5" fmla="*/ 1 h 6"/>
              <a:gd name="T6" fmla="*/ 1 w 8"/>
              <a:gd name="T7" fmla="*/ 4 h 6"/>
              <a:gd name="T8" fmla="*/ 0 w 8"/>
              <a:gd name="T9" fmla="*/ 4 h 6"/>
              <a:gd name="T10" fmla="*/ 6 w 8"/>
              <a:gd name="T11" fmla="*/ 4 h 6"/>
            </a:gdLst>
            <a:ahLst/>
            <a:cxnLst>
              <a:cxn ang="0">
                <a:pos x="T0" y="T1"/>
              </a:cxn>
              <a:cxn ang="0">
                <a:pos x="T2" y="T3"/>
              </a:cxn>
              <a:cxn ang="0">
                <a:pos x="T4" y="T5"/>
              </a:cxn>
              <a:cxn ang="0">
                <a:pos x="T6" y="T7"/>
              </a:cxn>
              <a:cxn ang="0">
                <a:pos x="T8" y="T9"/>
              </a:cxn>
              <a:cxn ang="0">
                <a:pos x="T10" y="T11"/>
              </a:cxn>
            </a:cxnLst>
            <a:rect l="0" t="0" r="r" b="b"/>
            <a:pathLst>
              <a:path w="8" h="6">
                <a:moveTo>
                  <a:pt x="6" y="4"/>
                </a:moveTo>
                <a:cubicBezTo>
                  <a:pt x="7" y="4"/>
                  <a:pt x="8" y="1"/>
                  <a:pt x="7" y="1"/>
                </a:cubicBezTo>
                <a:cubicBezTo>
                  <a:pt x="5" y="2"/>
                  <a:pt x="3" y="0"/>
                  <a:pt x="1" y="1"/>
                </a:cubicBezTo>
                <a:cubicBezTo>
                  <a:pt x="0" y="2"/>
                  <a:pt x="0" y="3"/>
                  <a:pt x="1" y="4"/>
                </a:cubicBezTo>
                <a:cubicBezTo>
                  <a:pt x="1" y="4"/>
                  <a:pt x="0" y="4"/>
                  <a:pt x="0" y="4"/>
                </a:cubicBezTo>
                <a:cubicBezTo>
                  <a:pt x="1" y="6"/>
                  <a:pt x="5" y="5"/>
                  <a:pt x="6" y="4"/>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72">
            <a:extLst>
              <a:ext uri="{FF2B5EF4-FFF2-40B4-BE49-F238E27FC236}">
                <a16:creationId xmlns:a16="http://schemas.microsoft.com/office/drawing/2014/main" id="{1847CD7D-F8ED-49B8-B79E-1AD0A5AF61C2}"/>
              </a:ext>
            </a:extLst>
          </p:cNvPr>
          <p:cNvSpPr>
            <a:spLocks/>
          </p:cNvSpPr>
          <p:nvPr/>
        </p:nvSpPr>
        <p:spPr bwMode="auto">
          <a:xfrm>
            <a:off x="2126149" y="3344925"/>
            <a:ext cx="24793" cy="36949"/>
          </a:xfrm>
          <a:custGeom>
            <a:avLst/>
            <a:gdLst>
              <a:gd name="T0" fmla="*/ 4 w 9"/>
              <a:gd name="T1" fmla="*/ 5 h 13"/>
              <a:gd name="T2" fmla="*/ 3 w 9"/>
              <a:gd name="T3" fmla="*/ 12 h 13"/>
              <a:gd name="T4" fmla="*/ 4 w 9"/>
              <a:gd name="T5" fmla="*/ 8 h 13"/>
              <a:gd name="T6" fmla="*/ 3 w 9"/>
              <a:gd name="T7" fmla="*/ 8 h 13"/>
              <a:gd name="T8" fmla="*/ 5 w 9"/>
              <a:gd name="T9" fmla="*/ 6 h 13"/>
              <a:gd name="T10" fmla="*/ 6 w 9"/>
              <a:gd name="T11" fmla="*/ 8 h 13"/>
              <a:gd name="T12" fmla="*/ 4 w 9"/>
              <a:gd name="T13" fmla="*/ 3 h 13"/>
              <a:gd name="T14" fmla="*/ 2 w 9"/>
              <a:gd name="T15" fmla="*/ 0 h 13"/>
              <a:gd name="T16" fmla="*/ 3 w 9"/>
              <a:gd name="T17" fmla="*/ 2 h 13"/>
              <a:gd name="T18" fmla="*/ 1 w 9"/>
              <a:gd name="T19" fmla="*/ 4 h 13"/>
              <a:gd name="T20" fmla="*/ 2 w 9"/>
              <a:gd name="T21" fmla="*/ 4 h 13"/>
              <a:gd name="T22" fmla="*/ 4 w 9"/>
              <a:gd name="T2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3">
                <a:moveTo>
                  <a:pt x="4" y="5"/>
                </a:moveTo>
                <a:cubicBezTo>
                  <a:pt x="1" y="6"/>
                  <a:pt x="2" y="13"/>
                  <a:pt x="3" y="12"/>
                </a:cubicBezTo>
                <a:cubicBezTo>
                  <a:pt x="4" y="11"/>
                  <a:pt x="5" y="8"/>
                  <a:pt x="4" y="8"/>
                </a:cubicBezTo>
                <a:cubicBezTo>
                  <a:pt x="4" y="7"/>
                  <a:pt x="3" y="10"/>
                  <a:pt x="3" y="8"/>
                </a:cubicBezTo>
                <a:cubicBezTo>
                  <a:pt x="3" y="8"/>
                  <a:pt x="4" y="5"/>
                  <a:pt x="5" y="6"/>
                </a:cubicBezTo>
                <a:cubicBezTo>
                  <a:pt x="6" y="5"/>
                  <a:pt x="7" y="7"/>
                  <a:pt x="6" y="8"/>
                </a:cubicBezTo>
                <a:cubicBezTo>
                  <a:pt x="9" y="8"/>
                  <a:pt x="6" y="2"/>
                  <a:pt x="4" y="3"/>
                </a:cubicBezTo>
                <a:cubicBezTo>
                  <a:pt x="5" y="2"/>
                  <a:pt x="2" y="0"/>
                  <a:pt x="2" y="0"/>
                </a:cubicBezTo>
                <a:cubicBezTo>
                  <a:pt x="2" y="1"/>
                  <a:pt x="3" y="2"/>
                  <a:pt x="3" y="2"/>
                </a:cubicBezTo>
                <a:cubicBezTo>
                  <a:pt x="2" y="2"/>
                  <a:pt x="0" y="4"/>
                  <a:pt x="1" y="4"/>
                </a:cubicBezTo>
                <a:cubicBezTo>
                  <a:pt x="1" y="4"/>
                  <a:pt x="1" y="4"/>
                  <a:pt x="2" y="4"/>
                </a:cubicBezTo>
                <a:cubicBezTo>
                  <a:pt x="2" y="5"/>
                  <a:pt x="3" y="5"/>
                  <a:pt x="4" y="5"/>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6" name="Freeform 73">
            <a:extLst>
              <a:ext uri="{FF2B5EF4-FFF2-40B4-BE49-F238E27FC236}">
                <a16:creationId xmlns:a16="http://schemas.microsoft.com/office/drawing/2014/main" id="{42A2A89B-511A-4557-B0D2-7F6935425A69}"/>
              </a:ext>
            </a:extLst>
          </p:cNvPr>
          <p:cNvSpPr>
            <a:spLocks/>
          </p:cNvSpPr>
          <p:nvPr/>
        </p:nvSpPr>
        <p:spPr bwMode="auto">
          <a:xfrm>
            <a:off x="2129690" y="3398561"/>
            <a:ext cx="12987" cy="33373"/>
          </a:xfrm>
          <a:custGeom>
            <a:avLst/>
            <a:gdLst>
              <a:gd name="T0" fmla="*/ 2 w 5"/>
              <a:gd name="T1" fmla="*/ 0 h 12"/>
              <a:gd name="T2" fmla="*/ 2 w 5"/>
              <a:gd name="T3" fmla="*/ 2 h 12"/>
              <a:gd name="T4" fmla="*/ 1 w 5"/>
              <a:gd name="T5" fmla="*/ 3 h 12"/>
              <a:gd name="T6" fmla="*/ 3 w 5"/>
              <a:gd name="T7" fmla="*/ 5 h 12"/>
              <a:gd name="T8" fmla="*/ 2 w 5"/>
              <a:gd name="T9" fmla="*/ 11 h 12"/>
              <a:gd name="T10" fmla="*/ 4 w 5"/>
              <a:gd name="T11" fmla="*/ 5 h 12"/>
              <a:gd name="T12" fmla="*/ 2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2" y="0"/>
                </a:moveTo>
                <a:cubicBezTo>
                  <a:pt x="2" y="1"/>
                  <a:pt x="2" y="1"/>
                  <a:pt x="2" y="2"/>
                </a:cubicBezTo>
                <a:cubicBezTo>
                  <a:pt x="2" y="2"/>
                  <a:pt x="1" y="2"/>
                  <a:pt x="1" y="3"/>
                </a:cubicBezTo>
                <a:cubicBezTo>
                  <a:pt x="1" y="4"/>
                  <a:pt x="2" y="5"/>
                  <a:pt x="3" y="5"/>
                </a:cubicBezTo>
                <a:cubicBezTo>
                  <a:pt x="0" y="3"/>
                  <a:pt x="0" y="12"/>
                  <a:pt x="2" y="11"/>
                </a:cubicBezTo>
                <a:cubicBezTo>
                  <a:pt x="5" y="11"/>
                  <a:pt x="5" y="7"/>
                  <a:pt x="4" y="5"/>
                </a:cubicBezTo>
                <a:cubicBezTo>
                  <a:pt x="4" y="4"/>
                  <a:pt x="3" y="0"/>
                  <a:pt x="2" y="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7" name="Freeform 76">
            <a:extLst>
              <a:ext uri="{FF2B5EF4-FFF2-40B4-BE49-F238E27FC236}">
                <a16:creationId xmlns:a16="http://schemas.microsoft.com/office/drawing/2014/main" id="{011CB707-2D90-4EAE-B9F8-0D922BCB95D5}"/>
              </a:ext>
            </a:extLst>
          </p:cNvPr>
          <p:cNvSpPr>
            <a:spLocks/>
          </p:cNvSpPr>
          <p:nvPr/>
        </p:nvSpPr>
        <p:spPr bwMode="auto">
          <a:xfrm>
            <a:off x="2377618" y="2888431"/>
            <a:ext cx="44863" cy="21454"/>
          </a:xfrm>
          <a:custGeom>
            <a:avLst/>
            <a:gdLst>
              <a:gd name="T0" fmla="*/ 6 w 16"/>
              <a:gd name="T1" fmla="*/ 7 h 8"/>
              <a:gd name="T2" fmla="*/ 10 w 16"/>
              <a:gd name="T3" fmla="*/ 7 h 8"/>
              <a:gd name="T4" fmla="*/ 15 w 16"/>
              <a:gd name="T5" fmla="*/ 3 h 8"/>
              <a:gd name="T6" fmla="*/ 11 w 16"/>
              <a:gd name="T7" fmla="*/ 3 h 8"/>
              <a:gd name="T8" fmla="*/ 13 w 16"/>
              <a:gd name="T9" fmla="*/ 3 h 8"/>
              <a:gd name="T10" fmla="*/ 8 w 16"/>
              <a:gd name="T11" fmla="*/ 4 h 8"/>
              <a:gd name="T12" fmla="*/ 7 w 16"/>
              <a:gd name="T13" fmla="*/ 5 h 8"/>
              <a:gd name="T14" fmla="*/ 0 w 16"/>
              <a:gd name="T15" fmla="*/ 7 h 8"/>
              <a:gd name="T16" fmla="*/ 6 w 16"/>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
                <a:moveTo>
                  <a:pt x="6" y="7"/>
                </a:moveTo>
                <a:cubicBezTo>
                  <a:pt x="7" y="7"/>
                  <a:pt x="8" y="7"/>
                  <a:pt x="10" y="7"/>
                </a:cubicBezTo>
                <a:cubicBezTo>
                  <a:pt x="11" y="7"/>
                  <a:pt x="16" y="6"/>
                  <a:pt x="15" y="3"/>
                </a:cubicBezTo>
                <a:cubicBezTo>
                  <a:pt x="14" y="1"/>
                  <a:pt x="13" y="0"/>
                  <a:pt x="11" y="3"/>
                </a:cubicBezTo>
                <a:cubicBezTo>
                  <a:pt x="12" y="2"/>
                  <a:pt x="12" y="2"/>
                  <a:pt x="13" y="3"/>
                </a:cubicBezTo>
                <a:cubicBezTo>
                  <a:pt x="12" y="3"/>
                  <a:pt x="10" y="3"/>
                  <a:pt x="8" y="4"/>
                </a:cubicBezTo>
                <a:cubicBezTo>
                  <a:pt x="7" y="5"/>
                  <a:pt x="9" y="5"/>
                  <a:pt x="7" y="5"/>
                </a:cubicBezTo>
                <a:cubicBezTo>
                  <a:pt x="5" y="5"/>
                  <a:pt x="2" y="5"/>
                  <a:pt x="0" y="7"/>
                </a:cubicBezTo>
                <a:cubicBezTo>
                  <a:pt x="1" y="8"/>
                  <a:pt x="4" y="6"/>
                  <a:pt x="6" y="7"/>
                </a:cubicBezTo>
                <a:close/>
              </a:path>
            </a:pathLst>
          </a:custGeom>
          <a:solidFill>
            <a:schemeClr val="bg1">
              <a:lumMod val="85000"/>
            </a:schemeClr>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8" name="Freeform 77">
            <a:extLst>
              <a:ext uri="{FF2B5EF4-FFF2-40B4-BE49-F238E27FC236}">
                <a16:creationId xmlns:a16="http://schemas.microsoft.com/office/drawing/2014/main" id="{3FA5D705-012F-465A-8C09-C092C9708B2F}"/>
              </a:ext>
            </a:extLst>
          </p:cNvPr>
          <p:cNvSpPr>
            <a:spLocks/>
          </p:cNvSpPr>
          <p:nvPr/>
        </p:nvSpPr>
        <p:spPr bwMode="auto">
          <a:xfrm>
            <a:off x="2600753" y="2816917"/>
            <a:ext cx="3542"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0" y="0"/>
                  <a:pt x="1" y="0"/>
                </a:cubicBezTo>
                <a:cubicBezTo>
                  <a:pt x="1" y="0"/>
                  <a:pt x="1" y="0"/>
                  <a:pt x="1" y="0"/>
                </a:cubicBezTo>
                <a:cubicBezTo>
                  <a:pt x="0" y="0"/>
                  <a:pt x="0" y="0"/>
                  <a:pt x="0" y="0"/>
                </a:cubicBezTo>
                <a:close/>
              </a:path>
            </a:pathLst>
          </a:custGeom>
          <a:solidFill>
            <a:schemeClr val="bg1">
              <a:lumMod val="85000"/>
            </a:schemeClr>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78">
            <a:extLst>
              <a:ext uri="{FF2B5EF4-FFF2-40B4-BE49-F238E27FC236}">
                <a16:creationId xmlns:a16="http://schemas.microsoft.com/office/drawing/2014/main" id="{FAE68515-E207-4FA2-9211-820A28DC5997}"/>
              </a:ext>
            </a:extLst>
          </p:cNvPr>
          <p:cNvSpPr>
            <a:spLocks noEditPoints="1"/>
          </p:cNvSpPr>
          <p:nvPr/>
        </p:nvSpPr>
        <p:spPr bwMode="auto">
          <a:xfrm>
            <a:off x="2120245" y="2089863"/>
            <a:ext cx="1847652" cy="1480330"/>
          </a:xfrm>
          <a:custGeom>
            <a:avLst/>
            <a:gdLst>
              <a:gd name="T0" fmla="*/ 630 w 661"/>
              <a:gd name="T1" fmla="*/ 48 h 525"/>
              <a:gd name="T2" fmla="*/ 640 w 661"/>
              <a:gd name="T3" fmla="*/ 22 h 525"/>
              <a:gd name="T4" fmla="*/ 588 w 661"/>
              <a:gd name="T5" fmla="*/ 31 h 525"/>
              <a:gd name="T6" fmla="*/ 587 w 661"/>
              <a:gd name="T7" fmla="*/ 5 h 525"/>
              <a:gd name="T8" fmla="*/ 559 w 661"/>
              <a:gd name="T9" fmla="*/ 16 h 525"/>
              <a:gd name="T10" fmla="*/ 512 w 661"/>
              <a:gd name="T11" fmla="*/ 38 h 525"/>
              <a:gd name="T12" fmla="*/ 528 w 661"/>
              <a:gd name="T13" fmla="*/ 9 h 525"/>
              <a:gd name="T14" fmla="*/ 499 w 661"/>
              <a:gd name="T15" fmla="*/ 9 h 525"/>
              <a:gd name="T16" fmla="*/ 473 w 661"/>
              <a:gd name="T17" fmla="*/ 42 h 525"/>
              <a:gd name="T18" fmla="*/ 435 w 661"/>
              <a:gd name="T19" fmla="*/ 30 h 525"/>
              <a:gd name="T20" fmla="*/ 437 w 661"/>
              <a:gd name="T21" fmla="*/ 49 h 525"/>
              <a:gd name="T22" fmla="*/ 404 w 661"/>
              <a:gd name="T23" fmla="*/ 59 h 525"/>
              <a:gd name="T24" fmla="*/ 379 w 661"/>
              <a:gd name="T25" fmla="*/ 60 h 525"/>
              <a:gd name="T26" fmla="*/ 355 w 661"/>
              <a:gd name="T27" fmla="*/ 68 h 525"/>
              <a:gd name="T28" fmla="*/ 324 w 661"/>
              <a:gd name="T29" fmla="*/ 90 h 525"/>
              <a:gd name="T30" fmla="*/ 305 w 661"/>
              <a:gd name="T31" fmla="*/ 102 h 525"/>
              <a:gd name="T32" fmla="*/ 307 w 661"/>
              <a:gd name="T33" fmla="*/ 115 h 525"/>
              <a:gd name="T34" fmla="*/ 281 w 661"/>
              <a:gd name="T35" fmla="*/ 111 h 525"/>
              <a:gd name="T36" fmla="*/ 261 w 661"/>
              <a:gd name="T37" fmla="*/ 127 h 525"/>
              <a:gd name="T38" fmla="*/ 271 w 661"/>
              <a:gd name="T39" fmla="*/ 134 h 525"/>
              <a:gd name="T40" fmla="*/ 261 w 661"/>
              <a:gd name="T41" fmla="*/ 142 h 525"/>
              <a:gd name="T42" fmla="*/ 266 w 661"/>
              <a:gd name="T43" fmla="*/ 148 h 525"/>
              <a:gd name="T44" fmla="*/ 231 w 661"/>
              <a:gd name="T45" fmla="*/ 167 h 525"/>
              <a:gd name="T46" fmla="*/ 219 w 661"/>
              <a:gd name="T47" fmla="*/ 184 h 525"/>
              <a:gd name="T48" fmla="*/ 215 w 661"/>
              <a:gd name="T49" fmla="*/ 191 h 525"/>
              <a:gd name="T50" fmla="*/ 205 w 661"/>
              <a:gd name="T51" fmla="*/ 216 h 525"/>
              <a:gd name="T52" fmla="*/ 204 w 661"/>
              <a:gd name="T53" fmla="*/ 229 h 525"/>
              <a:gd name="T54" fmla="*/ 177 w 661"/>
              <a:gd name="T55" fmla="*/ 239 h 525"/>
              <a:gd name="T56" fmla="*/ 178 w 661"/>
              <a:gd name="T57" fmla="*/ 255 h 525"/>
              <a:gd name="T58" fmla="*/ 151 w 661"/>
              <a:gd name="T59" fmla="*/ 264 h 525"/>
              <a:gd name="T60" fmla="*/ 133 w 661"/>
              <a:gd name="T61" fmla="*/ 288 h 525"/>
              <a:gd name="T62" fmla="*/ 176 w 661"/>
              <a:gd name="T63" fmla="*/ 284 h 525"/>
              <a:gd name="T64" fmla="*/ 125 w 661"/>
              <a:gd name="T65" fmla="*/ 293 h 525"/>
              <a:gd name="T66" fmla="*/ 93 w 661"/>
              <a:gd name="T67" fmla="*/ 313 h 525"/>
              <a:gd name="T68" fmla="*/ 90 w 661"/>
              <a:gd name="T69" fmla="*/ 320 h 525"/>
              <a:gd name="T70" fmla="*/ 77 w 661"/>
              <a:gd name="T71" fmla="*/ 328 h 525"/>
              <a:gd name="T72" fmla="*/ 38 w 661"/>
              <a:gd name="T73" fmla="*/ 338 h 525"/>
              <a:gd name="T74" fmla="*/ 33 w 661"/>
              <a:gd name="T75" fmla="*/ 349 h 525"/>
              <a:gd name="T76" fmla="*/ 15 w 661"/>
              <a:gd name="T77" fmla="*/ 360 h 525"/>
              <a:gd name="T78" fmla="*/ 7 w 661"/>
              <a:gd name="T79" fmla="*/ 367 h 525"/>
              <a:gd name="T80" fmla="*/ 8 w 661"/>
              <a:gd name="T81" fmla="*/ 391 h 525"/>
              <a:gd name="T82" fmla="*/ 55 w 661"/>
              <a:gd name="T83" fmla="*/ 392 h 525"/>
              <a:gd name="T84" fmla="*/ 43 w 661"/>
              <a:gd name="T85" fmla="*/ 394 h 525"/>
              <a:gd name="T86" fmla="*/ 9 w 661"/>
              <a:gd name="T87" fmla="*/ 407 h 525"/>
              <a:gd name="T88" fmla="*/ 8 w 661"/>
              <a:gd name="T89" fmla="*/ 426 h 525"/>
              <a:gd name="T90" fmla="*/ 33 w 661"/>
              <a:gd name="T91" fmla="*/ 425 h 525"/>
              <a:gd name="T92" fmla="*/ 23 w 661"/>
              <a:gd name="T93" fmla="*/ 449 h 525"/>
              <a:gd name="T94" fmla="*/ 7 w 661"/>
              <a:gd name="T95" fmla="*/ 465 h 525"/>
              <a:gd name="T96" fmla="*/ 27 w 661"/>
              <a:gd name="T97" fmla="*/ 464 h 525"/>
              <a:gd name="T98" fmla="*/ 28 w 661"/>
              <a:gd name="T99" fmla="*/ 481 h 525"/>
              <a:gd name="T100" fmla="*/ 51 w 661"/>
              <a:gd name="T101" fmla="*/ 511 h 525"/>
              <a:gd name="T102" fmla="*/ 87 w 661"/>
              <a:gd name="T103" fmla="*/ 516 h 525"/>
              <a:gd name="T104" fmla="*/ 118 w 661"/>
              <a:gd name="T105" fmla="*/ 488 h 525"/>
              <a:gd name="T106" fmla="*/ 149 w 661"/>
              <a:gd name="T107" fmla="*/ 470 h 525"/>
              <a:gd name="T108" fmla="*/ 166 w 661"/>
              <a:gd name="T109" fmla="*/ 475 h 525"/>
              <a:gd name="T110" fmla="*/ 206 w 661"/>
              <a:gd name="T111" fmla="*/ 413 h 525"/>
              <a:gd name="T112" fmla="*/ 246 w 661"/>
              <a:gd name="T113" fmla="*/ 268 h 525"/>
              <a:gd name="T114" fmla="*/ 344 w 661"/>
              <a:gd name="T115" fmla="*/ 98 h 525"/>
              <a:gd name="T116" fmla="*/ 502 w 661"/>
              <a:gd name="T117" fmla="*/ 92 h 525"/>
              <a:gd name="T118" fmla="*/ 615 w 661"/>
              <a:gd name="T119" fmla="*/ 79 h 525"/>
              <a:gd name="T120" fmla="*/ 12 w 661"/>
              <a:gd name="T121" fmla="*/ 383 h 525"/>
              <a:gd name="T122" fmla="*/ 186 w 661"/>
              <a:gd name="T123" fmla="*/ 24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1" h="525">
                <a:moveTo>
                  <a:pt x="659" y="55"/>
                </a:moveTo>
                <a:cubicBezTo>
                  <a:pt x="658" y="53"/>
                  <a:pt x="657" y="52"/>
                  <a:pt x="656" y="51"/>
                </a:cubicBezTo>
                <a:cubicBezTo>
                  <a:pt x="656" y="50"/>
                  <a:pt x="654" y="51"/>
                  <a:pt x="653" y="51"/>
                </a:cubicBezTo>
                <a:cubicBezTo>
                  <a:pt x="654" y="50"/>
                  <a:pt x="654" y="50"/>
                  <a:pt x="654" y="50"/>
                </a:cubicBezTo>
                <a:cubicBezTo>
                  <a:pt x="653" y="49"/>
                  <a:pt x="648" y="48"/>
                  <a:pt x="647" y="50"/>
                </a:cubicBezTo>
                <a:cubicBezTo>
                  <a:pt x="646" y="50"/>
                  <a:pt x="648" y="51"/>
                  <a:pt x="648" y="52"/>
                </a:cubicBezTo>
                <a:cubicBezTo>
                  <a:pt x="647" y="54"/>
                  <a:pt x="647" y="55"/>
                  <a:pt x="645" y="55"/>
                </a:cubicBezTo>
                <a:cubicBezTo>
                  <a:pt x="648" y="54"/>
                  <a:pt x="647" y="51"/>
                  <a:pt x="646" y="49"/>
                </a:cubicBezTo>
                <a:cubicBezTo>
                  <a:pt x="645" y="48"/>
                  <a:pt x="643" y="48"/>
                  <a:pt x="642" y="48"/>
                </a:cubicBezTo>
                <a:cubicBezTo>
                  <a:pt x="643" y="48"/>
                  <a:pt x="643" y="48"/>
                  <a:pt x="644" y="47"/>
                </a:cubicBezTo>
                <a:cubicBezTo>
                  <a:pt x="643" y="47"/>
                  <a:pt x="639" y="46"/>
                  <a:pt x="639" y="48"/>
                </a:cubicBezTo>
                <a:cubicBezTo>
                  <a:pt x="639" y="48"/>
                  <a:pt x="641" y="50"/>
                  <a:pt x="641" y="50"/>
                </a:cubicBezTo>
                <a:cubicBezTo>
                  <a:pt x="641" y="51"/>
                  <a:pt x="639" y="51"/>
                  <a:pt x="639" y="52"/>
                </a:cubicBezTo>
                <a:cubicBezTo>
                  <a:pt x="639" y="52"/>
                  <a:pt x="640" y="53"/>
                  <a:pt x="640" y="54"/>
                </a:cubicBezTo>
                <a:cubicBezTo>
                  <a:pt x="638" y="52"/>
                  <a:pt x="637" y="53"/>
                  <a:pt x="635" y="53"/>
                </a:cubicBezTo>
                <a:cubicBezTo>
                  <a:pt x="636" y="53"/>
                  <a:pt x="637" y="52"/>
                  <a:pt x="638" y="51"/>
                </a:cubicBezTo>
                <a:cubicBezTo>
                  <a:pt x="636" y="50"/>
                  <a:pt x="632" y="52"/>
                  <a:pt x="630" y="52"/>
                </a:cubicBezTo>
                <a:cubicBezTo>
                  <a:pt x="628" y="52"/>
                  <a:pt x="626" y="54"/>
                  <a:pt x="624" y="55"/>
                </a:cubicBezTo>
                <a:cubicBezTo>
                  <a:pt x="624" y="54"/>
                  <a:pt x="624" y="54"/>
                  <a:pt x="624" y="53"/>
                </a:cubicBezTo>
                <a:cubicBezTo>
                  <a:pt x="624" y="53"/>
                  <a:pt x="628" y="52"/>
                  <a:pt x="627" y="51"/>
                </a:cubicBezTo>
                <a:cubicBezTo>
                  <a:pt x="628" y="51"/>
                  <a:pt x="629" y="49"/>
                  <a:pt x="630" y="48"/>
                </a:cubicBezTo>
                <a:cubicBezTo>
                  <a:pt x="629" y="47"/>
                  <a:pt x="629" y="46"/>
                  <a:pt x="627" y="45"/>
                </a:cubicBezTo>
                <a:cubicBezTo>
                  <a:pt x="626" y="45"/>
                  <a:pt x="621" y="48"/>
                  <a:pt x="620" y="47"/>
                </a:cubicBezTo>
                <a:cubicBezTo>
                  <a:pt x="621" y="47"/>
                  <a:pt x="622" y="45"/>
                  <a:pt x="624" y="45"/>
                </a:cubicBezTo>
                <a:cubicBezTo>
                  <a:pt x="625" y="44"/>
                  <a:pt x="626" y="44"/>
                  <a:pt x="626" y="43"/>
                </a:cubicBezTo>
                <a:cubicBezTo>
                  <a:pt x="622" y="41"/>
                  <a:pt x="617" y="42"/>
                  <a:pt x="613" y="41"/>
                </a:cubicBezTo>
                <a:cubicBezTo>
                  <a:pt x="613" y="41"/>
                  <a:pt x="613" y="41"/>
                  <a:pt x="614" y="40"/>
                </a:cubicBezTo>
                <a:cubicBezTo>
                  <a:pt x="610" y="40"/>
                  <a:pt x="606" y="40"/>
                  <a:pt x="603" y="39"/>
                </a:cubicBezTo>
                <a:cubicBezTo>
                  <a:pt x="604" y="39"/>
                  <a:pt x="604" y="39"/>
                  <a:pt x="605" y="38"/>
                </a:cubicBezTo>
                <a:cubicBezTo>
                  <a:pt x="603" y="37"/>
                  <a:pt x="601" y="38"/>
                  <a:pt x="599" y="37"/>
                </a:cubicBezTo>
                <a:cubicBezTo>
                  <a:pt x="600" y="37"/>
                  <a:pt x="602" y="37"/>
                  <a:pt x="603" y="36"/>
                </a:cubicBezTo>
                <a:cubicBezTo>
                  <a:pt x="601" y="36"/>
                  <a:pt x="600" y="36"/>
                  <a:pt x="599" y="36"/>
                </a:cubicBezTo>
                <a:cubicBezTo>
                  <a:pt x="602" y="35"/>
                  <a:pt x="605" y="36"/>
                  <a:pt x="608" y="36"/>
                </a:cubicBezTo>
                <a:cubicBezTo>
                  <a:pt x="611" y="37"/>
                  <a:pt x="614" y="38"/>
                  <a:pt x="617" y="38"/>
                </a:cubicBezTo>
                <a:cubicBezTo>
                  <a:pt x="624" y="39"/>
                  <a:pt x="632" y="41"/>
                  <a:pt x="639" y="39"/>
                </a:cubicBezTo>
                <a:cubicBezTo>
                  <a:pt x="634" y="39"/>
                  <a:pt x="644" y="38"/>
                  <a:pt x="643" y="36"/>
                </a:cubicBezTo>
                <a:cubicBezTo>
                  <a:pt x="641" y="35"/>
                  <a:pt x="645" y="35"/>
                  <a:pt x="646" y="34"/>
                </a:cubicBezTo>
                <a:cubicBezTo>
                  <a:pt x="648" y="32"/>
                  <a:pt x="661" y="33"/>
                  <a:pt x="659" y="29"/>
                </a:cubicBezTo>
                <a:cubicBezTo>
                  <a:pt x="657" y="26"/>
                  <a:pt x="656" y="25"/>
                  <a:pt x="653" y="26"/>
                </a:cubicBezTo>
                <a:cubicBezTo>
                  <a:pt x="650" y="27"/>
                  <a:pt x="650" y="24"/>
                  <a:pt x="648" y="23"/>
                </a:cubicBezTo>
                <a:cubicBezTo>
                  <a:pt x="646" y="23"/>
                  <a:pt x="647" y="22"/>
                  <a:pt x="645" y="21"/>
                </a:cubicBezTo>
                <a:cubicBezTo>
                  <a:pt x="643" y="21"/>
                  <a:pt x="642" y="22"/>
                  <a:pt x="640" y="22"/>
                </a:cubicBezTo>
                <a:cubicBezTo>
                  <a:pt x="638" y="23"/>
                  <a:pt x="635" y="24"/>
                  <a:pt x="632" y="22"/>
                </a:cubicBezTo>
                <a:cubicBezTo>
                  <a:pt x="633" y="22"/>
                  <a:pt x="634" y="22"/>
                  <a:pt x="635" y="22"/>
                </a:cubicBezTo>
                <a:cubicBezTo>
                  <a:pt x="633" y="21"/>
                  <a:pt x="640" y="22"/>
                  <a:pt x="639" y="19"/>
                </a:cubicBezTo>
                <a:cubicBezTo>
                  <a:pt x="638" y="18"/>
                  <a:pt x="635" y="18"/>
                  <a:pt x="634" y="18"/>
                </a:cubicBezTo>
                <a:cubicBezTo>
                  <a:pt x="634" y="17"/>
                  <a:pt x="635" y="17"/>
                  <a:pt x="636" y="17"/>
                </a:cubicBezTo>
                <a:cubicBezTo>
                  <a:pt x="632" y="13"/>
                  <a:pt x="628" y="18"/>
                  <a:pt x="624" y="19"/>
                </a:cubicBezTo>
                <a:cubicBezTo>
                  <a:pt x="626" y="18"/>
                  <a:pt x="627" y="15"/>
                  <a:pt x="625" y="14"/>
                </a:cubicBezTo>
                <a:cubicBezTo>
                  <a:pt x="623" y="14"/>
                  <a:pt x="622" y="15"/>
                  <a:pt x="620" y="15"/>
                </a:cubicBezTo>
                <a:cubicBezTo>
                  <a:pt x="619" y="16"/>
                  <a:pt x="614" y="18"/>
                  <a:pt x="613" y="17"/>
                </a:cubicBezTo>
                <a:cubicBezTo>
                  <a:pt x="614" y="16"/>
                  <a:pt x="617" y="16"/>
                  <a:pt x="614" y="15"/>
                </a:cubicBezTo>
                <a:cubicBezTo>
                  <a:pt x="615" y="15"/>
                  <a:pt x="616" y="15"/>
                  <a:pt x="616" y="15"/>
                </a:cubicBezTo>
                <a:cubicBezTo>
                  <a:pt x="615" y="14"/>
                  <a:pt x="614" y="15"/>
                  <a:pt x="612" y="14"/>
                </a:cubicBezTo>
                <a:cubicBezTo>
                  <a:pt x="613" y="14"/>
                  <a:pt x="615" y="14"/>
                  <a:pt x="615" y="13"/>
                </a:cubicBezTo>
                <a:cubicBezTo>
                  <a:pt x="613" y="11"/>
                  <a:pt x="610" y="10"/>
                  <a:pt x="607" y="10"/>
                </a:cubicBezTo>
                <a:cubicBezTo>
                  <a:pt x="607" y="8"/>
                  <a:pt x="603" y="9"/>
                  <a:pt x="602" y="9"/>
                </a:cubicBezTo>
                <a:cubicBezTo>
                  <a:pt x="600" y="10"/>
                  <a:pt x="591" y="15"/>
                  <a:pt x="596" y="16"/>
                </a:cubicBezTo>
                <a:cubicBezTo>
                  <a:pt x="595" y="17"/>
                  <a:pt x="593" y="18"/>
                  <a:pt x="592" y="20"/>
                </a:cubicBezTo>
                <a:cubicBezTo>
                  <a:pt x="592" y="22"/>
                  <a:pt x="595" y="23"/>
                  <a:pt x="596" y="23"/>
                </a:cubicBezTo>
                <a:cubicBezTo>
                  <a:pt x="594" y="25"/>
                  <a:pt x="593" y="23"/>
                  <a:pt x="591" y="25"/>
                </a:cubicBezTo>
                <a:cubicBezTo>
                  <a:pt x="590" y="26"/>
                  <a:pt x="589" y="26"/>
                  <a:pt x="589" y="27"/>
                </a:cubicBezTo>
                <a:cubicBezTo>
                  <a:pt x="588" y="29"/>
                  <a:pt x="589" y="30"/>
                  <a:pt x="588" y="31"/>
                </a:cubicBezTo>
                <a:cubicBezTo>
                  <a:pt x="587" y="29"/>
                  <a:pt x="588" y="27"/>
                  <a:pt x="589" y="26"/>
                </a:cubicBezTo>
                <a:cubicBezTo>
                  <a:pt x="590" y="25"/>
                  <a:pt x="591" y="24"/>
                  <a:pt x="591" y="23"/>
                </a:cubicBezTo>
                <a:cubicBezTo>
                  <a:pt x="591" y="21"/>
                  <a:pt x="583" y="25"/>
                  <a:pt x="584" y="26"/>
                </a:cubicBezTo>
                <a:cubicBezTo>
                  <a:pt x="583" y="25"/>
                  <a:pt x="587" y="23"/>
                  <a:pt x="587" y="23"/>
                </a:cubicBezTo>
                <a:cubicBezTo>
                  <a:pt x="585" y="22"/>
                  <a:pt x="582" y="23"/>
                  <a:pt x="581" y="24"/>
                </a:cubicBezTo>
                <a:cubicBezTo>
                  <a:pt x="581" y="24"/>
                  <a:pt x="581" y="24"/>
                  <a:pt x="582" y="23"/>
                </a:cubicBezTo>
                <a:cubicBezTo>
                  <a:pt x="580" y="23"/>
                  <a:pt x="581" y="25"/>
                  <a:pt x="580" y="25"/>
                </a:cubicBezTo>
                <a:cubicBezTo>
                  <a:pt x="579" y="26"/>
                  <a:pt x="578" y="24"/>
                  <a:pt x="578" y="24"/>
                </a:cubicBezTo>
                <a:cubicBezTo>
                  <a:pt x="579" y="23"/>
                  <a:pt x="592" y="19"/>
                  <a:pt x="589" y="16"/>
                </a:cubicBezTo>
                <a:cubicBezTo>
                  <a:pt x="588" y="14"/>
                  <a:pt x="585" y="16"/>
                  <a:pt x="583" y="17"/>
                </a:cubicBezTo>
                <a:cubicBezTo>
                  <a:pt x="580" y="18"/>
                  <a:pt x="577" y="19"/>
                  <a:pt x="573" y="19"/>
                </a:cubicBezTo>
                <a:cubicBezTo>
                  <a:pt x="577" y="18"/>
                  <a:pt x="580" y="17"/>
                  <a:pt x="584" y="15"/>
                </a:cubicBezTo>
                <a:cubicBezTo>
                  <a:pt x="582" y="13"/>
                  <a:pt x="578" y="13"/>
                  <a:pt x="576" y="14"/>
                </a:cubicBezTo>
                <a:cubicBezTo>
                  <a:pt x="576" y="13"/>
                  <a:pt x="575" y="12"/>
                  <a:pt x="575" y="12"/>
                </a:cubicBezTo>
                <a:cubicBezTo>
                  <a:pt x="577" y="12"/>
                  <a:pt x="580" y="11"/>
                  <a:pt x="582" y="12"/>
                </a:cubicBezTo>
                <a:cubicBezTo>
                  <a:pt x="584" y="12"/>
                  <a:pt x="586" y="14"/>
                  <a:pt x="588" y="11"/>
                </a:cubicBezTo>
                <a:cubicBezTo>
                  <a:pt x="587" y="11"/>
                  <a:pt x="587" y="11"/>
                  <a:pt x="586" y="11"/>
                </a:cubicBezTo>
                <a:cubicBezTo>
                  <a:pt x="587" y="11"/>
                  <a:pt x="591" y="11"/>
                  <a:pt x="591" y="9"/>
                </a:cubicBezTo>
                <a:cubicBezTo>
                  <a:pt x="591" y="9"/>
                  <a:pt x="590" y="9"/>
                  <a:pt x="590" y="9"/>
                </a:cubicBezTo>
                <a:cubicBezTo>
                  <a:pt x="593" y="9"/>
                  <a:pt x="595" y="5"/>
                  <a:pt x="591" y="5"/>
                </a:cubicBezTo>
                <a:cubicBezTo>
                  <a:pt x="590" y="4"/>
                  <a:pt x="588" y="4"/>
                  <a:pt x="587" y="5"/>
                </a:cubicBezTo>
                <a:cubicBezTo>
                  <a:pt x="587" y="5"/>
                  <a:pt x="583" y="7"/>
                  <a:pt x="584" y="5"/>
                </a:cubicBezTo>
                <a:cubicBezTo>
                  <a:pt x="584" y="4"/>
                  <a:pt x="587" y="3"/>
                  <a:pt x="586" y="2"/>
                </a:cubicBezTo>
                <a:cubicBezTo>
                  <a:pt x="585" y="1"/>
                  <a:pt x="583" y="1"/>
                  <a:pt x="582" y="2"/>
                </a:cubicBezTo>
                <a:cubicBezTo>
                  <a:pt x="581" y="3"/>
                  <a:pt x="578" y="2"/>
                  <a:pt x="577" y="2"/>
                </a:cubicBezTo>
                <a:cubicBezTo>
                  <a:pt x="576" y="3"/>
                  <a:pt x="573" y="3"/>
                  <a:pt x="572" y="2"/>
                </a:cubicBezTo>
                <a:cubicBezTo>
                  <a:pt x="573" y="1"/>
                  <a:pt x="572" y="0"/>
                  <a:pt x="571" y="0"/>
                </a:cubicBezTo>
                <a:cubicBezTo>
                  <a:pt x="570" y="1"/>
                  <a:pt x="566" y="1"/>
                  <a:pt x="568" y="3"/>
                </a:cubicBezTo>
                <a:cubicBezTo>
                  <a:pt x="568" y="3"/>
                  <a:pt x="570" y="5"/>
                  <a:pt x="569" y="6"/>
                </a:cubicBezTo>
                <a:cubicBezTo>
                  <a:pt x="569" y="6"/>
                  <a:pt x="564" y="3"/>
                  <a:pt x="563" y="3"/>
                </a:cubicBezTo>
                <a:cubicBezTo>
                  <a:pt x="559" y="3"/>
                  <a:pt x="563" y="5"/>
                  <a:pt x="564" y="6"/>
                </a:cubicBezTo>
                <a:cubicBezTo>
                  <a:pt x="563" y="7"/>
                  <a:pt x="559" y="5"/>
                  <a:pt x="558" y="7"/>
                </a:cubicBezTo>
                <a:cubicBezTo>
                  <a:pt x="557" y="10"/>
                  <a:pt x="565" y="8"/>
                  <a:pt x="566" y="8"/>
                </a:cubicBezTo>
                <a:cubicBezTo>
                  <a:pt x="566" y="8"/>
                  <a:pt x="565" y="9"/>
                  <a:pt x="565" y="9"/>
                </a:cubicBezTo>
                <a:cubicBezTo>
                  <a:pt x="566" y="9"/>
                  <a:pt x="567" y="10"/>
                  <a:pt x="569" y="10"/>
                </a:cubicBezTo>
                <a:cubicBezTo>
                  <a:pt x="568" y="10"/>
                  <a:pt x="568" y="10"/>
                  <a:pt x="567" y="11"/>
                </a:cubicBezTo>
                <a:cubicBezTo>
                  <a:pt x="569" y="12"/>
                  <a:pt x="571" y="11"/>
                  <a:pt x="572" y="12"/>
                </a:cubicBezTo>
                <a:cubicBezTo>
                  <a:pt x="570" y="12"/>
                  <a:pt x="567" y="11"/>
                  <a:pt x="565" y="11"/>
                </a:cubicBezTo>
                <a:cubicBezTo>
                  <a:pt x="562" y="10"/>
                  <a:pt x="562" y="14"/>
                  <a:pt x="565" y="14"/>
                </a:cubicBezTo>
                <a:cubicBezTo>
                  <a:pt x="564" y="15"/>
                  <a:pt x="562" y="14"/>
                  <a:pt x="561" y="14"/>
                </a:cubicBezTo>
                <a:cubicBezTo>
                  <a:pt x="559" y="14"/>
                  <a:pt x="558" y="16"/>
                  <a:pt x="561" y="16"/>
                </a:cubicBezTo>
                <a:cubicBezTo>
                  <a:pt x="560" y="16"/>
                  <a:pt x="560" y="16"/>
                  <a:pt x="559" y="16"/>
                </a:cubicBezTo>
                <a:cubicBezTo>
                  <a:pt x="562" y="17"/>
                  <a:pt x="558" y="17"/>
                  <a:pt x="561" y="18"/>
                </a:cubicBezTo>
                <a:cubicBezTo>
                  <a:pt x="562" y="19"/>
                  <a:pt x="563" y="19"/>
                  <a:pt x="564" y="20"/>
                </a:cubicBezTo>
                <a:cubicBezTo>
                  <a:pt x="562" y="20"/>
                  <a:pt x="560" y="18"/>
                  <a:pt x="558" y="19"/>
                </a:cubicBezTo>
                <a:cubicBezTo>
                  <a:pt x="557" y="19"/>
                  <a:pt x="555" y="21"/>
                  <a:pt x="557" y="21"/>
                </a:cubicBezTo>
                <a:cubicBezTo>
                  <a:pt x="555" y="22"/>
                  <a:pt x="559" y="24"/>
                  <a:pt x="560" y="24"/>
                </a:cubicBezTo>
                <a:cubicBezTo>
                  <a:pt x="559" y="24"/>
                  <a:pt x="556" y="25"/>
                  <a:pt x="556" y="24"/>
                </a:cubicBezTo>
                <a:cubicBezTo>
                  <a:pt x="555" y="24"/>
                  <a:pt x="554" y="23"/>
                  <a:pt x="552" y="24"/>
                </a:cubicBezTo>
                <a:cubicBezTo>
                  <a:pt x="552" y="24"/>
                  <a:pt x="552" y="25"/>
                  <a:pt x="552" y="25"/>
                </a:cubicBezTo>
                <a:cubicBezTo>
                  <a:pt x="551" y="26"/>
                  <a:pt x="547" y="27"/>
                  <a:pt x="549" y="27"/>
                </a:cubicBezTo>
                <a:cubicBezTo>
                  <a:pt x="548" y="27"/>
                  <a:pt x="546" y="30"/>
                  <a:pt x="546" y="26"/>
                </a:cubicBezTo>
                <a:cubicBezTo>
                  <a:pt x="546" y="26"/>
                  <a:pt x="547" y="24"/>
                  <a:pt x="547" y="23"/>
                </a:cubicBezTo>
                <a:cubicBezTo>
                  <a:pt x="546" y="22"/>
                  <a:pt x="548" y="20"/>
                  <a:pt x="548" y="18"/>
                </a:cubicBezTo>
                <a:cubicBezTo>
                  <a:pt x="546" y="16"/>
                  <a:pt x="542" y="18"/>
                  <a:pt x="541" y="18"/>
                </a:cubicBezTo>
                <a:cubicBezTo>
                  <a:pt x="544" y="15"/>
                  <a:pt x="548" y="16"/>
                  <a:pt x="549" y="10"/>
                </a:cubicBezTo>
                <a:cubicBezTo>
                  <a:pt x="545" y="11"/>
                  <a:pt x="551" y="8"/>
                  <a:pt x="548" y="6"/>
                </a:cubicBezTo>
                <a:cubicBezTo>
                  <a:pt x="545" y="4"/>
                  <a:pt x="538" y="11"/>
                  <a:pt x="536" y="13"/>
                </a:cubicBezTo>
                <a:cubicBezTo>
                  <a:pt x="534" y="15"/>
                  <a:pt x="533" y="15"/>
                  <a:pt x="532" y="18"/>
                </a:cubicBezTo>
                <a:cubicBezTo>
                  <a:pt x="531" y="19"/>
                  <a:pt x="530" y="20"/>
                  <a:pt x="529" y="21"/>
                </a:cubicBezTo>
                <a:cubicBezTo>
                  <a:pt x="526" y="23"/>
                  <a:pt x="521" y="26"/>
                  <a:pt x="519" y="29"/>
                </a:cubicBezTo>
                <a:cubicBezTo>
                  <a:pt x="524" y="31"/>
                  <a:pt x="520" y="32"/>
                  <a:pt x="517" y="35"/>
                </a:cubicBezTo>
                <a:cubicBezTo>
                  <a:pt x="516" y="36"/>
                  <a:pt x="514" y="42"/>
                  <a:pt x="512" y="38"/>
                </a:cubicBezTo>
                <a:cubicBezTo>
                  <a:pt x="512" y="37"/>
                  <a:pt x="513" y="37"/>
                  <a:pt x="514" y="37"/>
                </a:cubicBezTo>
                <a:cubicBezTo>
                  <a:pt x="513" y="37"/>
                  <a:pt x="512" y="37"/>
                  <a:pt x="512" y="37"/>
                </a:cubicBezTo>
                <a:cubicBezTo>
                  <a:pt x="513" y="36"/>
                  <a:pt x="507" y="36"/>
                  <a:pt x="511" y="38"/>
                </a:cubicBezTo>
                <a:cubicBezTo>
                  <a:pt x="512" y="39"/>
                  <a:pt x="511" y="39"/>
                  <a:pt x="510" y="39"/>
                </a:cubicBezTo>
                <a:cubicBezTo>
                  <a:pt x="509" y="38"/>
                  <a:pt x="508" y="38"/>
                  <a:pt x="508" y="37"/>
                </a:cubicBezTo>
                <a:cubicBezTo>
                  <a:pt x="507" y="36"/>
                  <a:pt x="508" y="34"/>
                  <a:pt x="509" y="33"/>
                </a:cubicBezTo>
                <a:cubicBezTo>
                  <a:pt x="510" y="32"/>
                  <a:pt x="516" y="28"/>
                  <a:pt x="511" y="30"/>
                </a:cubicBezTo>
                <a:cubicBezTo>
                  <a:pt x="511" y="29"/>
                  <a:pt x="513" y="28"/>
                  <a:pt x="511" y="28"/>
                </a:cubicBezTo>
                <a:cubicBezTo>
                  <a:pt x="512" y="27"/>
                  <a:pt x="512" y="26"/>
                  <a:pt x="514" y="27"/>
                </a:cubicBezTo>
                <a:cubicBezTo>
                  <a:pt x="515" y="28"/>
                  <a:pt x="514" y="25"/>
                  <a:pt x="515" y="24"/>
                </a:cubicBezTo>
                <a:cubicBezTo>
                  <a:pt x="514" y="24"/>
                  <a:pt x="512" y="24"/>
                  <a:pt x="510" y="24"/>
                </a:cubicBezTo>
                <a:cubicBezTo>
                  <a:pt x="511" y="24"/>
                  <a:pt x="515" y="23"/>
                  <a:pt x="514" y="22"/>
                </a:cubicBezTo>
                <a:cubicBezTo>
                  <a:pt x="513" y="21"/>
                  <a:pt x="511" y="23"/>
                  <a:pt x="510" y="23"/>
                </a:cubicBezTo>
                <a:cubicBezTo>
                  <a:pt x="511" y="21"/>
                  <a:pt x="513" y="21"/>
                  <a:pt x="515" y="20"/>
                </a:cubicBezTo>
                <a:cubicBezTo>
                  <a:pt x="516" y="19"/>
                  <a:pt x="517" y="17"/>
                  <a:pt x="518" y="17"/>
                </a:cubicBezTo>
                <a:cubicBezTo>
                  <a:pt x="520" y="16"/>
                  <a:pt x="524" y="16"/>
                  <a:pt x="525" y="14"/>
                </a:cubicBezTo>
                <a:cubicBezTo>
                  <a:pt x="524" y="14"/>
                  <a:pt x="523" y="14"/>
                  <a:pt x="522" y="14"/>
                </a:cubicBezTo>
                <a:cubicBezTo>
                  <a:pt x="522" y="13"/>
                  <a:pt x="525" y="12"/>
                  <a:pt x="526" y="12"/>
                </a:cubicBezTo>
                <a:cubicBezTo>
                  <a:pt x="527" y="12"/>
                  <a:pt x="528" y="10"/>
                  <a:pt x="529" y="10"/>
                </a:cubicBezTo>
                <a:cubicBezTo>
                  <a:pt x="528" y="10"/>
                  <a:pt x="528" y="10"/>
                  <a:pt x="527" y="9"/>
                </a:cubicBezTo>
                <a:cubicBezTo>
                  <a:pt x="528" y="9"/>
                  <a:pt x="528" y="9"/>
                  <a:pt x="528" y="9"/>
                </a:cubicBezTo>
                <a:cubicBezTo>
                  <a:pt x="527" y="8"/>
                  <a:pt x="525" y="10"/>
                  <a:pt x="525" y="10"/>
                </a:cubicBezTo>
                <a:cubicBezTo>
                  <a:pt x="522" y="9"/>
                  <a:pt x="522" y="8"/>
                  <a:pt x="519" y="10"/>
                </a:cubicBezTo>
                <a:cubicBezTo>
                  <a:pt x="519" y="10"/>
                  <a:pt x="518" y="10"/>
                  <a:pt x="517" y="10"/>
                </a:cubicBezTo>
                <a:cubicBezTo>
                  <a:pt x="518" y="9"/>
                  <a:pt x="521" y="8"/>
                  <a:pt x="518" y="7"/>
                </a:cubicBezTo>
                <a:cubicBezTo>
                  <a:pt x="518" y="6"/>
                  <a:pt x="515" y="5"/>
                  <a:pt x="514" y="6"/>
                </a:cubicBezTo>
                <a:cubicBezTo>
                  <a:pt x="514" y="7"/>
                  <a:pt x="518" y="9"/>
                  <a:pt x="515" y="10"/>
                </a:cubicBezTo>
                <a:cubicBezTo>
                  <a:pt x="516" y="11"/>
                  <a:pt x="514" y="12"/>
                  <a:pt x="513" y="12"/>
                </a:cubicBezTo>
                <a:cubicBezTo>
                  <a:pt x="513" y="12"/>
                  <a:pt x="512" y="9"/>
                  <a:pt x="511" y="8"/>
                </a:cubicBezTo>
                <a:cubicBezTo>
                  <a:pt x="509" y="7"/>
                  <a:pt x="508" y="8"/>
                  <a:pt x="507" y="9"/>
                </a:cubicBezTo>
                <a:cubicBezTo>
                  <a:pt x="507" y="10"/>
                  <a:pt x="505" y="9"/>
                  <a:pt x="504" y="9"/>
                </a:cubicBezTo>
                <a:cubicBezTo>
                  <a:pt x="505" y="9"/>
                  <a:pt x="509" y="7"/>
                  <a:pt x="507" y="6"/>
                </a:cubicBezTo>
                <a:cubicBezTo>
                  <a:pt x="506" y="5"/>
                  <a:pt x="504" y="6"/>
                  <a:pt x="505" y="8"/>
                </a:cubicBezTo>
                <a:cubicBezTo>
                  <a:pt x="504" y="7"/>
                  <a:pt x="503" y="8"/>
                  <a:pt x="502" y="8"/>
                </a:cubicBezTo>
                <a:cubicBezTo>
                  <a:pt x="503" y="7"/>
                  <a:pt x="501" y="5"/>
                  <a:pt x="501" y="5"/>
                </a:cubicBezTo>
                <a:cubicBezTo>
                  <a:pt x="500" y="5"/>
                  <a:pt x="499" y="6"/>
                  <a:pt x="498" y="6"/>
                </a:cubicBezTo>
                <a:cubicBezTo>
                  <a:pt x="500" y="4"/>
                  <a:pt x="496" y="4"/>
                  <a:pt x="495" y="4"/>
                </a:cubicBezTo>
                <a:cubicBezTo>
                  <a:pt x="496" y="4"/>
                  <a:pt x="496" y="5"/>
                  <a:pt x="497" y="5"/>
                </a:cubicBezTo>
                <a:cubicBezTo>
                  <a:pt x="496" y="5"/>
                  <a:pt x="496" y="5"/>
                  <a:pt x="495" y="6"/>
                </a:cubicBezTo>
                <a:cubicBezTo>
                  <a:pt x="496" y="6"/>
                  <a:pt x="496" y="6"/>
                  <a:pt x="497" y="6"/>
                </a:cubicBezTo>
                <a:cubicBezTo>
                  <a:pt x="494" y="6"/>
                  <a:pt x="498" y="8"/>
                  <a:pt x="496" y="8"/>
                </a:cubicBezTo>
                <a:cubicBezTo>
                  <a:pt x="497" y="9"/>
                  <a:pt x="498" y="9"/>
                  <a:pt x="499" y="9"/>
                </a:cubicBezTo>
                <a:cubicBezTo>
                  <a:pt x="498" y="9"/>
                  <a:pt x="497" y="9"/>
                  <a:pt x="496" y="10"/>
                </a:cubicBezTo>
                <a:cubicBezTo>
                  <a:pt x="496" y="12"/>
                  <a:pt x="499" y="13"/>
                  <a:pt x="495" y="12"/>
                </a:cubicBezTo>
                <a:cubicBezTo>
                  <a:pt x="494" y="11"/>
                  <a:pt x="492" y="9"/>
                  <a:pt x="490" y="9"/>
                </a:cubicBezTo>
                <a:cubicBezTo>
                  <a:pt x="487" y="10"/>
                  <a:pt x="489" y="13"/>
                  <a:pt x="491" y="13"/>
                </a:cubicBezTo>
                <a:cubicBezTo>
                  <a:pt x="493" y="14"/>
                  <a:pt x="496" y="14"/>
                  <a:pt x="498" y="16"/>
                </a:cubicBezTo>
                <a:cubicBezTo>
                  <a:pt x="497" y="16"/>
                  <a:pt x="499" y="17"/>
                  <a:pt x="500" y="18"/>
                </a:cubicBezTo>
                <a:cubicBezTo>
                  <a:pt x="501" y="19"/>
                  <a:pt x="498" y="19"/>
                  <a:pt x="497" y="18"/>
                </a:cubicBezTo>
                <a:cubicBezTo>
                  <a:pt x="496" y="17"/>
                  <a:pt x="491" y="15"/>
                  <a:pt x="489" y="17"/>
                </a:cubicBezTo>
                <a:cubicBezTo>
                  <a:pt x="489" y="18"/>
                  <a:pt x="486" y="21"/>
                  <a:pt x="487" y="22"/>
                </a:cubicBezTo>
                <a:cubicBezTo>
                  <a:pt x="488" y="22"/>
                  <a:pt x="491" y="23"/>
                  <a:pt x="492" y="25"/>
                </a:cubicBezTo>
                <a:cubicBezTo>
                  <a:pt x="487" y="24"/>
                  <a:pt x="483" y="22"/>
                  <a:pt x="479" y="24"/>
                </a:cubicBezTo>
                <a:cubicBezTo>
                  <a:pt x="476" y="25"/>
                  <a:pt x="472" y="27"/>
                  <a:pt x="470" y="30"/>
                </a:cubicBezTo>
                <a:cubicBezTo>
                  <a:pt x="472" y="30"/>
                  <a:pt x="472" y="31"/>
                  <a:pt x="474" y="31"/>
                </a:cubicBezTo>
                <a:cubicBezTo>
                  <a:pt x="471" y="32"/>
                  <a:pt x="469" y="32"/>
                  <a:pt x="466" y="32"/>
                </a:cubicBezTo>
                <a:cubicBezTo>
                  <a:pt x="468" y="34"/>
                  <a:pt x="470" y="32"/>
                  <a:pt x="472" y="33"/>
                </a:cubicBezTo>
                <a:cubicBezTo>
                  <a:pt x="470" y="33"/>
                  <a:pt x="467" y="33"/>
                  <a:pt x="465" y="34"/>
                </a:cubicBezTo>
                <a:cubicBezTo>
                  <a:pt x="466" y="35"/>
                  <a:pt x="468" y="35"/>
                  <a:pt x="469" y="35"/>
                </a:cubicBezTo>
                <a:cubicBezTo>
                  <a:pt x="468" y="35"/>
                  <a:pt x="468" y="35"/>
                  <a:pt x="467" y="36"/>
                </a:cubicBezTo>
                <a:cubicBezTo>
                  <a:pt x="467" y="36"/>
                  <a:pt x="469" y="37"/>
                  <a:pt x="469" y="38"/>
                </a:cubicBezTo>
                <a:cubicBezTo>
                  <a:pt x="468" y="38"/>
                  <a:pt x="465" y="38"/>
                  <a:pt x="464" y="39"/>
                </a:cubicBezTo>
                <a:cubicBezTo>
                  <a:pt x="465" y="40"/>
                  <a:pt x="473" y="42"/>
                  <a:pt x="473" y="42"/>
                </a:cubicBezTo>
                <a:cubicBezTo>
                  <a:pt x="473" y="43"/>
                  <a:pt x="468" y="42"/>
                  <a:pt x="467" y="43"/>
                </a:cubicBezTo>
                <a:cubicBezTo>
                  <a:pt x="466" y="44"/>
                  <a:pt x="464" y="45"/>
                  <a:pt x="463" y="44"/>
                </a:cubicBezTo>
                <a:cubicBezTo>
                  <a:pt x="466" y="43"/>
                  <a:pt x="462" y="40"/>
                  <a:pt x="461" y="41"/>
                </a:cubicBezTo>
                <a:cubicBezTo>
                  <a:pt x="460" y="41"/>
                  <a:pt x="461" y="37"/>
                  <a:pt x="459" y="37"/>
                </a:cubicBezTo>
                <a:cubicBezTo>
                  <a:pt x="457" y="37"/>
                  <a:pt x="455" y="38"/>
                  <a:pt x="454" y="39"/>
                </a:cubicBezTo>
                <a:cubicBezTo>
                  <a:pt x="452" y="39"/>
                  <a:pt x="451" y="39"/>
                  <a:pt x="450" y="39"/>
                </a:cubicBezTo>
                <a:cubicBezTo>
                  <a:pt x="448" y="40"/>
                  <a:pt x="445" y="41"/>
                  <a:pt x="443" y="41"/>
                </a:cubicBezTo>
                <a:cubicBezTo>
                  <a:pt x="447" y="38"/>
                  <a:pt x="452" y="39"/>
                  <a:pt x="456" y="38"/>
                </a:cubicBezTo>
                <a:cubicBezTo>
                  <a:pt x="457" y="37"/>
                  <a:pt x="460" y="34"/>
                  <a:pt x="457" y="34"/>
                </a:cubicBezTo>
                <a:cubicBezTo>
                  <a:pt x="455" y="34"/>
                  <a:pt x="453" y="34"/>
                  <a:pt x="451" y="34"/>
                </a:cubicBezTo>
                <a:cubicBezTo>
                  <a:pt x="449" y="34"/>
                  <a:pt x="444" y="30"/>
                  <a:pt x="443" y="34"/>
                </a:cubicBezTo>
                <a:cubicBezTo>
                  <a:pt x="441" y="37"/>
                  <a:pt x="448" y="37"/>
                  <a:pt x="449" y="37"/>
                </a:cubicBezTo>
                <a:cubicBezTo>
                  <a:pt x="447" y="37"/>
                  <a:pt x="446" y="37"/>
                  <a:pt x="444" y="36"/>
                </a:cubicBezTo>
                <a:cubicBezTo>
                  <a:pt x="443" y="36"/>
                  <a:pt x="441" y="37"/>
                  <a:pt x="440" y="37"/>
                </a:cubicBezTo>
                <a:cubicBezTo>
                  <a:pt x="441" y="36"/>
                  <a:pt x="441" y="35"/>
                  <a:pt x="441" y="34"/>
                </a:cubicBezTo>
                <a:cubicBezTo>
                  <a:pt x="442" y="33"/>
                  <a:pt x="440" y="34"/>
                  <a:pt x="441" y="33"/>
                </a:cubicBezTo>
                <a:cubicBezTo>
                  <a:pt x="441" y="33"/>
                  <a:pt x="443" y="31"/>
                  <a:pt x="440" y="31"/>
                </a:cubicBezTo>
                <a:cubicBezTo>
                  <a:pt x="439" y="31"/>
                  <a:pt x="438" y="33"/>
                  <a:pt x="437" y="32"/>
                </a:cubicBezTo>
                <a:cubicBezTo>
                  <a:pt x="438" y="33"/>
                  <a:pt x="437" y="31"/>
                  <a:pt x="437" y="31"/>
                </a:cubicBezTo>
                <a:cubicBezTo>
                  <a:pt x="436" y="30"/>
                  <a:pt x="434" y="31"/>
                  <a:pt x="433" y="31"/>
                </a:cubicBezTo>
                <a:cubicBezTo>
                  <a:pt x="434" y="31"/>
                  <a:pt x="435" y="30"/>
                  <a:pt x="435" y="30"/>
                </a:cubicBezTo>
                <a:cubicBezTo>
                  <a:pt x="434" y="29"/>
                  <a:pt x="430" y="32"/>
                  <a:pt x="430" y="32"/>
                </a:cubicBezTo>
                <a:cubicBezTo>
                  <a:pt x="428" y="34"/>
                  <a:pt x="432" y="34"/>
                  <a:pt x="431" y="36"/>
                </a:cubicBezTo>
                <a:cubicBezTo>
                  <a:pt x="429" y="34"/>
                  <a:pt x="426" y="33"/>
                  <a:pt x="424" y="30"/>
                </a:cubicBezTo>
                <a:cubicBezTo>
                  <a:pt x="422" y="28"/>
                  <a:pt x="422" y="33"/>
                  <a:pt x="423" y="34"/>
                </a:cubicBezTo>
                <a:cubicBezTo>
                  <a:pt x="421" y="34"/>
                  <a:pt x="421" y="32"/>
                  <a:pt x="419" y="32"/>
                </a:cubicBezTo>
                <a:cubicBezTo>
                  <a:pt x="418" y="32"/>
                  <a:pt x="415" y="33"/>
                  <a:pt x="414" y="34"/>
                </a:cubicBezTo>
                <a:cubicBezTo>
                  <a:pt x="414" y="36"/>
                  <a:pt x="421" y="36"/>
                  <a:pt x="422" y="36"/>
                </a:cubicBezTo>
                <a:cubicBezTo>
                  <a:pt x="419" y="37"/>
                  <a:pt x="423" y="38"/>
                  <a:pt x="424" y="38"/>
                </a:cubicBezTo>
                <a:cubicBezTo>
                  <a:pt x="426" y="38"/>
                  <a:pt x="427" y="39"/>
                  <a:pt x="428" y="40"/>
                </a:cubicBezTo>
                <a:cubicBezTo>
                  <a:pt x="429" y="40"/>
                  <a:pt x="431" y="40"/>
                  <a:pt x="430" y="39"/>
                </a:cubicBezTo>
                <a:cubicBezTo>
                  <a:pt x="431" y="39"/>
                  <a:pt x="432" y="39"/>
                  <a:pt x="432" y="39"/>
                </a:cubicBezTo>
                <a:cubicBezTo>
                  <a:pt x="433" y="39"/>
                  <a:pt x="437" y="38"/>
                  <a:pt x="437" y="37"/>
                </a:cubicBezTo>
                <a:cubicBezTo>
                  <a:pt x="438" y="38"/>
                  <a:pt x="431" y="40"/>
                  <a:pt x="430" y="41"/>
                </a:cubicBezTo>
                <a:cubicBezTo>
                  <a:pt x="432" y="43"/>
                  <a:pt x="435" y="40"/>
                  <a:pt x="437" y="41"/>
                </a:cubicBezTo>
                <a:cubicBezTo>
                  <a:pt x="437" y="41"/>
                  <a:pt x="436" y="41"/>
                  <a:pt x="436" y="42"/>
                </a:cubicBezTo>
                <a:cubicBezTo>
                  <a:pt x="437" y="42"/>
                  <a:pt x="437" y="43"/>
                  <a:pt x="437" y="44"/>
                </a:cubicBezTo>
                <a:cubicBezTo>
                  <a:pt x="436" y="44"/>
                  <a:pt x="436" y="43"/>
                  <a:pt x="435" y="43"/>
                </a:cubicBezTo>
                <a:cubicBezTo>
                  <a:pt x="434" y="42"/>
                  <a:pt x="431" y="43"/>
                  <a:pt x="434" y="44"/>
                </a:cubicBezTo>
                <a:cubicBezTo>
                  <a:pt x="430" y="44"/>
                  <a:pt x="437" y="48"/>
                  <a:pt x="437" y="47"/>
                </a:cubicBezTo>
                <a:cubicBezTo>
                  <a:pt x="437" y="48"/>
                  <a:pt x="434" y="48"/>
                  <a:pt x="434" y="48"/>
                </a:cubicBezTo>
                <a:cubicBezTo>
                  <a:pt x="435" y="49"/>
                  <a:pt x="436" y="49"/>
                  <a:pt x="437" y="49"/>
                </a:cubicBezTo>
                <a:cubicBezTo>
                  <a:pt x="438" y="50"/>
                  <a:pt x="439" y="51"/>
                  <a:pt x="440" y="52"/>
                </a:cubicBezTo>
                <a:cubicBezTo>
                  <a:pt x="438" y="52"/>
                  <a:pt x="437" y="53"/>
                  <a:pt x="436" y="52"/>
                </a:cubicBezTo>
                <a:cubicBezTo>
                  <a:pt x="436" y="52"/>
                  <a:pt x="438" y="52"/>
                  <a:pt x="438" y="51"/>
                </a:cubicBezTo>
                <a:cubicBezTo>
                  <a:pt x="437" y="50"/>
                  <a:pt x="435" y="50"/>
                  <a:pt x="434" y="49"/>
                </a:cubicBezTo>
                <a:cubicBezTo>
                  <a:pt x="433" y="48"/>
                  <a:pt x="432" y="47"/>
                  <a:pt x="431" y="46"/>
                </a:cubicBezTo>
                <a:cubicBezTo>
                  <a:pt x="429" y="46"/>
                  <a:pt x="427" y="46"/>
                  <a:pt x="426" y="45"/>
                </a:cubicBezTo>
                <a:cubicBezTo>
                  <a:pt x="425" y="44"/>
                  <a:pt x="424" y="43"/>
                  <a:pt x="424" y="43"/>
                </a:cubicBezTo>
                <a:cubicBezTo>
                  <a:pt x="422" y="41"/>
                  <a:pt x="419" y="41"/>
                  <a:pt x="417" y="42"/>
                </a:cubicBezTo>
                <a:cubicBezTo>
                  <a:pt x="414" y="44"/>
                  <a:pt x="418" y="45"/>
                  <a:pt x="419" y="45"/>
                </a:cubicBezTo>
                <a:cubicBezTo>
                  <a:pt x="418" y="46"/>
                  <a:pt x="416" y="46"/>
                  <a:pt x="417" y="47"/>
                </a:cubicBezTo>
                <a:cubicBezTo>
                  <a:pt x="418" y="48"/>
                  <a:pt x="415" y="49"/>
                  <a:pt x="415" y="49"/>
                </a:cubicBezTo>
                <a:cubicBezTo>
                  <a:pt x="416" y="48"/>
                  <a:pt x="417" y="47"/>
                  <a:pt x="415" y="47"/>
                </a:cubicBezTo>
                <a:cubicBezTo>
                  <a:pt x="412" y="46"/>
                  <a:pt x="414" y="48"/>
                  <a:pt x="411" y="49"/>
                </a:cubicBezTo>
                <a:cubicBezTo>
                  <a:pt x="412" y="49"/>
                  <a:pt x="412" y="49"/>
                  <a:pt x="413" y="50"/>
                </a:cubicBezTo>
                <a:cubicBezTo>
                  <a:pt x="412" y="51"/>
                  <a:pt x="409" y="49"/>
                  <a:pt x="410" y="48"/>
                </a:cubicBezTo>
                <a:cubicBezTo>
                  <a:pt x="410" y="48"/>
                  <a:pt x="409" y="48"/>
                  <a:pt x="409" y="47"/>
                </a:cubicBezTo>
                <a:cubicBezTo>
                  <a:pt x="410" y="46"/>
                  <a:pt x="412" y="45"/>
                  <a:pt x="413" y="44"/>
                </a:cubicBezTo>
                <a:cubicBezTo>
                  <a:pt x="412" y="43"/>
                  <a:pt x="405" y="47"/>
                  <a:pt x="406" y="47"/>
                </a:cubicBezTo>
                <a:cubicBezTo>
                  <a:pt x="408" y="50"/>
                  <a:pt x="399" y="51"/>
                  <a:pt x="399" y="51"/>
                </a:cubicBezTo>
                <a:cubicBezTo>
                  <a:pt x="401" y="52"/>
                  <a:pt x="398" y="56"/>
                  <a:pt x="401" y="57"/>
                </a:cubicBezTo>
                <a:cubicBezTo>
                  <a:pt x="402" y="57"/>
                  <a:pt x="403" y="58"/>
                  <a:pt x="404" y="59"/>
                </a:cubicBezTo>
                <a:cubicBezTo>
                  <a:pt x="406" y="59"/>
                  <a:pt x="407" y="60"/>
                  <a:pt x="409" y="61"/>
                </a:cubicBezTo>
                <a:cubicBezTo>
                  <a:pt x="406" y="61"/>
                  <a:pt x="403" y="60"/>
                  <a:pt x="401" y="59"/>
                </a:cubicBezTo>
                <a:cubicBezTo>
                  <a:pt x="398" y="56"/>
                  <a:pt x="397" y="59"/>
                  <a:pt x="396" y="61"/>
                </a:cubicBezTo>
                <a:cubicBezTo>
                  <a:pt x="395" y="64"/>
                  <a:pt x="395" y="65"/>
                  <a:pt x="393" y="65"/>
                </a:cubicBezTo>
                <a:cubicBezTo>
                  <a:pt x="391" y="66"/>
                  <a:pt x="389" y="69"/>
                  <a:pt x="387" y="69"/>
                </a:cubicBezTo>
                <a:cubicBezTo>
                  <a:pt x="388" y="67"/>
                  <a:pt x="390" y="66"/>
                  <a:pt x="392" y="64"/>
                </a:cubicBezTo>
                <a:cubicBezTo>
                  <a:pt x="393" y="64"/>
                  <a:pt x="392" y="63"/>
                  <a:pt x="393" y="62"/>
                </a:cubicBezTo>
                <a:cubicBezTo>
                  <a:pt x="393" y="61"/>
                  <a:pt x="394" y="62"/>
                  <a:pt x="394" y="62"/>
                </a:cubicBezTo>
                <a:cubicBezTo>
                  <a:pt x="395" y="61"/>
                  <a:pt x="394" y="59"/>
                  <a:pt x="394" y="58"/>
                </a:cubicBezTo>
                <a:cubicBezTo>
                  <a:pt x="395" y="58"/>
                  <a:pt x="397" y="56"/>
                  <a:pt x="396" y="56"/>
                </a:cubicBezTo>
                <a:cubicBezTo>
                  <a:pt x="391" y="53"/>
                  <a:pt x="399" y="48"/>
                  <a:pt x="396" y="44"/>
                </a:cubicBezTo>
                <a:cubicBezTo>
                  <a:pt x="394" y="42"/>
                  <a:pt x="390" y="44"/>
                  <a:pt x="392" y="47"/>
                </a:cubicBezTo>
                <a:cubicBezTo>
                  <a:pt x="391" y="47"/>
                  <a:pt x="391" y="45"/>
                  <a:pt x="390" y="44"/>
                </a:cubicBezTo>
                <a:cubicBezTo>
                  <a:pt x="389" y="43"/>
                  <a:pt x="387" y="51"/>
                  <a:pt x="387" y="51"/>
                </a:cubicBezTo>
                <a:cubicBezTo>
                  <a:pt x="385" y="50"/>
                  <a:pt x="387" y="48"/>
                  <a:pt x="387" y="47"/>
                </a:cubicBezTo>
                <a:cubicBezTo>
                  <a:pt x="386" y="47"/>
                  <a:pt x="382" y="52"/>
                  <a:pt x="382" y="54"/>
                </a:cubicBezTo>
                <a:cubicBezTo>
                  <a:pt x="383" y="56"/>
                  <a:pt x="384" y="57"/>
                  <a:pt x="386" y="57"/>
                </a:cubicBezTo>
                <a:cubicBezTo>
                  <a:pt x="384" y="57"/>
                  <a:pt x="381" y="57"/>
                  <a:pt x="381" y="58"/>
                </a:cubicBezTo>
                <a:cubicBezTo>
                  <a:pt x="382" y="62"/>
                  <a:pt x="380" y="64"/>
                  <a:pt x="376" y="64"/>
                </a:cubicBezTo>
                <a:cubicBezTo>
                  <a:pt x="377" y="63"/>
                  <a:pt x="379" y="63"/>
                  <a:pt x="380" y="61"/>
                </a:cubicBezTo>
                <a:cubicBezTo>
                  <a:pt x="379" y="61"/>
                  <a:pt x="379" y="61"/>
                  <a:pt x="379" y="60"/>
                </a:cubicBezTo>
                <a:cubicBezTo>
                  <a:pt x="379" y="60"/>
                  <a:pt x="379" y="59"/>
                  <a:pt x="379" y="59"/>
                </a:cubicBezTo>
                <a:cubicBezTo>
                  <a:pt x="380" y="57"/>
                  <a:pt x="382" y="55"/>
                  <a:pt x="379" y="54"/>
                </a:cubicBezTo>
                <a:cubicBezTo>
                  <a:pt x="379" y="53"/>
                  <a:pt x="381" y="48"/>
                  <a:pt x="378" y="49"/>
                </a:cubicBezTo>
                <a:cubicBezTo>
                  <a:pt x="375" y="50"/>
                  <a:pt x="371" y="49"/>
                  <a:pt x="368" y="50"/>
                </a:cubicBezTo>
                <a:cubicBezTo>
                  <a:pt x="366" y="51"/>
                  <a:pt x="361" y="54"/>
                  <a:pt x="361" y="57"/>
                </a:cubicBezTo>
                <a:cubicBezTo>
                  <a:pt x="361" y="61"/>
                  <a:pt x="367" y="57"/>
                  <a:pt x="369" y="60"/>
                </a:cubicBezTo>
                <a:cubicBezTo>
                  <a:pt x="367" y="59"/>
                  <a:pt x="365" y="59"/>
                  <a:pt x="363" y="60"/>
                </a:cubicBezTo>
                <a:cubicBezTo>
                  <a:pt x="360" y="62"/>
                  <a:pt x="364" y="63"/>
                  <a:pt x="365" y="64"/>
                </a:cubicBezTo>
                <a:cubicBezTo>
                  <a:pt x="365" y="67"/>
                  <a:pt x="371" y="65"/>
                  <a:pt x="372" y="66"/>
                </a:cubicBezTo>
                <a:cubicBezTo>
                  <a:pt x="374" y="67"/>
                  <a:pt x="373" y="68"/>
                  <a:pt x="374" y="70"/>
                </a:cubicBezTo>
                <a:cubicBezTo>
                  <a:pt x="375" y="71"/>
                  <a:pt x="376" y="71"/>
                  <a:pt x="376" y="71"/>
                </a:cubicBezTo>
                <a:cubicBezTo>
                  <a:pt x="375" y="71"/>
                  <a:pt x="372" y="72"/>
                  <a:pt x="371" y="71"/>
                </a:cubicBezTo>
                <a:cubicBezTo>
                  <a:pt x="370" y="70"/>
                  <a:pt x="372" y="69"/>
                  <a:pt x="372" y="68"/>
                </a:cubicBezTo>
                <a:cubicBezTo>
                  <a:pt x="373" y="66"/>
                  <a:pt x="366" y="67"/>
                  <a:pt x="365" y="66"/>
                </a:cubicBezTo>
                <a:cubicBezTo>
                  <a:pt x="363" y="65"/>
                  <a:pt x="361" y="61"/>
                  <a:pt x="359" y="61"/>
                </a:cubicBezTo>
                <a:cubicBezTo>
                  <a:pt x="361" y="60"/>
                  <a:pt x="358" y="59"/>
                  <a:pt x="357" y="59"/>
                </a:cubicBezTo>
                <a:cubicBezTo>
                  <a:pt x="356" y="59"/>
                  <a:pt x="355" y="59"/>
                  <a:pt x="354" y="60"/>
                </a:cubicBezTo>
                <a:cubicBezTo>
                  <a:pt x="353" y="60"/>
                  <a:pt x="348" y="60"/>
                  <a:pt x="349" y="62"/>
                </a:cubicBezTo>
                <a:cubicBezTo>
                  <a:pt x="350" y="64"/>
                  <a:pt x="354" y="66"/>
                  <a:pt x="356" y="67"/>
                </a:cubicBezTo>
                <a:cubicBezTo>
                  <a:pt x="358" y="67"/>
                  <a:pt x="362" y="66"/>
                  <a:pt x="363" y="69"/>
                </a:cubicBezTo>
                <a:cubicBezTo>
                  <a:pt x="360" y="69"/>
                  <a:pt x="358" y="67"/>
                  <a:pt x="355" y="68"/>
                </a:cubicBezTo>
                <a:cubicBezTo>
                  <a:pt x="354" y="68"/>
                  <a:pt x="356" y="70"/>
                  <a:pt x="356" y="70"/>
                </a:cubicBezTo>
                <a:cubicBezTo>
                  <a:pt x="355" y="69"/>
                  <a:pt x="352" y="66"/>
                  <a:pt x="352" y="68"/>
                </a:cubicBezTo>
                <a:cubicBezTo>
                  <a:pt x="352" y="68"/>
                  <a:pt x="351" y="72"/>
                  <a:pt x="350" y="71"/>
                </a:cubicBezTo>
                <a:cubicBezTo>
                  <a:pt x="350" y="70"/>
                  <a:pt x="351" y="68"/>
                  <a:pt x="350" y="66"/>
                </a:cubicBezTo>
                <a:cubicBezTo>
                  <a:pt x="350" y="65"/>
                  <a:pt x="346" y="66"/>
                  <a:pt x="346" y="64"/>
                </a:cubicBezTo>
                <a:cubicBezTo>
                  <a:pt x="347" y="62"/>
                  <a:pt x="344" y="61"/>
                  <a:pt x="343" y="62"/>
                </a:cubicBezTo>
                <a:cubicBezTo>
                  <a:pt x="340" y="63"/>
                  <a:pt x="343" y="63"/>
                  <a:pt x="342" y="65"/>
                </a:cubicBezTo>
                <a:cubicBezTo>
                  <a:pt x="341" y="67"/>
                  <a:pt x="334" y="71"/>
                  <a:pt x="340" y="72"/>
                </a:cubicBezTo>
                <a:cubicBezTo>
                  <a:pt x="339" y="73"/>
                  <a:pt x="341" y="74"/>
                  <a:pt x="342" y="74"/>
                </a:cubicBezTo>
                <a:cubicBezTo>
                  <a:pt x="341" y="75"/>
                  <a:pt x="338" y="74"/>
                  <a:pt x="336" y="75"/>
                </a:cubicBezTo>
                <a:cubicBezTo>
                  <a:pt x="334" y="76"/>
                  <a:pt x="332" y="75"/>
                  <a:pt x="329" y="76"/>
                </a:cubicBezTo>
                <a:cubicBezTo>
                  <a:pt x="331" y="77"/>
                  <a:pt x="329" y="78"/>
                  <a:pt x="328" y="79"/>
                </a:cubicBezTo>
                <a:cubicBezTo>
                  <a:pt x="326" y="80"/>
                  <a:pt x="326" y="80"/>
                  <a:pt x="328" y="82"/>
                </a:cubicBezTo>
                <a:cubicBezTo>
                  <a:pt x="325" y="82"/>
                  <a:pt x="325" y="85"/>
                  <a:pt x="328" y="84"/>
                </a:cubicBezTo>
                <a:cubicBezTo>
                  <a:pt x="330" y="83"/>
                  <a:pt x="333" y="83"/>
                  <a:pt x="334" y="85"/>
                </a:cubicBezTo>
                <a:cubicBezTo>
                  <a:pt x="333" y="85"/>
                  <a:pt x="332" y="85"/>
                  <a:pt x="331" y="85"/>
                </a:cubicBezTo>
                <a:cubicBezTo>
                  <a:pt x="333" y="84"/>
                  <a:pt x="330" y="85"/>
                  <a:pt x="329" y="85"/>
                </a:cubicBezTo>
                <a:cubicBezTo>
                  <a:pt x="328" y="85"/>
                  <a:pt x="327" y="86"/>
                  <a:pt x="326" y="86"/>
                </a:cubicBezTo>
                <a:cubicBezTo>
                  <a:pt x="328" y="88"/>
                  <a:pt x="333" y="86"/>
                  <a:pt x="334" y="89"/>
                </a:cubicBezTo>
                <a:cubicBezTo>
                  <a:pt x="330" y="88"/>
                  <a:pt x="326" y="86"/>
                  <a:pt x="322" y="89"/>
                </a:cubicBezTo>
                <a:cubicBezTo>
                  <a:pt x="320" y="90"/>
                  <a:pt x="323" y="90"/>
                  <a:pt x="324" y="90"/>
                </a:cubicBezTo>
                <a:cubicBezTo>
                  <a:pt x="326" y="90"/>
                  <a:pt x="328" y="91"/>
                  <a:pt x="330" y="92"/>
                </a:cubicBezTo>
                <a:cubicBezTo>
                  <a:pt x="327" y="93"/>
                  <a:pt x="325" y="91"/>
                  <a:pt x="322" y="90"/>
                </a:cubicBezTo>
                <a:cubicBezTo>
                  <a:pt x="320" y="90"/>
                  <a:pt x="316" y="93"/>
                  <a:pt x="316" y="91"/>
                </a:cubicBezTo>
                <a:cubicBezTo>
                  <a:pt x="316" y="89"/>
                  <a:pt x="307" y="93"/>
                  <a:pt x="306" y="93"/>
                </a:cubicBezTo>
                <a:cubicBezTo>
                  <a:pt x="305" y="94"/>
                  <a:pt x="302" y="97"/>
                  <a:pt x="305" y="97"/>
                </a:cubicBezTo>
                <a:cubicBezTo>
                  <a:pt x="305" y="97"/>
                  <a:pt x="299" y="97"/>
                  <a:pt x="302" y="99"/>
                </a:cubicBezTo>
                <a:cubicBezTo>
                  <a:pt x="303" y="101"/>
                  <a:pt x="304" y="102"/>
                  <a:pt x="306" y="101"/>
                </a:cubicBezTo>
                <a:cubicBezTo>
                  <a:pt x="309" y="101"/>
                  <a:pt x="314" y="97"/>
                  <a:pt x="317" y="100"/>
                </a:cubicBezTo>
                <a:cubicBezTo>
                  <a:pt x="316" y="100"/>
                  <a:pt x="316" y="100"/>
                  <a:pt x="315" y="101"/>
                </a:cubicBezTo>
                <a:cubicBezTo>
                  <a:pt x="319" y="102"/>
                  <a:pt x="322" y="99"/>
                  <a:pt x="326" y="98"/>
                </a:cubicBezTo>
                <a:cubicBezTo>
                  <a:pt x="329" y="98"/>
                  <a:pt x="329" y="99"/>
                  <a:pt x="326" y="101"/>
                </a:cubicBezTo>
                <a:cubicBezTo>
                  <a:pt x="329" y="101"/>
                  <a:pt x="331" y="100"/>
                  <a:pt x="333" y="101"/>
                </a:cubicBezTo>
                <a:cubicBezTo>
                  <a:pt x="334" y="102"/>
                  <a:pt x="336" y="102"/>
                  <a:pt x="337" y="102"/>
                </a:cubicBezTo>
                <a:cubicBezTo>
                  <a:pt x="333" y="104"/>
                  <a:pt x="328" y="99"/>
                  <a:pt x="324" y="102"/>
                </a:cubicBezTo>
                <a:cubicBezTo>
                  <a:pt x="326" y="103"/>
                  <a:pt x="328" y="103"/>
                  <a:pt x="330" y="104"/>
                </a:cubicBezTo>
                <a:cubicBezTo>
                  <a:pt x="327" y="104"/>
                  <a:pt x="325" y="102"/>
                  <a:pt x="323" y="103"/>
                </a:cubicBezTo>
                <a:cubicBezTo>
                  <a:pt x="319" y="104"/>
                  <a:pt x="325" y="108"/>
                  <a:pt x="325" y="108"/>
                </a:cubicBezTo>
                <a:cubicBezTo>
                  <a:pt x="325" y="109"/>
                  <a:pt x="324" y="111"/>
                  <a:pt x="323" y="111"/>
                </a:cubicBezTo>
                <a:cubicBezTo>
                  <a:pt x="323" y="108"/>
                  <a:pt x="322" y="104"/>
                  <a:pt x="319" y="104"/>
                </a:cubicBezTo>
                <a:cubicBezTo>
                  <a:pt x="316" y="103"/>
                  <a:pt x="314" y="107"/>
                  <a:pt x="311" y="105"/>
                </a:cubicBezTo>
                <a:cubicBezTo>
                  <a:pt x="314" y="103"/>
                  <a:pt x="305" y="102"/>
                  <a:pt x="305" y="102"/>
                </a:cubicBezTo>
                <a:cubicBezTo>
                  <a:pt x="303" y="103"/>
                  <a:pt x="298" y="103"/>
                  <a:pt x="297" y="104"/>
                </a:cubicBezTo>
                <a:cubicBezTo>
                  <a:pt x="297" y="104"/>
                  <a:pt x="298" y="105"/>
                  <a:pt x="297" y="106"/>
                </a:cubicBezTo>
                <a:cubicBezTo>
                  <a:pt x="300" y="105"/>
                  <a:pt x="302" y="107"/>
                  <a:pt x="305" y="108"/>
                </a:cubicBezTo>
                <a:cubicBezTo>
                  <a:pt x="306" y="108"/>
                  <a:pt x="306" y="110"/>
                  <a:pt x="307" y="111"/>
                </a:cubicBezTo>
                <a:cubicBezTo>
                  <a:pt x="308" y="112"/>
                  <a:pt x="309" y="112"/>
                  <a:pt x="311" y="112"/>
                </a:cubicBezTo>
                <a:cubicBezTo>
                  <a:pt x="308" y="113"/>
                  <a:pt x="306" y="110"/>
                  <a:pt x="304" y="108"/>
                </a:cubicBezTo>
                <a:cubicBezTo>
                  <a:pt x="302" y="107"/>
                  <a:pt x="299" y="106"/>
                  <a:pt x="297" y="106"/>
                </a:cubicBezTo>
                <a:cubicBezTo>
                  <a:pt x="296" y="106"/>
                  <a:pt x="294" y="106"/>
                  <a:pt x="293" y="107"/>
                </a:cubicBezTo>
                <a:cubicBezTo>
                  <a:pt x="293" y="107"/>
                  <a:pt x="298" y="108"/>
                  <a:pt x="299" y="108"/>
                </a:cubicBezTo>
                <a:cubicBezTo>
                  <a:pt x="298" y="109"/>
                  <a:pt x="296" y="109"/>
                  <a:pt x="295" y="110"/>
                </a:cubicBezTo>
                <a:cubicBezTo>
                  <a:pt x="297" y="111"/>
                  <a:pt x="299" y="110"/>
                  <a:pt x="301" y="110"/>
                </a:cubicBezTo>
                <a:cubicBezTo>
                  <a:pt x="302" y="109"/>
                  <a:pt x="303" y="111"/>
                  <a:pt x="305" y="111"/>
                </a:cubicBezTo>
                <a:cubicBezTo>
                  <a:pt x="303" y="112"/>
                  <a:pt x="302" y="111"/>
                  <a:pt x="301" y="111"/>
                </a:cubicBezTo>
                <a:cubicBezTo>
                  <a:pt x="301" y="111"/>
                  <a:pt x="302" y="111"/>
                  <a:pt x="302" y="112"/>
                </a:cubicBezTo>
                <a:cubicBezTo>
                  <a:pt x="301" y="112"/>
                  <a:pt x="299" y="111"/>
                  <a:pt x="300" y="112"/>
                </a:cubicBezTo>
                <a:cubicBezTo>
                  <a:pt x="299" y="112"/>
                  <a:pt x="298" y="113"/>
                  <a:pt x="297" y="113"/>
                </a:cubicBezTo>
                <a:cubicBezTo>
                  <a:pt x="298" y="114"/>
                  <a:pt x="298" y="115"/>
                  <a:pt x="299" y="115"/>
                </a:cubicBezTo>
                <a:cubicBezTo>
                  <a:pt x="300" y="115"/>
                  <a:pt x="301" y="113"/>
                  <a:pt x="302" y="113"/>
                </a:cubicBezTo>
                <a:cubicBezTo>
                  <a:pt x="303" y="113"/>
                  <a:pt x="304" y="114"/>
                  <a:pt x="305" y="115"/>
                </a:cubicBezTo>
                <a:cubicBezTo>
                  <a:pt x="306" y="115"/>
                  <a:pt x="307" y="115"/>
                  <a:pt x="309" y="115"/>
                </a:cubicBezTo>
                <a:cubicBezTo>
                  <a:pt x="308" y="115"/>
                  <a:pt x="308" y="115"/>
                  <a:pt x="307" y="115"/>
                </a:cubicBezTo>
                <a:cubicBezTo>
                  <a:pt x="307" y="116"/>
                  <a:pt x="307" y="116"/>
                  <a:pt x="307" y="116"/>
                </a:cubicBezTo>
                <a:cubicBezTo>
                  <a:pt x="305" y="116"/>
                  <a:pt x="303" y="113"/>
                  <a:pt x="301" y="115"/>
                </a:cubicBezTo>
                <a:cubicBezTo>
                  <a:pt x="298" y="118"/>
                  <a:pt x="302" y="117"/>
                  <a:pt x="303" y="118"/>
                </a:cubicBezTo>
                <a:cubicBezTo>
                  <a:pt x="303" y="118"/>
                  <a:pt x="302" y="118"/>
                  <a:pt x="302" y="118"/>
                </a:cubicBezTo>
                <a:cubicBezTo>
                  <a:pt x="303" y="119"/>
                  <a:pt x="303" y="119"/>
                  <a:pt x="304" y="120"/>
                </a:cubicBezTo>
                <a:cubicBezTo>
                  <a:pt x="303" y="120"/>
                  <a:pt x="299" y="116"/>
                  <a:pt x="299" y="118"/>
                </a:cubicBezTo>
                <a:cubicBezTo>
                  <a:pt x="298" y="120"/>
                  <a:pt x="302" y="120"/>
                  <a:pt x="302" y="122"/>
                </a:cubicBezTo>
                <a:cubicBezTo>
                  <a:pt x="300" y="121"/>
                  <a:pt x="297" y="116"/>
                  <a:pt x="295" y="118"/>
                </a:cubicBezTo>
                <a:cubicBezTo>
                  <a:pt x="296" y="118"/>
                  <a:pt x="297" y="118"/>
                  <a:pt x="297" y="120"/>
                </a:cubicBezTo>
                <a:cubicBezTo>
                  <a:pt x="297" y="121"/>
                  <a:pt x="297" y="121"/>
                  <a:pt x="297" y="122"/>
                </a:cubicBezTo>
                <a:cubicBezTo>
                  <a:pt x="299" y="123"/>
                  <a:pt x="301" y="124"/>
                  <a:pt x="303" y="125"/>
                </a:cubicBezTo>
                <a:cubicBezTo>
                  <a:pt x="301" y="126"/>
                  <a:pt x="298" y="124"/>
                  <a:pt x="296" y="123"/>
                </a:cubicBezTo>
                <a:cubicBezTo>
                  <a:pt x="294" y="122"/>
                  <a:pt x="297" y="120"/>
                  <a:pt x="295" y="119"/>
                </a:cubicBezTo>
                <a:cubicBezTo>
                  <a:pt x="293" y="118"/>
                  <a:pt x="292" y="117"/>
                  <a:pt x="292" y="115"/>
                </a:cubicBezTo>
                <a:cubicBezTo>
                  <a:pt x="293" y="111"/>
                  <a:pt x="293" y="113"/>
                  <a:pt x="291" y="111"/>
                </a:cubicBezTo>
                <a:cubicBezTo>
                  <a:pt x="295" y="111"/>
                  <a:pt x="285" y="106"/>
                  <a:pt x="289" y="110"/>
                </a:cubicBezTo>
                <a:cubicBezTo>
                  <a:pt x="288" y="111"/>
                  <a:pt x="286" y="110"/>
                  <a:pt x="286" y="111"/>
                </a:cubicBezTo>
                <a:cubicBezTo>
                  <a:pt x="286" y="112"/>
                  <a:pt x="287" y="112"/>
                  <a:pt x="288" y="113"/>
                </a:cubicBezTo>
                <a:cubicBezTo>
                  <a:pt x="286" y="113"/>
                  <a:pt x="282" y="117"/>
                  <a:pt x="280" y="115"/>
                </a:cubicBezTo>
                <a:cubicBezTo>
                  <a:pt x="280" y="113"/>
                  <a:pt x="282" y="115"/>
                  <a:pt x="283" y="113"/>
                </a:cubicBezTo>
                <a:cubicBezTo>
                  <a:pt x="283" y="112"/>
                  <a:pt x="282" y="111"/>
                  <a:pt x="281" y="111"/>
                </a:cubicBezTo>
                <a:cubicBezTo>
                  <a:pt x="280" y="111"/>
                  <a:pt x="281" y="113"/>
                  <a:pt x="279" y="113"/>
                </a:cubicBezTo>
                <a:cubicBezTo>
                  <a:pt x="279" y="113"/>
                  <a:pt x="276" y="115"/>
                  <a:pt x="278" y="113"/>
                </a:cubicBezTo>
                <a:cubicBezTo>
                  <a:pt x="277" y="113"/>
                  <a:pt x="275" y="114"/>
                  <a:pt x="274" y="115"/>
                </a:cubicBezTo>
                <a:cubicBezTo>
                  <a:pt x="273" y="115"/>
                  <a:pt x="273" y="115"/>
                  <a:pt x="273" y="116"/>
                </a:cubicBezTo>
                <a:cubicBezTo>
                  <a:pt x="273" y="116"/>
                  <a:pt x="272" y="116"/>
                  <a:pt x="272" y="116"/>
                </a:cubicBezTo>
                <a:cubicBezTo>
                  <a:pt x="272" y="119"/>
                  <a:pt x="278" y="119"/>
                  <a:pt x="275" y="117"/>
                </a:cubicBezTo>
                <a:cubicBezTo>
                  <a:pt x="276" y="117"/>
                  <a:pt x="278" y="117"/>
                  <a:pt x="278" y="115"/>
                </a:cubicBezTo>
                <a:cubicBezTo>
                  <a:pt x="281" y="116"/>
                  <a:pt x="283" y="116"/>
                  <a:pt x="286" y="117"/>
                </a:cubicBezTo>
                <a:cubicBezTo>
                  <a:pt x="286" y="117"/>
                  <a:pt x="291" y="118"/>
                  <a:pt x="289" y="119"/>
                </a:cubicBezTo>
                <a:cubicBezTo>
                  <a:pt x="287" y="122"/>
                  <a:pt x="287" y="121"/>
                  <a:pt x="285" y="120"/>
                </a:cubicBezTo>
                <a:cubicBezTo>
                  <a:pt x="282" y="119"/>
                  <a:pt x="281" y="122"/>
                  <a:pt x="278" y="122"/>
                </a:cubicBezTo>
                <a:cubicBezTo>
                  <a:pt x="280" y="120"/>
                  <a:pt x="277" y="121"/>
                  <a:pt x="276" y="121"/>
                </a:cubicBezTo>
                <a:cubicBezTo>
                  <a:pt x="275" y="122"/>
                  <a:pt x="274" y="122"/>
                  <a:pt x="273" y="122"/>
                </a:cubicBezTo>
                <a:cubicBezTo>
                  <a:pt x="272" y="122"/>
                  <a:pt x="271" y="124"/>
                  <a:pt x="270" y="124"/>
                </a:cubicBezTo>
                <a:cubicBezTo>
                  <a:pt x="270" y="124"/>
                  <a:pt x="271" y="123"/>
                  <a:pt x="271" y="123"/>
                </a:cubicBezTo>
                <a:cubicBezTo>
                  <a:pt x="269" y="121"/>
                  <a:pt x="264" y="123"/>
                  <a:pt x="262" y="123"/>
                </a:cubicBezTo>
                <a:cubicBezTo>
                  <a:pt x="262" y="123"/>
                  <a:pt x="262" y="124"/>
                  <a:pt x="262" y="124"/>
                </a:cubicBezTo>
                <a:cubicBezTo>
                  <a:pt x="262" y="124"/>
                  <a:pt x="262" y="124"/>
                  <a:pt x="262" y="124"/>
                </a:cubicBezTo>
                <a:cubicBezTo>
                  <a:pt x="263" y="124"/>
                  <a:pt x="268" y="124"/>
                  <a:pt x="268" y="124"/>
                </a:cubicBezTo>
                <a:cubicBezTo>
                  <a:pt x="266" y="125"/>
                  <a:pt x="262" y="124"/>
                  <a:pt x="260" y="125"/>
                </a:cubicBezTo>
                <a:cubicBezTo>
                  <a:pt x="258" y="126"/>
                  <a:pt x="263" y="126"/>
                  <a:pt x="261" y="127"/>
                </a:cubicBezTo>
                <a:cubicBezTo>
                  <a:pt x="263" y="128"/>
                  <a:pt x="264" y="126"/>
                  <a:pt x="266" y="127"/>
                </a:cubicBezTo>
                <a:cubicBezTo>
                  <a:pt x="265" y="128"/>
                  <a:pt x="267" y="127"/>
                  <a:pt x="268" y="128"/>
                </a:cubicBezTo>
                <a:cubicBezTo>
                  <a:pt x="266" y="129"/>
                  <a:pt x="262" y="127"/>
                  <a:pt x="260" y="129"/>
                </a:cubicBezTo>
                <a:cubicBezTo>
                  <a:pt x="261" y="129"/>
                  <a:pt x="261" y="130"/>
                  <a:pt x="262" y="130"/>
                </a:cubicBezTo>
                <a:cubicBezTo>
                  <a:pt x="261" y="130"/>
                  <a:pt x="260" y="130"/>
                  <a:pt x="259" y="131"/>
                </a:cubicBezTo>
                <a:cubicBezTo>
                  <a:pt x="262" y="134"/>
                  <a:pt x="267" y="130"/>
                  <a:pt x="270" y="130"/>
                </a:cubicBezTo>
                <a:cubicBezTo>
                  <a:pt x="271" y="129"/>
                  <a:pt x="270" y="129"/>
                  <a:pt x="271" y="128"/>
                </a:cubicBezTo>
                <a:cubicBezTo>
                  <a:pt x="271" y="128"/>
                  <a:pt x="272" y="127"/>
                  <a:pt x="273" y="127"/>
                </a:cubicBezTo>
                <a:cubicBezTo>
                  <a:pt x="274" y="127"/>
                  <a:pt x="275" y="126"/>
                  <a:pt x="275" y="124"/>
                </a:cubicBezTo>
                <a:cubicBezTo>
                  <a:pt x="275" y="124"/>
                  <a:pt x="278" y="125"/>
                  <a:pt x="276" y="125"/>
                </a:cubicBezTo>
                <a:cubicBezTo>
                  <a:pt x="278" y="127"/>
                  <a:pt x="280" y="127"/>
                  <a:pt x="282" y="127"/>
                </a:cubicBezTo>
                <a:cubicBezTo>
                  <a:pt x="284" y="128"/>
                  <a:pt x="285" y="130"/>
                  <a:pt x="287" y="130"/>
                </a:cubicBezTo>
                <a:cubicBezTo>
                  <a:pt x="287" y="131"/>
                  <a:pt x="282" y="129"/>
                  <a:pt x="282" y="128"/>
                </a:cubicBezTo>
                <a:cubicBezTo>
                  <a:pt x="280" y="128"/>
                  <a:pt x="278" y="127"/>
                  <a:pt x="276" y="128"/>
                </a:cubicBezTo>
                <a:cubicBezTo>
                  <a:pt x="277" y="130"/>
                  <a:pt x="278" y="130"/>
                  <a:pt x="280" y="130"/>
                </a:cubicBezTo>
                <a:cubicBezTo>
                  <a:pt x="279" y="130"/>
                  <a:pt x="279" y="130"/>
                  <a:pt x="279" y="131"/>
                </a:cubicBezTo>
                <a:cubicBezTo>
                  <a:pt x="278" y="131"/>
                  <a:pt x="272" y="128"/>
                  <a:pt x="272" y="130"/>
                </a:cubicBezTo>
                <a:cubicBezTo>
                  <a:pt x="273" y="130"/>
                  <a:pt x="273" y="131"/>
                  <a:pt x="274" y="131"/>
                </a:cubicBezTo>
                <a:cubicBezTo>
                  <a:pt x="273" y="131"/>
                  <a:pt x="269" y="132"/>
                  <a:pt x="271" y="133"/>
                </a:cubicBezTo>
                <a:cubicBezTo>
                  <a:pt x="272" y="133"/>
                  <a:pt x="276" y="133"/>
                  <a:pt x="277" y="134"/>
                </a:cubicBezTo>
                <a:cubicBezTo>
                  <a:pt x="277" y="134"/>
                  <a:pt x="272" y="133"/>
                  <a:pt x="271" y="134"/>
                </a:cubicBezTo>
                <a:cubicBezTo>
                  <a:pt x="270" y="136"/>
                  <a:pt x="274" y="137"/>
                  <a:pt x="274" y="137"/>
                </a:cubicBezTo>
                <a:cubicBezTo>
                  <a:pt x="279" y="138"/>
                  <a:pt x="283" y="134"/>
                  <a:pt x="288" y="135"/>
                </a:cubicBezTo>
                <a:cubicBezTo>
                  <a:pt x="285" y="136"/>
                  <a:pt x="282" y="136"/>
                  <a:pt x="280" y="139"/>
                </a:cubicBezTo>
                <a:cubicBezTo>
                  <a:pt x="280" y="139"/>
                  <a:pt x="280" y="139"/>
                  <a:pt x="281" y="139"/>
                </a:cubicBezTo>
                <a:cubicBezTo>
                  <a:pt x="279" y="139"/>
                  <a:pt x="280" y="141"/>
                  <a:pt x="281" y="141"/>
                </a:cubicBezTo>
                <a:cubicBezTo>
                  <a:pt x="282" y="142"/>
                  <a:pt x="283" y="141"/>
                  <a:pt x="283" y="141"/>
                </a:cubicBezTo>
                <a:cubicBezTo>
                  <a:pt x="283" y="141"/>
                  <a:pt x="284" y="142"/>
                  <a:pt x="285" y="143"/>
                </a:cubicBezTo>
                <a:cubicBezTo>
                  <a:pt x="284" y="142"/>
                  <a:pt x="283" y="142"/>
                  <a:pt x="282" y="142"/>
                </a:cubicBezTo>
                <a:cubicBezTo>
                  <a:pt x="282" y="142"/>
                  <a:pt x="282" y="142"/>
                  <a:pt x="282" y="143"/>
                </a:cubicBezTo>
                <a:cubicBezTo>
                  <a:pt x="281" y="143"/>
                  <a:pt x="280" y="143"/>
                  <a:pt x="280" y="142"/>
                </a:cubicBezTo>
                <a:cubicBezTo>
                  <a:pt x="278" y="139"/>
                  <a:pt x="276" y="138"/>
                  <a:pt x="273" y="138"/>
                </a:cubicBezTo>
                <a:cubicBezTo>
                  <a:pt x="273" y="138"/>
                  <a:pt x="271" y="140"/>
                  <a:pt x="270" y="140"/>
                </a:cubicBezTo>
                <a:cubicBezTo>
                  <a:pt x="269" y="140"/>
                  <a:pt x="270" y="138"/>
                  <a:pt x="271" y="138"/>
                </a:cubicBezTo>
                <a:cubicBezTo>
                  <a:pt x="269" y="135"/>
                  <a:pt x="267" y="140"/>
                  <a:pt x="264" y="138"/>
                </a:cubicBezTo>
                <a:cubicBezTo>
                  <a:pt x="265" y="138"/>
                  <a:pt x="266" y="138"/>
                  <a:pt x="267" y="137"/>
                </a:cubicBezTo>
                <a:cubicBezTo>
                  <a:pt x="266" y="136"/>
                  <a:pt x="266" y="136"/>
                  <a:pt x="265" y="135"/>
                </a:cubicBezTo>
                <a:cubicBezTo>
                  <a:pt x="266" y="135"/>
                  <a:pt x="268" y="136"/>
                  <a:pt x="269" y="136"/>
                </a:cubicBezTo>
                <a:cubicBezTo>
                  <a:pt x="270" y="136"/>
                  <a:pt x="269" y="135"/>
                  <a:pt x="268" y="134"/>
                </a:cubicBezTo>
                <a:cubicBezTo>
                  <a:pt x="264" y="134"/>
                  <a:pt x="261" y="137"/>
                  <a:pt x="258" y="139"/>
                </a:cubicBezTo>
                <a:cubicBezTo>
                  <a:pt x="260" y="142"/>
                  <a:pt x="264" y="139"/>
                  <a:pt x="267" y="140"/>
                </a:cubicBezTo>
                <a:cubicBezTo>
                  <a:pt x="266" y="140"/>
                  <a:pt x="262" y="143"/>
                  <a:pt x="261" y="142"/>
                </a:cubicBezTo>
                <a:cubicBezTo>
                  <a:pt x="262" y="142"/>
                  <a:pt x="262" y="141"/>
                  <a:pt x="262" y="141"/>
                </a:cubicBezTo>
                <a:cubicBezTo>
                  <a:pt x="262" y="140"/>
                  <a:pt x="259" y="140"/>
                  <a:pt x="259" y="140"/>
                </a:cubicBezTo>
                <a:cubicBezTo>
                  <a:pt x="257" y="140"/>
                  <a:pt x="257" y="141"/>
                  <a:pt x="256" y="142"/>
                </a:cubicBezTo>
                <a:cubicBezTo>
                  <a:pt x="256" y="142"/>
                  <a:pt x="256" y="142"/>
                  <a:pt x="256" y="142"/>
                </a:cubicBezTo>
                <a:cubicBezTo>
                  <a:pt x="255" y="144"/>
                  <a:pt x="252" y="146"/>
                  <a:pt x="251" y="146"/>
                </a:cubicBezTo>
                <a:cubicBezTo>
                  <a:pt x="250" y="147"/>
                  <a:pt x="249" y="147"/>
                  <a:pt x="248" y="147"/>
                </a:cubicBezTo>
                <a:cubicBezTo>
                  <a:pt x="252" y="148"/>
                  <a:pt x="256" y="145"/>
                  <a:pt x="259" y="145"/>
                </a:cubicBezTo>
                <a:cubicBezTo>
                  <a:pt x="258" y="148"/>
                  <a:pt x="260" y="148"/>
                  <a:pt x="261" y="147"/>
                </a:cubicBezTo>
                <a:cubicBezTo>
                  <a:pt x="263" y="145"/>
                  <a:pt x="265" y="146"/>
                  <a:pt x="267" y="146"/>
                </a:cubicBezTo>
                <a:cubicBezTo>
                  <a:pt x="265" y="144"/>
                  <a:pt x="274" y="145"/>
                  <a:pt x="267" y="147"/>
                </a:cubicBezTo>
                <a:cubicBezTo>
                  <a:pt x="270" y="147"/>
                  <a:pt x="272" y="147"/>
                  <a:pt x="274" y="147"/>
                </a:cubicBezTo>
                <a:cubicBezTo>
                  <a:pt x="274" y="148"/>
                  <a:pt x="273" y="148"/>
                  <a:pt x="273" y="148"/>
                </a:cubicBezTo>
                <a:cubicBezTo>
                  <a:pt x="274" y="149"/>
                  <a:pt x="277" y="148"/>
                  <a:pt x="279" y="148"/>
                </a:cubicBezTo>
                <a:cubicBezTo>
                  <a:pt x="281" y="148"/>
                  <a:pt x="284" y="148"/>
                  <a:pt x="285" y="149"/>
                </a:cubicBezTo>
                <a:cubicBezTo>
                  <a:pt x="282" y="149"/>
                  <a:pt x="279" y="148"/>
                  <a:pt x="276" y="148"/>
                </a:cubicBezTo>
                <a:cubicBezTo>
                  <a:pt x="279" y="147"/>
                  <a:pt x="277" y="152"/>
                  <a:pt x="278" y="153"/>
                </a:cubicBezTo>
                <a:cubicBezTo>
                  <a:pt x="275" y="154"/>
                  <a:pt x="277" y="152"/>
                  <a:pt x="277" y="151"/>
                </a:cubicBezTo>
                <a:cubicBezTo>
                  <a:pt x="276" y="149"/>
                  <a:pt x="273" y="149"/>
                  <a:pt x="272" y="149"/>
                </a:cubicBezTo>
                <a:cubicBezTo>
                  <a:pt x="270" y="149"/>
                  <a:pt x="267" y="148"/>
                  <a:pt x="265" y="150"/>
                </a:cubicBezTo>
                <a:cubicBezTo>
                  <a:pt x="264" y="151"/>
                  <a:pt x="266" y="151"/>
                  <a:pt x="266" y="152"/>
                </a:cubicBezTo>
                <a:cubicBezTo>
                  <a:pt x="263" y="152"/>
                  <a:pt x="264" y="149"/>
                  <a:pt x="266" y="148"/>
                </a:cubicBezTo>
                <a:cubicBezTo>
                  <a:pt x="263" y="148"/>
                  <a:pt x="258" y="148"/>
                  <a:pt x="256" y="149"/>
                </a:cubicBezTo>
                <a:cubicBezTo>
                  <a:pt x="258" y="149"/>
                  <a:pt x="253" y="150"/>
                  <a:pt x="253" y="150"/>
                </a:cubicBezTo>
                <a:cubicBezTo>
                  <a:pt x="251" y="150"/>
                  <a:pt x="250" y="150"/>
                  <a:pt x="249" y="151"/>
                </a:cubicBezTo>
                <a:cubicBezTo>
                  <a:pt x="250" y="152"/>
                  <a:pt x="248" y="153"/>
                  <a:pt x="247" y="153"/>
                </a:cubicBezTo>
                <a:cubicBezTo>
                  <a:pt x="250" y="155"/>
                  <a:pt x="255" y="152"/>
                  <a:pt x="256" y="156"/>
                </a:cubicBezTo>
                <a:cubicBezTo>
                  <a:pt x="255" y="157"/>
                  <a:pt x="254" y="155"/>
                  <a:pt x="253" y="155"/>
                </a:cubicBezTo>
                <a:cubicBezTo>
                  <a:pt x="251" y="155"/>
                  <a:pt x="249" y="154"/>
                  <a:pt x="247" y="154"/>
                </a:cubicBezTo>
                <a:cubicBezTo>
                  <a:pt x="249" y="156"/>
                  <a:pt x="246" y="159"/>
                  <a:pt x="245" y="157"/>
                </a:cubicBezTo>
                <a:cubicBezTo>
                  <a:pt x="244" y="156"/>
                  <a:pt x="243" y="154"/>
                  <a:pt x="242" y="155"/>
                </a:cubicBezTo>
                <a:cubicBezTo>
                  <a:pt x="241" y="156"/>
                  <a:pt x="242" y="157"/>
                  <a:pt x="242" y="158"/>
                </a:cubicBezTo>
                <a:cubicBezTo>
                  <a:pt x="241" y="159"/>
                  <a:pt x="239" y="160"/>
                  <a:pt x="238" y="158"/>
                </a:cubicBezTo>
                <a:cubicBezTo>
                  <a:pt x="239" y="159"/>
                  <a:pt x="240" y="158"/>
                  <a:pt x="241" y="157"/>
                </a:cubicBezTo>
                <a:cubicBezTo>
                  <a:pt x="240" y="157"/>
                  <a:pt x="235" y="157"/>
                  <a:pt x="234" y="158"/>
                </a:cubicBezTo>
                <a:cubicBezTo>
                  <a:pt x="235" y="158"/>
                  <a:pt x="235" y="158"/>
                  <a:pt x="236" y="158"/>
                </a:cubicBezTo>
                <a:cubicBezTo>
                  <a:pt x="234" y="160"/>
                  <a:pt x="231" y="159"/>
                  <a:pt x="228" y="159"/>
                </a:cubicBezTo>
                <a:cubicBezTo>
                  <a:pt x="229" y="160"/>
                  <a:pt x="229" y="161"/>
                  <a:pt x="229" y="161"/>
                </a:cubicBezTo>
                <a:cubicBezTo>
                  <a:pt x="230" y="161"/>
                  <a:pt x="231" y="161"/>
                  <a:pt x="231" y="161"/>
                </a:cubicBezTo>
                <a:cubicBezTo>
                  <a:pt x="232" y="161"/>
                  <a:pt x="234" y="162"/>
                  <a:pt x="233" y="164"/>
                </a:cubicBezTo>
                <a:cubicBezTo>
                  <a:pt x="234" y="163"/>
                  <a:pt x="239" y="164"/>
                  <a:pt x="241" y="165"/>
                </a:cubicBezTo>
                <a:cubicBezTo>
                  <a:pt x="240" y="165"/>
                  <a:pt x="228" y="164"/>
                  <a:pt x="229" y="166"/>
                </a:cubicBezTo>
                <a:cubicBezTo>
                  <a:pt x="229" y="166"/>
                  <a:pt x="230" y="166"/>
                  <a:pt x="231" y="167"/>
                </a:cubicBezTo>
                <a:cubicBezTo>
                  <a:pt x="230" y="167"/>
                  <a:pt x="229" y="167"/>
                  <a:pt x="230" y="168"/>
                </a:cubicBezTo>
                <a:cubicBezTo>
                  <a:pt x="230" y="168"/>
                  <a:pt x="230" y="168"/>
                  <a:pt x="231" y="169"/>
                </a:cubicBezTo>
                <a:cubicBezTo>
                  <a:pt x="230" y="168"/>
                  <a:pt x="230" y="169"/>
                  <a:pt x="229" y="168"/>
                </a:cubicBezTo>
                <a:cubicBezTo>
                  <a:pt x="227" y="168"/>
                  <a:pt x="223" y="167"/>
                  <a:pt x="221" y="168"/>
                </a:cubicBezTo>
                <a:cubicBezTo>
                  <a:pt x="223" y="169"/>
                  <a:pt x="228" y="168"/>
                  <a:pt x="229" y="171"/>
                </a:cubicBezTo>
                <a:cubicBezTo>
                  <a:pt x="229" y="171"/>
                  <a:pt x="220" y="169"/>
                  <a:pt x="220" y="171"/>
                </a:cubicBezTo>
                <a:cubicBezTo>
                  <a:pt x="220" y="172"/>
                  <a:pt x="225" y="171"/>
                  <a:pt x="225" y="172"/>
                </a:cubicBezTo>
                <a:cubicBezTo>
                  <a:pt x="223" y="171"/>
                  <a:pt x="219" y="175"/>
                  <a:pt x="223" y="175"/>
                </a:cubicBezTo>
                <a:cubicBezTo>
                  <a:pt x="227" y="174"/>
                  <a:pt x="230" y="172"/>
                  <a:pt x="234" y="172"/>
                </a:cubicBezTo>
                <a:cubicBezTo>
                  <a:pt x="232" y="173"/>
                  <a:pt x="230" y="173"/>
                  <a:pt x="228" y="174"/>
                </a:cubicBezTo>
                <a:cubicBezTo>
                  <a:pt x="227" y="175"/>
                  <a:pt x="232" y="175"/>
                  <a:pt x="233" y="176"/>
                </a:cubicBezTo>
                <a:cubicBezTo>
                  <a:pt x="230" y="175"/>
                  <a:pt x="227" y="174"/>
                  <a:pt x="224" y="175"/>
                </a:cubicBezTo>
                <a:cubicBezTo>
                  <a:pt x="224" y="176"/>
                  <a:pt x="222" y="177"/>
                  <a:pt x="223" y="178"/>
                </a:cubicBezTo>
                <a:cubicBezTo>
                  <a:pt x="223" y="179"/>
                  <a:pt x="225" y="178"/>
                  <a:pt x="226" y="178"/>
                </a:cubicBezTo>
                <a:cubicBezTo>
                  <a:pt x="224" y="179"/>
                  <a:pt x="222" y="179"/>
                  <a:pt x="221" y="178"/>
                </a:cubicBezTo>
                <a:cubicBezTo>
                  <a:pt x="222" y="177"/>
                  <a:pt x="221" y="176"/>
                  <a:pt x="220" y="176"/>
                </a:cubicBezTo>
                <a:cubicBezTo>
                  <a:pt x="218" y="175"/>
                  <a:pt x="216" y="175"/>
                  <a:pt x="215" y="176"/>
                </a:cubicBezTo>
                <a:cubicBezTo>
                  <a:pt x="216" y="177"/>
                  <a:pt x="218" y="177"/>
                  <a:pt x="219" y="178"/>
                </a:cubicBezTo>
                <a:cubicBezTo>
                  <a:pt x="219" y="178"/>
                  <a:pt x="218" y="178"/>
                  <a:pt x="217" y="178"/>
                </a:cubicBezTo>
                <a:cubicBezTo>
                  <a:pt x="222" y="180"/>
                  <a:pt x="216" y="181"/>
                  <a:pt x="216" y="183"/>
                </a:cubicBezTo>
                <a:cubicBezTo>
                  <a:pt x="216" y="183"/>
                  <a:pt x="219" y="184"/>
                  <a:pt x="219" y="184"/>
                </a:cubicBezTo>
                <a:cubicBezTo>
                  <a:pt x="218" y="185"/>
                  <a:pt x="224" y="184"/>
                  <a:pt x="225" y="183"/>
                </a:cubicBezTo>
                <a:cubicBezTo>
                  <a:pt x="227" y="183"/>
                  <a:pt x="227" y="184"/>
                  <a:pt x="229" y="184"/>
                </a:cubicBezTo>
                <a:cubicBezTo>
                  <a:pt x="225" y="184"/>
                  <a:pt x="221" y="186"/>
                  <a:pt x="217" y="188"/>
                </a:cubicBezTo>
                <a:cubicBezTo>
                  <a:pt x="216" y="188"/>
                  <a:pt x="216" y="190"/>
                  <a:pt x="217" y="189"/>
                </a:cubicBezTo>
                <a:cubicBezTo>
                  <a:pt x="218" y="189"/>
                  <a:pt x="219" y="189"/>
                  <a:pt x="221" y="188"/>
                </a:cubicBezTo>
                <a:cubicBezTo>
                  <a:pt x="222" y="188"/>
                  <a:pt x="223" y="187"/>
                  <a:pt x="225" y="187"/>
                </a:cubicBezTo>
                <a:cubicBezTo>
                  <a:pt x="227" y="187"/>
                  <a:pt x="229" y="185"/>
                  <a:pt x="230" y="185"/>
                </a:cubicBezTo>
                <a:cubicBezTo>
                  <a:pt x="232" y="185"/>
                  <a:pt x="230" y="187"/>
                  <a:pt x="232" y="187"/>
                </a:cubicBezTo>
                <a:cubicBezTo>
                  <a:pt x="234" y="187"/>
                  <a:pt x="234" y="185"/>
                  <a:pt x="235" y="185"/>
                </a:cubicBezTo>
                <a:cubicBezTo>
                  <a:pt x="235" y="186"/>
                  <a:pt x="235" y="186"/>
                  <a:pt x="235" y="186"/>
                </a:cubicBezTo>
                <a:cubicBezTo>
                  <a:pt x="236" y="186"/>
                  <a:pt x="245" y="184"/>
                  <a:pt x="245" y="184"/>
                </a:cubicBezTo>
                <a:cubicBezTo>
                  <a:pt x="245" y="185"/>
                  <a:pt x="237" y="188"/>
                  <a:pt x="236" y="188"/>
                </a:cubicBezTo>
                <a:cubicBezTo>
                  <a:pt x="238" y="186"/>
                  <a:pt x="232" y="187"/>
                  <a:pt x="232" y="187"/>
                </a:cubicBezTo>
                <a:cubicBezTo>
                  <a:pt x="232" y="189"/>
                  <a:pt x="233" y="189"/>
                  <a:pt x="234" y="189"/>
                </a:cubicBezTo>
                <a:cubicBezTo>
                  <a:pt x="235" y="189"/>
                  <a:pt x="237" y="189"/>
                  <a:pt x="237" y="190"/>
                </a:cubicBezTo>
                <a:cubicBezTo>
                  <a:pt x="237" y="190"/>
                  <a:pt x="234" y="190"/>
                  <a:pt x="234" y="190"/>
                </a:cubicBezTo>
                <a:cubicBezTo>
                  <a:pt x="232" y="190"/>
                  <a:pt x="231" y="191"/>
                  <a:pt x="230" y="192"/>
                </a:cubicBezTo>
                <a:cubicBezTo>
                  <a:pt x="229" y="191"/>
                  <a:pt x="232" y="188"/>
                  <a:pt x="229" y="189"/>
                </a:cubicBezTo>
                <a:cubicBezTo>
                  <a:pt x="232" y="188"/>
                  <a:pt x="228" y="188"/>
                  <a:pt x="228" y="187"/>
                </a:cubicBezTo>
                <a:cubicBezTo>
                  <a:pt x="226" y="187"/>
                  <a:pt x="224" y="187"/>
                  <a:pt x="222" y="188"/>
                </a:cubicBezTo>
                <a:cubicBezTo>
                  <a:pt x="220" y="189"/>
                  <a:pt x="218" y="191"/>
                  <a:pt x="215" y="191"/>
                </a:cubicBezTo>
                <a:cubicBezTo>
                  <a:pt x="213" y="191"/>
                  <a:pt x="210" y="192"/>
                  <a:pt x="208" y="194"/>
                </a:cubicBezTo>
                <a:cubicBezTo>
                  <a:pt x="209" y="194"/>
                  <a:pt x="210" y="194"/>
                  <a:pt x="211" y="194"/>
                </a:cubicBezTo>
                <a:cubicBezTo>
                  <a:pt x="210" y="194"/>
                  <a:pt x="208" y="194"/>
                  <a:pt x="207" y="195"/>
                </a:cubicBezTo>
                <a:cubicBezTo>
                  <a:pt x="210" y="195"/>
                  <a:pt x="213" y="193"/>
                  <a:pt x="216" y="194"/>
                </a:cubicBezTo>
                <a:cubicBezTo>
                  <a:pt x="214" y="194"/>
                  <a:pt x="215" y="196"/>
                  <a:pt x="213" y="198"/>
                </a:cubicBezTo>
                <a:cubicBezTo>
                  <a:pt x="216" y="198"/>
                  <a:pt x="221" y="199"/>
                  <a:pt x="221" y="203"/>
                </a:cubicBezTo>
                <a:cubicBezTo>
                  <a:pt x="217" y="199"/>
                  <a:pt x="208" y="195"/>
                  <a:pt x="206" y="203"/>
                </a:cubicBezTo>
                <a:cubicBezTo>
                  <a:pt x="206" y="203"/>
                  <a:pt x="209" y="204"/>
                  <a:pt x="209" y="205"/>
                </a:cubicBezTo>
                <a:cubicBezTo>
                  <a:pt x="207" y="203"/>
                  <a:pt x="203" y="206"/>
                  <a:pt x="205" y="207"/>
                </a:cubicBezTo>
                <a:cubicBezTo>
                  <a:pt x="206" y="208"/>
                  <a:pt x="207" y="210"/>
                  <a:pt x="208" y="210"/>
                </a:cubicBezTo>
                <a:cubicBezTo>
                  <a:pt x="208" y="211"/>
                  <a:pt x="210" y="210"/>
                  <a:pt x="210" y="211"/>
                </a:cubicBezTo>
                <a:cubicBezTo>
                  <a:pt x="210" y="211"/>
                  <a:pt x="205" y="211"/>
                  <a:pt x="207" y="209"/>
                </a:cubicBezTo>
                <a:cubicBezTo>
                  <a:pt x="206" y="209"/>
                  <a:pt x="206" y="209"/>
                  <a:pt x="205" y="209"/>
                </a:cubicBezTo>
                <a:cubicBezTo>
                  <a:pt x="207" y="206"/>
                  <a:pt x="202" y="208"/>
                  <a:pt x="201" y="209"/>
                </a:cubicBezTo>
                <a:cubicBezTo>
                  <a:pt x="200" y="210"/>
                  <a:pt x="198" y="214"/>
                  <a:pt x="201" y="213"/>
                </a:cubicBezTo>
                <a:cubicBezTo>
                  <a:pt x="200" y="214"/>
                  <a:pt x="201" y="215"/>
                  <a:pt x="202" y="215"/>
                </a:cubicBezTo>
                <a:cubicBezTo>
                  <a:pt x="203" y="215"/>
                  <a:pt x="203" y="214"/>
                  <a:pt x="204" y="213"/>
                </a:cubicBezTo>
                <a:cubicBezTo>
                  <a:pt x="204" y="214"/>
                  <a:pt x="203" y="215"/>
                  <a:pt x="203" y="216"/>
                </a:cubicBezTo>
                <a:cubicBezTo>
                  <a:pt x="204" y="217"/>
                  <a:pt x="205" y="213"/>
                  <a:pt x="205" y="213"/>
                </a:cubicBezTo>
                <a:cubicBezTo>
                  <a:pt x="205" y="214"/>
                  <a:pt x="205" y="215"/>
                  <a:pt x="207" y="216"/>
                </a:cubicBezTo>
                <a:cubicBezTo>
                  <a:pt x="206" y="216"/>
                  <a:pt x="205" y="216"/>
                  <a:pt x="205" y="216"/>
                </a:cubicBezTo>
                <a:cubicBezTo>
                  <a:pt x="205" y="217"/>
                  <a:pt x="206" y="217"/>
                  <a:pt x="207" y="217"/>
                </a:cubicBezTo>
                <a:cubicBezTo>
                  <a:pt x="205" y="218"/>
                  <a:pt x="209" y="218"/>
                  <a:pt x="210" y="218"/>
                </a:cubicBezTo>
                <a:cubicBezTo>
                  <a:pt x="208" y="219"/>
                  <a:pt x="206" y="219"/>
                  <a:pt x="208" y="221"/>
                </a:cubicBezTo>
                <a:cubicBezTo>
                  <a:pt x="207" y="220"/>
                  <a:pt x="206" y="220"/>
                  <a:pt x="205" y="219"/>
                </a:cubicBezTo>
                <a:cubicBezTo>
                  <a:pt x="204" y="218"/>
                  <a:pt x="202" y="218"/>
                  <a:pt x="203" y="220"/>
                </a:cubicBezTo>
                <a:cubicBezTo>
                  <a:pt x="202" y="220"/>
                  <a:pt x="200" y="215"/>
                  <a:pt x="199" y="214"/>
                </a:cubicBezTo>
                <a:cubicBezTo>
                  <a:pt x="197" y="211"/>
                  <a:pt x="197" y="216"/>
                  <a:pt x="196" y="217"/>
                </a:cubicBezTo>
                <a:cubicBezTo>
                  <a:pt x="196" y="217"/>
                  <a:pt x="197" y="217"/>
                  <a:pt x="197" y="217"/>
                </a:cubicBezTo>
                <a:cubicBezTo>
                  <a:pt x="197" y="219"/>
                  <a:pt x="198" y="216"/>
                  <a:pt x="199" y="218"/>
                </a:cubicBezTo>
                <a:cubicBezTo>
                  <a:pt x="199" y="219"/>
                  <a:pt x="193" y="220"/>
                  <a:pt x="196" y="222"/>
                </a:cubicBezTo>
                <a:cubicBezTo>
                  <a:pt x="194" y="221"/>
                  <a:pt x="194" y="223"/>
                  <a:pt x="193" y="224"/>
                </a:cubicBezTo>
                <a:cubicBezTo>
                  <a:pt x="193" y="224"/>
                  <a:pt x="193" y="224"/>
                  <a:pt x="194" y="224"/>
                </a:cubicBezTo>
                <a:cubicBezTo>
                  <a:pt x="193" y="226"/>
                  <a:pt x="193" y="227"/>
                  <a:pt x="192" y="228"/>
                </a:cubicBezTo>
                <a:cubicBezTo>
                  <a:pt x="194" y="228"/>
                  <a:pt x="199" y="226"/>
                  <a:pt x="196" y="224"/>
                </a:cubicBezTo>
                <a:cubicBezTo>
                  <a:pt x="198" y="224"/>
                  <a:pt x="200" y="221"/>
                  <a:pt x="202" y="222"/>
                </a:cubicBezTo>
                <a:cubicBezTo>
                  <a:pt x="202" y="222"/>
                  <a:pt x="202" y="223"/>
                  <a:pt x="201" y="223"/>
                </a:cubicBezTo>
                <a:cubicBezTo>
                  <a:pt x="202" y="223"/>
                  <a:pt x="202" y="223"/>
                  <a:pt x="203" y="223"/>
                </a:cubicBezTo>
                <a:cubicBezTo>
                  <a:pt x="201" y="224"/>
                  <a:pt x="199" y="225"/>
                  <a:pt x="197" y="227"/>
                </a:cubicBezTo>
                <a:cubicBezTo>
                  <a:pt x="199" y="226"/>
                  <a:pt x="200" y="226"/>
                  <a:pt x="202" y="226"/>
                </a:cubicBezTo>
                <a:cubicBezTo>
                  <a:pt x="201" y="226"/>
                  <a:pt x="200" y="227"/>
                  <a:pt x="199" y="227"/>
                </a:cubicBezTo>
                <a:cubicBezTo>
                  <a:pt x="201" y="227"/>
                  <a:pt x="202" y="228"/>
                  <a:pt x="204" y="229"/>
                </a:cubicBezTo>
                <a:cubicBezTo>
                  <a:pt x="203" y="229"/>
                  <a:pt x="199" y="229"/>
                  <a:pt x="200" y="230"/>
                </a:cubicBezTo>
                <a:cubicBezTo>
                  <a:pt x="202" y="231"/>
                  <a:pt x="204" y="231"/>
                  <a:pt x="205" y="230"/>
                </a:cubicBezTo>
                <a:cubicBezTo>
                  <a:pt x="206" y="230"/>
                  <a:pt x="215" y="223"/>
                  <a:pt x="215" y="223"/>
                </a:cubicBezTo>
                <a:cubicBezTo>
                  <a:pt x="215" y="224"/>
                  <a:pt x="210" y="229"/>
                  <a:pt x="209" y="229"/>
                </a:cubicBezTo>
                <a:cubicBezTo>
                  <a:pt x="207" y="230"/>
                  <a:pt x="204" y="231"/>
                  <a:pt x="201" y="232"/>
                </a:cubicBezTo>
                <a:cubicBezTo>
                  <a:pt x="202" y="232"/>
                  <a:pt x="203" y="232"/>
                  <a:pt x="203" y="232"/>
                </a:cubicBezTo>
                <a:cubicBezTo>
                  <a:pt x="201" y="235"/>
                  <a:pt x="193" y="234"/>
                  <a:pt x="191" y="234"/>
                </a:cubicBezTo>
                <a:cubicBezTo>
                  <a:pt x="193" y="232"/>
                  <a:pt x="197" y="235"/>
                  <a:pt x="199" y="232"/>
                </a:cubicBezTo>
                <a:cubicBezTo>
                  <a:pt x="197" y="231"/>
                  <a:pt x="199" y="227"/>
                  <a:pt x="196" y="228"/>
                </a:cubicBezTo>
                <a:cubicBezTo>
                  <a:pt x="194" y="228"/>
                  <a:pt x="192" y="231"/>
                  <a:pt x="195" y="231"/>
                </a:cubicBezTo>
                <a:cubicBezTo>
                  <a:pt x="194" y="231"/>
                  <a:pt x="193" y="232"/>
                  <a:pt x="192" y="232"/>
                </a:cubicBezTo>
                <a:cubicBezTo>
                  <a:pt x="192" y="232"/>
                  <a:pt x="193" y="234"/>
                  <a:pt x="191" y="232"/>
                </a:cubicBezTo>
                <a:cubicBezTo>
                  <a:pt x="191" y="232"/>
                  <a:pt x="191" y="232"/>
                  <a:pt x="191" y="231"/>
                </a:cubicBezTo>
                <a:cubicBezTo>
                  <a:pt x="191" y="229"/>
                  <a:pt x="188" y="231"/>
                  <a:pt x="188" y="231"/>
                </a:cubicBezTo>
                <a:cubicBezTo>
                  <a:pt x="187" y="232"/>
                  <a:pt x="183" y="235"/>
                  <a:pt x="184" y="235"/>
                </a:cubicBezTo>
                <a:cubicBezTo>
                  <a:pt x="185" y="236"/>
                  <a:pt x="185" y="236"/>
                  <a:pt x="185" y="235"/>
                </a:cubicBezTo>
                <a:cubicBezTo>
                  <a:pt x="185" y="236"/>
                  <a:pt x="185" y="236"/>
                  <a:pt x="184" y="236"/>
                </a:cubicBezTo>
                <a:cubicBezTo>
                  <a:pt x="183" y="236"/>
                  <a:pt x="182" y="236"/>
                  <a:pt x="180" y="237"/>
                </a:cubicBezTo>
                <a:cubicBezTo>
                  <a:pt x="182" y="237"/>
                  <a:pt x="183" y="237"/>
                  <a:pt x="184" y="237"/>
                </a:cubicBezTo>
                <a:cubicBezTo>
                  <a:pt x="183" y="239"/>
                  <a:pt x="180" y="237"/>
                  <a:pt x="181" y="238"/>
                </a:cubicBezTo>
                <a:cubicBezTo>
                  <a:pt x="180" y="238"/>
                  <a:pt x="178" y="238"/>
                  <a:pt x="177" y="239"/>
                </a:cubicBezTo>
                <a:cubicBezTo>
                  <a:pt x="178" y="240"/>
                  <a:pt x="179" y="239"/>
                  <a:pt x="180" y="239"/>
                </a:cubicBezTo>
                <a:cubicBezTo>
                  <a:pt x="179" y="241"/>
                  <a:pt x="177" y="239"/>
                  <a:pt x="175" y="240"/>
                </a:cubicBezTo>
                <a:cubicBezTo>
                  <a:pt x="175" y="240"/>
                  <a:pt x="172" y="241"/>
                  <a:pt x="172" y="241"/>
                </a:cubicBezTo>
                <a:cubicBezTo>
                  <a:pt x="172" y="242"/>
                  <a:pt x="173" y="241"/>
                  <a:pt x="173" y="241"/>
                </a:cubicBezTo>
                <a:cubicBezTo>
                  <a:pt x="172" y="242"/>
                  <a:pt x="171" y="242"/>
                  <a:pt x="171" y="243"/>
                </a:cubicBezTo>
                <a:cubicBezTo>
                  <a:pt x="172" y="243"/>
                  <a:pt x="174" y="243"/>
                  <a:pt x="176" y="244"/>
                </a:cubicBezTo>
                <a:cubicBezTo>
                  <a:pt x="174" y="245"/>
                  <a:pt x="171" y="245"/>
                  <a:pt x="170" y="247"/>
                </a:cubicBezTo>
                <a:cubicBezTo>
                  <a:pt x="173" y="247"/>
                  <a:pt x="177" y="244"/>
                  <a:pt x="180" y="243"/>
                </a:cubicBezTo>
                <a:cubicBezTo>
                  <a:pt x="181" y="242"/>
                  <a:pt x="182" y="242"/>
                  <a:pt x="183" y="241"/>
                </a:cubicBezTo>
                <a:cubicBezTo>
                  <a:pt x="182" y="241"/>
                  <a:pt x="182" y="242"/>
                  <a:pt x="182" y="242"/>
                </a:cubicBezTo>
                <a:cubicBezTo>
                  <a:pt x="183" y="243"/>
                  <a:pt x="184" y="242"/>
                  <a:pt x="185" y="242"/>
                </a:cubicBezTo>
                <a:cubicBezTo>
                  <a:pt x="184" y="243"/>
                  <a:pt x="182" y="243"/>
                  <a:pt x="181" y="243"/>
                </a:cubicBezTo>
                <a:cubicBezTo>
                  <a:pt x="183" y="244"/>
                  <a:pt x="185" y="244"/>
                  <a:pt x="186" y="244"/>
                </a:cubicBezTo>
                <a:cubicBezTo>
                  <a:pt x="184" y="246"/>
                  <a:pt x="182" y="245"/>
                  <a:pt x="179" y="246"/>
                </a:cubicBezTo>
                <a:cubicBezTo>
                  <a:pt x="182" y="247"/>
                  <a:pt x="174" y="247"/>
                  <a:pt x="176" y="248"/>
                </a:cubicBezTo>
                <a:cubicBezTo>
                  <a:pt x="173" y="248"/>
                  <a:pt x="175" y="251"/>
                  <a:pt x="176" y="252"/>
                </a:cubicBezTo>
                <a:cubicBezTo>
                  <a:pt x="177" y="253"/>
                  <a:pt x="180" y="253"/>
                  <a:pt x="179" y="252"/>
                </a:cubicBezTo>
                <a:cubicBezTo>
                  <a:pt x="180" y="251"/>
                  <a:pt x="181" y="252"/>
                  <a:pt x="180" y="253"/>
                </a:cubicBezTo>
                <a:cubicBezTo>
                  <a:pt x="182" y="252"/>
                  <a:pt x="183" y="252"/>
                  <a:pt x="185" y="252"/>
                </a:cubicBezTo>
                <a:cubicBezTo>
                  <a:pt x="183" y="252"/>
                  <a:pt x="180" y="254"/>
                  <a:pt x="178" y="254"/>
                </a:cubicBezTo>
                <a:cubicBezTo>
                  <a:pt x="178" y="254"/>
                  <a:pt x="177" y="255"/>
                  <a:pt x="178" y="255"/>
                </a:cubicBezTo>
                <a:cubicBezTo>
                  <a:pt x="178" y="255"/>
                  <a:pt x="174" y="258"/>
                  <a:pt x="177" y="258"/>
                </a:cubicBezTo>
                <a:cubicBezTo>
                  <a:pt x="178" y="258"/>
                  <a:pt x="180" y="256"/>
                  <a:pt x="181" y="257"/>
                </a:cubicBezTo>
                <a:cubicBezTo>
                  <a:pt x="180" y="257"/>
                  <a:pt x="173" y="258"/>
                  <a:pt x="175" y="260"/>
                </a:cubicBezTo>
                <a:cubicBezTo>
                  <a:pt x="173" y="260"/>
                  <a:pt x="171" y="262"/>
                  <a:pt x="170" y="263"/>
                </a:cubicBezTo>
                <a:cubicBezTo>
                  <a:pt x="170" y="263"/>
                  <a:pt x="173" y="260"/>
                  <a:pt x="173" y="258"/>
                </a:cubicBezTo>
                <a:cubicBezTo>
                  <a:pt x="171" y="258"/>
                  <a:pt x="170" y="259"/>
                  <a:pt x="169" y="259"/>
                </a:cubicBezTo>
                <a:cubicBezTo>
                  <a:pt x="169" y="258"/>
                  <a:pt x="169" y="257"/>
                  <a:pt x="168" y="256"/>
                </a:cubicBezTo>
                <a:cubicBezTo>
                  <a:pt x="167" y="256"/>
                  <a:pt x="167" y="256"/>
                  <a:pt x="166" y="255"/>
                </a:cubicBezTo>
                <a:cubicBezTo>
                  <a:pt x="166" y="254"/>
                  <a:pt x="166" y="253"/>
                  <a:pt x="165" y="253"/>
                </a:cubicBezTo>
                <a:cubicBezTo>
                  <a:pt x="164" y="252"/>
                  <a:pt x="163" y="251"/>
                  <a:pt x="162" y="253"/>
                </a:cubicBezTo>
                <a:cubicBezTo>
                  <a:pt x="164" y="254"/>
                  <a:pt x="163" y="255"/>
                  <a:pt x="164" y="256"/>
                </a:cubicBezTo>
                <a:cubicBezTo>
                  <a:pt x="163" y="256"/>
                  <a:pt x="161" y="255"/>
                  <a:pt x="162" y="257"/>
                </a:cubicBezTo>
                <a:cubicBezTo>
                  <a:pt x="161" y="256"/>
                  <a:pt x="159" y="256"/>
                  <a:pt x="158" y="256"/>
                </a:cubicBezTo>
                <a:cubicBezTo>
                  <a:pt x="158" y="256"/>
                  <a:pt x="155" y="258"/>
                  <a:pt x="155" y="258"/>
                </a:cubicBezTo>
                <a:cubicBezTo>
                  <a:pt x="156" y="259"/>
                  <a:pt x="157" y="258"/>
                  <a:pt x="158" y="259"/>
                </a:cubicBezTo>
                <a:cubicBezTo>
                  <a:pt x="159" y="259"/>
                  <a:pt x="159" y="260"/>
                  <a:pt x="159" y="261"/>
                </a:cubicBezTo>
                <a:cubicBezTo>
                  <a:pt x="158" y="261"/>
                  <a:pt x="158" y="259"/>
                  <a:pt x="157" y="260"/>
                </a:cubicBezTo>
                <a:cubicBezTo>
                  <a:pt x="155" y="260"/>
                  <a:pt x="154" y="258"/>
                  <a:pt x="152" y="259"/>
                </a:cubicBezTo>
                <a:cubicBezTo>
                  <a:pt x="154" y="259"/>
                  <a:pt x="154" y="262"/>
                  <a:pt x="155" y="262"/>
                </a:cubicBezTo>
                <a:cubicBezTo>
                  <a:pt x="155" y="262"/>
                  <a:pt x="149" y="261"/>
                  <a:pt x="153" y="263"/>
                </a:cubicBezTo>
                <a:cubicBezTo>
                  <a:pt x="152" y="263"/>
                  <a:pt x="148" y="263"/>
                  <a:pt x="151" y="264"/>
                </a:cubicBezTo>
                <a:cubicBezTo>
                  <a:pt x="149" y="264"/>
                  <a:pt x="147" y="265"/>
                  <a:pt x="146" y="266"/>
                </a:cubicBezTo>
                <a:cubicBezTo>
                  <a:pt x="145" y="267"/>
                  <a:pt x="148" y="268"/>
                  <a:pt x="148" y="268"/>
                </a:cubicBezTo>
                <a:cubicBezTo>
                  <a:pt x="148" y="268"/>
                  <a:pt x="145" y="268"/>
                  <a:pt x="145" y="268"/>
                </a:cubicBezTo>
                <a:cubicBezTo>
                  <a:pt x="144" y="268"/>
                  <a:pt x="143" y="269"/>
                  <a:pt x="144" y="270"/>
                </a:cubicBezTo>
                <a:cubicBezTo>
                  <a:pt x="142" y="268"/>
                  <a:pt x="140" y="273"/>
                  <a:pt x="145" y="272"/>
                </a:cubicBezTo>
                <a:cubicBezTo>
                  <a:pt x="143" y="274"/>
                  <a:pt x="142" y="272"/>
                  <a:pt x="140" y="272"/>
                </a:cubicBezTo>
                <a:cubicBezTo>
                  <a:pt x="138" y="272"/>
                  <a:pt x="139" y="274"/>
                  <a:pt x="140" y="274"/>
                </a:cubicBezTo>
                <a:cubicBezTo>
                  <a:pt x="139" y="275"/>
                  <a:pt x="138" y="276"/>
                  <a:pt x="137" y="278"/>
                </a:cubicBezTo>
                <a:cubicBezTo>
                  <a:pt x="138" y="278"/>
                  <a:pt x="140" y="277"/>
                  <a:pt x="141" y="277"/>
                </a:cubicBezTo>
                <a:cubicBezTo>
                  <a:pt x="142" y="277"/>
                  <a:pt x="136" y="279"/>
                  <a:pt x="142" y="277"/>
                </a:cubicBezTo>
                <a:cubicBezTo>
                  <a:pt x="142" y="277"/>
                  <a:pt x="137" y="280"/>
                  <a:pt x="137" y="280"/>
                </a:cubicBezTo>
                <a:cubicBezTo>
                  <a:pt x="138" y="281"/>
                  <a:pt x="144" y="275"/>
                  <a:pt x="144" y="280"/>
                </a:cubicBezTo>
                <a:cubicBezTo>
                  <a:pt x="142" y="278"/>
                  <a:pt x="140" y="279"/>
                  <a:pt x="138" y="280"/>
                </a:cubicBezTo>
                <a:cubicBezTo>
                  <a:pt x="137" y="281"/>
                  <a:pt x="135" y="280"/>
                  <a:pt x="134" y="281"/>
                </a:cubicBezTo>
                <a:cubicBezTo>
                  <a:pt x="134" y="282"/>
                  <a:pt x="134" y="282"/>
                  <a:pt x="135" y="282"/>
                </a:cubicBezTo>
                <a:cubicBezTo>
                  <a:pt x="133" y="283"/>
                  <a:pt x="130" y="281"/>
                  <a:pt x="128" y="283"/>
                </a:cubicBezTo>
                <a:cubicBezTo>
                  <a:pt x="130" y="283"/>
                  <a:pt x="131" y="282"/>
                  <a:pt x="133" y="282"/>
                </a:cubicBezTo>
                <a:cubicBezTo>
                  <a:pt x="132" y="283"/>
                  <a:pt x="127" y="285"/>
                  <a:pt x="127" y="286"/>
                </a:cubicBezTo>
                <a:cubicBezTo>
                  <a:pt x="127" y="287"/>
                  <a:pt x="131" y="286"/>
                  <a:pt x="132" y="286"/>
                </a:cubicBezTo>
                <a:cubicBezTo>
                  <a:pt x="129" y="286"/>
                  <a:pt x="127" y="287"/>
                  <a:pt x="126" y="290"/>
                </a:cubicBezTo>
                <a:cubicBezTo>
                  <a:pt x="128" y="289"/>
                  <a:pt x="131" y="288"/>
                  <a:pt x="133" y="288"/>
                </a:cubicBezTo>
                <a:cubicBezTo>
                  <a:pt x="136" y="287"/>
                  <a:pt x="138" y="286"/>
                  <a:pt x="140" y="285"/>
                </a:cubicBezTo>
                <a:cubicBezTo>
                  <a:pt x="140" y="285"/>
                  <a:pt x="139" y="286"/>
                  <a:pt x="139" y="287"/>
                </a:cubicBezTo>
                <a:cubicBezTo>
                  <a:pt x="139" y="287"/>
                  <a:pt x="140" y="286"/>
                  <a:pt x="141" y="286"/>
                </a:cubicBezTo>
                <a:cubicBezTo>
                  <a:pt x="139" y="288"/>
                  <a:pt x="136" y="288"/>
                  <a:pt x="134" y="289"/>
                </a:cubicBezTo>
                <a:cubicBezTo>
                  <a:pt x="131" y="291"/>
                  <a:pt x="135" y="293"/>
                  <a:pt x="135" y="294"/>
                </a:cubicBezTo>
                <a:cubicBezTo>
                  <a:pt x="135" y="297"/>
                  <a:pt x="139" y="297"/>
                  <a:pt x="141" y="296"/>
                </a:cubicBezTo>
                <a:cubicBezTo>
                  <a:pt x="142" y="296"/>
                  <a:pt x="144" y="295"/>
                  <a:pt x="145" y="294"/>
                </a:cubicBezTo>
                <a:cubicBezTo>
                  <a:pt x="147" y="294"/>
                  <a:pt x="148" y="294"/>
                  <a:pt x="150" y="293"/>
                </a:cubicBezTo>
                <a:cubicBezTo>
                  <a:pt x="153" y="291"/>
                  <a:pt x="155" y="289"/>
                  <a:pt x="159" y="288"/>
                </a:cubicBezTo>
                <a:cubicBezTo>
                  <a:pt x="162" y="287"/>
                  <a:pt x="163" y="286"/>
                  <a:pt x="165" y="284"/>
                </a:cubicBezTo>
                <a:cubicBezTo>
                  <a:pt x="167" y="281"/>
                  <a:pt x="164" y="280"/>
                  <a:pt x="163" y="281"/>
                </a:cubicBezTo>
                <a:cubicBezTo>
                  <a:pt x="161" y="282"/>
                  <a:pt x="156" y="284"/>
                  <a:pt x="154" y="284"/>
                </a:cubicBezTo>
                <a:cubicBezTo>
                  <a:pt x="155" y="282"/>
                  <a:pt x="158" y="282"/>
                  <a:pt x="160" y="281"/>
                </a:cubicBezTo>
                <a:cubicBezTo>
                  <a:pt x="162" y="280"/>
                  <a:pt x="165" y="279"/>
                  <a:pt x="167" y="278"/>
                </a:cubicBezTo>
                <a:cubicBezTo>
                  <a:pt x="169" y="276"/>
                  <a:pt x="172" y="270"/>
                  <a:pt x="174" y="272"/>
                </a:cubicBezTo>
                <a:cubicBezTo>
                  <a:pt x="174" y="272"/>
                  <a:pt x="169" y="275"/>
                  <a:pt x="171" y="275"/>
                </a:cubicBezTo>
                <a:cubicBezTo>
                  <a:pt x="173" y="275"/>
                  <a:pt x="176" y="276"/>
                  <a:pt x="177" y="275"/>
                </a:cubicBezTo>
                <a:cubicBezTo>
                  <a:pt x="176" y="277"/>
                  <a:pt x="166" y="279"/>
                  <a:pt x="167" y="281"/>
                </a:cubicBezTo>
                <a:cubicBezTo>
                  <a:pt x="167" y="283"/>
                  <a:pt x="170" y="282"/>
                  <a:pt x="171" y="282"/>
                </a:cubicBezTo>
                <a:cubicBezTo>
                  <a:pt x="172" y="282"/>
                  <a:pt x="174" y="282"/>
                  <a:pt x="175" y="283"/>
                </a:cubicBezTo>
                <a:cubicBezTo>
                  <a:pt x="176" y="283"/>
                  <a:pt x="175" y="283"/>
                  <a:pt x="176" y="284"/>
                </a:cubicBezTo>
                <a:cubicBezTo>
                  <a:pt x="178" y="285"/>
                  <a:pt x="173" y="286"/>
                  <a:pt x="173" y="286"/>
                </a:cubicBezTo>
                <a:cubicBezTo>
                  <a:pt x="170" y="286"/>
                  <a:pt x="169" y="289"/>
                  <a:pt x="166" y="288"/>
                </a:cubicBezTo>
                <a:cubicBezTo>
                  <a:pt x="164" y="288"/>
                  <a:pt x="162" y="290"/>
                  <a:pt x="160" y="291"/>
                </a:cubicBezTo>
                <a:cubicBezTo>
                  <a:pt x="158" y="292"/>
                  <a:pt x="157" y="292"/>
                  <a:pt x="155" y="294"/>
                </a:cubicBezTo>
                <a:cubicBezTo>
                  <a:pt x="156" y="295"/>
                  <a:pt x="161" y="293"/>
                  <a:pt x="162" y="292"/>
                </a:cubicBezTo>
                <a:cubicBezTo>
                  <a:pt x="162" y="293"/>
                  <a:pt x="161" y="294"/>
                  <a:pt x="162" y="294"/>
                </a:cubicBezTo>
                <a:cubicBezTo>
                  <a:pt x="161" y="294"/>
                  <a:pt x="159" y="294"/>
                  <a:pt x="158" y="295"/>
                </a:cubicBezTo>
                <a:cubicBezTo>
                  <a:pt x="157" y="297"/>
                  <a:pt x="160" y="297"/>
                  <a:pt x="160" y="297"/>
                </a:cubicBezTo>
                <a:cubicBezTo>
                  <a:pt x="162" y="297"/>
                  <a:pt x="160" y="299"/>
                  <a:pt x="159" y="299"/>
                </a:cubicBezTo>
                <a:cubicBezTo>
                  <a:pt x="157" y="299"/>
                  <a:pt x="154" y="299"/>
                  <a:pt x="152" y="299"/>
                </a:cubicBezTo>
                <a:cubicBezTo>
                  <a:pt x="151" y="299"/>
                  <a:pt x="150" y="298"/>
                  <a:pt x="149" y="299"/>
                </a:cubicBezTo>
                <a:cubicBezTo>
                  <a:pt x="149" y="299"/>
                  <a:pt x="148" y="299"/>
                  <a:pt x="147" y="299"/>
                </a:cubicBezTo>
                <a:cubicBezTo>
                  <a:pt x="145" y="298"/>
                  <a:pt x="144" y="298"/>
                  <a:pt x="142" y="299"/>
                </a:cubicBezTo>
                <a:cubicBezTo>
                  <a:pt x="142" y="299"/>
                  <a:pt x="139" y="300"/>
                  <a:pt x="140" y="302"/>
                </a:cubicBezTo>
                <a:cubicBezTo>
                  <a:pt x="141" y="303"/>
                  <a:pt x="143" y="302"/>
                  <a:pt x="145" y="303"/>
                </a:cubicBezTo>
                <a:cubicBezTo>
                  <a:pt x="143" y="303"/>
                  <a:pt x="141" y="302"/>
                  <a:pt x="138" y="303"/>
                </a:cubicBezTo>
                <a:cubicBezTo>
                  <a:pt x="136" y="303"/>
                  <a:pt x="135" y="304"/>
                  <a:pt x="133" y="304"/>
                </a:cubicBezTo>
                <a:cubicBezTo>
                  <a:pt x="134" y="303"/>
                  <a:pt x="137" y="302"/>
                  <a:pt x="137" y="300"/>
                </a:cubicBezTo>
                <a:cubicBezTo>
                  <a:pt x="136" y="298"/>
                  <a:pt x="133" y="296"/>
                  <a:pt x="133" y="294"/>
                </a:cubicBezTo>
                <a:cubicBezTo>
                  <a:pt x="132" y="292"/>
                  <a:pt x="131" y="290"/>
                  <a:pt x="130" y="291"/>
                </a:cubicBezTo>
                <a:cubicBezTo>
                  <a:pt x="128" y="291"/>
                  <a:pt x="126" y="292"/>
                  <a:pt x="125" y="293"/>
                </a:cubicBezTo>
                <a:cubicBezTo>
                  <a:pt x="126" y="293"/>
                  <a:pt x="126" y="293"/>
                  <a:pt x="126" y="294"/>
                </a:cubicBezTo>
                <a:cubicBezTo>
                  <a:pt x="125" y="293"/>
                  <a:pt x="123" y="294"/>
                  <a:pt x="122" y="296"/>
                </a:cubicBezTo>
                <a:cubicBezTo>
                  <a:pt x="122" y="294"/>
                  <a:pt x="121" y="294"/>
                  <a:pt x="120" y="295"/>
                </a:cubicBezTo>
                <a:cubicBezTo>
                  <a:pt x="118" y="296"/>
                  <a:pt x="117" y="295"/>
                  <a:pt x="116" y="296"/>
                </a:cubicBezTo>
                <a:cubicBezTo>
                  <a:pt x="115" y="298"/>
                  <a:pt x="118" y="299"/>
                  <a:pt x="119" y="298"/>
                </a:cubicBezTo>
                <a:cubicBezTo>
                  <a:pt x="120" y="297"/>
                  <a:pt x="123" y="297"/>
                  <a:pt x="124" y="297"/>
                </a:cubicBezTo>
                <a:cubicBezTo>
                  <a:pt x="123" y="298"/>
                  <a:pt x="116" y="298"/>
                  <a:pt x="116" y="300"/>
                </a:cubicBezTo>
                <a:cubicBezTo>
                  <a:pt x="116" y="303"/>
                  <a:pt x="123" y="301"/>
                  <a:pt x="124" y="301"/>
                </a:cubicBezTo>
                <a:cubicBezTo>
                  <a:pt x="122" y="303"/>
                  <a:pt x="115" y="302"/>
                  <a:pt x="113" y="305"/>
                </a:cubicBezTo>
                <a:cubicBezTo>
                  <a:pt x="114" y="304"/>
                  <a:pt x="115" y="302"/>
                  <a:pt x="115" y="301"/>
                </a:cubicBezTo>
                <a:cubicBezTo>
                  <a:pt x="115" y="299"/>
                  <a:pt x="110" y="297"/>
                  <a:pt x="111" y="300"/>
                </a:cubicBezTo>
                <a:cubicBezTo>
                  <a:pt x="109" y="299"/>
                  <a:pt x="109" y="300"/>
                  <a:pt x="107" y="300"/>
                </a:cubicBezTo>
                <a:cubicBezTo>
                  <a:pt x="106" y="299"/>
                  <a:pt x="105" y="299"/>
                  <a:pt x="104" y="299"/>
                </a:cubicBezTo>
                <a:cubicBezTo>
                  <a:pt x="102" y="300"/>
                  <a:pt x="103" y="302"/>
                  <a:pt x="105" y="303"/>
                </a:cubicBezTo>
                <a:cubicBezTo>
                  <a:pt x="102" y="303"/>
                  <a:pt x="96" y="303"/>
                  <a:pt x="100" y="307"/>
                </a:cubicBezTo>
                <a:cubicBezTo>
                  <a:pt x="103" y="310"/>
                  <a:pt x="107" y="308"/>
                  <a:pt x="111" y="308"/>
                </a:cubicBezTo>
                <a:cubicBezTo>
                  <a:pt x="109" y="309"/>
                  <a:pt x="106" y="309"/>
                  <a:pt x="103" y="309"/>
                </a:cubicBezTo>
                <a:cubicBezTo>
                  <a:pt x="102" y="309"/>
                  <a:pt x="101" y="309"/>
                  <a:pt x="100" y="310"/>
                </a:cubicBezTo>
                <a:cubicBezTo>
                  <a:pt x="99" y="311"/>
                  <a:pt x="101" y="312"/>
                  <a:pt x="101" y="312"/>
                </a:cubicBezTo>
                <a:cubicBezTo>
                  <a:pt x="98" y="310"/>
                  <a:pt x="94" y="310"/>
                  <a:pt x="91" y="311"/>
                </a:cubicBezTo>
                <a:cubicBezTo>
                  <a:pt x="92" y="311"/>
                  <a:pt x="93" y="312"/>
                  <a:pt x="93" y="313"/>
                </a:cubicBezTo>
                <a:cubicBezTo>
                  <a:pt x="93" y="313"/>
                  <a:pt x="93" y="313"/>
                  <a:pt x="92" y="313"/>
                </a:cubicBezTo>
                <a:cubicBezTo>
                  <a:pt x="93" y="311"/>
                  <a:pt x="89" y="311"/>
                  <a:pt x="89" y="312"/>
                </a:cubicBezTo>
                <a:cubicBezTo>
                  <a:pt x="89" y="312"/>
                  <a:pt x="91" y="315"/>
                  <a:pt x="91" y="315"/>
                </a:cubicBezTo>
                <a:cubicBezTo>
                  <a:pt x="93" y="316"/>
                  <a:pt x="95" y="315"/>
                  <a:pt x="97" y="316"/>
                </a:cubicBezTo>
                <a:cubicBezTo>
                  <a:pt x="96" y="316"/>
                  <a:pt x="95" y="316"/>
                  <a:pt x="94" y="316"/>
                </a:cubicBezTo>
                <a:cubicBezTo>
                  <a:pt x="95" y="319"/>
                  <a:pt x="98" y="316"/>
                  <a:pt x="100" y="316"/>
                </a:cubicBezTo>
                <a:cubicBezTo>
                  <a:pt x="99" y="316"/>
                  <a:pt x="98" y="316"/>
                  <a:pt x="98" y="317"/>
                </a:cubicBezTo>
                <a:cubicBezTo>
                  <a:pt x="98" y="317"/>
                  <a:pt x="102" y="317"/>
                  <a:pt x="102" y="317"/>
                </a:cubicBezTo>
                <a:cubicBezTo>
                  <a:pt x="101" y="318"/>
                  <a:pt x="97" y="318"/>
                  <a:pt x="97" y="319"/>
                </a:cubicBezTo>
                <a:cubicBezTo>
                  <a:pt x="96" y="320"/>
                  <a:pt x="102" y="323"/>
                  <a:pt x="103" y="324"/>
                </a:cubicBezTo>
                <a:cubicBezTo>
                  <a:pt x="102" y="324"/>
                  <a:pt x="101" y="322"/>
                  <a:pt x="100" y="322"/>
                </a:cubicBezTo>
                <a:cubicBezTo>
                  <a:pt x="99" y="321"/>
                  <a:pt x="97" y="321"/>
                  <a:pt x="96" y="321"/>
                </a:cubicBezTo>
                <a:cubicBezTo>
                  <a:pt x="97" y="321"/>
                  <a:pt x="97" y="322"/>
                  <a:pt x="98" y="322"/>
                </a:cubicBezTo>
                <a:cubicBezTo>
                  <a:pt x="96" y="323"/>
                  <a:pt x="95" y="320"/>
                  <a:pt x="93" y="322"/>
                </a:cubicBezTo>
                <a:cubicBezTo>
                  <a:pt x="94" y="320"/>
                  <a:pt x="93" y="317"/>
                  <a:pt x="91" y="316"/>
                </a:cubicBezTo>
                <a:cubicBezTo>
                  <a:pt x="91" y="316"/>
                  <a:pt x="88" y="316"/>
                  <a:pt x="88" y="315"/>
                </a:cubicBezTo>
                <a:cubicBezTo>
                  <a:pt x="88" y="314"/>
                  <a:pt x="88" y="312"/>
                  <a:pt x="87" y="312"/>
                </a:cubicBezTo>
                <a:cubicBezTo>
                  <a:pt x="85" y="312"/>
                  <a:pt x="82" y="314"/>
                  <a:pt x="81" y="316"/>
                </a:cubicBezTo>
                <a:cubicBezTo>
                  <a:pt x="81" y="317"/>
                  <a:pt x="84" y="317"/>
                  <a:pt x="83" y="315"/>
                </a:cubicBezTo>
                <a:cubicBezTo>
                  <a:pt x="84" y="315"/>
                  <a:pt x="86" y="317"/>
                  <a:pt x="86" y="318"/>
                </a:cubicBezTo>
                <a:cubicBezTo>
                  <a:pt x="87" y="319"/>
                  <a:pt x="88" y="320"/>
                  <a:pt x="90" y="320"/>
                </a:cubicBezTo>
                <a:cubicBezTo>
                  <a:pt x="87" y="321"/>
                  <a:pt x="92" y="324"/>
                  <a:pt x="93" y="324"/>
                </a:cubicBezTo>
                <a:cubicBezTo>
                  <a:pt x="93" y="325"/>
                  <a:pt x="100" y="329"/>
                  <a:pt x="99" y="329"/>
                </a:cubicBezTo>
                <a:cubicBezTo>
                  <a:pt x="99" y="329"/>
                  <a:pt x="95" y="327"/>
                  <a:pt x="94" y="326"/>
                </a:cubicBezTo>
                <a:cubicBezTo>
                  <a:pt x="92" y="325"/>
                  <a:pt x="89" y="325"/>
                  <a:pt x="87" y="322"/>
                </a:cubicBezTo>
                <a:cubicBezTo>
                  <a:pt x="85" y="314"/>
                  <a:pt x="80" y="320"/>
                  <a:pt x="76" y="320"/>
                </a:cubicBezTo>
                <a:cubicBezTo>
                  <a:pt x="76" y="320"/>
                  <a:pt x="78" y="319"/>
                  <a:pt x="77" y="318"/>
                </a:cubicBezTo>
                <a:cubicBezTo>
                  <a:pt x="76" y="317"/>
                  <a:pt x="73" y="319"/>
                  <a:pt x="72" y="320"/>
                </a:cubicBezTo>
                <a:cubicBezTo>
                  <a:pt x="68" y="321"/>
                  <a:pt x="67" y="315"/>
                  <a:pt x="63" y="316"/>
                </a:cubicBezTo>
                <a:cubicBezTo>
                  <a:pt x="62" y="316"/>
                  <a:pt x="54" y="319"/>
                  <a:pt x="56" y="321"/>
                </a:cubicBezTo>
                <a:cubicBezTo>
                  <a:pt x="58" y="322"/>
                  <a:pt x="57" y="323"/>
                  <a:pt x="60" y="323"/>
                </a:cubicBezTo>
                <a:cubicBezTo>
                  <a:pt x="62" y="322"/>
                  <a:pt x="62" y="323"/>
                  <a:pt x="63" y="324"/>
                </a:cubicBezTo>
                <a:cubicBezTo>
                  <a:pt x="61" y="325"/>
                  <a:pt x="60" y="322"/>
                  <a:pt x="57" y="324"/>
                </a:cubicBezTo>
                <a:cubicBezTo>
                  <a:pt x="56" y="326"/>
                  <a:pt x="57" y="328"/>
                  <a:pt x="59" y="328"/>
                </a:cubicBezTo>
                <a:cubicBezTo>
                  <a:pt x="62" y="327"/>
                  <a:pt x="66" y="327"/>
                  <a:pt x="69" y="326"/>
                </a:cubicBezTo>
                <a:cubicBezTo>
                  <a:pt x="71" y="325"/>
                  <a:pt x="74" y="324"/>
                  <a:pt x="76" y="325"/>
                </a:cubicBezTo>
                <a:cubicBezTo>
                  <a:pt x="73" y="326"/>
                  <a:pt x="70" y="326"/>
                  <a:pt x="68" y="327"/>
                </a:cubicBezTo>
                <a:cubicBezTo>
                  <a:pt x="69" y="328"/>
                  <a:pt x="68" y="329"/>
                  <a:pt x="67" y="329"/>
                </a:cubicBezTo>
                <a:cubicBezTo>
                  <a:pt x="74" y="331"/>
                  <a:pt x="83" y="321"/>
                  <a:pt x="88" y="329"/>
                </a:cubicBezTo>
                <a:cubicBezTo>
                  <a:pt x="87" y="329"/>
                  <a:pt x="86" y="327"/>
                  <a:pt x="85" y="327"/>
                </a:cubicBezTo>
                <a:cubicBezTo>
                  <a:pt x="84" y="327"/>
                  <a:pt x="82" y="327"/>
                  <a:pt x="81" y="327"/>
                </a:cubicBezTo>
                <a:cubicBezTo>
                  <a:pt x="80" y="327"/>
                  <a:pt x="78" y="328"/>
                  <a:pt x="77" y="328"/>
                </a:cubicBezTo>
                <a:cubicBezTo>
                  <a:pt x="75" y="328"/>
                  <a:pt x="73" y="329"/>
                  <a:pt x="72" y="330"/>
                </a:cubicBezTo>
                <a:cubicBezTo>
                  <a:pt x="71" y="331"/>
                  <a:pt x="72" y="333"/>
                  <a:pt x="71" y="333"/>
                </a:cubicBezTo>
                <a:cubicBezTo>
                  <a:pt x="70" y="333"/>
                  <a:pt x="72" y="332"/>
                  <a:pt x="70" y="332"/>
                </a:cubicBezTo>
                <a:cubicBezTo>
                  <a:pt x="68" y="332"/>
                  <a:pt x="69" y="333"/>
                  <a:pt x="70" y="334"/>
                </a:cubicBezTo>
                <a:cubicBezTo>
                  <a:pt x="72" y="336"/>
                  <a:pt x="75" y="332"/>
                  <a:pt x="78" y="334"/>
                </a:cubicBezTo>
                <a:cubicBezTo>
                  <a:pt x="74" y="334"/>
                  <a:pt x="71" y="337"/>
                  <a:pt x="68" y="334"/>
                </a:cubicBezTo>
                <a:cubicBezTo>
                  <a:pt x="66" y="332"/>
                  <a:pt x="65" y="332"/>
                  <a:pt x="62" y="332"/>
                </a:cubicBezTo>
                <a:cubicBezTo>
                  <a:pt x="60" y="332"/>
                  <a:pt x="62" y="334"/>
                  <a:pt x="61" y="335"/>
                </a:cubicBezTo>
                <a:cubicBezTo>
                  <a:pt x="61" y="333"/>
                  <a:pt x="60" y="332"/>
                  <a:pt x="58" y="332"/>
                </a:cubicBezTo>
                <a:cubicBezTo>
                  <a:pt x="59" y="332"/>
                  <a:pt x="59" y="332"/>
                  <a:pt x="60" y="331"/>
                </a:cubicBezTo>
                <a:cubicBezTo>
                  <a:pt x="59" y="330"/>
                  <a:pt x="56" y="330"/>
                  <a:pt x="55" y="331"/>
                </a:cubicBezTo>
                <a:cubicBezTo>
                  <a:pt x="56" y="332"/>
                  <a:pt x="55" y="333"/>
                  <a:pt x="54" y="332"/>
                </a:cubicBezTo>
                <a:cubicBezTo>
                  <a:pt x="53" y="332"/>
                  <a:pt x="52" y="331"/>
                  <a:pt x="50" y="331"/>
                </a:cubicBezTo>
                <a:cubicBezTo>
                  <a:pt x="48" y="331"/>
                  <a:pt x="48" y="332"/>
                  <a:pt x="47" y="334"/>
                </a:cubicBezTo>
                <a:cubicBezTo>
                  <a:pt x="47" y="334"/>
                  <a:pt x="43" y="330"/>
                  <a:pt x="43" y="333"/>
                </a:cubicBezTo>
                <a:cubicBezTo>
                  <a:pt x="42" y="331"/>
                  <a:pt x="37" y="332"/>
                  <a:pt x="38" y="335"/>
                </a:cubicBezTo>
                <a:cubicBezTo>
                  <a:pt x="39" y="337"/>
                  <a:pt x="44" y="334"/>
                  <a:pt x="46" y="335"/>
                </a:cubicBezTo>
                <a:cubicBezTo>
                  <a:pt x="45" y="336"/>
                  <a:pt x="44" y="336"/>
                  <a:pt x="43" y="336"/>
                </a:cubicBezTo>
                <a:cubicBezTo>
                  <a:pt x="45" y="337"/>
                  <a:pt x="47" y="337"/>
                  <a:pt x="49" y="337"/>
                </a:cubicBezTo>
                <a:cubicBezTo>
                  <a:pt x="47" y="338"/>
                  <a:pt x="45" y="337"/>
                  <a:pt x="43" y="337"/>
                </a:cubicBezTo>
                <a:cubicBezTo>
                  <a:pt x="42" y="337"/>
                  <a:pt x="39" y="337"/>
                  <a:pt x="38" y="338"/>
                </a:cubicBezTo>
                <a:cubicBezTo>
                  <a:pt x="39" y="338"/>
                  <a:pt x="41" y="340"/>
                  <a:pt x="43" y="340"/>
                </a:cubicBezTo>
                <a:cubicBezTo>
                  <a:pt x="45" y="339"/>
                  <a:pt x="46" y="338"/>
                  <a:pt x="48" y="338"/>
                </a:cubicBezTo>
                <a:cubicBezTo>
                  <a:pt x="50" y="337"/>
                  <a:pt x="52" y="338"/>
                  <a:pt x="54" y="339"/>
                </a:cubicBezTo>
                <a:cubicBezTo>
                  <a:pt x="55" y="340"/>
                  <a:pt x="56" y="341"/>
                  <a:pt x="56" y="342"/>
                </a:cubicBezTo>
                <a:cubicBezTo>
                  <a:pt x="54" y="347"/>
                  <a:pt x="68" y="343"/>
                  <a:pt x="68" y="347"/>
                </a:cubicBezTo>
                <a:cubicBezTo>
                  <a:pt x="65" y="345"/>
                  <a:pt x="64" y="347"/>
                  <a:pt x="61" y="346"/>
                </a:cubicBezTo>
                <a:cubicBezTo>
                  <a:pt x="58" y="345"/>
                  <a:pt x="58" y="346"/>
                  <a:pt x="58" y="349"/>
                </a:cubicBezTo>
                <a:cubicBezTo>
                  <a:pt x="58" y="351"/>
                  <a:pt x="55" y="352"/>
                  <a:pt x="58" y="353"/>
                </a:cubicBezTo>
                <a:cubicBezTo>
                  <a:pt x="59" y="353"/>
                  <a:pt x="61" y="351"/>
                  <a:pt x="62" y="353"/>
                </a:cubicBezTo>
                <a:cubicBezTo>
                  <a:pt x="61" y="352"/>
                  <a:pt x="60" y="353"/>
                  <a:pt x="59" y="353"/>
                </a:cubicBezTo>
                <a:cubicBezTo>
                  <a:pt x="57" y="354"/>
                  <a:pt x="56" y="353"/>
                  <a:pt x="54" y="353"/>
                </a:cubicBezTo>
                <a:cubicBezTo>
                  <a:pt x="56" y="351"/>
                  <a:pt x="59" y="349"/>
                  <a:pt x="57" y="346"/>
                </a:cubicBezTo>
                <a:cubicBezTo>
                  <a:pt x="56" y="344"/>
                  <a:pt x="54" y="343"/>
                  <a:pt x="54" y="341"/>
                </a:cubicBezTo>
                <a:cubicBezTo>
                  <a:pt x="55" y="339"/>
                  <a:pt x="46" y="336"/>
                  <a:pt x="46" y="343"/>
                </a:cubicBezTo>
                <a:cubicBezTo>
                  <a:pt x="45" y="341"/>
                  <a:pt x="44" y="341"/>
                  <a:pt x="43" y="341"/>
                </a:cubicBezTo>
                <a:cubicBezTo>
                  <a:pt x="42" y="342"/>
                  <a:pt x="41" y="342"/>
                  <a:pt x="42" y="343"/>
                </a:cubicBezTo>
                <a:cubicBezTo>
                  <a:pt x="44" y="345"/>
                  <a:pt x="44" y="348"/>
                  <a:pt x="47" y="349"/>
                </a:cubicBezTo>
                <a:cubicBezTo>
                  <a:pt x="44" y="348"/>
                  <a:pt x="48" y="353"/>
                  <a:pt x="45" y="352"/>
                </a:cubicBezTo>
                <a:cubicBezTo>
                  <a:pt x="46" y="351"/>
                  <a:pt x="41" y="345"/>
                  <a:pt x="40" y="344"/>
                </a:cubicBezTo>
                <a:cubicBezTo>
                  <a:pt x="38" y="340"/>
                  <a:pt x="32" y="344"/>
                  <a:pt x="30" y="347"/>
                </a:cubicBezTo>
                <a:cubicBezTo>
                  <a:pt x="31" y="348"/>
                  <a:pt x="32" y="348"/>
                  <a:pt x="33" y="349"/>
                </a:cubicBezTo>
                <a:cubicBezTo>
                  <a:pt x="32" y="350"/>
                  <a:pt x="30" y="347"/>
                  <a:pt x="29" y="348"/>
                </a:cubicBezTo>
                <a:cubicBezTo>
                  <a:pt x="31" y="352"/>
                  <a:pt x="35" y="352"/>
                  <a:pt x="38" y="354"/>
                </a:cubicBezTo>
                <a:cubicBezTo>
                  <a:pt x="36" y="354"/>
                  <a:pt x="34" y="353"/>
                  <a:pt x="32" y="354"/>
                </a:cubicBezTo>
                <a:cubicBezTo>
                  <a:pt x="33" y="353"/>
                  <a:pt x="31" y="352"/>
                  <a:pt x="30" y="352"/>
                </a:cubicBezTo>
                <a:cubicBezTo>
                  <a:pt x="28" y="352"/>
                  <a:pt x="27" y="356"/>
                  <a:pt x="26" y="356"/>
                </a:cubicBezTo>
                <a:cubicBezTo>
                  <a:pt x="27" y="354"/>
                  <a:pt x="31" y="350"/>
                  <a:pt x="27" y="349"/>
                </a:cubicBezTo>
                <a:cubicBezTo>
                  <a:pt x="26" y="348"/>
                  <a:pt x="24" y="349"/>
                  <a:pt x="23" y="350"/>
                </a:cubicBezTo>
                <a:cubicBezTo>
                  <a:pt x="21" y="351"/>
                  <a:pt x="22" y="352"/>
                  <a:pt x="23" y="353"/>
                </a:cubicBezTo>
                <a:cubicBezTo>
                  <a:pt x="22" y="353"/>
                  <a:pt x="21" y="351"/>
                  <a:pt x="20" y="351"/>
                </a:cubicBezTo>
                <a:cubicBezTo>
                  <a:pt x="19" y="350"/>
                  <a:pt x="18" y="350"/>
                  <a:pt x="17" y="350"/>
                </a:cubicBezTo>
                <a:cubicBezTo>
                  <a:pt x="16" y="349"/>
                  <a:pt x="13" y="351"/>
                  <a:pt x="14" y="352"/>
                </a:cubicBezTo>
                <a:cubicBezTo>
                  <a:pt x="15" y="353"/>
                  <a:pt x="21" y="353"/>
                  <a:pt x="19" y="355"/>
                </a:cubicBezTo>
                <a:cubicBezTo>
                  <a:pt x="19" y="352"/>
                  <a:pt x="17" y="356"/>
                  <a:pt x="15" y="357"/>
                </a:cubicBezTo>
                <a:cubicBezTo>
                  <a:pt x="17" y="355"/>
                  <a:pt x="12" y="352"/>
                  <a:pt x="11" y="350"/>
                </a:cubicBezTo>
                <a:cubicBezTo>
                  <a:pt x="9" y="347"/>
                  <a:pt x="4" y="349"/>
                  <a:pt x="7" y="352"/>
                </a:cubicBezTo>
                <a:cubicBezTo>
                  <a:pt x="7" y="352"/>
                  <a:pt x="6" y="352"/>
                  <a:pt x="6" y="352"/>
                </a:cubicBezTo>
                <a:cubicBezTo>
                  <a:pt x="6" y="351"/>
                  <a:pt x="14" y="356"/>
                  <a:pt x="14" y="356"/>
                </a:cubicBezTo>
                <a:cubicBezTo>
                  <a:pt x="13" y="356"/>
                  <a:pt x="12" y="358"/>
                  <a:pt x="10" y="358"/>
                </a:cubicBezTo>
                <a:cubicBezTo>
                  <a:pt x="10" y="359"/>
                  <a:pt x="7" y="358"/>
                  <a:pt x="8" y="357"/>
                </a:cubicBezTo>
                <a:cubicBezTo>
                  <a:pt x="6" y="359"/>
                  <a:pt x="6" y="361"/>
                  <a:pt x="9" y="361"/>
                </a:cubicBezTo>
                <a:cubicBezTo>
                  <a:pt x="11" y="361"/>
                  <a:pt x="13" y="360"/>
                  <a:pt x="15" y="360"/>
                </a:cubicBezTo>
                <a:cubicBezTo>
                  <a:pt x="18" y="360"/>
                  <a:pt x="20" y="360"/>
                  <a:pt x="23" y="360"/>
                </a:cubicBezTo>
                <a:cubicBezTo>
                  <a:pt x="25" y="360"/>
                  <a:pt x="28" y="360"/>
                  <a:pt x="29" y="361"/>
                </a:cubicBezTo>
                <a:cubicBezTo>
                  <a:pt x="27" y="361"/>
                  <a:pt x="25" y="361"/>
                  <a:pt x="23" y="361"/>
                </a:cubicBezTo>
                <a:cubicBezTo>
                  <a:pt x="24" y="363"/>
                  <a:pt x="27" y="362"/>
                  <a:pt x="29" y="362"/>
                </a:cubicBezTo>
                <a:cubicBezTo>
                  <a:pt x="32" y="362"/>
                  <a:pt x="35" y="363"/>
                  <a:pt x="37" y="363"/>
                </a:cubicBezTo>
                <a:cubicBezTo>
                  <a:pt x="40" y="363"/>
                  <a:pt x="41" y="364"/>
                  <a:pt x="44" y="363"/>
                </a:cubicBezTo>
                <a:cubicBezTo>
                  <a:pt x="46" y="361"/>
                  <a:pt x="49" y="362"/>
                  <a:pt x="52" y="363"/>
                </a:cubicBezTo>
                <a:cubicBezTo>
                  <a:pt x="50" y="363"/>
                  <a:pt x="48" y="362"/>
                  <a:pt x="46" y="363"/>
                </a:cubicBezTo>
                <a:cubicBezTo>
                  <a:pt x="45" y="363"/>
                  <a:pt x="44" y="365"/>
                  <a:pt x="42" y="365"/>
                </a:cubicBezTo>
                <a:cubicBezTo>
                  <a:pt x="39" y="364"/>
                  <a:pt x="36" y="364"/>
                  <a:pt x="32" y="364"/>
                </a:cubicBezTo>
                <a:cubicBezTo>
                  <a:pt x="33" y="365"/>
                  <a:pt x="34" y="365"/>
                  <a:pt x="35" y="366"/>
                </a:cubicBezTo>
                <a:cubicBezTo>
                  <a:pt x="33" y="367"/>
                  <a:pt x="31" y="363"/>
                  <a:pt x="30" y="364"/>
                </a:cubicBezTo>
                <a:cubicBezTo>
                  <a:pt x="28" y="365"/>
                  <a:pt x="29" y="368"/>
                  <a:pt x="26" y="368"/>
                </a:cubicBezTo>
                <a:cubicBezTo>
                  <a:pt x="27" y="367"/>
                  <a:pt x="30" y="364"/>
                  <a:pt x="28" y="363"/>
                </a:cubicBezTo>
                <a:cubicBezTo>
                  <a:pt x="26" y="362"/>
                  <a:pt x="22" y="366"/>
                  <a:pt x="20" y="364"/>
                </a:cubicBezTo>
                <a:cubicBezTo>
                  <a:pt x="20" y="364"/>
                  <a:pt x="23" y="363"/>
                  <a:pt x="23" y="363"/>
                </a:cubicBezTo>
                <a:cubicBezTo>
                  <a:pt x="21" y="361"/>
                  <a:pt x="17" y="361"/>
                  <a:pt x="15" y="361"/>
                </a:cubicBezTo>
                <a:cubicBezTo>
                  <a:pt x="14" y="360"/>
                  <a:pt x="9" y="363"/>
                  <a:pt x="12" y="363"/>
                </a:cubicBezTo>
                <a:cubicBezTo>
                  <a:pt x="11" y="363"/>
                  <a:pt x="5" y="364"/>
                  <a:pt x="6" y="366"/>
                </a:cubicBezTo>
                <a:cubicBezTo>
                  <a:pt x="6" y="367"/>
                  <a:pt x="9" y="366"/>
                  <a:pt x="10" y="366"/>
                </a:cubicBezTo>
                <a:cubicBezTo>
                  <a:pt x="9" y="367"/>
                  <a:pt x="8" y="367"/>
                  <a:pt x="7" y="367"/>
                </a:cubicBezTo>
                <a:cubicBezTo>
                  <a:pt x="9" y="368"/>
                  <a:pt x="6" y="369"/>
                  <a:pt x="5" y="368"/>
                </a:cubicBezTo>
                <a:cubicBezTo>
                  <a:pt x="4" y="368"/>
                  <a:pt x="2" y="366"/>
                  <a:pt x="2" y="369"/>
                </a:cubicBezTo>
                <a:cubicBezTo>
                  <a:pt x="0" y="375"/>
                  <a:pt x="10" y="372"/>
                  <a:pt x="13" y="372"/>
                </a:cubicBezTo>
                <a:cubicBezTo>
                  <a:pt x="9" y="374"/>
                  <a:pt x="5" y="372"/>
                  <a:pt x="2" y="374"/>
                </a:cubicBezTo>
                <a:cubicBezTo>
                  <a:pt x="4" y="375"/>
                  <a:pt x="6" y="374"/>
                  <a:pt x="8" y="374"/>
                </a:cubicBezTo>
                <a:cubicBezTo>
                  <a:pt x="8" y="374"/>
                  <a:pt x="8" y="374"/>
                  <a:pt x="8" y="374"/>
                </a:cubicBezTo>
                <a:cubicBezTo>
                  <a:pt x="9" y="374"/>
                  <a:pt x="11" y="375"/>
                  <a:pt x="13" y="375"/>
                </a:cubicBezTo>
                <a:cubicBezTo>
                  <a:pt x="12" y="375"/>
                  <a:pt x="4" y="375"/>
                  <a:pt x="8" y="377"/>
                </a:cubicBezTo>
                <a:cubicBezTo>
                  <a:pt x="9" y="378"/>
                  <a:pt x="14" y="378"/>
                  <a:pt x="14" y="379"/>
                </a:cubicBezTo>
                <a:cubicBezTo>
                  <a:pt x="14" y="379"/>
                  <a:pt x="14" y="379"/>
                  <a:pt x="14" y="379"/>
                </a:cubicBezTo>
                <a:cubicBezTo>
                  <a:pt x="13" y="379"/>
                  <a:pt x="10" y="378"/>
                  <a:pt x="12" y="379"/>
                </a:cubicBezTo>
                <a:cubicBezTo>
                  <a:pt x="11" y="380"/>
                  <a:pt x="2" y="378"/>
                  <a:pt x="2" y="381"/>
                </a:cubicBezTo>
                <a:cubicBezTo>
                  <a:pt x="1" y="382"/>
                  <a:pt x="5" y="381"/>
                  <a:pt x="6" y="381"/>
                </a:cubicBezTo>
                <a:cubicBezTo>
                  <a:pt x="5" y="381"/>
                  <a:pt x="4" y="382"/>
                  <a:pt x="3" y="383"/>
                </a:cubicBezTo>
                <a:cubicBezTo>
                  <a:pt x="2" y="384"/>
                  <a:pt x="5" y="383"/>
                  <a:pt x="4" y="384"/>
                </a:cubicBezTo>
                <a:cubicBezTo>
                  <a:pt x="5" y="385"/>
                  <a:pt x="6" y="385"/>
                  <a:pt x="7" y="384"/>
                </a:cubicBezTo>
                <a:cubicBezTo>
                  <a:pt x="7" y="384"/>
                  <a:pt x="7" y="385"/>
                  <a:pt x="7" y="385"/>
                </a:cubicBezTo>
                <a:cubicBezTo>
                  <a:pt x="5" y="386"/>
                  <a:pt x="3" y="386"/>
                  <a:pt x="1" y="387"/>
                </a:cubicBezTo>
                <a:cubicBezTo>
                  <a:pt x="1" y="387"/>
                  <a:pt x="2" y="387"/>
                  <a:pt x="2" y="387"/>
                </a:cubicBezTo>
                <a:cubicBezTo>
                  <a:pt x="1" y="390"/>
                  <a:pt x="8" y="389"/>
                  <a:pt x="9" y="390"/>
                </a:cubicBezTo>
                <a:cubicBezTo>
                  <a:pt x="7" y="390"/>
                  <a:pt x="11" y="392"/>
                  <a:pt x="8" y="391"/>
                </a:cubicBezTo>
                <a:cubicBezTo>
                  <a:pt x="7" y="391"/>
                  <a:pt x="7" y="390"/>
                  <a:pt x="6" y="390"/>
                </a:cubicBezTo>
                <a:cubicBezTo>
                  <a:pt x="6" y="390"/>
                  <a:pt x="3" y="390"/>
                  <a:pt x="4" y="391"/>
                </a:cubicBezTo>
                <a:cubicBezTo>
                  <a:pt x="5" y="392"/>
                  <a:pt x="7" y="391"/>
                  <a:pt x="9" y="392"/>
                </a:cubicBezTo>
                <a:cubicBezTo>
                  <a:pt x="8" y="392"/>
                  <a:pt x="7" y="392"/>
                  <a:pt x="6" y="392"/>
                </a:cubicBezTo>
                <a:cubicBezTo>
                  <a:pt x="7" y="394"/>
                  <a:pt x="9" y="394"/>
                  <a:pt x="11" y="393"/>
                </a:cubicBezTo>
                <a:cubicBezTo>
                  <a:pt x="10" y="397"/>
                  <a:pt x="23" y="393"/>
                  <a:pt x="23" y="390"/>
                </a:cubicBezTo>
                <a:cubicBezTo>
                  <a:pt x="24" y="393"/>
                  <a:pt x="29" y="391"/>
                  <a:pt x="30" y="390"/>
                </a:cubicBezTo>
                <a:cubicBezTo>
                  <a:pt x="27" y="392"/>
                  <a:pt x="33" y="391"/>
                  <a:pt x="35" y="391"/>
                </a:cubicBezTo>
                <a:cubicBezTo>
                  <a:pt x="35" y="393"/>
                  <a:pt x="39" y="393"/>
                  <a:pt x="40" y="393"/>
                </a:cubicBezTo>
                <a:cubicBezTo>
                  <a:pt x="42" y="393"/>
                  <a:pt x="46" y="390"/>
                  <a:pt x="42" y="389"/>
                </a:cubicBezTo>
                <a:cubicBezTo>
                  <a:pt x="43" y="389"/>
                  <a:pt x="43" y="389"/>
                  <a:pt x="44" y="389"/>
                </a:cubicBezTo>
                <a:cubicBezTo>
                  <a:pt x="44" y="388"/>
                  <a:pt x="43" y="387"/>
                  <a:pt x="43" y="387"/>
                </a:cubicBezTo>
                <a:cubicBezTo>
                  <a:pt x="44" y="386"/>
                  <a:pt x="45" y="387"/>
                  <a:pt x="47" y="385"/>
                </a:cubicBezTo>
                <a:cubicBezTo>
                  <a:pt x="48" y="384"/>
                  <a:pt x="48" y="382"/>
                  <a:pt x="49" y="381"/>
                </a:cubicBezTo>
                <a:cubicBezTo>
                  <a:pt x="49" y="382"/>
                  <a:pt x="49" y="385"/>
                  <a:pt x="48" y="385"/>
                </a:cubicBezTo>
                <a:cubicBezTo>
                  <a:pt x="47" y="386"/>
                  <a:pt x="46" y="387"/>
                  <a:pt x="45" y="388"/>
                </a:cubicBezTo>
                <a:cubicBezTo>
                  <a:pt x="45" y="390"/>
                  <a:pt x="49" y="390"/>
                  <a:pt x="50" y="391"/>
                </a:cubicBezTo>
                <a:cubicBezTo>
                  <a:pt x="51" y="391"/>
                  <a:pt x="54" y="392"/>
                  <a:pt x="55" y="391"/>
                </a:cubicBezTo>
                <a:cubicBezTo>
                  <a:pt x="57" y="390"/>
                  <a:pt x="59" y="387"/>
                  <a:pt x="61" y="387"/>
                </a:cubicBezTo>
                <a:cubicBezTo>
                  <a:pt x="60" y="388"/>
                  <a:pt x="59" y="389"/>
                  <a:pt x="60" y="390"/>
                </a:cubicBezTo>
                <a:cubicBezTo>
                  <a:pt x="58" y="390"/>
                  <a:pt x="57" y="392"/>
                  <a:pt x="55" y="392"/>
                </a:cubicBezTo>
                <a:cubicBezTo>
                  <a:pt x="53" y="392"/>
                  <a:pt x="54" y="393"/>
                  <a:pt x="55" y="393"/>
                </a:cubicBezTo>
                <a:cubicBezTo>
                  <a:pt x="57" y="393"/>
                  <a:pt x="60" y="391"/>
                  <a:pt x="62" y="391"/>
                </a:cubicBezTo>
                <a:cubicBezTo>
                  <a:pt x="64" y="391"/>
                  <a:pt x="65" y="392"/>
                  <a:pt x="67" y="391"/>
                </a:cubicBezTo>
                <a:cubicBezTo>
                  <a:pt x="65" y="390"/>
                  <a:pt x="65" y="389"/>
                  <a:pt x="65" y="388"/>
                </a:cubicBezTo>
                <a:cubicBezTo>
                  <a:pt x="64" y="387"/>
                  <a:pt x="63" y="387"/>
                  <a:pt x="63" y="386"/>
                </a:cubicBezTo>
                <a:cubicBezTo>
                  <a:pt x="63" y="384"/>
                  <a:pt x="67" y="384"/>
                  <a:pt x="64" y="382"/>
                </a:cubicBezTo>
                <a:cubicBezTo>
                  <a:pt x="67" y="383"/>
                  <a:pt x="70" y="380"/>
                  <a:pt x="72" y="378"/>
                </a:cubicBezTo>
                <a:cubicBezTo>
                  <a:pt x="71" y="381"/>
                  <a:pt x="64" y="384"/>
                  <a:pt x="65" y="386"/>
                </a:cubicBezTo>
                <a:cubicBezTo>
                  <a:pt x="65" y="388"/>
                  <a:pt x="68" y="390"/>
                  <a:pt x="69" y="390"/>
                </a:cubicBezTo>
                <a:cubicBezTo>
                  <a:pt x="71" y="390"/>
                  <a:pt x="73" y="388"/>
                  <a:pt x="75" y="388"/>
                </a:cubicBezTo>
                <a:cubicBezTo>
                  <a:pt x="73" y="391"/>
                  <a:pt x="69" y="390"/>
                  <a:pt x="66" y="392"/>
                </a:cubicBezTo>
                <a:cubicBezTo>
                  <a:pt x="67" y="393"/>
                  <a:pt x="68" y="393"/>
                  <a:pt x="68" y="393"/>
                </a:cubicBezTo>
                <a:cubicBezTo>
                  <a:pt x="65" y="393"/>
                  <a:pt x="61" y="391"/>
                  <a:pt x="58" y="394"/>
                </a:cubicBezTo>
                <a:cubicBezTo>
                  <a:pt x="53" y="397"/>
                  <a:pt x="64" y="401"/>
                  <a:pt x="59" y="404"/>
                </a:cubicBezTo>
                <a:cubicBezTo>
                  <a:pt x="59" y="401"/>
                  <a:pt x="60" y="399"/>
                  <a:pt x="56" y="399"/>
                </a:cubicBezTo>
                <a:cubicBezTo>
                  <a:pt x="56" y="399"/>
                  <a:pt x="55" y="399"/>
                  <a:pt x="54" y="400"/>
                </a:cubicBezTo>
                <a:cubicBezTo>
                  <a:pt x="55" y="399"/>
                  <a:pt x="56" y="398"/>
                  <a:pt x="56" y="397"/>
                </a:cubicBezTo>
                <a:cubicBezTo>
                  <a:pt x="56" y="394"/>
                  <a:pt x="54" y="396"/>
                  <a:pt x="53" y="395"/>
                </a:cubicBezTo>
                <a:cubicBezTo>
                  <a:pt x="52" y="394"/>
                  <a:pt x="52" y="393"/>
                  <a:pt x="51" y="392"/>
                </a:cubicBezTo>
                <a:cubicBezTo>
                  <a:pt x="50" y="392"/>
                  <a:pt x="47" y="391"/>
                  <a:pt x="46" y="391"/>
                </a:cubicBezTo>
                <a:cubicBezTo>
                  <a:pt x="45" y="392"/>
                  <a:pt x="44" y="393"/>
                  <a:pt x="43" y="394"/>
                </a:cubicBezTo>
                <a:cubicBezTo>
                  <a:pt x="42" y="395"/>
                  <a:pt x="41" y="395"/>
                  <a:pt x="40" y="396"/>
                </a:cubicBezTo>
                <a:cubicBezTo>
                  <a:pt x="39" y="397"/>
                  <a:pt x="40" y="398"/>
                  <a:pt x="38" y="397"/>
                </a:cubicBezTo>
                <a:cubicBezTo>
                  <a:pt x="38" y="397"/>
                  <a:pt x="39" y="396"/>
                  <a:pt x="39" y="396"/>
                </a:cubicBezTo>
                <a:cubicBezTo>
                  <a:pt x="39" y="395"/>
                  <a:pt x="37" y="396"/>
                  <a:pt x="36" y="396"/>
                </a:cubicBezTo>
                <a:cubicBezTo>
                  <a:pt x="39" y="394"/>
                  <a:pt x="32" y="393"/>
                  <a:pt x="31" y="393"/>
                </a:cubicBezTo>
                <a:cubicBezTo>
                  <a:pt x="30" y="393"/>
                  <a:pt x="22" y="393"/>
                  <a:pt x="23" y="395"/>
                </a:cubicBezTo>
                <a:cubicBezTo>
                  <a:pt x="23" y="394"/>
                  <a:pt x="23" y="393"/>
                  <a:pt x="22" y="394"/>
                </a:cubicBezTo>
                <a:cubicBezTo>
                  <a:pt x="21" y="394"/>
                  <a:pt x="18" y="394"/>
                  <a:pt x="20" y="395"/>
                </a:cubicBezTo>
                <a:cubicBezTo>
                  <a:pt x="18" y="395"/>
                  <a:pt x="14" y="395"/>
                  <a:pt x="14" y="398"/>
                </a:cubicBezTo>
                <a:cubicBezTo>
                  <a:pt x="12" y="396"/>
                  <a:pt x="5" y="394"/>
                  <a:pt x="2" y="396"/>
                </a:cubicBezTo>
                <a:cubicBezTo>
                  <a:pt x="0" y="398"/>
                  <a:pt x="5" y="401"/>
                  <a:pt x="6" y="398"/>
                </a:cubicBezTo>
                <a:cubicBezTo>
                  <a:pt x="6" y="399"/>
                  <a:pt x="6" y="400"/>
                  <a:pt x="7" y="399"/>
                </a:cubicBezTo>
                <a:cubicBezTo>
                  <a:pt x="6" y="399"/>
                  <a:pt x="5" y="399"/>
                  <a:pt x="4" y="401"/>
                </a:cubicBezTo>
                <a:cubicBezTo>
                  <a:pt x="4" y="402"/>
                  <a:pt x="5" y="403"/>
                  <a:pt x="4" y="403"/>
                </a:cubicBezTo>
                <a:cubicBezTo>
                  <a:pt x="5" y="401"/>
                  <a:pt x="3" y="400"/>
                  <a:pt x="1" y="400"/>
                </a:cubicBezTo>
                <a:cubicBezTo>
                  <a:pt x="2" y="404"/>
                  <a:pt x="3" y="405"/>
                  <a:pt x="7" y="405"/>
                </a:cubicBezTo>
                <a:cubicBezTo>
                  <a:pt x="9" y="405"/>
                  <a:pt x="9" y="405"/>
                  <a:pt x="10" y="404"/>
                </a:cubicBezTo>
                <a:cubicBezTo>
                  <a:pt x="11" y="402"/>
                  <a:pt x="14" y="403"/>
                  <a:pt x="15" y="402"/>
                </a:cubicBezTo>
                <a:cubicBezTo>
                  <a:pt x="14" y="403"/>
                  <a:pt x="16" y="403"/>
                  <a:pt x="16" y="403"/>
                </a:cubicBezTo>
                <a:cubicBezTo>
                  <a:pt x="15" y="404"/>
                  <a:pt x="13" y="403"/>
                  <a:pt x="11" y="404"/>
                </a:cubicBezTo>
                <a:cubicBezTo>
                  <a:pt x="11" y="405"/>
                  <a:pt x="8" y="407"/>
                  <a:pt x="9" y="407"/>
                </a:cubicBezTo>
                <a:cubicBezTo>
                  <a:pt x="9" y="408"/>
                  <a:pt x="12" y="410"/>
                  <a:pt x="13" y="412"/>
                </a:cubicBezTo>
                <a:cubicBezTo>
                  <a:pt x="13" y="411"/>
                  <a:pt x="12" y="411"/>
                  <a:pt x="12" y="411"/>
                </a:cubicBezTo>
                <a:cubicBezTo>
                  <a:pt x="11" y="411"/>
                  <a:pt x="12" y="412"/>
                  <a:pt x="12" y="412"/>
                </a:cubicBezTo>
                <a:cubicBezTo>
                  <a:pt x="12" y="412"/>
                  <a:pt x="10" y="411"/>
                  <a:pt x="11" y="412"/>
                </a:cubicBezTo>
                <a:cubicBezTo>
                  <a:pt x="9" y="411"/>
                  <a:pt x="9" y="409"/>
                  <a:pt x="6" y="408"/>
                </a:cubicBezTo>
                <a:cubicBezTo>
                  <a:pt x="4" y="407"/>
                  <a:pt x="1" y="405"/>
                  <a:pt x="0" y="406"/>
                </a:cubicBezTo>
                <a:cubicBezTo>
                  <a:pt x="1" y="407"/>
                  <a:pt x="3" y="409"/>
                  <a:pt x="5" y="410"/>
                </a:cubicBezTo>
                <a:cubicBezTo>
                  <a:pt x="3" y="409"/>
                  <a:pt x="7" y="412"/>
                  <a:pt x="7" y="413"/>
                </a:cubicBezTo>
                <a:cubicBezTo>
                  <a:pt x="7" y="413"/>
                  <a:pt x="4" y="410"/>
                  <a:pt x="4" y="412"/>
                </a:cubicBezTo>
                <a:cubicBezTo>
                  <a:pt x="4" y="412"/>
                  <a:pt x="7" y="415"/>
                  <a:pt x="7" y="415"/>
                </a:cubicBezTo>
                <a:cubicBezTo>
                  <a:pt x="8" y="416"/>
                  <a:pt x="12" y="416"/>
                  <a:pt x="10" y="415"/>
                </a:cubicBezTo>
                <a:cubicBezTo>
                  <a:pt x="12" y="415"/>
                  <a:pt x="16" y="414"/>
                  <a:pt x="16" y="413"/>
                </a:cubicBezTo>
                <a:cubicBezTo>
                  <a:pt x="16" y="410"/>
                  <a:pt x="19" y="409"/>
                  <a:pt x="21" y="408"/>
                </a:cubicBezTo>
                <a:cubicBezTo>
                  <a:pt x="20" y="408"/>
                  <a:pt x="19" y="409"/>
                  <a:pt x="19" y="410"/>
                </a:cubicBezTo>
                <a:cubicBezTo>
                  <a:pt x="19" y="411"/>
                  <a:pt x="22" y="410"/>
                  <a:pt x="22" y="410"/>
                </a:cubicBezTo>
                <a:cubicBezTo>
                  <a:pt x="21" y="411"/>
                  <a:pt x="21" y="413"/>
                  <a:pt x="20" y="415"/>
                </a:cubicBezTo>
                <a:cubicBezTo>
                  <a:pt x="20" y="416"/>
                  <a:pt x="21" y="419"/>
                  <a:pt x="20" y="420"/>
                </a:cubicBezTo>
                <a:cubicBezTo>
                  <a:pt x="19" y="423"/>
                  <a:pt x="13" y="420"/>
                  <a:pt x="13" y="421"/>
                </a:cubicBezTo>
                <a:cubicBezTo>
                  <a:pt x="12" y="420"/>
                  <a:pt x="10" y="417"/>
                  <a:pt x="8" y="418"/>
                </a:cubicBezTo>
                <a:cubicBezTo>
                  <a:pt x="7" y="419"/>
                  <a:pt x="10" y="423"/>
                  <a:pt x="7" y="423"/>
                </a:cubicBezTo>
                <a:cubicBezTo>
                  <a:pt x="3" y="422"/>
                  <a:pt x="6" y="426"/>
                  <a:pt x="8" y="426"/>
                </a:cubicBezTo>
                <a:cubicBezTo>
                  <a:pt x="7" y="426"/>
                  <a:pt x="6" y="426"/>
                  <a:pt x="5" y="427"/>
                </a:cubicBezTo>
                <a:cubicBezTo>
                  <a:pt x="4" y="429"/>
                  <a:pt x="8" y="428"/>
                  <a:pt x="9" y="428"/>
                </a:cubicBezTo>
                <a:cubicBezTo>
                  <a:pt x="8" y="429"/>
                  <a:pt x="7" y="430"/>
                  <a:pt x="7" y="430"/>
                </a:cubicBezTo>
                <a:cubicBezTo>
                  <a:pt x="8" y="431"/>
                  <a:pt x="9" y="429"/>
                  <a:pt x="10" y="430"/>
                </a:cubicBezTo>
                <a:cubicBezTo>
                  <a:pt x="8" y="431"/>
                  <a:pt x="11" y="433"/>
                  <a:pt x="12" y="433"/>
                </a:cubicBezTo>
                <a:cubicBezTo>
                  <a:pt x="12" y="432"/>
                  <a:pt x="14" y="430"/>
                  <a:pt x="15" y="429"/>
                </a:cubicBezTo>
                <a:cubicBezTo>
                  <a:pt x="16" y="429"/>
                  <a:pt x="17" y="424"/>
                  <a:pt x="18" y="424"/>
                </a:cubicBezTo>
                <a:cubicBezTo>
                  <a:pt x="18" y="424"/>
                  <a:pt x="21" y="423"/>
                  <a:pt x="21" y="423"/>
                </a:cubicBezTo>
                <a:cubicBezTo>
                  <a:pt x="21" y="423"/>
                  <a:pt x="16" y="429"/>
                  <a:pt x="16" y="429"/>
                </a:cubicBezTo>
                <a:cubicBezTo>
                  <a:pt x="17" y="429"/>
                  <a:pt x="18" y="428"/>
                  <a:pt x="18" y="428"/>
                </a:cubicBezTo>
                <a:cubicBezTo>
                  <a:pt x="18" y="428"/>
                  <a:pt x="18" y="429"/>
                  <a:pt x="18" y="429"/>
                </a:cubicBezTo>
                <a:cubicBezTo>
                  <a:pt x="18" y="429"/>
                  <a:pt x="19" y="429"/>
                  <a:pt x="20" y="429"/>
                </a:cubicBezTo>
                <a:cubicBezTo>
                  <a:pt x="19" y="430"/>
                  <a:pt x="15" y="431"/>
                  <a:pt x="15" y="432"/>
                </a:cubicBezTo>
                <a:cubicBezTo>
                  <a:pt x="15" y="434"/>
                  <a:pt x="22" y="431"/>
                  <a:pt x="22" y="431"/>
                </a:cubicBezTo>
                <a:cubicBezTo>
                  <a:pt x="21" y="432"/>
                  <a:pt x="18" y="434"/>
                  <a:pt x="20" y="437"/>
                </a:cubicBezTo>
                <a:cubicBezTo>
                  <a:pt x="19" y="436"/>
                  <a:pt x="20" y="442"/>
                  <a:pt x="22" y="439"/>
                </a:cubicBezTo>
                <a:cubicBezTo>
                  <a:pt x="22" y="441"/>
                  <a:pt x="24" y="439"/>
                  <a:pt x="25" y="438"/>
                </a:cubicBezTo>
                <a:cubicBezTo>
                  <a:pt x="25" y="437"/>
                  <a:pt x="24" y="434"/>
                  <a:pt x="25" y="433"/>
                </a:cubicBezTo>
                <a:cubicBezTo>
                  <a:pt x="26" y="432"/>
                  <a:pt x="27" y="430"/>
                  <a:pt x="28" y="429"/>
                </a:cubicBezTo>
                <a:cubicBezTo>
                  <a:pt x="29" y="428"/>
                  <a:pt x="30" y="429"/>
                  <a:pt x="32" y="429"/>
                </a:cubicBezTo>
                <a:cubicBezTo>
                  <a:pt x="33" y="428"/>
                  <a:pt x="33" y="426"/>
                  <a:pt x="33" y="425"/>
                </a:cubicBezTo>
                <a:cubicBezTo>
                  <a:pt x="32" y="423"/>
                  <a:pt x="35" y="424"/>
                  <a:pt x="36" y="423"/>
                </a:cubicBezTo>
                <a:cubicBezTo>
                  <a:pt x="39" y="422"/>
                  <a:pt x="41" y="421"/>
                  <a:pt x="44" y="420"/>
                </a:cubicBezTo>
                <a:cubicBezTo>
                  <a:pt x="45" y="419"/>
                  <a:pt x="46" y="418"/>
                  <a:pt x="47" y="418"/>
                </a:cubicBezTo>
                <a:cubicBezTo>
                  <a:pt x="47" y="418"/>
                  <a:pt x="45" y="420"/>
                  <a:pt x="45" y="421"/>
                </a:cubicBezTo>
                <a:cubicBezTo>
                  <a:pt x="46" y="422"/>
                  <a:pt x="48" y="421"/>
                  <a:pt x="48" y="421"/>
                </a:cubicBezTo>
                <a:cubicBezTo>
                  <a:pt x="49" y="420"/>
                  <a:pt x="51" y="419"/>
                  <a:pt x="52" y="419"/>
                </a:cubicBezTo>
                <a:cubicBezTo>
                  <a:pt x="53" y="419"/>
                  <a:pt x="52" y="417"/>
                  <a:pt x="53" y="416"/>
                </a:cubicBezTo>
                <a:cubicBezTo>
                  <a:pt x="52" y="417"/>
                  <a:pt x="56" y="415"/>
                  <a:pt x="56" y="415"/>
                </a:cubicBezTo>
                <a:cubicBezTo>
                  <a:pt x="55" y="416"/>
                  <a:pt x="53" y="418"/>
                  <a:pt x="54" y="419"/>
                </a:cubicBezTo>
                <a:cubicBezTo>
                  <a:pt x="54" y="419"/>
                  <a:pt x="58" y="419"/>
                  <a:pt x="59" y="419"/>
                </a:cubicBezTo>
                <a:cubicBezTo>
                  <a:pt x="56" y="422"/>
                  <a:pt x="51" y="419"/>
                  <a:pt x="48" y="422"/>
                </a:cubicBezTo>
                <a:cubicBezTo>
                  <a:pt x="45" y="426"/>
                  <a:pt x="45" y="432"/>
                  <a:pt x="42" y="436"/>
                </a:cubicBezTo>
                <a:cubicBezTo>
                  <a:pt x="42" y="432"/>
                  <a:pt x="47" y="425"/>
                  <a:pt x="46" y="422"/>
                </a:cubicBezTo>
                <a:cubicBezTo>
                  <a:pt x="44" y="420"/>
                  <a:pt x="42" y="423"/>
                  <a:pt x="41" y="424"/>
                </a:cubicBezTo>
                <a:cubicBezTo>
                  <a:pt x="40" y="424"/>
                  <a:pt x="38" y="424"/>
                  <a:pt x="37" y="425"/>
                </a:cubicBezTo>
                <a:cubicBezTo>
                  <a:pt x="37" y="428"/>
                  <a:pt x="30" y="429"/>
                  <a:pt x="30" y="432"/>
                </a:cubicBezTo>
                <a:cubicBezTo>
                  <a:pt x="30" y="437"/>
                  <a:pt x="34" y="432"/>
                  <a:pt x="36" y="434"/>
                </a:cubicBezTo>
                <a:cubicBezTo>
                  <a:pt x="37" y="434"/>
                  <a:pt x="29" y="436"/>
                  <a:pt x="29" y="436"/>
                </a:cubicBezTo>
                <a:cubicBezTo>
                  <a:pt x="26" y="439"/>
                  <a:pt x="28" y="441"/>
                  <a:pt x="24" y="442"/>
                </a:cubicBezTo>
                <a:cubicBezTo>
                  <a:pt x="23" y="442"/>
                  <a:pt x="16" y="447"/>
                  <a:pt x="20" y="447"/>
                </a:cubicBezTo>
                <a:cubicBezTo>
                  <a:pt x="21" y="447"/>
                  <a:pt x="22" y="449"/>
                  <a:pt x="23" y="449"/>
                </a:cubicBezTo>
                <a:cubicBezTo>
                  <a:pt x="25" y="449"/>
                  <a:pt x="26" y="447"/>
                  <a:pt x="26" y="446"/>
                </a:cubicBezTo>
                <a:cubicBezTo>
                  <a:pt x="27" y="447"/>
                  <a:pt x="25" y="450"/>
                  <a:pt x="27" y="450"/>
                </a:cubicBezTo>
                <a:cubicBezTo>
                  <a:pt x="28" y="450"/>
                  <a:pt x="29" y="449"/>
                  <a:pt x="30" y="449"/>
                </a:cubicBezTo>
                <a:cubicBezTo>
                  <a:pt x="32" y="448"/>
                  <a:pt x="34" y="446"/>
                  <a:pt x="37" y="445"/>
                </a:cubicBezTo>
                <a:cubicBezTo>
                  <a:pt x="35" y="448"/>
                  <a:pt x="27" y="451"/>
                  <a:pt x="25" y="449"/>
                </a:cubicBezTo>
                <a:cubicBezTo>
                  <a:pt x="25" y="452"/>
                  <a:pt x="21" y="451"/>
                  <a:pt x="21" y="453"/>
                </a:cubicBezTo>
                <a:cubicBezTo>
                  <a:pt x="21" y="455"/>
                  <a:pt x="24" y="453"/>
                  <a:pt x="25" y="454"/>
                </a:cubicBezTo>
                <a:cubicBezTo>
                  <a:pt x="24" y="454"/>
                  <a:pt x="20" y="454"/>
                  <a:pt x="22" y="456"/>
                </a:cubicBezTo>
                <a:cubicBezTo>
                  <a:pt x="21" y="456"/>
                  <a:pt x="20" y="456"/>
                  <a:pt x="20" y="456"/>
                </a:cubicBezTo>
                <a:cubicBezTo>
                  <a:pt x="23" y="455"/>
                  <a:pt x="15" y="451"/>
                  <a:pt x="15" y="455"/>
                </a:cubicBezTo>
                <a:cubicBezTo>
                  <a:pt x="15" y="458"/>
                  <a:pt x="14" y="460"/>
                  <a:pt x="11" y="460"/>
                </a:cubicBezTo>
                <a:cubicBezTo>
                  <a:pt x="9" y="461"/>
                  <a:pt x="8" y="458"/>
                  <a:pt x="10" y="459"/>
                </a:cubicBezTo>
                <a:cubicBezTo>
                  <a:pt x="7" y="460"/>
                  <a:pt x="13" y="459"/>
                  <a:pt x="13" y="459"/>
                </a:cubicBezTo>
                <a:cubicBezTo>
                  <a:pt x="14" y="457"/>
                  <a:pt x="13" y="456"/>
                  <a:pt x="14" y="455"/>
                </a:cubicBezTo>
                <a:cubicBezTo>
                  <a:pt x="16" y="451"/>
                  <a:pt x="13" y="451"/>
                  <a:pt x="11" y="453"/>
                </a:cubicBezTo>
                <a:cubicBezTo>
                  <a:pt x="10" y="454"/>
                  <a:pt x="13" y="455"/>
                  <a:pt x="11" y="457"/>
                </a:cubicBezTo>
                <a:cubicBezTo>
                  <a:pt x="10" y="452"/>
                  <a:pt x="5" y="458"/>
                  <a:pt x="5" y="459"/>
                </a:cubicBezTo>
                <a:cubicBezTo>
                  <a:pt x="6" y="459"/>
                  <a:pt x="6" y="459"/>
                  <a:pt x="6" y="459"/>
                </a:cubicBezTo>
                <a:cubicBezTo>
                  <a:pt x="5" y="460"/>
                  <a:pt x="6" y="460"/>
                  <a:pt x="7" y="461"/>
                </a:cubicBezTo>
                <a:cubicBezTo>
                  <a:pt x="6" y="461"/>
                  <a:pt x="4" y="460"/>
                  <a:pt x="5" y="462"/>
                </a:cubicBezTo>
                <a:cubicBezTo>
                  <a:pt x="6" y="463"/>
                  <a:pt x="6" y="464"/>
                  <a:pt x="7" y="465"/>
                </a:cubicBezTo>
                <a:cubicBezTo>
                  <a:pt x="9" y="470"/>
                  <a:pt x="8" y="465"/>
                  <a:pt x="9" y="464"/>
                </a:cubicBezTo>
                <a:cubicBezTo>
                  <a:pt x="9" y="465"/>
                  <a:pt x="9" y="469"/>
                  <a:pt x="10" y="469"/>
                </a:cubicBezTo>
                <a:cubicBezTo>
                  <a:pt x="11" y="469"/>
                  <a:pt x="11" y="465"/>
                  <a:pt x="12" y="465"/>
                </a:cubicBezTo>
                <a:cubicBezTo>
                  <a:pt x="11" y="467"/>
                  <a:pt x="12" y="472"/>
                  <a:pt x="14" y="469"/>
                </a:cubicBezTo>
                <a:cubicBezTo>
                  <a:pt x="15" y="468"/>
                  <a:pt x="17" y="463"/>
                  <a:pt x="14" y="465"/>
                </a:cubicBezTo>
                <a:cubicBezTo>
                  <a:pt x="15" y="464"/>
                  <a:pt x="16" y="460"/>
                  <a:pt x="14" y="462"/>
                </a:cubicBezTo>
                <a:cubicBezTo>
                  <a:pt x="14" y="462"/>
                  <a:pt x="12" y="464"/>
                  <a:pt x="12" y="463"/>
                </a:cubicBezTo>
                <a:cubicBezTo>
                  <a:pt x="12" y="463"/>
                  <a:pt x="15" y="460"/>
                  <a:pt x="16" y="460"/>
                </a:cubicBezTo>
                <a:cubicBezTo>
                  <a:pt x="15" y="462"/>
                  <a:pt x="16" y="465"/>
                  <a:pt x="17" y="466"/>
                </a:cubicBezTo>
                <a:cubicBezTo>
                  <a:pt x="17" y="467"/>
                  <a:pt x="16" y="469"/>
                  <a:pt x="17" y="469"/>
                </a:cubicBezTo>
                <a:cubicBezTo>
                  <a:pt x="17" y="470"/>
                  <a:pt x="19" y="467"/>
                  <a:pt x="19" y="467"/>
                </a:cubicBezTo>
                <a:cubicBezTo>
                  <a:pt x="20" y="467"/>
                  <a:pt x="21" y="467"/>
                  <a:pt x="22" y="467"/>
                </a:cubicBezTo>
                <a:cubicBezTo>
                  <a:pt x="24" y="466"/>
                  <a:pt x="23" y="464"/>
                  <a:pt x="22" y="463"/>
                </a:cubicBezTo>
                <a:cubicBezTo>
                  <a:pt x="20" y="463"/>
                  <a:pt x="19" y="464"/>
                  <a:pt x="18" y="464"/>
                </a:cubicBezTo>
                <a:cubicBezTo>
                  <a:pt x="19" y="464"/>
                  <a:pt x="20" y="463"/>
                  <a:pt x="19" y="461"/>
                </a:cubicBezTo>
                <a:cubicBezTo>
                  <a:pt x="20" y="463"/>
                  <a:pt x="22" y="463"/>
                  <a:pt x="22" y="461"/>
                </a:cubicBezTo>
                <a:cubicBezTo>
                  <a:pt x="22" y="460"/>
                  <a:pt x="21" y="459"/>
                  <a:pt x="22" y="459"/>
                </a:cubicBezTo>
                <a:cubicBezTo>
                  <a:pt x="23" y="459"/>
                  <a:pt x="23" y="459"/>
                  <a:pt x="23" y="459"/>
                </a:cubicBezTo>
                <a:cubicBezTo>
                  <a:pt x="22" y="463"/>
                  <a:pt x="30" y="461"/>
                  <a:pt x="32" y="461"/>
                </a:cubicBezTo>
                <a:cubicBezTo>
                  <a:pt x="30" y="463"/>
                  <a:pt x="27" y="461"/>
                  <a:pt x="25" y="463"/>
                </a:cubicBezTo>
                <a:cubicBezTo>
                  <a:pt x="23" y="464"/>
                  <a:pt x="25" y="468"/>
                  <a:pt x="27" y="464"/>
                </a:cubicBezTo>
                <a:cubicBezTo>
                  <a:pt x="30" y="465"/>
                  <a:pt x="31" y="462"/>
                  <a:pt x="33" y="459"/>
                </a:cubicBezTo>
                <a:cubicBezTo>
                  <a:pt x="35" y="458"/>
                  <a:pt x="35" y="454"/>
                  <a:pt x="37" y="454"/>
                </a:cubicBezTo>
                <a:cubicBezTo>
                  <a:pt x="36" y="455"/>
                  <a:pt x="35" y="458"/>
                  <a:pt x="35" y="459"/>
                </a:cubicBezTo>
                <a:cubicBezTo>
                  <a:pt x="37" y="458"/>
                  <a:pt x="40" y="457"/>
                  <a:pt x="43" y="458"/>
                </a:cubicBezTo>
                <a:cubicBezTo>
                  <a:pt x="40" y="459"/>
                  <a:pt x="37" y="459"/>
                  <a:pt x="35" y="460"/>
                </a:cubicBezTo>
                <a:cubicBezTo>
                  <a:pt x="33" y="461"/>
                  <a:pt x="34" y="463"/>
                  <a:pt x="32" y="464"/>
                </a:cubicBezTo>
                <a:cubicBezTo>
                  <a:pt x="33" y="462"/>
                  <a:pt x="31" y="464"/>
                  <a:pt x="30" y="464"/>
                </a:cubicBezTo>
                <a:cubicBezTo>
                  <a:pt x="29" y="464"/>
                  <a:pt x="28" y="465"/>
                  <a:pt x="28" y="466"/>
                </a:cubicBezTo>
                <a:cubicBezTo>
                  <a:pt x="27" y="467"/>
                  <a:pt x="29" y="468"/>
                  <a:pt x="29" y="466"/>
                </a:cubicBezTo>
                <a:cubicBezTo>
                  <a:pt x="29" y="468"/>
                  <a:pt x="30" y="468"/>
                  <a:pt x="31" y="468"/>
                </a:cubicBezTo>
                <a:cubicBezTo>
                  <a:pt x="31" y="468"/>
                  <a:pt x="32" y="467"/>
                  <a:pt x="32" y="467"/>
                </a:cubicBezTo>
                <a:cubicBezTo>
                  <a:pt x="32" y="467"/>
                  <a:pt x="32" y="467"/>
                  <a:pt x="32" y="468"/>
                </a:cubicBezTo>
                <a:cubicBezTo>
                  <a:pt x="33" y="467"/>
                  <a:pt x="33" y="467"/>
                  <a:pt x="33" y="466"/>
                </a:cubicBezTo>
                <a:cubicBezTo>
                  <a:pt x="33" y="467"/>
                  <a:pt x="34" y="467"/>
                  <a:pt x="34" y="468"/>
                </a:cubicBezTo>
                <a:cubicBezTo>
                  <a:pt x="34" y="468"/>
                  <a:pt x="30" y="469"/>
                  <a:pt x="30" y="469"/>
                </a:cubicBezTo>
                <a:cubicBezTo>
                  <a:pt x="29" y="471"/>
                  <a:pt x="35" y="469"/>
                  <a:pt x="35" y="469"/>
                </a:cubicBezTo>
                <a:cubicBezTo>
                  <a:pt x="37" y="468"/>
                  <a:pt x="39" y="467"/>
                  <a:pt x="41" y="468"/>
                </a:cubicBezTo>
                <a:cubicBezTo>
                  <a:pt x="37" y="469"/>
                  <a:pt x="32" y="469"/>
                  <a:pt x="29" y="473"/>
                </a:cubicBezTo>
                <a:cubicBezTo>
                  <a:pt x="25" y="476"/>
                  <a:pt x="30" y="474"/>
                  <a:pt x="31" y="475"/>
                </a:cubicBezTo>
                <a:cubicBezTo>
                  <a:pt x="29" y="475"/>
                  <a:pt x="25" y="475"/>
                  <a:pt x="24" y="477"/>
                </a:cubicBezTo>
                <a:cubicBezTo>
                  <a:pt x="21" y="479"/>
                  <a:pt x="27" y="480"/>
                  <a:pt x="28" y="481"/>
                </a:cubicBezTo>
                <a:cubicBezTo>
                  <a:pt x="26" y="480"/>
                  <a:pt x="26" y="483"/>
                  <a:pt x="26" y="483"/>
                </a:cubicBezTo>
                <a:cubicBezTo>
                  <a:pt x="27" y="486"/>
                  <a:pt x="29" y="483"/>
                  <a:pt x="30" y="482"/>
                </a:cubicBezTo>
                <a:cubicBezTo>
                  <a:pt x="34" y="479"/>
                  <a:pt x="40" y="479"/>
                  <a:pt x="44" y="479"/>
                </a:cubicBezTo>
                <a:cubicBezTo>
                  <a:pt x="40" y="481"/>
                  <a:pt x="34" y="480"/>
                  <a:pt x="30" y="483"/>
                </a:cubicBezTo>
                <a:cubicBezTo>
                  <a:pt x="26" y="487"/>
                  <a:pt x="33" y="487"/>
                  <a:pt x="34" y="488"/>
                </a:cubicBezTo>
                <a:cubicBezTo>
                  <a:pt x="31" y="488"/>
                  <a:pt x="26" y="486"/>
                  <a:pt x="25" y="484"/>
                </a:cubicBezTo>
                <a:cubicBezTo>
                  <a:pt x="23" y="482"/>
                  <a:pt x="18" y="485"/>
                  <a:pt x="19" y="486"/>
                </a:cubicBezTo>
                <a:cubicBezTo>
                  <a:pt x="18" y="484"/>
                  <a:pt x="20" y="483"/>
                  <a:pt x="17" y="481"/>
                </a:cubicBezTo>
                <a:cubicBezTo>
                  <a:pt x="16" y="481"/>
                  <a:pt x="14" y="479"/>
                  <a:pt x="14" y="481"/>
                </a:cubicBezTo>
                <a:cubicBezTo>
                  <a:pt x="14" y="482"/>
                  <a:pt x="17" y="483"/>
                  <a:pt x="17" y="484"/>
                </a:cubicBezTo>
                <a:cubicBezTo>
                  <a:pt x="17" y="484"/>
                  <a:pt x="16" y="486"/>
                  <a:pt x="16" y="485"/>
                </a:cubicBezTo>
                <a:cubicBezTo>
                  <a:pt x="15" y="485"/>
                  <a:pt x="15" y="483"/>
                  <a:pt x="14" y="483"/>
                </a:cubicBezTo>
                <a:cubicBezTo>
                  <a:pt x="14" y="484"/>
                  <a:pt x="14" y="484"/>
                  <a:pt x="15" y="484"/>
                </a:cubicBezTo>
                <a:cubicBezTo>
                  <a:pt x="15" y="485"/>
                  <a:pt x="13" y="488"/>
                  <a:pt x="13" y="488"/>
                </a:cubicBezTo>
                <a:cubicBezTo>
                  <a:pt x="13" y="491"/>
                  <a:pt x="11" y="492"/>
                  <a:pt x="13" y="494"/>
                </a:cubicBezTo>
                <a:cubicBezTo>
                  <a:pt x="15" y="497"/>
                  <a:pt x="17" y="501"/>
                  <a:pt x="20" y="503"/>
                </a:cubicBezTo>
                <a:cubicBezTo>
                  <a:pt x="22" y="503"/>
                  <a:pt x="25" y="503"/>
                  <a:pt x="26" y="504"/>
                </a:cubicBezTo>
                <a:cubicBezTo>
                  <a:pt x="26" y="507"/>
                  <a:pt x="27" y="508"/>
                  <a:pt x="30" y="509"/>
                </a:cubicBezTo>
                <a:cubicBezTo>
                  <a:pt x="35" y="510"/>
                  <a:pt x="39" y="513"/>
                  <a:pt x="44" y="513"/>
                </a:cubicBezTo>
                <a:cubicBezTo>
                  <a:pt x="44" y="512"/>
                  <a:pt x="44" y="511"/>
                  <a:pt x="44" y="511"/>
                </a:cubicBezTo>
                <a:cubicBezTo>
                  <a:pt x="43" y="515"/>
                  <a:pt x="50" y="511"/>
                  <a:pt x="51" y="511"/>
                </a:cubicBezTo>
                <a:cubicBezTo>
                  <a:pt x="50" y="512"/>
                  <a:pt x="41" y="517"/>
                  <a:pt x="41" y="518"/>
                </a:cubicBezTo>
                <a:cubicBezTo>
                  <a:pt x="41" y="520"/>
                  <a:pt x="44" y="520"/>
                  <a:pt x="45" y="520"/>
                </a:cubicBezTo>
                <a:cubicBezTo>
                  <a:pt x="46" y="520"/>
                  <a:pt x="50" y="520"/>
                  <a:pt x="48" y="520"/>
                </a:cubicBezTo>
                <a:cubicBezTo>
                  <a:pt x="49" y="518"/>
                  <a:pt x="51" y="520"/>
                  <a:pt x="52" y="519"/>
                </a:cubicBezTo>
                <a:cubicBezTo>
                  <a:pt x="52" y="519"/>
                  <a:pt x="52" y="520"/>
                  <a:pt x="52" y="520"/>
                </a:cubicBezTo>
                <a:cubicBezTo>
                  <a:pt x="52" y="521"/>
                  <a:pt x="54" y="518"/>
                  <a:pt x="55" y="518"/>
                </a:cubicBezTo>
                <a:cubicBezTo>
                  <a:pt x="54" y="520"/>
                  <a:pt x="52" y="520"/>
                  <a:pt x="52" y="522"/>
                </a:cubicBezTo>
                <a:cubicBezTo>
                  <a:pt x="54" y="521"/>
                  <a:pt x="55" y="521"/>
                  <a:pt x="56" y="520"/>
                </a:cubicBezTo>
                <a:cubicBezTo>
                  <a:pt x="58" y="519"/>
                  <a:pt x="57" y="518"/>
                  <a:pt x="58" y="518"/>
                </a:cubicBezTo>
                <a:cubicBezTo>
                  <a:pt x="59" y="521"/>
                  <a:pt x="57" y="520"/>
                  <a:pt x="55" y="521"/>
                </a:cubicBezTo>
                <a:cubicBezTo>
                  <a:pt x="54" y="523"/>
                  <a:pt x="55" y="525"/>
                  <a:pt x="56" y="523"/>
                </a:cubicBezTo>
                <a:cubicBezTo>
                  <a:pt x="57" y="520"/>
                  <a:pt x="62" y="523"/>
                  <a:pt x="62" y="521"/>
                </a:cubicBezTo>
                <a:cubicBezTo>
                  <a:pt x="64" y="523"/>
                  <a:pt x="71" y="524"/>
                  <a:pt x="72" y="521"/>
                </a:cubicBezTo>
                <a:cubicBezTo>
                  <a:pt x="72" y="523"/>
                  <a:pt x="74" y="521"/>
                  <a:pt x="72" y="519"/>
                </a:cubicBezTo>
                <a:cubicBezTo>
                  <a:pt x="73" y="520"/>
                  <a:pt x="74" y="520"/>
                  <a:pt x="74" y="521"/>
                </a:cubicBezTo>
                <a:cubicBezTo>
                  <a:pt x="76" y="519"/>
                  <a:pt x="79" y="521"/>
                  <a:pt x="81" y="519"/>
                </a:cubicBezTo>
                <a:cubicBezTo>
                  <a:pt x="81" y="519"/>
                  <a:pt x="81" y="518"/>
                  <a:pt x="81" y="518"/>
                </a:cubicBezTo>
                <a:cubicBezTo>
                  <a:pt x="81" y="518"/>
                  <a:pt x="82" y="517"/>
                  <a:pt x="82" y="517"/>
                </a:cubicBezTo>
                <a:cubicBezTo>
                  <a:pt x="83" y="516"/>
                  <a:pt x="83" y="515"/>
                  <a:pt x="83" y="513"/>
                </a:cubicBezTo>
                <a:cubicBezTo>
                  <a:pt x="84" y="515"/>
                  <a:pt x="83" y="517"/>
                  <a:pt x="85" y="518"/>
                </a:cubicBezTo>
                <a:cubicBezTo>
                  <a:pt x="86" y="519"/>
                  <a:pt x="87" y="517"/>
                  <a:pt x="87" y="516"/>
                </a:cubicBezTo>
                <a:cubicBezTo>
                  <a:pt x="87" y="517"/>
                  <a:pt x="88" y="517"/>
                  <a:pt x="88" y="518"/>
                </a:cubicBezTo>
                <a:cubicBezTo>
                  <a:pt x="89" y="518"/>
                  <a:pt x="87" y="515"/>
                  <a:pt x="88" y="515"/>
                </a:cubicBezTo>
                <a:cubicBezTo>
                  <a:pt x="89" y="517"/>
                  <a:pt x="92" y="515"/>
                  <a:pt x="89" y="515"/>
                </a:cubicBezTo>
                <a:cubicBezTo>
                  <a:pt x="91" y="514"/>
                  <a:pt x="93" y="512"/>
                  <a:pt x="94" y="511"/>
                </a:cubicBezTo>
                <a:cubicBezTo>
                  <a:pt x="94" y="512"/>
                  <a:pt x="96" y="513"/>
                  <a:pt x="96" y="512"/>
                </a:cubicBezTo>
                <a:cubicBezTo>
                  <a:pt x="97" y="511"/>
                  <a:pt x="96" y="511"/>
                  <a:pt x="98" y="510"/>
                </a:cubicBezTo>
                <a:cubicBezTo>
                  <a:pt x="98" y="509"/>
                  <a:pt x="99" y="509"/>
                  <a:pt x="100" y="509"/>
                </a:cubicBezTo>
                <a:cubicBezTo>
                  <a:pt x="102" y="508"/>
                  <a:pt x="101" y="507"/>
                  <a:pt x="102" y="505"/>
                </a:cubicBezTo>
                <a:cubicBezTo>
                  <a:pt x="102" y="505"/>
                  <a:pt x="103" y="505"/>
                  <a:pt x="103" y="505"/>
                </a:cubicBezTo>
                <a:cubicBezTo>
                  <a:pt x="104" y="504"/>
                  <a:pt x="103" y="504"/>
                  <a:pt x="105" y="503"/>
                </a:cubicBezTo>
                <a:cubicBezTo>
                  <a:pt x="105" y="503"/>
                  <a:pt x="106" y="502"/>
                  <a:pt x="107" y="502"/>
                </a:cubicBezTo>
                <a:cubicBezTo>
                  <a:pt x="108" y="501"/>
                  <a:pt x="109" y="500"/>
                  <a:pt x="108" y="497"/>
                </a:cubicBezTo>
                <a:cubicBezTo>
                  <a:pt x="109" y="498"/>
                  <a:pt x="117" y="496"/>
                  <a:pt x="116" y="494"/>
                </a:cubicBezTo>
                <a:cubicBezTo>
                  <a:pt x="116" y="494"/>
                  <a:pt x="114" y="494"/>
                  <a:pt x="114" y="494"/>
                </a:cubicBezTo>
                <a:cubicBezTo>
                  <a:pt x="115" y="494"/>
                  <a:pt x="115" y="494"/>
                  <a:pt x="116" y="493"/>
                </a:cubicBezTo>
                <a:cubicBezTo>
                  <a:pt x="115" y="493"/>
                  <a:pt x="113" y="493"/>
                  <a:pt x="112" y="493"/>
                </a:cubicBezTo>
                <a:cubicBezTo>
                  <a:pt x="112" y="491"/>
                  <a:pt x="116" y="491"/>
                  <a:pt x="117" y="492"/>
                </a:cubicBezTo>
                <a:cubicBezTo>
                  <a:pt x="118" y="492"/>
                  <a:pt x="119" y="492"/>
                  <a:pt x="120" y="491"/>
                </a:cubicBezTo>
                <a:cubicBezTo>
                  <a:pt x="121" y="490"/>
                  <a:pt x="123" y="489"/>
                  <a:pt x="121" y="489"/>
                </a:cubicBezTo>
                <a:cubicBezTo>
                  <a:pt x="121" y="490"/>
                  <a:pt x="123" y="489"/>
                  <a:pt x="122" y="488"/>
                </a:cubicBezTo>
                <a:cubicBezTo>
                  <a:pt x="122" y="487"/>
                  <a:pt x="119" y="488"/>
                  <a:pt x="118" y="488"/>
                </a:cubicBezTo>
                <a:cubicBezTo>
                  <a:pt x="118" y="485"/>
                  <a:pt x="121" y="488"/>
                  <a:pt x="121" y="486"/>
                </a:cubicBezTo>
                <a:cubicBezTo>
                  <a:pt x="121" y="486"/>
                  <a:pt x="121" y="486"/>
                  <a:pt x="120" y="486"/>
                </a:cubicBezTo>
                <a:cubicBezTo>
                  <a:pt x="121" y="485"/>
                  <a:pt x="124" y="486"/>
                  <a:pt x="124" y="484"/>
                </a:cubicBezTo>
                <a:cubicBezTo>
                  <a:pt x="125" y="484"/>
                  <a:pt x="127" y="485"/>
                  <a:pt x="127" y="484"/>
                </a:cubicBezTo>
                <a:cubicBezTo>
                  <a:pt x="127" y="483"/>
                  <a:pt x="130" y="483"/>
                  <a:pt x="129" y="482"/>
                </a:cubicBezTo>
                <a:cubicBezTo>
                  <a:pt x="132" y="481"/>
                  <a:pt x="126" y="477"/>
                  <a:pt x="125" y="476"/>
                </a:cubicBezTo>
                <a:cubicBezTo>
                  <a:pt x="127" y="476"/>
                  <a:pt x="129" y="479"/>
                  <a:pt x="130" y="477"/>
                </a:cubicBezTo>
                <a:cubicBezTo>
                  <a:pt x="130" y="479"/>
                  <a:pt x="135" y="480"/>
                  <a:pt x="133" y="482"/>
                </a:cubicBezTo>
                <a:cubicBezTo>
                  <a:pt x="134" y="483"/>
                  <a:pt x="139" y="483"/>
                  <a:pt x="139" y="482"/>
                </a:cubicBezTo>
                <a:cubicBezTo>
                  <a:pt x="139" y="482"/>
                  <a:pt x="138" y="479"/>
                  <a:pt x="139" y="480"/>
                </a:cubicBezTo>
                <a:cubicBezTo>
                  <a:pt x="140" y="481"/>
                  <a:pt x="141" y="480"/>
                  <a:pt x="142" y="479"/>
                </a:cubicBezTo>
                <a:cubicBezTo>
                  <a:pt x="142" y="480"/>
                  <a:pt x="142" y="480"/>
                  <a:pt x="141" y="481"/>
                </a:cubicBezTo>
                <a:cubicBezTo>
                  <a:pt x="144" y="482"/>
                  <a:pt x="144" y="478"/>
                  <a:pt x="144" y="476"/>
                </a:cubicBezTo>
                <a:cubicBezTo>
                  <a:pt x="145" y="477"/>
                  <a:pt x="145" y="478"/>
                  <a:pt x="145" y="479"/>
                </a:cubicBezTo>
                <a:cubicBezTo>
                  <a:pt x="145" y="478"/>
                  <a:pt x="145" y="478"/>
                  <a:pt x="145" y="477"/>
                </a:cubicBezTo>
                <a:cubicBezTo>
                  <a:pt x="146" y="477"/>
                  <a:pt x="146" y="478"/>
                  <a:pt x="146" y="479"/>
                </a:cubicBezTo>
                <a:cubicBezTo>
                  <a:pt x="146" y="477"/>
                  <a:pt x="145" y="476"/>
                  <a:pt x="146" y="475"/>
                </a:cubicBezTo>
                <a:cubicBezTo>
                  <a:pt x="146" y="475"/>
                  <a:pt x="147" y="474"/>
                  <a:pt x="147" y="474"/>
                </a:cubicBezTo>
                <a:cubicBezTo>
                  <a:pt x="147" y="473"/>
                  <a:pt x="149" y="471"/>
                  <a:pt x="148" y="470"/>
                </a:cubicBezTo>
                <a:cubicBezTo>
                  <a:pt x="150" y="470"/>
                  <a:pt x="146" y="474"/>
                  <a:pt x="149" y="474"/>
                </a:cubicBezTo>
                <a:cubicBezTo>
                  <a:pt x="152" y="474"/>
                  <a:pt x="149" y="471"/>
                  <a:pt x="149" y="470"/>
                </a:cubicBezTo>
                <a:cubicBezTo>
                  <a:pt x="150" y="469"/>
                  <a:pt x="151" y="471"/>
                  <a:pt x="151" y="470"/>
                </a:cubicBezTo>
                <a:cubicBezTo>
                  <a:pt x="152" y="469"/>
                  <a:pt x="152" y="469"/>
                  <a:pt x="152" y="468"/>
                </a:cubicBezTo>
                <a:cubicBezTo>
                  <a:pt x="151" y="466"/>
                  <a:pt x="151" y="464"/>
                  <a:pt x="149" y="463"/>
                </a:cubicBezTo>
                <a:cubicBezTo>
                  <a:pt x="148" y="461"/>
                  <a:pt x="145" y="461"/>
                  <a:pt x="144" y="458"/>
                </a:cubicBezTo>
                <a:cubicBezTo>
                  <a:pt x="147" y="459"/>
                  <a:pt x="148" y="459"/>
                  <a:pt x="149" y="456"/>
                </a:cubicBezTo>
                <a:cubicBezTo>
                  <a:pt x="151" y="457"/>
                  <a:pt x="149" y="458"/>
                  <a:pt x="149" y="459"/>
                </a:cubicBezTo>
                <a:cubicBezTo>
                  <a:pt x="150" y="460"/>
                  <a:pt x="153" y="459"/>
                  <a:pt x="154" y="458"/>
                </a:cubicBezTo>
                <a:cubicBezTo>
                  <a:pt x="156" y="455"/>
                  <a:pt x="152" y="452"/>
                  <a:pt x="151" y="449"/>
                </a:cubicBezTo>
                <a:cubicBezTo>
                  <a:pt x="151" y="444"/>
                  <a:pt x="154" y="443"/>
                  <a:pt x="157" y="443"/>
                </a:cubicBezTo>
                <a:cubicBezTo>
                  <a:pt x="162" y="443"/>
                  <a:pt x="157" y="449"/>
                  <a:pt x="158" y="451"/>
                </a:cubicBezTo>
                <a:cubicBezTo>
                  <a:pt x="157" y="449"/>
                  <a:pt x="156" y="441"/>
                  <a:pt x="154" y="449"/>
                </a:cubicBezTo>
                <a:cubicBezTo>
                  <a:pt x="154" y="452"/>
                  <a:pt x="156" y="454"/>
                  <a:pt x="156" y="457"/>
                </a:cubicBezTo>
                <a:cubicBezTo>
                  <a:pt x="156" y="460"/>
                  <a:pt x="157" y="460"/>
                  <a:pt x="157" y="462"/>
                </a:cubicBezTo>
                <a:cubicBezTo>
                  <a:pt x="156" y="463"/>
                  <a:pt x="155" y="464"/>
                  <a:pt x="156" y="466"/>
                </a:cubicBezTo>
                <a:cubicBezTo>
                  <a:pt x="157" y="469"/>
                  <a:pt x="158" y="466"/>
                  <a:pt x="159" y="468"/>
                </a:cubicBezTo>
                <a:cubicBezTo>
                  <a:pt x="158" y="469"/>
                  <a:pt x="157" y="472"/>
                  <a:pt x="160" y="470"/>
                </a:cubicBezTo>
                <a:cubicBezTo>
                  <a:pt x="159" y="471"/>
                  <a:pt x="160" y="474"/>
                  <a:pt x="161" y="474"/>
                </a:cubicBezTo>
                <a:cubicBezTo>
                  <a:pt x="162" y="474"/>
                  <a:pt x="162" y="472"/>
                  <a:pt x="163" y="472"/>
                </a:cubicBezTo>
                <a:cubicBezTo>
                  <a:pt x="163" y="473"/>
                  <a:pt x="162" y="475"/>
                  <a:pt x="164" y="475"/>
                </a:cubicBezTo>
                <a:cubicBezTo>
                  <a:pt x="165" y="475"/>
                  <a:pt x="164" y="473"/>
                  <a:pt x="164" y="472"/>
                </a:cubicBezTo>
                <a:cubicBezTo>
                  <a:pt x="164" y="474"/>
                  <a:pt x="166" y="474"/>
                  <a:pt x="166" y="475"/>
                </a:cubicBezTo>
                <a:cubicBezTo>
                  <a:pt x="167" y="477"/>
                  <a:pt x="169" y="476"/>
                  <a:pt x="168" y="474"/>
                </a:cubicBezTo>
                <a:cubicBezTo>
                  <a:pt x="169" y="475"/>
                  <a:pt x="171" y="475"/>
                  <a:pt x="169" y="473"/>
                </a:cubicBezTo>
                <a:cubicBezTo>
                  <a:pt x="170" y="473"/>
                  <a:pt x="170" y="473"/>
                  <a:pt x="171" y="473"/>
                </a:cubicBezTo>
                <a:cubicBezTo>
                  <a:pt x="171" y="473"/>
                  <a:pt x="171" y="476"/>
                  <a:pt x="171" y="475"/>
                </a:cubicBezTo>
                <a:cubicBezTo>
                  <a:pt x="172" y="476"/>
                  <a:pt x="171" y="476"/>
                  <a:pt x="171" y="476"/>
                </a:cubicBezTo>
                <a:cubicBezTo>
                  <a:pt x="170" y="477"/>
                  <a:pt x="173" y="475"/>
                  <a:pt x="171" y="477"/>
                </a:cubicBezTo>
                <a:cubicBezTo>
                  <a:pt x="174" y="477"/>
                  <a:pt x="175" y="478"/>
                  <a:pt x="176" y="480"/>
                </a:cubicBezTo>
                <a:cubicBezTo>
                  <a:pt x="177" y="481"/>
                  <a:pt x="177" y="484"/>
                  <a:pt x="179" y="485"/>
                </a:cubicBezTo>
                <a:cubicBezTo>
                  <a:pt x="180" y="486"/>
                  <a:pt x="183" y="485"/>
                  <a:pt x="184" y="484"/>
                </a:cubicBezTo>
                <a:cubicBezTo>
                  <a:pt x="185" y="483"/>
                  <a:pt x="186" y="478"/>
                  <a:pt x="186" y="476"/>
                </a:cubicBezTo>
                <a:cubicBezTo>
                  <a:pt x="186" y="474"/>
                  <a:pt x="188" y="472"/>
                  <a:pt x="188" y="469"/>
                </a:cubicBezTo>
                <a:cubicBezTo>
                  <a:pt x="188" y="466"/>
                  <a:pt x="186" y="464"/>
                  <a:pt x="185" y="462"/>
                </a:cubicBezTo>
                <a:cubicBezTo>
                  <a:pt x="184" y="460"/>
                  <a:pt x="183" y="458"/>
                  <a:pt x="184" y="456"/>
                </a:cubicBezTo>
                <a:cubicBezTo>
                  <a:pt x="185" y="454"/>
                  <a:pt x="187" y="454"/>
                  <a:pt x="189" y="453"/>
                </a:cubicBezTo>
                <a:cubicBezTo>
                  <a:pt x="190" y="451"/>
                  <a:pt x="191" y="449"/>
                  <a:pt x="189" y="447"/>
                </a:cubicBezTo>
                <a:cubicBezTo>
                  <a:pt x="188" y="446"/>
                  <a:pt x="188" y="444"/>
                  <a:pt x="190" y="444"/>
                </a:cubicBezTo>
                <a:cubicBezTo>
                  <a:pt x="192" y="443"/>
                  <a:pt x="194" y="444"/>
                  <a:pt x="196" y="444"/>
                </a:cubicBezTo>
                <a:cubicBezTo>
                  <a:pt x="198" y="443"/>
                  <a:pt x="200" y="441"/>
                  <a:pt x="203" y="439"/>
                </a:cubicBezTo>
                <a:cubicBezTo>
                  <a:pt x="204" y="438"/>
                  <a:pt x="206" y="436"/>
                  <a:pt x="207" y="434"/>
                </a:cubicBezTo>
                <a:cubicBezTo>
                  <a:pt x="207" y="431"/>
                  <a:pt x="205" y="428"/>
                  <a:pt x="207" y="425"/>
                </a:cubicBezTo>
                <a:cubicBezTo>
                  <a:pt x="210" y="421"/>
                  <a:pt x="209" y="418"/>
                  <a:pt x="206" y="413"/>
                </a:cubicBezTo>
                <a:cubicBezTo>
                  <a:pt x="203" y="409"/>
                  <a:pt x="201" y="406"/>
                  <a:pt x="200" y="401"/>
                </a:cubicBezTo>
                <a:cubicBezTo>
                  <a:pt x="198" y="396"/>
                  <a:pt x="205" y="396"/>
                  <a:pt x="208" y="396"/>
                </a:cubicBezTo>
                <a:cubicBezTo>
                  <a:pt x="211" y="396"/>
                  <a:pt x="211" y="396"/>
                  <a:pt x="212" y="393"/>
                </a:cubicBezTo>
                <a:cubicBezTo>
                  <a:pt x="213" y="391"/>
                  <a:pt x="215" y="389"/>
                  <a:pt x="215" y="386"/>
                </a:cubicBezTo>
                <a:cubicBezTo>
                  <a:pt x="215" y="382"/>
                  <a:pt x="213" y="379"/>
                  <a:pt x="210" y="377"/>
                </a:cubicBezTo>
                <a:cubicBezTo>
                  <a:pt x="208" y="376"/>
                  <a:pt x="206" y="375"/>
                  <a:pt x="204" y="375"/>
                </a:cubicBezTo>
                <a:cubicBezTo>
                  <a:pt x="199" y="372"/>
                  <a:pt x="196" y="366"/>
                  <a:pt x="198" y="359"/>
                </a:cubicBezTo>
                <a:cubicBezTo>
                  <a:pt x="198" y="356"/>
                  <a:pt x="199" y="352"/>
                  <a:pt x="200" y="348"/>
                </a:cubicBezTo>
                <a:cubicBezTo>
                  <a:pt x="200" y="345"/>
                  <a:pt x="199" y="344"/>
                  <a:pt x="198" y="341"/>
                </a:cubicBezTo>
                <a:cubicBezTo>
                  <a:pt x="196" y="339"/>
                  <a:pt x="194" y="335"/>
                  <a:pt x="194" y="332"/>
                </a:cubicBezTo>
                <a:cubicBezTo>
                  <a:pt x="194" y="330"/>
                  <a:pt x="195" y="327"/>
                  <a:pt x="195" y="325"/>
                </a:cubicBezTo>
                <a:cubicBezTo>
                  <a:pt x="195" y="321"/>
                  <a:pt x="196" y="320"/>
                  <a:pt x="196" y="317"/>
                </a:cubicBezTo>
                <a:cubicBezTo>
                  <a:pt x="196" y="314"/>
                  <a:pt x="195" y="312"/>
                  <a:pt x="194" y="310"/>
                </a:cubicBezTo>
                <a:cubicBezTo>
                  <a:pt x="193" y="309"/>
                  <a:pt x="191" y="306"/>
                  <a:pt x="192" y="304"/>
                </a:cubicBezTo>
                <a:cubicBezTo>
                  <a:pt x="193" y="302"/>
                  <a:pt x="196" y="299"/>
                  <a:pt x="196" y="297"/>
                </a:cubicBezTo>
                <a:cubicBezTo>
                  <a:pt x="197" y="295"/>
                  <a:pt x="195" y="294"/>
                  <a:pt x="196" y="292"/>
                </a:cubicBezTo>
                <a:cubicBezTo>
                  <a:pt x="198" y="289"/>
                  <a:pt x="200" y="288"/>
                  <a:pt x="201" y="286"/>
                </a:cubicBezTo>
                <a:cubicBezTo>
                  <a:pt x="204" y="283"/>
                  <a:pt x="206" y="280"/>
                  <a:pt x="209" y="278"/>
                </a:cubicBezTo>
                <a:cubicBezTo>
                  <a:pt x="211" y="276"/>
                  <a:pt x="214" y="274"/>
                  <a:pt x="218" y="273"/>
                </a:cubicBezTo>
                <a:cubicBezTo>
                  <a:pt x="223" y="272"/>
                  <a:pt x="229" y="273"/>
                  <a:pt x="235" y="274"/>
                </a:cubicBezTo>
                <a:cubicBezTo>
                  <a:pt x="240" y="275"/>
                  <a:pt x="245" y="275"/>
                  <a:pt x="246" y="268"/>
                </a:cubicBezTo>
                <a:cubicBezTo>
                  <a:pt x="247" y="263"/>
                  <a:pt x="246" y="258"/>
                  <a:pt x="242" y="256"/>
                </a:cubicBezTo>
                <a:cubicBezTo>
                  <a:pt x="238" y="255"/>
                  <a:pt x="234" y="253"/>
                  <a:pt x="237" y="248"/>
                </a:cubicBezTo>
                <a:cubicBezTo>
                  <a:pt x="240" y="243"/>
                  <a:pt x="244" y="239"/>
                  <a:pt x="248" y="235"/>
                </a:cubicBezTo>
                <a:cubicBezTo>
                  <a:pt x="250" y="233"/>
                  <a:pt x="252" y="230"/>
                  <a:pt x="253" y="227"/>
                </a:cubicBezTo>
                <a:cubicBezTo>
                  <a:pt x="255" y="224"/>
                  <a:pt x="255" y="221"/>
                  <a:pt x="255" y="217"/>
                </a:cubicBezTo>
                <a:cubicBezTo>
                  <a:pt x="255" y="210"/>
                  <a:pt x="259" y="205"/>
                  <a:pt x="257" y="198"/>
                </a:cubicBezTo>
                <a:cubicBezTo>
                  <a:pt x="256" y="196"/>
                  <a:pt x="254" y="193"/>
                  <a:pt x="256" y="192"/>
                </a:cubicBezTo>
                <a:cubicBezTo>
                  <a:pt x="259" y="190"/>
                  <a:pt x="263" y="191"/>
                  <a:pt x="266" y="190"/>
                </a:cubicBezTo>
                <a:cubicBezTo>
                  <a:pt x="269" y="189"/>
                  <a:pt x="280" y="188"/>
                  <a:pt x="279" y="182"/>
                </a:cubicBezTo>
                <a:cubicBezTo>
                  <a:pt x="279" y="181"/>
                  <a:pt x="277" y="178"/>
                  <a:pt x="278" y="176"/>
                </a:cubicBezTo>
                <a:cubicBezTo>
                  <a:pt x="280" y="175"/>
                  <a:pt x="282" y="174"/>
                  <a:pt x="284" y="172"/>
                </a:cubicBezTo>
                <a:cubicBezTo>
                  <a:pt x="288" y="168"/>
                  <a:pt x="292" y="163"/>
                  <a:pt x="296" y="159"/>
                </a:cubicBezTo>
                <a:cubicBezTo>
                  <a:pt x="298" y="157"/>
                  <a:pt x="302" y="156"/>
                  <a:pt x="302" y="153"/>
                </a:cubicBezTo>
                <a:cubicBezTo>
                  <a:pt x="302" y="151"/>
                  <a:pt x="301" y="149"/>
                  <a:pt x="300" y="147"/>
                </a:cubicBezTo>
                <a:cubicBezTo>
                  <a:pt x="299" y="145"/>
                  <a:pt x="291" y="137"/>
                  <a:pt x="298" y="137"/>
                </a:cubicBezTo>
                <a:cubicBezTo>
                  <a:pt x="304" y="136"/>
                  <a:pt x="306" y="132"/>
                  <a:pt x="309" y="126"/>
                </a:cubicBezTo>
                <a:cubicBezTo>
                  <a:pt x="311" y="120"/>
                  <a:pt x="316" y="120"/>
                  <a:pt x="321" y="116"/>
                </a:cubicBezTo>
                <a:cubicBezTo>
                  <a:pt x="324" y="114"/>
                  <a:pt x="324" y="115"/>
                  <a:pt x="327" y="115"/>
                </a:cubicBezTo>
                <a:cubicBezTo>
                  <a:pt x="330" y="116"/>
                  <a:pt x="333" y="117"/>
                  <a:pt x="335" y="118"/>
                </a:cubicBezTo>
                <a:cubicBezTo>
                  <a:pt x="340" y="120"/>
                  <a:pt x="344" y="113"/>
                  <a:pt x="343" y="108"/>
                </a:cubicBezTo>
                <a:cubicBezTo>
                  <a:pt x="343" y="106"/>
                  <a:pt x="342" y="100"/>
                  <a:pt x="344" y="98"/>
                </a:cubicBezTo>
                <a:cubicBezTo>
                  <a:pt x="345" y="96"/>
                  <a:pt x="350" y="97"/>
                  <a:pt x="352" y="97"/>
                </a:cubicBezTo>
                <a:cubicBezTo>
                  <a:pt x="355" y="98"/>
                  <a:pt x="358" y="98"/>
                  <a:pt x="361" y="99"/>
                </a:cubicBezTo>
                <a:cubicBezTo>
                  <a:pt x="365" y="99"/>
                  <a:pt x="369" y="100"/>
                  <a:pt x="372" y="101"/>
                </a:cubicBezTo>
                <a:cubicBezTo>
                  <a:pt x="378" y="102"/>
                  <a:pt x="386" y="106"/>
                  <a:pt x="391" y="103"/>
                </a:cubicBezTo>
                <a:cubicBezTo>
                  <a:pt x="392" y="103"/>
                  <a:pt x="396" y="100"/>
                  <a:pt x="394" y="99"/>
                </a:cubicBezTo>
                <a:cubicBezTo>
                  <a:pt x="393" y="98"/>
                  <a:pt x="391" y="98"/>
                  <a:pt x="389" y="97"/>
                </a:cubicBezTo>
                <a:cubicBezTo>
                  <a:pt x="393" y="96"/>
                  <a:pt x="396" y="92"/>
                  <a:pt x="397" y="88"/>
                </a:cubicBezTo>
                <a:cubicBezTo>
                  <a:pt x="398" y="84"/>
                  <a:pt x="394" y="81"/>
                  <a:pt x="392" y="79"/>
                </a:cubicBezTo>
                <a:cubicBezTo>
                  <a:pt x="394" y="78"/>
                  <a:pt x="397" y="78"/>
                  <a:pt x="400" y="78"/>
                </a:cubicBezTo>
                <a:cubicBezTo>
                  <a:pt x="401" y="78"/>
                  <a:pt x="403" y="79"/>
                  <a:pt x="404" y="78"/>
                </a:cubicBezTo>
                <a:cubicBezTo>
                  <a:pt x="405" y="78"/>
                  <a:pt x="406" y="77"/>
                  <a:pt x="408" y="76"/>
                </a:cubicBezTo>
                <a:cubicBezTo>
                  <a:pt x="409" y="76"/>
                  <a:pt x="411" y="77"/>
                  <a:pt x="413" y="77"/>
                </a:cubicBezTo>
                <a:cubicBezTo>
                  <a:pt x="418" y="78"/>
                  <a:pt x="413" y="72"/>
                  <a:pt x="416" y="70"/>
                </a:cubicBezTo>
                <a:cubicBezTo>
                  <a:pt x="420" y="67"/>
                  <a:pt x="425" y="69"/>
                  <a:pt x="430" y="72"/>
                </a:cubicBezTo>
                <a:cubicBezTo>
                  <a:pt x="435" y="75"/>
                  <a:pt x="440" y="79"/>
                  <a:pt x="443" y="81"/>
                </a:cubicBezTo>
                <a:cubicBezTo>
                  <a:pt x="445" y="83"/>
                  <a:pt x="447" y="85"/>
                  <a:pt x="448" y="87"/>
                </a:cubicBezTo>
                <a:cubicBezTo>
                  <a:pt x="450" y="90"/>
                  <a:pt x="452" y="90"/>
                  <a:pt x="455" y="91"/>
                </a:cubicBezTo>
                <a:cubicBezTo>
                  <a:pt x="461" y="92"/>
                  <a:pt x="467" y="93"/>
                  <a:pt x="473" y="93"/>
                </a:cubicBezTo>
                <a:cubicBezTo>
                  <a:pt x="476" y="93"/>
                  <a:pt x="480" y="92"/>
                  <a:pt x="483" y="91"/>
                </a:cubicBezTo>
                <a:cubicBezTo>
                  <a:pt x="485" y="90"/>
                  <a:pt x="484" y="87"/>
                  <a:pt x="487" y="87"/>
                </a:cubicBezTo>
                <a:cubicBezTo>
                  <a:pt x="492" y="87"/>
                  <a:pt x="497" y="91"/>
                  <a:pt x="502" y="92"/>
                </a:cubicBezTo>
                <a:cubicBezTo>
                  <a:pt x="506" y="92"/>
                  <a:pt x="508" y="94"/>
                  <a:pt x="511" y="96"/>
                </a:cubicBezTo>
                <a:cubicBezTo>
                  <a:pt x="514" y="98"/>
                  <a:pt x="513" y="95"/>
                  <a:pt x="515" y="95"/>
                </a:cubicBezTo>
                <a:cubicBezTo>
                  <a:pt x="521" y="94"/>
                  <a:pt x="518" y="88"/>
                  <a:pt x="521" y="86"/>
                </a:cubicBezTo>
                <a:cubicBezTo>
                  <a:pt x="524" y="84"/>
                  <a:pt x="527" y="84"/>
                  <a:pt x="530" y="85"/>
                </a:cubicBezTo>
                <a:cubicBezTo>
                  <a:pt x="531" y="85"/>
                  <a:pt x="533" y="82"/>
                  <a:pt x="534" y="81"/>
                </a:cubicBezTo>
                <a:cubicBezTo>
                  <a:pt x="535" y="79"/>
                  <a:pt x="533" y="77"/>
                  <a:pt x="533" y="75"/>
                </a:cubicBezTo>
                <a:cubicBezTo>
                  <a:pt x="532" y="72"/>
                  <a:pt x="531" y="70"/>
                  <a:pt x="533" y="67"/>
                </a:cubicBezTo>
                <a:cubicBezTo>
                  <a:pt x="534" y="65"/>
                  <a:pt x="533" y="60"/>
                  <a:pt x="535" y="59"/>
                </a:cubicBezTo>
                <a:cubicBezTo>
                  <a:pt x="537" y="58"/>
                  <a:pt x="536" y="56"/>
                  <a:pt x="536" y="55"/>
                </a:cubicBezTo>
                <a:cubicBezTo>
                  <a:pt x="535" y="53"/>
                  <a:pt x="540" y="53"/>
                  <a:pt x="541" y="52"/>
                </a:cubicBezTo>
                <a:cubicBezTo>
                  <a:pt x="543" y="51"/>
                  <a:pt x="544" y="49"/>
                  <a:pt x="546" y="47"/>
                </a:cubicBezTo>
                <a:cubicBezTo>
                  <a:pt x="549" y="44"/>
                  <a:pt x="554" y="43"/>
                  <a:pt x="558" y="45"/>
                </a:cubicBezTo>
                <a:cubicBezTo>
                  <a:pt x="559" y="45"/>
                  <a:pt x="569" y="45"/>
                  <a:pt x="568" y="43"/>
                </a:cubicBezTo>
                <a:cubicBezTo>
                  <a:pt x="571" y="42"/>
                  <a:pt x="574" y="40"/>
                  <a:pt x="577" y="39"/>
                </a:cubicBezTo>
                <a:cubicBezTo>
                  <a:pt x="580" y="39"/>
                  <a:pt x="583" y="40"/>
                  <a:pt x="586" y="42"/>
                </a:cubicBezTo>
                <a:cubicBezTo>
                  <a:pt x="589" y="45"/>
                  <a:pt x="592" y="45"/>
                  <a:pt x="595" y="47"/>
                </a:cubicBezTo>
                <a:cubicBezTo>
                  <a:pt x="596" y="50"/>
                  <a:pt x="597" y="50"/>
                  <a:pt x="598" y="50"/>
                </a:cubicBezTo>
                <a:cubicBezTo>
                  <a:pt x="600" y="51"/>
                  <a:pt x="601" y="51"/>
                  <a:pt x="603" y="52"/>
                </a:cubicBezTo>
                <a:cubicBezTo>
                  <a:pt x="608" y="53"/>
                  <a:pt x="613" y="53"/>
                  <a:pt x="618" y="58"/>
                </a:cubicBezTo>
                <a:cubicBezTo>
                  <a:pt x="622" y="63"/>
                  <a:pt x="620" y="64"/>
                  <a:pt x="615" y="67"/>
                </a:cubicBezTo>
                <a:cubicBezTo>
                  <a:pt x="610" y="72"/>
                  <a:pt x="610" y="75"/>
                  <a:pt x="615" y="79"/>
                </a:cubicBezTo>
                <a:cubicBezTo>
                  <a:pt x="616" y="81"/>
                  <a:pt x="624" y="75"/>
                  <a:pt x="622" y="70"/>
                </a:cubicBezTo>
                <a:cubicBezTo>
                  <a:pt x="622" y="68"/>
                  <a:pt x="635" y="66"/>
                  <a:pt x="636" y="66"/>
                </a:cubicBezTo>
                <a:cubicBezTo>
                  <a:pt x="639" y="65"/>
                  <a:pt x="641" y="63"/>
                  <a:pt x="642" y="60"/>
                </a:cubicBezTo>
                <a:cubicBezTo>
                  <a:pt x="643" y="56"/>
                  <a:pt x="641" y="57"/>
                  <a:pt x="639" y="56"/>
                </a:cubicBezTo>
                <a:cubicBezTo>
                  <a:pt x="643" y="54"/>
                  <a:pt x="646" y="58"/>
                  <a:pt x="649" y="59"/>
                </a:cubicBezTo>
                <a:cubicBezTo>
                  <a:pt x="651" y="60"/>
                  <a:pt x="654" y="60"/>
                  <a:pt x="657" y="60"/>
                </a:cubicBezTo>
                <a:cubicBezTo>
                  <a:pt x="659" y="60"/>
                  <a:pt x="661" y="57"/>
                  <a:pt x="659" y="55"/>
                </a:cubicBezTo>
                <a:close/>
                <a:moveTo>
                  <a:pt x="280" y="130"/>
                </a:moveTo>
                <a:cubicBezTo>
                  <a:pt x="281" y="130"/>
                  <a:pt x="281" y="130"/>
                  <a:pt x="282" y="131"/>
                </a:cubicBezTo>
                <a:cubicBezTo>
                  <a:pt x="281" y="131"/>
                  <a:pt x="281" y="130"/>
                  <a:pt x="280" y="130"/>
                </a:cubicBezTo>
                <a:close/>
                <a:moveTo>
                  <a:pt x="231" y="169"/>
                </a:moveTo>
                <a:cubicBezTo>
                  <a:pt x="233" y="169"/>
                  <a:pt x="237" y="168"/>
                  <a:pt x="238" y="168"/>
                </a:cubicBezTo>
                <a:cubicBezTo>
                  <a:pt x="236" y="168"/>
                  <a:pt x="233" y="169"/>
                  <a:pt x="231" y="169"/>
                </a:cubicBezTo>
                <a:close/>
                <a:moveTo>
                  <a:pt x="12" y="374"/>
                </a:moveTo>
                <a:cubicBezTo>
                  <a:pt x="13" y="374"/>
                  <a:pt x="12" y="373"/>
                  <a:pt x="11" y="373"/>
                </a:cubicBezTo>
                <a:cubicBezTo>
                  <a:pt x="12" y="373"/>
                  <a:pt x="13" y="373"/>
                  <a:pt x="15" y="374"/>
                </a:cubicBezTo>
                <a:cubicBezTo>
                  <a:pt x="14" y="375"/>
                  <a:pt x="13" y="375"/>
                  <a:pt x="12" y="374"/>
                </a:cubicBezTo>
                <a:close/>
                <a:moveTo>
                  <a:pt x="10" y="384"/>
                </a:moveTo>
                <a:cubicBezTo>
                  <a:pt x="10" y="384"/>
                  <a:pt x="11" y="385"/>
                  <a:pt x="11" y="385"/>
                </a:cubicBezTo>
                <a:cubicBezTo>
                  <a:pt x="11" y="385"/>
                  <a:pt x="8" y="384"/>
                  <a:pt x="8" y="384"/>
                </a:cubicBezTo>
                <a:cubicBezTo>
                  <a:pt x="9" y="384"/>
                  <a:pt x="11" y="383"/>
                  <a:pt x="12" y="383"/>
                </a:cubicBezTo>
                <a:cubicBezTo>
                  <a:pt x="14" y="382"/>
                  <a:pt x="18" y="382"/>
                  <a:pt x="20" y="383"/>
                </a:cubicBezTo>
                <a:cubicBezTo>
                  <a:pt x="17" y="384"/>
                  <a:pt x="13" y="383"/>
                  <a:pt x="10" y="384"/>
                </a:cubicBezTo>
                <a:close/>
                <a:moveTo>
                  <a:pt x="17" y="380"/>
                </a:moveTo>
                <a:cubicBezTo>
                  <a:pt x="16" y="380"/>
                  <a:pt x="16" y="379"/>
                  <a:pt x="15" y="379"/>
                </a:cubicBezTo>
                <a:cubicBezTo>
                  <a:pt x="17" y="380"/>
                  <a:pt x="24" y="375"/>
                  <a:pt x="24" y="379"/>
                </a:cubicBezTo>
                <a:cubicBezTo>
                  <a:pt x="22" y="378"/>
                  <a:pt x="20" y="380"/>
                  <a:pt x="17" y="380"/>
                </a:cubicBezTo>
                <a:close/>
                <a:moveTo>
                  <a:pt x="52" y="402"/>
                </a:moveTo>
                <a:cubicBezTo>
                  <a:pt x="52" y="402"/>
                  <a:pt x="53" y="401"/>
                  <a:pt x="53" y="401"/>
                </a:cubicBezTo>
                <a:cubicBezTo>
                  <a:pt x="53" y="401"/>
                  <a:pt x="52" y="402"/>
                  <a:pt x="52" y="402"/>
                </a:cubicBezTo>
                <a:close/>
                <a:moveTo>
                  <a:pt x="112" y="307"/>
                </a:moveTo>
                <a:cubicBezTo>
                  <a:pt x="112" y="307"/>
                  <a:pt x="112" y="306"/>
                  <a:pt x="113" y="305"/>
                </a:cubicBezTo>
                <a:cubicBezTo>
                  <a:pt x="112" y="306"/>
                  <a:pt x="112" y="306"/>
                  <a:pt x="112" y="307"/>
                </a:cubicBezTo>
                <a:close/>
                <a:moveTo>
                  <a:pt x="189" y="233"/>
                </a:moveTo>
                <a:cubicBezTo>
                  <a:pt x="188" y="234"/>
                  <a:pt x="187" y="235"/>
                  <a:pt x="186" y="235"/>
                </a:cubicBezTo>
                <a:cubicBezTo>
                  <a:pt x="187" y="235"/>
                  <a:pt x="188" y="233"/>
                  <a:pt x="189" y="233"/>
                </a:cubicBezTo>
                <a:close/>
                <a:moveTo>
                  <a:pt x="177" y="241"/>
                </a:moveTo>
                <a:cubicBezTo>
                  <a:pt x="179" y="240"/>
                  <a:pt x="182" y="240"/>
                  <a:pt x="182" y="240"/>
                </a:cubicBezTo>
                <a:cubicBezTo>
                  <a:pt x="181" y="241"/>
                  <a:pt x="179" y="241"/>
                  <a:pt x="177" y="241"/>
                </a:cubicBezTo>
                <a:close/>
                <a:moveTo>
                  <a:pt x="196" y="238"/>
                </a:moveTo>
                <a:cubicBezTo>
                  <a:pt x="194" y="238"/>
                  <a:pt x="193" y="238"/>
                  <a:pt x="191" y="239"/>
                </a:cubicBezTo>
                <a:cubicBezTo>
                  <a:pt x="190" y="239"/>
                  <a:pt x="188" y="239"/>
                  <a:pt x="186" y="240"/>
                </a:cubicBezTo>
                <a:cubicBezTo>
                  <a:pt x="187" y="239"/>
                  <a:pt x="187" y="239"/>
                  <a:pt x="188" y="239"/>
                </a:cubicBezTo>
                <a:cubicBezTo>
                  <a:pt x="192" y="237"/>
                  <a:pt x="199" y="236"/>
                  <a:pt x="203" y="240"/>
                </a:cubicBezTo>
                <a:cubicBezTo>
                  <a:pt x="201" y="240"/>
                  <a:pt x="198" y="239"/>
                  <a:pt x="196" y="238"/>
                </a:cubicBezTo>
                <a:close/>
                <a:moveTo>
                  <a:pt x="391" y="58"/>
                </a:moveTo>
                <a:cubicBezTo>
                  <a:pt x="390" y="58"/>
                  <a:pt x="388" y="58"/>
                  <a:pt x="386" y="57"/>
                </a:cubicBezTo>
                <a:cubicBezTo>
                  <a:pt x="388" y="58"/>
                  <a:pt x="390" y="58"/>
                  <a:pt x="391" y="58"/>
                </a:cubicBezTo>
                <a:close/>
              </a:path>
            </a:pathLst>
          </a:custGeom>
          <a:solidFill>
            <a:schemeClr val="bg1">
              <a:lumMod val="85000"/>
            </a:schemeClr>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79">
            <a:extLst>
              <a:ext uri="{FF2B5EF4-FFF2-40B4-BE49-F238E27FC236}">
                <a16:creationId xmlns:a16="http://schemas.microsoft.com/office/drawing/2014/main" id="{3CF1D79B-E281-4CBD-B7C6-AC3206A03628}"/>
              </a:ext>
            </a:extLst>
          </p:cNvPr>
          <p:cNvSpPr>
            <a:spLocks/>
          </p:cNvSpPr>
          <p:nvPr/>
        </p:nvSpPr>
        <p:spPr bwMode="auto">
          <a:xfrm>
            <a:off x="2381160" y="2905117"/>
            <a:ext cx="63753" cy="33373"/>
          </a:xfrm>
          <a:custGeom>
            <a:avLst/>
            <a:gdLst>
              <a:gd name="T0" fmla="*/ 7 w 23"/>
              <a:gd name="T1" fmla="*/ 4 h 12"/>
              <a:gd name="T2" fmla="*/ 11 w 23"/>
              <a:gd name="T3" fmla="*/ 5 h 12"/>
              <a:gd name="T4" fmla="*/ 0 w 23"/>
              <a:gd name="T5" fmla="*/ 8 h 12"/>
              <a:gd name="T6" fmla="*/ 12 w 23"/>
              <a:gd name="T7" fmla="*/ 8 h 12"/>
              <a:gd name="T8" fmla="*/ 20 w 23"/>
              <a:gd name="T9" fmla="*/ 7 h 12"/>
              <a:gd name="T10" fmla="*/ 23 w 23"/>
              <a:gd name="T11" fmla="*/ 5 h 12"/>
              <a:gd name="T12" fmla="*/ 22 w 23"/>
              <a:gd name="T13" fmla="*/ 4 h 12"/>
              <a:gd name="T14" fmla="*/ 21 w 23"/>
              <a:gd name="T15" fmla="*/ 3 h 12"/>
              <a:gd name="T16" fmla="*/ 18 w 23"/>
              <a:gd name="T17" fmla="*/ 4 h 12"/>
              <a:gd name="T18" fmla="*/ 16 w 23"/>
              <a:gd name="T19" fmla="*/ 2 h 12"/>
              <a:gd name="T20" fmla="*/ 14 w 23"/>
              <a:gd name="T21" fmla="*/ 2 h 12"/>
              <a:gd name="T22" fmla="*/ 7 w 23"/>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2">
                <a:moveTo>
                  <a:pt x="7" y="4"/>
                </a:moveTo>
                <a:cubicBezTo>
                  <a:pt x="8" y="4"/>
                  <a:pt x="10" y="4"/>
                  <a:pt x="11" y="5"/>
                </a:cubicBezTo>
                <a:cubicBezTo>
                  <a:pt x="9" y="5"/>
                  <a:pt x="0" y="4"/>
                  <a:pt x="0" y="8"/>
                </a:cubicBezTo>
                <a:cubicBezTo>
                  <a:pt x="4" y="12"/>
                  <a:pt x="8" y="9"/>
                  <a:pt x="12" y="8"/>
                </a:cubicBezTo>
                <a:cubicBezTo>
                  <a:pt x="15" y="8"/>
                  <a:pt x="17" y="8"/>
                  <a:pt x="20" y="7"/>
                </a:cubicBezTo>
                <a:cubicBezTo>
                  <a:pt x="20" y="7"/>
                  <a:pt x="23" y="5"/>
                  <a:pt x="23" y="5"/>
                </a:cubicBezTo>
                <a:cubicBezTo>
                  <a:pt x="22" y="5"/>
                  <a:pt x="22" y="5"/>
                  <a:pt x="22" y="4"/>
                </a:cubicBezTo>
                <a:cubicBezTo>
                  <a:pt x="22" y="3"/>
                  <a:pt x="21" y="3"/>
                  <a:pt x="21" y="3"/>
                </a:cubicBezTo>
                <a:cubicBezTo>
                  <a:pt x="20" y="3"/>
                  <a:pt x="19" y="4"/>
                  <a:pt x="18" y="4"/>
                </a:cubicBezTo>
                <a:cubicBezTo>
                  <a:pt x="19" y="2"/>
                  <a:pt x="17" y="0"/>
                  <a:pt x="16" y="2"/>
                </a:cubicBezTo>
                <a:cubicBezTo>
                  <a:pt x="15" y="3"/>
                  <a:pt x="15" y="2"/>
                  <a:pt x="14" y="2"/>
                </a:cubicBezTo>
                <a:cubicBezTo>
                  <a:pt x="12" y="2"/>
                  <a:pt x="8" y="2"/>
                  <a:pt x="7" y="4"/>
                </a:cubicBezTo>
                <a:close/>
              </a:path>
            </a:pathLst>
          </a:custGeom>
          <a:solidFill>
            <a:schemeClr val="bg1">
              <a:lumMod val="85000"/>
            </a:schemeClr>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1" name="Freeform 81">
            <a:extLst>
              <a:ext uri="{FF2B5EF4-FFF2-40B4-BE49-F238E27FC236}">
                <a16:creationId xmlns:a16="http://schemas.microsoft.com/office/drawing/2014/main" id="{D2523A59-41E6-4A31-B247-309052C4CA12}"/>
              </a:ext>
            </a:extLst>
          </p:cNvPr>
          <p:cNvSpPr>
            <a:spLocks/>
          </p:cNvSpPr>
          <p:nvPr/>
        </p:nvSpPr>
        <p:spPr bwMode="auto">
          <a:xfrm>
            <a:off x="2107259" y="3105355"/>
            <a:ext cx="41322" cy="22646"/>
          </a:xfrm>
          <a:custGeom>
            <a:avLst/>
            <a:gdLst>
              <a:gd name="T0" fmla="*/ 12 w 15"/>
              <a:gd name="T1" fmla="*/ 3 h 8"/>
              <a:gd name="T2" fmla="*/ 15 w 15"/>
              <a:gd name="T3" fmla="*/ 3 h 8"/>
              <a:gd name="T4" fmla="*/ 3 w 15"/>
              <a:gd name="T5" fmla="*/ 3 h 8"/>
              <a:gd name="T6" fmla="*/ 7 w 15"/>
              <a:gd name="T7" fmla="*/ 4 h 8"/>
              <a:gd name="T8" fmla="*/ 12 w 15"/>
              <a:gd name="T9" fmla="*/ 3 h 8"/>
            </a:gdLst>
            <a:ahLst/>
            <a:cxnLst>
              <a:cxn ang="0">
                <a:pos x="T0" y="T1"/>
              </a:cxn>
              <a:cxn ang="0">
                <a:pos x="T2" y="T3"/>
              </a:cxn>
              <a:cxn ang="0">
                <a:pos x="T4" y="T5"/>
              </a:cxn>
              <a:cxn ang="0">
                <a:pos x="T6" y="T7"/>
              </a:cxn>
              <a:cxn ang="0">
                <a:pos x="T8" y="T9"/>
              </a:cxn>
            </a:cxnLst>
            <a:rect l="0" t="0" r="r" b="b"/>
            <a:pathLst>
              <a:path w="15" h="8">
                <a:moveTo>
                  <a:pt x="12" y="3"/>
                </a:moveTo>
                <a:cubicBezTo>
                  <a:pt x="12" y="4"/>
                  <a:pt x="13" y="4"/>
                  <a:pt x="15" y="3"/>
                </a:cubicBezTo>
                <a:cubicBezTo>
                  <a:pt x="12" y="0"/>
                  <a:pt x="5" y="0"/>
                  <a:pt x="3" y="3"/>
                </a:cubicBezTo>
                <a:cubicBezTo>
                  <a:pt x="4" y="3"/>
                  <a:pt x="6" y="4"/>
                  <a:pt x="7" y="4"/>
                </a:cubicBezTo>
                <a:cubicBezTo>
                  <a:pt x="0" y="8"/>
                  <a:pt x="12" y="4"/>
                  <a:pt x="12" y="3"/>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2" name="Freeform 82">
            <a:extLst>
              <a:ext uri="{FF2B5EF4-FFF2-40B4-BE49-F238E27FC236}">
                <a16:creationId xmlns:a16="http://schemas.microsoft.com/office/drawing/2014/main" id="{8AD5F92C-B03B-4071-A08F-55CAD05A9A78}"/>
              </a:ext>
            </a:extLst>
          </p:cNvPr>
          <p:cNvSpPr>
            <a:spLocks/>
          </p:cNvSpPr>
          <p:nvPr/>
        </p:nvSpPr>
        <p:spPr bwMode="auto">
          <a:xfrm>
            <a:off x="2140316" y="3324663"/>
            <a:ext cx="22432" cy="36949"/>
          </a:xfrm>
          <a:custGeom>
            <a:avLst/>
            <a:gdLst>
              <a:gd name="T0" fmla="*/ 1 w 8"/>
              <a:gd name="T1" fmla="*/ 9 h 13"/>
              <a:gd name="T2" fmla="*/ 2 w 8"/>
              <a:gd name="T3" fmla="*/ 8 h 13"/>
              <a:gd name="T4" fmla="*/ 7 w 8"/>
              <a:gd name="T5" fmla="*/ 9 h 13"/>
              <a:gd name="T6" fmla="*/ 1 w 8"/>
              <a:gd name="T7" fmla="*/ 3 h 13"/>
              <a:gd name="T8" fmla="*/ 0 w 8"/>
              <a:gd name="T9" fmla="*/ 6 h 13"/>
              <a:gd name="T10" fmla="*/ 1 w 8"/>
              <a:gd name="T11" fmla="*/ 9 h 13"/>
            </a:gdLst>
            <a:ahLst/>
            <a:cxnLst>
              <a:cxn ang="0">
                <a:pos x="T0" y="T1"/>
              </a:cxn>
              <a:cxn ang="0">
                <a:pos x="T2" y="T3"/>
              </a:cxn>
              <a:cxn ang="0">
                <a:pos x="T4" y="T5"/>
              </a:cxn>
              <a:cxn ang="0">
                <a:pos x="T6" y="T7"/>
              </a:cxn>
              <a:cxn ang="0">
                <a:pos x="T8" y="T9"/>
              </a:cxn>
              <a:cxn ang="0">
                <a:pos x="T10" y="T11"/>
              </a:cxn>
            </a:cxnLst>
            <a:rect l="0" t="0" r="r" b="b"/>
            <a:pathLst>
              <a:path w="8" h="13">
                <a:moveTo>
                  <a:pt x="1" y="9"/>
                </a:moveTo>
                <a:cubicBezTo>
                  <a:pt x="2" y="9"/>
                  <a:pt x="2" y="9"/>
                  <a:pt x="2" y="8"/>
                </a:cubicBezTo>
                <a:cubicBezTo>
                  <a:pt x="2" y="13"/>
                  <a:pt x="8" y="13"/>
                  <a:pt x="7" y="9"/>
                </a:cubicBezTo>
                <a:cubicBezTo>
                  <a:pt x="7" y="7"/>
                  <a:pt x="4" y="0"/>
                  <a:pt x="1" y="3"/>
                </a:cubicBezTo>
                <a:cubicBezTo>
                  <a:pt x="2" y="4"/>
                  <a:pt x="0" y="5"/>
                  <a:pt x="0" y="6"/>
                </a:cubicBezTo>
                <a:cubicBezTo>
                  <a:pt x="1" y="6"/>
                  <a:pt x="0" y="8"/>
                  <a:pt x="1" y="9"/>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84">
            <a:extLst>
              <a:ext uri="{FF2B5EF4-FFF2-40B4-BE49-F238E27FC236}">
                <a16:creationId xmlns:a16="http://schemas.microsoft.com/office/drawing/2014/main" id="{3AD4DF56-B271-460E-9DF0-CC4F0A65E852}"/>
              </a:ext>
            </a:extLst>
          </p:cNvPr>
          <p:cNvSpPr>
            <a:spLocks/>
          </p:cNvSpPr>
          <p:nvPr/>
        </p:nvSpPr>
        <p:spPr bwMode="auto">
          <a:xfrm>
            <a:off x="2191082" y="3045761"/>
            <a:ext cx="22432" cy="25030"/>
          </a:xfrm>
          <a:custGeom>
            <a:avLst/>
            <a:gdLst>
              <a:gd name="T0" fmla="*/ 8 w 8"/>
              <a:gd name="T1" fmla="*/ 4 h 9"/>
              <a:gd name="T2" fmla="*/ 6 w 8"/>
              <a:gd name="T3" fmla="*/ 3 h 9"/>
              <a:gd name="T4" fmla="*/ 6 w 8"/>
              <a:gd name="T5" fmla="*/ 2 h 9"/>
              <a:gd name="T6" fmla="*/ 1 w 8"/>
              <a:gd name="T7" fmla="*/ 2 h 9"/>
              <a:gd name="T8" fmla="*/ 1 w 8"/>
              <a:gd name="T9" fmla="*/ 8 h 9"/>
              <a:gd name="T10" fmla="*/ 8 w 8"/>
              <a:gd name="T11" fmla="*/ 4 h 9"/>
            </a:gdLst>
            <a:ahLst/>
            <a:cxnLst>
              <a:cxn ang="0">
                <a:pos x="T0" y="T1"/>
              </a:cxn>
              <a:cxn ang="0">
                <a:pos x="T2" y="T3"/>
              </a:cxn>
              <a:cxn ang="0">
                <a:pos x="T4" y="T5"/>
              </a:cxn>
              <a:cxn ang="0">
                <a:pos x="T6" y="T7"/>
              </a:cxn>
              <a:cxn ang="0">
                <a:pos x="T8" y="T9"/>
              </a:cxn>
              <a:cxn ang="0">
                <a:pos x="T10" y="T11"/>
              </a:cxn>
            </a:cxnLst>
            <a:rect l="0" t="0" r="r" b="b"/>
            <a:pathLst>
              <a:path w="8" h="9">
                <a:moveTo>
                  <a:pt x="8" y="4"/>
                </a:moveTo>
                <a:cubicBezTo>
                  <a:pt x="7" y="3"/>
                  <a:pt x="6" y="3"/>
                  <a:pt x="6" y="3"/>
                </a:cubicBezTo>
                <a:cubicBezTo>
                  <a:pt x="6" y="3"/>
                  <a:pt x="6" y="3"/>
                  <a:pt x="6" y="2"/>
                </a:cubicBezTo>
                <a:cubicBezTo>
                  <a:pt x="6" y="0"/>
                  <a:pt x="2" y="0"/>
                  <a:pt x="1" y="2"/>
                </a:cubicBezTo>
                <a:cubicBezTo>
                  <a:pt x="0" y="4"/>
                  <a:pt x="3" y="6"/>
                  <a:pt x="1" y="8"/>
                </a:cubicBezTo>
                <a:cubicBezTo>
                  <a:pt x="3" y="9"/>
                  <a:pt x="6" y="6"/>
                  <a:pt x="8" y="4"/>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4" name="Freeform 85">
            <a:extLst>
              <a:ext uri="{FF2B5EF4-FFF2-40B4-BE49-F238E27FC236}">
                <a16:creationId xmlns:a16="http://schemas.microsoft.com/office/drawing/2014/main" id="{488E6B6C-F9E0-41C2-899E-8C8EAC9DEB0F}"/>
              </a:ext>
            </a:extLst>
          </p:cNvPr>
          <p:cNvSpPr>
            <a:spLocks/>
          </p:cNvSpPr>
          <p:nvPr/>
        </p:nvSpPr>
        <p:spPr bwMode="auto">
          <a:xfrm>
            <a:off x="2336297" y="2927763"/>
            <a:ext cx="35418" cy="16686"/>
          </a:xfrm>
          <a:custGeom>
            <a:avLst/>
            <a:gdLst>
              <a:gd name="T0" fmla="*/ 5 w 13"/>
              <a:gd name="T1" fmla="*/ 5 h 6"/>
              <a:gd name="T2" fmla="*/ 9 w 13"/>
              <a:gd name="T3" fmla="*/ 6 h 6"/>
              <a:gd name="T4" fmla="*/ 13 w 13"/>
              <a:gd name="T5" fmla="*/ 5 h 6"/>
              <a:gd name="T6" fmla="*/ 10 w 13"/>
              <a:gd name="T7" fmla="*/ 1 h 6"/>
              <a:gd name="T8" fmla="*/ 6 w 13"/>
              <a:gd name="T9" fmla="*/ 2 h 6"/>
              <a:gd name="T10" fmla="*/ 5 w 13"/>
              <a:gd name="T11" fmla="*/ 5 h 6"/>
            </a:gdLst>
            <a:ahLst/>
            <a:cxnLst>
              <a:cxn ang="0">
                <a:pos x="T0" y="T1"/>
              </a:cxn>
              <a:cxn ang="0">
                <a:pos x="T2" y="T3"/>
              </a:cxn>
              <a:cxn ang="0">
                <a:pos x="T4" y="T5"/>
              </a:cxn>
              <a:cxn ang="0">
                <a:pos x="T6" y="T7"/>
              </a:cxn>
              <a:cxn ang="0">
                <a:pos x="T8" y="T9"/>
              </a:cxn>
              <a:cxn ang="0">
                <a:pos x="T10" y="T11"/>
              </a:cxn>
            </a:cxnLst>
            <a:rect l="0" t="0" r="r" b="b"/>
            <a:pathLst>
              <a:path w="13" h="6">
                <a:moveTo>
                  <a:pt x="5" y="5"/>
                </a:moveTo>
                <a:cubicBezTo>
                  <a:pt x="4" y="6"/>
                  <a:pt x="8" y="6"/>
                  <a:pt x="9" y="6"/>
                </a:cubicBezTo>
                <a:cubicBezTo>
                  <a:pt x="10" y="6"/>
                  <a:pt x="11" y="6"/>
                  <a:pt x="13" y="5"/>
                </a:cubicBezTo>
                <a:cubicBezTo>
                  <a:pt x="13" y="4"/>
                  <a:pt x="11" y="0"/>
                  <a:pt x="10" y="1"/>
                </a:cubicBezTo>
                <a:cubicBezTo>
                  <a:pt x="8" y="1"/>
                  <a:pt x="7" y="1"/>
                  <a:pt x="6" y="2"/>
                </a:cubicBezTo>
                <a:cubicBezTo>
                  <a:pt x="3" y="2"/>
                  <a:pt x="0" y="5"/>
                  <a:pt x="5" y="5"/>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5" name="Freeform 87">
            <a:extLst>
              <a:ext uri="{FF2B5EF4-FFF2-40B4-BE49-F238E27FC236}">
                <a16:creationId xmlns:a16="http://schemas.microsoft.com/office/drawing/2014/main" id="{8A44980A-895F-49D3-B87D-79892E3E5642}"/>
              </a:ext>
            </a:extLst>
          </p:cNvPr>
          <p:cNvSpPr>
            <a:spLocks/>
          </p:cNvSpPr>
          <p:nvPr/>
        </p:nvSpPr>
        <p:spPr bwMode="auto">
          <a:xfrm>
            <a:off x="3080819" y="1698894"/>
            <a:ext cx="33057" cy="36949"/>
          </a:xfrm>
          <a:custGeom>
            <a:avLst/>
            <a:gdLst>
              <a:gd name="T0" fmla="*/ 10 w 12"/>
              <a:gd name="T1" fmla="*/ 7 h 13"/>
              <a:gd name="T2" fmla="*/ 7 w 12"/>
              <a:gd name="T3" fmla="*/ 4 h 13"/>
              <a:gd name="T4" fmla="*/ 7 w 12"/>
              <a:gd name="T5" fmla="*/ 1 h 13"/>
              <a:gd name="T6" fmla="*/ 5 w 12"/>
              <a:gd name="T7" fmla="*/ 4 h 13"/>
              <a:gd name="T8" fmla="*/ 0 w 12"/>
              <a:gd name="T9" fmla="*/ 12 h 13"/>
              <a:gd name="T10" fmla="*/ 5 w 12"/>
              <a:gd name="T11" fmla="*/ 7 h 13"/>
              <a:gd name="T12" fmla="*/ 10 w 12"/>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10" y="7"/>
                </a:moveTo>
                <a:cubicBezTo>
                  <a:pt x="12" y="6"/>
                  <a:pt x="8" y="4"/>
                  <a:pt x="7" y="4"/>
                </a:cubicBezTo>
                <a:cubicBezTo>
                  <a:pt x="10" y="4"/>
                  <a:pt x="11" y="0"/>
                  <a:pt x="7" y="1"/>
                </a:cubicBezTo>
                <a:cubicBezTo>
                  <a:pt x="8" y="2"/>
                  <a:pt x="5" y="4"/>
                  <a:pt x="5" y="4"/>
                </a:cubicBezTo>
                <a:cubicBezTo>
                  <a:pt x="4" y="6"/>
                  <a:pt x="2" y="11"/>
                  <a:pt x="0" y="12"/>
                </a:cubicBezTo>
                <a:cubicBezTo>
                  <a:pt x="2" y="13"/>
                  <a:pt x="11" y="9"/>
                  <a:pt x="5" y="7"/>
                </a:cubicBezTo>
                <a:cubicBezTo>
                  <a:pt x="7" y="6"/>
                  <a:pt x="8" y="8"/>
                  <a:pt x="10" y="7"/>
                </a:cubicBezTo>
                <a:close/>
              </a:path>
            </a:pathLst>
          </a:custGeom>
          <a:solidFill>
            <a:schemeClr val="tx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6" name="Freeform 89">
            <a:extLst>
              <a:ext uri="{FF2B5EF4-FFF2-40B4-BE49-F238E27FC236}">
                <a16:creationId xmlns:a16="http://schemas.microsoft.com/office/drawing/2014/main" id="{2BB3F1D0-040D-46DE-8B36-9B9DEC442388}"/>
              </a:ext>
            </a:extLst>
          </p:cNvPr>
          <p:cNvSpPr>
            <a:spLocks/>
          </p:cNvSpPr>
          <p:nvPr/>
        </p:nvSpPr>
        <p:spPr bwMode="auto">
          <a:xfrm>
            <a:off x="2148580" y="3319896"/>
            <a:ext cx="28335" cy="22646"/>
          </a:xfrm>
          <a:custGeom>
            <a:avLst/>
            <a:gdLst>
              <a:gd name="T0" fmla="*/ 7 w 10"/>
              <a:gd name="T1" fmla="*/ 1 h 8"/>
              <a:gd name="T2" fmla="*/ 3 w 10"/>
              <a:gd name="T3" fmla="*/ 3 h 8"/>
              <a:gd name="T4" fmla="*/ 0 w 10"/>
              <a:gd name="T5" fmla="*/ 4 h 8"/>
              <a:gd name="T6" fmla="*/ 3 w 10"/>
              <a:gd name="T7" fmla="*/ 5 h 8"/>
              <a:gd name="T8" fmla="*/ 5 w 10"/>
              <a:gd name="T9" fmla="*/ 8 h 8"/>
              <a:gd name="T10" fmla="*/ 7 w 10"/>
              <a:gd name="T11" fmla="*/ 8 h 8"/>
              <a:gd name="T12" fmla="*/ 8 w 10"/>
              <a:gd name="T13" fmla="*/ 4 h 8"/>
              <a:gd name="T14" fmla="*/ 7 w 10"/>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7" y="1"/>
                </a:moveTo>
                <a:cubicBezTo>
                  <a:pt x="6" y="1"/>
                  <a:pt x="2" y="0"/>
                  <a:pt x="3" y="3"/>
                </a:cubicBezTo>
                <a:cubicBezTo>
                  <a:pt x="4" y="5"/>
                  <a:pt x="0" y="2"/>
                  <a:pt x="0" y="4"/>
                </a:cubicBezTo>
                <a:cubicBezTo>
                  <a:pt x="0" y="5"/>
                  <a:pt x="3" y="6"/>
                  <a:pt x="3" y="5"/>
                </a:cubicBezTo>
                <a:cubicBezTo>
                  <a:pt x="4" y="6"/>
                  <a:pt x="4" y="7"/>
                  <a:pt x="5" y="8"/>
                </a:cubicBezTo>
                <a:cubicBezTo>
                  <a:pt x="6" y="7"/>
                  <a:pt x="7" y="8"/>
                  <a:pt x="7" y="8"/>
                </a:cubicBezTo>
                <a:cubicBezTo>
                  <a:pt x="8" y="7"/>
                  <a:pt x="7" y="5"/>
                  <a:pt x="8" y="4"/>
                </a:cubicBezTo>
                <a:cubicBezTo>
                  <a:pt x="9" y="3"/>
                  <a:pt x="10" y="0"/>
                  <a:pt x="7" y="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7" name="Freeform 91">
            <a:extLst>
              <a:ext uri="{FF2B5EF4-FFF2-40B4-BE49-F238E27FC236}">
                <a16:creationId xmlns:a16="http://schemas.microsoft.com/office/drawing/2014/main" id="{1815F005-0416-4767-9C07-40F84F524103}"/>
              </a:ext>
            </a:extLst>
          </p:cNvPr>
          <p:cNvSpPr>
            <a:spLocks/>
          </p:cNvSpPr>
          <p:nvPr/>
        </p:nvSpPr>
        <p:spPr bwMode="auto">
          <a:xfrm>
            <a:off x="2375257" y="2944449"/>
            <a:ext cx="24793" cy="22646"/>
          </a:xfrm>
          <a:custGeom>
            <a:avLst/>
            <a:gdLst>
              <a:gd name="T0" fmla="*/ 8 w 9"/>
              <a:gd name="T1" fmla="*/ 6 h 8"/>
              <a:gd name="T2" fmla="*/ 4 w 9"/>
              <a:gd name="T3" fmla="*/ 5 h 8"/>
              <a:gd name="T4" fmla="*/ 3 w 9"/>
              <a:gd name="T5" fmla="*/ 3 h 8"/>
              <a:gd name="T6" fmla="*/ 3 w 9"/>
              <a:gd name="T7" fmla="*/ 4 h 8"/>
              <a:gd name="T8" fmla="*/ 0 w 9"/>
              <a:gd name="T9" fmla="*/ 3 h 8"/>
              <a:gd name="T10" fmla="*/ 1 w 9"/>
              <a:gd name="T11" fmla="*/ 5 h 8"/>
              <a:gd name="T12" fmla="*/ 8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8" y="6"/>
                </a:moveTo>
                <a:cubicBezTo>
                  <a:pt x="9" y="4"/>
                  <a:pt x="3" y="0"/>
                  <a:pt x="4" y="5"/>
                </a:cubicBezTo>
                <a:cubicBezTo>
                  <a:pt x="4" y="4"/>
                  <a:pt x="3" y="3"/>
                  <a:pt x="3" y="3"/>
                </a:cubicBezTo>
                <a:cubicBezTo>
                  <a:pt x="3" y="3"/>
                  <a:pt x="3" y="4"/>
                  <a:pt x="3" y="4"/>
                </a:cubicBezTo>
                <a:cubicBezTo>
                  <a:pt x="2" y="3"/>
                  <a:pt x="2" y="2"/>
                  <a:pt x="0" y="3"/>
                </a:cubicBezTo>
                <a:cubicBezTo>
                  <a:pt x="1" y="3"/>
                  <a:pt x="1" y="4"/>
                  <a:pt x="1" y="5"/>
                </a:cubicBezTo>
                <a:cubicBezTo>
                  <a:pt x="2" y="6"/>
                  <a:pt x="8" y="8"/>
                  <a:pt x="8" y="6"/>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8" name="Freeform 93">
            <a:extLst>
              <a:ext uri="{FF2B5EF4-FFF2-40B4-BE49-F238E27FC236}">
                <a16:creationId xmlns:a16="http://schemas.microsoft.com/office/drawing/2014/main" id="{34CBFAAF-041A-437B-8492-AEA60335613F}"/>
              </a:ext>
            </a:extLst>
          </p:cNvPr>
          <p:cNvSpPr>
            <a:spLocks/>
          </p:cNvSpPr>
          <p:nvPr/>
        </p:nvSpPr>
        <p:spPr bwMode="auto">
          <a:xfrm>
            <a:off x="2477970" y="3844328"/>
            <a:ext cx="92087" cy="72706"/>
          </a:xfrm>
          <a:custGeom>
            <a:avLst/>
            <a:gdLst>
              <a:gd name="T0" fmla="*/ 32 w 33"/>
              <a:gd name="T1" fmla="*/ 21 h 26"/>
              <a:gd name="T2" fmla="*/ 32 w 33"/>
              <a:gd name="T3" fmla="*/ 15 h 26"/>
              <a:gd name="T4" fmla="*/ 33 w 33"/>
              <a:gd name="T5" fmla="*/ 16 h 26"/>
              <a:gd name="T6" fmla="*/ 29 w 33"/>
              <a:gd name="T7" fmla="*/ 10 h 26"/>
              <a:gd name="T8" fmla="*/ 25 w 33"/>
              <a:gd name="T9" fmla="*/ 9 h 26"/>
              <a:gd name="T10" fmla="*/ 29 w 33"/>
              <a:gd name="T11" fmla="*/ 6 h 26"/>
              <a:gd name="T12" fmla="*/ 27 w 33"/>
              <a:gd name="T13" fmla="*/ 2 h 26"/>
              <a:gd name="T14" fmla="*/ 26 w 33"/>
              <a:gd name="T15" fmla="*/ 4 h 26"/>
              <a:gd name="T16" fmla="*/ 25 w 33"/>
              <a:gd name="T17" fmla="*/ 6 h 26"/>
              <a:gd name="T18" fmla="*/ 25 w 33"/>
              <a:gd name="T19" fmla="*/ 8 h 26"/>
              <a:gd name="T20" fmla="*/ 21 w 33"/>
              <a:gd name="T21" fmla="*/ 9 h 26"/>
              <a:gd name="T22" fmla="*/ 22 w 33"/>
              <a:gd name="T23" fmla="*/ 6 h 26"/>
              <a:gd name="T24" fmla="*/ 24 w 33"/>
              <a:gd name="T25" fmla="*/ 6 h 26"/>
              <a:gd name="T26" fmla="*/ 17 w 33"/>
              <a:gd name="T27" fmla="*/ 3 h 26"/>
              <a:gd name="T28" fmla="*/ 12 w 33"/>
              <a:gd name="T29" fmla="*/ 3 h 26"/>
              <a:gd name="T30" fmla="*/ 8 w 33"/>
              <a:gd name="T31" fmla="*/ 6 h 26"/>
              <a:gd name="T32" fmla="*/ 4 w 33"/>
              <a:gd name="T33" fmla="*/ 6 h 26"/>
              <a:gd name="T34" fmla="*/ 0 w 33"/>
              <a:gd name="T35" fmla="*/ 7 h 26"/>
              <a:gd name="T36" fmla="*/ 3 w 33"/>
              <a:gd name="T37" fmla="*/ 10 h 26"/>
              <a:gd name="T38" fmla="*/ 0 w 33"/>
              <a:gd name="T39" fmla="*/ 9 h 26"/>
              <a:gd name="T40" fmla="*/ 3 w 33"/>
              <a:gd name="T41" fmla="*/ 10 h 26"/>
              <a:gd name="T42" fmla="*/ 4 w 33"/>
              <a:gd name="T43" fmla="*/ 12 h 26"/>
              <a:gd name="T44" fmla="*/ 3 w 33"/>
              <a:gd name="T45" fmla="*/ 12 h 26"/>
              <a:gd name="T46" fmla="*/ 5 w 33"/>
              <a:gd name="T47" fmla="*/ 14 h 26"/>
              <a:gd name="T48" fmla="*/ 7 w 33"/>
              <a:gd name="T49" fmla="*/ 19 h 26"/>
              <a:gd name="T50" fmla="*/ 8 w 33"/>
              <a:gd name="T51" fmla="*/ 23 h 26"/>
              <a:gd name="T52" fmla="*/ 9 w 33"/>
              <a:gd name="T53" fmla="*/ 23 h 26"/>
              <a:gd name="T54" fmla="*/ 11 w 33"/>
              <a:gd name="T55" fmla="*/ 21 h 26"/>
              <a:gd name="T56" fmla="*/ 11 w 33"/>
              <a:gd name="T57" fmla="*/ 24 h 26"/>
              <a:gd name="T58" fmla="*/ 17 w 33"/>
              <a:gd name="T59" fmla="*/ 25 h 26"/>
              <a:gd name="T60" fmla="*/ 22 w 33"/>
              <a:gd name="T61" fmla="*/ 26 h 26"/>
              <a:gd name="T62" fmla="*/ 27 w 33"/>
              <a:gd name="T63" fmla="*/ 26 h 26"/>
              <a:gd name="T64" fmla="*/ 32 w 33"/>
              <a:gd name="T65"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6">
                <a:moveTo>
                  <a:pt x="32" y="21"/>
                </a:moveTo>
                <a:cubicBezTo>
                  <a:pt x="32" y="20"/>
                  <a:pt x="32" y="15"/>
                  <a:pt x="32" y="15"/>
                </a:cubicBezTo>
                <a:cubicBezTo>
                  <a:pt x="32" y="15"/>
                  <a:pt x="32" y="15"/>
                  <a:pt x="33" y="16"/>
                </a:cubicBezTo>
                <a:cubicBezTo>
                  <a:pt x="32" y="13"/>
                  <a:pt x="31" y="11"/>
                  <a:pt x="29" y="10"/>
                </a:cubicBezTo>
                <a:cubicBezTo>
                  <a:pt x="27" y="9"/>
                  <a:pt x="26" y="10"/>
                  <a:pt x="25" y="9"/>
                </a:cubicBezTo>
                <a:cubicBezTo>
                  <a:pt x="27" y="7"/>
                  <a:pt x="31" y="10"/>
                  <a:pt x="29" y="6"/>
                </a:cubicBezTo>
                <a:cubicBezTo>
                  <a:pt x="29" y="5"/>
                  <a:pt x="28" y="3"/>
                  <a:pt x="27" y="2"/>
                </a:cubicBezTo>
                <a:cubicBezTo>
                  <a:pt x="26" y="2"/>
                  <a:pt x="27" y="4"/>
                  <a:pt x="26" y="4"/>
                </a:cubicBezTo>
                <a:cubicBezTo>
                  <a:pt x="26" y="5"/>
                  <a:pt x="27" y="6"/>
                  <a:pt x="25" y="6"/>
                </a:cubicBezTo>
                <a:cubicBezTo>
                  <a:pt x="26" y="7"/>
                  <a:pt x="26" y="7"/>
                  <a:pt x="25" y="8"/>
                </a:cubicBezTo>
                <a:cubicBezTo>
                  <a:pt x="24" y="8"/>
                  <a:pt x="22" y="10"/>
                  <a:pt x="21" y="9"/>
                </a:cubicBezTo>
                <a:cubicBezTo>
                  <a:pt x="22" y="10"/>
                  <a:pt x="23" y="5"/>
                  <a:pt x="22" y="6"/>
                </a:cubicBezTo>
                <a:cubicBezTo>
                  <a:pt x="23" y="5"/>
                  <a:pt x="24" y="6"/>
                  <a:pt x="24" y="6"/>
                </a:cubicBezTo>
                <a:cubicBezTo>
                  <a:pt x="23" y="5"/>
                  <a:pt x="18" y="0"/>
                  <a:pt x="17" y="3"/>
                </a:cubicBezTo>
                <a:cubicBezTo>
                  <a:pt x="16" y="2"/>
                  <a:pt x="14" y="3"/>
                  <a:pt x="12" y="3"/>
                </a:cubicBezTo>
                <a:cubicBezTo>
                  <a:pt x="10" y="4"/>
                  <a:pt x="8" y="6"/>
                  <a:pt x="8" y="6"/>
                </a:cubicBezTo>
                <a:cubicBezTo>
                  <a:pt x="6" y="7"/>
                  <a:pt x="5" y="7"/>
                  <a:pt x="4" y="6"/>
                </a:cubicBezTo>
                <a:cubicBezTo>
                  <a:pt x="2" y="4"/>
                  <a:pt x="1" y="7"/>
                  <a:pt x="0" y="7"/>
                </a:cubicBezTo>
                <a:cubicBezTo>
                  <a:pt x="1" y="8"/>
                  <a:pt x="2" y="8"/>
                  <a:pt x="3" y="10"/>
                </a:cubicBezTo>
                <a:cubicBezTo>
                  <a:pt x="2" y="10"/>
                  <a:pt x="1" y="9"/>
                  <a:pt x="0" y="9"/>
                </a:cubicBezTo>
                <a:cubicBezTo>
                  <a:pt x="1" y="10"/>
                  <a:pt x="2" y="10"/>
                  <a:pt x="3" y="10"/>
                </a:cubicBezTo>
                <a:cubicBezTo>
                  <a:pt x="2" y="11"/>
                  <a:pt x="5" y="11"/>
                  <a:pt x="4" y="12"/>
                </a:cubicBezTo>
                <a:cubicBezTo>
                  <a:pt x="4" y="12"/>
                  <a:pt x="3" y="12"/>
                  <a:pt x="3" y="12"/>
                </a:cubicBezTo>
                <a:cubicBezTo>
                  <a:pt x="3" y="13"/>
                  <a:pt x="4" y="14"/>
                  <a:pt x="5" y="14"/>
                </a:cubicBezTo>
                <a:cubicBezTo>
                  <a:pt x="5" y="16"/>
                  <a:pt x="6" y="18"/>
                  <a:pt x="7" y="19"/>
                </a:cubicBezTo>
                <a:cubicBezTo>
                  <a:pt x="8" y="20"/>
                  <a:pt x="9" y="21"/>
                  <a:pt x="8" y="23"/>
                </a:cubicBezTo>
                <a:cubicBezTo>
                  <a:pt x="9" y="23"/>
                  <a:pt x="9" y="23"/>
                  <a:pt x="9" y="23"/>
                </a:cubicBezTo>
                <a:cubicBezTo>
                  <a:pt x="9" y="21"/>
                  <a:pt x="8" y="20"/>
                  <a:pt x="11" y="21"/>
                </a:cubicBezTo>
                <a:cubicBezTo>
                  <a:pt x="14" y="21"/>
                  <a:pt x="13" y="22"/>
                  <a:pt x="11" y="24"/>
                </a:cubicBezTo>
                <a:cubicBezTo>
                  <a:pt x="13" y="25"/>
                  <a:pt x="15" y="25"/>
                  <a:pt x="17" y="25"/>
                </a:cubicBezTo>
                <a:cubicBezTo>
                  <a:pt x="19" y="26"/>
                  <a:pt x="20" y="26"/>
                  <a:pt x="22" y="26"/>
                </a:cubicBezTo>
                <a:cubicBezTo>
                  <a:pt x="23" y="26"/>
                  <a:pt x="25" y="26"/>
                  <a:pt x="27" y="26"/>
                </a:cubicBezTo>
                <a:cubicBezTo>
                  <a:pt x="30" y="25"/>
                  <a:pt x="31" y="25"/>
                  <a:pt x="32" y="21"/>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9" name="Freeform 94">
            <a:extLst>
              <a:ext uri="{FF2B5EF4-FFF2-40B4-BE49-F238E27FC236}">
                <a16:creationId xmlns:a16="http://schemas.microsoft.com/office/drawing/2014/main" id="{B72341F8-948E-4665-8A39-34FE41DB754C}"/>
              </a:ext>
            </a:extLst>
          </p:cNvPr>
          <p:cNvSpPr>
            <a:spLocks/>
          </p:cNvSpPr>
          <p:nvPr/>
        </p:nvSpPr>
        <p:spPr bwMode="auto">
          <a:xfrm>
            <a:off x="2878196" y="3883660"/>
            <a:ext cx="44863" cy="41717"/>
          </a:xfrm>
          <a:custGeom>
            <a:avLst/>
            <a:gdLst>
              <a:gd name="T0" fmla="*/ 10 w 16"/>
              <a:gd name="T1" fmla="*/ 6 h 15"/>
              <a:gd name="T2" fmla="*/ 4 w 16"/>
              <a:gd name="T3" fmla="*/ 3 h 15"/>
              <a:gd name="T4" fmla="*/ 3 w 16"/>
              <a:gd name="T5" fmla="*/ 3 h 15"/>
              <a:gd name="T6" fmla="*/ 3 w 16"/>
              <a:gd name="T7" fmla="*/ 12 h 15"/>
              <a:gd name="T8" fmla="*/ 8 w 16"/>
              <a:gd name="T9" fmla="*/ 14 h 15"/>
              <a:gd name="T10" fmla="*/ 12 w 16"/>
              <a:gd name="T11" fmla="*/ 14 h 15"/>
              <a:gd name="T12" fmla="*/ 10 w 16"/>
              <a:gd name="T13" fmla="*/ 6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10" y="6"/>
                </a:moveTo>
                <a:cubicBezTo>
                  <a:pt x="8" y="5"/>
                  <a:pt x="6" y="4"/>
                  <a:pt x="4" y="3"/>
                </a:cubicBezTo>
                <a:cubicBezTo>
                  <a:pt x="3" y="2"/>
                  <a:pt x="2" y="0"/>
                  <a:pt x="3" y="3"/>
                </a:cubicBezTo>
                <a:cubicBezTo>
                  <a:pt x="1" y="5"/>
                  <a:pt x="0" y="10"/>
                  <a:pt x="3" y="12"/>
                </a:cubicBezTo>
                <a:cubicBezTo>
                  <a:pt x="4" y="12"/>
                  <a:pt x="6" y="13"/>
                  <a:pt x="8" y="14"/>
                </a:cubicBezTo>
                <a:cubicBezTo>
                  <a:pt x="9" y="15"/>
                  <a:pt x="11" y="15"/>
                  <a:pt x="12" y="14"/>
                </a:cubicBezTo>
                <a:cubicBezTo>
                  <a:pt x="16" y="11"/>
                  <a:pt x="13" y="7"/>
                  <a:pt x="10" y="6"/>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0" name="Freeform 95">
            <a:extLst>
              <a:ext uri="{FF2B5EF4-FFF2-40B4-BE49-F238E27FC236}">
                <a16:creationId xmlns:a16="http://schemas.microsoft.com/office/drawing/2014/main" id="{7D0E59C6-6F93-4525-9E5A-FE312D83F91B}"/>
              </a:ext>
            </a:extLst>
          </p:cNvPr>
          <p:cNvSpPr>
            <a:spLocks/>
          </p:cNvSpPr>
          <p:nvPr/>
        </p:nvSpPr>
        <p:spPr bwMode="auto">
          <a:xfrm>
            <a:off x="2473248" y="3914650"/>
            <a:ext cx="38960" cy="25030"/>
          </a:xfrm>
          <a:custGeom>
            <a:avLst/>
            <a:gdLst>
              <a:gd name="T0" fmla="*/ 4 w 14"/>
              <a:gd name="T1" fmla="*/ 0 h 9"/>
              <a:gd name="T2" fmla="*/ 1 w 14"/>
              <a:gd name="T3" fmla="*/ 1 h 9"/>
              <a:gd name="T4" fmla="*/ 2 w 14"/>
              <a:gd name="T5" fmla="*/ 2 h 9"/>
              <a:gd name="T6" fmla="*/ 3 w 14"/>
              <a:gd name="T7" fmla="*/ 3 h 9"/>
              <a:gd name="T8" fmla="*/ 6 w 14"/>
              <a:gd name="T9" fmla="*/ 4 h 9"/>
              <a:gd name="T10" fmla="*/ 4 w 14"/>
              <a:gd name="T11" fmla="*/ 4 h 9"/>
              <a:gd name="T12" fmla="*/ 11 w 14"/>
              <a:gd name="T13" fmla="*/ 9 h 9"/>
              <a:gd name="T14" fmla="*/ 7 w 14"/>
              <a:gd name="T15" fmla="*/ 8 h 9"/>
              <a:gd name="T16" fmla="*/ 12 w 14"/>
              <a:gd name="T17" fmla="*/ 9 h 9"/>
              <a:gd name="T18" fmla="*/ 11 w 14"/>
              <a:gd name="T19" fmla="*/ 4 h 9"/>
              <a:gd name="T20" fmla="*/ 4 w 14"/>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9">
                <a:moveTo>
                  <a:pt x="4" y="0"/>
                </a:moveTo>
                <a:cubicBezTo>
                  <a:pt x="4" y="0"/>
                  <a:pt x="0" y="0"/>
                  <a:pt x="1" y="1"/>
                </a:cubicBezTo>
                <a:cubicBezTo>
                  <a:pt x="1" y="2"/>
                  <a:pt x="1" y="2"/>
                  <a:pt x="2" y="2"/>
                </a:cubicBezTo>
                <a:cubicBezTo>
                  <a:pt x="0" y="3"/>
                  <a:pt x="3" y="3"/>
                  <a:pt x="3" y="3"/>
                </a:cubicBezTo>
                <a:cubicBezTo>
                  <a:pt x="4" y="3"/>
                  <a:pt x="5" y="4"/>
                  <a:pt x="6" y="4"/>
                </a:cubicBezTo>
                <a:cubicBezTo>
                  <a:pt x="6" y="7"/>
                  <a:pt x="5" y="5"/>
                  <a:pt x="4" y="4"/>
                </a:cubicBezTo>
                <a:cubicBezTo>
                  <a:pt x="4" y="9"/>
                  <a:pt x="8" y="7"/>
                  <a:pt x="11" y="9"/>
                </a:cubicBezTo>
                <a:cubicBezTo>
                  <a:pt x="10" y="9"/>
                  <a:pt x="8" y="7"/>
                  <a:pt x="7" y="8"/>
                </a:cubicBezTo>
                <a:cubicBezTo>
                  <a:pt x="7" y="9"/>
                  <a:pt x="11" y="9"/>
                  <a:pt x="12" y="9"/>
                </a:cubicBezTo>
                <a:cubicBezTo>
                  <a:pt x="14" y="8"/>
                  <a:pt x="12" y="6"/>
                  <a:pt x="11" y="4"/>
                </a:cubicBezTo>
                <a:cubicBezTo>
                  <a:pt x="10" y="3"/>
                  <a:pt x="6" y="0"/>
                  <a:pt x="4" y="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1" name="Freeform 96">
            <a:extLst>
              <a:ext uri="{FF2B5EF4-FFF2-40B4-BE49-F238E27FC236}">
                <a16:creationId xmlns:a16="http://schemas.microsoft.com/office/drawing/2014/main" id="{CD264553-9790-4CC5-B4C4-4725A7EF4DC0}"/>
              </a:ext>
            </a:extLst>
          </p:cNvPr>
          <p:cNvSpPr>
            <a:spLocks/>
          </p:cNvSpPr>
          <p:nvPr/>
        </p:nvSpPr>
        <p:spPr bwMode="auto">
          <a:xfrm>
            <a:off x="2366993" y="3866974"/>
            <a:ext cx="236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2" name="Freeform 97">
            <a:extLst>
              <a:ext uri="{FF2B5EF4-FFF2-40B4-BE49-F238E27FC236}">
                <a16:creationId xmlns:a16="http://schemas.microsoft.com/office/drawing/2014/main" id="{16238F45-7659-4FA8-BADE-B919C2329FE9}"/>
              </a:ext>
            </a:extLst>
          </p:cNvPr>
          <p:cNvSpPr>
            <a:spLocks/>
          </p:cNvSpPr>
          <p:nvPr/>
        </p:nvSpPr>
        <p:spPr bwMode="auto">
          <a:xfrm>
            <a:off x="2346922" y="3592839"/>
            <a:ext cx="234941" cy="355184"/>
          </a:xfrm>
          <a:custGeom>
            <a:avLst/>
            <a:gdLst>
              <a:gd name="T0" fmla="*/ 40 w 84"/>
              <a:gd name="T1" fmla="*/ 116 h 126"/>
              <a:gd name="T2" fmla="*/ 47 w 84"/>
              <a:gd name="T3" fmla="*/ 109 h 126"/>
              <a:gd name="T4" fmla="*/ 42 w 84"/>
              <a:gd name="T5" fmla="*/ 97 h 126"/>
              <a:gd name="T6" fmla="*/ 51 w 84"/>
              <a:gd name="T7" fmla="*/ 91 h 126"/>
              <a:gd name="T8" fmla="*/ 43 w 84"/>
              <a:gd name="T9" fmla="*/ 87 h 126"/>
              <a:gd name="T10" fmla="*/ 57 w 84"/>
              <a:gd name="T11" fmla="*/ 85 h 126"/>
              <a:gd name="T12" fmla="*/ 58 w 84"/>
              <a:gd name="T13" fmla="*/ 80 h 126"/>
              <a:gd name="T14" fmla="*/ 64 w 84"/>
              <a:gd name="T15" fmla="*/ 74 h 126"/>
              <a:gd name="T16" fmla="*/ 66 w 84"/>
              <a:gd name="T17" fmla="*/ 64 h 126"/>
              <a:gd name="T18" fmla="*/ 66 w 84"/>
              <a:gd name="T19" fmla="*/ 67 h 126"/>
              <a:gd name="T20" fmla="*/ 72 w 84"/>
              <a:gd name="T21" fmla="*/ 68 h 126"/>
              <a:gd name="T22" fmla="*/ 78 w 84"/>
              <a:gd name="T23" fmla="*/ 64 h 126"/>
              <a:gd name="T24" fmla="*/ 68 w 84"/>
              <a:gd name="T25" fmla="*/ 52 h 126"/>
              <a:gd name="T26" fmla="*/ 63 w 84"/>
              <a:gd name="T27" fmla="*/ 50 h 126"/>
              <a:gd name="T28" fmla="*/ 60 w 84"/>
              <a:gd name="T29" fmla="*/ 45 h 126"/>
              <a:gd name="T30" fmla="*/ 58 w 84"/>
              <a:gd name="T31" fmla="*/ 45 h 126"/>
              <a:gd name="T32" fmla="*/ 64 w 84"/>
              <a:gd name="T33" fmla="*/ 33 h 126"/>
              <a:gd name="T34" fmla="*/ 71 w 84"/>
              <a:gd name="T35" fmla="*/ 22 h 126"/>
              <a:gd name="T36" fmla="*/ 68 w 84"/>
              <a:gd name="T37" fmla="*/ 7 h 126"/>
              <a:gd name="T38" fmla="*/ 53 w 84"/>
              <a:gd name="T39" fmla="*/ 9 h 126"/>
              <a:gd name="T40" fmla="*/ 19 w 84"/>
              <a:gd name="T41" fmla="*/ 28 h 126"/>
              <a:gd name="T42" fmla="*/ 6 w 84"/>
              <a:gd name="T43" fmla="*/ 45 h 126"/>
              <a:gd name="T44" fmla="*/ 16 w 84"/>
              <a:gd name="T45" fmla="*/ 48 h 126"/>
              <a:gd name="T46" fmla="*/ 13 w 84"/>
              <a:gd name="T47" fmla="*/ 45 h 126"/>
              <a:gd name="T48" fmla="*/ 19 w 84"/>
              <a:gd name="T49" fmla="*/ 35 h 126"/>
              <a:gd name="T50" fmla="*/ 31 w 84"/>
              <a:gd name="T51" fmla="*/ 30 h 126"/>
              <a:gd name="T52" fmla="*/ 46 w 84"/>
              <a:gd name="T53" fmla="*/ 29 h 126"/>
              <a:gd name="T54" fmla="*/ 56 w 84"/>
              <a:gd name="T55" fmla="*/ 29 h 126"/>
              <a:gd name="T56" fmla="*/ 55 w 84"/>
              <a:gd name="T57" fmla="*/ 29 h 126"/>
              <a:gd name="T58" fmla="*/ 33 w 84"/>
              <a:gd name="T59" fmla="*/ 36 h 126"/>
              <a:gd name="T60" fmla="*/ 34 w 84"/>
              <a:gd name="T61" fmla="*/ 44 h 126"/>
              <a:gd name="T62" fmla="*/ 38 w 84"/>
              <a:gd name="T63" fmla="*/ 51 h 126"/>
              <a:gd name="T64" fmla="*/ 31 w 84"/>
              <a:gd name="T65" fmla="*/ 48 h 126"/>
              <a:gd name="T66" fmla="*/ 29 w 84"/>
              <a:gd name="T67" fmla="*/ 50 h 126"/>
              <a:gd name="T68" fmla="*/ 23 w 84"/>
              <a:gd name="T69" fmla="*/ 43 h 126"/>
              <a:gd name="T70" fmla="*/ 18 w 84"/>
              <a:gd name="T71" fmla="*/ 48 h 126"/>
              <a:gd name="T72" fmla="*/ 8 w 84"/>
              <a:gd name="T73" fmla="*/ 51 h 126"/>
              <a:gd name="T74" fmla="*/ 5 w 84"/>
              <a:gd name="T75" fmla="*/ 45 h 126"/>
              <a:gd name="T76" fmla="*/ 2 w 84"/>
              <a:gd name="T77" fmla="*/ 63 h 126"/>
              <a:gd name="T78" fmla="*/ 8 w 84"/>
              <a:gd name="T79" fmla="*/ 74 h 126"/>
              <a:gd name="T80" fmla="*/ 4 w 84"/>
              <a:gd name="T81" fmla="*/ 86 h 126"/>
              <a:gd name="T82" fmla="*/ 7 w 84"/>
              <a:gd name="T83" fmla="*/ 93 h 126"/>
              <a:gd name="T84" fmla="*/ 17 w 84"/>
              <a:gd name="T85" fmla="*/ 105 h 126"/>
              <a:gd name="T86" fmla="*/ 17 w 84"/>
              <a:gd name="T87" fmla="*/ 120 h 126"/>
              <a:gd name="T88" fmla="*/ 34 w 84"/>
              <a:gd name="T89" fmla="*/ 124 h 126"/>
              <a:gd name="T90" fmla="*/ 45 w 84"/>
              <a:gd name="T91" fmla="*/ 122 h 126"/>
              <a:gd name="T92" fmla="*/ 47 w 84"/>
              <a:gd name="T93"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26">
                <a:moveTo>
                  <a:pt x="47" y="117"/>
                </a:moveTo>
                <a:cubicBezTo>
                  <a:pt x="45" y="117"/>
                  <a:pt x="45" y="115"/>
                  <a:pt x="43" y="116"/>
                </a:cubicBezTo>
                <a:cubicBezTo>
                  <a:pt x="43" y="116"/>
                  <a:pt x="39" y="116"/>
                  <a:pt x="40" y="116"/>
                </a:cubicBezTo>
                <a:cubicBezTo>
                  <a:pt x="42" y="114"/>
                  <a:pt x="44" y="114"/>
                  <a:pt x="40" y="112"/>
                </a:cubicBezTo>
                <a:cubicBezTo>
                  <a:pt x="41" y="112"/>
                  <a:pt x="41" y="112"/>
                  <a:pt x="42" y="112"/>
                </a:cubicBezTo>
                <a:cubicBezTo>
                  <a:pt x="40" y="111"/>
                  <a:pt x="46" y="109"/>
                  <a:pt x="47" y="109"/>
                </a:cubicBezTo>
                <a:cubicBezTo>
                  <a:pt x="48" y="107"/>
                  <a:pt x="46" y="105"/>
                  <a:pt x="45" y="104"/>
                </a:cubicBezTo>
                <a:cubicBezTo>
                  <a:pt x="46" y="102"/>
                  <a:pt x="43" y="100"/>
                  <a:pt x="45" y="98"/>
                </a:cubicBezTo>
                <a:cubicBezTo>
                  <a:pt x="48" y="96"/>
                  <a:pt x="42" y="97"/>
                  <a:pt x="42" y="97"/>
                </a:cubicBezTo>
                <a:cubicBezTo>
                  <a:pt x="42" y="96"/>
                  <a:pt x="43" y="95"/>
                  <a:pt x="44" y="95"/>
                </a:cubicBezTo>
                <a:cubicBezTo>
                  <a:pt x="45" y="95"/>
                  <a:pt x="46" y="95"/>
                  <a:pt x="47" y="95"/>
                </a:cubicBezTo>
                <a:cubicBezTo>
                  <a:pt x="49" y="94"/>
                  <a:pt x="50" y="92"/>
                  <a:pt x="51" y="91"/>
                </a:cubicBezTo>
                <a:cubicBezTo>
                  <a:pt x="50" y="91"/>
                  <a:pt x="49" y="91"/>
                  <a:pt x="49" y="91"/>
                </a:cubicBezTo>
                <a:cubicBezTo>
                  <a:pt x="48" y="90"/>
                  <a:pt x="48" y="90"/>
                  <a:pt x="47" y="89"/>
                </a:cubicBezTo>
                <a:cubicBezTo>
                  <a:pt x="46" y="88"/>
                  <a:pt x="45" y="88"/>
                  <a:pt x="43" y="87"/>
                </a:cubicBezTo>
                <a:cubicBezTo>
                  <a:pt x="46" y="86"/>
                  <a:pt x="48" y="89"/>
                  <a:pt x="51" y="89"/>
                </a:cubicBezTo>
                <a:cubicBezTo>
                  <a:pt x="52" y="88"/>
                  <a:pt x="55" y="88"/>
                  <a:pt x="56" y="87"/>
                </a:cubicBezTo>
                <a:cubicBezTo>
                  <a:pt x="56" y="87"/>
                  <a:pt x="57" y="86"/>
                  <a:pt x="57" y="85"/>
                </a:cubicBezTo>
                <a:cubicBezTo>
                  <a:pt x="55" y="85"/>
                  <a:pt x="58" y="83"/>
                  <a:pt x="56" y="82"/>
                </a:cubicBezTo>
                <a:cubicBezTo>
                  <a:pt x="55" y="82"/>
                  <a:pt x="54" y="82"/>
                  <a:pt x="52" y="82"/>
                </a:cubicBezTo>
                <a:cubicBezTo>
                  <a:pt x="54" y="80"/>
                  <a:pt x="56" y="80"/>
                  <a:pt x="58" y="80"/>
                </a:cubicBezTo>
                <a:cubicBezTo>
                  <a:pt x="59" y="80"/>
                  <a:pt x="60" y="82"/>
                  <a:pt x="61" y="82"/>
                </a:cubicBezTo>
                <a:cubicBezTo>
                  <a:pt x="61" y="82"/>
                  <a:pt x="62" y="79"/>
                  <a:pt x="62" y="79"/>
                </a:cubicBezTo>
                <a:cubicBezTo>
                  <a:pt x="64" y="77"/>
                  <a:pt x="63" y="75"/>
                  <a:pt x="64" y="74"/>
                </a:cubicBezTo>
                <a:cubicBezTo>
                  <a:pt x="63" y="74"/>
                  <a:pt x="63" y="74"/>
                  <a:pt x="62" y="74"/>
                </a:cubicBezTo>
                <a:cubicBezTo>
                  <a:pt x="64" y="72"/>
                  <a:pt x="61" y="70"/>
                  <a:pt x="62" y="68"/>
                </a:cubicBezTo>
                <a:cubicBezTo>
                  <a:pt x="63" y="67"/>
                  <a:pt x="65" y="66"/>
                  <a:pt x="66" y="64"/>
                </a:cubicBezTo>
                <a:cubicBezTo>
                  <a:pt x="67" y="63"/>
                  <a:pt x="69" y="61"/>
                  <a:pt x="70" y="64"/>
                </a:cubicBezTo>
                <a:cubicBezTo>
                  <a:pt x="70" y="63"/>
                  <a:pt x="69" y="66"/>
                  <a:pt x="70" y="66"/>
                </a:cubicBezTo>
                <a:cubicBezTo>
                  <a:pt x="69" y="66"/>
                  <a:pt x="66" y="65"/>
                  <a:pt x="66" y="67"/>
                </a:cubicBezTo>
                <a:cubicBezTo>
                  <a:pt x="66" y="69"/>
                  <a:pt x="70" y="66"/>
                  <a:pt x="70" y="68"/>
                </a:cubicBezTo>
                <a:cubicBezTo>
                  <a:pt x="71" y="68"/>
                  <a:pt x="69" y="71"/>
                  <a:pt x="71" y="71"/>
                </a:cubicBezTo>
                <a:cubicBezTo>
                  <a:pt x="72" y="71"/>
                  <a:pt x="72" y="69"/>
                  <a:pt x="72" y="68"/>
                </a:cubicBezTo>
                <a:cubicBezTo>
                  <a:pt x="72" y="66"/>
                  <a:pt x="76" y="64"/>
                  <a:pt x="75" y="67"/>
                </a:cubicBezTo>
                <a:cubicBezTo>
                  <a:pt x="75" y="68"/>
                  <a:pt x="77" y="69"/>
                  <a:pt x="77" y="68"/>
                </a:cubicBezTo>
                <a:cubicBezTo>
                  <a:pt x="77" y="66"/>
                  <a:pt x="77" y="65"/>
                  <a:pt x="78" y="64"/>
                </a:cubicBezTo>
                <a:cubicBezTo>
                  <a:pt x="80" y="62"/>
                  <a:pt x="84" y="58"/>
                  <a:pt x="82" y="55"/>
                </a:cubicBezTo>
                <a:cubicBezTo>
                  <a:pt x="80" y="51"/>
                  <a:pt x="77" y="52"/>
                  <a:pt x="73" y="53"/>
                </a:cubicBezTo>
                <a:cubicBezTo>
                  <a:pt x="72" y="53"/>
                  <a:pt x="69" y="53"/>
                  <a:pt x="68" y="52"/>
                </a:cubicBezTo>
                <a:cubicBezTo>
                  <a:pt x="66" y="51"/>
                  <a:pt x="66" y="49"/>
                  <a:pt x="65" y="49"/>
                </a:cubicBezTo>
                <a:cubicBezTo>
                  <a:pt x="61" y="50"/>
                  <a:pt x="64" y="55"/>
                  <a:pt x="61" y="55"/>
                </a:cubicBezTo>
                <a:cubicBezTo>
                  <a:pt x="62" y="53"/>
                  <a:pt x="62" y="51"/>
                  <a:pt x="63" y="50"/>
                </a:cubicBezTo>
                <a:cubicBezTo>
                  <a:pt x="64" y="49"/>
                  <a:pt x="66" y="49"/>
                  <a:pt x="66" y="48"/>
                </a:cubicBezTo>
                <a:cubicBezTo>
                  <a:pt x="67" y="45"/>
                  <a:pt x="64" y="45"/>
                  <a:pt x="62" y="45"/>
                </a:cubicBezTo>
                <a:cubicBezTo>
                  <a:pt x="61" y="45"/>
                  <a:pt x="61" y="45"/>
                  <a:pt x="60" y="45"/>
                </a:cubicBezTo>
                <a:cubicBezTo>
                  <a:pt x="60" y="45"/>
                  <a:pt x="59" y="46"/>
                  <a:pt x="58" y="46"/>
                </a:cubicBezTo>
                <a:cubicBezTo>
                  <a:pt x="56" y="46"/>
                  <a:pt x="53" y="49"/>
                  <a:pt x="50" y="47"/>
                </a:cubicBezTo>
                <a:cubicBezTo>
                  <a:pt x="53" y="47"/>
                  <a:pt x="56" y="46"/>
                  <a:pt x="58" y="45"/>
                </a:cubicBezTo>
                <a:cubicBezTo>
                  <a:pt x="60" y="44"/>
                  <a:pt x="63" y="45"/>
                  <a:pt x="65" y="44"/>
                </a:cubicBezTo>
                <a:cubicBezTo>
                  <a:pt x="64" y="45"/>
                  <a:pt x="63" y="35"/>
                  <a:pt x="65" y="33"/>
                </a:cubicBezTo>
                <a:cubicBezTo>
                  <a:pt x="64" y="33"/>
                  <a:pt x="64" y="33"/>
                  <a:pt x="64" y="33"/>
                </a:cubicBezTo>
                <a:cubicBezTo>
                  <a:pt x="64" y="33"/>
                  <a:pt x="64" y="33"/>
                  <a:pt x="64" y="33"/>
                </a:cubicBezTo>
                <a:cubicBezTo>
                  <a:pt x="67" y="32"/>
                  <a:pt x="67" y="27"/>
                  <a:pt x="68" y="25"/>
                </a:cubicBezTo>
                <a:cubicBezTo>
                  <a:pt x="69" y="24"/>
                  <a:pt x="70" y="23"/>
                  <a:pt x="71" y="22"/>
                </a:cubicBezTo>
                <a:cubicBezTo>
                  <a:pt x="71" y="21"/>
                  <a:pt x="70" y="19"/>
                  <a:pt x="71" y="17"/>
                </a:cubicBezTo>
                <a:cubicBezTo>
                  <a:pt x="71" y="15"/>
                  <a:pt x="71" y="14"/>
                  <a:pt x="70" y="12"/>
                </a:cubicBezTo>
                <a:cubicBezTo>
                  <a:pt x="69" y="11"/>
                  <a:pt x="68" y="9"/>
                  <a:pt x="68" y="7"/>
                </a:cubicBezTo>
                <a:cubicBezTo>
                  <a:pt x="69" y="4"/>
                  <a:pt x="72" y="3"/>
                  <a:pt x="74" y="1"/>
                </a:cubicBezTo>
                <a:cubicBezTo>
                  <a:pt x="70" y="0"/>
                  <a:pt x="66" y="4"/>
                  <a:pt x="63" y="6"/>
                </a:cubicBezTo>
                <a:cubicBezTo>
                  <a:pt x="60" y="7"/>
                  <a:pt x="56" y="6"/>
                  <a:pt x="53" y="9"/>
                </a:cubicBezTo>
                <a:cubicBezTo>
                  <a:pt x="51" y="12"/>
                  <a:pt x="49" y="15"/>
                  <a:pt x="47" y="19"/>
                </a:cubicBezTo>
                <a:cubicBezTo>
                  <a:pt x="42" y="26"/>
                  <a:pt x="37" y="26"/>
                  <a:pt x="29" y="26"/>
                </a:cubicBezTo>
                <a:cubicBezTo>
                  <a:pt x="25" y="26"/>
                  <a:pt x="22" y="28"/>
                  <a:pt x="19" y="28"/>
                </a:cubicBezTo>
                <a:cubicBezTo>
                  <a:pt x="17" y="27"/>
                  <a:pt x="16" y="28"/>
                  <a:pt x="14" y="30"/>
                </a:cubicBezTo>
                <a:cubicBezTo>
                  <a:pt x="12" y="32"/>
                  <a:pt x="9" y="35"/>
                  <a:pt x="8" y="38"/>
                </a:cubicBezTo>
                <a:cubicBezTo>
                  <a:pt x="6" y="40"/>
                  <a:pt x="6" y="42"/>
                  <a:pt x="6" y="45"/>
                </a:cubicBezTo>
                <a:cubicBezTo>
                  <a:pt x="7" y="44"/>
                  <a:pt x="6" y="39"/>
                  <a:pt x="8" y="44"/>
                </a:cubicBezTo>
                <a:cubicBezTo>
                  <a:pt x="9" y="46"/>
                  <a:pt x="13" y="49"/>
                  <a:pt x="14" y="50"/>
                </a:cubicBezTo>
                <a:cubicBezTo>
                  <a:pt x="15" y="49"/>
                  <a:pt x="16" y="49"/>
                  <a:pt x="16" y="48"/>
                </a:cubicBezTo>
                <a:cubicBezTo>
                  <a:pt x="16" y="49"/>
                  <a:pt x="15" y="45"/>
                  <a:pt x="16" y="46"/>
                </a:cubicBezTo>
                <a:cubicBezTo>
                  <a:pt x="15" y="45"/>
                  <a:pt x="12" y="46"/>
                  <a:pt x="11" y="46"/>
                </a:cubicBezTo>
                <a:cubicBezTo>
                  <a:pt x="11" y="45"/>
                  <a:pt x="13" y="45"/>
                  <a:pt x="13" y="45"/>
                </a:cubicBezTo>
                <a:cubicBezTo>
                  <a:pt x="13" y="45"/>
                  <a:pt x="13" y="45"/>
                  <a:pt x="13" y="44"/>
                </a:cubicBezTo>
                <a:cubicBezTo>
                  <a:pt x="13" y="44"/>
                  <a:pt x="12" y="42"/>
                  <a:pt x="14" y="41"/>
                </a:cubicBezTo>
                <a:cubicBezTo>
                  <a:pt x="16" y="39"/>
                  <a:pt x="17" y="35"/>
                  <a:pt x="19" y="35"/>
                </a:cubicBezTo>
                <a:cubicBezTo>
                  <a:pt x="20" y="35"/>
                  <a:pt x="23" y="34"/>
                  <a:pt x="23" y="33"/>
                </a:cubicBezTo>
                <a:cubicBezTo>
                  <a:pt x="24" y="32"/>
                  <a:pt x="25" y="34"/>
                  <a:pt x="25" y="32"/>
                </a:cubicBezTo>
                <a:cubicBezTo>
                  <a:pt x="26" y="31"/>
                  <a:pt x="31" y="33"/>
                  <a:pt x="31" y="30"/>
                </a:cubicBezTo>
                <a:cubicBezTo>
                  <a:pt x="32" y="31"/>
                  <a:pt x="33" y="33"/>
                  <a:pt x="34" y="32"/>
                </a:cubicBezTo>
                <a:cubicBezTo>
                  <a:pt x="36" y="32"/>
                  <a:pt x="38" y="31"/>
                  <a:pt x="40" y="31"/>
                </a:cubicBezTo>
                <a:cubicBezTo>
                  <a:pt x="42" y="30"/>
                  <a:pt x="44" y="30"/>
                  <a:pt x="46" y="29"/>
                </a:cubicBezTo>
                <a:cubicBezTo>
                  <a:pt x="48" y="29"/>
                  <a:pt x="48" y="30"/>
                  <a:pt x="49" y="28"/>
                </a:cubicBezTo>
                <a:cubicBezTo>
                  <a:pt x="50" y="27"/>
                  <a:pt x="51" y="29"/>
                  <a:pt x="52" y="29"/>
                </a:cubicBezTo>
                <a:cubicBezTo>
                  <a:pt x="54" y="30"/>
                  <a:pt x="55" y="29"/>
                  <a:pt x="56" y="29"/>
                </a:cubicBezTo>
                <a:cubicBezTo>
                  <a:pt x="58" y="29"/>
                  <a:pt x="59" y="31"/>
                  <a:pt x="61" y="32"/>
                </a:cubicBezTo>
                <a:cubicBezTo>
                  <a:pt x="60" y="32"/>
                  <a:pt x="60" y="32"/>
                  <a:pt x="59" y="31"/>
                </a:cubicBezTo>
                <a:cubicBezTo>
                  <a:pt x="58" y="30"/>
                  <a:pt x="56" y="28"/>
                  <a:pt x="55" y="29"/>
                </a:cubicBezTo>
                <a:cubicBezTo>
                  <a:pt x="53" y="30"/>
                  <a:pt x="47" y="29"/>
                  <a:pt x="46" y="32"/>
                </a:cubicBezTo>
                <a:cubicBezTo>
                  <a:pt x="43" y="35"/>
                  <a:pt x="45" y="32"/>
                  <a:pt x="41" y="31"/>
                </a:cubicBezTo>
                <a:cubicBezTo>
                  <a:pt x="38" y="31"/>
                  <a:pt x="34" y="33"/>
                  <a:pt x="33" y="36"/>
                </a:cubicBezTo>
                <a:cubicBezTo>
                  <a:pt x="32" y="38"/>
                  <a:pt x="33" y="37"/>
                  <a:pt x="33" y="39"/>
                </a:cubicBezTo>
                <a:cubicBezTo>
                  <a:pt x="33" y="40"/>
                  <a:pt x="32" y="41"/>
                  <a:pt x="33" y="42"/>
                </a:cubicBezTo>
                <a:cubicBezTo>
                  <a:pt x="33" y="42"/>
                  <a:pt x="34" y="43"/>
                  <a:pt x="34" y="44"/>
                </a:cubicBezTo>
                <a:cubicBezTo>
                  <a:pt x="34" y="44"/>
                  <a:pt x="32" y="46"/>
                  <a:pt x="33" y="46"/>
                </a:cubicBezTo>
                <a:cubicBezTo>
                  <a:pt x="34" y="47"/>
                  <a:pt x="37" y="43"/>
                  <a:pt x="36" y="48"/>
                </a:cubicBezTo>
                <a:cubicBezTo>
                  <a:pt x="36" y="51"/>
                  <a:pt x="36" y="49"/>
                  <a:pt x="38" y="51"/>
                </a:cubicBezTo>
                <a:cubicBezTo>
                  <a:pt x="38" y="52"/>
                  <a:pt x="32" y="53"/>
                  <a:pt x="35" y="49"/>
                </a:cubicBezTo>
                <a:cubicBezTo>
                  <a:pt x="37" y="47"/>
                  <a:pt x="32" y="49"/>
                  <a:pt x="32" y="47"/>
                </a:cubicBezTo>
                <a:cubicBezTo>
                  <a:pt x="31" y="47"/>
                  <a:pt x="31" y="48"/>
                  <a:pt x="31" y="48"/>
                </a:cubicBezTo>
                <a:cubicBezTo>
                  <a:pt x="31" y="48"/>
                  <a:pt x="31" y="48"/>
                  <a:pt x="32" y="49"/>
                </a:cubicBezTo>
                <a:cubicBezTo>
                  <a:pt x="32" y="49"/>
                  <a:pt x="30" y="50"/>
                  <a:pt x="30" y="50"/>
                </a:cubicBezTo>
                <a:cubicBezTo>
                  <a:pt x="30" y="50"/>
                  <a:pt x="29" y="52"/>
                  <a:pt x="29" y="50"/>
                </a:cubicBezTo>
                <a:cubicBezTo>
                  <a:pt x="28" y="47"/>
                  <a:pt x="32" y="46"/>
                  <a:pt x="32" y="44"/>
                </a:cubicBezTo>
                <a:cubicBezTo>
                  <a:pt x="31" y="41"/>
                  <a:pt x="28" y="40"/>
                  <a:pt x="26" y="41"/>
                </a:cubicBezTo>
                <a:cubicBezTo>
                  <a:pt x="25" y="41"/>
                  <a:pt x="23" y="42"/>
                  <a:pt x="23" y="43"/>
                </a:cubicBezTo>
                <a:cubicBezTo>
                  <a:pt x="23" y="45"/>
                  <a:pt x="24" y="44"/>
                  <a:pt x="25" y="45"/>
                </a:cubicBezTo>
                <a:cubicBezTo>
                  <a:pt x="24" y="45"/>
                  <a:pt x="22" y="46"/>
                  <a:pt x="21" y="47"/>
                </a:cubicBezTo>
                <a:cubicBezTo>
                  <a:pt x="20" y="47"/>
                  <a:pt x="18" y="48"/>
                  <a:pt x="18" y="48"/>
                </a:cubicBezTo>
                <a:cubicBezTo>
                  <a:pt x="18" y="50"/>
                  <a:pt x="23" y="52"/>
                  <a:pt x="19" y="54"/>
                </a:cubicBezTo>
                <a:cubicBezTo>
                  <a:pt x="16" y="56"/>
                  <a:pt x="15" y="50"/>
                  <a:pt x="14" y="51"/>
                </a:cubicBezTo>
                <a:cubicBezTo>
                  <a:pt x="13" y="53"/>
                  <a:pt x="8" y="48"/>
                  <a:pt x="8" y="51"/>
                </a:cubicBezTo>
                <a:cubicBezTo>
                  <a:pt x="7" y="50"/>
                  <a:pt x="8" y="50"/>
                  <a:pt x="7" y="49"/>
                </a:cubicBezTo>
                <a:cubicBezTo>
                  <a:pt x="6" y="49"/>
                  <a:pt x="5" y="48"/>
                  <a:pt x="5" y="48"/>
                </a:cubicBezTo>
                <a:cubicBezTo>
                  <a:pt x="5" y="47"/>
                  <a:pt x="6" y="45"/>
                  <a:pt x="5" y="45"/>
                </a:cubicBezTo>
                <a:cubicBezTo>
                  <a:pt x="3" y="45"/>
                  <a:pt x="2" y="50"/>
                  <a:pt x="2" y="53"/>
                </a:cubicBezTo>
                <a:cubicBezTo>
                  <a:pt x="2" y="54"/>
                  <a:pt x="2" y="55"/>
                  <a:pt x="2" y="57"/>
                </a:cubicBezTo>
                <a:cubicBezTo>
                  <a:pt x="2" y="59"/>
                  <a:pt x="2" y="61"/>
                  <a:pt x="2" y="63"/>
                </a:cubicBezTo>
                <a:cubicBezTo>
                  <a:pt x="2" y="65"/>
                  <a:pt x="0" y="74"/>
                  <a:pt x="2" y="75"/>
                </a:cubicBezTo>
                <a:cubicBezTo>
                  <a:pt x="3" y="75"/>
                  <a:pt x="3" y="71"/>
                  <a:pt x="3" y="70"/>
                </a:cubicBezTo>
                <a:cubicBezTo>
                  <a:pt x="4" y="70"/>
                  <a:pt x="8" y="71"/>
                  <a:pt x="8" y="74"/>
                </a:cubicBezTo>
                <a:cubicBezTo>
                  <a:pt x="7" y="76"/>
                  <a:pt x="12" y="78"/>
                  <a:pt x="8" y="80"/>
                </a:cubicBezTo>
                <a:cubicBezTo>
                  <a:pt x="2" y="85"/>
                  <a:pt x="5" y="79"/>
                  <a:pt x="2" y="75"/>
                </a:cubicBezTo>
                <a:cubicBezTo>
                  <a:pt x="2" y="79"/>
                  <a:pt x="4" y="82"/>
                  <a:pt x="4" y="86"/>
                </a:cubicBezTo>
                <a:cubicBezTo>
                  <a:pt x="4" y="88"/>
                  <a:pt x="2" y="90"/>
                  <a:pt x="1" y="92"/>
                </a:cubicBezTo>
                <a:cubicBezTo>
                  <a:pt x="0" y="95"/>
                  <a:pt x="6" y="96"/>
                  <a:pt x="7" y="97"/>
                </a:cubicBezTo>
                <a:cubicBezTo>
                  <a:pt x="6" y="96"/>
                  <a:pt x="4" y="92"/>
                  <a:pt x="7" y="93"/>
                </a:cubicBezTo>
                <a:cubicBezTo>
                  <a:pt x="7" y="93"/>
                  <a:pt x="9" y="96"/>
                  <a:pt x="9" y="96"/>
                </a:cubicBezTo>
                <a:cubicBezTo>
                  <a:pt x="10" y="97"/>
                  <a:pt x="11" y="98"/>
                  <a:pt x="12" y="98"/>
                </a:cubicBezTo>
                <a:cubicBezTo>
                  <a:pt x="16" y="99"/>
                  <a:pt x="17" y="99"/>
                  <a:pt x="17" y="105"/>
                </a:cubicBezTo>
                <a:cubicBezTo>
                  <a:pt x="17" y="106"/>
                  <a:pt x="19" y="112"/>
                  <a:pt x="17" y="112"/>
                </a:cubicBezTo>
                <a:cubicBezTo>
                  <a:pt x="19" y="112"/>
                  <a:pt x="17" y="113"/>
                  <a:pt x="17" y="115"/>
                </a:cubicBezTo>
                <a:cubicBezTo>
                  <a:pt x="17" y="117"/>
                  <a:pt x="17" y="118"/>
                  <a:pt x="17" y="120"/>
                </a:cubicBezTo>
                <a:cubicBezTo>
                  <a:pt x="18" y="123"/>
                  <a:pt x="20" y="122"/>
                  <a:pt x="22" y="121"/>
                </a:cubicBezTo>
                <a:cubicBezTo>
                  <a:pt x="24" y="121"/>
                  <a:pt x="26" y="122"/>
                  <a:pt x="27" y="122"/>
                </a:cubicBezTo>
                <a:cubicBezTo>
                  <a:pt x="28" y="123"/>
                  <a:pt x="33" y="123"/>
                  <a:pt x="34" y="124"/>
                </a:cubicBezTo>
                <a:cubicBezTo>
                  <a:pt x="34" y="126"/>
                  <a:pt x="36" y="126"/>
                  <a:pt x="37" y="125"/>
                </a:cubicBezTo>
                <a:cubicBezTo>
                  <a:pt x="39" y="125"/>
                  <a:pt x="45" y="120"/>
                  <a:pt x="45" y="121"/>
                </a:cubicBezTo>
                <a:cubicBezTo>
                  <a:pt x="45" y="121"/>
                  <a:pt x="45" y="122"/>
                  <a:pt x="45" y="122"/>
                </a:cubicBezTo>
                <a:cubicBezTo>
                  <a:pt x="46" y="124"/>
                  <a:pt x="47" y="123"/>
                  <a:pt x="47" y="124"/>
                </a:cubicBezTo>
                <a:cubicBezTo>
                  <a:pt x="49" y="126"/>
                  <a:pt x="48" y="123"/>
                  <a:pt x="47" y="122"/>
                </a:cubicBezTo>
                <a:cubicBezTo>
                  <a:pt x="50" y="123"/>
                  <a:pt x="48" y="118"/>
                  <a:pt x="47" y="117"/>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3" name="Freeform 98">
            <a:extLst>
              <a:ext uri="{FF2B5EF4-FFF2-40B4-BE49-F238E27FC236}">
                <a16:creationId xmlns:a16="http://schemas.microsoft.com/office/drawing/2014/main" id="{3DD92620-2CAB-481C-A96F-7F7ADA3E18E6}"/>
              </a:ext>
            </a:extLst>
          </p:cNvPr>
          <p:cNvSpPr>
            <a:spLocks/>
          </p:cNvSpPr>
          <p:nvPr/>
        </p:nvSpPr>
        <p:spPr bwMode="auto">
          <a:xfrm>
            <a:off x="2539362" y="3801420"/>
            <a:ext cx="17709" cy="34565"/>
          </a:xfrm>
          <a:custGeom>
            <a:avLst/>
            <a:gdLst>
              <a:gd name="T0" fmla="*/ 4 w 6"/>
              <a:gd name="T1" fmla="*/ 10 h 12"/>
              <a:gd name="T2" fmla="*/ 6 w 6"/>
              <a:gd name="T3" fmla="*/ 5 h 12"/>
              <a:gd name="T4" fmla="*/ 2 w 6"/>
              <a:gd name="T5" fmla="*/ 1 h 12"/>
              <a:gd name="T6" fmla="*/ 3 w 6"/>
              <a:gd name="T7" fmla="*/ 5 h 12"/>
              <a:gd name="T8" fmla="*/ 1 w 6"/>
              <a:gd name="T9" fmla="*/ 8 h 12"/>
              <a:gd name="T10" fmla="*/ 4 w 6"/>
              <a:gd name="T11" fmla="*/ 10 h 12"/>
            </a:gdLst>
            <a:ahLst/>
            <a:cxnLst>
              <a:cxn ang="0">
                <a:pos x="T0" y="T1"/>
              </a:cxn>
              <a:cxn ang="0">
                <a:pos x="T2" y="T3"/>
              </a:cxn>
              <a:cxn ang="0">
                <a:pos x="T4" y="T5"/>
              </a:cxn>
              <a:cxn ang="0">
                <a:pos x="T6" y="T7"/>
              </a:cxn>
              <a:cxn ang="0">
                <a:pos x="T8" y="T9"/>
              </a:cxn>
              <a:cxn ang="0">
                <a:pos x="T10" y="T11"/>
              </a:cxn>
            </a:cxnLst>
            <a:rect l="0" t="0" r="r" b="b"/>
            <a:pathLst>
              <a:path w="6" h="12">
                <a:moveTo>
                  <a:pt x="4" y="10"/>
                </a:moveTo>
                <a:cubicBezTo>
                  <a:pt x="5" y="9"/>
                  <a:pt x="6" y="7"/>
                  <a:pt x="6" y="5"/>
                </a:cubicBezTo>
                <a:cubicBezTo>
                  <a:pt x="6" y="8"/>
                  <a:pt x="3" y="1"/>
                  <a:pt x="2" y="1"/>
                </a:cubicBezTo>
                <a:cubicBezTo>
                  <a:pt x="0" y="0"/>
                  <a:pt x="3" y="5"/>
                  <a:pt x="3" y="5"/>
                </a:cubicBezTo>
                <a:cubicBezTo>
                  <a:pt x="4" y="6"/>
                  <a:pt x="2" y="8"/>
                  <a:pt x="1" y="8"/>
                </a:cubicBezTo>
                <a:cubicBezTo>
                  <a:pt x="1" y="10"/>
                  <a:pt x="3" y="12"/>
                  <a:pt x="4" y="1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4" name="Freeform 99">
            <a:extLst>
              <a:ext uri="{FF2B5EF4-FFF2-40B4-BE49-F238E27FC236}">
                <a16:creationId xmlns:a16="http://schemas.microsoft.com/office/drawing/2014/main" id="{266E6BC6-712C-4BB0-8BDC-33CC2E89A798}"/>
              </a:ext>
            </a:extLst>
          </p:cNvPr>
          <p:cNvSpPr>
            <a:spLocks/>
          </p:cNvSpPr>
          <p:nvPr/>
        </p:nvSpPr>
        <p:spPr bwMode="auto">
          <a:xfrm>
            <a:off x="2573599" y="3787118"/>
            <a:ext cx="141673" cy="191895"/>
          </a:xfrm>
          <a:custGeom>
            <a:avLst/>
            <a:gdLst>
              <a:gd name="T0" fmla="*/ 47 w 51"/>
              <a:gd name="T1" fmla="*/ 2 h 68"/>
              <a:gd name="T2" fmla="*/ 37 w 51"/>
              <a:gd name="T3" fmla="*/ 2 h 68"/>
              <a:gd name="T4" fmla="*/ 30 w 51"/>
              <a:gd name="T5" fmla="*/ 8 h 68"/>
              <a:gd name="T6" fmla="*/ 35 w 51"/>
              <a:gd name="T7" fmla="*/ 19 h 68"/>
              <a:gd name="T8" fmla="*/ 33 w 51"/>
              <a:gd name="T9" fmla="*/ 19 h 68"/>
              <a:gd name="T10" fmla="*/ 34 w 51"/>
              <a:gd name="T11" fmla="*/ 16 h 68"/>
              <a:gd name="T12" fmla="*/ 30 w 51"/>
              <a:gd name="T13" fmla="*/ 14 h 68"/>
              <a:gd name="T14" fmla="*/ 22 w 51"/>
              <a:gd name="T15" fmla="*/ 17 h 68"/>
              <a:gd name="T16" fmla="*/ 21 w 51"/>
              <a:gd name="T17" fmla="*/ 15 h 68"/>
              <a:gd name="T18" fmla="*/ 25 w 51"/>
              <a:gd name="T19" fmla="*/ 10 h 68"/>
              <a:gd name="T20" fmla="*/ 21 w 51"/>
              <a:gd name="T21" fmla="*/ 8 h 68"/>
              <a:gd name="T22" fmla="*/ 18 w 51"/>
              <a:gd name="T23" fmla="*/ 10 h 68"/>
              <a:gd name="T24" fmla="*/ 12 w 51"/>
              <a:gd name="T25" fmla="*/ 17 h 68"/>
              <a:gd name="T26" fmla="*/ 8 w 51"/>
              <a:gd name="T27" fmla="*/ 16 h 68"/>
              <a:gd name="T28" fmla="*/ 0 w 51"/>
              <a:gd name="T29" fmla="*/ 17 h 68"/>
              <a:gd name="T30" fmla="*/ 2 w 51"/>
              <a:gd name="T31" fmla="*/ 20 h 68"/>
              <a:gd name="T32" fmla="*/ 6 w 51"/>
              <a:gd name="T33" fmla="*/ 27 h 68"/>
              <a:gd name="T34" fmla="*/ 10 w 51"/>
              <a:gd name="T35" fmla="*/ 32 h 68"/>
              <a:gd name="T36" fmla="*/ 9 w 51"/>
              <a:gd name="T37" fmla="*/ 34 h 68"/>
              <a:gd name="T38" fmla="*/ 12 w 51"/>
              <a:gd name="T39" fmla="*/ 38 h 68"/>
              <a:gd name="T40" fmla="*/ 16 w 51"/>
              <a:gd name="T41" fmla="*/ 39 h 68"/>
              <a:gd name="T42" fmla="*/ 24 w 51"/>
              <a:gd name="T43" fmla="*/ 39 h 68"/>
              <a:gd name="T44" fmla="*/ 27 w 51"/>
              <a:gd name="T45" fmla="*/ 42 h 68"/>
              <a:gd name="T46" fmla="*/ 28 w 51"/>
              <a:gd name="T47" fmla="*/ 46 h 68"/>
              <a:gd name="T48" fmla="*/ 29 w 51"/>
              <a:gd name="T49" fmla="*/ 49 h 68"/>
              <a:gd name="T50" fmla="*/ 27 w 51"/>
              <a:gd name="T51" fmla="*/ 56 h 68"/>
              <a:gd name="T52" fmla="*/ 26 w 51"/>
              <a:gd name="T53" fmla="*/ 56 h 68"/>
              <a:gd name="T54" fmla="*/ 23 w 51"/>
              <a:gd name="T55" fmla="*/ 54 h 68"/>
              <a:gd name="T56" fmla="*/ 21 w 51"/>
              <a:gd name="T57" fmla="*/ 56 h 68"/>
              <a:gd name="T58" fmla="*/ 9 w 51"/>
              <a:gd name="T59" fmla="*/ 50 h 68"/>
              <a:gd name="T60" fmla="*/ 4 w 51"/>
              <a:gd name="T61" fmla="*/ 57 h 68"/>
              <a:gd name="T62" fmla="*/ 12 w 51"/>
              <a:gd name="T63" fmla="*/ 61 h 68"/>
              <a:gd name="T64" fmla="*/ 24 w 51"/>
              <a:gd name="T65" fmla="*/ 63 h 68"/>
              <a:gd name="T66" fmla="*/ 28 w 51"/>
              <a:gd name="T67" fmla="*/ 59 h 68"/>
              <a:gd name="T68" fmla="*/ 30 w 51"/>
              <a:gd name="T69" fmla="*/ 60 h 68"/>
              <a:gd name="T70" fmla="*/ 32 w 51"/>
              <a:gd name="T71" fmla="*/ 63 h 68"/>
              <a:gd name="T72" fmla="*/ 36 w 51"/>
              <a:gd name="T73" fmla="*/ 53 h 68"/>
              <a:gd name="T74" fmla="*/ 30 w 51"/>
              <a:gd name="T75" fmla="*/ 51 h 68"/>
              <a:gd name="T76" fmla="*/ 33 w 51"/>
              <a:gd name="T77" fmla="*/ 49 h 68"/>
              <a:gd name="T78" fmla="*/ 35 w 51"/>
              <a:gd name="T79" fmla="*/ 43 h 68"/>
              <a:gd name="T80" fmla="*/ 35 w 51"/>
              <a:gd name="T81" fmla="*/ 42 h 68"/>
              <a:gd name="T82" fmla="*/ 40 w 51"/>
              <a:gd name="T83" fmla="*/ 38 h 68"/>
              <a:gd name="T84" fmla="*/ 38 w 51"/>
              <a:gd name="T85" fmla="*/ 29 h 68"/>
              <a:gd name="T86" fmla="*/ 49 w 51"/>
              <a:gd name="T87" fmla="*/ 17 h 68"/>
              <a:gd name="T88" fmla="*/ 47 w 51"/>
              <a:gd name="T89"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 h="68">
                <a:moveTo>
                  <a:pt x="47" y="9"/>
                </a:moveTo>
                <a:cubicBezTo>
                  <a:pt x="47" y="5"/>
                  <a:pt x="51" y="4"/>
                  <a:pt x="47" y="2"/>
                </a:cubicBezTo>
                <a:cubicBezTo>
                  <a:pt x="45" y="1"/>
                  <a:pt x="43" y="1"/>
                  <a:pt x="42" y="1"/>
                </a:cubicBezTo>
                <a:cubicBezTo>
                  <a:pt x="40" y="0"/>
                  <a:pt x="38" y="0"/>
                  <a:pt x="37" y="2"/>
                </a:cubicBezTo>
                <a:cubicBezTo>
                  <a:pt x="35" y="3"/>
                  <a:pt x="33" y="4"/>
                  <a:pt x="31" y="5"/>
                </a:cubicBezTo>
                <a:cubicBezTo>
                  <a:pt x="30" y="6"/>
                  <a:pt x="26" y="10"/>
                  <a:pt x="30" y="8"/>
                </a:cubicBezTo>
                <a:cubicBezTo>
                  <a:pt x="34" y="7"/>
                  <a:pt x="33" y="11"/>
                  <a:pt x="34" y="14"/>
                </a:cubicBezTo>
                <a:cubicBezTo>
                  <a:pt x="34" y="16"/>
                  <a:pt x="35" y="17"/>
                  <a:pt x="35" y="19"/>
                </a:cubicBezTo>
                <a:cubicBezTo>
                  <a:pt x="34" y="19"/>
                  <a:pt x="33" y="20"/>
                  <a:pt x="33" y="20"/>
                </a:cubicBezTo>
                <a:cubicBezTo>
                  <a:pt x="33" y="19"/>
                  <a:pt x="33" y="19"/>
                  <a:pt x="33" y="19"/>
                </a:cubicBezTo>
                <a:cubicBezTo>
                  <a:pt x="32" y="18"/>
                  <a:pt x="30" y="20"/>
                  <a:pt x="30" y="20"/>
                </a:cubicBezTo>
                <a:cubicBezTo>
                  <a:pt x="29" y="18"/>
                  <a:pt x="34" y="18"/>
                  <a:pt x="34" y="16"/>
                </a:cubicBezTo>
                <a:cubicBezTo>
                  <a:pt x="34" y="15"/>
                  <a:pt x="32" y="10"/>
                  <a:pt x="31" y="9"/>
                </a:cubicBezTo>
                <a:cubicBezTo>
                  <a:pt x="29" y="7"/>
                  <a:pt x="31" y="13"/>
                  <a:pt x="30" y="14"/>
                </a:cubicBezTo>
                <a:cubicBezTo>
                  <a:pt x="27" y="14"/>
                  <a:pt x="29" y="19"/>
                  <a:pt x="26" y="20"/>
                </a:cubicBezTo>
                <a:cubicBezTo>
                  <a:pt x="28" y="17"/>
                  <a:pt x="23" y="18"/>
                  <a:pt x="22" y="17"/>
                </a:cubicBezTo>
                <a:cubicBezTo>
                  <a:pt x="23" y="17"/>
                  <a:pt x="26" y="17"/>
                  <a:pt x="25" y="15"/>
                </a:cubicBezTo>
                <a:cubicBezTo>
                  <a:pt x="24" y="14"/>
                  <a:pt x="22" y="16"/>
                  <a:pt x="21" y="15"/>
                </a:cubicBezTo>
                <a:cubicBezTo>
                  <a:pt x="22" y="14"/>
                  <a:pt x="26" y="13"/>
                  <a:pt x="23" y="11"/>
                </a:cubicBezTo>
                <a:cubicBezTo>
                  <a:pt x="21" y="9"/>
                  <a:pt x="24" y="9"/>
                  <a:pt x="25" y="10"/>
                </a:cubicBezTo>
                <a:cubicBezTo>
                  <a:pt x="25" y="8"/>
                  <a:pt x="26" y="7"/>
                  <a:pt x="24" y="7"/>
                </a:cubicBezTo>
                <a:cubicBezTo>
                  <a:pt x="23" y="8"/>
                  <a:pt x="22" y="8"/>
                  <a:pt x="21" y="8"/>
                </a:cubicBezTo>
                <a:cubicBezTo>
                  <a:pt x="18" y="8"/>
                  <a:pt x="14" y="6"/>
                  <a:pt x="11" y="6"/>
                </a:cubicBezTo>
                <a:cubicBezTo>
                  <a:pt x="13" y="8"/>
                  <a:pt x="17" y="7"/>
                  <a:pt x="18" y="10"/>
                </a:cubicBezTo>
                <a:cubicBezTo>
                  <a:pt x="19" y="12"/>
                  <a:pt x="15" y="13"/>
                  <a:pt x="14" y="13"/>
                </a:cubicBezTo>
                <a:cubicBezTo>
                  <a:pt x="15" y="15"/>
                  <a:pt x="14" y="16"/>
                  <a:pt x="12" y="17"/>
                </a:cubicBezTo>
                <a:cubicBezTo>
                  <a:pt x="11" y="17"/>
                  <a:pt x="8" y="17"/>
                  <a:pt x="10" y="18"/>
                </a:cubicBezTo>
                <a:cubicBezTo>
                  <a:pt x="9" y="19"/>
                  <a:pt x="6" y="18"/>
                  <a:pt x="8" y="16"/>
                </a:cubicBezTo>
                <a:cubicBezTo>
                  <a:pt x="7" y="16"/>
                  <a:pt x="5" y="17"/>
                  <a:pt x="4" y="17"/>
                </a:cubicBezTo>
                <a:cubicBezTo>
                  <a:pt x="3" y="17"/>
                  <a:pt x="1" y="16"/>
                  <a:pt x="0" y="17"/>
                </a:cubicBezTo>
                <a:cubicBezTo>
                  <a:pt x="0" y="17"/>
                  <a:pt x="5" y="20"/>
                  <a:pt x="5" y="20"/>
                </a:cubicBezTo>
                <a:cubicBezTo>
                  <a:pt x="5" y="20"/>
                  <a:pt x="3" y="20"/>
                  <a:pt x="2" y="20"/>
                </a:cubicBezTo>
                <a:cubicBezTo>
                  <a:pt x="3" y="21"/>
                  <a:pt x="9" y="21"/>
                  <a:pt x="8" y="24"/>
                </a:cubicBezTo>
                <a:cubicBezTo>
                  <a:pt x="7" y="25"/>
                  <a:pt x="6" y="25"/>
                  <a:pt x="6" y="27"/>
                </a:cubicBezTo>
                <a:cubicBezTo>
                  <a:pt x="6" y="26"/>
                  <a:pt x="8" y="27"/>
                  <a:pt x="8" y="27"/>
                </a:cubicBezTo>
                <a:cubicBezTo>
                  <a:pt x="10" y="28"/>
                  <a:pt x="9" y="30"/>
                  <a:pt x="10" y="32"/>
                </a:cubicBezTo>
                <a:cubicBezTo>
                  <a:pt x="10" y="32"/>
                  <a:pt x="5" y="34"/>
                  <a:pt x="7" y="34"/>
                </a:cubicBezTo>
                <a:cubicBezTo>
                  <a:pt x="7" y="34"/>
                  <a:pt x="8" y="33"/>
                  <a:pt x="9" y="34"/>
                </a:cubicBezTo>
                <a:cubicBezTo>
                  <a:pt x="9" y="34"/>
                  <a:pt x="8" y="35"/>
                  <a:pt x="8" y="35"/>
                </a:cubicBezTo>
                <a:cubicBezTo>
                  <a:pt x="9" y="35"/>
                  <a:pt x="11" y="38"/>
                  <a:pt x="12" y="38"/>
                </a:cubicBezTo>
                <a:cubicBezTo>
                  <a:pt x="10" y="39"/>
                  <a:pt x="11" y="41"/>
                  <a:pt x="13" y="40"/>
                </a:cubicBezTo>
                <a:cubicBezTo>
                  <a:pt x="12" y="39"/>
                  <a:pt x="14" y="39"/>
                  <a:pt x="16" y="39"/>
                </a:cubicBezTo>
                <a:cubicBezTo>
                  <a:pt x="18" y="40"/>
                  <a:pt x="20" y="40"/>
                  <a:pt x="21" y="40"/>
                </a:cubicBezTo>
                <a:cubicBezTo>
                  <a:pt x="22" y="41"/>
                  <a:pt x="23" y="39"/>
                  <a:pt x="24" y="39"/>
                </a:cubicBezTo>
                <a:cubicBezTo>
                  <a:pt x="26" y="40"/>
                  <a:pt x="24" y="41"/>
                  <a:pt x="24" y="41"/>
                </a:cubicBezTo>
                <a:cubicBezTo>
                  <a:pt x="25" y="42"/>
                  <a:pt x="27" y="41"/>
                  <a:pt x="27" y="42"/>
                </a:cubicBezTo>
                <a:cubicBezTo>
                  <a:pt x="28" y="43"/>
                  <a:pt x="25" y="43"/>
                  <a:pt x="25" y="43"/>
                </a:cubicBezTo>
                <a:cubicBezTo>
                  <a:pt x="24" y="44"/>
                  <a:pt x="27" y="45"/>
                  <a:pt x="28" y="46"/>
                </a:cubicBezTo>
                <a:cubicBezTo>
                  <a:pt x="25" y="46"/>
                  <a:pt x="24" y="45"/>
                  <a:pt x="22" y="45"/>
                </a:cubicBezTo>
                <a:cubicBezTo>
                  <a:pt x="23" y="46"/>
                  <a:pt x="29" y="46"/>
                  <a:pt x="29" y="49"/>
                </a:cubicBezTo>
                <a:cubicBezTo>
                  <a:pt x="29" y="51"/>
                  <a:pt x="26" y="50"/>
                  <a:pt x="25" y="50"/>
                </a:cubicBezTo>
                <a:cubicBezTo>
                  <a:pt x="24" y="51"/>
                  <a:pt x="25" y="53"/>
                  <a:pt x="27" y="56"/>
                </a:cubicBezTo>
                <a:cubicBezTo>
                  <a:pt x="27" y="56"/>
                  <a:pt x="27" y="57"/>
                  <a:pt x="27" y="57"/>
                </a:cubicBezTo>
                <a:cubicBezTo>
                  <a:pt x="27" y="57"/>
                  <a:pt x="26" y="56"/>
                  <a:pt x="26" y="56"/>
                </a:cubicBezTo>
                <a:cubicBezTo>
                  <a:pt x="25" y="55"/>
                  <a:pt x="23" y="52"/>
                  <a:pt x="22" y="53"/>
                </a:cubicBezTo>
                <a:cubicBezTo>
                  <a:pt x="22" y="53"/>
                  <a:pt x="22" y="54"/>
                  <a:pt x="23" y="54"/>
                </a:cubicBezTo>
                <a:cubicBezTo>
                  <a:pt x="22" y="54"/>
                  <a:pt x="21" y="54"/>
                  <a:pt x="21" y="55"/>
                </a:cubicBezTo>
                <a:cubicBezTo>
                  <a:pt x="21" y="56"/>
                  <a:pt x="21" y="56"/>
                  <a:pt x="21" y="56"/>
                </a:cubicBezTo>
                <a:cubicBezTo>
                  <a:pt x="18" y="55"/>
                  <a:pt x="16" y="54"/>
                  <a:pt x="14" y="52"/>
                </a:cubicBezTo>
                <a:cubicBezTo>
                  <a:pt x="12" y="51"/>
                  <a:pt x="11" y="50"/>
                  <a:pt x="9" y="50"/>
                </a:cubicBezTo>
                <a:cubicBezTo>
                  <a:pt x="8" y="50"/>
                  <a:pt x="2" y="52"/>
                  <a:pt x="5" y="55"/>
                </a:cubicBezTo>
                <a:cubicBezTo>
                  <a:pt x="9" y="57"/>
                  <a:pt x="3" y="55"/>
                  <a:pt x="4" y="57"/>
                </a:cubicBezTo>
                <a:cubicBezTo>
                  <a:pt x="4" y="58"/>
                  <a:pt x="6" y="59"/>
                  <a:pt x="8" y="60"/>
                </a:cubicBezTo>
                <a:cubicBezTo>
                  <a:pt x="10" y="61"/>
                  <a:pt x="11" y="61"/>
                  <a:pt x="12" y="61"/>
                </a:cubicBezTo>
                <a:cubicBezTo>
                  <a:pt x="14" y="62"/>
                  <a:pt x="15" y="64"/>
                  <a:pt x="17" y="64"/>
                </a:cubicBezTo>
                <a:cubicBezTo>
                  <a:pt x="20" y="64"/>
                  <a:pt x="22" y="63"/>
                  <a:pt x="24" y="63"/>
                </a:cubicBezTo>
                <a:cubicBezTo>
                  <a:pt x="26" y="64"/>
                  <a:pt x="29" y="63"/>
                  <a:pt x="27" y="61"/>
                </a:cubicBezTo>
                <a:cubicBezTo>
                  <a:pt x="27" y="61"/>
                  <a:pt x="28" y="60"/>
                  <a:pt x="28" y="59"/>
                </a:cubicBezTo>
                <a:cubicBezTo>
                  <a:pt x="28" y="59"/>
                  <a:pt x="28" y="59"/>
                  <a:pt x="28" y="58"/>
                </a:cubicBezTo>
                <a:cubicBezTo>
                  <a:pt x="29" y="60"/>
                  <a:pt x="30" y="60"/>
                  <a:pt x="30" y="60"/>
                </a:cubicBezTo>
                <a:cubicBezTo>
                  <a:pt x="27" y="63"/>
                  <a:pt x="32" y="68"/>
                  <a:pt x="32" y="67"/>
                </a:cubicBezTo>
                <a:cubicBezTo>
                  <a:pt x="32" y="66"/>
                  <a:pt x="31" y="64"/>
                  <a:pt x="32" y="63"/>
                </a:cubicBezTo>
                <a:cubicBezTo>
                  <a:pt x="32" y="61"/>
                  <a:pt x="33" y="60"/>
                  <a:pt x="34" y="59"/>
                </a:cubicBezTo>
                <a:cubicBezTo>
                  <a:pt x="34" y="58"/>
                  <a:pt x="39" y="55"/>
                  <a:pt x="36" y="53"/>
                </a:cubicBezTo>
                <a:cubicBezTo>
                  <a:pt x="35" y="53"/>
                  <a:pt x="33" y="53"/>
                  <a:pt x="33" y="52"/>
                </a:cubicBezTo>
                <a:cubicBezTo>
                  <a:pt x="32" y="51"/>
                  <a:pt x="31" y="50"/>
                  <a:pt x="30" y="51"/>
                </a:cubicBezTo>
                <a:cubicBezTo>
                  <a:pt x="29" y="53"/>
                  <a:pt x="30" y="49"/>
                  <a:pt x="30" y="49"/>
                </a:cubicBezTo>
                <a:cubicBezTo>
                  <a:pt x="30" y="48"/>
                  <a:pt x="32" y="49"/>
                  <a:pt x="33" y="49"/>
                </a:cubicBezTo>
                <a:cubicBezTo>
                  <a:pt x="34" y="50"/>
                  <a:pt x="38" y="49"/>
                  <a:pt x="37" y="47"/>
                </a:cubicBezTo>
                <a:cubicBezTo>
                  <a:pt x="35" y="44"/>
                  <a:pt x="39" y="44"/>
                  <a:pt x="35" y="43"/>
                </a:cubicBezTo>
                <a:cubicBezTo>
                  <a:pt x="35" y="43"/>
                  <a:pt x="32" y="42"/>
                  <a:pt x="33" y="41"/>
                </a:cubicBezTo>
                <a:cubicBezTo>
                  <a:pt x="34" y="40"/>
                  <a:pt x="35" y="42"/>
                  <a:pt x="35" y="42"/>
                </a:cubicBezTo>
                <a:cubicBezTo>
                  <a:pt x="36" y="42"/>
                  <a:pt x="36" y="41"/>
                  <a:pt x="36" y="40"/>
                </a:cubicBezTo>
                <a:cubicBezTo>
                  <a:pt x="37" y="39"/>
                  <a:pt x="39" y="39"/>
                  <a:pt x="40" y="38"/>
                </a:cubicBezTo>
                <a:cubicBezTo>
                  <a:pt x="42" y="38"/>
                  <a:pt x="47" y="38"/>
                  <a:pt x="45" y="34"/>
                </a:cubicBezTo>
                <a:cubicBezTo>
                  <a:pt x="44" y="31"/>
                  <a:pt x="39" y="32"/>
                  <a:pt x="38" y="29"/>
                </a:cubicBezTo>
                <a:cubicBezTo>
                  <a:pt x="37" y="26"/>
                  <a:pt x="42" y="23"/>
                  <a:pt x="44" y="22"/>
                </a:cubicBezTo>
                <a:cubicBezTo>
                  <a:pt x="46" y="22"/>
                  <a:pt x="49" y="21"/>
                  <a:pt x="49" y="17"/>
                </a:cubicBezTo>
                <a:cubicBezTo>
                  <a:pt x="49" y="15"/>
                  <a:pt x="49" y="13"/>
                  <a:pt x="49" y="12"/>
                </a:cubicBezTo>
                <a:cubicBezTo>
                  <a:pt x="48" y="11"/>
                  <a:pt x="47" y="10"/>
                  <a:pt x="47" y="9"/>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5" name="Freeform 100">
            <a:extLst>
              <a:ext uri="{FF2B5EF4-FFF2-40B4-BE49-F238E27FC236}">
                <a16:creationId xmlns:a16="http://schemas.microsoft.com/office/drawing/2014/main" id="{A60DBD68-8203-4AC8-BE21-9CAD5B526247}"/>
              </a:ext>
            </a:extLst>
          </p:cNvPr>
          <p:cNvSpPr>
            <a:spLocks/>
          </p:cNvSpPr>
          <p:nvPr/>
        </p:nvSpPr>
        <p:spPr bwMode="auto">
          <a:xfrm>
            <a:off x="2570057" y="3644090"/>
            <a:ext cx="28335" cy="14303"/>
          </a:xfrm>
          <a:custGeom>
            <a:avLst/>
            <a:gdLst>
              <a:gd name="T0" fmla="*/ 4 w 10"/>
              <a:gd name="T1" fmla="*/ 5 h 5"/>
              <a:gd name="T2" fmla="*/ 6 w 10"/>
              <a:gd name="T3" fmla="*/ 3 h 5"/>
              <a:gd name="T4" fmla="*/ 7 w 10"/>
              <a:gd name="T5" fmla="*/ 2 h 5"/>
              <a:gd name="T6" fmla="*/ 10 w 10"/>
              <a:gd name="T7" fmla="*/ 1 h 5"/>
              <a:gd name="T8" fmla="*/ 3 w 10"/>
              <a:gd name="T9" fmla="*/ 1 h 5"/>
              <a:gd name="T10" fmla="*/ 0 w 10"/>
              <a:gd name="T11" fmla="*/ 3 h 5"/>
              <a:gd name="T12" fmla="*/ 4 w 1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5"/>
                </a:moveTo>
                <a:cubicBezTo>
                  <a:pt x="5" y="5"/>
                  <a:pt x="6" y="5"/>
                  <a:pt x="6" y="3"/>
                </a:cubicBezTo>
                <a:cubicBezTo>
                  <a:pt x="6" y="3"/>
                  <a:pt x="6" y="2"/>
                  <a:pt x="7" y="2"/>
                </a:cubicBezTo>
                <a:cubicBezTo>
                  <a:pt x="7" y="2"/>
                  <a:pt x="10" y="1"/>
                  <a:pt x="10" y="1"/>
                </a:cubicBezTo>
                <a:cubicBezTo>
                  <a:pt x="9" y="0"/>
                  <a:pt x="6" y="0"/>
                  <a:pt x="3" y="1"/>
                </a:cubicBezTo>
                <a:cubicBezTo>
                  <a:pt x="2" y="1"/>
                  <a:pt x="0" y="2"/>
                  <a:pt x="0" y="3"/>
                </a:cubicBezTo>
                <a:cubicBezTo>
                  <a:pt x="0" y="4"/>
                  <a:pt x="3" y="4"/>
                  <a:pt x="4" y="5"/>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6" name="Freeform 101">
            <a:extLst>
              <a:ext uri="{FF2B5EF4-FFF2-40B4-BE49-F238E27FC236}">
                <a16:creationId xmlns:a16="http://schemas.microsoft.com/office/drawing/2014/main" id="{E85A51E2-D035-4B6C-82CF-BBA81FB552FE}"/>
              </a:ext>
            </a:extLst>
          </p:cNvPr>
          <p:cNvSpPr>
            <a:spLocks/>
          </p:cNvSpPr>
          <p:nvPr/>
        </p:nvSpPr>
        <p:spPr bwMode="auto">
          <a:xfrm>
            <a:off x="2385883" y="3685806"/>
            <a:ext cx="30696" cy="36949"/>
          </a:xfrm>
          <a:custGeom>
            <a:avLst/>
            <a:gdLst>
              <a:gd name="T0" fmla="*/ 4 w 11"/>
              <a:gd name="T1" fmla="*/ 13 h 13"/>
              <a:gd name="T2" fmla="*/ 8 w 11"/>
              <a:gd name="T3" fmla="*/ 11 h 13"/>
              <a:gd name="T4" fmla="*/ 10 w 11"/>
              <a:gd name="T5" fmla="*/ 8 h 13"/>
              <a:gd name="T6" fmla="*/ 10 w 11"/>
              <a:gd name="T7" fmla="*/ 5 h 13"/>
              <a:gd name="T8" fmla="*/ 11 w 11"/>
              <a:gd name="T9" fmla="*/ 0 h 13"/>
              <a:gd name="T10" fmla="*/ 6 w 11"/>
              <a:gd name="T11" fmla="*/ 4 h 13"/>
              <a:gd name="T12" fmla="*/ 3 w 11"/>
              <a:gd name="T13" fmla="*/ 6 h 13"/>
              <a:gd name="T14" fmla="*/ 4 w 11"/>
              <a:gd name="T15" fmla="*/ 7 h 13"/>
              <a:gd name="T16" fmla="*/ 0 w 11"/>
              <a:gd name="T17" fmla="*/ 10 h 13"/>
              <a:gd name="T18" fmla="*/ 4 w 11"/>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3">
                <a:moveTo>
                  <a:pt x="4" y="13"/>
                </a:moveTo>
                <a:cubicBezTo>
                  <a:pt x="5" y="12"/>
                  <a:pt x="6" y="12"/>
                  <a:pt x="8" y="11"/>
                </a:cubicBezTo>
                <a:cubicBezTo>
                  <a:pt x="8" y="10"/>
                  <a:pt x="9" y="8"/>
                  <a:pt x="10" y="8"/>
                </a:cubicBezTo>
                <a:cubicBezTo>
                  <a:pt x="8" y="6"/>
                  <a:pt x="10" y="3"/>
                  <a:pt x="10" y="5"/>
                </a:cubicBezTo>
                <a:cubicBezTo>
                  <a:pt x="11" y="3"/>
                  <a:pt x="11" y="2"/>
                  <a:pt x="11" y="0"/>
                </a:cubicBezTo>
                <a:cubicBezTo>
                  <a:pt x="10" y="2"/>
                  <a:pt x="8" y="3"/>
                  <a:pt x="6" y="4"/>
                </a:cubicBezTo>
                <a:cubicBezTo>
                  <a:pt x="4" y="4"/>
                  <a:pt x="3" y="5"/>
                  <a:pt x="3" y="6"/>
                </a:cubicBezTo>
                <a:cubicBezTo>
                  <a:pt x="3" y="7"/>
                  <a:pt x="4" y="7"/>
                  <a:pt x="4" y="7"/>
                </a:cubicBezTo>
                <a:cubicBezTo>
                  <a:pt x="3" y="8"/>
                  <a:pt x="0" y="8"/>
                  <a:pt x="0" y="10"/>
                </a:cubicBezTo>
                <a:cubicBezTo>
                  <a:pt x="0" y="9"/>
                  <a:pt x="3" y="13"/>
                  <a:pt x="4" y="13"/>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7" name="Freeform 102">
            <a:extLst>
              <a:ext uri="{FF2B5EF4-FFF2-40B4-BE49-F238E27FC236}">
                <a16:creationId xmlns:a16="http://schemas.microsoft.com/office/drawing/2014/main" id="{0BBAB605-7729-4CF3-955C-04FC4D71721C}"/>
              </a:ext>
            </a:extLst>
          </p:cNvPr>
          <p:cNvSpPr>
            <a:spLocks/>
          </p:cNvSpPr>
          <p:nvPr/>
        </p:nvSpPr>
        <p:spPr bwMode="auto">
          <a:xfrm>
            <a:off x="2671590" y="3917033"/>
            <a:ext cx="38960" cy="20263"/>
          </a:xfrm>
          <a:custGeom>
            <a:avLst/>
            <a:gdLst>
              <a:gd name="T0" fmla="*/ 5 w 14"/>
              <a:gd name="T1" fmla="*/ 0 h 7"/>
              <a:gd name="T2" fmla="*/ 3 w 14"/>
              <a:gd name="T3" fmla="*/ 4 h 7"/>
              <a:gd name="T4" fmla="*/ 3 w 14"/>
              <a:gd name="T5" fmla="*/ 7 h 7"/>
              <a:gd name="T6" fmla="*/ 8 w 14"/>
              <a:gd name="T7" fmla="*/ 4 h 7"/>
              <a:gd name="T8" fmla="*/ 13 w 14"/>
              <a:gd name="T9" fmla="*/ 4 h 7"/>
              <a:gd name="T10" fmla="*/ 5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5" y="0"/>
                </a:moveTo>
                <a:cubicBezTo>
                  <a:pt x="6" y="0"/>
                  <a:pt x="6" y="4"/>
                  <a:pt x="3" y="4"/>
                </a:cubicBezTo>
                <a:cubicBezTo>
                  <a:pt x="1" y="3"/>
                  <a:pt x="0" y="7"/>
                  <a:pt x="3" y="7"/>
                </a:cubicBezTo>
                <a:cubicBezTo>
                  <a:pt x="5" y="7"/>
                  <a:pt x="6" y="5"/>
                  <a:pt x="8" y="4"/>
                </a:cubicBezTo>
                <a:cubicBezTo>
                  <a:pt x="9" y="4"/>
                  <a:pt x="13" y="5"/>
                  <a:pt x="13" y="4"/>
                </a:cubicBezTo>
                <a:cubicBezTo>
                  <a:pt x="14" y="1"/>
                  <a:pt x="6" y="0"/>
                  <a:pt x="5" y="0"/>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103">
            <a:extLst>
              <a:ext uri="{FF2B5EF4-FFF2-40B4-BE49-F238E27FC236}">
                <a16:creationId xmlns:a16="http://schemas.microsoft.com/office/drawing/2014/main" id="{7A417A0C-2C20-437C-979F-60B1880A0174}"/>
              </a:ext>
            </a:extLst>
          </p:cNvPr>
          <p:cNvSpPr>
            <a:spLocks/>
          </p:cNvSpPr>
          <p:nvPr/>
        </p:nvSpPr>
        <p:spPr bwMode="auto">
          <a:xfrm>
            <a:off x="2551168" y="3897963"/>
            <a:ext cx="30696" cy="67938"/>
          </a:xfrm>
          <a:custGeom>
            <a:avLst/>
            <a:gdLst>
              <a:gd name="T0" fmla="*/ 9 w 11"/>
              <a:gd name="T1" fmla="*/ 3 h 24"/>
              <a:gd name="T2" fmla="*/ 5 w 11"/>
              <a:gd name="T3" fmla="*/ 11 h 24"/>
              <a:gd name="T4" fmla="*/ 4 w 11"/>
              <a:gd name="T5" fmla="*/ 14 h 24"/>
              <a:gd name="T6" fmla="*/ 0 w 11"/>
              <a:gd name="T7" fmla="*/ 16 h 24"/>
              <a:gd name="T8" fmla="*/ 5 w 11"/>
              <a:gd name="T9" fmla="*/ 18 h 24"/>
              <a:gd name="T10" fmla="*/ 9 w 11"/>
              <a:gd name="T11" fmla="*/ 8 h 24"/>
              <a:gd name="T12" fmla="*/ 9 w 11"/>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11" h="24">
                <a:moveTo>
                  <a:pt x="9" y="3"/>
                </a:moveTo>
                <a:cubicBezTo>
                  <a:pt x="7" y="5"/>
                  <a:pt x="7" y="10"/>
                  <a:pt x="5" y="11"/>
                </a:cubicBezTo>
                <a:cubicBezTo>
                  <a:pt x="2" y="13"/>
                  <a:pt x="4" y="13"/>
                  <a:pt x="4" y="14"/>
                </a:cubicBezTo>
                <a:cubicBezTo>
                  <a:pt x="4" y="14"/>
                  <a:pt x="1" y="17"/>
                  <a:pt x="0" y="16"/>
                </a:cubicBezTo>
                <a:cubicBezTo>
                  <a:pt x="3" y="18"/>
                  <a:pt x="4" y="24"/>
                  <a:pt x="5" y="18"/>
                </a:cubicBezTo>
                <a:cubicBezTo>
                  <a:pt x="6" y="14"/>
                  <a:pt x="8" y="11"/>
                  <a:pt x="9" y="8"/>
                </a:cubicBezTo>
                <a:cubicBezTo>
                  <a:pt x="9" y="7"/>
                  <a:pt x="11" y="0"/>
                  <a:pt x="9" y="3"/>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9" name="Freeform 104">
            <a:extLst>
              <a:ext uri="{FF2B5EF4-FFF2-40B4-BE49-F238E27FC236}">
                <a16:creationId xmlns:a16="http://schemas.microsoft.com/office/drawing/2014/main" id="{2C4B0652-D85C-438A-ABCC-761B81492B18}"/>
              </a:ext>
            </a:extLst>
          </p:cNvPr>
          <p:cNvSpPr>
            <a:spLocks/>
          </p:cNvSpPr>
          <p:nvPr/>
        </p:nvSpPr>
        <p:spPr bwMode="auto">
          <a:xfrm>
            <a:off x="3140291" y="3570193"/>
            <a:ext cx="77920" cy="127533"/>
          </a:xfrm>
          <a:custGeom>
            <a:avLst/>
            <a:gdLst>
              <a:gd name="T0" fmla="*/ 23 w 28"/>
              <a:gd name="T1" fmla="*/ 1 h 45"/>
              <a:gd name="T2" fmla="*/ 20 w 28"/>
              <a:gd name="T3" fmla="*/ 5 h 45"/>
              <a:gd name="T4" fmla="*/ 16 w 28"/>
              <a:gd name="T5" fmla="*/ 2 h 45"/>
              <a:gd name="T6" fmla="*/ 12 w 28"/>
              <a:gd name="T7" fmla="*/ 5 h 45"/>
              <a:gd name="T8" fmla="*/ 8 w 28"/>
              <a:gd name="T9" fmla="*/ 11 h 45"/>
              <a:gd name="T10" fmla="*/ 3 w 28"/>
              <a:gd name="T11" fmla="*/ 16 h 45"/>
              <a:gd name="T12" fmla="*/ 3 w 28"/>
              <a:gd name="T13" fmla="*/ 25 h 45"/>
              <a:gd name="T14" fmla="*/ 2 w 28"/>
              <a:gd name="T15" fmla="*/ 28 h 45"/>
              <a:gd name="T16" fmla="*/ 3 w 28"/>
              <a:gd name="T17" fmla="*/ 32 h 45"/>
              <a:gd name="T18" fmla="*/ 5 w 28"/>
              <a:gd name="T19" fmla="*/ 37 h 45"/>
              <a:gd name="T20" fmla="*/ 7 w 28"/>
              <a:gd name="T21" fmla="*/ 36 h 45"/>
              <a:gd name="T22" fmla="*/ 5 w 28"/>
              <a:gd name="T23" fmla="*/ 40 h 45"/>
              <a:gd name="T24" fmla="*/ 3 w 28"/>
              <a:gd name="T25" fmla="*/ 44 h 45"/>
              <a:gd name="T26" fmla="*/ 8 w 28"/>
              <a:gd name="T27" fmla="*/ 43 h 45"/>
              <a:gd name="T28" fmla="*/ 10 w 28"/>
              <a:gd name="T29" fmla="*/ 40 h 45"/>
              <a:gd name="T30" fmla="*/ 9 w 28"/>
              <a:gd name="T31" fmla="*/ 40 h 45"/>
              <a:gd name="T32" fmla="*/ 12 w 28"/>
              <a:gd name="T33" fmla="*/ 35 h 45"/>
              <a:gd name="T34" fmla="*/ 10 w 28"/>
              <a:gd name="T35" fmla="*/ 35 h 45"/>
              <a:gd name="T36" fmla="*/ 15 w 28"/>
              <a:gd name="T37" fmla="*/ 32 h 45"/>
              <a:gd name="T38" fmla="*/ 18 w 28"/>
              <a:gd name="T39" fmla="*/ 30 h 45"/>
              <a:gd name="T40" fmla="*/ 19 w 28"/>
              <a:gd name="T41" fmla="*/ 30 h 45"/>
              <a:gd name="T42" fmla="*/ 17 w 28"/>
              <a:gd name="T43" fmla="*/ 28 h 45"/>
              <a:gd name="T44" fmla="*/ 21 w 28"/>
              <a:gd name="T45" fmla="*/ 25 h 45"/>
              <a:gd name="T46" fmla="*/ 24 w 28"/>
              <a:gd name="T47" fmla="*/ 23 h 45"/>
              <a:gd name="T48" fmla="*/ 21 w 28"/>
              <a:gd name="T49" fmla="*/ 22 h 45"/>
              <a:gd name="T50" fmla="*/ 20 w 28"/>
              <a:gd name="T51" fmla="*/ 14 h 45"/>
              <a:gd name="T52" fmla="*/ 20 w 28"/>
              <a:gd name="T53" fmla="*/ 9 h 45"/>
              <a:gd name="T54" fmla="*/ 24 w 28"/>
              <a:gd name="T55" fmla="*/ 10 h 45"/>
              <a:gd name="T56" fmla="*/ 24 w 28"/>
              <a:gd name="T57" fmla="*/ 7 h 45"/>
              <a:gd name="T58" fmla="*/ 26 w 28"/>
              <a:gd name="T59" fmla="*/ 6 h 45"/>
              <a:gd name="T60" fmla="*/ 28 w 28"/>
              <a:gd name="T61" fmla="*/ 6 h 45"/>
              <a:gd name="T62" fmla="*/ 26 w 28"/>
              <a:gd name="T63" fmla="*/ 3 h 45"/>
              <a:gd name="T64" fmla="*/ 23 w 28"/>
              <a:gd name="T65"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45">
                <a:moveTo>
                  <a:pt x="23" y="1"/>
                </a:moveTo>
                <a:cubicBezTo>
                  <a:pt x="21" y="1"/>
                  <a:pt x="20" y="2"/>
                  <a:pt x="20" y="5"/>
                </a:cubicBezTo>
                <a:cubicBezTo>
                  <a:pt x="19" y="3"/>
                  <a:pt x="19" y="0"/>
                  <a:pt x="16" y="2"/>
                </a:cubicBezTo>
                <a:cubicBezTo>
                  <a:pt x="14" y="3"/>
                  <a:pt x="15" y="4"/>
                  <a:pt x="12" y="5"/>
                </a:cubicBezTo>
                <a:cubicBezTo>
                  <a:pt x="10" y="6"/>
                  <a:pt x="9" y="8"/>
                  <a:pt x="8" y="11"/>
                </a:cubicBezTo>
                <a:cubicBezTo>
                  <a:pt x="6" y="13"/>
                  <a:pt x="5" y="14"/>
                  <a:pt x="3" y="16"/>
                </a:cubicBezTo>
                <a:cubicBezTo>
                  <a:pt x="0" y="19"/>
                  <a:pt x="3" y="22"/>
                  <a:pt x="3" y="25"/>
                </a:cubicBezTo>
                <a:cubicBezTo>
                  <a:pt x="3" y="26"/>
                  <a:pt x="3" y="27"/>
                  <a:pt x="2" y="28"/>
                </a:cubicBezTo>
                <a:cubicBezTo>
                  <a:pt x="1" y="29"/>
                  <a:pt x="3" y="30"/>
                  <a:pt x="3" y="32"/>
                </a:cubicBezTo>
                <a:cubicBezTo>
                  <a:pt x="3" y="34"/>
                  <a:pt x="6" y="36"/>
                  <a:pt x="5" y="37"/>
                </a:cubicBezTo>
                <a:cubicBezTo>
                  <a:pt x="6" y="38"/>
                  <a:pt x="7" y="37"/>
                  <a:pt x="7" y="36"/>
                </a:cubicBezTo>
                <a:cubicBezTo>
                  <a:pt x="7" y="38"/>
                  <a:pt x="5" y="39"/>
                  <a:pt x="5" y="40"/>
                </a:cubicBezTo>
                <a:cubicBezTo>
                  <a:pt x="5" y="41"/>
                  <a:pt x="3" y="44"/>
                  <a:pt x="3" y="44"/>
                </a:cubicBezTo>
                <a:cubicBezTo>
                  <a:pt x="5" y="45"/>
                  <a:pt x="6" y="44"/>
                  <a:pt x="8" y="43"/>
                </a:cubicBezTo>
                <a:cubicBezTo>
                  <a:pt x="8" y="43"/>
                  <a:pt x="10" y="39"/>
                  <a:pt x="10" y="40"/>
                </a:cubicBezTo>
                <a:cubicBezTo>
                  <a:pt x="10" y="40"/>
                  <a:pt x="10" y="40"/>
                  <a:pt x="9" y="40"/>
                </a:cubicBezTo>
                <a:cubicBezTo>
                  <a:pt x="6" y="38"/>
                  <a:pt x="12" y="36"/>
                  <a:pt x="12" y="35"/>
                </a:cubicBezTo>
                <a:cubicBezTo>
                  <a:pt x="13" y="35"/>
                  <a:pt x="11" y="36"/>
                  <a:pt x="10" y="35"/>
                </a:cubicBezTo>
                <a:cubicBezTo>
                  <a:pt x="10" y="34"/>
                  <a:pt x="15" y="32"/>
                  <a:pt x="15" y="32"/>
                </a:cubicBezTo>
                <a:cubicBezTo>
                  <a:pt x="13" y="32"/>
                  <a:pt x="19" y="32"/>
                  <a:pt x="18" y="30"/>
                </a:cubicBezTo>
                <a:cubicBezTo>
                  <a:pt x="18" y="30"/>
                  <a:pt x="19" y="30"/>
                  <a:pt x="19" y="30"/>
                </a:cubicBezTo>
                <a:cubicBezTo>
                  <a:pt x="19" y="29"/>
                  <a:pt x="17" y="28"/>
                  <a:pt x="17" y="28"/>
                </a:cubicBezTo>
                <a:cubicBezTo>
                  <a:pt x="17" y="27"/>
                  <a:pt x="20" y="25"/>
                  <a:pt x="21" y="25"/>
                </a:cubicBezTo>
                <a:cubicBezTo>
                  <a:pt x="22" y="24"/>
                  <a:pt x="24" y="25"/>
                  <a:pt x="24" y="23"/>
                </a:cubicBezTo>
                <a:cubicBezTo>
                  <a:pt x="24" y="21"/>
                  <a:pt x="22" y="22"/>
                  <a:pt x="21" y="22"/>
                </a:cubicBezTo>
                <a:cubicBezTo>
                  <a:pt x="17" y="21"/>
                  <a:pt x="22" y="15"/>
                  <a:pt x="20" y="14"/>
                </a:cubicBezTo>
                <a:cubicBezTo>
                  <a:pt x="20" y="14"/>
                  <a:pt x="20" y="10"/>
                  <a:pt x="20" y="9"/>
                </a:cubicBezTo>
                <a:cubicBezTo>
                  <a:pt x="21" y="9"/>
                  <a:pt x="23" y="10"/>
                  <a:pt x="24" y="10"/>
                </a:cubicBezTo>
                <a:cubicBezTo>
                  <a:pt x="25" y="9"/>
                  <a:pt x="24" y="8"/>
                  <a:pt x="24" y="7"/>
                </a:cubicBezTo>
                <a:cubicBezTo>
                  <a:pt x="26" y="8"/>
                  <a:pt x="25" y="7"/>
                  <a:pt x="26" y="6"/>
                </a:cubicBezTo>
                <a:cubicBezTo>
                  <a:pt x="26" y="5"/>
                  <a:pt x="27" y="5"/>
                  <a:pt x="28" y="6"/>
                </a:cubicBezTo>
                <a:cubicBezTo>
                  <a:pt x="28" y="6"/>
                  <a:pt x="26" y="3"/>
                  <a:pt x="26" y="3"/>
                </a:cubicBezTo>
                <a:cubicBezTo>
                  <a:pt x="26" y="1"/>
                  <a:pt x="24" y="1"/>
                  <a:pt x="23" y="1"/>
                </a:cubicBezTo>
                <a:close/>
              </a:path>
            </a:pathLst>
          </a:custGeom>
          <a:solidFill>
            <a:schemeClr val="bg1">
              <a:lumMod val="85000"/>
            </a:schemeClr>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0" name="Rectangle 105">
            <a:extLst>
              <a:ext uri="{FF2B5EF4-FFF2-40B4-BE49-F238E27FC236}">
                <a16:creationId xmlns:a16="http://schemas.microsoft.com/office/drawing/2014/main" id="{C4C8D6EA-013F-4C84-88EB-B9D3B69B32F0}"/>
              </a:ext>
            </a:extLst>
          </p:cNvPr>
          <p:cNvSpPr>
            <a:spLocks noChangeArrowheads="1"/>
          </p:cNvSpPr>
          <p:nvPr/>
        </p:nvSpPr>
        <p:spPr bwMode="auto">
          <a:xfrm>
            <a:off x="3403567" y="2793660"/>
            <a:ext cx="1181" cy="1192"/>
          </a:xfrm>
          <a:prstGeom prst="rect">
            <a:avLst/>
          </a:prstGeom>
          <a:solidFill>
            <a:schemeClr val="tx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106">
            <a:extLst>
              <a:ext uri="{FF2B5EF4-FFF2-40B4-BE49-F238E27FC236}">
                <a16:creationId xmlns:a16="http://schemas.microsoft.com/office/drawing/2014/main" id="{64E6B062-8A42-480D-A6EE-4B087062D732}"/>
              </a:ext>
            </a:extLst>
          </p:cNvPr>
          <p:cNvSpPr>
            <a:spLocks noEditPoints="1"/>
          </p:cNvSpPr>
          <p:nvPr/>
        </p:nvSpPr>
        <p:spPr bwMode="auto">
          <a:xfrm>
            <a:off x="2587766" y="2306787"/>
            <a:ext cx="946848" cy="1576874"/>
          </a:xfrm>
          <a:custGeom>
            <a:avLst/>
            <a:gdLst>
              <a:gd name="T0" fmla="*/ 323 w 339"/>
              <a:gd name="T1" fmla="*/ 79 h 559"/>
              <a:gd name="T2" fmla="*/ 308 w 339"/>
              <a:gd name="T3" fmla="*/ 36 h 559"/>
              <a:gd name="T4" fmla="*/ 258 w 339"/>
              <a:gd name="T5" fmla="*/ 13 h 559"/>
              <a:gd name="T6" fmla="*/ 209 w 339"/>
              <a:gd name="T7" fmla="*/ 25 h 559"/>
              <a:gd name="T8" fmla="*/ 128 w 339"/>
              <a:gd name="T9" fmla="*/ 83 h 559"/>
              <a:gd name="T10" fmla="*/ 88 w 339"/>
              <a:gd name="T11" fmla="*/ 147 h 559"/>
              <a:gd name="T12" fmla="*/ 36 w 339"/>
              <a:gd name="T13" fmla="*/ 207 h 559"/>
              <a:gd name="T14" fmla="*/ 31 w 339"/>
              <a:gd name="T15" fmla="*/ 278 h 559"/>
              <a:gd name="T16" fmla="*/ 39 w 339"/>
              <a:gd name="T17" fmla="*/ 350 h 559"/>
              <a:gd name="T18" fmla="*/ 11 w 339"/>
              <a:gd name="T19" fmla="*/ 408 h 559"/>
              <a:gd name="T20" fmla="*/ 3 w 339"/>
              <a:gd name="T21" fmla="*/ 415 h 559"/>
              <a:gd name="T22" fmla="*/ 12 w 339"/>
              <a:gd name="T23" fmla="*/ 432 h 559"/>
              <a:gd name="T24" fmla="*/ 23 w 339"/>
              <a:gd name="T25" fmla="*/ 440 h 559"/>
              <a:gd name="T26" fmla="*/ 24 w 339"/>
              <a:gd name="T27" fmla="*/ 461 h 559"/>
              <a:gd name="T28" fmla="*/ 32 w 339"/>
              <a:gd name="T29" fmla="*/ 480 h 559"/>
              <a:gd name="T30" fmla="*/ 52 w 339"/>
              <a:gd name="T31" fmla="*/ 503 h 559"/>
              <a:gd name="T32" fmla="*/ 53 w 339"/>
              <a:gd name="T33" fmla="*/ 537 h 559"/>
              <a:gd name="T34" fmla="*/ 74 w 339"/>
              <a:gd name="T35" fmla="*/ 557 h 559"/>
              <a:gd name="T36" fmla="*/ 115 w 339"/>
              <a:gd name="T37" fmla="*/ 524 h 559"/>
              <a:gd name="T38" fmla="*/ 134 w 339"/>
              <a:gd name="T39" fmla="*/ 523 h 559"/>
              <a:gd name="T40" fmla="*/ 153 w 339"/>
              <a:gd name="T41" fmla="*/ 498 h 559"/>
              <a:gd name="T42" fmla="*/ 155 w 339"/>
              <a:gd name="T43" fmla="*/ 479 h 559"/>
              <a:gd name="T44" fmla="*/ 158 w 339"/>
              <a:gd name="T45" fmla="*/ 463 h 559"/>
              <a:gd name="T46" fmla="*/ 161 w 339"/>
              <a:gd name="T47" fmla="*/ 451 h 559"/>
              <a:gd name="T48" fmla="*/ 159 w 339"/>
              <a:gd name="T49" fmla="*/ 441 h 559"/>
              <a:gd name="T50" fmla="*/ 159 w 339"/>
              <a:gd name="T51" fmla="*/ 430 h 559"/>
              <a:gd name="T52" fmla="*/ 151 w 339"/>
              <a:gd name="T53" fmla="*/ 420 h 559"/>
              <a:gd name="T54" fmla="*/ 169 w 339"/>
              <a:gd name="T55" fmla="*/ 416 h 559"/>
              <a:gd name="T56" fmla="*/ 179 w 339"/>
              <a:gd name="T57" fmla="*/ 410 h 559"/>
              <a:gd name="T58" fmla="*/ 184 w 339"/>
              <a:gd name="T59" fmla="*/ 398 h 559"/>
              <a:gd name="T60" fmla="*/ 189 w 339"/>
              <a:gd name="T61" fmla="*/ 408 h 559"/>
              <a:gd name="T62" fmla="*/ 202 w 339"/>
              <a:gd name="T63" fmla="*/ 401 h 559"/>
              <a:gd name="T64" fmla="*/ 205 w 339"/>
              <a:gd name="T65" fmla="*/ 394 h 559"/>
              <a:gd name="T66" fmla="*/ 196 w 339"/>
              <a:gd name="T67" fmla="*/ 391 h 559"/>
              <a:gd name="T68" fmla="*/ 211 w 339"/>
              <a:gd name="T69" fmla="*/ 378 h 559"/>
              <a:gd name="T70" fmla="*/ 215 w 339"/>
              <a:gd name="T71" fmla="*/ 362 h 559"/>
              <a:gd name="T72" fmla="*/ 204 w 339"/>
              <a:gd name="T73" fmla="*/ 351 h 559"/>
              <a:gd name="T74" fmla="*/ 179 w 339"/>
              <a:gd name="T75" fmla="*/ 336 h 559"/>
              <a:gd name="T76" fmla="*/ 167 w 339"/>
              <a:gd name="T77" fmla="*/ 311 h 559"/>
              <a:gd name="T78" fmla="*/ 163 w 339"/>
              <a:gd name="T79" fmla="*/ 297 h 559"/>
              <a:gd name="T80" fmla="*/ 172 w 339"/>
              <a:gd name="T81" fmla="*/ 292 h 559"/>
              <a:gd name="T82" fmla="*/ 174 w 339"/>
              <a:gd name="T83" fmla="*/ 272 h 559"/>
              <a:gd name="T84" fmla="*/ 182 w 339"/>
              <a:gd name="T85" fmla="*/ 253 h 559"/>
              <a:gd name="T86" fmla="*/ 183 w 339"/>
              <a:gd name="T87" fmla="*/ 246 h 559"/>
              <a:gd name="T88" fmla="*/ 200 w 339"/>
              <a:gd name="T89" fmla="*/ 240 h 559"/>
              <a:gd name="T90" fmla="*/ 204 w 339"/>
              <a:gd name="T91" fmla="*/ 233 h 559"/>
              <a:gd name="T92" fmla="*/ 213 w 339"/>
              <a:gd name="T93" fmla="*/ 231 h 559"/>
              <a:gd name="T94" fmla="*/ 227 w 339"/>
              <a:gd name="T95" fmla="*/ 220 h 559"/>
              <a:gd name="T96" fmla="*/ 250 w 339"/>
              <a:gd name="T97" fmla="*/ 207 h 559"/>
              <a:gd name="T98" fmla="*/ 265 w 339"/>
              <a:gd name="T99" fmla="*/ 191 h 559"/>
              <a:gd name="T100" fmla="*/ 270 w 339"/>
              <a:gd name="T101" fmla="*/ 176 h 559"/>
              <a:gd name="T102" fmla="*/ 262 w 339"/>
              <a:gd name="T103" fmla="*/ 168 h 559"/>
              <a:gd name="T104" fmla="*/ 274 w 339"/>
              <a:gd name="T105" fmla="*/ 157 h 559"/>
              <a:gd name="T106" fmla="*/ 275 w 339"/>
              <a:gd name="T107" fmla="*/ 145 h 559"/>
              <a:gd name="T108" fmla="*/ 293 w 339"/>
              <a:gd name="T109" fmla="*/ 136 h 559"/>
              <a:gd name="T110" fmla="*/ 300 w 339"/>
              <a:gd name="T111" fmla="*/ 128 h 559"/>
              <a:gd name="T112" fmla="*/ 317 w 339"/>
              <a:gd name="T113" fmla="*/ 127 h 559"/>
              <a:gd name="T114" fmla="*/ 337 w 339"/>
              <a:gd name="T115" fmla="*/ 12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9" h="559">
                <a:moveTo>
                  <a:pt x="337" y="123"/>
                </a:moveTo>
                <a:cubicBezTo>
                  <a:pt x="335" y="121"/>
                  <a:pt x="334" y="117"/>
                  <a:pt x="332" y="115"/>
                </a:cubicBezTo>
                <a:cubicBezTo>
                  <a:pt x="330" y="113"/>
                  <a:pt x="328" y="113"/>
                  <a:pt x="327" y="111"/>
                </a:cubicBezTo>
                <a:cubicBezTo>
                  <a:pt x="325" y="110"/>
                  <a:pt x="324" y="108"/>
                  <a:pt x="324" y="106"/>
                </a:cubicBezTo>
                <a:cubicBezTo>
                  <a:pt x="325" y="104"/>
                  <a:pt x="322" y="103"/>
                  <a:pt x="324" y="101"/>
                </a:cubicBezTo>
                <a:cubicBezTo>
                  <a:pt x="326" y="99"/>
                  <a:pt x="329" y="98"/>
                  <a:pt x="329" y="95"/>
                </a:cubicBezTo>
                <a:cubicBezTo>
                  <a:pt x="329" y="92"/>
                  <a:pt x="328" y="89"/>
                  <a:pt x="330" y="89"/>
                </a:cubicBezTo>
                <a:cubicBezTo>
                  <a:pt x="332" y="89"/>
                  <a:pt x="329" y="85"/>
                  <a:pt x="328" y="84"/>
                </a:cubicBezTo>
                <a:cubicBezTo>
                  <a:pt x="326" y="83"/>
                  <a:pt x="325" y="81"/>
                  <a:pt x="323" y="79"/>
                </a:cubicBezTo>
                <a:cubicBezTo>
                  <a:pt x="321" y="77"/>
                  <a:pt x="315" y="70"/>
                  <a:pt x="320" y="70"/>
                </a:cubicBezTo>
                <a:cubicBezTo>
                  <a:pt x="324" y="69"/>
                  <a:pt x="325" y="65"/>
                  <a:pt x="321" y="63"/>
                </a:cubicBezTo>
                <a:cubicBezTo>
                  <a:pt x="318" y="62"/>
                  <a:pt x="311" y="64"/>
                  <a:pt x="315" y="58"/>
                </a:cubicBezTo>
                <a:cubicBezTo>
                  <a:pt x="315" y="57"/>
                  <a:pt x="316" y="58"/>
                  <a:pt x="316" y="57"/>
                </a:cubicBezTo>
                <a:cubicBezTo>
                  <a:pt x="316" y="56"/>
                  <a:pt x="315" y="55"/>
                  <a:pt x="315" y="54"/>
                </a:cubicBezTo>
                <a:cubicBezTo>
                  <a:pt x="314" y="53"/>
                  <a:pt x="314" y="51"/>
                  <a:pt x="314" y="49"/>
                </a:cubicBezTo>
                <a:cubicBezTo>
                  <a:pt x="314" y="46"/>
                  <a:pt x="315" y="46"/>
                  <a:pt x="317" y="45"/>
                </a:cubicBezTo>
                <a:cubicBezTo>
                  <a:pt x="320" y="44"/>
                  <a:pt x="315" y="42"/>
                  <a:pt x="314" y="42"/>
                </a:cubicBezTo>
                <a:cubicBezTo>
                  <a:pt x="312" y="40"/>
                  <a:pt x="310" y="37"/>
                  <a:pt x="308" y="36"/>
                </a:cubicBezTo>
                <a:cubicBezTo>
                  <a:pt x="305" y="35"/>
                  <a:pt x="304" y="35"/>
                  <a:pt x="303" y="32"/>
                </a:cubicBezTo>
                <a:cubicBezTo>
                  <a:pt x="301" y="29"/>
                  <a:pt x="298" y="28"/>
                  <a:pt x="295" y="27"/>
                </a:cubicBezTo>
                <a:cubicBezTo>
                  <a:pt x="293" y="26"/>
                  <a:pt x="290" y="26"/>
                  <a:pt x="288" y="25"/>
                </a:cubicBezTo>
                <a:cubicBezTo>
                  <a:pt x="287" y="25"/>
                  <a:pt x="283" y="24"/>
                  <a:pt x="283" y="24"/>
                </a:cubicBezTo>
                <a:cubicBezTo>
                  <a:pt x="283" y="23"/>
                  <a:pt x="277" y="23"/>
                  <a:pt x="276" y="23"/>
                </a:cubicBezTo>
                <a:cubicBezTo>
                  <a:pt x="273" y="21"/>
                  <a:pt x="272" y="19"/>
                  <a:pt x="269" y="19"/>
                </a:cubicBezTo>
                <a:cubicBezTo>
                  <a:pt x="266" y="19"/>
                  <a:pt x="266" y="17"/>
                  <a:pt x="264" y="16"/>
                </a:cubicBezTo>
                <a:cubicBezTo>
                  <a:pt x="263" y="16"/>
                  <a:pt x="261" y="16"/>
                  <a:pt x="260" y="15"/>
                </a:cubicBezTo>
                <a:cubicBezTo>
                  <a:pt x="259" y="15"/>
                  <a:pt x="259" y="13"/>
                  <a:pt x="258" y="13"/>
                </a:cubicBezTo>
                <a:cubicBezTo>
                  <a:pt x="256" y="12"/>
                  <a:pt x="253" y="10"/>
                  <a:pt x="251" y="9"/>
                </a:cubicBezTo>
                <a:cubicBezTo>
                  <a:pt x="249" y="8"/>
                  <a:pt x="245" y="8"/>
                  <a:pt x="244" y="6"/>
                </a:cubicBezTo>
                <a:cubicBezTo>
                  <a:pt x="244" y="6"/>
                  <a:pt x="246" y="5"/>
                  <a:pt x="244" y="4"/>
                </a:cubicBezTo>
                <a:cubicBezTo>
                  <a:pt x="242" y="2"/>
                  <a:pt x="239" y="2"/>
                  <a:pt x="237" y="1"/>
                </a:cubicBezTo>
                <a:cubicBezTo>
                  <a:pt x="233" y="2"/>
                  <a:pt x="228" y="0"/>
                  <a:pt x="225" y="2"/>
                </a:cubicBezTo>
                <a:cubicBezTo>
                  <a:pt x="227" y="4"/>
                  <a:pt x="231" y="7"/>
                  <a:pt x="230" y="11"/>
                </a:cubicBezTo>
                <a:cubicBezTo>
                  <a:pt x="229" y="16"/>
                  <a:pt x="226" y="19"/>
                  <a:pt x="222" y="20"/>
                </a:cubicBezTo>
                <a:cubicBezTo>
                  <a:pt x="225" y="22"/>
                  <a:pt x="231" y="22"/>
                  <a:pt x="226" y="26"/>
                </a:cubicBezTo>
                <a:cubicBezTo>
                  <a:pt x="221" y="29"/>
                  <a:pt x="214" y="26"/>
                  <a:pt x="209" y="25"/>
                </a:cubicBezTo>
                <a:cubicBezTo>
                  <a:pt x="207" y="24"/>
                  <a:pt x="199" y="22"/>
                  <a:pt x="192" y="21"/>
                </a:cubicBezTo>
                <a:cubicBezTo>
                  <a:pt x="184" y="20"/>
                  <a:pt x="177" y="19"/>
                  <a:pt x="176" y="22"/>
                </a:cubicBezTo>
                <a:cubicBezTo>
                  <a:pt x="176" y="27"/>
                  <a:pt x="179" y="41"/>
                  <a:pt x="171" y="42"/>
                </a:cubicBezTo>
                <a:cubicBezTo>
                  <a:pt x="166" y="43"/>
                  <a:pt x="159" y="35"/>
                  <a:pt x="154" y="39"/>
                </a:cubicBezTo>
                <a:cubicBezTo>
                  <a:pt x="151" y="41"/>
                  <a:pt x="146" y="43"/>
                  <a:pt x="143" y="47"/>
                </a:cubicBezTo>
                <a:cubicBezTo>
                  <a:pt x="141" y="51"/>
                  <a:pt x="139" y="58"/>
                  <a:pt x="134" y="60"/>
                </a:cubicBezTo>
                <a:cubicBezTo>
                  <a:pt x="131" y="60"/>
                  <a:pt x="126" y="60"/>
                  <a:pt x="129" y="66"/>
                </a:cubicBezTo>
                <a:cubicBezTo>
                  <a:pt x="132" y="69"/>
                  <a:pt x="137" y="74"/>
                  <a:pt x="134" y="78"/>
                </a:cubicBezTo>
                <a:cubicBezTo>
                  <a:pt x="133" y="80"/>
                  <a:pt x="130" y="81"/>
                  <a:pt x="128" y="83"/>
                </a:cubicBezTo>
                <a:cubicBezTo>
                  <a:pt x="126" y="85"/>
                  <a:pt x="124" y="87"/>
                  <a:pt x="122" y="89"/>
                </a:cubicBezTo>
                <a:cubicBezTo>
                  <a:pt x="120" y="92"/>
                  <a:pt x="117" y="95"/>
                  <a:pt x="115" y="97"/>
                </a:cubicBezTo>
                <a:cubicBezTo>
                  <a:pt x="113" y="98"/>
                  <a:pt x="110" y="99"/>
                  <a:pt x="111" y="102"/>
                </a:cubicBezTo>
                <a:cubicBezTo>
                  <a:pt x="112" y="104"/>
                  <a:pt x="113" y="107"/>
                  <a:pt x="111" y="108"/>
                </a:cubicBezTo>
                <a:cubicBezTo>
                  <a:pt x="109" y="111"/>
                  <a:pt x="106" y="111"/>
                  <a:pt x="104" y="112"/>
                </a:cubicBezTo>
                <a:cubicBezTo>
                  <a:pt x="102" y="112"/>
                  <a:pt x="88" y="114"/>
                  <a:pt x="89" y="116"/>
                </a:cubicBezTo>
                <a:cubicBezTo>
                  <a:pt x="89" y="119"/>
                  <a:pt x="91" y="122"/>
                  <a:pt x="91" y="126"/>
                </a:cubicBezTo>
                <a:cubicBezTo>
                  <a:pt x="91" y="129"/>
                  <a:pt x="89" y="133"/>
                  <a:pt x="89" y="136"/>
                </a:cubicBezTo>
                <a:cubicBezTo>
                  <a:pt x="88" y="140"/>
                  <a:pt x="89" y="144"/>
                  <a:pt x="88" y="147"/>
                </a:cubicBezTo>
                <a:cubicBezTo>
                  <a:pt x="87" y="150"/>
                  <a:pt x="85" y="151"/>
                  <a:pt x="84" y="154"/>
                </a:cubicBezTo>
                <a:cubicBezTo>
                  <a:pt x="83" y="157"/>
                  <a:pt x="80" y="160"/>
                  <a:pt x="78" y="162"/>
                </a:cubicBezTo>
                <a:cubicBezTo>
                  <a:pt x="75" y="164"/>
                  <a:pt x="73" y="167"/>
                  <a:pt x="71" y="170"/>
                </a:cubicBezTo>
                <a:cubicBezTo>
                  <a:pt x="67" y="175"/>
                  <a:pt x="69" y="177"/>
                  <a:pt x="74" y="179"/>
                </a:cubicBezTo>
                <a:cubicBezTo>
                  <a:pt x="78" y="181"/>
                  <a:pt x="80" y="185"/>
                  <a:pt x="80" y="190"/>
                </a:cubicBezTo>
                <a:cubicBezTo>
                  <a:pt x="79" y="198"/>
                  <a:pt x="73" y="198"/>
                  <a:pt x="68" y="197"/>
                </a:cubicBezTo>
                <a:cubicBezTo>
                  <a:pt x="62" y="196"/>
                  <a:pt x="56" y="195"/>
                  <a:pt x="50" y="197"/>
                </a:cubicBezTo>
                <a:cubicBezTo>
                  <a:pt x="47" y="198"/>
                  <a:pt x="44" y="199"/>
                  <a:pt x="42" y="201"/>
                </a:cubicBezTo>
                <a:cubicBezTo>
                  <a:pt x="40" y="203"/>
                  <a:pt x="38" y="205"/>
                  <a:pt x="36" y="207"/>
                </a:cubicBezTo>
                <a:cubicBezTo>
                  <a:pt x="34" y="209"/>
                  <a:pt x="32" y="212"/>
                  <a:pt x="30" y="214"/>
                </a:cubicBezTo>
                <a:cubicBezTo>
                  <a:pt x="29" y="216"/>
                  <a:pt x="29" y="218"/>
                  <a:pt x="29" y="220"/>
                </a:cubicBezTo>
                <a:cubicBezTo>
                  <a:pt x="29" y="222"/>
                  <a:pt x="26" y="224"/>
                  <a:pt x="25" y="226"/>
                </a:cubicBezTo>
                <a:cubicBezTo>
                  <a:pt x="24" y="228"/>
                  <a:pt x="26" y="231"/>
                  <a:pt x="27" y="233"/>
                </a:cubicBezTo>
                <a:cubicBezTo>
                  <a:pt x="28" y="237"/>
                  <a:pt x="30" y="239"/>
                  <a:pt x="28" y="243"/>
                </a:cubicBezTo>
                <a:cubicBezTo>
                  <a:pt x="27" y="245"/>
                  <a:pt x="28" y="248"/>
                  <a:pt x="28" y="251"/>
                </a:cubicBezTo>
                <a:cubicBezTo>
                  <a:pt x="29" y="254"/>
                  <a:pt x="27" y="257"/>
                  <a:pt x="29" y="260"/>
                </a:cubicBezTo>
                <a:cubicBezTo>
                  <a:pt x="30" y="263"/>
                  <a:pt x="32" y="265"/>
                  <a:pt x="33" y="268"/>
                </a:cubicBezTo>
                <a:cubicBezTo>
                  <a:pt x="33" y="271"/>
                  <a:pt x="32" y="275"/>
                  <a:pt x="31" y="278"/>
                </a:cubicBezTo>
                <a:cubicBezTo>
                  <a:pt x="31" y="281"/>
                  <a:pt x="30" y="285"/>
                  <a:pt x="30" y="289"/>
                </a:cubicBezTo>
                <a:cubicBezTo>
                  <a:pt x="30" y="300"/>
                  <a:pt x="49" y="297"/>
                  <a:pt x="48" y="309"/>
                </a:cubicBezTo>
                <a:cubicBezTo>
                  <a:pt x="48" y="312"/>
                  <a:pt x="46" y="314"/>
                  <a:pt x="45" y="317"/>
                </a:cubicBezTo>
                <a:cubicBezTo>
                  <a:pt x="44" y="320"/>
                  <a:pt x="42" y="319"/>
                  <a:pt x="39" y="319"/>
                </a:cubicBezTo>
                <a:cubicBezTo>
                  <a:pt x="38" y="319"/>
                  <a:pt x="33" y="319"/>
                  <a:pt x="32" y="321"/>
                </a:cubicBezTo>
                <a:cubicBezTo>
                  <a:pt x="32" y="322"/>
                  <a:pt x="34" y="327"/>
                  <a:pt x="35" y="328"/>
                </a:cubicBezTo>
                <a:cubicBezTo>
                  <a:pt x="35" y="330"/>
                  <a:pt x="38" y="333"/>
                  <a:pt x="39" y="336"/>
                </a:cubicBezTo>
                <a:cubicBezTo>
                  <a:pt x="41" y="339"/>
                  <a:pt x="43" y="342"/>
                  <a:pt x="42" y="345"/>
                </a:cubicBezTo>
                <a:cubicBezTo>
                  <a:pt x="42" y="347"/>
                  <a:pt x="40" y="348"/>
                  <a:pt x="39" y="350"/>
                </a:cubicBezTo>
                <a:cubicBezTo>
                  <a:pt x="39" y="353"/>
                  <a:pt x="40" y="355"/>
                  <a:pt x="39" y="358"/>
                </a:cubicBezTo>
                <a:cubicBezTo>
                  <a:pt x="38" y="361"/>
                  <a:pt x="35" y="363"/>
                  <a:pt x="32" y="365"/>
                </a:cubicBezTo>
                <a:cubicBezTo>
                  <a:pt x="29" y="367"/>
                  <a:pt x="28" y="367"/>
                  <a:pt x="25" y="367"/>
                </a:cubicBezTo>
                <a:cubicBezTo>
                  <a:pt x="19" y="367"/>
                  <a:pt x="22" y="369"/>
                  <a:pt x="23" y="372"/>
                </a:cubicBezTo>
                <a:cubicBezTo>
                  <a:pt x="22" y="378"/>
                  <a:pt x="15" y="376"/>
                  <a:pt x="17" y="383"/>
                </a:cubicBezTo>
                <a:cubicBezTo>
                  <a:pt x="18" y="385"/>
                  <a:pt x="20" y="388"/>
                  <a:pt x="20" y="391"/>
                </a:cubicBezTo>
                <a:cubicBezTo>
                  <a:pt x="21" y="394"/>
                  <a:pt x="19" y="395"/>
                  <a:pt x="19" y="398"/>
                </a:cubicBezTo>
                <a:cubicBezTo>
                  <a:pt x="19" y="401"/>
                  <a:pt x="18" y="406"/>
                  <a:pt x="16" y="408"/>
                </a:cubicBezTo>
                <a:cubicBezTo>
                  <a:pt x="15" y="408"/>
                  <a:pt x="12" y="409"/>
                  <a:pt x="11" y="408"/>
                </a:cubicBezTo>
                <a:cubicBezTo>
                  <a:pt x="11" y="408"/>
                  <a:pt x="11" y="406"/>
                  <a:pt x="11" y="405"/>
                </a:cubicBezTo>
                <a:cubicBezTo>
                  <a:pt x="11" y="404"/>
                  <a:pt x="10" y="403"/>
                  <a:pt x="9" y="402"/>
                </a:cubicBezTo>
                <a:cubicBezTo>
                  <a:pt x="8" y="400"/>
                  <a:pt x="6" y="400"/>
                  <a:pt x="4" y="400"/>
                </a:cubicBezTo>
                <a:cubicBezTo>
                  <a:pt x="5" y="401"/>
                  <a:pt x="0" y="406"/>
                  <a:pt x="4" y="404"/>
                </a:cubicBezTo>
                <a:cubicBezTo>
                  <a:pt x="1" y="405"/>
                  <a:pt x="3" y="406"/>
                  <a:pt x="4" y="408"/>
                </a:cubicBezTo>
                <a:cubicBezTo>
                  <a:pt x="5" y="410"/>
                  <a:pt x="6" y="412"/>
                  <a:pt x="5" y="414"/>
                </a:cubicBezTo>
                <a:cubicBezTo>
                  <a:pt x="5" y="414"/>
                  <a:pt x="4" y="413"/>
                  <a:pt x="4" y="413"/>
                </a:cubicBezTo>
                <a:cubicBezTo>
                  <a:pt x="3" y="414"/>
                  <a:pt x="6" y="415"/>
                  <a:pt x="6" y="416"/>
                </a:cubicBezTo>
                <a:cubicBezTo>
                  <a:pt x="6" y="416"/>
                  <a:pt x="4" y="414"/>
                  <a:pt x="3" y="415"/>
                </a:cubicBezTo>
                <a:cubicBezTo>
                  <a:pt x="3" y="416"/>
                  <a:pt x="5" y="417"/>
                  <a:pt x="6" y="418"/>
                </a:cubicBezTo>
                <a:cubicBezTo>
                  <a:pt x="6" y="419"/>
                  <a:pt x="6" y="420"/>
                  <a:pt x="7" y="421"/>
                </a:cubicBezTo>
                <a:cubicBezTo>
                  <a:pt x="7" y="422"/>
                  <a:pt x="6" y="423"/>
                  <a:pt x="6" y="424"/>
                </a:cubicBezTo>
                <a:cubicBezTo>
                  <a:pt x="6" y="425"/>
                  <a:pt x="8" y="426"/>
                  <a:pt x="7" y="427"/>
                </a:cubicBezTo>
                <a:cubicBezTo>
                  <a:pt x="7" y="428"/>
                  <a:pt x="5" y="433"/>
                  <a:pt x="8" y="431"/>
                </a:cubicBezTo>
                <a:cubicBezTo>
                  <a:pt x="9" y="430"/>
                  <a:pt x="11" y="427"/>
                  <a:pt x="12" y="427"/>
                </a:cubicBezTo>
                <a:cubicBezTo>
                  <a:pt x="11" y="429"/>
                  <a:pt x="10" y="430"/>
                  <a:pt x="9" y="431"/>
                </a:cubicBezTo>
                <a:cubicBezTo>
                  <a:pt x="10" y="432"/>
                  <a:pt x="10" y="430"/>
                  <a:pt x="11" y="430"/>
                </a:cubicBezTo>
                <a:cubicBezTo>
                  <a:pt x="11" y="430"/>
                  <a:pt x="12" y="431"/>
                  <a:pt x="12" y="432"/>
                </a:cubicBezTo>
                <a:cubicBezTo>
                  <a:pt x="9" y="430"/>
                  <a:pt x="11" y="434"/>
                  <a:pt x="10" y="434"/>
                </a:cubicBezTo>
                <a:cubicBezTo>
                  <a:pt x="14" y="436"/>
                  <a:pt x="15" y="429"/>
                  <a:pt x="15" y="426"/>
                </a:cubicBezTo>
                <a:cubicBezTo>
                  <a:pt x="15" y="427"/>
                  <a:pt x="15" y="429"/>
                  <a:pt x="16" y="429"/>
                </a:cubicBezTo>
                <a:cubicBezTo>
                  <a:pt x="17" y="429"/>
                  <a:pt x="17" y="428"/>
                  <a:pt x="18" y="428"/>
                </a:cubicBezTo>
                <a:cubicBezTo>
                  <a:pt x="17" y="428"/>
                  <a:pt x="11" y="437"/>
                  <a:pt x="14" y="436"/>
                </a:cubicBezTo>
                <a:cubicBezTo>
                  <a:pt x="15" y="436"/>
                  <a:pt x="19" y="433"/>
                  <a:pt x="19" y="432"/>
                </a:cubicBezTo>
                <a:cubicBezTo>
                  <a:pt x="20" y="432"/>
                  <a:pt x="22" y="432"/>
                  <a:pt x="24" y="432"/>
                </a:cubicBezTo>
                <a:cubicBezTo>
                  <a:pt x="22" y="433"/>
                  <a:pt x="21" y="433"/>
                  <a:pt x="23" y="436"/>
                </a:cubicBezTo>
                <a:cubicBezTo>
                  <a:pt x="24" y="437"/>
                  <a:pt x="23" y="438"/>
                  <a:pt x="23" y="440"/>
                </a:cubicBezTo>
                <a:cubicBezTo>
                  <a:pt x="23" y="442"/>
                  <a:pt x="20" y="447"/>
                  <a:pt x="21" y="449"/>
                </a:cubicBezTo>
                <a:cubicBezTo>
                  <a:pt x="20" y="450"/>
                  <a:pt x="21" y="449"/>
                  <a:pt x="20" y="450"/>
                </a:cubicBezTo>
                <a:cubicBezTo>
                  <a:pt x="19" y="449"/>
                  <a:pt x="19" y="451"/>
                  <a:pt x="18" y="452"/>
                </a:cubicBezTo>
                <a:cubicBezTo>
                  <a:pt x="18" y="452"/>
                  <a:pt x="18" y="454"/>
                  <a:pt x="19" y="454"/>
                </a:cubicBezTo>
                <a:cubicBezTo>
                  <a:pt x="20" y="455"/>
                  <a:pt x="22" y="454"/>
                  <a:pt x="23" y="454"/>
                </a:cubicBezTo>
                <a:cubicBezTo>
                  <a:pt x="22" y="455"/>
                  <a:pt x="19" y="458"/>
                  <a:pt x="19" y="458"/>
                </a:cubicBezTo>
                <a:cubicBezTo>
                  <a:pt x="21" y="460"/>
                  <a:pt x="20" y="458"/>
                  <a:pt x="21" y="458"/>
                </a:cubicBezTo>
                <a:cubicBezTo>
                  <a:pt x="22" y="458"/>
                  <a:pt x="23" y="458"/>
                  <a:pt x="24" y="459"/>
                </a:cubicBezTo>
                <a:cubicBezTo>
                  <a:pt x="22" y="459"/>
                  <a:pt x="24" y="463"/>
                  <a:pt x="24" y="461"/>
                </a:cubicBezTo>
                <a:cubicBezTo>
                  <a:pt x="26" y="463"/>
                  <a:pt x="24" y="466"/>
                  <a:pt x="26" y="467"/>
                </a:cubicBezTo>
                <a:cubicBezTo>
                  <a:pt x="24" y="467"/>
                  <a:pt x="24" y="470"/>
                  <a:pt x="25" y="471"/>
                </a:cubicBezTo>
                <a:cubicBezTo>
                  <a:pt x="25" y="472"/>
                  <a:pt x="26" y="473"/>
                  <a:pt x="27" y="472"/>
                </a:cubicBezTo>
                <a:cubicBezTo>
                  <a:pt x="28" y="472"/>
                  <a:pt x="27" y="470"/>
                  <a:pt x="28" y="469"/>
                </a:cubicBezTo>
                <a:cubicBezTo>
                  <a:pt x="30" y="468"/>
                  <a:pt x="31" y="470"/>
                  <a:pt x="29" y="471"/>
                </a:cubicBezTo>
                <a:cubicBezTo>
                  <a:pt x="32" y="471"/>
                  <a:pt x="28" y="473"/>
                  <a:pt x="31" y="474"/>
                </a:cubicBezTo>
                <a:cubicBezTo>
                  <a:pt x="34" y="475"/>
                  <a:pt x="27" y="477"/>
                  <a:pt x="31" y="478"/>
                </a:cubicBezTo>
                <a:cubicBezTo>
                  <a:pt x="28" y="478"/>
                  <a:pt x="33" y="479"/>
                  <a:pt x="33" y="479"/>
                </a:cubicBezTo>
                <a:cubicBezTo>
                  <a:pt x="34" y="480"/>
                  <a:pt x="32" y="479"/>
                  <a:pt x="32" y="480"/>
                </a:cubicBezTo>
                <a:cubicBezTo>
                  <a:pt x="32" y="481"/>
                  <a:pt x="33" y="480"/>
                  <a:pt x="33" y="480"/>
                </a:cubicBezTo>
                <a:cubicBezTo>
                  <a:pt x="33" y="481"/>
                  <a:pt x="34" y="482"/>
                  <a:pt x="34" y="483"/>
                </a:cubicBezTo>
                <a:cubicBezTo>
                  <a:pt x="33" y="483"/>
                  <a:pt x="33" y="483"/>
                  <a:pt x="33" y="483"/>
                </a:cubicBezTo>
                <a:cubicBezTo>
                  <a:pt x="34" y="483"/>
                  <a:pt x="35" y="486"/>
                  <a:pt x="36" y="487"/>
                </a:cubicBezTo>
                <a:cubicBezTo>
                  <a:pt x="38" y="488"/>
                  <a:pt x="37" y="489"/>
                  <a:pt x="37" y="491"/>
                </a:cubicBezTo>
                <a:cubicBezTo>
                  <a:pt x="38" y="492"/>
                  <a:pt x="40" y="492"/>
                  <a:pt x="41" y="493"/>
                </a:cubicBezTo>
                <a:cubicBezTo>
                  <a:pt x="42" y="494"/>
                  <a:pt x="44" y="495"/>
                  <a:pt x="45" y="497"/>
                </a:cubicBezTo>
                <a:cubicBezTo>
                  <a:pt x="46" y="499"/>
                  <a:pt x="47" y="502"/>
                  <a:pt x="48" y="503"/>
                </a:cubicBezTo>
                <a:cubicBezTo>
                  <a:pt x="50" y="504"/>
                  <a:pt x="51" y="502"/>
                  <a:pt x="52" y="503"/>
                </a:cubicBezTo>
                <a:cubicBezTo>
                  <a:pt x="53" y="504"/>
                  <a:pt x="54" y="506"/>
                  <a:pt x="54" y="507"/>
                </a:cubicBezTo>
                <a:cubicBezTo>
                  <a:pt x="54" y="509"/>
                  <a:pt x="54" y="512"/>
                  <a:pt x="51" y="512"/>
                </a:cubicBezTo>
                <a:cubicBezTo>
                  <a:pt x="50" y="512"/>
                  <a:pt x="49" y="510"/>
                  <a:pt x="48" y="511"/>
                </a:cubicBezTo>
                <a:cubicBezTo>
                  <a:pt x="42" y="511"/>
                  <a:pt x="48" y="515"/>
                  <a:pt x="49" y="516"/>
                </a:cubicBezTo>
                <a:cubicBezTo>
                  <a:pt x="49" y="516"/>
                  <a:pt x="53" y="521"/>
                  <a:pt x="50" y="521"/>
                </a:cubicBezTo>
                <a:cubicBezTo>
                  <a:pt x="47" y="521"/>
                  <a:pt x="44" y="518"/>
                  <a:pt x="40" y="518"/>
                </a:cubicBezTo>
                <a:cubicBezTo>
                  <a:pt x="43" y="520"/>
                  <a:pt x="43" y="523"/>
                  <a:pt x="45" y="526"/>
                </a:cubicBezTo>
                <a:cubicBezTo>
                  <a:pt x="47" y="528"/>
                  <a:pt x="49" y="530"/>
                  <a:pt x="50" y="533"/>
                </a:cubicBezTo>
                <a:cubicBezTo>
                  <a:pt x="51" y="535"/>
                  <a:pt x="51" y="535"/>
                  <a:pt x="53" y="537"/>
                </a:cubicBezTo>
                <a:cubicBezTo>
                  <a:pt x="54" y="537"/>
                  <a:pt x="54" y="538"/>
                  <a:pt x="54" y="539"/>
                </a:cubicBezTo>
                <a:cubicBezTo>
                  <a:pt x="54" y="539"/>
                  <a:pt x="54" y="541"/>
                  <a:pt x="54" y="541"/>
                </a:cubicBezTo>
                <a:cubicBezTo>
                  <a:pt x="54" y="541"/>
                  <a:pt x="62" y="545"/>
                  <a:pt x="57" y="546"/>
                </a:cubicBezTo>
                <a:cubicBezTo>
                  <a:pt x="56" y="547"/>
                  <a:pt x="54" y="548"/>
                  <a:pt x="54" y="550"/>
                </a:cubicBezTo>
                <a:cubicBezTo>
                  <a:pt x="54" y="552"/>
                  <a:pt x="56" y="552"/>
                  <a:pt x="56" y="554"/>
                </a:cubicBezTo>
                <a:cubicBezTo>
                  <a:pt x="55" y="554"/>
                  <a:pt x="54" y="556"/>
                  <a:pt x="53" y="555"/>
                </a:cubicBezTo>
                <a:cubicBezTo>
                  <a:pt x="52" y="554"/>
                  <a:pt x="52" y="557"/>
                  <a:pt x="52" y="557"/>
                </a:cubicBezTo>
                <a:cubicBezTo>
                  <a:pt x="55" y="555"/>
                  <a:pt x="59" y="557"/>
                  <a:pt x="62" y="558"/>
                </a:cubicBezTo>
                <a:cubicBezTo>
                  <a:pt x="67" y="559"/>
                  <a:pt x="69" y="558"/>
                  <a:pt x="74" y="557"/>
                </a:cubicBezTo>
                <a:cubicBezTo>
                  <a:pt x="77" y="556"/>
                  <a:pt x="81" y="554"/>
                  <a:pt x="85" y="555"/>
                </a:cubicBezTo>
                <a:cubicBezTo>
                  <a:pt x="87" y="557"/>
                  <a:pt x="90" y="558"/>
                  <a:pt x="92" y="555"/>
                </a:cubicBezTo>
                <a:cubicBezTo>
                  <a:pt x="95" y="553"/>
                  <a:pt x="96" y="551"/>
                  <a:pt x="94" y="547"/>
                </a:cubicBezTo>
                <a:cubicBezTo>
                  <a:pt x="93" y="544"/>
                  <a:pt x="90" y="544"/>
                  <a:pt x="91" y="540"/>
                </a:cubicBezTo>
                <a:cubicBezTo>
                  <a:pt x="92" y="536"/>
                  <a:pt x="94" y="534"/>
                  <a:pt x="96" y="531"/>
                </a:cubicBezTo>
                <a:cubicBezTo>
                  <a:pt x="97" y="531"/>
                  <a:pt x="98" y="530"/>
                  <a:pt x="99" y="529"/>
                </a:cubicBezTo>
                <a:cubicBezTo>
                  <a:pt x="100" y="528"/>
                  <a:pt x="101" y="529"/>
                  <a:pt x="102" y="528"/>
                </a:cubicBezTo>
                <a:cubicBezTo>
                  <a:pt x="102" y="532"/>
                  <a:pt x="110" y="531"/>
                  <a:pt x="106" y="527"/>
                </a:cubicBezTo>
                <a:cubicBezTo>
                  <a:pt x="102" y="522"/>
                  <a:pt x="113" y="524"/>
                  <a:pt x="115" y="524"/>
                </a:cubicBezTo>
                <a:cubicBezTo>
                  <a:pt x="114" y="524"/>
                  <a:pt x="114" y="523"/>
                  <a:pt x="114" y="522"/>
                </a:cubicBezTo>
                <a:cubicBezTo>
                  <a:pt x="115" y="522"/>
                  <a:pt x="115" y="523"/>
                  <a:pt x="116" y="524"/>
                </a:cubicBezTo>
                <a:cubicBezTo>
                  <a:pt x="117" y="524"/>
                  <a:pt x="118" y="524"/>
                  <a:pt x="119" y="524"/>
                </a:cubicBezTo>
                <a:cubicBezTo>
                  <a:pt x="120" y="524"/>
                  <a:pt x="122" y="523"/>
                  <a:pt x="122" y="523"/>
                </a:cubicBezTo>
                <a:cubicBezTo>
                  <a:pt x="122" y="524"/>
                  <a:pt x="122" y="524"/>
                  <a:pt x="122" y="524"/>
                </a:cubicBezTo>
                <a:cubicBezTo>
                  <a:pt x="124" y="526"/>
                  <a:pt x="125" y="522"/>
                  <a:pt x="127" y="523"/>
                </a:cubicBezTo>
                <a:cubicBezTo>
                  <a:pt x="128" y="524"/>
                  <a:pt x="130" y="521"/>
                  <a:pt x="131" y="522"/>
                </a:cubicBezTo>
                <a:cubicBezTo>
                  <a:pt x="131" y="522"/>
                  <a:pt x="129" y="523"/>
                  <a:pt x="129" y="524"/>
                </a:cubicBezTo>
                <a:cubicBezTo>
                  <a:pt x="129" y="524"/>
                  <a:pt x="133" y="523"/>
                  <a:pt x="134" y="523"/>
                </a:cubicBezTo>
                <a:cubicBezTo>
                  <a:pt x="135" y="523"/>
                  <a:pt x="136" y="525"/>
                  <a:pt x="137" y="523"/>
                </a:cubicBezTo>
                <a:cubicBezTo>
                  <a:pt x="137" y="524"/>
                  <a:pt x="135" y="527"/>
                  <a:pt x="138" y="527"/>
                </a:cubicBezTo>
                <a:cubicBezTo>
                  <a:pt x="139" y="526"/>
                  <a:pt x="140" y="524"/>
                  <a:pt x="141" y="523"/>
                </a:cubicBezTo>
                <a:cubicBezTo>
                  <a:pt x="143" y="520"/>
                  <a:pt x="143" y="517"/>
                  <a:pt x="145" y="513"/>
                </a:cubicBezTo>
                <a:cubicBezTo>
                  <a:pt x="146" y="510"/>
                  <a:pt x="147" y="508"/>
                  <a:pt x="148" y="506"/>
                </a:cubicBezTo>
                <a:cubicBezTo>
                  <a:pt x="148" y="505"/>
                  <a:pt x="150" y="501"/>
                  <a:pt x="150" y="504"/>
                </a:cubicBezTo>
                <a:cubicBezTo>
                  <a:pt x="152" y="503"/>
                  <a:pt x="152" y="500"/>
                  <a:pt x="151" y="498"/>
                </a:cubicBezTo>
                <a:cubicBezTo>
                  <a:pt x="152" y="498"/>
                  <a:pt x="155" y="499"/>
                  <a:pt x="155" y="497"/>
                </a:cubicBezTo>
                <a:cubicBezTo>
                  <a:pt x="155" y="497"/>
                  <a:pt x="153" y="498"/>
                  <a:pt x="153" y="498"/>
                </a:cubicBezTo>
                <a:cubicBezTo>
                  <a:pt x="153" y="496"/>
                  <a:pt x="153" y="495"/>
                  <a:pt x="153" y="493"/>
                </a:cubicBezTo>
                <a:cubicBezTo>
                  <a:pt x="153" y="493"/>
                  <a:pt x="154" y="491"/>
                  <a:pt x="154" y="490"/>
                </a:cubicBezTo>
                <a:cubicBezTo>
                  <a:pt x="154" y="489"/>
                  <a:pt x="153" y="490"/>
                  <a:pt x="153" y="488"/>
                </a:cubicBezTo>
                <a:cubicBezTo>
                  <a:pt x="154" y="487"/>
                  <a:pt x="155" y="488"/>
                  <a:pt x="153" y="486"/>
                </a:cubicBezTo>
                <a:cubicBezTo>
                  <a:pt x="155" y="488"/>
                  <a:pt x="155" y="486"/>
                  <a:pt x="156" y="486"/>
                </a:cubicBezTo>
                <a:cubicBezTo>
                  <a:pt x="156" y="486"/>
                  <a:pt x="156" y="487"/>
                  <a:pt x="157" y="486"/>
                </a:cubicBezTo>
                <a:cubicBezTo>
                  <a:pt x="157" y="486"/>
                  <a:pt x="156" y="486"/>
                  <a:pt x="156" y="485"/>
                </a:cubicBezTo>
                <a:cubicBezTo>
                  <a:pt x="156" y="485"/>
                  <a:pt x="157" y="485"/>
                  <a:pt x="157" y="484"/>
                </a:cubicBezTo>
                <a:cubicBezTo>
                  <a:pt x="155" y="484"/>
                  <a:pt x="152" y="478"/>
                  <a:pt x="155" y="479"/>
                </a:cubicBezTo>
                <a:cubicBezTo>
                  <a:pt x="154" y="478"/>
                  <a:pt x="154" y="478"/>
                  <a:pt x="153" y="477"/>
                </a:cubicBezTo>
                <a:cubicBezTo>
                  <a:pt x="155" y="475"/>
                  <a:pt x="156" y="475"/>
                  <a:pt x="156" y="473"/>
                </a:cubicBezTo>
                <a:cubicBezTo>
                  <a:pt x="156" y="474"/>
                  <a:pt x="159" y="471"/>
                  <a:pt x="159" y="471"/>
                </a:cubicBezTo>
                <a:cubicBezTo>
                  <a:pt x="159" y="471"/>
                  <a:pt x="158" y="470"/>
                  <a:pt x="158" y="470"/>
                </a:cubicBezTo>
                <a:cubicBezTo>
                  <a:pt x="158" y="470"/>
                  <a:pt x="159" y="469"/>
                  <a:pt x="159" y="469"/>
                </a:cubicBezTo>
                <a:cubicBezTo>
                  <a:pt x="158" y="468"/>
                  <a:pt x="160" y="469"/>
                  <a:pt x="160" y="468"/>
                </a:cubicBezTo>
                <a:cubicBezTo>
                  <a:pt x="159" y="467"/>
                  <a:pt x="157" y="466"/>
                  <a:pt x="159" y="466"/>
                </a:cubicBezTo>
                <a:cubicBezTo>
                  <a:pt x="158" y="464"/>
                  <a:pt x="155" y="465"/>
                  <a:pt x="155" y="462"/>
                </a:cubicBezTo>
                <a:cubicBezTo>
                  <a:pt x="156" y="462"/>
                  <a:pt x="157" y="464"/>
                  <a:pt x="158" y="463"/>
                </a:cubicBezTo>
                <a:cubicBezTo>
                  <a:pt x="158" y="462"/>
                  <a:pt x="157" y="461"/>
                  <a:pt x="157" y="460"/>
                </a:cubicBezTo>
                <a:cubicBezTo>
                  <a:pt x="160" y="462"/>
                  <a:pt x="156" y="459"/>
                  <a:pt x="156" y="458"/>
                </a:cubicBezTo>
                <a:cubicBezTo>
                  <a:pt x="157" y="459"/>
                  <a:pt x="159" y="460"/>
                  <a:pt x="160" y="459"/>
                </a:cubicBezTo>
                <a:cubicBezTo>
                  <a:pt x="159" y="458"/>
                  <a:pt x="158" y="458"/>
                  <a:pt x="158" y="456"/>
                </a:cubicBezTo>
                <a:cubicBezTo>
                  <a:pt x="158" y="457"/>
                  <a:pt x="159" y="457"/>
                  <a:pt x="160" y="457"/>
                </a:cubicBezTo>
                <a:cubicBezTo>
                  <a:pt x="159" y="457"/>
                  <a:pt x="154" y="451"/>
                  <a:pt x="153" y="451"/>
                </a:cubicBezTo>
                <a:cubicBezTo>
                  <a:pt x="153" y="450"/>
                  <a:pt x="154" y="451"/>
                  <a:pt x="153" y="450"/>
                </a:cubicBezTo>
                <a:cubicBezTo>
                  <a:pt x="153" y="450"/>
                  <a:pt x="157" y="452"/>
                  <a:pt x="156" y="450"/>
                </a:cubicBezTo>
                <a:cubicBezTo>
                  <a:pt x="156" y="450"/>
                  <a:pt x="160" y="452"/>
                  <a:pt x="161" y="451"/>
                </a:cubicBezTo>
                <a:cubicBezTo>
                  <a:pt x="162" y="451"/>
                  <a:pt x="160" y="450"/>
                  <a:pt x="160" y="449"/>
                </a:cubicBezTo>
                <a:cubicBezTo>
                  <a:pt x="161" y="450"/>
                  <a:pt x="161" y="450"/>
                  <a:pt x="162" y="449"/>
                </a:cubicBezTo>
                <a:cubicBezTo>
                  <a:pt x="161" y="449"/>
                  <a:pt x="161" y="447"/>
                  <a:pt x="160" y="448"/>
                </a:cubicBezTo>
                <a:cubicBezTo>
                  <a:pt x="159" y="448"/>
                  <a:pt x="157" y="447"/>
                  <a:pt x="157" y="447"/>
                </a:cubicBezTo>
                <a:cubicBezTo>
                  <a:pt x="157" y="447"/>
                  <a:pt x="158" y="447"/>
                  <a:pt x="158" y="447"/>
                </a:cubicBezTo>
                <a:cubicBezTo>
                  <a:pt x="157" y="446"/>
                  <a:pt x="157" y="445"/>
                  <a:pt x="158" y="445"/>
                </a:cubicBezTo>
                <a:cubicBezTo>
                  <a:pt x="158" y="447"/>
                  <a:pt x="161" y="446"/>
                  <a:pt x="160" y="444"/>
                </a:cubicBezTo>
                <a:cubicBezTo>
                  <a:pt x="161" y="444"/>
                  <a:pt x="161" y="444"/>
                  <a:pt x="162" y="444"/>
                </a:cubicBezTo>
                <a:cubicBezTo>
                  <a:pt x="162" y="444"/>
                  <a:pt x="159" y="441"/>
                  <a:pt x="159" y="441"/>
                </a:cubicBezTo>
                <a:cubicBezTo>
                  <a:pt x="160" y="441"/>
                  <a:pt x="162" y="441"/>
                  <a:pt x="162" y="440"/>
                </a:cubicBezTo>
                <a:cubicBezTo>
                  <a:pt x="163" y="440"/>
                  <a:pt x="162" y="439"/>
                  <a:pt x="162" y="439"/>
                </a:cubicBezTo>
                <a:cubicBezTo>
                  <a:pt x="162" y="439"/>
                  <a:pt x="163" y="439"/>
                  <a:pt x="163" y="439"/>
                </a:cubicBezTo>
                <a:cubicBezTo>
                  <a:pt x="162" y="436"/>
                  <a:pt x="160" y="436"/>
                  <a:pt x="159" y="435"/>
                </a:cubicBezTo>
                <a:cubicBezTo>
                  <a:pt x="160" y="435"/>
                  <a:pt x="161" y="434"/>
                  <a:pt x="162" y="433"/>
                </a:cubicBezTo>
                <a:cubicBezTo>
                  <a:pt x="160" y="433"/>
                  <a:pt x="158" y="433"/>
                  <a:pt x="157" y="432"/>
                </a:cubicBezTo>
                <a:cubicBezTo>
                  <a:pt x="157" y="432"/>
                  <a:pt x="162" y="432"/>
                  <a:pt x="161" y="431"/>
                </a:cubicBezTo>
                <a:cubicBezTo>
                  <a:pt x="160" y="430"/>
                  <a:pt x="159" y="431"/>
                  <a:pt x="159" y="431"/>
                </a:cubicBezTo>
                <a:cubicBezTo>
                  <a:pt x="159" y="431"/>
                  <a:pt x="159" y="430"/>
                  <a:pt x="159" y="430"/>
                </a:cubicBezTo>
                <a:cubicBezTo>
                  <a:pt x="158" y="429"/>
                  <a:pt x="157" y="429"/>
                  <a:pt x="156" y="428"/>
                </a:cubicBezTo>
                <a:cubicBezTo>
                  <a:pt x="154" y="428"/>
                  <a:pt x="152" y="427"/>
                  <a:pt x="150" y="426"/>
                </a:cubicBezTo>
                <a:cubicBezTo>
                  <a:pt x="153" y="426"/>
                  <a:pt x="156" y="428"/>
                  <a:pt x="158" y="428"/>
                </a:cubicBezTo>
                <a:cubicBezTo>
                  <a:pt x="159" y="428"/>
                  <a:pt x="161" y="429"/>
                  <a:pt x="162" y="428"/>
                </a:cubicBezTo>
                <a:cubicBezTo>
                  <a:pt x="163" y="428"/>
                  <a:pt x="163" y="427"/>
                  <a:pt x="163" y="426"/>
                </a:cubicBezTo>
                <a:cubicBezTo>
                  <a:pt x="164" y="427"/>
                  <a:pt x="164" y="427"/>
                  <a:pt x="165" y="426"/>
                </a:cubicBezTo>
                <a:cubicBezTo>
                  <a:pt x="164" y="425"/>
                  <a:pt x="162" y="425"/>
                  <a:pt x="162" y="423"/>
                </a:cubicBezTo>
                <a:cubicBezTo>
                  <a:pt x="161" y="423"/>
                  <a:pt x="154" y="418"/>
                  <a:pt x="154" y="420"/>
                </a:cubicBezTo>
                <a:cubicBezTo>
                  <a:pt x="154" y="421"/>
                  <a:pt x="152" y="420"/>
                  <a:pt x="151" y="420"/>
                </a:cubicBezTo>
                <a:cubicBezTo>
                  <a:pt x="150" y="420"/>
                  <a:pt x="151" y="421"/>
                  <a:pt x="151" y="421"/>
                </a:cubicBezTo>
                <a:cubicBezTo>
                  <a:pt x="150" y="422"/>
                  <a:pt x="149" y="420"/>
                  <a:pt x="148" y="421"/>
                </a:cubicBezTo>
                <a:cubicBezTo>
                  <a:pt x="147" y="421"/>
                  <a:pt x="146" y="421"/>
                  <a:pt x="144" y="420"/>
                </a:cubicBezTo>
                <a:cubicBezTo>
                  <a:pt x="146" y="420"/>
                  <a:pt x="146" y="419"/>
                  <a:pt x="145" y="419"/>
                </a:cubicBezTo>
                <a:cubicBezTo>
                  <a:pt x="150" y="418"/>
                  <a:pt x="155" y="419"/>
                  <a:pt x="159" y="420"/>
                </a:cubicBezTo>
                <a:cubicBezTo>
                  <a:pt x="161" y="421"/>
                  <a:pt x="171" y="420"/>
                  <a:pt x="165" y="418"/>
                </a:cubicBezTo>
                <a:cubicBezTo>
                  <a:pt x="166" y="418"/>
                  <a:pt x="170" y="420"/>
                  <a:pt x="170" y="417"/>
                </a:cubicBezTo>
                <a:cubicBezTo>
                  <a:pt x="170" y="417"/>
                  <a:pt x="169" y="417"/>
                  <a:pt x="168" y="417"/>
                </a:cubicBezTo>
                <a:cubicBezTo>
                  <a:pt x="168" y="417"/>
                  <a:pt x="169" y="417"/>
                  <a:pt x="169" y="416"/>
                </a:cubicBezTo>
                <a:cubicBezTo>
                  <a:pt x="169" y="416"/>
                  <a:pt x="167" y="415"/>
                  <a:pt x="167" y="415"/>
                </a:cubicBezTo>
                <a:cubicBezTo>
                  <a:pt x="167" y="415"/>
                  <a:pt x="169" y="414"/>
                  <a:pt x="169" y="414"/>
                </a:cubicBezTo>
                <a:cubicBezTo>
                  <a:pt x="170" y="415"/>
                  <a:pt x="169" y="415"/>
                  <a:pt x="171" y="416"/>
                </a:cubicBezTo>
                <a:cubicBezTo>
                  <a:pt x="172" y="416"/>
                  <a:pt x="173" y="416"/>
                  <a:pt x="174" y="416"/>
                </a:cubicBezTo>
                <a:cubicBezTo>
                  <a:pt x="174" y="414"/>
                  <a:pt x="177" y="415"/>
                  <a:pt x="177" y="416"/>
                </a:cubicBezTo>
                <a:cubicBezTo>
                  <a:pt x="177" y="415"/>
                  <a:pt x="176" y="414"/>
                  <a:pt x="176" y="413"/>
                </a:cubicBezTo>
                <a:cubicBezTo>
                  <a:pt x="178" y="413"/>
                  <a:pt x="179" y="414"/>
                  <a:pt x="180" y="414"/>
                </a:cubicBezTo>
                <a:cubicBezTo>
                  <a:pt x="180" y="413"/>
                  <a:pt x="178" y="411"/>
                  <a:pt x="180" y="411"/>
                </a:cubicBezTo>
                <a:cubicBezTo>
                  <a:pt x="180" y="411"/>
                  <a:pt x="179" y="410"/>
                  <a:pt x="179" y="410"/>
                </a:cubicBezTo>
                <a:cubicBezTo>
                  <a:pt x="179" y="410"/>
                  <a:pt x="185" y="412"/>
                  <a:pt x="181" y="409"/>
                </a:cubicBezTo>
                <a:cubicBezTo>
                  <a:pt x="182" y="409"/>
                  <a:pt x="184" y="408"/>
                  <a:pt x="182" y="408"/>
                </a:cubicBezTo>
                <a:cubicBezTo>
                  <a:pt x="183" y="407"/>
                  <a:pt x="182" y="407"/>
                  <a:pt x="182" y="406"/>
                </a:cubicBezTo>
                <a:cubicBezTo>
                  <a:pt x="183" y="406"/>
                  <a:pt x="183" y="407"/>
                  <a:pt x="183" y="406"/>
                </a:cubicBezTo>
                <a:cubicBezTo>
                  <a:pt x="184" y="406"/>
                  <a:pt x="184" y="408"/>
                  <a:pt x="186" y="409"/>
                </a:cubicBezTo>
                <a:cubicBezTo>
                  <a:pt x="184" y="408"/>
                  <a:pt x="186" y="404"/>
                  <a:pt x="185" y="403"/>
                </a:cubicBezTo>
                <a:cubicBezTo>
                  <a:pt x="184" y="400"/>
                  <a:pt x="184" y="404"/>
                  <a:pt x="183" y="405"/>
                </a:cubicBezTo>
                <a:cubicBezTo>
                  <a:pt x="182" y="403"/>
                  <a:pt x="182" y="401"/>
                  <a:pt x="184" y="401"/>
                </a:cubicBezTo>
                <a:cubicBezTo>
                  <a:pt x="185" y="400"/>
                  <a:pt x="184" y="399"/>
                  <a:pt x="184" y="398"/>
                </a:cubicBezTo>
                <a:cubicBezTo>
                  <a:pt x="185" y="399"/>
                  <a:pt x="184" y="402"/>
                  <a:pt x="185" y="402"/>
                </a:cubicBezTo>
                <a:cubicBezTo>
                  <a:pt x="187" y="402"/>
                  <a:pt x="186" y="400"/>
                  <a:pt x="187" y="400"/>
                </a:cubicBezTo>
                <a:cubicBezTo>
                  <a:pt x="187" y="400"/>
                  <a:pt x="186" y="404"/>
                  <a:pt x="186" y="404"/>
                </a:cubicBezTo>
                <a:cubicBezTo>
                  <a:pt x="186" y="406"/>
                  <a:pt x="187" y="408"/>
                  <a:pt x="188" y="410"/>
                </a:cubicBezTo>
                <a:cubicBezTo>
                  <a:pt x="189" y="408"/>
                  <a:pt x="187" y="408"/>
                  <a:pt x="187" y="406"/>
                </a:cubicBezTo>
                <a:cubicBezTo>
                  <a:pt x="188" y="408"/>
                  <a:pt x="190" y="411"/>
                  <a:pt x="188" y="413"/>
                </a:cubicBezTo>
                <a:cubicBezTo>
                  <a:pt x="190" y="413"/>
                  <a:pt x="190" y="413"/>
                  <a:pt x="190" y="411"/>
                </a:cubicBezTo>
                <a:cubicBezTo>
                  <a:pt x="190" y="410"/>
                  <a:pt x="189" y="411"/>
                  <a:pt x="190" y="409"/>
                </a:cubicBezTo>
                <a:cubicBezTo>
                  <a:pt x="190" y="409"/>
                  <a:pt x="189" y="409"/>
                  <a:pt x="189" y="408"/>
                </a:cubicBezTo>
                <a:cubicBezTo>
                  <a:pt x="189" y="408"/>
                  <a:pt x="190" y="410"/>
                  <a:pt x="191" y="410"/>
                </a:cubicBezTo>
                <a:cubicBezTo>
                  <a:pt x="190" y="410"/>
                  <a:pt x="191" y="409"/>
                  <a:pt x="191" y="409"/>
                </a:cubicBezTo>
                <a:cubicBezTo>
                  <a:pt x="191" y="411"/>
                  <a:pt x="193" y="408"/>
                  <a:pt x="193" y="407"/>
                </a:cubicBezTo>
                <a:cubicBezTo>
                  <a:pt x="192" y="405"/>
                  <a:pt x="194" y="406"/>
                  <a:pt x="194" y="405"/>
                </a:cubicBezTo>
                <a:cubicBezTo>
                  <a:pt x="194" y="405"/>
                  <a:pt x="193" y="405"/>
                  <a:pt x="193" y="405"/>
                </a:cubicBezTo>
                <a:cubicBezTo>
                  <a:pt x="194" y="405"/>
                  <a:pt x="194" y="404"/>
                  <a:pt x="193" y="403"/>
                </a:cubicBezTo>
                <a:cubicBezTo>
                  <a:pt x="195" y="404"/>
                  <a:pt x="200" y="399"/>
                  <a:pt x="200" y="400"/>
                </a:cubicBezTo>
                <a:cubicBezTo>
                  <a:pt x="200" y="400"/>
                  <a:pt x="199" y="401"/>
                  <a:pt x="199" y="401"/>
                </a:cubicBezTo>
                <a:cubicBezTo>
                  <a:pt x="199" y="402"/>
                  <a:pt x="202" y="401"/>
                  <a:pt x="202" y="401"/>
                </a:cubicBezTo>
                <a:cubicBezTo>
                  <a:pt x="202" y="400"/>
                  <a:pt x="202" y="400"/>
                  <a:pt x="201" y="400"/>
                </a:cubicBezTo>
                <a:cubicBezTo>
                  <a:pt x="203" y="399"/>
                  <a:pt x="205" y="399"/>
                  <a:pt x="206" y="398"/>
                </a:cubicBezTo>
                <a:cubicBezTo>
                  <a:pt x="205" y="397"/>
                  <a:pt x="202" y="397"/>
                  <a:pt x="202" y="395"/>
                </a:cubicBezTo>
                <a:cubicBezTo>
                  <a:pt x="203" y="395"/>
                  <a:pt x="203" y="396"/>
                  <a:pt x="204" y="397"/>
                </a:cubicBezTo>
                <a:cubicBezTo>
                  <a:pt x="204" y="394"/>
                  <a:pt x="201" y="395"/>
                  <a:pt x="200" y="393"/>
                </a:cubicBezTo>
                <a:cubicBezTo>
                  <a:pt x="201" y="393"/>
                  <a:pt x="201" y="393"/>
                  <a:pt x="202" y="394"/>
                </a:cubicBezTo>
                <a:cubicBezTo>
                  <a:pt x="201" y="393"/>
                  <a:pt x="201" y="391"/>
                  <a:pt x="202" y="391"/>
                </a:cubicBezTo>
                <a:cubicBezTo>
                  <a:pt x="203" y="391"/>
                  <a:pt x="202" y="392"/>
                  <a:pt x="202" y="393"/>
                </a:cubicBezTo>
                <a:cubicBezTo>
                  <a:pt x="203" y="393"/>
                  <a:pt x="204" y="393"/>
                  <a:pt x="205" y="394"/>
                </a:cubicBezTo>
                <a:cubicBezTo>
                  <a:pt x="207" y="395"/>
                  <a:pt x="208" y="396"/>
                  <a:pt x="210" y="394"/>
                </a:cubicBezTo>
                <a:cubicBezTo>
                  <a:pt x="209" y="394"/>
                  <a:pt x="204" y="392"/>
                  <a:pt x="204" y="392"/>
                </a:cubicBezTo>
                <a:cubicBezTo>
                  <a:pt x="205" y="391"/>
                  <a:pt x="213" y="395"/>
                  <a:pt x="212" y="392"/>
                </a:cubicBezTo>
                <a:cubicBezTo>
                  <a:pt x="212" y="392"/>
                  <a:pt x="209" y="390"/>
                  <a:pt x="208" y="390"/>
                </a:cubicBezTo>
                <a:cubicBezTo>
                  <a:pt x="209" y="390"/>
                  <a:pt x="209" y="389"/>
                  <a:pt x="210" y="390"/>
                </a:cubicBezTo>
                <a:cubicBezTo>
                  <a:pt x="209" y="388"/>
                  <a:pt x="206" y="387"/>
                  <a:pt x="204" y="387"/>
                </a:cubicBezTo>
                <a:cubicBezTo>
                  <a:pt x="205" y="388"/>
                  <a:pt x="206" y="389"/>
                  <a:pt x="206" y="391"/>
                </a:cubicBezTo>
                <a:cubicBezTo>
                  <a:pt x="206" y="390"/>
                  <a:pt x="202" y="389"/>
                  <a:pt x="201" y="390"/>
                </a:cubicBezTo>
                <a:cubicBezTo>
                  <a:pt x="200" y="390"/>
                  <a:pt x="198" y="392"/>
                  <a:pt x="196" y="391"/>
                </a:cubicBezTo>
                <a:cubicBezTo>
                  <a:pt x="198" y="391"/>
                  <a:pt x="195" y="389"/>
                  <a:pt x="194" y="389"/>
                </a:cubicBezTo>
                <a:cubicBezTo>
                  <a:pt x="194" y="389"/>
                  <a:pt x="198" y="383"/>
                  <a:pt x="198" y="387"/>
                </a:cubicBezTo>
                <a:cubicBezTo>
                  <a:pt x="197" y="386"/>
                  <a:pt x="197" y="388"/>
                  <a:pt x="198" y="388"/>
                </a:cubicBezTo>
                <a:cubicBezTo>
                  <a:pt x="199" y="388"/>
                  <a:pt x="202" y="389"/>
                  <a:pt x="202" y="388"/>
                </a:cubicBezTo>
                <a:cubicBezTo>
                  <a:pt x="202" y="387"/>
                  <a:pt x="199" y="386"/>
                  <a:pt x="199" y="386"/>
                </a:cubicBezTo>
                <a:cubicBezTo>
                  <a:pt x="199" y="386"/>
                  <a:pt x="201" y="387"/>
                  <a:pt x="200" y="385"/>
                </a:cubicBezTo>
                <a:cubicBezTo>
                  <a:pt x="202" y="386"/>
                  <a:pt x="212" y="381"/>
                  <a:pt x="210" y="378"/>
                </a:cubicBezTo>
                <a:cubicBezTo>
                  <a:pt x="212" y="380"/>
                  <a:pt x="212" y="378"/>
                  <a:pt x="213" y="379"/>
                </a:cubicBezTo>
                <a:cubicBezTo>
                  <a:pt x="213" y="377"/>
                  <a:pt x="212" y="377"/>
                  <a:pt x="211" y="378"/>
                </a:cubicBezTo>
                <a:cubicBezTo>
                  <a:pt x="212" y="377"/>
                  <a:pt x="213" y="377"/>
                  <a:pt x="212" y="376"/>
                </a:cubicBezTo>
                <a:cubicBezTo>
                  <a:pt x="214" y="376"/>
                  <a:pt x="216" y="375"/>
                  <a:pt x="217" y="374"/>
                </a:cubicBezTo>
                <a:cubicBezTo>
                  <a:pt x="218" y="373"/>
                  <a:pt x="219" y="375"/>
                  <a:pt x="220" y="375"/>
                </a:cubicBezTo>
                <a:cubicBezTo>
                  <a:pt x="223" y="374"/>
                  <a:pt x="220" y="372"/>
                  <a:pt x="219" y="372"/>
                </a:cubicBezTo>
                <a:cubicBezTo>
                  <a:pt x="221" y="371"/>
                  <a:pt x="216" y="367"/>
                  <a:pt x="216" y="366"/>
                </a:cubicBezTo>
                <a:cubicBezTo>
                  <a:pt x="217" y="366"/>
                  <a:pt x="219" y="371"/>
                  <a:pt x="220" y="370"/>
                </a:cubicBezTo>
                <a:cubicBezTo>
                  <a:pt x="223" y="370"/>
                  <a:pt x="219" y="367"/>
                  <a:pt x="219" y="367"/>
                </a:cubicBezTo>
                <a:cubicBezTo>
                  <a:pt x="219" y="366"/>
                  <a:pt x="218" y="367"/>
                  <a:pt x="217" y="366"/>
                </a:cubicBezTo>
                <a:cubicBezTo>
                  <a:pt x="216" y="365"/>
                  <a:pt x="215" y="363"/>
                  <a:pt x="215" y="362"/>
                </a:cubicBezTo>
                <a:cubicBezTo>
                  <a:pt x="214" y="362"/>
                  <a:pt x="213" y="355"/>
                  <a:pt x="212" y="359"/>
                </a:cubicBezTo>
                <a:cubicBezTo>
                  <a:pt x="211" y="357"/>
                  <a:pt x="209" y="357"/>
                  <a:pt x="208" y="357"/>
                </a:cubicBezTo>
                <a:cubicBezTo>
                  <a:pt x="206" y="357"/>
                  <a:pt x="207" y="359"/>
                  <a:pt x="207" y="360"/>
                </a:cubicBezTo>
                <a:cubicBezTo>
                  <a:pt x="206" y="357"/>
                  <a:pt x="203" y="356"/>
                  <a:pt x="202" y="353"/>
                </a:cubicBezTo>
                <a:cubicBezTo>
                  <a:pt x="202" y="354"/>
                  <a:pt x="203" y="354"/>
                  <a:pt x="204" y="354"/>
                </a:cubicBezTo>
                <a:cubicBezTo>
                  <a:pt x="203" y="353"/>
                  <a:pt x="201" y="353"/>
                  <a:pt x="201" y="351"/>
                </a:cubicBezTo>
                <a:cubicBezTo>
                  <a:pt x="203" y="352"/>
                  <a:pt x="205" y="354"/>
                  <a:pt x="207" y="353"/>
                </a:cubicBezTo>
                <a:cubicBezTo>
                  <a:pt x="209" y="352"/>
                  <a:pt x="203" y="351"/>
                  <a:pt x="203" y="351"/>
                </a:cubicBezTo>
                <a:cubicBezTo>
                  <a:pt x="203" y="351"/>
                  <a:pt x="204" y="351"/>
                  <a:pt x="204" y="351"/>
                </a:cubicBezTo>
                <a:cubicBezTo>
                  <a:pt x="204" y="349"/>
                  <a:pt x="202" y="350"/>
                  <a:pt x="203" y="349"/>
                </a:cubicBezTo>
                <a:cubicBezTo>
                  <a:pt x="201" y="348"/>
                  <a:pt x="198" y="349"/>
                  <a:pt x="197" y="348"/>
                </a:cubicBezTo>
                <a:cubicBezTo>
                  <a:pt x="197" y="348"/>
                  <a:pt x="197" y="347"/>
                  <a:pt x="197" y="347"/>
                </a:cubicBezTo>
                <a:cubicBezTo>
                  <a:pt x="195" y="346"/>
                  <a:pt x="193" y="342"/>
                  <a:pt x="189" y="342"/>
                </a:cubicBezTo>
                <a:cubicBezTo>
                  <a:pt x="191" y="340"/>
                  <a:pt x="190" y="338"/>
                  <a:pt x="188" y="338"/>
                </a:cubicBezTo>
                <a:cubicBezTo>
                  <a:pt x="187" y="338"/>
                  <a:pt x="185" y="338"/>
                  <a:pt x="184" y="339"/>
                </a:cubicBezTo>
                <a:cubicBezTo>
                  <a:pt x="183" y="339"/>
                  <a:pt x="182" y="342"/>
                  <a:pt x="182" y="341"/>
                </a:cubicBezTo>
                <a:cubicBezTo>
                  <a:pt x="181" y="341"/>
                  <a:pt x="179" y="339"/>
                  <a:pt x="179" y="338"/>
                </a:cubicBezTo>
                <a:cubicBezTo>
                  <a:pt x="179" y="337"/>
                  <a:pt x="180" y="337"/>
                  <a:pt x="179" y="336"/>
                </a:cubicBezTo>
                <a:cubicBezTo>
                  <a:pt x="178" y="335"/>
                  <a:pt x="176" y="335"/>
                  <a:pt x="175" y="336"/>
                </a:cubicBezTo>
                <a:cubicBezTo>
                  <a:pt x="174" y="336"/>
                  <a:pt x="169" y="335"/>
                  <a:pt x="167" y="334"/>
                </a:cubicBezTo>
                <a:cubicBezTo>
                  <a:pt x="168" y="333"/>
                  <a:pt x="173" y="332"/>
                  <a:pt x="170" y="330"/>
                </a:cubicBezTo>
                <a:cubicBezTo>
                  <a:pt x="168" y="328"/>
                  <a:pt x="170" y="329"/>
                  <a:pt x="170" y="327"/>
                </a:cubicBezTo>
                <a:cubicBezTo>
                  <a:pt x="169" y="325"/>
                  <a:pt x="163" y="322"/>
                  <a:pt x="168" y="321"/>
                </a:cubicBezTo>
                <a:cubicBezTo>
                  <a:pt x="165" y="322"/>
                  <a:pt x="167" y="319"/>
                  <a:pt x="167" y="317"/>
                </a:cubicBezTo>
                <a:cubicBezTo>
                  <a:pt x="167" y="317"/>
                  <a:pt x="166" y="317"/>
                  <a:pt x="166" y="317"/>
                </a:cubicBezTo>
                <a:cubicBezTo>
                  <a:pt x="166" y="316"/>
                  <a:pt x="166" y="316"/>
                  <a:pt x="166" y="315"/>
                </a:cubicBezTo>
                <a:cubicBezTo>
                  <a:pt x="166" y="313"/>
                  <a:pt x="167" y="312"/>
                  <a:pt x="167" y="311"/>
                </a:cubicBezTo>
                <a:cubicBezTo>
                  <a:pt x="166" y="310"/>
                  <a:pt x="165" y="309"/>
                  <a:pt x="165" y="309"/>
                </a:cubicBezTo>
                <a:cubicBezTo>
                  <a:pt x="165" y="309"/>
                  <a:pt x="167" y="310"/>
                  <a:pt x="168" y="309"/>
                </a:cubicBezTo>
                <a:cubicBezTo>
                  <a:pt x="167" y="309"/>
                  <a:pt x="166" y="308"/>
                  <a:pt x="165" y="308"/>
                </a:cubicBezTo>
                <a:cubicBezTo>
                  <a:pt x="166" y="308"/>
                  <a:pt x="167" y="308"/>
                  <a:pt x="168" y="309"/>
                </a:cubicBezTo>
                <a:cubicBezTo>
                  <a:pt x="167" y="308"/>
                  <a:pt x="161" y="303"/>
                  <a:pt x="166" y="304"/>
                </a:cubicBezTo>
                <a:cubicBezTo>
                  <a:pt x="164" y="303"/>
                  <a:pt x="166" y="301"/>
                  <a:pt x="164" y="300"/>
                </a:cubicBezTo>
                <a:cubicBezTo>
                  <a:pt x="167" y="300"/>
                  <a:pt x="163" y="299"/>
                  <a:pt x="163" y="299"/>
                </a:cubicBezTo>
                <a:cubicBezTo>
                  <a:pt x="164" y="298"/>
                  <a:pt x="165" y="299"/>
                  <a:pt x="166" y="299"/>
                </a:cubicBezTo>
                <a:cubicBezTo>
                  <a:pt x="165" y="298"/>
                  <a:pt x="164" y="298"/>
                  <a:pt x="163" y="297"/>
                </a:cubicBezTo>
                <a:cubicBezTo>
                  <a:pt x="163" y="297"/>
                  <a:pt x="165" y="297"/>
                  <a:pt x="163" y="296"/>
                </a:cubicBezTo>
                <a:cubicBezTo>
                  <a:pt x="165" y="296"/>
                  <a:pt x="166" y="297"/>
                  <a:pt x="167" y="296"/>
                </a:cubicBezTo>
                <a:cubicBezTo>
                  <a:pt x="166" y="296"/>
                  <a:pt x="163" y="296"/>
                  <a:pt x="164" y="295"/>
                </a:cubicBezTo>
                <a:cubicBezTo>
                  <a:pt x="164" y="295"/>
                  <a:pt x="167" y="294"/>
                  <a:pt x="167" y="294"/>
                </a:cubicBezTo>
                <a:cubicBezTo>
                  <a:pt x="167" y="292"/>
                  <a:pt x="165" y="292"/>
                  <a:pt x="164" y="292"/>
                </a:cubicBezTo>
                <a:cubicBezTo>
                  <a:pt x="164" y="291"/>
                  <a:pt x="167" y="292"/>
                  <a:pt x="167" y="291"/>
                </a:cubicBezTo>
                <a:cubicBezTo>
                  <a:pt x="168" y="292"/>
                  <a:pt x="170" y="292"/>
                  <a:pt x="171" y="294"/>
                </a:cubicBezTo>
                <a:cubicBezTo>
                  <a:pt x="172" y="296"/>
                  <a:pt x="174" y="296"/>
                  <a:pt x="174" y="294"/>
                </a:cubicBezTo>
                <a:cubicBezTo>
                  <a:pt x="175" y="291"/>
                  <a:pt x="173" y="292"/>
                  <a:pt x="172" y="292"/>
                </a:cubicBezTo>
                <a:cubicBezTo>
                  <a:pt x="170" y="291"/>
                  <a:pt x="170" y="289"/>
                  <a:pt x="171" y="288"/>
                </a:cubicBezTo>
                <a:cubicBezTo>
                  <a:pt x="168" y="288"/>
                  <a:pt x="170" y="286"/>
                  <a:pt x="170" y="285"/>
                </a:cubicBezTo>
                <a:cubicBezTo>
                  <a:pt x="168" y="282"/>
                  <a:pt x="171" y="282"/>
                  <a:pt x="172" y="280"/>
                </a:cubicBezTo>
                <a:cubicBezTo>
                  <a:pt x="172" y="281"/>
                  <a:pt x="172" y="279"/>
                  <a:pt x="172" y="279"/>
                </a:cubicBezTo>
                <a:cubicBezTo>
                  <a:pt x="172" y="278"/>
                  <a:pt x="172" y="278"/>
                  <a:pt x="172" y="278"/>
                </a:cubicBezTo>
                <a:cubicBezTo>
                  <a:pt x="172" y="277"/>
                  <a:pt x="172" y="277"/>
                  <a:pt x="173" y="276"/>
                </a:cubicBezTo>
                <a:cubicBezTo>
                  <a:pt x="173" y="274"/>
                  <a:pt x="174" y="274"/>
                  <a:pt x="173" y="272"/>
                </a:cubicBezTo>
                <a:cubicBezTo>
                  <a:pt x="173" y="271"/>
                  <a:pt x="174" y="271"/>
                  <a:pt x="175" y="271"/>
                </a:cubicBezTo>
                <a:cubicBezTo>
                  <a:pt x="175" y="271"/>
                  <a:pt x="174" y="271"/>
                  <a:pt x="174" y="272"/>
                </a:cubicBezTo>
                <a:cubicBezTo>
                  <a:pt x="174" y="272"/>
                  <a:pt x="177" y="272"/>
                  <a:pt x="177" y="271"/>
                </a:cubicBezTo>
                <a:cubicBezTo>
                  <a:pt x="177" y="269"/>
                  <a:pt x="173" y="270"/>
                  <a:pt x="172" y="269"/>
                </a:cubicBezTo>
                <a:cubicBezTo>
                  <a:pt x="173" y="269"/>
                  <a:pt x="171" y="266"/>
                  <a:pt x="170" y="266"/>
                </a:cubicBezTo>
                <a:cubicBezTo>
                  <a:pt x="169" y="267"/>
                  <a:pt x="169" y="265"/>
                  <a:pt x="169" y="264"/>
                </a:cubicBezTo>
                <a:cubicBezTo>
                  <a:pt x="171" y="264"/>
                  <a:pt x="167" y="261"/>
                  <a:pt x="170" y="259"/>
                </a:cubicBezTo>
                <a:cubicBezTo>
                  <a:pt x="172" y="258"/>
                  <a:pt x="172" y="260"/>
                  <a:pt x="173" y="261"/>
                </a:cubicBezTo>
                <a:cubicBezTo>
                  <a:pt x="174" y="263"/>
                  <a:pt x="177" y="263"/>
                  <a:pt x="178" y="262"/>
                </a:cubicBezTo>
                <a:cubicBezTo>
                  <a:pt x="174" y="260"/>
                  <a:pt x="182" y="260"/>
                  <a:pt x="182" y="259"/>
                </a:cubicBezTo>
                <a:cubicBezTo>
                  <a:pt x="183" y="258"/>
                  <a:pt x="185" y="254"/>
                  <a:pt x="182" y="253"/>
                </a:cubicBezTo>
                <a:cubicBezTo>
                  <a:pt x="183" y="253"/>
                  <a:pt x="185" y="254"/>
                  <a:pt x="185" y="252"/>
                </a:cubicBezTo>
                <a:cubicBezTo>
                  <a:pt x="185" y="250"/>
                  <a:pt x="184" y="249"/>
                  <a:pt x="183" y="248"/>
                </a:cubicBezTo>
                <a:cubicBezTo>
                  <a:pt x="181" y="246"/>
                  <a:pt x="182" y="243"/>
                  <a:pt x="180" y="242"/>
                </a:cubicBezTo>
                <a:cubicBezTo>
                  <a:pt x="179" y="241"/>
                  <a:pt x="177" y="241"/>
                  <a:pt x="176" y="240"/>
                </a:cubicBezTo>
                <a:cubicBezTo>
                  <a:pt x="180" y="240"/>
                  <a:pt x="177" y="238"/>
                  <a:pt x="178" y="236"/>
                </a:cubicBezTo>
                <a:cubicBezTo>
                  <a:pt x="179" y="235"/>
                  <a:pt x="180" y="238"/>
                  <a:pt x="180" y="238"/>
                </a:cubicBezTo>
                <a:cubicBezTo>
                  <a:pt x="180" y="240"/>
                  <a:pt x="180" y="240"/>
                  <a:pt x="181" y="241"/>
                </a:cubicBezTo>
                <a:cubicBezTo>
                  <a:pt x="179" y="241"/>
                  <a:pt x="182" y="242"/>
                  <a:pt x="182" y="242"/>
                </a:cubicBezTo>
                <a:cubicBezTo>
                  <a:pt x="183" y="243"/>
                  <a:pt x="182" y="245"/>
                  <a:pt x="183" y="246"/>
                </a:cubicBezTo>
                <a:cubicBezTo>
                  <a:pt x="183" y="247"/>
                  <a:pt x="187" y="246"/>
                  <a:pt x="189" y="247"/>
                </a:cubicBezTo>
                <a:cubicBezTo>
                  <a:pt x="188" y="247"/>
                  <a:pt x="186" y="247"/>
                  <a:pt x="185" y="247"/>
                </a:cubicBezTo>
                <a:cubicBezTo>
                  <a:pt x="187" y="249"/>
                  <a:pt x="192" y="249"/>
                  <a:pt x="193" y="245"/>
                </a:cubicBezTo>
                <a:cubicBezTo>
                  <a:pt x="190" y="246"/>
                  <a:pt x="190" y="243"/>
                  <a:pt x="193" y="245"/>
                </a:cubicBezTo>
                <a:cubicBezTo>
                  <a:pt x="194" y="245"/>
                  <a:pt x="194" y="247"/>
                  <a:pt x="196" y="245"/>
                </a:cubicBezTo>
                <a:cubicBezTo>
                  <a:pt x="196" y="245"/>
                  <a:pt x="198" y="244"/>
                  <a:pt x="197" y="243"/>
                </a:cubicBezTo>
                <a:cubicBezTo>
                  <a:pt x="198" y="244"/>
                  <a:pt x="199" y="242"/>
                  <a:pt x="198" y="242"/>
                </a:cubicBezTo>
                <a:cubicBezTo>
                  <a:pt x="197" y="242"/>
                  <a:pt x="196" y="242"/>
                  <a:pt x="196" y="241"/>
                </a:cubicBezTo>
                <a:cubicBezTo>
                  <a:pt x="196" y="241"/>
                  <a:pt x="200" y="242"/>
                  <a:pt x="200" y="240"/>
                </a:cubicBezTo>
                <a:cubicBezTo>
                  <a:pt x="200" y="239"/>
                  <a:pt x="192" y="240"/>
                  <a:pt x="191" y="239"/>
                </a:cubicBezTo>
                <a:cubicBezTo>
                  <a:pt x="192" y="240"/>
                  <a:pt x="193" y="238"/>
                  <a:pt x="194" y="238"/>
                </a:cubicBezTo>
                <a:cubicBezTo>
                  <a:pt x="195" y="238"/>
                  <a:pt x="195" y="239"/>
                  <a:pt x="196" y="239"/>
                </a:cubicBezTo>
                <a:cubicBezTo>
                  <a:pt x="196" y="238"/>
                  <a:pt x="195" y="238"/>
                  <a:pt x="195" y="237"/>
                </a:cubicBezTo>
                <a:cubicBezTo>
                  <a:pt x="197" y="237"/>
                  <a:pt x="198" y="240"/>
                  <a:pt x="198" y="237"/>
                </a:cubicBezTo>
                <a:cubicBezTo>
                  <a:pt x="199" y="236"/>
                  <a:pt x="199" y="234"/>
                  <a:pt x="199" y="233"/>
                </a:cubicBezTo>
                <a:cubicBezTo>
                  <a:pt x="199" y="234"/>
                  <a:pt x="201" y="236"/>
                  <a:pt x="201" y="234"/>
                </a:cubicBezTo>
                <a:cubicBezTo>
                  <a:pt x="201" y="233"/>
                  <a:pt x="200" y="232"/>
                  <a:pt x="199" y="232"/>
                </a:cubicBezTo>
                <a:cubicBezTo>
                  <a:pt x="201" y="232"/>
                  <a:pt x="202" y="233"/>
                  <a:pt x="204" y="233"/>
                </a:cubicBezTo>
                <a:cubicBezTo>
                  <a:pt x="204" y="232"/>
                  <a:pt x="203" y="231"/>
                  <a:pt x="203" y="230"/>
                </a:cubicBezTo>
                <a:cubicBezTo>
                  <a:pt x="204" y="230"/>
                  <a:pt x="205" y="230"/>
                  <a:pt x="206" y="230"/>
                </a:cubicBezTo>
                <a:cubicBezTo>
                  <a:pt x="205" y="230"/>
                  <a:pt x="203" y="231"/>
                  <a:pt x="204" y="232"/>
                </a:cubicBezTo>
                <a:cubicBezTo>
                  <a:pt x="204" y="232"/>
                  <a:pt x="206" y="231"/>
                  <a:pt x="206" y="231"/>
                </a:cubicBezTo>
                <a:cubicBezTo>
                  <a:pt x="211" y="231"/>
                  <a:pt x="207" y="230"/>
                  <a:pt x="205" y="229"/>
                </a:cubicBezTo>
                <a:cubicBezTo>
                  <a:pt x="206" y="229"/>
                  <a:pt x="207" y="229"/>
                  <a:pt x="208" y="230"/>
                </a:cubicBezTo>
                <a:cubicBezTo>
                  <a:pt x="208" y="229"/>
                  <a:pt x="207" y="229"/>
                  <a:pt x="207" y="228"/>
                </a:cubicBezTo>
                <a:cubicBezTo>
                  <a:pt x="207" y="227"/>
                  <a:pt x="211" y="231"/>
                  <a:pt x="211" y="231"/>
                </a:cubicBezTo>
                <a:cubicBezTo>
                  <a:pt x="211" y="231"/>
                  <a:pt x="214" y="232"/>
                  <a:pt x="213" y="231"/>
                </a:cubicBezTo>
                <a:cubicBezTo>
                  <a:pt x="213" y="230"/>
                  <a:pt x="212" y="230"/>
                  <a:pt x="212" y="230"/>
                </a:cubicBezTo>
                <a:cubicBezTo>
                  <a:pt x="212" y="229"/>
                  <a:pt x="215" y="231"/>
                  <a:pt x="214" y="229"/>
                </a:cubicBezTo>
                <a:cubicBezTo>
                  <a:pt x="213" y="228"/>
                  <a:pt x="215" y="227"/>
                  <a:pt x="216" y="227"/>
                </a:cubicBezTo>
                <a:cubicBezTo>
                  <a:pt x="218" y="226"/>
                  <a:pt x="217" y="220"/>
                  <a:pt x="220" y="222"/>
                </a:cubicBezTo>
                <a:cubicBezTo>
                  <a:pt x="220" y="221"/>
                  <a:pt x="220" y="220"/>
                  <a:pt x="219" y="220"/>
                </a:cubicBezTo>
                <a:cubicBezTo>
                  <a:pt x="221" y="220"/>
                  <a:pt x="222" y="222"/>
                  <a:pt x="224" y="222"/>
                </a:cubicBezTo>
                <a:cubicBezTo>
                  <a:pt x="227" y="222"/>
                  <a:pt x="222" y="219"/>
                  <a:pt x="222" y="219"/>
                </a:cubicBezTo>
                <a:cubicBezTo>
                  <a:pt x="224" y="218"/>
                  <a:pt x="221" y="217"/>
                  <a:pt x="223" y="217"/>
                </a:cubicBezTo>
                <a:cubicBezTo>
                  <a:pt x="225" y="217"/>
                  <a:pt x="226" y="219"/>
                  <a:pt x="227" y="220"/>
                </a:cubicBezTo>
                <a:cubicBezTo>
                  <a:pt x="228" y="222"/>
                  <a:pt x="229" y="223"/>
                  <a:pt x="230" y="221"/>
                </a:cubicBezTo>
                <a:cubicBezTo>
                  <a:pt x="231" y="219"/>
                  <a:pt x="230" y="219"/>
                  <a:pt x="230" y="218"/>
                </a:cubicBezTo>
                <a:cubicBezTo>
                  <a:pt x="230" y="218"/>
                  <a:pt x="233" y="216"/>
                  <a:pt x="233" y="216"/>
                </a:cubicBezTo>
                <a:cubicBezTo>
                  <a:pt x="234" y="215"/>
                  <a:pt x="236" y="215"/>
                  <a:pt x="237" y="215"/>
                </a:cubicBezTo>
                <a:cubicBezTo>
                  <a:pt x="235" y="213"/>
                  <a:pt x="238" y="213"/>
                  <a:pt x="240" y="213"/>
                </a:cubicBezTo>
                <a:cubicBezTo>
                  <a:pt x="242" y="214"/>
                  <a:pt x="242" y="213"/>
                  <a:pt x="244" y="210"/>
                </a:cubicBezTo>
                <a:cubicBezTo>
                  <a:pt x="246" y="207"/>
                  <a:pt x="245" y="211"/>
                  <a:pt x="247" y="212"/>
                </a:cubicBezTo>
                <a:cubicBezTo>
                  <a:pt x="249" y="213"/>
                  <a:pt x="247" y="209"/>
                  <a:pt x="247" y="209"/>
                </a:cubicBezTo>
                <a:cubicBezTo>
                  <a:pt x="249" y="211"/>
                  <a:pt x="249" y="206"/>
                  <a:pt x="250" y="207"/>
                </a:cubicBezTo>
                <a:cubicBezTo>
                  <a:pt x="251" y="207"/>
                  <a:pt x="251" y="209"/>
                  <a:pt x="251" y="209"/>
                </a:cubicBezTo>
                <a:cubicBezTo>
                  <a:pt x="252" y="209"/>
                  <a:pt x="251" y="207"/>
                  <a:pt x="253" y="207"/>
                </a:cubicBezTo>
                <a:cubicBezTo>
                  <a:pt x="253" y="207"/>
                  <a:pt x="255" y="208"/>
                  <a:pt x="255" y="207"/>
                </a:cubicBezTo>
                <a:cubicBezTo>
                  <a:pt x="255" y="206"/>
                  <a:pt x="254" y="206"/>
                  <a:pt x="254" y="206"/>
                </a:cubicBezTo>
                <a:cubicBezTo>
                  <a:pt x="255" y="205"/>
                  <a:pt x="256" y="207"/>
                  <a:pt x="257" y="205"/>
                </a:cubicBezTo>
                <a:cubicBezTo>
                  <a:pt x="257" y="203"/>
                  <a:pt x="258" y="202"/>
                  <a:pt x="259" y="201"/>
                </a:cubicBezTo>
                <a:cubicBezTo>
                  <a:pt x="260" y="199"/>
                  <a:pt x="260" y="197"/>
                  <a:pt x="261" y="195"/>
                </a:cubicBezTo>
                <a:cubicBezTo>
                  <a:pt x="261" y="193"/>
                  <a:pt x="263" y="193"/>
                  <a:pt x="263" y="191"/>
                </a:cubicBezTo>
                <a:cubicBezTo>
                  <a:pt x="264" y="190"/>
                  <a:pt x="264" y="192"/>
                  <a:pt x="265" y="191"/>
                </a:cubicBezTo>
                <a:cubicBezTo>
                  <a:pt x="266" y="191"/>
                  <a:pt x="266" y="190"/>
                  <a:pt x="267" y="189"/>
                </a:cubicBezTo>
                <a:cubicBezTo>
                  <a:pt x="268" y="188"/>
                  <a:pt x="270" y="188"/>
                  <a:pt x="271" y="187"/>
                </a:cubicBezTo>
                <a:cubicBezTo>
                  <a:pt x="272" y="186"/>
                  <a:pt x="278" y="182"/>
                  <a:pt x="276" y="180"/>
                </a:cubicBezTo>
                <a:cubicBezTo>
                  <a:pt x="276" y="181"/>
                  <a:pt x="273" y="182"/>
                  <a:pt x="273" y="181"/>
                </a:cubicBezTo>
                <a:cubicBezTo>
                  <a:pt x="273" y="179"/>
                  <a:pt x="274" y="178"/>
                  <a:pt x="272" y="179"/>
                </a:cubicBezTo>
                <a:cubicBezTo>
                  <a:pt x="273" y="177"/>
                  <a:pt x="274" y="179"/>
                  <a:pt x="276" y="178"/>
                </a:cubicBezTo>
                <a:cubicBezTo>
                  <a:pt x="275" y="178"/>
                  <a:pt x="274" y="178"/>
                  <a:pt x="273" y="177"/>
                </a:cubicBezTo>
                <a:cubicBezTo>
                  <a:pt x="273" y="175"/>
                  <a:pt x="273" y="177"/>
                  <a:pt x="272" y="177"/>
                </a:cubicBezTo>
                <a:cubicBezTo>
                  <a:pt x="272" y="177"/>
                  <a:pt x="269" y="174"/>
                  <a:pt x="270" y="176"/>
                </a:cubicBezTo>
                <a:cubicBezTo>
                  <a:pt x="268" y="175"/>
                  <a:pt x="265" y="173"/>
                  <a:pt x="263" y="172"/>
                </a:cubicBezTo>
                <a:cubicBezTo>
                  <a:pt x="264" y="171"/>
                  <a:pt x="265" y="173"/>
                  <a:pt x="266" y="172"/>
                </a:cubicBezTo>
                <a:cubicBezTo>
                  <a:pt x="266" y="172"/>
                  <a:pt x="265" y="172"/>
                  <a:pt x="264" y="172"/>
                </a:cubicBezTo>
                <a:cubicBezTo>
                  <a:pt x="266" y="171"/>
                  <a:pt x="267" y="173"/>
                  <a:pt x="268" y="173"/>
                </a:cubicBezTo>
                <a:cubicBezTo>
                  <a:pt x="268" y="172"/>
                  <a:pt x="268" y="172"/>
                  <a:pt x="268" y="172"/>
                </a:cubicBezTo>
                <a:cubicBezTo>
                  <a:pt x="268" y="172"/>
                  <a:pt x="268" y="172"/>
                  <a:pt x="268" y="172"/>
                </a:cubicBezTo>
                <a:cubicBezTo>
                  <a:pt x="268" y="171"/>
                  <a:pt x="266" y="170"/>
                  <a:pt x="267" y="170"/>
                </a:cubicBezTo>
                <a:cubicBezTo>
                  <a:pt x="267" y="169"/>
                  <a:pt x="267" y="169"/>
                  <a:pt x="268" y="169"/>
                </a:cubicBezTo>
                <a:cubicBezTo>
                  <a:pt x="267" y="167"/>
                  <a:pt x="264" y="168"/>
                  <a:pt x="262" y="168"/>
                </a:cubicBezTo>
                <a:cubicBezTo>
                  <a:pt x="265" y="168"/>
                  <a:pt x="261" y="166"/>
                  <a:pt x="261" y="165"/>
                </a:cubicBezTo>
                <a:cubicBezTo>
                  <a:pt x="261" y="166"/>
                  <a:pt x="268" y="166"/>
                  <a:pt x="265" y="163"/>
                </a:cubicBezTo>
                <a:cubicBezTo>
                  <a:pt x="266" y="163"/>
                  <a:pt x="266" y="161"/>
                  <a:pt x="267" y="161"/>
                </a:cubicBezTo>
                <a:cubicBezTo>
                  <a:pt x="268" y="161"/>
                  <a:pt x="269" y="161"/>
                  <a:pt x="269" y="161"/>
                </a:cubicBezTo>
                <a:cubicBezTo>
                  <a:pt x="269" y="160"/>
                  <a:pt x="269" y="159"/>
                  <a:pt x="270" y="160"/>
                </a:cubicBezTo>
                <a:cubicBezTo>
                  <a:pt x="270" y="160"/>
                  <a:pt x="270" y="160"/>
                  <a:pt x="270" y="159"/>
                </a:cubicBezTo>
                <a:cubicBezTo>
                  <a:pt x="271" y="159"/>
                  <a:pt x="271" y="159"/>
                  <a:pt x="272" y="158"/>
                </a:cubicBezTo>
                <a:cubicBezTo>
                  <a:pt x="272" y="158"/>
                  <a:pt x="271" y="157"/>
                  <a:pt x="271" y="157"/>
                </a:cubicBezTo>
                <a:cubicBezTo>
                  <a:pt x="272" y="157"/>
                  <a:pt x="273" y="157"/>
                  <a:pt x="274" y="157"/>
                </a:cubicBezTo>
                <a:cubicBezTo>
                  <a:pt x="273" y="156"/>
                  <a:pt x="274" y="155"/>
                  <a:pt x="273" y="154"/>
                </a:cubicBezTo>
                <a:cubicBezTo>
                  <a:pt x="276" y="155"/>
                  <a:pt x="274" y="152"/>
                  <a:pt x="273" y="151"/>
                </a:cubicBezTo>
                <a:cubicBezTo>
                  <a:pt x="273" y="150"/>
                  <a:pt x="275" y="149"/>
                  <a:pt x="276" y="149"/>
                </a:cubicBezTo>
                <a:cubicBezTo>
                  <a:pt x="276" y="149"/>
                  <a:pt x="278" y="146"/>
                  <a:pt x="276" y="147"/>
                </a:cubicBezTo>
                <a:cubicBezTo>
                  <a:pt x="276" y="147"/>
                  <a:pt x="273" y="147"/>
                  <a:pt x="276" y="147"/>
                </a:cubicBezTo>
                <a:cubicBezTo>
                  <a:pt x="275" y="145"/>
                  <a:pt x="272" y="146"/>
                  <a:pt x="270" y="145"/>
                </a:cubicBezTo>
                <a:cubicBezTo>
                  <a:pt x="271" y="145"/>
                  <a:pt x="272" y="145"/>
                  <a:pt x="271" y="144"/>
                </a:cubicBezTo>
                <a:cubicBezTo>
                  <a:pt x="271" y="144"/>
                  <a:pt x="272" y="144"/>
                  <a:pt x="273" y="144"/>
                </a:cubicBezTo>
                <a:cubicBezTo>
                  <a:pt x="271" y="143"/>
                  <a:pt x="275" y="146"/>
                  <a:pt x="275" y="145"/>
                </a:cubicBezTo>
                <a:cubicBezTo>
                  <a:pt x="275" y="145"/>
                  <a:pt x="274" y="143"/>
                  <a:pt x="274" y="143"/>
                </a:cubicBezTo>
                <a:cubicBezTo>
                  <a:pt x="275" y="144"/>
                  <a:pt x="283" y="144"/>
                  <a:pt x="282" y="142"/>
                </a:cubicBezTo>
                <a:cubicBezTo>
                  <a:pt x="285" y="142"/>
                  <a:pt x="284" y="143"/>
                  <a:pt x="285" y="141"/>
                </a:cubicBezTo>
                <a:cubicBezTo>
                  <a:pt x="284" y="141"/>
                  <a:pt x="283" y="140"/>
                  <a:pt x="282" y="139"/>
                </a:cubicBezTo>
                <a:cubicBezTo>
                  <a:pt x="282" y="141"/>
                  <a:pt x="281" y="139"/>
                  <a:pt x="280" y="139"/>
                </a:cubicBezTo>
                <a:cubicBezTo>
                  <a:pt x="282" y="138"/>
                  <a:pt x="287" y="141"/>
                  <a:pt x="289" y="137"/>
                </a:cubicBezTo>
                <a:cubicBezTo>
                  <a:pt x="288" y="137"/>
                  <a:pt x="286" y="136"/>
                  <a:pt x="286" y="135"/>
                </a:cubicBezTo>
                <a:cubicBezTo>
                  <a:pt x="286" y="136"/>
                  <a:pt x="290" y="139"/>
                  <a:pt x="290" y="137"/>
                </a:cubicBezTo>
                <a:cubicBezTo>
                  <a:pt x="292" y="137"/>
                  <a:pt x="297" y="138"/>
                  <a:pt x="293" y="136"/>
                </a:cubicBezTo>
                <a:cubicBezTo>
                  <a:pt x="291" y="135"/>
                  <a:pt x="295" y="134"/>
                  <a:pt x="292" y="133"/>
                </a:cubicBezTo>
                <a:cubicBezTo>
                  <a:pt x="291" y="133"/>
                  <a:pt x="290" y="134"/>
                  <a:pt x="290" y="132"/>
                </a:cubicBezTo>
                <a:cubicBezTo>
                  <a:pt x="290" y="132"/>
                  <a:pt x="295" y="134"/>
                  <a:pt x="293" y="131"/>
                </a:cubicBezTo>
                <a:cubicBezTo>
                  <a:pt x="292" y="131"/>
                  <a:pt x="292" y="129"/>
                  <a:pt x="291" y="129"/>
                </a:cubicBezTo>
                <a:cubicBezTo>
                  <a:pt x="292" y="128"/>
                  <a:pt x="292" y="128"/>
                  <a:pt x="292" y="128"/>
                </a:cubicBezTo>
                <a:cubicBezTo>
                  <a:pt x="292" y="128"/>
                  <a:pt x="292" y="128"/>
                  <a:pt x="292" y="128"/>
                </a:cubicBezTo>
                <a:cubicBezTo>
                  <a:pt x="294" y="129"/>
                  <a:pt x="293" y="126"/>
                  <a:pt x="292" y="125"/>
                </a:cubicBezTo>
                <a:cubicBezTo>
                  <a:pt x="293" y="125"/>
                  <a:pt x="298" y="127"/>
                  <a:pt x="296" y="128"/>
                </a:cubicBezTo>
                <a:cubicBezTo>
                  <a:pt x="297" y="129"/>
                  <a:pt x="298" y="127"/>
                  <a:pt x="300" y="128"/>
                </a:cubicBezTo>
                <a:cubicBezTo>
                  <a:pt x="300" y="128"/>
                  <a:pt x="301" y="130"/>
                  <a:pt x="301" y="129"/>
                </a:cubicBezTo>
                <a:cubicBezTo>
                  <a:pt x="303" y="129"/>
                  <a:pt x="301" y="125"/>
                  <a:pt x="300" y="124"/>
                </a:cubicBezTo>
                <a:cubicBezTo>
                  <a:pt x="303" y="125"/>
                  <a:pt x="305" y="128"/>
                  <a:pt x="308" y="129"/>
                </a:cubicBezTo>
                <a:cubicBezTo>
                  <a:pt x="308" y="129"/>
                  <a:pt x="314" y="132"/>
                  <a:pt x="313" y="130"/>
                </a:cubicBezTo>
                <a:cubicBezTo>
                  <a:pt x="314" y="129"/>
                  <a:pt x="316" y="132"/>
                  <a:pt x="316" y="130"/>
                </a:cubicBezTo>
                <a:cubicBezTo>
                  <a:pt x="316" y="131"/>
                  <a:pt x="317" y="131"/>
                  <a:pt x="317" y="131"/>
                </a:cubicBezTo>
                <a:cubicBezTo>
                  <a:pt x="317" y="130"/>
                  <a:pt x="313" y="128"/>
                  <a:pt x="315" y="128"/>
                </a:cubicBezTo>
                <a:cubicBezTo>
                  <a:pt x="314" y="127"/>
                  <a:pt x="314" y="127"/>
                  <a:pt x="313" y="126"/>
                </a:cubicBezTo>
                <a:cubicBezTo>
                  <a:pt x="315" y="126"/>
                  <a:pt x="316" y="128"/>
                  <a:pt x="317" y="127"/>
                </a:cubicBezTo>
                <a:cubicBezTo>
                  <a:pt x="318" y="127"/>
                  <a:pt x="319" y="128"/>
                  <a:pt x="318" y="129"/>
                </a:cubicBezTo>
                <a:cubicBezTo>
                  <a:pt x="318" y="129"/>
                  <a:pt x="319" y="129"/>
                  <a:pt x="319" y="129"/>
                </a:cubicBezTo>
                <a:cubicBezTo>
                  <a:pt x="319" y="129"/>
                  <a:pt x="319" y="129"/>
                  <a:pt x="319" y="129"/>
                </a:cubicBezTo>
                <a:cubicBezTo>
                  <a:pt x="319" y="129"/>
                  <a:pt x="320" y="129"/>
                  <a:pt x="320" y="129"/>
                </a:cubicBezTo>
                <a:cubicBezTo>
                  <a:pt x="319" y="128"/>
                  <a:pt x="320" y="127"/>
                  <a:pt x="321" y="126"/>
                </a:cubicBezTo>
                <a:cubicBezTo>
                  <a:pt x="321" y="129"/>
                  <a:pt x="325" y="128"/>
                  <a:pt x="326" y="127"/>
                </a:cubicBezTo>
                <a:cubicBezTo>
                  <a:pt x="327" y="126"/>
                  <a:pt x="331" y="128"/>
                  <a:pt x="332" y="128"/>
                </a:cubicBezTo>
                <a:cubicBezTo>
                  <a:pt x="334" y="129"/>
                  <a:pt x="337" y="128"/>
                  <a:pt x="339" y="127"/>
                </a:cubicBezTo>
                <a:cubicBezTo>
                  <a:pt x="339" y="126"/>
                  <a:pt x="338" y="124"/>
                  <a:pt x="337" y="123"/>
                </a:cubicBezTo>
                <a:close/>
                <a:moveTo>
                  <a:pt x="177" y="412"/>
                </a:moveTo>
                <a:cubicBezTo>
                  <a:pt x="177" y="412"/>
                  <a:pt x="176" y="413"/>
                  <a:pt x="176" y="413"/>
                </a:cubicBezTo>
                <a:cubicBezTo>
                  <a:pt x="176" y="413"/>
                  <a:pt x="176" y="412"/>
                  <a:pt x="177" y="412"/>
                </a:cubicBezTo>
                <a:close/>
              </a:path>
            </a:pathLst>
          </a:custGeom>
          <a:solidFill>
            <a:schemeClr val="bg1">
              <a:lumMod val="85000"/>
            </a:schemeClr>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2" name="Freeform 107">
            <a:extLst>
              <a:ext uri="{FF2B5EF4-FFF2-40B4-BE49-F238E27FC236}">
                <a16:creationId xmlns:a16="http://schemas.microsoft.com/office/drawing/2014/main" id="{B5405618-665D-425D-A701-FA7F68FC7E02}"/>
              </a:ext>
            </a:extLst>
          </p:cNvPr>
          <p:cNvSpPr>
            <a:spLocks/>
          </p:cNvSpPr>
          <p:nvPr/>
        </p:nvSpPr>
        <p:spPr bwMode="auto">
          <a:xfrm>
            <a:off x="3011605" y="3640514"/>
            <a:ext cx="56669" cy="138260"/>
          </a:xfrm>
          <a:custGeom>
            <a:avLst/>
            <a:gdLst>
              <a:gd name="T0" fmla="*/ 17 w 20"/>
              <a:gd name="T1" fmla="*/ 1 h 49"/>
              <a:gd name="T2" fmla="*/ 15 w 20"/>
              <a:gd name="T3" fmla="*/ 6 h 49"/>
              <a:gd name="T4" fmla="*/ 14 w 20"/>
              <a:gd name="T5" fmla="*/ 9 h 49"/>
              <a:gd name="T6" fmla="*/ 11 w 20"/>
              <a:gd name="T7" fmla="*/ 15 h 49"/>
              <a:gd name="T8" fmla="*/ 9 w 20"/>
              <a:gd name="T9" fmla="*/ 20 h 49"/>
              <a:gd name="T10" fmla="*/ 5 w 20"/>
              <a:gd name="T11" fmla="*/ 25 h 49"/>
              <a:gd name="T12" fmla="*/ 1 w 20"/>
              <a:gd name="T13" fmla="*/ 39 h 49"/>
              <a:gd name="T14" fmla="*/ 1 w 20"/>
              <a:gd name="T15" fmla="*/ 44 h 49"/>
              <a:gd name="T16" fmla="*/ 2 w 20"/>
              <a:gd name="T17" fmla="*/ 49 h 49"/>
              <a:gd name="T18" fmla="*/ 6 w 20"/>
              <a:gd name="T19" fmla="*/ 41 h 49"/>
              <a:gd name="T20" fmla="*/ 9 w 20"/>
              <a:gd name="T21" fmla="*/ 33 h 49"/>
              <a:gd name="T22" fmla="*/ 11 w 20"/>
              <a:gd name="T23" fmla="*/ 25 h 49"/>
              <a:gd name="T24" fmla="*/ 14 w 20"/>
              <a:gd name="T25" fmla="*/ 18 h 49"/>
              <a:gd name="T26" fmla="*/ 17 w 20"/>
              <a:gd name="T27" fmla="*/ 11 h 49"/>
              <a:gd name="T28" fmla="*/ 18 w 20"/>
              <a:gd name="T29" fmla="*/ 5 h 49"/>
              <a:gd name="T30" fmla="*/ 20 w 20"/>
              <a:gd name="T31" fmla="*/ 2 h 49"/>
              <a:gd name="T32" fmla="*/ 19 w 20"/>
              <a:gd name="T33" fmla="*/ 0 h 49"/>
              <a:gd name="T34" fmla="*/ 17 w 20"/>
              <a:gd name="T3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49">
                <a:moveTo>
                  <a:pt x="17" y="1"/>
                </a:moveTo>
                <a:cubicBezTo>
                  <a:pt x="15" y="2"/>
                  <a:pt x="16" y="4"/>
                  <a:pt x="15" y="6"/>
                </a:cubicBezTo>
                <a:cubicBezTo>
                  <a:pt x="14" y="7"/>
                  <a:pt x="14" y="8"/>
                  <a:pt x="14" y="9"/>
                </a:cubicBezTo>
                <a:cubicBezTo>
                  <a:pt x="14" y="11"/>
                  <a:pt x="12" y="13"/>
                  <a:pt x="11" y="15"/>
                </a:cubicBezTo>
                <a:cubicBezTo>
                  <a:pt x="10" y="16"/>
                  <a:pt x="10" y="19"/>
                  <a:pt x="9" y="20"/>
                </a:cubicBezTo>
                <a:cubicBezTo>
                  <a:pt x="7" y="21"/>
                  <a:pt x="6" y="23"/>
                  <a:pt x="5" y="25"/>
                </a:cubicBezTo>
                <a:cubicBezTo>
                  <a:pt x="3" y="29"/>
                  <a:pt x="0" y="34"/>
                  <a:pt x="1" y="39"/>
                </a:cubicBezTo>
                <a:cubicBezTo>
                  <a:pt x="2" y="41"/>
                  <a:pt x="1" y="42"/>
                  <a:pt x="1" y="44"/>
                </a:cubicBezTo>
                <a:cubicBezTo>
                  <a:pt x="1" y="46"/>
                  <a:pt x="2" y="47"/>
                  <a:pt x="2" y="49"/>
                </a:cubicBezTo>
                <a:cubicBezTo>
                  <a:pt x="4" y="47"/>
                  <a:pt x="5" y="44"/>
                  <a:pt x="6" y="41"/>
                </a:cubicBezTo>
                <a:cubicBezTo>
                  <a:pt x="7" y="38"/>
                  <a:pt x="8" y="35"/>
                  <a:pt x="9" y="33"/>
                </a:cubicBezTo>
                <a:cubicBezTo>
                  <a:pt x="10" y="30"/>
                  <a:pt x="10" y="27"/>
                  <a:pt x="11" y="25"/>
                </a:cubicBezTo>
                <a:cubicBezTo>
                  <a:pt x="12" y="23"/>
                  <a:pt x="14" y="21"/>
                  <a:pt x="14" y="18"/>
                </a:cubicBezTo>
                <a:cubicBezTo>
                  <a:pt x="14" y="15"/>
                  <a:pt x="16" y="14"/>
                  <a:pt x="17" y="11"/>
                </a:cubicBezTo>
                <a:cubicBezTo>
                  <a:pt x="18" y="9"/>
                  <a:pt x="19" y="7"/>
                  <a:pt x="18" y="5"/>
                </a:cubicBezTo>
                <a:cubicBezTo>
                  <a:pt x="18" y="3"/>
                  <a:pt x="19" y="2"/>
                  <a:pt x="20" y="2"/>
                </a:cubicBezTo>
                <a:cubicBezTo>
                  <a:pt x="20" y="1"/>
                  <a:pt x="20" y="1"/>
                  <a:pt x="19" y="0"/>
                </a:cubicBezTo>
                <a:cubicBezTo>
                  <a:pt x="19" y="2"/>
                  <a:pt x="18" y="0"/>
                  <a:pt x="17" y="1"/>
                </a:cubicBezTo>
                <a:close/>
              </a:path>
            </a:pathLst>
          </a:custGeom>
          <a:solidFill>
            <a:schemeClr val="bg1">
              <a:lumMod val="85000"/>
            </a:schemeClr>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3" name="Freeform 108">
            <a:extLst>
              <a:ext uri="{FF2B5EF4-FFF2-40B4-BE49-F238E27FC236}">
                <a16:creationId xmlns:a16="http://schemas.microsoft.com/office/drawing/2014/main" id="{0515C2FD-7BE2-4A56-B76C-F8E89E9DA6EE}"/>
              </a:ext>
            </a:extLst>
          </p:cNvPr>
          <p:cNvSpPr>
            <a:spLocks/>
          </p:cNvSpPr>
          <p:nvPr/>
        </p:nvSpPr>
        <p:spPr bwMode="auto">
          <a:xfrm>
            <a:off x="2614921" y="3530860"/>
            <a:ext cx="42502" cy="25030"/>
          </a:xfrm>
          <a:custGeom>
            <a:avLst/>
            <a:gdLst>
              <a:gd name="T0" fmla="*/ 9 w 15"/>
              <a:gd name="T1" fmla="*/ 8 h 9"/>
              <a:gd name="T2" fmla="*/ 7 w 15"/>
              <a:gd name="T3" fmla="*/ 9 h 9"/>
              <a:gd name="T4" fmla="*/ 11 w 15"/>
              <a:gd name="T5" fmla="*/ 1 h 9"/>
              <a:gd name="T6" fmla="*/ 9 w 15"/>
              <a:gd name="T7" fmla="*/ 0 h 9"/>
              <a:gd name="T8" fmla="*/ 7 w 15"/>
              <a:gd name="T9" fmla="*/ 2 h 9"/>
              <a:gd name="T10" fmla="*/ 5 w 15"/>
              <a:gd name="T11" fmla="*/ 3 h 9"/>
              <a:gd name="T12" fmla="*/ 3 w 15"/>
              <a:gd name="T13" fmla="*/ 4 h 9"/>
              <a:gd name="T14" fmla="*/ 0 w 15"/>
              <a:gd name="T15" fmla="*/ 6 h 9"/>
              <a:gd name="T16" fmla="*/ 3 w 15"/>
              <a:gd name="T17" fmla="*/ 9 h 9"/>
              <a:gd name="T18" fmla="*/ 7 w 15"/>
              <a:gd name="T19" fmla="*/ 7 h 9"/>
              <a:gd name="T20" fmla="*/ 9 w 15"/>
              <a:gd name="T2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9">
                <a:moveTo>
                  <a:pt x="9" y="8"/>
                </a:moveTo>
                <a:cubicBezTo>
                  <a:pt x="8" y="8"/>
                  <a:pt x="7" y="9"/>
                  <a:pt x="7" y="9"/>
                </a:cubicBezTo>
                <a:cubicBezTo>
                  <a:pt x="7" y="9"/>
                  <a:pt x="15" y="5"/>
                  <a:pt x="11" y="1"/>
                </a:cubicBezTo>
                <a:cubicBezTo>
                  <a:pt x="11" y="0"/>
                  <a:pt x="10" y="0"/>
                  <a:pt x="9" y="0"/>
                </a:cubicBezTo>
                <a:cubicBezTo>
                  <a:pt x="7" y="0"/>
                  <a:pt x="8" y="1"/>
                  <a:pt x="7" y="2"/>
                </a:cubicBezTo>
                <a:cubicBezTo>
                  <a:pt x="7" y="2"/>
                  <a:pt x="6" y="2"/>
                  <a:pt x="5" y="3"/>
                </a:cubicBezTo>
                <a:cubicBezTo>
                  <a:pt x="4" y="3"/>
                  <a:pt x="4" y="4"/>
                  <a:pt x="3" y="4"/>
                </a:cubicBezTo>
                <a:cubicBezTo>
                  <a:pt x="2" y="5"/>
                  <a:pt x="1" y="5"/>
                  <a:pt x="0" y="6"/>
                </a:cubicBezTo>
                <a:cubicBezTo>
                  <a:pt x="1" y="7"/>
                  <a:pt x="2" y="7"/>
                  <a:pt x="3" y="9"/>
                </a:cubicBezTo>
                <a:cubicBezTo>
                  <a:pt x="3" y="7"/>
                  <a:pt x="6" y="7"/>
                  <a:pt x="7" y="7"/>
                </a:cubicBezTo>
                <a:cubicBezTo>
                  <a:pt x="6" y="8"/>
                  <a:pt x="8" y="8"/>
                  <a:pt x="9" y="8"/>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4" name="Freeform 109">
            <a:extLst>
              <a:ext uri="{FF2B5EF4-FFF2-40B4-BE49-F238E27FC236}">
                <a16:creationId xmlns:a16="http://schemas.microsoft.com/office/drawing/2014/main" id="{3C05973D-D9D1-4493-A9FE-33478B4885C8}"/>
              </a:ext>
            </a:extLst>
          </p:cNvPr>
          <p:cNvSpPr>
            <a:spLocks/>
          </p:cNvSpPr>
          <p:nvPr/>
        </p:nvSpPr>
        <p:spPr bwMode="auto">
          <a:xfrm>
            <a:off x="2620823" y="3555890"/>
            <a:ext cx="24793" cy="14303"/>
          </a:xfrm>
          <a:custGeom>
            <a:avLst/>
            <a:gdLst>
              <a:gd name="T0" fmla="*/ 7 w 9"/>
              <a:gd name="T1" fmla="*/ 2 h 5"/>
              <a:gd name="T2" fmla="*/ 7 w 9"/>
              <a:gd name="T3" fmla="*/ 0 h 5"/>
              <a:gd name="T4" fmla="*/ 4 w 9"/>
              <a:gd name="T5" fmla="*/ 1 h 5"/>
              <a:gd name="T6" fmla="*/ 2 w 9"/>
              <a:gd name="T7" fmla="*/ 2 h 5"/>
              <a:gd name="T8" fmla="*/ 3 w 9"/>
              <a:gd name="T9" fmla="*/ 3 h 5"/>
              <a:gd name="T10" fmla="*/ 1 w 9"/>
              <a:gd name="T11" fmla="*/ 4 h 5"/>
              <a:gd name="T12" fmla="*/ 5 w 9"/>
              <a:gd name="T13" fmla="*/ 4 h 5"/>
              <a:gd name="T14" fmla="*/ 7 w 9"/>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7" y="2"/>
                </a:moveTo>
                <a:cubicBezTo>
                  <a:pt x="8" y="4"/>
                  <a:pt x="9" y="1"/>
                  <a:pt x="7" y="0"/>
                </a:cubicBezTo>
                <a:cubicBezTo>
                  <a:pt x="6" y="0"/>
                  <a:pt x="5" y="1"/>
                  <a:pt x="4" y="1"/>
                </a:cubicBezTo>
                <a:cubicBezTo>
                  <a:pt x="3" y="0"/>
                  <a:pt x="0" y="1"/>
                  <a:pt x="2" y="2"/>
                </a:cubicBezTo>
                <a:cubicBezTo>
                  <a:pt x="2" y="3"/>
                  <a:pt x="3" y="2"/>
                  <a:pt x="3" y="3"/>
                </a:cubicBezTo>
                <a:cubicBezTo>
                  <a:pt x="3" y="3"/>
                  <a:pt x="2" y="4"/>
                  <a:pt x="1" y="4"/>
                </a:cubicBezTo>
                <a:cubicBezTo>
                  <a:pt x="3" y="5"/>
                  <a:pt x="3" y="5"/>
                  <a:pt x="5" y="4"/>
                </a:cubicBezTo>
                <a:cubicBezTo>
                  <a:pt x="5" y="4"/>
                  <a:pt x="7" y="2"/>
                  <a:pt x="7" y="2"/>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5" name="Freeform 110">
            <a:extLst>
              <a:ext uri="{FF2B5EF4-FFF2-40B4-BE49-F238E27FC236}">
                <a16:creationId xmlns:a16="http://schemas.microsoft.com/office/drawing/2014/main" id="{DAD54B7A-B657-4CD7-BD52-98D032026406}"/>
              </a:ext>
            </a:extLst>
          </p:cNvPr>
          <p:cNvSpPr>
            <a:spLocks/>
          </p:cNvSpPr>
          <p:nvPr/>
        </p:nvSpPr>
        <p:spPr bwMode="auto">
          <a:xfrm>
            <a:off x="3385857" y="3307977"/>
            <a:ext cx="22432" cy="8344"/>
          </a:xfrm>
          <a:custGeom>
            <a:avLst/>
            <a:gdLst>
              <a:gd name="T0" fmla="*/ 3 w 8"/>
              <a:gd name="T1" fmla="*/ 0 h 3"/>
              <a:gd name="T2" fmla="*/ 4 w 8"/>
              <a:gd name="T3" fmla="*/ 3 h 3"/>
              <a:gd name="T4" fmla="*/ 5 w 8"/>
              <a:gd name="T5" fmla="*/ 2 h 3"/>
              <a:gd name="T6" fmla="*/ 3 w 8"/>
              <a:gd name="T7" fmla="*/ 0 h 3"/>
            </a:gdLst>
            <a:ahLst/>
            <a:cxnLst>
              <a:cxn ang="0">
                <a:pos x="T0" y="T1"/>
              </a:cxn>
              <a:cxn ang="0">
                <a:pos x="T2" y="T3"/>
              </a:cxn>
              <a:cxn ang="0">
                <a:pos x="T4" y="T5"/>
              </a:cxn>
              <a:cxn ang="0">
                <a:pos x="T6" y="T7"/>
              </a:cxn>
            </a:cxnLst>
            <a:rect l="0" t="0" r="r" b="b"/>
            <a:pathLst>
              <a:path w="8" h="3">
                <a:moveTo>
                  <a:pt x="3" y="0"/>
                </a:moveTo>
                <a:cubicBezTo>
                  <a:pt x="0" y="1"/>
                  <a:pt x="3" y="3"/>
                  <a:pt x="4" y="3"/>
                </a:cubicBezTo>
                <a:cubicBezTo>
                  <a:pt x="5" y="3"/>
                  <a:pt x="6" y="3"/>
                  <a:pt x="5" y="2"/>
                </a:cubicBezTo>
                <a:cubicBezTo>
                  <a:pt x="8" y="1"/>
                  <a:pt x="4" y="0"/>
                  <a:pt x="3" y="0"/>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6" name="Freeform 111">
            <a:extLst>
              <a:ext uri="{FF2B5EF4-FFF2-40B4-BE49-F238E27FC236}">
                <a16:creationId xmlns:a16="http://schemas.microsoft.com/office/drawing/2014/main" id="{4491F830-576E-43F2-B344-F2AAF047AA09}"/>
              </a:ext>
            </a:extLst>
          </p:cNvPr>
          <p:cNvSpPr>
            <a:spLocks/>
          </p:cNvSpPr>
          <p:nvPr/>
        </p:nvSpPr>
        <p:spPr bwMode="auto">
          <a:xfrm>
            <a:off x="3444888" y="3285330"/>
            <a:ext cx="22432" cy="14303"/>
          </a:xfrm>
          <a:custGeom>
            <a:avLst/>
            <a:gdLst>
              <a:gd name="T0" fmla="*/ 5 w 8"/>
              <a:gd name="T1" fmla="*/ 0 h 5"/>
              <a:gd name="T2" fmla="*/ 8 w 8"/>
              <a:gd name="T3" fmla="*/ 2 h 5"/>
              <a:gd name="T4" fmla="*/ 5 w 8"/>
              <a:gd name="T5" fmla="*/ 0 h 5"/>
            </a:gdLst>
            <a:ahLst/>
            <a:cxnLst>
              <a:cxn ang="0">
                <a:pos x="T0" y="T1"/>
              </a:cxn>
              <a:cxn ang="0">
                <a:pos x="T2" y="T3"/>
              </a:cxn>
              <a:cxn ang="0">
                <a:pos x="T4" y="T5"/>
              </a:cxn>
            </a:cxnLst>
            <a:rect l="0" t="0" r="r" b="b"/>
            <a:pathLst>
              <a:path w="8" h="5">
                <a:moveTo>
                  <a:pt x="5" y="0"/>
                </a:moveTo>
                <a:cubicBezTo>
                  <a:pt x="0" y="2"/>
                  <a:pt x="6" y="5"/>
                  <a:pt x="8" y="2"/>
                </a:cubicBezTo>
                <a:cubicBezTo>
                  <a:pt x="7" y="2"/>
                  <a:pt x="5" y="2"/>
                  <a:pt x="5" y="0"/>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7" name="Freeform 112">
            <a:extLst>
              <a:ext uri="{FF2B5EF4-FFF2-40B4-BE49-F238E27FC236}">
                <a16:creationId xmlns:a16="http://schemas.microsoft.com/office/drawing/2014/main" id="{32EECF3E-97FE-409C-9301-77E907C5396B}"/>
              </a:ext>
            </a:extLst>
          </p:cNvPr>
          <p:cNvSpPr>
            <a:spLocks/>
          </p:cNvSpPr>
          <p:nvPr/>
        </p:nvSpPr>
        <p:spPr bwMode="auto">
          <a:xfrm>
            <a:off x="3405928" y="3305593"/>
            <a:ext cx="16529" cy="10727"/>
          </a:xfrm>
          <a:custGeom>
            <a:avLst/>
            <a:gdLst>
              <a:gd name="T0" fmla="*/ 5 w 6"/>
              <a:gd name="T1" fmla="*/ 0 h 4"/>
              <a:gd name="T2" fmla="*/ 1 w 6"/>
              <a:gd name="T3" fmla="*/ 1 h 4"/>
              <a:gd name="T4" fmla="*/ 0 w 6"/>
              <a:gd name="T5" fmla="*/ 3 h 4"/>
              <a:gd name="T6" fmla="*/ 2 w 6"/>
              <a:gd name="T7" fmla="*/ 2 h 4"/>
              <a:gd name="T8" fmla="*/ 6 w 6"/>
              <a:gd name="T9" fmla="*/ 1 h 4"/>
              <a:gd name="T10" fmla="*/ 6 w 6"/>
              <a:gd name="T11" fmla="*/ 1 h 4"/>
              <a:gd name="T12" fmla="*/ 4 w 6"/>
              <a:gd name="T13" fmla="*/ 0 h 4"/>
              <a:gd name="T14" fmla="*/ 5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5" y="0"/>
                </a:moveTo>
                <a:cubicBezTo>
                  <a:pt x="4" y="0"/>
                  <a:pt x="2" y="0"/>
                  <a:pt x="1" y="1"/>
                </a:cubicBezTo>
                <a:cubicBezTo>
                  <a:pt x="1" y="1"/>
                  <a:pt x="0" y="3"/>
                  <a:pt x="0" y="3"/>
                </a:cubicBezTo>
                <a:cubicBezTo>
                  <a:pt x="1" y="4"/>
                  <a:pt x="4" y="3"/>
                  <a:pt x="2" y="2"/>
                </a:cubicBezTo>
                <a:cubicBezTo>
                  <a:pt x="4" y="2"/>
                  <a:pt x="5" y="2"/>
                  <a:pt x="6" y="1"/>
                </a:cubicBezTo>
                <a:cubicBezTo>
                  <a:pt x="6" y="1"/>
                  <a:pt x="6" y="1"/>
                  <a:pt x="6" y="1"/>
                </a:cubicBezTo>
                <a:cubicBezTo>
                  <a:pt x="6" y="1"/>
                  <a:pt x="5" y="0"/>
                  <a:pt x="4" y="0"/>
                </a:cubicBezTo>
                <a:cubicBezTo>
                  <a:pt x="4" y="0"/>
                  <a:pt x="4" y="0"/>
                  <a:pt x="5" y="0"/>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8" name="Freeform 113">
            <a:extLst>
              <a:ext uri="{FF2B5EF4-FFF2-40B4-BE49-F238E27FC236}">
                <a16:creationId xmlns:a16="http://schemas.microsoft.com/office/drawing/2014/main" id="{D52416EE-ABE0-4806-BE4C-772115A56141}"/>
              </a:ext>
            </a:extLst>
          </p:cNvPr>
          <p:cNvSpPr>
            <a:spLocks/>
          </p:cNvSpPr>
          <p:nvPr/>
        </p:nvSpPr>
        <p:spPr bwMode="auto">
          <a:xfrm>
            <a:off x="3248907" y="2199517"/>
            <a:ext cx="874831" cy="1153752"/>
          </a:xfrm>
          <a:custGeom>
            <a:avLst/>
            <a:gdLst>
              <a:gd name="T0" fmla="*/ 265 w 313"/>
              <a:gd name="T1" fmla="*/ 248 h 409"/>
              <a:gd name="T2" fmla="*/ 264 w 313"/>
              <a:gd name="T3" fmla="*/ 223 h 409"/>
              <a:gd name="T4" fmla="*/ 251 w 313"/>
              <a:gd name="T5" fmla="*/ 203 h 409"/>
              <a:gd name="T6" fmla="*/ 249 w 313"/>
              <a:gd name="T7" fmla="*/ 181 h 409"/>
              <a:gd name="T8" fmla="*/ 236 w 313"/>
              <a:gd name="T9" fmla="*/ 136 h 409"/>
              <a:gd name="T10" fmla="*/ 239 w 313"/>
              <a:gd name="T11" fmla="*/ 89 h 409"/>
              <a:gd name="T12" fmla="*/ 202 w 313"/>
              <a:gd name="T13" fmla="*/ 55 h 409"/>
              <a:gd name="T14" fmla="*/ 213 w 313"/>
              <a:gd name="T15" fmla="*/ 18 h 409"/>
              <a:gd name="T16" fmla="*/ 164 w 313"/>
              <a:gd name="T17" fmla="*/ 5 h 409"/>
              <a:gd name="T18" fmla="*/ 135 w 313"/>
              <a:gd name="T19" fmla="*/ 14 h 409"/>
              <a:gd name="T20" fmla="*/ 129 w 313"/>
              <a:gd name="T21" fmla="*/ 38 h 409"/>
              <a:gd name="T22" fmla="*/ 110 w 313"/>
              <a:gd name="T23" fmla="*/ 58 h 409"/>
              <a:gd name="T24" fmla="*/ 56 w 313"/>
              <a:gd name="T25" fmla="*/ 53 h 409"/>
              <a:gd name="T26" fmla="*/ 12 w 313"/>
              <a:gd name="T27" fmla="*/ 32 h 409"/>
              <a:gd name="T28" fmla="*/ 19 w 313"/>
              <a:gd name="T29" fmla="*/ 50 h 409"/>
              <a:gd name="T30" fmla="*/ 54 w 313"/>
              <a:gd name="T31" fmla="*/ 64 h 409"/>
              <a:gd name="T32" fmla="*/ 78 w 313"/>
              <a:gd name="T33" fmla="*/ 92 h 409"/>
              <a:gd name="T34" fmla="*/ 93 w 313"/>
              <a:gd name="T35" fmla="*/ 125 h 409"/>
              <a:gd name="T36" fmla="*/ 97 w 313"/>
              <a:gd name="T37" fmla="*/ 156 h 409"/>
              <a:gd name="T38" fmla="*/ 116 w 313"/>
              <a:gd name="T39" fmla="*/ 172 h 409"/>
              <a:gd name="T40" fmla="*/ 133 w 313"/>
              <a:gd name="T41" fmla="*/ 182 h 409"/>
              <a:gd name="T42" fmla="*/ 133 w 313"/>
              <a:gd name="T43" fmla="*/ 191 h 409"/>
              <a:gd name="T44" fmla="*/ 121 w 313"/>
              <a:gd name="T45" fmla="*/ 204 h 409"/>
              <a:gd name="T46" fmla="*/ 103 w 313"/>
              <a:gd name="T47" fmla="*/ 227 h 409"/>
              <a:gd name="T48" fmla="*/ 90 w 313"/>
              <a:gd name="T49" fmla="*/ 240 h 409"/>
              <a:gd name="T50" fmla="*/ 80 w 313"/>
              <a:gd name="T51" fmla="*/ 243 h 409"/>
              <a:gd name="T52" fmla="*/ 75 w 313"/>
              <a:gd name="T53" fmla="*/ 251 h 409"/>
              <a:gd name="T54" fmla="*/ 62 w 313"/>
              <a:gd name="T55" fmla="*/ 258 h 409"/>
              <a:gd name="T56" fmla="*/ 57 w 313"/>
              <a:gd name="T57" fmla="*/ 268 h 409"/>
              <a:gd name="T58" fmla="*/ 43 w 313"/>
              <a:gd name="T59" fmla="*/ 266 h 409"/>
              <a:gd name="T60" fmla="*/ 34 w 313"/>
              <a:gd name="T61" fmla="*/ 288 h 409"/>
              <a:gd name="T62" fmla="*/ 33 w 313"/>
              <a:gd name="T63" fmla="*/ 298 h 409"/>
              <a:gd name="T64" fmla="*/ 40 w 313"/>
              <a:gd name="T65" fmla="*/ 308 h 409"/>
              <a:gd name="T66" fmla="*/ 40 w 313"/>
              <a:gd name="T67" fmla="*/ 320 h 409"/>
              <a:gd name="T68" fmla="*/ 45 w 313"/>
              <a:gd name="T69" fmla="*/ 336 h 409"/>
              <a:gd name="T70" fmla="*/ 47 w 313"/>
              <a:gd name="T71" fmla="*/ 347 h 409"/>
              <a:gd name="T72" fmla="*/ 46 w 313"/>
              <a:gd name="T73" fmla="*/ 357 h 409"/>
              <a:gd name="T74" fmla="*/ 44 w 313"/>
              <a:gd name="T75" fmla="*/ 366 h 409"/>
              <a:gd name="T76" fmla="*/ 54 w 313"/>
              <a:gd name="T77" fmla="*/ 379 h 409"/>
              <a:gd name="T78" fmla="*/ 59 w 313"/>
              <a:gd name="T79" fmla="*/ 378 h 409"/>
              <a:gd name="T80" fmla="*/ 77 w 313"/>
              <a:gd name="T81" fmla="*/ 384 h 409"/>
              <a:gd name="T82" fmla="*/ 93 w 313"/>
              <a:gd name="T83" fmla="*/ 386 h 409"/>
              <a:gd name="T84" fmla="*/ 76 w 313"/>
              <a:gd name="T85" fmla="*/ 394 h 409"/>
              <a:gd name="T86" fmla="*/ 79 w 313"/>
              <a:gd name="T87" fmla="*/ 401 h 409"/>
              <a:gd name="T88" fmla="*/ 90 w 313"/>
              <a:gd name="T89" fmla="*/ 390 h 409"/>
              <a:gd name="T90" fmla="*/ 96 w 313"/>
              <a:gd name="T91" fmla="*/ 403 h 409"/>
              <a:gd name="T92" fmla="*/ 99 w 313"/>
              <a:gd name="T93" fmla="*/ 407 h 409"/>
              <a:gd name="T94" fmla="*/ 108 w 313"/>
              <a:gd name="T95" fmla="*/ 403 h 409"/>
              <a:gd name="T96" fmla="*/ 120 w 313"/>
              <a:gd name="T97" fmla="*/ 399 h 409"/>
              <a:gd name="T98" fmla="*/ 133 w 313"/>
              <a:gd name="T99" fmla="*/ 400 h 409"/>
              <a:gd name="T100" fmla="*/ 145 w 313"/>
              <a:gd name="T101" fmla="*/ 394 h 409"/>
              <a:gd name="T102" fmla="*/ 160 w 313"/>
              <a:gd name="T103" fmla="*/ 390 h 409"/>
              <a:gd name="T104" fmla="*/ 170 w 313"/>
              <a:gd name="T105" fmla="*/ 390 h 409"/>
              <a:gd name="T106" fmla="*/ 176 w 313"/>
              <a:gd name="T107" fmla="*/ 386 h 409"/>
              <a:gd name="T108" fmla="*/ 185 w 313"/>
              <a:gd name="T109" fmla="*/ 384 h 409"/>
              <a:gd name="T110" fmla="*/ 200 w 313"/>
              <a:gd name="T111" fmla="*/ 380 h 409"/>
              <a:gd name="T112" fmla="*/ 214 w 313"/>
              <a:gd name="T113" fmla="*/ 382 h 409"/>
              <a:gd name="T114" fmla="*/ 220 w 313"/>
              <a:gd name="T115" fmla="*/ 378 h 409"/>
              <a:gd name="T116" fmla="*/ 252 w 313"/>
              <a:gd name="T117" fmla="*/ 352 h 409"/>
              <a:gd name="T118" fmla="*/ 287 w 313"/>
              <a:gd name="T119" fmla="*/ 31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409">
                <a:moveTo>
                  <a:pt x="304" y="274"/>
                </a:moveTo>
                <a:cubicBezTo>
                  <a:pt x="302" y="272"/>
                  <a:pt x="302" y="270"/>
                  <a:pt x="301" y="269"/>
                </a:cubicBezTo>
                <a:cubicBezTo>
                  <a:pt x="299" y="267"/>
                  <a:pt x="296" y="267"/>
                  <a:pt x="294" y="266"/>
                </a:cubicBezTo>
                <a:cubicBezTo>
                  <a:pt x="291" y="264"/>
                  <a:pt x="288" y="262"/>
                  <a:pt x="285" y="260"/>
                </a:cubicBezTo>
                <a:cubicBezTo>
                  <a:pt x="283" y="259"/>
                  <a:pt x="280" y="259"/>
                  <a:pt x="278" y="257"/>
                </a:cubicBezTo>
                <a:cubicBezTo>
                  <a:pt x="277" y="256"/>
                  <a:pt x="264" y="249"/>
                  <a:pt x="265" y="248"/>
                </a:cubicBezTo>
                <a:cubicBezTo>
                  <a:pt x="267" y="245"/>
                  <a:pt x="270" y="246"/>
                  <a:pt x="272" y="243"/>
                </a:cubicBezTo>
                <a:cubicBezTo>
                  <a:pt x="274" y="240"/>
                  <a:pt x="276" y="239"/>
                  <a:pt x="278" y="237"/>
                </a:cubicBezTo>
                <a:cubicBezTo>
                  <a:pt x="280" y="235"/>
                  <a:pt x="279" y="233"/>
                  <a:pt x="278" y="231"/>
                </a:cubicBezTo>
                <a:cubicBezTo>
                  <a:pt x="277" y="229"/>
                  <a:pt x="278" y="228"/>
                  <a:pt x="276" y="227"/>
                </a:cubicBezTo>
                <a:cubicBezTo>
                  <a:pt x="273" y="227"/>
                  <a:pt x="272" y="225"/>
                  <a:pt x="270" y="224"/>
                </a:cubicBezTo>
                <a:cubicBezTo>
                  <a:pt x="268" y="224"/>
                  <a:pt x="266" y="224"/>
                  <a:pt x="264" y="223"/>
                </a:cubicBezTo>
                <a:cubicBezTo>
                  <a:pt x="262" y="221"/>
                  <a:pt x="264" y="219"/>
                  <a:pt x="262" y="217"/>
                </a:cubicBezTo>
                <a:cubicBezTo>
                  <a:pt x="262" y="217"/>
                  <a:pt x="259" y="215"/>
                  <a:pt x="260" y="214"/>
                </a:cubicBezTo>
                <a:cubicBezTo>
                  <a:pt x="261" y="212"/>
                  <a:pt x="264" y="214"/>
                  <a:pt x="265" y="211"/>
                </a:cubicBezTo>
                <a:cubicBezTo>
                  <a:pt x="266" y="209"/>
                  <a:pt x="263" y="209"/>
                  <a:pt x="263" y="207"/>
                </a:cubicBezTo>
                <a:cubicBezTo>
                  <a:pt x="263" y="205"/>
                  <a:pt x="258" y="206"/>
                  <a:pt x="256" y="206"/>
                </a:cubicBezTo>
                <a:cubicBezTo>
                  <a:pt x="254" y="206"/>
                  <a:pt x="252" y="205"/>
                  <a:pt x="251" y="203"/>
                </a:cubicBezTo>
                <a:cubicBezTo>
                  <a:pt x="249" y="201"/>
                  <a:pt x="247" y="199"/>
                  <a:pt x="248" y="196"/>
                </a:cubicBezTo>
                <a:cubicBezTo>
                  <a:pt x="248" y="193"/>
                  <a:pt x="251" y="194"/>
                  <a:pt x="252" y="193"/>
                </a:cubicBezTo>
                <a:cubicBezTo>
                  <a:pt x="254" y="193"/>
                  <a:pt x="252" y="192"/>
                  <a:pt x="253" y="190"/>
                </a:cubicBezTo>
                <a:cubicBezTo>
                  <a:pt x="255" y="189"/>
                  <a:pt x="250" y="188"/>
                  <a:pt x="250" y="188"/>
                </a:cubicBezTo>
                <a:cubicBezTo>
                  <a:pt x="248" y="189"/>
                  <a:pt x="245" y="188"/>
                  <a:pt x="247" y="186"/>
                </a:cubicBezTo>
                <a:cubicBezTo>
                  <a:pt x="249" y="184"/>
                  <a:pt x="250" y="183"/>
                  <a:pt x="249" y="181"/>
                </a:cubicBezTo>
                <a:cubicBezTo>
                  <a:pt x="248" y="178"/>
                  <a:pt x="248" y="178"/>
                  <a:pt x="250" y="175"/>
                </a:cubicBezTo>
                <a:cubicBezTo>
                  <a:pt x="251" y="174"/>
                  <a:pt x="248" y="173"/>
                  <a:pt x="247" y="172"/>
                </a:cubicBezTo>
                <a:cubicBezTo>
                  <a:pt x="249" y="171"/>
                  <a:pt x="257" y="171"/>
                  <a:pt x="258" y="170"/>
                </a:cubicBezTo>
                <a:cubicBezTo>
                  <a:pt x="259" y="168"/>
                  <a:pt x="255" y="162"/>
                  <a:pt x="254" y="161"/>
                </a:cubicBezTo>
                <a:cubicBezTo>
                  <a:pt x="252" y="158"/>
                  <a:pt x="250" y="154"/>
                  <a:pt x="247" y="151"/>
                </a:cubicBezTo>
                <a:cubicBezTo>
                  <a:pt x="243" y="147"/>
                  <a:pt x="240" y="141"/>
                  <a:pt x="236" y="136"/>
                </a:cubicBezTo>
                <a:cubicBezTo>
                  <a:pt x="235" y="134"/>
                  <a:pt x="233" y="132"/>
                  <a:pt x="231" y="130"/>
                </a:cubicBezTo>
                <a:cubicBezTo>
                  <a:pt x="229" y="128"/>
                  <a:pt x="226" y="127"/>
                  <a:pt x="224" y="124"/>
                </a:cubicBezTo>
                <a:cubicBezTo>
                  <a:pt x="222" y="121"/>
                  <a:pt x="225" y="117"/>
                  <a:pt x="226" y="115"/>
                </a:cubicBezTo>
                <a:cubicBezTo>
                  <a:pt x="229" y="112"/>
                  <a:pt x="232" y="109"/>
                  <a:pt x="235" y="106"/>
                </a:cubicBezTo>
                <a:cubicBezTo>
                  <a:pt x="237" y="103"/>
                  <a:pt x="242" y="101"/>
                  <a:pt x="243" y="97"/>
                </a:cubicBezTo>
                <a:cubicBezTo>
                  <a:pt x="244" y="93"/>
                  <a:pt x="242" y="91"/>
                  <a:pt x="239" y="89"/>
                </a:cubicBezTo>
                <a:cubicBezTo>
                  <a:pt x="236" y="88"/>
                  <a:pt x="233" y="85"/>
                  <a:pt x="231" y="83"/>
                </a:cubicBezTo>
                <a:cubicBezTo>
                  <a:pt x="229" y="81"/>
                  <a:pt x="227" y="78"/>
                  <a:pt x="225" y="77"/>
                </a:cubicBezTo>
                <a:cubicBezTo>
                  <a:pt x="223" y="76"/>
                  <a:pt x="221" y="76"/>
                  <a:pt x="219" y="75"/>
                </a:cubicBezTo>
                <a:cubicBezTo>
                  <a:pt x="216" y="74"/>
                  <a:pt x="209" y="74"/>
                  <a:pt x="207" y="72"/>
                </a:cubicBezTo>
                <a:cubicBezTo>
                  <a:pt x="205" y="70"/>
                  <a:pt x="203" y="65"/>
                  <a:pt x="201" y="63"/>
                </a:cubicBezTo>
                <a:cubicBezTo>
                  <a:pt x="199" y="59"/>
                  <a:pt x="200" y="58"/>
                  <a:pt x="202" y="55"/>
                </a:cubicBezTo>
                <a:cubicBezTo>
                  <a:pt x="204" y="53"/>
                  <a:pt x="207" y="50"/>
                  <a:pt x="206" y="47"/>
                </a:cubicBezTo>
                <a:cubicBezTo>
                  <a:pt x="205" y="44"/>
                  <a:pt x="199" y="47"/>
                  <a:pt x="197" y="46"/>
                </a:cubicBezTo>
                <a:cubicBezTo>
                  <a:pt x="201" y="44"/>
                  <a:pt x="206" y="42"/>
                  <a:pt x="211" y="41"/>
                </a:cubicBezTo>
                <a:cubicBezTo>
                  <a:pt x="209" y="39"/>
                  <a:pt x="207" y="38"/>
                  <a:pt x="207" y="35"/>
                </a:cubicBezTo>
                <a:cubicBezTo>
                  <a:pt x="207" y="32"/>
                  <a:pt x="209" y="30"/>
                  <a:pt x="211" y="29"/>
                </a:cubicBezTo>
                <a:cubicBezTo>
                  <a:pt x="216" y="25"/>
                  <a:pt x="218" y="23"/>
                  <a:pt x="213" y="18"/>
                </a:cubicBezTo>
                <a:cubicBezTo>
                  <a:pt x="209" y="13"/>
                  <a:pt x="204" y="13"/>
                  <a:pt x="199" y="12"/>
                </a:cubicBezTo>
                <a:cubicBezTo>
                  <a:pt x="196" y="12"/>
                  <a:pt x="192" y="12"/>
                  <a:pt x="190" y="8"/>
                </a:cubicBezTo>
                <a:cubicBezTo>
                  <a:pt x="189" y="7"/>
                  <a:pt x="188" y="8"/>
                  <a:pt x="186" y="6"/>
                </a:cubicBezTo>
                <a:cubicBezTo>
                  <a:pt x="181" y="4"/>
                  <a:pt x="180" y="1"/>
                  <a:pt x="175" y="0"/>
                </a:cubicBezTo>
                <a:cubicBezTo>
                  <a:pt x="173" y="0"/>
                  <a:pt x="168" y="3"/>
                  <a:pt x="166" y="3"/>
                </a:cubicBezTo>
                <a:cubicBezTo>
                  <a:pt x="165" y="4"/>
                  <a:pt x="164" y="4"/>
                  <a:pt x="164" y="5"/>
                </a:cubicBezTo>
                <a:cubicBezTo>
                  <a:pt x="164" y="5"/>
                  <a:pt x="164" y="5"/>
                  <a:pt x="163" y="5"/>
                </a:cubicBezTo>
                <a:cubicBezTo>
                  <a:pt x="161" y="6"/>
                  <a:pt x="159" y="6"/>
                  <a:pt x="157" y="6"/>
                </a:cubicBezTo>
                <a:cubicBezTo>
                  <a:pt x="154" y="6"/>
                  <a:pt x="152" y="5"/>
                  <a:pt x="150" y="5"/>
                </a:cubicBezTo>
                <a:cubicBezTo>
                  <a:pt x="148" y="5"/>
                  <a:pt x="144" y="5"/>
                  <a:pt x="143" y="7"/>
                </a:cubicBezTo>
                <a:cubicBezTo>
                  <a:pt x="142" y="8"/>
                  <a:pt x="142" y="10"/>
                  <a:pt x="141" y="10"/>
                </a:cubicBezTo>
                <a:cubicBezTo>
                  <a:pt x="139" y="11"/>
                  <a:pt x="137" y="13"/>
                  <a:pt x="135" y="14"/>
                </a:cubicBezTo>
                <a:cubicBezTo>
                  <a:pt x="134" y="14"/>
                  <a:pt x="132" y="14"/>
                  <a:pt x="132" y="16"/>
                </a:cubicBezTo>
                <a:cubicBezTo>
                  <a:pt x="132" y="17"/>
                  <a:pt x="132" y="18"/>
                  <a:pt x="133" y="18"/>
                </a:cubicBezTo>
                <a:cubicBezTo>
                  <a:pt x="133" y="19"/>
                  <a:pt x="131" y="20"/>
                  <a:pt x="131" y="21"/>
                </a:cubicBezTo>
                <a:cubicBezTo>
                  <a:pt x="131" y="21"/>
                  <a:pt x="130" y="24"/>
                  <a:pt x="130" y="25"/>
                </a:cubicBezTo>
                <a:cubicBezTo>
                  <a:pt x="130" y="27"/>
                  <a:pt x="128" y="29"/>
                  <a:pt x="128" y="31"/>
                </a:cubicBezTo>
                <a:cubicBezTo>
                  <a:pt x="128" y="33"/>
                  <a:pt x="129" y="36"/>
                  <a:pt x="129" y="38"/>
                </a:cubicBezTo>
                <a:cubicBezTo>
                  <a:pt x="129" y="41"/>
                  <a:pt x="131" y="40"/>
                  <a:pt x="129" y="43"/>
                </a:cubicBezTo>
                <a:cubicBezTo>
                  <a:pt x="128" y="44"/>
                  <a:pt x="127" y="46"/>
                  <a:pt x="126" y="46"/>
                </a:cubicBezTo>
                <a:cubicBezTo>
                  <a:pt x="122" y="46"/>
                  <a:pt x="116" y="45"/>
                  <a:pt x="115" y="51"/>
                </a:cubicBezTo>
                <a:cubicBezTo>
                  <a:pt x="115" y="54"/>
                  <a:pt x="115" y="54"/>
                  <a:pt x="113" y="55"/>
                </a:cubicBezTo>
                <a:cubicBezTo>
                  <a:pt x="112" y="56"/>
                  <a:pt x="110" y="56"/>
                  <a:pt x="110" y="57"/>
                </a:cubicBezTo>
                <a:cubicBezTo>
                  <a:pt x="110" y="57"/>
                  <a:pt x="110" y="57"/>
                  <a:pt x="110" y="58"/>
                </a:cubicBezTo>
                <a:cubicBezTo>
                  <a:pt x="108" y="58"/>
                  <a:pt x="106" y="55"/>
                  <a:pt x="104" y="55"/>
                </a:cubicBezTo>
                <a:cubicBezTo>
                  <a:pt x="102" y="53"/>
                  <a:pt x="100" y="53"/>
                  <a:pt x="97" y="52"/>
                </a:cubicBezTo>
                <a:cubicBezTo>
                  <a:pt x="93" y="51"/>
                  <a:pt x="88" y="48"/>
                  <a:pt x="83" y="48"/>
                </a:cubicBezTo>
                <a:cubicBezTo>
                  <a:pt x="80" y="47"/>
                  <a:pt x="81" y="51"/>
                  <a:pt x="79" y="52"/>
                </a:cubicBezTo>
                <a:cubicBezTo>
                  <a:pt x="77" y="53"/>
                  <a:pt x="74" y="53"/>
                  <a:pt x="72" y="53"/>
                </a:cubicBezTo>
                <a:cubicBezTo>
                  <a:pt x="66" y="55"/>
                  <a:pt x="62" y="53"/>
                  <a:pt x="56" y="53"/>
                </a:cubicBezTo>
                <a:cubicBezTo>
                  <a:pt x="53" y="52"/>
                  <a:pt x="50" y="52"/>
                  <a:pt x="47" y="51"/>
                </a:cubicBezTo>
                <a:cubicBezTo>
                  <a:pt x="46" y="50"/>
                  <a:pt x="44" y="48"/>
                  <a:pt x="43" y="47"/>
                </a:cubicBezTo>
                <a:cubicBezTo>
                  <a:pt x="40" y="44"/>
                  <a:pt x="37" y="41"/>
                  <a:pt x="34" y="39"/>
                </a:cubicBezTo>
                <a:cubicBezTo>
                  <a:pt x="31" y="37"/>
                  <a:pt x="28" y="34"/>
                  <a:pt x="25" y="32"/>
                </a:cubicBezTo>
                <a:cubicBezTo>
                  <a:pt x="24" y="32"/>
                  <a:pt x="22" y="31"/>
                  <a:pt x="21" y="31"/>
                </a:cubicBezTo>
                <a:cubicBezTo>
                  <a:pt x="18" y="30"/>
                  <a:pt x="14" y="29"/>
                  <a:pt x="12" y="32"/>
                </a:cubicBezTo>
                <a:cubicBezTo>
                  <a:pt x="10" y="35"/>
                  <a:pt x="14" y="38"/>
                  <a:pt x="9" y="38"/>
                </a:cubicBezTo>
                <a:cubicBezTo>
                  <a:pt x="6" y="38"/>
                  <a:pt x="3" y="37"/>
                  <a:pt x="0" y="39"/>
                </a:cubicBezTo>
                <a:cubicBezTo>
                  <a:pt x="2" y="40"/>
                  <a:pt x="5" y="40"/>
                  <a:pt x="7" y="41"/>
                </a:cubicBezTo>
                <a:cubicBezTo>
                  <a:pt x="9" y="42"/>
                  <a:pt x="7" y="44"/>
                  <a:pt x="7" y="45"/>
                </a:cubicBezTo>
                <a:cubicBezTo>
                  <a:pt x="9" y="46"/>
                  <a:pt x="13" y="46"/>
                  <a:pt x="15" y="47"/>
                </a:cubicBezTo>
                <a:cubicBezTo>
                  <a:pt x="16" y="48"/>
                  <a:pt x="18" y="49"/>
                  <a:pt x="19" y="50"/>
                </a:cubicBezTo>
                <a:cubicBezTo>
                  <a:pt x="20" y="51"/>
                  <a:pt x="20" y="50"/>
                  <a:pt x="21" y="51"/>
                </a:cubicBezTo>
                <a:cubicBezTo>
                  <a:pt x="23" y="54"/>
                  <a:pt x="25" y="53"/>
                  <a:pt x="28" y="54"/>
                </a:cubicBezTo>
                <a:cubicBezTo>
                  <a:pt x="29" y="55"/>
                  <a:pt x="29" y="56"/>
                  <a:pt x="30" y="57"/>
                </a:cubicBezTo>
                <a:cubicBezTo>
                  <a:pt x="31" y="57"/>
                  <a:pt x="33" y="57"/>
                  <a:pt x="34" y="57"/>
                </a:cubicBezTo>
                <a:cubicBezTo>
                  <a:pt x="36" y="58"/>
                  <a:pt x="38" y="61"/>
                  <a:pt x="40" y="61"/>
                </a:cubicBezTo>
                <a:cubicBezTo>
                  <a:pt x="45" y="61"/>
                  <a:pt x="50" y="62"/>
                  <a:pt x="54" y="64"/>
                </a:cubicBezTo>
                <a:cubicBezTo>
                  <a:pt x="58" y="65"/>
                  <a:pt x="66" y="67"/>
                  <a:pt x="67" y="72"/>
                </a:cubicBezTo>
                <a:cubicBezTo>
                  <a:pt x="67" y="75"/>
                  <a:pt x="70" y="73"/>
                  <a:pt x="72" y="75"/>
                </a:cubicBezTo>
                <a:cubicBezTo>
                  <a:pt x="74" y="76"/>
                  <a:pt x="75" y="78"/>
                  <a:pt x="77" y="79"/>
                </a:cubicBezTo>
                <a:cubicBezTo>
                  <a:pt x="78" y="80"/>
                  <a:pt x="82" y="82"/>
                  <a:pt x="80" y="83"/>
                </a:cubicBezTo>
                <a:cubicBezTo>
                  <a:pt x="78" y="84"/>
                  <a:pt x="77" y="84"/>
                  <a:pt x="77" y="86"/>
                </a:cubicBezTo>
                <a:cubicBezTo>
                  <a:pt x="77" y="88"/>
                  <a:pt x="77" y="90"/>
                  <a:pt x="78" y="92"/>
                </a:cubicBezTo>
                <a:cubicBezTo>
                  <a:pt x="79" y="94"/>
                  <a:pt x="79" y="94"/>
                  <a:pt x="78" y="96"/>
                </a:cubicBezTo>
                <a:cubicBezTo>
                  <a:pt x="78" y="98"/>
                  <a:pt x="75" y="99"/>
                  <a:pt x="77" y="100"/>
                </a:cubicBezTo>
                <a:cubicBezTo>
                  <a:pt x="78" y="101"/>
                  <a:pt x="81" y="101"/>
                  <a:pt x="83" y="101"/>
                </a:cubicBezTo>
                <a:cubicBezTo>
                  <a:pt x="84" y="101"/>
                  <a:pt x="87" y="103"/>
                  <a:pt x="87" y="106"/>
                </a:cubicBezTo>
                <a:cubicBezTo>
                  <a:pt x="86" y="108"/>
                  <a:pt x="83" y="107"/>
                  <a:pt x="82" y="108"/>
                </a:cubicBezTo>
                <a:cubicBezTo>
                  <a:pt x="79" y="111"/>
                  <a:pt x="92" y="122"/>
                  <a:pt x="93" y="125"/>
                </a:cubicBezTo>
                <a:cubicBezTo>
                  <a:pt x="94" y="127"/>
                  <a:pt x="92" y="126"/>
                  <a:pt x="92" y="127"/>
                </a:cubicBezTo>
                <a:cubicBezTo>
                  <a:pt x="91" y="130"/>
                  <a:pt x="92" y="132"/>
                  <a:pt x="91" y="135"/>
                </a:cubicBezTo>
                <a:cubicBezTo>
                  <a:pt x="90" y="137"/>
                  <a:pt x="88" y="137"/>
                  <a:pt x="87" y="139"/>
                </a:cubicBezTo>
                <a:cubicBezTo>
                  <a:pt x="86" y="140"/>
                  <a:pt x="88" y="142"/>
                  <a:pt x="87" y="144"/>
                </a:cubicBezTo>
                <a:cubicBezTo>
                  <a:pt x="87" y="147"/>
                  <a:pt x="89" y="149"/>
                  <a:pt x="91" y="150"/>
                </a:cubicBezTo>
                <a:cubicBezTo>
                  <a:pt x="93" y="151"/>
                  <a:pt x="95" y="151"/>
                  <a:pt x="97" y="156"/>
                </a:cubicBezTo>
                <a:cubicBezTo>
                  <a:pt x="98" y="158"/>
                  <a:pt x="98" y="160"/>
                  <a:pt x="100" y="162"/>
                </a:cubicBezTo>
                <a:cubicBezTo>
                  <a:pt x="100" y="162"/>
                  <a:pt x="103" y="167"/>
                  <a:pt x="104" y="166"/>
                </a:cubicBezTo>
                <a:cubicBezTo>
                  <a:pt x="104" y="166"/>
                  <a:pt x="103" y="165"/>
                  <a:pt x="103" y="165"/>
                </a:cubicBezTo>
                <a:cubicBezTo>
                  <a:pt x="106" y="165"/>
                  <a:pt x="109" y="169"/>
                  <a:pt x="112" y="166"/>
                </a:cubicBezTo>
                <a:cubicBezTo>
                  <a:pt x="112" y="168"/>
                  <a:pt x="113" y="169"/>
                  <a:pt x="114" y="170"/>
                </a:cubicBezTo>
                <a:cubicBezTo>
                  <a:pt x="116" y="170"/>
                  <a:pt x="115" y="171"/>
                  <a:pt x="116" y="172"/>
                </a:cubicBezTo>
                <a:cubicBezTo>
                  <a:pt x="117" y="172"/>
                  <a:pt x="119" y="171"/>
                  <a:pt x="119" y="171"/>
                </a:cubicBezTo>
                <a:cubicBezTo>
                  <a:pt x="120" y="171"/>
                  <a:pt x="122" y="172"/>
                  <a:pt x="123" y="172"/>
                </a:cubicBezTo>
                <a:cubicBezTo>
                  <a:pt x="124" y="173"/>
                  <a:pt x="126" y="174"/>
                  <a:pt x="127" y="175"/>
                </a:cubicBezTo>
                <a:cubicBezTo>
                  <a:pt x="128" y="176"/>
                  <a:pt x="130" y="175"/>
                  <a:pt x="131" y="176"/>
                </a:cubicBezTo>
                <a:cubicBezTo>
                  <a:pt x="131" y="177"/>
                  <a:pt x="135" y="179"/>
                  <a:pt x="134" y="180"/>
                </a:cubicBezTo>
                <a:cubicBezTo>
                  <a:pt x="135" y="181"/>
                  <a:pt x="134" y="182"/>
                  <a:pt x="133" y="182"/>
                </a:cubicBezTo>
                <a:cubicBezTo>
                  <a:pt x="133" y="182"/>
                  <a:pt x="133" y="183"/>
                  <a:pt x="133" y="184"/>
                </a:cubicBezTo>
                <a:cubicBezTo>
                  <a:pt x="133" y="186"/>
                  <a:pt x="135" y="186"/>
                  <a:pt x="133" y="187"/>
                </a:cubicBezTo>
                <a:cubicBezTo>
                  <a:pt x="134" y="187"/>
                  <a:pt x="134" y="187"/>
                  <a:pt x="134" y="187"/>
                </a:cubicBezTo>
                <a:cubicBezTo>
                  <a:pt x="134" y="188"/>
                  <a:pt x="134" y="188"/>
                  <a:pt x="134" y="188"/>
                </a:cubicBezTo>
                <a:cubicBezTo>
                  <a:pt x="134" y="188"/>
                  <a:pt x="134" y="188"/>
                  <a:pt x="135" y="188"/>
                </a:cubicBezTo>
                <a:cubicBezTo>
                  <a:pt x="134" y="188"/>
                  <a:pt x="133" y="190"/>
                  <a:pt x="133" y="191"/>
                </a:cubicBezTo>
                <a:cubicBezTo>
                  <a:pt x="133" y="193"/>
                  <a:pt x="134" y="193"/>
                  <a:pt x="135" y="193"/>
                </a:cubicBezTo>
                <a:cubicBezTo>
                  <a:pt x="138" y="194"/>
                  <a:pt x="139" y="198"/>
                  <a:pt x="140" y="199"/>
                </a:cubicBezTo>
                <a:cubicBezTo>
                  <a:pt x="140" y="200"/>
                  <a:pt x="133" y="197"/>
                  <a:pt x="133" y="199"/>
                </a:cubicBezTo>
                <a:cubicBezTo>
                  <a:pt x="133" y="201"/>
                  <a:pt x="140" y="200"/>
                  <a:pt x="138" y="204"/>
                </a:cubicBezTo>
                <a:cubicBezTo>
                  <a:pt x="136" y="207"/>
                  <a:pt x="132" y="201"/>
                  <a:pt x="130" y="201"/>
                </a:cubicBezTo>
                <a:cubicBezTo>
                  <a:pt x="129" y="201"/>
                  <a:pt x="120" y="202"/>
                  <a:pt x="121" y="204"/>
                </a:cubicBezTo>
                <a:cubicBezTo>
                  <a:pt x="121" y="204"/>
                  <a:pt x="117" y="205"/>
                  <a:pt x="117" y="205"/>
                </a:cubicBezTo>
                <a:cubicBezTo>
                  <a:pt x="116" y="207"/>
                  <a:pt x="116" y="210"/>
                  <a:pt x="114" y="210"/>
                </a:cubicBezTo>
                <a:cubicBezTo>
                  <a:pt x="114" y="210"/>
                  <a:pt x="113" y="214"/>
                  <a:pt x="113" y="215"/>
                </a:cubicBezTo>
                <a:cubicBezTo>
                  <a:pt x="112" y="217"/>
                  <a:pt x="110" y="216"/>
                  <a:pt x="110" y="217"/>
                </a:cubicBezTo>
                <a:cubicBezTo>
                  <a:pt x="110" y="217"/>
                  <a:pt x="110" y="217"/>
                  <a:pt x="110" y="217"/>
                </a:cubicBezTo>
                <a:cubicBezTo>
                  <a:pt x="108" y="217"/>
                  <a:pt x="100" y="224"/>
                  <a:pt x="103" y="227"/>
                </a:cubicBezTo>
                <a:cubicBezTo>
                  <a:pt x="100" y="226"/>
                  <a:pt x="99" y="228"/>
                  <a:pt x="96" y="229"/>
                </a:cubicBezTo>
                <a:cubicBezTo>
                  <a:pt x="98" y="230"/>
                  <a:pt x="96" y="231"/>
                  <a:pt x="95" y="232"/>
                </a:cubicBezTo>
                <a:cubicBezTo>
                  <a:pt x="94" y="233"/>
                  <a:pt x="95" y="233"/>
                  <a:pt x="93" y="233"/>
                </a:cubicBezTo>
                <a:cubicBezTo>
                  <a:pt x="94" y="234"/>
                  <a:pt x="95" y="235"/>
                  <a:pt x="95" y="236"/>
                </a:cubicBezTo>
                <a:cubicBezTo>
                  <a:pt x="93" y="236"/>
                  <a:pt x="90" y="233"/>
                  <a:pt x="88" y="235"/>
                </a:cubicBezTo>
                <a:cubicBezTo>
                  <a:pt x="87" y="236"/>
                  <a:pt x="89" y="239"/>
                  <a:pt x="90" y="240"/>
                </a:cubicBezTo>
                <a:cubicBezTo>
                  <a:pt x="89" y="242"/>
                  <a:pt x="87" y="240"/>
                  <a:pt x="86" y="240"/>
                </a:cubicBezTo>
                <a:cubicBezTo>
                  <a:pt x="88" y="242"/>
                  <a:pt x="83" y="242"/>
                  <a:pt x="82" y="241"/>
                </a:cubicBezTo>
                <a:cubicBezTo>
                  <a:pt x="82" y="242"/>
                  <a:pt x="83" y="242"/>
                  <a:pt x="83" y="242"/>
                </a:cubicBezTo>
                <a:cubicBezTo>
                  <a:pt x="82" y="242"/>
                  <a:pt x="81" y="242"/>
                  <a:pt x="81" y="241"/>
                </a:cubicBezTo>
                <a:cubicBezTo>
                  <a:pt x="81" y="241"/>
                  <a:pt x="83" y="244"/>
                  <a:pt x="82" y="244"/>
                </a:cubicBezTo>
                <a:cubicBezTo>
                  <a:pt x="81" y="244"/>
                  <a:pt x="81" y="242"/>
                  <a:pt x="80" y="243"/>
                </a:cubicBezTo>
                <a:cubicBezTo>
                  <a:pt x="80" y="244"/>
                  <a:pt x="79" y="246"/>
                  <a:pt x="80" y="246"/>
                </a:cubicBezTo>
                <a:cubicBezTo>
                  <a:pt x="80" y="247"/>
                  <a:pt x="78" y="244"/>
                  <a:pt x="77" y="246"/>
                </a:cubicBezTo>
                <a:cubicBezTo>
                  <a:pt x="77" y="247"/>
                  <a:pt x="79" y="248"/>
                  <a:pt x="77" y="248"/>
                </a:cubicBezTo>
                <a:cubicBezTo>
                  <a:pt x="77" y="248"/>
                  <a:pt x="79" y="248"/>
                  <a:pt x="76" y="248"/>
                </a:cubicBezTo>
                <a:cubicBezTo>
                  <a:pt x="77" y="248"/>
                  <a:pt x="77" y="249"/>
                  <a:pt x="78" y="250"/>
                </a:cubicBezTo>
                <a:cubicBezTo>
                  <a:pt x="77" y="250"/>
                  <a:pt x="76" y="252"/>
                  <a:pt x="75" y="251"/>
                </a:cubicBezTo>
                <a:cubicBezTo>
                  <a:pt x="74" y="251"/>
                  <a:pt x="73" y="250"/>
                  <a:pt x="71" y="250"/>
                </a:cubicBezTo>
                <a:cubicBezTo>
                  <a:pt x="72" y="251"/>
                  <a:pt x="70" y="250"/>
                  <a:pt x="69" y="249"/>
                </a:cubicBezTo>
                <a:cubicBezTo>
                  <a:pt x="69" y="251"/>
                  <a:pt x="67" y="254"/>
                  <a:pt x="65" y="254"/>
                </a:cubicBezTo>
                <a:cubicBezTo>
                  <a:pt x="66" y="254"/>
                  <a:pt x="66" y="254"/>
                  <a:pt x="67" y="254"/>
                </a:cubicBezTo>
                <a:cubicBezTo>
                  <a:pt x="66" y="258"/>
                  <a:pt x="65" y="259"/>
                  <a:pt x="63" y="256"/>
                </a:cubicBezTo>
                <a:cubicBezTo>
                  <a:pt x="62" y="255"/>
                  <a:pt x="61" y="257"/>
                  <a:pt x="62" y="258"/>
                </a:cubicBezTo>
                <a:cubicBezTo>
                  <a:pt x="63" y="259"/>
                  <a:pt x="64" y="259"/>
                  <a:pt x="65" y="260"/>
                </a:cubicBezTo>
                <a:cubicBezTo>
                  <a:pt x="64" y="260"/>
                  <a:pt x="60" y="258"/>
                  <a:pt x="59" y="259"/>
                </a:cubicBezTo>
                <a:cubicBezTo>
                  <a:pt x="59" y="261"/>
                  <a:pt x="64" y="263"/>
                  <a:pt x="65" y="265"/>
                </a:cubicBezTo>
                <a:cubicBezTo>
                  <a:pt x="63" y="266"/>
                  <a:pt x="62" y="265"/>
                  <a:pt x="61" y="268"/>
                </a:cubicBezTo>
                <a:cubicBezTo>
                  <a:pt x="61" y="268"/>
                  <a:pt x="57" y="269"/>
                  <a:pt x="57" y="269"/>
                </a:cubicBezTo>
                <a:cubicBezTo>
                  <a:pt x="57" y="269"/>
                  <a:pt x="57" y="267"/>
                  <a:pt x="57" y="268"/>
                </a:cubicBezTo>
                <a:cubicBezTo>
                  <a:pt x="56" y="268"/>
                  <a:pt x="55" y="270"/>
                  <a:pt x="55" y="271"/>
                </a:cubicBezTo>
                <a:cubicBezTo>
                  <a:pt x="54" y="271"/>
                  <a:pt x="54" y="270"/>
                  <a:pt x="53" y="269"/>
                </a:cubicBezTo>
                <a:cubicBezTo>
                  <a:pt x="55" y="269"/>
                  <a:pt x="55" y="267"/>
                  <a:pt x="54" y="267"/>
                </a:cubicBezTo>
                <a:cubicBezTo>
                  <a:pt x="53" y="267"/>
                  <a:pt x="53" y="267"/>
                  <a:pt x="52" y="267"/>
                </a:cubicBezTo>
                <a:cubicBezTo>
                  <a:pt x="51" y="267"/>
                  <a:pt x="47" y="267"/>
                  <a:pt x="49" y="269"/>
                </a:cubicBezTo>
                <a:cubicBezTo>
                  <a:pt x="47" y="268"/>
                  <a:pt x="43" y="270"/>
                  <a:pt x="43" y="266"/>
                </a:cubicBezTo>
                <a:cubicBezTo>
                  <a:pt x="42" y="267"/>
                  <a:pt x="42" y="269"/>
                  <a:pt x="43" y="270"/>
                </a:cubicBezTo>
                <a:cubicBezTo>
                  <a:pt x="41" y="271"/>
                  <a:pt x="47" y="275"/>
                  <a:pt x="47" y="276"/>
                </a:cubicBezTo>
                <a:cubicBezTo>
                  <a:pt x="47" y="276"/>
                  <a:pt x="39" y="274"/>
                  <a:pt x="41" y="277"/>
                </a:cubicBezTo>
                <a:cubicBezTo>
                  <a:pt x="40" y="277"/>
                  <a:pt x="41" y="281"/>
                  <a:pt x="40" y="282"/>
                </a:cubicBezTo>
                <a:cubicBezTo>
                  <a:pt x="39" y="283"/>
                  <a:pt x="36" y="283"/>
                  <a:pt x="36" y="283"/>
                </a:cubicBezTo>
                <a:cubicBezTo>
                  <a:pt x="36" y="284"/>
                  <a:pt x="31" y="289"/>
                  <a:pt x="34" y="288"/>
                </a:cubicBezTo>
                <a:cubicBezTo>
                  <a:pt x="34" y="290"/>
                  <a:pt x="31" y="290"/>
                  <a:pt x="32" y="293"/>
                </a:cubicBezTo>
                <a:cubicBezTo>
                  <a:pt x="32" y="294"/>
                  <a:pt x="33" y="293"/>
                  <a:pt x="33" y="292"/>
                </a:cubicBezTo>
                <a:cubicBezTo>
                  <a:pt x="33" y="293"/>
                  <a:pt x="34" y="293"/>
                  <a:pt x="34" y="293"/>
                </a:cubicBezTo>
                <a:cubicBezTo>
                  <a:pt x="34" y="293"/>
                  <a:pt x="35" y="293"/>
                  <a:pt x="36" y="294"/>
                </a:cubicBezTo>
                <a:cubicBezTo>
                  <a:pt x="34" y="295"/>
                  <a:pt x="35" y="295"/>
                  <a:pt x="35" y="296"/>
                </a:cubicBezTo>
                <a:cubicBezTo>
                  <a:pt x="35" y="297"/>
                  <a:pt x="34" y="298"/>
                  <a:pt x="33" y="298"/>
                </a:cubicBezTo>
                <a:cubicBezTo>
                  <a:pt x="34" y="299"/>
                  <a:pt x="35" y="299"/>
                  <a:pt x="35" y="299"/>
                </a:cubicBezTo>
                <a:cubicBezTo>
                  <a:pt x="35" y="299"/>
                  <a:pt x="35" y="300"/>
                  <a:pt x="35" y="301"/>
                </a:cubicBezTo>
                <a:cubicBezTo>
                  <a:pt x="37" y="300"/>
                  <a:pt x="36" y="303"/>
                  <a:pt x="36" y="304"/>
                </a:cubicBezTo>
                <a:cubicBezTo>
                  <a:pt x="36" y="304"/>
                  <a:pt x="38" y="302"/>
                  <a:pt x="38" y="301"/>
                </a:cubicBezTo>
                <a:cubicBezTo>
                  <a:pt x="38" y="304"/>
                  <a:pt x="39" y="303"/>
                  <a:pt x="40" y="303"/>
                </a:cubicBezTo>
                <a:cubicBezTo>
                  <a:pt x="40" y="304"/>
                  <a:pt x="40" y="307"/>
                  <a:pt x="40" y="308"/>
                </a:cubicBezTo>
                <a:cubicBezTo>
                  <a:pt x="40" y="308"/>
                  <a:pt x="41" y="308"/>
                  <a:pt x="41" y="307"/>
                </a:cubicBezTo>
                <a:cubicBezTo>
                  <a:pt x="41" y="309"/>
                  <a:pt x="41" y="310"/>
                  <a:pt x="43" y="309"/>
                </a:cubicBezTo>
                <a:cubicBezTo>
                  <a:pt x="42" y="310"/>
                  <a:pt x="40" y="310"/>
                  <a:pt x="40" y="312"/>
                </a:cubicBezTo>
                <a:cubicBezTo>
                  <a:pt x="41" y="313"/>
                  <a:pt x="40" y="314"/>
                  <a:pt x="40" y="312"/>
                </a:cubicBezTo>
                <a:cubicBezTo>
                  <a:pt x="40" y="314"/>
                  <a:pt x="40" y="317"/>
                  <a:pt x="39" y="319"/>
                </a:cubicBezTo>
                <a:cubicBezTo>
                  <a:pt x="41" y="319"/>
                  <a:pt x="39" y="320"/>
                  <a:pt x="40" y="320"/>
                </a:cubicBezTo>
                <a:cubicBezTo>
                  <a:pt x="41" y="321"/>
                  <a:pt x="43" y="320"/>
                  <a:pt x="43" y="322"/>
                </a:cubicBezTo>
                <a:cubicBezTo>
                  <a:pt x="44" y="324"/>
                  <a:pt x="44" y="326"/>
                  <a:pt x="46" y="326"/>
                </a:cubicBezTo>
                <a:cubicBezTo>
                  <a:pt x="44" y="328"/>
                  <a:pt x="47" y="329"/>
                  <a:pt x="48" y="330"/>
                </a:cubicBezTo>
                <a:cubicBezTo>
                  <a:pt x="48" y="330"/>
                  <a:pt x="47" y="330"/>
                  <a:pt x="47" y="330"/>
                </a:cubicBezTo>
                <a:cubicBezTo>
                  <a:pt x="47" y="331"/>
                  <a:pt x="51" y="337"/>
                  <a:pt x="51" y="337"/>
                </a:cubicBezTo>
                <a:cubicBezTo>
                  <a:pt x="51" y="337"/>
                  <a:pt x="45" y="335"/>
                  <a:pt x="45" y="336"/>
                </a:cubicBezTo>
                <a:cubicBezTo>
                  <a:pt x="45" y="337"/>
                  <a:pt x="49" y="337"/>
                  <a:pt x="49" y="338"/>
                </a:cubicBezTo>
                <a:cubicBezTo>
                  <a:pt x="49" y="340"/>
                  <a:pt x="45" y="339"/>
                  <a:pt x="44" y="339"/>
                </a:cubicBezTo>
                <a:cubicBezTo>
                  <a:pt x="46" y="340"/>
                  <a:pt x="47" y="340"/>
                  <a:pt x="48" y="342"/>
                </a:cubicBezTo>
                <a:cubicBezTo>
                  <a:pt x="47" y="342"/>
                  <a:pt x="46" y="341"/>
                  <a:pt x="45" y="342"/>
                </a:cubicBezTo>
                <a:cubicBezTo>
                  <a:pt x="47" y="343"/>
                  <a:pt x="48" y="345"/>
                  <a:pt x="48" y="347"/>
                </a:cubicBezTo>
                <a:cubicBezTo>
                  <a:pt x="48" y="347"/>
                  <a:pt x="48" y="347"/>
                  <a:pt x="47" y="347"/>
                </a:cubicBezTo>
                <a:cubicBezTo>
                  <a:pt x="47" y="349"/>
                  <a:pt x="48" y="349"/>
                  <a:pt x="50" y="350"/>
                </a:cubicBezTo>
                <a:cubicBezTo>
                  <a:pt x="50" y="351"/>
                  <a:pt x="47" y="350"/>
                  <a:pt x="48" y="352"/>
                </a:cubicBezTo>
                <a:cubicBezTo>
                  <a:pt x="47" y="352"/>
                  <a:pt x="46" y="351"/>
                  <a:pt x="45" y="351"/>
                </a:cubicBezTo>
                <a:cubicBezTo>
                  <a:pt x="47" y="352"/>
                  <a:pt x="46" y="355"/>
                  <a:pt x="47" y="356"/>
                </a:cubicBezTo>
                <a:cubicBezTo>
                  <a:pt x="46" y="356"/>
                  <a:pt x="45" y="356"/>
                  <a:pt x="44" y="356"/>
                </a:cubicBezTo>
                <a:cubicBezTo>
                  <a:pt x="45" y="356"/>
                  <a:pt x="46" y="357"/>
                  <a:pt x="46" y="357"/>
                </a:cubicBezTo>
                <a:cubicBezTo>
                  <a:pt x="45" y="358"/>
                  <a:pt x="43" y="356"/>
                  <a:pt x="42" y="356"/>
                </a:cubicBezTo>
                <a:cubicBezTo>
                  <a:pt x="43" y="358"/>
                  <a:pt x="44" y="359"/>
                  <a:pt x="45" y="360"/>
                </a:cubicBezTo>
                <a:cubicBezTo>
                  <a:pt x="46" y="361"/>
                  <a:pt x="47" y="361"/>
                  <a:pt x="47" y="363"/>
                </a:cubicBezTo>
                <a:cubicBezTo>
                  <a:pt x="46" y="362"/>
                  <a:pt x="46" y="362"/>
                  <a:pt x="45" y="363"/>
                </a:cubicBezTo>
                <a:cubicBezTo>
                  <a:pt x="45" y="363"/>
                  <a:pt x="46" y="364"/>
                  <a:pt x="47" y="364"/>
                </a:cubicBezTo>
                <a:cubicBezTo>
                  <a:pt x="45" y="365"/>
                  <a:pt x="43" y="364"/>
                  <a:pt x="44" y="366"/>
                </a:cubicBezTo>
                <a:cubicBezTo>
                  <a:pt x="46" y="368"/>
                  <a:pt x="47" y="370"/>
                  <a:pt x="48" y="372"/>
                </a:cubicBezTo>
                <a:cubicBezTo>
                  <a:pt x="47" y="372"/>
                  <a:pt x="45" y="371"/>
                  <a:pt x="45" y="372"/>
                </a:cubicBezTo>
                <a:cubicBezTo>
                  <a:pt x="45" y="374"/>
                  <a:pt x="47" y="374"/>
                  <a:pt x="48" y="375"/>
                </a:cubicBezTo>
                <a:cubicBezTo>
                  <a:pt x="46" y="374"/>
                  <a:pt x="48" y="376"/>
                  <a:pt x="49" y="377"/>
                </a:cubicBezTo>
                <a:cubicBezTo>
                  <a:pt x="49" y="377"/>
                  <a:pt x="50" y="377"/>
                  <a:pt x="50" y="377"/>
                </a:cubicBezTo>
                <a:cubicBezTo>
                  <a:pt x="51" y="378"/>
                  <a:pt x="53" y="382"/>
                  <a:pt x="54" y="379"/>
                </a:cubicBezTo>
                <a:cubicBezTo>
                  <a:pt x="55" y="376"/>
                  <a:pt x="55" y="376"/>
                  <a:pt x="52" y="375"/>
                </a:cubicBezTo>
                <a:cubicBezTo>
                  <a:pt x="54" y="375"/>
                  <a:pt x="55" y="376"/>
                  <a:pt x="56" y="376"/>
                </a:cubicBezTo>
                <a:cubicBezTo>
                  <a:pt x="57" y="376"/>
                  <a:pt x="58" y="375"/>
                  <a:pt x="59" y="374"/>
                </a:cubicBezTo>
                <a:cubicBezTo>
                  <a:pt x="58" y="376"/>
                  <a:pt x="57" y="379"/>
                  <a:pt x="58" y="380"/>
                </a:cubicBezTo>
                <a:cubicBezTo>
                  <a:pt x="58" y="380"/>
                  <a:pt x="60" y="380"/>
                  <a:pt x="60" y="381"/>
                </a:cubicBezTo>
                <a:cubicBezTo>
                  <a:pt x="60" y="380"/>
                  <a:pt x="59" y="379"/>
                  <a:pt x="59" y="378"/>
                </a:cubicBezTo>
                <a:cubicBezTo>
                  <a:pt x="60" y="378"/>
                  <a:pt x="61" y="378"/>
                  <a:pt x="62" y="378"/>
                </a:cubicBezTo>
                <a:cubicBezTo>
                  <a:pt x="63" y="379"/>
                  <a:pt x="65" y="384"/>
                  <a:pt x="67" y="381"/>
                </a:cubicBezTo>
                <a:cubicBezTo>
                  <a:pt x="67" y="382"/>
                  <a:pt x="67" y="384"/>
                  <a:pt x="66" y="383"/>
                </a:cubicBezTo>
                <a:cubicBezTo>
                  <a:pt x="67" y="384"/>
                  <a:pt x="68" y="383"/>
                  <a:pt x="69" y="383"/>
                </a:cubicBezTo>
                <a:cubicBezTo>
                  <a:pt x="70" y="383"/>
                  <a:pt x="70" y="384"/>
                  <a:pt x="71" y="384"/>
                </a:cubicBezTo>
                <a:cubicBezTo>
                  <a:pt x="73" y="386"/>
                  <a:pt x="75" y="383"/>
                  <a:pt x="77" y="384"/>
                </a:cubicBezTo>
                <a:cubicBezTo>
                  <a:pt x="76" y="385"/>
                  <a:pt x="80" y="385"/>
                  <a:pt x="81" y="384"/>
                </a:cubicBezTo>
                <a:cubicBezTo>
                  <a:pt x="80" y="386"/>
                  <a:pt x="78" y="387"/>
                  <a:pt x="77" y="389"/>
                </a:cubicBezTo>
                <a:cubicBezTo>
                  <a:pt x="76" y="391"/>
                  <a:pt x="80" y="390"/>
                  <a:pt x="80" y="391"/>
                </a:cubicBezTo>
                <a:cubicBezTo>
                  <a:pt x="80" y="391"/>
                  <a:pt x="79" y="391"/>
                  <a:pt x="79" y="392"/>
                </a:cubicBezTo>
                <a:cubicBezTo>
                  <a:pt x="81" y="393"/>
                  <a:pt x="85" y="391"/>
                  <a:pt x="87" y="389"/>
                </a:cubicBezTo>
                <a:cubicBezTo>
                  <a:pt x="88" y="389"/>
                  <a:pt x="93" y="385"/>
                  <a:pt x="93" y="386"/>
                </a:cubicBezTo>
                <a:cubicBezTo>
                  <a:pt x="93" y="386"/>
                  <a:pt x="91" y="388"/>
                  <a:pt x="90" y="390"/>
                </a:cubicBezTo>
                <a:cubicBezTo>
                  <a:pt x="90" y="389"/>
                  <a:pt x="90" y="389"/>
                  <a:pt x="90" y="389"/>
                </a:cubicBezTo>
                <a:cubicBezTo>
                  <a:pt x="91" y="387"/>
                  <a:pt x="86" y="391"/>
                  <a:pt x="86" y="391"/>
                </a:cubicBezTo>
                <a:cubicBezTo>
                  <a:pt x="84" y="391"/>
                  <a:pt x="79" y="393"/>
                  <a:pt x="77" y="392"/>
                </a:cubicBezTo>
                <a:cubicBezTo>
                  <a:pt x="77" y="392"/>
                  <a:pt x="77" y="392"/>
                  <a:pt x="77" y="391"/>
                </a:cubicBezTo>
                <a:cubicBezTo>
                  <a:pt x="76" y="391"/>
                  <a:pt x="76" y="394"/>
                  <a:pt x="76" y="394"/>
                </a:cubicBezTo>
                <a:cubicBezTo>
                  <a:pt x="78" y="395"/>
                  <a:pt x="80" y="394"/>
                  <a:pt x="81" y="395"/>
                </a:cubicBezTo>
                <a:cubicBezTo>
                  <a:pt x="79" y="395"/>
                  <a:pt x="78" y="394"/>
                  <a:pt x="76" y="395"/>
                </a:cubicBezTo>
                <a:cubicBezTo>
                  <a:pt x="77" y="396"/>
                  <a:pt x="78" y="396"/>
                  <a:pt x="78" y="398"/>
                </a:cubicBezTo>
                <a:cubicBezTo>
                  <a:pt x="75" y="396"/>
                  <a:pt x="74" y="399"/>
                  <a:pt x="76" y="401"/>
                </a:cubicBezTo>
                <a:cubicBezTo>
                  <a:pt x="76" y="401"/>
                  <a:pt x="76" y="400"/>
                  <a:pt x="76" y="400"/>
                </a:cubicBezTo>
                <a:cubicBezTo>
                  <a:pt x="77" y="400"/>
                  <a:pt x="77" y="401"/>
                  <a:pt x="79" y="401"/>
                </a:cubicBezTo>
                <a:cubicBezTo>
                  <a:pt x="80" y="400"/>
                  <a:pt x="81" y="399"/>
                  <a:pt x="81" y="398"/>
                </a:cubicBezTo>
                <a:cubicBezTo>
                  <a:pt x="81" y="399"/>
                  <a:pt x="81" y="399"/>
                  <a:pt x="81" y="400"/>
                </a:cubicBezTo>
                <a:cubicBezTo>
                  <a:pt x="82" y="400"/>
                  <a:pt x="85" y="399"/>
                  <a:pt x="86" y="400"/>
                </a:cubicBezTo>
                <a:cubicBezTo>
                  <a:pt x="86" y="398"/>
                  <a:pt x="87" y="398"/>
                  <a:pt x="88" y="396"/>
                </a:cubicBezTo>
                <a:cubicBezTo>
                  <a:pt x="88" y="395"/>
                  <a:pt x="88" y="394"/>
                  <a:pt x="88" y="393"/>
                </a:cubicBezTo>
                <a:cubicBezTo>
                  <a:pt x="88" y="392"/>
                  <a:pt x="89" y="391"/>
                  <a:pt x="90" y="390"/>
                </a:cubicBezTo>
                <a:cubicBezTo>
                  <a:pt x="89" y="391"/>
                  <a:pt x="89" y="392"/>
                  <a:pt x="88" y="393"/>
                </a:cubicBezTo>
                <a:cubicBezTo>
                  <a:pt x="88" y="396"/>
                  <a:pt x="92" y="395"/>
                  <a:pt x="93" y="396"/>
                </a:cubicBezTo>
                <a:cubicBezTo>
                  <a:pt x="89" y="399"/>
                  <a:pt x="97" y="398"/>
                  <a:pt x="99" y="399"/>
                </a:cubicBezTo>
                <a:cubicBezTo>
                  <a:pt x="98" y="399"/>
                  <a:pt x="97" y="398"/>
                  <a:pt x="96" y="399"/>
                </a:cubicBezTo>
                <a:cubicBezTo>
                  <a:pt x="94" y="401"/>
                  <a:pt x="98" y="400"/>
                  <a:pt x="98" y="400"/>
                </a:cubicBezTo>
                <a:cubicBezTo>
                  <a:pt x="98" y="400"/>
                  <a:pt x="93" y="402"/>
                  <a:pt x="96" y="403"/>
                </a:cubicBezTo>
                <a:cubicBezTo>
                  <a:pt x="97" y="403"/>
                  <a:pt x="97" y="402"/>
                  <a:pt x="98" y="403"/>
                </a:cubicBezTo>
                <a:cubicBezTo>
                  <a:pt x="98" y="403"/>
                  <a:pt x="97" y="404"/>
                  <a:pt x="97" y="404"/>
                </a:cubicBezTo>
                <a:cubicBezTo>
                  <a:pt x="96" y="405"/>
                  <a:pt x="98" y="403"/>
                  <a:pt x="98" y="403"/>
                </a:cubicBezTo>
                <a:cubicBezTo>
                  <a:pt x="100" y="402"/>
                  <a:pt x="100" y="401"/>
                  <a:pt x="101" y="399"/>
                </a:cubicBezTo>
                <a:cubicBezTo>
                  <a:pt x="102" y="407"/>
                  <a:pt x="91" y="403"/>
                  <a:pt x="90" y="409"/>
                </a:cubicBezTo>
                <a:cubicBezTo>
                  <a:pt x="93" y="407"/>
                  <a:pt x="96" y="409"/>
                  <a:pt x="99" y="407"/>
                </a:cubicBezTo>
                <a:cubicBezTo>
                  <a:pt x="97" y="406"/>
                  <a:pt x="102" y="403"/>
                  <a:pt x="103" y="402"/>
                </a:cubicBezTo>
                <a:cubicBezTo>
                  <a:pt x="104" y="401"/>
                  <a:pt x="105" y="397"/>
                  <a:pt x="107" y="397"/>
                </a:cubicBezTo>
                <a:cubicBezTo>
                  <a:pt x="107" y="399"/>
                  <a:pt x="105" y="402"/>
                  <a:pt x="104" y="402"/>
                </a:cubicBezTo>
                <a:cubicBezTo>
                  <a:pt x="105" y="402"/>
                  <a:pt x="107" y="402"/>
                  <a:pt x="108" y="401"/>
                </a:cubicBezTo>
                <a:cubicBezTo>
                  <a:pt x="106" y="402"/>
                  <a:pt x="103" y="402"/>
                  <a:pt x="102" y="404"/>
                </a:cubicBezTo>
                <a:cubicBezTo>
                  <a:pt x="104" y="405"/>
                  <a:pt x="106" y="403"/>
                  <a:pt x="108" y="403"/>
                </a:cubicBezTo>
                <a:cubicBezTo>
                  <a:pt x="110" y="404"/>
                  <a:pt x="112" y="404"/>
                  <a:pt x="113" y="403"/>
                </a:cubicBezTo>
                <a:cubicBezTo>
                  <a:pt x="112" y="403"/>
                  <a:pt x="111" y="402"/>
                  <a:pt x="110" y="402"/>
                </a:cubicBezTo>
                <a:cubicBezTo>
                  <a:pt x="111" y="402"/>
                  <a:pt x="114" y="401"/>
                  <a:pt x="114" y="402"/>
                </a:cubicBezTo>
                <a:cubicBezTo>
                  <a:pt x="115" y="402"/>
                  <a:pt x="116" y="400"/>
                  <a:pt x="118" y="401"/>
                </a:cubicBezTo>
                <a:cubicBezTo>
                  <a:pt x="115" y="400"/>
                  <a:pt x="118" y="400"/>
                  <a:pt x="119" y="400"/>
                </a:cubicBezTo>
                <a:cubicBezTo>
                  <a:pt x="119" y="400"/>
                  <a:pt x="120" y="399"/>
                  <a:pt x="120" y="399"/>
                </a:cubicBezTo>
                <a:cubicBezTo>
                  <a:pt x="120" y="401"/>
                  <a:pt x="129" y="397"/>
                  <a:pt x="129" y="397"/>
                </a:cubicBezTo>
                <a:cubicBezTo>
                  <a:pt x="130" y="398"/>
                  <a:pt x="127" y="401"/>
                  <a:pt x="128" y="401"/>
                </a:cubicBezTo>
                <a:cubicBezTo>
                  <a:pt x="129" y="401"/>
                  <a:pt x="129" y="400"/>
                  <a:pt x="129" y="400"/>
                </a:cubicBezTo>
                <a:cubicBezTo>
                  <a:pt x="130" y="400"/>
                  <a:pt x="131" y="399"/>
                  <a:pt x="132" y="398"/>
                </a:cubicBezTo>
                <a:cubicBezTo>
                  <a:pt x="132" y="400"/>
                  <a:pt x="131" y="401"/>
                  <a:pt x="130" y="402"/>
                </a:cubicBezTo>
                <a:cubicBezTo>
                  <a:pt x="132" y="402"/>
                  <a:pt x="132" y="401"/>
                  <a:pt x="133" y="400"/>
                </a:cubicBezTo>
                <a:cubicBezTo>
                  <a:pt x="135" y="399"/>
                  <a:pt x="135" y="397"/>
                  <a:pt x="137" y="396"/>
                </a:cubicBezTo>
                <a:cubicBezTo>
                  <a:pt x="136" y="396"/>
                  <a:pt x="136" y="396"/>
                  <a:pt x="135" y="396"/>
                </a:cubicBezTo>
                <a:cubicBezTo>
                  <a:pt x="136" y="395"/>
                  <a:pt x="135" y="394"/>
                  <a:pt x="134" y="394"/>
                </a:cubicBezTo>
                <a:cubicBezTo>
                  <a:pt x="135" y="394"/>
                  <a:pt x="141" y="397"/>
                  <a:pt x="138" y="395"/>
                </a:cubicBezTo>
                <a:cubicBezTo>
                  <a:pt x="140" y="394"/>
                  <a:pt x="141" y="394"/>
                  <a:pt x="142" y="392"/>
                </a:cubicBezTo>
                <a:cubicBezTo>
                  <a:pt x="142" y="392"/>
                  <a:pt x="145" y="396"/>
                  <a:pt x="145" y="394"/>
                </a:cubicBezTo>
                <a:cubicBezTo>
                  <a:pt x="145" y="394"/>
                  <a:pt x="147" y="391"/>
                  <a:pt x="147" y="392"/>
                </a:cubicBezTo>
                <a:cubicBezTo>
                  <a:pt x="147" y="392"/>
                  <a:pt x="147" y="393"/>
                  <a:pt x="147" y="393"/>
                </a:cubicBezTo>
                <a:cubicBezTo>
                  <a:pt x="148" y="393"/>
                  <a:pt x="149" y="393"/>
                  <a:pt x="149" y="392"/>
                </a:cubicBezTo>
                <a:cubicBezTo>
                  <a:pt x="149" y="395"/>
                  <a:pt x="152" y="391"/>
                  <a:pt x="152" y="391"/>
                </a:cubicBezTo>
                <a:cubicBezTo>
                  <a:pt x="153" y="390"/>
                  <a:pt x="156" y="391"/>
                  <a:pt x="155" y="389"/>
                </a:cubicBezTo>
                <a:cubicBezTo>
                  <a:pt x="157" y="390"/>
                  <a:pt x="158" y="391"/>
                  <a:pt x="160" y="390"/>
                </a:cubicBezTo>
                <a:cubicBezTo>
                  <a:pt x="161" y="390"/>
                  <a:pt x="162" y="388"/>
                  <a:pt x="161" y="387"/>
                </a:cubicBezTo>
                <a:cubicBezTo>
                  <a:pt x="161" y="387"/>
                  <a:pt x="166" y="384"/>
                  <a:pt x="166" y="386"/>
                </a:cubicBezTo>
                <a:cubicBezTo>
                  <a:pt x="166" y="387"/>
                  <a:pt x="164" y="386"/>
                  <a:pt x="164" y="387"/>
                </a:cubicBezTo>
                <a:cubicBezTo>
                  <a:pt x="167" y="387"/>
                  <a:pt x="164" y="386"/>
                  <a:pt x="164" y="387"/>
                </a:cubicBezTo>
                <a:cubicBezTo>
                  <a:pt x="164" y="388"/>
                  <a:pt x="165" y="389"/>
                  <a:pt x="165" y="389"/>
                </a:cubicBezTo>
                <a:cubicBezTo>
                  <a:pt x="167" y="390"/>
                  <a:pt x="168" y="391"/>
                  <a:pt x="170" y="390"/>
                </a:cubicBezTo>
                <a:cubicBezTo>
                  <a:pt x="169" y="389"/>
                  <a:pt x="167" y="389"/>
                  <a:pt x="167" y="388"/>
                </a:cubicBezTo>
                <a:cubicBezTo>
                  <a:pt x="167" y="388"/>
                  <a:pt x="171" y="390"/>
                  <a:pt x="172" y="390"/>
                </a:cubicBezTo>
                <a:cubicBezTo>
                  <a:pt x="170" y="389"/>
                  <a:pt x="171" y="385"/>
                  <a:pt x="169" y="384"/>
                </a:cubicBezTo>
                <a:cubicBezTo>
                  <a:pt x="170" y="384"/>
                  <a:pt x="171" y="385"/>
                  <a:pt x="173" y="385"/>
                </a:cubicBezTo>
                <a:cubicBezTo>
                  <a:pt x="174" y="385"/>
                  <a:pt x="174" y="388"/>
                  <a:pt x="175" y="388"/>
                </a:cubicBezTo>
                <a:cubicBezTo>
                  <a:pt x="177" y="389"/>
                  <a:pt x="176" y="387"/>
                  <a:pt x="176" y="386"/>
                </a:cubicBezTo>
                <a:cubicBezTo>
                  <a:pt x="175" y="386"/>
                  <a:pt x="173" y="385"/>
                  <a:pt x="174" y="383"/>
                </a:cubicBezTo>
                <a:cubicBezTo>
                  <a:pt x="174" y="383"/>
                  <a:pt x="172" y="382"/>
                  <a:pt x="172" y="381"/>
                </a:cubicBezTo>
                <a:cubicBezTo>
                  <a:pt x="172" y="381"/>
                  <a:pt x="175" y="384"/>
                  <a:pt x="176" y="384"/>
                </a:cubicBezTo>
                <a:cubicBezTo>
                  <a:pt x="177" y="384"/>
                  <a:pt x="181" y="385"/>
                  <a:pt x="180" y="382"/>
                </a:cubicBezTo>
                <a:cubicBezTo>
                  <a:pt x="180" y="382"/>
                  <a:pt x="181" y="385"/>
                  <a:pt x="182" y="385"/>
                </a:cubicBezTo>
                <a:cubicBezTo>
                  <a:pt x="183" y="384"/>
                  <a:pt x="184" y="384"/>
                  <a:pt x="185" y="384"/>
                </a:cubicBezTo>
                <a:cubicBezTo>
                  <a:pt x="187" y="383"/>
                  <a:pt x="185" y="381"/>
                  <a:pt x="186" y="381"/>
                </a:cubicBezTo>
                <a:cubicBezTo>
                  <a:pt x="186" y="380"/>
                  <a:pt x="188" y="383"/>
                  <a:pt x="189" y="383"/>
                </a:cubicBezTo>
                <a:cubicBezTo>
                  <a:pt x="188" y="380"/>
                  <a:pt x="191" y="382"/>
                  <a:pt x="191" y="383"/>
                </a:cubicBezTo>
                <a:cubicBezTo>
                  <a:pt x="193" y="384"/>
                  <a:pt x="193" y="380"/>
                  <a:pt x="195" y="381"/>
                </a:cubicBezTo>
                <a:cubicBezTo>
                  <a:pt x="194" y="383"/>
                  <a:pt x="199" y="381"/>
                  <a:pt x="199" y="381"/>
                </a:cubicBezTo>
                <a:cubicBezTo>
                  <a:pt x="198" y="380"/>
                  <a:pt x="200" y="381"/>
                  <a:pt x="200" y="380"/>
                </a:cubicBezTo>
                <a:cubicBezTo>
                  <a:pt x="201" y="379"/>
                  <a:pt x="200" y="377"/>
                  <a:pt x="202" y="379"/>
                </a:cubicBezTo>
                <a:cubicBezTo>
                  <a:pt x="201" y="377"/>
                  <a:pt x="205" y="381"/>
                  <a:pt x="205" y="378"/>
                </a:cubicBezTo>
                <a:cubicBezTo>
                  <a:pt x="205" y="376"/>
                  <a:pt x="207" y="378"/>
                  <a:pt x="208" y="379"/>
                </a:cubicBezTo>
                <a:cubicBezTo>
                  <a:pt x="207" y="378"/>
                  <a:pt x="206" y="378"/>
                  <a:pt x="206" y="379"/>
                </a:cubicBezTo>
                <a:cubicBezTo>
                  <a:pt x="207" y="379"/>
                  <a:pt x="209" y="380"/>
                  <a:pt x="211" y="380"/>
                </a:cubicBezTo>
                <a:cubicBezTo>
                  <a:pt x="212" y="380"/>
                  <a:pt x="213" y="382"/>
                  <a:pt x="214" y="382"/>
                </a:cubicBezTo>
                <a:cubicBezTo>
                  <a:pt x="214" y="381"/>
                  <a:pt x="214" y="381"/>
                  <a:pt x="213" y="380"/>
                </a:cubicBezTo>
                <a:cubicBezTo>
                  <a:pt x="214" y="380"/>
                  <a:pt x="217" y="381"/>
                  <a:pt x="217" y="381"/>
                </a:cubicBezTo>
                <a:cubicBezTo>
                  <a:pt x="215" y="379"/>
                  <a:pt x="219" y="379"/>
                  <a:pt x="218" y="380"/>
                </a:cubicBezTo>
                <a:cubicBezTo>
                  <a:pt x="218" y="380"/>
                  <a:pt x="216" y="380"/>
                  <a:pt x="218" y="381"/>
                </a:cubicBezTo>
                <a:cubicBezTo>
                  <a:pt x="218" y="381"/>
                  <a:pt x="221" y="381"/>
                  <a:pt x="221" y="380"/>
                </a:cubicBezTo>
                <a:cubicBezTo>
                  <a:pt x="221" y="380"/>
                  <a:pt x="220" y="378"/>
                  <a:pt x="220" y="378"/>
                </a:cubicBezTo>
                <a:cubicBezTo>
                  <a:pt x="221" y="376"/>
                  <a:pt x="221" y="379"/>
                  <a:pt x="223" y="378"/>
                </a:cubicBezTo>
                <a:cubicBezTo>
                  <a:pt x="226" y="375"/>
                  <a:pt x="229" y="371"/>
                  <a:pt x="232" y="368"/>
                </a:cubicBezTo>
                <a:cubicBezTo>
                  <a:pt x="234" y="367"/>
                  <a:pt x="236" y="365"/>
                  <a:pt x="237" y="363"/>
                </a:cubicBezTo>
                <a:cubicBezTo>
                  <a:pt x="239" y="362"/>
                  <a:pt x="241" y="362"/>
                  <a:pt x="242" y="361"/>
                </a:cubicBezTo>
                <a:cubicBezTo>
                  <a:pt x="244" y="360"/>
                  <a:pt x="245" y="357"/>
                  <a:pt x="247" y="356"/>
                </a:cubicBezTo>
                <a:cubicBezTo>
                  <a:pt x="248" y="354"/>
                  <a:pt x="250" y="353"/>
                  <a:pt x="252" y="352"/>
                </a:cubicBezTo>
                <a:cubicBezTo>
                  <a:pt x="256" y="350"/>
                  <a:pt x="259" y="346"/>
                  <a:pt x="263" y="342"/>
                </a:cubicBezTo>
                <a:cubicBezTo>
                  <a:pt x="264" y="341"/>
                  <a:pt x="265" y="339"/>
                  <a:pt x="267" y="338"/>
                </a:cubicBezTo>
                <a:cubicBezTo>
                  <a:pt x="268" y="337"/>
                  <a:pt x="271" y="336"/>
                  <a:pt x="271" y="334"/>
                </a:cubicBezTo>
                <a:cubicBezTo>
                  <a:pt x="272" y="332"/>
                  <a:pt x="274" y="331"/>
                  <a:pt x="275" y="330"/>
                </a:cubicBezTo>
                <a:cubicBezTo>
                  <a:pt x="277" y="328"/>
                  <a:pt x="279" y="325"/>
                  <a:pt x="280" y="323"/>
                </a:cubicBezTo>
                <a:cubicBezTo>
                  <a:pt x="283" y="320"/>
                  <a:pt x="285" y="317"/>
                  <a:pt x="287" y="315"/>
                </a:cubicBezTo>
                <a:cubicBezTo>
                  <a:pt x="288" y="314"/>
                  <a:pt x="290" y="312"/>
                  <a:pt x="291" y="311"/>
                </a:cubicBezTo>
                <a:cubicBezTo>
                  <a:pt x="293" y="309"/>
                  <a:pt x="296" y="308"/>
                  <a:pt x="298" y="305"/>
                </a:cubicBezTo>
                <a:cubicBezTo>
                  <a:pt x="300" y="303"/>
                  <a:pt x="302" y="301"/>
                  <a:pt x="304" y="299"/>
                </a:cubicBezTo>
                <a:cubicBezTo>
                  <a:pt x="308" y="296"/>
                  <a:pt x="307" y="289"/>
                  <a:pt x="310" y="284"/>
                </a:cubicBezTo>
                <a:cubicBezTo>
                  <a:pt x="313" y="279"/>
                  <a:pt x="307" y="276"/>
                  <a:pt x="304" y="274"/>
                </a:cubicBezTo>
                <a:close/>
              </a:path>
            </a:pathLst>
          </a:custGeom>
          <a:solidFill>
            <a:srgbClr val="D9D9D9"/>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9" name="Rectangle 114">
            <a:extLst>
              <a:ext uri="{FF2B5EF4-FFF2-40B4-BE49-F238E27FC236}">
                <a16:creationId xmlns:a16="http://schemas.microsoft.com/office/drawing/2014/main" id="{A818167D-7933-4F54-AC55-A5E3A1716757}"/>
              </a:ext>
            </a:extLst>
          </p:cNvPr>
          <p:cNvSpPr>
            <a:spLocks noChangeArrowheads="1"/>
          </p:cNvSpPr>
          <p:nvPr/>
        </p:nvSpPr>
        <p:spPr bwMode="auto">
          <a:xfrm>
            <a:off x="3624340" y="2855639"/>
            <a:ext cx="1181" cy="1192"/>
          </a:xfrm>
          <a:prstGeom prst="rect">
            <a:avLst/>
          </a:prstGeom>
          <a:solidFill>
            <a:schemeClr val="tx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0" name="Freeform 115">
            <a:extLst>
              <a:ext uri="{FF2B5EF4-FFF2-40B4-BE49-F238E27FC236}">
                <a16:creationId xmlns:a16="http://schemas.microsoft.com/office/drawing/2014/main" id="{B20508AC-1152-4BAB-A5B9-9C84BC9F21D3}"/>
              </a:ext>
            </a:extLst>
          </p:cNvPr>
          <p:cNvSpPr>
            <a:spLocks/>
          </p:cNvSpPr>
          <p:nvPr/>
        </p:nvSpPr>
        <p:spPr bwMode="auto">
          <a:xfrm>
            <a:off x="3422457" y="3305593"/>
            <a:ext cx="14167" cy="8344"/>
          </a:xfrm>
          <a:custGeom>
            <a:avLst/>
            <a:gdLst>
              <a:gd name="T0" fmla="*/ 1 w 5"/>
              <a:gd name="T1" fmla="*/ 2 h 3"/>
              <a:gd name="T2" fmla="*/ 3 w 5"/>
              <a:gd name="T3" fmla="*/ 1 h 3"/>
              <a:gd name="T4" fmla="*/ 4 w 5"/>
              <a:gd name="T5" fmla="*/ 0 h 3"/>
              <a:gd name="T6" fmla="*/ 1 w 5"/>
              <a:gd name="T7" fmla="*/ 2 h 3"/>
            </a:gdLst>
            <a:ahLst/>
            <a:cxnLst>
              <a:cxn ang="0">
                <a:pos x="T0" y="T1"/>
              </a:cxn>
              <a:cxn ang="0">
                <a:pos x="T2" y="T3"/>
              </a:cxn>
              <a:cxn ang="0">
                <a:pos x="T4" y="T5"/>
              </a:cxn>
              <a:cxn ang="0">
                <a:pos x="T6" y="T7"/>
              </a:cxn>
            </a:cxnLst>
            <a:rect l="0" t="0" r="r" b="b"/>
            <a:pathLst>
              <a:path w="5" h="3">
                <a:moveTo>
                  <a:pt x="1" y="2"/>
                </a:moveTo>
                <a:cubicBezTo>
                  <a:pt x="2" y="3"/>
                  <a:pt x="5" y="2"/>
                  <a:pt x="3" y="1"/>
                </a:cubicBezTo>
                <a:cubicBezTo>
                  <a:pt x="4" y="1"/>
                  <a:pt x="5" y="1"/>
                  <a:pt x="4" y="0"/>
                </a:cubicBezTo>
                <a:cubicBezTo>
                  <a:pt x="4" y="0"/>
                  <a:pt x="0" y="1"/>
                  <a:pt x="1" y="2"/>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1" name="Freeform 116">
            <a:extLst>
              <a:ext uri="{FF2B5EF4-FFF2-40B4-BE49-F238E27FC236}">
                <a16:creationId xmlns:a16="http://schemas.microsoft.com/office/drawing/2014/main" id="{260EEF4E-FB8C-4BBD-9130-D11E1ED02F85}"/>
              </a:ext>
            </a:extLst>
          </p:cNvPr>
          <p:cNvSpPr>
            <a:spLocks/>
          </p:cNvSpPr>
          <p:nvPr/>
        </p:nvSpPr>
        <p:spPr bwMode="auto">
          <a:xfrm>
            <a:off x="3235921" y="3293674"/>
            <a:ext cx="12987" cy="22646"/>
          </a:xfrm>
          <a:custGeom>
            <a:avLst/>
            <a:gdLst>
              <a:gd name="T0" fmla="*/ 1 w 5"/>
              <a:gd name="T1" fmla="*/ 5 h 8"/>
              <a:gd name="T2" fmla="*/ 2 w 5"/>
              <a:gd name="T3" fmla="*/ 4 h 8"/>
              <a:gd name="T4" fmla="*/ 5 w 5"/>
              <a:gd name="T5" fmla="*/ 4 h 8"/>
              <a:gd name="T6" fmla="*/ 3 w 5"/>
              <a:gd name="T7" fmla="*/ 0 h 8"/>
              <a:gd name="T8" fmla="*/ 1 w 5"/>
              <a:gd name="T9" fmla="*/ 5 h 8"/>
            </a:gdLst>
            <a:ahLst/>
            <a:cxnLst>
              <a:cxn ang="0">
                <a:pos x="T0" y="T1"/>
              </a:cxn>
              <a:cxn ang="0">
                <a:pos x="T2" y="T3"/>
              </a:cxn>
              <a:cxn ang="0">
                <a:pos x="T4" y="T5"/>
              </a:cxn>
              <a:cxn ang="0">
                <a:pos x="T6" y="T7"/>
              </a:cxn>
              <a:cxn ang="0">
                <a:pos x="T8" y="T9"/>
              </a:cxn>
            </a:cxnLst>
            <a:rect l="0" t="0" r="r" b="b"/>
            <a:pathLst>
              <a:path w="5" h="8">
                <a:moveTo>
                  <a:pt x="1" y="5"/>
                </a:moveTo>
                <a:cubicBezTo>
                  <a:pt x="2" y="8"/>
                  <a:pt x="4" y="6"/>
                  <a:pt x="2" y="4"/>
                </a:cubicBezTo>
                <a:cubicBezTo>
                  <a:pt x="4" y="4"/>
                  <a:pt x="5" y="6"/>
                  <a:pt x="5" y="4"/>
                </a:cubicBezTo>
                <a:cubicBezTo>
                  <a:pt x="5" y="2"/>
                  <a:pt x="3" y="1"/>
                  <a:pt x="3" y="0"/>
                </a:cubicBezTo>
                <a:cubicBezTo>
                  <a:pt x="2" y="2"/>
                  <a:pt x="0" y="3"/>
                  <a:pt x="1" y="5"/>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2" name="Freeform 117">
            <a:extLst>
              <a:ext uri="{FF2B5EF4-FFF2-40B4-BE49-F238E27FC236}">
                <a16:creationId xmlns:a16="http://schemas.microsoft.com/office/drawing/2014/main" id="{DAD36AF6-D060-41A4-8CC2-93BC121EDD68}"/>
              </a:ext>
            </a:extLst>
          </p:cNvPr>
          <p:cNvSpPr>
            <a:spLocks/>
          </p:cNvSpPr>
          <p:nvPr/>
        </p:nvSpPr>
        <p:spPr bwMode="auto">
          <a:xfrm>
            <a:off x="3434263" y="3288907"/>
            <a:ext cx="22432" cy="10727"/>
          </a:xfrm>
          <a:custGeom>
            <a:avLst/>
            <a:gdLst>
              <a:gd name="T0" fmla="*/ 1 w 8"/>
              <a:gd name="T1" fmla="*/ 2 h 4"/>
              <a:gd name="T2" fmla="*/ 3 w 8"/>
              <a:gd name="T3" fmla="*/ 2 h 4"/>
              <a:gd name="T4" fmla="*/ 4 w 8"/>
              <a:gd name="T5" fmla="*/ 4 h 4"/>
              <a:gd name="T6" fmla="*/ 8 w 8"/>
              <a:gd name="T7" fmla="*/ 2 h 4"/>
              <a:gd name="T8" fmla="*/ 1 w 8"/>
              <a:gd name="T9" fmla="*/ 2 h 4"/>
            </a:gdLst>
            <a:ahLst/>
            <a:cxnLst>
              <a:cxn ang="0">
                <a:pos x="T0" y="T1"/>
              </a:cxn>
              <a:cxn ang="0">
                <a:pos x="T2" y="T3"/>
              </a:cxn>
              <a:cxn ang="0">
                <a:pos x="T4" y="T5"/>
              </a:cxn>
              <a:cxn ang="0">
                <a:pos x="T6" y="T7"/>
              </a:cxn>
              <a:cxn ang="0">
                <a:pos x="T8" y="T9"/>
              </a:cxn>
            </a:cxnLst>
            <a:rect l="0" t="0" r="r" b="b"/>
            <a:pathLst>
              <a:path w="8" h="4">
                <a:moveTo>
                  <a:pt x="1" y="2"/>
                </a:moveTo>
                <a:cubicBezTo>
                  <a:pt x="0" y="4"/>
                  <a:pt x="4" y="4"/>
                  <a:pt x="3" y="2"/>
                </a:cubicBezTo>
                <a:cubicBezTo>
                  <a:pt x="4" y="2"/>
                  <a:pt x="4" y="3"/>
                  <a:pt x="4" y="4"/>
                </a:cubicBezTo>
                <a:cubicBezTo>
                  <a:pt x="4" y="3"/>
                  <a:pt x="7" y="4"/>
                  <a:pt x="8" y="2"/>
                </a:cubicBezTo>
                <a:cubicBezTo>
                  <a:pt x="6" y="1"/>
                  <a:pt x="2" y="0"/>
                  <a:pt x="1" y="2"/>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167">
            <a:extLst>
              <a:ext uri="{FF2B5EF4-FFF2-40B4-BE49-F238E27FC236}">
                <a16:creationId xmlns:a16="http://schemas.microsoft.com/office/drawing/2014/main" id="{A13F74D9-B394-4B06-8CBE-042EC093DE52}"/>
              </a:ext>
            </a:extLst>
          </p:cNvPr>
          <p:cNvSpPr>
            <a:spLocks/>
          </p:cNvSpPr>
          <p:nvPr/>
        </p:nvSpPr>
        <p:spPr bwMode="auto">
          <a:xfrm>
            <a:off x="3442527" y="3437893"/>
            <a:ext cx="80281" cy="47676"/>
          </a:xfrm>
          <a:custGeom>
            <a:avLst/>
            <a:gdLst>
              <a:gd name="T0" fmla="*/ 10 w 29"/>
              <a:gd name="T1" fmla="*/ 8 h 17"/>
              <a:gd name="T2" fmla="*/ 12 w 29"/>
              <a:gd name="T3" fmla="*/ 13 h 17"/>
              <a:gd name="T4" fmla="*/ 16 w 29"/>
              <a:gd name="T5" fmla="*/ 16 h 17"/>
              <a:gd name="T6" fmla="*/ 20 w 29"/>
              <a:gd name="T7" fmla="*/ 11 h 17"/>
              <a:gd name="T8" fmla="*/ 21 w 29"/>
              <a:gd name="T9" fmla="*/ 12 h 17"/>
              <a:gd name="T10" fmla="*/ 23 w 29"/>
              <a:gd name="T11" fmla="*/ 11 h 17"/>
              <a:gd name="T12" fmla="*/ 27 w 29"/>
              <a:gd name="T13" fmla="*/ 10 h 17"/>
              <a:gd name="T14" fmla="*/ 24 w 29"/>
              <a:gd name="T15" fmla="*/ 4 h 17"/>
              <a:gd name="T16" fmla="*/ 18 w 29"/>
              <a:gd name="T17" fmla="*/ 3 h 17"/>
              <a:gd name="T18" fmla="*/ 16 w 29"/>
              <a:gd name="T19" fmla="*/ 0 h 17"/>
              <a:gd name="T20" fmla="*/ 11 w 29"/>
              <a:gd name="T21" fmla="*/ 4 h 17"/>
              <a:gd name="T22" fmla="*/ 11 w 29"/>
              <a:gd name="T23" fmla="*/ 5 h 17"/>
              <a:gd name="T24" fmla="*/ 0 w 29"/>
              <a:gd name="T25" fmla="*/ 6 h 17"/>
              <a:gd name="T26" fmla="*/ 10 w 29"/>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17">
                <a:moveTo>
                  <a:pt x="10" y="8"/>
                </a:moveTo>
                <a:cubicBezTo>
                  <a:pt x="11" y="9"/>
                  <a:pt x="11" y="11"/>
                  <a:pt x="12" y="13"/>
                </a:cubicBezTo>
                <a:cubicBezTo>
                  <a:pt x="13" y="15"/>
                  <a:pt x="13" y="17"/>
                  <a:pt x="16" y="16"/>
                </a:cubicBezTo>
                <a:cubicBezTo>
                  <a:pt x="19" y="15"/>
                  <a:pt x="18" y="12"/>
                  <a:pt x="20" y="11"/>
                </a:cubicBezTo>
                <a:cubicBezTo>
                  <a:pt x="22" y="10"/>
                  <a:pt x="21" y="12"/>
                  <a:pt x="21" y="12"/>
                </a:cubicBezTo>
                <a:cubicBezTo>
                  <a:pt x="23" y="14"/>
                  <a:pt x="23" y="12"/>
                  <a:pt x="23" y="11"/>
                </a:cubicBezTo>
                <a:cubicBezTo>
                  <a:pt x="24" y="10"/>
                  <a:pt x="26" y="10"/>
                  <a:pt x="27" y="10"/>
                </a:cubicBezTo>
                <a:cubicBezTo>
                  <a:pt x="29" y="10"/>
                  <a:pt x="25" y="4"/>
                  <a:pt x="24" y="4"/>
                </a:cubicBezTo>
                <a:cubicBezTo>
                  <a:pt x="22" y="3"/>
                  <a:pt x="20" y="4"/>
                  <a:pt x="18" y="3"/>
                </a:cubicBezTo>
                <a:cubicBezTo>
                  <a:pt x="17" y="2"/>
                  <a:pt x="19" y="0"/>
                  <a:pt x="16" y="0"/>
                </a:cubicBezTo>
                <a:cubicBezTo>
                  <a:pt x="14" y="0"/>
                  <a:pt x="12" y="5"/>
                  <a:pt x="11" y="4"/>
                </a:cubicBezTo>
                <a:cubicBezTo>
                  <a:pt x="11" y="4"/>
                  <a:pt x="11" y="4"/>
                  <a:pt x="11" y="5"/>
                </a:cubicBezTo>
                <a:cubicBezTo>
                  <a:pt x="10" y="5"/>
                  <a:pt x="0" y="6"/>
                  <a:pt x="0" y="6"/>
                </a:cubicBezTo>
                <a:cubicBezTo>
                  <a:pt x="2" y="9"/>
                  <a:pt x="7" y="7"/>
                  <a:pt x="10" y="8"/>
                </a:cubicBezTo>
                <a:close/>
              </a:path>
            </a:pathLst>
          </a:custGeom>
          <a:solidFill>
            <a:schemeClr val="bg1">
              <a:lumMod val="85000"/>
            </a:schemeClr>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4" name="Freeform 168">
            <a:extLst>
              <a:ext uri="{FF2B5EF4-FFF2-40B4-BE49-F238E27FC236}">
                <a16:creationId xmlns:a16="http://schemas.microsoft.com/office/drawing/2014/main" id="{FC6AB160-D60B-486E-ABC7-4A1224903EA1}"/>
              </a:ext>
            </a:extLst>
          </p:cNvPr>
          <p:cNvSpPr>
            <a:spLocks/>
          </p:cNvSpPr>
          <p:nvPr/>
        </p:nvSpPr>
        <p:spPr bwMode="auto">
          <a:xfrm>
            <a:off x="3593644" y="3545163"/>
            <a:ext cx="10626" cy="10727"/>
          </a:xfrm>
          <a:custGeom>
            <a:avLst/>
            <a:gdLst>
              <a:gd name="T0" fmla="*/ 2 w 4"/>
              <a:gd name="T1" fmla="*/ 3 h 4"/>
              <a:gd name="T2" fmla="*/ 4 w 4"/>
              <a:gd name="T3" fmla="*/ 1 h 4"/>
              <a:gd name="T4" fmla="*/ 2 w 4"/>
              <a:gd name="T5" fmla="*/ 3 h 4"/>
            </a:gdLst>
            <a:ahLst/>
            <a:cxnLst>
              <a:cxn ang="0">
                <a:pos x="T0" y="T1"/>
              </a:cxn>
              <a:cxn ang="0">
                <a:pos x="T2" y="T3"/>
              </a:cxn>
              <a:cxn ang="0">
                <a:pos x="T4" y="T5"/>
              </a:cxn>
            </a:cxnLst>
            <a:rect l="0" t="0" r="r" b="b"/>
            <a:pathLst>
              <a:path w="4" h="4">
                <a:moveTo>
                  <a:pt x="2" y="3"/>
                </a:moveTo>
                <a:cubicBezTo>
                  <a:pt x="3" y="4"/>
                  <a:pt x="4" y="2"/>
                  <a:pt x="4" y="1"/>
                </a:cubicBezTo>
                <a:cubicBezTo>
                  <a:pt x="3" y="0"/>
                  <a:pt x="0" y="1"/>
                  <a:pt x="2" y="3"/>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5" name="Freeform 169">
            <a:extLst>
              <a:ext uri="{FF2B5EF4-FFF2-40B4-BE49-F238E27FC236}">
                <a16:creationId xmlns:a16="http://schemas.microsoft.com/office/drawing/2014/main" id="{B7E5DFC8-BDEC-4DE6-A92F-91BBB0B98FC4}"/>
              </a:ext>
            </a:extLst>
          </p:cNvPr>
          <p:cNvSpPr>
            <a:spLocks/>
          </p:cNvSpPr>
          <p:nvPr/>
        </p:nvSpPr>
        <p:spPr bwMode="auto">
          <a:xfrm>
            <a:off x="3520447" y="3440276"/>
            <a:ext cx="33057" cy="11919"/>
          </a:xfrm>
          <a:custGeom>
            <a:avLst/>
            <a:gdLst>
              <a:gd name="T0" fmla="*/ 4 w 12"/>
              <a:gd name="T1" fmla="*/ 4 h 4"/>
              <a:gd name="T2" fmla="*/ 8 w 12"/>
              <a:gd name="T3" fmla="*/ 3 h 4"/>
              <a:gd name="T4" fmla="*/ 3 w 12"/>
              <a:gd name="T5" fmla="*/ 0 h 4"/>
              <a:gd name="T6" fmla="*/ 4 w 12"/>
              <a:gd name="T7" fmla="*/ 4 h 4"/>
            </a:gdLst>
            <a:ahLst/>
            <a:cxnLst>
              <a:cxn ang="0">
                <a:pos x="T0" y="T1"/>
              </a:cxn>
              <a:cxn ang="0">
                <a:pos x="T2" y="T3"/>
              </a:cxn>
              <a:cxn ang="0">
                <a:pos x="T4" y="T5"/>
              </a:cxn>
              <a:cxn ang="0">
                <a:pos x="T6" y="T7"/>
              </a:cxn>
            </a:cxnLst>
            <a:rect l="0" t="0" r="r" b="b"/>
            <a:pathLst>
              <a:path w="12" h="4">
                <a:moveTo>
                  <a:pt x="4" y="4"/>
                </a:moveTo>
                <a:cubicBezTo>
                  <a:pt x="5" y="4"/>
                  <a:pt x="7" y="4"/>
                  <a:pt x="8" y="3"/>
                </a:cubicBezTo>
                <a:cubicBezTo>
                  <a:pt x="12" y="2"/>
                  <a:pt x="4" y="1"/>
                  <a:pt x="3" y="0"/>
                </a:cubicBezTo>
                <a:cubicBezTo>
                  <a:pt x="0" y="0"/>
                  <a:pt x="1" y="4"/>
                  <a:pt x="4" y="4"/>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170">
            <a:extLst>
              <a:ext uri="{FF2B5EF4-FFF2-40B4-BE49-F238E27FC236}">
                <a16:creationId xmlns:a16="http://schemas.microsoft.com/office/drawing/2014/main" id="{0A9284AD-B525-41F8-B797-DCDB583A2361}"/>
              </a:ext>
            </a:extLst>
          </p:cNvPr>
          <p:cNvSpPr>
            <a:spLocks/>
          </p:cNvSpPr>
          <p:nvPr/>
        </p:nvSpPr>
        <p:spPr bwMode="auto">
          <a:xfrm>
            <a:off x="3425998" y="3489144"/>
            <a:ext cx="119242" cy="89392"/>
          </a:xfrm>
          <a:custGeom>
            <a:avLst/>
            <a:gdLst>
              <a:gd name="T0" fmla="*/ 36 w 43"/>
              <a:gd name="T1" fmla="*/ 4 h 32"/>
              <a:gd name="T2" fmla="*/ 32 w 43"/>
              <a:gd name="T3" fmla="*/ 2 h 32"/>
              <a:gd name="T4" fmla="*/ 28 w 43"/>
              <a:gd name="T5" fmla="*/ 1 h 32"/>
              <a:gd name="T6" fmla="*/ 23 w 43"/>
              <a:gd name="T7" fmla="*/ 2 h 32"/>
              <a:gd name="T8" fmla="*/ 18 w 43"/>
              <a:gd name="T9" fmla="*/ 3 h 32"/>
              <a:gd name="T10" fmla="*/ 13 w 43"/>
              <a:gd name="T11" fmla="*/ 5 h 32"/>
              <a:gd name="T12" fmla="*/ 12 w 43"/>
              <a:gd name="T13" fmla="*/ 5 h 32"/>
              <a:gd name="T14" fmla="*/ 8 w 43"/>
              <a:gd name="T15" fmla="*/ 9 h 32"/>
              <a:gd name="T16" fmla="*/ 5 w 43"/>
              <a:gd name="T17" fmla="*/ 6 h 32"/>
              <a:gd name="T18" fmla="*/ 1 w 43"/>
              <a:gd name="T19" fmla="*/ 6 h 32"/>
              <a:gd name="T20" fmla="*/ 6 w 43"/>
              <a:gd name="T21" fmla="*/ 12 h 32"/>
              <a:gd name="T22" fmla="*/ 4 w 43"/>
              <a:gd name="T23" fmla="*/ 14 h 32"/>
              <a:gd name="T24" fmla="*/ 3 w 43"/>
              <a:gd name="T25" fmla="*/ 13 h 32"/>
              <a:gd name="T26" fmla="*/ 4 w 43"/>
              <a:gd name="T27" fmla="*/ 15 h 32"/>
              <a:gd name="T28" fmla="*/ 6 w 43"/>
              <a:gd name="T29" fmla="*/ 18 h 32"/>
              <a:gd name="T30" fmla="*/ 12 w 43"/>
              <a:gd name="T31" fmla="*/ 22 h 32"/>
              <a:gd name="T32" fmla="*/ 10 w 43"/>
              <a:gd name="T33" fmla="*/ 24 h 32"/>
              <a:gd name="T34" fmla="*/ 8 w 43"/>
              <a:gd name="T35" fmla="*/ 26 h 32"/>
              <a:gd name="T36" fmla="*/ 9 w 43"/>
              <a:gd name="T37" fmla="*/ 31 h 32"/>
              <a:gd name="T38" fmla="*/ 14 w 43"/>
              <a:gd name="T39" fmla="*/ 23 h 32"/>
              <a:gd name="T40" fmla="*/ 18 w 43"/>
              <a:gd name="T41" fmla="*/ 18 h 32"/>
              <a:gd name="T42" fmla="*/ 24 w 43"/>
              <a:gd name="T43" fmla="*/ 17 h 32"/>
              <a:gd name="T44" fmla="*/ 27 w 43"/>
              <a:gd name="T45" fmla="*/ 16 h 32"/>
              <a:gd name="T46" fmla="*/ 33 w 43"/>
              <a:gd name="T47" fmla="*/ 11 h 32"/>
              <a:gd name="T48" fmla="*/ 38 w 43"/>
              <a:gd name="T49" fmla="*/ 8 h 32"/>
              <a:gd name="T50" fmla="*/ 41 w 43"/>
              <a:gd name="T51" fmla="*/ 8 h 32"/>
              <a:gd name="T52" fmla="*/ 43 w 43"/>
              <a:gd name="T53" fmla="*/ 8 h 32"/>
              <a:gd name="T54" fmla="*/ 36 w 43"/>
              <a:gd name="T55"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32">
                <a:moveTo>
                  <a:pt x="36" y="4"/>
                </a:moveTo>
                <a:cubicBezTo>
                  <a:pt x="35" y="3"/>
                  <a:pt x="34" y="2"/>
                  <a:pt x="32" y="2"/>
                </a:cubicBezTo>
                <a:cubicBezTo>
                  <a:pt x="31" y="1"/>
                  <a:pt x="29" y="1"/>
                  <a:pt x="28" y="1"/>
                </a:cubicBezTo>
                <a:cubicBezTo>
                  <a:pt x="26" y="2"/>
                  <a:pt x="24" y="4"/>
                  <a:pt x="23" y="2"/>
                </a:cubicBezTo>
                <a:cubicBezTo>
                  <a:pt x="20" y="0"/>
                  <a:pt x="20" y="2"/>
                  <a:pt x="18" y="3"/>
                </a:cubicBezTo>
                <a:cubicBezTo>
                  <a:pt x="16" y="3"/>
                  <a:pt x="14" y="3"/>
                  <a:pt x="13" y="5"/>
                </a:cubicBezTo>
                <a:cubicBezTo>
                  <a:pt x="13" y="7"/>
                  <a:pt x="12" y="6"/>
                  <a:pt x="12" y="5"/>
                </a:cubicBezTo>
                <a:cubicBezTo>
                  <a:pt x="11" y="2"/>
                  <a:pt x="8" y="9"/>
                  <a:pt x="8" y="9"/>
                </a:cubicBezTo>
                <a:cubicBezTo>
                  <a:pt x="7" y="8"/>
                  <a:pt x="7" y="7"/>
                  <a:pt x="5" y="6"/>
                </a:cubicBezTo>
                <a:cubicBezTo>
                  <a:pt x="4" y="5"/>
                  <a:pt x="3" y="6"/>
                  <a:pt x="1" y="6"/>
                </a:cubicBezTo>
                <a:cubicBezTo>
                  <a:pt x="3" y="8"/>
                  <a:pt x="6" y="9"/>
                  <a:pt x="6" y="12"/>
                </a:cubicBezTo>
                <a:cubicBezTo>
                  <a:pt x="5" y="12"/>
                  <a:pt x="5" y="13"/>
                  <a:pt x="4" y="14"/>
                </a:cubicBezTo>
                <a:cubicBezTo>
                  <a:pt x="4" y="14"/>
                  <a:pt x="3" y="13"/>
                  <a:pt x="3" y="13"/>
                </a:cubicBezTo>
                <a:cubicBezTo>
                  <a:pt x="3" y="14"/>
                  <a:pt x="3" y="14"/>
                  <a:pt x="4" y="15"/>
                </a:cubicBezTo>
                <a:cubicBezTo>
                  <a:pt x="0" y="14"/>
                  <a:pt x="5" y="17"/>
                  <a:pt x="6" y="18"/>
                </a:cubicBezTo>
                <a:cubicBezTo>
                  <a:pt x="7" y="18"/>
                  <a:pt x="12" y="21"/>
                  <a:pt x="12" y="22"/>
                </a:cubicBezTo>
                <a:cubicBezTo>
                  <a:pt x="12" y="23"/>
                  <a:pt x="11" y="24"/>
                  <a:pt x="10" y="24"/>
                </a:cubicBezTo>
                <a:cubicBezTo>
                  <a:pt x="9" y="23"/>
                  <a:pt x="8" y="25"/>
                  <a:pt x="8" y="26"/>
                </a:cubicBezTo>
                <a:cubicBezTo>
                  <a:pt x="7" y="28"/>
                  <a:pt x="7" y="32"/>
                  <a:pt x="9" y="31"/>
                </a:cubicBezTo>
                <a:cubicBezTo>
                  <a:pt x="12" y="29"/>
                  <a:pt x="14" y="26"/>
                  <a:pt x="14" y="23"/>
                </a:cubicBezTo>
                <a:cubicBezTo>
                  <a:pt x="15" y="19"/>
                  <a:pt x="15" y="18"/>
                  <a:pt x="18" y="18"/>
                </a:cubicBezTo>
                <a:cubicBezTo>
                  <a:pt x="20" y="18"/>
                  <a:pt x="23" y="16"/>
                  <a:pt x="24" y="17"/>
                </a:cubicBezTo>
                <a:cubicBezTo>
                  <a:pt x="25" y="17"/>
                  <a:pt x="29" y="18"/>
                  <a:pt x="27" y="16"/>
                </a:cubicBezTo>
                <a:cubicBezTo>
                  <a:pt x="28" y="15"/>
                  <a:pt x="35" y="14"/>
                  <a:pt x="33" y="11"/>
                </a:cubicBezTo>
                <a:cubicBezTo>
                  <a:pt x="35" y="12"/>
                  <a:pt x="36" y="11"/>
                  <a:pt x="38" y="8"/>
                </a:cubicBezTo>
                <a:cubicBezTo>
                  <a:pt x="39" y="6"/>
                  <a:pt x="42" y="10"/>
                  <a:pt x="41" y="8"/>
                </a:cubicBezTo>
                <a:cubicBezTo>
                  <a:pt x="41" y="8"/>
                  <a:pt x="43" y="9"/>
                  <a:pt x="43" y="8"/>
                </a:cubicBezTo>
                <a:cubicBezTo>
                  <a:pt x="43" y="7"/>
                  <a:pt x="37" y="4"/>
                  <a:pt x="36" y="4"/>
                </a:cubicBezTo>
                <a:close/>
              </a:path>
            </a:pathLst>
          </a:custGeom>
          <a:solidFill>
            <a:schemeClr val="bg1">
              <a:lumMod val="85000"/>
            </a:schemeClr>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7" name="Freeform 172">
            <a:extLst>
              <a:ext uri="{FF2B5EF4-FFF2-40B4-BE49-F238E27FC236}">
                <a16:creationId xmlns:a16="http://schemas.microsoft.com/office/drawing/2014/main" id="{5292C5CF-497E-44DF-9B49-590EC6B3625A}"/>
              </a:ext>
            </a:extLst>
          </p:cNvPr>
          <p:cNvSpPr>
            <a:spLocks/>
          </p:cNvSpPr>
          <p:nvPr/>
        </p:nvSpPr>
        <p:spPr bwMode="auto">
          <a:xfrm>
            <a:off x="3522808" y="3483185"/>
            <a:ext cx="25973" cy="22646"/>
          </a:xfrm>
          <a:custGeom>
            <a:avLst/>
            <a:gdLst>
              <a:gd name="T0" fmla="*/ 6 w 9"/>
              <a:gd name="T1" fmla="*/ 1 h 8"/>
              <a:gd name="T2" fmla="*/ 1 w 9"/>
              <a:gd name="T3" fmla="*/ 2 h 8"/>
              <a:gd name="T4" fmla="*/ 3 w 9"/>
              <a:gd name="T5" fmla="*/ 6 h 8"/>
              <a:gd name="T6" fmla="*/ 9 w 9"/>
              <a:gd name="T7" fmla="*/ 6 h 8"/>
              <a:gd name="T8" fmla="*/ 6 w 9"/>
              <a:gd name="T9" fmla="*/ 1 h 8"/>
            </a:gdLst>
            <a:ahLst/>
            <a:cxnLst>
              <a:cxn ang="0">
                <a:pos x="T0" y="T1"/>
              </a:cxn>
              <a:cxn ang="0">
                <a:pos x="T2" y="T3"/>
              </a:cxn>
              <a:cxn ang="0">
                <a:pos x="T4" y="T5"/>
              </a:cxn>
              <a:cxn ang="0">
                <a:pos x="T6" y="T7"/>
              </a:cxn>
              <a:cxn ang="0">
                <a:pos x="T8" y="T9"/>
              </a:cxn>
            </a:cxnLst>
            <a:rect l="0" t="0" r="r" b="b"/>
            <a:pathLst>
              <a:path w="9" h="8">
                <a:moveTo>
                  <a:pt x="6" y="1"/>
                </a:moveTo>
                <a:cubicBezTo>
                  <a:pt x="3" y="0"/>
                  <a:pt x="3" y="1"/>
                  <a:pt x="1" y="2"/>
                </a:cubicBezTo>
                <a:cubicBezTo>
                  <a:pt x="0" y="4"/>
                  <a:pt x="2" y="5"/>
                  <a:pt x="3" y="6"/>
                </a:cubicBezTo>
                <a:cubicBezTo>
                  <a:pt x="4" y="7"/>
                  <a:pt x="9" y="8"/>
                  <a:pt x="9" y="6"/>
                </a:cubicBezTo>
                <a:cubicBezTo>
                  <a:pt x="9" y="3"/>
                  <a:pt x="7" y="2"/>
                  <a:pt x="6" y="1"/>
                </a:cubicBezTo>
                <a:close/>
              </a:path>
            </a:pathLst>
          </a:custGeom>
          <a:solidFill>
            <a:schemeClr val="bg1">
              <a:lumMod val="85000"/>
            </a:schemeClr>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8" name="Freeform 175">
            <a:extLst>
              <a:ext uri="{FF2B5EF4-FFF2-40B4-BE49-F238E27FC236}">
                <a16:creationId xmlns:a16="http://schemas.microsoft.com/office/drawing/2014/main" id="{7262AB4F-080D-4F3D-88D6-710587127493}"/>
              </a:ext>
            </a:extLst>
          </p:cNvPr>
          <p:cNvSpPr>
            <a:spLocks/>
          </p:cNvSpPr>
          <p:nvPr/>
        </p:nvSpPr>
        <p:spPr bwMode="auto">
          <a:xfrm>
            <a:off x="3383496" y="3838369"/>
            <a:ext cx="20071" cy="56019"/>
          </a:xfrm>
          <a:custGeom>
            <a:avLst/>
            <a:gdLst>
              <a:gd name="T0" fmla="*/ 2 w 7"/>
              <a:gd name="T1" fmla="*/ 15 h 20"/>
              <a:gd name="T2" fmla="*/ 0 w 7"/>
              <a:gd name="T3" fmla="*/ 18 h 20"/>
              <a:gd name="T4" fmla="*/ 3 w 7"/>
              <a:gd name="T5" fmla="*/ 0 h 20"/>
              <a:gd name="T6" fmla="*/ 2 w 7"/>
              <a:gd name="T7" fmla="*/ 15 h 20"/>
            </a:gdLst>
            <a:ahLst/>
            <a:cxnLst>
              <a:cxn ang="0">
                <a:pos x="T0" y="T1"/>
              </a:cxn>
              <a:cxn ang="0">
                <a:pos x="T2" y="T3"/>
              </a:cxn>
              <a:cxn ang="0">
                <a:pos x="T4" y="T5"/>
              </a:cxn>
              <a:cxn ang="0">
                <a:pos x="T6" y="T7"/>
              </a:cxn>
            </a:cxnLst>
            <a:rect l="0" t="0" r="r" b="b"/>
            <a:pathLst>
              <a:path w="7" h="20">
                <a:moveTo>
                  <a:pt x="2" y="15"/>
                </a:moveTo>
                <a:cubicBezTo>
                  <a:pt x="1" y="16"/>
                  <a:pt x="1" y="17"/>
                  <a:pt x="0" y="18"/>
                </a:cubicBezTo>
                <a:cubicBezTo>
                  <a:pt x="3" y="20"/>
                  <a:pt x="7" y="3"/>
                  <a:pt x="3" y="0"/>
                </a:cubicBezTo>
                <a:cubicBezTo>
                  <a:pt x="4" y="5"/>
                  <a:pt x="4" y="10"/>
                  <a:pt x="2" y="15"/>
                </a:cubicBezTo>
                <a:close/>
              </a:path>
            </a:pathLst>
          </a:custGeom>
          <a:solidFill>
            <a:schemeClr val="tx1"/>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9" name="Freeform 182">
            <a:extLst>
              <a:ext uri="{FF2B5EF4-FFF2-40B4-BE49-F238E27FC236}">
                <a16:creationId xmlns:a16="http://schemas.microsoft.com/office/drawing/2014/main" id="{F954A14F-91E5-4D57-A66B-E57D092BDB13}"/>
              </a:ext>
            </a:extLst>
          </p:cNvPr>
          <p:cNvSpPr>
            <a:spLocks/>
          </p:cNvSpPr>
          <p:nvPr/>
        </p:nvSpPr>
        <p:spPr bwMode="auto">
          <a:xfrm>
            <a:off x="3283145" y="3889620"/>
            <a:ext cx="259734" cy="117998"/>
          </a:xfrm>
          <a:custGeom>
            <a:avLst/>
            <a:gdLst>
              <a:gd name="T0" fmla="*/ 93 w 93"/>
              <a:gd name="T1" fmla="*/ 19 h 42"/>
              <a:gd name="T2" fmla="*/ 87 w 93"/>
              <a:gd name="T3" fmla="*/ 14 h 42"/>
              <a:gd name="T4" fmla="*/ 82 w 93"/>
              <a:gd name="T5" fmla="*/ 10 h 42"/>
              <a:gd name="T6" fmla="*/ 72 w 93"/>
              <a:gd name="T7" fmla="*/ 10 h 42"/>
              <a:gd name="T8" fmla="*/ 68 w 93"/>
              <a:gd name="T9" fmla="*/ 9 h 42"/>
              <a:gd name="T10" fmla="*/ 64 w 93"/>
              <a:gd name="T11" fmla="*/ 9 h 42"/>
              <a:gd name="T12" fmla="*/ 58 w 93"/>
              <a:gd name="T13" fmla="*/ 5 h 42"/>
              <a:gd name="T14" fmla="*/ 52 w 93"/>
              <a:gd name="T15" fmla="*/ 4 h 42"/>
              <a:gd name="T16" fmla="*/ 45 w 93"/>
              <a:gd name="T17" fmla="*/ 2 h 42"/>
              <a:gd name="T18" fmla="*/ 43 w 93"/>
              <a:gd name="T19" fmla="*/ 4 h 42"/>
              <a:gd name="T20" fmla="*/ 45 w 93"/>
              <a:gd name="T21" fmla="*/ 12 h 42"/>
              <a:gd name="T22" fmla="*/ 42 w 93"/>
              <a:gd name="T23" fmla="*/ 17 h 42"/>
              <a:gd name="T24" fmla="*/ 35 w 93"/>
              <a:gd name="T25" fmla="*/ 16 h 42"/>
              <a:gd name="T26" fmla="*/ 26 w 93"/>
              <a:gd name="T27" fmla="*/ 15 h 42"/>
              <a:gd name="T28" fmla="*/ 28 w 93"/>
              <a:gd name="T29" fmla="*/ 11 h 42"/>
              <a:gd name="T30" fmla="*/ 34 w 93"/>
              <a:gd name="T31" fmla="*/ 4 h 42"/>
              <a:gd name="T32" fmla="*/ 36 w 93"/>
              <a:gd name="T33" fmla="*/ 0 h 42"/>
              <a:gd name="T34" fmla="*/ 24 w 93"/>
              <a:gd name="T35" fmla="*/ 13 h 42"/>
              <a:gd name="T36" fmla="*/ 12 w 93"/>
              <a:gd name="T37" fmla="*/ 14 h 42"/>
              <a:gd name="T38" fmla="*/ 8 w 93"/>
              <a:gd name="T39" fmla="*/ 17 h 42"/>
              <a:gd name="T40" fmla="*/ 8 w 93"/>
              <a:gd name="T41" fmla="*/ 23 h 42"/>
              <a:gd name="T42" fmla="*/ 0 w 93"/>
              <a:gd name="T43" fmla="*/ 35 h 42"/>
              <a:gd name="T44" fmla="*/ 9 w 93"/>
              <a:gd name="T45" fmla="*/ 28 h 42"/>
              <a:gd name="T46" fmla="*/ 10 w 93"/>
              <a:gd name="T47" fmla="*/ 24 h 42"/>
              <a:gd name="T48" fmla="*/ 12 w 93"/>
              <a:gd name="T49" fmla="*/ 26 h 42"/>
              <a:gd name="T50" fmla="*/ 16 w 93"/>
              <a:gd name="T51" fmla="*/ 26 h 42"/>
              <a:gd name="T52" fmla="*/ 22 w 93"/>
              <a:gd name="T53" fmla="*/ 26 h 42"/>
              <a:gd name="T54" fmla="*/ 20 w 93"/>
              <a:gd name="T55" fmla="*/ 27 h 42"/>
              <a:gd name="T56" fmla="*/ 14 w 93"/>
              <a:gd name="T57" fmla="*/ 30 h 42"/>
              <a:gd name="T58" fmla="*/ 12 w 93"/>
              <a:gd name="T59" fmla="*/ 31 h 42"/>
              <a:gd name="T60" fmla="*/ 10 w 93"/>
              <a:gd name="T61" fmla="*/ 31 h 42"/>
              <a:gd name="T62" fmla="*/ 8 w 93"/>
              <a:gd name="T63" fmla="*/ 34 h 42"/>
              <a:gd name="T64" fmla="*/ 5 w 93"/>
              <a:gd name="T65" fmla="*/ 36 h 42"/>
              <a:gd name="T66" fmla="*/ 33 w 93"/>
              <a:gd name="T67" fmla="*/ 40 h 42"/>
              <a:gd name="T68" fmla="*/ 63 w 93"/>
              <a:gd name="T69" fmla="*/ 41 h 42"/>
              <a:gd name="T70" fmla="*/ 92 w 93"/>
              <a:gd name="T71" fmla="*/ 40 h 42"/>
              <a:gd name="T72" fmla="*/ 89 w 93"/>
              <a:gd name="T73" fmla="*/ 26 h 42"/>
              <a:gd name="T74" fmla="*/ 93 w 93"/>
              <a:gd name="T75"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 h="42">
                <a:moveTo>
                  <a:pt x="93" y="19"/>
                </a:moveTo>
                <a:cubicBezTo>
                  <a:pt x="92" y="16"/>
                  <a:pt x="89" y="15"/>
                  <a:pt x="87" y="14"/>
                </a:cubicBezTo>
                <a:cubicBezTo>
                  <a:pt x="85" y="13"/>
                  <a:pt x="85" y="9"/>
                  <a:pt x="82" y="10"/>
                </a:cubicBezTo>
                <a:cubicBezTo>
                  <a:pt x="79" y="11"/>
                  <a:pt x="75" y="8"/>
                  <a:pt x="72" y="10"/>
                </a:cubicBezTo>
                <a:cubicBezTo>
                  <a:pt x="70" y="11"/>
                  <a:pt x="68" y="12"/>
                  <a:pt x="68" y="9"/>
                </a:cubicBezTo>
                <a:cubicBezTo>
                  <a:pt x="67" y="8"/>
                  <a:pt x="65" y="9"/>
                  <a:pt x="64" y="9"/>
                </a:cubicBezTo>
                <a:cubicBezTo>
                  <a:pt x="62" y="8"/>
                  <a:pt x="60" y="7"/>
                  <a:pt x="58" y="5"/>
                </a:cubicBezTo>
                <a:cubicBezTo>
                  <a:pt x="56" y="4"/>
                  <a:pt x="54" y="4"/>
                  <a:pt x="52" y="4"/>
                </a:cubicBezTo>
                <a:cubicBezTo>
                  <a:pt x="49" y="2"/>
                  <a:pt x="49" y="0"/>
                  <a:pt x="45" y="2"/>
                </a:cubicBezTo>
                <a:cubicBezTo>
                  <a:pt x="47" y="4"/>
                  <a:pt x="43" y="2"/>
                  <a:pt x="43" y="4"/>
                </a:cubicBezTo>
                <a:cubicBezTo>
                  <a:pt x="43" y="6"/>
                  <a:pt x="44" y="9"/>
                  <a:pt x="45" y="12"/>
                </a:cubicBezTo>
                <a:cubicBezTo>
                  <a:pt x="46" y="15"/>
                  <a:pt x="45" y="16"/>
                  <a:pt x="42" y="17"/>
                </a:cubicBezTo>
                <a:cubicBezTo>
                  <a:pt x="40" y="17"/>
                  <a:pt x="37" y="17"/>
                  <a:pt x="35" y="16"/>
                </a:cubicBezTo>
                <a:cubicBezTo>
                  <a:pt x="32" y="15"/>
                  <a:pt x="29" y="15"/>
                  <a:pt x="26" y="15"/>
                </a:cubicBezTo>
                <a:cubicBezTo>
                  <a:pt x="23" y="14"/>
                  <a:pt x="27" y="12"/>
                  <a:pt x="28" y="11"/>
                </a:cubicBezTo>
                <a:cubicBezTo>
                  <a:pt x="30" y="9"/>
                  <a:pt x="32" y="7"/>
                  <a:pt x="34" y="4"/>
                </a:cubicBezTo>
                <a:cubicBezTo>
                  <a:pt x="35" y="3"/>
                  <a:pt x="39" y="1"/>
                  <a:pt x="36" y="0"/>
                </a:cubicBezTo>
                <a:cubicBezTo>
                  <a:pt x="32" y="5"/>
                  <a:pt x="29" y="10"/>
                  <a:pt x="24" y="13"/>
                </a:cubicBezTo>
                <a:cubicBezTo>
                  <a:pt x="21" y="15"/>
                  <a:pt x="16" y="15"/>
                  <a:pt x="12" y="14"/>
                </a:cubicBezTo>
                <a:cubicBezTo>
                  <a:pt x="10" y="14"/>
                  <a:pt x="8" y="14"/>
                  <a:pt x="8" y="17"/>
                </a:cubicBezTo>
                <a:cubicBezTo>
                  <a:pt x="7" y="19"/>
                  <a:pt x="9" y="21"/>
                  <a:pt x="8" y="23"/>
                </a:cubicBezTo>
                <a:cubicBezTo>
                  <a:pt x="7" y="29"/>
                  <a:pt x="4" y="32"/>
                  <a:pt x="0" y="35"/>
                </a:cubicBezTo>
                <a:cubicBezTo>
                  <a:pt x="4" y="37"/>
                  <a:pt x="6" y="28"/>
                  <a:pt x="9" y="28"/>
                </a:cubicBezTo>
                <a:cubicBezTo>
                  <a:pt x="8" y="27"/>
                  <a:pt x="9" y="25"/>
                  <a:pt x="10" y="24"/>
                </a:cubicBezTo>
                <a:cubicBezTo>
                  <a:pt x="12" y="24"/>
                  <a:pt x="11" y="26"/>
                  <a:pt x="12" y="26"/>
                </a:cubicBezTo>
                <a:cubicBezTo>
                  <a:pt x="13" y="27"/>
                  <a:pt x="15" y="26"/>
                  <a:pt x="16" y="26"/>
                </a:cubicBezTo>
                <a:cubicBezTo>
                  <a:pt x="18" y="25"/>
                  <a:pt x="20" y="26"/>
                  <a:pt x="22" y="26"/>
                </a:cubicBezTo>
                <a:cubicBezTo>
                  <a:pt x="21" y="27"/>
                  <a:pt x="20" y="28"/>
                  <a:pt x="20" y="27"/>
                </a:cubicBezTo>
                <a:cubicBezTo>
                  <a:pt x="18" y="28"/>
                  <a:pt x="16" y="29"/>
                  <a:pt x="14" y="30"/>
                </a:cubicBezTo>
                <a:cubicBezTo>
                  <a:pt x="13" y="30"/>
                  <a:pt x="13" y="32"/>
                  <a:pt x="12" y="31"/>
                </a:cubicBezTo>
                <a:cubicBezTo>
                  <a:pt x="11" y="31"/>
                  <a:pt x="11" y="30"/>
                  <a:pt x="10" y="31"/>
                </a:cubicBezTo>
                <a:cubicBezTo>
                  <a:pt x="9" y="31"/>
                  <a:pt x="9" y="33"/>
                  <a:pt x="8" y="34"/>
                </a:cubicBezTo>
                <a:cubicBezTo>
                  <a:pt x="7" y="35"/>
                  <a:pt x="5" y="35"/>
                  <a:pt x="5" y="36"/>
                </a:cubicBezTo>
                <a:cubicBezTo>
                  <a:pt x="14" y="38"/>
                  <a:pt x="24" y="39"/>
                  <a:pt x="33" y="40"/>
                </a:cubicBezTo>
                <a:cubicBezTo>
                  <a:pt x="43" y="41"/>
                  <a:pt x="53" y="42"/>
                  <a:pt x="63" y="41"/>
                </a:cubicBezTo>
                <a:cubicBezTo>
                  <a:pt x="73" y="41"/>
                  <a:pt x="82" y="41"/>
                  <a:pt x="92" y="40"/>
                </a:cubicBezTo>
                <a:cubicBezTo>
                  <a:pt x="88" y="35"/>
                  <a:pt x="88" y="32"/>
                  <a:pt x="89" y="26"/>
                </a:cubicBezTo>
                <a:cubicBezTo>
                  <a:pt x="90" y="23"/>
                  <a:pt x="93" y="21"/>
                  <a:pt x="93" y="19"/>
                </a:cubicBezTo>
                <a:close/>
              </a:path>
            </a:pathLst>
          </a:custGeom>
          <a:no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0" name="Freeform 208">
            <a:extLst>
              <a:ext uri="{FF2B5EF4-FFF2-40B4-BE49-F238E27FC236}">
                <a16:creationId xmlns:a16="http://schemas.microsoft.com/office/drawing/2014/main" id="{5E3E5CF0-BA68-4E9C-A063-3F0156B7B9F5}"/>
              </a:ext>
            </a:extLst>
          </p:cNvPr>
          <p:cNvSpPr>
            <a:spLocks/>
          </p:cNvSpPr>
          <p:nvPr/>
        </p:nvSpPr>
        <p:spPr bwMode="auto">
          <a:xfrm>
            <a:off x="2389424" y="3928952"/>
            <a:ext cx="75559" cy="22646"/>
          </a:xfrm>
          <a:custGeom>
            <a:avLst/>
            <a:gdLst>
              <a:gd name="T0" fmla="*/ 4 w 27"/>
              <a:gd name="T1" fmla="*/ 5 h 8"/>
              <a:gd name="T2" fmla="*/ 4 w 27"/>
              <a:gd name="T3" fmla="*/ 5 h 8"/>
              <a:gd name="T4" fmla="*/ 6 w 27"/>
              <a:gd name="T5" fmla="*/ 4 h 8"/>
              <a:gd name="T6" fmla="*/ 6 w 27"/>
              <a:gd name="T7" fmla="*/ 4 h 8"/>
              <a:gd name="T8" fmla="*/ 6 w 27"/>
              <a:gd name="T9" fmla="*/ 4 h 8"/>
              <a:gd name="T10" fmla="*/ 8 w 27"/>
              <a:gd name="T11" fmla="*/ 4 h 8"/>
              <a:gd name="T12" fmla="*/ 12 w 27"/>
              <a:gd name="T13" fmla="*/ 5 h 8"/>
              <a:gd name="T14" fmla="*/ 12 w 27"/>
              <a:gd name="T15" fmla="*/ 5 h 8"/>
              <a:gd name="T16" fmla="*/ 12 w 27"/>
              <a:gd name="T17" fmla="*/ 5 h 8"/>
              <a:gd name="T18" fmla="*/ 14 w 27"/>
              <a:gd name="T19" fmla="*/ 6 h 8"/>
              <a:gd name="T20" fmla="*/ 14 w 27"/>
              <a:gd name="T21" fmla="*/ 6 h 8"/>
              <a:gd name="T22" fmla="*/ 17 w 27"/>
              <a:gd name="T23" fmla="*/ 6 h 8"/>
              <a:gd name="T24" fmla="*/ 21 w 27"/>
              <a:gd name="T25" fmla="*/ 8 h 8"/>
              <a:gd name="T26" fmla="*/ 21 w 27"/>
              <a:gd name="T27" fmla="*/ 8 h 8"/>
              <a:gd name="T28" fmla="*/ 23 w 27"/>
              <a:gd name="T29" fmla="*/ 8 h 8"/>
              <a:gd name="T30" fmla="*/ 24 w 27"/>
              <a:gd name="T31" fmla="*/ 8 h 8"/>
              <a:gd name="T32" fmla="*/ 24 w 27"/>
              <a:gd name="T33" fmla="*/ 7 h 8"/>
              <a:gd name="T34" fmla="*/ 24 w 27"/>
              <a:gd name="T35" fmla="*/ 8 h 8"/>
              <a:gd name="T36" fmla="*/ 26 w 27"/>
              <a:gd name="T37" fmla="*/ 7 h 8"/>
              <a:gd name="T38" fmla="*/ 26 w 27"/>
              <a:gd name="T39" fmla="*/ 4 h 8"/>
              <a:gd name="T40" fmla="*/ 24 w 27"/>
              <a:gd name="T41" fmla="*/ 4 h 8"/>
              <a:gd name="T42" fmla="*/ 22 w 27"/>
              <a:gd name="T43" fmla="*/ 4 h 8"/>
              <a:gd name="T44" fmla="*/ 22 w 27"/>
              <a:gd name="T45" fmla="*/ 4 h 8"/>
              <a:gd name="T46" fmla="*/ 22 w 27"/>
              <a:gd name="T47" fmla="*/ 4 h 8"/>
              <a:gd name="T48" fmla="*/ 21 w 27"/>
              <a:gd name="T49" fmla="*/ 5 h 8"/>
              <a:gd name="T50" fmla="*/ 20 w 27"/>
              <a:gd name="T51" fmla="*/ 4 h 8"/>
              <a:gd name="T52" fmla="*/ 20 w 27"/>
              <a:gd name="T53" fmla="*/ 4 h 8"/>
              <a:gd name="T54" fmla="*/ 20 w 27"/>
              <a:gd name="T55" fmla="*/ 3 h 8"/>
              <a:gd name="T56" fmla="*/ 20 w 27"/>
              <a:gd name="T57" fmla="*/ 3 h 8"/>
              <a:gd name="T58" fmla="*/ 19 w 27"/>
              <a:gd name="T59" fmla="*/ 3 h 8"/>
              <a:gd name="T60" fmla="*/ 19 w 27"/>
              <a:gd name="T61" fmla="*/ 3 h 8"/>
              <a:gd name="T62" fmla="*/ 19 w 27"/>
              <a:gd name="T63" fmla="*/ 3 h 8"/>
              <a:gd name="T64" fmla="*/ 15 w 27"/>
              <a:gd name="T65" fmla="*/ 2 h 8"/>
              <a:gd name="T66" fmla="*/ 15 w 27"/>
              <a:gd name="T67" fmla="*/ 2 h 8"/>
              <a:gd name="T68" fmla="*/ 15 w 27"/>
              <a:gd name="T69" fmla="*/ 2 h 8"/>
              <a:gd name="T70" fmla="*/ 13 w 27"/>
              <a:gd name="T71" fmla="*/ 1 h 8"/>
              <a:gd name="T72" fmla="*/ 8 w 27"/>
              <a:gd name="T73" fmla="*/ 0 h 8"/>
              <a:gd name="T74" fmla="*/ 5 w 27"/>
              <a:gd name="T75" fmla="*/ 1 h 8"/>
              <a:gd name="T76" fmla="*/ 5 w 27"/>
              <a:gd name="T77" fmla="*/ 1 h 8"/>
              <a:gd name="T78" fmla="*/ 5 w 27"/>
              <a:gd name="T79" fmla="*/ 1 h 8"/>
              <a:gd name="T80" fmla="*/ 4 w 27"/>
              <a:gd name="T81" fmla="*/ 1 h 8"/>
              <a:gd name="T82" fmla="*/ 3 w 27"/>
              <a:gd name="T83" fmla="*/ 0 h 8"/>
              <a:gd name="T84" fmla="*/ 1 w 27"/>
              <a:gd name="T85" fmla="*/ 1 h 8"/>
              <a:gd name="T86" fmla="*/ 1 w 27"/>
              <a:gd name="T87" fmla="*/ 4 h 8"/>
              <a:gd name="T88" fmla="*/ 4 w 27"/>
              <a:gd name="T8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8">
                <a:moveTo>
                  <a:pt x="4" y="5"/>
                </a:moveTo>
                <a:cubicBezTo>
                  <a:pt x="4" y="5"/>
                  <a:pt x="4" y="5"/>
                  <a:pt x="4" y="5"/>
                </a:cubicBezTo>
                <a:cubicBezTo>
                  <a:pt x="5" y="5"/>
                  <a:pt x="5" y="5"/>
                  <a:pt x="6" y="4"/>
                </a:cubicBezTo>
                <a:cubicBezTo>
                  <a:pt x="6" y="4"/>
                  <a:pt x="6" y="4"/>
                  <a:pt x="6" y="4"/>
                </a:cubicBezTo>
                <a:cubicBezTo>
                  <a:pt x="6" y="4"/>
                  <a:pt x="6" y="4"/>
                  <a:pt x="6" y="4"/>
                </a:cubicBezTo>
                <a:cubicBezTo>
                  <a:pt x="6" y="4"/>
                  <a:pt x="7" y="4"/>
                  <a:pt x="8" y="4"/>
                </a:cubicBezTo>
                <a:cubicBezTo>
                  <a:pt x="9" y="4"/>
                  <a:pt x="10" y="4"/>
                  <a:pt x="12" y="5"/>
                </a:cubicBezTo>
                <a:cubicBezTo>
                  <a:pt x="12" y="5"/>
                  <a:pt x="12" y="5"/>
                  <a:pt x="12" y="5"/>
                </a:cubicBezTo>
                <a:cubicBezTo>
                  <a:pt x="12" y="5"/>
                  <a:pt x="12" y="5"/>
                  <a:pt x="12" y="5"/>
                </a:cubicBezTo>
                <a:cubicBezTo>
                  <a:pt x="14" y="6"/>
                  <a:pt x="14" y="6"/>
                  <a:pt x="14" y="6"/>
                </a:cubicBezTo>
                <a:cubicBezTo>
                  <a:pt x="14" y="6"/>
                  <a:pt x="14" y="6"/>
                  <a:pt x="14" y="6"/>
                </a:cubicBezTo>
                <a:cubicBezTo>
                  <a:pt x="17" y="6"/>
                  <a:pt x="17" y="6"/>
                  <a:pt x="17" y="6"/>
                </a:cubicBezTo>
                <a:cubicBezTo>
                  <a:pt x="18" y="8"/>
                  <a:pt x="20" y="8"/>
                  <a:pt x="21" y="8"/>
                </a:cubicBezTo>
                <a:cubicBezTo>
                  <a:pt x="21" y="8"/>
                  <a:pt x="21" y="8"/>
                  <a:pt x="21" y="8"/>
                </a:cubicBezTo>
                <a:cubicBezTo>
                  <a:pt x="22" y="8"/>
                  <a:pt x="23" y="8"/>
                  <a:pt x="23" y="8"/>
                </a:cubicBezTo>
                <a:cubicBezTo>
                  <a:pt x="23" y="8"/>
                  <a:pt x="24" y="8"/>
                  <a:pt x="24" y="8"/>
                </a:cubicBezTo>
                <a:cubicBezTo>
                  <a:pt x="24" y="7"/>
                  <a:pt x="24" y="7"/>
                  <a:pt x="24" y="7"/>
                </a:cubicBezTo>
                <a:cubicBezTo>
                  <a:pt x="24" y="7"/>
                  <a:pt x="24" y="7"/>
                  <a:pt x="24" y="8"/>
                </a:cubicBezTo>
                <a:cubicBezTo>
                  <a:pt x="25" y="8"/>
                  <a:pt x="26" y="8"/>
                  <a:pt x="26" y="7"/>
                </a:cubicBezTo>
                <a:cubicBezTo>
                  <a:pt x="27" y="6"/>
                  <a:pt x="26" y="5"/>
                  <a:pt x="26" y="4"/>
                </a:cubicBezTo>
                <a:cubicBezTo>
                  <a:pt x="25" y="4"/>
                  <a:pt x="24" y="4"/>
                  <a:pt x="24" y="4"/>
                </a:cubicBezTo>
                <a:cubicBezTo>
                  <a:pt x="23" y="4"/>
                  <a:pt x="22" y="4"/>
                  <a:pt x="22" y="4"/>
                </a:cubicBezTo>
                <a:cubicBezTo>
                  <a:pt x="22" y="4"/>
                  <a:pt x="22" y="4"/>
                  <a:pt x="22" y="4"/>
                </a:cubicBezTo>
                <a:cubicBezTo>
                  <a:pt x="22" y="4"/>
                  <a:pt x="22" y="4"/>
                  <a:pt x="22" y="4"/>
                </a:cubicBezTo>
                <a:cubicBezTo>
                  <a:pt x="21" y="4"/>
                  <a:pt x="21" y="5"/>
                  <a:pt x="21" y="5"/>
                </a:cubicBezTo>
                <a:cubicBezTo>
                  <a:pt x="20" y="4"/>
                  <a:pt x="20" y="4"/>
                  <a:pt x="20" y="4"/>
                </a:cubicBezTo>
                <a:cubicBezTo>
                  <a:pt x="20" y="4"/>
                  <a:pt x="20" y="4"/>
                  <a:pt x="20" y="4"/>
                </a:cubicBezTo>
                <a:cubicBezTo>
                  <a:pt x="20" y="4"/>
                  <a:pt x="20" y="4"/>
                  <a:pt x="20" y="3"/>
                </a:cubicBezTo>
                <a:cubicBezTo>
                  <a:pt x="20" y="3"/>
                  <a:pt x="20" y="3"/>
                  <a:pt x="20" y="3"/>
                </a:cubicBezTo>
                <a:cubicBezTo>
                  <a:pt x="20" y="3"/>
                  <a:pt x="19" y="3"/>
                  <a:pt x="19" y="3"/>
                </a:cubicBezTo>
                <a:cubicBezTo>
                  <a:pt x="19" y="3"/>
                  <a:pt x="19" y="3"/>
                  <a:pt x="19" y="3"/>
                </a:cubicBezTo>
                <a:cubicBezTo>
                  <a:pt x="19" y="3"/>
                  <a:pt x="19" y="3"/>
                  <a:pt x="19" y="3"/>
                </a:cubicBezTo>
                <a:cubicBezTo>
                  <a:pt x="15" y="2"/>
                  <a:pt x="15" y="2"/>
                  <a:pt x="15" y="2"/>
                </a:cubicBezTo>
                <a:cubicBezTo>
                  <a:pt x="15" y="2"/>
                  <a:pt x="15" y="2"/>
                  <a:pt x="15" y="2"/>
                </a:cubicBezTo>
                <a:cubicBezTo>
                  <a:pt x="15" y="2"/>
                  <a:pt x="15" y="2"/>
                  <a:pt x="15" y="2"/>
                </a:cubicBezTo>
                <a:cubicBezTo>
                  <a:pt x="13" y="1"/>
                  <a:pt x="13" y="1"/>
                  <a:pt x="13" y="1"/>
                </a:cubicBezTo>
                <a:cubicBezTo>
                  <a:pt x="11" y="1"/>
                  <a:pt x="10" y="0"/>
                  <a:pt x="8" y="0"/>
                </a:cubicBezTo>
                <a:cubicBezTo>
                  <a:pt x="7" y="0"/>
                  <a:pt x="6" y="0"/>
                  <a:pt x="5" y="1"/>
                </a:cubicBezTo>
                <a:cubicBezTo>
                  <a:pt x="5" y="1"/>
                  <a:pt x="5" y="1"/>
                  <a:pt x="5" y="1"/>
                </a:cubicBezTo>
                <a:cubicBezTo>
                  <a:pt x="5" y="1"/>
                  <a:pt x="5" y="1"/>
                  <a:pt x="5" y="1"/>
                </a:cubicBezTo>
                <a:cubicBezTo>
                  <a:pt x="4" y="1"/>
                  <a:pt x="4" y="1"/>
                  <a:pt x="4" y="1"/>
                </a:cubicBezTo>
                <a:cubicBezTo>
                  <a:pt x="4" y="1"/>
                  <a:pt x="4" y="1"/>
                  <a:pt x="3" y="0"/>
                </a:cubicBezTo>
                <a:cubicBezTo>
                  <a:pt x="3" y="0"/>
                  <a:pt x="2" y="0"/>
                  <a:pt x="1" y="1"/>
                </a:cubicBezTo>
                <a:cubicBezTo>
                  <a:pt x="0" y="2"/>
                  <a:pt x="0" y="3"/>
                  <a:pt x="1" y="4"/>
                </a:cubicBezTo>
                <a:cubicBezTo>
                  <a:pt x="2" y="4"/>
                  <a:pt x="3" y="5"/>
                  <a:pt x="4" y="5"/>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1" name="Freeform 214">
            <a:extLst>
              <a:ext uri="{FF2B5EF4-FFF2-40B4-BE49-F238E27FC236}">
                <a16:creationId xmlns:a16="http://schemas.microsoft.com/office/drawing/2014/main" id="{648F170E-D5E7-477B-9FC2-95816598F899}"/>
              </a:ext>
            </a:extLst>
          </p:cNvPr>
          <p:cNvSpPr>
            <a:spLocks/>
          </p:cNvSpPr>
          <p:nvPr/>
        </p:nvSpPr>
        <p:spPr bwMode="auto">
          <a:xfrm>
            <a:off x="3763651" y="3984972"/>
            <a:ext cx="34001"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B0F2"/>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2" name="object 14">
            <a:extLst>
              <a:ext uri="{FF2B5EF4-FFF2-40B4-BE49-F238E27FC236}">
                <a16:creationId xmlns:a16="http://schemas.microsoft.com/office/drawing/2014/main" id="{694E1A61-99DA-430E-A123-0430ED35D6C8}"/>
              </a:ext>
            </a:extLst>
          </p:cNvPr>
          <p:cNvSpPr txBox="1"/>
          <p:nvPr/>
        </p:nvSpPr>
        <p:spPr>
          <a:xfrm>
            <a:off x="4666818" y="2185720"/>
            <a:ext cx="6867635" cy="2770271"/>
          </a:xfrm>
          <a:prstGeom prst="rect">
            <a:avLst/>
          </a:prstGeom>
          <a:ln w="28575">
            <a:solidFill>
              <a:srgbClr val="00B0F2"/>
            </a:solidFill>
          </a:ln>
        </p:spPr>
        <p:txBody>
          <a:bodyPr vert="horz" wrap="square" lIns="182880" tIns="182880" rIns="182880" bIns="182880" rtlCol="0" anchor="ctr">
            <a:noAutofit/>
          </a:bodyPr>
          <a:lstStyle/>
          <a:p>
            <a:pPr marL="0" marR="0" lvl="0" indent="0" algn="l" defTabSz="914400" eaLnBrk="1" fontAlgn="auto" latinLnBrk="0" hangingPunct="1">
              <a:lnSpc>
                <a:spcPct val="130000"/>
              </a:lnSpc>
              <a:spcBef>
                <a:spcPts val="1200"/>
              </a:spcBef>
              <a:spcAft>
                <a:spcPts val="0"/>
              </a:spcAft>
              <a:buClr>
                <a:srgbClr val="787878"/>
              </a:buClr>
              <a:buSzTx/>
              <a:buFontTx/>
              <a:buNone/>
              <a:tabLst/>
              <a:defRPr/>
            </a:pPr>
            <a:r>
              <a:rPr kumimoji="0" lang="en-US" sz="1200" b="0" i="0" u="none" strike="noStrike" kern="1200" cap="none" spc="0" normalizeH="0" baseline="0" dirty="0">
                <a:ln>
                  <a:noFill/>
                </a:ln>
                <a:solidFill>
                  <a:srgbClr val="000000"/>
                </a:solidFill>
                <a:effectLst/>
                <a:uLnTx/>
                <a:uFillTx/>
                <a:latin typeface="Open Sans" charset="0"/>
              </a:rPr>
              <a:t>We are a group skilled </a:t>
            </a:r>
            <a:r>
              <a:rPr kumimoji="0" lang="en-US" sz="1200" b="1" i="0" u="none" strike="noStrike" kern="1200" cap="none" spc="0" normalizeH="0" baseline="0" dirty="0">
                <a:ln>
                  <a:noFill/>
                </a:ln>
                <a:solidFill>
                  <a:srgbClr val="000000"/>
                </a:solidFill>
                <a:effectLst/>
                <a:uLnTx/>
                <a:uFillTx/>
                <a:latin typeface="Open Sans" charset="0"/>
              </a:rPr>
              <a:t>consulting experts</a:t>
            </a:r>
            <a:r>
              <a:rPr lang="en-US" sz="1200" dirty="0">
                <a:solidFill>
                  <a:srgbClr val="000000"/>
                </a:solidFill>
                <a:latin typeface="Open Sans" charset="0"/>
              </a:rPr>
              <a:t> from the fields of: Strategy, Analytics, Customer &amp; Marketing, Core Business Operations, Human Capital, Enterprise Technology &amp; Performance.</a:t>
            </a:r>
            <a:endParaRPr kumimoji="0" lang="en-US" sz="1200" b="0" i="0" u="none" strike="noStrike" kern="1200" cap="none" spc="0" normalizeH="0" baseline="0" dirty="0">
              <a:ln>
                <a:noFill/>
              </a:ln>
              <a:solidFill>
                <a:srgbClr val="000000"/>
              </a:solidFill>
              <a:effectLst/>
              <a:uLnTx/>
              <a:uFillTx/>
              <a:latin typeface="Open Sans" charset="0"/>
            </a:endParaRPr>
          </a:p>
          <a:p>
            <a:pPr marL="0" marR="0" lvl="0" indent="0" algn="l" defTabSz="914400" eaLnBrk="1" fontAlgn="auto" latinLnBrk="0" hangingPunct="1">
              <a:lnSpc>
                <a:spcPct val="130000"/>
              </a:lnSpc>
              <a:spcBef>
                <a:spcPts val="1200"/>
              </a:spcBef>
              <a:spcAft>
                <a:spcPts val="0"/>
              </a:spcAft>
              <a:buClr>
                <a:srgbClr val="787878"/>
              </a:buClr>
              <a:buSzTx/>
              <a:buFontTx/>
              <a:buNone/>
              <a:tabLst/>
              <a:defRPr/>
            </a:pPr>
            <a:r>
              <a:rPr kumimoji="0" lang="en-US" sz="1200" b="0" i="0" u="none" strike="noStrike" kern="1200" cap="none" spc="0" normalizeH="0" baseline="0" dirty="0">
                <a:ln>
                  <a:noFill/>
                </a:ln>
                <a:solidFill>
                  <a:srgbClr val="000000"/>
                </a:solidFill>
                <a:effectLst/>
                <a:uLnTx/>
                <a:uFillTx/>
                <a:latin typeface="Open Sans" charset="0"/>
              </a:rPr>
              <a:t>We believe that constant evolution is the difference between flourishing or failing in the age of technological disruption. It’s a fundamental philosophy that underpins our leading-edge strategy services and transformative digital solutions.</a:t>
            </a:r>
          </a:p>
          <a:p>
            <a:pPr marL="0" marR="0" lvl="0" indent="0" algn="l" defTabSz="914400" eaLnBrk="1" fontAlgn="auto" latinLnBrk="0" hangingPunct="1">
              <a:lnSpc>
                <a:spcPct val="130000"/>
              </a:lnSpc>
              <a:spcBef>
                <a:spcPts val="1200"/>
              </a:spcBef>
              <a:spcAft>
                <a:spcPts val="0"/>
              </a:spcAft>
              <a:buClr>
                <a:srgbClr val="787878"/>
              </a:buClr>
              <a:buSzTx/>
              <a:buFontTx/>
              <a:buNone/>
              <a:tabLst/>
              <a:defRPr/>
            </a:pPr>
            <a:r>
              <a:rPr kumimoji="0" lang="en-US" sz="1200" b="0" i="0" u="none" strike="noStrike" kern="1200" cap="none" spc="0" normalizeH="0" baseline="0" dirty="0">
                <a:ln>
                  <a:noFill/>
                </a:ln>
                <a:solidFill>
                  <a:srgbClr val="000000"/>
                </a:solidFill>
                <a:effectLst/>
                <a:uLnTx/>
                <a:uFillTx/>
                <a:latin typeface="Open Sans" charset="0"/>
              </a:rPr>
              <a:t>We serve </a:t>
            </a:r>
            <a:r>
              <a:rPr kumimoji="0" lang="en-US" sz="1200" b="1" i="0" u="none" strike="noStrike" kern="1200" cap="none" spc="0" normalizeH="0" baseline="0" dirty="0">
                <a:ln>
                  <a:noFill/>
                </a:ln>
                <a:solidFill>
                  <a:srgbClr val="000000"/>
                </a:solidFill>
                <a:effectLst/>
                <a:uLnTx/>
                <a:uFillTx/>
                <a:latin typeface="Open Sans" charset="0"/>
              </a:rPr>
              <a:t>a multitude of clients </a:t>
            </a:r>
            <a:r>
              <a:rPr kumimoji="0" lang="en-US" sz="1200" b="0" i="0" u="none" strike="noStrike" kern="1200" cap="none" spc="0" normalizeH="0" baseline="0" dirty="0">
                <a:ln>
                  <a:noFill/>
                </a:ln>
                <a:solidFill>
                  <a:srgbClr val="000000"/>
                </a:solidFill>
                <a:effectLst/>
                <a:uLnTx/>
                <a:uFillTx/>
                <a:latin typeface="Open Sans" charset="0"/>
              </a:rPr>
              <a:t>in</a:t>
            </a:r>
            <a:r>
              <a:rPr kumimoji="0" lang="en-US" sz="1200" b="1" i="0" u="none" strike="noStrike" kern="1200" cap="none" spc="0" normalizeH="0" baseline="0" dirty="0">
                <a:ln>
                  <a:noFill/>
                </a:ln>
                <a:solidFill>
                  <a:srgbClr val="000000"/>
                </a:solidFill>
                <a:effectLst/>
                <a:uLnTx/>
                <a:uFillTx/>
                <a:latin typeface="Open Sans" charset="0"/>
              </a:rPr>
              <a:t> </a:t>
            </a:r>
            <a:r>
              <a:rPr kumimoji="0" lang="en-US" sz="1200" b="0" i="0" u="none" strike="noStrike" kern="1200" cap="none" spc="0" normalizeH="0" baseline="0" dirty="0">
                <a:ln>
                  <a:noFill/>
                </a:ln>
                <a:solidFill>
                  <a:srgbClr val="000000"/>
                </a:solidFill>
                <a:effectLst/>
                <a:uLnTx/>
                <a:uFillTx/>
                <a:latin typeface="Open Sans" charset="0"/>
              </a:rPr>
              <a:t>Governmental and Non-Governmental sectors, </a:t>
            </a:r>
            <a:r>
              <a:rPr lang="en-US" sz="1200" dirty="0">
                <a:solidFill>
                  <a:srgbClr val="000000"/>
                </a:solidFill>
                <a:latin typeface="Open Sans" charset="0"/>
              </a:rPr>
              <a:t>financial services, </a:t>
            </a:r>
            <a:r>
              <a:rPr kumimoji="0" lang="en-US" sz="1200" b="0" i="0" u="none" strike="noStrike" kern="1200" cap="none" spc="0" normalizeH="0" baseline="0" dirty="0">
                <a:ln>
                  <a:noFill/>
                </a:ln>
                <a:solidFill>
                  <a:srgbClr val="000000"/>
                </a:solidFill>
                <a:effectLst/>
                <a:uLnTx/>
                <a:uFillTx/>
                <a:latin typeface="Open Sans" charset="0"/>
              </a:rPr>
              <a:t>FMCG, consumer products, life science &amp; healthcare, industrial sectors e.g. energy.</a:t>
            </a:r>
          </a:p>
        </p:txBody>
      </p:sp>
      <p:sp>
        <p:nvSpPr>
          <p:cNvPr id="215" name="Freeform 119">
            <a:extLst>
              <a:ext uri="{FF2B5EF4-FFF2-40B4-BE49-F238E27FC236}">
                <a16:creationId xmlns:a16="http://schemas.microsoft.com/office/drawing/2014/main" id="{4BA86491-DE6F-4C76-B02B-4F2FBB341E34}"/>
              </a:ext>
            </a:extLst>
          </p:cNvPr>
          <p:cNvSpPr>
            <a:spLocks/>
          </p:cNvSpPr>
          <p:nvPr/>
        </p:nvSpPr>
        <p:spPr bwMode="auto">
          <a:xfrm>
            <a:off x="2691677" y="4413680"/>
            <a:ext cx="569053" cy="313468"/>
          </a:xfrm>
          <a:custGeom>
            <a:avLst/>
            <a:gdLst>
              <a:gd name="T0" fmla="*/ 195 w 204"/>
              <a:gd name="T1" fmla="*/ 55 h 111"/>
              <a:gd name="T2" fmla="*/ 193 w 204"/>
              <a:gd name="T3" fmla="*/ 51 h 111"/>
              <a:gd name="T4" fmla="*/ 181 w 204"/>
              <a:gd name="T5" fmla="*/ 47 h 111"/>
              <a:gd name="T6" fmla="*/ 172 w 204"/>
              <a:gd name="T7" fmla="*/ 47 h 111"/>
              <a:gd name="T8" fmla="*/ 169 w 204"/>
              <a:gd name="T9" fmla="*/ 36 h 111"/>
              <a:gd name="T10" fmla="*/ 159 w 204"/>
              <a:gd name="T11" fmla="*/ 35 h 111"/>
              <a:gd name="T12" fmla="*/ 154 w 204"/>
              <a:gd name="T13" fmla="*/ 32 h 111"/>
              <a:gd name="T14" fmla="*/ 146 w 204"/>
              <a:gd name="T15" fmla="*/ 33 h 111"/>
              <a:gd name="T16" fmla="*/ 140 w 204"/>
              <a:gd name="T17" fmla="*/ 41 h 111"/>
              <a:gd name="T18" fmla="*/ 128 w 204"/>
              <a:gd name="T19" fmla="*/ 32 h 111"/>
              <a:gd name="T20" fmla="*/ 123 w 204"/>
              <a:gd name="T21" fmla="*/ 28 h 111"/>
              <a:gd name="T22" fmla="*/ 125 w 204"/>
              <a:gd name="T23" fmla="*/ 18 h 111"/>
              <a:gd name="T24" fmla="*/ 116 w 204"/>
              <a:gd name="T25" fmla="*/ 17 h 111"/>
              <a:gd name="T26" fmla="*/ 102 w 204"/>
              <a:gd name="T27" fmla="*/ 12 h 111"/>
              <a:gd name="T28" fmla="*/ 96 w 204"/>
              <a:gd name="T29" fmla="*/ 9 h 111"/>
              <a:gd name="T30" fmla="*/ 88 w 204"/>
              <a:gd name="T31" fmla="*/ 3 h 111"/>
              <a:gd name="T32" fmla="*/ 82 w 204"/>
              <a:gd name="T33" fmla="*/ 9 h 111"/>
              <a:gd name="T34" fmla="*/ 75 w 204"/>
              <a:gd name="T35" fmla="*/ 7 h 111"/>
              <a:gd name="T36" fmla="*/ 71 w 204"/>
              <a:gd name="T37" fmla="*/ 1 h 111"/>
              <a:gd name="T38" fmla="*/ 66 w 204"/>
              <a:gd name="T39" fmla="*/ 8 h 111"/>
              <a:gd name="T40" fmla="*/ 48 w 204"/>
              <a:gd name="T41" fmla="*/ 15 h 111"/>
              <a:gd name="T42" fmla="*/ 35 w 204"/>
              <a:gd name="T43" fmla="*/ 21 h 111"/>
              <a:gd name="T44" fmla="*/ 26 w 204"/>
              <a:gd name="T45" fmla="*/ 28 h 111"/>
              <a:gd name="T46" fmla="*/ 14 w 204"/>
              <a:gd name="T47" fmla="*/ 29 h 111"/>
              <a:gd name="T48" fmla="*/ 5 w 204"/>
              <a:gd name="T49" fmla="*/ 36 h 111"/>
              <a:gd name="T50" fmla="*/ 0 w 204"/>
              <a:gd name="T51" fmla="*/ 33 h 111"/>
              <a:gd name="T52" fmla="*/ 3 w 204"/>
              <a:gd name="T53" fmla="*/ 41 h 111"/>
              <a:gd name="T54" fmla="*/ 13 w 204"/>
              <a:gd name="T55" fmla="*/ 51 h 111"/>
              <a:gd name="T56" fmla="*/ 14 w 204"/>
              <a:gd name="T57" fmla="*/ 65 h 111"/>
              <a:gd name="T58" fmla="*/ 24 w 204"/>
              <a:gd name="T59" fmla="*/ 76 h 111"/>
              <a:gd name="T60" fmla="*/ 38 w 204"/>
              <a:gd name="T61" fmla="*/ 87 h 111"/>
              <a:gd name="T62" fmla="*/ 44 w 204"/>
              <a:gd name="T63" fmla="*/ 92 h 111"/>
              <a:gd name="T64" fmla="*/ 53 w 204"/>
              <a:gd name="T65" fmla="*/ 101 h 111"/>
              <a:gd name="T66" fmla="*/ 72 w 204"/>
              <a:gd name="T67" fmla="*/ 107 h 111"/>
              <a:gd name="T68" fmla="*/ 82 w 204"/>
              <a:gd name="T69" fmla="*/ 101 h 111"/>
              <a:gd name="T70" fmla="*/ 92 w 204"/>
              <a:gd name="T71" fmla="*/ 90 h 111"/>
              <a:gd name="T72" fmla="*/ 106 w 204"/>
              <a:gd name="T73" fmla="*/ 95 h 111"/>
              <a:gd name="T74" fmla="*/ 118 w 204"/>
              <a:gd name="T75" fmla="*/ 100 h 111"/>
              <a:gd name="T76" fmla="*/ 136 w 204"/>
              <a:gd name="T77" fmla="*/ 100 h 111"/>
              <a:gd name="T78" fmla="*/ 147 w 204"/>
              <a:gd name="T79" fmla="*/ 107 h 111"/>
              <a:gd name="T80" fmla="*/ 174 w 204"/>
              <a:gd name="T81" fmla="*/ 94 h 111"/>
              <a:gd name="T82" fmla="*/ 183 w 204"/>
              <a:gd name="T83" fmla="*/ 79 h 111"/>
              <a:gd name="T84" fmla="*/ 198 w 204"/>
              <a:gd name="T85" fmla="*/ 6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111">
                <a:moveTo>
                  <a:pt x="202" y="61"/>
                </a:moveTo>
                <a:cubicBezTo>
                  <a:pt x="201" y="60"/>
                  <a:pt x="201" y="61"/>
                  <a:pt x="200" y="61"/>
                </a:cubicBezTo>
                <a:cubicBezTo>
                  <a:pt x="198" y="60"/>
                  <a:pt x="196" y="58"/>
                  <a:pt x="195" y="55"/>
                </a:cubicBezTo>
                <a:cubicBezTo>
                  <a:pt x="194" y="54"/>
                  <a:pt x="195" y="54"/>
                  <a:pt x="195" y="53"/>
                </a:cubicBezTo>
                <a:cubicBezTo>
                  <a:pt x="195" y="52"/>
                  <a:pt x="194" y="52"/>
                  <a:pt x="194" y="51"/>
                </a:cubicBezTo>
                <a:cubicBezTo>
                  <a:pt x="194" y="49"/>
                  <a:pt x="193" y="51"/>
                  <a:pt x="193" y="51"/>
                </a:cubicBezTo>
                <a:cubicBezTo>
                  <a:pt x="191" y="51"/>
                  <a:pt x="190" y="49"/>
                  <a:pt x="188" y="50"/>
                </a:cubicBezTo>
                <a:cubicBezTo>
                  <a:pt x="186" y="50"/>
                  <a:pt x="186" y="50"/>
                  <a:pt x="185" y="49"/>
                </a:cubicBezTo>
                <a:cubicBezTo>
                  <a:pt x="184" y="48"/>
                  <a:pt x="182" y="48"/>
                  <a:pt x="181" y="47"/>
                </a:cubicBezTo>
                <a:cubicBezTo>
                  <a:pt x="179" y="46"/>
                  <a:pt x="180" y="46"/>
                  <a:pt x="179" y="45"/>
                </a:cubicBezTo>
                <a:cubicBezTo>
                  <a:pt x="176" y="43"/>
                  <a:pt x="178" y="46"/>
                  <a:pt x="178" y="46"/>
                </a:cubicBezTo>
                <a:cubicBezTo>
                  <a:pt x="177" y="48"/>
                  <a:pt x="173" y="48"/>
                  <a:pt x="172" y="47"/>
                </a:cubicBezTo>
                <a:cubicBezTo>
                  <a:pt x="171" y="46"/>
                  <a:pt x="168" y="44"/>
                  <a:pt x="169" y="42"/>
                </a:cubicBezTo>
                <a:cubicBezTo>
                  <a:pt x="168" y="42"/>
                  <a:pt x="166" y="42"/>
                  <a:pt x="165" y="41"/>
                </a:cubicBezTo>
                <a:cubicBezTo>
                  <a:pt x="163" y="38"/>
                  <a:pt x="170" y="40"/>
                  <a:pt x="169" y="36"/>
                </a:cubicBezTo>
                <a:cubicBezTo>
                  <a:pt x="169" y="35"/>
                  <a:pt x="168" y="31"/>
                  <a:pt x="167" y="34"/>
                </a:cubicBezTo>
                <a:cubicBezTo>
                  <a:pt x="166" y="36"/>
                  <a:pt x="164" y="35"/>
                  <a:pt x="163" y="35"/>
                </a:cubicBezTo>
                <a:cubicBezTo>
                  <a:pt x="161" y="35"/>
                  <a:pt x="160" y="36"/>
                  <a:pt x="159" y="35"/>
                </a:cubicBezTo>
                <a:cubicBezTo>
                  <a:pt x="158" y="34"/>
                  <a:pt x="158" y="36"/>
                  <a:pt x="157" y="35"/>
                </a:cubicBezTo>
                <a:cubicBezTo>
                  <a:pt x="157" y="35"/>
                  <a:pt x="157" y="34"/>
                  <a:pt x="157" y="33"/>
                </a:cubicBezTo>
                <a:cubicBezTo>
                  <a:pt x="157" y="33"/>
                  <a:pt x="155" y="33"/>
                  <a:pt x="154" y="32"/>
                </a:cubicBezTo>
                <a:cubicBezTo>
                  <a:pt x="153" y="32"/>
                  <a:pt x="153" y="30"/>
                  <a:pt x="152" y="30"/>
                </a:cubicBezTo>
                <a:cubicBezTo>
                  <a:pt x="151" y="30"/>
                  <a:pt x="142" y="26"/>
                  <a:pt x="143" y="29"/>
                </a:cubicBezTo>
                <a:cubicBezTo>
                  <a:pt x="144" y="31"/>
                  <a:pt x="145" y="32"/>
                  <a:pt x="146" y="33"/>
                </a:cubicBezTo>
                <a:cubicBezTo>
                  <a:pt x="146" y="34"/>
                  <a:pt x="147" y="37"/>
                  <a:pt x="147" y="37"/>
                </a:cubicBezTo>
                <a:cubicBezTo>
                  <a:pt x="145" y="35"/>
                  <a:pt x="144" y="38"/>
                  <a:pt x="143" y="38"/>
                </a:cubicBezTo>
                <a:cubicBezTo>
                  <a:pt x="142" y="38"/>
                  <a:pt x="141" y="38"/>
                  <a:pt x="140" y="41"/>
                </a:cubicBezTo>
                <a:cubicBezTo>
                  <a:pt x="138" y="43"/>
                  <a:pt x="136" y="43"/>
                  <a:pt x="134" y="40"/>
                </a:cubicBezTo>
                <a:cubicBezTo>
                  <a:pt x="133" y="38"/>
                  <a:pt x="133" y="37"/>
                  <a:pt x="131" y="35"/>
                </a:cubicBezTo>
                <a:cubicBezTo>
                  <a:pt x="130" y="34"/>
                  <a:pt x="129" y="33"/>
                  <a:pt x="128" y="32"/>
                </a:cubicBezTo>
                <a:cubicBezTo>
                  <a:pt x="128" y="31"/>
                  <a:pt x="127" y="31"/>
                  <a:pt x="127" y="30"/>
                </a:cubicBezTo>
                <a:cubicBezTo>
                  <a:pt x="126" y="30"/>
                  <a:pt x="126" y="30"/>
                  <a:pt x="125" y="30"/>
                </a:cubicBezTo>
                <a:cubicBezTo>
                  <a:pt x="124" y="30"/>
                  <a:pt x="124" y="29"/>
                  <a:pt x="123" y="28"/>
                </a:cubicBezTo>
                <a:cubicBezTo>
                  <a:pt x="121" y="27"/>
                  <a:pt x="127" y="25"/>
                  <a:pt x="128" y="24"/>
                </a:cubicBezTo>
                <a:cubicBezTo>
                  <a:pt x="129" y="23"/>
                  <a:pt x="130" y="21"/>
                  <a:pt x="128" y="19"/>
                </a:cubicBezTo>
                <a:cubicBezTo>
                  <a:pt x="127" y="18"/>
                  <a:pt x="127" y="18"/>
                  <a:pt x="125" y="18"/>
                </a:cubicBezTo>
                <a:cubicBezTo>
                  <a:pt x="123" y="17"/>
                  <a:pt x="123" y="20"/>
                  <a:pt x="121" y="18"/>
                </a:cubicBezTo>
                <a:cubicBezTo>
                  <a:pt x="119" y="17"/>
                  <a:pt x="119" y="19"/>
                  <a:pt x="117" y="20"/>
                </a:cubicBezTo>
                <a:cubicBezTo>
                  <a:pt x="116" y="21"/>
                  <a:pt x="116" y="18"/>
                  <a:pt x="116" y="17"/>
                </a:cubicBezTo>
                <a:cubicBezTo>
                  <a:pt x="115" y="16"/>
                  <a:pt x="113" y="17"/>
                  <a:pt x="112" y="16"/>
                </a:cubicBezTo>
                <a:cubicBezTo>
                  <a:pt x="111" y="16"/>
                  <a:pt x="111" y="14"/>
                  <a:pt x="109" y="14"/>
                </a:cubicBezTo>
                <a:cubicBezTo>
                  <a:pt x="107" y="14"/>
                  <a:pt x="104" y="13"/>
                  <a:pt x="102" y="12"/>
                </a:cubicBezTo>
                <a:cubicBezTo>
                  <a:pt x="102" y="12"/>
                  <a:pt x="100" y="11"/>
                  <a:pt x="99" y="11"/>
                </a:cubicBezTo>
                <a:cubicBezTo>
                  <a:pt x="99" y="12"/>
                  <a:pt x="98" y="12"/>
                  <a:pt x="97" y="12"/>
                </a:cubicBezTo>
                <a:cubicBezTo>
                  <a:pt x="97" y="13"/>
                  <a:pt x="97" y="10"/>
                  <a:pt x="96" y="9"/>
                </a:cubicBezTo>
                <a:cubicBezTo>
                  <a:pt x="93" y="7"/>
                  <a:pt x="95" y="4"/>
                  <a:pt x="92" y="4"/>
                </a:cubicBezTo>
                <a:cubicBezTo>
                  <a:pt x="91" y="3"/>
                  <a:pt x="90" y="2"/>
                  <a:pt x="90" y="3"/>
                </a:cubicBezTo>
                <a:cubicBezTo>
                  <a:pt x="90" y="3"/>
                  <a:pt x="89" y="3"/>
                  <a:pt x="88" y="3"/>
                </a:cubicBezTo>
                <a:cubicBezTo>
                  <a:pt x="84" y="0"/>
                  <a:pt x="87" y="5"/>
                  <a:pt x="86" y="6"/>
                </a:cubicBezTo>
                <a:cubicBezTo>
                  <a:pt x="86" y="7"/>
                  <a:pt x="86" y="8"/>
                  <a:pt x="86" y="9"/>
                </a:cubicBezTo>
                <a:cubicBezTo>
                  <a:pt x="85" y="10"/>
                  <a:pt x="83" y="9"/>
                  <a:pt x="82" y="9"/>
                </a:cubicBezTo>
                <a:cubicBezTo>
                  <a:pt x="80" y="8"/>
                  <a:pt x="81" y="10"/>
                  <a:pt x="79" y="11"/>
                </a:cubicBezTo>
                <a:cubicBezTo>
                  <a:pt x="78" y="11"/>
                  <a:pt x="76" y="10"/>
                  <a:pt x="76" y="10"/>
                </a:cubicBezTo>
                <a:cubicBezTo>
                  <a:pt x="74" y="9"/>
                  <a:pt x="75" y="8"/>
                  <a:pt x="75" y="7"/>
                </a:cubicBezTo>
                <a:cubicBezTo>
                  <a:pt x="75" y="6"/>
                  <a:pt x="74" y="7"/>
                  <a:pt x="73" y="6"/>
                </a:cubicBezTo>
                <a:cubicBezTo>
                  <a:pt x="73" y="6"/>
                  <a:pt x="74" y="5"/>
                  <a:pt x="73" y="3"/>
                </a:cubicBezTo>
                <a:cubicBezTo>
                  <a:pt x="72" y="3"/>
                  <a:pt x="71" y="2"/>
                  <a:pt x="71" y="1"/>
                </a:cubicBezTo>
                <a:cubicBezTo>
                  <a:pt x="69" y="3"/>
                  <a:pt x="67" y="1"/>
                  <a:pt x="65" y="1"/>
                </a:cubicBezTo>
                <a:cubicBezTo>
                  <a:pt x="64" y="3"/>
                  <a:pt x="64" y="4"/>
                  <a:pt x="66" y="4"/>
                </a:cubicBezTo>
                <a:cubicBezTo>
                  <a:pt x="65" y="5"/>
                  <a:pt x="71" y="7"/>
                  <a:pt x="66" y="8"/>
                </a:cubicBezTo>
                <a:cubicBezTo>
                  <a:pt x="63" y="9"/>
                  <a:pt x="61" y="10"/>
                  <a:pt x="58" y="11"/>
                </a:cubicBezTo>
                <a:cubicBezTo>
                  <a:pt x="57" y="11"/>
                  <a:pt x="54" y="11"/>
                  <a:pt x="53" y="13"/>
                </a:cubicBezTo>
                <a:cubicBezTo>
                  <a:pt x="52" y="15"/>
                  <a:pt x="50" y="15"/>
                  <a:pt x="48" y="15"/>
                </a:cubicBezTo>
                <a:cubicBezTo>
                  <a:pt x="47" y="15"/>
                  <a:pt x="46" y="15"/>
                  <a:pt x="45" y="15"/>
                </a:cubicBezTo>
                <a:cubicBezTo>
                  <a:pt x="41" y="16"/>
                  <a:pt x="43" y="20"/>
                  <a:pt x="39" y="20"/>
                </a:cubicBezTo>
                <a:cubicBezTo>
                  <a:pt x="37" y="19"/>
                  <a:pt x="36" y="22"/>
                  <a:pt x="35" y="21"/>
                </a:cubicBezTo>
                <a:cubicBezTo>
                  <a:pt x="33" y="21"/>
                  <a:pt x="33" y="24"/>
                  <a:pt x="31" y="25"/>
                </a:cubicBezTo>
                <a:cubicBezTo>
                  <a:pt x="30" y="25"/>
                  <a:pt x="28" y="24"/>
                  <a:pt x="27" y="26"/>
                </a:cubicBezTo>
                <a:cubicBezTo>
                  <a:pt x="26" y="27"/>
                  <a:pt x="27" y="28"/>
                  <a:pt x="26" y="28"/>
                </a:cubicBezTo>
                <a:cubicBezTo>
                  <a:pt x="24" y="30"/>
                  <a:pt x="22" y="27"/>
                  <a:pt x="21" y="27"/>
                </a:cubicBezTo>
                <a:cubicBezTo>
                  <a:pt x="19" y="27"/>
                  <a:pt x="19" y="29"/>
                  <a:pt x="18" y="29"/>
                </a:cubicBezTo>
                <a:cubicBezTo>
                  <a:pt x="17" y="30"/>
                  <a:pt x="16" y="29"/>
                  <a:pt x="14" y="29"/>
                </a:cubicBezTo>
                <a:cubicBezTo>
                  <a:pt x="12" y="30"/>
                  <a:pt x="10" y="31"/>
                  <a:pt x="8" y="34"/>
                </a:cubicBezTo>
                <a:cubicBezTo>
                  <a:pt x="8" y="34"/>
                  <a:pt x="6" y="39"/>
                  <a:pt x="6" y="39"/>
                </a:cubicBezTo>
                <a:cubicBezTo>
                  <a:pt x="5" y="38"/>
                  <a:pt x="5" y="36"/>
                  <a:pt x="5" y="36"/>
                </a:cubicBezTo>
                <a:cubicBezTo>
                  <a:pt x="4" y="35"/>
                  <a:pt x="3" y="35"/>
                  <a:pt x="3" y="35"/>
                </a:cubicBezTo>
                <a:cubicBezTo>
                  <a:pt x="3" y="34"/>
                  <a:pt x="3" y="34"/>
                  <a:pt x="2" y="33"/>
                </a:cubicBezTo>
                <a:cubicBezTo>
                  <a:pt x="2" y="33"/>
                  <a:pt x="1" y="33"/>
                  <a:pt x="0" y="33"/>
                </a:cubicBezTo>
                <a:cubicBezTo>
                  <a:pt x="1" y="34"/>
                  <a:pt x="0" y="35"/>
                  <a:pt x="0" y="35"/>
                </a:cubicBezTo>
                <a:cubicBezTo>
                  <a:pt x="0" y="37"/>
                  <a:pt x="2" y="37"/>
                  <a:pt x="2" y="38"/>
                </a:cubicBezTo>
                <a:cubicBezTo>
                  <a:pt x="3" y="39"/>
                  <a:pt x="2" y="40"/>
                  <a:pt x="3" y="41"/>
                </a:cubicBezTo>
                <a:cubicBezTo>
                  <a:pt x="3" y="43"/>
                  <a:pt x="5" y="45"/>
                  <a:pt x="7" y="45"/>
                </a:cubicBezTo>
                <a:cubicBezTo>
                  <a:pt x="8" y="46"/>
                  <a:pt x="12" y="47"/>
                  <a:pt x="12" y="49"/>
                </a:cubicBezTo>
                <a:cubicBezTo>
                  <a:pt x="11" y="50"/>
                  <a:pt x="13" y="50"/>
                  <a:pt x="13" y="51"/>
                </a:cubicBezTo>
                <a:cubicBezTo>
                  <a:pt x="13" y="52"/>
                  <a:pt x="11" y="56"/>
                  <a:pt x="10" y="57"/>
                </a:cubicBezTo>
                <a:cubicBezTo>
                  <a:pt x="8" y="58"/>
                  <a:pt x="10" y="60"/>
                  <a:pt x="11" y="60"/>
                </a:cubicBezTo>
                <a:cubicBezTo>
                  <a:pt x="12" y="61"/>
                  <a:pt x="14" y="63"/>
                  <a:pt x="14" y="65"/>
                </a:cubicBezTo>
                <a:cubicBezTo>
                  <a:pt x="15" y="66"/>
                  <a:pt x="16" y="67"/>
                  <a:pt x="16" y="68"/>
                </a:cubicBezTo>
                <a:cubicBezTo>
                  <a:pt x="17" y="70"/>
                  <a:pt x="17" y="72"/>
                  <a:pt x="20" y="74"/>
                </a:cubicBezTo>
                <a:cubicBezTo>
                  <a:pt x="21" y="76"/>
                  <a:pt x="23" y="76"/>
                  <a:pt x="24" y="76"/>
                </a:cubicBezTo>
                <a:cubicBezTo>
                  <a:pt x="25" y="76"/>
                  <a:pt x="27" y="77"/>
                  <a:pt x="28" y="78"/>
                </a:cubicBezTo>
                <a:cubicBezTo>
                  <a:pt x="30" y="80"/>
                  <a:pt x="31" y="82"/>
                  <a:pt x="33" y="84"/>
                </a:cubicBezTo>
                <a:cubicBezTo>
                  <a:pt x="34" y="86"/>
                  <a:pt x="36" y="85"/>
                  <a:pt x="38" y="87"/>
                </a:cubicBezTo>
                <a:cubicBezTo>
                  <a:pt x="38" y="88"/>
                  <a:pt x="39" y="88"/>
                  <a:pt x="39" y="89"/>
                </a:cubicBezTo>
                <a:cubicBezTo>
                  <a:pt x="39" y="89"/>
                  <a:pt x="39" y="90"/>
                  <a:pt x="40" y="91"/>
                </a:cubicBezTo>
                <a:cubicBezTo>
                  <a:pt x="41" y="92"/>
                  <a:pt x="42" y="93"/>
                  <a:pt x="44" y="92"/>
                </a:cubicBezTo>
                <a:cubicBezTo>
                  <a:pt x="45" y="91"/>
                  <a:pt x="47" y="94"/>
                  <a:pt x="48" y="95"/>
                </a:cubicBezTo>
                <a:cubicBezTo>
                  <a:pt x="49" y="96"/>
                  <a:pt x="50" y="96"/>
                  <a:pt x="51" y="98"/>
                </a:cubicBezTo>
                <a:cubicBezTo>
                  <a:pt x="52" y="99"/>
                  <a:pt x="52" y="100"/>
                  <a:pt x="53" y="101"/>
                </a:cubicBezTo>
                <a:cubicBezTo>
                  <a:pt x="55" y="101"/>
                  <a:pt x="59" y="103"/>
                  <a:pt x="59" y="105"/>
                </a:cubicBezTo>
                <a:cubicBezTo>
                  <a:pt x="57" y="108"/>
                  <a:pt x="64" y="108"/>
                  <a:pt x="67" y="110"/>
                </a:cubicBezTo>
                <a:cubicBezTo>
                  <a:pt x="70" y="111"/>
                  <a:pt x="70" y="108"/>
                  <a:pt x="72" y="107"/>
                </a:cubicBezTo>
                <a:cubicBezTo>
                  <a:pt x="73" y="106"/>
                  <a:pt x="74" y="108"/>
                  <a:pt x="77" y="108"/>
                </a:cubicBezTo>
                <a:cubicBezTo>
                  <a:pt x="79" y="108"/>
                  <a:pt x="80" y="110"/>
                  <a:pt x="80" y="106"/>
                </a:cubicBezTo>
                <a:cubicBezTo>
                  <a:pt x="80" y="105"/>
                  <a:pt x="81" y="102"/>
                  <a:pt x="82" y="101"/>
                </a:cubicBezTo>
                <a:cubicBezTo>
                  <a:pt x="84" y="99"/>
                  <a:pt x="86" y="102"/>
                  <a:pt x="87" y="100"/>
                </a:cubicBezTo>
                <a:cubicBezTo>
                  <a:pt x="88" y="98"/>
                  <a:pt x="88" y="95"/>
                  <a:pt x="88" y="94"/>
                </a:cubicBezTo>
                <a:cubicBezTo>
                  <a:pt x="87" y="89"/>
                  <a:pt x="90" y="89"/>
                  <a:pt x="92" y="90"/>
                </a:cubicBezTo>
                <a:cubicBezTo>
                  <a:pt x="94" y="90"/>
                  <a:pt x="92" y="93"/>
                  <a:pt x="93" y="93"/>
                </a:cubicBezTo>
                <a:cubicBezTo>
                  <a:pt x="94" y="94"/>
                  <a:pt x="97" y="91"/>
                  <a:pt x="98" y="92"/>
                </a:cubicBezTo>
                <a:cubicBezTo>
                  <a:pt x="101" y="92"/>
                  <a:pt x="103" y="94"/>
                  <a:pt x="106" y="95"/>
                </a:cubicBezTo>
                <a:cubicBezTo>
                  <a:pt x="107" y="96"/>
                  <a:pt x="108" y="97"/>
                  <a:pt x="110" y="97"/>
                </a:cubicBezTo>
                <a:cubicBezTo>
                  <a:pt x="111" y="97"/>
                  <a:pt x="112" y="96"/>
                  <a:pt x="112" y="96"/>
                </a:cubicBezTo>
                <a:cubicBezTo>
                  <a:pt x="115" y="96"/>
                  <a:pt x="116" y="98"/>
                  <a:pt x="118" y="100"/>
                </a:cubicBezTo>
                <a:cubicBezTo>
                  <a:pt x="120" y="101"/>
                  <a:pt x="124" y="103"/>
                  <a:pt x="127" y="103"/>
                </a:cubicBezTo>
                <a:cubicBezTo>
                  <a:pt x="129" y="103"/>
                  <a:pt x="130" y="102"/>
                  <a:pt x="131" y="101"/>
                </a:cubicBezTo>
                <a:cubicBezTo>
                  <a:pt x="133" y="99"/>
                  <a:pt x="134" y="99"/>
                  <a:pt x="136" y="100"/>
                </a:cubicBezTo>
                <a:cubicBezTo>
                  <a:pt x="139" y="100"/>
                  <a:pt x="139" y="102"/>
                  <a:pt x="140" y="102"/>
                </a:cubicBezTo>
                <a:cubicBezTo>
                  <a:pt x="142" y="103"/>
                  <a:pt x="144" y="102"/>
                  <a:pt x="146" y="103"/>
                </a:cubicBezTo>
                <a:cubicBezTo>
                  <a:pt x="146" y="104"/>
                  <a:pt x="147" y="107"/>
                  <a:pt x="147" y="107"/>
                </a:cubicBezTo>
                <a:cubicBezTo>
                  <a:pt x="151" y="105"/>
                  <a:pt x="151" y="94"/>
                  <a:pt x="157" y="97"/>
                </a:cubicBezTo>
                <a:cubicBezTo>
                  <a:pt x="161" y="99"/>
                  <a:pt x="164" y="98"/>
                  <a:pt x="169" y="97"/>
                </a:cubicBezTo>
                <a:cubicBezTo>
                  <a:pt x="171" y="97"/>
                  <a:pt x="172" y="94"/>
                  <a:pt x="174" y="94"/>
                </a:cubicBezTo>
                <a:cubicBezTo>
                  <a:pt x="176" y="93"/>
                  <a:pt x="176" y="91"/>
                  <a:pt x="177" y="90"/>
                </a:cubicBezTo>
                <a:cubicBezTo>
                  <a:pt x="179" y="89"/>
                  <a:pt x="182" y="90"/>
                  <a:pt x="182" y="86"/>
                </a:cubicBezTo>
                <a:cubicBezTo>
                  <a:pt x="182" y="84"/>
                  <a:pt x="182" y="81"/>
                  <a:pt x="183" y="79"/>
                </a:cubicBezTo>
                <a:cubicBezTo>
                  <a:pt x="185" y="78"/>
                  <a:pt x="192" y="76"/>
                  <a:pt x="190" y="73"/>
                </a:cubicBezTo>
                <a:cubicBezTo>
                  <a:pt x="191" y="73"/>
                  <a:pt x="193" y="72"/>
                  <a:pt x="194" y="70"/>
                </a:cubicBezTo>
                <a:cubicBezTo>
                  <a:pt x="195" y="69"/>
                  <a:pt x="197" y="69"/>
                  <a:pt x="198" y="69"/>
                </a:cubicBezTo>
                <a:cubicBezTo>
                  <a:pt x="200" y="69"/>
                  <a:pt x="204" y="69"/>
                  <a:pt x="203" y="66"/>
                </a:cubicBezTo>
                <a:cubicBezTo>
                  <a:pt x="203" y="64"/>
                  <a:pt x="202" y="63"/>
                  <a:pt x="202" y="61"/>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6" name="Freeform 118">
            <a:extLst>
              <a:ext uri="{FF2B5EF4-FFF2-40B4-BE49-F238E27FC236}">
                <a16:creationId xmlns:a16="http://schemas.microsoft.com/office/drawing/2014/main" id="{8EEB3D3F-101B-48E0-BBBB-1EDBE0D5C20F}"/>
              </a:ext>
            </a:extLst>
          </p:cNvPr>
          <p:cNvSpPr>
            <a:spLocks/>
          </p:cNvSpPr>
          <p:nvPr/>
        </p:nvSpPr>
        <p:spPr bwMode="auto">
          <a:xfrm>
            <a:off x="2470904" y="4662785"/>
            <a:ext cx="654057" cy="332538"/>
          </a:xfrm>
          <a:custGeom>
            <a:avLst/>
            <a:gdLst>
              <a:gd name="T0" fmla="*/ 231 w 234"/>
              <a:gd name="T1" fmla="*/ 43 h 118"/>
              <a:gd name="T2" fmla="*/ 228 w 234"/>
              <a:gd name="T3" fmla="*/ 38 h 118"/>
              <a:gd name="T4" fmla="*/ 224 w 234"/>
              <a:gd name="T5" fmla="*/ 31 h 118"/>
              <a:gd name="T6" fmla="*/ 223 w 234"/>
              <a:gd name="T7" fmla="*/ 15 h 118"/>
              <a:gd name="T8" fmla="*/ 218 w 234"/>
              <a:gd name="T9" fmla="*/ 12 h 118"/>
              <a:gd name="T10" fmla="*/ 203 w 234"/>
              <a:gd name="T11" fmla="*/ 14 h 118"/>
              <a:gd name="T12" fmla="*/ 193 w 234"/>
              <a:gd name="T13" fmla="*/ 8 h 118"/>
              <a:gd name="T14" fmla="*/ 186 w 234"/>
              <a:gd name="T15" fmla="*/ 8 h 118"/>
              <a:gd name="T16" fmla="*/ 172 w 234"/>
              <a:gd name="T17" fmla="*/ 4 h 118"/>
              <a:gd name="T18" fmla="*/ 166 w 234"/>
              <a:gd name="T19" fmla="*/ 11 h 118"/>
              <a:gd name="T20" fmla="*/ 158 w 234"/>
              <a:gd name="T21" fmla="*/ 21 h 118"/>
              <a:gd name="T22" fmla="*/ 148 w 234"/>
              <a:gd name="T23" fmla="*/ 22 h 118"/>
              <a:gd name="T24" fmla="*/ 138 w 234"/>
              <a:gd name="T25" fmla="*/ 17 h 118"/>
              <a:gd name="T26" fmla="*/ 131 w 234"/>
              <a:gd name="T27" fmla="*/ 20 h 118"/>
              <a:gd name="T28" fmla="*/ 116 w 234"/>
              <a:gd name="T29" fmla="*/ 33 h 118"/>
              <a:gd name="T30" fmla="*/ 104 w 234"/>
              <a:gd name="T31" fmla="*/ 38 h 118"/>
              <a:gd name="T32" fmla="*/ 106 w 234"/>
              <a:gd name="T33" fmla="*/ 56 h 118"/>
              <a:gd name="T34" fmla="*/ 109 w 234"/>
              <a:gd name="T35" fmla="*/ 68 h 118"/>
              <a:gd name="T36" fmla="*/ 96 w 234"/>
              <a:gd name="T37" fmla="*/ 61 h 118"/>
              <a:gd name="T38" fmla="*/ 90 w 234"/>
              <a:gd name="T39" fmla="*/ 60 h 118"/>
              <a:gd name="T40" fmla="*/ 85 w 234"/>
              <a:gd name="T41" fmla="*/ 58 h 118"/>
              <a:gd name="T42" fmla="*/ 79 w 234"/>
              <a:gd name="T43" fmla="*/ 64 h 118"/>
              <a:gd name="T44" fmla="*/ 66 w 234"/>
              <a:gd name="T45" fmla="*/ 65 h 118"/>
              <a:gd name="T46" fmla="*/ 59 w 234"/>
              <a:gd name="T47" fmla="*/ 71 h 118"/>
              <a:gd name="T48" fmla="*/ 52 w 234"/>
              <a:gd name="T49" fmla="*/ 72 h 118"/>
              <a:gd name="T50" fmla="*/ 45 w 234"/>
              <a:gd name="T51" fmla="*/ 71 h 118"/>
              <a:gd name="T52" fmla="*/ 43 w 234"/>
              <a:gd name="T53" fmla="*/ 68 h 118"/>
              <a:gd name="T54" fmla="*/ 33 w 234"/>
              <a:gd name="T55" fmla="*/ 66 h 118"/>
              <a:gd name="T56" fmla="*/ 29 w 234"/>
              <a:gd name="T57" fmla="*/ 73 h 118"/>
              <a:gd name="T58" fmla="*/ 22 w 234"/>
              <a:gd name="T59" fmla="*/ 74 h 118"/>
              <a:gd name="T60" fmla="*/ 17 w 234"/>
              <a:gd name="T61" fmla="*/ 69 h 118"/>
              <a:gd name="T62" fmla="*/ 11 w 234"/>
              <a:gd name="T63" fmla="*/ 66 h 118"/>
              <a:gd name="T64" fmla="*/ 3 w 234"/>
              <a:gd name="T65" fmla="*/ 67 h 118"/>
              <a:gd name="T66" fmla="*/ 2 w 234"/>
              <a:gd name="T67" fmla="*/ 78 h 118"/>
              <a:gd name="T68" fmla="*/ 12 w 234"/>
              <a:gd name="T69" fmla="*/ 90 h 118"/>
              <a:gd name="T70" fmla="*/ 20 w 234"/>
              <a:gd name="T71" fmla="*/ 97 h 118"/>
              <a:gd name="T72" fmla="*/ 23 w 234"/>
              <a:gd name="T73" fmla="*/ 94 h 118"/>
              <a:gd name="T74" fmla="*/ 28 w 234"/>
              <a:gd name="T75" fmla="*/ 91 h 118"/>
              <a:gd name="T76" fmla="*/ 36 w 234"/>
              <a:gd name="T77" fmla="*/ 97 h 118"/>
              <a:gd name="T78" fmla="*/ 39 w 234"/>
              <a:gd name="T79" fmla="*/ 100 h 118"/>
              <a:gd name="T80" fmla="*/ 50 w 234"/>
              <a:gd name="T81" fmla="*/ 95 h 118"/>
              <a:gd name="T82" fmla="*/ 63 w 234"/>
              <a:gd name="T83" fmla="*/ 90 h 118"/>
              <a:gd name="T84" fmla="*/ 81 w 234"/>
              <a:gd name="T85" fmla="*/ 87 h 118"/>
              <a:gd name="T86" fmla="*/ 82 w 234"/>
              <a:gd name="T87" fmla="*/ 95 h 118"/>
              <a:gd name="T88" fmla="*/ 90 w 234"/>
              <a:gd name="T89" fmla="*/ 104 h 118"/>
              <a:gd name="T90" fmla="*/ 113 w 234"/>
              <a:gd name="T91" fmla="*/ 109 h 118"/>
              <a:gd name="T92" fmla="*/ 122 w 234"/>
              <a:gd name="T93" fmla="*/ 110 h 118"/>
              <a:gd name="T94" fmla="*/ 142 w 234"/>
              <a:gd name="T95" fmla="*/ 114 h 118"/>
              <a:gd name="T96" fmla="*/ 156 w 234"/>
              <a:gd name="T97" fmla="*/ 118 h 118"/>
              <a:gd name="T98" fmla="*/ 169 w 234"/>
              <a:gd name="T99" fmla="*/ 108 h 118"/>
              <a:gd name="T100" fmla="*/ 183 w 234"/>
              <a:gd name="T101" fmla="*/ 107 h 118"/>
              <a:gd name="T102" fmla="*/ 192 w 234"/>
              <a:gd name="T103" fmla="*/ 104 h 118"/>
              <a:gd name="T104" fmla="*/ 201 w 234"/>
              <a:gd name="T105" fmla="*/ 98 h 118"/>
              <a:gd name="T106" fmla="*/ 215 w 234"/>
              <a:gd name="T107" fmla="*/ 90 h 118"/>
              <a:gd name="T108" fmla="*/ 215 w 234"/>
              <a:gd name="T109" fmla="*/ 88 h 118"/>
              <a:gd name="T110" fmla="*/ 213 w 234"/>
              <a:gd name="T111" fmla="*/ 82 h 118"/>
              <a:gd name="T112" fmla="*/ 214 w 234"/>
              <a:gd name="T113" fmla="*/ 73 h 118"/>
              <a:gd name="T114" fmla="*/ 220 w 234"/>
              <a:gd name="T115" fmla="*/ 67 h 118"/>
              <a:gd name="T116" fmla="*/ 214 w 234"/>
              <a:gd name="T117" fmla="*/ 60 h 118"/>
              <a:gd name="T118" fmla="*/ 221 w 234"/>
              <a:gd name="T119" fmla="*/ 59 h 118"/>
              <a:gd name="T120" fmla="*/ 225 w 234"/>
              <a:gd name="T121" fmla="*/ 60 h 118"/>
              <a:gd name="T122" fmla="*/ 231 w 234"/>
              <a:gd name="T123" fmla="*/ 55 h 118"/>
              <a:gd name="T124" fmla="*/ 232 w 234"/>
              <a:gd name="T125" fmla="*/ 5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 h="118">
                <a:moveTo>
                  <a:pt x="234" y="46"/>
                </a:moveTo>
                <a:cubicBezTo>
                  <a:pt x="233" y="45"/>
                  <a:pt x="231" y="45"/>
                  <a:pt x="231" y="43"/>
                </a:cubicBezTo>
                <a:cubicBezTo>
                  <a:pt x="231" y="42"/>
                  <a:pt x="231" y="41"/>
                  <a:pt x="230" y="41"/>
                </a:cubicBezTo>
                <a:cubicBezTo>
                  <a:pt x="229" y="40"/>
                  <a:pt x="228" y="40"/>
                  <a:pt x="228" y="38"/>
                </a:cubicBezTo>
                <a:cubicBezTo>
                  <a:pt x="227" y="37"/>
                  <a:pt x="227" y="36"/>
                  <a:pt x="227" y="34"/>
                </a:cubicBezTo>
                <a:cubicBezTo>
                  <a:pt x="226" y="34"/>
                  <a:pt x="224" y="31"/>
                  <a:pt x="224" y="31"/>
                </a:cubicBezTo>
                <a:cubicBezTo>
                  <a:pt x="223" y="28"/>
                  <a:pt x="225" y="26"/>
                  <a:pt x="226" y="23"/>
                </a:cubicBezTo>
                <a:cubicBezTo>
                  <a:pt x="227" y="21"/>
                  <a:pt x="226" y="15"/>
                  <a:pt x="223" y="15"/>
                </a:cubicBezTo>
                <a:cubicBezTo>
                  <a:pt x="222" y="14"/>
                  <a:pt x="220" y="15"/>
                  <a:pt x="219" y="14"/>
                </a:cubicBezTo>
                <a:cubicBezTo>
                  <a:pt x="217" y="14"/>
                  <a:pt x="219" y="13"/>
                  <a:pt x="218" y="12"/>
                </a:cubicBezTo>
                <a:cubicBezTo>
                  <a:pt x="215" y="11"/>
                  <a:pt x="211" y="10"/>
                  <a:pt x="210" y="13"/>
                </a:cubicBezTo>
                <a:cubicBezTo>
                  <a:pt x="209" y="15"/>
                  <a:pt x="204" y="14"/>
                  <a:pt x="203" y="14"/>
                </a:cubicBezTo>
                <a:cubicBezTo>
                  <a:pt x="200" y="13"/>
                  <a:pt x="199" y="12"/>
                  <a:pt x="197" y="11"/>
                </a:cubicBezTo>
                <a:cubicBezTo>
                  <a:pt x="196" y="10"/>
                  <a:pt x="195" y="9"/>
                  <a:pt x="193" y="8"/>
                </a:cubicBezTo>
                <a:cubicBezTo>
                  <a:pt x="191" y="8"/>
                  <a:pt x="190" y="9"/>
                  <a:pt x="189" y="9"/>
                </a:cubicBezTo>
                <a:cubicBezTo>
                  <a:pt x="188" y="9"/>
                  <a:pt x="187" y="8"/>
                  <a:pt x="186" y="8"/>
                </a:cubicBezTo>
                <a:cubicBezTo>
                  <a:pt x="183" y="6"/>
                  <a:pt x="180" y="3"/>
                  <a:pt x="176" y="4"/>
                </a:cubicBezTo>
                <a:cubicBezTo>
                  <a:pt x="174" y="4"/>
                  <a:pt x="173" y="5"/>
                  <a:pt x="172" y="4"/>
                </a:cubicBezTo>
                <a:cubicBezTo>
                  <a:pt x="171" y="3"/>
                  <a:pt x="167" y="0"/>
                  <a:pt x="166" y="4"/>
                </a:cubicBezTo>
                <a:cubicBezTo>
                  <a:pt x="166" y="6"/>
                  <a:pt x="167" y="8"/>
                  <a:pt x="166" y="11"/>
                </a:cubicBezTo>
                <a:cubicBezTo>
                  <a:pt x="166" y="15"/>
                  <a:pt x="162" y="10"/>
                  <a:pt x="161" y="14"/>
                </a:cubicBezTo>
                <a:cubicBezTo>
                  <a:pt x="158" y="16"/>
                  <a:pt x="160" y="20"/>
                  <a:pt x="158" y="21"/>
                </a:cubicBezTo>
                <a:cubicBezTo>
                  <a:pt x="157" y="20"/>
                  <a:pt x="151" y="18"/>
                  <a:pt x="151" y="19"/>
                </a:cubicBezTo>
                <a:cubicBezTo>
                  <a:pt x="150" y="20"/>
                  <a:pt x="149" y="21"/>
                  <a:pt x="148" y="22"/>
                </a:cubicBezTo>
                <a:cubicBezTo>
                  <a:pt x="146" y="22"/>
                  <a:pt x="144" y="21"/>
                  <a:pt x="143" y="21"/>
                </a:cubicBezTo>
                <a:cubicBezTo>
                  <a:pt x="140" y="20"/>
                  <a:pt x="136" y="19"/>
                  <a:pt x="138" y="17"/>
                </a:cubicBezTo>
                <a:cubicBezTo>
                  <a:pt x="138" y="15"/>
                  <a:pt x="132" y="12"/>
                  <a:pt x="131" y="13"/>
                </a:cubicBezTo>
                <a:cubicBezTo>
                  <a:pt x="130" y="14"/>
                  <a:pt x="133" y="16"/>
                  <a:pt x="131" y="20"/>
                </a:cubicBezTo>
                <a:cubicBezTo>
                  <a:pt x="129" y="24"/>
                  <a:pt x="129" y="23"/>
                  <a:pt x="126" y="22"/>
                </a:cubicBezTo>
                <a:cubicBezTo>
                  <a:pt x="117" y="19"/>
                  <a:pt x="122" y="30"/>
                  <a:pt x="116" y="33"/>
                </a:cubicBezTo>
                <a:cubicBezTo>
                  <a:pt x="115" y="33"/>
                  <a:pt x="111" y="33"/>
                  <a:pt x="108" y="35"/>
                </a:cubicBezTo>
                <a:cubicBezTo>
                  <a:pt x="107" y="36"/>
                  <a:pt x="106" y="37"/>
                  <a:pt x="104" y="38"/>
                </a:cubicBezTo>
                <a:cubicBezTo>
                  <a:pt x="101" y="40"/>
                  <a:pt x="99" y="42"/>
                  <a:pt x="100" y="43"/>
                </a:cubicBezTo>
                <a:cubicBezTo>
                  <a:pt x="102" y="48"/>
                  <a:pt x="109" y="51"/>
                  <a:pt x="106" y="56"/>
                </a:cubicBezTo>
                <a:cubicBezTo>
                  <a:pt x="104" y="60"/>
                  <a:pt x="106" y="59"/>
                  <a:pt x="108" y="59"/>
                </a:cubicBezTo>
                <a:cubicBezTo>
                  <a:pt x="113" y="61"/>
                  <a:pt x="108" y="65"/>
                  <a:pt x="109" y="68"/>
                </a:cubicBezTo>
                <a:cubicBezTo>
                  <a:pt x="112" y="74"/>
                  <a:pt x="97" y="65"/>
                  <a:pt x="102" y="64"/>
                </a:cubicBezTo>
                <a:cubicBezTo>
                  <a:pt x="100" y="61"/>
                  <a:pt x="99" y="60"/>
                  <a:pt x="96" y="61"/>
                </a:cubicBezTo>
                <a:cubicBezTo>
                  <a:pt x="94" y="62"/>
                  <a:pt x="93" y="63"/>
                  <a:pt x="91" y="62"/>
                </a:cubicBezTo>
                <a:cubicBezTo>
                  <a:pt x="90" y="61"/>
                  <a:pt x="91" y="60"/>
                  <a:pt x="90" y="60"/>
                </a:cubicBezTo>
                <a:cubicBezTo>
                  <a:pt x="88" y="60"/>
                  <a:pt x="87" y="60"/>
                  <a:pt x="86" y="60"/>
                </a:cubicBezTo>
                <a:cubicBezTo>
                  <a:pt x="85" y="60"/>
                  <a:pt x="83" y="60"/>
                  <a:pt x="85" y="58"/>
                </a:cubicBezTo>
                <a:cubicBezTo>
                  <a:pt x="81" y="60"/>
                  <a:pt x="85" y="63"/>
                  <a:pt x="83" y="64"/>
                </a:cubicBezTo>
                <a:cubicBezTo>
                  <a:pt x="82" y="64"/>
                  <a:pt x="80" y="64"/>
                  <a:pt x="79" y="64"/>
                </a:cubicBezTo>
                <a:cubicBezTo>
                  <a:pt x="76" y="63"/>
                  <a:pt x="75" y="65"/>
                  <a:pt x="73" y="65"/>
                </a:cubicBezTo>
                <a:cubicBezTo>
                  <a:pt x="71" y="65"/>
                  <a:pt x="68" y="64"/>
                  <a:pt x="66" y="65"/>
                </a:cubicBezTo>
                <a:cubicBezTo>
                  <a:pt x="64" y="65"/>
                  <a:pt x="65" y="68"/>
                  <a:pt x="63" y="68"/>
                </a:cubicBezTo>
                <a:cubicBezTo>
                  <a:pt x="62" y="68"/>
                  <a:pt x="57" y="68"/>
                  <a:pt x="59" y="71"/>
                </a:cubicBezTo>
                <a:cubicBezTo>
                  <a:pt x="57" y="71"/>
                  <a:pt x="55" y="74"/>
                  <a:pt x="54" y="73"/>
                </a:cubicBezTo>
                <a:cubicBezTo>
                  <a:pt x="53" y="72"/>
                  <a:pt x="54" y="71"/>
                  <a:pt x="52" y="72"/>
                </a:cubicBezTo>
                <a:cubicBezTo>
                  <a:pt x="51" y="72"/>
                  <a:pt x="50" y="73"/>
                  <a:pt x="49" y="73"/>
                </a:cubicBezTo>
                <a:cubicBezTo>
                  <a:pt x="47" y="74"/>
                  <a:pt x="46" y="74"/>
                  <a:pt x="45" y="71"/>
                </a:cubicBezTo>
                <a:cubicBezTo>
                  <a:pt x="45" y="70"/>
                  <a:pt x="43" y="70"/>
                  <a:pt x="42" y="69"/>
                </a:cubicBezTo>
                <a:cubicBezTo>
                  <a:pt x="42" y="69"/>
                  <a:pt x="43" y="68"/>
                  <a:pt x="43" y="68"/>
                </a:cubicBezTo>
                <a:cubicBezTo>
                  <a:pt x="42" y="67"/>
                  <a:pt x="39" y="68"/>
                  <a:pt x="38" y="67"/>
                </a:cubicBezTo>
                <a:cubicBezTo>
                  <a:pt x="37" y="66"/>
                  <a:pt x="35" y="65"/>
                  <a:pt x="33" y="66"/>
                </a:cubicBezTo>
                <a:cubicBezTo>
                  <a:pt x="31" y="68"/>
                  <a:pt x="30" y="64"/>
                  <a:pt x="29" y="66"/>
                </a:cubicBezTo>
                <a:cubicBezTo>
                  <a:pt x="28" y="68"/>
                  <a:pt x="31" y="70"/>
                  <a:pt x="29" y="73"/>
                </a:cubicBezTo>
                <a:cubicBezTo>
                  <a:pt x="27" y="76"/>
                  <a:pt x="25" y="79"/>
                  <a:pt x="21" y="79"/>
                </a:cubicBezTo>
                <a:cubicBezTo>
                  <a:pt x="22" y="77"/>
                  <a:pt x="23" y="76"/>
                  <a:pt x="22" y="74"/>
                </a:cubicBezTo>
                <a:cubicBezTo>
                  <a:pt x="22" y="73"/>
                  <a:pt x="21" y="74"/>
                  <a:pt x="20" y="74"/>
                </a:cubicBezTo>
                <a:cubicBezTo>
                  <a:pt x="18" y="75"/>
                  <a:pt x="19" y="70"/>
                  <a:pt x="17" y="69"/>
                </a:cubicBezTo>
                <a:cubicBezTo>
                  <a:pt x="16" y="69"/>
                  <a:pt x="15" y="68"/>
                  <a:pt x="14" y="67"/>
                </a:cubicBezTo>
                <a:cubicBezTo>
                  <a:pt x="13" y="66"/>
                  <a:pt x="11" y="68"/>
                  <a:pt x="11" y="66"/>
                </a:cubicBezTo>
                <a:cubicBezTo>
                  <a:pt x="10" y="64"/>
                  <a:pt x="9" y="66"/>
                  <a:pt x="8" y="67"/>
                </a:cubicBezTo>
                <a:cubicBezTo>
                  <a:pt x="6" y="68"/>
                  <a:pt x="4" y="68"/>
                  <a:pt x="3" y="67"/>
                </a:cubicBezTo>
                <a:cubicBezTo>
                  <a:pt x="1" y="70"/>
                  <a:pt x="5" y="70"/>
                  <a:pt x="5" y="72"/>
                </a:cubicBezTo>
                <a:cubicBezTo>
                  <a:pt x="6" y="75"/>
                  <a:pt x="3" y="76"/>
                  <a:pt x="2" y="78"/>
                </a:cubicBezTo>
                <a:cubicBezTo>
                  <a:pt x="0" y="81"/>
                  <a:pt x="7" y="85"/>
                  <a:pt x="4" y="88"/>
                </a:cubicBezTo>
                <a:cubicBezTo>
                  <a:pt x="6" y="89"/>
                  <a:pt x="10" y="88"/>
                  <a:pt x="12" y="90"/>
                </a:cubicBezTo>
                <a:cubicBezTo>
                  <a:pt x="14" y="92"/>
                  <a:pt x="11" y="94"/>
                  <a:pt x="15" y="95"/>
                </a:cubicBezTo>
                <a:cubicBezTo>
                  <a:pt x="17" y="95"/>
                  <a:pt x="18" y="98"/>
                  <a:pt x="20" y="97"/>
                </a:cubicBezTo>
                <a:cubicBezTo>
                  <a:pt x="21" y="97"/>
                  <a:pt x="22" y="97"/>
                  <a:pt x="23" y="96"/>
                </a:cubicBezTo>
                <a:cubicBezTo>
                  <a:pt x="23" y="96"/>
                  <a:pt x="23" y="94"/>
                  <a:pt x="23" y="94"/>
                </a:cubicBezTo>
                <a:cubicBezTo>
                  <a:pt x="24" y="93"/>
                  <a:pt x="25" y="94"/>
                  <a:pt x="26" y="93"/>
                </a:cubicBezTo>
                <a:cubicBezTo>
                  <a:pt x="26" y="92"/>
                  <a:pt x="27" y="91"/>
                  <a:pt x="28" y="91"/>
                </a:cubicBezTo>
                <a:cubicBezTo>
                  <a:pt x="31" y="92"/>
                  <a:pt x="29" y="95"/>
                  <a:pt x="31" y="97"/>
                </a:cubicBezTo>
                <a:cubicBezTo>
                  <a:pt x="32" y="98"/>
                  <a:pt x="35" y="97"/>
                  <a:pt x="36" y="97"/>
                </a:cubicBezTo>
                <a:cubicBezTo>
                  <a:pt x="37" y="97"/>
                  <a:pt x="39" y="98"/>
                  <a:pt x="39" y="99"/>
                </a:cubicBezTo>
                <a:cubicBezTo>
                  <a:pt x="39" y="99"/>
                  <a:pt x="38" y="99"/>
                  <a:pt x="39" y="100"/>
                </a:cubicBezTo>
                <a:cubicBezTo>
                  <a:pt x="39" y="101"/>
                  <a:pt x="44" y="101"/>
                  <a:pt x="45" y="101"/>
                </a:cubicBezTo>
                <a:cubicBezTo>
                  <a:pt x="48" y="100"/>
                  <a:pt x="49" y="98"/>
                  <a:pt x="50" y="95"/>
                </a:cubicBezTo>
                <a:cubicBezTo>
                  <a:pt x="52" y="91"/>
                  <a:pt x="56" y="91"/>
                  <a:pt x="59" y="92"/>
                </a:cubicBezTo>
                <a:cubicBezTo>
                  <a:pt x="61" y="92"/>
                  <a:pt x="62" y="90"/>
                  <a:pt x="63" y="90"/>
                </a:cubicBezTo>
                <a:cubicBezTo>
                  <a:pt x="65" y="91"/>
                  <a:pt x="67" y="91"/>
                  <a:pt x="69" y="91"/>
                </a:cubicBezTo>
                <a:cubicBezTo>
                  <a:pt x="73" y="92"/>
                  <a:pt x="77" y="89"/>
                  <a:pt x="81" y="87"/>
                </a:cubicBezTo>
                <a:cubicBezTo>
                  <a:pt x="82" y="87"/>
                  <a:pt x="86" y="88"/>
                  <a:pt x="83" y="89"/>
                </a:cubicBezTo>
                <a:cubicBezTo>
                  <a:pt x="81" y="90"/>
                  <a:pt x="81" y="92"/>
                  <a:pt x="82" y="95"/>
                </a:cubicBezTo>
                <a:cubicBezTo>
                  <a:pt x="84" y="98"/>
                  <a:pt x="86" y="95"/>
                  <a:pt x="86" y="99"/>
                </a:cubicBezTo>
                <a:cubicBezTo>
                  <a:pt x="86" y="100"/>
                  <a:pt x="89" y="104"/>
                  <a:pt x="90" y="104"/>
                </a:cubicBezTo>
                <a:cubicBezTo>
                  <a:pt x="93" y="106"/>
                  <a:pt x="98" y="106"/>
                  <a:pt x="101" y="107"/>
                </a:cubicBezTo>
                <a:cubicBezTo>
                  <a:pt x="105" y="108"/>
                  <a:pt x="109" y="108"/>
                  <a:pt x="113" y="109"/>
                </a:cubicBezTo>
                <a:cubicBezTo>
                  <a:pt x="114" y="109"/>
                  <a:pt x="115" y="110"/>
                  <a:pt x="117" y="110"/>
                </a:cubicBezTo>
                <a:cubicBezTo>
                  <a:pt x="118" y="111"/>
                  <a:pt x="120" y="110"/>
                  <a:pt x="122" y="110"/>
                </a:cubicBezTo>
                <a:cubicBezTo>
                  <a:pt x="126" y="111"/>
                  <a:pt x="129" y="112"/>
                  <a:pt x="133" y="112"/>
                </a:cubicBezTo>
                <a:cubicBezTo>
                  <a:pt x="136" y="112"/>
                  <a:pt x="140" y="113"/>
                  <a:pt x="142" y="114"/>
                </a:cubicBezTo>
                <a:cubicBezTo>
                  <a:pt x="144" y="116"/>
                  <a:pt x="147" y="115"/>
                  <a:pt x="150" y="116"/>
                </a:cubicBezTo>
                <a:cubicBezTo>
                  <a:pt x="152" y="116"/>
                  <a:pt x="154" y="116"/>
                  <a:pt x="156" y="118"/>
                </a:cubicBezTo>
                <a:cubicBezTo>
                  <a:pt x="157" y="115"/>
                  <a:pt x="161" y="114"/>
                  <a:pt x="163" y="112"/>
                </a:cubicBezTo>
                <a:cubicBezTo>
                  <a:pt x="164" y="112"/>
                  <a:pt x="167" y="104"/>
                  <a:pt x="169" y="108"/>
                </a:cubicBezTo>
                <a:cubicBezTo>
                  <a:pt x="170" y="105"/>
                  <a:pt x="176" y="106"/>
                  <a:pt x="178" y="106"/>
                </a:cubicBezTo>
                <a:cubicBezTo>
                  <a:pt x="180" y="106"/>
                  <a:pt x="181" y="106"/>
                  <a:pt x="183" y="107"/>
                </a:cubicBezTo>
                <a:cubicBezTo>
                  <a:pt x="184" y="108"/>
                  <a:pt x="185" y="108"/>
                  <a:pt x="186" y="107"/>
                </a:cubicBezTo>
                <a:cubicBezTo>
                  <a:pt x="186" y="104"/>
                  <a:pt x="190" y="104"/>
                  <a:pt x="192" y="104"/>
                </a:cubicBezTo>
                <a:cubicBezTo>
                  <a:pt x="195" y="103"/>
                  <a:pt x="198" y="103"/>
                  <a:pt x="201" y="106"/>
                </a:cubicBezTo>
                <a:cubicBezTo>
                  <a:pt x="201" y="103"/>
                  <a:pt x="197" y="100"/>
                  <a:pt x="201" y="98"/>
                </a:cubicBezTo>
                <a:cubicBezTo>
                  <a:pt x="204" y="97"/>
                  <a:pt x="208" y="93"/>
                  <a:pt x="208" y="90"/>
                </a:cubicBezTo>
                <a:cubicBezTo>
                  <a:pt x="209" y="91"/>
                  <a:pt x="214" y="92"/>
                  <a:pt x="215" y="90"/>
                </a:cubicBezTo>
                <a:cubicBezTo>
                  <a:pt x="215" y="89"/>
                  <a:pt x="213" y="89"/>
                  <a:pt x="213" y="89"/>
                </a:cubicBezTo>
                <a:cubicBezTo>
                  <a:pt x="214" y="89"/>
                  <a:pt x="214" y="89"/>
                  <a:pt x="215" y="88"/>
                </a:cubicBezTo>
                <a:cubicBezTo>
                  <a:pt x="212" y="87"/>
                  <a:pt x="217" y="85"/>
                  <a:pt x="215" y="84"/>
                </a:cubicBezTo>
                <a:cubicBezTo>
                  <a:pt x="213" y="83"/>
                  <a:pt x="214" y="85"/>
                  <a:pt x="213" y="82"/>
                </a:cubicBezTo>
                <a:cubicBezTo>
                  <a:pt x="212" y="79"/>
                  <a:pt x="215" y="80"/>
                  <a:pt x="214" y="77"/>
                </a:cubicBezTo>
                <a:cubicBezTo>
                  <a:pt x="214" y="76"/>
                  <a:pt x="212" y="73"/>
                  <a:pt x="214" y="73"/>
                </a:cubicBezTo>
                <a:cubicBezTo>
                  <a:pt x="216" y="72"/>
                  <a:pt x="217" y="72"/>
                  <a:pt x="219" y="69"/>
                </a:cubicBezTo>
                <a:cubicBezTo>
                  <a:pt x="219" y="69"/>
                  <a:pt x="220" y="67"/>
                  <a:pt x="220" y="67"/>
                </a:cubicBezTo>
                <a:cubicBezTo>
                  <a:pt x="218" y="62"/>
                  <a:pt x="216" y="63"/>
                  <a:pt x="212" y="61"/>
                </a:cubicBezTo>
                <a:cubicBezTo>
                  <a:pt x="212" y="60"/>
                  <a:pt x="213" y="60"/>
                  <a:pt x="214" y="60"/>
                </a:cubicBezTo>
                <a:cubicBezTo>
                  <a:pt x="215" y="59"/>
                  <a:pt x="215" y="58"/>
                  <a:pt x="215" y="58"/>
                </a:cubicBezTo>
                <a:cubicBezTo>
                  <a:pt x="217" y="56"/>
                  <a:pt x="219" y="58"/>
                  <a:pt x="221" y="59"/>
                </a:cubicBezTo>
                <a:cubicBezTo>
                  <a:pt x="221" y="59"/>
                  <a:pt x="221" y="60"/>
                  <a:pt x="222" y="61"/>
                </a:cubicBezTo>
                <a:cubicBezTo>
                  <a:pt x="223" y="61"/>
                  <a:pt x="224" y="60"/>
                  <a:pt x="225" y="60"/>
                </a:cubicBezTo>
                <a:cubicBezTo>
                  <a:pt x="227" y="59"/>
                  <a:pt x="230" y="60"/>
                  <a:pt x="232" y="59"/>
                </a:cubicBezTo>
                <a:cubicBezTo>
                  <a:pt x="231" y="58"/>
                  <a:pt x="231" y="56"/>
                  <a:pt x="231" y="55"/>
                </a:cubicBezTo>
                <a:cubicBezTo>
                  <a:pt x="231" y="54"/>
                  <a:pt x="229" y="53"/>
                  <a:pt x="229" y="53"/>
                </a:cubicBezTo>
                <a:cubicBezTo>
                  <a:pt x="230" y="52"/>
                  <a:pt x="232" y="51"/>
                  <a:pt x="232" y="50"/>
                </a:cubicBezTo>
                <a:cubicBezTo>
                  <a:pt x="232" y="48"/>
                  <a:pt x="232" y="47"/>
                  <a:pt x="234" y="46"/>
                </a:cubicBezTo>
                <a:close/>
              </a:path>
            </a:pathLst>
          </a:custGeom>
          <a:solidFill>
            <a:srgbClr val="D9D9D9"/>
          </a:solidFill>
          <a:ln w="7938" cap="flat">
            <a:solidFill>
              <a:srgbClr val="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7" name="Freeform 121">
            <a:extLst>
              <a:ext uri="{FF2B5EF4-FFF2-40B4-BE49-F238E27FC236}">
                <a16:creationId xmlns:a16="http://schemas.microsoft.com/office/drawing/2014/main" id="{DEEF884F-5608-4DE5-B7C8-1A49F6EFF158}"/>
              </a:ext>
            </a:extLst>
          </p:cNvPr>
          <p:cNvSpPr>
            <a:spLocks/>
          </p:cNvSpPr>
          <p:nvPr/>
        </p:nvSpPr>
        <p:spPr bwMode="auto">
          <a:xfrm>
            <a:off x="3094264" y="4588888"/>
            <a:ext cx="480508" cy="237187"/>
          </a:xfrm>
          <a:custGeom>
            <a:avLst/>
            <a:gdLst>
              <a:gd name="T0" fmla="*/ 158 w 172"/>
              <a:gd name="T1" fmla="*/ 20 h 84"/>
              <a:gd name="T2" fmla="*/ 148 w 172"/>
              <a:gd name="T3" fmla="*/ 12 h 84"/>
              <a:gd name="T4" fmla="*/ 145 w 172"/>
              <a:gd name="T5" fmla="*/ 10 h 84"/>
              <a:gd name="T6" fmla="*/ 131 w 172"/>
              <a:gd name="T7" fmla="*/ 10 h 84"/>
              <a:gd name="T8" fmla="*/ 127 w 172"/>
              <a:gd name="T9" fmla="*/ 12 h 84"/>
              <a:gd name="T10" fmla="*/ 120 w 172"/>
              <a:gd name="T11" fmla="*/ 15 h 84"/>
              <a:gd name="T12" fmla="*/ 109 w 172"/>
              <a:gd name="T13" fmla="*/ 11 h 84"/>
              <a:gd name="T14" fmla="*/ 99 w 172"/>
              <a:gd name="T15" fmla="*/ 16 h 84"/>
              <a:gd name="T16" fmla="*/ 92 w 172"/>
              <a:gd name="T17" fmla="*/ 19 h 84"/>
              <a:gd name="T18" fmla="*/ 89 w 172"/>
              <a:gd name="T19" fmla="*/ 16 h 84"/>
              <a:gd name="T20" fmla="*/ 86 w 172"/>
              <a:gd name="T21" fmla="*/ 11 h 84"/>
              <a:gd name="T22" fmla="*/ 77 w 172"/>
              <a:gd name="T23" fmla="*/ 3 h 84"/>
              <a:gd name="T24" fmla="*/ 68 w 172"/>
              <a:gd name="T25" fmla="*/ 11 h 84"/>
              <a:gd name="T26" fmla="*/ 59 w 172"/>
              <a:gd name="T27" fmla="*/ 6 h 84"/>
              <a:gd name="T28" fmla="*/ 46 w 172"/>
              <a:gd name="T29" fmla="*/ 11 h 84"/>
              <a:gd name="T30" fmla="*/ 37 w 172"/>
              <a:gd name="T31" fmla="*/ 25 h 84"/>
              <a:gd name="T32" fmla="*/ 31 w 172"/>
              <a:gd name="T33" fmla="*/ 32 h 84"/>
              <a:gd name="T34" fmla="*/ 21 w 172"/>
              <a:gd name="T35" fmla="*/ 37 h 84"/>
              <a:gd name="T36" fmla="*/ 17 w 172"/>
              <a:gd name="T37" fmla="*/ 36 h 84"/>
              <a:gd name="T38" fmla="*/ 6 w 172"/>
              <a:gd name="T39" fmla="*/ 39 h 84"/>
              <a:gd name="T40" fmla="*/ 1 w 172"/>
              <a:gd name="T41" fmla="*/ 53 h 84"/>
              <a:gd name="T42" fmla="*/ 6 w 172"/>
              <a:gd name="T43" fmla="*/ 66 h 84"/>
              <a:gd name="T44" fmla="*/ 13 w 172"/>
              <a:gd name="T45" fmla="*/ 72 h 84"/>
              <a:gd name="T46" fmla="*/ 13 w 172"/>
              <a:gd name="T47" fmla="*/ 71 h 84"/>
              <a:gd name="T48" fmla="*/ 19 w 172"/>
              <a:gd name="T49" fmla="*/ 76 h 84"/>
              <a:gd name="T50" fmla="*/ 33 w 172"/>
              <a:gd name="T51" fmla="*/ 84 h 84"/>
              <a:gd name="T52" fmla="*/ 52 w 172"/>
              <a:gd name="T53" fmla="*/ 83 h 84"/>
              <a:gd name="T54" fmla="*/ 61 w 172"/>
              <a:gd name="T55" fmla="*/ 79 h 84"/>
              <a:gd name="T56" fmla="*/ 66 w 172"/>
              <a:gd name="T57" fmla="*/ 70 h 84"/>
              <a:gd name="T58" fmla="*/ 81 w 172"/>
              <a:gd name="T59" fmla="*/ 68 h 84"/>
              <a:gd name="T60" fmla="*/ 92 w 172"/>
              <a:gd name="T61" fmla="*/ 66 h 84"/>
              <a:gd name="T62" fmla="*/ 102 w 172"/>
              <a:gd name="T63" fmla="*/ 61 h 84"/>
              <a:gd name="T64" fmla="*/ 109 w 172"/>
              <a:gd name="T65" fmla="*/ 55 h 84"/>
              <a:gd name="T66" fmla="*/ 116 w 172"/>
              <a:gd name="T67" fmla="*/ 48 h 84"/>
              <a:gd name="T68" fmla="*/ 132 w 172"/>
              <a:gd name="T69" fmla="*/ 50 h 84"/>
              <a:gd name="T70" fmla="*/ 143 w 172"/>
              <a:gd name="T71" fmla="*/ 50 h 84"/>
              <a:gd name="T72" fmla="*/ 153 w 172"/>
              <a:gd name="T73" fmla="*/ 57 h 84"/>
              <a:gd name="T74" fmla="*/ 165 w 172"/>
              <a:gd name="T75" fmla="*/ 43 h 84"/>
              <a:gd name="T76" fmla="*/ 168 w 172"/>
              <a:gd name="T77" fmla="*/ 34 h 84"/>
              <a:gd name="T78" fmla="*/ 172 w 172"/>
              <a:gd name="T79"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84">
                <a:moveTo>
                  <a:pt x="164" y="23"/>
                </a:moveTo>
                <a:cubicBezTo>
                  <a:pt x="162" y="22"/>
                  <a:pt x="160" y="21"/>
                  <a:pt x="158" y="20"/>
                </a:cubicBezTo>
                <a:cubicBezTo>
                  <a:pt x="156" y="20"/>
                  <a:pt x="155" y="18"/>
                  <a:pt x="154" y="15"/>
                </a:cubicBezTo>
                <a:cubicBezTo>
                  <a:pt x="153" y="13"/>
                  <a:pt x="151" y="12"/>
                  <a:pt x="148" y="12"/>
                </a:cubicBezTo>
                <a:cubicBezTo>
                  <a:pt x="148" y="12"/>
                  <a:pt x="147" y="13"/>
                  <a:pt x="147" y="12"/>
                </a:cubicBezTo>
                <a:cubicBezTo>
                  <a:pt x="147" y="12"/>
                  <a:pt x="146" y="11"/>
                  <a:pt x="145" y="10"/>
                </a:cubicBezTo>
                <a:cubicBezTo>
                  <a:pt x="143" y="9"/>
                  <a:pt x="140" y="11"/>
                  <a:pt x="137" y="10"/>
                </a:cubicBezTo>
                <a:cubicBezTo>
                  <a:pt x="134" y="9"/>
                  <a:pt x="133" y="8"/>
                  <a:pt x="131" y="10"/>
                </a:cubicBezTo>
                <a:cubicBezTo>
                  <a:pt x="129" y="12"/>
                  <a:pt x="128" y="9"/>
                  <a:pt x="126" y="10"/>
                </a:cubicBezTo>
                <a:cubicBezTo>
                  <a:pt x="125" y="11"/>
                  <a:pt x="127" y="11"/>
                  <a:pt x="127" y="12"/>
                </a:cubicBezTo>
                <a:cubicBezTo>
                  <a:pt x="127" y="13"/>
                  <a:pt x="126" y="12"/>
                  <a:pt x="126" y="13"/>
                </a:cubicBezTo>
                <a:cubicBezTo>
                  <a:pt x="124" y="15"/>
                  <a:pt x="123" y="16"/>
                  <a:pt x="120" y="15"/>
                </a:cubicBezTo>
                <a:cubicBezTo>
                  <a:pt x="118" y="14"/>
                  <a:pt x="117" y="12"/>
                  <a:pt x="116" y="11"/>
                </a:cubicBezTo>
                <a:cubicBezTo>
                  <a:pt x="114" y="10"/>
                  <a:pt x="111" y="12"/>
                  <a:pt x="109" y="11"/>
                </a:cubicBezTo>
                <a:cubicBezTo>
                  <a:pt x="108" y="11"/>
                  <a:pt x="104" y="10"/>
                  <a:pt x="104" y="13"/>
                </a:cubicBezTo>
                <a:cubicBezTo>
                  <a:pt x="104" y="14"/>
                  <a:pt x="100" y="14"/>
                  <a:pt x="99" y="16"/>
                </a:cubicBezTo>
                <a:cubicBezTo>
                  <a:pt x="98" y="16"/>
                  <a:pt x="97" y="20"/>
                  <a:pt x="97" y="21"/>
                </a:cubicBezTo>
                <a:cubicBezTo>
                  <a:pt x="95" y="21"/>
                  <a:pt x="94" y="18"/>
                  <a:pt x="92" y="19"/>
                </a:cubicBezTo>
                <a:cubicBezTo>
                  <a:pt x="92" y="19"/>
                  <a:pt x="86" y="22"/>
                  <a:pt x="87" y="19"/>
                </a:cubicBezTo>
                <a:cubicBezTo>
                  <a:pt x="88" y="18"/>
                  <a:pt x="89" y="17"/>
                  <a:pt x="89" y="16"/>
                </a:cubicBezTo>
                <a:cubicBezTo>
                  <a:pt x="89" y="16"/>
                  <a:pt x="88" y="15"/>
                  <a:pt x="88" y="14"/>
                </a:cubicBezTo>
                <a:cubicBezTo>
                  <a:pt x="88" y="12"/>
                  <a:pt x="88" y="10"/>
                  <a:pt x="86" y="11"/>
                </a:cubicBezTo>
                <a:cubicBezTo>
                  <a:pt x="85" y="11"/>
                  <a:pt x="83" y="11"/>
                  <a:pt x="83" y="9"/>
                </a:cubicBezTo>
                <a:cubicBezTo>
                  <a:pt x="81" y="9"/>
                  <a:pt x="79" y="0"/>
                  <a:pt x="77" y="3"/>
                </a:cubicBezTo>
                <a:cubicBezTo>
                  <a:pt x="75" y="5"/>
                  <a:pt x="72" y="5"/>
                  <a:pt x="71" y="7"/>
                </a:cubicBezTo>
                <a:cubicBezTo>
                  <a:pt x="70" y="9"/>
                  <a:pt x="70" y="11"/>
                  <a:pt x="68" y="11"/>
                </a:cubicBezTo>
                <a:cubicBezTo>
                  <a:pt x="66" y="10"/>
                  <a:pt x="63" y="13"/>
                  <a:pt x="63" y="10"/>
                </a:cubicBezTo>
                <a:cubicBezTo>
                  <a:pt x="63" y="7"/>
                  <a:pt x="61" y="5"/>
                  <a:pt x="59" y="6"/>
                </a:cubicBezTo>
                <a:cubicBezTo>
                  <a:pt x="57" y="6"/>
                  <a:pt x="53" y="6"/>
                  <a:pt x="51" y="7"/>
                </a:cubicBezTo>
                <a:cubicBezTo>
                  <a:pt x="49" y="8"/>
                  <a:pt x="48" y="12"/>
                  <a:pt x="46" y="11"/>
                </a:cubicBezTo>
                <a:cubicBezTo>
                  <a:pt x="48" y="14"/>
                  <a:pt x="40" y="16"/>
                  <a:pt x="39" y="19"/>
                </a:cubicBezTo>
                <a:cubicBezTo>
                  <a:pt x="38" y="21"/>
                  <a:pt x="38" y="23"/>
                  <a:pt x="37" y="25"/>
                </a:cubicBezTo>
                <a:cubicBezTo>
                  <a:pt x="37" y="26"/>
                  <a:pt x="36" y="27"/>
                  <a:pt x="33" y="28"/>
                </a:cubicBezTo>
                <a:cubicBezTo>
                  <a:pt x="31" y="28"/>
                  <a:pt x="32" y="32"/>
                  <a:pt x="31" y="32"/>
                </a:cubicBezTo>
                <a:cubicBezTo>
                  <a:pt x="28" y="32"/>
                  <a:pt x="28" y="34"/>
                  <a:pt x="26" y="35"/>
                </a:cubicBezTo>
                <a:cubicBezTo>
                  <a:pt x="24" y="35"/>
                  <a:pt x="22" y="37"/>
                  <a:pt x="21" y="37"/>
                </a:cubicBezTo>
                <a:cubicBezTo>
                  <a:pt x="20" y="37"/>
                  <a:pt x="20" y="36"/>
                  <a:pt x="19" y="35"/>
                </a:cubicBezTo>
                <a:cubicBezTo>
                  <a:pt x="19" y="35"/>
                  <a:pt x="18" y="36"/>
                  <a:pt x="17" y="36"/>
                </a:cubicBezTo>
                <a:cubicBezTo>
                  <a:pt x="15" y="36"/>
                  <a:pt x="13" y="34"/>
                  <a:pt x="11" y="34"/>
                </a:cubicBezTo>
                <a:cubicBezTo>
                  <a:pt x="9" y="34"/>
                  <a:pt x="7" y="37"/>
                  <a:pt x="6" y="39"/>
                </a:cubicBezTo>
                <a:cubicBezTo>
                  <a:pt x="5" y="41"/>
                  <a:pt x="4" y="44"/>
                  <a:pt x="3" y="46"/>
                </a:cubicBezTo>
                <a:cubicBezTo>
                  <a:pt x="3" y="49"/>
                  <a:pt x="1" y="51"/>
                  <a:pt x="1" y="53"/>
                </a:cubicBezTo>
                <a:cubicBezTo>
                  <a:pt x="0" y="56"/>
                  <a:pt x="2" y="57"/>
                  <a:pt x="3" y="60"/>
                </a:cubicBezTo>
                <a:cubicBezTo>
                  <a:pt x="4" y="62"/>
                  <a:pt x="4" y="65"/>
                  <a:pt x="6" y="66"/>
                </a:cubicBezTo>
                <a:cubicBezTo>
                  <a:pt x="8" y="67"/>
                  <a:pt x="7" y="68"/>
                  <a:pt x="8" y="70"/>
                </a:cubicBezTo>
                <a:cubicBezTo>
                  <a:pt x="9" y="72"/>
                  <a:pt x="12" y="71"/>
                  <a:pt x="13" y="72"/>
                </a:cubicBezTo>
                <a:cubicBezTo>
                  <a:pt x="12" y="70"/>
                  <a:pt x="8" y="70"/>
                  <a:pt x="9" y="67"/>
                </a:cubicBezTo>
                <a:cubicBezTo>
                  <a:pt x="10" y="69"/>
                  <a:pt x="11" y="70"/>
                  <a:pt x="13" y="71"/>
                </a:cubicBezTo>
                <a:cubicBezTo>
                  <a:pt x="14" y="71"/>
                  <a:pt x="17" y="73"/>
                  <a:pt x="15" y="73"/>
                </a:cubicBezTo>
                <a:cubicBezTo>
                  <a:pt x="16" y="73"/>
                  <a:pt x="18" y="74"/>
                  <a:pt x="19" y="76"/>
                </a:cubicBezTo>
                <a:cubicBezTo>
                  <a:pt x="21" y="77"/>
                  <a:pt x="22" y="79"/>
                  <a:pt x="23" y="80"/>
                </a:cubicBezTo>
                <a:cubicBezTo>
                  <a:pt x="26" y="82"/>
                  <a:pt x="29" y="84"/>
                  <a:pt x="33" y="84"/>
                </a:cubicBezTo>
                <a:cubicBezTo>
                  <a:pt x="37" y="83"/>
                  <a:pt x="41" y="84"/>
                  <a:pt x="45" y="84"/>
                </a:cubicBezTo>
                <a:cubicBezTo>
                  <a:pt x="48" y="83"/>
                  <a:pt x="50" y="83"/>
                  <a:pt x="52" y="83"/>
                </a:cubicBezTo>
                <a:cubicBezTo>
                  <a:pt x="54" y="83"/>
                  <a:pt x="56" y="83"/>
                  <a:pt x="57" y="83"/>
                </a:cubicBezTo>
                <a:cubicBezTo>
                  <a:pt x="59" y="82"/>
                  <a:pt x="63" y="81"/>
                  <a:pt x="61" y="79"/>
                </a:cubicBezTo>
                <a:cubicBezTo>
                  <a:pt x="60" y="78"/>
                  <a:pt x="59" y="76"/>
                  <a:pt x="59" y="74"/>
                </a:cubicBezTo>
                <a:cubicBezTo>
                  <a:pt x="61" y="71"/>
                  <a:pt x="63" y="70"/>
                  <a:pt x="66" y="70"/>
                </a:cubicBezTo>
                <a:cubicBezTo>
                  <a:pt x="69" y="69"/>
                  <a:pt x="71" y="70"/>
                  <a:pt x="73" y="69"/>
                </a:cubicBezTo>
                <a:cubicBezTo>
                  <a:pt x="76" y="68"/>
                  <a:pt x="80" y="69"/>
                  <a:pt x="81" y="68"/>
                </a:cubicBezTo>
                <a:cubicBezTo>
                  <a:pt x="83" y="65"/>
                  <a:pt x="82" y="62"/>
                  <a:pt x="86" y="63"/>
                </a:cubicBezTo>
                <a:cubicBezTo>
                  <a:pt x="89" y="63"/>
                  <a:pt x="90" y="65"/>
                  <a:pt x="92" y="66"/>
                </a:cubicBezTo>
                <a:cubicBezTo>
                  <a:pt x="94" y="67"/>
                  <a:pt x="96" y="66"/>
                  <a:pt x="98" y="65"/>
                </a:cubicBezTo>
                <a:cubicBezTo>
                  <a:pt x="100" y="64"/>
                  <a:pt x="100" y="62"/>
                  <a:pt x="102" y="61"/>
                </a:cubicBezTo>
                <a:cubicBezTo>
                  <a:pt x="104" y="61"/>
                  <a:pt x="105" y="61"/>
                  <a:pt x="107" y="60"/>
                </a:cubicBezTo>
                <a:cubicBezTo>
                  <a:pt x="108" y="59"/>
                  <a:pt x="108" y="56"/>
                  <a:pt x="109" y="55"/>
                </a:cubicBezTo>
                <a:cubicBezTo>
                  <a:pt x="109" y="53"/>
                  <a:pt x="111" y="52"/>
                  <a:pt x="111" y="50"/>
                </a:cubicBezTo>
                <a:cubicBezTo>
                  <a:pt x="112" y="48"/>
                  <a:pt x="114" y="49"/>
                  <a:pt x="116" y="48"/>
                </a:cubicBezTo>
                <a:cubicBezTo>
                  <a:pt x="120" y="47"/>
                  <a:pt x="122" y="48"/>
                  <a:pt x="125" y="50"/>
                </a:cubicBezTo>
                <a:cubicBezTo>
                  <a:pt x="128" y="51"/>
                  <a:pt x="129" y="50"/>
                  <a:pt x="132" y="50"/>
                </a:cubicBezTo>
                <a:cubicBezTo>
                  <a:pt x="134" y="49"/>
                  <a:pt x="135" y="50"/>
                  <a:pt x="137" y="48"/>
                </a:cubicBezTo>
                <a:cubicBezTo>
                  <a:pt x="139" y="47"/>
                  <a:pt x="141" y="48"/>
                  <a:pt x="143" y="50"/>
                </a:cubicBezTo>
                <a:cubicBezTo>
                  <a:pt x="144" y="51"/>
                  <a:pt x="145" y="52"/>
                  <a:pt x="146" y="53"/>
                </a:cubicBezTo>
                <a:cubicBezTo>
                  <a:pt x="148" y="56"/>
                  <a:pt x="149" y="59"/>
                  <a:pt x="153" y="57"/>
                </a:cubicBezTo>
                <a:cubicBezTo>
                  <a:pt x="158" y="54"/>
                  <a:pt x="162" y="58"/>
                  <a:pt x="161" y="49"/>
                </a:cubicBezTo>
                <a:cubicBezTo>
                  <a:pt x="161" y="45"/>
                  <a:pt x="163" y="45"/>
                  <a:pt x="165" y="43"/>
                </a:cubicBezTo>
                <a:cubicBezTo>
                  <a:pt x="167" y="41"/>
                  <a:pt x="167" y="39"/>
                  <a:pt x="167" y="37"/>
                </a:cubicBezTo>
                <a:cubicBezTo>
                  <a:pt x="168" y="35"/>
                  <a:pt x="166" y="36"/>
                  <a:pt x="168" y="34"/>
                </a:cubicBezTo>
                <a:cubicBezTo>
                  <a:pt x="169" y="33"/>
                  <a:pt x="169" y="32"/>
                  <a:pt x="170" y="30"/>
                </a:cubicBezTo>
                <a:cubicBezTo>
                  <a:pt x="171" y="28"/>
                  <a:pt x="172" y="28"/>
                  <a:pt x="172" y="25"/>
                </a:cubicBezTo>
                <a:cubicBezTo>
                  <a:pt x="169" y="25"/>
                  <a:pt x="167" y="24"/>
                  <a:pt x="164" y="23"/>
                </a:cubicBezTo>
                <a:close/>
              </a:path>
            </a:pathLst>
          </a:custGeom>
          <a:solidFill>
            <a:srgbClr val="75DBFF"/>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8" name="Freeform 122">
            <a:extLst>
              <a:ext uri="{FF2B5EF4-FFF2-40B4-BE49-F238E27FC236}">
                <a16:creationId xmlns:a16="http://schemas.microsoft.com/office/drawing/2014/main" id="{B50A0A56-BB23-4D3F-81EB-7A1F11A350EB}"/>
              </a:ext>
            </a:extLst>
          </p:cNvPr>
          <p:cNvSpPr>
            <a:spLocks/>
          </p:cNvSpPr>
          <p:nvPr/>
        </p:nvSpPr>
        <p:spPr bwMode="auto">
          <a:xfrm>
            <a:off x="3037595" y="4721188"/>
            <a:ext cx="572596" cy="356376"/>
          </a:xfrm>
          <a:custGeom>
            <a:avLst/>
            <a:gdLst>
              <a:gd name="T0" fmla="*/ 200 w 205"/>
              <a:gd name="T1" fmla="*/ 21 h 126"/>
              <a:gd name="T2" fmla="*/ 188 w 205"/>
              <a:gd name="T3" fmla="*/ 13 h 126"/>
              <a:gd name="T4" fmla="*/ 183 w 205"/>
              <a:gd name="T5" fmla="*/ 7 h 126"/>
              <a:gd name="T6" fmla="*/ 171 w 205"/>
              <a:gd name="T7" fmla="*/ 10 h 126"/>
              <a:gd name="T8" fmla="*/ 163 w 205"/>
              <a:gd name="T9" fmla="*/ 4 h 126"/>
              <a:gd name="T10" fmla="*/ 156 w 205"/>
              <a:gd name="T11" fmla="*/ 1 h 126"/>
              <a:gd name="T12" fmla="*/ 153 w 205"/>
              <a:gd name="T13" fmla="*/ 3 h 126"/>
              <a:gd name="T14" fmla="*/ 140 w 205"/>
              <a:gd name="T15" fmla="*/ 0 h 126"/>
              <a:gd name="T16" fmla="*/ 130 w 205"/>
              <a:gd name="T17" fmla="*/ 5 h 126"/>
              <a:gd name="T18" fmla="*/ 123 w 205"/>
              <a:gd name="T19" fmla="*/ 14 h 126"/>
              <a:gd name="T20" fmla="*/ 118 w 205"/>
              <a:gd name="T21" fmla="*/ 18 h 126"/>
              <a:gd name="T22" fmla="*/ 107 w 205"/>
              <a:gd name="T23" fmla="*/ 16 h 126"/>
              <a:gd name="T24" fmla="*/ 99 w 205"/>
              <a:gd name="T25" fmla="*/ 21 h 126"/>
              <a:gd name="T26" fmla="*/ 88 w 205"/>
              <a:gd name="T27" fmla="*/ 22 h 126"/>
              <a:gd name="T28" fmla="*/ 80 w 205"/>
              <a:gd name="T29" fmla="*/ 26 h 126"/>
              <a:gd name="T30" fmla="*/ 82 w 205"/>
              <a:gd name="T31" fmla="*/ 34 h 126"/>
              <a:gd name="T32" fmla="*/ 68 w 205"/>
              <a:gd name="T33" fmla="*/ 36 h 126"/>
              <a:gd name="T34" fmla="*/ 47 w 205"/>
              <a:gd name="T35" fmla="*/ 36 h 126"/>
              <a:gd name="T36" fmla="*/ 34 w 205"/>
              <a:gd name="T37" fmla="*/ 25 h 126"/>
              <a:gd name="T38" fmla="*/ 26 w 205"/>
              <a:gd name="T39" fmla="*/ 32 h 126"/>
              <a:gd name="T40" fmla="*/ 29 w 205"/>
              <a:gd name="T41" fmla="*/ 38 h 126"/>
              <a:gd name="T42" fmla="*/ 18 w 205"/>
              <a:gd name="T43" fmla="*/ 38 h 126"/>
              <a:gd name="T44" fmla="*/ 9 w 205"/>
              <a:gd name="T45" fmla="*/ 40 h 126"/>
              <a:gd name="T46" fmla="*/ 15 w 205"/>
              <a:gd name="T47" fmla="*/ 50 h 126"/>
              <a:gd name="T48" fmla="*/ 10 w 205"/>
              <a:gd name="T49" fmla="*/ 59 h 126"/>
              <a:gd name="T50" fmla="*/ 12 w 205"/>
              <a:gd name="T51" fmla="*/ 64 h 126"/>
              <a:gd name="T52" fmla="*/ 10 w 205"/>
              <a:gd name="T53" fmla="*/ 68 h 126"/>
              <a:gd name="T54" fmla="*/ 5 w 205"/>
              <a:gd name="T55" fmla="*/ 69 h 126"/>
              <a:gd name="T56" fmla="*/ 7 w 205"/>
              <a:gd name="T57" fmla="*/ 76 h 126"/>
              <a:gd name="T58" fmla="*/ 9 w 205"/>
              <a:gd name="T59" fmla="*/ 85 h 126"/>
              <a:gd name="T60" fmla="*/ 19 w 205"/>
              <a:gd name="T61" fmla="*/ 96 h 126"/>
              <a:gd name="T62" fmla="*/ 29 w 205"/>
              <a:gd name="T63" fmla="*/ 105 h 126"/>
              <a:gd name="T64" fmla="*/ 35 w 205"/>
              <a:gd name="T65" fmla="*/ 110 h 126"/>
              <a:gd name="T66" fmla="*/ 37 w 205"/>
              <a:gd name="T67" fmla="*/ 113 h 126"/>
              <a:gd name="T68" fmla="*/ 39 w 205"/>
              <a:gd name="T69" fmla="*/ 116 h 126"/>
              <a:gd name="T70" fmla="*/ 48 w 205"/>
              <a:gd name="T71" fmla="*/ 118 h 126"/>
              <a:gd name="T72" fmla="*/ 55 w 205"/>
              <a:gd name="T73" fmla="*/ 123 h 126"/>
              <a:gd name="T74" fmla="*/ 62 w 205"/>
              <a:gd name="T75" fmla="*/ 124 h 126"/>
              <a:gd name="T76" fmla="*/ 74 w 205"/>
              <a:gd name="T77" fmla="*/ 124 h 126"/>
              <a:gd name="T78" fmla="*/ 84 w 205"/>
              <a:gd name="T79" fmla="*/ 118 h 126"/>
              <a:gd name="T80" fmla="*/ 92 w 205"/>
              <a:gd name="T81" fmla="*/ 115 h 126"/>
              <a:gd name="T82" fmla="*/ 99 w 205"/>
              <a:gd name="T83" fmla="*/ 115 h 126"/>
              <a:gd name="T84" fmla="*/ 103 w 205"/>
              <a:gd name="T85" fmla="*/ 112 h 126"/>
              <a:gd name="T86" fmla="*/ 107 w 205"/>
              <a:gd name="T87" fmla="*/ 107 h 126"/>
              <a:gd name="T88" fmla="*/ 118 w 205"/>
              <a:gd name="T89" fmla="*/ 107 h 126"/>
              <a:gd name="T90" fmla="*/ 129 w 205"/>
              <a:gd name="T91" fmla="*/ 109 h 126"/>
              <a:gd name="T92" fmla="*/ 135 w 205"/>
              <a:gd name="T93" fmla="*/ 107 h 126"/>
              <a:gd name="T94" fmla="*/ 143 w 205"/>
              <a:gd name="T95" fmla="*/ 106 h 126"/>
              <a:gd name="T96" fmla="*/ 155 w 205"/>
              <a:gd name="T97" fmla="*/ 101 h 126"/>
              <a:gd name="T98" fmla="*/ 159 w 205"/>
              <a:gd name="T99" fmla="*/ 95 h 126"/>
              <a:gd name="T100" fmla="*/ 160 w 205"/>
              <a:gd name="T101" fmla="*/ 87 h 126"/>
              <a:gd name="T102" fmla="*/ 166 w 205"/>
              <a:gd name="T103" fmla="*/ 84 h 126"/>
              <a:gd name="T104" fmla="*/ 168 w 205"/>
              <a:gd name="T105" fmla="*/ 73 h 126"/>
              <a:gd name="T106" fmla="*/ 171 w 205"/>
              <a:gd name="T107" fmla="*/ 66 h 126"/>
              <a:gd name="T108" fmla="*/ 175 w 205"/>
              <a:gd name="T109" fmla="*/ 58 h 126"/>
              <a:gd name="T110" fmla="*/ 179 w 205"/>
              <a:gd name="T111" fmla="*/ 52 h 126"/>
              <a:gd name="T112" fmla="*/ 184 w 205"/>
              <a:gd name="T113" fmla="*/ 44 h 126"/>
              <a:gd name="T114" fmla="*/ 190 w 205"/>
              <a:gd name="T115" fmla="*/ 37 h 126"/>
              <a:gd name="T116" fmla="*/ 197 w 205"/>
              <a:gd name="T117" fmla="*/ 36 h 126"/>
              <a:gd name="T118" fmla="*/ 202 w 205"/>
              <a:gd name="T119" fmla="*/ 32 h 126"/>
              <a:gd name="T120" fmla="*/ 203 w 205"/>
              <a:gd name="T121" fmla="*/ 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5" h="126">
                <a:moveTo>
                  <a:pt x="203" y="22"/>
                </a:moveTo>
                <a:cubicBezTo>
                  <a:pt x="202" y="21"/>
                  <a:pt x="201" y="20"/>
                  <a:pt x="200" y="21"/>
                </a:cubicBezTo>
                <a:cubicBezTo>
                  <a:pt x="195" y="22"/>
                  <a:pt x="196" y="17"/>
                  <a:pt x="192" y="15"/>
                </a:cubicBezTo>
                <a:cubicBezTo>
                  <a:pt x="191" y="14"/>
                  <a:pt x="189" y="15"/>
                  <a:pt x="188" y="13"/>
                </a:cubicBezTo>
                <a:cubicBezTo>
                  <a:pt x="187" y="12"/>
                  <a:pt x="186" y="9"/>
                  <a:pt x="186" y="10"/>
                </a:cubicBezTo>
                <a:cubicBezTo>
                  <a:pt x="184" y="10"/>
                  <a:pt x="185" y="7"/>
                  <a:pt x="183" y="7"/>
                </a:cubicBezTo>
                <a:cubicBezTo>
                  <a:pt x="181" y="8"/>
                  <a:pt x="180" y="9"/>
                  <a:pt x="178" y="9"/>
                </a:cubicBezTo>
                <a:cubicBezTo>
                  <a:pt x="176" y="9"/>
                  <a:pt x="173" y="10"/>
                  <a:pt x="171" y="10"/>
                </a:cubicBezTo>
                <a:cubicBezTo>
                  <a:pt x="169" y="10"/>
                  <a:pt x="168" y="10"/>
                  <a:pt x="167" y="8"/>
                </a:cubicBezTo>
                <a:cubicBezTo>
                  <a:pt x="166" y="6"/>
                  <a:pt x="166" y="4"/>
                  <a:pt x="163" y="4"/>
                </a:cubicBezTo>
                <a:cubicBezTo>
                  <a:pt x="162" y="3"/>
                  <a:pt x="161" y="1"/>
                  <a:pt x="159" y="1"/>
                </a:cubicBezTo>
                <a:cubicBezTo>
                  <a:pt x="158" y="1"/>
                  <a:pt x="157" y="1"/>
                  <a:pt x="156" y="1"/>
                </a:cubicBezTo>
                <a:cubicBezTo>
                  <a:pt x="155" y="2"/>
                  <a:pt x="156" y="3"/>
                  <a:pt x="155" y="3"/>
                </a:cubicBezTo>
                <a:cubicBezTo>
                  <a:pt x="154" y="3"/>
                  <a:pt x="153" y="3"/>
                  <a:pt x="153" y="3"/>
                </a:cubicBezTo>
                <a:cubicBezTo>
                  <a:pt x="152" y="3"/>
                  <a:pt x="151" y="3"/>
                  <a:pt x="151" y="3"/>
                </a:cubicBezTo>
                <a:cubicBezTo>
                  <a:pt x="148" y="4"/>
                  <a:pt x="143" y="1"/>
                  <a:pt x="140" y="0"/>
                </a:cubicBezTo>
                <a:cubicBezTo>
                  <a:pt x="137" y="1"/>
                  <a:pt x="134" y="1"/>
                  <a:pt x="132" y="2"/>
                </a:cubicBezTo>
                <a:cubicBezTo>
                  <a:pt x="131" y="2"/>
                  <a:pt x="131" y="4"/>
                  <a:pt x="130" y="5"/>
                </a:cubicBezTo>
                <a:cubicBezTo>
                  <a:pt x="129" y="7"/>
                  <a:pt x="129" y="10"/>
                  <a:pt x="127" y="13"/>
                </a:cubicBezTo>
                <a:cubicBezTo>
                  <a:pt x="126" y="15"/>
                  <a:pt x="124" y="13"/>
                  <a:pt x="123" y="14"/>
                </a:cubicBezTo>
                <a:cubicBezTo>
                  <a:pt x="122" y="15"/>
                  <a:pt x="121" y="14"/>
                  <a:pt x="120" y="16"/>
                </a:cubicBezTo>
                <a:cubicBezTo>
                  <a:pt x="120" y="17"/>
                  <a:pt x="119" y="17"/>
                  <a:pt x="118" y="18"/>
                </a:cubicBezTo>
                <a:cubicBezTo>
                  <a:pt x="117" y="18"/>
                  <a:pt x="115" y="20"/>
                  <a:pt x="114" y="20"/>
                </a:cubicBezTo>
                <a:cubicBezTo>
                  <a:pt x="111" y="20"/>
                  <a:pt x="109" y="16"/>
                  <a:pt x="107" y="16"/>
                </a:cubicBezTo>
                <a:cubicBezTo>
                  <a:pt x="104" y="15"/>
                  <a:pt x="103" y="16"/>
                  <a:pt x="102" y="18"/>
                </a:cubicBezTo>
                <a:cubicBezTo>
                  <a:pt x="101" y="20"/>
                  <a:pt x="101" y="21"/>
                  <a:pt x="99" y="21"/>
                </a:cubicBezTo>
                <a:cubicBezTo>
                  <a:pt x="97" y="21"/>
                  <a:pt x="95" y="23"/>
                  <a:pt x="93" y="23"/>
                </a:cubicBezTo>
                <a:cubicBezTo>
                  <a:pt x="91" y="22"/>
                  <a:pt x="89" y="22"/>
                  <a:pt x="88" y="22"/>
                </a:cubicBezTo>
                <a:cubicBezTo>
                  <a:pt x="85" y="22"/>
                  <a:pt x="83" y="23"/>
                  <a:pt x="81" y="24"/>
                </a:cubicBezTo>
                <a:cubicBezTo>
                  <a:pt x="81" y="25"/>
                  <a:pt x="80" y="26"/>
                  <a:pt x="80" y="26"/>
                </a:cubicBezTo>
                <a:cubicBezTo>
                  <a:pt x="79" y="27"/>
                  <a:pt x="79" y="30"/>
                  <a:pt x="80" y="31"/>
                </a:cubicBezTo>
                <a:cubicBezTo>
                  <a:pt x="80" y="31"/>
                  <a:pt x="82" y="32"/>
                  <a:pt x="82" y="34"/>
                </a:cubicBezTo>
                <a:cubicBezTo>
                  <a:pt x="82" y="33"/>
                  <a:pt x="77" y="36"/>
                  <a:pt x="77" y="36"/>
                </a:cubicBezTo>
                <a:cubicBezTo>
                  <a:pt x="74" y="36"/>
                  <a:pt x="71" y="36"/>
                  <a:pt x="68" y="36"/>
                </a:cubicBezTo>
                <a:cubicBezTo>
                  <a:pt x="64" y="37"/>
                  <a:pt x="61" y="36"/>
                  <a:pt x="57" y="36"/>
                </a:cubicBezTo>
                <a:cubicBezTo>
                  <a:pt x="54" y="36"/>
                  <a:pt x="50" y="38"/>
                  <a:pt x="47" y="36"/>
                </a:cubicBezTo>
                <a:cubicBezTo>
                  <a:pt x="45" y="33"/>
                  <a:pt x="42" y="33"/>
                  <a:pt x="40" y="30"/>
                </a:cubicBezTo>
                <a:cubicBezTo>
                  <a:pt x="38" y="28"/>
                  <a:pt x="36" y="26"/>
                  <a:pt x="34" y="25"/>
                </a:cubicBezTo>
                <a:cubicBezTo>
                  <a:pt x="32" y="24"/>
                  <a:pt x="29" y="25"/>
                  <a:pt x="29" y="28"/>
                </a:cubicBezTo>
                <a:cubicBezTo>
                  <a:pt x="29" y="30"/>
                  <a:pt x="27" y="30"/>
                  <a:pt x="26" y="32"/>
                </a:cubicBezTo>
                <a:cubicBezTo>
                  <a:pt x="26" y="32"/>
                  <a:pt x="28" y="33"/>
                  <a:pt x="28" y="34"/>
                </a:cubicBezTo>
                <a:cubicBezTo>
                  <a:pt x="28" y="35"/>
                  <a:pt x="28" y="37"/>
                  <a:pt x="29" y="38"/>
                </a:cubicBezTo>
                <a:cubicBezTo>
                  <a:pt x="27" y="39"/>
                  <a:pt x="23" y="37"/>
                  <a:pt x="21" y="39"/>
                </a:cubicBezTo>
                <a:cubicBezTo>
                  <a:pt x="20" y="41"/>
                  <a:pt x="19" y="38"/>
                  <a:pt x="18" y="38"/>
                </a:cubicBezTo>
                <a:cubicBezTo>
                  <a:pt x="17" y="37"/>
                  <a:pt x="11" y="36"/>
                  <a:pt x="12" y="37"/>
                </a:cubicBezTo>
                <a:cubicBezTo>
                  <a:pt x="13" y="39"/>
                  <a:pt x="9" y="39"/>
                  <a:pt x="9" y="40"/>
                </a:cubicBezTo>
                <a:cubicBezTo>
                  <a:pt x="12" y="41"/>
                  <a:pt x="15" y="41"/>
                  <a:pt x="17" y="44"/>
                </a:cubicBezTo>
                <a:cubicBezTo>
                  <a:pt x="18" y="46"/>
                  <a:pt x="16" y="48"/>
                  <a:pt x="15" y="50"/>
                </a:cubicBezTo>
                <a:cubicBezTo>
                  <a:pt x="13" y="53"/>
                  <a:pt x="8" y="50"/>
                  <a:pt x="11" y="55"/>
                </a:cubicBezTo>
                <a:cubicBezTo>
                  <a:pt x="12" y="58"/>
                  <a:pt x="10" y="57"/>
                  <a:pt x="10" y="59"/>
                </a:cubicBezTo>
                <a:cubicBezTo>
                  <a:pt x="10" y="60"/>
                  <a:pt x="10" y="63"/>
                  <a:pt x="10" y="63"/>
                </a:cubicBezTo>
                <a:cubicBezTo>
                  <a:pt x="11" y="64"/>
                  <a:pt x="13" y="62"/>
                  <a:pt x="12" y="64"/>
                </a:cubicBezTo>
                <a:cubicBezTo>
                  <a:pt x="12" y="65"/>
                  <a:pt x="10" y="67"/>
                  <a:pt x="12" y="67"/>
                </a:cubicBezTo>
                <a:cubicBezTo>
                  <a:pt x="11" y="68"/>
                  <a:pt x="11" y="68"/>
                  <a:pt x="10" y="68"/>
                </a:cubicBezTo>
                <a:cubicBezTo>
                  <a:pt x="10" y="68"/>
                  <a:pt x="12" y="68"/>
                  <a:pt x="12" y="69"/>
                </a:cubicBezTo>
                <a:cubicBezTo>
                  <a:pt x="11" y="71"/>
                  <a:pt x="6" y="70"/>
                  <a:pt x="5" y="69"/>
                </a:cubicBezTo>
                <a:cubicBezTo>
                  <a:pt x="5" y="72"/>
                  <a:pt x="2" y="74"/>
                  <a:pt x="0" y="76"/>
                </a:cubicBezTo>
                <a:cubicBezTo>
                  <a:pt x="2" y="77"/>
                  <a:pt x="5" y="74"/>
                  <a:pt x="7" y="76"/>
                </a:cubicBezTo>
                <a:cubicBezTo>
                  <a:pt x="8" y="77"/>
                  <a:pt x="6" y="80"/>
                  <a:pt x="7" y="82"/>
                </a:cubicBezTo>
                <a:cubicBezTo>
                  <a:pt x="8" y="82"/>
                  <a:pt x="11" y="85"/>
                  <a:pt x="9" y="85"/>
                </a:cubicBezTo>
                <a:cubicBezTo>
                  <a:pt x="8" y="85"/>
                  <a:pt x="12" y="89"/>
                  <a:pt x="12" y="90"/>
                </a:cubicBezTo>
                <a:cubicBezTo>
                  <a:pt x="15" y="92"/>
                  <a:pt x="17" y="93"/>
                  <a:pt x="19" y="96"/>
                </a:cubicBezTo>
                <a:cubicBezTo>
                  <a:pt x="21" y="98"/>
                  <a:pt x="23" y="98"/>
                  <a:pt x="24" y="100"/>
                </a:cubicBezTo>
                <a:cubicBezTo>
                  <a:pt x="25" y="103"/>
                  <a:pt x="27" y="104"/>
                  <a:pt x="29" y="105"/>
                </a:cubicBezTo>
                <a:cubicBezTo>
                  <a:pt x="31" y="106"/>
                  <a:pt x="33" y="106"/>
                  <a:pt x="34" y="109"/>
                </a:cubicBezTo>
                <a:cubicBezTo>
                  <a:pt x="34" y="109"/>
                  <a:pt x="35" y="110"/>
                  <a:pt x="35" y="110"/>
                </a:cubicBezTo>
                <a:cubicBezTo>
                  <a:pt x="35" y="110"/>
                  <a:pt x="35" y="110"/>
                  <a:pt x="34" y="110"/>
                </a:cubicBezTo>
                <a:cubicBezTo>
                  <a:pt x="37" y="110"/>
                  <a:pt x="36" y="113"/>
                  <a:pt x="37" y="113"/>
                </a:cubicBezTo>
                <a:cubicBezTo>
                  <a:pt x="35" y="113"/>
                  <a:pt x="38" y="114"/>
                  <a:pt x="38" y="115"/>
                </a:cubicBezTo>
                <a:cubicBezTo>
                  <a:pt x="40" y="114"/>
                  <a:pt x="41" y="116"/>
                  <a:pt x="39" y="116"/>
                </a:cubicBezTo>
                <a:cubicBezTo>
                  <a:pt x="40" y="116"/>
                  <a:pt x="41" y="117"/>
                  <a:pt x="41" y="117"/>
                </a:cubicBezTo>
                <a:cubicBezTo>
                  <a:pt x="43" y="116"/>
                  <a:pt x="46" y="116"/>
                  <a:pt x="48" y="118"/>
                </a:cubicBezTo>
                <a:cubicBezTo>
                  <a:pt x="50" y="121"/>
                  <a:pt x="49" y="122"/>
                  <a:pt x="52" y="122"/>
                </a:cubicBezTo>
                <a:cubicBezTo>
                  <a:pt x="53" y="122"/>
                  <a:pt x="54" y="122"/>
                  <a:pt x="55" y="123"/>
                </a:cubicBezTo>
                <a:cubicBezTo>
                  <a:pt x="56" y="125"/>
                  <a:pt x="55" y="124"/>
                  <a:pt x="56" y="124"/>
                </a:cubicBezTo>
                <a:cubicBezTo>
                  <a:pt x="58" y="124"/>
                  <a:pt x="60" y="124"/>
                  <a:pt x="62" y="124"/>
                </a:cubicBezTo>
                <a:cubicBezTo>
                  <a:pt x="63" y="124"/>
                  <a:pt x="65" y="124"/>
                  <a:pt x="67" y="125"/>
                </a:cubicBezTo>
                <a:cubicBezTo>
                  <a:pt x="69" y="125"/>
                  <a:pt x="72" y="126"/>
                  <a:pt x="74" y="124"/>
                </a:cubicBezTo>
                <a:cubicBezTo>
                  <a:pt x="76" y="122"/>
                  <a:pt x="78" y="123"/>
                  <a:pt x="79" y="120"/>
                </a:cubicBezTo>
                <a:cubicBezTo>
                  <a:pt x="81" y="117"/>
                  <a:pt x="83" y="120"/>
                  <a:pt x="84" y="118"/>
                </a:cubicBezTo>
                <a:cubicBezTo>
                  <a:pt x="85" y="117"/>
                  <a:pt x="89" y="117"/>
                  <a:pt x="90" y="117"/>
                </a:cubicBezTo>
                <a:cubicBezTo>
                  <a:pt x="89" y="115"/>
                  <a:pt x="92" y="116"/>
                  <a:pt x="92" y="115"/>
                </a:cubicBezTo>
                <a:cubicBezTo>
                  <a:pt x="91" y="114"/>
                  <a:pt x="94" y="111"/>
                  <a:pt x="94" y="114"/>
                </a:cubicBezTo>
                <a:cubicBezTo>
                  <a:pt x="95" y="115"/>
                  <a:pt x="98" y="115"/>
                  <a:pt x="99" y="115"/>
                </a:cubicBezTo>
                <a:cubicBezTo>
                  <a:pt x="99" y="114"/>
                  <a:pt x="99" y="114"/>
                  <a:pt x="99" y="113"/>
                </a:cubicBezTo>
                <a:cubicBezTo>
                  <a:pt x="100" y="112"/>
                  <a:pt x="102" y="113"/>
                  <a:pt x="103" y="112"/>
                </a:cubicBezTo>
                <a:cubicBezTo>
                  <a:pt x="103" y="111"/>
                  <a:pt x="104" y="111"/>
                  <a:pt x="105" y="110"/>
                </a:cubicBezTo>
                <a:cubicBezTo>
                  <a:pt x="105" y="109"/>
                  <a:pt x="106" y="107"/>
                  <a:pt x="107" y="107"/>
                </a:cubicBezTo>
                <a:cubicBezTo>
                  <a:pt x="109" y="105"/>
                  <a:pt x="112" y="108"/>
                  <a:pt x="114" y="108"/>
                </a:cubicBezTo>
                <a:cubicBezTo>
                  <a:pt x="116" y="108"/>
                  <a:pt x="117" y="107"/>
                  <a:pt x="118" y="107"/>
                </a:cubicBezTo>
                <a:cubicBezTo>
                  <a:pt x="119" y="107"/>
                  <a:pt x="120" y="107"/>
                  <a:pt x="121" y="108"/>
                </a:cubicBezTo>
                <a:cubicBezTo>
                  <a:pt x="124" y="108"/>
                  <a:pt x="126" y="107"/>
                  <a:pt x="129" y="109"/>
                </a:cubicBezTo>
                <a:cubicBezTo>
                  <a:pt x="129" y="107"/>
                  <a:pt x="131" y="107"/>
                  <a:pt x="132" y="107"/>
                </a:cubicBezTo>
                <a:cubicBezTo>
                  <a:pt x="133" y="107"/>
                  <a:pt x="134" y="108"/>
                  <a:pt x="135" y="107"/>
                </a:cubicBezTo>
                <a:cubicBezTo>
                  <a:pt x="135" y="107"/>
                  <a:pt x="135" y="107"/>
                  <a:pt x="135" y="106"/>
                </a:cubicBezTo>
                <a:cubicBezTo>
                  <a:pt x="139" y="106"/>
                  <a:pt x="140" y="110"/>
                  <a:pt x="143" y="106"/>
                </a:cubicBezTo>
                <a:cubicBezTo>
                  <a:pt x="144" y="103"/>
                  <a:pt x="144" y="101"/>
                  <a:pt x="148" y="103"/>
                </a:cubicBezTo>
                <a:cubicBezTo>
                  <a:pt x="151" y="103"/>
                  <a:pt x="153" y="104"/>
                  <a:pt x="155" y="101"/>
                </a:cubicBezTo>
                <a:cubicBezTo>
                  <a:pt x="157" y="100"/>
                  <a:pt x="156" y="99"/>
                  <a:pt x="157" y="97"/>
                </a:cubicBezTo>
                <a:cubicBezTo>
                  <a:pt x="157" y="96"/>
                  <a:pt x="159" y="96"/>
                  <a:pt x="159" y="95"/>
                </a:cubicBezTo>
                <a:cubicBezTo>
                  <a:pt x="160" y="94"/>
                  <a:pt x="158" y="93"/>
                  <a:pt x="159" y="91"/>
                </a:cubicBezTo>
                <a:cubicBezTo>
                  <a:pt x="160" y="90"/>
                  <a:pt x="160" y="89"/>
                  <a:pt x="160" y="87"/>
                </a:cubicBezTo>
                <a:cubicBezTo>
                  <a:pt x="161" y="85"/>
                  <a:pt x="163" y="87"/>
                  <a:pt x="164" y="85"/>
                </a:cubicBezTo>
                <a:cubicBezTo>
                  <a:pt x="164" y="83"/>
                  <a:pt x="165" y="85"/>
                  <a:pt x="166" y="84"/>
                </a:cubicBezTo>
                <a:cubicBezTo>
                  <a:pt x="167" y="82"/>
                  <a:pt x="164" y="79"/>
                  <a:pt x="167" y="77"/>
                </a:cubicBezTo>
                <a:cubicBezTo>
                  <a:pt x="169" y="76"/>
                  <a:pt x="168" y="75"/>
                  <a:pt x="168" y="73"/>
                </a:cubicBezTo>
                <a:cubicBezTo>
                  <a:pt x="169" y="72"/>
                  <a:pt x="171" y="72"/>
                  <a:pt x="171" y="69"/>
                </a:cubicBezTo>
                <a:cubicBezTo>
                  <a:pt x="170" y="68"/>
                  <a:pt x="169" y="68"/>
                  <a:pt x="171" y="66"/>
                </a:cubicBezTo>
                <a:cubicBezTo>
                  <a:pt x="172" y="65"/>
                  <a:pt x="173" y="65"/>
                  <a:pt x="174" y="63"/>
                </a:cubicBezTo>
                <a:cubicBezTo>
                  <a:pt x="174" y="61"/>
                  <a:pt x="175" y="60"/>
                  <a:pt x="175" y="58"/>
                </a:cubicBezTo>
                <a:cubicBezTo>
                  <a:pt x="175" y="57"/>
                  <a:pt x="176" y="56"/>
                  <a:pt x="176" y="55"/>
                </a:cubicBezTo>
                <a:cubicBezTo>
                  <a:pt x="177" y="54"/>
                  <a:pt x="179" y="54"/>
                  <a:pt x="179" y="52"/>
                </a:cubicBezTo>
                <a:cubicBezTo>
                  <a:pt x="180" y="51"/>
                  <a:pt x="179" y="50"/>
                  <a:pt x="179" y="48"/>
                </a:cubicBezTo>
                <a:cubicBezTo>
                  <a:pt x="180" y="45"/>
                  <a:pt x="182" y="45"/>
                  <a:pt x="184" y="44"/>
                </a:cubicBezTo>
                <a:cubicBezTo>
                  <a:pt x="185" y="43"/>
                  <a:pt x="185" y="41"/>
                  <a:pt x="185" y="40"/>
                </a:cubicBezTo>
                <a:cubicBezTo>
                  <a:pt x="186" y="38"/>
                  <a:pt x="188" y="37"/>
                  <a:pt x="190" y="37"/>
                </a:cubicBezTo>
                <a:cubicBezTo>
                  <a:pt x="192" y="38"/>
                  <a:pt x="191" y="36"/>
                  <a:pt x="192" y="35"/>
                </a:cubicBezTo>
                <a:cubicBezTo>
                  <a:pt x="193" y="34"/>
                  <a:pt x="195" y="36"/>
                  <a:pt x="197" y="36"/>
                </a:cubicBezTo>
                <a:cubicBezTo>
                  <a:pt x="198" y="36"/>
                  <a:pt x="199" y="35"/>
                  <a:pt x="200" y="34"/>
                </a:cubicBezTo>
                <a:cubicBezTo>
                  <a:pt x="201" y="33"/>
                  <a:pt x="202" y="33"/>
                  <a:pt x="202" y="32"/>
                </a:cubicBezTo>
                <a:cubicBezTo>
                  <a:pt x="203" y="30"/>
                  <a:pt x="204" y="29"/>
                  <a:pt x="205" y="28"/>
                </a:cubicBezTo>
                <a:cubicBezTo>
                  <a:pt x="203" y="27"/>
                  <a:pt x="205" y="24"/>
                  <a:pt x="203" y="22"/>
                </a:cubicBezTo>
                <a:close/>
              </a:path>
            </a:pathLst>
          </a:custGeom>
          <a:solidFill>
            <a:srgbClr val="00B0F2"/>
          </a:solidFill>
          <a:ln>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6" name="Group 35">
            <a:extLst>
              <a:ext uri="{FF2B5EF4-FFF2-40B4-BE49-F238E27FC236}">
                <a16:creationId xmlns:a16="http://schemas.microsoft.com/office/drawing/2014/main" id="{325AD619-789B-675D-453B-0D416E29823A}"/>
              </a:ext>
            </a:extLst>
          </p:cNvPr>
          <p:cNvGrpSpPr/>
          <p:nvPr/>
        </p:nvGrpSpPr>
        <p:grpSpPr>
          <a:xfrm>
            <a:off x="2539111" y="1494840"/>
            <a:ext cx="1710374" cy="433639"/>
            <a:chOff x="5724754" y="1549431"/>
            <a:chExt cx="1710374" cy="433639"/>
          </a:xfrm>
        </p:grpSpPr>
        <p:sp>
          <p:nvSpPr>
            <p:cNvPr id="55" name="object 9">
              <a:extLst>
                <a:ext uri="{FF2B5EF4-FFF2-40B4-BE49-F238E27FC236}">
                  <a16:creationId xmlns:a16="http://schemas.microsoft.com/office/drawing/2014/main" id="{9A3B40CE-85C6-4DE8-A6F1-45C170770121}"/>
                </a:ext>
              </a:extLst>
            </p:cNvPr>
            <p:cNvSpPr txBox="1"/>
            <p:nvPr/>
          </p:nvSpPr>
          <p:spPr>
            <a:xfrm>
              <a:off x="6558973" y="1568250"/>
              <a:ext cx="876155" cy="396000"/>
            </a:xfrm>
            <a:prstGeom prst="rect">
              <a:avLst/>
            </a:prstGeom>
          </p:spPr>
          <p:txBody>
            <a:bodyPr vert="horz" wrap="square" lIns="0" tIns="0" rIns="0" bIns="0" rtlCol="0" anchor="ctr">
              <a:noAutofit/>
            </a:bodyPr>
            <a:lstStyle/>
            <a:p>
              <a:pPr marL="11516" marR="0" lvl="0" indent="0" algn="l" defTabSz="914400" eaLnBrk="1" fontAlgn="auto" latinLnBrk="0" hangingPunct="1">
                <a:lnSpc>
                  <a:spcPct val="100000"/>
                </a:lnSpc>
                <a:spcBef>
                  <a:spcPts val="91"/>
                </a:spcBef>
                <a:spcAft>
                  <a:spcPts val="0"/>
                </a:spcAft>
                <a:buClrTx/>
                <a:buSzTx/>
                <a:buFontTx/>
                <a:buNone/>
                <a:tabLst/>
                <a:defRPr/>
              </a:pPr>
              <a:r>
                <a:rPr lang="en-US" sz="1050" dirty="0">
                  <a:solidFill>
                    <a:srgbClr val="000000"/>
                  </a:solidFill>
                  <a:latin typeface="Open Sans" panose="020B0606030504020204" pitchFamily="34" charset="0"/>
                  <a:ea typeface="Open Sans" panose="020B0606030504020204" pitchFamily="34" charset="0"/>
                  <a:cs typeface="Open Sans" panose="020B0606030504020204" pitchFamily="34" charset="0"/>
                </a:rPr>
                <a:t>Offices</a:t>
              </a:r>
              <a:endParaRPr kumimoji="0" lang="en-US" sz="105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object 8">
              <a:extLst>
                <a:ext uri="{FF2B5EF4-FFF2-40B4-BE49-F238E27FC236}">
                  <a16:creationId xmlns:a16="http://schemas.microsoft.com/office/drawing/2014/main" id="{AE2F879D-5026-4FD4-8548-94CB2E64E0F1}"/>
                </a:ext>
              </a:extLst>
            </p:cNvPr>
            <p:cNvSpPr txBox="1"/>
            <p:nvPr/>
          </p:nvSpPr>
          <p:spPr>
            <a:xfrm>
              <a:off x="5794844" y="1549431"/>
              <a:ext cx="985586"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9</a:t>
              </a:r>
            </a:p>
          </p:txBody>
        </p:sp>
        <p:grpSp>
          <p:nvGrpSpPr>
            <p:cNvPr id="11" name="Graphic 4">
              <a:extLst>
                <a:ext uri="{FF2B5EF4-FFF2-40B4-BE49-F238E27FC236}">
                  <a16:creationId xmlns:a16="http://schemas.microsoft.com/office/drawing/2014/main" id="{4D13A6F3-CDA3-BE2E-7956-D2F660141351}"/>
                </a:ext>
              </a:extLst>
            </p:cNvPr>
            <p:cNvGrpSpPr>
              <a:grpSpLocks noChangeAspect="1"/>
            </p:cNvGrpSpPr>
            <p:nvPr/>
          </p:nvGrpSpPr>
          <p:grpSpPr>
            <a:xfrm>
              <a:off x="5724754" y="1649183"/>
              <a:ext cx="293158" cy="234133"/>
              <a:chOff x="1589177" y="2466933"/>
              <a:chExt cx="213423" cy="170452"/>
            </a:xfrm>
            <a:solidFill>
              <a:srgbClr val="00B0F2"/>
            </a:solidFill>
          </p:grpSpPr>
          <p:sp>
            <p:nvSpPr>
              <p:cNvPr id="13" name="Graphic 4">
                <a:extLst>
                  <a:ext uri="{FF2B5EF4-FFF2-40B4-BE49-F238E27FC236}">
                    <a16:creationId xmlns:a16="http://schemas.microsoft.com/office/drawing/2014/main" id="{537458CC-BA2A-4F4C-1E5A-770DCFFF6C4D}"/>
                  </a:ext>
                </a:extLst>
              </p:cNvPr>
              <p:cNvSpPr/>
              <p:nvPr/>
            </p:nvSpPr>
            <p:spPr>
              <a:xfrm>
                <a:off x="1589177" y="2466933"/>
                <a:ext cx="213423" cy="170452"/>
              </a:xfrm>
              <a:custGeom>
                <a:avLst/>
                <a:gdLst>
                  <a:gd name="connsiteX0" fmla="*/ 207034 w 213423"/>
                  <a:gd name="connsiteY0" fmla="*/ 14045 h 170452"/>
                  <a:gd name="connsiteX1" fmla="*/ 170611 w 213423"/>
                  <a:gd name="connsiteY1" fmla="*/ 14045 h 170452"/>
                  <a:gd name="connsiteX2" fmla="*/ 170611 w 213423"/>
                  <a:gd name="connsiteY2" fmla="*/ 6384 h 170452"/>
                  <a:gd name="connsiteX3" fmla="*/ 164221 w 213423"/>
                  <a:gd name="connsiteY3" fmla="*/ 0 h 170452"/>
                  <a:gd name="connsiteX4" fmla="*/ 49202 w 213423"/>
                  <a:gd name="connsiteY4" fmla="*/ 0 h 170452"/>
                  <a:gd name="connsiteX5" fmla="*/ 42813 w 213423"/>
                  <a:gd name="connsiteY5" fmla="*/ 6384 h 170452"/>
                  <a:gd name="connsiteX6" fmla="*/ 42813 w 213423"/>
                  <a:gd name="connsiteY6" fmla="*/ 14045 h 170452"/>
                  <a:gd name="connsiteX7" fmla="*/ 6390 w 213423"/>
                  <a:gd name="connsiteY7" fmla="*/ 14045 h 170452"/>
                  <a:gd name="connsiteX8" fmla="*/ 0 w 213423"/>
                  <a:gd name="connsiteY8" fmla="*/ 20429 h 170452"/>
                  <a:gd name="connsiteX9" fmla="*/ 0 w 213423"/>
                  <a:gd name="connsiteY9" fmla="*/ 164068 h 170452"/>
                  <a:gd name="connsiteX10" fmla="*/ 6390 w 213423"/>
                  <a:gd name="connsiteY10" fmla="*/ 170452 h 170452"/>
                  <a:gd name="connsiteX11" fmla="*/ 207034 w 213423"/>
                  <a:gd name="connsiteY11" fmla="*/ 170452 h 170452"/>
                  <a:gd name="connsiteX12" fmla="*/ 213424 w 213423"/>
                  <a:gd name="connsiteY12" fmla="*/ 164068 h 170452"/>
                  <a:gd name="connsiteX13" fmla="*/ 213424 w 213423"/>
                  <a:gd name="connsiteY13" fmla="*/ 20429 h 170452"/>
                  <a:gd name="connsiteX14" fmla="*/ 207034 w 213423"/>
                  <a:gd name="connsiteY14" fmla="*/ 14045 h 170452"/>
                  <a:gd name="connsiteX15" fmla="*/ 98405 w 213423"/>
                  <a:gd name="connsiteY15" fmla="*/ 157684 h 170452"/>
                  <a:gd name="connsiteX16" fmla="*/ 98405 w 213423"/>
                  <a:gd name="connsiteY16" fmla="*/ 112997 h 170452"/>
                  <a:gd name="connsiteX17" fmla="*/ 114380 w 213423"/>
                  <a:gd name="connsiteY17" fmla="*/ 112997 h 170452"/>
                  <a:gd name="connsiteX18" fmla="*/ 114380 w 213423"/>
                  <a:gd name="connsiteY18" fmla="*/ 157684 h 170452"/>
                  <a:gd name="connsiteX19" fmla="*/ 98405 w 213423"/>
                  <a:gd name="connsiteY19" fmla="*/ 157684 h 170452"/>
                  <a:gd name="connsiteX20" fmla="*/ 200644 w 213423"/>
                  <a:gd name="connsiteY20" fmla="*/ 157684 h 170452"/>
                  <a:gd name="connsiteX21" fmla="*/ 127160 w 213423"/>
                  <a:gd name="connsiteY21" fmla="*/ 157684 h 170452"/>
                  <a:gd name="connsiteX22" fmla="*/ 127160 w 213423"/>
                  <a:gd name="connsiteY22" fmla="*/ 106613 h 170452"/>
                  <a:gd name="connsiteX23" fmla="*/ 120770 w 213423"/>
                  <a:gd name="connsiteY23" fmla="*/ 100229 h 170452"/>
                  <a:gd name="connsiteX24" fmla="*/ 92015 w 213423"/>
                  <a:gd name="connsiteY24" fmla="*/ 100229 h 170452"/>
                  <a:gd name="connsiteX25" fmla="*/ 85625 w 213423"/>
                  <a:gd name="connsiteY25" fmla="*/ 106613 h 170452"/>
                  <a:gd name="connsiteX26" fmla="*/ 85625 w 213423"/>
                  <a:gd name="connsiteY26" fmla="*/ 157684 h 170452"/>
                  <a:gd name="connsiteX27" fmla="*/ 12141 w 213423"/>
                  <a:gd name="connsiteY27" fmla="*/ 157684 h 170452"/>
                  <a:gd name="connsiteX28" fmla="*/ 12141 w 213423"/>
                  <a:gd name="connsiteY28" fmla="*/ 26813 h 170452"/>
                  <a:gd name="connsiteX29" fmla="*/ 48563 w 213423"/>
                  <a:gd name="connsiteY29" fmla="*/ 26813 h 170452"/>
                  <a:gd name="connsiteX30" fmla="*/ 54953 w 213423"/>
                  <a:gd name="connsiteY30" fmla="*/ 20429 h 170452"/>
                  <a:gd name="connsiteX31" fmla="*/ 54953 w 213423"/>
                  <a:gd name="connsiteY31" fmla="*/ 12768 h 170452"/>
                  <a:gd name="connsiteX32" fmla="*/ 157192 w 213423"/>
                  <a:gd name="connsiteY32" fmla="*/ 12768 h 170452"/>
                  <a:gd name="connsiteX33" fmla="*/ 157192 w 213423"/>
                  <a:gd name="connsiteY33" fmla="*/ 20429 h 170452"/>
                  <a:gd name="connsiteX34" fmla="*/ 163582 w 213423"/>
                  <a:gd name="connsiteY34" fmla="*/ 26813 h 170452"/>
                  <a:gd name="connsiteX35" fmla="*/ 200005 w 213423"/>
                  <a:gd name="connsiteY35" fmla="*/ 26813 h 170452"/>
                  <a:gd name="connsiteX36" fmla="*/ 200644 w 213423"/>
                  <a:gd name="connsiteY36" fmla="*/ 157684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3423" h="170452">
                    <a:moveTo>
                      <a:pt x="207034" y="14045"/>
                    </a:moveTo>
                    <a:lnTo>
                      <a:pt x="170611" y="14045"/>
                    </a:lnTo>
                    <a:lnTo>
                      <a:pt x="170611" y="6384"/>
                    </a:lnTo>
                    <a:cubicBezTo>
                      <a:pt x="170611" y="2554"/>
                      <a:pt x="168055" y="0"/>
                      <a:pt x="164221" y="0"/>
                    </a:cubicBezTo>
                    <a:lnTo>
                      <a:pt x="49202" y="0"/>
                    </a:lnTo>
                    <a:cubicBezTo>
                      <a:pt x="45369" y="0"/>
                      <a:pt x="42813" y="2554"/>
                      <a:pt x="42813" y="6384"/>
                    </a:cubicBezTo>
                    <a:lnTo>
                      <a:pt x="42813" y="14045"/>
                    </a:lnTo>
                    <a:lnTo>
                      <a:pt x="6390" y="14045"/>
                    </a:lnTo>
                    <a:cubicBezTo>
                      <a:pt x="2556" y="14045"/>
                      <a:pt x="0" y="16598"/>
                      <a:pt x="0" y="20429"/>
                    </a:cubicBezTo>
                    <a:lnTo>
                      <a:pt x="0" y="164068"/>
                    </a:lnTo>
                    <a:cubicBezTo>
                      <a:pt x="0" y="167899"/>
                      <a:pt x="2556" y="170452"/>
                      <a:pt x="6390" y="170452"/>
                    </a:cubicBezTo>
                    <a:lnTo>
                      <a:pt x="207034" y="170452"/>
                    </a:lnTo>
                    <a:cubicBezTo>
                      <a:pt x="210868" y="170452"/>
                      <a:pt x="213424" y="167899"/>
                      <a:pt x="213424" y="164068"/>
                    </a:cubicBezTo>
                    <a:lnTo>
                      <a:pt x="213424" y="20429"/>
                    </a:lnTo>
                    <a:cubicBezTo>
                      <a:pt x="213424" y="17237"/>
                      <a:pt x="210868" y="14045"/>
                      <a:pt x="207034" y="14045"/>
                    </a:cubicBezTo>
                    <a:close/>
                    <a:moveTo>
                      <a:pt x="98405" y="157684"/>
                    </a:moveTo>
                    <a:lnTo>
                      <a:pt x="98405" y="112997"/>
                    </a:lnTo>
                    <a:lnTo>
                      <a:pt x="114380" y="112997"/>
                    </a:lnTo>
                    <a:lnTo>
                      <a:pt x="114380" y="157684"/>
                    </a:lnTo>
                    <a:lnTo>
                      <a:pt x="98405" y="157684"/>
                    </a:lnTo>
                    <a:close/>
                    <a:moveTo>
                      <a:pt x="200644" y="157684"/>
                    </a:moveTo>
                    <a:lnTo>
                      <a:pt x="127160" y="157684"/>
                    </a:lnTo>
                    <a:lnTo>
                      <a:pt x="127160" y="106613"/>
                    </a:lnTo>
                    <a:cubicBezTo>
                      <a:pt x="127160" y="102782"/>
                      <a:pt x="124604" y="100229"/>
                      <a:pt x="120770" y="100229"/>
                    </a:cubicBezTo>
                    <a:lnTo>
                      <a:pt x="92015" y="100229"/>
                    </a:lnTo>
                    <a:cubicBezTo>
                      <a:pt x="88181" y="100229"/>
                      <a:pt x="85625" y="102782"/>
                      <a:pt x="85625" y="106613"/>
                    </a:cubicBezTo>
                    <a:lnTo>
                      <a:pt x="85625" y="157684"/>
                    </a:lnTo>
                    <a:lnTo>
                      <a:pt x="12141" y="157684"/>
                    </a:lnTo>
                    <a:lnTo>
                      <a:pt x="12141" y="26813"/>
                    </a:lnTo>
                    <a:lnTo>
                      <a:pt x="48563" y="26813"/>
                    </a:lnTo>
                    <a:cubicBezTo>
                      <a:pt x="52397" y="26813"/>
                      <a:pt x="54953" y="24259"/>
                      <a:pt x="54953" y="20429"/>
                    </a:cubicBezTo>
                    <a:lnTo>
                      <a:pt x="54953" y="12768"/>
                    </a:lnTo>
                    <a:lnTo>
                      <a:pt x="157192" y="12768"/>
                    </a:lnTo>
                    <a:lnTo>
                      <a:pt x="157192" y="20429"/>
                    </a:lnTo>
                    <a:cubicBezTo>
                      <a:pt x="157192" y="24259"/>
                      <a:pt x="159749" y="26813"/>
                      <a:pt x="163582" y="26813"/>
                    </a:cubicBezTo>
                    <a:lnTo>
                      <a:pt x="200005" y="26813"/>
                    </a:lnTo>
                    <a:lnTo>
                      <a:pt x="200644" y="157684"/>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14" name="Graphic 4">
                <a:extLst>
                  <a:ext uri="{FF2B5EF4-FFF2-40B4-BE49-F238E27FC236}">
                    <a16:creationId xmlns:a16="http://schemas.microsoft.com/office/drawing/2014/main" id="{6A3DC553-2B3D-7ACF-3E13-46D222913D7B}"/>
                  </a:ext>
                </a:extLst>
              </p:cNvPr>
              <p:cNvSpPr/>
              <p:nvPr/>
            </p:nvSpPr>
            <p:spPr>
              <a:xfrm>
                <a:off x="1761066" y="2595863"/>
                <a:ext cx="12779" cy="12644"/>
              </a:xfrm>
              <a:custGeom>
                <a:avLst/>
                <a:gdLst>
                  <a:gd name="connsiteX0" fmla="*/ 1917 w 12779"/>
                  <a:gd name="connsiteY0" fmla="*/ 10879 h 12644"/>
                  <a:gd name="connsiteX1" fmla="*/ 3834 w 12779"/>
                  <a:gd name="connsiteY1" fmla="*/ 12155 h 12644"/>
                  <a:gd name="connsiteX2" fmla="*/ 12141 w 12779"/>
                  <a:gd name="connsiteY2" fmla="*/ 8963 h 12644"/>
                  <a:gd name="connsiteX3" fmla="*/ 12780 w 12779"/>
                  <a:gd name="connsiteY3" fmla="*/ 6410 h 12644"/>
                  <a:gd name="connsiteX4" fmla="*/ 12141 w 12779"/>
                  <a:gd name="connsiteY4" fmla="*/ 3856 h 12644"/>
                  <a:gd name="connsiteX5" fmla="*/ 10863 w 12779"/>
                  <a:gd name="connsiteY5" fmla="*/ 1941 h 12644"/>
                  <a:gd name="connsiteX6" fmla="*/ 3834 w 12779"/>
                  <a:gd name="connsiteY6" fmla="*/ 664 h 12644"/>
                  <a:gd name="connsiteX7" fmla="*/ 1917 w 12779"/>
                  <a:gd name="connsiteY7" fmla="*/ 1941 h 12644"/>
                  <a:gd name="connsiteX8" fmla="*/ 639 w 12779"/>
                  <a:gd name="connsiteY8" fmla="*/ 3856 h 12644"/>
                  <a:gd name="connsiteX9" fmla="*/ 0 w 12779"/>
                  <a:gd name="connsiteY9" fmla="*/ 6410 h 12644"/>
                  <a:gd name="connsiteX10" fmla="*/ 1917 w 12779"/>
                  <a:gd name="connsiteY10" fmla="*/ 10879 h 12644"/>
                  <a:gd name="connsiteX11" fmla="*/ 1917 w 12779"/>
                  <a:gd name="connsiteY11" fmla="*/ 10879 h 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44">
                    <a:moveTo>
                      <a:pt x="1917" y="10879"/>
                    </a:moveTo>
                    <a:cubicBezTo>
                      <a:pt x="2556" y="11517"/>
                      <a:pt x="3195" y="12155"/>
                      <a:pt x="3834" y="12155"/>
                    </a:cubicBezTo>
                    <a:cubicBezTo>
                      <a:pt x="7029" y="13432"/>
                      <a:pt x="10863" y="12155"/>
                      <a:pt x="12141" y="8963"/>
                    </a:cubicBezTo>
                    <a:cubicBezTo>
                      <a:pt x="12780" y="8325"/>
                      <a:pt x="12780" y="7687"/>
                      <a:pt x="12780" y="6410"/>
                    </a:cubicBezTo>
                    <a:cubicBezTo>
                      <a:pt x="12780" y="5771"/>
                      <a:pt x="12780" y="4495"/>
                      <a:pt x="12141" y="3856"/>
                    </a:cubicBezTo>
                    <a:cubicBezTo>
                      <a:pt x="12141" y="3218"/>
                      <a:pt x="11502" y="2579"/>
                      <a:pt x="10863" y="1941"/>
                    </a:cubicBezTo>
                    <a:cubicBezTo>
                      <a:pt x="8946" y="26"/>
                      <a:pt x="6390" y="-613"/>
                      <a:pt x="3834" y="664"/>
                    </a:cubicBezTo>
                    <a:cubicBezTo>
                      <a:pt x="3195" y="1303"/>
                      <a:pt x="2556" y="1303"/>
                      <a:pt x="1917" y="1941"/>
                    </a:cubicBezTo>
                    <a:cubicBezTo>
                      <a:pt x="1278" y="2579"/>
                      <a:pt x="639" y="3218"/>
                      <a:pt x="639" y="3856"/>
                    </a:cubicBezTo>
                    <a:cubicBezTo>
                      <a:pt x="0" y="4495"/>
                      <a:pt x="0" y="5771"/>
                      <a:pt x="0" y="6410"/>
                    </a:cubicBezTo>
                    <a:cubicBezTo>
                      <a:pt x="0" y="8325"/>
                      <a:pt x="639" y="9602"/>
                      <a:pt x="1917" y="10879"/>
                    </a:cubicBezTo>
                    <a:lnTo>
                      <a:pt x="1917" y="10879"/>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15" name="Graphic 4">
                <a:extLst>
                  <a:ext uri="{FF2B5EF4-FFF2-40B4-BE49-F238E27FC236}">
                    <a16:creationId xmlns:a16="http://schemas.microsoft.com/office/drawing/2014/main" id="{30BD6035-12DF-82A1-BDD9-5470801698C5}"/>
                  </a:ext>
                </a:extLst>
              </p:cNvPr>
              <p:cNvSpPr/>
              <p:nvPr/>
            </p:nvSpPr>
            <p:spPr>
              <a:xfrm>
                <a:off x="1732461" y="2567161"/>
                <a:ext cx="12630" cy="12608"/>
              </a:xfrm>
              <a:custGeom>
                <a:avLst/>
                <a:gdLst>
                  <a:gd name="connsiteX0" fmla="*/ 10075 w 12630"/>
                  <a:gd name="connsiteY0" fmla="*/ 1277 h 12608"/>
                  <a:gd name="connsiteX1" fmla="*/ 8797 w 12630"/>
                  <a:gd name="connsiteY1" fmla="*/ 638 h 12608"/>
                  <a:gd name="connsiteX2" fmla="*/ 7519 w 12630"/>
                  <a:gd name="connsiteY2" fmla="*/ 0 h 12608"/>
                  <a:gd name="connsiteX3" fmla="*/ 3685 w 12630"/>
                  <a:gd name="connsiteY3" fmla="*/ 638 h 12608"/>
                  <a:gd name="connsiteX4" fmla="*/ 2407 w 12630"/>
                  <a:gd name="connsiteY4" fmla="*/ 1277 h 12608"/>
                  <a:gd name="connsiteX5" fmla="*/ 1768 w 12630"/>
                  <a:gd name="connsiteY5" fmla="*/ 1915 h 12608"/>
                  <a:gd name="connsiteX6" fmla="*/ 490 w 12630"/>
                  <a:gd name="connsiteY6" fmla="*/ 3830 h 12608"/>
                  <a:gd name="connsiteX7" fmla="*/ 3685 w 12630"/>
                  <a:gd name="connsiteY7" fmla="*/ 12130 h 12608"/>
                  <a:gd name="connsiteX8" fmla="*/ 8797 w 12630"/>
                  <a:gd name="connsiteY8" fmla="*/ 12130 h 12608"/>
                  <a:gd name="connsiteX9" fmla="*/ 10714 w 12630"/>
                  <a:gd name="connsiteY9" fmla="*/ 10853 h 12608"/>
                  <a:gd name="connsiteX10" fmla="*/ 12631 w 12630"/>
                  <a:gd name="connsiteY10" fmla="*/ 6384 h 12608"/>
                  <a:gd name="connsiteX11" fmla="*/ 10714 w 12630"/>
                  <a:gd name="connsiteY11" fmla="*/ 1915 h 12608"/>
                  <a:gd name="connsiteX12" fmla="*/ 10075 w 12630"/>
                  <a:gd name="connsiteY12" fmla="*/ 1277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 h="12608">
                    <a:moveTo>
                      <a:pt x="10075" y="1277"/>
                    </a:moveTo>
                    <a:lnTo>
                      <a:pt x="8797" y="638"/>
                    </a:lnTo>
                    <a:lnTo>
                      <a:pt x="7519" y="0"/>
                    </a:lnTo>
                    <a:cubicBezTo>
                      <a:pt x="6241" y="0"/>
                      <a:pt x="4963" y="0"/>
                      <a:pt x="3685" y="638"/>
                    </a:cubicBezTo>
                    <a:lnTo>
                      <a:pt x="2407" y="1277"/>
                    </a:lnTo>
                    <a:lnTo>
                      <a:pt x="1768" y="1915"/>
                    </a:lnTo>
                    <a:cubicBezTo>
                      <a:pt x="1129" y="2554"/>
                      <a:pt x="490" y="3192"/>
                      <a:pt x="490" y="3830"/>
                    </a:cubicBezTo>
                    <a:cubicBezTo>
                      <a:pt x="-788" y="7022"/>
                      <a:pt x="490" y="10853"/>
                      <a:pt x="3685" y="12130"/>
                    </a:cubicBezTo>
                    <a:cubicBezTo>
                      <a:pt x="4963" y="12768"/>
                      <a:pt x="6880" y="12768"/>
                      <a:pt x="8797" y="12130"/>
                    </a:cubicBezTo>
                    <a:cubicBezTo>
                      <a:pt x="9436" y="12130"/>
                      <a:pt x="10075" y="11491"/>
                      <a:pt x="10714" y="10853"/>
                    </a:cubicBezTo>
                    <a:cubicBezTo>
                      <a:pt x="11992" y="9576"/>
                      <a:pt x="12631" y="8299"/>
                      <a:pt x="12631" y="6384"/>
                    </a:cubicBezTo>
                    <a:cubicBezTo>
                      <a:pt x="12631" y="4469"/>
                      <a:pt x="11992" y="3192"/>
                      <a:pt x="10714" y="1915"/>
                    </a:cubicBezTo>
                    <a:cubicBezTo>
                      <a:pt x="10714" y="1277"/>
                      <a:pt x="10075" y="1277"/>
                      <a:pt x="10075"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16" name="Graphic 4">
                <a:extLst>
                  <a:ext uri="{FF2B5EF4-FFF2-40B4-BE49-F238E27FC236}">
                    <a16:creationId xmlns:a16="http://schemas.microsoft.com/office/drawing/2014/main" id="{EB8585E6-7E96-1FF8-B486-FE2646471518}"/>
                  </a:ext>
                </a:extLst>
              </p:cNvPr>
              <p:cNvSpPr/>
              <p:nvPr/>
            </p:nvSpPr>
            <p:spPr>
              <a:xfrm>
                <a:off x="1761066" y="2567161"/>
                <a:ext cx="12779" cy="12768"/>
              </a:xfrm>
              <a:custGeom>
                <a:avLst/>
                <a:gdLst>
                  <a:gd name="connsiteX0" fmla="*/ 6390 w 12779"/>
                  <a:gd name="connsiteY0" fmla="*/ 12768 h 12768"/>
                  <a:gd name="connsiteX1" fmla="*/ 12141 w 12779"/>
                  <a:gd name="connsiteY1" fmla="*/ 8938 h 12768"/>
                  <a:gd name="connsiteX2" fmla="*/ 12780 w 12779"/>
                  <a:gd name="connsiteY2" fmla="*/ 6384 h 12768"/>
                  <a:gd name="connsiteX3" fmla="*/ 10863 w 12779"/>
                  <a:gd name="connsiteY3" fmla="*/ 1915 h 12768"/>
                  <a:gd name="connsiteX4" fmla="*/ 1917 w 12779"/>
                  <a:gd name="connsiteY4" fmla="*/ 1915 h 12768"/>
                  <a:gd name="connsiteX5" fmla="*/ 1917 w 12779"/>
                  <a:gd name="connsiteY5" fmla="*/ 1915 h 12768"/>
                  <a:gd name="connsiteX6" fmla="*/ 0 w 12779"/>
                  <a:gd name="connsiteY6" fmla="*/ 6384 h 12768"/>
                  <a:gd name="connsiteX7" fmla="*/ 6390 w 12779"/>
                  <a:gd name="connsiteY7" fmla="*/ 12768 h 12768"/>
                  <a:gd name="connsiteX8" fmla="*/ 6390 w 12779"/>
                  <a:gd name="connsiteY8"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6390" y="12768"/>
                    </a:moveTo>
                    <a:cubicBezTo>
                      <a:pt x="8946" y="12768"/>
                      <a:pt x="11502" y="11491"/>
                      <a:pt x="12141" y="8938"/>
                    </a:cubicBezTo>
                    <a:cubicBezTo>
                      <a:pt x="12780" y="8299"/>
                      <a:pt x="12780" y="7022"/>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17" name="Graphic 4">
                <a:extLst>
                  <a:ext uri="{FF2B5EF4-FFF2-40B4-BE49-F238E27FC236}">
                    <a16:creationId xmlns:a16="http://schemas.microsoft.com/office/drawing/2014/main" id="{C905554D-D6C2-918F-0E51-9B7CE03F3815}"/>
                  </a:ext>
                </a:extLst>
              </p:cNvPr>
              <p:cNvSpPr/>
              <p:nvPr/>
            </p:nvSpPr>
            <p:spPr>
              <a:xfrm>
                <a:off x="1732311"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18" name="Graphic 4">
                <a:extLst>
                  <a:ext uri="{FF2B5EF4-FFF2-40B4-BE49-F238E27FC236}">
                    <a16:creationId xmlns:a16="http://schemas.microsoft.com/office/drawing/2014/main" id="{21022A19-5DC1-941A-9588-6220BEC8990F}"/>
                  </a:ext>
                </a:extLst>
              </p:cNvPr>
              <p:cNvSpPr/>
              <p:nvPr/>
            </p:nvSpPr>
            <p:spPr>
              <a:xfrm>
                <a:off x="1617442" y="2567161"/>
                <a:ext cx="12630" cy="12768"/>
              </a:xfrm>
              <a:custGeom>
                <a:avLst/>
                <a:gdLst>
                  <a:gd name="connsiteX0" fmla="*/ 1768 w 12630"/>
                  <a:gd name="connsiteY0" fmla="*/ 1915 h 12768"/>
                  <a:gd name="connsiteX1" fmla="*/ 490 w 12630"/>
                  <a:gd name="connsiteY1" fmla="*/ 3830 h 12768"/>
                  <a:gd name="connsiteX2" fmla="*/ 3685 w 12630"/>
                  <a:gd name="connsiteY2" fmla="*/ 12130 h 12768"/>
                  <a:gd name="connsiteX3" fmla="*/ 6241 w 12630"/>
                  <a:gd name="connsiteY3" fmla="*/ 12768 h 12768"/>
                  <a:gd name="connsiteX4" fmla="*/ 10714 w 12630"/>
                  <a:gd name="connsiteY4" fmla="*/ 10853 h 12768"/>
                  <a:gd name="connsiteX5" fmla="*/ 12631 w 12630"/>
                  <a:gd name="connsiteY5" fmla="*/ 6384 h 12768"/>
                  <a:gd name="connsiteX6" fmla="*/ 10714 w 12630"/>
                  <a:gd name="connsiteY6" fmla="*/ 1915 h 12768"/>
                  <a:gd name="connsiteX7" fmla="*/ 1768 w 12630"/>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8">
                    <a:moveTo>
                      <a:pt x="1768" y="1915"/>
                    </a:moveTo>
                    <a:cubicBezTo>
                      <a:pt x="1129" y="2554"/>
                      <a:pt x="490" y="3192"/>
                      <a:pt x="490" y="3830"/>
                    </a:cubicBezTo>
                    <a:cubicBezTo>
                      <a:pt x="-788" y="7022"/>
                      <a:pt x="490" y="10853"/>
                      <a:pt x="3685" y="12130"/>
                    </a:cubicBezTo>
                    <a:cubicBezTo>
                      <a:pt x="4324" y="12768"/>
                      <a:pt x="5602" y="12768"/>
                      <a:pt x="6241" y="12768"/>
                    </a:cubicBezTo>
                    <a:cubicBezTo>
                      <a:pt x="8158" y="12768"/>
                      <a:pt x="9436" y="12130"/>
                      <a:pt x="10714" y="10853"/>
                    </a:cubicBezTo>
                    <a:cubicBezTo>
                      <a:pt x="11992" y="9576"/>
                      <a:pt x="12631" y="8299"/>
                      <a:pt x="12631" y="6384"/>
                    </a:cubicBezTo>
                    <a:cubicBezTo>
                      <a:pt x="12631" y="4469"/>
                      <a:pt x="11992" y="3192"/>
                      <a:pt x="10714" y="1915"/>
                    </a:cubicBezTo>
                    <a:cubicBezTo>
                      <a:pt x="8797" y="-638"/>
                      <a:pt x="4324" y="-638"/>
                      <a:pt x="1768"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19" name="Graphic 4">
                <a:extLst>
                  <a:ext uri="{FF2B5EF4-FFF2-40B4-BE49-F238E27FC236}">
                    <a16:creationId xmlns:a16="http://schemas.microsoft.com/office/drawing/2014/main" id="{9E10FC7F-1D8F-69D7-58CC-FEF071BBACE4}"/>
                  </a:ext>
                </a:extLst>
              </p:cNvPr>
              <p:cNvSpPr/>
              <p:nvPr/>
            </p:nvSpPr>
            <p:spPr>
              <a:xfrm>
                <a:off x="1646686" y="2595863"/>
                <a:ext cx="12779" cy="12793"/>
              </a:xfrm>
              <a:custGeom>
                <a:avLst/>
                <a:gdLst>
                  <a:gd name="connsiteX0" fmla="*/ 10863 w 12779"/>
                  <a:gd name="connsiteY0" fmla="*/ 1941 h 12793"/>
                  <a:gd name="connsiteX1" fmla="*/ 8946 w 12779"/>
                  <a:gd name="connsiteY1" fmla="*/ 664 h 12793"/>
                  <a:gd name="connsiteX2" fmla="*/ 1917 w 12779"/>
                  <a:gd name="connsiteY2" fmla="*/ 1941 h 12793"/>
                  <a:gd name="connsiteX3" fmla="*/ 639 w 12779"/>
                  <a:gd name="connsiteY3" fmla="*/ 3856 h 12793"/>
                  <a:gd name="connsiteX4" fmla="*/ 0 w 12779"/>
                  <a:gd name="connsiteY4" fmla="*/ 6410 h 12793"/>
                  <a:gd name="connsiteX5" fmla="*/ 6390 w 12779"/>
                  <a:gd name="connsiteY5" fmla="*/ 12794 h 12793"/>
                  <a:gd name="connsiteX6" fmla="*/ 10863 w 12779"/>
                  <a:gd name="connsiteY6" fmla="*/ 10879 h 12793"/>
                  <a:gd name="connsiteX7" fmla="*/ 12141 w 12779"/>
                  <a:gd name="connsiteY7" fmla="*/ 8963 h 12793"/>
                  <a:gd name="connsiteX8" fmla="*/ 12780 w 12779"/>
                  <a:gd name="connsiteY8" fmla="*/ 6410 h 12793"/>
                  <a:gd name="connsiteX9" fmla="*/ 12141 w 12779"/>
                  <a:gd name="connsiteY9" fmla="*/ 3856 h 12793"/>
                  <a:gd name="connsiteX10" fmla="*/ 10863 w 12779"/>
                  <a:gd name="connsiteY10" fmla="*/ 1941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93">
                    <a:moveTo>
                      <a:pt x="10863" y="1941"/>
                    </a:moveTo>
                    <a:cubicBezTo>
                      <a:pt x="10224" y="1303"/>
                      <a:pt x="9585" y="664"/>
                      <a:pt x="8946" y="664"/>
                    </a:cubicBezTo>
                    <a:cubicBezTo>
                      <a:pt x="6390" y="-613"/>
                      <a:pt x="3834" y="26"/>
                      <a:pt x="1917" y="1941"/>
                    </a:cubicBezTo>
                    <a:cubicBezTo>
                      <a:pt x="1278" y="2579"/>
                      <a:pt x="639" y="3218"/>
                      <a:pt x="639" y="3856"/>
                    </a:cubicBezTo>
                    <a:cubicBezTo>
                      <a:pt x="0" y="4495"/>
                      <a:pt x="0" y="5771"/>
                      <a:pt x="0" y="6410"/>
                    </a:cubicBezTo>
                    <a:cubicBezTo>
                      <a:pt x="0" y="10240"/>
                      <a:pt x="3195" y="12794"/>
                      <a:pt x="6390" y="12794"/>
                    </a:cubicBezTo>
                    <a:cubicBezTo>
                      <a:pt x="8307" y="12794"/>
                      <a:pt x="9585" y="12155"/>
                      <a:pt x="10863" y="10879"/>
                    </a:cubicBezTo>
                    <a:cubicBezTo>
                      <a:pt x="11502" y="10240"/>
                      <a:pt x="12141" y="9602"/>
                      <a:pt x="12141" y="8963"/>
                    </a:cubicBezTo>
                    <a:cubicBezTo>
                      <a:pt x="12780" y="8325"/>
                      <a:pt x="12780" y="7687"/>
                      <a:pt x="12780" y="6410"/>
                    </a:cubicBezTo>
                    <a:cubicBezTo>
                      <a:pt x="12780" y="5771"/>
                      <a:pt x="12780" y="4495"/>
                      <a:pt x="12141" y="3856"/>
                    </a:cubicBezTo>
                    <a:cubicBezTo>
                      <a:pt x="11502" y="3218"/>
                      <a:pt x="10863" y="2579"/>
                      <a:pt x="10863" y="1941"/>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1" name="Graphic 4">
                <a:extLst>
                  <a:ext uri="{FF2B5EF4-FFF2-40B4-BE49-F238E27FC236}">
                    <a16:creationId xmlns:a16="http://schemas.microsoft.com/office/drawing/2014/main" id="{A22E6232-120C-8E52-CB94-9436DCCB5CE1}"/>
                  </a:ext>
                </a:extLst>
              </p:cNvPr>
              <p:cNvSpPr/>
              <p:nvPr/>
            </p:nvSpPr>
            <p:spPr>
              <a:xfrm>
                <a:off x="1617932"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1502"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2" name="Graphic 4">
                <a:extLst>
                  <a:ext uri="{FF2B5EF4-FFF2-40B4-BE49-F238E27FC236}">
                    <a16:creationId xmlns:a16="http://schemas.microsoft.com/office/drawing/2014/main" id="{2D73C72C-3A52-579F-A69F-73198AD0B22C}"/>
                  </a:ext>
                </a:extLst>
              </p:cNvPr>
              <p:cNvSpPr/>
              <p:nvPr/>
            </p:nvSpPr>
            <p:spPr>
              <a:xfrm>
                <a:off x="1646686" y="2567161"/>
                <a:ext cx="12779" cy="12768"/>
              </a:xfrm>
              <a:custGeom>
                <a:avLst/>
                <a:gdLst>
                  <a:gd name="connsiteX0" fmla="*/ 10863 w 12779"/>
                  <a:gd name="connsiteY0" fmla="*/ 1915 h 12768"/>
                  <a:gd name="connsiteX1" fmla="*/ 1917 w 12779"/>
                  <a:gd name="connsiteY1" fmla="*/ 1915 h 12768"/>
                  <a:gd name="connsiteX2" fmla="*/ 1917 w 12779"/>
                  <a:gd name="connsiteY2" fmla="*/ 1915 h 12768"/>
                  <a:gd name="connsiteX3" fmla="*/ 0 w 12779"/>
                  <a:gd name="connsiteY3" fmla="*/ 6384 h 12768"/>
                  <a:gd name="connsiteX4" fmla="*/ 6390 w 12779"/>
                  <a:gd name="connsiteY4" fmla="*/ 12768 h 12768"/>
                  <a:gd name="connsiteX5" fmla="*/ 12780 w 12779"/>
                  <a:gd name="connsiteY5" fmla="*/ 6384 h 12768"/>
                  <a:gd name="connsiteX6" fmla="*/ 10863 w 12779"/>
                  <a:gd name="connsiteY6" fmla="*/ 1915 h 12768"/>
                  <a:gd name="connsiteX7" fmla="*/ 10863 w 12779"/>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8">
                    <a:moveTo>
                      <a:pt x="10863" y="1915"/>
                    </a:moveTo>
                    <a:cubicBezTo>
                      <a:pt x="8307" y="-638"/>
                      <a:pt x="4473" y="-638"/>
                      <a:pt x="1917" y="1915"/>
                    </a:cubicBezTo>
                    <a:cubicBezTo>
                      <a:pt x="1917" y="1915"/>
                      <a:pt x="1917" y="1915"/>
                      <a:pt x="1917" y="1915"/>
                    </a:cubicBezTo>
                    <a:cubicBezTo>
                      <a:pt x="639" y="3192"/>
                      <a:pt x="0" y="4469"/>
                      <a:pt x="0" y="6384"/>
                    </a:cubicBezTo>
                    <a:cubicBezTo>
                      <a:pt x="0" y="10214"/>
                      <a:pt x="2556" y="12768"/>
                      <a:pt x="6390" y="12768"/>
                    </a:cubicBezTo>
                    <a:cubicBezTo>
                      <a:pt x="10224" y="12768"/>
                      <a:pt x="12780" y="10214"/>
                      <a:pt x="12780" y="6384"/>
                    </a:cubicBezTo>
                    <a:cubicBezTo>
                      <a:pt x="12780" y="4469"/>
                      <a:pt x="11502" y="3192"/>
                      <a:pt x="10863" y="1915"/>
                    </a:cubicBezTo>
                    <a:lnTo>
                      <a:pt x="10863" y="1915"/>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3" name="Graphic 4">
                <a:extLst>
                  <a:ext uri="{FF2B5EF4-FFF2-40B4-BE49-F238E27FC236}">
                    <a16:creationId xmlns:a16="http://schemas.microsoft.com/office/drawing/2014/main" id="{D9C0CB20-2D7A-B2DA-C08D-C452141A5AB8}"/>
                  </a:ext>
                </a:extLst>
              </p:cNvPr>
              <p:cNvSpPr/>
              <p:nvPr/>
            </p:nvSpPr>
            <p:spPr>
              <a:xfrm>
                <a:off x="1732311" y="2538433"/>
                <a:ext cx="12779" cy="12768"/>
              </a:xfrm>
              <a:custGeom>
                <a:avLst/>
                <a:gdLst>
                  <a:gd name="connsiteX0" fmla="*/ 1917 w 12779"/>
                  <a:gd name="connsiteY0" fmla="*/ 1915 h 12768"/>
                  <a:gd name="connsiteX1" fmla="*/ 0 w 12779"/>
                  <a:gd name="connsiteY1" fmla="*/ 6384 h 12768"/>
                  <a:gd name="connsiteX2" fmla="*/ 639 w 12779"/>
                  <a:gd name="connsiteY2" fmla="*/ 8938 h 12768"/>
                  <a:gd name="connsiteX3" fmla="*/ 1917 w 12779"/>
                  <a:gd name="connsiteY3" fmla="*/ 10853 h 12768"/>
                  <a:gd name="connsiteX4" fmla="*/ 6390 w 12779"/>
                  <a:gd name="connsiteY4" fmla="*/ 12768 h 12768"/>
                  <a:gd name="connsiteX5" fmla="*/ 10863 w 12779"/>
                  <a:gd name="connsiteY5" fmla="*/ 10853 h 12768"/>
                  <a:gd name="connsiteX6" fmla="*/ 12141 w 12779"/>
                  <a:gd name="connsiteY6" fmla="*/ 8938 h 12768"/>
                  <a:gd name="connsiteX7" fmla="*/ 12780 w 12779"/>
                  <a:gd name="connsiteY7" fmla="*/ 6384 h 12768"/>
                  <a:gd name="connsiteX8" fmla="*/ 10863 w 12779"/>
                  <a:gd name="connsiteY8" fmla="*/ 1915 h 12768"/>
                  <a:gd name="connsiteX9" fmla="*/ 1917 w 12779"/>
                  <a:gd name="connsiteY9"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1917" y="1915"/>
                    </a:moveTo>
                    <a:cubicBezTo>
                      <a:pt x="639" y="3192"/>
                      <a:pt x="0" y="4469"/>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4" name="Graphic 4">
                <a:extLst>
                  <a:ext uri="{FF2B5EF4-FFF2-40B4-BE49-F238E27FC236}">
                    <a16:creationId xmlns:a16="http://schemas.microsoft.com/office/drawing/2014/main" id="{FE2EC3E5-F951-CA35-38A2-1D8F0483415D}"/>
                  </a:ext>
                </a:extLst>
              </p:cNvPr>
              <p:cNvSpPr/>
              <p:nvPr/>
            </p:nvSpPr>
            <p:spPr>
              <a:xfrm>
                <a:off x="1732461" y="2509865"/>
                <a:ext cx="12630" cy="12608"/>
              </a:xfrm>
              <a:custGeom>
                <a:avLst/>
                <a:gdLst>
                  <a:gd name="connsiteX0" fmla="*/ 11992 w 12630"/>
                  <a:gd name="connsiteY0" fmla="*/ 3671 h 12608"/>
                  <a:gd name="connsiteX1" fmla="*/ 10714 w 12630"/>
                  <a:gd name="connsiteY1" fmla="*/ 1756 h 12608"/>
                  <a:gd name="connsiteX2" fmla="*/ 8797 w 12630"/>
                  <a:gd name="connsiteY2" fmla="*/ 479 h 12608"/>
                  <a:gd name="connsiteX3" fmla="*/ 3685 w 12630"/>
                  <a:gd name="connsiteY3" fmla="*/ 479 h 12608"/>
                  <a:gd name="connsiteX4" fmla="*/ 490 w 12630"/>
                  <a:gd name="connsiteY4" fmla="*/ 8778 h 12608"/>
                  <a:gd name="connsiteX5" fmla="*/ 1768 w 12630"/>
                  <a:gd name="connsiteY5" fmla="*/ 10693 h 12608"/>
                  <a:gd name="connsiteX6" fmla="*/ 3685 w 12630"/>
                  <a:gd name="connsiteY6" fmla="*/ 11970 h 12608"/>
                  <a:gd name="connsiteX7" fmla="*/ 6241 w 12630"/>
                  <a:gd name="connsiteY7" fmla="*/ 12608 h 12608"/>
                  <a:gd name="connsiteX8" fmla="*/ 12631 w 12630"/>
                  <a:gd name="connsiteY8" fmla="*/ 6224 h 12608"/>
                  <a:gd name="connsiteX9" fmla="*/ 12631 w 12630"/>
                  <a:gd name="connsiteY9" fmla="*/ 4947 h 12608"/>
                  <a:gd name="connsiteX10" fmla="*/ 11992 w 12630"/>
                  <a:gd name="connsiteY10" fmla="*/ 3671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30" h="12608">
                    <a:moveTo>
                      <a:pt x="11992" y="3671"/>
                    </a:moveTo>
                    <a:cubicBezTo>
                      <a:pt x="11992" y="3032"/>
                      <a:pt x="11353" y="2394"/>
                      <a:pt x="10714" y="1756"/>
                    </a:cubicBezTo>
                    <a:cubicBezTo>
                      <a:pt x="10075" y="1117"/>
                      <a:pt x="9436" y="479"/>
                      <a:pt x="8797" y="479"/>
                    </a:cubicBezTo>
                    <a:cubicBezTo>
                      <a:pt x="7519" y="-160"/>
                      <a:pt x="5602" y="-160"/>
                      <a:pt x="3685" y="479"/>
                    </a:cubicBezTo>
                    <a:cubicBezTo>
                      <a:pt x="490" y="1756"/>
                      <a:pt x="-788" y="5586"/>
                      <a:pt x="490" y="8778"/>
                    </a:cubicBezTo>
                    <a:cubicBezTo>
                      <a:pt x="1129" y="9416"/>
                      <a:pt x="1129" y="10055"/>
                      <a:pt x="1768" y="10693"/>
                    </a:cubicBezTo>
                    <a:cubicBezTo>
                      <a:pt x="2407" y="11331"/>
                      <a:pt x="3046" y="11970"/>
                      <a:pt x="3685" y="11970"/>
                    </a:cubicBezTo>
                    <a:cubicBezTo>
                      <a:pt x="4324" y="12608"/>
                      <a:pt x="5602" y="12608"/>
                      <a:pt x="6241" y="12608"/>
                    </a:cubicBezTo>
                    <a:cubicBezTo>
                      <a:pt x="10075" y="12608"/>
                      <a:pt x="12631" y="10055"/>
                      <a:pt x="12631" y="6224"/>
                    </a:cubicBezTo>
                    <a:cubicBezTo>
                      <a:pt x="12631" y="5586"/>
                      <a:pt x="12631" y="5586"/>
                      <a:pt x="12631" y="4947"/>
                    </a:cubicBezTo>
                    <a:lnTo>
                      <a:pt x="11992" y="367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5" name="Graphic 4">
                <a:extLst>
                  <a:ext uri="{FF2B5EF4-FFF2-40B4-BE49-F238E27FC236}">
                    <a16:creationId xmlns:a16="http://schemas.microsoft.com/office/drawing/2014/main" id="{97696555-78E3-FDFD-A9DC-5CA2B96C363C}"/>
                  </a:ext>
                </a:extLst>
              </p:cNvPr>
              <p:cNvSpPr/>
              <p:nvPr/>
            </p:nvSpPr>
            <p:spPr>
              <a:xfrm>
                <a:off x="1761066" y="2538433"/>
                <a:ext cx="12779" cy="12768"/>
              </a:xfrm>
              <a:custGeom>
                <a:avLst/>
                <a:gdLst>
                  <a:gd name="connsiteX0" fmla="*/ 1917 w 12779"/>
                  <a:gd name="connsiteY0" fmla="*/ 10853 h 12768"/>
                  <a:gd name="connsiteX1" fmla="*/ 10863 w 12779"/>
                  <a:gd name="connsiteY1" fmla="*/ 10853 h 12768"/>
                  <a:gd name="connsiteX2" fmla="*/ 10863 w 12779"/>
                  <a:gd name="connsiteY2" fmla="*/ 10853 h 12768"/>
                  <a:gd name="connsiteX3" fmla="*/ 12141 w 12779"/>
                  <a:gd name="connsiteY3" fmla="*/ 8938 h 12768"/>
                  <a:gd name="connsiteX4" fmla="*/ 12780 w 12779"/>
                  <a:gd name="connsiteY4" fmla="*/ 6384 h 12768"/>
                  <a:gd name="connsiteX5" fmla="*/ 6390 w 12779"/>
                  <a:gd name="connsiteY5" fmla="*/ 0 h 12768"/>
                  <a:gd name="connsiteX6" fmla="*/ 0 w 12779"/>
                  <a:gd name="connsiteY6" fmla="*/ 6384 h 12768"/>
                  <a:gd name="connsiteX7" fmla="*/ 639 w 12779"/>
                  <a:gd name="connsiteY7" fmla="*/ 8938 h 12768"/>
                  <a:gd name="connsiteX8" fmla="*/ 1917 w 12779"/>
                  <a:gd name="connsiteY8"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1917" y="10853"/>
                    </a:moveTo>
                    <a:cubicBezTo>
                      <a:pt x="4473" y="13406"/>
                      <a:pt x="8307" y="13406"/>
                      <a:pt x="10863" y="10853"/>
                    </a:cubicBezTo>
                    <a:cubicBezTo>
                      <a:pt x="10863" y="10853"/>
                      <a:pt x="10863" y="10853"/>
                      <a:pt x="10863" y="10853"/>
                    </a:cubicBezTo>
                    <a:cubicBezTo>
                      <a:pt x="11502" y="10214"/>
                      <a:pt x="12141" y="9576"/>
                      <a:pt x="12141" y="8938"/>
                    </a:cubicBezTo>
                    <a:cubicBezTo>
                      <a:pt x="12780" y="8299"/>
                      <a:pt x="12780" y="7661"/>
                      <a:pt x="12780" y="6384"/>
                    </a:cubicBezTo>
                    <a:cubicBezTo>
                      <a:pt x="12780" y="2554"/>
                      <a:pt x="10224" y="0"/>
                      <a:pt x="6390" y="0"/>
                    </a:cubicBezTo>
                    <a:cubicBezTo>
                      <a:pt x="2556" y="0"/>
                      <a:pt x="0" y="2554"/>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6" name="Graphic 4">
                <a:extLst>
                  <a:ext uri="{FF2B5EF4-FFF2-40B4-BE49-F238E27FC236}">
                    <a16:creationId xmlns:a16="http://schemas.microsoft.com/office/drawing/2014/main" id="{B1798500-B1D3-D034-806B-2CF7C20C554A}"/>
                  </a:ext>
                </a:extLst>
              </p:cNvPr>
              <p:cNvSpPr/>
              <p:nvPr/>
            </p:nvSpPr>
            <p:spPr>
              <a:xfrm>
                <a:off x="1761066" y="2509706"/>
                <a:ext cx="12779" cy="12608"/>
              </a:xfrm>
              <a:custGeom>
                <a:avLst/>
                <a:gdLst>
                  <a:gd name="connsiteX0" fmla="*/ 1917 w 12779"/>
                  <a:gd name="connsiteY0" fmla="*/ 10853 h 12608"/>
                  <a:gd name="connsiteX1" fmla="*/ 3834 w 12779"/>
                  <a:gd name="connsiteY1" fmla="*/ 12130 h 12608"/>
                  <a:gd name="connsiteX2" fmla="*/ 8946 w 12779"/>
                  <a:gd name="connsiteY2" fmla="*/ 12130 h 12608"/>
                  <a:gd name="connsiteX3" fmla="*/ 12141 w 12779"/>
                  <a:gd name="connsiteY3" fmla="*/ 8938 h 12608"/>
                  <a:gd name="connsiteX4" fmla="*/ 12780 w 12779"/>
                  <a:gd name="connsiteY4" fmla="*/ 6384 h 12608"/>
                  <a:gd name="connsiteX5" fmla="*/ 10863 w 12779"/>
                  <a:gd name="connsiteY5" fmla="*/ 1915 h 12608"/>
                  <a:gd name="connsiteX6" fmla="*/ 5112 w 12779"/>
                  <a:gd name="connsiteY6" fmla="*/ 0 h 12608"/>
                  <a:gd name="connsiteX7" fmla="*/ 3834 w 12779"/>
                  <a:gd name="connsiteY7" fmla="*/ 638 h 12608"/>
                  <a:gd name="connsiteX8" fmla="*/ 2556 w 12779"/>
                  <a:gd name="connsiteY8" fmla="*/ 1277 h 12608"/>
                  <a:gd name="connsiteX9" fmla="*/ 1917 w 12779"/>
                  <a:gd name="connsiteY9" fmla="*/ 1915 h 12608"/>
                  <a:gd name="connsiteX10" fmla="*/ 0 w 12779"/>
                  <a:gd name="connsiteY10" fmla="*/ 6384 h 12608"/>
                  <a:gd name="connsiteX11" fmla="*/ 639 w 12779"/>
                  <a:gd name="connsiteY11" fmla="*/ 8938 h 12608"/>
                  <a:gd name="connsiteX12" fmla="*/ 1917 w 12779"/>
                  <a:gd name="connsiteY12" fmla="*/ 1085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608">
                    <a:moveTo>
                      <a:pt x="1917" y="10853"/>
                    </a:moveTo>
                    <a:cubicBezTo>
                      <a:pt x="2556" y="11491"/>
                      <a:pt x="3195" y="12130"/>
                      <a:pt x="3834" y="12130"/>
                    </a:cubicBezTo>
                    <a:cubicBezTo>
                      <a:pt x="5112" y="12768"/>
                      <a:pt x="7029"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9585" y="638"/>
                      <a:pt x="7029" y="0"/>
                      <a:pt x="5112" y="0"/>
                    </a:cubicBezTo>
                    <a:cubicBezTo>
                      <a:pt x="4473" y="0"/>
                      <a:pt x="4473" y="0"/>
                      <a:pt x="3834" y="638"/>
                    </a:cubicBezTo>
                    <a:cubicBezTo>
                      <a:pt x="3195" y="638"/>
                      <a:pt x="3195" y="1277"/>
                      <a:pt x="2556" y="1277"/>
                    </a:cubicBezTo>
                    <a:lnTo>
                      <a:pt x="1917" y="1915"/>
                    </a:ln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7" name="Graphic 4">
                <a:extLst>
                  <a:ext uri="{FF2B5EF4-FFF2-40B4-BE49-F238E27FC236}">
                    <a16:creationId xmlns:a16="http://schemas.microsoft.com/office/drawing/2014/main" id="{6FE9A93C-4DF4-7605-0A3C-C87C272B4308}"/>
                  </a:ext>
                </a:extLst>
              </p:cNvPr>
              <p:cNvSpPr/>
              <p:nvPr/>
            </p:nvSpPr>
            <p:spPr>
              <a:xfrm>
                <a:off x="1674802" y="2538433"/>
                <a:ext cx="12779" cy="12767"/>
              </a:xfrm>
              <a:custGeom>
                <a:avLst/>
                <a:gdLst>
                  <a:gd name="connsiteX0" fmla="*/ 12780 w 12779"/>
                  <a:gd name="connsiteY0" fmla="*/ 3830 h 12767"/>
                  <a:gd name="connsiteX1" fmla="*/ 11502 w 12779"/>
                  <a:gd name="connsiteY1" fmla="*/ 1915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 name="connsiteX9" fmla="*/ 6390 w 12779"/>
                  <a:gd name="connsiteY9" fmla="*/ 12768 h 12767"/>
                  <a:gd name="connsiteX10" fmla="*/ 8946 w 12779"/>
                  <a:gd name="connsiteY10" fmla="*/ 12130 h 12767"/>
                  <a:gd name="connsiteX11" fmla="*/ 10863 w 12779"/>
                  <a:gd name="connsiteY11" fmla="*/ 10853 h 12767"/>
                  <a:gd name="connsiteX12" fmla="*/ 12141 w 12779"/>
                  <a:gd name="connsiteY12" fmla="*/ 8938 h 12767"/>
                  <a:gd name="connsiteX13" fmla="*/ 12780 w 12779"/>
                  <a:gd name="connsiteY13" fmla="*/ 6384 h 12767"/>
                  <a:gd name="connsiteX14" fmla="*/ 12780 w 12779"/>
                  <a:gd name="connsiteY14" fmla="*/ 5107 h 12767"/>
                  <a:gd name="connsiteX15" fmla="*/ 12780 w 12779"/>
                  <a:gd name="connsiteY15" fmla="*/ 38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2780" y="3830"/>
                    </a:moveTo>
                    <a:cubicBezTo>
                      <a:pt x="12141" y="3192"/>
                      <a:pt x="12141" y="2554"/>
                      <a:pt x="11502" y="1915"/>
                    </a:cubicBezTo>
                    <a:cubicBezTo>
                      <a:pt x="10224" y="638"/>
                      <a:pt x="7668" y="0"/>
                      <a:pt x="5751" y="0"/>
                    </a:cubicBezTo>
                    <a:cubicBezTo>
                      <a:pt x="5112" y="0"/>
                      <a:pt x="5112" y="0"/>
                      <a:pt x="4473" y="638"/>
                    </a:cubicBezTo>
                    <a:cubicBezTo>
                      <a:pt x="3834" y="638"/>
                      <a:pt x="3834" y="1277"/>
                      <a:pt x="3195" y="1277"/>
                    </a:cubicBezTo>
                    <a:lnTo>
                      <a:pt x="1917" y="1915"/>
                    </a:lnTo>
                    <a:cubicBezTo>
                      <a:pt x="639" y="3192"/>
                      <a:pt x="0" y="4469"/>
                      <a:pt x="0" y="6384"/>
                    </a:cubicBezTo>
                    <a:cubicBezTo>
                      <a:pt x="0" y="7022"/>
                      <a:pt x="0" y="8299"/>
                      <a:pt x="639" y="8938"/>
                    </a:cubicBezTo>
                    <a:cubicBezTo>
                      <a:pt x="639" y="9576"/>
                      <a:pt x="1278" y="10214"/>
                      <a:pt x="1917" y="10853"/>
                    </a:cubicBezTo>
                    <a:cubicBezTo>
                      <a:pt x="3195" y="12130"/>
                      <a:pt x="4473"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141" y="8299"/>
                      <a:pt x="12780" y="7661"/>
                      <a:pt x="12780" y="6384"/>
                    </a:cubicBezTo>
                    <a:cubicBezTo>
                      <a:pt x="12780" y="5746"/>
                      <a:pt x="12780" y="5746"/>
                      <a:pt x="12780" y="5107"/>
                    </a:cubicBezTo>
                    <a:cubicBezTo>
                      <a:pt x="12780" y="5107"/>
                      <a:pt x="12780" y="4469"/>
                      <a:pt x="12780" y="38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8" name="Graphic 4">
                <a:extLst>
                  <a:ext uri="{FF2B5EF4-FFF2-40B4-BE49-F238E27FC236}">
                    <a16:creationId xmlns:a16="http://schemas.microsoft.com/office/drawing/2014/main" id="{34C93C61-32FA-D0C0-B40A-CCC2077D2431}"/>
                  </a:ext>
                </a:extLst>
              </p:cNvPr>
              <p:cNvSpPr/>
              <p:nvPr/>
            </p:nvSpPr>
            <p:spPr>
              <a:xfrm>
                <a:off x="1703557" y="2538832"/>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 w 12779"/>
                  <a:gd name="connsiteY4" fmla="*/ 9177 h 13007"/>
                  <a:gd name="connsiteX5" fmla="*/ 1917 w 12779"/>
                  <a:gd name="connsiteY5" fmla="*/ 11092 h 13007"/>
                  <a:gd name="connsiteX6" fmla="*/ 6390 w 12779"/>
                  <a:gd name="connsiteY6" fmla="*/ 13007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7262"/>
                      <a:pt x="0" y="8539"/>
                      <a:pt x="639" y="9177"/>
                    </a:cubicBezTo>
                    <a:cubicBezTo>
                      <a:pt x="639" y="9815"/>
                      <a:pt x="1278" y="10454"/>
                      <a:pt x="1917" y="11092"/>
                    </a:cubicBezTo>
                    <a:cubicBezTo>
                      <a:pt x="3195" y="12369"/>
                      <a:pt x="4473" y="13007"/>
                      <a:pt x="6390" y="13007"/>
                    </a:cubicBezTo>
                    <a:cubicBezTo>
                      <a:pt x="8307" y="13007"/>
                      <a:pt x="9585" y="12369"/>
                      <a:pt x="10863" y="11092"/>
                    </a:cubicBezTo>
                    <a:cubicBezTo>
                      <a:pt x="11502" y="10454"/>
                      <a:pt x="12141" y="9815"/>
                      <a:pt x="12141" y="9177"/>
                    </a:cubicBezTo>
                    <a:cubicBezTo>
                      <a:pt x="12780" y="8539"/>
                      <a:pt x="12780" y="7900"/>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29" name="Graphic 4">
                <a:extLst>
                  <a:ext uri="{FF2B5EF4-FFF2-40B4-BE49-F238E27FC236}">
                    <a16:creationId xmlns:a16="http://schemas.microsoft.com/office/drawing/2014/main" id="{B13B249E-3505-B41D-726B-F888B4C30339}"/>
                  </a:ext>
                </a:extLst>
              </p:cNvPr>
              <p:cNvSpPr/>
              <p:nvPr/>
            </p:nvSpPr>
            <p:spPr>
              <a:xfrm>
                <a:off x="1674802" y="2509466"/>
                <a:ext cx="12779" cy="13007"/>
              </a:xfrm>
              <a:custGeom>
                <a:avLst/>
                <a:gdLst>
                  <a:gd name="connsiteX0" fmla="*/ 10224 w 12779"/>
                  <a:gd name="connsiteY0" fmla="*/ 1516 h 13007"/>
                  <a:gd name="connsiteX1" fmla="*/ 8946 w 12779"/>
                  <a:gd name="connsiteY1" fmla="*/ 878 h 13007"/>
                  <a:gd name="connsiteX2" fmla="*/ 7668 w 12779"/>
                  <a:gd name="connsiteY2" fmla="*/ 239 h 13007"/>
                  <a:gd name="connsiteX3" fmla="*/ 1917 w 12779"/>
                  <a:gd name="connsiteY3" fmla="*/ 2155 h 13007"/>
                  <a:gd name="connsiteX4" fmla="*/ 0 w 12779"/>
                  <a:gd name="connsiteY4" fmla="*/ 6623 h 13007"/>
                  <a:gd name="connsiteX5" fmla="*/ 6390 w 12779"/>
                  <a:gd name="connsiteY5" fmla="*/ 13007 h 13007"/>
                  <a:gd name="connsiteX6" fmla="*/ 8946 w 12779"/>
                  <a:gd name="connsiteY6" fmla="*/ 12369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1516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1516"/>
                    </a:moveTo>
                    <a:cubicBezTo>
                      <a:pt x="9585" y="1516"/>
                      <a:pt x="9585" y="878"/>
                      <a:pt x="8946" y="878"/>
                    </a:cubicBezTo>
                    <a:lnTo>
                      <a:pt x="7668" y="239"/>
                    </a:ln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1502" y="10454"/>
                      <a:pt x="12141" y="9815"/>
                      <a:pt x="12141" y="9177"/>
                    </a:cubicBezTo>
                    <a:cubicBezTo>
                      <a:pt x="12141" y="8539"/>
                      <a:pt x="12780" y="7900"/>
                      <a:pt x="12780" y="6623"/>
                    </a:cubicBezTo>
                    <a:cubicBezTo>
                      <a:pt x="12780" y="4708"/>
                      <a:pt x="12141" y="3431"/>
                      <a:pt x="10863" y="2155"/>
                    </a:cubicBezTo>
                    <a:lnTo>
                      <a:pt x="10224" y="151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30" name="Graphic 4">
                <a:extLst>
                  <a:ext uri="{FF2B5EF4-FFF2-40B4-BE49-F238E27FC236}">
                    <a16:creationId xmlns:a16="http://schemas.microsoft.com/office/drawing/2014/main" id="{D04F6778-1A95-4347-BC4C-05CDEB2343ED}"/>
                  </a:ext>
                </a:extLst>
              </p:cNvPr>
              <p:cNvSpPr/>
              <p:nvPr/>
            </p:nvSpPr>
            <p:spPr>
              <a:xfrm>
                <a:off x="1703557" y="2510105"/>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0 w 12779"/>
                  <a:gd name="connsiteY4" fmla="*/ 13007 h 13007"/>
                  <a:gd name="connsiteX5" fmla="*/ 8946 w 12779"/>
                  <a:gd name="connsiteY5" fmla="*/ 12369 h 13007"/>
                  <a:gd name="connsiteX6" fmla="*/ 10863 w 12779"/>
                  <a:gd name="connsiteY6" fmla="*/ 11092 h 13007"/>
                  <a:gd name="connsiteX7" fmla="*/ 12780 w 12779"/>
                  <a:gd name="connsiteY7" fmla="*/ 6623 h 13007"/>
                  <a:gd name="connsiteX8" fmla="*/ 10863 w 12779"/>
                  <a:gd name="connsiteY8" fmla="*/ 2155 h 13007"/>
                  <a:gd name="connsiteX9" fmla="*/ 10224 w 12779"/>
                  <a:gd name="connsiteY9"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31" name="Graphic 4">
                <a:extLst>
                  <a:ext uri="{FF2B5EF4-FFF2-40B4-BE49-F238E27FC236}">
                    <a16:creationId xmlns:a16="http://schemas.microsoft.com/office/drawing/2014/main" id="{699C71E6-0AC4-3F85-A831-EB3C4077A1C7}"/>
                  </a:ext>
                </a:extLst>
              </p:cNvPr>
              <p:cNvSpPr/>
              <p:nvPr/>
            </p:nvSpPr>
            <p:spPr>
              <a:xfrm>
                <a:off x="1617293" y="2538433"/>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5112 w 12779"/>
                  <a:gd name="connsiteY3" fmla="*/ 0 h 12767"/>
                  <a:gd name="connsiteX4" fmla="*/ 3834 w 12779"/>
                  <a:gd name="connsiteY4" fmla="*/ 638 h 12767"/>
                  <a:gd name="connsiteX5" fmla="*/ 2556 w 12779"/>
                  <a:gd name="connsiteY5" fmla="*/ 1277 h 12767"/>
                  <a:gd name="connsiteX6" fmla="*/ 1917 w 12779"/>
                  <a:gd name="connsiteY6" fmla="*/ 1915 h 12767"/>
                  <a:gd name="connsiteX7" fmla="*/ 0 w 12779"/>
                  <a:gd name="connsiteY7" fmla="*/ 5107 h 12767"/>
                  <a:gd name="connsiteX8" fmla="*/ 0 w 12779"/>
                  <a:gd name="connsiteY8" fmla="*/ 6384 h 12767"/>
                  <a:gd name="connsiteX9" fmla="*/ 639 w 12779"/>
                  <a:gd name="connsiteY9" fmla="*/ 8938 h 12767"/>
                  <a:gd name="connsiteX10" fmla="*/ 1917 w 12779"/>
                  <a:gd name="connsiteY10" fmla="*/ 10853 h 12767"/>
                  <a:gd name="connsiteX11" fmla="*/ 3834 w 12779"/>
                  <a:gd name="connsiteY11" fmla="*/ 12130 h 12767"/>
                  <a:gd name="connsiteX12" fmla="*/ 6390 w 12779"/>
                  <a:gd name="connsiteY12" fmla="*/ 12768 h 12767"/>
                  <a:gd name="connsiteX13" fmla="*/ 8946 w 12779"/>
                  <a:gd name="connsiteY13" fmla="*/ 12130 h 12767"/>
                  <a:gd name="connsiteX14" fmla="*/ 10863 w 12779"/>
                  <a:gd name="connsiteY14" fmla="*/ 10853 h 12767"/>
                  <a:gd name="connsiteX15" fmla="*/ 12141 w 12779"/>
                  <a:gd name="connsiteY15" fmla="*/ 8938 h 12767"/>
                  <a:gd name="connsiteX16" fmla="*/ 12780 w 12779"/>
                  <a:gd name="connsiteY16" fmla="*/ 6384 h 12767"/>
                  <a:gd name="connsiteX17" fmla="*/ 10863 w 12779"/>
                  <a:gd name="connsiteY17" fmla="*/ 1915 h 12767"/>
                  <a:gd name="connsiteX18" fmla="*/ 10224 w 12779"/>
                  <a:gd name="connsiteY18"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79" h="12767">
                    <a:moveTo>
                      <a:pt x="10224" y="1277"/>
                    </a:moveTo>
                    <a:cubicBezTo>
                      <a:pt x="9585" y="1277"/>
                      <a:pt x="9585" y="638"/>
                      <a:pt x="8946" y="638"/>
                    </a:cubicBezTo>
                    <a:cubicBezTo>
                      <a:pt x="8307" y="638"/>
                      <a:pt x="8307" y="0"/>
                      <a:pt x="7668" y="0"/>
                    </a:cubicBezTo>
                    <a:cubicBezTo>
                      <a:pt x="7029" y="0"/>
                      <a:pt x="5751" y="0"/>
                      <a:pt x="5112" y="0"/>
                    </a:cubicBezTo>
                    <a:lnTo>
                      <a:pt x="3834" y="638"/>
                    </a:lnTo>
                    <a:lnTo>
                      <a:pt x="2556" y="1277"/>
                    </a:lnTo>
                    <a:lnTo>
                      <a:pt x="1917" y="1915"/>
                    </a:lnTo>
                    <a:cubicBezTo>
                      <a:pt x="1278" y="2554"/>
                      <a:pt x="639" y="3830"/>
                      <a:pt x="0" y="5107"/>
                    </a:cubicBezTo>
                    <a:cubicBezTo>
                      <a:pt x="0" y="5746"/>
                      <a:pt x="0" y="5746"/>
                      <a:pt x="0" y="6384"/>
                    </a:cubicBezTo>
                    <a:cubicBezTo>
                      <a:pt x="0" y="7022"/>
                      <a:pt x="0" y="8299"/>
                      <a:pt x="639" y="8938"/>
                    </a:cubicBezTo>
                    <a:cubicBezTo>
                      <a:pt x="1278" y="9576"/>
                      <a:pt x="1278" y="10214"/>
                      <a:pt x="1917" y="10853"/>
                    </a:cubicBezTo>
                    <a:cubicBezTo>
                      <a:pt x="2556" y="11491"/>
                      <a:pt x="3195" y="12130"/>
                      <a:pt x="3834" y="12130"/>
                    </a:cubicBezTo>
                    <a:cubicBezTo>
                      <a:pt x="4473" y="12768"/>
                      <a:pt x="5751"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4469"/>
                      <a:pt x="12141" y="3192"/>
                      <a:pt x="10863" y="1915"/>
                    </a:cubicBezTo>
                    <a:lnTo>
                      <a:pt x="10224" y="1277"/>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32" name="Graphic 4">
                <a:extLst>
                  <a:ext uri="{FF2B5EF4-FFF2-40B4-BE49-F238E27FC236}">
                    <a16:creationId xmlns:a16="http://schemas.microsoft.com/office/drawing/2014/main" id="{251AAA85-8B0F-73A1-9BDB-A35ED704C8FD}"/>
                  </a:ext>
                </a:extLst>
              </p:cNvPr>
              <p:cNvSpPr/>
              <p:nvPr/>
            </p:nvSpPr>
            <p:spPr>
              <a:xfrm>
                <a:off x="1617293" y="2509585"/>
                <a:ext cx="12779" cy="12739"/>
              </a:xfrm>
              <a:custGeom>
                <a:avLst/>
                <a:gdLst>
                  <a:gd name="connsiteX0" fmla="*/ 10224 w 12779"/>
                  <a:gd name="connsiteY0" fmla="*/ 1398 h 12739"/>
                  <a:gd name="connsiteX1" fmla="*/ 8946 w 12779"/>
                  <a:gd name="connsiteY1" fmla="*/ 759 h 12739"/>
                  <a:gd name="connsiteX2" fmla="*/ 7668 w 12779"/>
                  <a:gd name="connsiteY2" fmla="*/ 121 h 12739"/>
                  <a:gd name="connsiteX3" fmla="*/ 0 w 12779"/>
                  <a:gd name="connsiteY3" fmla="*/ 5228 h 12739"/>
                  <a:gd name="connsiteX4" fmla="*/ 0 w 12779"/>
                  <a:gd name="connsiteY4" fmla="*/ 6505 h 12739"/>
                  <a:gd name="connsiteX5" fmla="*/ 639 w 12779"/>
                  <a:gd name="connsiteY5" fmla="*/ 9059 h 12739"/>
                  <a:gd name="connsiteX6" fmla="*/ 1917 w 12779"/>
                  <a:gd name="connsiteY6" fmla="*/ 10974 h 12739"/>
                  <a:gd name="connsiteX7" fmla="*/ 3834 w 12779"/>
                  <a:gd name="connsiteY7" fmla="*/ 12251 h 12739"/>
                  <a:gd name="connsiteX8" fmla="*/ 12141 w 12779"/>
                  <a:gd name="connsiteY8" fmla="*/ 9059 h 12739"/>
                  <a:gd name="connsiteX9" fmla="*/ 12780 w 12779"/>
                  <a:gd name="connsiteY9" fmla="*/ 6505 h 12739"/>
                  <a:gd name="connsiteX10" fmla="*/ 10863 w 12779"/>
                  <a:gd name="connsiteY10" fmla="*/ 2036 h 12739"/>
                  <a:gd name="connsiteX11" fmla="*/ 10224 w 12779"/>
                  <a:gd name="connsiteY11" fmla="*/ 1398 h 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39">
                    <a:moveTo>
                      <a:pt x="10224" y="1398"/>
                    </a:moveTo>
                    <a:cubicBezTo>
                      <a:pt x="9585" y="1398"/>
                      <a:pt x="9585" y="759"/>
                      <a:pt x="8946" y="759"/>
                    </a:cubicBezTo>
                    <a:cubicBezTo>
                      <a:pt x="8307" y="759"/>
                      <a:pt x="8307" y="121"/>
                      <a:pt x="7668" y="121"/>
                    </a:cubicBezTo>
                    <a:cubicBezTo>
                      <a:pt x="4473" y="-517"/>
                      <a:pt x="639" y="1398"/>
                      <a:pt x="0" y="5228"/>
                    </a:cubicBezTo>
                    <a:cubicBezTo>
                      <a:pt x="0" y="5867"/>
                      <a:pt x="0" y="5867"/>
                      <a:pt x="0" y="6505"/>
                    </a:cubicBezTo>
                    <a:cubicBezTo>
                      <a:pt x="0" y="7143"/>
                      <a:pt x="0" y="8420"/>
                      <a:pt x="639" y="9059"/>
                    </a:cubicBezTo>
                    <a:cubicBezTo>
                      <a:pt x="1278" y="9697"/>
                      <a:pt x="1278" y="10335"/>
                      <a:pt x="1917" y="10974"/>
                    </a:cubicBezTo>
                    <a:cubicBezTo>
                      <a:pt x="2556" y="11612"/>
                      <a:pt x="3195" y="12251"/>
                      <a:pt x="3834" y="12251"/>
                    </a:cubicBezTo>
                    <a:cubicBezTo>
                      <a:pt x="7029" y="13527"/>
                      <a:pt x="10863" y="12251"/>
                      <a:pt x="12141" y="9059"/>
                    </a:cubicBezTo>
                    <a:cubicBezTo>
                      <a:pt x="12141" y="8420"/>
                      <a:pt x="12780" y="7782"/>
                      <a:pt x="12780" y="6505"/>
                    </a:cubicBezTo>
                    <a:cubicBezTo>
                      <a:pt x="12780" y="4590"/>
                      <a:pt x="12141" y="3313"/>
                      <a:pt x="10863" y="2036"/>
                    </a:cubicBezTo>
                    <a:cubicBezTo>
                      <a:pt x="10863" y="2036"/>
                      <a:pt x="10863" y="1398"/>
                      <a:pt x="10224" y="1398"/>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33" name="Graphic 4">
                <a:extLst>
                  <a:ext uri="{FF2B5EF4-FFF2-40B4-BE49-F238E27FC236}">
                    <a16:creationId xmlns:a16="http://schemas.microsoft.com/office/drawing/2014/main" id="{2990D42F-D318-49A6-E803-11A716171DAB}"/>
                  </a:ext>
                </a:extLst>
              </p:cNvPr>
              <p:cNvSpPr/>
              <p:nvPr/>
            </p:nvSpPr>
            <p:spPr>
              <a:xfrm>
                <a:off x="1646047" y="2538408"/>
                <a:ext cx="12779" cy="12819"/>
              </a:xfrm>
              <a:custGeom>
                <a:avLst/>
                <a:gdLst>
                  <a:gd name="connsiteX0" fmla="*/ 8946 w 12779"/>
                  <a:gd name="connsiteY0" fmla="*/ 664 h 12819"/>
                  <a:gd name="connsiteX1" fmla="*/ 1917 w 12779"/>
                  <a:gd name="connsiteY1" fmla="*/ 1941 h 12819"/>
                  <a:gd name="connsiteX2" fmla="*/ 639 w 12779"/>
                  <a:gd name="connsiteY2" fmla="*/ 3856 h 12819"/>
                  <a:gd name="connsiteX3" fmla="*/ 0 w 12779"/>
                  <a:gd name="connsiteY3" fmla="*/ 5133 h 12819"/>
                  <a:gd name="connsiteX4" fmla="*/ 0 w 12779"/>
                  <a:gd name="connsiteY4" fmla="*/ 6410 h 12819"/>
                  <a:gd name="connsiteX5" fmla="*/ 639 w 12779"/>
                  <a:gd name="connsiteY5" fmla="*/ 8963 h 12819"/>
                  <a:gd name="connsiteX6" fmla="*/ 1917 w 12779"/>
                  <a:gd name="connsiteY6" fmla="*/ 10879 h 12819"/>
                  <a:gd name="connsiteX7" fmla="*/ 3834 w 12779"/>
                  <a:gd name="connsiteY7" fmla="*/ 12155 h 12819"/>
                  <a:gd name="connsiteX8" fmla="*/ 10863 w 12779"/>
                  <a:gd name="connsiteY8" fmla="*/ 10879 h 12819"/>
                  <a:gd name="connsiteX9" fmla="*/ 12141 w 12779"/>
                  <a:gd name="connsiteY9" fmla="*/ 8963 h 12819"/>
                  <a:gd name="connsiteX10" fmla="*/ 12780 w 12779"/>
                  <a:gd name="connsiteY10" fmla="*/ 6410 h 12819"/>
                  <a:gd name="connsiteX11" fmla="*/ 10863 w 12779"/>
                  <a:gd name="connsiteY11" fmla="*/ 1941 h 12819"/>
                  <a:gd name="connsiteX12" fmla="*/ 8946 w 12779"/>
                  <a:gd name="connsiteY12" fmla="*/ 664 h 1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819">
                    <a:moveTo>
                      <a:pt x="8946" y="664"/>
                    </a:moveTo>
                    <a:cubicBezTo>
                      <a:pt x="6390" y="-613"/>
                      <a:pt x="3834" y="26"/>
                      <a:pt x="1917" y="1941"/>
                    </a:cubicBezTo>
                    <a:cubicBezTo>
                      <a:pt x="1278" y="2579"/>
                      <a:pt x="639" y="3218"/>
                      <a:pt x="639" y="3856"/>
                    </a:cubicBezTo>
                    <a:cubicBezTo>
                      <a:pt x="639" y="4495"/>
                      <a:pt x="0" y="4495"/>
                      <a:pt x="0" y="5133"/>
                    </a:cubicBezTo>
                    <a:cubicBezTo>
                      <a:pt x="0" y="5771"/>
                      <a:pt x="0" y="5771"/>
                      <a:pt x="0" y="6410"/>
                    </a:cubicBezTo>
                    <a:cubicBezTo>
                      <a:pt x="0" y="7048"/>
                      <a:pt x="0" y="8325"/>
                      <a:pt x="639" y="8963"/>
                    </a:cubicBezTo>
                    <a:cubicBezTo>
                      <a:pt x="639" y="9602"/>
                      <a:pt x="1278" y="10240"/>
                      <a:pt x="1917" y="10879"/>
                    </a:cubicBezTo>
                    <a:cubicBezTo>
                      <a:pt x="2556" y="11517"/>
                      <a:pt x="3195" y="12155"/>
                      <a:pt x="3834" y="12155"/>
                    </a:cubicBezTo>
                    <a:cubicBezTo>
                      <a:pt x="6390" y="13432"/>
                      <a:pt x="8946" y="12794"/>
                      <a:pt x="10863" y="10879"/>
                    </a:cubicBezTo>
                    <a:cubicBezTo>
                      <a:pt x="11502" y="10240"/>
                      <a:pt x="12141" y="9602"/>
                      <a:pt x="12141" y="8963"/>
                    </a:cubicBezTo>
                    <a:cubicBezTo>
                      <a:pt x="12780" y="8325"/>
                      <a:pt x="12780" y="7687"/>
                      <a:pt x="12780" y="6410"/>
                    </a:cubicBezTo>
                    <a:cubicBezTo>
                      <a:pt x="12780" y="4495"/>
                      <a:pt x="12141" y="3218"/>
                      <a:pt x="10863" y="1941"/>
                    </a:cubicBezTo>
                    <a:cubicBezTo>
                      <a:pt x="10224" y="1303"/>
                      <a:pt x="9585" y="664"/>
                      <a:pt x="8946" y="664"/>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34" name="Graphic 4">
                <a:extLst>
                  <a:ext uri="{FF2B5EF4-FFF2-40B4-BE49-F238E27FC236}">
                    <a16:creationId xmlns:a16="http://schemas.microsoft.com/office/drawing/2014/main" id="{B07A784D-8B45-FB5F-D66B-055F3C81738E}"/>
                  </a:ext>
                </a:extLst>
              </p:cNvPr>
              <p:cNvSpPr/>
              <p:nvPr/>
            </p:nvSpPr>
            <p:spPr>
              <a:xfrm>
                <a:off x="1646047" y="2509706"/>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3834 w 12779"/>
                  <a:gd name="connsiteY3" fmla="*/ 638 h 12767"/>
                  <a:gd name="connsiteX4" fmla="*/ 1917 w 12779"/>
                  <a:gd name="connsiteY4" fmla="*/ 1915 h 12767"/>
                  <a:gd name="connsiteX5" fmla="*/ 639 w 12779"/>
                  <a:gd name="connsiteY5" fmla="*/ 3830 h 12767"/>
                  <a:gd name="connsiteX6" fmla="*/ 0 w 12779"/>
                  <a:gd name="connsiteY6" fmla="*/ 5107 h 12767"/>
                  <a:gd name="connsiteX7" fmla="*/ 0 w 12779"/>
                  <a:gd name="connsiteY7" fmla="*/ 6384 h 12767"/>
                  <a:gd name="connsiteX8" fmla="*/ 6390 w 12779"/>
                  <a:gd name="connsiteY8" fmla="*/ 12768 h 12767"/>
                  <a:gd name="connsiteX9" fmla="*/ 8946 w 12779"/>
                  <a:gd name="connsiteY9" fmla="*/ 12130 h 12767"/>
                  <a:gd name="connsiteX10" fmla="*/ 12141 w 12779"/>
                  <a:gd name="connsiteY10" fmla="*/ 8938 h 12767"/>
                  <a:gd name="connsiteX11" fmla="*/ 12780 w 12779"/>
                  <a:gd name="connsiteY11" fmla="*/ 6384 h 12767"/>
                  <a:gd name="connsiteX12" fmla="*/ 10863 w 12779"/>
                  <a:gd name="connsiteY12" fmla="*/ 1915 h 12767"/>
                  <a:gd name="connsiteX13" fmla="*/ 10224 w 12779"/>
                  <a:gd name="connsiteY13"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0224" y="1277"/>
                    </a:move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639" y="4469"/>
                      <a:pt x="639" y="4469"/>
                      <a:pt x="0" y="5107"/>
                    </a:cubicBezTo>
                    <a:cubicBezTo>
                      <a:pt x="0" y="5746"/>
                      <a:pt x="0" y="5746"/>
                      <a:pt x="0" y="6384"/>
                    </a:cubicBezTo>
                    <a:cubicBezTo>
                      <a:pt x="0" y="10214"/>
                      <a:pt x="3195" y="12768"/>
                      <a:pt x="6390" y="12768"/>
                    </a:cubicBezTo>
                    <a:cubicBezTo>
                      <a:pt x="7029" y="12768"/>
                      <a:pt x="8307"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10863" y="1915"/>
                      <a:pt x="10863" y="1277"/>
                      <a:pt x="10224"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grpSp>
      </p:grpSp>
      <p:sp>
        <p:nvSpPr>
          <p:cNvPr id="37" name="Graphic 4">
            <a:extLst>
              <a:ext uri="{FF2B5EF4-FFF2-40B4-BE49-F238E27FC236}">
                <a16:creationId xmlns:a16="http://schemas.microsoft.com/office/drawing/2014/main" id="{7053DB8C-90CA-81C8-C50F-DE7CF8757D1B}"/>
              </a:ext>
            </a:extLst>
          </p:cNvPr>
          <p:cNvSpPr/>
          <p:nvPr/>
        </p:nvSpPr>
        <p:spPr>
          <a:xfrm>
            <a:off x="445030" y="1526840"/>
            <a:ext cx="296471" cy="296194"/>
          </a:xfrm>
          <a:custGeom>
            <a:avLst/>
            <a:gdLst>
              <a:gd name="connsiteX0" fmla="*/ 120131 w 240261"/>
              <a:gd name="connsiteY0" fmla="*/ 0 h 240037"/>
              <a:gd name="connsiteX1" fmla="*/ 0 w 240261"/>
              <a:gd name="connsiteY1" fmla="*/ 120019 h 240037"/>
              <a:gd name="connsiteX2" fmla="*/ 120131 w 240261"/>
              <a:gd name="connsiteY2" fmla="*/ 240038 h 240037"/>
              <a:gd name="connsiteX3" fmla="*/ 240262 w 240261"/>
              <a:gd name="connsiteY3" fmla="*/ 120019 h 240037"/>
              <a:gd name="connsiteX4" fmla="*/ 240262 w 240261"/>
              <a:gd name="connsiteY4" fmla="*/ 120019 h 240037"/>
              <a:gd name="connsiteX5" fmla="*/ 120131 w 240261"/>
              <a:gd name="connsiteY5" fmla="*/ 0 h 240037"/>
              <a:gd name="connsiteX6" fmla="*/ 214702 w 240261"/>
              <a:gd name="connsiteY6" fmla="*/ 170452 h 240037"/>
              <a:gd name="connsiteX7" fmla="*/ 162943 w 240261"/>
              <a:gd name="connsiteY7" fmla="*/ 170452 h 240037"/>
              <a:gd name="connsiteX8" fmla="*/ 166777 w 240261"/>
              <a:gd name="connsiteY8" fmla="*/ 126403 h 240037"/>
              <a:gd name="connsiteX9" fmla="*/ 226843 w 240261"/>
              <a:gd name="connsiteY9" fmla="*/ 126403 h 240037"/>
              <a:gd name="connsiteX10" fmla="*/ 214702 w 240261"/>
              <a:gd name="connsiteY10" fmla="*/ 170452 h 240037"/>
              <a:gd name="connsiteX11" fmla="*/ 120131 w 240261"/>
              <a:gd name="connsiteY11" fmla="*/ 227270 h 240037"/>
              <a:gd name="connsiteX12" fmla="*/ 93293 w 240261"/>
              <a:gd name="connsiteY12" fmla="*/ 183220 h 240037"/>
              <a:gd name="connsiteX13" fmla="*/ 147608 w 240261"/>
              <a:gd name="connsiteY13" fmla="*/ 183220 h 240037"/>
              <a:gd name="connsiteX14" fmla="*/ 120131 w 240261"/>
              <a:gd name="connsiteY14" fmla="*/ 227270 h 240037"/>
              <a:gd name="connsiteX15" fmla="*/ 120131 w 240261"/>
              <a:gd name="connsiteY15" fmla="*/ 227270 h 240037"/>
              <a:gd name="connsiteX16" fmla="*/ 90098 w 240261"/>
              <a:gd name="connsiteY16" fmla="*/ 170452 h 240037"/>
              <a:gd name="connsiteX17" fmla="*/ 85625 w 240261"/>
              <a:gd name="connsiteY17" fmla="*/ 126403 h 240037"/>
              <a:gd name="connsiteX18" fmla="*/ 153998 w 240261"/>
              <a:gd name="connsiteY18" fmla="*/ 126403 h 240037"/>
              <a:gd name="connsiteX19" fmla="*/ 149525 w 240261"/>
              <a:gd name="connsiteY19" fmla="*/ 170452 h 240037"/>
              <a:gd name="connsiteX20" fmla="*/ 90098 w 240261"/>
              <a:gd name="connsiteY20" fmla="*/ 170452 h 240037"/>
              <a:gd name="connsiteX21" fmla="*/ 13419 w 240261"/>
              <a:gd name="connsiteY21" fmla="*/ 126403 h 240037"/>
              <a:gd name="connsiteX22" fmla="*/ 73484 w 240261"/>
              <a:gd name="connsiteY22" fmla="*/ 126403 h 240037"/>
              <a:gd name="connsiteX23" fmla="*/ 77318 w 240261"/>
              <a:gd name="connsiteY23" fmla="*/ 170452 h 240037"/>
              <a:gd name="connsiteX24" fmla="*/ 25560 w 240261"/>
              <a:gd name="connsiteY24" fmla="*/ 170452 h 240037"/>
              <a:gd name="connsiteX25" fmla="*/ 13419 w 240261"/>
              <a:gd name="connsiteY25" fmla="*/ 126403 h 240037"/>
              <a:gd name="connsiteX26" fmla="*/ 25560 w 240261"/>
              <a:gd name="connsiteY26" fmla="*/ 69585 h 240037"/>
              <a:gd name="connsiteX27" fmla="*/ 77318 w 240261"/>
              <a:gd name="connsiteY27" fmla="*/ 69585 h 240037"/>
              <a:gd name="connsiteX28" fmla="*/ 73484 w 240261"/>
              <a:gd name="connsiteY28" fmla="*/ 113635 h 240037"/>
              <a:gd name="connsiteX29" fmla="*/ 13419 w 240261"/>
              <a:gd name="connsiteY29" fmla="*/ 113635 h 240037"/>
              <a:gd name="connsiteX30" fmla="*/ 25560 w 240261"/>
              <a:gd name="connsiteY30" fmla="*/ 69585 h 240037"/>
              <a:gd name="connsiteX31" fmla="*/ 120131 w 240261"/>
              <a:gd name="connsiteY31" fmla="*/ 12768 h 240037"/>
              <a:gd name="connsiteX32" fmla="*/ 146969 w 240261"/>
              <a:gd name="connsiteY32" fmla="*/ 56817 h 240037"/>
              <a:gd name="connsiteX33" fmla="*/ 92654 w 240261"/>
              <a:gd name="connsiteY33" fmla="*/ 56817 h 240037"/>
              <a:gd name="connsiteX34" fmla="*/ 120131 w 240261"/>
              <a:gd name="connsiteY34" fmla="*/ 12768 h 240037"/>
              <a:gd name="connsiteX35" fmla="*/ 120131 w 240261"/>
              <a:gd name="connsiteY35" fmla="*/ 12768 h 240037"/>
              <a:gd name="connsiteX36" fmla="*/ 150164 w 240261"/>
              <a:gd name="connsiteY36" fmla="*/ 69585 h 240037"/>
              <a:gd name="connsiteX37" fmla="*/ 154637 w 240261"/>
              <a:gd name="connsiteY37" fmla="*/ 113635 h 240037"/>
              <a:gd name="connsiteX38" fmla="*/ 86264 w 240261"/>
              <a:gd name="connsiteY38" fmla="*/ 113635 h 240037"/>
              <a:gd name="connsiteX39" fmla="*/ 90737 w 240261"/>
              <a:gd name="connsiteY39" fmla="*/ 69585 h 240037"/>
              <a:gd name="connsiteX40" fmla="*/ 150164 w 240261"/>
              <a:gd name="connsiteY40" fmla="*/ 69585 h 240037"/>
              <a:gd name="connsiteX41" fmla="*/ 166777 w 240261"/>
              <a:gd name="connsiteY41" fmla="*/ 113635 h 240037"/>
              <a:gd name="connsiteX42" fmla="*/ 162943 w 240261"/>
              <a:gd name="connsiteY42" fmla="*/ 69585 h 240037"/>
              <a:gd name="connsiteX43" fmla="*/ 214702 w 240261"/>
              <a:gd name="connsiteY43" fmla="*/ 69585 h 240037"/>
              <a:gd name="connsiteX44" fmla="*/ 226843 w 240261"/>
              <a:gd name="connsiteY44" fmla="*/ 113635 h 240037"/>
              <a:gd name="connsiteX45" fmla="*/ 166777 w 240261"/>
              <a:gd name="connsiteY45" fmla="*/ 113635 h 240037"/>
              <a:gd name="connsiteX46" fmla="*/ 206395 w 240261"/>
              <a:gd name="connsiteY46" fmla="*/ 56817 h 240037"/>
              <a:gd name="connsiteX47" fmla="*/ 160387 w 240261"/>
              <a:gd name="connsiteY47" fmla="*/ 56817 h 240037"/>
              <a:gd name="connsiteX48" fmla="*/ 144413 w 240261"/>
              <a:gd name="connsiteY48" fmla="*/ 15321 h 240037"/>
              <a:gd name="connsiteX49" fmla="*/ 206395 w 240261"/>
              <a:gd name="connsiteY49" fmla="*/ 56817 h 240037"/>
              <a:gd name="connsiteX50" fmla="*/ 206395 w 240261"/>
              <a:gd name="connsiteY50" fmla="*/ 56817 h 240037"/>
              <a:gd name="connsiteX51" fmla="*/ 95849 w 240261"/>
              <a:gd name="connsiteY51" fmla="*/ 15321 h 240037"/>
              <a:gd name="connsiteX52" fmla="*/ 79874 w 240261"/>
              <a:gd name="connsiteY52" fmla="*/ 56817 h 240037"/>
              <a:gd name="connsiteX53" fmla="*/ 33867 w 240261"/>
              <a:gd name="connsiteY53" fmla="*/ 56817 h 240037"/>
              <a:gd name="connsiteX54" fmla="*/ 95849 w 240261"/>
              <a:gd name="connsiteY54" fmla="*/ 15321 h 240037"/>
              <a:gd name="connsiteX55" fmla="*/ 95849 w 240261"/>
              <a:gd name="connsiteY55" fmla="*/ 15321 h 240037"/>
              <a:gd name="connsiteX56" fmla="*/ 33867 w 240261"/>
              <a:gd name="connsiteY56" fmla="*/ 183220 h 240037"/>
              <a:gd name="connsiteX57" fmla="*/ 79874 w 240261"/>
              <a:gd name="connsiteY57" fmla="*/ 183220 h 240037"/>
              <a:gd name="connsiteX58" fmla="*/ 95849 w 240261"/>
              <a:gd name="connsiteY58" fmla="*/ 224716 h 240037"/>
              <a:gd name="connsiteX59" fmla="*/ 33867 w 240261"/>
              <a:gd name="connsiteY59" fmla="*/ 183220 h 240037"/>
              <a:gd name="connsiteX60" fmla="*/ 144413 w 240261"/>
              <a:gd name="connsiteY60" fmla="*/ 224716 h 240037"/>
              <a:gd name="connsiteX61" fmla="*/ 160387 w 240261"/>
              <a:gd name="connsiteY61" fmla="*/ 183220 h 240037"/>
              <a:gd name="connsiteX62" fmla="*/ 206395 w 240261"/>
              <a:gd name="connsiteY62" fmla="*/ 183220 h 240037"/>
              <a:gd name="connsiteX63" fmla="*/ 144413 w 240261"/>
              <a:gd name="connsiteY63" fmla="*/ 224716 h 240037"/>
              <a:gd name="connsiteX64" fmla="*/ 144413 w 240261"/>
              <a:gd name="connsiteY64" fmla="*/ 224716 h 24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0261" h="240037">
                <a:moveTo>
                  <a:pt x="120131" y="0"/>
                </a:moveTo>
                <a:cubicBezTo>
                  <a:pt x="53675" y="0"/>
                  <a:pt x="0" y="53625"/>
                  <a:pt x="0" y="120019"/>
                </a:cubicBezTo>
                <a:cubicBezTo>
                  <a:pt x="0" y="186412"/>
                  <a:pt x="53675" y="240038"/>
                  <a:pt x="120131" y="240038"/>
                </a:cubicBezTo>
                <a:cubicBezTo>
                  <a:pt x="186586" y="240038"/>
                  <a:pt x="240262" y="186412"/>
                  <a:pt x="240262" y="120019"/>
                </a:cubicBezTo>
                <a:cubicBezTo>
                  <a:pt x="240262" y="120019"/>
                  <a:pt x="240262" y="120019"/>
                  <a:pt x="240262" y="120019"/>
                </a:cubicBezTo>
                <a:cubicBezTo>
                  <a:pt x="240262" y="53625"/>
                  <a:pt x="186586" y="0"/>
                  <a:pt x="120131" y="0"/>
                </a:cubicBezTo>
                <a:close/>
                <a:moveTo>
                  <a:pt x="214702" y="170452"/>
                </a:moveTo>
                <a:lnTo>
                  <a:pt x="162943" y="170452"/>
                </a:lnTo>
                <a:cubicBezTo>
                  <a:pt x="165499" y="155769"/>
                  <a:pt x="166777" y="141086"/>
                  <a:pt x="166777" y="126403"/>
                </a:cubicBezTo>
                <a:lnTo>
                  <a:pt x="226843" y="126403"/>
                </a:lnTo>
                <a:cubicBezTo>
                  <a:pt x="226204" y="141724"/>
                  <a:pt x="221731" y="157046"/>
                  <a:pt x="214702" y="170452"/>
                </a:cubicBezTo>
                <a:close/>
                <a:moveTo>
                  <a:pt x="120131" y="227270"/>
                </a:moveTo>
                <a:cubicBezTo>
                  <a:pt x="110546" y="227270"/>
                  <a:pt x="99683" y="210033"/>
                  <a:pt x="93293" y="183220"/>
                </a:cubicBezTo>
                <a:lnTo>
                  <a:pt x="147608" y="183220"/>
                </a:lnTo>
                <a:cubicBezTo>
                  <a:pt x="140579" y="210033"/>
                  <a:pt x="129716" y="227270"/>
                  <a:pt x="120131" y="227270"/>
                </a:cubicBezTo>
                <a:lnTo>
                  <a:pt x="120131" y="227270"/>
                </a:lnTo>
                <a:close/>
                <a:moveTo>
                  <a:pt x="90098" y="170452"/>
                </a:moveTo>
                <a:cubicBezTo>
                  <a:pt x="87542" y="155769"/>
                  <a:pt x="86264" y="141086"/>
                  <a:pt x="85625" y="126403"/>
                </a:cubicBezTo>
                <a:lnTo>
                  <a:pt x="153998" y="126403"/>
                </a:lnTo>
                <a:cubicBezTo>
                  <a:pt x="153998" y="141086"/>
                  <a:pt x="152081" y="155769"/>
                  <a:pt x="149525" y="170452"/>
                </a:cubicBezTo>
                <a:lnTo>
                  <a:pt x="90098" y="170452"/>
                </a:lnTo>
                <a:close/>
                <a:moveTo>
                  <a:pt x="13419" y="126403"/>
                </a:moveTo>
                <a:lnTo>
                  <a:pt x="73484" y="126403"/>
                </a:lnTo>
                <a:cubicBezTo>
                  <a:pt x="73484" y="141086"/>
                  <a:pt x="75401" y="155769"/>
                  <a:pt x="77318" y="170452"/>
                </a:cubicBezTo>
                <a:lnTo>
                  <a:pt x="25560" y="170452"/>
                </a:lnTo>
                <a:cubicBezTo>
                  <a:pt x="17892" y="157046"/>
                  <a:pt x="14058" y="141724"/>
                  <a:pt x="13419" y="126403"/>
                </a:cubicBezTo>
                <a:close/>
                <a:moveTo>
                  <a:pt x="25560" y="69585"/>
                </a:moveTo>
                <a:lnTo>
                  <a:pt x="77318" y="69585"/>
                </a:lnTo>
                <a:cubicBezTo>
                  <a:pt x="74762" y="84269"/>
                  <a:pt x="73484" y="98952"/>
                  <a:pt x="73484" y="113635"/>
                </a:cubicBezTo>
                <a:lnTo>
                  <a:pt x="13419" y="113635"/>
                </a:lnTo>
                <a:cubicBezTo>
                  <a:pt x="14058" y="98313"/>
                  <a:pt x="17892" y="82992"/>
                  <a:pt x="25560" y="69585"/>
                </a:cubicBezTo>
                <a:close/>
                <a:moveTo>
                  <a:pt x="120131" y="12768"/>
                </a:moveTo>
                <a:cubicBezTo>
                  <a:pt x="129716" y="12768"/>
                  <a:pt x="140579" y="30005"/>
                  <a:pt x="146969" y="56817"/>
                </a:cubicBezTo>
                <a:lnTo>
                  <a:pt x="92654" y="56817"/>
                </a:lnTo>
                <a:cubicBezTo>
                  <a:pt x="99683" y="30005"/>
                  <a:pt x="110546" y="12768"/>
                  <a:pt x="120131" y="12768"/>
                </a:cubicBezTo>
                <a:lnTo>
                  <a:pt x="120131" y="12768"/>
                </a:lnTo>
                <a:close/>
                <a:moveTo>
                  <a:pt x="150164" y="69585"/>
                </a:moveTo>
                <a:cubicBezTo>
                  <a:pt x="152720" y="84269"/>
                  <a:pt x="153998" y="98952"/>
                  <a:pt x="154637" y="113635"/>
                </a:cubicBezTo>
                <a:lnTo>
                  <a:pt x="86264" y="113635"/>
                </a:lnTo>
                <a:cubicBezTo>
                  <a:pt x="86264" y="98952"/>
                  <a:pt x="88181" y="84269"/>
                  <a:pt x="90737" y="69585"/>
                </a:cubicBezTo>
                <a:lnTo>
                  <a:pt x="150164" y="69585"/>
                </a:lnTo>
                <a:close/>
                <a:moveTo>
                  <a:pt x="166777" y="113635"/>
                </a:moveTo>
                <a:cubicBezTo>
                  <a:pt x="166777" y="98952"/>
                  <a:pt x="164860" y="84269"/>
                  <a:pt x="162943" y="69585"/>
                </a:cubicBezTo>
                <a:lnTo>
                  <a:pt x="214702" y="69585"/>
                </a:lnTo>
                <a:cubicBezTo>
                  <a:pt x="221731" y="82992"/>
                  <a:pt x="226204" y="98313"/>
                  <a:pt x="226843" y="113635"/>
                </a:cubicBezTo>
                <a:lnTo>
                  <a:pt x="166777" y="113635"/>
                </a:lnTo>
                <a:close/>
                <a:moveTo>
                  <a:pt x="206395" y="56817"/>
                </a:moveTo>
                <a:lnTo>
                  <a:pt x="160387" y="56817"/>
                </a:lnTo>
                <a:cubicBezTo>
                  <a:pt x="157192" y="42134"/>
                  <a:pt x="152081" y="28089"/>
                  <a:pt x="144413" y="15321"/>
                </a:cubicBezTo>
                <a:cubicBezTo>
                  <a:pt x="169333" y="21705"/>
                  <a:pt x="191059" y="36389"/>
                  <a:pt x="206395" y="56817"/>
                </a:cubicBezTo>
                <a:lnTo>
                  <a:pt x="206395" y="56817"/>
                </a:lnTo>
                <a:close/>
                <a:moveTo>
                  <a:pt x="95849" y="15321"/>
                </a:moveTo>
                <a:cubicBezTo>
                  <a:pt x="88181" y="28089"/>
                  <a:pt x="82430" y="42134"/>
                  <a:pt x="79874" y="56817"/>
                </a:cubicBezTo>
                <a:lnTo>
                  <a:pt x="33867" y="56817"/>
                </a:lnTo>
                <a:cubicBezTo>
                  <a:pt x="49203" y="36389"/>
                  <a:pt x="70928" y="21705"/>
                  <a:pt x="95849" y="15321"/>
                </a:cubicBezTo>
                <a:lnTo>
                  <a:pt x="95849" y="15321"/>
                </a:lnTo>
                <a:close/>
                <a:moveTo>
                  <a:pt x="33867" y="183220"/>
                </a:moveTo>
                <a:lnTo>
                  <a:pt x="79874" y="183220"/>
                </a:lnTo>
                <a:cubicBezTo>
                  <a:pt x="83069" y="197903"/>
                  <a:pt x="88181" y="211948"/>
                  <a:pt x="95849" y="224716"/>
                </a:cubicBezTo>
                <a:cubicBezTo>
                  <a:pt x="70928" y="218332"/>
                  <a:pt x="49203" y="203649"/>
                  <a:pt x="33867" y="183220"/>
                </a:cubicBezTo>
                <a:close/>
                <a:moveTo>
                  <a:pt x="144413" y="224716"/>
                </a:moveTo>
                <a:cubicBezTo>
                  <a:pt x="152081" y="211948"/>
                  <a:pt x="157831" y="197903"/>
                  <a:pt x="160387" y="183220"/>
                </a:cubicBezTo>
                <a:lnTo>
                  <a:pt x="206395" y="183220"/>
                </a:lnTo>
                <a:cubicBezTo>
                  <a:pt x="191059" y="203649"/>
                  <a:pt x="169333" y="218332"/>
                  <a:pt x="144413" y="224716"/>
                </a:cubicBezTo>
                <a:lnTo>
                  <a:pt x="144413" y="224716"/>
                </a:lnTo>
                <a:close/>
              </a:path>
            </a:pathLst>
          </a:custGeom>
          <a:solidFill>
            <a:srgbClr val="00B0F2"/>
          </a:solid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nvGrpSpPr>
          <p:cNvPr id="39" name="Group 38">
            <a:extLst>
              <a:ext uri="{FF2B5EF4-FFF2-40B4-BE49-F238E27FC236}">
                <a16:creationId xmlns:a16="http://schemas.microsoft.com/office/drawing/2014/main" id="{65AC25C3-4947-961D-48DE-EE76F56E33A1}"/>
              </a:ext>
            </a:extLst>
          </p:cNvPr>
          <p:cNvGrpSpPr/>
          <p:nvPr/>
        </p:nvGrpSpPr>
        <p:grpSpPr>
          <a:xfrm>
            <a:off x="4356176" y="1432933"/>
            <a:ext cx="528077" cy="528077"/>
            <a:chOff x="1984379" y="4874000"/>
            <a:chExt cx="1816041" cy="1816041"/>
          </a:xfrm>
        </p:grpSpPr>
        <p:grpSp>
          <p:nvGrpSpPr>
            <p:cNvPr id="40" name="Group 39">
              <a:extLst>
                <a:ext uri="{FF2B5EF4-FFF2-40B4-BE49-F238E27FC236}">
                  <a16:creationId xmlns:a16="http://schemas.microsoft.com/office/drawing/2014/main" id="{FF6CDDBC-41B8-CF31-71BE-088D7F4A3A7B}"/>
                </a:ext>
              </a:extLst>
            </p:cNvPr>
            <p:cNvGrpSpPr/>
            <p:nvPr/>
          </p:nvGrpSpPr>
          <p:grpSpPr>
            <a:xfrm>
              <a:off x="1984379" y="4874000"/>
              <a:ext cx="1816041" cy="1816041"/>
              <a:chOff x="465740" y="2706207"/>
              <a:chExt cx="442310" cy="442310"/>
            </a:xfrm>
          </p:grpSpPr>
          <p:sp>
            <p:nvSpPr>
              <p:cNvPr id="48" name="Oval 47">
                <a:extLst>
                  <a:ext uri="{FF2B5EF4-FFF2-40B4-BE49-F238E27FC236}">
                    <a16:creationId xmlns:a16="http://schemas.microsoft.com/office/drawing/2014/main" id="{DAFFD57A-7FE8-257D-59CF-7D89377997FE}"/>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6E47E51-E53E-E768-A6E2-04E2349EB020}"/>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AB76ACD8-B8A2-5EA6-9802-EB4AE99F1816}"/>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grpSp>
          <p:nvGrpSpPr>
            <p:cNvPr id="41" name="Graphic 4">
              <a:extLst>
                <a:ext uri="{FF2B5EF4-FFF2-40B4-BE49-F238E27FC236}">
                  <a16:creationId xmlns:a16="http://schemas.microsoft.com/office/drawing/2014/main" id="{2B658BB3-431E-FFC9-794B-857B8DFE2E41}"/>
                </a:ext>
              </a:extLst>
            </p:cNvPr>
            <p:cNvGrpSpPr>
              <a:grpSpLocks noChangeAspect="1"/>
            </p:cNvGrpSpPr>
            <p:nvPr/>
          </p:nvGrpSpPr>
          <p:grpSpPr>
            <a:xfrm>
              <a:off x="2535592" y="5425957"/>
              <a:ext cx="713661" cy="712127"/>
              <a:chOff x="4735970" y="2449058"/>
              <a:chExt cx="206646" cy="206202"/>
            </a:xfrm>
            <a:solidFill>
              <a:schemeClr val="bg1"/>
            </a:solidFill>
          </p:grpSpPr>
          <p:sp>
            <p:nvSpPr>
              <p:cNvPr id="42" name="Graphic 4">
                <a:extLst>
                  <a:ext uri="{FF2B5EF4-FFF2-40B4-BE49-F238E27FC236}">
                    <a16:creationId xmlns:a16="http://schemas.microsoft.com/office/drawing/2014/main" id="{2072338D-EB9A-C5D4-3744-C609C0A85B86}"/>
                  </a:ext>
                </a:extLst>
              </p:cNvPr>
              <p:cNvSpPr/>
              <p:nvPr/>
            </p:nvSpPr>
            <p:spPr>
              <a:xfrm>
                <a:off x="4735970" y="2508429"/>
                <a:ext cx="58649" cy="146831"/>
              </a:xfrm>
              <a:custGeom>
                <a:avLst/>
                <a:gdLst>
                  <a:gd name="connsiteX0" fmla="*/ 36034 w 58649"/>
                  <a:gd name="connsiteY0" fmla="*/ 0 h 146831"/>
                  <a:gd name="connsiteX1" fmla="*/ 21337 w 58649"/>
                  <a:gd name="connsiteY1" fmla="*/ 0 h 146831"/>
                  <a:gd name="connsiteX2" fmla="*/ 14948 w 58649"/>
                  <a:gd name="connsiteY2" fmla="*/ 5107 h 146831"/>
                  <a:gd name="connsiteX3" fmla="*/ 251 w 58649"/>
                  <a:gd name="connsiteY3" fmla="*/ 79800 h 146831"/>
                  <a:gd name="connsiteX4" fmla="*/ 1529 w 58649"/>
                  <a:gd name="connsiteY4" fmla="*/ 84907 h 146831"/>
                  <a:gd name="connsiteX5" fmla="*/ 6641 w 58649"/>
                  <a:gd name="connsiteY5" fmla="*/ 87461 h 146831"/>
                  <a:gd name="connsiteX6" fmla="*/ 7919 w 58649"/>
                  <a:gd name="connsiteY6" fmla="*/ 87461 h 146831"/>
                  <a:gd name="connsiteX7" fmla="*/ 7919 w 58649"/>
                  <a:gd name="connsiteY7" fmla="*/ 140448 h 146831"/>
                  <a:gd name="connsiteX8" fmla="*/ 14309 w 58649"/>
                  <a:gd name="connsiteY8" fmla="*/ 146832 h 146831"/>
                  <a:gd name="connsiteX9" fmla="*/ 20699 w 58649"/>
                  <a:gd name="connsiteY9" fmla="*/ 140448 h 146831"/>
                  <a:gd name="connsiteX10" fmla="*/ 20699 w 58649"/>
                  <a:gd name="connsiteY10" fmla="*/ 87461 h 146831"/>
                  <a:gd name="connsiteX11" fmla="*/ 37951 w 58649"/>
                  <a:gd name="connsiteY11" fmla="*/ 87461 h 146831"/>
                  <a:gd name="connsiteX12" fmla="*/ 37951 w 58649"/>
                  <a:gd name="connsiteY12" fmla="*/ 140448 h 146831"/>
                  <a:gd name="connsiteX13" fmla="*/ 44341 w 58649"/>
                  <a:gd name="connsiteY13" fmla="*/ 146832 h 146831"/>
                  <a:gd name="connsiteX14" fmla="*/ 50731 w 58649"/>
                  <a:gd name="connsiteY14" fmla="*/ 140448 h 146831"/>
                  <a:gd name="connsiteX15" fmla="*/ 50731 w 58649"/>
                  <a:gd name="connsiteY15" fmla="*/ 87461 h 146831"/>
                  <a:gd name="connsiteX16" fmla="*/ 52009 w 58649"/>
                  <a:gd name="connsiteY16" fmla="*/ 87461 h 146831"/>
                  <a:gd name="connsiteX17" fmla="*/ 57121 w 58649"/>
                  <a:gd name="connsiteY17" fmla="*/ 84907 h 146831"/>
                  <a:gd name="connsiteX18" fmla="*/ 58399 w 58649"/>
                  <a:gd name="connsiteY18" fmla="*/ 79800 h 146831"/>
                  <a:gd name="connsiteX19" fmla="*/ 43702 w 58649"/>
                  <a:gd name="connsiteY19" fmla="*/ 5107 h 146831"/>
                  <a:gd name="connsiteX20" fmla="*/ 36034 w 58649"/>
                  <a:gd name="connsiteY20" fmla="*/ 0 h 146831"/>
                  <a:gd name="connsiteX21" fmla="*/ 13669 w 58649"/>
                  <a:gd name="connsiteY21" fmla="*/ 74693 h 146831"/>
                  <a:gd name="connsiteX22" fmla="*/ 25811 w 58649"/>
                  <a:gd name="connsiteY22" fmla="*/ 13406 h 146831"/>
                  <a:gd name="connsiteX23" fmla="*/ 30284 w 58649"/>
                  <a:gd name="connsiteY23" fmla="*/ 13406 h 146831"/>
                  <a:gd name="connsiteX24" fmla="*/ 42424 w 58649"/>
                  <a:gd name="connsiteY24" fmla="*/ 74693 h 146831"/>
                  <a:gd name="connsiteX25" fmla="*/ 13669 w 58649"/>
                  <a:gd name="connsiteY25" fmla="*/ 74693 h 14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649" h="146831">
                    <a:moveTo>
                      <a:pt x="36034" y="0"/>
                    </a:moveTo>
                    <a:lnTo>
                      <a:pt x="21337" y="0"/>
                    </a:lnTo>
                    <a:cubicBezTo>
                      <a:pt x="18143" y="0"/>
                      <a:pt x="15586" y="1915"/>
                      <a:pt x="14948" y="5107"/>
                    </a:cubicBezTo>
                    <a:lnTo>
                      <a:pt x="251" y="79800"/>
                    </a:lnTo>
                    <a:cubicBezTo>
                      <a:pt x="-388" y="81715"/>
                      <a:pt x="251" y="83630"/>
                      <a:pt x="1529" y="84907"/>
                    </a:cubicBezTo>
                    <a:cubicBezTo>
                      <a:pt x="2807" y="86184"/>
                      <a:pt x="4724" y="87461"/>
                      <a:pt x="6641" y="87461"/>
                    </a:cubicBezTo>
                    <a:lnTo>
                      <a:pt x="7919" y="87461"/>
                    </a:lnTo>
                    <a:lnTo>
                      <a:pt x="7919" y="140448"/>
                    </a:lnTo>
                    <a:cubicBezTo>
                      <a:pt x="7919" y="144278"/>
                      <a:pt x="10475" y="146832"/>
                      <a:pt x="14309" y="146832"/>
                    </a:cubicBezTo>
                    <a:cubicBezTo>
                      <a:pt x="18143" y="146832"/>
                      <a:pt x="20699" y="144278"/>
                      <a:pt x="20699" y="140448"/>
                    </a:cubicBezTo>
                    <a:lnTo>
                      <a:pt x="20699" y="87461"/>
                    </a:lnTo>
                    <a:lnTo>
                      <a:pt x="37951" y="87461"/>
                    </a:lnTo>
                    <a:lnTo>
                      <a:pt x="37951" y="140448"/>
                    </a:lnTo>
                    <a:cubicBezTo>
                      <a:pt x="37951" y="144278"/>
                      <a:pt x="40507" y="146832"/>
                      <a:pt x="44341" y="146832"/>
                    </a:cubicBezTo>
                    <a:cubicBezTo>
                      <a:pt x="48175" y="146832"/>
                      <a:pt x="50731" y="144278"/>
                      <a:pt x="50731" y="140448"/>
                    </a:cubicBezTo>
                    <a:lnTo>
                      <a:pt x="50731" y="87461"/>
                    </a:lnTo>
                    <a:lnTo>
                      <a:pt x="52009" y="87461"/>
                    </a:lnTo>
                    <a:cubicBezTo>
                      <a:pt x="53926" y="87461"/>
                      <a:pt x="55843" y="86822"/>
                      <a:pt x="57121" y="84907"/>
                    </a:cubicBezTo>
                    <a:cubicBezTo>
                      <a:pt x="58399" y="83630"/>
                      <a:pt x="59038" y="81715"/>
                      <a:pt x="58399" y="79800"/>
                    </a:cubicBezTo>
                    <a:lnTo>
                      <a:pt x="43702" y="5107"/>
                    </a:lnTo>
                    <a:cubicBezTo>
                      <a:pt x="41146" y="2554"/>
                      <a:pt x="38590" y="0"/>
                      <a:pt x="36034" y="0"/>
                    </a:cubicBezTo>
                    <a:close/>
                    <a:moveTo>
                      <a:pt x="13669" y="74693"/>
                    </a:moveTo>
                    <a:lnTo>
                      <a:pt x="25811" y="13406"/>
                    </a:lnTo>
                    <a:lnTo>
                      <a:pt x="30284" y="13406"/>
                    </a:lnTo>
                    <a:lnTo>
                      <a:pt x="42424" y="74693"/>
                    </a:lnTo>
                    <a:lnTo>
                      <a:pt x="13669"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3" name="Graphic 4">
                <a:extLst>
                  <a:ext uri="{FF2B5EF4-FFF2-40B4-BE49-F238E27FC236}">
                    <a16:creationId xmlns:a16="http://schemas.microsoft.com/office/drawing/2014/main" id="{59231489-839C-C71D-8543-B872F106BE8B}"/>
                  </a:ext>
                </a:extLst>
              </p:cNvPr>
              <p:cNvSpPr/>
              <p:nvPr/>
            </p:nvSpPr>
            <p:spPr>
              <a:xfrm>
                <a:off x="4743250"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ubicBezTo>
                      <a:pt x="21087" y="12768"/>
                      <a:pt x="21087"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4" name="Graphic 4">
                <a:extLst>
                  <a:ext uri="{FF2B5EF4-FFF2-40B4-BE49-F238E27FC236}">
                    <a16:creationId xmlns:a16="http://schemas.microsoft.com/office/drawing/2014/main" id="{2271ECC4-22C1-CA00-BC45-8030D2DF32B2}"/>
                  </a:ext>
                </a:extLst>
              </p:cNvPr>
              <p:cNvSpPr/>
              <p:nvPr/>
            </p:nvSpPr>
            <p:spPr>
              <a:xfrm>
                <a:off x="4884468"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7 w 58148"/>
                  <a:gd name="connsiteY8" fmla="*/ 139809 h 146193"/>
                  <a:gd name="connsiteX9" fmla="*/ 20447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7" y="143640"/>
                      <a:pt x="20447" y="139809"/>
                    </a:cubicBezTo>
                    <a:lnTo>
                      <a:pt x="20447"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2" y="72139"/>
                      <a:pt x="58148" y="69586"/>
                      <a:pt x="58148" y="65755"/>
                    </a:cubicBezTo>
                    <a:lnTo>
                      <a:pt x="58148" y="6384"/>
                    </a:lnTo>
                    <a:cubicBezTo>
                      <a:pt x="57509" y="3192"/>
                      <a:pt x="54314"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5" name="Graphic 4">
                <a:extLst>
                  <a:ext uri="{FF2B5EF4-FFF2-40B4-BE49-F238E27FC236}">
                    <a16:creationId xmlns:a16="http://schemas.microsoft.com/office/drawing/2014/main" id="{D3B6F84C-7D65-6B54-3FBB-022DE87FE247}"/>
                  </a:ext>
                </a:extLst>
              </p:cNvPr>
              <p:cNvSpPr/>
              <p:nvPr/>
            </p:nvSpPr>
            <p:spPr>
              <a:xfrm>
                <a:off x="4892135"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6" name="Graphic 4">
                <a:extLst>
                  <a:ext uri="{FF2B5EF4-FFF2-40B4-BE49-F238E27FC236}">
                    <a16:creationId xmlns:a16="http://schemas.microsoft.com/office/drawing/2014/main" id="{B807FE27-D392-9E95-597E-327AD3AFA915}"/>
                  </a:ext>
                </a:extLst>
              </p:cNvPr>
              <p:cNvSpPr/>
              <p:nvPr/>
            </p:nvSpPr>
            <p:spPr>
              <a:xfrm>
                <a:off x="4809705"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8 w 58148"/>
                  <a:gd name="connsiteY8" fmla="*/ 139809 h 146193"/>
                  <a:gd name="connsiteX9" fmla="*/ 20448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8" y="143640"/>
                      <a:pt x="20448" y="139809"/>
                    </a:cubicBezTo>
                    <a:lnTo>
                      <a:pt x="20448"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3" y="72139"/>
                      <a:pt x="58148" y="69586"/>
                      <a:pt x="58148" y="65755"/>
                    </a:cubicBezTo>
                    <a:lnTo>
                      <a:pt x="58148" y="6384"/>
                    </a:lnTo>
                    <a:cubicBezTo>
                      <a:pt x="57509" y="3192"/>
                      <a:pt x="54953"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47" name="Graphic 4">
                <a:extLst>
                  <a:ext uri="{FF2B5EF4-FFF2-40B4-BE49-F238E27FC236}">
                    <a16:creationId xmlns:a16="http://schemas.microsoft.com/office/drawing/2014/main" id="{E1B25FBD-EC68-6158-DE96-69F63272E52A}"/>
                  </a:ext>
                </a:extLst>
              </p:cNvPr>
              <p:cNvSpPr/>
              <p:nvPr/>
            </p:nvSpPr>
            <p:spPr>
              <a:xfrm>
                <a:off x="4817373" y="2449058"/>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grpSp>
      <p:grpSp>
        <p:nvGrpSpPr>
          <p:cNvPr id="263" name="Group 262">
            <a:extLst>
              <a:ext uri="{FF2B5EF4-FFF2-40B4-BE49-F238E27FC236}">
                <a16:creationId xmlns:a16="http://schemas.microsoft.com/office/drawing/2014/main" id="{332E6834-0B6A-90F8-E07B-F2224E627FB7}"/>
              </a:ext>
            </a:extLst>
          </p:cNvPr>
          <p:cNvGrpSpPr/>
          <p:nvPr/>
        </p:nvGrpSpPr>
        <p:grpSpPr>
          <a:xfrm>
            <a:off x="9642460" y="1432923"/>
            <a:ext cx="528077" cy="528077"/>
            <a:chOff x="9742045" y="1432923"/>
            <a:chExt cx="528077" cy="528077"/>
          </a:xfrm>
        </p:grpSpPr>
        <p:grpSp>
          <p:nvGrpSpPr>
            <p:cNvPr id="251" name="Group 250">
              <a:extLst>
                <a:ext uri="{FF2B5EF4-FFF2-40B4-BE49-F238E27FC236}">
                  <a16:creationId xmlns:a16="http://schemas.microsoft.com/office/drawing/2014/main" id="{C07D542C-C251-ACF5-6537-410957258EBC}"/>
                </a:ext>
              </a:extLst>
            </p:cNvPr>
            <p:cNvGrpSpPr/>
            <p:nvPr/>
          </p:nvGrpSpPr>
          <p:grpSpPr>
            <a:xfrm>
              <a:off x="9742045" y="1432923"/>
              <a:ext cx="528077" cy="528077"/>
              <a:chOff x="7533011" y="1428012"/>
              <a:chExt cx="528077" cy="528077"/>
            </a:xfrm>
          </p:grpSpPr>
          <p:grpSp>
            <p:nvGrpSpPr>
              <p:cNvPr id="252" name="Group 251">
                <a:extLst>
                  <a:ext uri="{FF2B5EF4-FFF2-40B4-BE49-F238E27FC236}">
                    <a16:creationId xmlns:a16="http://schemas.microsoft.com/office/drawing/2014/main" id="{94EED1AC-45CB-14C9-59CF-CF0E5C0433ED}"/>
                  </a:ext>
                </a:extLst>
              </p:cNvPr>
              <p:cNvGrpSpPr/>
              <p:nvPr/>
            </p:nvGrpSpPr>
            <p:grpSpPr>
              <a:xfrm>
                <a:off x="7533011" y="1428012"/>
                <a:ext cx="528077" cy="528077"/>
                <a:chOff x="465740" y="2706207"/>
                <a:chExt cx="442310" cy="442310"/>
              </a:xfrm>
            </p:grpSpPr>
            <p:sp>
              <p:nvSpPr>
                <p:cNvPr id="261" name="Oval 260">
                  <a:extLst>
                    <a:ext uri="{FF2B5EF4-FFF2-40B4-BE49-F238E27FC236}">
                      <a16:creationId xmlns:a16="http://schemas.microsoft.com/office/drawing/2014/main" id="{5D642B9A-267D-9C81-DA14-B4F53A1CE543}"/>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262" name="Oval 261">
                  <a:extLst>
                    <a:ext uri="{FF2B5EF4-FFF2-40B4-BE49-F238E27FC236}">
                      <a16:creationId xmlns:a16="http://schemas.microsoft.com/office/drawing/2014/main" id="{775F62A9-6863-3CD0-F03F-19C65977D88E}"/>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sp>
            <p:nvSpPr>
              <p:cNvPr id="254" name="Flowchart: Connector 253">
                <a:extLst>
                  <a:ext uri="{FF2B5EF4-FFF2-40B4-BE49-F238E27FC236}">
                    <a16:creationId xmlns:a16="http://schemas.microsoft.com/office/drawing/2014/main" id="{10164A11-C620-1DC8-C75C-7FA7841E5EE8}"/>
                  </a:ext>
                </a:extLst>
              </p:cNvPr>
              <p:cNvSpPr/>
              <p:nvPr/>
            </p:nvSpPr>
            <p:spPr bwMode="gray">
              <a:xfrm>
                <a:off x="7643886" y="1525753"/>
                <a:ext cx="306205" cy="306205"/>
              </a:xfrm>
              <a:prstGeom prst="flowChartConnector">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32" name="Graphic 4">
              <a:extLst>
                <a:ext uri="{FF2B5EF4-FFF2-40B4-BE49-F238E27FC236}">
                  <a16:creationId xmlns:a16="http://schemas.microsoft.com/office/drawing/2014/main" id="{E23F98CB-C92B-35A7-167D-94ABCF66BCB9}"/>
                </a:ext>
              </a:extLst>
            </p:cNvPr>
            <p:cNvSpPr/>
            <p:nvPr/>
          </p:nvSpPr>
          <p:spPr>
            <a:xfrm>
              <a:off x="9819150" y="1512103"/>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304800 w 361674"/>
                <a:gd name="connsiteY5" fmla="*/ 173644 h 361333"/>
                <a:gd name="connsiteX6" fmla="*/ 297132 w 361674"/>
                <a:gd name="connsiteY6" fmla="*/ 192796 h 361333"/>
                <a:gd name="connsiteX7" fmla="*/ 289464 w 361674"/>
                <a:gd name="connsiteY7" fmla="*/ 217694 h 361333"/>
                <a:gd name="connsiteX8" fmla="*/ 293937 w 361674"/>
                <a:gd name="connsiteY8" fmla="*/ 280257 h 361333"/>
                <a:gd name="connsiteX9" fmla="*/ 292659 w 361674"/>
                <a:gd name="connsiteY9" fmla="*/ 284726 h 361333"/>
                <a:gd name="connsiteX10" fmla="*/ 288186 w 361674"/>
                <a:gd name="connsiteY10" fmla="*/ 286641 h 361333"/>
                <a:gd name="connsiteX11" fmla="*/ 207034 w 361674"/>
                <a:gd name="connsiteY11" fmla="*/ 286641 h 361333"/>
                <a:gd name="connsiteX12" fmla="*/ 201283 w 361674"/>
                <a:gd name="connsiteY12" fmla="*/ 281534 h 361333"/>
                <a:gd name="connsiteX13" fmla="*/ 200005 w 361674"/>
                <a:gd name="connsiteY13" fmla="*/ 270042 h 361333"/>
                <a:gd name="connsiteX14" fmla="*/ 199366 w 361674"/>
                <a:gd name="connsiteY14" fmla="*/ 261743 h 361333"/>
                <a:gd name="connsiteX15" fmla="*/ 199366 w 361674"/>
                <a:gd name="connsiteY15" fmla="*/ 258551 h 361333"/>
                <a:gd name="connsiteX16" fmla="*/ 166138 w 361674"/>
                <a:gd name="connsiteY16" fmla="*/ 260467 h 361333"/>
                <a:gd name="connsiteX17" fmla="*/ 154636 w 361674"/>
                <a:gd name="connsiteY17" fmla="*/ 250891 h 361333"/>
                <a:gd name="connsiteX18" fmla="*/ 153358 w 361674"/>
                <a:gd name="connsiteY18" fmla="*/ 237484 h 361333"/>
                <a:gd name="connsiteX19" fmla="*/ 150803 w 361674"/>
                <a:gd name="connsiteY19" fmla="*/ 235569 h 361333"/>
                <a:gd name="connsiteX20" fmla="*/ 148246 w 361674"/>
                <a:gd name="connsiteY20" fmla="*/ 229185 h 361333"/>
                <a:gd name="connsiteX21" fmla="*/ 149524 w 361674"/>
                <a:gd name="connsiteY21" fmla="*/ 225355 h 361333"/>
                <a:gd name="connsiteX22" fmla="*/ 146969 w 361674"/>
                <a:gd name="connsiteY22" fmla="*/ 221524 h 361333"/>
                <a:gd name="connsiteX23" fmla="*/ 148246 w 361674"/>
                <a:gd name="connsiteY23" fmla="*/ 213863 h 361333"/>
                <a:gd name="connsiteX24" fmla="*/ 150164 w 361674"/>
                <a:gd name="connsiteY24" fmla="*/ 211310 h 361333"/>
                <a:gd name="connsiteX25" fmla="*/ 146969 w 361674"/>
                <a:gd name="connsiteY25" fmla="*/ 210671 h 361333"/>
                <a:gd name="connsiteX26" fmla="*/ 143135 w 361674"/>
                <a:gd name="connsiteY26" fmla="*/ 210033 h 361333"/>
                <a:gd name="connsiteX27" fmla="*/ 134828 w 361674"/>
                <a:gd name="connsiteY27" fmla="*/ 203011 h 361333"/>
                <a:gd name="connsiteX28" fmla="*/ 134828 w 361674"/>
                <a:gd name="connsiteY28" fmla="*/ 192158 h 361333"/>
                <a:gd name="connsiteX29" fmla="*/ 135467 w 361674"/>
                <a:gd name="connsiteY29" fmla="*/ 190881 h 361333"/>
                <a:gd name="connsiteX30" fmla="*/ 151441 w 361674"/>
                <a:gd name="connsiteY30" fmla="*/ 171091 h 361333"/>
                <a:gd name="connsiteX31" fmla="*/ 150803 w 361674"/>
                <a:gd name="connsiteY31" fmla="*/ 168537 h 361333"/>
                <a:gd name="connsiteX32" fmla="*/ 147608 w 361674"/>
                <a:gd name="connsiteY32" fmla="*/ 144916 h 361333"/>
                <a:gd name="connsiteX33" fmla="*/ 147608 w 361674"/>
                <a:gd name="connsiteY33" fmla="*/ 144278 h 361333"/>
                <a:gd name="connsiteX34" fmla="*/ 178918 w 361674"/>
                <a:gd name="connsiteY34" fmla="*/ 90653 h 361333"/>
                <a:gd name="connsiteX35" fmla="*/ 161665 w 361674"/>
                <a:gd name="connsiteY35" fmla="*/ 84907 h 361333"/>
                <a:gd name="connsiteX36" fmla="*/ 77957 w 361674"/>
                <a:gd name="connsiteY36" fmla="*/ 146193 h 361333"/>
                <a:gd name="connsiteX37" fmla="*/ 77957 w 361674"/>
                <a:gd name="connsiteY37" fmla="*/ 147470 h 361333"/>
                <a:gd name="connsiteX38" fmla="*/ 79874 w 361674"/>
                <a:gd name="connsiteY38" fmla="*/ 163430 h 361333"/>
                <a:gd name="connsiteX39" fmla="*/ 81791 w 361674"/>
                <a:gd name="connsiteY39" fmla="*/ 171091 h 361333"/>
                <a:gd name="connsiteX40" fmla="*/ 79235 w 361674"/>
                <a:gd name="connsiteY40" fmla="*/ 178113 h 361333"/>
                <a:gd name="connsiteX41" fmla="*/ 63899 w 361674"/>
                <a:gd name="connsiteY41" fmla="*/ 197265 h 361333"/>
                <a:gd name="connsiteX42" fmla="*/ 65177 w 361674"/>
                <a:gd name="connsiteY42" fmla="*/ 199180 h 361333"/>
                <a:gd name="connsiteX43" fmla="*/ 69011 w 361674"/>
                <a:gd name="connsiteY43" fmla="*/ 199819 h 361333"/>
                <a:gd name="connsiteX44" fmla="*/ 75401 w 361674"/>
                <a:gd name="connsiteY44" fmla="*/ 201095 h 361333"/>
                <a:gd name="connsiteX45" fmla="*/ 80513 w 361674"/>
                <a:gd name="connsiteY45" fmla="*/ 204287 h 361333"/>
                <a:gd name="connsiteX46" fmla="*/ 81791 w 361674"/>
                <a:gd name="connsiteY46" fmla="*/ 210033 h 361333"/>
                <a:gd name="connsiteX47" fmla="*/ 81791 w 361674"/>
                <a:gd name="connsiteY47" fmla="*/ 210033 h 361333"/>
                <a:gd name="connsiteX48" fmla="*/ 81791 w 361674"/>
                <a:gd name="connsiteY48" fmla="*/ 210033 h 361333"/>
                <a:gd name="connsiteX49" fmla="*/ 81791 w 361674"/>
                <a:gd name="connsiteY49" fmla="*/ 210033 h 361333"/>
                <a:gd name="connsiteX50" fmla="*/ 81791 w 361674"/>
                <a:gd name="connsiteY50" fmla="*/ 210671 h 361333"/>
                <a:gd name="connsiteX51" fmla="*/ 79874 w 361674"/>
                <a:gd name="connsiteY51" fmla="*/ 218332 h 361333"/>
                <a:gd name="connsiteX52" fmla="*/ 79235 w 361674"/>
                <a:gd name="connsiteY52" fmla="*/ 219609 h 361333"/>
                <a:gd name="connsiteX53" fmla="*/ 80513 w 361674"/>
                <a:gd name="connsiteY53" fmla="*/ 220247 h 361333"/>
                <a:gd name="connsiteX54" fmla="*/ 83708 w 361674"/>
                <a:gd name="connsiteY54" fmla="*/ 224078 h 361333"/>
                <a:gd name="connsiteX55" fmla="*/ 82430 w 361674"/>
                <a:gd name="connsiteY55" fmla="*/ 229185 h 361333"/>
                <a:gd name="connsiteX56" fmla="*/ 81791 w 361674"/>
                <a:gd name="connsiteY56" fmla="*/ 229823 h 361333"/>
                <a:gd name="connsiteX57" fmla="*/ 81791 w 361674"/>
                <a:gd name="connsiteY57" fmla="*/ 229823 h 361333"/>
                <a:gd name="connsiteX58" fmla="*/ 81791 w 361674"/>
                <a:gd name="connsiteY58" fmla="*/ 229823 h 361333"/>
                <a:gd name="connsiteX59" fmla="*/ 84986 w 361674"/>
                <a:gd name="connsiteY59" fmla="*/ 241953 h 361333"/>
                <a:gd name="connsiteX60" fmla="*/ 85625 w 361674"/>
                <a:gd name="connsiteY60" fmla="*/ 247060 h 361333"/>
                <a:gd name="connsiteX61" fmla="*/ 90098 w 361674"/>
                <a:gd name="connsiteY61" fmla="*/ 250891 h 361333"/>
                <a:gd name="connsiteX62" fmla="*/ 125882 w 361674"/>
                <a:gd name="connsiteY62" fmla="*/ 247060 h 361333"/>
                <a:gd name="connsiteX63" fmla="*/ 130994 w 361674"/>
                <a:gd name="connsiteY63" fmla="*/ 247699 h 361333"/>
                <a:gd name="connsiteX64" fmla="*/ 133550 w 361674"/>
                <a:gd name="connsiteY64" fmla="*/ 252167 h 361333"/>
                <a:gd name="connsiteX65" fmla="*/ 134189 w 361674"/>
                <a:gd name="connsiteY65" fmla="*/ 281534 h 361333"/>
                <a:gd name="connsiteX66" fmla="*/ 129077 w 361674"/>
                <a:gd name="connsiteY66" fmla="*/ 287279 h 361333"/>
                <a:gd name="connsiteX67" fmla="*/ 123326 w 361674"/>
                <a:gd name="connsiteY67" fmla="*/ 282172 h 361333"/>
                <a:gd name="connsiteX68" fmla="*/ 122687 w 361674"/>
                <a:gd name="connsiteY68" fmla="*/ 259828 h 361333"/>
                <a:gd name="connsiteX69" fmla="*/ 87542 w 361674"/>
                <a:gd name="connsiteY69" fmla="*/ 262382 h 361333"/>
                <a:gd name="connsiteX70" fmla="*/ 76040 w 361674"/>
                <a:gd name="connsiteY70" fmla="*/ 252806 h 361333"/>
                <a:gd name="connsiteX71" fmla="*/ 74762 w 361674"/>
                <a:gd name="connsiteY71" fmla="*/ 239399 h 361333"/>
                <a:gd name="connsiteX72" fmla="*/ 72206 w 361674"/>
                <a:gd name="connsiteY72" fmla="*/ 237484 h 361333"/>
                <a:gd name="connsiteX73" fmla="*/ 69650 w 361674"/>
                <a:gd name="connsiteY73" fmla="*/ 231100 h 361333"/>
                <a:gd name="connsiteX74" fmla="*/ 70928 w 361674"/>
                <a:gd name="connsiteY74" fmla="*/ 227270 h 361333"/>
                <a:gd name="connsiteX75" fmla="*/ 68372 w 361674"/>
                <a:gd name="connsiteY75" fmla="*/ 223439 h 361333"/>
                <a:gd name="connsiteX76" fmla="*/ 69650 w 361674"/>
                <a:gd name="connsiteY76" fmla="*/ 215779 h 361333"/>
                <a:gd name="connsiteX77" fmla="*/ 71567 w 361674"/>
                <a:gd name="connsiteY77" fmla="*/ 213225 h 361333"/>
                <a:gd name="connsiteX78" fmla="*/ 68372 w 361674"/>
                <a:gd name="connsiteY78" fmla="*/ 212587 h 361333"/>
                <a:gd name="connsiteX79" fmla="*/ 64538 w 361674"/>
                <a:gd name="connsiteY79" fmla="*/ 211948 h 361333"/>
                <a:gd name="connsiteX80" fmla="*/ 56231 w 361674"/>
                <a:gd name="connsiteY80" fmla="*/ 204926 h 361333"/>
                <a:gd name="connsiteX81" fmla="*/ 56231 w 361674"/>
                <a:gd name="connsiteY81" fmla="*/ 194073 h 361333"/>
                <a:gd name="connsiteX82" fmla="*/ 56870 w 361674"/>
                <a:gd name="connsiteY82" fmla="*/ 192796 h 361333"/>
                <a:gd name="connsiteX83" fmla="*/ 72845 w 361674"/>
                <a:gd name="connsiteY83" fmla="*/ 173006 h 361333"/>
                <a:gd name="connsiteX84" fmla="*/ 72206 w 361674"/>
                <a:gd name="connsiteY84" fmla="*/ 170452 h 361333"/>
                <a:gd name="connsiteX85" fmla="*/ 69011 w 361674"/>
                <a:gd name="connsiteY85" fmla="*/ 146832 h 361333"/>
                <a:gd name="connsiteX86" fmla="*/ 69011 w 361674"/>
                <a:gd name="connsiteY86" fmla="*/ 146193 h 361333"/>
                <a:gd name="connsiteX87" fmla="*/ 166138 w 361674"/>
                <a:gd name="connsiteY87" fmla="*/ 75969 h 361333"/>
                <a:gd name="connsiteX88" fmla="*/ 191698 w 361674"/>
                <a:gd name="connsiteY88" fmla="*/ 85545 h 361333"/>
                <a:gd name="connsiteX89" fmla="*/ 246652 w 361674"/>
                <a:gd name="connsiteY89" fmla="*/ 75969 h 361333"/>
                <a:gd name="connsiteX90" fmla="*/ 304800 w 361674"/>
                <a:gd name="connsiteY90" fmla="*/ 17364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61674"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close/>
                  <a:moveTo>
                    <a:pt x="304800" y="173644"/>
                  </a:moveTo>
                  <a:cubicBezTo>
                    <a:pt x="303522" y="181305"/>
                    <a:pt x="300327" y="187051"/>
                    <a:pt x="297132" y="192796"/>
                  </a:cubicBezTo>
                  <a:cubicBezTo>
                    <a:pt x="293298" y="199819"/>
                    <a:pt x="289464" y="206841"/>
                    <a:pt x="289464" y="217694"/>
                  </a:cubicBezTo>
                  <a:cubicBezTo>
                    <a:pt x="289464" y="243868"/>
                    <a:pt x="293937" y="280257"/>
                    <a:pt x="293937" y="280257"/>
                  </a:cubicBezTo>
                  <a:cubicBezTo>
                    <a:pt x="293937" y="281534"/>
                    <a:pt x="293937" y="283449"/>
                    <a:pt x="292659" y="284726"/>
                  </a:cubicBezTo>
                  <a:cubicBezTo>
                    <a:pt x="291381" y="286002"/>
                    <a:pt x="290103" y="286641"/>
                    <a:pt x="288186" y="286641"/>
                  </a:cubicBezTo>
                  <a:lnTo>
                    <a:pt x="207034" y="286641"/>
                  </a:lnTo>
                  <a:cubicBezTo>
                    <a:pt x="204478" y="286641"/>
                    <a:pt x="201922" y="284726"/>
                    <a:pt x="201283" y="281534"/>
                  </a:cubicBezTo>
                  <a:lnTo>
                    <a:pt x="200005" y="270042"/>
                  </a:lnTo>
                  <a:cubicBezTo>
                    <a:pt x="200005" y="267489"/>
                    <a:pt x="199366" y="264935"/>
                    <a:pt x="199366" y="261743"/>
                  </a:cubicBezTo>
                  <a:lnTo>
                    <a:pt x="199366" y="258551"/>
                  </a:lnTo>
                  <a:cubicBezTo>
                    <a:pt x="190420" y="260467"/>
                    <a:pt x="175723" y="263020"/>
                    <a:pt x="166138" y="260467"/>
                  </a:cubicBezTo>
                  <a:cubicBezTo>
                    <a:pt x="159109" y="258551"/>
                    <a:pt x="155914" y="254083"/>
                    <a:pt x="154636" y="250891"/>
                  </a:cubicBezTo>
                  <a:cubicBezTo>
                    <a:pt x="152719" y="246422"/>
                    <a:pt x="152080" y="241315"/>
                    <a:pt x="153358" y="237484"/>
                  </a:cubicBezTo>
                  <a:lnTo>
                    <a:pt x="150803" y="235569"/>
                  </a:lnTo>
                  <a:cubicBezTo>
                    <a:pt x="148885" y="234292"/>
                    <a:pt x="147608" y="231739"/>
                    <a:pt x="148246" y="229185"/>
                  </a:cubicBezTo>
                  <a:cubicBezTo>
                    <a:pt x="148246" y="227908"/>
                    <a:pt x="148885" y="225993"/>
                    <a:pt x="149524" y="225355"/>
                  </a:cubicBezTo>
                  <a:cubicBezTo>
                    <a:pt x="148246" y="224078"/>
                    <a:pt x="147608" y="222801"/>
                    <a:pt x="146969" y="221524"/>
                  </a:cubicBezTo>
                  <a:cubicBezTo>
                    <a:pt x="145690" y="218971"/>
                    <a:pt x="146330" y="215779"/>
                    <a:pt x="148246" y="213863"/>
                  </a:cubicBezTo>
                  <a:lnTo>
                    <a:pt x="150164" y="211310"/>
                  </a:lnTo>
                  <a:cubicBezTo>
                    <a:pt x="148885" y="211310"/>
                    <a:pt x="148246" y="210671"/>
                    <a:pt x="146969" y="210671"/>
                  </a:cubicBezTo>
                  <a:cubicBezTo>
                    <a:pt x="145690" y="210671"/>
                    <a:pt x="144413" y="210033"/>
                    <a:pt x="143135" y="210033"/>
                  </a:cubicBezTo>
                  <a:cubicBezTo>
                    <a:pt x="139301" y="209395"/>
                    <a:pt x="136106" y="206841"/>
                    <a:pt x="134828" y="203011"/>
                  </a:cubicBezTo>
                  <a:cubicBezTo>
                    <a:pt x="132911" y="199180"/>
                    <a:pt x="132911" y="195350"/>
                    <a:pt x="134828" y="192158"/>
                  </a:cubicBezTo>
                  <a:cubicBezTo>
                    <a:pt x="134828" y="191519"/>
                    <a:pt x="135467" y="191519"/>
                    <a:pt x="135467" y="190881"/>
                  </a:cubicBezTo>
                  <a:lnTo>
                    <a:pt x="151441" y="171091"/>
                  </a:lnTo>
                  <a:cubicBezTo>
                    <a:pt x="151441" y="169814"/>
                    <a:pt x="151441" y="169176"/>
                    <a:pt x="150803" y="168537"/>
                  </a:cubicBezTo>
                  <a:cubicBezTo>
                    <a:pt x="145051" y="157684"/>
                    <a:pt x="146330" y="149385"/>
                    <a:pt x="147608" y="144916"/>
                  </a:cubicBezTo>
                  <a:lnTo>
                    <a:pt x="147608" y="144278"/>
                  </a:lnTo>
                  <a:cubicBezTo>
                    <a:pt x="152080" y="120657"/>
                    <a:pt x="164221" y="102782"/>
                    <a:pt x="178918" y="90653"/>
                  </a:cubicBezTo>
                  <a:cubicBezTo>
                    <a:pt x="173167" y="88099"/>
                    <a:pt x="167416" y="86184"/>
                    <a:pt x="161665" y="84907"/>
                  </a:cubicBezTo>
                  <a:cubicBezTo>
                    <a:pt x="127799" y="79161"/>
                    <a:pt x="86903" y="98313"/>
                    <a:pt x="77957" y="146193"/>
                  </a:cubicBezTo>
                  <a:lnTo>
                    <a:pt x="77957" y="147470"/>
                  </a:lnTo>
                  <a:cubicBezTo>
                    <a:pt x="77318" y="151300"/>
                    <a:pt x="76040" y="156408"/>
                    <a:pt x="79874" y="163430"/>
                  </a:cubicBezTo>
                  <a:cubicBezTo>
                    <a:pt x="81152" y="165984"/>
                    <a:pt x="81791" y="168537"/>
                    <a:pt x="81791" y="171091"/>
                  </a:cubicBezTo>
                  <a:cubicBezTo>
                    <a:pt x="81791" y="173644"/>
                    <a:pt x="81152" y="176198"/>
                    <a:pt x="79235" y="178113"/>
                  </a:cubicBezTo>
                  <a:lnTo>
                    <a:pt x="63899" y="197265"/>
                  </a:lnTo>
                  <a:cubicBezTo>
                    <a:pt x="63899" y="197903"/>
                    <a:pt x="64538" y="199180"/>
                    <a:pt x="65177" y="199180"/>
                  </a:cubicBezTo>
                  <a:cubicBezTo>
                    <a:pt x="65816" y="199180"/>
                    <a:pt x="67094" y="199819"/>
                    <a:pt x="69011" y="199819"/>
                  </a:cubicBezTo>
                  <a:cubicBezTo>
                    <a:pt x="70928" y="200457"/>
                    <a:pt x="73484" y="200457"/>
                    <a:pt x="75401" y="201095"/>
                  </a:cubicBezTo>
                  <a:cubicBezTo>
                    <a:pt x="77318" y="201095"/>
                    <a:pt x="79235" y="202372"/>
                    <a:pt x="80513" y="204287"/>
                  </a:cubicBezTo>
                  <a:cubicBezTo>
                    <a:pt x="81791" y="205564"/>
                    <a:pt x="82430" y="208118"/>
                    <a:pt x="81791" y="210033"/>
                  </a:cubicBezTo>
                  <a:lnTo>
                    <a:pt x="81791" y="210033"/>
                  </a:lnTo>
                  <a:cubicBezTo>
                    <a:pt x="81791" y="210033"/>
                    <a:pt x="81791" y="210033"/>
                    <a:pt x="81791" y="210033"/>
                  </a:cubicBezTo>
                  <a:lnTo>
                    <a:pt x="81791" y="210033"/>
                  </a:lnTo>
                  <a:cubicBezTo>
                    <a:pt x="81791" y="210033"/>
                    <a:pt x="81791" y="210033"/>
                    <a:pt x="81791" y="210671"/>
                  </a:cubicBezTo>
                  <a:cubicBezTo>
                    <a:pt x="81791" y="213863"/>
                    <a:pt x="80513" y="217694"/>
                    <a:pt x="79874" y="218332"/>
                  </a:cubicBezTo>
                  <a:lnTo>
                    <a:pt x="79235" y="219609"/>
                  </a:lnTo>
                  <a:cubicBezTo>
                    <a:pt x="79874" y="220247"/>
                    <a:pt x="80513" y="220247"/>
                    <a:pt x="80513" y="220247"/>
                  </a:cubicBezTo>
                  <a:cubicBezTo>
                    <a:pt x="82430" y="220886"/>
                    <a:pt x="83708" y="222801"/>
                    <a:pt x="83708" y="224078"/>
                  </a:cubicBezTo>
                  <a:cubicBezTo>
                    <a:pt x="84347" y="225993"/>
                    <a:pt x="83708" y="227908"/>
                    <a:pt x="82430" y="229185"/>
                  </a:cubicBezTo>
                  <a:lnTo>
                    <a:pt x="81791" y="229823"/>
                  </a:lnTo>
                  <a:cubicBezTo>
                    <a:pt x="81791" y="229823"/>
                    <a:pt x="81791" y="229823"/>
                    <a:pt x="81791" y="229823"/>
                  </a:cubicBezTo>
                  <a:lnTo>
                    <a:pt x="81791" y="229823"/>
                  </a:lnTo>
                  <a:cubicBezTo>
                    <a:pt x="85625" y="233015"/>
                    <a:pt x="86903" y="237484"/>
                    <a:pt x="84986" y="241953"/>
                  </a:cubicBezTo>
                  <a:cubicBezTo>
                    <a:pt x="84986" y="242591"/>
                    <a:pt x="84347" y="244507"/>
                    <a:pt x="85625" y="247060"/>
                  </a:cubicBezTo>
                  <a:cubicBezTo>
                    <a:pt x="86264" y="248975"/>
                    <a:pt x="88181" y="250252"/>
                    <a:pt x="90098" y="250891"/>
                  </a:cubicBezTo>
                  <a:cubicBezTo>
                    <a:pt x="98405" y="253444"/>
                    <a:pt x="118853" y="248975"/>
                    <a:pt x="125882" y="247060"/>
                  </a:cubicBezTo>
                  <a:cubicBezTo>
                    <a:pt x="127799" y="246422"/>
                    <a:pt x="129077" y="247060"/>
                    <a:pt x="130994" y="247699"/>
                  </a:cubicBezTo>
                  <a:cubicBezTo>
                    <a:pt x="132272" y="248975"/>
                    <a:pt x="132911" y="250252"/>
                    <a:pt x="133550" y="252167"/>
                  </a:cubicBezTo>
                  <a:lnTo>
                    <a:pt x="134189" y="281534"/>
                  </a:lnTo>
                  <a:cubicBezTo>
                    <a:pt x="134189" y="284726"/>
                    <a:pt x="131633" y="287279"/>
                    <a:pt x="129077" y="287279"/>
                  </a:cubicBezTo>
                  <a:cubicBezTo>
                    <a:pt x="125882" y="287279"/>
                    <a:pt x="123326" y="284726"/>
                    <a:pt x="123326" y="282172"/>
                  </a:cubicBezTo>
                  <a:lnTo>
                    <a:pt x="122687" y="259828"/>
                  </a:lnTo>
                  <a:cubicBezTo>
                    <a:pt x="113741" y="261743"/>
                    <a:pt x="97127" y="264935"/>
                    <a:pt x="87542" y="262382"/>
                  </a:cubicBezTo>
                  <a:cubicBezTo>
                    <a:pt x="80513" y="260467"/>
                    <a:pt x="77318" y="255998"/>
                    <a:pt x="76040" y="252806"/>
                  </a:cubicBezTo>
                  <a:cubicBezTo>
                    <a:pt x="74123" y="248337"/>
                    <a:pt x="73484" y="243230"/>
                    <a:pt x="74762" y="239399"/>
                  </a:cubicBezTo>
                  <a:lnTo>
                    <a:pt x="72206" y="237484"/>
                  </a:lnTo>
                  <a:cubicBezTo>
                    <a:pt x="70289" y="236207"/>
                    <a:pt x="69011" y="233654"/>
                    <a:pt x="69650" y="231100"/>
                  </a:cubicBezTo>
                  <a:cubicBezTo>
                    <a:pt x="69650" y="229823"/>
                    <a:pt x="70289" y="227908"/>
                    <a:pt x="70928" y="227270"/>
                  </a:cubicBezTo>
                  <a:cubicBezTo>
                    <a:pt x="69650" y="225993"/>
                    <a:pt x="69011" y="224716"/>
                    <a:pt x="68372" y="223439"/>
                  </a:cubicBezTo>
                  <a:cubicBezTo>
                    <a:pt x="67094" y="220886"/>
                    <a:pt x="67733" y="217694"/>
                    <a:pt x="69650" y="215779"/>
                  </a:cubicBezTo>
                  <a:lnTo>
                    <a:pt x="71567" y="213225"/>
                  </a:lnTo>
                  <a:cubicBezTo>
                    <a:pt x="70289" y="213225"/>
                    <a:pt x="69650" y="212587"/>
                    <a:pt x="68372" y="212587"/>
                  </a:cubicBezTo>
                  <a:cubicBezTo>
                    <a:pt x="67094" y="212587"/>
                    <a:pt x="65816" y="211948"/>
                    <a:pt x="64538" y="211948"/>
                  </a:cubicBezTo>
                  <a:cubicBezTo>
                    <a:pt x="60704" y="211310"/>
                    <a:pt x="57509" y="208756"/>
                    <a:pt x="56231" y="204926"/>
                  </a:cubicBezTo>
                  <a:cubicBezTo>
                    <a:pt x="54314" y="201095"/>
                    <a:pt x="54314" y="197265"/>
                    <a:pt x="56231" y="194073"/>
                  </a:cubicBezTo>
                  <a:cubicBezTo>
                    <a:pt x="56231" y="193435"/>
                    <a:pt x="56870" y="193435"/>
                    <a:pt x="56870" y="192796"/>
                  </a:cubicBezTo>
                  <a:lnTo>
                    <a:pt x="72845" y="173006"/>
                  </a:lnTo>
                  <a:cubicBezTo>
                    <a:pt x="72845" y="171729"/>
                    <a:pt x="72845" y="171091"/>
                    <a:pt x="72206" y="170452"/>
                  </a:cubicBezTo>
                  <a:cubicBezTo>
                    <a:pt x="66455" y="159600"/>
                    <a:pt x="67733" y="151300"/>
                    <a:pt x="69011" y="146832"/>
                  </a:cubicBezTo>
                  <a:lnTo>
                    <a:pt x="69011" y="146193"/>
                  </a:lnTo>
                  <a:cubicBezTo>
                    <a:pt x="79874" y="91291"/>
                    <a:pt x="127160" y="68947"/>
                    <a:pt x="166138" y="75969"/>
                  </a:cubicBezTo>
                  <a:cubicBezTo>
                    <a:pt x="175084" y="77885"/>
                    <a:pt x="184030" y="81077"/>
                    <a:pt x="191698" y="85545"/>
                  </a:cubicBezTo>
                  <a:cubicBezTo>
                    <a:pt x="208951" y="75969"/>
                    <a:pt x="228760" y="72777"/>
                    <a:pt x="246652" y="75969"/>
                  </a:cubicBezTo>
                  <a:cubicBezTo>
                    <a:pt x="281157" y="79800"/>
                    <a:pt x="314385" y="113635"/>
                    <a:pt x="304800" y="173644"/>
                  </a:cubicBezTo>
                  <a:close/>
                </a:path>
              </a:pathLst>
            </a:custGeom>
            <a:solidFill>
              <a:srgbClr val="00B0F2"/>
            </a:solidFill>
            <a:ln w="6390" cap="flat">
              <a:noFill/>
              <a:prstDash val="solid"/>
              <a:miter/>
            </a:ln>
          </p:spPr>
          <p:txBody>
            <a:bodyPr rtlCol="0" anchor="ctr"/>
            <a:lstStyle/>
            <a:p>
              <a:endParaRPr lang="en-US" dirty="0"/>
            </a:p>
          </p:txBody>
        </p:sp>
      </p:grpSp>
      <p:grpSp>
        <p:nvGrpSpPr>
          <p:cNvPr id="250" name="Group 249">
            <a:extLst>
              <a:ext uri="{FF2B5EF4-FFF2-40B4-BE49-F238E27FC236}">
                <a16:creationId xmlns:a16="http://schemas.microsoft.com/office/drawing/2014/main" id="{004009B9-C770-CB93-4690-B446B0AC8A6C}"/>
              </a:ext>
            </a:extLst>
          </p:cNvPr>
          <p:cNvGrpSpPr/>
          <p:nvPr/>
        </p:nvGrpSpPr>
        <p:grpSpPr>
          <a:xfrm>
            <a:off x="7448930" y="1428012"/>
            <a:ext cx="528077" cy="528077"/>
            <a:chOff x="7533011" y="1428012"/>
            <a:chExt cx="528077" cy="528077"/>
          </a:xfrm>
        </p:grpSpPr>
        <p:grpSp>
          <p:nvGrpSpPr>
            <p:cNvPr id="226" name="Group 225">
              <a:extLst>
                <a:ext uri="{FF2B5EF4-FFF2-40B4-BE49-F238E27FC236}">
                  <a16:creationId xmlns:a16="http://schemas.microsoft.com/office/drawing/2014/main" id="{4A2DC34A-8ACF-1AA8-FE67-AD85E293BB5F}"/>
                </a:ext>
              </a:extLst>
            </p:cNvPr>
            <p:cNvGrpSpPr/>
            <p:nvPr/>
          </p:nvGrpSpPr>
          <p:grpSpPr>
            <a:xfrm>
              <a:off x="7533011" y="1428012"/>
              <a:ext cx="528077" cy="528077"/>
              <a:chOff x="465740" y="2706207"/>
              <a:chExt cx="442310" cy="442310"/>
            </a:xfrm>
          </p:grpSpPr>
          <p:sp>
            <p:nvSpPr>
              <p:cNvPr id="234" name="Oval 233">
                <a:extLst>
                  <a:ext uri="{FF2B5EF4-FFF2-40B4-BE49-F238E27FC236}">
                    <a16:creationId xmlns:a16="http://schemas.microsoft.com/office/drawing/2014/main" id="{6C23CEB4-1D56-B9E8-64F7-7BED21BE4E10}"/>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1EC83ECE-7BCA-F543-84B8-8A267E10757A}"/>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grpSp>
          <p:nvGrpSpPr>
            <p:cNvPr id="249" name="Group 248">
              <a:extLst>
                <a:ext uri="{FF2B5EF4-FFF2-40B4-BE49-F238E27FC236}">
                  <a16:creationId xmlns:a16="http://schemas.microsoft.com/office/drawing/2014/main" id="{14D79ABB-7817-4673-320B-8C3394BEDE73}"/>
                </a:ext>
              </a:extLst>
            </p:cNvPr>
            <p:cNvGrpSpPr/>
            <p:nvPr/>
          </p:nvGrpSpPr>
          <p:grpSpPr>
            <a:xfrm>
              <a:off x="7626901" y="1518586"/>
              <a:ext cx="355463" cy="355132"/>
              <a:chOff x="6660243" y="1968080"/>
              <a:chExt cx="362309" cy="361971"/>
            </a:xfrm>
          </p:grpSpPr>
          <p:sp>
            <p:nvSpPr>
              <p:cNvPr id="248" name="Flowchart: Connector 247">
                <a:extLst>
                  <a:ext uri="{FF2B5EF4-FFF2-40B4-BE49-F238E27FC236}">
                    <a16:creationId xmlns:a16="http://schemas.microsoft.com/office/drawing/2014/main" id="{A3CE8C82-8A5E-E100-262E-0D19573DCA66}"/>
                  </a:ext>
                </a:extLst>
              </p:cNvPr>
              <p:cNvSpPr/>
              <p:nvPr/>
            </p:nvSpPr>
            <p:spPr bwMode="gray">
              <a:xfrm>
                <a:off x="6677548" y="1975386"/>
                <a:ext cx="312102" cy="312102"/>
              </a:xfrm>
              <a:prstGeom prst="flowChartConnector">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19" name="Graphic 4">
                <a:extLst>
                  <a:ext uri="{FF2B5EF4-FFF2-40B4-BE49-F238E27FC236}">
                    <a16:creationId xmlns:a16="http://schemas.microsoft.com/office/drawing/2014/main" id="{44E6DFE2-E7BF-FA29-5B88-29CA42531BE0}"/>
                  </a:ext>
                </a:extLst>
              </p:cNvPr>
              <p:cNvGrpSpPr>
                <a:grpSpLocks noChangeAspect="1"/>
              </p:cNvGrpSpPr>
              <p:nvPr/>
            </p:nvGrpSpPr>
            <p:grpSpPr>
              <a:xfrm>
                <a:off x="6660243" y="1968080"/>
                <a:ext cx="362309" cy="361971"/>
                <a:chOff x="5099169" y="1885988"/>
                <a:chExt cx="362309" cy="361971"/>
              </a:xfrm>
              <a:solidFill>
                <a:srgbClr val="00B0F2"/>
              </a:solidFill>
            </p:grpSpPr>
            <p:sp>
              <p:nvSpPr>
                <p:cNvPr id="220" name="Graphic 4">
                  <a:extLst>
                    <a:ext uri="{FF2B5EF4-FFF2-40B4-BE49-F238E27FC236}">
                      <a16:creationId xmlns:a16="http://schemas.microsoft.com/office/drawing/2014/main" id="{49D72E41-D9D1-A875-57D7-4D8B48E2B08D}"/>
                    </a:ext>
                  </a:extLst>
                </p:cNvPr>
                <p:cNvSpPr/>
                <p:nvPr/>
              </p:nvSpPr>
              <p:spPr>
                <a:xfrm>
                  <a:off x="5217383" y="1965152"/>
                  <a:ext cx="17891" cy="17875"/>
                </a:xfrm>
                <a:custGeom>
                  <a:avLst/>
                  <a:gdLst>
                    <a:gd name="connsiteX0" fmla="*/ 8946 w 17891"/>
                    <a:gd name="connsiteY0" fmla="*/ 17875 h 17875"/>
                    <a:gd name="connsiteX1" fmla="*/ 17892 w 17891"/>
                    <a:gd name="connsiteY1" fmla="*/ 8938 h 17875"/>
                    <a:gd name="connsiteX2" fmla="*/ 8946 w 17891"/>
                    <a:gd name="connsiteY2" fmla="*/ 0 h 17875"/>
                    <a:gd name="connsiteX3" fmla="*/ 0 w 17891"/>
                    <a:gd name="connsiteY3" fmla="*/ 8938 h 17875"/>
                    <a:gd name="connsiteX4" fmla="*/ 0 w 17891"/>
                    <a:gd name="connsiteY4" fmla="*/ 8938 h 17875"/>
                    <a:gd name="connsiteX5" fmla="*/ 8946 w 17891"/>
                    <a:gd name="connsiteY5" fmla="*/ 1787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8946" y="17875"/>
                      </a:moveTo>
                      <a:cubicBezTo>
                        <a:pt x="14058" y="17875"/>
                        <a:pt x="17892" y="14045"/>
                        <a:pt x="17892" y="8938"/>
                      </a:cubicBezTo>
                      <a:cubicBezTo>
                        <a:pt x="17892" y="3830"/>
                        <a:pt x="14058" y="0"/>
                        <a:pt x="8946" y="0"/>
                      </a:cubicBezTo>
                      <a:cubicBezTo>
                        <a:pt x="3834" y="0"/>
                        <a:pt x="0" y="3830"/>
                        <a:pt x="0" y="8938"/>
                      </a:cubicBezTo>
                      <a:lnTo>
                        <a:pt x="0" y="8938"/>
                      </a:lnTo>
                      <a:cubicBezTo>
                        <a:pt x="0" y="14045"/>
                        <a:pt x="3834" y="17875"/>
                        <a:pt x="8946" y="17875"/>
                      </a:cubicBezTo>
                      <a:close/>
                    </a:path>
                  </a:pathLst>
                </a:custGeom>
                <a:grpFill/>
                <a:ln w="6390" cap="flat">
                  <a:noFill/>
                  <a:prstDash val="solid"/>
                  <a:miter/>
                </a:ln>
              </p:spPr>
              <p:txBody>
                <a:bodyPr rtlCol="0" anchor="ctr"/>
                <a:lstStyle/>
                <a:p>
                  <a:endParaRPr lang="en-US" dirty="0"/>
                </a:p>
              </p:txBody>
            </p:sp>
            <p:sp>
              <p:nvSpPr>
                <p:cNvPr id="221" name="Graphic 4">
                  <a:extLst>
                    <a:ext uri="{FF2B5EF4-FFF2-40B4-BE49-F238E27FC236}">
                      <a16:creationId xmlns:a16="http://schemas.microsoft.com/office/drawing/2014/main" id="{EE1C9C72-94F2-458B-41E1-CD0FF88634DA}"/>
                    </a:ext>
                  </a:extLst>
                </p:cNvPr>
                <p:cNvSpPr/>
                <p:nvPr/>
              </p:nvSpPr>
              <p:spPr>
                <a:xfrm>
                  <a:off x="5325373" y="1965152"/>
                  <a:ext cx="17891" cy="17875"/>
                </a:xfrm>
                <a:custGeom>
                  <a:avLst/>
                  <a:gdLst>
                    <a:gd name="connsiteX0" fmla="*/ 8946 w 17891"/>
                    <a:gd name="connsiteY0" fmla="*/ 17875 h 17875"/>
                    <a:gd name="connsiteX1" fmla="*/ 17892 w 17891"/>
                    <a:gd name="connsiteY1" fmla="*/ 8938 h 17875"/>
                    <a:gd name="connsiteX2" fmla="*/ 8946 w 17891"/>
                    <a:gd name="connsiteY2" fmla="*/ 0 h 17875"/>
                    <a:gd name="connsiteX3" fmla="*/ 0 w 17891"/>
                    <a:gd name="connsiteY3" fmla="*/ 8938 h 17875"/>
                    <a:gd name="connsiteX4" fmla="*/ 0 w 17891"/>
                    <a:gd name="connsiteY4" fmla="*/ 8938 h 17875"/>
                    <a:gd name="connsiteX5" fmla="*/ 8946 w 17891"/>
                    <a:gd name="connsiteY5" fmla="*/ 1787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8946" y="17875"/>
                      </a:moveTo>
                      <a:cubicBezTo>
                        <a:pt x="14058" y="17875"/>
                        <a:pt x="17892" y="14045"/>
                        <a:pt x="17892" y="8938"/>
                      </a:cubicBezTo>
                      <a:cubicBezTo>
                        <a:pt x="17892" y="3830"/>
                        <a:pt x="14058" y="0"/>
                        <a:pt x="8946" y="0"/>
                      </a:cubicBezTo>
                      <a:cubicBezTo>
                        <a:pt x="3834" y="0"/>
                        <a:pt x="0" y="3830"/>
                        <a:pt x="0" y="8938"/>
                      </a:cubicBezTo>
                      <a:lnTo>
                        <a:pt x="0" y="8938"/>
                      </a:lnTo>
                      <a:cubicBezTo>
                        <a:pt x="0" y="14045"/>
                        <a:pt x="3834" y="17875"/>
                        <a:pt x="8946" y="17875"/>
                      </a:cubicBezTo>
                      <a:close/>
                    </a:path>
                  </a:pathLst>
                </a:custGeom>
                <a:grpFill/>
                <a:ln w="6390" cap="flat">
                  <a:noFill/>
                  <a:prstDash val="solid"/>
                  <a:miter/>
                </a:ln>
              </p:spPr>
              <p:txBody>
                <a:bodyPr rtlCol="0" anchor="ctr"/>
                <a:lstStyle/>
                <a:p>
                  <a:endParaRPr lang="en-US" dirty="0"/>
                </a:p>
              </p:txBody>
            </p:sp>
            <p:sp>
              <p:nvSpPr>
                <p:cNvPr id="222" name="Graphic 4">
                  <a:extLst>
                    <a:ext uri="{FF2B5EF4-FFF2-40B4-BE49-F238E27FC236}">
                      <a16:creationId xmlns:a16="http://schemas.microsoft.com/office/drawing/2014/main" id="{56C9CDE3-95CE-187A-6E7D-0908B93AD8BF}"/>
                    </a:ext>
                  </a:extLst>
                </p:cNvPr>
                <p:cNvSpPr/>
                <p:nvPr/>
              </p:nvSpPr>
              <p:spPr>
                <a:xfrm>
                  <a:off x="5099169" y="1885988"/>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27160 w 362309"/>
                    <a:gd name="connsiteY7" fmla="*/ 66394 h 361971"/>
                    <a:gd name="connsiteX8" fmla="*/ 148885 w 362309"/>
                    <a:gd name="connsiteY8" fmla="*/ 88099 h 361971"/>
                    <a:gd name="connsiteX9" fmla="*/ 127160 w 362309"/>
                    <a:gd name="connsiteY9" fmla="*/ 109805 h 361971"/>
                    <a:gd name="connsiteX10" fmla="*/ 105434 w 362309"/>
                    <a:gd name="connsiteY10" fmla="*/ 88099 h 361971"/>
                    <a:gd name="connsiteX11" fmla="*/ 105434 w 362309"/>
                    <a:gd name="connsiteY11" fmla="*/ 88099 h 361971"/>
                    <a:gd name="connsiteX12" fmla="*/ 127160 w 362309"/>
                    <a:gd name="connsiteY12" fmla="*/ 66394 h 361971"/>
                    <a:gd name="connsiteX13" fmla="*/ 164221 w 362309"/>
                    <a:gd name="connsiteY13" fmla="*/ 211310 h 361971"/>
                    <a:gd name="connsiteX14" fmla="*/ 157832 w 362309"/>
                    <a:gd name="connsiteY14" fmla="*/ 217694 h 361971"/>
                    <a:gd name="connsiteX15" fmla="*/ 148885 w 362309"/>
                    <a:gd name="connsiteY15" fmla="*/ 217694 h 361971"/>
                    <a:gd name="connsiteX16" fmla="*/ 148885 w 362309"/>
                    <a:gd name="connsiteY16" fmla="*/ 288556 h 361971"/>
                    <a:gd name="connsiteX17" fmla="*/ 142496 w 362309"/>
                    <a:gd name="connsiteY17" fmla="*/ 294940 h 361971"/>
                    <a:gd name="connsiteX18" fmla="*/ 136106 w 362309"/>
                    <a:gd name="connsiteY18" fmla="*/ 288556 h 361971"/>
                    <a:gd name="connsiteX19" fmla="*/ 136106 w 362309"/>
                    <a:gd name="connsiteY19" fmla="*/ 217694 h 361971"/>
                    <a:gd name="connsiteX20" fmla="*/ 118214 w 362309"/>
                    <a:gd name="connsiteY20" fmla="*/ 217694 h 361971"/>
                    <a:gd name="connsiteX21" fmla="*/ 118214 w 362309"/>
                    <a:gd name="connsiteY21" fmla="*/ 288556 h 361971"/>
                    <a:gd name="connsiteX22" fmla="*/ 111824 w 362309"/>
                    <a:gd name="connsiteY22" fmla="*/ 294940 h 361971"/>
                    <a:gd name="connsiteX23" fmla="*/ 105434 w 362309"/>
                    <a:gd name="connsiteY23" fmla="*/ 288556 h 361971"/>
                    <a:gd name="connsiteX24" fmla="*/ 105434 w 362309"/>
                    <a:gd name="connsiteY24" fmla="*/ 217694 h 361971"/>
                    <a:gd name="connsiteX25" fmla="*/ 96488 w 362309"/>
                    <a:gd name="connsiteY25" fmla="*/ 217694 h 361971"/>
                    <a:gd name="connsiteX26" fmla="*/ 90098 w 362309"/>
                    <a:gd name="connsiteY26" fmla="*/ 211310 h 361971"/>
                    <a:gd name="connsiteX27" fmla="*/ 90098 w 362309"/>
                    <a:gd name="connsiteY27" fmla="*/ 134064 h 361971"/>
                    <a:gd name="connsiteX28" fmla="*/ 96488 w 362309"/>
                    <a:gd name="connsiteY28" fmla="*/ 127680 h 361971"/>
                    <a:gd name="connsiteX29" fmla="*/ 158470 w 362309"/>
                    <a:gd name="connsiteY29" fmla="*/ 127680 h 361971"/>
                    <a:gd name="connsiteX30" fmla="*/ 164860 w 362309"/>
                    <a:gd name="connsiteY30" fmla="*/ 134064 h 361971"/>
                    <a:gd name="connsiteX31" fmla="*/ 164860 w 362309"/>
                    <a:gd name="connsiteY31" fmla="*/ 211310 h 361971"/>
                    <a:gd name="connsiteX32" fmla="*/ 235150 w 362309"/>
                    <a:gd name="connsiteY32" fmla="*/ 66394 h 361971"/>
                    <a:gd name="connsiteX33" fmla="*/ 256876 w 362309"/>
                    <a:gd name="connsiteY33" fmla="*/ 88099 h 361971"/>
                    <a:gd name="connsiteX34" fmla="*/ 235150 w 362309"/>
                    <a:gd name="connsiteY34" fmla="*/ 109805 h 361971"/>
                    <a:gd name="connsiteX35" fmla="*/ 213424 w 362309"/>
                    <a:gd name="connsiteY35" fmla="*/ 88099 h 361971"/>
                    <a:gd name="connsiteX36" fmla="*/ 213424 w 362309"/>
                    <a:gd name="connsiteY36" fmla="*/ 88099 h 361971"/>
                    <a:gd name="connsiteX37" fmla="*/ 235150 w 362309"/>
                    <a:gd name="connsiteY37" fmla="*/ 66394 h 361971"/>
                    <a:gd name="connsiteX38" fmla="*/ 270934 w 362309"/>
                    <a:gd name="connsiteY38" fmla="*/ 231100 h 361971"/>
                    <a:gd name="connsiteX39" fmla="*/ 265821 w 362309"/>
                    <a:gd name="connsiteY39" fmla="*/ 233654 h 361971"/>
                    <a:gd name="connsiteX40" fmla="*/ 256876 w 362309"/>
                    <a:gd name="connsiteY40" fmla="*/ 233654 h 361971"/>
                    <a:gd name="connsiteX41" fmla="*/ 256876 w 362309"/>
                    <a:gd name="connsiteY41" fmla="*/ 288556 h 361971"/>
                    <a:gd name="connsiteX42" fmla="*/ 250486 w 362309"/>
                    <a:gd name="connsiteY42" fmla="*/ 294940 h 361971"/>
                    <a:gd name="connsiteX43" fmla="*/ 244096 w 362309"/>
                    <a:gd name="connsiteY43" fmla="*/ 288556 h 361971"/>
                    <a:gd name="connsiteX44" fmla="*/ 244096 w 362309"/>
                    <a:gd name="connsiteY44" fmla="*/ 233015 h 361971"/>
                    <a:gd name="connsiteX45" fmla="*/ 226204 w 362309"/>
                    <a:gd name="connsiteY45" fmla="*/ 233015 h 361971"/>
                    <a:gd name="connsiteX46" fmla="*/ 226204 w 362309"/>
                    <a:gd name="connsiteY46" fmla="*/ 288556 h 361971"/>
                    <a:gd name="connsiteX47" fmla="*/ 219814 w 362309"/>
                    <a:gd name="connsiteY47" fmla="*/ 294940 h 361971"/>
                    <a:gd name="connsiteX48" fmla="*/ 213424 w 362309"/>
                    <a:gd name="connsiteY48" fmla="*/ 288556 h 361971"/>
                    <a:gd name="connsiteX49" fmla="*/ 213424 w 362309"/>
                    <a:gd name="connsiteY49" fmla="*/ 233015 h 361971"/>
                    <a:gd name="connsiteX50" fmla="*/ 204478 w 362309"/>
                    <a:gd name="connsiteY50" fmla="*/ 233015 h 361971"/>
                    <a:gd name="connsiteX51" fmla="*/ 199366 w 362309"/>
                    <a:gd name="connsiteY51" fmla="*/ 230462 h 361971"/>
                    <a:gd name="connsiteX52" fmla="*/ 198088 w 362309"/>
                    <a:gd name="connsiteY52" fmla="*/ 224716 h 361971"/>
                    <a:gd name="connsiteX53" fmla="*/ 221092 w 362309"/>
                    <a:gd name="connsiteY53" fmla="*/ 132149 h 361971"/>
                    <a:gd name="connsiteX54" fmla="*/ 227482 w 362309"/>
                    <a:gd name="connsiteY54" fmla="*/ 127041 h 361971"/>
                    <a:gd name="connsiteX55" fmla="*/ 242179 w 362309"/>
                    <a:gd name="connsiteY55" fmla="*/ 127041 h 361971"/>
                    <a:gd name="connsiteX56" fmla="*/ 248569 w 362309"/>
                    <a:gd name="connsiteY56" fmla="*/ 132149 h 361971"/>
                    <a:gd name="connsiteX57" fmla="*/ 271572 w 362309"/>
                    <a:gd name="connsiteY57" fmla="*/ 224716 h 361971"/>
                    <a:gd name="connsiteX58" fmla="*/ 270934 w 362309"/>
                    <a:gd name="connsiteY58" fmla="*/ 23110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127160" y="66394"/>
                      </a:moveTo>
                      <a:cubicBezTo>
                        <a:pt x="139301" y="66394"/>
                        <a:pt x="148885" y="75970"/>
                        <a:pt x="148885" y="88099"/>
                      </a:cubicBezTo>
                      <a:cubicBezTo>
                        <a:pt x="148885" y="100229"/>
                        <a:pt x="139301" y="109805"/>
                        <a:pt x="127160" y="109805"/>
                      </a:cubicBezTo>
                      <a:cubicBezTo>
                        <a:pt x="115019" y="109805"/>
                        <a:pt x="105434" y="100229"/>
                        <a:pt x="105434" y="88099"/>
                      </a:cubicBezTo>
                      <a:lnTo>
                        <a:pt x="105434" y="88099"/>
                      </a:lnTo>
                      <a:cubicBezTo>
                        <a:pt x="105434" y="75970"/>
                        <a:pt x="115019" y="66394"/>
                        <a:pt x="127160" y="66394"/>
                      </a:cubicBezTo>
                      <a:close/>
                      <a:moveTo>
                        <a:pt x="164221" y="211310"/>
                      </a:moveTo>
                      <a:cubicBezTo>
                        <a:pt x="164221" y="215140"/>
                        <a:pt x="161665" y="217694"/>
                        <a:pt x="157832" y="217694"/>
                      </a:cubicBezTo>
                      <a:lnTo>
                        <a:pt x="148885" y="217694"/>
                      </a:lnTo>
                      <a:lnTo>
                        <a:pt x="148885" y="288556"/>
                      </a:lnTo>
                      <a:cubicBezTo>
                        <a:pt x="148885" y="292387"/>
                        <a:pt x="146330" y="294940"/>
                        <a:pt x="142496" y="294940"/>
                      </a:cubicBezTo>
                      <a:cubicBezTo>
                        <a:pt x="138662" y="294940"/>
                        <a:pt x="136106" y="292387"/>
                        <a:pt x="136106" y="288556"/>
                      </a:cubicBezTo>
                      <a:lnTo>
                        <a:pt x="136106" y="217694"/>
                      </a:lnTo>
                      <a:lnTo>
                        <a:pt x="118214" y="217694"/>
                      </a:lnTo>
                      <a:lnTo>
                        <a:pt x="118214" y="288556"/>
                      </a:lnTo>
                      <a:cubicBezTo>
                        <a:pt x="118214" y="292387"/>
                        <a:pt x="115658" y="294940"/>
                        <a:pt x="111824" y="294940"/>
                      </a:cubicBezTo>
                      <a:cubicBezTo>
                        <a:pt x="107990" y="294940"/>
                        <a:pt x="105434" y="292387"/>
                        <a:pt x="105434" y="288556"/>
                      </a:cubicBezTo>
                      <a:lnTo>
                        <a:pt x="105434" y="217694"/>
                      </a:lnTo>
                      <a:lnTo>
                        <a:pt x="96488" y="217694"/>
                      </a:lnTo>
                      <a:cubicBezTo>
                        <a:pt x="92654" y="217694"/>
                        <a:pt x="90098" y="215140"/>
                        <a:pt x="90098" y="211310"/>
                      </a:cubicBezTo>
                      <a:lnTo>
                        <a:pt x="90098" y="134064"/>
                      </a:lnTo>
                      <a:cubicBezTo>
                        <a:pt x="90098" y="130233"/>
                        <a:pt x="92654" y="127680"/>
                        <a:pt x="96488" y="127680"/>
                      </a:cubicBezTo>
                      <a:lnTo>
                        <a:pt x="158470" y="127680"/>
                      </a:lnTo>
                      <a:cubicBezTo>
                        <a:pt x="162305" y="127680"/>
                        <a:pt x="164860" y="130233"/>
                        <a:pt x="164860" y="134064"/>
                      </a:cubicBezTo>
                      <a:lnTo>
                        <a:pt x="164860" y="211310"/>
                      </a:lnTo>
                      <a:close/>
                      <a:moveTo>
                        <a:pt x="235150" y="66394"/>
                      </a:moveTo>
                      <a:cubicBezTo>
                        <a:pt x="247291" y="66394"/>
                        <a:pt x="256876" y="75970"/>
                        <a:pt x="256876" y="88099"/>
                      </a:cubicBezTo>
                      <a:cubicBezTo>
                        <a:pt x="256876" y="100229"/>
                        <a:pt x="247291" y="109805"/>
                        <a:pt x="235150" y="109805"/>
                      </a:cubicBezTo>
                      <a:cubicBezTo>
                        <a:pt x="223009" y="109805"/>
                        <a:pt x="213424" y="100229"/>
                        <a:pt x="213424" y="88099"/>
                      </a:cubicBezTo>
                      <a:lnTo>
                        <a:pt x="213424" y="88099"/>
                      </a:lnTo>
                      <a:cubicBezTo>
                        <a:pt x="213424" y="75970"/>
                        <a:pt x="223009" y="66394"/>
                        <a:pt x="235150" y="66394"/>
                      </a:cubicBezTo>
                      <a:close/>
                      <a:moveTo>
                        <a:pt x="270934" y="231100"/>
                      </a:moveTo>
                      <a:cubicBezTo>
                        <a:pt x="269655" y="232377"/>
                        <a:pt x="267739" y="233654"/>
                        <a:pt x="265821" y="233654"/>
                      </a:cubicBezTo>
                      <a:lnTo>
                        <a:pt x="256876" y="233654"/>
                      </a:lnTo>
                      <a:lnTo>
                        <a:pt x="256876" y="288556"/>
                      </a:lnTo>
                      <a:cubicBezTo>
                        <a:pt x="256876" y="292387"/>
                        <a:pt x="254319" y="294940"/>
                        <a:pt x="250486" y="294940"/>
                      </a:cubicBezTo>
                      <a:cubicBezTo>
                        <a:pt x="246651" y="294940"/>
                        <a:pt x="244096" y="292387"/>
                        <a:pt x="244096" y="288556"/>
                      </a:cubicBezTo>
                      <a:lnTo>
                        <a:pt x="244096" y="233015"/>
                      </a:lnTo>
                      <a:lnTo>
                        <a:pt x="226204" y="233015"/>
                      </a:lnTo>
                      <a:lnTo>
                        <a:pt x="226204" y="288556"/>
                      </a:lnTo>
                      <a:cubicBezTo>
                        <a:pt x="226204" y="292387"/>
                        <a:pt x="223648" y="294940"/>
                        <a:pt x="219814" y="294940"/>
                      </a:cubicBezTo>
                      <a:cubicBezTo>
                        <a:pt x="215980" y="294940"/>
                        <a:pt x="213424" y="292387"/>
                        <a:pt x="213424" y="288556"/>
                      </a:cubicBezTo>
                      <a:lnTo>
                        <a:pt x="213424" y="233015"/>
                      </a:lnTo>
                      <a:lnTo>
                        <a:pt x="204478" y="233015"/>
                      </a:lnTo>
                      <a:cubicBezTo>
                        <a:pt x="202561" y="233015"/>
                        <a:pt x="200644" y="232377"/>
                        <a:pt x="199366" y="230462"/>
                      </a:cubicBezTo>
                      <a:cubicBezTo>
                        <a:pt x="198088" y="229185"/>
                        <a:pt x="197449" y="226631"/>
                        <a:pt x="198088" y="224716"/>
                      </a:cubicBezTo>
                      <a:lnTo>
                        <a:pt x="221092" y="132149"/>
                      </a:lnTo>
                      <a:cubicBezTo>
                        <a:pt x="221731" y="128957"/>
                        <a:pt x="224287" y="127041"/>
                        <a:pt x="227482" y="127041"/>
                      </a:cubicBezTo>
                      <a:lnTo>
                        <a:pt x="242179" y="127041"/>
                      </a:lnTo>
                      <a:cubicBezTo>
                        <a:pt x="245374" y="127041"/>
                        <a:pt x="247929" y="128957"/>
                        <a:pt x="248569" y="132149"/>
                      </a:cubicBezTo>
                      <a:lnTo>
                        <a:pt x="271572" y="224716"/>
                      </a:lnTo>
                      <a:cubicBezTo>
                        <a:pt x="272850" y="227270"/>
                        <a:pt x="272211" y="229185"/>
                        <a:pt x="270934" y="231100"/>
                      </a:cubicBezTo>
                      <a:close/>
                    </a:path>
                  </a:pathLst>
                </a:custGeom>
                <a:grpFill/>
                <a:ln w="6390" cap="flat">
                  <a:noFill/>
                  <a:prstDash val="solid"/>
                  <a:miter/>
                </a:ln>
              </p:spPr>
              <p:txBody>
                <a:bodyPr rtlCol="0" anchor="ctr"/>
                <a:lstStyle/>
                <a:p>
                  <a:endParaRPr lang="en-US" dirty="0"/>
                </a:p>
              </p:txBody>
            </p:sp>
            <p:sp>
              <p:nvSpPr>
                <p:cNvPr id="223" name="Graphic 4">
                  <a:extLst>
                    <a:ext uri="{FF2B5EF4-FFF2-40B4-BE49-F238E27FC236}">
                      <a16:creationId xmlns:a16="http://schemas.microsoft.com/office/drawing/2014/main" id="{7887F987-4C7B-9811-6EEF-AFEE8E3D993B}"/>
                    </a:ext>
                  </a:extLst>
                </p:cNvPr>
                <p:cNvSpPr/>
                <p:nvPr/>
              </p:nvSpPr>
              <p:spPr>
                <a:xfrm>
                  <a:off x="5311954" y="2027076"/>
                  <a:ext cx="45368" cy="79161"/>
                </a:xfrm>
                <a:custGeom>
                  <a:avLst/>
                  <a:gdLst>
                    <a:gd name="connsiteX0" fmla="*/ 19809 w 45368"/>
                    <a:gd name="connsiteY0" fmla="*/ 0 h 79161"/>
                    <a:gd name="connsiteX1" fmla="*/ 0 w 45368"/>
                    <a:gd name="connsiteY1" fmla="*/ 79161 h 79161"/>
                    <a:gd name="connsiteX2" fmla="*/ 45369 w 45368"/>
                    <a:gd name="connsiteY2" fmla="*/ 79161 h 79161"/>
                    <a:gd name="connsiteX3" fmla="*/ 24921 w 45368"/>
                    <a:gd name="connsiteY3" fmla="*/ 0 h 79161"/>
                  </a:gdLst>
                  <a:ahLst/>
                  <a:cxnLst>
                    <a:cxn ang="0">
                      <a:pos x="connsiteX0" y="connsiteY0"/>
                    </a:cxn>
                    <a:cxn ang="0">
                      <a:pos x="connsiteX1" y="connsiteY1"/>
                    </a:cxn>
                    <a:cxn ang="0">
                      <a:pos x="connsiteX2" y="connsiteY2"/>
                    </a:cxn>
                    <a:cxn ang="0">
                      <a:pos x="connsiteX3" y="connsiteY3"/>
                    </a:cxn>
                  </a:cxnLst>
                  <a:rect l="l" t="t" r="r" b="b"/>
                  <a:pathLst>
                    <a:path w="45368" h="79161">
                      <a:moveTo>
                        <a:pt x="19809" y="0"/>
                      </a:moveTo>
                      <a:lnTo>
                        <a:pt x="0" y="79161"/>
                      </a:lnTo>
                      <a:lnTo>
                        <a:pt x="45369" y="79161"/>
                      </a:lnTo>
                      <a:lnTo>
                        <a:pt x="24921" y="0"/>
                      </a:lnTo>
                      <a:close/>
                    </a:path>
                  </a:pathLst>
                </a:custGeom>
                <a:grpFill/>
                <a:ln w="6390" cap="flat">
                  <a:noFill/>
                  <a:prstDash val="solid"/>
                  <a:miter/>
                </a:ln>
              </p:spPr>
              <p:txBody>
                <a:bodyPr rtlCol="0" anchor="ctr"/>
                <a:lstStyle/>
                <a:p>
                  <a:endParaRPr lang="en-US" dirty="0"/>
                </a:p>
              </p:txBody>
            </p:sp>
            <p:sp>
              <p:nvSpPr>
                <p:cNvPr id="224" name="Graphic 4">
                  <a:extLst>
                    <a:ext uri="{FF2B5EF4-FFF2-40B4-BE49-F238E27FC236}">
                      <a16:creationId xmlns:a16="http://schemas.microsoft.com/office/drawing/2014/main" id="{30DCED8F-70B3-A67D-0E7A-5D7CFADE5DA1}"/>
                    </a:ext>
                  </a:extLst>
                </p:cNvPr>
                <p:cNvSpPr/>
                <p:nvPr/>
              </p:nvSpPr>
              <p:spPr>
                <a:xfrm>
                  <a:off x="5202047" y="2027076"/>
                  <a:ext cx="49202" cy="64478"/>
                </a:xfrm>
                <a:custGeom>
                  <a:avLst/>
                  <a:gdLst>
                    <a:gd name="connsiteX0" fmla="*/ 0 w 49202"/>
                    <a:gd name="connsiteY0" fmla="*/ 0 h 64478"/>
                    <a:gd name="connsiteX1" fmla="*/ 49202 w 49202"/>
                    <a:gd name="connsiteY1" fmla="*/ 0 h 64478"/>
                    <a:gd name="connsiteX2" fmla="*/ 49202 w 49202"/>
                    <a:gd name="connsiteY2" fmla="*/ 64478 h 64478"/>
                    <a:gd name="connsiteX3" fmla="*/ 0 w 49202"/>
                    <a:gd name="connsiteY3" fmla="*/ 64478 h 64478"/>
                  </a:gdLst>
                  <a:ahLst/>
                  <a:cxnLst>
                    <a:cxn ang="0">
                      <a:pos x="connsiteX0" y="connsiteY0"/>
                    </a:cxn>
                    <a:cxn ang="0">
                      <a:pos x="connsiteX1" y="connsiteY1"/>
                    </a:cxn>
                    <a:cxn ang="0">
                      <a:pos x="connsiteX2" y="connsiteY2"/>
                    </a:cxn>
                    <a:cxn ang="0">
                      <a:pos x="connsiteX3" y="connsiteY3"/>
                    </a:cxn>
                  </a:cxnLst>
                  <a:rect l="l" t="t" r="r" b="b"/>
                  <a:pathLst>
                    <a:path w="49202" h="64478">
                      <a:moveTo>
                        <a:pt x="0" y="0"/>
                      </a:moveTo>
                      <a:lnTo>
                        <a:pt x="49202" y="0"/>
                      </a:lnTo>
                      <a:lnTo>
                        <a:pt x="49202" y="64478"/>
                      </a:lnTo>
                      <a:lnTo>
                        <a:pt x="0" y="64478"/>
                      </a:lnTo>
                      <a:close/>
                    </a:path>
                  </a:pathLst>
                </a:custGeom>
                <a:grpFill/>
                <a:ln w="6390" cap="flat">
                  <a:noFill/>
                  <a:prstDash val="solid"/>
                  <a:miter/>
                </a:ln>
              </p:spPr>
              <p:txBody>
                <a:bodyPr rtlCol="0" anchor="ctr"/>
                <a:lstStyle/>
                <a:p>
                  <a:endParaRPr lang="en-US" dirty="0"/>
                </a:p>
              </p:txBody>
            </p:sp>
          </p:grpSp>
        </p:grpSp>
      </p:grpSp>
      <p:grpSp>
        <p:nvGrpSpPr>
          <p:cNvPr id="3" name="Group 2">
            <a:extLst>
              <a:ext uri="{FF2B5EF4-FFF2-40B4-BE49-F238E27FC236}">
                <a16:creationId xmlns:a16="http://schemas.microsoft.com/office/drawing/2014/main" id="{469836E0-62DC-93CD-FFDF-393D2B5DBE1E}"/>
              </a:ext>
            </a:extLst>
          </p:cNvPr>
          <p:cNvGrpSpPr/>
          <p:nvPr/>
        </p:nvGrpSpPr>
        <p:grpSpPr>
          <a:xfrm>
            <a:off x="4598208" y="5264566"/>
            <a:ext cx="6849254" cy="1066018"/>
            <a:chOff x="4685199" y="4976886"/>
            <a:chExt cx="6849254" cy="1066018"/>
          </a:xfrm>
        </p:grpSpPr>
        <p:sp>
          <p:nvSpPr>
            <p:cNvPr id="4" name="TextBox 3">
              <a:extLst>
                <a:ext uri="{FF2B5EF4-FFF2-40B4-BE49-F238E27FC236}">
                  <a16:creationId xmlns:a16="http://schemas.microsoft.com/office/drawing/2014/main" id="{74F7EA77-01A4-681D-D888-271E26A93301}"/>
                </a:ext>
              </a:extLst>
            </p:cNvPr>
            <p:cNvSpPr txBox="1"/>
            <p:nvPr/>
          </p:nvSpPr>
          <p:spPr>
            <a:xfrm>
              <a:off x="4707680" y="5396573"/>
              <a:ext cx="1707275" cy="646331"/>
            </a:xfrm>
            <a:prstGeom prst="rect">
              <a:avLst/>
            </a:prstGeom>
            <a:noFill/>
          </p:spPr>
          <p:txBody>
            <a:bodyPr wrap="square">
              <a:spAutoFit/>
            </a:bodyPr>
            <a:lstStyle/>
            <a:p>
              <a:r>
                <a:rPr lang="en-US" sz="9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eader in CRM and Customer Experience Implementation Services (Gartner, July 2022)</a:t>
              </a:r>
            </a:p>
          </p:txBody>
        </p:sp>
        <p:sp>
          <p:nvSpPr>
            <p:cNvPr id="5" name="TextBox 4">
              <a:extLst>
                <a:ext uri="{FF2B5EF4-FFF2-40B4-BE49-F238E27FC236}">
                  <a16:creationId xmlns:a16="http://schemas.microsoft.com/office/drawing/2014/main" id="{984ED8EA-6C3B-CC26-3E18-2E8AB1307973}"/>
                </a:ext>
              </a:extLst>
            </p:cNvPr>
            <p:cNvSpPr txBox="1"/>
            <p:nvPr/>
          </p:nvSpPr>
          <p:spPr>
            <a:xfrm>
              <a:off x="4685199" y="4976886"/>
              <a:ext cx="4113770" cy="369332"/>
            </a:xfrm>
            <a:prstGeom prst="rect">
              <a:avLst/>
            </a:prstGeom>
            <a:noFill/>
          </p:spPr>
          <p:txBody>
            <a:bodyPr wrap="square">
              <a:spAutoFit/>
            </a:bodyPr>
            <a:lstStyle>
              <a:defPPr>
                <a:defRPr lang="en-US"/>
              </a:defPPr>
              <a:lvl1pPr>
                <a:defRPr sz="900">
                  <a:latin typeface="Open Sans" panose="020B0606030504020204" pitchFamily="34" charset="0"/>
                  <a:ea typeface="Open Sans" panose="020B0606030504020204" pitchFamily="34" charset="0"/>
                  <a:cs typeface="Open Sans" panose="020B0606030504020204" pitchFamily="34" charset="0"/>
                </a:defRPr>
              </a:lvl1pPr>
            </a:lstStyle>
            <a:p>
              <a:r>
                <a:rPr lang="en-US" dirty="0">
                  <a:solidFill>
                    <a:schemeClr val="bg1">
                      <a:lumMod val="50000"/>
                    </a:schemeClr>
                  </a:solidFill>
                </a:rPr>
                <a:t>#1 consultancy for CX transformation, including Customer Experience Services and Implementation (Gartner, Kennedy, ALM, Forrester &amp; IDC)</a:t>
              </a:r>
            </a:p>
          </p:txBody>
        </p:sp>
        <p:pic>
          <p:nvPicPr>
            <p:cNvPr id="6" name="Picture 5">
              <a:extLst>
                <a:ext uri="{FF2B5EF4-FFF2-40B4-BE49-F238E27FC236}">
                  <a16:creationId xmlns:a16="http://schemas.microsoft.com/office/drawing/2014/main" id="{2B927855-1CBC-8209-F9D9-730F7B1A83A8}"/>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6268453" y="5489048"/>
              <a:ext cx="486211" cy="507832"/>
            </a:xfrm>
            <a:custGeom>
              <a:avLst/>
              <a:gdLst>
                <a:gd name="connsiteX0" fmla="*/ 363355 w 2180086"/>
                <a:gd name="connsiteY0" fmla="*/ 0 h 2277031"/>
                <a:gd name="connsiteX1" fmla="*/ 1816731 w 2180086"/>
                <a:gd name="connsiteY1" fmla="*/ 0 h 2277031"/>
                <a:gd name="connsiteX2" fmla="*/ 2180086 w 2180086"/>
                <a:gd name="connsiteY2" fmla="*/ 363355 h 2277031"/>
                <a:gd name="connsiteX3" fmla="*/ 2180086 w 2180086"/>
                <a:gd name="connsiteY3" fmla="*/ 1913676 h 2277031"/>
                <a:gd name="connsiteX4" fmla="*/ 1816731 w 2180086"/>
                <a:gd name="connsiteY4" fmla="*/ 2277031 h 2277031"/>
                <a:gd name="connsiteX5" fmla="*/ 363355 w 2180086"/>
                <a:gd name="connsiteY5" fmla="*/ 2277031 h 2277031"/>
                <a:gd name="connsiteX6" fmla="*/ 0 w 2180086"/>
                <a:gd name="connsiteY6" fmla="*/ 1913676 h 2277031"/>
                <a:gd name="connsiteX7" fmla="*/ 0 w 2180086"/>
                <a:gd name="connsiteY7" fmla="*/ 363355 h 2277031"/>
                <a:gd name="connsiteX8" fmla="*/ 363355 w 2180086"/>
                <a:gd name="connsiteY8" fmla="*/ 0 h 227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0086" h="2277031">
                  <a:moveTo>
                    <a:pt x="363355" y="0"/>
                  </a:moveTo>
                  <a:lnTo>
                    <a:pt x="1816731" y="0"/>
                  </a:lnTo>
                  <a:cubicBezTo>
                    <a:pt x="2017406" y="0"/>
                    <a:pt x="2180086" y="162680"/>
                    <a:pt x="2180086" y="363355"/>
                  </a:cubicBezTo>
                  <a:lnTo>
                    <a:pt x="2180086" y="1913676"/>
                  </a:lnTo>
                  <a:cubicBezTo>
                    <a:pt x="2180086" y="2114351"/>
                    <a:pt x="2017406" y="2277031"/>
                    <a:pt x="1816731" y="2277031"/>
                  </a:cubicBezTo>
                  <a:lnTo>
                    <a:pt x="363355" y="2277031"/>
                  </a:lnTo>
                  <a:cubicBezTo>
                    <a:pt x="162680" y="2277031"/>
                    <a:pt x="0" y="2114351"/>
                    <a:pt x="0" y="1913676"/>
                  </a:cubicBezTo>
                  <a:lnTo>
                    <a:pt x="0" y="363355"/>
                  </a:lnTo>
                  <a:cubicBezTo>
                    <a:pt x="0" y="162680"/>
                    <a:pt x="162680" y="0"/>
                    <a:pt x="363355" y="0"/>
                  </a:cubicBezTo>
                  <a:close/>
                </a:path>
              </a:pathLst>
            </a:custGeom>
          </p:spPr>
        </p:pic>
        <p:pic>
          <p:nvPicPr>
            <p:cNvPr id="7" name="Picture 2" descr="Salesforce Logo and symbol, meaning, history, PNG">
              <a:extLst>
                <a:ext uri="{FF2B5EF4-FFF2-40B4-BE49-F238E27FC236}">
                  <a16:creationId xmlns:a16="http://schemas.microsoft.com/office/drawing/2014/main" id="{9202F8C8-0C48-86E2-AD27-30BEC246E51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775300" y="5534008"/>
              <a:ext cx="742953" cy="41791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8367C58-5CFD-BA47-69C6-095158010117}"/>
                </a:ext>
              </a:extLst>
            </p:cNvPr>
            <p:cNvSpPr txBox="1"/>
            <p:nvPr/>
          </p:nvSpPr>
          <p:spPr>
            <a:xfrm>
              <a:off x="7547847" y="5485474"/>
              <a:ext cx="1815926" cy="507831"/>
            </a:xfrm>
            <a:prstGeom prst="rect">
              <a:avLst/>
            </a:prstGeom>
            <a:noFill/>
          </p:spPr>
          <p:txBody>
            <a:bodyPr wrap="square">
              <a:spAutoFit/>
            </a:bodyPr>
            <a:lstStyle>
              <a:defPPr>
                <a:defRPr lang="en-US"/>
              </a:defPPr>
              <a:lvl1pPr>
                <a:defRPr sz="900">
                  <a:latin typeface="Open Sans" panose="020B0606030504020204" pitchFamily="34" charset="0"/>
                  <a:ea typeface="Open Sans" panose="020B0606030504020204" pitchFamily="34" charset="0"/>
                  <a:cs typeface="Open Sans" panose="020B0606030504020204" pitchFamily="34" charset="0"/>
                </a:defRPr>
              </a:lvl1pPr>
            </a:lstStyle>
            <a:p>
              <a:r>
                <a:rPr lang="en-US" dirty="0">
                  <a:solidFill>
                    <a:schemeClr val="bg1">
                      <a:lumMod val="50000"/>
                    </a:schemeClr>
                  </a:solidFill>
                </a:rPr>
                <a:t>#Leader in Public Cloud Transformation Services (Gartner, 2022)</a:t>
              </a:r>
            </a:p>
          </p:txBody>
        </p:sp>
        <p:sp>
          <p:nvSpPr>
            <p:cNvPr id="9" name="TextBox 8">
              <a:extLst>
                <a:ext uri="{FF2B5EF4-FFF2-40B4-BE49-F238E27FC236}">
                  <a16:creationId xmlns:a16="http://schemas.microsoft.com/office/drawing/2014/main" id="{708AD613-F30D-1D85-D670-545F9C9768C0}"/>
                </a:ext>
              </a:extLst>
            </p:cNvPr>
            <p:cNvSpPr txBox="1"/>
            <p:nvPr/>
          </p:nvSpPr>
          <p:spPr>
            <a:xfrm>
              <a:off x="8957547" y="5478672"/>
              <a:ext cx="1607964" cy="507831"/>
            </a:xfrm>
            <a:prstGeom prst="rect">
              <a:avLst/>
            </a:prstGeom>
            <a:noFill/>
          </p:spPr>
          <p:txBody>
            <a:bodyPr wrap="square">
              <a:spAutoFit/>
            </a:bodyPr>
            <a:lstStyle>
              <a:defPPr>
                <a:defRPr lang="en-US"/>
              </a:defPPr>
              <a:lvl1pPr>
                <a:defRPr sz="900">
                  <a:latin typeface="Open Sans" panose="020B0606030504020204" pitchFamily="34" charset="0"/>
                  <a:ea typeface="Open Sans" panose="020B0606030504020204" pitchFamily="34" charset="0"/>
                  <a:cs typeface="Open Sans" panose="020B0606030504020204" pitchFamily="34" charset="0"/>
                </a:defRPr>
              </a:lvl1pPr>
            </a:lstStyle>
            <a:p>
              <a:r>
                <a:rPr lang="en-US" dirty="0">
                  <a:solidFill>
                    <a:schemeClr val="bg1">
                      <a:lumMod val="50000"/>
                    </a:schemeClr>
                  </a:solidFill>
                </a:rPr>
                <a:t>#Leader in Data and Analytics Services (Gartner, 2022)</a:t>
              </a:r>
            </a:p>
          </p:txBody>
        </p:sp>
        <p:pic>
          <p:nvPicPr>
            <p:cNvPr id="10" name="Picture 4" descr="Strategic Alliance Partner - Fujitsu CEMEA&amp;I">
              <a:extLst>
                <a:ext uri="{FF2B5EF4-FFF2-40B4-BE49-F238E27FC236}">
                  <a16:creationId xmlns:a16="http://schemas.microsoft.com/office/drawing/2014/main" id="{C099C1C2-0F2B-FCDA-95AA-77269943092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684540" y="5615416"/>
              <a:ext cx="849913" cy="3341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msg erhält den SAP Pinnacle Award 2020 in der Kategorie SAP Solution ...">
              <a:extLst>
                <a:ext uri="{FF2B5EF4-FFF2-40B4-BE49-F238E27FC236}">
                  <a16:creationId xmlns:a16="http://schemas.microsoft.com/office/drawing/2014/main" id="{8B29D024-5308-C0C4-1F44-EF6E2D7AC6F0}"/>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0266277" y="5510642"/>
              <a:ext cx="459756" cy="458899"/>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a:extLst>
              <a:ext uri="{FF2B5EF4-FFF2-40B4-BE49-F238E27FC236}">
                <a16:creationId xmlns:a16="http://schemas.microsoft.com/office/drawing/2014/main" id="{4944A7DA-00B5-4553-A880-6A6937E45041}"/>
              </a:ext>
            </a:extLst>
          </p:cNvPr>
          <p:cNvSpPr>
            <a:spLocks noGrp="1"/>
          </p:cNvSpPr>
          <p:nvPr>
            <p:ph type="title"/>
          </p:nvPr>
        </p:nvSpPr>
        <p:spPr>
          <a:xfrm>
            <a:off x="463295" y="417911"/>
            <a:ext cx="11277600" cy="650493"/>
          </a:xfrm>
        </p:spPr>
        <p:txBody>
          <a:bodyPr vert="horz" lIns="0" tIns="0" rIns="0" bIns="0" rtlCol="0" anchor="t" anchorCtr="0">
            <a:noAutofit/>
          </a:bodyPr>
          <a:lstStyle/>
          <a:p>
            <a:r>
              <a:rPr lang="en-US" sz="2000" dirty="0"/>
              <a:t>In the CE region we have more than 2050 Consulting professionals</a:t>
            </a:r>
            <a:r>
              <a:rPr lang="hu-HU" sz="2000" dirty="0"/>
              <a:t> </a:t>
            </a:r>
            <a:r>
              <a:rPr lang="en-US" sz="2000" dirty="0"/>
              <a:t>across 12 countries to ensure that Deloitte Central Europe Consulting delivers value-added and relevant solutions</a:t>
            </a:r>
            <a:br>
              <a:rPr lang="hu-HU" sz="2000" dirty="0"/>
            </a:br>
            <a:r>
              <a:rPr lang="en-US" sz="2000" dirty="0"/>
              <a:t>.</a:t>
            </a:r>
          </a:p>
        </p:txBody>
      </p:sp>
    </p:spTree>
    <p:extLst>
      <p:ext uri="{BB962C8B-B14F-4D97-AF65-F5344CB8AC3E}">
        <p14:creationId xmlns:p14="http://schemas.microsoft.com/office/powerpoint/2010/main" val="106715548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8EA6B99B-8A8B-4F6C-9E87-B955352FF30B}"/>
              </a:ext>
            </a:extLst>
          </p:cNvPr>
          <p:cNvSpPr>
            <a:spLocks noGrp="1"/>
          </p:cNvSpPr>
          <p:nvPr>
            <p:ph type="body" sz="quarter" idx="13"/>
          </p:nvPr>
        </p:nvSpPr>
        <p:spPr>
          <a:xfrm>
            <a:off x="499425" y="757855"/>
            <a:ext cx="11377543" cy="757255"/>
          </a:xfrm>
        </p:spPr>
        <p:txBody>
          <a:bodyPr/>
          <a:lstStyle/>
          <a:p>
            <a:r>
              <a:rPr lang="en-US"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ur privacy framework is anchored in the business objectives that steer the management of privacy-related risks and compliance. These are the driving force behind our approach, enabling us to effectively address privacy challenges and ensure compliance with relevant regulations.</a:t>
            </a:r>
          </a:p>
        </p:txBody>
      </p:sp>
      <p:sp>
        <p:nvSpPr>
          <p:cNvPr id="3" name="Title 2">
            <a:extLst>
              <a:ext uri="{FF2B5EF4-FFF2-40B4-BE49-F238E27FC236}">
                <a16:creationId xmlns:a16="http://schemas.microsoft.com/office/drawing/2014/main" id="{4D16EF15-FD8F-43EE-9335-C470E20A0077}"/>
              </a:ext>
            </a:extLst>
          </p:cNvPr>
          <p:cNvSpPr>
            <a:spLocks noGrp="1"/>
          </p:cNvSpPr>
          <p:nvPr>
            <p:ph type="title"/>
          </p:nvPr>
        </p:nvSpPr>
        <p:spPr>
          <a:xfrm>
            <a:off x="469900" y="402587"/>
            <a:ext cx="11252200" cy="334102"/>
          </a:xfrm>
        </p:spPr>
        <p:txBody>
          <a:bodyPr/>
          <a:lstStyle/>
          <a:p>
            <a:r>
              <a:rPr lang="en-US" sz="2400" dirty="0"/>
              <a:t>Our Privacy Framework</a:t>
            </a:r>
          </a:p>
        </p:txBody>
      </p:sp>
      <p:sp>
        <p:nvSpPr>
          <p:cNvPr id="8" name="TextBox 7">
            <a:extLst>
              <a:ext uri="{FF2B5EF4-FFF2-40B4-BE49-F238E27FC236}">
                <a16:creationId xmlns:a16="http://schemas.microsoft.com/office/drawing/2014/main" id="{60FCCEDD-4DC5-4B82-8467-9E1C119BFF3C}"/>
              </a:ext>
            </a:extLst>
          </p:cNvPr>
          <p:cNvSpPr txBox="1"/>
          <p:nvPr/>
        </p:nvSpPr>
        <p:spPr>
          <a:xfrm rot="16200000">
            <a:off x="303428" y="2895855"/>
            <a:ext cx="1191520" cy="349329"/>
          </a:xfrm>
          <a:prstGeom prst="rect">
            <a:avLst/>
          </a:prstGeom>
          <a:noFill/>
        </p:spPr>
        <p:txBody>
          <a:bodyPr wrap="square" lIns="0" tIns="0" rIns="0" bIns="0" rtlCol="0" anchor="ctr" anchorCtr="0">
            <a:noAutofit/>
          </a:bodyPr>
          <a:lstStyle/>
          <a:p>
            <a:pPr algn="ctr" defTabSz="1358099" fontAlgn="base">
              <a:spcBef>
                <a:spcPct val="0"/>
              </a:spcBef>
              <a:spcAft>
                <a:spcPct val="0"/>
              </a:spcAft>
              <a:defRPr/>
            </a:pPr>
            <a:r>
              <a:rPr lang="en-US" sz="1100" b="1" i="1" dirty="0">
                <a:solidFill>
                  <a:schemeClr val="tx2"/>
                </a:solidFill>
                <a:cs typeface="Segoe UI" panose="020B0502040204020203" pitchFamily="34" charset="0"/>
              </a:rPr>
              <a:t>Governance and trust</a:t>
            </a:r>
            <a:endParaRPr lang="en-US" sz="1100" b="1" i="1" baseline="30000" dirty="0">
              <a:solidFill>
                <a:schemeClr val="tx2"/>
              </a:solidFill>
              <a:cs typeface="Segoe UI" panose="020B0502040204020203" pitchFamily="34" charset="0"/>
            </a:endParaRPr>
          </a:p>
        </p:txBody>
      </p:sp>
      <p:sp>
        <p:nvSpPr>
          <p:cNvPr id="9" name="TextBox 8">
            <a:extLst>
              <a:ext uri="{FF2B5EF4-FFF2-40B4-BE49-F238E27FC236}">
                <a16:creationId xmlns:a16="http://schemas.microsoft.com/office/drawing/2014/main" id="{A55662D9-44C7-4C70-AFD5-122128EC0B75}"/>
              </a:ext>
            </a:extLst>
          </p:cNvPr>
          <p:cNvSpPr txBox="1"/>
          <p:nvPr/>
        </p:nvSpPr>
        <p:spPr>
          <a:xfrm rot="16200000">
            <a:off x="222305" y="4743572"/>
            <a:ext cx="1448423" cy="384916"/>
          </a:xfrm>
          <a:prstGeom prst="rect">
            <a:avLst/>
          </a:prstGeom>
          <a:noFill/>
        </p:spPr>
        <p:txBody>
          <a:bodyPr wrap="square" lIns="0" tIns="0" rIns="0" bIns="0" rtlCol="0" anchor="ctr" anchorCtr="0">
            <a:noAutofit/>
          </a:bodyPr>
          <a:lstStyle/>
          <a:p>
            <a:pPr algn="ctr" defTabSz="1358099" fontAlgn="base">
              <a:spcBef>
                <a:spcPct val="0"/>
              </a:spcBef>
              <a:spcAft>
                <a:spcPct val="0"/>
              </a:spcAft>
              <a:defRPr/>
            </a:pPr>
            <a:r>
              <a:rPr lang="en-US" sz="1100" b="1" i="1" dirty="0">
                <a:solidFill>
                  <a:schemeClr val="tx2"/>
                </a:solidFill>
                <a:cs typeface="Segoe UI" panose="020B0502040204020203" pitchFamily="34" charset="0"/>
              </a:rPr>
              <a:t>Privacy domains*</a:t>
            </a:r>
            <a:endParaRPr lang="en-US" sz="1100" b="1" i="1" baseline="30000" dirty="0">
              <a:solidFill>
                <a:schemeClr val="tx2"/>
              </a:solidFill>
              <a:cs typeface="Segoe UI" panose="020B0502040204020203" pitchFamily="34" charset="0"/>
            </a:endParaRPr>
          </a:p>
        </p:txBody>
      </p:sp>
      <p:sp>
        <p:nvSpPr>
          <p:cNvPr id="10" name="TextBox 9">
            <a:extLst>
              <a:ext uri="{FF2B5EF4-FFF2-40B4-BE49-F238E27FC236}">
                <a16:creationId xmlns:a16="http://schemas.microsoft.com/office/drawing/2014/main" id="{60CC0DB6-CFD4-46BC-9023-C9C6AF67B3EC}"/>
              </a:ext>
            </a:extLst>
          </p:cNvPr>
          <p:cNvSpPr txBox="1"/>
          <p:nvPr/>
        </p:nvSpPr>
        <p:spPr>
          <a:xfrm rot="16200000">
            <a:off x="252888" y="1611615"/>
            <a:ext cx="1292602" cy="349329"/>
          </a:xfrm>
          <a:prstGeom prst="rect">
            <a:avLst/>
          </a:prstGeom>
          <a:noFill/>
        </p:spPr>
        <p:txBody>
          <a:bodyPr wrap="square" lIns="0" tIns="0" rIns="0" bIns="0" rtlCol="0" anchor="ctr" anchorCtr="0">
            <a:noAutofit/>
          </a:bodyPr>
          <a:lstStyle/>
          <a:p>
            <a:pPr algn="ctr" defTabSz="1358099" fontAlgn="base">
              <a:spcBef>
                <a:spcPct val="0"/>
              </a:spcBef>
              <a:spcAft>
                <a:spcPct val="0"/>
              </a:spcAft>
              <a:defRPr/>
            </a:pPr>
            <a:r>
              <a:rPr lang="en-US" sz="1100" b="1" i="1" dirty="0">
                <a:solidFill>
                  <a:schemeClr val="tx2"/>
                </a:solidFill>
                <a:cs typeface="Segoe UI" panose="020B0502040204020203" pitchFamily="34" charset="0"/>
              </a:rPr>
              <a:t>Business objectives</a:t>
            </a:r>
          </a:p>
        </p:txBody>
      </p:sp>
      <p:sp>
        <p:nvSpPr>
          <p:cNvPr id="15" name="Rectangle: Rounded Corners 144">
            <a:hlinkClick r:id="" action="ppaction://noaction"/>
            <a:extLst>
              <a:ext uri="{FF2B5EF4-FFF2-40B4-BE49-F238E27FC236}">
                <a16:creationId xmlns:a16="http://schemas.microsoft.com/office/drawing/2014/main" id="{584C22F9-DD8D-474D-9508-7A99DCD5619F}"/>
              </a:ext>
            </a:extLst>
          </p:cNvPr>
          <p:cNvSpPr/>
          <p:nvPr/>
        </p:nvSpPr>
        <p:spPr bwMode="gray">
          <a:xfrm rot="16200000">
            <a:off x="4100078" y="2830343"/>
            <a:ext cx="299300" cy="4970486"/>
          </a:xfrm>
          <a:prstGeom prst="roundRect">
            <a:avLst/>
          </a:prstGeom>
          <a:solidFill>
            <a:srgbClr val="1CABE3"/>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Consent and preference management</a:t>
            </a:r>
          </a:p>
        </p:txBody>
      </p:sp>
      <p:sp>
        <p:nvSpPr>
          <p:cNvPr id="16" name="Rectangle: Rounded Corners 146">
            <a:hlinkClick r:id="" action="ppaction://noaction"/>
            <a:extLst>
              <a:ext uri="{FF2B5EF4-FFF2-40B4-BE49-F238E27FC236}">
                <a16:creationId xmlns:a16="http://schemas.microsoft.com/office/drawing/2014/main" id="{458DF9DE-20EA-40C6-AE1E-59C4E8B3B05F}"/>
              </a:ext>
            </a:extLst>
          </p:cNvPr>
          <p:cNvSpPr/>
          <p:nvPr/>
        </p:nvSpPr>
        <p:spPr bwMode="gray">
          <a:xfrm rot="16200000">
            <a:off x="9097103" y="1924940"/>
            <a:ext cx="277097" cy="4750926"/>
          </a:xfrm>
          <a:prstGeom prst="roundRect">
            <a:avLst/>
          </a:prstGeom>
          <a:solidFill>
            <a:schemeClr val="accent3">
              <a:lumMod val="40000"/>
              <a:lumOff val="60000"/>
            </a:schemeClr>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Privacy by design</a:t>
            </a:r>
          </a:p>
        </p:txBody>
      </p:sp>
      <p:sp>
        <p:nvSpPr>
          <p:cNvPr id="17" name="Rectangle: Rounded Corners 148">
            <a:hlinkClick r:id="" action="ppaction://noaction"/>
            <a:extLst>
              <a:ext uri="{FF2B5EF4-FFF2-40B4-BE49-F238E27FC236}">
                <a16:creationId xmlns:a16="http://schemas.microsoft.com/office/drawing/2014/main" id="{F045AF67-6A82-438C-8A12-E2DB72A1D06B}"/>
              </a:ext>
            </a:extLst>
          </p:cNvPr>
          <p:cNvSpPr/>
          <p:nvPr/>
        </p:nvSpPr>
        <p:spPr bwMode="gray">
          <a:xfrm rot="16200000">
            <a:off x="9097103" y="2264167"/>
            <a:ext cx="277097" cy="4750926"/>
          </a:xfrm>
          <a:prstGeom prst="roundRect">
            <a:avLst/>
          </a:prstGeom>
          <a:solidFill>
            <a:schemeClr val="accent3">
              <a:lumMod val="40000"/>
              <a:lumOff val="60000"/>
            </a:schemeClr>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Third-party risk management</a:t>
            </a:r>
          </a:p>
        </p:txBody>
      </p:sp>
      <p:sp>
        <p:nvSpPr>
          <p:cNvPr id="18" name="Rectangle: Rounded Corners 149">
            <a:hlinkClick r:id="" action="ppaction://noaction"/>
            <a:extLst>
              <a:ext uri="{FF2B5EF4-FFF2-40B4-BE49-F238E27FC236}">
                <a16:creationId xmlns:a16="http://schemas.microsoft.com/office/drawing/2014/main" id="{1727DE39-8F7A-4D03-9EAF-EEC70ED2F749}"/>
              </a:ext>
            </a:extLst>
          </p:cNvPr>
          <p:cNvSpPr/>
          <p:nvPr/>
        </p:nvSpPr>
        <p:spPr bwMode="gray">
          <a:xfrm rot="16200000">
            <a:off x="9097104" y="2937505"/>
            <a:ext cx="277097" cy="4750926"/>
          </a:xfrm>
          <a:prstGeom prst="roundRect">
            <a:avLst/>
          </a:prstGeom>
          <a:solidFill>
            <a:srgbClr val="1CABE3"/>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Data protection and security</a:t>
            </a:r>
          </a:p>
        </p:txBody>
      </p:sp>
      <p:sp>
        <p:nvSpPr>
          <p:cNvPr id="19" name="Rectangle: Rounded Corners 151">
            <a:hlinkClick r:id="" action="ppaction://noaction"/>
            <a:extLst>
              <a:ext uri="{FF2B5EF4-FFF2-40B4-BE49-F238E27FC236}">
                <a16:creationId xmlns:a16="http://schemas.microsoft.com/office/drawing/2014/main" id="{FC791E96-1A26-48EB-9C1C-672361F4DB93}"/>
              </a:ext>
            </a:extLst>
          </p:cNvPr>
          <p:cNvSpPr/>
          <p:nvPr/>
        </p:nvSpPr>
        <p:spPr bwMode="gray">
          <a:xfrm rot="16200000">
            <a:off x="9097104" y="2591416"/>
            <a:ext cx="277097" cy="4750926"/>
          </a:xfrm>
          <a:prstGeom prst="roundRect">
            <a:avLst/>
          </a:prstGeom>
          <a:solidFill>
            <a:schemeClr val="accent3">
              <a:lumMod val="40000"/>
              <a:lumOff val="60000"/>
            </a:schemeClr>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Privacy assessment</a:t>
            </a:r>
          </a:p>
        </p:txBody>
      </p:sp>
      <p:sp>
        <p:nvSpPr>
          <p:cNvPr id="20" name="Rectangle: Rounded Corners 152">
            <a:hlinkClick r:id="" action="ppaction://noaction"/>
            <a:extLst>
              <a:ext uri="{FF2B5EF4-FFF2-40B4-BE49-F238E27FC236}">
                <a16:creationId xmlns:a16="http://schemas.microsoft.com/office/drawing/2014/main" id="{C5CC4BE8-AB75-4479-AD7F-4EDF2F8839CD}"/>
              </a:ext>
            </a:extLst>
          </p:cNvPr>
          <p:cNvSpPr/>
          <p:nvPr/>
        </p:nvSpPr>
        <p:spPr bwMode="gray">
          <a:xfrm rot="16200000">
            <a:off x="9097103" y="3281847"/>
            <a:ext cx="277097" cy="4750926"/>
          </a:xfrm>
          <a:prstGeom prst="roundRect">
            <a:avLst/>
          </a:prstGeom>
          <a:solidFill>
            <a:srgbClr val="1CABE3"/>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Regulatory tracking </a:t>
            </a:r>
          </a:p>
        </p:txBody>
      </p:sp>
      <p:sp>
        <p:nvSpPr>
          <p:cNvPr id="21" name="Arrow: Left-Right 20">
            <a:extLst>
              <a:ext uri="{FF2B5EF4-FFF2-40B4-BE49-F238E27FC236}">
                <a16:creationId xmlns:a16="http://schemas.microsoft.com/office/drawing/2014/main" id="{F1CB055D-6CEF-46C6-B6BE-78BB9D45B83D}"/>
              </a:ext>
            </a:extLst>
          </p:cNvPr>
          <p:cNvSpPr/>
          <p:nvPr/>
        </p:nvSpPr>
        <p:spPr bwMode="gray">
          <a:xfrm>
            <a:off x="1567004" y="5932359"/>
            <a:ext cx="10270831" cy="522100"/>
          </a:xfrm>
          <a:prstGeom prst="leftRightArrow">
            <a:avLst>
              <a:gd name="adj1" fmla="val 50000"/>
              <a:gd name="adj2" fmla="val 37400"/>
            </a:avLst>
          </a:prstGeom>
          <a:solidFill>
            <a:schemeClr val="accent3">
              <a:lumMod val="7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100" b="1" dirty="0">
                <a:solidFill>
                  <a:schemeClr val="bg1"/>
                </a:solidFill>
              </a:rPr>
              <a:t>Privacy enabling technologies and operational services</a:t>
            </a:r>
          </a:p>
        </p:txBody>
      </p:sp>
      <p:sp>
        <p:nvSpPr>
          <p:cNvPr id="22" name="Rectangle 155">
            <a:hlinkClick r:id="" action="ppaction://noaction"/>
            <a:extLst>
              <a:ext uri="{FF2B5EF4-FFF2-40B4-BE49-F238E27FC236}">
                <a16:creationId xmlns:a16="http://schemas.microsoft.com/office/drawing/2014/main" id="{8E4EAA3C-0BEA-4301-B118-439F7AB9F369}"/>
              </a:ext>
            </a:extLst>
          </p:cNvPr>
          <p:cNvSpPr/>
          <p:nvPr/>
        </p:nvSpPr>
        <p:spPr bwMode="gray">
          <a:xfrm rot="16200000">
            <a:off x="4115493" y="2483163"/>
            <a:ext cx="277097" cy="4979113"/>
          </a:xfrm>
          <a:prstGeom prst="roundRect">
            <a:avLst/>
          </a:prstGeom>
          <a:solidFill>
            <a:schemeClr val="accent3">
              <a:lumMod val="40000"/>
              <a:lumOff val="60000"/>
            </a:schemeClr>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Incident response management</a:t>
            </a:r>
          </a:p>
        </p:txBody>
      </p:sp>
      <p:sp>
        <p:nvSpPr>
          <p:cNvPr id="23" name="Rectangle 156">
            <a:hlinkClick r:id="" action="ppaction://noaction"/>
            <a:extLst>
              <a:ext uri="{FF2B5EF4-FFF2-40B4-BE49-F238E27FC236}">
                <a16:creationId xmlns:a16="http://schemas.microsoft.com/office/drawing/2014/main" id="{2289BF27-7621-45C9-8909-4B4AC01C30E1}"/>
              </a:ext>
            </a:extLst>
          </p:cNvPr>
          <p:cNvSpPr/>
          <p:nvPr/>
        </p:nvSpPr>
        <p:spPr bwMode="gray">
          <a:xfrm rot="16200000">
            <a:off x="9092324" y="1580931"/>
            <a:ext cx="277099" cy="4760491"/>
          </a:xfrm>
          <a:prstGeom prst="roundRect">
            <a:avLst/>
          </a:prstGeom>
          <a:solidFill>
            <a:schemeClr val="accent3">
              <a:lumMod val="40000"/>
              <a:lumOff val="60000"/>
            </a:schemeClr>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Training, awareness and communications</a:t>
            </a:r>
          </a:p>
        </p:txBody>
      </p:sp>
      <p:sp>
        <p:nvSpPr>
          <p:cNvPr id="24" name="Rectangle: Rounded Corners 150">
            <a:hlinkClick r:id="" action="ppaction://noaction"/>
            <a:extLst>
              <a:ext uri="{FF2B5EF4-FFF2-40B4-BE49-F238E27FC236}">
                <a16:creationId xmlns:a16="http://schemas.microsoft.com/office/drawing/2014/main" id="{0DBABF43-1C3B-4378-8174-975F806D7345}"/>
              </a:ext>
            </a:extLst>
          </p:cNvPr>
          <p:cNvSpPr/>
          <p:nvPr/>
        </p:nvSpPr>
        <p:spPr bwMode="gray">
          <a:xfrm rot="16200000">
            <a:off x="4136150" y="3173483"/>
            <a:ext cx="277097" cy="4979113"/>
          </a:xfrm>
          <a:prstGeom prst="roundRect">
            <a:avLst/>
          </a:prstGeom>
          <a:solidFill>
            <a:srgbClr val="1CABE3"/>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Compliance monitoring and testing</a:t>
            </a:r>
          </a:p>
        </p:txBody>
      </p:sp>
      <p:sp>
        <p:nvSpPr>
          <p:cNvPr id="25" name="Rectangle: Rounded Corners 147">
            <a:hlinkClick r:id="" action="ppaction://noaction"/>
            <a:extLst>
              <a:ext uri="{FF2B5EF4-FFF2-40B4-BE49-F238E27FC236}">
                <a16:creationId xmlns:a16="http://schemas.microsoft.com/office/drawing/2014/main" id="{95831D49-29C0-42E0-BDE8-A53DBEAA7959}"/>
              </a:ext>
            </a:extLst>
          </p:cNvPr>
          <p:cNvSpPr/>
          <p:nvPr/>
        </p:nvSpPr>
        <p:spPr bwMode="gray">
          <a:xfrm rot="16200000">
            <a:off x="4106865" y="2146609"/>
            <a:ext cx="277097" cy="4979113"/>
          </a:xfrm>
          <a:prstGeom prst="roundRect">
            <a:avLst/>
          </a:prstGeom>
          <a:solidFill>
            <a:schemeClr val="accent3">
              <a:lumMod val="40000"/>
              <a:lumOff val="60000"/>
            </a:schemeClr>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Complaints management</a:t>
            </a:r>
          </a:p>
        </p:txBody>
      </p:sp>
      <p:sp>
        <p:nvSpPr>
          <p:cNvPr id="26" name="Rectangle: Rounded Corners 143">
            <a:hlinkClick r:id="" action="ppaction://noaction"/>
            <a:extLst>
              <a:ext uri="{FF2B5EF4-FFF2-40B4-BE49-F238E27FC236}">
                <a16:creationId xmlns:a16="http://schemas.microsoft.com/office/drawing/2014/main" id="{0CEF96EB-E880-44EE-8A1F-7BA3D791A782}"/>
              </a:ext>
            </a:extLst>
          </p:cNvPr>
          <p:cNvSpPr/>
          <p:nvPr/>
        </p:nvSpPr>
        <p:spPr bwMode="gray">
          <a:xfrm rot="16200000">
            <a:off x="4106865" y="1463729"/>
            <a:ext cx="277097" cy="4979113"/>
          </a:xfrm>
          <a:prstGeom prst="roundRect">
            <a:avLst/>
          </a:prstGeom>
          <a:solidFill>
            <a:schemeClr val="accent3">
              <a:lumMod val="40000"/>
              <a:lumOff val="60000"/>
            </a:schemeClr>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Data discovery and record of processing</a:t>
            </a:r>
          </a:p>
        </p:txBody>
      </p:sp>
      <p:sp>
        <p:nvSpPr>
          <p:cNvPr id="31" name="Rectangle: Rounded Corners 145">
            <a:hlinkClick r:id="" action="ppaction://noaction"/>
            <a:extLst>
              <a:ext uri="{FF2B5EF4-FFF2-40B4-BE49-F238E27FC236}">
                <a16:creationId xmlns:a16="http://schemas.microsoft.com/office/drawing/2014/main" id="{42C26019-A4F0-4469-B1B3-8E747D9F3D2D}"/>
              </a:ext>
            </a:extLst>
          </p:cNvPr>
          <p:cNvSpPr/>
          <p:nvPr/>
        </p:nvSpPr>
        <p:spPr bwMode="gray">
          <a:xfrm rot="16200000">
            <a:off x="4106865" y="1810053"/>
            <a:ext cx="277097" cy="4979113"/>
          </a:xfrm>
          <a:prstGeom prst="roundRect">
            <a:avLst/>
          </a:prstGeom>
          <a:solidFill>
            <a:schemeClr val="accent3">
              <a:lumMod val="40000"/>
              <a:lumOff val="60000"/>
            </a:schemeClr>
          </a:solidFill>
          <a:ln w="38100" cap="flat" cmpd="sng" algn="ctr">
            <a:noFill/>
            <a:prstDash val="solid"/>
          </a:ln>
          <a:effectLst/>
        </p:spPr>
        <p:txBody>
          <a:bodyPr vert="vert" rtlCol="0" anchor="ctr"/>
          <a:lstStyle/>
          <a:p>
            <a:pPr algn="ctr"/>
            <a:r>
              <a:rPr lang="en-US" sz="1100" b="1" dirty="0">
                <a:solidFill>
                  <a:schemeClr val="tx1">
                    <a:lumMod val="50000"/>
                  </a:schemeClr>
                </a:solidFill>
                <a:cs typeface="Segoe UI" panose="020B0502040204020203" pitchFamily="34" charset="0"/>
              </a:rPr>
              <a:t>Data subject rights management</a:t>
            </a:r>
          </a:p>
        </p:txBody>
      </p:sp>
      <p:sp>
        <p:nvSpPr>
          <p:cNvPr id="32" name="Rectangle: Rounded Corners 130">
            <a:extLst>
              <a:ext uri="{FF2B5EF4-FFF2-40B4-BE49-F238E27FC236}">
                <a16:creationId xmlns:a16="http://schemas.microsoft.com/office/drawing/2014/main" id="{3DCA8E14-EF20-4DAA-8E9A-3432E3E8D0F9}"/>
              </a:ext>
            </a:extLst>
          </p:cNvPr>
          <p:cNvSpPr/>
          <p:nvPr/>
        </p:nvSpPr>
        <p:spPr bwMode="auto">
          <a:xfrm>
            <a:off x="1567004" y="3654083"/>
            <a:ext cx="10224182" cy="2289481"/>
          </a:xfrm>
          <a:prstGeom prst="roundRect">
            <a:avLst>
              <a:gd name="adj" fmla="val 9694"/>
            </a:avLst>
          </a:prstGeom>
          <a:noFill/>
          <a:ln w="12700" cap="flat" cmpd="sng" algn="ctr">
            <a:solidFill>
              <a:schemeClr val="tx2"/>
            </a:solidFill>
            <a:prstDash val="dash"/>
            <a:round/>
            <a:headEnd type="none" w="med" len="med"/>
            <a:tailEnd type="none" w="med" len="med"/>
          </a:ln>
          <a:effectLst/>
        </p:spPr>
        <p:txBody>
          <a:bodyPr vert="horz" wrap="square" lIns="60960" tIns="60960" rIns="60960" bIns="60960" numCol="1" rtlCol="0" anchor="ctr" anchorCtr="0" compatLnSpc="1">
            <a:prstTxWarp prst="textNoShape">
              <a:avLst/>
            </a:prstTxWarp>
          </a:bodyPr>
          <a:lstStyle/>
          <a:p>
            <a:pPr defTabSz="1358099" fontAlgn="base">
              <a:spcBef>
                <a:spcPct val="0"/>
              </a:spcBef>
              <a:spcAft>
                <a:spcPct val="0"/>
              </a:spcAft>
              <a:defRPr/>
            </a:pPr>
            <a:endParaRPr lang="en-US" sz="1050" dirty="0">
              <a:cs typeface="Segoe UI" panose="020B0502040204020203" pitchFamily="34" charset="0"/>
            </a:endParaRPr>
          </a:p>
        </p:txBody>
      </p:sp>
      <p:sp>
        <p:nvSpPr>
          <p:cNvPr id="33" name="Rectangle: Rounded Corners 130">
            <a:extLst>
              <a:ext uri="{FF2B5EF4-FFF2-40B4-BE49-F238E27FC236}">
                <a16:creationId xmlns:a16="http://schemas.microsoft.com/office/drawing/2014/main" id="{04EE10E9-03B9-4EDE-B8FD-09C440E57DCB}"/>
              </a:ext>
            </a:extLst>
          </p:cNvPr>
          <p:cNvSpPr/>
          <p:nvPr/>
        </p:nvSpPr>
        <p:spPr bwMode="auto">
          <a:xfrm>
            <a:off x="1535027" y="1313038"/>
            <a:ext cx="10227510" cy="878389"/>
          </a:xfrm>
          <a:prstGeom prst="roundRect">
            <a:avLst/>
          </a:prstGeom>
          <a:noFill/>
          <a:ln w="12700" cap="flat" cmpd="sng" algn="ctr">
            <a:solidFill>
              <a:schemeClr val="tx2"/>
            </a:solidFill>
            <a:prstDash val="dash"/>
            <a:round/>
            <a:headEnd type="none" w="med" len="med"/>
            <a:tailEnd type="none" w="med" len="med"/>
          </a:ln>
          <a:effectLst/>
        </p:spPr>
        <p:txBody>
          <a:bodyPr vert="horz" wrap="square" lIns="60960" tIns="60960" rIns="60960" bIns="60960" numCol="1" rtlCol="0" anchor="ctr" anchorCtr="0" compatLnSpc="1">
            <a:prstTxWarp prst="textNoShape">
              <a:avLst/>
            </a:prstTxWarp>
          </a:bodyPr>
          <a:lstStyle/>
          <a:p>
            <a:pPr defTabSz="1358099" fontAlgn="base">
              <a:spcBef>
                <a:spcPct val="0"/>
              </a:spcBef>
              <a:spcAft>
                <a:spcPct val="0"/>
              </a:spcAft>
              <a:defRPr/>
            </a:pPr>
            <a:endParaRPr lang="en-US" sz="1067" dirty="0">
              <a:cs typeface="Segoe UI" panose="020B0502040204020203" pitchFamily="34" charset="0"/>
            </a:endParaRPr>
          </a:p>
        </p:txBody>
      </p:sp>
      <p:sp>
        <p:nvSpPr>
          <p:cNvPr id="34" name="TextBox 33">
            <a:extLst>
              <a:ext uri="{FF2B5EF4-FFF2-40B4-BE49-F238E27FC236}">
                <a16:creationId xmlns:a16="http://schemas.microsoft.com/office/drawing/2014/main" id="{1503EBB3-D30A-4256-BA3D-1C44457DE2B2}"/>
              </a:ext>
            </a:extLst>
          </p:cNvPr>
          <p:cNvSpPr txBox="1"/>
          <p:nvPr/>
        </p:nvSpPr>
        <p:spPr>
          <a:xfrm>
            <a:off x="6839253" y="1993888"/>
            <a:ext cx="2124483" cy="18466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rtl="0" latinLnBrk="1" hangingPunct="0"/>
            <a:r>
              <a:rPr lang="en-US" sz="1200" b="1" dirty="0">
                <a:cs typeface="Segoe UI" panose="020B0502040204020203" pitchFamily="34" charset="0"/>
              </a:rPr>
              <a:t>Risk management</a:t>
            </a:r>
            <a:endParaRPr lang="en-US" sz="1200" dirty="0">
              <a:solidFill>
                <a:srgbClr val="7D8490"/>
              </a:solidFill>
              <a:cs typeface="Segoe UI" panose="020B0502040204020203" pitchFamily="34" charset="0"/>
              <a:sym typeface="Vista Sans OT Medium"/>
            </a:endParaRPr>
          </a:p>
        </p:txBody>
      </p:sp>
      <p:sp>
        <p:nvSpPr>
          <p:cNvPr id="35" name="TextBox 34">
            <a:extLst>
              <a:ext uri="{FF2B5EF4-FFF2-40B4-BE49-F238E27FC236}">
                <a16:creationId xmlns:a16="http://schemas.microsoft.com/office/drawing/2014/main" id="{3FBD83D6-7F1D-4FDC-888F-51AA6D66D9FB}"/>
              </a:ext>
            </a:extLst>
          </p:cNvPr>
          <p:cNvSpPr txBox="1"/>
          <p:nvPr/>
        </p:nvSpPr>
        <p:spPr>
          <a:xfrm>
            <a:off x="9236218" y="1993888"/>
            <a:ext cx="2371329" cy="18466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rtl="0" latinLnBrk="1" hangingPunct="0"/>
            <a:r>
              <a:rPr lang="en-US" sz="1200" b="1" dirty="0">
                <a:cs typeface="Segoe UI" panose="020B0502040204020203" pitchFamily="34" charset="0"/>
              </a:rPr>
              <a:t>Regulatory compliance</a:t>
            </a:r>
            <a:endParaRPr lang="en-US" sz="1200" dirty="0">
              <a:solidFill>
                <a:srgbClr val="7D8490"/>
              </a:solidFill>
              <a:cs typeface="Segoe UI" panose="020B0502040204020203" pitchFamily="34" charset="0"/>
              <a:sym typeface="Vista Sans OT Medium"/>
            </a:endParaRPr>
          </a:p>
        </p:txBody>
      </p:sp>
      <p:sp>
        <p:nvSpPr>
          <p:cNvPr id="36" name="TextBox 35">
            <a:extLst>
              <a:ext uri="{FF2B5EF4-FFF2-40B4-BE49-F238E27FC236}">
                <a16:creationId xmlns:a16="http://schemas.microsoft.com/office/drawing/2014/main" id="{79F711EE-B9EB-47EB-A761-0CD37F09877E}"/>
              </a:ext>
            </a:extLst>
          </p:cNvPr>
          <p:cNvSpPr txBox="1"/>
          <p:nvPr/>
        </p:nvSpPr>
        <p:spPr>
          <a:xfrm>
            <a:off x="1847043" y="1993888"/>
            <a:ext cx="1976607" cy="18466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rtl="0" latinLnBrk="1" hangingPunct="0"/>
            <a:r>
              <a:rPr lang="en-US" sz="1200" b="1" dirty="0">
                <a:cs typeface="Segoe UI" panose="020B0502040204020203" pitchFamily="34" charset="0"/>
              </a:rPr>
              <a:t>Growth / innovation</a:t>
            </a:r>
            <a:endParaRPr lang="en-US" sz="1200" dirty="0">
              <a:solidFill>
                <a:srgbClr val="7D8490"/>
              </a:solidFill>
              <a:cs typeface="Segoe UI" panose="020B0502040204020203" pitchFamily="34" charset="0"/>
              <a:sym typeface="Vista Sans OT Medium"/>
            </a:endParaRPr>
          </a:p>
        </p:txBody>
      </p:sp>
      <p:sp>
        <p:nvSpPr>
          <p:cNvPr id="37" name="TextBox 36">
            <a:extLst>
              <a:ext uri="{FF2B5EF4-FFF2-40B4-BE49-F238E27FC236}">
                <a16:creationId xmlns:a16="http://schemas.microsoft.com/office/drawing/2014/main" id="{66A35F96-75F9-49D6-93A5-6551F312F47E}"/>
              </a:ext>
            </a:extLst>
          </p:cNvPr>
          <p:cNvSpPr txBox="1"/>
          <p:nvPr/>
        </p:nvSpPr>
        <p:spPr>
          <a:xfrm>
            <a:off x="4309271" y="1993888"/>
            <a:ext cx="2124483" cy="18466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rtl="0" latinLnBrk="1" hangingPunct="0"/>
            <a:r>
              <a:rPr lang="en-US" sz="1200" b="1" dirty="0">
                <a:cs typeface="Segoe UI" panose="020B0502040204020203" pitchFamily="34" charset="0"/>
              </a:rPr>
              <a:t>Operational efficiency</a:t>
            </a:r>
            <a:endParaRPr lang="en-US" sz="1200" dirty="0">
              <a:solidFill>
                <a:srgbClr val="7D8490"/>
              </a:solidFill>
              <a:cs typeface="Segoe UI" panose="020B0502040204020203" pitchFamily="34" charset="0"/>
              <a:sym typeface="Vista Sans OT Medium"/>
            </a:endParaRPr>
          </a:p>
        </p:txBody>
      </p:sp>
      <p:grpSp>
        <p:nvGrpSpPr>
          <p:cNvPr id="42" name="General_Fill_20">
            <a:extLst>
              <a:ext uri="{FF2B5EF4-FFF2-40B4-BE49-F238E27FC236}">
                <a16:creationId xmlns:a16="http://schemas.microsoft.com/office/drawing/2014/main" id="{523841B6-63A2-48D3-A21F-13434E6834E9}"/>
              </a:ext>
            </a:extLst>
          </p:cNvPr>
          <p:cNvGrpSpPr>
            <a:grpSpLocks noChangeAspect="1"/>
          </p:cNvGrpSpPr>
          <p:nvPr/>
        </p:nvGrpSpPr>
        <p:grpSpPr bwMode="auto">
          <a:xfrm>
            <a:off x="2573262" y="1374200"/>
            <a:ext cx="524170" cy="546099"/>
            <a:chOff x="6248" y="3438"/>
            <a:chExt cx="340" cy="340"/>
          </a:xfrm>
          <a:solidFill>
            <a:schemeClr val="accent3">
              <a:lumMod val="75000"/>
            </a:schemeClr>
          </a:solidFill>
        </p:grpSpPr>
        <p:sp>
          <p:nvSpPr>
            <p:cNvPr id="43" name="Oval 868">
              <a:extLst>
                <a:ext uri="{FF2B5EF4-FFF2-40B4-BE49-F238E27FC236}">
                  <a16:creationId xmlns:a16="http://schemas.microsoft.com/office/drawing/2014/main" id="{3F14B986-CE4E-455F-898C-0C642876A25F}"/>
                </a:ext>
              </a:extLst>
            </p:cNvPr>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4" name="Oval 869">
              <a:extLst>
                <a:ext uri="{FF2B5EF4-FFF2-40B4-BE49-F238E27FC236}">
                  <a16:creationId xmlns:a16="http://schemas.microsoft.com/office/drawing/2014/main" id="{6DB5ACC1-FEA4-42CA-95B7-C69C88B4EB00}"/>
                </a:ext>
              </a:extLst>
            </p:cNvPr>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5" name="Oval 870">
              <a:extLst>
                <a:ext uri="{FF2B5EF4-FFF2-40B4-BE49-F238E27FC236}">
                  <a16:creationId xmlns:a16="http://schemas.microsoft.com/office/drawing/2014/main" id="{1D0A6BA5-D315-413D-B165-0FF0F0B1C58E}"/>
                </a:ext>
              </a:extLst>
            </p:cNvPr>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 name="Freeform 871">
              <a:extLst>
                <a:ext uri="{FF2B5EF4-FFF2-40B4-BE49-F238E27FC236}">
                  <a16:creationId xmlns:a16="http://schemas.microsoft.com/office/drawing/2014/main" id="{9CE196A8-E787-4C11-A13C-D4FA408DD587}"/>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47" name="General_Fill_44">
            <a:extLst>
              <a:ext uri="{FF2B5EF4-FFF2-40B4-BE49-F238E27FC236}">
                <a16:creationId xmlns:a16="http://schemas.microsoft.com/office/drawing/2014/main" id="{C84CA462-5D7D-4648-AD7C-1A6CD68AD5EE}"/>
              </a:ext>
            </a:extLst>
          </p:cNvPr>
          <p:cNvSpPr>
            <a:spLocks noChangeAspect="1" noEditPoints="1"/>
          </p:cNvSpPr>
          <p:nvPr/>
        </p:nvSpPr>
        <p:spPr bwMode="auto">
          <a:xfrm>
            <a:off x="5100051" y="1372929"/>
            <a:ext cx="526606" cy="54864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48" name="General_Fill_14">
            <a:extLst>
              <a:ext uri="{FF2B5EF4-FFF2-40B4-BE49-F238E27FC236}">
                <a16:creationId xmlns:a16="http://schemas.microsoft.com/office/drawing/2014/main" id="{25A7E4A8-CC3A-406A-AF95-F3A4BF7261D5}"/>
              </a:ext>
            </a:extLst>
          </p:cNvPr>
          <p:cNvGrpSpPr>
            <a:grpSpLocks noChangeAspect="1"/>
          </p:cNvGrpSpPr>
          <p:nvPr/>
        </p:nvGrpSpPr>
        <p:grpSpPr bwMode="auto">
          <a:xfrm>
            <a:off x="7629316" y="1372929"/>
            <a:ext cx="526606" cy="548640"/>
            <a:chOff x="6986" y="2266"/>
            <a:chExt cx="340" cy="340"/>
          </a:xfrm>
          <a:solidFill>
            <a:schemeClr val="accent3">
              <a:lumMod val="75000"/>
            </a:schemeClr>
          </a:solidFill>
        </p:grpSpPr>
        <p:sp>
          <p:nvSpPr>
            <p:cNvPr id="49" name="Freeform 607">
              <a:extLst>
                <a:ext uri="{FF2B5EF4-FFF2-40B4-BE49-F238E27FC236}">
                  <a16:creationId xmlns:a16="http://schemas.microsoft.com/office/drawing/2014/main" id="{027A872B-A911-44DA-8B23-D8249D75FE15}"/>
                </a:ext>
              </a:extLst>
            </p:cNvPr>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 name="Rectangle 608">
              <a:extLst>
                <a:ext uri="{FF2B5EF4-FFF2-40B4-BE49-F238E27FC236}">
                  <a16:creationId xmlns:a16="http://schemas.microsoft.com/office/drawing/2014/main" id="{B4ABBA6D-8C68-46A5-96B2-C89EEE5B4C13}"/>
                </a:ext>
              </a:extLst>
            </p:cNvPr>
            <p:cNvSpPr>
              <a:spLocks noChangeArrowheads="1"/>
            </p:cNvSpPr>
            <p:nvPr/>
          </p:nvSpPr>
          <p:spPr bwMode="auto">
            <a:xfrm>
              <a:off x="7092" y="2443"/>
              <a:ext cx="128" cy="8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51" name="Financial_Fill_7">
            <a:extLst>
              <a:ext uri="{FF2B5EF4-FFF2-40B4-BE49-F238E27FC236}">
                <a16:creationId xmlns:a16="http://schemas.microsoft.com/office/drawing/2014/main" id="{71BEEFC4-0B6A-4E5F-ADA5-92692A2DBF7D}"/>
              </a:ext>
            </a:extLst>
          </p:cNvPr>
          <p:cNvGrpSpPr>
            <a:grpSpLocks noChangeAspect="1"/>
          </p:cNvGrpSpPr>
          <p:nvPr/>
        </p:nvGrpSpPr>
        <p:grpSpPr bwMode="auto">
          <a:xfrm>
            <a:off x="10158580" y="1372929"/>
            <a:ext cx="526606" cy="548640"/>
            <a:chOff x="3061" y="1953"/>
            <a:chExt cx="340" cy="340"/>
          </a:xfrm>
          <a:solidFill>
            <a:schemeClr val="accent3">
              <a:lumMod val="75000"/>
            </a:schemeClr>
          </a:solidFill>
        </p:grpSpPr>
        <p:sp>
          <p:nvSpPr>
            <p:cNvPr id="52" name="Freeform 532">
              <a:extLst>
                <a:ext uri="{FF2B5EF4-FFF2-40B4-BE49-F238E27FC236}">
                  <a16:creationId xmlns:a16="http://schemas.microsoft.com/office/drawing/2014/main" id="{E359D590-A209-4297-8250-987FBF80B0B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 name="Freeform 533">
              <a:extLst>
                <a:ext uri="{FF2B5EF4-FFF2-40B4-BE49-F238E27FC236}">
                  <a16:creationId xmlns:a16="http://schemas.microsoft.com/office/drawing/2014/main" id="{A641EEEC-6197-4E07-BAA2-F4E2747F82A6}"/>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41" name="Rectangle: Rounded Corners 128">
            <a:hlinkClick r:id="" action="ppaction://noaction"/>
            <a:extLst>
              <a:ext uri="{FF2B5EF4-FFF2-40B4-BE49-F238E27FC236}">
                <a16:creationId xmlns:a16="http://schemas.microsoft.com/office/drawing/2014/main" id="{21AFF5D0-BA6B-4C04-8957-D0A930EA46F0}"/>
              </a:ext>
            </a:extLst>
          </p:cNvPr>
          <p:cNvSpPr/>
          <p:nvPr/>
        </p:nvSpPr>
        <p:spPr bwMode="gray">
          <a:xfrm>
            <a:off x="1567004" y="2547137"/>
            <a:ext cx="2433384" cy="1005840"/>
          </a:xfrm>
          <a:prstGeom prst="roundRect">
            <a:avLst>
              <a:gd name="adj" fmla="val 6541"/>
            </a:avLst>
          </a:prstGeom>
          <a:solidFill>
            <a:schemeClr val="bg1"/>
          </a:solidFill>
          <a:ln w="12700" cap="flat" cmpd="sng" algn="ctr">
            <a:noFill/>
            <a:prstDash val="solid"/>
          </a:ln>
          <a:effectLst/>
        </p:spPr>
        <p:txBody>
          <a:bodyPr vert="horz" lIns="0" rtlCol="0" anchor="t"/>
          <a:lstStyle/>
          <a:p>
            <a:pPr marL="117475" indent="-117475">
              <a:buFont typeface="Arial" panose="020B0604020202020204" pitchFamily="34" charset="0"/>
              <a:buChar char="•"/>
            </a:pPr>
            <a:r>
              <a:rPr lang="en-US" sz="1050" dirty="0">
                <a:cs typeface="Segoe UI" panose="020B0502040204020203" pitchFamily="34" charset="0"/>
              </a:rPr>
              <a:t>Designated roles and responsibilities </a:t>
            </a:r>
          </a:p>
          <a:p>
            <a:pPr marL="117475" indent="-117475">
              <a:buFont typeface="Arial" panose="020B0604020202020204" pitchFamily="34" charset="0"/>
              <a:buChar char="•"/>
            </a:pPr>
            <a:r>
              <a:rPr lang="en-US" sz="1050" dirty="0">
                <a:cs typeface="Segoe UI" panose="020B0502040204020203" pitchFamily="34" charset="0"/>
              </a:rPr>
              <a:t>Privacy strategy and roadmap</a:t>
            </a:r>
          </a:p>
          <a:p>
            <a:pPr marL="117475" indent="-117475">
              <a:buFont typeface="Arial" panose="020B0604020202020204" pitchFamily="34" charset="0"/>
              <a:buChar char="•"/>
            </a:pPr>
            <a:r>
              <a:rPr lang="en-US" sz="1050" dirty="0">
                <a:cs typeface="Segoe UI" panose="020B0502040204020203" pitchFamily="34" charset="0"/>
              </a:rPr>
              <a:t>Privacy operating model, and lines of defense</a:t>
            </a:r>
          </a:p>
        </p:txBody>
      </p:sp>
      <p:sp>
        <p:nvSpPr>
          <p:cNvPr id="54" name="Rectangle 53">
            <a:hlinkClick r:id="" action="ppaction://noaction"/>
            <a:extLst>
              <a:ext uri="{FF2B5EF4-FFF2-40B4-BE49-F238E27FC236}">
                <a16:creationId xmlns:a16="http://schemas.microsoft.com/office/drawing/2014/main" id="{F560B087-AEE1-44B9-A875-DB5069081D91}"/>
              </a:ext>
            </a:extLst>
          </p:cNvPr>
          <p:cNvSpPr/>
          <p:nvPr/>
        </p:nvSpPr>
        <p:spPr bwMode="gray">
          <a:xfrm rot="16200000">
            <a:off x="2632060" y="1229773"/>
            <a:ext cx="303274" cy="2433385"/>
          </a:xfrm>
          <a:prstGeom prst="rect">
            <a:avLst/>
          </a:prstGeom>
          <a:solidFill>
            <a:srgbClr val="00A3E0"/>
          </a:solidFill>
          <a:ln w="19050" cap="flat" cmpd="sng" algn="ctr">
            <a:noFill/>
            <a:prstDash val="solid"/>
          </a:ln>
          <a:effectLst/>
        </p:spPr>
        <p:txBody>
          <a:bodyPr vert="vert" rtlCol="0" anchor="ctr"/>
          <a:lstStyle/>
          <a:p>
            <a:pPr algn="ctr"/>
            <a:r>
              <a:rPr lang="en-US" sz="1100" dirty="0">
                <a:solidFill>
                  <a:schemeClr val="bg1"/>
                </a:solidFill>
                <a:cs typeface="Segoe UI" panose="020B0502040204020203" pitchFamily="34" charset="0"/>
              </a:rPr>
              <a:t>Strategy and governance</a:t>
            </a:r>
          </a:p>
        </p:txBody>
      </p:sp>
      <p:sp>
        <p:nvSpPr>
          <p:cNvPr id="56" name="Rectangle: Rounded Corners 127">
            <a:hlinkClick r:id="" action="ppaction://noaction"/>
            <a:extLst>
              <a:ext uri="{FF2B5EF4-FFF2-40B4-BE49-F238E27FC236}">
                <a16:creationId xmlns:a16="http://schemas.microsoft.com/office/drawing/2014/main" id="{A4C10FD1-B8BD-4A64-B129-3D2A6B39AA47}"/>
              </a:ext>
            </a:extLst>
          </p:cNvPr>
          <p:cNvSpPr/>
          <p:nvPr/>
        </p:nvSpPr>
        <p:spPr bwMode="gray">
          <a:xfrm>
            <a:off x="9236727" y="2583617"/>
            <a:ext cx="2543838" cy="1005840"/>
          </a:xfrm>
          <a:prstGeom prst="roundRect">
            <a:avLst>
              <a:gd name="adj" fmla="val 5907"/>
            </a:avLst>
          </a:prstGeom>
          <a:solidFill>
            <a:schemeClr val="bg1"/>
          </a:solidFill>
          <a:ln w="12700" cap="flat" cmpd="sng" algn="ctr">
            <a:noFill/>
            <a:prstDash val="solid"/>
          </a:ln>
          <a:effectLst/>
        </p:spPr>
        <p:txBody>
          <a:bodyPr vert="horz" lIns="0" rIns="0" rtlCol="0" anchor="t"/>
          <a:lstStyle/>
          <a:p>
            <a:pPr marL="117475" indent="-117475">
              <a:buFont typeface="Arial" panose="020B0604020202020204" pitchFamily="34" charset="0"/>
              <a:buChar char="•"/>
            </a:pPr>
            <a:r>
              <a:rPr lang="en-US" sz="1050" dirty="0">
                <a:cs typeface="Segoe UI" panose="020B0502040204020203" pitchFamily="34" charset="0"/>
              </a:rPr>
              <a:t>Risk and compliance reporting </a:t>
            </a:r>
          </a:p>
          <a:p>
            <a:pPr marL="117475" indent="-117475">
              <a:buFont typeface="Arial" panose="020B0604020202020204" pitchFamily="34" charset="0"/>
              <a:buChar char="•"/>
            </a:pPr>
            <a:r>
              <a:rPr lang="en-US" sz="1050" dirty="0">
                <a:cs typeface="Segoe UI" panose="020B0502040204020203" pitchFamily="34" charset="0"/>
              </a:rPr>
              <a:t>Program management </a:t>
            </a:r>
          </a:p>
          <a:p>
            <a:pPr marL="117475" indent="-117475">
              <a:buFont typeface="Arial" panose="020B0604020202020204" pitchFamily="34" charset="0"/>
              <a:buChar char="•"/>
            </a:pPr>
            <a:r>
              <a:rPr lang="en-US" sz="1050" dirty="0">
                <a:cs typeface="Segoe UI" panose="020B0502040204020203" pitchFamily="34" charset="0"/>
              </a:rPr>
              <a:t>Key Performance Indicator/ Key Risk Indicator (KPI / KRI) tracking</a:t>
            </a:r>
          </a:p>
          <a:p>
            <a:pPr marL="117475" indent="-117475">
              <a:buFont typeface="Arial" panose="020B0604020202020204" pitchFamily="34" charset="0"/>
              <a:buChar char="•"/>
            </a:pPr>
            <a:r>
              <a:rPr lang="en-US" sz="1050" dirty="0">
                <a:cs typeface="Segoe UI" panose="020B0502040204020203" pitchFamily="34" charset="0"/>
              </a:rPr>
              <a:t>Program maintenance and improvement</a:t>
            </a:r>
          </a:p>
        </p:txBody>
      </p:sp>
      <p:sp>
        <p:nvSpPr>
          <p:cNvPr id="57" name="Rectangle 56">
            <a:hlinkClick r:id="" action="ppaction://noaction"/>
            <a:extLst>
              <a:ext uri="{FF2B5EF4-FFF2-40B4-BE49-F238E27FC236}">
                <a16:creationId xmlns:a16="http://schemas.microsoft.com/office/drawing/2014/main" id="{8012F6B2-1E06-4144-A289-38B3B7DD3F39}"/>
              </a:ext>
            </a:extLst>
          </p:cNvPr>
          <p:cNvSpPr/>
          <p:nvPr/>
        </p:nvSpPr>
        <p:spPr bwMode="gray">
          <a:xfrm rot="16200000">
            <a:off x="10348341" y="1179760"/>
            <a:ext cx="320617" cy="2565080"/>
          </a:xfrm>
          <a:prstGeom prst="rect">
            <a:avLst/>
          </a:prstGeom>
          <a:solidFill>
            <a:srgbClr val="00A3E0"/>
          </a:solidFill>
          <a:ln w="19050" cap="flat" cmpd="sng" algn="ctr">
            <a:noFill/>
            <a:prstDash val="solid"/>
          </a:ln>
          <a:effectLst/>
        </p:spPr>
        <p:txBody>
          <a:bodyPr vert="vert" rtlCol="0" anchor="ctr"/>
          <a:lstStyle/>
          <a:p>
            <a:pPr algn="ctr"/>
            <a:r>
              <a:rPr lang="en-US" sz="1100" dirty="0">
                <a:solidFill>
                  <a:schemeClr val="bg1"/>
                </a:solidFill>
                <a:cs typeface="Segoe UI" panose="020B0502040204020203" pitchFamily="34" charset="0"/>
              </a:rPr>
              <a:t>Operations</a:t>
            </a:r>
          </a:p>
        </p:txBody>
      </p:sp>
      <p:sp>
        <p:nvSpPr>
          <p:cNvPr id="58" name="Rectangle: Rounded Corners 126">
            <a:hlinkClick r:id="" action="ppaction://noaction"/>
            <a:extLst>
              <a:ext uri="{FF2B5EF4-FFF2-40B4-BE49-F238E27FC236}">
                <a16:creationId xmlns:a16="http://schemas.microsoft.com/office/drawing/2014/main" id="{161DBDB6-8C4A-466F-89F6-3F93D0BF25BD}"/>
              </a:ext>
            </a:extLst>
          </p:cNvPr>
          <p:cNvSpPr/>
          <p:nvPr/>
        </p:nvSpPr>
        <p:spPr bwMode="gray">
          <a:xfrm>
            <a:off x="4129506" y="2569802"/>
            <a:ext cx="2470876" cy="1005840"/>
          </a:xfrm>
          <a:prstGeom prst="roundRect">
            <a:avLst>
              <a:gd name="adj" fmla="val 9072"/>
            </a:avLst>
          </a:prstGeom>
          <a:solidFill>
            <a:schemeClr val="bg1"/>
          </a:solidFill>
          <a:ln w="12700" cap="flat" cmpd="sng" algn="ctr">
            <a:noFill/>
            <a:prstDash val="solid"/>
          </a:ln>
          <a:effectLst/>
        </p:spPr>
        <p:txBody>
          <a:bodyPr vert="horz" lIns="0" tIns="45720" rIns="0" bIns="45720" rtlCol="0" anchor="t"/>
          <a:lstStyle/>
          <a:p>
            <a:pPr marL="111125" indent="-111125">
              <a:buFont typeface="Arial" panose="020B0604020202020204" pitchFamily="34" charset="0"/>
              <a:buChar char="•"/>
            </a:pPr>
            <a:r>
              <a:rPr lang="en-US" sz="1050" dirty="0">
                <a:cs typeface="Segoe UI"/>
              </a:rPr>
              <a:t>Policies and standards covering each data privacy capability</a:t>
            </a:r>
          </a:p>
          <a:p>
            <a:pPr marL="111125" indent="-111125">
              <a:buFont typeface="Arial" panose="020B0604020202020204" pitchFamily="34" charset="0"/>
              <a:buChar char="•"/>
            </a:pPr>
            <a:r>
              <a:rPr lang="en-US" sz="1050" dirty="0">
                <a:cs typeface="Segoe UI" panose="020B0502040204020203" pitchFamily="34" charset="0"/>
              </a:rPr>
              <a:t>Operational standards and supporting guides</a:t>
            </a:r>
          </a:p>
        </p:txBody>
      </p:sp>
      <p:sp>
        <p:nvSpPr>
          <p:cNvPr id="59" name="Rectangle 58">
            <a:hlinkClick r:id="" action="ppaction://noaction"/>
            <a:extLst>
              <a:ext uri="{FF2B5EF4-FFF2-40B4-BE49-F238E27FC236}">
                <a16:creationId xmlns:a16="http://schemas.microsoft.com/office/drawing/2014/main" id="{E7E66C03-E6AF-4BF2-8218-583F33C5435F}"/>
              </a:ext>
            </a:extLst>
          </p:cNvPr>
          <p:cNvSpPr/>
          <p:nvPr/>
        </p:nvSpPr>
        <p:spPr bwMode="gray">
          <a:xfrm rot="16200000">
            <a:off x="5190660" y="1229774"/>
            <a:ext cx="303272" cy="2433385"/>
          </a:xfrm>
          <a:prstGeom prst="rect">
            <a:avLst/>
          </a:prstGeom>
          <a:solidFill>
            <a:srgbClr val="00A3E0"/>
          </a:solidFill>
          <a:ln w="19050" cap="flat" cmpd="sng" algn="ctr">
            <a:noFill/>
            <a:prstDash val="solid"/>
          </a:ln>
          <a:effectLst/>
        </p:spPr>
        <p:txBody>
          <a:bodyPr vert="vert" rtlCol="0" anchor="ctr"/>
          <a:lstStyle/>
          <a:p>
            <a:pPr algn="ctr"/>
            <a:r>
              <a:rPr lang="en-US" sz="1100" dirty="0">
                <a:solidFill>
                  <a:schemeClr val="bg1"/>
                </a:solidFill>
                <a:cs typeface="Segoe UI" panose="020B0502040204020203" pitchFamily="34" charset="0"/>
              </a:rPr>
              <a:t>Policies and standards</a:t>
            </a:r>
          </a:p>
        </p:txBody>
      </p:sp>
      <p:sp>
        <p:nvSpPr>
          <p:cNvPr id="60" name="Rectangle: Rounded Corners 126">
            <a:hlinkClick r:id="" action="ppaction://noaction"/>
            <a:extLst>
              <a:ext uri="{FF2B5EF4-FFF2-40B4-BE49-F238E27FC236}">
                <a16:creationId xmlns:a16="http://schemas.microsoft.com/office/drawing/2014/main" id="{18093EEA-A1EA-4AFB-B2F6-A25B95A82417}"/>
              </a:ext>
            </a:extLst>
          </p:cNvPr>
          <p:cNvSpPr/>
          <p:nvPr/>
        </p:nvSpPr>
        <p:spPr bwMode="gray">
          <a:xfrm>
            <a:off x="6701870" y="2583618"/>
            <a:ext cx="2399250" cy="1005840"/>
          </a:xfrm>
          <a:prstGeom prst="roundRect">
            <a:avLst>
              <a:gd name="adj" fmla="val 9072"/>
            </a:avLst>
          </a:prstGeom>
          <a:solidFill>
            <a:schemeClr val="bg1"/>
          </a:solidFill>
          <a:ln w="12700" cap="flat" cmpd="sng" algn="ctr">
            <a:noFill/>
            <a:prstDash val="solid"/>
          </a:ln>
          <a:effectLst/>
        </p:spPr>
        <p:txBody>
          <a:bodyPr vert="horz" lIns="0" rIns="0" rtlCol="0" anchor="t"/>
          <a:lstStyle/>
          <a:p>
            <a:pPr marL="111125" indent="-111125">
              <a:buFont typeface="Arial" panose="020B0604020202020204" pitchFamily="34" charset="0"/>
              <a:buChar char="•"/>
            </a:pPr>
            <a:r>
              <a:rPr lang="en-US" sz="1050" dirty="0">
                <a:cs typeface="Segoe UI" panose="020B0502040204020203" pitchFamily="34" charset="0"/>
              </a:rPr>
              <a:t>Privacy statements, disclosures &amp; notices</a:t>
            </a:r>
          </a:p>
          <a:p>
            <a:pPr marL="111125" indent="-111125">
              <a:buFont typeface="Arial" panose="020B0604020202020204" pitchFamily="34" charset="0"/>
              <a:buChar char="•"/>
            </a:pPr>
            <a:r>
              <a:rPr lang="en-US" sz="1050" dirty="0">
                <a:cs typeface="Segoe UI" panose="020B0502040204020203" pitchFamily="34" charset="0"/>
              </a:rPr>
              <a:t>Trust / transparency approach </a:t>
            </a:r>
          </a:p>
          <a:p>
            <a:pPr marL="111125" indent="-111125">
              <a:buFont typeface="Arial" panose="020B0604020202020204" pitchFamily="34" charset="0"/>
              <a:buChar char="•"/>
            </a:pPr>
            <a:r>
              <a:rPr lang="en-US" sz="1050" dirty="0">
                <a:cs typeface="Segoe UI" panose="020B0502040204020203" pitchFamily="34" charset="0"/>
              </a:rPr>
              <a:t>User experience </a:t>
            </a:r>
          </a:p>
        </p:txBody>
      </p:sp>
      <p:sp>
        <p:nvSpPr>
          <p:cNvPr id="61" name="Rectangle 60">
            <a:hlinkClick r:id="" action="ppaction://noaction"/>
            <a:extLst>
              <a:ext uri="{FF2B5EF4-FFF2-40B4-BE49-F238E27FC236}">
                <a16:creationId xmlns:a16="http://schemas.microsoft.com/office/drawing/2014/main" id="{2431EB12-9DB5-4E31-A3E2-68AC697E6B06}"/>
              </a:ext>
            </a:extLst>
          </p:cNvPr>
          <p:cNvSpPr/>
          <p:nvPr/>
        </p:nvSpPr>
        <p:spPr bwMode="gray">
          <a:xfrm rot="16200000">
            <a:off x="7742420" y="1257312"/>
            <a:ext cx="309884" cy="2399250"/>
          </a:xfrm>
          <a:prstGeom prst="rect">
            <a:avLst/>
          </a:prstGeom>
          <a:solidFill>
            <a:srgbClr val="00A3E0"/>
          </a:solidFill>
          <a:ln w="19050" cap="flat" cmpd="sng" algn="ctr">
            <a:noFill/>
            <a:prstDash val="solid"/>
          </a:ln>
          <a:effectLst/>
        </p:spPr>
        <p:txBody>
          <a:bodyPr vert="vert" rtlCol="0" anchor="ctr"/>
          <a:lstStyle/>
          <a:p>
            <a:pPr algn="ctr"/>
            <a:r>
              <a:rPr lang="en-US" sz="1100" dirty="0">
                <a:solidFill>
                  <a:schemeClr val="bg1"/>
                </a:solidFill>
                <a:cs typeface="Segoe UI" panose="020B0502040204020203" pitchFamily="34" charset="0"/>
              </a:rPr>
              <a:t>Trust and transparency</a:t>
            </a:r>
          </a:p>
        </p:txBody>
      </p:sp>
      <p:sp>
        <p:nvSpPr>
          <p:cNvPr id="65" name="TextBox 64">
            <a:extLst>
              <a:ext uri="{FF2B5EF4-FFF2-40B4-BE49-F238E27FC236}">
                <a16:creationId xmlns:a16="http://schemas.microsoft.com/office/drawing/2014/main" id="{40C773EF-3755-4BD5-A0BD-303E5F935110}"/>
              </a:ext>
            </a:extLst>
          </p:cNvPr>
          <p:cNvSpPr txBox="1"/>
          <p:nvPr/>
        </p:nvSpPr>
        <p:spPr>
          <a:xfrm rot="16200000">
            <a:off x="334539" y="4735997"/>
            <a:ext cx="2024854" cy="184666"/>
          </a:xfrm>
          <a:prstGeom prst="rect">
            <a:avLst/>
          </a:prstGeom>
          <a:noFill/>
        </p:spPr>
        <p:txBody>
          <a:bodyPr vert="horz" wrap="square" lIns="0" tIns="0" rIns="0" bIns="0" rtlCol="0">
            <a:spAutoFit/>
          </a:bodyPr>
          <a:lstStyle/>
          <a:p>
            <a:pPr algn="ctr">
              <a:spcBef>
                <a:spcPts val="200"/>
              </a:spcBef>
              <a:buSzPct val="100000"/>
            </a:pPr>
            <a:r>
              <a:rPr lang="en-US" sz="1200" b="1" dirty="0"/>
              <a:t>Focus Areas</a:t>
            </a:r>
          </a:p>
        </p:txBody>
      </p:sp>
    </p:spTree>
    <p:extLst>
      <p:ext uri="{BB962C8B-B14F-4D97-AF65-F5344CB8AC3E}">
        <p14:creationId xmlns:p14="http://schemas.microsoft.com/office/powerpoint/2010/main" val="1510387901"/>
      </p:ext>
    </p:extLst>
  </p:cSld>
  <p:clrMapOvr>
    <a:masterClrMapping/>
  </p:clrMapOvr>
  <p:transition>
    <p:fade/>
  </p:transition>
  <p:extLst>
    <p:ext uri="{6950BFC3-D8DA-4A85-94F7-54DA5524770B}">
      <p188:commentRel xmlns:p188="http://schemas.microsoft.com/office/powerpoint/2018/8/main" r:id="rId3"/>
    </p:ext>
  </p:extLs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64" name="Title 1">
            <a:extLst>
              <a:ext uri="{FF2B5EF4-FFF2-40B4-BE49-F238E27FC236}">
                <a16:creationId xmlns:a16="http://schemas.microsoft.com/office/drawing/2014/main" id="{1F3B52A3-B03D-7D40-D424-16499B46190F}"/>
              </a:ext>
            </a:extLst>
          </p:cNvPr>
          <p:cNvSpPr>
            <a:spLocks noGrp="1"/>
          </p:cNvSpPr>
          <p:nvPr>
            <p:ph type="title"/>
          </p:nvPr>
        </p:nvSpPr>
        <p:spPr>
          <a:xfrm>
            <a:off x="896400" y="906411"/>
            <a:ext cx="10467780" cy="787400"/>
          </a:xfrm>
        </p:spPr>
        <p:txBody>
          <a:bodyPr vert="horz" anchor="t"/>
          <a:lstStyle/>
          <a:p>
            <a:r>
              <a:rPr lang="en-US" sz="1400" dirty="0">
                <a:solidFill>
                  <a:prstClr val="black"/>
                </a:solidFill>
                <a:latin typeface="Open Sans Light" panose="020B0306030504020204" pitchFamily="34" charset="0"/>
              </a:rPr>
              <a:t>Overcoming challenges and ensuring sustainable data modernization, integration, and end-to-end solutions for enhanced business value and efficiency.</a:t>
            </a:r>
          </a:p>
        </p:txBody>
      </p:sp>
      <p:sp>
        <p:nvSpPr>
          <p:cNvPr id="1065" name="Title 1">
            <a:extLst>
              <a:ext uri="{FF2B5EF4-FFF2-40B4-BE49-F238E27FC236}">
                <a16:creationId xmlns:a16="http://schemas.microsoft.com/office/drawing/2014/main" id="{8C32C409-17A7-7830-F3B0-7E3C50591B1E}"/>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spcBef>
                <a:spcPts val="1000"/>
              </a:spcBef>
              <a:buClr>
                <a:srgbClr val="FFFFFF">
                  <a:lumMod val="50000"/>
                </a:srgbClr>
              </a:buClr>
              <a:defRPr/>
            </a:pPr>
            <a:r>
              <a:rPr lang="en-US" sz="2800" dirty="0">
                <a:solidFill>
                  <a:srgbClr val="000000"/>
                </a:solidFill>
              </a:rPr>
              <a:t>Data Engineering</a:t>
            </a:r>
          </a:p>
        </p:txBody>
      </p:sp>
      <p:sp>
        <p:nvSpPr>
          <p:cNvPr id="46" name="Freeform 16">
            <a:extLst>
              <a:ext uri="{FF2B5EF4-FFF2-40B4-BE49-F238E27FC236}">
                <a16:creationId xmlns:a16="http://schemas.microsoft.com/office/drawing/2014/main" id="{821A0C77-CE0F-0E29-3E86-27F58D29CD45}"/>
              </a:ext>
            </a:extLst>
          </p:cNvPr>
          <p:cNvSpPr>
            <a:spLocks/>
          </p:cNvSpPr>
          <p:nvPr/>
        </p:nvSpPr>
        <p:spPr bwMode="auto">
          <a:xfrm>
            <a:off x="4558615" y="2361262"/>
            <a:ext cx="3059980" cy="3061308"/>
          </a:xfrm>
          <a:prstGeom prst="arc">
            <a:avLst>
              <a:gd name="adj1" fmla="val 8757105"/>
              <a:gd name="adj2" fmla="val 6748160"/>
            </a:avLst>
          </a:prstGeom>
          <a:noFill/>
          <a:ln w="19050" cap="rnd">
            <a:solidFill>
              <a:srgbClr val="86BC2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47" name="Group 48">
            <a:extLst>
              <a:ext uri="{FF2B5EF4-FFF2-40B4-BE49-F238E27FC236}">
                <a16:creationId xmlns:a16="http://schemas.microsoft.com/office/drawing/2014/main" id="{18395CD8-9BFA-F62F-1205-552A352A5A62}"/>
              </a:ext>
            </a:extLst>
          </p:cNvPr>
          <p:cNvGrpSpPr>
            <a:grpSpLocks noChangeAspect="1"/>
          </p:cNvGrpSpPr>
          <p:nvPr/>
        </p:nvGrpSpPr>
        <p:grpSpPr bwMode="auto">
          <a:xfrm>
            <a:off x="7355490" y="1695335"/>
            <a:ext cx="812018" cy="809638"/>
            <a:chOff x="4782" y="2078"/>
            <a:chExt cx="341" cy="340"/>
          </a:xfrm>
          <a:solidFill>
            <a:schemeClr val="accent3">
              <a:lumMod val="40000"/>
              <a:lumOff val="60000"/>
            </a:schemeClr>
          </a:solidFill>
        </p:grpSpPr>
        <p:sp>
          <p:nvSpPr>
            <p:cNvPr id="48" name="Freeform 342">
              <a:extLst>
                <a:ext uri="{FF2B5EF4-FFF2-40B4-BE49-F238E27FC236}">
                  <a16:creationId xmlns:a16="http://schemas.microsoft.com/office/drawing/2014/main" id="{F659566B-5E33-BBDC-1EE7-C0F9846E2600}"/>
                </a:ext>
              </a:extLst>
            </p:cNvPr>
            <p:cNvSpPr>
              <a:spLocks noEditPoints="1"/>
            </p:cNvSpPr>
            <p:nvPr/>
          </p:nvSpPr>
          <p:spPr bwMode="auto">
            <a:xfrm>
              <a:off x="4782" y="207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49" name="Freeform 343">
              <a:extLst>
                <a:ext uri="{FF2B5EF4-FFF2-40B4-BE49-F238E27FC236}">
                  <a16:creationId xmlns:a16="http://schemas.microsoft.com/office/drawing/2014/main" id="{092F847A-AA97-5C77-9002-4395DCFA6194}"/>
                </a:ext>
              </a:extLst>
            </p:cNvPr>
            <p:cNvSpPr>
              <a:spLocks noEditPoints="1"/>
            </p:cNvSpPr>
            <p:nvPr/>
          </p:nvSpPr>
          <p:spPr bwMode="auto">
            <a:xfrm>
              <a:off x="4867" y="2156"/>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50" name="Group 417">
            <a:extLst>
              <a:ext uri="{FF2B5EF4-FFF2-40B4-BE49-F238E27FC236}">
                <a16:creationId xmlns:a16="http://schemas.microsoft.com/office/drawing/2014/main" id="{E3655C0B-6003-9CE6-84CB-247DD6338313}"/>
              </a:ext>
            </a:extLst>
          </p:cNvPr>
          <p:cNvGrpSpPr>
            <a:grpSpLocks noChangeAspect="1"/>
          </p:cNvGrpSpPr>
          <p:nvPr/>
        </p:nvGrpSpPr>
        <p:grpSpPr bwMode="auto">
          <a:xfrm>
            <a:off x="4971615" y="5662230"/>
            <a:ext cx="808870" cy="811246"/>
            <a:chOff x="1743" y="1890"/>
            <a:chExt cx="340" cy="341"/>
          </a:xfrm>
          <a:solidFill>
            <a:schemeClr val="accent3">
              <a:lumMod val="75000"/>
            </a:schemeClr>
          </a:solidFill>
        </p:grpSpPr>
        <p:sp>
          <p:nvSpPr>
            <p:cNvPr id="51" name="Freeform 418">
              <a:extLst>
                <a:ext uri="{FF2B5EF4-FFF2-40B4-BE49-F238E27FC236}">
                  <a16:creationId xmlns:a16="http://schemas.microsoft.com/office/drawing/2014/main" id="{C9EAF3E3-D09A-22DF-5D21-8439F4E6678E}"/>
                </a:ext>
              </a:extLst>
            </p:cNvPr>
            <p:cNvSpPr>
              <a:spLocks noEditPoints="1"/>
            </p:cNvSpPr>
            <p:nvPr/>
          </p:nvSpPr>
          <p:spPr bwMode="auto">
            <a:xfrm>
              <a:off x="1743" y="18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2" name="Freeform 419">
              <a:extLst>
                <a:ext uri="{FF2B5EF4-FFF2-40B4-BE49-F238E27FC236}">
                  <a16:creationId xmlns:a16="http://schemas.microsoft.com/office/drawing/2014/main" id="{9EE4F0FC-07F1-6BFA-82FD-4A5696DFA9E5}"/>
                </a:ext>
              </a:extLst>
            </p:cNvPr>
            <p:cNvSpPr>
              <a:spLocks noEditPoints="1"/>
            </p:cNvSpPr>
            <p:nvPr/>
          </p:nvSpPr>
          <p:spPr bwMode="auto">
            <a:xfrm>
              <a:off x="1835" y="1954"/>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53" name="Group 577">
            <a:extLst>
              <a:ext uri="{FF2B5EF4-FFF2-40B4-BE49-F238E27FC236}">
                <a16:creationId xmlns:a16="http://schemas.microsoft.com/office/drawing/2014/main" id="{DF1AA254-6CD3-EC99-B724-3130B514960E}"/>
              </a:ext>
            </a:extLst>
          </p:cNvPr>
          <p:cNvGrpSpPr>
            <a:grpSpLocks noChangeAspect="1"/>
          </p:cNvGrpSpPr>
          <p:nvPr/>
        </p:nvGrpSpPr>
        <p:grpSpPr bwMode="auto">
          <a:xfrm>
            <a:off x="3569788" y="1725978"/>
            <a:ext cx="811928" cy="811924"/>
            <a:chOff x="7356" y="2314"/>
            <a:chExt cx="340" cy="340"/>
          </a:xfrm>
          <a:solidFill>
            <a:schemeClr val="accent3">
              <a:lumMod val="60000"/>
              <a:lumOff val="40000"/>
            </a:schemeClr>
          </a:solidFill>
        </p:grpSpPr>
        <p:sp>
          <p:nvSpPr>
            <p:cNvPr id="54" name="Freeform 578">
              <a:extLst>
                <a:ext uri="{FF2B5EF4-FFF2-40B4-BE49-F238E27FC236}">
                  <a16:creationId xmlns:a16="http://schemas.microsoft.com/office/drawing/2014/main" id="{1068644A-FE3B-D701-6D4F-2D05C08CF45D}"/>
                </a:ext>
              </a:extLst>
            </p:cNvPr>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5" name="Freeform 579">
              <a:extLst>
                <a:ext uri="{FF2B5EF4-FFF2-40B4-BE49-F238E27FC236}">
                  <a16:creationId xmlns:a16="http://schemas.microsoft.com/office/drawing/2014/main" id="{66C31FB9-CC2A-E0BF-A5B8-40CDEE103E59}"/>
                </a:ext>
              </a:extLst>
            </p:cNvPr>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56" name="文本框 112">
            <a:extLst>
              <a:ext uri="{FF2B5EF4-FFF2-40B4-BE49-F238E27FC236}">
                <a16:creationId xmlns:a16="http://schemas.microsoft.com/office/drawing/2014/main" id="{1CA9EACE-2DAD-EA9A-C82F-951C195D0F6A}"/>
              </a:ext>
            </a:extLst>
          </p:cNvPr>
          <p:cNvSpPr txBox="1"/>
          <p:nvPr/>
        </p:nvSpPr>
        <p:spPr>
          <a:xfrm>
            <a:off x="8332631" y="1696173"/>
            <a:ext cx="3282174" cy="2816156"/>
          </a:xfrm>
          <a:prstGeom prst="rect">
            <a:avLst/>
          </a:prstGeom>
          <a:noFill/>
        </p:spPr>
        <p:txBody>
          <a:bodyPr wrap="square" lIns="0" tIns="0" rIns="0" bIns="0" rtlCol="0" anchor="t">
            <a:spAutoFit/>
          </a:bodyPr>
          <a:lstStyle/>
          <a:p>
            <a:pPr>
              <a:buSzPct val="100000"/>
            </a:pPr>
            <a:r>
              <a:rPr lang="en-US" sz="1300" b="1" dirty="0">
                <a:solidFill>
                  <a:schemeClr val="accent3">
                    <a:lumMod val="40000"/>
                    <a:lumOff val="60000"/>
                  </a:schemeClr>
                </a:solidFill>
              </a:rPr>
              <a:t>Business value</a:t>
            </a:r>
          </a:p>
          <a:p>
            <a:pPr>
              <a:buSzPct val="100000"/>
            </a:pPr>
            <a:endParaRPr lang="en-US" altLang="zh-CN" sz="1300" dirty="0"/>
          </a:p>
          <a:p>
            <a:pPr marL="171450" marR="0" lvl="1" indent="-1714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Calibri Light"/>
              </a:rPr>
              <a:t>We provide consultancy and design architecture customized for the real business needs</a:t>
            </a:r>
            <a:endParaRPr lang="en-US" sz="1200" b="0" i="0" u="none" strike="noStrike" kern="1200" cap="none" spc="0" normalizeH="0" baseline="0" noProof="0" dirty="0">
              <a:ln>
                <a:noFill/>
              </a:ln>
              <a:effectLst/>
              <a:uLnTx/>
              <a:uFillTx/>
              <a:latin typeface="+mn-lt"/>
              <a:cs typeface="Calibri Light"/>
            </a:endParaRPr>
          </a:p>
          <a:p>
            <a:pPr marL="171450" marR="0" lvl="1" indent="-1714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Calibri Light"/>
              </a:rPr>
              <a:t>We ensure end-to-end implementation from DWH modernization to quality assurance</a:t>
            </a:r>
            <a:endParaRPr lang="en-US" sz="1200" b="0" i="0" u="none" strike="noStrike" kern="1200" cap="none" spc="0" normalizeH="0" baseline="0" noProof="0" dirty="0">
              <a:ln>
                <a:noFill/>
              </a:ln>
              <a:effectLst/>
              <a:uLnTx/>
              <a:uFillTx/>
              <a:latin typeface="+mn-lt"/>
              <a:cs typeface="Calibri Light"/>
            </a:endParaRPr>
          </a:p>
          <a:p>
            <a:pPr marL="171450" marR="0" lvl="1" indent="-1714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mn-lt"/>
                <a:ea typeface="+mn-ea"/>
                <a:cs typeface="Calibri Light"/>
              </a:rPr>
              <a:t>Our Data Integration Accelerator automate deployment, running procedures and capable to generate various data models from raw data source on code level</a:t>
            </a:r>
            <a:endParaRPr lang="en-US" sz="1200" b="0" i="0" u="none" strike="noStrike" kern="1200" cap="none" spc="0" normalizeH="0" baseline="0" noProof="0" dirty="0">
              <a:ln>
                <a:noFill/>
              </a:ln>
              <a:effectLst/>
              <a:uLnTx/>
              <a:uFillTx/>
              <a:latin typeface="+mn-lt"/>
              <a:cs typeface="Calibri Light"/>
            </a:endParaRPr>
          </a:p>
          <a:p>
            <a:pPr marL="171450" lvl="1" indent="-171450">
              <a:spcAft>
                <a:spcPts val="1000"/>
              </a:spcAft>
              <a:buSzPct val="100000"/>
              <a:buFont typeface="Arial" panose="020B0604020202020204" pitchFamily="34" charset="0"/>
              <a:buChar char="•"/>
              <a:defRPr/>
            </a:pPr>
            <a:r>
              <a:rPr kumimoji="0" lang="en-US" sz="1200" b="0" i="0" u="none" strike="noStrike" kern="1200" cap="none" spc="0" normalizeH="0" baseline="0" noProof="0" dirty="0">
                <a:ln>
                  <a:noFill/>
                </a:ln>
                <a:effectLst/>
                <a:uLnTx/>
                <a:uFillTx/>
                <a:latin typeface="+mn-lt"/>
                <a:ea typeface="+mn-ea"/>
                <a:cs typeface="Calibri Light"/>
              </a:rPr>
              <a:t>We not only implement solutions but train </a:t>
            </a:r>
            <a:r>
              <a:rPr lang="en-US" sz="1200" dirty="0">
                <a:cs typeface="Calibri Light"/>
              </a:rPr>
              <a:t>client-side IT colleagues </a:t>
            </a:r>
            <a:r>
              <a:rPr kumimoji="0" lang="en-US" sz="1200" b="0" i="0" u="none" strike="noStrike" kern="1200" cap="none" spc="0" normalizeH="0" baseline="0" noProof="0" dirty="0">
                <a:ln>
                  <a:noFill/>
                </a:ln>
                <a:effectLst/>
                <a:uLnTx/>
                <a:uFillTx/>
                <a:latin typeface="+mn-lt"/>
                <a:ea typeface="+mn-ea"/>
                <a:cs typeface="Calibri Light"/>
              </a:rPr>
              <a:t>in order to ensure maintenance and future developments</a:t>
            </a:r>
            <a:endParaRPr lang="en-US" sz="1200" b="0" i="0" u="none" strike="noStrike" kern="1200" cap="none" spc="0" normalizeH="0" baseline="0" noProof="0" dirty="0">
              <a:ln>
                <a:noFill/>
              </a:ln>
              <a:effectLst/>
              <a:uLnTx/>
              <a:uFillTx/>
              <a:latin typeface="+mn-lt"/>
              <a:cs typeface="Calibri Light"/>
            </a:endParaRPr>
          </a:p>
        </p:txBody>
      </p:sp>
      <p:sp>
        <p:nvSpPr>
          <p:cNvPr id="57" name="文本框 113">
            <a:extLst>
              <a:ext uri="{FF2B5EF4-FFF2-40B4-BE49-F238E27FC236}">
                <a16:creationId xmlns:a16="http://schemas.microsoft.com/office/drawing/2014/main" id="{DE20D55A-EB16-BACC-AD22-F75625E16947}"/>
              </a:ext>
            </a:extLst>
          </p:cNvPr>
          <p:cNvSpPr txBox="1"/>
          <p:nvPr/>
        </p:nvSpPr>
        <p:spPr>
          <a:xfrm>
            <a:off x="427863" y="1696222"/>
            <a:ext cx="3282174" cy="2262158"/>
          </a:xfrm>
          <a:prstGeom prst="rect">
            <a:avLst/>
          </a:prstGeom>
          <a:noFill/>
        </p:spPr>
        <p:txBody>
          <a:bodyPr wrap="square" lIns="0" tIns="0" rIns="0" bIns="0" rtlCol="0" anchor="b">
            <a:spAutoFit/>
          </a:bodyPr>
          <a:lstStyle/>
          <a:p>
            <a:pPr>
              <a:buSzPct val="100000"/>
            </a:pPr>
            <a:r>
              <a:rPr lang="en-US" sz="1300" b="1" dirty="0">
                <a:solidFill>
                  <a:schemeClr val="accent3">
                    <a:lumMod val="60000"/>
                    <a:lumOff val="40000"/>
                  </a:schemeClr>
                </a:solidFill>
              </a:rPr>
              <a:t>Challenges</a:t>
            </a:r>
          </a:p>
          <a:p>
            <a:pPr>
              <a:buSzPct val="100000"/>
            </a:pPr>
            <a:endParaRPr lang="en-US" altLang="zh-CN" sz="1300" dirty="0"/>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US" sz="1200" dirty="0">
                <a:cs typeface="Calibri Light"/>
              </a:rPr>
              <a:t>First sight solutions that does not fit to real business needs </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US" sz="1200" dirty="0">
                <a:cs typeface="Calibri Light"/>
              </a:rPr>
              <a:t>Non-standardized solutions that increase possible errors</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US" sz="1200" dirty="0">
                <a:cs typeface="Calibri Light"/>
              </a:rPr>
              <a:t>Processes that require manual intervention increase development time</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US" sz="1200" dirty="0">
                <a:cs typeface="Calibri Light"/>
              </a:rPr>
              <a:t>Incompatible services that result in monolithic, hardly maintainable systems</a:t>
            </a:r>
          </a:p>
        </p:txBody>
      </p:sp>
      <p:sp>
        <p:nvSpPr>
          <p:cNvPr id="58" name="文本框 114">
            <a:extLst>
              <a:ext uri="{FF2B5EF4-FFF2-40B4-BE49-F238E27FC236}">
                <a16:creationId xmlns:a16="http://schemas.microsoft.com/office/drawing/2014/main" id="{EEF19987-E6CE-4DE5-87F1-ABFFA3B6793B}"/>
              </a:ext>
            </a:extLst>
          </p:cNvPr>
          <p:cNvSpPr txBox="1"/>
          <p:nvPr/>
        </p:nvSpPr>
        <p:spPr>
          <a:xfrm>
            <a:off x="1772509" y="4849612"/>
            <a:ext cx="3403816" cy="1749197"/>
          </a:xfrm>
          <a:prstGeom prst="rect">
            <a:avLst/>
          </a:prstGeom>
          <a:noFill/>
        </p:spPr>
        <p:txBody>
          <a:bodyPr wrap="square" lIns="0" tIns="0" rIns="0" bIns="0" rtlCol="0" anchor="t">
            <a:spAutoFit/>
          </a:bodyPr>
          <a:lstStyle/>
          <a:p>
            <a:pPr>
              <a:buSzPct val="100000"/>
            </a:pPr>
            <a:r>
              <a:rPr lang="en-US" sz="1300" b="1" dirty="0">
                <a:solidFill>
                  <a:schemeClr val="accent3"/>
                </a:solidFill>
              </a:rPr>
              <a:t>Our approach</a:t>
            </a:r>
            <a:endParaRPr lang="en-US" altLang="zh-CN" sz="1300" dirty="0"/>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US" sz="1200" dirty="0">
                <a:cs typeface="Calibri Light"/>
              </a:rPr>
              <a:t>Run with </a:t>
            </a:r>
            <a:r>
              <a:rPr lang="en-US" sz="1200" b="1" dirty="0">
                <a:cs typeface="Calibri Light"/>
              </a:rPr>
              <a:t>detailed data maturity assessment</a:t>
            </a:r>
            <a:r>
              <a:rPr lang="en-US" sz="1200" dirty="0">
                <a:cs typeface="Calibri Light"/>
              </a:rPr>
              <a:t>, map business needs in depth in order to provide </a:t>
            </a:r>
            <a:r>
              <a:rPr lang="en-US" sz="1200" b="1" dirty="0">
                <a:cs typeface="Calibri Light"/>
              </a:rPr>
              <a:t>fully customized solution</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US" sz="1200" dirty="0">
                <a:cs typeface="Calibri Light"/>
              </a:rPr>
              <a:t>Build DWH, Data Lake integrated within </a:t>
            </a:r>
            <a:r>
              <a:rPr lang="en-US" sz="1200" b="1" dirty="0">
                <a:cs typeface="Calibri Light"/>
              </a:rPr>
              <a:t>standardized, fully automated processes</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US" sz="1200" dirty="0">
                <a:cs typeface="Calibri Light"/>
              </a:rPr>
              <a:t>We ensure </a:t>
            </a:r>
            <a:r>
              <a:rPr lang="en-US" sz="1200" b="1" dirty="0">
                <a:cs typeface="Calibri Light"/>
              </a:rPr>
              <a:t>easy maintenance and continuous development</a:t>
            </a:r>
          </a:p>
        </p:txBody>
      </p:sp>
      <p:sp>
        <p:nvSpPr>
          <p:cNvPr id="59" name="Freeform 16">
            <a:extLst>
              <a:ext uri="{FF2B5EF4-FFF2-40B4-BE49-F238E27FC236}">
                <a16:creationId xmlns:a16="http://schemas.microsoft.com/office/drawing/2014/main" id="{27E7AB81-93D0-22A3-07F9-3B962D962BAD}"/>
              </a:ext>
            </a:extLst>
          </p:cNvPr>
          <p:cNvSpPr>
            <a:spLocks/>
          </p:cNvSpPr>
          <p:nvPr/>
        </p:nvSpPr>
        <p:spPr bwMode="auto">
          <a:xfrm>
            <a:off x="4731835" y="2534558"/>
            <a:ext cx="2713540" cy="2714716"/>
          </a:xfrm>
          <a:prstGeom prst="arc">
            <a:avLst>
              <a:gd name="adj1" fmla="val 13598574"/>
              <a:gd name="adj2" fmla="val 10788521"/>
            </a:avLst>
          </a:prstGeom>
          <a:noFill/>
          <a:ln w="19050" cap="rnd">
            <a:solidFill>
              <a:srgbClr val="43B02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Freeform 16">
            <a:extLst>
              <a:ext uri="{FF2B5EF4-FFF2-40B4-BE49-F238E27FC236}">
                <a16:creationId xmlns:a16="http://schemas.microsoft.com/office/drawing/2014/main" id="{5B0EE67B-5BAD-0E36-F010-97D02B043D09}"/>
              </a:ext>
            </a:extLst>
          </p:cNvPr>
          <p:cNvSpPr>
            <a:spLocks/>
          </p:cNvSpPr>
          <p:nvPr/>
        </p:nvSpPr>
        <p:spPr bwMode="auto">
          <a:xfrm>
            <a:off x="4919161" y="2721966"/>
            <a:ext cx="2338890" cy="2339902"/>
          </a:xfrm>
          <a:prstGeom prst="arc">
            <a:avLst>
              <a:gd name="adj1" fmla="val 128013"/>
              <a:gd name="adj2" fmla="val 20365905"/>
            </a:avLst>
          </a:prstGeom>
          <a:noFill/>
          <a:ln w="19050" cap="rnd">
            <a:solidFill>
              <a:srgbClr val="009A4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cxnSp>
        <p:nvCxnSpPr>
          <p:cNvPr id="61" name="Straight Connector 60">
            <a:extLst>
              <a:ext uri="{FF2B5EF4-FFF2-40B4-BE49-F238E27FC236}">
                <a16:creationId xmlns:a16="http://schemas.microsoft.com/office/drawing/2014/main" id="{F85EC2A9-8335-522F-A236-384206466CA6}"/>
              </a:ext>
            </a:extLst>
          </p:cNvPr>
          <p:cNvCxnSpPr>
            <a:cxnSpLocks/>
          </p:cNvCxnSpPr>
          <p:nvPr/>
        </p:nvCxnSpPr>
        <p:spPr>
          <a:xfrm flipH="1" flipV="1">
            <a:off x="4413624" y="2459250"/>
            <a:ext cx="700243" cy="781490"/>
          </a:xfrm>
          <a:prstGeom prst="line">
            <a:avLst/>
          </a:prstGeom>
          <a:ln w="12700">
            <a:solidFill>
              <a:srgbClr val="86BC25"/>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FB7D311-A69E-91E7-0B59-5E4A4ACFFE12}"/>
              </a:ext>
            </a:extLst>
          </p:cNvPr>
          <p:cNvCxnSpPr>
            <a:cxnSpLocks/>
          </p:cNvCxnSpPr>
          <p:nvPr/>
        </p:nvCxnSpPr>
        <p:spPr>
          <a:xfrm flipH="1">
            <a:off x="5738259" y="5221828"/>
            <a:ext cx="186035" cy="550328"/>
          </a:xfrm>
          <a:prstGeom prst="line">
            <a:avLst/>
          </a:prstGeom>
          <a:ln w="12700">
            <a:solidFill>
              <a:srgbClr val="43B02A"/>
            </a:solidFil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0345466-C9FF-E610-BDFB-105CACB94230}"/>
              </a:ext>
            </a:extLst>
          </p:cNvPr>
          <p:cNvCxnSpPr>
            <a:cxnSpLocks/>
          </p:cNvCxnSpPr>
          <p:nvPr/>
        </p:nvCxnSpPr>
        <p:spPr>
          <a:xfrm flipV="1">
            <a:off x="6831782" y="2491823"/>
            <a:ext cx="544021" cy="487878"/>
          </a:xfrm>
          <a:prstGeom prst="line">
            <a:avLst/>
          </a:prstGeom>
          <a:ln w="12700">
            <a:solidFill>
              <a:srgbClr val="009A44"/>
            </a:solidFill>
            <a:tailEnd type="oval"/>
          </a:ln>
        </p:spPr>
        <p:style>
          <a:lnRef idx="1">
            <a:schemeClr val="accent1"/>
          </a:lnRef>
          <a:fillRef idx="0">
            <a:schemeClr val="accent1"/>
          </a:fillRef>
          <a:effectRef idx="0">
            <a:schemeClr val="accent1"/>
          </a:effectRef>
          <a:fontRef idx="minor">
            <a:schemeClr val="tx1"/>
          </a:fontRef>
        </p:style>
      </p:cxnSp>
      <p:pic>
        <p:nvPicPr>
          <p:cNvPr id="1024" name="Picture 2">
            <a:extLst>
              <a:ext uri="{FF2B5EF4-FFF2-40B4-BE49-F238E27FC236}">
                <a16:creationId xmlns:a16="http://schemas.microsoft.com/office/drawing/2014/main" id="{2AB4A032-9E5E-686A-FEDE-0B75F9E29D7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789492" y="2646929"/>
            <a:ext cx="2603616" cy="2603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62218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B9D973-BC0B-4997-558A-DE122A8CF6CB}"/>
              </a:ext>
            </a:extLst>
          </p:cNvPr>
          <p:cNvGraphicFramePr>
            <a:graphicFrameLocks noChangeAspect="1"/>
          </p:cNvGraphicFramePr>
          <p:nvPr>
            <p:custDataLst>
              <p:tags r:id="rId1"/>
            </p:custDataLst>
            <p:extLst>
              <p:ext uri="{D42A27DB-BD31-4B8C-83A1-F6EECF244321}">
                <p14:modId xmlns:p14="http://schemas.microsoft.com/office/powerpoint/2010/main" val="3305404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think-cell data - do not delete" hidden="1">
                        <a:extLst>
                          <a:ext uri="{FF2B5EF4-FFF2-40B4-BE49-F238E27FC236}">
                            <a16:creationId xmlns:a16="http://schemas.microsoft.com/office/drawing/2014/main" id="{EBB9D973-BC0B-4997-558A-DE122A8CF6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464400" y="417600"/>
            <a:ext cx="10363200" cy="399240"/>
          </a:xfrm>
        </p:spPr>
        <p:txBody>
          <a:bodyPr vert="horz"/>
          <a:lstStyle/>
          <a:p>
            <a:r>
              <a:rPr lang="en-US" sz="2400" dirty="0">
                <a:latin typeface="Open Sans Light" panose="020B0306030504020204" pitchFamily="34" charset="0"/>
              </a:rPr>
              <a:t>Putting Heart into Numbers: Lovable Data Products at the Core of Analytics</a:t>
            </a:r>
          </a:p>
        </p:txBody>
      </p:sp>
      <p:sp>
        <p:nvSpPr>
          <p:cNvPr id="5" name="Text Placeholder 1">
            <a:extLst>
              <a:ext uri="{FF2B5EF4-FFF2-40B4-BE49-F238E27FC236}">
                <a16:creationId xmlns:a16="http://schemas.microsoft.com/office/drawing/2014/main" id="{9FF92F49-7309-E80D-9DD5-E11B5334D5B4}"/>
              </a:ext>
            </a:extLst>
          </p:cNvPr>
          <p:cNvSpPr txBox="1">
            <a:spLocks/>
          </p:cNvSpPr>
          <p:nvPr/>
        </p:nvSpPr>
        <p:spPr>
          <a:xfrm>
            <a:off x="464400" y="878436"/>
            <a:ext cx="6055247" cy="327705"/>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600" dirty="0">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rPr>
              <a:t>Data Insights Tailor made for people</a:t>
            </a:r>
          </a:p>
        </p:txBody>
      </p:sp>
      <p:pic>
        <p:nvPicPr>
          <p:cNvPr id="8" name="Picture 7">
            <a:extLst>
              <a:ext uri="{FF2B5EF4-FFF2-40B4-BE49-F238E27FC236}">
                <a16:creationId xmlns:a16="http://schemas.microsoft.com/office/drawing/2014/main" id="{E8C5D7BD-CC2D-A70E-B1D4-F786DEFC2F8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32387" y="878436"/>
            <a:ext cx="4075043" cy="4075043"/>
          </a:xfrm>
          <a:prstGeom prst="rect">
            <a:avLst/>
          </a:prstGeom>
          <a:effectLst>
            <a:softEdge rad="274876"/>
          </a:effectLst>
        </p:spPr>
      </p:pic>
      <p:sp>
        <p:nvSpPr>
          <p:cNvPr id="12" name="TextBox 11">
            <a:extLst>
              <a:ext uri="{FF2B5EF4-FFF2-40B4-BE49-F238E27FC236}">
                <a16:creationId xmlns:a16="http://schemas.microsoft.com/office/drawing/2014/main" id="{15D72F57-E34D-FB4B-D3E7-159C3EE56F4B}"/>
              </a:ext>
            </a:extLst>
          </p:cNvPr>
          <p:cNvSpPr txBox="1"/>
          <p:nvPr/>
        </p:nvSpPr>
        <p:spPr>
          <a:xfrm>
            <a:off x="402272" y="1487854"/>
            <a:ext cx="7028633" cy="646331"/>
          </a:xfrm>
          <a:prstGeom prst="rect">
            <a:avLst/>
          </a:prstGeom>
          <a:noFill/>
        </p:spPr>
        <p:txBody>
          <a:bodyPr wrap="square">
            <a:spAutoFit/>
          </a:bodyPr>
          <a:lstStyle/>
          <a:p>
            <a:r>
              <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The success of a Data Analytics is deeply intertwined with its user experience (UX) and user interface (UI). A product that is </a:t>
            </a: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lovable and easily adoptable </a:t>
            </a:r>
            <a:r>
              <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stands out, not just for its ability to </a:t>
            </a: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generate insights</a:t>
            </a:r>
            <a:r>
              <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 but for the </a:t>
            </a: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overall user satisfaction </a:t>
            </a:r>
            <a:r>
              <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it delivers.</a:t>
            </a:r>
            <a:endParaRPr lang="en-US" sz="12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TextBox 13">
            <a:extLst>
              <a:ext uri="{FF2B5EF4-FFF2-40B4-BE49-F238E27FC236}">
                <a16:creationId xmlns:a16="http://schemas.microsoft.com/office/drawing/2014/main" id="{786BFDCA-893A-11C8-B8EE-C3B252A64603}"/>
              </a:ext>
            </a:extLst>
          </p:cNvPr>
          <p:cNvSpPr txBox="1"/>
          <p:nvPr/>
        </p:nvSpPr>
        <p:spPr>
          <a:xfrm>
            <a:off x="402272" y="2544053"/>
            <a:ext cx="7028632" cy="830997"/>
          </a:xfrm>
          <a:prstGeom prst="rect">
            <a:avLst/>
          </a:prstGeom>
          <a:noFill/>
        </p:spPr>
        <p:txBody>
          <a:bodyPr wrap="square">
            <a:spAutoFit/>
          </a:bodyPr>
          <a:lstStyle/>
          <a:p>
            <a:r>
              <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We are </a:t>
            </a: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committed to transforming the complex world of data </a:t>
            </a:r>
            <a:r>
              <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into a realm of clear, accessible insights with minimal effort required from </a:t>
            </a:r>
            <a:r>
              <a:rPr lang="en-US" sz="1200" dirty="0">
                <a:solidFill>
                  <a:srgbClr val="374151"/>
                </a:solidFill>
                <a:latin typeface="Open Sans Light" panose="020B0306030504020204" pitchFamily="34" charset="0"/>
                <a:ea typeface="Open Sans Light" panose="020B0306030504020204" pitchFamily="34" charset="0"/>
                <a:cs typeface="Open Sans Light" panose="020B0306030504020204" pitchFamily="34" charset="0"/>
              </a:rPr>
              <a:t>UNICEF</a:t>
            </a:r>
            <a:r>
              <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 users around the World. By prioritizing </a:t>
            </a: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simplicity, user friendliness and efficiency </a:t>
            </a:r>
            <a:r>
              <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in our approach, we ensure that deriving </a:t>
            </a: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valuable insights becomes a seamless and straightforward experience for everyone involved.</a:t>
            </a:r>
            <a:endParaRPr lang="en-US" sz="1200" b="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TextBox 18">
            <a:extLst>
              <a:ext uri="{FF2B5EF4-FFF2-40B4-BE49-F238E27FC236}">
                <a16:creationId xmlns:a16="http://schemas.microsoft.com/office/drawing/2014/main" id="{4F50B673-3D25-AE31-BE1F-32D373A22E36}"/>
              </a:ext>
            </a:extLst>
          </p:cNvPr>
          <p:cNvSpPr txBox="1"/>
          <p:nvPr/>
        </p:nvSpPr>
        <p:spPr>
          <a:xfrm>
            <a:off x="1282548" y="4243790"/>
            <a:ext cx="2644560" cy="1886414"/>
          </a:xfrm>
          <a:prstGeom prst="rect">
            <a:avLst/>
          </a:prstGeom>
          <a:noFill/>
        </p:spPr>
        <p:txBody>
          <a:bodyPr wrap="square">
            <a:spAutoFit/>
          </a:bodyPr>
          <a:lstStyle/>
          <a:p>
            <a:pPr algn="l">
              <a:lnSpc>
                <a:spcPct val="200000"/>
              </a:lnSpc>
              <a:buFont typeface="+mj-lt"/>
              <a:buAutoNum type="arabicPeriod"/>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Enhanced User Adoption</a:t>
            </a:r>
            <a:endPar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algn="l">
              <a:lnSpc>
                <a:spcPct val="200000"/>
              </a:lnSpc>
              <a:buFont typeface="+mj-lt"/>
              <a:buAutoNum type="arabicPeriod"/>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Reduced Learning Curve</a:t>
            </a:r>
            <a:endPar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algn="l">
              <a:lnSpc>
                <a:spcPct val="200000"/>
              </a:lnSpc>
              <a:buFont typeface="+mj-lt"/>
              <a:buAutoNum type="arabicPeriod"/>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Increased Productivity</a:t>
            </a:r>
          </a:p>
          <a:p>
            <a:pPr algn="l">
              <a:lnSpc>
                <a:spcPct val="200000"/>
              </a:lnSpc>
              <a:buFont typeface="+mj-lt"/>
              <a:buAutoNum type="arabicPeriod"/>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Fostering a Data-Driven Culture</a:t>
            </a:r>
          </a:p>
          <a:p>
            <a:pPr algn="l">
              <a:lnSpc>
                <a:spcPct val="200000"/>
              </a:lnSpc>
              <a:buFont typeface="+mj-lt"/>
              <a:buAutoNum type="arabicPeriod"/>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Building Trust in Data</a:t>
            </a:r>
            <a:endParaRPr lang="en-US" sz="1200"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TextBox 20">
            <a:extLst>
              <a:ext uri="{FF2B5EF4-FFF2-40B4-BE49-F238E27FC236}">
                <a16:creationId xmlns:a16="http://schemas.microsoft.com/office/drawing/2014/main" id="{3935A313-C108-C329-ED89-E8CF7A2DC69F}"/>
              </a:ext>
            </a:extLst>
          </p:cNvPr>
          <p:cNvSpPr txBox="1"/>
          <p:nvPr/>
        </p:nvSpPr>
        <p:spPr>
          <a:xfrm>
            <a:off x="4428590" y="4243790"/>
            <a:ext cx="3002315" cy="1886414"/>
          </a:xfrm>
          <a:prstGeom prst="rect">
            <a:avLst/>
          </a:prstGeom>
          <a:noFill/>
        </p:spPr>
        <p:txBody>
          <a:bodyPr wrap="square">
            <a:spAutoFit/>
          </a:bodyPr>
          <a:lstStyle/>
          <a:p>
            <a:pPr marL="228600" indent="-228600" algn="l">
              <a:lnSpc>
                <a:spcPct val="200000"/>
              </a:lnSpc>
              <a:buFont typeface="+mj-lt"/>
              <a:buAutoNum type="arabicPeriod" startAt="6"/>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Enhancing Data Quality</a:t>
            </a:r>
          </a:p>
          <a:p>
            <a:pPr marL="228600" indent="-228600" algn="l">
              <a:lnSpc>
                <a:spcPct val="200000"/>
              </a:lnSpc>
              <a:buFont typeface="+mj-lt"/>
              <a:buAutoNum type="arabicPeriod" startAt="6"/>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Driving Innovation</a:t>
            </a:r>
            <a:endParaRPr lang="en-US" sz="1200" b="1" dirty="0">
              <a:solidFill>
                <a:srgbClr val="374151"/>
              </a:solidFill>
              <a:latin typeface="Open Sans Light" panose="020B0306030504020204" pitchFamily="34" charset="0"/>
              <a:ea typeface="Open Sans Light" panose="020B0306030504020204" pitchFamily="34" charset="0"/>
              <a:cs typeface="Open Sans Light" panose="020B0306030504020204" pitchFamily="34" charset="0"/>
            </a:endParaRPr>
          </a:p>
          <a:p>
            <a:pPr marL="228600" indent="-228600" algn="l">
              <a:lnSpc>
                <a:spcPct val="200000"/>
              </a:lnSpc>
              <a:buFont typeface="+mj-lt"/>
              <a:buAutoNum type="arabicPeriod" startAt="6"/>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Ensuring Consistency</a:t>
            </a:r>
          </a:p>
          <a:p>
            <a:pPr marL="228600" indent="-228600" algn="l">
              <a:lnSpc>
                <a:spcPct val="200000"/>
              </a:lnSpc>
              <a:buFont typeface="+mj-lt"/>
              <a:buAutoNum type="arabicPeriod" startAt="6"/>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Supporting Scalability</a:t>
            </a:r>
          </a:p>
          <a:p>
            <a:pPr marL="228600" indent="-228600" algn="l">
              <a:lnSpc>
                <a:spcPct val="200000"/>
              </a:lnSpc>
              <a:buFont typeface="+mj-lt"/>
              <a:buAutoNum type="arabicPeriod" startAt="6"/>
            </a:pPr>
            <a:r>
              <a:rPr lang="en-US" sz="12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Increasing Return on Investment</a:t>
            </a:r>
          </a:p>
        </p:txBody>
      </p:sp>
      <p:sp>
        <p:nvSpPr>
          <p:cNvPr id="22" name="TextBox 21">
            <a:extLst>
              <a:ext uri="{FF2B5EF4-FFF2-40B4-BE49-F238E27FC236}">
                <a16:creationId xmlns:a16="http://schemas.microsoft.com/office/drawing/2014/main" id="{509BFEB7-BC6D-4FAF-D74B-D584E9B88329}"/>
              </a:ext>
            </a:extLst>
          </p:cNvPr>
          <p:cNvSpPr txBox="1"/>
          <p:nvPr/>
        </p:nvSpPr>
        <p:spPr>
          <a:xfrm>
            <a:off x="586843" y="3936013"/>
            <a:ext cx="7345544" cy="307777"/>
          </a:xfrm>
          <a:prstGeom prst="rect">
            <a:avLst/>
          </a:prstGeom>
          <a:noFill/>
        </p:spPr>
        <p:txBody>
          <a:bodyPr wrap="square">
            <a:spAutoFit/>
          </a:bodyPr>
          <a:lstStyle/>
          <a:p>
            <a:r>
              <a:rPr lang="en-US" sz="1400" b="1" dirty="0">
                <a:solidFill>
                  <a:srgbClr val="374151"/>
                </a:solidFill>
                <a:effectLst/>
                <a:latin typeface="Open Sans Light" panose="020B0306030504020204" pitchFamily="34" charset="0"/>
                <a:ea typeface="Open Sans Light" panose="020B0306030504020204" pitchFamily="34" charset="0"/>
                <a:cs typeface="Open Sans Light" panose="020B0306030504020204" pitchFamily="34" charset="0"/>
              </a:rPr>
              <a:t>Benefits of focusing on a user-centric, lovable data product generating insights </a:t>
            </a:r>
            <a:endParaRPr lang="en-US" sz="1400" b="1"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4" name="Graphic 23" descr="Users with solid fill">
            <a:extLst>
              <a:ext uri="{FF2B5EF4-FFF2-40B4-BE49-F238E27FC236}">
                <a16:creationId xmlns:a16="http://schemas.microsoft.com/office/drawing/2014/main" id="{C3116B35-9263-D063-8E45-7E937CE26FA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36017" y="4348132"/>
            <a:ext cx="307777" cy="307777"/>
          </a:xfrm>
          <a:prstGeom prst="rect">
            <a:avLst/>
          </a:prstGeom>
        </p:spPr>
      </p:pic>
      <p:pic>
        <p:nvPicPr>
          <p:cNvPr id="26" name="Graphic 25" descr="Idea with solid fill">
            <a:extLst>
              <a:ext uri="{FF2B5EF4-FFF2-40B4-BE49-F238E27FC236}">
                <a16:creationId xmlns:a16="http://schemas.microsoft.com/office/drawing/2014/main" id="{F0B12405-0F00-CDCB-385C-7B9422B16EE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6017" y="4710598"/>
            <a:ext cx="307777" cy="307777"/>
          </a:xfrm>
          <a:prstGeom prst="rect">
            <a:avLst/>
          </a:prstGeom>
        </p:spPr>
      </p:pic>
      <p:pic>
        <p:nvPicPr>
          <p:cNvPr id="50" name="Graphic 49" descr="Crops with solid fill">
            <a:extLst>
              <a:ext uri="{FF2B5EF4-FFF2-40B4-BE49-F238E27FC236}">
                <a16:creationId xmlns:a16="http://schemas.microsoft.com/office/drawing/2014/main" id="{F18FC072-66E1-7A95-598F-A3D0AAF9270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36016" y="5068078"/>
            <a:ext cx="307777" cy="307777"/>
          </a:xfrm>
          <a:prstGeom prst="rect">
            <a:avLst/>
          </a:prstGeom>
        </p:spPr>
      </p:pic>
      <p:pic>
        <p:nvPicPr>
          <p:cNvPr id="52" name="Graphic 51" descr="Business Growth with solid fill">
            <a:extLst>
              <a:ext uri="{FF2B5EF4-FFF2-40B4-BE49-F238E27FC236}">
                <a16:creationId xmlns:a16="http://schemas.microsoft.com/office/drawing/2014/main" id="{CB057190-6F7E-F4EE-1542-18E0DA9E3989}"/>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36015" y="5461460"/>
            <a:ext cx="307777" cy="307777"/>
          </a:xfrm>
          <a:prstGeom prst="rect">
            <a:avLst/>
          </a:prstGeom>
        </p:spPr>
      </p:pic>
      <p:pic>
        <p:nvPicPr>
          <p:cNvPr id="54" name="Graphic 53" descr="Badge Tick with solid fill">
            <a:extLst>
              <a:ext uri="{FF2B5EF4-FFF2-40B4-BE49-F238E27FC236}">
                <a16:creationId xmlns:a16="http://schemas.microsoft.com/office/drawing/2014/main" id="{B53971F7-B50C-3C6F-B7C4-41CB574663F6}"/>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36014" y="5822427"/>
            <a:ext cx="307777" cy="307777"/>
          </a:xfrm>
          <a:prstGeom prst="rect">
            <a:avLst/>
          </a:prstGeom>
        </p:spPr>
      </p:pic>
      <p:pic>
        <p:nvPicPr>
          <p:cNvPr id="56" name="Graphic 55" descr="Clipboard Ticked with solid fill">
            <a:extLst>
              <a:ext uri="{FF2B5EF4-FFF2-40B4-BE49-F238E27FC236}">
                <a16:creationId xmlns:a16="http://schemas.microsoft.com/office/drawing/2014/main" id="{16EB409E-683F-97D8-C2C1-1D167469A6D5}"/>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132128" y="4348132"/>
            <a:ext cx="307777" cy="307777"/>
          </a:xfrm>
          <a:prstGeom prst="rect">
            <a:avLst/>
          </a:prstGeom>
        </p:spPr>
      </p:pic>
      <p:pic>
        <p:nvPicPr>
          <p:cNvPr id="58" name="Graphic 57" descr="Puzzle pieces with solid fill">
            <a:extLst>
              <a:ext uri="{FF2B5EF4-FFF2-40B4-BE49-F238E27FC236}">
                <a16:creationId xmlns:a16="http://schemas.microsoft.com/office/drawing/2014/main" id="{D29F9B28-7705-6166-80EB-46C1A7B3C379}"/>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132369" y="4710598"/>
            <a:ext cx="307777" cy="307777"/>
          </a:xfrm>
          <a:prstGeom prst="rect">
            <a:avLst/>
          </a:prstGeom>
        </p:spPr>
      </p:pic>
      <p:pic>
        <p:nvPicPr>
          <p:cNvPr id="60" name="Graphic 59" descr="Arrow: Straight with solid fill">
            <a:extLst>
              <a:ext uri="{FF2B5EF4-FFF2-40B4-BE49-F238E27FC236}">
                <a16:creationId xmlns:a16="http://schemas.microsoft.com/office/drawing/2014/main" id="{12761F92-0213-0738-BC41-310C8D335CC8}"/>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rot="10800000">
            <a:off x="4105726" y="5078088"/>
            <a:ext cx="307777" cy="307777"/>
          </a:xfrm>
          <a:prstGeom prst="rect">
            <a:avLst/>
          </a:prstGeom>
        </p:spPr>
      </p:pic>
      <p:pic>
        <p:nvPicPr>
          <p:cNvPr id="62" name="Graphic 61" descr="Bar graph with upward trend with solid fill">
            <a:extLst>
              <a:ext uri="{FF2B5EF4-FFF2-40B4-BE49-F238E27FC236}">
                <a16:creationId xmlns:a16="http://schemas.microsoft.com/office/drawing/2014/main" id="{4C5481D8-1490-61D1-564F-EB96A0AFA1B7}"/>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4105725" y="5450005"/>
            <a:ext cx="307777" cy="307777"/>
          </a:xfrm>
          <a:prstGeom prst="rect">
            <a:avLst/>
          </a:prstGeom>
        </p:spPr>
      </p:pic>
      <p:pic>
        <p:nvPicPr>
          <p:cNvPr id="2048" name="Graphic 2047" descr="Money with solid fill">
            <a:extLst>
              <a:ext uri="{FF2B5EF4-FFF2-40B4-BE49-F238E27FC236}">
                <a16:creationId xmlns:a16="http://schemas.microsoft.com/office/drawing/2014/main" id="{A0164D3A-8629-8716-E6CD-3AD883DF0D4E}"/>
              </a:ext>
            </a:extLst>
          </p:cNvPr>
          <p:cNvPicPr>
            <a:picLocks noChangeAspect="1"/>
          </p:cNvPicPr>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4105724" y="5808045"/>
            <a:ext cx="307777" cy="307777"/>
          </a:xfrm>
          <a:prstGeom prst="rect">
            <a:avLst/>
          </a:prstGeom>
        </p:spPr>
      </p:pic>
    </p:spTree>
    <p:extLst>
      <p:ext uri="{BB962C8B-B14F-4D97-AF65-F5344CB8AC3E}">
        <p14:creationId xmlns:p14="http://schemas.microsoft.com/office/powerpoint/2010/main" val="14561326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ext Placeholder 1">
            <a:extLst>
              <a:ext uri="{FF2B5EF4-FFF2-40B4-BE49-F238E27FC236}">
                <a16:creationId xmlns:a16="http://schemas.microsoft.com/office/drawing/2014/main" id="{6031872A-F201-49C6-A97A-F661F88310CC}"/>
              </a:ext>
            </a:extLst>
          </p:cNvPr>
          <p:cNvSpPr>
            <a:spLocks noGrp="1"/>
          </p:cNvSpPr>
          <p:nvPr>
            <p:ph type="body" sz="quarter" idx="13"/>
          </p:nvPr>
        </p:nvSpPr>
        <p:spPr>
          <a:xfrm>
            <a:off x="501650" y="651601"/>
            <a:ext cx="3089962" cy="399240"/>
          </a:xfrm>
        </p:spPr>
        <p:txBody>
          <a:bodyPr/>
          <a:lstStyle/>
          <a:p>
            <a:r>
              <a:rPr lang="en-US" sz="1600" dirty="0">
                <a:latin typeface="Open Sans" panose="020B0606030504020204" pitchFamily="34" charset="0"/>
                <a:ea typeface="Open Sans" panose="020B0606030504020204" pitchFamily="34" charset="0"/>
                <a:cs typeface="Open Sans" panose="020B0606030504020204" pitchFamily="34" charset="0"/>
              </a:rPr>
              <a:t>Framework</a:t>
            </a:r>
          </a:p>
        </p:txBody>
      </p:sp>
      <p:sp>
        <p:nvSpPr>
          <p:cNvPr id="93" name="Title 2">
            <a:extLst>
              <a:ext uri="{FF2B5EF4-FFF2-40B4-BE49-F238E27FC236}">
                <a16:creationId xmlns:a16="http://schemas.microsoft.com/office/drawing/2014/main" id="{5A7C48B6-DF25-4FE4-BF58-6D622366DB3D}"/>
              </a:ext>
            </a:extLst>
          </p:cNvPr>
          <p:cNvSpPr>
            <a:spLocks noGrp="1"/>
          </p:cNvSpPr>
          <p:nvPr>
            <p:ph type="title"/>
          </p:nvPr>
        </p:nvSpPr>
        <p:spPr>
          <a:xfrm>
            <a:off x="501650" y="317500"/>
            <a:ext cx="3691980" cy="281669"/>
          </a:xfrm>
        </p:spPr>
        <p:txBody>
          <a:bodyPr/>
          <a:lstStyle/>
          <a:p>
            <a:r>
              <a:rPr lang="en-US" sz="2400"/>
              <a:t>Rapid </a:t>
            </a:r>
            <a:r>
              <a:rPr lang="en-US" sz="2400" dirty="0"/>
              <a:t>Prototyping</a:t>
            </a:r>
          </a:p>
        </p:txBody>
      </p:sp>
      <p:sp>
        <p:nvSpPr>
          <p:cNvPr id="12" name="TextBox 11">
            <a:extLst>
              <a:ext uri="{FF2B5EF4-FFF2-40B4-BE49-F238E27FC236}">
                <a16:creationId xmlns:a16="http://schemas.microsoft.com/office/drawing/2014/main" id="{CDB52FFF-44B8-4CFE-A96F-779EFE362748}"/>
              </a:ext>
            </a:extLst>
          </p:cNvPr>
          <p:cNvSpPr txBox="1"/>
          <p:nvPr/>
        </p:nvSpPr>
        <p:spPr>
          <a:xfrm>
            <a:off x="3696661" y="291855"/>
            <a:ext cx="4751408" cy="306467"/>
          </a:xfrm>
          <a:prstGeom prst="roundRect">
            <a:avLst/>
          </a:prstGeom>
          <a:solidFill>
            <a:schemeClr val="accent3">
              <a:lumMod val="60000"/>
              <a:lumOff val="40000"/>
            </a:schemeClr>
          </a:solidFill>
        </p:spPr>
        <p:txBody>
          <a:bodyPr wrap="square" rtlCol="0">
            <a:spAutoFit/>
          </a:bodyP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nalytical initiative from the business</a:t>
            </a:r>
          </a:p>
        </p:txBody>
      </p:sp>
      <p:sp>
        <p:nvSpPr>
          <p:cNvPr id="135" name="TextBox 134">
            <a:extLst>
              <a:ext uri="{FF2B5EF4-FFF2-40B4-BE49-F238E27FC236}">
                <a16:creationId xmlns:a16="http://schemas.microsoft.com/office/drawing/2014/main" id="{7CA07F55-2177-41B4-B0E4-E5150F43802A}"/>
              </a:ext>
            </a:extLst>
          </p:cNvPr>
          <p:cNvSpPr txBox="1"/>
          <p:nvPr/>
        </p:nvSpPr>
        <p:spPr>
          <a:xfrm>
            <a:off x="3696661" y="5926477"/>
            <a:ext cx="4751408" cy="306467"/>
          </a:xfrm>
          <a:prstGeom prst="roundRect">
            <a:avLst/>
          </a:prstGeom>
          <a:solidFill>
            <a:schemeClr val="accent3"/>
          </a:solidFill>
        </p:spPr>
        <p:txBody>
          <a:bodyPr wrap="square" rtlCol="0">
            <a:spAutoFit/>
          </a:bodyP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Go/No-go decision for scaling</a:t>
            </a:r>
          </a:p>
        </p:txBody>
      </p:sp>
      <p:cxnSp>
        <p:nvCxnSpPr>
          <p:cNvPr id="24" name="Straight Arrow Connector 23">
            <a:extLst>
              <a:ext uri="{FF2B5EF4-FFF2-40B4-BE49-F238E27FC236}">
                <a16:creationId xmlns:a16="http://schemas.microsoft.com/office/drawing/2014/main" id="{13D294AE-3EE6-4CFD-A32A-EB4F59894F26}"/>
              </a:ext>
            </a:extLst>
          </p:cNvPr>
          <p:cNvCxnSpPr>
            <a:cxnSpLocks/>
            <a:stCxn id="12" idx="2"/>
            <a:endCxn id="7" idx="0"/>
          </p:cNvCxnSpPr>
          <p:nvPr/>
        </p:nvCxnSpPr>
        <p:spPr>
          <a:xfrm>
            <a:off x="6072365" y="598322"/>
            <a:ext cx="1" cy="670357"/>
          </a:xfrm>
          <a:prstGeom prst="straightConnector1">
            <a:avLst/>
          </a:prstGeom>
          <a:ln>
            <a:solidFill>
              <a:srgbClr val="046A38"/>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FD5B30A5-1F7E-4714-883A-8854B2D85B9F}"/>
              </a:ext>
            </a:extLst>
          </p:cNvPr>
          <p:cNvCxnSpPr>
            <a:cxnSpLocks/>
            <a:stCxn id="7" idx="2"/>
            <a:endCxn id="135" idx="0"/>
          </p:cNvCxnSpPr>
          <p:nvPr/>
        </p:nvCxnSpPr>
        <p:spPr>
          <a:xfrm flipH="1">
            <a:off x="6072365" y="5355894"/>
            <a:ext cx="1" cy="570583"/>
          </a:xfrm>
          <a:prstGeom prst="straightConnector1">
            <a:avLst/>
          </a:prstGeom>
          <a:ln>
            <a:solidFill>
              <a:srgbClr val="046A38"/>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A5FFCE5C-AACF-4AD4-9DEA-FC8F33630957}"/>
              </a:ext>
            </a:extLst>
          </p:cNvPr>
          <p:cNvSpPr/>
          <p:nvPr/>
        </p:nvSpPr>
        <p:spPr>
          <a:xfrm>
            <a:off x="287033" y="1268679"/>
            <a:ext cx="11570665" cy="4087215"/>
          </a:xfrm>
          <a:prstGeom prst="roundRect">
            <a:avLst/>
          </a:prstGeom>
          <a:noFill/>
          <a:ln>
            <a:solidFill>
              <a:srgbClr val="0D839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panose="020B0606030504020204" pitchFamily="34" charset="0"/>
              <a:ea typeface="Open Sans" panose="020B0606030504020204" pitchFamily="34" charset="0"/>
              <a:cs typeface="Open Sans" panose="020B0606030504020204" pitchFamily="34" charset="0"/>
            </a:endParaRPr>
          </a:p>
        </p:txBody>
      </p:sp>
      <p:grpSp>
        <p:nvGrpSpPr>
          <p:cNvPr id="17" name="Group 16">
            <a:extLst>
              <a:ext uri="{FF2B5EF4-FFF2-40B4-BE49-F238E27FC236}">
                <a16:creationId xmlns:a16="http://schemas.microsoft.com/office/drawing/2014/main" id="{2DFB681C-B875-4B0D-8036-A3419F378BE3}"/>
              </a:ext>
            </a:extLst>
          </p:cNvPr>
          <p:cNvGrpSpPr/>
          <p:nvPr/>
        </p:nvGrpSpPr>
        <p:grpSpPr>
          <a:xfrm>
            <a:off x="428814" y="1428455"/>
            <a:ext cx="2198945" cy="3613287"/>
            <a:chOff x="428814" y="1438224"/>
            <a:chExt cx="2198945" cy="3613287"/>
          </a:xfrm>
        </p:grpSpPr>
        <p:sp>
          <p:nvSpPr>
            <p:cNvPr id="43" name="Rectangle 42">
              <a:extLst>
                <a:ext uri="{FF2B5EF4-FFF2-40B4-BE49-F238E27FC236}">
                  <a16:creationId xmlns:a16="http://schemas.microsoft.com/office/drawing/2014/main" id="{ABF603B4-BCE8-49EF-978C-E5EDA79B4875}"/>
                </a:ext>
              </a:extLst>
            </p:cNvPr>
            <p:cNvSpPr/>
            <p:nvPr/>
          </p:nvSpPr>
          <p:spPr bwMode="gray">
            <a:xfrm>
              <a:off x="1868618" y="2096753"/>
              <a:ext cx="759141" cy="49143"/>
            </a:xfrm>
            <a:prstGeom prst="rect">
              <a:avLst/>
            </a:prstGeom>
            <a:solidFill>
              <a:srgbClr val="0D8390"/>
            </a:solid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0DAA38C1-5F39-4DA1-A189-E81928E4AD1A}"/>
                </a:ext>
              </a:extLst>
            </p:cNvPr>
            <p:cNvGrpSpPr/>
            <p:nvPr/>
          </p:nvGrpSpPr>
          <p:grpSpPr>
            <a:xfrm>
              <a:off x="428814" y="1438224"/>
              <a:ext cx="2097166" cy="3613287"/>
              <a:chOff x="428814" y="1438224"/>
              <a:chExt cx="2097166" cy="3613287"/>
            </a:xfrm>
          </p:grpSpPr>
          <p:sp>
            <p:nvSpPr>
              <p:cNvPr id="44" name="Teardrop 43">
                <a:extLst>
                  <a:ext uri="{FF2B5EF4-FFF2-40B4-BE49-F238E27FC236}">
                    <a16:creationId xmlns:a16="http://schemas.microsoft.com/office/drawing/2014/main" id="{E22BB278-C424-4A00-A00E-B7C56777BE05}"/>
                  </a:ext>
                </a:extLst>
              </p:cNvPr>
              <p:cNvSpPr/>
              <p:nvPr/>
            </p:nvSpPr>
            <p:spPr bwMode="gray">
              <a:xfrm rot="8100000">
                <a:off x="1013042" y="1438224"/>
                <a:ext cx="877306" cy="877307"/>
              </a:xfrm>
              <a:prstGeom prst="teardrop">
                <a:avLst/>
              </a:prstGeom>
              <a:solidFill>
                <a:srgbClr val="0D8390"/>
              </a:solid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Rectangle: Rounded Corners 87">
                <a:extLst>
                  <a:ext uri="{FF2B5EF4-FFF2-40B4-BE49-F238E27FC236}">
                    <a16:creationId xmlns:a16="http://schemas.microsoft.com/office/drawing/2014/main" id="{1F89AE2B-FF7C-499C-AF39-F23D4A1707A5}"/>
                  </a:ext>
                </a:extLst>
              </p:cNvPr>
              <p:cNvSpPr/>
              <p:nvPr/>
            </p:nvSpPr>
            <p:spPr>
              <a:xfrm>
                <a:off x="428814" y="2940295"/>
                <a:ext cx="2097166" cy="2111216"/>
              </a:xfrm>
              <a:prstGeom prst="roundRect">
                <a:avLst/>
              </a:prstGeom>
              <a:solidFill>
                <a:srgbClr val="0D8390"/>
              </a:solidFill>
            </p:spPr>
            <p:txBody>
              <a:bodyPr wrap="square" lIns="72000" tIns="0" rIns="72000" bIns="0">
                <a:spAutoFit/>
              </a:bodyPr>
              <a:lstStyle/>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Gather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quirements</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Identify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takeholders</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Map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 processes</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reate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user personas</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view</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sample data</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nalyze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egacy solution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nd documents</a:t>
                </a:r>
              </a:p>
            </p:txBody>
          </p:sp>
          <p:sp>
            <p:nvSpPr>
              <p:cNvPr id="41" name="Rectangle 4">
                <a:extLst>
                  <a:ext uri="{FF2B5EF4-FFF2-40B4-BE49-F238E27FC236}">
                    <a16:creationId xmlns:a16="http://schemas.microsoft.com/office/drawing/2014/main" id="{BADBE1A3-51E4-4DE7-A2F4-1E19B523B39E}"/>
                  </a:ext>
                </a:extLst>
              </p:cNvPr>
              <p:cNvSpPr/>
              <p:nvPr/>
            </p:nvSpPr>
            <p:spPr bwMode="gray">
              <a:xfrm>
                <a:off x="916074" y="2638814"/>
                <a:ext cx="1134277" cy="45719"/>
              </a:xfrm>
              <a:prstGeom prst="rect">
                <a:avLst/>
              </a:prstGeom>
              <a:solidFill>
                <a:srgbClr val="0D83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23">
                <a:extLst>
                  <a:ext uri="{FF2B5EF4-FFF2-40B4-BE49-F238E27FC236}">
                    <a16:creationId xmlns:a16="http://schemas.microsoft.com/office/drawing/2014/main" id="{4152E556-1751-4B89-A68F-357C012E42B1}"/>
                  </a:ext>
                </a:extLst>
              </p:cNvPr>
              <p:cNvSpPr/>
              <p:nvPr/>
            </p:nvSpPr>
            <p:spPr bwMode="gray">
              <a:xfrm>
                <a:off x="985424" y="2099689"/>
                <a:ext cx="932541" cy="508651"/>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rgbClr val="0D8390"/>
              </a:solid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Oval 45">
                <a:extLst>
                  <a:ext uri="{FF2B5EF4-FFF2-40B4-BE49-F238E27FC236}">
                    <a16:creationId xmlns:a16="http://schemas.microsoft.com/office/drawing/2014/main" id="{E39D68C8-2CC6-4A95-981D-CF36EDEDB456}"/>
                  </a:ext>
                </a:extLst>
              </p:cNvPr>
              <p:cNvSpPr/>
              <p:nvPr/>
            </p:nvSpPr>
            <p:spPr bwMode="gray">
              <a:xfrm>
                <a:off x="1129774" y="1529106"/>
                <a:ext cx="652839" cy="65284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a:extLst>
                  <a:ext uri="{FF2B5EF4-FFF2-40B4-BE49-F238E27FC236}">
                    <a16:creationId xmlns:a16="http://schemas.microsoft.com/office/drawing/2014/main" id="{92A634B4-66DA-4B5E-90DD-E3E9E5333BB7}"/>
                  </a:ext>
                </a:extLst>
              </p:cNvPr>
              <p:cNvSpPr/>
              <p:nvPr/>
            </p:nvSpPr>
            <p:spPr bwMode="gray">
              <a:xfrm>
                <a:off x="782549" y="2096752"/>
                <a:ext cx="261220" cy="45719"/>
              </a:xfrm>
              <a:prstGeom prst="rect">
                <a:avLst/>
              </a:prstGeom>
              <a:solidFill>
                <a:srgbClr val="0D8390"/>
              </a:solid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59">
                <a:extLst>
                  <a:ext uri="{FF2B5EF4-FFF2-40B4-BE49-F238E27FC236}">
                    <a16:creationId xmlns:a16="http://schemas.microsoft.com/office/drawing/2014/main" id="{B8AEBE80-677B-4765-93A3-A420B4516C9D}"/>
                  </a:ext>
                </a:extLst>
              </p:cNvPr>
              <p:cNvSpPr>
                <a:spLocks noChangeAspect="1" noEditPoints="1"/>
              </p:cNvSpPr>
              <p:nvPr/>
            </p:nvSpPr>
            <p:spPr bwMode="auto">
              <a:xfrm>
                <a:off x="1178178" y="1580874"/>
                <a:ext cx="547031" cy="54864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0D8390"/>
              </a:solidFill>
              <a:ln>
                <a:solidFill>
                  <a:srgbClr val="0D8390"/>
                </a:solidFill>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TextBox 48">
                <a:extLst>
                  <a:ext uri="{FF2B5EF4-FFF2-40B4-BE49-F238E27FC236}">
                    <a16:creationId xmlns:a16="http://schemas.microsoft.com/office/drawing/2014/main" id="{55955D17-753B-4805-BFAF-E22A3D88186E}"/>
                  </a:ext>
                </a:extLst>
              </p:cNvPr>
              <p:cNvSpPr txBox="1"/>
              <p:nvPr/>
            </p:nvSpPr>
            <p:spPr>
              <a:xfrm>
                <a:off x="886270" y="2662890"/>
                <a:ext cx="1134277" cy="261610"/>
              </a:xfrm>
              <a:prstGeom prst="rect">
                <a:avLst/>
              </a:prstGeom>
              <a:noFill/>
            </p:spPr>
            <p:txBody>
              <a:bodyPr wrap="square" rtlCol="0">
                <a:spAutoFit/>
              </a:bodyP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Discovery</a:t>
                </a:r>
              </a:p>
            </p:txBody>
          </p:sp>
        </p:grpSp>
      </p:grpSp>
      <p:grpSp>
        <p:nvGrpSpPr>
          <p:cNvPr id="6" name="Group 5">
            <a:extLst>
              <a:ext uri="{FF2B5EF4-FFF2-40B4-BE49-F238E27FC236}">
                <a16:creationId xmlns:a16="http://schemas.microsoft.com/office/drawing/2014/main" id="{12F8CA0B-EA38-4C7F-916F-F056569E8B40}"/>
              </a:ext>
            </a:extLst>
          </p:cNvPr>
          <p:cNvGrpSpPr/>
          <p:nvPr/>
        </p:nvGrpSpPr>
        <p:grpSpPr>
          <a:xfrm>
            <a:off x="2616902" y="1440263"/>
            <a:ext cx="2335680" cy="3525714"/>
            <a:chOff x="2616902" y="1440263"/>
            <a:chExt cx="2335680" cy="3525714"/>
          </a:xfrm>
          <a:solidFill>
            <a:srgbClr val="00B0F0"/>
          </a:solidFill>
        </p:grpSpPr>
        <p:sp>
          <p:nvSpPr>
            <p:cNvPr id="89" name="Rectangle: Rounded Corners 88">
              <a:extLst>
                <a:ext uri="{FF2B5EF4-FFF2-40B4-BE49-F238E27FC236}">
                  <a16:creationId xmlns:a16="http://schemas.microsoft.com/office/drawing/2014/main" id="{30D104D7-0CC6-49D5-8DBF-C1B02D48638C}"/>
                </a:ext>
              </a:extLst>
            </p:cNvPr>
            <p:cNvSpPr/>
            <p:nvPr/>
          </p:nvSpPr>
          <p:spPr>
            <a:xfrm>
              <a:off x="2801814" y="2939890"/>
              <a:ext cx="2093976" cy="2026087"/>
            </a:xfrm>
            <a:prstGeom prst="roundRect">
              <a:avLst/>
            </a:prstGeom>
            <a:grpFill/>
          </p:spPr>
          <p:txBody>
            <a:bodyPr wrap="square" lIns="72000" tIns="0" rIns="72000" bIns="0">
              <a:spAutoFit/>
            </a:bodyPr>
            <a:lstStyle/>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Prepare a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raft mockup</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onduct a design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orkshop</a:t>
              </a:r>
            </a:p>
            <a:p>
              <a:pPr marL="171450" indent="-171450">
                <a:spcAft>
                  <a:spcPts val="600"/>
                </a:spcAft>
                <a:buFont typeface="Arial" panose="020B0604020202020204" pitchFamily="34" charset="0"/>
                <a:buChar char="•"/>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Validate and finaliz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mockup</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reate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roduct backlog</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Estimate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user stories</a:t>
              </a:r>
            </a:p>
          </p:txBody>
        </p:sp>
        <p:grpSp>
          <p:nvGrpSpPr>
            <p:cNvPr id="50" name="Group 49">
              <a:extLst>
                <a:ext uri="{FF2B5EF4-FFF2-40B4-BE49-F238E27FC236}">
                  <a16:creationId xmlns:a16="http://schemas.microsoft.com/office/drawing/2014/main" id="{726D3862-5D0B-4817-81D1-E3B5E84DE381}"/>
                </a:ext>
              </a:extLst>
            </p:cNvPr>
            <p:cNvGrpSpPr/>
            <p:nvPr/>
          </p:nvGrpSpPr>
          <p:grpSpPr>
            <a:xfrm>
              <a:off x="2616902" y="1440263"/>
              <a:ext cx="2335680" cy="1497249"/>
              <a:chOff x="1345707" y="3947232"/>
              <a:chExt cx="2335680" cy="1497249"/>
            </a:xfrm>
            <a:grpFill/>
          </p:grpSpPr>
          <p:sp>
            <p:nvSpPr>
              <p:cNvPr id="51" name="Rectangle 4">
                <a:extLst>
                  <a:ext uri="{FF2B5EF4-FFF2-40B4-BE49-F238E27FC236}">
                    <a16:creationId xmlns:a16="http://schemas.microsoft.com/office/drawing/2014/main" id="{75E47945-822F-45AA-AB1E-6B409C0F4F66}"/>
                  </a:ext>
                </a:extLst>
              </p:cNvPr>
              <p:cNvSpPr/>
              <p:nvPr/>
            </p:nvSpPr>
            <p:spPr bwMode="gray">
              <a:xfrm>
                <a:off x="1956666" y="5146999"/>
                <a:ext cx="1134277" cy="45719"/>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52" name="Group 51">
                <a:extLst>
                  <a:ext uri="{FF2B5EF4-FFF2-40B4-BE49-F238E27FC236}">
                    <a16:creationId xmlns:a16="http://schemas.microsoft.com/office/drawing/2014/main" id="{790DFC26-84D8-4D29-91BA-D119034F63D9}"/>
                  </a:ext>
                </a:extLst>
              </p:cNvPr>
              <p:cNvGrpSpPr/>
              <p:nvPr/>
            </p:nvGrpSpPr>
            <p:grpSpPr>
              <a:xfrm>
                <a:off x="1345707" y="3947232"/>
                <a:ext cx="2335680" cy="1497249"/>
                <a:chOff x="1345707" y="3947232"/>
                <a:chExt cx="2335680" cy="1497249"/>
              </a:xfrm>
              <a:grpFill/>
            </p:grpSpPr>
            <p:sp>
              <p:nvSpPr>
                <p:cNvPr id="59" name="Rectangle 58">
                  <a:extLst>
                    <a:ext uri="{FF2B5EF4-FFF2-40B4-BE49-F238E27FC236}">
                      <a16:creationId xmlns:a16="http://schemas.microsoft.com/office/drawing/2014/main" id="{6EEECB25-8912-4A73-B046-B65BF884030B}"/>
                    </a:ext>
                  </a:extLst>
                </p:cNvPr>
                <p:cNvSpPr/>
                <p:nvPr/>
              </p:nvSpPr>
              <p:spPr bwMode="gray">
                <a:xfrm>
                  <a:off x="2922435" y="4605761"/>
                  <a:ext cx="758952" cy="45719"/>
                </a:xfrm>
                <a:prstGeom prst="rect">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60" name="Group 59">
                  <a:extLst>
                    <a:ext uri="{FF2B5EF4-FFF2-40B4-BE49-F238E27FC236}">
                      <a16:creationId xmlns:a16="http://schemas.microsoft.com/office/drawing/2014/main" id="{8E2EF6EA-4EC3-48DD-A884-FE47586B9A94}"/>
                    </a:ext>
                  </a:extLst>
                </p:cNvPr>
                <p:cNvGrpSpPr/>
                <p:nvPr/>
              </p:nvGrpSpPr>
              <p:grpSpPr>
                <a:xfrm>
                  <a:off x="2039241" y="3947232"/>
                  <a:ext cx="932541" cy="1170116"/>
                  <a:chOff x="2055768" y="1602865"/>
                  <a:chExt cx="1598523" cy="2005765"/>
                </a:xfrm>
                <a:grpFill/>
              </p:grpSpPr>
              <p:sp>
                <p:nvSpPr>
                  <p:cNvPr id="83" name="Teardrop 82">
                    <a:extLst>
                      <a:ext uri="{FF2B5EF4-FFF2-40B4-BE49-F238E27FC236}">
                        <a16:creationId xmlns:a16="http://schemas.microsoft.com/office/drawing/2014/main" id="{912C8E83-2506-47D9-98FD-B18CD30F7127}"/>
                      </a:ext>
                    </a:extLst>
                  </p:cNvPr>
                  <p:cNvSpPr/>
                  <p:nvPr/>
                </p:nvSpPr>
                <p:spPr bwMode="gray">
                  <a:xfrm rot="8100000">
                    <a:off x="2103109" y="1602865"/>
                    <a:ext cx="1503841" cy="1503844"/>
                  </a:xfrm>
                  <a:prstGeom prst="teardrop">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23">
                    <a:extLst>
                      <a:ext uri="{FF2B5EF4-FFF2-40B4-BE49-F238E27FC236}">
                        <a16:creationId xmlns:a16="http://schemas.microsoft.com/office/drawing/2014/main" id="{DCCC3ED9-8A98-44F8-B870-A89E2717148B}"/>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Oval 98">
                    <a:extLst>
                      <a:ext uri="{FF2B5EF4-FFF2-40B4-BE49-F238E27FC236}">
                        <a16:creationId xmlns:a16="http://schemas.microsoft.com/office/drawing/2014/main" id="{B94743F4-2E2E-431B-9AB8-9DEAB1044B87}"/>
                      </a:ext>
                    </a:extLst>
                  </p:cNvPr>
                  <p:cNvSpPr/>
                  <p:nvPr/>
                </p:nvSpPr>
                <p:spPr bwMode="gray">
                  <a:xfrm>
                    <a:off x="230320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0" name="Rectangle 79">
                  <a:extLst>
                    <a:ext uri="{FF2B5EF4-FFF2-40B4-BE49-F238E27FC236}">
                      <a16:creationId xmlns:a16="http://schemas.microsoft.com/office/drawing/2014/main" id="{5DD99DAF-90A6-4EAD-AD38-13CB1D0D537F}"/>
                    </a:ext>
                  </a:extLst>
                </p:cNvPr>
                <p:cNvSpPr/>
                <p:nvPr/>
              </p:nvSpPr>
              <p:spPr bwMode="gray">
                <a:xfrm>
                  <a:off x="1345707" y="4605760"/>
                  <a:ext cx="758952" cy="45719"/>
                </a:xfrm>
                <a:prstGeom prst="rect">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TextBox 80">
                  <a:extLst>
                    <a:ext uri="{FF2B5EF4-FFF2-40B4-BE49-F238E27FC236}">
                      <a16:creationId xmlns:a16="http://schemas.microsoft.com/office/drawing/2014/main" id="{CAC26D0F-F4C1-4729-B3ED-633955B936F6}"/>
                    </a:ext>
                  </a:extLst>
                </p:cNvPr>
                <p:cNvSpPr txBox="1"/>
                <p:nvPr/>
              </p:nvSpPr>
              <p:spPr>
                <a:xfrm>
                  <a:off x="1948200" y="5182871"/>
                  <a:ext cx="1134277" cy="261610"/>
                </a:xfrm>
                <a:prstGeom prst="rect">
                  <a:avLst/>
                </a:prstGeom>
                <a:noFill/>
              </p:spPr>
              <p:txBody>
                <a:bodyPr wrap="square" rtlCol="0">
                  <a:spAutoFit/>
                </a:bodyP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Design</a:t>
                  </a:r>
                </a:p>
              </p:txBody>
            </p:sp>
            <p:sp>
              <p:nvSpPr>
                <p:cNvPr id="82" name="Freeform 333">
                  <a:extLst>
                    <a:ext uri="{FF2B5EF4-FFF2-40B4-BE49-F238E27FC236}">
                      <a16:creationId xmlns:a16="http://schemas.microsoft.com/office/drawing/2014/main" id="{1B2930D0-27D5-4473-B109-7C70F07C5363}"/>
                    </a:ext>
                  </a:extLst>
                </p:cNvPr>
                <p:cNvSpPr>
                  <a:spLocks noEditPoints="1"/>
                </p:cNvSpPr>
                <p:nvPr/>
              </p:nvSpPr>
              <p:spPr bwMode="auto">
                <a:xfrm>
                  <a:off x="2244010" y="4089882"/>
                  <a:ext cx="548640" cy="5486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grpSp>
        <p:nvGrpSpPr>
          <p:cNvPr id="11" name="Group 10">
            <a:extLst>
              <a:ext uri="{FF2B5EF4-FFF2-40B4-BE49-F238E27FC236}">
                <a16:creationId xmlns:a16="http://schemas.microsoft.com/office/drawing/2014/main" id="{2BDD2FEB-58EA-4342-ACA6-C09FE273221E}"/>
              </a:ext>
            </a:extLst>
          </p:cNvPr>
          <p:cNvGrpSpPr/>
          <p:nvPr/>
        </p:nvGrpSpPr>
        <p:grpSpPr>
          <a:xfrm>
            <a:off x="4951534" y="1440263"/>
            <a:ext cx="2363258" cy="3340087"/>
            <a:chOff x="4951534" y="1440263"/>
            <a:chExt cx="2363258" cy="3340087"/>
          </a:xfrm>
          <a:solidFill>
            <a:srgbClr val="75DBFF"/>
          </a:solidFill>
        </p:grpSpPr>
        <p:sp>
          <p:nvSpPr>
            <p:cNvPr id="103" name="Rectangle 4">
              <a:extLst>
                <a:ext uri="{FF2B5EF4-FFF2-40B4-BE49-F238E27FC236}">
                  <a16:creationId xmlns:a16="http://schemas.microsoft.com/office/drawing/2014/main" id="{E1A0C0DD-72F2-4F01-A196-A49757C280A4}"/>
                </a:ext>
              </a:extLst>
            </p:cNvPr>
            <p:cNvSpPr/>
            <p:nvPr/>
          </p:nvSpPr>
          <p:spPr bwMode="gray">
            <a:xfrm>
              <a:off x="5583736" y="2630832"/>
              <a:ext cx="1134277"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Group 9">
              <a:extLst>
                <a:ext uri="{FF2B5EF4-FFF2-40B4-BE49-F238E27FC236}">
                  <a16:creationId xmlns:a16="http://schemas.microsoft.com/office/drawing/2014/main" id="{744C19C1-F0DE-44D3-8A08-C1678365F008}"/>
                </a:ext>
              </a:extLst>
            </p:cNvPr>
            <p:cNvGrpSpPr/>
            <p:nvPr/>
          </p:nvGrpSpPr>
          <p:grpSpPr>
            <a:xfrm>
              <a:off x="4951534" y="1440263"/>
              <a:ext cx="2363258" cy="3340087"/>
              <a:chOff x="4951534" y="1440263"/>
              <a:chExt cx="2363258" cy="3340087"/>
            </a:xfrm>
            <a:grpFill/>
          </p:grpSpPr>
          <p:sp>
            <p:nvSpPr>
              <p:cNvPr id="106" name="TextBox 105">
                <a:extLst>
                  <a:ext uri="{FF2B5EF4-FFF2-40B4-BE49-F238E27FC236}">
                    <a16:creationId xmlns:a16="http://schemas.microsoft.com/office/drawing/2014/main" id="{4C4046CE-CE23-4947-B50C-3D7102775189}"/>
                  </a:ext>
                </a:extLst>
              </p:cNvPr>
              <p:cNvSpPr txBox="1"/>
              <p:nvPr/>
            </p:nvSpPr>
            <p:spPr>
              <a:xfrm>
                <a:off x="5448252" y="2648485"/>
                <a:ext cx="1437890" cy="261610"/>
              </a:xfrm>
              <a:prstGeom prst="rect">
                <a:avLst/>
              </a:prstGeom>
              <a:noFill/>
            </p:spPr>
            <p:txBody>
              <a:bodyPr wrap="square" rtlCol="0">
                <a:spAutoFit/>
              </a:bodyP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Implementation</a:t>
                </a:r>
              </a:p>
            </p:txBody>
          </p:sp>
          <p:grpSp>
            <p:nvGrpSpPr>
              <p:cNvPr id="8" name="Group 7">
                <a:extLst>
                  <a:ext uri="{FF2B5EF4-FFF2-40B4-BE49-F238E27FC236}">
                    <a16:creationId xmlns:a16="http://schemas.microsoft.com/office/drawing/2014/main" id="{8C8840EF-16A9-4D4C-8776-67E8770F072F}"/>
                  </a:ext>
                </a:extLst>
              </p:cNvPr>
              <p:cNvGrpSpPr/>
              <p:nvPr/>
            </p:nvGrpSpPr>
            <p:grpSpPr>
              <a:xfrm>
                <a:off x="4951534" y="1440263"/>
                <a:ext cx="2363258" cy="3340087"/>
                <a:chOff x="4951534" y="1440263"/>
                <a:chExt cx="2363258" cy="3340087"/>
              </a:xfrm>
              <a:grpFill/>
            </p:grpSpPr>
            <p:sp>
              <p:nvSpPr>
                <p:cNvPr id="90" name="Rectangle: Rounded Corners 89">
                  <a:extLst>
                    <a:ext uri="{FF2B5EF4-FFF2-40B4-BE49-F238E27FC236}">
                      <a16:creationId xmlns:a16="http://schemas.microsoft.com/office/drawing/2014/main" id="{1E130951-4499-49BD-AB14-91118D29D2BD}"/>
                    </a:ext>
                  </a:extLst>
                </p:cNvPr>
                <p:cNvSpPr/>
                <p:nvPr/>
              </p:nvSpPr>
              <p:spPr>
                <a:xfrm>
                  <a:off x="5120209" y="2941549"/>
                  <a:ext cx="2093976" cy="1838801"/>
                </a:xfrm>
                <a:prstGeom prst="roundRect">
                  <a:avLst/>
                </a:prstGeom>
                <a:grpFill/>
              </p:spPr>
              <p:txBody>
                <a:bodyPr wrap="square" lIns="72000" tIns="0" rIns="72000" bIns="0">
                  <a:spAutoFit/>
                </a:bodyPr>
                <a:lstStyle/>
                <a:p>
                  <a:pPr marL="171450" indent="-171450">
                    <a:spcAft>
                      <a:spcPts val="600"/>
                    </a:spcAft>
                    <a:buFont typeface="Arial" panose="020B0604020202020204" pitchFamily="34" charset="0"/>
                    <a:buChar char="•"/>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mplement</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mockup</a:t>
                  </a:r>
                </a:p>
                <a:p>
                  <a:pPr marL="171450" indent="-171450">
                    <a:spcAft>
                      <a:spcPts val="600"/>
                    </a:spcAft>
                    <a:buFont typeface="Arial" panose="020B0604020202020204" pitchFamily="34" charset="0"/>
                    <a:buChar char="•"/>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gil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delivery in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prints</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gular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heck-in</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nd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howcas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sessions</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onstant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quality assurance</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Implement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user feedback</a:t>
                  </a:r>
                </a:p>
              </p:txBody>
            </p:sp>
            <p:grpSp>
              <p:nvGrpSpPr>
                <p:cNvPr id="9" name="Group 8">
                  <a:extLst>
                    <a:ext uri="{FF2B5EF4-FFF2-40B4-BE49-F238E27FC236}">
                      <a16:creationId xmlns:a16="http://schemas.microsoft.com/office/drawing/2014/main" id="{09707A2D-FCBE-4836-888D-B90BFAE130A0}"/>
                    </a:ext>
                  </a:extLst>
                </p:cNvPr>
                <p:cNvGrpSpPr/>
                <p:nvPr/>
              </p:nvGrpSpPr>
              <p:grpSpPr>
                <a:xfrm>
                  <a:off x="4951534" y="1440263"/>
                  <a:ext cx="2363258" cy="1170116"/>
                  <a:chOff x="5877677" y="1691588"/>
                  <a:chExt cx="2363258" cy="1170116"/>
                </a:xfrm>
                <a:grpFill/>
              </p:grpSpPr>
              <p:sp>
                <p:nvSpPr>
                  <p:cNvPr id="101" name="Rectangle 100">
                    <a:extLst>
                      <a:ext uri="{FF2B5EF4-FFF2-40B4-BE49-F238E27FC236}">
                        <a16:creationId xmlns:a16="http://schemas.microsoft.com/office/drawing/2014/main" id="{7554C11C-E48C-4D5D-9AB5-9367C884168A}"/>
                      </a:ext>
                    </a:extLst>
                  </p:cNvPr>
                  <p:cNvSpPr/>
                  <p:nvPr/>
                </p:nvSpPr>
                <p:spPr bwMode="gray">
                  <a:xfrm>
                    <a:off x="7481983" y="2350117"/>
                    <a:ext cx="758952" cy="45719"/>
                  </a:xfrm>
                  <a:prstGeom prst="rect">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4" name="Group 103">
                    <a:extLst>
                      <a:ext uri="{FF2B5EF4-FFF2-40B4-BE49-F238E27FC236}">
                        <a16:creationId xmlns:a16="http://schemas.microsoft.com/office/drawing/2014/main" id="{EE995D89-E9C2-42C0-A177-5339B30CE2B5}"/>
                      </a:ext>
                    </a:extLst>
                  </p:cNvPr>
                  <p:cNvGrpSpPr/>
                  <p:nvPr/>
                </p:nvGrpSpPr>
                <p:grpSpPr>
                  <a:xfrm>
                    <a:off x="6598789" y="1691588"/>
                    <a:ext cx="932541" cy="1170116"/>
                    <a:chOff x="2055768" y="1602865"/>
                    <a:chExt cx="1598523" cy="2005765"/>
                  </a:xfrm>
                  <a:grpFill/>
                </p:grpSpPr>
                <p:sp>
                  <p:nvSpPr>
                    <p:cNvPr id="108" name="Teardrop 107">
                      <a:extLst>
                        <a:ext uri="{FF2B5EF4-FFF2-40B4-BE49-F238E27FC236}">
                          <a16:creationId xmlns:a16="http://schemas.microsoft.com/office/drawing/2014/main" id="{85002BDE-DC53-4B15-AE8F-5F8F73E1000E}"/>
                        </a:ext>
                      </a:extLst>
                    </p:cNvPr>
                    <p:cNvSpPr/>
                    <p:nvPr/>
                  </p:nvSpPr>
                  <p:spPr bwMode="gray">
                    <a:xfrm rot="8100000">
                      <a:off x="2103109" y="1602865"/>
                      <a:ext cx="1503841" cy="1503844"/>
                    </a:xfrm>
                    <a:prstGeom prst="teardrop">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23">
                      <a:extLst>
                        <a:ext uri="{FF2B5EF4-FFF2-40B4-BE49-F238E27FC236}">
                          <a16:creationId xmlns:a16="http://schemas.microsoft.com/office/drawing/2014/main" id="{0144D898-2E31-412F-AEFC-F2DA72B740E5}"/>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0" name="Oval 109">
                      <a:extLst>
                        <a:ext uri="{FF2B5EF4-FFF2-40B4-BE49-F238E27FC236}">
                          <a16:creationId xmlns:a16="http://schemas.microsoft.com/office/drawing/2014/main" id="{E9D7C49F-6201-43E7-9EAE-D0D612B714D2}"/>
                        </a:ext>
                      </a:extLst>
                    </p:cNvPr>
                    <p:cNvSpPr/>
                    <p:nvPr/>
                  </p:nvSpPr>
                  <p:spPr bwMode="gray">
                    <a:xfrm>
                      <a:off x="2303206" y="1758652"/>
                      <a:ext cx="1119070" cy="1119071"/>
                    </a:xfrm>
                    <a:prstGeom prst="ellipse">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05" name="Rectangle 104">
                    <a:extLst>
                      <a:ext uri="{FF2B5EF4-FFF2-40B4-BE49-F238E27FC236}">
                        <a16:creationId xmlns:a16="http://schemas.microsoft.com/office/drawing/2014/main" id="{B05853B8-AFB4-4576-AD00-CB942C8B97FE}"/>
                      </a:ext>
                    </a:extLst>
                  </p:cNvPr>
                  <p:cNvSpPr/>
                  <p:nvPr/>
                </p:nvSpPr>
                <p:spPr bwMode="gray">
                  <a:xfrm>
                    <a:off x="5877677" y="2350116"/>
                    <a:ext cx="758952" cy="45719"/>
                  </a:xfrm>
                  <a:prstGeom prst="rect">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36">
                    <a:extLst>
                      <a:ext uri="{FF2B5EF4-FFF2-40B4-BE49-F238E27FC236}">
                        <a16:creationId xmlns:a16="http://schemas.microsoft.com/office/drawing/2014/main" id="{20CB2BDE-8848-4399-8A09-A6887DDDDAAC}"/>
                      </a:ext>
                    </a:extLst>
                  </p:cNvPr>
                  <p:cNvSpPr>
                    <a:spLocks noChangeAspect="1" noEditPoints="1"/>
                  </p:cNvSpPr>
                  <p:nvPr/>
                </p:nvSpPr>
                <p:spPr bwMode="auto">
                  <a:xfrm>
                    <a:off x="6790708" y="1837110"/>
                    <a:ext cx="548641" cy="54864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grpSp>
      <p:grpSp>
        <p:nvGrpSpPr>
          <p:cNvPr id="13" name="Group 12">
            <a:extLst>
              <a:ext uri="{FF2B5EF4-FFF2-40B4-BE49-F238E27FC236}">
                <a16:creationId xmlns:a16="http://schemas.microsoft.com/office/drawing/2014/main" id="{5BA343F9-E30A-4AFC-96A0-ED7847C119F4}"/>
              </a:ext>
            </a:extLst>
          </p:cNvPr>
          <p:cNvGrpSpPr/>
          <p:nvPr/>
        </p:nvGrpSpPr>
        <p:grpSpPr>
          <a:xfrm>
            <a:off x="7315825" y="1437236"/>
            <a:ext cx="2247478" cy="2992278"/>
            <a:chOff x="7315825" y="1437236"/>
            <a:chExt cx="2247478" cy="2992278"/>
          </a:xfrm>
          <a:solidFill>
            <a:srgbClr val="A0DCFF"/>
          </a:solidFill>
        </p:grpSpPr>
        <p:sp>
          <p:nvSpPr>
            <p:cNvPr id="91" name="Rectangle: Rounded Corners 90">
              <a:extLst>
                <a:ext uri="{FF2B5EF4-FFF2-40B4-BE49-F238E27FC236}">
                  <a16:creationId xmlns:a16="http://schemas.microsoft.com/office/drawing/2014/main" id="{5993E1CE-F545-49F6-8FE7-62185BA1F994}"/>
                </a:ext>
              </a:extLst>
            </p:cNvPr>
            <p:cNvSpPr/>
            <p:nvPr/>
          </p:nvSpPr>
          <p:spPr>
            <a:xfrm>
              <a:off x="7469327" y="2948257"/>
              <a:ext cx="2093976" cy="1481257"/>
            </a:xfrm>
            <a:prstGeom prst="roundRect">
              <a:avLst/>
            </a:prstGeom>
            <a:grpFill/>
          </p:spPr>
          <p:txBody>
            <a:bodyPr wrap="square" lIns="72000" tIns="0" rIns="72000" bIns="0">
              <a:spAutoFit/>
            </a:bodyPr>
            <a:lstStyle/>
            <a:p>
              <a:pPr marL="171450" indent="-171450">
                <a:spcAft>
                  <a:spcPts val="600"/>
                </a:spcAft>
                <a:buFont typeface="Arial" panose="020B0604020202020204" pitchFamily="34" charset="0"/>
                <a:buChar char="•"/>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har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prototype with business users</a:t>
              </a: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Implementing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inor improvement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based on user feedback</a:t>
              </a:r>
              <a:endPar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600"/>
                </a:spcAft>
                <a:buFont typeface="Arial" panose="020B0604020202020204" pitchFamily="34" charset="0"/>
                <a:buChar cha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Prepare project </a:t>
              </a: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ocumentation</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072BA18F-0DD5-494D-A176-5F997C2F6A98}"/>
                </a:ext>
              </a:extLst>
            </p:cNvPr>
            <p:cNvGrpSpPr/>
            <p:nvPr/>
          </p:nvGrpSpPr>
          <p:grpSpPr>
            <a:xfrm>
              <a:off x="7315825" y="1437236"/>
              <a:ext cx="1874735" cy="1500276"/>
              <a:chOff x="8575239" y="1674617"/>
              <a:chExt cx="1874735" cy="1500276"/>
            </a:xfrm>
            <a:grpFill/>
          </p:grpSpPr>
          <p:grpSp>
            <p:nvGrpSpPr>
              <p:cNvPr id="112" name="Group 111">
                <a:extLst>
                  <a:ext uri="{FF2B5EF4-FFF2-40B4-BE49-F238E27FC236}">
                    <a16:creationId xmlns:a16="http://schemas.microsoft.com/office/drawing/2014/main" id="{BBE57ED3-8790-4593-ABAC-0083799144D3}"/>
                  </a:ext>
                </a:extLst>
              </p:cNvPr>
              <p:cNvGrpSpPr/>
              <p:nvPr/>
            </p:nvGrpSpPr>
            <p:grpSpPr>
              <a:xfrm>
                <a:off x="8575239" y="1674617"/>
                <a:ext cx="1874735" cy="1500276"/>
                <a:chOff x="4013448" y="3947232"/>
                <a:chExt cx="1874735" cy="1500276"/>
              </a:xfrm>
              <a:grpFill/>
            </p:grpSpPr>
            <p:sp>
              <p:nvSpPr>
                <p:cNvPr id="114" name="Rectangle 4">
                  <a:extLst>
                    <a:ext uri="{FF2B5EF4-FFF2-40B4-BE49-F238E27FC236}">
                      <a16:creationId xmlns:a16="http://schemas.microsoft.com/office/drawing/2014/main" id="{111DC45D-FFB6-4049-858C-970B91515386}"/>
                    </a:ext>
                  </a:extLst>
                </p:cNvPr>
                <p:cNvSpPr/>
                <p:nvPr/>
              </p:nvSpPr>
              <p:spPr bwMode="gray">
                <a:xfrm>
                  <a:off x="4622622" y="5135622"/>
                  <a:ext cx="1134277"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15" name="Group 114">
                  <a:extLst>
                    <a:ext uri="{FF2B5EF4-FFF2-40B4-BE49-F238E27FC236}">
                      <a16:creationId xmlns:a16="http://schemas.microsoft.com/office/drawing/2014/main" id="{1FB815F7-E05B-4C95-808C-44475E2D817D}"/>
                    </a:ext>
                  </a:extLst>
                </p:cNvPr>
                <p:cNvGrpSpPr/>
                <p:nvPr/>
              </p:nvGrpSpPr>
              <p:grpSpPr>
                <a:xfrm>
                  <a:off x="4013448" y="3947232"/>
                  <a:ext cx="1874735" cy="1500276"/>
                  <a:chOff x="4013448" y="3947232"/>
                  <a:chExt cx="1874735" cy="1500276"/>
                </a:xfrm>
                <a:grpFill/>
              </p:grpSpPr>
              <p:sp>
                <p:nvSpPr>
                  <p:cNvPr id="116" name="Rectangle 115">
                    <a:extLst>
                      <a:ext uri="{FF2B5EF4-FFF2-40B4-BE49-F238E27FC236}">
                        <a16:creationId xmlns:a16="http://schemas.microsoft.com/office/drawing/2014/main" id="{E1B1FBAF-1FA5-42B7-BA2B-22C7280458C2}"/>
                      </a:ext>
                    </a:extLst>
                  </p:cNvPr>
                  <p:cNvSpPr/>
                  <p:nvPr/>
                </p:nvSpPr>
                <p:spPr bwMode="gray">
                  <a:xfrm>
                    <a:off x="5623007" y="4605761"/>
                    <a:ext cx="265176" cy="45719"/>
                  </a:xfrm>
                  <a:prstGeom prst="rect">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17" name="Group 116">
                    <a:extLst>
                      <a:ext uri="{FF2B5EF4-FFF2-40B4-BE49-F238E27FC236}">
                        <a16:creationId xmlns:a16="http://schemas.microsoft.com/office/drawing/2014/main" id="{9CB8ABE0-5D15-457D-816E-E43655C6EEA8}"/>
                      </a:ext>
                    </a:extLst>
                  </p:cNvPr>
                  <p:cNvGrpSpPr/>
                  <p:nvPr/>
                </p:nvGrpSpPr>
                <p:grpSpPr>
                  <a:xfrm>
                    <a:off x="4739813" y="3947232"/>
                    <a:ext cx="932541" cy="1170116"/>
                    <a:chOff x="2055768" y="1602865"/>
                    <a:chExt cx="1598523" cy="2005765"/>
                  </a:xfrm>
                  <a:grpFill/>
                </p:grpSpPr>
                <p:sp>
                  <p:nvSpPr>
                    <p:cNvPr id="120" name="Teardrop 119">
                      <a:extLst>
                        <a:ext uri="{FF2B5EF4-FFF2-40B4-BE49-F238E27FC236}">
                          <a16:creationId xmlns:a16="http://schemas.microsoft.com/office/drawing/2014/main" id="{D7DF721C-630B-4DA9-81EE-A437A4E167F2}"/>
                        </a:ext>
                      </a:extLst>
                    </p:cNvPr>
                    <p:cNvSpPr/>
                    <p:nvPr/>
                  </p:nvSpPr>
                  <p:spPr bwMode="gray">
                    <a:xfrm rot="8100000">
                      <a:off x="2103109" y="1602865"/>
                      <a:ext cx="1503841" cy="1503844"/>
                    </a:xfrm>
                    <a:prstGeom prst="teardrop">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23">
                      <a:extLst>
                        <a:ext uri="{FF2B5EF4-FFF2-40B4-BE49-F238E27FC236}">
                          <a16:creationId xmlns:a16="http://schemas.microsoft.com/office/drawing/2014/main" id="{B6606EC7-269B-43DC-B977-C576E406E3FB}"/>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Oval 121">
                      <a:extLst>
                        <a:ext uri="{FF2B5EF4-FFF2-40B4-BE49-F238E27FC236}">
                          <a16:creationId xmlns:a16="http://schemas.microsoft.com/office/drawing/2014/main" id="{9EB89959-B073-421F-8645-321ECCD663D7}"/>
                        </a:ext>
                      </a:extLst>
                    </p:cNvPr>
                    <p:cNvSpPr/>
                    <p:nvPr/>
                  </p:nvSpPr>
                  <p:spPr bwMode="gray">
                    <a:xfrm>
                      <a:off x="2303206" y="1758652"/>
                      <a:ext cx="1119070" cy="1119071"/>
                    </a:xfrm>
                    <a:prstGeom prst="ellipse">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18" name="Rectangle 117">
                    <a:extLst>
                      <a:ext uri="{FF2B5EF4-FFF2-40B4-BE49-F238E27FC236}">
                        <a16:creationId xmlns:a16="http://schemas.microsoft.com/office/drawing/2014/main" id="{1EF6194E-D9E6-44D5-9D5B-DCEE20EFC263}"/>
                      </a:ext>
                    </a:extLst>
                  </p:cNvPr>
                  <p:cNvSpPr/>
                  <p:nvPr/>
                </p:nvSpPr>
                <p:spPr bwMode="gray">
                  <a:xfrm>
                    <a:off x="4013448" y="4605760"/>
                    <a:ext cx="758952" cy="45719"/>
                  </a:xfrm>
                  <a:prstGeom prst="rect">
                    <a:avLst/>
                  </a:prstGeom>
                  <a:grpFill/>
                  <a:ln w="19050" algn="ctr">
                    <a:noFill/>
                    <a:miter lim="800000"/>
                    <a:headEnd/>
                    <a:tailEnd/>
                  </a:ln>
                </p:spPr>
                <p:txBody>
                  <a:bodyPr wrap="square" lIns="88900" tIns="88900" rIns="88900" bIns="88900" rtlCol="0" anchor="ctr"/>
                  <a:lstStyle/>
                  <a:p>
                    <a:pPr marL="0" marR="0" lvl="0" indent="0"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TextBox 118">
                    <a:extLst>
                      <a:ext uri="{FF2B5EF4-FFF2-40B4-BE49-F238E27FC236}">
                        <a16:creationId xmlns:a16="http://schemas.microsoft.com/office/drawing/2014/main" id="{77407C6E-E5A0-4782-A960-C4F4899F81E2}"/>
                      </a:ext>
                    </a:extLst>
                  </p:cNvPr>
                  <p:cNvSpPr txBox="1"/>
                  <p:nvPr/>
                </p:nvSpPr>
                <p:spPr>
                  <a:xfrm>
                    <a:off x="4638944" y="5185898"/>
                    <a:ext cx="1134277" cy="261610"/>
                  </a:xfrm>
                  <a:prstGeom prst="rect">
                    <a:avLst/>
                  </a:prstGeom>
                  <a:noFill/>
                </p:spPr>
                <p:txBody>
                  <a:bodyPr wrap="square" rtlCol="0">
                    <a:spAutoFit/>
                  </a:bodyP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UAT</a:t>
                    </a:r>
                  </a:p>
                </p:txBody>
              </p:sp>
            </p:grpSp>
          </p:grpSp>
          <p:sp>
            <p:nvSpPr>
              <p:cNvPr id="113" name="Freeform 871">
                <a:extLst>
                  <a:ext uri="{FF2B5EF4-FFF2-40B4-BE49-F238E27FC236}">
                    <a16:creationId xmlns:a16="http://schemas.microsoft.com/office/drawing/2014/main" id="{0303A1A9-0804-48D2-A6C7-CDC647836D47}"/>
                  </a:ext>
                </a:extLst>
              </p:cNvPr>
              <p:cNvSpPr>
                <a:spLocks noEditPoints="1"/>
              </p:cNvSpPr>
              <p:nvPr/>
            </p:nvSpPr>
            <p:spPr bwMode="auto">
              <a:xfrm>
                <a:off x="9498053" y="1822951"/>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3" name="Text Placeholder 1">
            <a:extLst>
              <a:ext uri="{FF2B5EF4-FFF2-40B4-BE49-F238E27FC236}">
                <a16:creationId xmlns:a16="http://schemas.microsoft.com/office/drawing/2014/main" id="{CFF98A52-5E73-40D3-A191-144BC416C048}"/>
              </a:ext>
            </a:extLst>
          </p:cNvPr>
          <p:cNvSpPr txBox="1">
            <a:spLocks/>
          </p:cNvSpPr>
          <p:nvPr/>
        </p:nvSpPr>
        <p:spPr>
          <a:xfrm>
            <a:off x="4423403" y="4972317"/>
            <a:ext cx="3345193" cy="33417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800" b="0" kern="1200" spc="-30">
                <a:solidFill>
                  <a:srgbClr val="575757"/>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dirty="0">
                <a:latin typeface="Open Sans" panose="020B0606030504020204" pitchFamily="34" charset="0"/>
                <a:ea typeface="Open Sans" panose="020B0606030504020204" pitchFamily="34" charset="0"/>
                <a:cs typeface="Open Sans" panose="020B0606030504020204" pitchFamily="34" charset="0"/>
              </a:rPr>
              <a:t>Rapid Prototyping Framework</a:t>
            </a:r>
          </a:p>
        </p:txBody>
      </p:sp>
      <p:grpSp>
        <p:nvGrpSpPr>
          <p:cNvPr id="15" name="Group 14">
            <a:extLst>
              <a:ext uri="{FF2B5EF4-FFF2-40B4-BE49-F238E27FC236}">
                <a16:creationId xmlns:a16="http://schemas.microsoft.com/office/drawing/2014/main" id="{3A864881-309A-426D-A9F0-771CBE2D44F9}"/>
              </a:ext>
            </a:extLst>
          </p:cNvPr>
          <p:cNvGrpSpPr/>
          <p:nvPr/>
        </p:nvGrpSpPr>
        <p:grpSpPr>
          <a:xfrm>
            <a:off x="10221958" y="1635345"/>
            <a:ext cx="1134277" cy="805975"/>
            <a:chOff x="10221958" y="1635345"/>
            <a:chExt cx="1134277" cy="805975"/>
          </a:xfrm>
          <a:solidFill>
            <a:schemeClr val="accent3"/>
          </a:solidFill>
        </p:grpSpPr>
        <p:sp>
          <p:nvSpPr>
            <p:cNvPr id="139" name="TextBox 138">
              <a:extLst>
                <a:ext uri="{FF2B5EF4-FFF2-40B4-BE49-F238E27FC236}">
                  <a16:creationId xmlns:a16="http://schemas.microsoft.com/office/drawing/2014/main" id="{59C41A1D-9732-4C13-A77B-3817F0FC7765}"/>
                </a:ext>
              </a:extLst>
            </p:cNvPr>
            <p:cNvSpPr txBox="1"/>
            <p:nvPr/>
          </p:nvSpPr>
          <p:spPr>
            <a:xfrm>
              <a:off x="10221958" y="2179710"/>
              <a:ext cx="1134277" cy="261610"/>
            </a:xfrm>
            <a:prstGeom prst="rect">
              <a:avLst/>
            </a:prstGeom>
            <a:noFill/>
          </p:spPr>
          <p:txBody>
            <a:bodyPr wrap="square" rtlCol="0">
              <a:spAutoFit/>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2-8 weeks</a:t>
              </a:r>
            </a:p>
          </p:txBody>
        </p:sp>
        <p:grpSp>
          <p:nvGrpSpPr>
            <p:cNvPr id="140" name="Calender" descr="{&quot;Key&quot;:&quot;POWER_USER_SHAPE_ICON&quot;,&quot;Value&quot;:&quot;POWER_USER_SHAPE_ICON_STYLE_1&quot;}">
              <a:extLst>
                <a:ext uri="{FF2B5EF4-FFF2-40B4-BE49-F238E27FC236}">
                  <a16:creationId xmlns:a16="http://schemas.microsoft.com/office/drawing/2014/main" id="{D008E7B1-D264-4BE9-9414-94CFEE5878FE}"/>
                </a:ext>
              </a:extLst>
            </p:cNvPr>
            <p:cNvGrpSpPr>
              <a:grpSpLocks noChangeAspect="1"/>
            </p:cNvGrpSpPr>
            <p:nvPr/>
          </p:nvGrpSpPr>
          <p:grpSpPr bwMode="auto">
            <a:xfrm>
              <a:off x="10492182" y="1635345"/>
              <a:ext cx="547382" cy="548640"/>
              <a:chOff x="26" y="26"/>
              <a:chExt cx="435" cy="436"/>
            </a:xfrm>
            <a:grpFill/>
          </p:grpSpPr>
          <p:sp>
            <p:nvSpPr>
              <p:cNvPr id="141" name="Calender">
                <a:extLst>
                  <a:ext uri="{FF2B5EF4-FFF2-40B4-BE49-F238E27FC236}">
                    <a16:creationId xmlns:a16="http://schemas.microsoft.com/office/drawing/2014/main" id="{6FB72813-4E4C-4E52-967A-DCAD3D432FFC}"/>
                  </a:ext>
                </a:extLst>
              </p:cNvPr>
              <p:cNvSpPr>
                <a:spLocks noEditPoints="1"/>
              </p:cNvSpPr>
              <p:nvPr/>
            </p:nvSpPr>
            <p:spPr bwMode="auto">
              <a:xfrm>
                <a:off x="126" y="108"/>
                <a:ext cx="236" cy="254"/>
              </a:xfrm>
              <a:custGeom>
                <a:avLst/>
                <a:gdLst>
                  <a:gd name="T0" fmla="*/ 250 w 325"/>
                  <a:gd name="T1" fmla="*/ 12 h 350"/>
                  <a:gd name="T2" fmla="*/ 225 w 325"/>
                  <a:gd name="T3" fmla="*/ 25 h 350"/>
                  <a:gd name="T4" fmla="*/ 87 w 325"/>
                  <a:gd name="T5" fmla="*/ 0 h 350"/>
                  <a:gd name="T6" fmla="*/ 12 w 325"/>
                  <a:gd name="T7" fmla="*/ 25 h 350"/>
                  <a:gd name="T8" fmla="*/ 12 w 325"/>
                  <a:gd name="T9" fmla="*/ 350 h 350"/>
                  <a:gd name="T10" fmla="*/ 325 w 325"/>
                  <a:gd name="T11" fmla="*/ 37 h 350"/>
                  <a:gd name="T12" fmla="*/ 25 w 325"/>
                  <a:gd name="T13" fmla="*/ 325 h 350"/>
                  <a:gd name="T14" fmla="*/ 75 w 325"/>
                  <a:gd name="T15" fmla="*/ 62 h 350"/>
                  <a:gd name="T16" fmla="*/ 100 w 325"/>
                  <a:gd name="T17" fmla="*/ 50 h 350"/>
                  <a:gd name="T18" fmla="*/ 237 w 325"/>
                  <a:gd name="T19" fmla="*/ 75 h 350"/>
                  <a:gd name="T20" fmla="*/ 300 w 325"/>
                  <a:gd name="T21" fmla="*/ 50 h 350"/>
                  <a:gd name="T22" fmla="*/ 62 w 325"/>
                  <a:gd name="T23" fmla="*/ 137 h 350"/>
                  <a:gd name="T24" fmla="*/ 75 w 325"/>
                  <a:gd name="T25" fmla="*/ 125 h 350"/>
                  <a:gd name="T26" fmla="*/ 100 w 325"/>
                  <a:gd name="T27" fmla="*/ 125 h 350"/>
                  <a:gd name="T28" fmla="*/ 175 w 325"/>
                  <a:gd name="T29" fmla="*/ 125 h 350"/>
                  <a:gd name="T30" fmla="*/ 162 w 325"/>
                  <a:gd name="T31" fmla="*/ 112 h 350"/>
                  <a:gd name="T32" fmla="*/ 62 w 325"/>
                  <a:gd name="T33" fmla="*/ 187 h 350"/>
                  <a:gd name="T34" fmla="*/ 75 w 325"/>
                  <a:gd name="T35" fmla="*/ 175 h 350"/>
                  <a:gd name="T36" fmla="*/ 100 w 325"/>
                  <a:gd name="T37" fmla="*/ 175 h 350"/>
                  <a:gd name="T38" fmla="*/ 175 w 325"/>
                  <a:gd name="T39" fmla="*/ 175 h 350"/>
                  <a:gd name="T40" fmla="*/ 162 w 325"/>
                  <a:gd name="T41" fmla="*/ 162 h 350"/>
                  <a:gd name="T42" fmla="*/ 212 w 325"/>
                  <a:gd name="T43" fmla="*/ 137 h 350"/>
                  <a:gd name="T44" fmla="*/ 225 w 325"/>
                  <a:gd name="T45" fmla="*/ 125 h 350"/>
                  <a:gd name="T46" fmla="*/ 200 w 325"/>
                  <a:gd name="T47" fmla="*/ 175 h 350"/>
                  <a:gd name="T48" fmla="*/ 262 w 325"/>
                  <a:gd name="T49" fmla="*/ 112 h 350"/>
                  <a:gd name="T50" fmla="*/ 250 w 325"/>
                  <a:gd name="T51" fmla="*/ 125 h 350"/>
                  <a:gd name="T52" fmla="*/ 262 w 325"/>
                  <a:gd name="T53" fmla="*/ 187 h 350"/>
                  <a:gd name="T54" fmla="*/ 275 w 325"/>
                  <a:gd name="T55" fmla="*/ 175 h 350"/>
                  <a:gd name="T56" fmla="*/ 50 w 325"/>
                  <a:gd name="T57" fmla="*/ 225 h 350"/>
                  <a:gd name="T58" fmla="*/ 125 w 325"/>
                  <a:gd name="T59" fmla="*/ 225 h 350"/>
                  <a:gd name="T60" fmla="*/ 112 w 325"/>
                  <a:gd name="T61" fmla="*/ 212 h 350"/>
                  <a:gd name="T62" fmla="*/ 162 w 325"/>
                  <a:gd name="T63" fmla="*/ 237 h 350"/>
                  <a:gd name="T64" fmla="*/ 175 w 325"/>
                  <a:gd name="T65" fmla="*/ 225 h 350"/>
                  <a:gd name="T66" fmla="*/ 200 w 325"/>
                  <a:gd name="T67" fmla="*/ 225 h 350"/>
                  <a:gd name="T68" fmla="*/ 275 w 325"/>
                  <a:gd name="T69" fmla="*/ 225 h 350"/>
                  <a:gd name="T70" fmla="*/ 262 w 325"/>
                  <a:gd name="T71" fmla="*/ 212 h 350"/>
                  <a:gd name="T72" fmla="*/ 162 w 325"/>
                  <a:gd name="T73" fmla="*/ 287 h 350"/>
                  <a:gd name="T74" fmla="*/ 175 w 325"/>
                  <a:gd name="T75" fmla="*/ 275 h 350"/>
                  <a:gd name="T76" fmla="*/ 200 w 325"/>
                  <a:gd name="T77" fmla="*/ 275 h 350"/>
                  <a:gd name="T78" fmla="*/ 125 w 325"/>
                  <a:gd name="T79" fmla="*/ 275 h 350"/>
                  <a:gd name="T80" fmla="*/ 112 w 325"/>
                  <a:gd name="T81" fmla="*/ 262 h 350"/>
                  <a:gd name="T82" fmla="*/ 62 w 325"/>
                  <a:gd name="T83" fmla="*/ 287 h 350"/>
                  <a:gd name="T84" fmla="*/ 75 w 325"/>
                  <a:gd name="T85" fmla="*/ 27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5" h="350">
                    <a:moveTo>
                      <a:pt x="312" y="25"/>
                    </a:moveTo>
                    <a:lnTo>
                      <a:pt x="250" y="25"/>
                    </a:lnTo>
                    <a:lnTo>
                      <a:pt x="250" y="12"/>
                    </a:lnTo>
                    <a:cubicBezTo>
                      <a:pt x="250" y="5"/>
                      <a:pt x="245" y="0"/>
                      <a:pt x="237" y="0"/>
                    </a:cubicBezTo>
                    <a:cubicBezTo>
                      <a:pt x="230" y="0"/>
                      <a:pt x="225" y="5"/>
                      <a:pt x="225" y="12"/>
                    </a:cubicBezTo>
                    <a:lnTo>
                      <a:pt x="225" y="25"/>
                    </a:lnTo>
                    <a:lnTo>
                      <a:pt x="100" y="25"/>
                    </a:lnTo>
                    <a:lnTo>
                      <a:pt x="100" y="12"/>
                    </a:lnTo>
                    <a:cubicBezTo>
                      <a:pt x="100" y="5"/>
                      <a:pt x="95" y="0"/>
                      <a:pt x="87" y="0"/>
                    </a:cubicBezTo>
                    <a:cubicBezTo>
                      <a:pt x="79" y="0"/>
                      <a:pt x="75" y="5"/>
                      <a:pt x="75" y="12"/>
                    </a:cubicBezTo>
                    <a:lnTo>
                      <a:pt x="75" y="25"/>
                    </a:lnTo>
                    <a:lnTo>
                      <a:pt x="12" y="25"/>
                    </a:lnTo>
                    <a:cubicBezTo>
                      <a:pt x="5" y="25"/>
                      <a:pt x="0" y="30"/>
                      <a:pt x="0" y="37"/>
                    </a:cubicBezTo>
                    <a:lnTo>
                      <a:pt x="0" y="337"/>
                    </a:lnTo>
                    <a:cubicBezTo>
                      <a:pt x="0" y="345"/>
                      <a:pt x="5" y="350"/>
                      <a:pt x="12" y="350"/>
                    </a:cubicBezTo>
                    <a:lnTo>
                      <a:pt x="312" y="350"/>
                    </a:lnTo>
                    <a:cubicBezTo>
                      <a:pt x="320" y="350"/>
                      <a:pt x="325" y="345"/>
                      <a:pt x="325" y="337"/>
                    </a:cubicBezTo>
                    <a:lnTo>
                      <a:pt x="325" y="37"/>
                    </a:lnTo>
                    <a:cubicBezTo>
                      <a:pt x="325" y="30"/>
                      <a:pt x="320" y="25"/>
                      <a:pt x="312" y="25"/>
                    </a:cubicBezTo>
                    <a:close/>
                    <a:moveTo>
                      <a:pt x="300" y="325"/>
                    </a:moveTo>
                    <a:lnTo>
                      <a:pt x="25" y="325"/>
                    </a:lnTo>
                    <a:lnTo>
                      <a:pt x="25" y="50"/>
                    </a:lnTo>
                    <a:lnTo>
                      <a:pt x="75" y="50"/>
                    </a:lnTo>
                    <a:lnTo>
                      <a:pt x="75" y="62"/>
                    </a:lnTo>
                    <a:cubicBezTo>
                      <a:pt x="75" y="70"/>
                      <a:pt x="79" y="75"/>
                      <a:pt x="87" y="75"/>
                    </a:cubicBezTo>
                    <a:cubicBezTo>
                      <a:pt x="95" y="75"/>
                      <a:pt x="100" y="70"/>
                      <a:pt x="100" y="62"/>
                    </a:cubicBezTo>
                    <a:lnTo>
                      <a:pt x="100" y="50"/>
                    </a:lnTo>
                    <a:lnTo>
                      <a:pt x="225" y="50"/>
                    </a:lnTo>
                    <a:lnTo>
                      <a:pt x="225" y="62"/>
                    </a:lnTo>
                    <a:cubicBezTo>
                      <a:pt x="225" y="70"/>
                      <a:pt x="230" y="75"/>
                      <a:pt x="237" y="75"/>
                    </a:cubicBezTo>
                    <a:cubicBezTo>
                      <a:pt x="245" y="75"/>
                      <a:pt x="250" y="70"/>
                      <a:pt x="250" y="62"/>
                    </a:cubicBezTo>
                    <a:lnTo>
                      <a:pt x="250" y="50"/>
                    </a:lnTo>
                    <a:lnTo>
                      <a:pt x="300" y="50"/>
                    </a:lnTo>
                    <a:lnTo>
                      <a:pt x="300" y="325"/>
                    </a:lnTo>
                    <a:close/>
                    <a:moveTo>
                      <a:pt x="75" y="125"/>
                    </a:moveTo>
                    <a:cubicBezTo>
                      <a:pt x="75" y="132"/>
                      <a:pt x="70" y="137"/>
                      <a:pt x="62" y="137"/>
                    </a:cubicBezTo>
                    <a:cubicBezTo>
                      <a:pt x="54" y="137"/>
                      <a:pt x="50" y="132"/>
                      <a:pt x="50" y="125"/>
                    </a:cubicBezTo>
                    <a:cubicBezTo>
                      <a:pt x="50" y="117"/>
                      <a:pt x="54" y="112"/>
                      <a:pt x="62" y="112"/>
                    </a:cubicBezTo>
                    <a:cubicBezTo>
                      <a:pt x="70" y="112"/>
                      <a:pt x="75" y="117"/>
                      <a:pt x="75" y="125"/>
                    </a:cubicBezTo>
                    <a:close/>
                    <a:moveTo>
                      <a:pt x="125" y="125"/>
                    </a:moveTo>
                    <a:cubicBezTo>
                      <a:pt x="125" y="132"/>
                      <a:pt x="120" y="137"/>
                      <a:pt x="112" y="137"/>
                    </a:cubicBezTo>
                    <a:cubicBezTo>
                      <a:pt x="105" y="137"/>
                      <a:pt x="100" y="132"/>
                      <a:pt x="100" y="125"/>
                    </a:cubicBezTo>
                    <a:cubicBezTo>
                      <a:pt x="100" y="117"/>
                      <a:pt x="105" y="112"/>
                      <a:pt x="112" y="112"/>
                    </a:cubicBezTo>
                    <a:cubicBezTo>
                      <a:pt x="120" y="112"/>
                      <a:pt x="125" y="117"/>
                      <a:pt x="125" y="125"/>
                    </a:cubicBezTo>
                    <a:close/>
                    <a:moveTo>
                      <a:pt x="175" y="125"/>
                    </a:moveTo>
                    <a:cubicBezTo>
                      <a:pt x="175" y="132"/>
                      <a:pt x="170" y="137"/>
                      <a:pt x="162" y="137"/>
                    </a:cubicBezTo>
                    <a:cubicBezTo>
                      <a:pt x="155" y="137"/>
                      <a:pt x="150" y="132"/>
                      <a:pt x="150" y="125"/>
                    </a:cubicBezTo>
                    <a:cubicBezTo>
                      <a:pt x="150" y="117"/>
                      <a:pt x="155" y="112"/>
                      <a:pt x="162" y="112"/>
                    </a:cubicBezTo>
                    <a:cubicBezTo>
                      <a:pt x="170" y="112"/>
                      <a:pt x="175" y="117"/>
                      <a:pt x="175" y="125"/>
                    </a:cubicBezTo>
                    <a:close/>
                    <a:moveTo>
                      <a:pt x="75" y="175"/>
                    </a:moveTo>
                    <a:cubicBezTo>
                      <a:pt x="75" y="182"/>
                      <a:pt x="70" y="187"/>
                      <a:pt x="62" y="187"/>
                    </a:cubicBezTo>
                    <a:cubicBezTo>
                      <a:pt x="54" y="187"/>
                      <a:pt x="50" y="182"/>
                      <a:pt x="50" y="175"/>
                    </a:cubicBezTo>
                    <a:cubicBezTo>
                      <a:pt x="50" y="167"/>
                      <a:pt x="54" y="162"/>
                      <a:pt x="62" y="162"/>
                    </a:cubicBezTo>
                    <a:cubicBezTo>
                      <a:pt x="70" y="162"/>
                      <a:pt x="75" y="167"/>
                      <a:pt x="75" y="175"/>
                    </a:cubicBezTo>
                    <a:close/>
                    <a:moveTo>
                      <a:pt x="125" y="175"/>
                    </a:moveTo>
                    <a:cubicBezTo>
                      <a:pt x="125" y="182"/>
                      <a:pt x="120" y="187"/>
                      <a:pt x="112" y="187"/>
                    </a:cubicBezTo>
                    <a:cubicBezTo>
                      <a:pt x="105" y="187"/>
                      <a:pt x="100" y="182"/>
                      <a:pt x="100" y="175"/>
                    </a:cubicBezTo>
                    <a:cubicBezTo>
                      <a:pt x="100" y="167"/>
                      <a:pt x="105" y="162"/>
                      <a:pt x="112" y="162"/>
                    </a:cubicBezTo>
                    <a:cubicBezTo>
                      <a:pt x="120" y="162"/>
                      <a:pt x="125" y="167"/>
                      <a:pt x="125" y="175"/>
                    </a:cubicBezTo>
                    <a:close/>
                    <a:moveTo>
                      <a:pt x="175" y="175"/>
                    </a:moveTo>
                    <a:cubicBezTo>
                      <a:pt x="175" y="182"/>
                      <a:pt x="170" y="187"/>
                      <a:pt x="162" y="187"/>
                    </a:cubicBezTo>
                    <a:cubicBezTo>
                      <a:pt x="155" y="187"/>
                      <a:pt x="150" y="182"/>
                      <a:pt x="150" y="175"/>
                    </a:cubicBezTo>
                    <a:cubicBezTo>
                      <a:pt x="150" y="167"/>
                      <a:pt x="155" y="162"/>
                      <a:pt x="162" y="162"/>
                    </a:cubicBezTo>
                    <a:cubicBezTo>
                      <a:pt x="170" y="162"/>
                      <a:pt x="175" y="167"/>
                      <a:pt x="175" y="175"/>
                    </a:cubicBezTo>
                    <a:close/>
                    <a:moveTo>
                      <a:pt x="225" y="125"/>
                    </a:moveTo>
                    <a:cubicBezTo>
                      <a:pt x="225" y="132"/>
                      <a:pt x="220" y="137"/>
                      <a:pt x="212" y="137"/>
                    </a:cubicBezTo>
                    <a:cubicBezTo>
                      <a:pt x="205" y="137"/>
                      <a:pt x="200" y="132"/>
                      <a:pt x="200" y="125"/>
                    </a:cubicBezTo>
                    <a:cubicBezTo>
                      <a:pt x="200" y="117"/>
                      <a:pt x="205" y="112"/>
                      <a:pt x="212" y="112"/>
                    </a:cubicBezTo>
                    <a:cubicBezTo>
                      <a:pt x="220" y="112"/>
                      <a:pt x="225" y="117"/>
                      <a:pt x="225" y="125"/>
                    </a:cubicBezTo>
                    <a:close/>
                    <a:moveTo>
                      <a:pt x="225" y="175"/>
                    </a:moveTo>
                    <a:cubicBezTo>
                      <a:pt x="225" y="182"/>
                      <a:pt x="220" y="187"/>
                      <a:pt x="212" y="187"/>
                    </a:cubicBezTo>
                    <a:cubicBezTo>
                      <a:pt x="205" y="187"/>
                      <a:pt x="200" y="182"/>
                      <a:pt x="200" y="175"/>
                    </a:cubicBezTo>
                    <a:cubicBezTo>
                      <a:pt x="200" y="167"/>
                      <a:pt x="205" y="162"/>
                      <a:pt x="212" y="162"/>
                    </a:cubicBezTo>
                    <a:cubicBezTo>
                      <a:pt x="220" y="162"/>
                      <a:pt x="225" y="167"/>
                      <a:pt x="225" y="175"/>
                    </a:cubicBezTo>
                    <a:close/>
                    <a:moveTo>
                      <a:pt x="262" y="112"/>
                    </a:moveTo>
                    <a:cubicBezTo>
                      <a:pt x="270" y="112"/>
                      <a:pt x="275" y="117"/>
                      <a:pt x="275" y="125"/>
                    </a:cubicBezTo>
                    <a:cubicBezTo>
                      <a:pt x="275" y="132"/>
                      <a:pt x="270" y="137"/>
                      <a:pt x="262" y="137"/>
                    </a:cubicBezTo>
                    <a:cubicBezTo>
                      <a:pt x="255" y="137"/>
                      <a:pt x="250" y="132"/>
                      <a:pt x="250" y="125"/>
                    </a:cubicBezTo>
                    <a:cubicBezTo>
                      <a:pt x="250" y="117"/>
                      <a:pt x="255" y="112"/>
                      <a:pt x="262" y="112"/>
                    </a:cubicBezTo>
                    <a:close/>
                    <a:moveTo>
                      <a:pt x="275" y="175"/>
                    </a:moveTo>
                    <a:cubicBezTo>
                      <a:pt x="275" y="182"/>
                      <a:pt x="270" y="187"/>
                      <a:pt x="262" y="187"/>
                    </a:cubicBezTo>
                    <a:cubicBezTo>
                      <a:pt x="255" y="187"/>
                      <a:pt x="250" y="182"/>
                      <a:pt x="250" y="175"/>
                    </a:cubicBezTo>
                    <a:cubicBezTo>
                      <a:pt x="250" y="167"/>
                      <a:pt x="255" y="162"/>
                      <a:pt x="262" y="162"/>
                    </a:cubicBezTo>
                    <a:cubicBezTo>
                      <a:pt x="270" y="162"/>
                      <a:pt x="275" y="167"/>
                      <a:pt x="275" y="175"/>
                    </a:cubicBezTo>
                    <a:close/>
                    <a:moveTo>
                      <a:pt x="75" y="225"/>
                    </a:moveTo>
                    <a:cubicBezTo>
                      <a:pt x="75" y="232"/>
                      <a:pt x="70" y="237"/>
                      <a:pt x="62" y="237"/>
                    </a:cubicBezTo>
                    <a:cubicBezTo>
                      <a:pt x="54" y="237"/>
                      <a:pt x="50" y="232"/>
                      <a:pt x="50" y="225"/>
                    </a:cubicBezTo>
                    <a:cubicBezTo>
                      <a:pt x="50" y="217"/>
                      <a:pt x="54" y="212"/>
                      <a:pt x="62" y="212"/>
                    </a:cubicBezTo>
                    <a:cubicBezTo>
                      <a:pt x="70" y="212"/>
                      <a:pt x="75" y="217"/>
                      <a:pt x="75" y="225"/>
                    </a:cubicBezTo>
                    <a:close/>
                    <a:moveTo>
                      <a:pt x="125" y="225"/>
                    </a:moveTo>
                    <a:cubicBezTo>
                      <a:pt x="125" y="232"/>
                      <a:pt x="120" y="237"/>
                      <a:pt x="112" y="237"/>
                    </a:cubicBezTo>
                    <a:cubicBezTo>
                      <a:pt x="105" y="237"/>
                      <a:pt x="100" y="232"/>
                      <a:pt x="100" y="225"/>
                    </a:cubicBezTo>
                    <a:cubicBezTo>
                      <a:pt x="100" y="217"/>
                      <a:pt x="105" y="212"/>
                      <a:pt x="112" y="212"/>
                    </a:cubicBezTo>
                    <a:cubicBezTo>
                      <a:pt x="120" y="212"/>
                      <a:pt x="125" y="217"/>
                      <a:pt x="125" y="225"/>
                    </a:cubicBezTo>
                    <a:close/>
                    <a:moveTo>
                      <a:pt x="175" y="225"/>
                    </a:moveTo>
                    <a:cubicBezTo>
                      <a:pt x="175" y="232"/>
                      <a:pt x="170" y="237"/>
                      <a:pt x="162" y="237"/>
                    </a:cubicBezTo>
                    <a:cubicBezTo>
                      <a:pt x="155" y="237"/>
                      <a:pt x="150" y="232"/>
                      <a:pt x="150" y="225"/>
                    </a:cubicBezTo>
                    <a:cubicBezTo>
                      <a:pt x="150" y="217"/>
                      <a:pt x="155" y="212"/>
                      <a:pt x="162" y="212"/>
                    </a:cubicBezTo>
                    <a:cubicBezTo>
                      <a:pt x="170" y="212"/>
                      <a:pt x="175" y="217"/>
                      <a:pt x="175" y="225"/>
                    </a:cubicBezTo>
                    <a:close/>
                    <a:moveTo>
                      <a:pt x="225" y="225"/>
                    </a:moveTo>
                    <a:cubicBezTo>
                      <a:pt x="225" y="232"/>
                      <a:pt x="220" y="237"/>
                      <a:pt x="212" y="237"/>
                    </a:cubicBezTo>
                    <a:cubicBezTo>
                      <a:pt x="205" y="237"/>
                      <a:pt x="200" y="232"/>
                      <a:pt x="200" y="225"/>
                    </a:cubicBezTo>
                    <a:cubicBezTo>
                      <a:pt x="200" y="217"/>
                      <a:pt x="205" y="212"/>
                      <a:pt x="212" y="212"/>
                    </a:cubicBezTo>
                    <a:cubicBezTo>
                      <a:pt x="220" y="212"/>
                      <a:pt x="225" y="217"/>
                      <a:pt x="225" y="225"/>
                    </a:cubicBezTo>
                    <a:close/>
                    <a:moveTo>
                      <a:pt x="275" y="225"/>
                    </a:moveTo>
                    <a:cubicBezTo>
                      <a:pt x="275" y="232"/>
                      <a:pt x="270" y="237"/>
                      <a:pt x="262" y="237"/>
                    </a:cubicBezTo>
                    <a:cubicBezTo>
                      <a:pt x="255" y="237"/>
                      <a:pt x="250" y="232"/>
                      <a:pt x="250" y="225"/>
                    </a:cubicBezTo>
                    <a:cubicBezTo>
                      <a:pt x="250" y="217"/>
                      <a:pt x="255" y="212"/>
                      <a:pt x="262" y="212"/>
                    </a:cubicBezTo>
                    <a:cubicBezTo>
                      <a:pt x="270" y="212"/>
                      <a:pt x="275" y="217"/>
                      <a:pt x="275" y="225"/>
                    </a:cubicBezTo>
                    <a:close/>
                    <a:moveTo>
                      <a:pt x="175" y="275"/>
                    </a:moveTo>
                    <a:cubicBezTo>
                      <a:pt x="175" y="282"/>
                      <a:pt x="170" y="287"/>
                      <a:pt x="162" y="287"/>
                    </a:cubicBezTo>
                    <a:cubicBezTo>
                      <a:pt x="155" y="287"/>
                      <a:pt x="150" y="282"/>
                      <a:pt x="150" y="275"/>
                    </a:cubicBezTo>
                    <a:cubicBezTo>
                      <a:pt x="150" y="267"/>
                      <a:pt x="155" y="262"/>
                      <a:pt x="162" y="262"/>
                    </a:cubicBezTo>
                    <a:cubicBezTo>
                      <a:pt x="170" y="262"/>
                      <a:pt x="175" y="267"/>
                      <a:pt x="175" y="275"/>
                    </a:cubicBezTo>
                    <a:close/>
                    <a:moveTo>
                      <a:pt x="225" y="275"/>
                    </a:moveTo>
                    <a:cubicBezTo>
                      <a:pt x="225" y="282"/>
                      <a:pt x="220" y="287"/>
                      <a:pt x="212" y="287"/>
                    </a:cubicBezTo>
                    <a:cubicBezTo>
                      <a:pt x="205" y="287"/>
                      <a:pt x="200" y="282"/>
                      <a:pt x="200" y="275"/>
                    </a:cubicBezTo>
                    <a:cubicBezTo>
                      <a:pt x="200" y="267"/>
                      <a:pt x="205" y="262"/>
                      <a:pt x="212" y="262"/>
                    </a:cubicBezTo>
                    <a:cubicBezTo>
                      <a:pt x="220" y="262"/>
                      <a:pt x="225" y="267"/>
                      <a:pt x="225" y="275"/>
                    </a:cubicBezTo>
                    <a:close/>
                    <a:moveTo>
                      <a:pt x="125" y="275"/>
                    </a:moveTo>
                    <a:cubicBezTo>
                      <a:pt x="125" y="282"/>
                      <a:pt x="120" y="287"/>
                      <a:pt x="112" y="287"/>
                    </a:cubicBezTo>
                    <a:cubicBezTo>
                      <a:pt x="105" y="287"/>
                      <a:pt x="100" y="282"/>
                      <a:pt x="100" y="275"/>
                    </a:cubicBezTo>
                    <a:cubicBezTo>
                      <a:pt x="100" y="267"/>
                      <a:pt x="105" y="262"/>
                      <a:pt x="112" y="262"/>
                    </a:cubicBezTo>
                    <a:cubicBezTo>
                      <a:pt x="120" y="262"/>
                      <a:pt x="125" y="267"/>
                      <a:pt x="125" y="275"/>
                    </a:cubicBezTo>
                    <a:close/>
                    <a:moveTo>
                      <a:pt x="75" y="275"/>
                    </a:moveTo>
                    <a:cubicBezTo>
                      <a:pt x="75" y="282"/>
                      <a:pt x="70" y="287"/>
                      <a:pt x="62" y="287"/>
                    </a:cubicBezTo>
                    <a:cubicBezTo>
                      <a:pt x="54" y="287"/>
                      <a:pt x="50" y="282"/>
                      <a:pt x="50" y="275"/>
                    </a:cubicBezTo>
                    <a:cubicBezTo>
                      <a:pt x="50" y="267"/>
                      <a:pt x="54" y="262"/>
                      <a:pt x="62" y="262"/>
                    </a:cubicBezTo>
                    <a:cubicBezTo>
                      <a:pt x="70" y="262"/>
                      <a:pt x="75" y="267"/>
                      <a:pt x="75" y="2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Calender">
                <a:extLst>
                  <a:ext uri="{FF2B5EF4-FFF2-40B4-BE49-F238E27FC236}">
                    <a16:creationId xmlns:a16="http://schemas.microsoft.com/office/drawing/2014/main" id="{7EB206F1-F623-4A7C-826F-59406885835E}"/>
                  </a:ext>
                </a:extLst>
              </p:cNvPr>
              <p:cNvSpPr>
                <a:spLocks noEditPoints="1"/>
              </p:cNvSpPr>
              <p:nvPr/>
            </p:nvSpPr>
            <p:spPr bwMode="auto">
              <a:xfrm>
                <a:off x="26" y="26"/>
                <a:ext cx="435" cy="436"/>
              </a:xfrm>
              <a:custGeom>
                <a:avLst/>
                <a:gdLst>
                  <a:gd name="T0" fmla="*/ 300 w 600"/>
                  <a:gd name="T1" fmla="*/ 25 h 600"/>
                  <a:gd name="T2" fmla="*/ 575 w 600"/>
                  <a:gd name="T3" fmla="*/ 300 h 600"/>
                  <a:gd name="T4" fmla="*/ 300 w 600"/>
                  <a:gd name="T5" fmla="*/ 575 h 600"/>
                  <a:gd name="T6" fmla="*/ 25 w 600"/>
                  <a:gd name="T7" fmla="*/ 300 h 600"/>
                  <a:gd name="T8" fmla="*/ 300 w 600"/>
                  <a:gd name="T9" fmla="*/ 25 h 600"/>
                  <a:gd name="T10" fmla="*/ 300 w 600"/>
                  <a:gd name="T11" fmla="*/ 0 h 600"/>
                  <a:gd name="T12" fmla="*/ 0 w 600"/>
                  <a:gd name="T13" fmla="*/ 300 h 600"/>
                  <a:gd name="T14" fmla="*/ 300 w 600"/>
                  <a:gd name="T15" fmla="*/ 600 h 600"/>
                  <a:gd name="T16" fmla="*/ 600 w 600"/>
                  <a:gd name="T17" fmla="*/ 300 h 600"/>
                  <a:gd name="T18" fmla="*/ 300 w 60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0" h="600">
                    <a:moveTo>
                      <a:pt x="300" y="25"/>
                    </a:moveTo>
                    <a:cubicBezTo>
                      <a:pt x="451" y="25"/>
                      <a:pt x="575" y="149"/>
                      <a:pt x="575" y="300"/>
                    </a:cubicBezTo>
                    <a:cubicBezTo>
                      <a:pt x="575" y="451"/>
                      <a:pt x="451" y="575"/>
                      <a:pt x="300" y="575"/>
                    </a:cubicBezTo>
                    <a:cubicBezTo>
                      <a:pt x="149" y="575"/>
                      <a:pt x="25" y="451"/>
                      <a:pt x="25" y="300"/>
                    </a:cubicBezTo>
                    <a:cubicBezTo>
                      <a:pt x="25" y="149"/>
                      <a:pt x="149" y="25"/>
                      <a:pt x="300" y="25"/>
                    </a:cubicBezTo>
                    <a:close/>
                    <a:moveTo>
                      <a:pt x="300" y="0"/>
                    </a:moveTo>
                    <a:cubicBezTo>
                      <a:pt x="134" y="0"/>
                      <a:pt x="0" y="134"/>
                      <a:pt x="0" y="300"/>
                    </a:cubicBezTo>
                    <a:cubicBezTo>
                      <a:pt x="0" y="466"/>
                      <a:pt x="134" y="600"/>
                      <a:pt x="300" y="600"/>
                    </a:cubicBezTo>
                    <a:cubicBezTo>
                      <a:pt x="466" y="600"/>
                      <a:pt x="600" y="466"/>
                      <a:pt x="600" y="300"/>
                    </a:cubicBezTo>
                    <a:cubicBezTo>
                      <a:pt x="600" y="134"/>
                      <a:pt x="466" y="0"/>
                      <a:pt x="3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6" name="Group 15">
            <a:extLst>
              <a:ext uri="{FF2B5EF4-FFF2-40B4-BE49-F238E27FC236}">
                <a16:creationId xmlns:a16="http://schemas.microsoft.com/office/drawing/2014/main" id="{B2487D79-C6CE-475C-9BBE-51006B5A17F6}"/>
              </a:ext>
            </a:extLst>
          </p:cNvPr>
          <p:cNvGrpSpPr/>
          <p:nvPr/>
        </p:nvGrpSpPr>
        <p:grpSpPr>
          <a:xfrm>
            <a:off x="9687850" y="2957992"/>
            <a:ext cx="2085913" cy="1902820"/>
            <a:chOff x="9687850" y="2957992"/>
            <a:chExt cx="2085913" cy="1902820"/>
          </a:xfrm>
          <a:solidFill>
            <a:schemeClr val="accent3"/>
          </a:solidFill>
        </p:grpSpPr>
        <p:grpSp>
          <p:nvGrpSpPr>
            <p:cNvPr id="143" name="Group 142">
              <a:extLst>
                <a:ext uri="{FF2B5EF4-FFF2-40B4-BE49-F238E27FC236}">
                  <a16:creationId xmlns:a16="http://schemas.microsoft.com/office/drawing/2014/main" id="{12E67F7C-175C-4EB1-9E75-E93ADA310E89}"/>
                </a:ext>
              </a:extLst>
            </p:cNvPr>
            <p:cNvGrpSpPr/>
            <p:nvPr/>
          </p:nvGrpSpPr>
          <p:grpSpPr>
            <a:xfrm>
              <a:off x="10578742" y="2957992"/>
              <a:ext cx="365760" cy="365760"/>
              <a:chOff x="5929982" y="2744436"/>
              <a:chExt cx="343755" cy="343755"/>
            </a:xfrm>
            <a:grpFill/>
          </p:grpSpPr>
          <p:sp>
            <p:nvSpPr>
              <p:cNvPr id="144" name="Oval 143">
                <a:extLst>
                  <a:ext uri="{FF2B5EF4-FFF2-40B4-BE49-F238E27FC236}">
                    <a16:creationId xmlns:a16="http://schemas.microsoft.com/office/drawing/2014/main" id="{D601C6BF-581E-487E-B2CE-8733383418B4}"/>
                  </a:ext>
                </a:extLst>
              </p:cNvPr>
              <p:cNvSpPr/>
              <p:nvPr/>
            </p:nvSpPr>
            <p:spPr>
              <a:xfrm>
                <a:off x="5929982" y="2744436"/>
                <a:ext cx="343755" cy="343755"/>
              </a:xfrm>
              <a:prstGeom prst="ellipse">
                <a:avLst/>
              </a:prstGeom>
              <a:grp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5" name="Picture 144">
                <a:extLst>
                  <a:ext uri="{FF2B5EF4-FFF2-40B4-BE49-F238E27FC236}">
                    <a16:creationId xmlns:a16="http://schemas.microsoft.com/office/drawing/2014/main" id="{025AF952-C682-40C1-B851-955D99F7DF2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92945" y="2801558"/>
                <a:ext cx="201966" cy="201966"/>
              </a:xfrm>
              <a:prstGeom prst="rect">
                <a:avLst/>
              </a:prstGeom>
              <a:grpFill/>
            </p:spPr>
          </p:pic>
        </p:grpSp>
        <p:sp>
          <p:nvSpPr>
            <p:cNvPr id="146" name="TextBox 145">
              <a:extLst>
                <a:ext uri="{FF2B5EF4-FFF2-40B4-BE49-F238E27FC236}">
                  <a16:creationId xmlns:a16="http://schemas.microsoft.com/office/drawing/2014/main" id="{8ED433F2-6B59-46AB-850F-344DEC6D5C1D}"/>
                </a:ext>
              </a:extLst>
            </p:cNvPr>
            <p:cNvSpPr txBox="1"/>
            <p:nvPr/>
          </p:nvSpPr>
          <p:spPr>
            <a:xfrm>
              <a:off x="10139068" y="3386656"/>
              <a:ext cx="1208237" cy="430887"/>
            </a:xfrm>
            <a:prstGeom prst="rect">
              <a:avLst/>
            </a:prstGeom>
            <a:noFill/>
          </p:spPr>
          <p:txBody>
            <a:bodyPr wrap="square" rtlCol="0">
              <a:spAutoFit/>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Engagement manager</a:t>
              </a:r>
            </a:p>
          </p:txBody>
        </p:sp>
        <p:grpSp>
          <p:nvGrpSpPr>
            <p:cNvPr id="147" name="Group 146">
              <a:extLst>
                <a:ext uri="{FF2B5EF4-FFF2-40B4-BE49-F238E27FC236}">
                  <a16:creationId xmlns:a16="http://schemas.microsoft.com/office/drawing/2014/main" id="{1F48571E-FB2C-445A-8882-523A3181822C}"/>
                </a:ext>
              </a:extLst>
            </p:cNvPr>
            <p:cNvGrpSpPr/>
            <p:nvPr/>
          </p:nvGrpSpPr>
          <p:grpSpPr>
            <a:xfrm>
              <a:off x="10003170" y="3974130"/>
              <a:ext cx="365760" cy="365760"/>
              <a:chOff x="5929982" y="2744436"/>
              <a:chExt cx="343755" cy="343755"/>
            </a:xfrm>
            <a:grpFill/>
          </p:grpSpPr>
          <p:sp>
            <p:nvSpPr>
              <p:cNvPr id="148" name="Oval 147">
                <a:extLst>
                  <a:ext uri="{FF2B5EF4-FFF2-40B4-BE49-F238E27FC236}">
                    <a16:creationId xmlns:a16="http://schemas.microsoft.com/office/drawing/2014/main" id="{0605660D-E2F0-468F-83F5-9BEB78F1CCAA}"/>
                  </a:ext>
                </a:extLst>
              </p:cNvPr>
              <p:cNvSpPr/>
              <p:nvPr/>
            </p:nvSpPr>
            <p:spPr>
              <a:xfrm>
                <a:off x="5929982" y="2744436"/>
                <a:ext cx="343755" cy="343755"/>
              </a:xfrm>
              <a:prstGeom prst="ellipse">
                <a:avLst/>
              </a:prstGeom>
              <a:grp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9" name="Picture 148">
                <a:extLst>
                  <a:ext uri="{FF2B5EF4-FFF2-40B4-BE49-F238E27FC236}">
                    <a16:creationId xmlns:a16="http://schemas.microsoft.com/office/drawing/2014/main" id="{B0C185C4-EE80-4167-BD51-1E84F64B90C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5115" y="2804925"/>
                <a:ext cx="193486" cy="193486"/>
              </a:xfrm>
              <a:prstGeom prst="rect">
                <a:avLst/>
              </a:prstGeom>
              <a:grpFill/>
            </p:spPr>
          </p:pic>
        </p:grpSp>
        <p:grpSp>
          <p:nvGrpSpPr>
            <p:cNvPr id="151" name="Group 150">
              <a:extLst>
                <a:ext uri="{FF2B5EF4-FFF2-40B4-BE49-F238E27FC236}">
                  <a16:creationId xmlns:a16="http://schemas.microsoft.com/office/drawing/2014/main" id="{27C3B4E1-36E2-4BAC-9FAF-5AB4900B87A5}"/>
                </a:ext>
              </a:extLst>
            </p:cNvPr>
            <p:cNvGrpSpPr/>
            <p:nvPr/>
          </p:nvGrpSpPr>
          <p:grpSpPr>
            <a:xfrm>
              <a:off x="11108384" y="3961643"/>
              <a:ext cx="365760" cy="365760"/>
              <a:chOff x="5929982" y="2744436"/>
              <a:chExt cx="343755" cy="343755"/>
            </a:xfrm>
            <a:grpFill/>
          </p:grpSpPr>
          <p:sp>
            <p:nvSpPr>
              <p:cNvPr id="152" name="Oval 151">
                <a:extLst>
                  <a:ext uri="{FF2B5EF4-FFF2-40B4-BE49-F238E27FC236}">
                    <a16:creationId xmlns:a16="http://schemas.microsoft.com/office/drawing/2014/main" id="{D5541AAF-57DB-4022-B6CF-17A8787E0895}"/>
                  </a:ext>
                </a:extLst>
              </p:cNvPr>
              <p:cNvSpPr/>
              <p:nvPr/>
            </p:nvSpPr>
            <p:spPr>
              <a:xfrm>
                <a:off x="5929982" y="2744436"/>
                <a:ext cx="343755" cy="343755"/>
              </a:xfrm>
              <a:prstGeom prst="ellipse">
                <a:avLst/>
              </a:prstGeom>
              <a:grp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53" name="Picture 152">
                <a:extLst>
                  <a:ext uri="{FF2B5EF4-FFF2-40B4-BE49-F238E27FC236}">
                    <a16:creationId xmlns:a16="http://schemas.microsoft.com/office/drawing/2014/main" id="{08125EF9-DF2D-4287-BCC9-7E9E0BB2716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96914" y="2820813"/>
                <a:ext cx="209890" cy="209890"/>
              </a:xfrm>
              <a:prstGeom prst="rect">
                <a:avLst/>
              </a:prstGeom>
              <a:grpFill/>
            </p:spPr>
          </p:pic>
        </p:grpSp>
        <p:sp>
          <p:nvSpPr>
            <p:cNvPr id="154" name="TextBox 153">
              <a:extLst>
                <a:ext uri="{FF2B5EF4-FFF2-40B4-BE49-F238E27FC236}">
                  <a16:creationId xmlns:a16="http://schemas.microsoft.com/office/drawing/2014/main" id="{013F5AE7-AB21-4E91-B5A8-6193122E422D}"/>
                </a:ext>
              </a:extLst>
            </p:cNvPr>
            <p:cNvSpPr txBox="1"/>
            <p:nvPr/>
          </p:nvSpPr>
          <p:spPr>
            <a:xfrm>
              <a:off x="9687850" y="4406733"/>
              <a:ext cx="980682" cy="430887"/>
            </a:xfrm>
            <a:prstGeom prst="rect">
              <a:avLst/>
            </a:prstGeom>
            <a:noFill/>
          </p:spPr>
          <p:txBody>
            <a:bodyPr wrap="square" rtlCol="0">
              <a:spAutoFit/>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Data analyst(s)</a:t>
              </a:r>
            </a:p>
          </p:txBody>
        </p:sp>
        <p:sp>
          <p:nvSpPr>
            <p:cNvPr id="155" name="TextBox 154">
              <a:extLst>
                <a:ext uri="{FF2B5EF4-FFF2-40B4-BE49-F238E27FC236}">
                  <a16:creationId xmlns:a16="http://schemas.microsoft.com/office/drawing/2014/main" id="{3E953A00-3F8B-46E4-BFD2-737B82D41968}"/>
                </a:ext>
              </a:extLst>
            </p:cNvPr>
            <p:cNvSpPr txBox="1"/>
            <p:nvPr/>
          </p:nvSpPr>
          <p:spPr>
            <a:xfrm>
              <a:off x="10793080" y="4429925"/>
              <a:ext cx="980683" cy="430887"/>
            </a:xfrm>
            <a:prstGeom prst="rect">
              <a:avLst/>
            </a:prstGeom>
            <a:noFill/>
          </p:spPr>
          <p:txBody>
            <a:bodyPr wrap="square" rtlCol="0">
              <a:spAutoFit/>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Data engineer(s)</a:t>
              </a:r>
            </a:p>
          </p:txBody>
        </p:sp>
        <p:cxnSp>
          <p:nvCxnSpPr>
            <p:cNvPr id="170" name="Connector: Curved 169">
              <a:extLst>
                <a:ext uri="{FF2B5EF4-FFF2-40B4-BE49-F238E27FC236}">
                  <a16:creationId xmlns:a16="http://schemas.microsoft.com/office/drawing/2014/main" id="{26A73302-8AE9-4CA8-8730-145BDAC55431}"/>
                </a:ext>
              </a:extLst>
            </p:cNvPr>
            <p:cNvCxnSpPr>
              <a:cxnSpLocks/>
              <a:stCxn id="144" idx="2"/>
              <a:endCxn id="148" idx="0"/>
            </p:cNvCxnSpPr>
            <p:nvPr/>
          </p:nvCxnSpPr>
          <p:spPr>
            <a:xfrm rot="10800000" flipV="1">
              <a:off x="10186050" y="3140872"/>
              <a:ext cx="392692" cy="833258"/>
            </a:xfrm>
            <a:prstGeom prst="curvedConnector2">
              <a:avLst/>
            </a:prstGeom>
            <a:grpFill/>
            <a:ln>
              <a:solidFill>
                <a:schemeClr val="accent3"/>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2" name="Connector: Curved 171">
              <a:extLst>
                <a:ext uri="{FF2B5EF4-FFF2-40B4-BE49-F238E27FC236}">
                  <a16:creationId xmlns:a16="http://schemas.microsoft.com/office/drawing/2014/main" id="{056AC63D-7C4F-47C7-9A8E-1F7EF0AB492A}"/>
                </a:ext>
              </a:extLst>
            </p:cNvPr>
            <p:cNvCxnSpPr>
              <a:cxnSpLocks/>
              <a:stCxn id="144" idx="6"/>
              <a:endCxn id="152" idx="0"/>
            </p:cNvCxnSpPr>
            <p:nvPr/>
          </p:nvCxnSpPr>
          <p:spPr>
            <a:xfrm>
              <a:off x="10944502" y="3140872"/>
              <a:ext cx="346762" cy="820771"/>
            </a:xfrm>
            <a:prstGeom prst="curvedConnector2">
              <a:avLst/>
            </a:prstGeom>
            <a:grpFill/>
            <a:ln>
              <a:solidFill>
                <a:schemeClr val="accent3"/>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5" name="Connector: Curved 174">
              <a:extLst>
                <a:ext uri="{FF2B5EF4-FFF2-40B4-BE49-F238E27FC236}">
                  <a16:creationId xmlns:a16="http://schemas.microsoft.com/office/drawing/2014/main" id="{7ED743F4-0D5E-4E39-80F8-CEED276B84F2}"/>
                </a:ext>
              </a:extLst>
            </p:cNvPr>
            <p:cNvCxnSpPr>
              <a:cxnSpLocks/>
              <a:stCxn id="148" idx="4"/>
              <a:endCxn id="152" idx="4"/>
            </p:cNvCxnSpPr>
            <p:nvPr/>
          </p:nvCxnSpPr>
          <p:spPr>
            <a:xfrm rot="5400000" flipH="1" flipV="1">
              <a:off x="10732413" y="3781040"/>
              <a:ext cx="12487" cy="1105214"/>
            </a:xfrm>
            <a:prstGeom prst="curvedConnector3">
              <a:avLst>
                <a:gd name="adj1" fmla="val -1830704"/>
              </a:avLst>
            </a:prstGeom>
            <a:grpFill/>
            <a:ln>
              <a:solidFill>
                <a:schemeClr val="accent3"/>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58306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3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5" grpId="0" animBg="1"/>
      <p:bldP spid="7" grpId="0" animBg="1"/>
      <p:bldP spid="123"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1FC4522-BF47-5A97-5A48-91D77FC26C7F}"/>
              </a:ext>
            </a:extLst>
          </p:cNvPr>
          <p:cNvPicPr>
            <a:picLocks/>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501649" y="2730091"/>
            <a:ext cx="4700016" cy="3328416"/>
          </a:xfrm>
          <a:prstGeom prst="rect">
            <a:avLst/>
          </a:prstGeom>
          <a:effectLst>
            <a:softEdge rad="0"/>
          </a:effectLst>
        </p:spPr>
      </p:pic>
      <p:cxnSp>
        <p:nvCxnSpPr>
          <p:cNvPr id="13" name="Straight Connector 12">
            <a:extLst>
              <a:ext uri="{FF2B5EF4-FFF2-40B4-BE49-F238E27FC236}">
                <a16:creationId xmlns:a16="http://schemas.microsoft.com/office/drawing/2014/main" id="{07DA9BEA-0688-BF6D-BACF-3D3ABFA3630F}"/>
              </a:ext>
            </a:extLst>
          </p:cNvPr>
          <p:cNvCxnSpPr>
            <a:cxnSpLocks/>
          </p:cNvCxnSpPr>
          <p:nvPr/>
        </p:nvCxnSpPr>
        <p:spPr>
          <a:xfrm>
            <a:off x="5254791" y="1257086"/>
            <a:ext cx="0" cy="480941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1">
            <a:extLst>
              <a:ext uri="{FF2B5EF4-FFF2-40B4-BE49-F238E27FC236}">
                <a16:creationId xmlns:a16="http://schemas.microsoft.com/office/drawing/2014/main" id="{53BEC972-0F83-38FF-011C-55E433E1398A}"/>
              </a:ext>
            </a:extLst>
          </p:cNvPr>
          <p:cNvSpPr txBox="1">
            <a:spLocks/>
          </p:cNvSpPr>
          <p:nvPr/>
        </p:nvSpPr>
        <p:spPr>
          <a:xfrm>
            <a:off x="405232" y="721811"/>
            <a:ext cx="4162118" cy="390774"/>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575757"/>
                </a:solidFill>
                <a:latin typeface="Open Sans" panose="020B0606030504020204" pitchFamily="34" charset="0"/>
                <a:ea typeface="Open Sans" panose="020B0606030504020204" pitchFamily="34" charset="0"/>
                <a:cs typeface="Open Sans" panose="020B0606030504020204" pitchFamily="34" charset="0"/>
              </a:rPr>
              <a:t>Prototypes to scaled solutions</a:t>
            </a:r>
          </a:p>
        </p:txBody>
      </p:sp>
      <p:sp>
        <p:nvSpPr>
          <p:cNvPr id="5" name="Title 2">
            <a:extLst>
              <a:ext uri="{FF2B5EF4-FFF2-40B4-BE49-F238E27FC236}">
                <a16:creationId xmlns:a16="http://schemas.microsoft.com/office/drawing/2014/main" id="{C6FB49B4-1057-909D-F71A-A88F7AD1C80E}"/>
              </a:ext>
            </a:extLst>
          </p:cNvPr>
          <p:cNvSpPr>
            <a:spLocks noGrp="1"/>
          </p:cNvSpPr>
          <p:nvPr>
            <p:ph type="title"/>
          </p:nvPr>
        </p:nvSpPr>
        <p:spPr>
          <a:xfrm>
            <a:off x="464400" y="417600"/>
            <a:ext cx="5412323" cy="322191"/>
          </a:xfrm>
        </p:spPr>
        <p:txBody>
          <a:bodyPr>
            <a:noAutofit/>
          </a:bodyPr>
          <a:lstStyle/>
          <a:p>
            <a:r>
              <a:rPr lang="en-US" sz="2400" dirty="0"/>
              <a:t>What will happen to the prototypes?</a:t>
            </a:r>
          </a:p>
        </p:txBody>
      </p:sp>
      <p:sp>
        <p:nvSpPr>
          <p:cNvPr id="4" name="Arrow: Right 3">
            <a:extLst>
              <a:ext uri="{FF2B5EF4-FFF2-40B4-BE49-F238E27FC236}">
                <a16:creationId xmlns:a16="http://schemas.microsoft.com/office/drawing/2014/main" id="{0303DBA0-A6EA-F484-5451-BF880F931AF9}"/>
              </a:ext>
            </a:extLst>
          </p:cNvPr>
          <p:cNvSpPr/>
          <p:nvPr/>
        </p:nvSpPr>
        <p:spPr>
          <a:xfrm>
            <a:off x="521314" y="6076338"/>
            <a:ext cx="4672986" cy="681432"/>
          </a:xfrm>
          <a:prstGeom prst="rightArrow">
            <a:avLst/>
          </a:prstGeom>
          <a:solidFill>
            <a:srgbClr val="0D83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Open Sans" panose="020B0606030504020204" pitchFamily="34" charset="0"/>
                <a:ea typeface="Open Sans" panose="020B0606030504020204" pitchFamily="34" charset="0"/>
                <a:cs typeface="Open Sans" panose="020B0606030504020204" pitchFamily="34" charset="0"/>
              </a:rPr>
              <a:t>Prototypes</a:t>
            </a:r>
          </a:p>
        </p:txBody>
      </p:sp>
      <p:sp>
        <p:nvSpPr>
          <p:cNvPr id="12" name="Arrow: Right 11">
            <a:extLst>
              <a:ext uri="{FF2B5EF4-FFF2-40B4-BE49-F238E27FC236}">
                <a16:creationId xmlns:a16="http://schemas.microsoft.com/office/drawing/2014/main" id="{F357D4CF-2BF6-67C0-29FF-6D3CFE5E19FA}"/>
              </a:ext>
            </a:extLst>
          </p:cNvPr>
          <p:cNvSpPr/>
          <p:nvPr/>
        </p:nvSpPr>
        <p:spPr>
          <a:xfrm>
            <a:off x="6830235" y="6076338"/>
            <a:ext cx="4672584" cy="681432"/>
          </a:xfrm>
          <a:prstGeom prst="rightArrow">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Open Sans" panose="020B0606030504020204" pitchFamily="34" charset="0"/>
                <a:ea typeface="Open Sans" panose="020B0606030504020204" pitchFamily="34" charset="0"/>
                <a:cs typeface="Open Sans" panose="020B0606030504020204" pitchFamily="34" charset="0"/>
              </a:rPr>
              <a:t>Scaled solutions</a:t>
            </a:r>
          </a:p>
        </p:txBody>
      </p:sp>
      <p:sp>
        <p:nvSpPr>
          <p:cNvPr id="10" name="Text Placeholder 3">
            <a:extLst>
              <a:ext uri="{FF2B5EF4-FFF2-40B4-BE49-F238E27FC236}">
                <a16:creationId xmlns:a16="http://schemas.microsoft.com/office/drawing/2014/main" id="{F6285ACE-560C-F47D-4C3F-26943F62513C}"/>
              </a:ext>
            </a:extLst>
          </p:cNvPr>
          <p:cNvSpPr txBox="1">
            <a:spLocks/>
          </p:cNvSpPr>
          <p:nvPr/>
        </p:nvSpPr>
        <p:spPr bwMode="gray">
          <a:xfrm>
            <a:off x="405237" y="1291996"/>
            <a:ext cx="4796428" cy="1349604"/>
          </a:xfrm>
          <a:prstGeom prst="rect">
            <a:avLst/>
          </a:prstGeom>
        </p:spPr>
        <p:txBody>
          <a:bodyPr vert="horz" lIns="0" tIns="0" rIns="0" bIns="0" rtlCol="0" anchor="ctr">
            <a:noAutofit/>
          </a:bodyPr>
          <a:lstStyle>
            <a:defPPr>
              <a:defRPr lang="en-HU"/>
            </a:defPPr>
            <a:lvl2pPr marL="265725" lvl="1" indent="-85725">
              <a:spcBef>
                <a:spcPts val="450"/>
              </a:spcBef>
              <a:buSzPct val="100000"/>
              <a:buFont typeface="Arial"/>
              <a:buChar char="•"/>
              <a:defRPr sz="1200">
                <a:solidFill>
                  <a:schemeClr val="bg1"/>
                </a:solidFill>
              </a:defRPr>
            </a:lvl2pPr>
          </a:lstStyle>
          <a:p>
            <a:pPr marL="265430" lvl="1">
              <a:spcBef>
                <a:spcPts val="300"/>
              </a:spcBef>
            </a:pP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ith the </a:t>
            </a:r>
            <a:r>
              <a:rPr lang="en-US"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totyping Factory model</a:t>
            </a: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we can demonstrate value in a repeated way</a:t>
            </a:r>
          </a:p>
          <a:p>
            <a:pPr marL="265430" lvl="1">
              <a:spcBef>
                <a:spcPts val="300"/>
              </a:spcBef>
            </a:pP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se case lifecycles are </a:t>
            </a:r>
            <a:r>
              <a:rPr lang="en-US"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being continuously monitored </a:t>
            </a: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with </a:t>
            </a:r>
            <a:r>
              <a:rPr lang="en-US"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llected feedback </a:t>
            </a: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o assess </a:t>
            </a:r>
            <a:r>
              <a:rPr lang="en-US"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ser adoption </a:t>
            </a: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nd </a:t>
            </a:r>
            <a:r>
              <a:rPr lang="en-US"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bility to generate actionable insights</a:t>
            </a:r>
          </a:p>
          <a:p>
            <a:pPr marL="265430" lvl="1">
              <a:spcBef>
                <a:spcPts val="300"/>
              </a:spcBef>
            </a:pP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nce ROI and solution value is proven – or disproven, a </a:t>
            </a:r>
            <a:r>
              <a:rPr lang="en-US"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go/no-go decision happens</a:t>
            </a:r>
          </a:p>
        </p:txBody>
      </p:sp>
      <p:sp>
        <p:nvSpPr>
          <p:cNvPr id="14" name="Text Placeholder 3">
            <a:extLst>
              <a:ext uri="{FF2B5EF4-FFF2-40B4-BE49-F238E27FC236}">
                <a16:creationId xmlns:a16="http://schemas.microsoft.com/office/drawing/2014/main" id="{441D4BB8-5826-A7B3-AAD1-791F33A37342}"/>
              </a:ext>
            </a:extLst>
          </p:cNvPr>
          <p:cNvSpPr txBox="1">
            <a:spLocks/>
          </p:cNvSpPr>
          <p:nvPr/>
        </p:nvSpPr>
        <p:spPr bwMode="gray">
          <a:xfrm>
            <a:off x="6834927" y="1291996"/>
            <a:ext cx="4354944" cy="1349604"/>
          </a:xfrm>
          <a:prstGeom prst="rect">
            <a:avLst/>
          </a:prstGeom>
        </p:spPr>
        <p:txBody>
          <a:bodyPr vert="horz" lIns="0" tIns="0" rIns="0" bIns="0" rtlCol="0" anchor="ctr">
            <a:noAutofit/>
          </a:bodyPr>
          <a:lstStyle>
            <a:defPPr>
              <a:defRPr lang="en-HU"/>
            </a:defPPr>
            <a:lvl2pPr marL="265725" lvl="1" indent="-85725">
              <a:spcBef>
                <a:spcPts val="450"/>
              </a:spcBef>
              <a:buSzPct val="100000"/>
              <a:buFont typeface="Arial"/>
              <a:buChar char="•"/>
              <a:defRPr sz="1200">
                <a:solidFill>
                  <a:schemeClr val="bg1"/>
                </a:solidFill>
              </a:defRPr>
            </a:lvl2pPr>
          </a:lstStyle>
          <a:p>
            <a:pPr marL="265430" lvl="1">
              <a:spcBef>
                <a:spcPts val="300"/>
              </a:spcBef>
            </a:pP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ome of the developed Prototypes won’t make the cut and will be decommissioned – or will receive potential improvements</a:t>
            </a:r>
          </a:p>
          <a:p>
            <a:pPr marL="265430" lvl="1">
              <a:spcBef>
                <a:spcPts val="300"/>
              </a:spcBef>
            </a:pP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most successful implementations will have their </a:t>
            </a:r>
            <a:r>
              <a:rPr lang="en-US"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full-scale value proven</a:t>
            </a:r>
          </a:p>
          <a:p>
            <a:pPr marL="265430" lvl="1">
              <a:spcBef>
                <a:spcPts val="300"/>
              </a:spcBef>
            </a:pPr>
            <a:r>
              <a:rPr lang="en-US"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caling up actions can include </a:t>
            </a:r>
            <a:r>
              <a:rPr lang="en-US"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ployment to other markets or integrating additional data sources</a:t>
            </a:r>
          </a:p>
        </p:txBody>
      </p:sp>
      <p:sp>
        <p:nvSpPr>
          <p:cNvPr id="2" name="TextBox 1">
            <a:extLst>
              <a:ext uri="{FF2B5EF4-FFF2-40B4-BE49-F238E27FC236}">
                <a16:creationId xmlns:a16="http://schemas.microsoft.com/office/drawing/2014/main" id="{450C0721-1094-7371-BDD4-59D8E5AEC422}"/>
              </a:ext>
            </a:extLst>
          </p:cNvPr>
          <p:cNvSpPr txBox="1"/>
          <p:nvPr/>
        </p:nvSpPr>
        <p:spPr>
          <a:xfrm>
            <a:off x="5117684" y="6233341"/>
            <a:ext cx="18034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Go/No-go?</a:t>
            </a:r>
          </a:p>
        </p:txBody>
      </p:sp>
      <p:cxnSp>
        <p:nvCxnSpPr>
          <p:cNvPr id="16" name="Straight Connector 15">
            <a:extLst>
              <a:ext uri="{FF2B5EF4-FFF2-40B4-BE49-F238E27FC236}">
                <a16:creationId xmlns:a16="http://schemas.microsoft.com/office/drawing/2014/main" id="{CBF73607-1758-9145-3A02-155C65559480}"/>
              </a:ext>
            </a:extLst>
          </p:cNvPr>
          <p:cNvCxnSpPr>
            <a:cxnSpLocks/>
          </p:cNvCxnSpPr>
          <p:nvPr/>
        </p:nvCxnSpPr>
        <p:spPr>
          <a:xfrm>
            <a:off x="6790907" y="1291996"/>
            <a:ext cx="0" cy="480941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AA8DAC95-7CF1-06FB-AEE6-31169123CA03}"/>
              </a:ext>
            </a:extLst>
          </p:cNvPr>
          <p:cNvPicPr>
            <a:picLocks/>
          </p:cNvPicPr>
          <p:nvPr/>
        </p:nvPicPr>
        <p:blipFill>
          <a:blip r:embed="rId4" cstate="email">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5">
                    <a14:imgEffect>
                      <a14:colorTemperature colorTemp="4700"/>
                    </a14:imgEffect>
                    <a14:imgEffect>
                      <a14:saturation sat="400000"/>
                    </a14:imgEffect>
                  </a14:imgLayer>
                </a14:imgProps>
              </a:ext>
              <a:ext uri="{28A0092B-C50C-407E-A947-70E740481C1C}">
                <a14:useLocalDpi xmlns:a14="http://schemas.microsoft.com/office/drawing/2010/main"/>
              </a:ext>
            </a:extLst>
          </a:blip>
          <a:stretch>
            <a:fillRect/>
          </a:stretch>
        </p:blipFill>
        <p:spPr>
          <a:xfrm>
            <a:off x="6834927" y="2747919"/>
            <a:ext cx="4700016" cy="3328416"/>
          </a:xfrm>
          <a:prstGeom prst="rect">
            <a:avLst/>
          </a:prstGeom>
        </p:spPr>
      </p:pic>
      <mc:AlternateContent xmlns:mc="http://schemas.openxmlformats.org/markup-compatibility/2006" xmlns:p14="http://schemas.microsoft.com/office/powerpoint/2010/main">
        <mc:Choice Requires="p14">
          <p:contentPart p14:bwMode="auto" r:id="rId6">
            <p14:nvContentPartPr>
              <p14:cNvPr id="66" name="Ink 65">
                <a:extLst>
                  <a:ext uri="{FF2B5EF4-FFF2-40B4-BE49-F238E27FC236}">
                    <a16:creationId xmlns:a16="http://schemas.microsoft.com/office/drawing/2014/main" id="{52254A64-87E7-B602-8FAD-0AEE36DA275D}"/>
                  </a:ext>
                </a:extLst>
              </p14:cNvPr>
              <p14:cNvContentPartPr/>
              <p14:nvPr/>
            </p14:nvContentPartPr>
            <p14:xfrm>
              <a:off x="8416305" y="2988588"/>
              <a:ext cx="360" cy="360"/>
            </p14:xfrm>
          </p:contentPart>
        </mc:Choice>
        <mc:Fallback xmlns="">
          <p:pic>
            <p:nvPicPr>
              <p:cNvPr id="66" name="Ink 65">
                <a:extLst>
                  <a:ext uri="{FF2B5EF4-FFF2-40B4-BE49-F238E27FC236}">
                    <a16:creationId xmlns:a16="http://schemas.microsoft.com/office/drawing/2014/main" id="{52254A64-87E7-B602-8FAD-0AEE36DA275D}"/>
                  </a:ext>
                </a:extLst>
              </p:cNvPr>
              <p:cNvPicPr/>
              <p:nvPr/>
            </p:nvPicPr>
            <p:blipFill>
              <a:blip r:embed="rId7"/>
              <a:stretch>
                <a:fillRect/>
              </a:stretch>
            </p:blipFill>
            <p:spPr>
              <a:xfrm>
                <a:off x="8411985" y="2984268"/>
                <a:ext cx="9000" cy="9000"/>
              </a:xfrm>
              <a:prstGeom prst="rect">
                <a:avLst/>
              </a:prstGeom>
            </p:spPr>
          </p:pic>
        </mc:Fallback>
      </mc:AlternateContent>
      <p:cxnSp>
        <p:nvCxnSpPr>
          <p:cNvPr id="70" name="Straight Connector 69">
            <a:extLst>
              <a:ext uri="{FF2B5EF4-FFF2-40B4-BE49-F238E27FC236}">
                <a16:creationId xmlns:a16="http://schemas.microsoft.com/office/drawing/2014/main" id="{D7B55885-E33B-723F-89C0-F67C64D56433}"/>
              </a:ext>
            </a:extLst>
          </p:cNvPr>
          <p:cNvCxnSpPr>
            <a:cxnSpLocks/>
          </p:cNvCxnSpPr>
          <p:nvPr/>
        </p:nvCxnSpPr>
        <p:spPr>
          <a:xfrm>
            <a:off x="5287864" y="2920179"/>
            <a:ext cx="1463040" cy="0"/>
          </a:xfrm>
          <a:prstGeom prst="line">
            <a:avLst/>
          </a:prstGeom>
          <a:ln w="381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980C21-24CB-2571-88CB-464F89D295AA}"/>
              </a:ext>
            </a:extLst>
          </p:cNvPr>
          <p:cNvCxnSpPr>
            <a:cxnSpLocks/>
          </p:cNvCxnSpPr>
          <p:nvPr/>
        </p:nvCxnSpPr>
        <p:spPr>
          <a:xfrm>
            <a:off x="5287864" y="4822721"/>
            <a:ext cx="1463040" cy="0"/>
          </a:xfrm>
          <a:prstGeom prst="line">
            <a:avLst/>
          </a:prstGeom>
          <a:ln w="381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635AB8B-F75E-A0B9-668D-193E5A0CF36F}"/>
              </a:ext>
            </a:extLst>
          </p:cNvPr>
          <p:cNvCxnSpPr>
            <a:cxnSpLocks/>
          </p:cNvCxnSpPr>
          <p:nvPr/>
        </p:nvCxnSpPr>
        <p:spPr>
          <a:xfrm>
            <a:off x="5287864" y="5255340"/>
            <a:ext cx="1463040" cy="0"/>
          </a:xfrm>
          <a:prstGeom prst="line">
            <a:avLst/>
          </a:prstGeom>
          <a:ln w="381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6EF7307F-42E7-C2E4-D713-E407907D3E01}"/>
              </a:ext>
            </a:extLst>
          </p:cNvPr>
          <p:cNvCxnSpPr>
            <a:cxnSpLocks/>
          </p:cNvCxnSpPr>
          <p:nvPr/>
        </p:nvCxnSpPr>
        <p:spPr>
          <a:xfrm>
            <a:off x="5287864" y="3770669"/>
            <a:ext cx="1463040" cy="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650044C-108D-D38D-7195-6A9706CCBACF}"/>
              </a:ext>
            </a:extLst>
          </p:cNvPr>
          <p:cNvCxnSpPr>
            <a:cxnSpLocks/>
          </p:cNvCxnSpPr>
          <p:nvPr/>
        </p:nvCxnSpPr>
        <p:spPr>
          <a:xfrm>
            <a:off x="5278032" y="5673211"/>
            <a:ext cx="1463040" cy="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BBAB465B-30D5-C431-E73B-869CADB99697}"/>
              </a:ext>
            </a:extLst>
          </p:cNvPr>
          <p:cNvSpPr txBox="1"/>
          <p:nvPr/>
        </p:nvSpPr>
        <p:spPr>
          <a:xfrm>
            <a:off x="405236" y="2907498"/>
            <a:ext cx="971279" cy="230832"/>
          </a:xfrm>
          <a:prstGeom prst="rect">
            <a:avLst/>
          </a:prstGeom>
          <a:noFill/>
        </p:spPr>
        <p:txBody>
          <a:bodyPr wrap="square" rtlCol="0">
            <a:spAutoFit/>
          </a:bodyPr>
          <a:lstStyle/>
          <a:p>
            <a:r>
              <a:rPr lang="en-US" sz="900" b="1" dirty="0">
                <a:solidFill>
                  <a:srgbClr val="0D8390"/>
                </a:solidFill>
                <a:latin typeface="Open Sans" panose="020B0606030504020204" pitchFamily="34" charset="0"/>
                <a:ea typeface="Open Sans" panose="020B0606030504020204" pitchFamily="34" charset="0"/>
                <a:cs typeface="Open Sans" panose="020B0606030504020204" pitchFamily="34" charset="0"/>
              </a:rPr>
              <a:t>Prototype #1</a:t>
            </a:r>
          </a:p>
        </p:txBody>
      </p:sp>
      <p:sp>
        <p:nvSpPr>
          <p:cNvPr id="79" name="TextBox 78">
            <a:extLst>
              <a:ext uri="{FF2B5EF4-FFF2-40B4-BE49-F238E27FC236}">
                <a16:creationId xmlns:a16="http://schemas.microsoft.com/office/drawing/2014/main" id="{49FF675E-DE01-337E-AD7F-B1AB7370F1EC}"/>
              </a:ext>
            </a:extLst>
          </p:cNvPr>
          <p:cNvSpPr txBox="1"/>
          <p:nvPr/>
        </p:nvSpPr>
        <p:spPr>
          <a:xfrm>
            <a:off x="405235" y="3305889"/>
            <a:ext cx="1048959" cy="230832"/>
          </a:xfrm>
          <a:prstGeom prst="rect">
            <a:avLst/>
          </a:prstGeom>
          <a:noFill/>
        </p:spPr>
        <p:txBody>
          <a:bodyPr wrap="square" rtlCol="0">
            <a:spAutoFit/>
          </a:bodyPr>
          <a:lstStyle/>
          <a:p>
            <a:r>
              <a:rPr lang="en-US" sz="900" b="1" dirty="0">
                <a:solidFill>
                  <a:srgbClr val="0D8390"/>
                </a:solidFill>
                <a:latin typeface="Open Sans" panose="020B0606030504020204" pitchFamily="34" charset="0"/>
                <a:ea typeface="Open Sans" panose="020B0606030504020204" pitchFamily="34" charset="0"/>
                <a:cs typeface="Open Sans" panose="020B0606030504020204" pitchFamily="34" charset="0"/>
              </a:rPr>
              <a:t>Prototype #2</a:t>
            </a:r>
          </a:p>
        </p:txBody>
      </p:sp>
      <p:sp>
        <p:nvSpPr>
          <p:cNvPr id="80" name="TextBox 79">
            <a:extLst>
              <a:ext uri="{FF2B5EF4-FFF2-40B4-BE49-F238E27FC236}">
                <a16:creationId xmlns:a16="http://schemas.microsoft.com/office/drawing/2014/main" id="{B99ABFBD-21F2-096F-5760-12CDBD4FFC3A}"/>
              </a:ext>
            </a:extLst>
          </p:cNvPr>
          <p:cNvSpPr txBox="1"/>
          <p:nvPr/>
        </p:nvSpPr>
        <p:spPr>
          <a:xfrm>
            <a:off x="405234" y="3719746"/>
            <a:ext cx="1048959" cy="230832"/>
          </a:xfrm>
          <a:prstGeom prst="rect">
            <a:avLst/>
          </a:prstGeom>
          <a:noFill/>
        </p:spPr>
        <p:txBody>
          <a:bodyPr wrap="square" rtlCol="0">
            <a:spAutoFit/>
          </a:bodyPr>
          <a:lstStyle/>
          <a:p>
            <a:r>
              <a:rPr lang="en-US" sz="900" b="1">
                <a:solidFill>
                  <a:srgbClr val="0D8390"/>
                </a:solidFill>
                <a:latin typeface="Open Sans" panose="020B0606030504020204" pitchFamily="34" charset="0"/>
                <a:ea typeface="Open Sans" panose="020B0606030504020204" pitchFamily="34" charset="0"/>
                <a:cs typeface="Open Sans" panose="020B0606030504020204" pitchFamily="34" charset="0"/>
              </a:rPr>
              <a:t>Prototype #3</a:t>
            </a:r>
          </a:p>
        </p:txBody>
      </p:sp>
      <p:sp>
        <p:nvSpPr>
          <p:cNvPr id="81" name="TextBox 80">
            <a:extLst>
              <a:ext uri="{FF2B5EF4-FFF2-40B4-BE49-F238E27FC236}">
                <a16:creationId xmlns:a16="http://schemas.microsoft.com/office/drawing/2014/main" id="{8A6D5DC2-809A-39DB-1271-4F8520F926DB}"/>
              </a:ext>
            </a:extLst>
          </p:cNvPr>
          <p:cNvSpPr txBox="1"/>
          <p:nvPr/>
        </p:nvSpPr>
        <p:spPr>
          <a:xfrm>
            <a:off x="405233" y="4236063"/>
            <a:ext cx="1048959" cy="230832"/>
          </a:xfrm>
          <a:prstGeom prst="rect">
            <a:avLst/>
          </a:prstGeom>
          <a:noFill/>
        </p:spPr>
        <p:txBody>
          <a:bodyPr wrap="square" rtlCol="0">
            <a:spAutoFit/>
          </a:bodyPr>
          <a:lstStyle/>
          <a:p>
            <a:r>
              <a:rPr lang="en-US" sz="900" b="1">
                <a:solidFill>
                  <a:srgbClr val="0D8390"/>
                </a:solidFill>
                <a:latin typeface="Open Sans" panose="020B0606030504020204" pitchFamily="34" charset="0"/>
                <a:ea typeface="Open Sans" panose="020B0606030504020204" pitchFamily="34" charset="0"/>
                <a:cs typeface="Open Sans" panose="020B0606030504020204" pitchFamily="34" charset="0"/>
              </a:rPr>
              <a:t>Prototype #4</a:t>
            </a:r>
          </a:p>
        </p:txBody>
      </p:sp>
      <p:sp>
        <p:nvSpPr>
          <p:cNvPr id="82" name="TextBox 81">
            <a:extLst>
              <a:ext uri="{FF2B5EF4-FFF2-40B4-BE49-F238E27FC236}">
                <a16:creationId xmlns:a16="http://schemas.microsoft.com/office/drawing/2014/main" id="{60CFD118-D324-665E-05A5-4692E3BEE1C3}"/>
              </a:ext>
            </a:extLst>
          </p:cNvPr>
          <p:cNvSpPr txBox="1"/>
          <p:nvPr/>
        </p:nvSpPr>
        <p:spPr>
          <a:xfrm>
            <a:off x="405232" y="5091206"/>
            <a:ext cx="1048959" cy="230832"/>
          </a:xfrm>
          <a:prstGeom prst="rect">
            <a:avLst/>
          </a:prstGeom>
          <a:noFill/>
        </p:spPr>
        <p:txBody>
          <a:bodyPr wrap="square" rtlCol="0">
            <a:spAutoFit/>
          </a:bodyPr>
          <a:lstStyle/>
          <a:p>
            <a:r>
              <a:rPr lang="en-US" sz="900" b="1">
                <a:solidFill>
                  <a:srgbClr val="0D8390"/>
                </a:solidFill>
                <a:latin typeface="Open Sans" panose="020B0606030504020204" pitchFamily="34" charset="0"/>
                <a:ea typeface="Open Sans" panose="020B0606030504020204" pitchFamily="34" charset="0"/>
                <a:cs typeface="Open Sans" panose="020B0606030504020204" pitchFamily="34" charset="0"/>
              </a:rPr>
              <a:t>Prototype #5</a:t>
            </a:r>
          </a:p>
        </p:txBody>
      </p:sp>
      <p:sp>
        <p:nvSpPr>
          <p:cNvPr id="83" name="TextBox 82">
            <a:extLst>
              <a:ext uri="{FF2B5EF4-FFF2-40B4-BE49-F238E27FC236}">
                <a16:creationId xmlns:a16="http://schemas.microsoft.com/office/drawing/2014/main" id="{1D352771-01DC-F9C2-6787-E73633507A09}"/>
              </a:ext>
            </a:extLst>
          </p:cNvPr>
          <p:cNvSpPr txBox="1"/>
          <p:nvPr/>
        </p:nvSpPr>
        <p:spPr>
          <a:xfrm>
            <a:off x="6830911" y="3647558"/>
            <a:ext cx="971279" cy="246221"/>
          </a:xfrm>
          <a:prstGeom prst="rect">
            <a:avLst/>
          </a:prstGeom>
          <a:noFill/>
        </p:spPr>
        <p:txBody>
          <a:bodyPr wrap="square" rtlCol="0">
            <a:spAutoFit/>
          </a:bodyPr>
          <a:lstStyle/>
          <a:p>
            <a:r>
              <a:rPr lang="en-US" sz="1000" b="1">
                <a:solidFill>
                  <a:srgbClr val="FF0000"/>
                </a:solidFill>
                <a:latin typeface="Open Sans" panose="020B0606030504020204" pitchFamily="34" charset="0"/>
                <a:ea typeface="Open Sans" panose="020B0606030504020204" pitchFamily="34" charset="0"/>
                <a:cs typeface="Open Sans" panose="020B0606030504020204" pitchFamily="34" charset="0"/>
              </a:rPr>
              <a:t>No scaling</a:t>
            </a:r>
          </a:p>
        </p:txBody>
      </p:sp>
      <p:sp>
        <p:nvSpPr>
          <p:cNvPr id="84" name="TextBox 83">
            <a:extLst>
              <a:ext uri="{FF2B5EF4-FFF2-40B4-BE49-F238E27FC236}">
                <a16:creationId xmlns:a16="http://schemas.microsoft.com/office/drawing/2014/main" id="{394FE83A-8A6C-5D42-621A-C97611F1092C}"/>
              </a:ext>
            </a:extLst>
          </p:cNvPr>
          <p:cNvSpPr txBox="1"/>
          <p:nvPr/>
        </p:nvSpPr>
        <p:spPr>
          <a:xfrm>
            <a:off x="6785091" y="5550052"/>
            <a:ext cx="971279" cy="246221"/>
          </a:xfrm>
          <a:prstGeom prst="rect">
            <a:avLst/>
          </a:prstGeom>
          <a:noFill/>
        </p:spPr>
        <p:txBody>
          <a:bodyPr wrap="square" rtlCol="0">
            <a:spAutoFit/>
          </a:bodyPr>
          <a:lstStyle/>
          <a:p>
            <a:r>
              <a:rPr lang="en-US" sz="1000" b="1">
                <a:solidFill>
                  <a:srgbClr val="FF0000"/>
                </a:solidFill>
                <a:latin typeface="Open Sans" panose="020B0606030504020204" pitchFamily="34" charset="0"/>
                <a:ea typeface="Open Sans" panose="020B0606030504020204" pitchFamily="34" charset="0"/>
                <a:cs typeface="Open Sans" panose="020B0606030504020204" pitchFamily="34" charset="0"/>
              </a:rPr>
              <a:t>No scaling</a:t>
            </a:r>
          </a:p>
        </p:txBody>
      </p:sp>
      <p:sp>
        <p:nvSpPr>
          <p:cNvPr id="85" name="TextBox 84">
            <a:extLst>
              <a:ext uri="{FF2B5EF4-FFF2-40B4-BE49-F238E27FC236}">
                <a16:creationId xmlns:a16="http://schemas.microsoft.com/office/drawing/2014/main" id="{3B36A589-1527-DA67-23D4-17E8795B183B}"/>
              </a:ext>
            </a:extLst>
          </p:cNvPr>
          <p:cNvSpPr txBox="1"/>
          <p:nvPr/>
        </p:nvSpPr>
        <p:spPr>
          <a:xfrm>
            <a:off x="10443792" y="2845240"/>
            <a:ext cx="1246199" cy="230832"/>
          </a:xfrm>
          <a:prstGeom prst="rect">
            <a:avLst/>
          </a:prstGeom>
          <a:noFill/>
        </p:spPr>
        <p:txBody>
          <a:bodyPr wrap="square" rtlCol="0">
            <a:spAutoFit/>
          </a:bodyPr>
          <a:lstStyle/>
          <a:p>
            <a:r>
              <a:rPr lang="en-US" sz="9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Scaled solution #1</a:t>
            </a:r>
          </a:p>
        </p:txBody>
      </p:sp>
      <p:sp>
        <p:nvSpPr>
          <p:cNvPr id="86" name="TextBox 85">
            <a:extLst>
              <a:ext uri="{FF2B5EF4-FFF2-40B4-BE49-F238E27FC236}">
                <a16:creationId xmlns:a16="http://schemas.microsoft.com/office/drawing/2014/main" id="{816C3938-41DF-0AA1-D7AF-F9B56397D393}"/>
              </a:ext>
            </a:extLst>
          </p:cNvPr>
          <p:cNvSpPr txBox="1"/>
          <p:nvPr/>
        </p:nvSpPr>
        <p:spPr>
          <a:xfrm>
            <a:off x="10435664" y="3295273"/>
            <a:ext cx="1246199" cy="230832"/>
          </a:xfrm>
          <a:prstGeom prst="rect">
            <a:avLst/>
          </a:prstGeom>
          <a:noFill/>
        </p:spPr>
        <p:txBody>
          <a:bodyPr wrap="square" rtlCol="0">
            <a:spAutoFit/>
          </a:bodyPr>
          <a:lstStyle/>
          <a:p>
            <a:r>
              <a:rPr lang="en-US" sz="9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Scaled solution #2</a:t>
            </a:r>
          </a:p>
        </p:txBody>
      </p:sp>
      <p:sp>
        <p:nvSpPr>
          <p:cNvPr id="87" name="TextBox 86">
            <a:extLst>
              <a:ext uri="{FF2B5EF4-FFF2-40B4-BE49-F238E27FC236}">
                <a16:creationId xmlns:a16="http://schemas.microsoft.com/office/drawing/2014/main" id="{AD88792E-6365-39CA-540D-DC98B829C506}"/>
              </a:ext>
            </a:extLst>
          </p:cNvPr>
          <p:cNvSpPr txBox="1"/>
          <p:nvPr/>
        </p:nvSpPr>
        <p:spPr>
          <a:xfrm>
            <a:off x="10443792" y="4174954"/>
            <a:ext cx="1246199" cy="230832"/>
          </a:xfrm>
          <a:prstGeom prst="rect">
            <a:avLst/>
          </a:prstGeom>
          <a:noFill/>
        </p:spPr>
        <p:txBody>
          <a:bodyPr wrap="square" rtlCol="0">
            <a:spAutoFit/>
          </a:bodyPr>
          <a:lstStyle/>
          <a:p>
            <a:r>
              <a:rPr lang="en-US" sz="9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Scaled solution #3</a:t>
            </a:r>
          </a:p>
        </p:txBody>
      </p:sp>
    </p:spTree>
    <p:extLst>
      <p:ext uri="{BB962C8B-B14F-4D97-AF65-F5344CB8AC3E}">
        <p14:creationId xmlns:p14="http://schemas.microsoft.com/office/powerpoint/2010/main" val="748799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018A22A-D9F2-783A-57CE-794311461B26}"/>
              </a:ext>
            </a:extLst>
          </p:cNvPr>
          <p:cNvSpPr txBox="1"/>
          <p:nvPr/>
        </p:nvSpPr>
        <p:spPr>
          <a:xfrm>
            <a:off x="12764655" y="360218"/>
            <a:ext cx="205184" cy="276999"/>
          </a:xfrm>
          <a:prstGeom prst="rect">
            <a:avLst/>
          </a:prstGeom>
          <a:noFill/>
        </p:spPr>
        <p:txBody>
          <a:bodyPr wrap="none" lIns="0" tIns="0" rIns="0" bIns="0" rtlCol="0">
            <a:spAutoFit/>
          </a:bodyPr>
          <a:lstStyle/>
          <a:p>
            <a:pPr marL="203200" indent="-203200">
              <a:spcBef>
                <a:spcPts val="600"/>
              </a:spcBef>
              <a:buSzPct val="100000"/>
              <a:buFont typeface="Arial"/>
              <a:buChar char="•"/>
            </a:pPr>
            <a:endParaRPr lang="en-HU">
              <a:solidFill>
                <a:srgbClr val="313131"/>
              </a:solidFill>
            </a:endParaRPr>
          </a:p>
        </p:txBody>
      </p:sp>
      <p:cxnSp>
        <p:nvCxnSpPr>
          <p:cNvPr id="47" name="Straight Connector 46">
            <a:extLst>
              <a:ext uri="{FF2B5EF4-FFF2-40B4-BE49-F238E27FC236}">
                <a16:creationId xmlns:a16="http://schemas.microsoft.com/office/drawing/2014/main" id="{9AC77D52-E981-6E56-D5E4-862731C12793}"/>
              </a:ext>
            </a:extLst>
          </p:cNvPr>
          <p:cNvCxnSpPr>
            <a:cxnSpLocks/>
          </p:cNvCxnSpPr>
          <p:nvPr/>
        </p:nvCxnSpPr>
        <p:spPr>
          <a:xfrm>
            <a:off x="6077966" y="2095400"/>
            <a:ext cx="0" cy="98166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383916B-A4FC-9F5A-9F2D-AF1438FC2703}"/>
              </a:ext>
            </a:extLst>
          </p:cNvPr>
          <p:cNvCxnSpPr>
            <a:cxnSpLocks/>
            <a:endCxn id="72" idx="0"/>
          </p:cNvCxnSpPr>
          <p:nvPr/>
        </p:nvCxnSpPr>
        <p:spPr>
          <a:xfrm flipH="1">
            <a:off x="10287876" y="2176651"/>
            <a:ext cx="626" cy="90042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Isosceles Triangle 13">
            <a:extLst>
              <a:ext uri="{FF2B5EF4-FFF2-40B4-BE49-F238E27FC236}">
                <a16:creationId xmlns:a16="http://schemas.microsoft.com/office/drawing/2014/main" id="{92381FAC-E8C1-7369-8455-1AA28B10B04F}"/>
              </a:ext>
            </a:extLst>
          </p:cNvPr>
          <p:cNvSpPr/>
          <p:nvPr/>
        </p:nvSpPr>
        <p:spPr>
          <a:xfrm rot="16200000">
            <a:off x="1793906" y="2055040"/>
            <a:ext cx="2173327" cy="2132881"/>
          </a:xfrm>
          <a:prstGeom prst="triangle">
            <a:avLst/>
          </a:prstGeom>
          <a:solidFill>
            <a:schemeClr val="accent1">
              <a:lumMod val="20000"/>
              <a:lumOff val="80000"/>
            </a:schemeClr>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9" name="Isosceles Triangle 14">
            <a:extLst>
              <a:ext uri="{FF2B5EF4-FFF2-40B4-BE49-F238E27FC236}">
                <a16:creationId xmlns:a16="http://schemas.microsoft.com/office/drawing/2014/main" id="{4036D665-D8C8-9925-72B4-AFA8178DA6DB}"/>
              </a:ext>
            </a:extLst>
          </p:cNvPr>
          <p:cNvSpPr/>
          <p:nvPr/>
        </p:nvSpPr>
        <p:spPr>
          <a:xfrm rot="5400000" flipH="1">
            <a:off x="3921384" y="2055039"/>
            <a:ext cx="2173327" cy="2132881"/>
          </a:xfrm>
          <a:prstGeom prst="triangle">
            <a:avLst/>
          </a:prstGeom>
          <a:solidFill>
            <a:schemeClr val="accent1">
              <a:lumMod val="20000"/>
              <a:lumOff val="80000"/>
            </a:schemeClr>
          </a:solidFill>
          <a:ln>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0" name="Isosceles Triangle 15">
            <a:extLst>
              <a:ext uri="{FF2B5EF4-FFF2-40B4-BE49-F238E27FC236}">
                <a16:creationId xmlns:a16="http://schemas.microsoft.com/office/drawing/2014/main" id="{4410375E-88A0-48EA-78FD-CD03CD9069C7}"/>
              </a:ext>
            </a:extLst>
          </p:cNvPr>
          <p:cNvSpPr/>
          <p:nvPr/>
        </p:nvSpPr>
        <p:spPr>
          <a:xfrm rot="16200000">
            <a:off x="6048865" y="2055038"/>
            <a:ext cx="2173325" cy="2132880"/>
          </a:xfrm>
          <a:prstGeom prst="triangle">
            <a:avLst/>
          </a:prstGeom>
          <a:solidFill>
            <a:schemeClr val="accent3">
              <a:lumMod val="20000"/>
              <a:lumOff val="80000"/>
            </a:schemeClr>
          </a:solidFill>
          <a:ln>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1" name="Isosceles Triangle 16">
            <a:extLst>
              <a:ext uri="{FF2B5EF4-FFF2-40B4-BE49-F238E27FC236}">
                <a16:creationId xmlns:a16="http://schemas.microsoft.com/office/drawing/2014/main" id="{85AA264B-A770-4FC3-D2FA-BEBD45F5C8CD}"/>
              </a:ext>
            </a:extLst>
          </p:cNvPr>
          <p:cNvSpPr/>
          <p:nvPr/>
        </p:nvSpPr>
        <p:spPr>
          <a:xfrm rot="5400000" flipH="1">
            <a:off x="8181744" y="2055035"/>
            <a:ext cx="2173325" cy="2132880"/>
          </a:xfrm>
          <a:prstGeom prst="triangle">
            <a:avLst/>
          </a:prstGeom>
          <a:solidFill>
            <a:schemeClr val="accent3">
              <a:lumMod val="20000"/>
              <a:lumOff val="80000"/>
            </a:schemeClr>
          </a:solidFill>
          <a:ln>
            <a:solidFill>
              <a:schemeClr val="accent4"/>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2" name="Oval 71">
            <a:extLst>
              <a:ext uri="{FF2B5EF4-FFF2-40B4-BE49-F238E27FC236}">
                <a16:creationId xmlns:a16="http://schemas.microsoft.com/office/drawing/2014/main" id="{2CBFFF6B-D338-18DE-69AF-D0350951BAA6}"/>
              </a:ext>
            </a:extLst>
          </p:cNvPr>
          <p:cNvSpPr>
            <a:spLocks/>
          </p:cNvSpPr>
          <p:nvPr/>
        </p:nvSpPr>
        <p:spPr>
          <a:xfrm>
            <a:off x="10219242" y="3077071"/>
            <a:ext cx="137268" cy="1371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3" name="Oval 72">
            <a:extLst>
              <a:ext uri="{FF2B5EF4-FFF2-40B4-BE49-F238E27FC236}">
                <a16:creationId xmlns:a16="http://schemas.microsoft.com/office/drawing/2014/main" id="{A323976F-1EFF-AF2E-1D55-B962358A4FC4}"/>
              </a:ext>
            </a:extLst>
          </p:cNvPr>
          <p:cNvSpPr>
            <a:spLocks/>
          </p:cNvSpPr>
          <p:nvPr/>
        </p:nvSpPr>
        <p:spPr>
          <a:xfrm>
            <a:off x="1750371" y="3077071"/>
            <a:ext cx="137268" cy="1371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4" name="Oval 73">
            <a:extLst>
              <a:ext uri="{FF2B5EF4-FFF2-40B4-BE49-F238E27FC236}">
                <a16:creationId xmlns:a16="http://schemas.microsoft.com/office/drawing/2014/main" id="{E0FC43B8-20B9-F958-50FA-3A561EF2857C}"/>
              </a:ext>
            </a:extLst>
          </p:cNvPr>
          <p:cNvSpPr>
            <a:spLocks/>
          </p:cNvSpPr>
          <p:nvPr/>
        </p:nvSpPr>
        <p:spPr>
          <a:xfrm>
            <a:off x="5740432" y="2952239"/>
            <a:ext cx="675067" cy="336218"/>
          </a:xfrm>
          <a:prstGeom prst="ellipse">
            <a:avLst/>
          </a:prstGeom>
          <a:solidFill>
            <a:schemeClr val="accent2">
              <a:lumMod val="20000"/>
              <a:lumOff val="80000"/>
            </a:schemeClr>
          </a:solidFill>
          <a:ln>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5" name="Rectangle 74">
            <a:extLst>
              <a:ext uri="{FF2B5EF4-FFF2-40B4-BE49-F238E27FC236}">
                <a16:creationId xmlns:a16="http://schemas.microsoft.com/office/drawing/2014/main" id="{94B08780-B3AB-7CC6-3728-45A4901F112D}"/>
              </a:ext>
            </a:extLst>
          </p:cNvPr>
          <p:cNvSpPr/>
          <p:nvPr/>
        </p:nvSpPr>
        <p:spPr>
          <a:xfrm rot="19956187">
            <a:off x="2035555" y="2365759"/>
            <a:ext cx="1647217" cy="156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300" normalizeH="0" baseline="0" noProof="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VERGENCE</a:t>
            </a:r>
          </a:p>
        </p:txBody>
      </p:sp>
      <p:sp>
        <p:nvSpPr>
          <p:cNvPr id="76" name="Rectangle 75">
            <a:extLst>
              <a:ext uri="{FF2B5EF4-FFF2-40B4-BE49-F238E27FC236}">
                <a16:creationId xmlns:a16="http://schemas.microsoft.com/office/drawing/2014/main" id="{6FB36923-E286-2C94-89E9-0627AB4958B2}"/>
              </a:ext>
            </a:extLst>
          </p:cNvPr>
          <p:cNvSpPr/>
          <p:nvPr/>
        </p:nvSpPr>
        <p:spPr>
          <a:xfrm rot="19950032">
            <a:off x="6385750" y="2312441"/>
            <a:ext cx="1647217" cy="156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300" normalizeH="0" baseline="0" noProof="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VERGENCE</a:t>
            </a:r>
          </a:p>
        </p:txBody>
      </p:sp>
      <p:sp>
        <p:nvSpPr>
          <p:cNvPr id="77" name="Rectangle 76">
            <a:extLst>
              <a:ext uri="{FF2B5EF4-FFF2-40B4-BE49-F238E27FC236}">
                <a16:creationId xmlns:a16="http://schemas.microsoft.com/office/drawing/2014/main" id="{24526244-5AE6-0A09-0472-C8C71DDA4DB6}"/>
              </a:ext>
            </a:extLst>
          </p:cNvPr>
          <p:cNvSpPr/>
          <p:nvPr/>
        </p:nvSpPr>
        <p:spPr>
          <a:xfrm rot="1578523">
            <a:off x="4224278" y="2360743"/>
            <a:ext cx="1647217" cy="156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300" normalizeH="0" baseline="0" noProof="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VERGENCE</a:t>
            </a:r>
          </a:p>
        </p:txBody>
      </p:sp>
      <p:sp>
        <p:nvSpPr>
          <p:cNvPr id="78" name="Rectangle 77">
            <a:extLst>
              <a:ext uri="{FF2B5EF4-FFF2-40B4-BE49-F238E27FC236}">
                <a16:creationId xmlns:a16="http://schemas.microsoft.com/office/drawing/2014/main" id="{DFAC97BD-9C79-67DE-E513-81DC835FFF34}"/>
              </a:ext>
            </a:extLst>
          </p:cNvPr>
          <p:cNvSpPr/>
          <p:nvPr/>
        </p:nvSpPr>
        <p:spPr>
          <a:xfrm rot="1619259">
            <a:off x="8543757" y="2390916"/>
            <a:ext cx="1647217" cy="156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300" normalizeH="0" baseline="0" noProof="0" dirty="0">
                <a:ln>
                  <a:noFill/>
                </a:ln>
                <a:solidFill>
                  <a:srgbClr val="53565A"/>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VERGENCE</a:t>
            </a:r>
          </a:p>
        </p:txBody>
      </p:sp>
      <p:sp>
        <p:nvSpPr>
          <p:cNvPr id="79" name="Rectangle 78">
            <a:extLst>
              <a:ext uri="{FF2B5EF4-FFF2-40B4-BE49-F238E27FC236}">
                <a16:creationId xmlns:a16="http://schemas.microsoft.com/office/drawing/2014/main" id="{80724300-AF8C-34E6-6694-7344DB9A15CE}"/>
              </a:ext>
            </a:extLst>
          </p:cNvPr>
          <p:cNvSpPr/>
          <p:nvPr/>
        </p:nvSpPr>
        <p:spPr>
          <a:xfrm>
            <a:off x="5181809" y="1778288"/>
            <a:ext cx="1762714" cy="156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LLECTION OF KEY PAIN POINTS</a:t>
            </a:r>
          </a:p>
        </p:txBody>
      </p:sp>
      <p:sp>
        <p:nvSpPr>
          <p:cNvPr id="80" name="Rectangle 79">
            <a:extLst>
              <a:ext uri="{FF2B5EF4-FFF2-40B4-BE49-F238E27FC236}">
                <a16:creationId xmlns:a16="http://schemas.microsoft.com/office/drawing/2014/main" id="{B5648479-C733-2117-30C7-A55E83BC73D0}"/>
              </a:ext>
            </a:extLst>
          </p:cNvPr>
          <p:cNvSpPr/>
          <p:nvPr/>
        </p:nvSpPr>
        <p:spPr>
          <a:xfrm>
            <a:off x="9034646" y="1726804"/>
            <a:ext cx="2246184" cy="175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LECTED TRANSFORMATION INITIATIVES</a:t>
            </a:r>
          </a:p>
        </p:txBody>
      </p:sp>
      <p:sp>
        <p:nvSpPr>
          <p:cNvPr id="81" name="TextBox 80">
            <a:extLst>
              <a:ext uri="{FF2B5EF4-FFF2-40B4-BE49-F238E27FC236}">
                <a16:creationId xmlns:a16="http://schemas.microsoft.com/office/drawing/2014/main" id="{4CC6ADAA-3473-ED42-6370-70A42138C9D8}"/>
              </a:ext>
            </a:extLst>
          </p:cNvPr>
          <p:cNvSpPr txBox="1"/>
          <p:nvPr/>
        </p:nvSpPr>
        <p:spPr>
          <a:xfrm>
            <a:off x="2693552" y="3350772"/>
            <a:ext cx="1270898" cy="2154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PLORE</a:t>
            </a:r>
          </a:p>
        </p:txBody>
      </p:sp>
      <p:sp>
        <p:nvSpPr>
          <p:cNvPr id="82" name="TextBox 81">
            <a:extLst>
              <a:ext uri="{FF2B5EF4-FFF2-40B4-BE49-F238E27FC236}">
                <a16:creationId xmlns:a16="http://schemas.microsoft.com/office/drawing/2014/main" id="{554C1B29-F2DB-998A-C8F0-1AB9509A3B0E}"/>
              </a:ext>
            </a:extLst>
          </p:cNvPr>
          <p:cNvSpPr txBox="1"/>
          <p:nvPr/>
        </p:nvSpPr>
        <p:spPr>
          <a:xfrm>
            <a:off x="3888769" y="3350772"/>
            <a:ext cx="1270898" cy="2154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CUS</a:t>
            </a:r>
          </a:p>
        </p:txBody>
      </p:sp>
      <p:sp>
        <p:nvSpPr>
          <p:cNvPr id="83" name="TextBox 82">
            <a:extLst>
              <a:ext uri="{FF2B5EF4-FFF2-40B4-BE49-F238E27FC236}">
                <a16:creationId xmlns:a16="http://schemas.microsoft.com/office/drawing/2014/main" id="{6B8DE668-13C9-13A5-62DE-5B176B0B081B}"/>
              </a:ext>
            </a:extLst>
          </p:cNvPr>
          <p:cNvSpPr txBox="1"/>
          <p:nvPr/>
        </p:nvSpPr>
        <p:spPr>
          <a:xfrm>
            <a:off x="7024821" y="3350772"/>
            <a:ext cx="1270898" cy="2154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DEATE</a:t>
            </a:r>
          </a:p>
        </p:txBody>
      </p:sp>
      <p:sp>
        <p:nvSpPr>
          <p:cNvPr id="84" name="TextBox 83">
            <a:extLst>
              <a:ext uri="{FF2B5EF4-FFF2-40B4-BE49-F238E27FC236}">
                <a16:creationId xmlns:a16="http://schemas.microsoft.com/office/drawing/2014/main" id="{F7890680-B038-E091-C633-2DBC871B30DC}"/>
              </a:ext>
            </a:extLst>
          </p:cNvPr>
          <p:cNvSpPr txBox="1"/>
          <p:nvPr/>
        </p:nvSpPr>
        <p:spPr>
          <a:xfrm>
            <a:off x="8161956" y="3225429"/>
            <a:ext cx="1270898" cy="43088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LTER, PRIORITISE</a:t>
            </a:r>
          </a:p>
        </p:txBody>
      </p:sp>
      <p:sp>
        <p:nvSpPr>
          <p:cNvPr id="85" name="TextBox 84">
            <a:extLst>
              <a:ext uri="{FF2B5EF4-FFF2-40B4-BE49-F238E27FC236}">
                <a16:creationId xmlns:a16="http://schemas.microsoft.com/office/drawing/2014/main" id="{384B58CF-8CA5-D933-45EA-07351C7397C1}"/>
              </a:ext>
            </a:extLst>
          </p:cNvPr>
          <p:cNvSpPr txBox="1"/>
          <p:nvPr/>
        </p:nvSpPr>
        <p:spPr>
          <a:xfrm>
            <a:off x="2894762" y="2779383"/>
            <a:ext cx="2042867" cy="553998"/>
          </a:xfrm>
          <a:prstGeom prst="rect">
            <a:avLst/>
          </a:prstGeom>
          <a:solidFill>
            <a:schemeClr val="accent1">
              <a:lumMod val="20000"/>
              <a:lumOff val="80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800" b="1" u="none" strike="noStrike" kern="1200" cap="none" spc="300" normalizeH="0" baseline="0" noProof="0" dirty="0">
                <a:ln>
                  <a:noFill/>
                </a:ln>
                <a:solidFill>
                  <a:schemeClr val="accent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BLEM AREA</a:t>
            </a:r>
          </a:p>
        </p:txBody>
      </p:sp>
      <p:sp>
        <p:nvSpPr>
          <p:cNvPr id="86" name="TextBox 85">
            <a:extLst>
              <a:ext uri="{FF2B5EF4-FFF2-40B4-BE49-F238E27FC236}">
                <a16:creationId xmlns:a16="http://schemas.microsoft.com/office/drawing/2014/main" id="{463F5A50-612A-224B-943A-BD3A6A95B4B2}"/>
              </a:ext>
            </a:extLst>
          </p:cNvPr>
          <p:cNvSpPr txBox="1"/>
          <p:nvPr/>
        </p:nvSpPr>
        <p:spPr>
          <a:xfrm>
            <a:off x="7076643" y="2779385"/>
            <a:ext cx="2239645" cy="27700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800" b="1" u="none" strike="noStrike" kern="1200" cap="none" spc="300" normalizeH="0" baseline="0" noProof="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OLUTION AREA</a:t>
            </a:r>
          </a:p>
        </p:txBody>
      </p:sp>
      <p:sp>
        <p:nvSpPr>
          <p:cNvPr id="87" name="Oval 86">
            <a:extLst>
              <a:ext uri="{FF2B5EF4-FFF2-40B4-BE49-F238E27FC236}">
                <a16:creationId xmlns:a16="http://schemas.microsoft.com/office/drawing/2014/main" id="{AD4E5480-7F4D-B5EE-8172-F9379F6DE197}"/>
              </a:ext>
            </a:extLst>
          </p:cNvPr>
          <p:cNvSpPr>
            <a:spLocks/>
          </p:cNvSpPr>
          <p:nvPr/>
        </p:nvSpPr>
        <p:spPr>
          <a:xfrm>
            <a:off x="9943245" y="2952239"/>
            <a:ext cx="675067" cy="336218"/>
          </a:xfrm>
          <a:prstGeom prst="ellipse">
            <a:avLst/>
          </a:prstGeom>
          <a:solidFill>
            <a:schemeClr val="accent4">
              <a:lumMod val="20000"/>
              <a:lumOff val="80000"/>
            </a:schemeClr>
          </a:solidFill>
          <a:ln>
            <a:solidFill>
              <a:schemeClr val="accent4"/>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4" name="Straight Connector 43">
            <a:extLst>
              <a:ext uri="{FF2B5EF4-FFF2-40B4-BE49-F238E27FC236}">
                <a16:creationId xmlns:a16="http://schemas.microsoft.com/office/drawing/2014/main" id="{7925088A-8FAF-E976-43C2-4423F5A80EF3}"/>
              </a:ext>
            </a:extLst>
          </p:cNvPr>
          <p:cNvCxnSpPr>
            <a:cxnSpLocks/>
          </p:cNvCxnSpPr>
          <p:nvPr/>
        </p:nvCxnSpPr>
        <p:spPr>
          <a:xfrm>
            <a:off x="1816393" y="2095400"/>
            <a:ext cx="0" cy="9997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AA00A15-3F7B-BBBE-C895-CAB81E7B8C78}"/>
              </a:ext>
            </a:extLst>
          </p:cNvPr>
          <p:cNvSpPr/>
          <p:nvPr/>
        </p:nvSpPr>
        <p:spPr>
          <a:xfrm>
            <a:off x="919673" y="1811820"/>
            <a:ext cx="1761327" cy="156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TARTING POINT</a:t>
            </a:r>
          </a:p>
        </p:txBody>
      </p:sp>
      <p:grpSp>
        <p:nvGrpSpPr>
          <p:cNvPr id="88" name="Group 768">
            <a:extLst>
              <a:ext uri="{FF2B5EF4-FFF2-40B4-BE49-F238E27FC236}">
                <a16:creationId xmlns:a16="http://schemas.microsoft.com/office/drawing/2014/main" id="{A05B4964-ABE2-88AD-EF96-F1F3B934FEBE}"/>
              </a:ext>
            </a:extLst>
          </p:cNvPr>
          <p:cNvGrpSpPr>
            <a:grpSpLocks noChangeAspect="1"/>
          </p:cNvGrpSpPr>
          <p:nvPr/>
        </p:nvGrpSpPr>
        <p:grpSpPr bwMode="auto">
          <a:xfrm>
            <a:off x="1887676" y="4303418"/>
            <a:ext cx="369021" cy="369021"/>
            <a:chOff x="6591" y="3054"/>
            <a:chExt cx="340" cy="340"/>
          </a:xfrm>
          <a:solidFill>
            <a:schemeClr val="accent1"/>
          </a:solidFill>
        </p:grpSpPr>
        <p:sp>
          <p:nvSpPr>
            <p:cNvPr id="89" name="Freeform 769">
              <a:extLst>
                <a:ext uri="{FF2B5EF4-FFF2-40B4-BE49-F238E27FC236}">
                  <a16:creationId xmlns:a16="http://schemas.microsoft.com/office/drawing/2014/main" id="{2FE20337-1CEA-29DF-6614-1DCD599F1685}"/>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90" name="Freeform 770">
              <a:extLst>
                <a:ext uri="{FF2B5EF4-FFF2-40B4-BE49-F238E27FC236}">
                  <a16:creationId xmlns:a16="http://schemas.microsoft.com/office/drawing/2014/main" id="{BC668C57-616E-5F80-4412-1F048C3EDD9B}"/>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91" name="TextBox 90">
            <a:extLst>
              <a:ext uri="{FF2B5EF4-FFF2-40B4-BE49-F238E27FC236}">
                <a16:creationId xmlns:a16="http://schemas.microsoft.com/office/drawing/2014/main" id="{0D177074-68E4-0115-A2B2-C86CE168F2EB}"/>
              </a:ext>
            </a:extLst>
          </p:cNvPr>
          <p:cNvSpPr txBox="1"/>
          <p:nvPr/>
        </p:nvSpPr>
        <p:spPr>
          <a:xfrm>
            <a:off x="2258613" y="4282241"/>
            <a:ext cx="1520819" cy="461665"/>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accent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derstanding the pain points</a:t>
            </a:r>
          </a:p>
        </p:txBody>
      </p:sp>
      <p:grpSp>
        <p:nvGrpSpPr>
          <p:cNvPr id="92" name="Group 892">
            <a:extLst>
              <a:ext uri="{FF2B5EF4-FFF2-40B4-BE49-F238E27FC236}">
                <a16:creationId xmlns:a16="http://schemas.microsoft.com/office/drawing/2014/main" id="{64E48FBB-A8E2-CA5E-ADCB-913B54CF233F}"/>
              </a:ext>
            </a:extLst>
          </p:cNvPr>
          <p:cNvGrpSpPr>
            <a:grpSpLocks noChangeAspect="1"/>
          </p:cNvGrpSpPr>
          <p:nvPr/>
        </p:nvGrpSpPr>
        <p:grpSpPr bwMode="auto">
          <a:xfrm>
            <a:off x="4059847" y="4303418"/>
            <a:ext cx="369020" cy="370106"/>
            <a:chOff x="4270" y="3457"/>
            <a:chExt cx="340" cy="341"/>
          </a:xfrm>
          <a:solidFill>
            <a:schemeClr val="accent2"/>
          </a:solidFill>
        </p:grpSpPr>
        <p:sp>
          <p:nvSpPr>
            <p:cNvPr id="93" name="Freeform 893">
              <a:extLst>
                <a:ext uri="{FF2B5EF4-FFF2-40B4-BE49-F238E27FC236}">
                  <a16:creationId xmlns:a16="http://schemas.microsoft.com/office/drawing/2014/main" id="{0909B913-F50A-B0DB-8230-6E330A8E3A97}"/>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94" name="Freeform 894">
              <a:extLst>
                <a:ext uri="{FF2B5EF4-FFF2-40B4-BE49-F238E27FC236}">
                  <a16:creationId xmlns:a16="http://schemas.microsoft.com/office/drawing/2014/main" id="{014EFEDC-5362-84E3-6ABD-553982B4224B}"/>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95" name="TextBox 94">
            <a:extLst>
              <a:ext uri="{FF2B5EF4-FFF2-40B4-BE49-F238E27FC236}">
                <a16:creationId xmlns:a16="http://schemas.microsoft.com/office/drawing/2014/main" id="{3BC7F0BD-CD86-5780-0866-135830447CB2}"/>
              </a:ext>
            </a:extLst>
          </p:cNvPr>
          <p:cNvSpPr txBox="1"/>
          <p:nvPr/>
        </p:nvSpPr>
        <p:spPr>
          <a:xfrm>
            <a:off x="4480489" y="4282241"/>
            <a:ext cx="1618783" cy="461665"/>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coping down </a:t>
            </a:r>
            <a:br>
              <a:rPr kumimoji="0" lang="en-US" sz="120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200" u="none" strike="noStrike" kern="1200" cap="none" spc="0" normalizeH="0" baseline="0" noProof="0" dirty="0">
                <a:ln>
                  <a:noFill/>
                </a:ln>
                <a:solidFill>
                  <a:schemeClr val="accent2"/>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 focus</a:t>
            </a:r>
          </a:p>
        </p:txBody>
      </p:sp>
      <p:grpSp>
        <p:nvGrpSpPr>
          <p:cNvPr id="96" name="Group 285">
            <a:extLst>
              <a:ext uri="{FF2B5EF4-FFF2-40B4-BE49-F238E27FC236}">
                <a16:creationId xmlns:a16="http://schemas.microsoft.com/office/drawing/2014/main" id="{1593A027-3A4E-97E9-49D0-6ADBD16F856D}"/>
              </a:ext>
            </a:extLst>
          </p:cNvPr>
          <p:cNvGrpSpPr>
            <a:grpSpLocks noChangeAspect="1"/>
          </p:cNvGrpSpPr>
          <p:nvPr/>
        </p:nvGrpSpPr>
        <p:grpSpPr bwMode="auto">
          <a:xfrm>
            <a:off x="6159932" y="4303418"/>
            <a:ext cx="370763" cy="369676"/>
            <a:chOff x="388" y="758"/>
            <a:chExt cx="341" cy="340"/>
          </a:xfrm>
          <a:solidFill>
            <a:schemeClr val="accent3"/>
          </a:solidFill>
        </p:grpSpPr>
        <p:sp>
          <p:nvSpPr>
            <p:cNvPr id="97" name="Freeform 286">
              <a:extLst>
                <a:ext uri="{FF2B5EF4-FFF2-40B4-BE49-F238E27FC236}">
                  <a16:creationId xmlns:a16="http://schemas.microsoft.com/office/drawing/2014/main" id="{BE5B3426-122A-B392-830A-4B737859303C}"/>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98" name="Freeform 287">
              <a:extLst>
                <a:ext uri="{FF2B5EF4-FFF2-40B4-BE49-F238E27FC236}">
                  <a16:creationId xmlns:a16="http://schemas.microsoft.com/office/drawing/2014/main" id="{E7B7CBBC-EC38-D874-63E3-951989454F7C}"/>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99" name="TextBox 98">
            <a:extLst>
              <a:ext uri="{FF2B5EF4-FFF2-40B4-BE49-F238E27FC236}">
                <a16:creationId xmlns:a16="http://schemas.microsoft.com/office/drawing/2014/main" id="{4838F7D8-2C58-1FF6-983B-9ECA07ACED50}"/>
              </a:ext>
            </a:extLst>
          </p:cNvPr>
          <p:cNvSpPr txBox="1"/>
          <p:nvPr/>
        </p:nvSpPr>
        <p:spPr>
          <a:xfrm>
            <a:off x="6565036" y="4282241"/>
            <a:ext cx="1618783" cy="461665"/>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isting potential </a:t>
            </a:r>
            <a:br>
              <a:rPr kumimoji="0" lang="en-US" sz="1200" u="none" strike="noStrike" kern="1200" cap="none" spc="0" normalizeH="0" baseline="0" noProof="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200" u="none" strike="noStrike" kern="1200" cap="none" spc="0" normalizeH="0" baseline="0" noProof="0" dirty="0">
                <a:ln>
                  <a:noFill/>
                </a:ln>
                <a:solidFill>
                  <a:schemeClr val="accent3"/>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mprovement ideas</a:t>
            </a:r>
          </a:p>
        </p:txBody>
      </p:sp>
      <p:grpSp>
        <p:nvGrpSpPr>
          <p:cNvPr id="100" name="Group 29">
            <a:extLst>
              <a:ext uri="{FF2B5EF4-FFF2-40B4-BE49-F238E27FC236}">
                <a16:creationId xmlns:a16="http://schemas.microsoft.com/office/drawing/2014/main" id="{BE3EA6E7-71D0-3C84-51DF-553595E1D1A7}"/>
              </a:ext>
            </a:extLst>
          </p:cNvPr>
          <p:cNvGrpSpPr>
            <a:grpSpLocks noChangeAspect="1"/>
          </p:cNvGrpSpPr>
          <p:nvPr/>
        </p:nvGrpSpPr>
        <p:grpSpPr bwMode="auto">
          <a:xfrm>
            <a:off x="8241315" y="4350435"/>
            <a:ext cx="367631" cy="367631"/>
            <a:chOff x="2899" y="653"/>
            <a:chExt cx="340" cy="340"/>
          </a:xfrm>
          <a:solidFill>
            <a:schemeClr val="accent4"/>
          </a:solidFill>
        </p:grpSpPr>
        <p:sp>
          <p:nvSpPr>
            <p:cNvPr id="101" name="Freeform 30">
              <a:extLst>
                <a:ext uri="{FF2B5EF4-FFF2-40B4-BE49-F238E27FC236}">
                  <a16:creationId xmlns:a16="http://schemas.microsoft.com/office/drawing/2014/main" id="{B269D743-BCE1-0695-5283-84409618A7C9}"/>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02" name="Freeform 31">
              <a:extLst>
                <a:ext uri="{FF2B5EF4-FFF2-40B4-BE49-F238E27FC236}">
                  <a16:creationId xmlns:a16="http://schemas.microsoft.com/office/drawing/2014/main" id="{07EF3745-637D-46FE-CEAA-C1BF1E865198}"/>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08" name="Freeform 32">
              <a:extLst>
                <a:ext uri="{FF2B5EF4-FFF2-40B4-BE49-F238E27FC236}">
                  <a16:creationId xmlns:a16="http://schemas.microsoft.com/office/drawing/2014/main" id="{9AD5B908-C0E4-4616-A51E-BCFF12231E49}"/>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09" name="TextBox 108">
            <a:extLst>
              <a:ext uri="{FF2B5EF4-FFF2-40B4-BE49-F238E27FC236}">
                <a16:creationId xmlns:a16="http://schemas.microsoft.com/office/drawing/2014/main" id="{9E47076C-7A4D-C424-94F9-3880EDA28E8D}"/>
              </a:ext>
            </a:extLst>
          </p:cNvPr>
          <p:cNvSpPr txBox="1"/>
          <p:nvPr/>
        </p:nvSpPr>
        <p:spPr>
          <a:xfrm>
            <a:off x="8614617" y="4189908"/>
            <a:ext cx="1857573" cy="646331"/>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accent4"/>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lecting transformation initiatives*</a:t>
            </a:r>
            <a:endParaRPr kumimoji="0" lang="en-US" sz="1200" u="none" strike="sngStrike" kern="1200" cap="none" spc="0" normalizeH="0" baseline="0" noProof="0" dirty="0">
              <a:ln>
                <a:noFill/>
              </a:ln>
              <a:solidFill>
                <a:schemeClr val="accent4"/>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10" name="Straight Connector 109">
            <a:extLst>
              <a:ext uri="{FF2B5EF4-FFF2-40B4-BE49-F238E27FC236}">
                <a16:creationId xmlns:a16="http://schemas.microsoft.com/office/drawing/2014/main" id="{A2405167-8ACD-6388-F580-2509D7A4C4DF}"/>
              </a:ext>
            </a:extLst>
          </p:cNvPr>
          <p:cNvCxnSpPr/>
          <p:nvPr/>
        </p:nvCxnSpPr>
        <p:spPr>
          <a:xfrm>
            <a:off x="1809669" y="3249542"/>
            <a:ext cx="0" cy="283455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46DA582-8177-D10F-03CF-9275DA9C4BF2}"/>
              </a:ext>
            </a:extLst>
          </p:cNvPr>
          <p:cNvCxnSpPr>
            <a:cxnSpLocks/>
          </p:cNvCxnSpPr>
          <p:nvPr/>
        </p:nvCxnSpPr>
        <p:spPr>
          <a:xfrm>
            <a:off x="3935957" y="4257756"/>
            <a:ext cx="0" cy="18288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656EC82-E9DE-716E-41F4-8CCEB1859816}"/>
              </a:ext>
            </a:extLst>
          </p:cNvPr>
          <p:cNvCxnSpPr/>
          <p:nvPr/>
        </p:nvCxnSpPr>
        <p:spPr>
          <a:xfrm>
            <a:off x="6079844" y="3281069"/>
            <a:ext cx="0" cy="283455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BE4F481-C713-398A-90CA-5E75D1C7B245}"/>
              </a:ext>
            </a:extLst>
          </p:cNvPr>
          <p:cNvCxnSpPr/>
          <p:nvPr/>
        </p:nvCxnSpPr>
        <p:spPr>
          <a:xfrm>
            <a:off x="10280779" y="3221536"/>
            <a:ext cx="0" cy="283455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F5FE5795-E604-0E91-24B7-8E74192293AC}"/>
              </a:ext>
            </a:extLst>
          </p:cNvPr>
          <p:cNvCxnSpPr>
            <a:cxnSpLocks/>
          </p:cNvCxnSpPr>
          <p:nvPr/>
        </p:nvCxnSpPr>
        <p:spPr>
          <a:xfrm>
            <a:off x="8164996" y="4188293"/>
            <a:ext cx="0" cy="18288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9AB3F644-2A62-D7DB-2E83-10CFA88A6B07}"/>
              </a:ext>
            </a:extLst>
          </p:cNvPr>
          <p:cNvSpPr txBox="1"/>
          <p:nvPr/>
        </p:nvSpPr>
        <p:spPr>
          <a:xfrm>
            <a:off x="1911220" y="4830462"/>
            <a:ext cx="1964174"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scovering and understanding </a:t>
            </a:r>
            <a:r>
              <a:rPr kumimoji="0" lang="en-US" sz="11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the issues are through interviewing colleagues who are affected by them and attending selected, relevant ceremonies as observers to experience the pain points</a:t>
            </a:r>
          </a:p>
        </p:txBody>
      </p:sp>
      <p:sp>
        <p:nvSpPr>
          <p:cNvPr id="116" name="TextBox 115">
            <a:extLst>
              <a:ext uri="{FF2B5EF4-FFF2-40B4-BE49-F238E27FC236}">
                <a16:creationId xmlns:a16="http://schemas.microsoft.com/office/drawing/2014/main" id="{37DE0119-B4FB-39CD-B38A-61130CAEF754}"/>
              </a:ext>
            </a:extLst>
          </p:cNvPr>
          <p:cNvSpPr txBox="1"/>
          <p:nvPr/>
        </p:nvSpPr>
        <p:spPr>
          <a:xfrm>
            <a:off x="3976944" y="4830462"/>
            <a:ext cx="2042336" cy="12772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ynthetizing the pain points </a:t>
            </a:r>
            <a:r>
              <a:rPr kumimoji="0" lang="en-US" sz="11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athered, limiting the </a:t>
            </a:r>
            <a:r>
              <a:rPr kumimoji="0" lang="en-US" sz="1100" b="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cus of the project to key areas </a:t>
            </a:r>
            <a:r>
              <a:rPr kumimoji="0" lang="en-US" sz="11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ain points) and </a:t>
            </a:r>
            <a:r>
              <a:rPr kumimoji="0" lang="en-US" sz="1100" b="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alidating </a:t>
            </a:r>
            <a:r>
              <a:rPr kumimoji="0" lang="en-US" sz="11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m – it helps to define the key areas that we aim to improve</a:t>
            </a:r>
          </a:p>
        </p:txBody>
      </p:sp>
      <p:sp>
        <p:nvSpPr>
          <p:cNvPr id="117" name="TextBox 116">
            <a:extLst>
              <a:ext uri="{FF2B5EF4-FFF2-40B4-BE49-F238E27FC236}">
                <a16:creationId xmlns:a16="http://schemas.microsoft.com/office/drawing/2014/main" id="{B6B1E379-1658-65A3-D628-413564F2EC98}"/>
              </a:ext>
            </a:extLst>
          </p:cNvPr>
          <p:cNvSpPr txBox="1"/>
          <p:nvPr/>
        </p:nvSpPr>
        <p:spPr>
          <a:xfrm>
            <a:off x="6120829" y="4803245"/>
            <a:ext cx="2074793"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rainstorming with the client colleagues in workshops and listing the improvement ideas for the defined pain points to resolve them and Deloitte will inspire brainstorming by sharing best practices with client colleagues</a:t>
            </a:r>
          </a:p>
        </p:txBody>
      </p:sp>
      <p:sp>
        <p:nvSpPr>
          <p:cNvPr id="118" name="TextBox 117">
            <a:extLst>
              <a:ext uri="{FF2B5EF4-FFF2-40B4-BE49-F238E27FC236}">
                <a16:creationId xmlns:a16="http://schemas.microsoft.com/office/drawing/2014/main" id="{9DEE7E42-93D8-F411-7E40-2F4797D662B7}"/>
              </a:ext>
            </a:extLst>
          </p:cNvPr>
          <p:cNvSpPr txBox="1"/>
          <p:nvPr/>
        </p:nvSpPr>
        <p:spPr>
          <a:xfrm>
            <a:off x="8221788" y="4841107"/>
            <a:ext cx="2008931" cy="12772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ynthetizing (grouping) improvement ideas, defining transformation initiatives, prioritizing them and identifying those that will be further detailed in the project</a:t>
            </a:r>
          </a:p>
        </p:txBody>
      </p:sp>
      <p:sp>
        <p:nvSpPr>
          <p:cNvPr id="119" name="TextBox 118">
            <a:extLst>
              <a:ext uri="{FF2B5EF4-FFF2-40B4-BE49-F238E27FC236}">
                <a16:creationId xmlns:a16="http://schemas.microsoft.com/office/drawing/2014/main" id="{4C3A1000-7ACD-7C57-11F8-79B99AF4EE1B}"/>
              </a:ext>
            </a:extLst>
          </p:cNvPr>
          <p:cNvSpPr txBox="1"/>
          <p:nvPr/>
        </p:nvSpPr>
        <p:spPr>
          <a:xfrm>
            <a:off x="2309707" y="6304888"/>
            <a:ext cx="839172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 Double Diamond approach’s 4th step often includes prototyping and testing with users, but we adapted the approach to the current project.</a:t>
            </a:r>
          </a:p>
        </p:txBody>
      </p:sp>
      <p:sp>
        <p:nvSpPr>
          <p:cNvPr id="120" name="TextBox 119">
            <a:extLst>
              <a:ext uri="{FF2B5EF4-FFF2-40B4-BE49-F238E27FC236}">
                <a16:creationId xmlns:a16="http://schemas.microsoft.com/office/drawing/2014/main" id="{33DFAE0B-3FBE-DB9E-DD2F-422538986505}"/>
              </a:ext>
            </a:extLst>
          </p:cNvPr>
          <p:cNvSpPr txBox="1"/>
          <p:nvPr/>
        </p:nvSpPr>
        <p:spPr>
          <a:xfrm>
            <a:off x="679301" y="1385536"/>
            <a:ext cx="346569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uble Diamond approach adapted to the project</a:t>
            </a:r>
          </a:p>
        </p:txBody>
      </p:sp>
      <p:sp>
        <p:nvSpPr>
          <p:cNvPr id="6" name="Title 5">
            <a:extLst>
              <a:ext uri="{FF2B5EF4-FFF2-40B4-BE49-F238E27FC236}">
                <a16:creationId xmlns:a16="http://schemas.microsoft.com/office/drawing/2014/main" id="{029E2B02-8AC5-6147-E93A-2D8FED4134B8}"/>
              </a:ext>
            </a:extLst>
          </p:cNvPr>
          <p:cNvSpPr>
            <a:spLocks noGrp="1"/>
          </p:cNvSpPr>
          <p:nvPr>
            <p:ph type="title"/>
          </p:nvPr>
        </p:nvSpPr>
        <p:spPr>
          <a:xfrm>
            <a:off x="464400" y="417600"/>
            <a:ext cx="10945238" cy="403090"/>
          </a:xfrm>
        </p:spPr>
        <p:txBody>
          <a:bodyPr/>
          <a:lstStyle/>
          <a:p>
            <a:r>
              <a:rPr lang="en-US" sz="2400" dirty="0"/>
              <a:t>Design Thinking</a:t>
            </a:r>
          </a:p>
        </p:txBody>
      </p:sp>
      <p:sp>
        <p:nvSpPr>
          <p:cNvPr id="8" name="Text Placeholder 7">
            <a:extLst>
              <a:ext uri="{FF2B5EF4-FFF2-40B4-BE49-F238E27FC236}">
                <a16:creationId xmlns:a16="http://schemas.microsoft.com/office/drawing/2014/main" id="{359D8E88-419A-02B5-776F-2DD28F78ACCB}"/>
              </a:ext>
            </a:extLst>
          </p:cNvPr>
          <p:cNvSpPr>
            <a:spLocks noGrp="1"/>
          </p:cNvSpPr>
          <p:nvPr>
            <p:ph type="body" sz="quarter" idx="10"/>
          </p:nvPr>
        </p:nvSpPr>
        <p:spPr>
          <a:xfrm>
            <a:off x="511977" y="847650"/>
            <a:ext cx="10945239" cy="322931"/>
          </a:xfrm>
        </p:spPr>
        <p:txBody>
          <a:bodyPr>
            <a:normAutofit fontScale="92500"/>
          </a:bodyPr>
          <a:lstStyle/>
          <a:p>
            <a:r>
              <a:rPr lang="en-US" dirty="0"/>
              <a:t>Using the Double Diamond approach to not limit ideas and to identify the most fitting transformation initiatives</a:t>
            </a:r>
          </a:p>
        </p:txBody>
      </p:sp>
    </p:spTree>
    <p:extLst>
      <p:ext uri="{BB962C8B-B14F-4D97-AF65-F5344CB8AC3E}">
        <p14:creationId xmlns:p14="http://schemas.microsoft.com/office/powerpoint/2010/main" val="2059968007"/>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1" name="Straight Connector 150">
            <a:extLst>
              <a:ext uri="{FF2B5EF4-FFF2-40B4-BE49-F238E27FC236}">
                <a16:creationId xmlns:a16="http://schemas.microsoft.com/office/drawing/2014/main" id="{626B5536-584C-4D01-B43B-2C4E8A587DD4}"/>
              </a:ext>
            </a:extLst>
          </p:cNvPr>
          <p:cNvCxnSpPr>
            <a:cxnSpLocks/>
          </p:cNvCxnSpPr>
          <p:nvPr/>
        </p:nvCxnSpPr>
        <p:spPr>
          <a:xfrm>
            <a:off x="4879147" y="2156434"/>
            <a:ext cx="380456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DF5F1435-C106-4676-8D6E-66B8D06FB17B}"/>
              </a:ext>
            </a:extLst>
          </p:cNvPr>
          <p:cNvSpPr/>
          <p:nvPr/>
        </p:nvSpPr>
        <p:spPr bwMode="gray">
          <a:xfrm>
            <a:off x="3590743" y="2459564"/>
            <a:ext cx="2512856" cy="577497"/>
          </a:xfrm>
          <a:prstGeom prst="roundRect">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4" name="Rectangle: Rounded Corners 113">
            <a:extLst>
              <a:ext uri="{FF2B5EF4-FFF2-40B4-BE49-F238E27FC236}">
                <a16:creationId xmlns:a16="http://schemas.microsoft.com/office/drawing/2014/main" id="{D63A9390-73C1-4D88-8EB7-45D69E6C4587}"/>
              </a:ext>
            </a:extLst>
          </p:cNvPr>
          <p:cNvSpPr/>
          <p:nvPr/>
        </p:nvSpPr>
        <p:spPr bwMode="gray">
          <a:xfrm>
            <a:off x="4865170" y="2216493"/>
            <a:ext cx="3818541" cy="1112176"/>
          </a:xfrm>
          <a:prstGeom prst="roundRect">
            <a:avLst/>
          </a:prstGeom>
          <a:solidFill>
            <a:schemeClr val="accent6">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aphicFrame>
        <p:nvGraphicFramePr>
          <p:cNvPr id="5" name="Object 4" hidden="1">
            <a:extLst>
              <a:ext uri="{FF2B5EF4-FFF2-40B4-BE49-F238E27FC236}">
                <a16:creationId xmlns:a16="http://schemas.microsoft.com/office/drawing/2014/main" id="{C50E2F55-3D4F-428B-A3FC-50BF11A85049}"/>
              </a:ext>
            </a:extLst>
          </p:cNvPr>
          <p:cNvGraphicFramePr>
            <a:graphicFrameLocks noChangeAspect="1"/>
          </p:cNvGraphicFramePr>
          <p:nvPr>
            <p:custDataLst>
              <p:tags r:id="rId1"/>
            </p:custDataLst>
            <p:extLst>
              <p:ext uri="{D42A27DB-BD31-4B8C-83A1-F6EECF244321}">
                <p14:modId xmlns:p14="http://schemas.microsoft.com/office/powerpoint/2010/main" val="396926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C50E2F55-3D4F-428B-A3FC-50BF11A850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04965B-E397-4A4F-B6A6-4F075447F65E}"/>
              </a:ext>
            </a:extLst>
          </p:cNvPr>
          <p:cNvSpPr>
            <a:spLocks noGrp="1"/>
          </p:cNvSpPr>
          <p:nvPr>
            <p:ph type="title"/>
          </p:nvPr>
        </p:nvSpPr>
        <p:spPr>
          <a:xfrm>
            <a:off x="464399" y="417600"/>
            <a:ext cx="10957285" cy="448100"/>
          </a:xfrm>
        </p:spPr>
        <p:txBody>
          <a:bodyPr vert="horz"/>
          <a:lstStyle/>
          <a:p>
            <a:r>
              <a:rPr lang="en-GB"/>
              <a:t>Our user-centric approach to data visualization design and </a:t>
            </a:r>
            <a:r>
              <a:rPr lang="en-GB" dirty="0"/>
              <a:t>Insight Generation</a:t>
            </a:r>
            <a:endParaRPr lang="en-GB"/>
          </a:p>
        </p:txBody>
      </p:sp>
      <p:sp>
        <p:nvSpPr>
          <p:cNvPr id="48" name="Text Placeholder 2">
            <a:extLst>
              <a:ext uri="{FF2B5EF4-FFF2-40B4-BE49-F238E27FC236}">
                <a16:creationId xmlns:a16="http://schemas.microsoft.com/office/drawing/2014/main" id="{FB585141-9BC1-4628-8A3F-71D271162E41}"/>
              </a:ext>
            </a:extLst>
          </p:cNvPr>
          <p:cNvSpPr>
            <a:spLocks noGrp="1"/>
          </p:cNvSpPr>
          <p:nvPr>
            <p:ph type="body" sz="quarter" idx="14"/>
          </p:nvPr>
        </p:nvSpPr>
        <p:spPr>
          <a:xfrm>
            <a:off x="914399" y="1117210"/>
            <a:ext cx="10802204" cy="300896"/>
          </a:xfrm>
        </p:spPr>
        <p:txBody>
          <a:bodyPr/>
          <a:lstStyle/>
          <a:p>
            <a:r>
              <a:rPr lang="en-GB"/>
              <a:t>A data visualization approach that fosters the input from local-org. end-users, ensuring the design of an </a:t>
            </a:r>
            <a:r>
              <a:rPr lang="en-GB" b="1">
                <a:solidFill>
                  <a:srgbClr val="0E101A"/>
                </a:solidFill>
                <a:effectLst/>
              </a:rPr>
              <a:t>inclusive solution accepted and adopted across all UNICEF markets</a:t>
            </a:r>
            <a:r>
              <a:rPr lang="en-GB"/>
              <a:t>. </a:t>
            </a:r>
          </a:p>
        </p:txBody>
      </p:sp>
      <p:sp>
        <p:nvSpPr>
          <p:cNvPr id="4" name="Rectangle 3">
            <a:extLst>
              <a:ext uri="{FF2B5EF4-FFF2-40B4-BE49-F238E27FC236}">
                <a16:creationId xmlns:a16="http://schemas.microsoft.com/office/drawing/2014/main" id="{C3D81AF6-49CB-4EF3-845D-9C4120B6F5B4}"/>
              </a:ext>
            </a:extLst>
          </p:cNvPr>
          <p:cNvSpPr/>
          <p:nvPr/>
        </p:nvSpPr>
        <p:spPr bwMode="gray">
          <a:xfrm>
            <a:off x="914401" y="3539665"/>
            <a:ext cx="2512856" cy="1842613"/>
          </a:xfrm>
          <a:prstGeom prst="rect">
            <a:avLst/>
          </a:prstGeom>
          <a:solidFill>
            <a:schemeClr val="bg1">
              <a:lumMod val="9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F3C3181B-957C-47BD-BD3C-B0FD2E8D3316}"/>
              </a:ext>
            </a:extLst>
          </p:cNvPr>
          <p:cNvCxnSpPr>
            <a:cxnSpLocks/>
          </p:cNvCxnSpPr>
          <p:nvPr/>
        </p:nvCxnSpPr>
        <p:spPr>
          <a:xfrm>
            <a:off x="914401" y="3539664"/>
            <a:ext cx="2512856"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8D08B07-164D-4458-9A02-A25A6554C3D9}"/>
              </a:ext>
            </a:extLst>
          </p:cNvPr>
          <p:cNvSpPr/>
          <p:nvPr/>
        </p:nvSpPr>
        <p:spPr bwMode="gray">
          <a:xfrm>
            <a:off x="914399" y="5594452"/>
            <a:ext cx="2512856" cy="648620"/>
          </a:xfrm>
          <a:prstGeom prst="rect">
            <a:avLst/>
          </a:prstGeom>
          <a:solidFill>
            <a:schemeClr val="bg1">
              <a:lumMod val="9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cxnSp>
        <p:nvCxnSpPr>
          <p:cNvPr id="54" name="Straight Connector 53">
            <a:extLst>
              <a:ext uri="{FF2B5EF4-FFF2-40B4-BE49-F238E27FC236}">
                <a16:creationId xmlns:a16="http://schemas.microsoft.com/office/drawing/2014/main" id="{AA746D79-F378-40B7-AD07-6C403BC299D1}"/>
              </a:ext>
            </a:extLst>
          </p:cNvPr>
          <p:cNvCxnSpPr>
            <a:cxnSpLocks/>
          </p:cNvCxnSpPr>
          <p:nvPr/>
        </p:nvCxnSpPr>
        <p:spPr>
          <a:xfrm>
            <a:off x="914401" y="5594451"/>
            <a:ext cx="251285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65FE9097-DBC6-471C-B700-236B39E7EAB4}"/>
              </a:ext>
            </a:extLst>
          </p:cNvPr>
          <p:cNvSpPr/>
          <p:nvPr/>
        </p:nvSpPr>
        <p:spPr bwMode="gray">
          <a:xfrm>
            <a:off x="1030275" y="5676456"/>
            <a:ext cx="144000" cy="14400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56" name="Rectangle 55">
            <a:extLst>
              <a:ext uri="{FF2B5EF4-FFF2-40B4-BE49-F238E27FC236}">
                <a16:creationId xmlns:a16="http://schemas.microsoft.com/office/drawing/2014/main" id="{4CBB6E13-9103-4D4E-80C9-C3C5D7B36BCE}"/>
              </a:ext>
            </a:extLst>
          </p:cNvPr>
          <p:cNvSpPr>
            <a:spLocks/>
          </p:cNvSpPr>
          <p:nvPr/>
        </p:nvSpPr>
        <p:spPr>
          <a:xfrm>
            <a:off x="1266928" y="5688109"/>
            <a:ext cx="2055314" cy="1589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Stakeholder Interview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sp>
        <p:nvSpPr>
          <p:cNvPr id="57" name="Oval 56">
            <a:extLst>
              <a:ext uri="{FF2B5EF4-FFF2-40B4-BE49-F238E27FC236}">
                <a16:creationId xmlns:a16="http://schemas.microsoft.com/office/drawing/2014/main" id="{012FF313-0FBF-4296-9541-166FC820D227}"/>
              </a:ext>
            </a:extLst>
          </p:cNvPr>
          <p:cNvSpPr/>
          <p:nvPr/>
        </p:nvSpPr>
        <p:spPr bwMode="gray">
          <a:xfrm>
            <a:off x="1030275" y="5891016"/>
            <a:ext cx="144000" cy="14400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B3F0D4A1-52D7-40F5-871C-A2D04A8EAE56}"/>
              </a:ext>
            </a:extLst>
          </p:cNvPr>
          <p:cNvSpPr>
            <a:spLocks/>
          </p:cNvSpPr>
          <p:nvPr/>
        </p:nvSpPr>
        <p:spPr>
          <a:xfrm>
            <a:off x="1266928" y="5891017"/>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Stakeholder workshop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Speak to key stakeholders in the business to understand motivations, frustrations and objectives.</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sp>
        <p:nvSpPr>
          <p:cNvPr id="63" name="Rectangle 62">
            <a:extLst>
              <a:ext uri="{FF2B5EF4-FFF2-40B4-BE49-F238E27FC236}">
                <a16:creationId xmlns:a16="http://schemas.microsoft.com/office/drawing/2014/main" id="{10F4079C-F95A-46AC-9B65-23BAB1F56F41}"/>
              </a:ext>
            </a:extLst>
          </p:cNvPr>
          <p:cNvSpPr/>
          <p:nvPr/>
        </p:nvSpPr>
        <p:spPr bwMode="gray">
          <a:xfrm>
            <a:off x="3590743" y="3539665"/>
            <a:ext cx="2512856" cy="1842615"/>
          </a:xfrm>
          <a:prstGeom prst="rect">
            <a:avLst/>
          </a:prstGeom>
          <a:solidFill>
            <a:schemeClr val="bg1">
              <a:lumMod val="9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cxnSp>
        <p:nvCxnSpPr>
          <p:cNvPr id="64" name="Straight Connector 63">
            <a:extLst>
              <a:ext uri="{FF2B5EF4-FFF2-40B4-BE49-F238E27FC236}">
                <a16:creationId xmlns:a16="http://schemas.microsoft.com/office/drawing/2014/main" id="{F825E67D-EAAC-4072-BBCE-AED899F75002}"/>
              </a:ext>
            </a:extLst>
          </p:cNvPr>
          <p:cNvCxnSpPr>
            <a:cxnSpLocks/>
          </p:cNvCxnSpPr>
          <p:nvPr/>
        </p:nvCxnSpPr>
        <p:spPr>
          <a:xfrm>
            <a:off x="3590743" y="3539664"/>
            <a:ext cx="2512856" cy="0"/>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467C6B1-B2A2-4669-8CEF-9BE5C0CDDD16}"/>
              </a:ext>
            </a:extLst>
          </p:cNvPr>
          <p:cNvSpPr/>
          <p:nvPr/>
        </p:nvSpPr>
        <p:spPr bwMode="gray">
          <a:xfrm>
            <a:off x="6219473" y="3539665"/>
            <a:ext cx="2512856" cy="2668506"/>
          </a:xfrm>
          <a:prstGeom prst="rect">
            <a:avLst/>
          </a:prstGeom>
          <a:solidFill>
            <a:schemeClr val="bg1">
              <a:lumMod val="9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cxnSp>
        <p:nvCxnSpPr>
          <p:cNvPr id="42" name="Straight Connector 41">
            <a:extLst>
              <a:ext uri="{FF2B5EF4-FFF2-40B4-BE49-F238E27FC236}">
                <a16:creationId xmlns:a16="http://schemas.microsoft.com/office/drawing/2014/main" id="{F7F1D489-2836-4B91-AAB5-7F84A53E55EA}"/>
              </a:ext>
            </a:extLst>
          </p:cNvPr>
          <p:cNvCxnSpPr>
            <a:cxnSpLocks/>
          </p:cNvCxnSpPr>
          <p:nvPr/>
        </p:nvCxnSpPr>
        <p:spPr>
          <a:xfrm>
            <a:off x="6219473" y="3539664"/>
            <a:ext cx="2512856"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79A4A84-CFED-4C93-B95E-8EE1C008CF41}"/>
              </a:ext>
            </a:extLst>
          </p:cNvPr>
          <p:cNvGrpSpPr/>
          <p:nvPr/>
        </p:nvGrpSpPr>
        <p:grpSpPr>
          <a:xfrm>
            <a:off x="1030275" y="4527188"/>
            <a:ext cx="7597039" cy="352800"/>
            <a:chOff x="1030275" y="4090447"/>
            <a:chExt cx="7597039" cy="352055"/>
          </a:xfrm>
        </p:grpSpPr>
        <p:grpSp>
          <p:nvGrpSpPr>
            <p:cNvPr id="138" name="Group 137">
              <a:extLst>
                <a:ext uri="{FF2B5EF4-FFF2-40B4-BE49-F238E27FC236}">
                  <a16:creationId xmlns:a16="http://schemas.microsoft.com/office/drawing/2014/main" id="{5C9DCC96-2308-449D-8FA6-5EE6EC663293}"/>
                </a:ext>
              </a:extLst>
            </p:cNvPr>
            <p:cNvGrpSpPr/>
            <p:nvPr/>
          </p:nvGrpSpPr>
          <p:grpSpPr>
            <a:xfrm>
              <a:off x="1030275" y="4090447"/>
              <a:ext cx="2291967" cy="352054"/>
              <a:chOff x="1030275" y="4090447"/>
              <a:chExt cx="2291967" cy="352054"/>
            </a:xfrm>
          </p:grpSpPr>
          <p:sp>
            <p:nvSpPr>
              <p:cNvPr id="46" name="Oval 45">
                <a:extLst>
                  <a:ext uri="{FF2B5EF4-FFF2-40B4-BE49-F238E27FC236}">
                    <a16:creationId xmlns:a16="http://schemas.microsoft.com/office/drawing/2014/main" id="{24178CCB-B33B-4B53-A7CB-7F8DE9F1F96C}"/>
                  </a:ext>
                </a:extLst>
              </p:cNvPr>
              <p:cNvSpPr/>
              <p:nvPr/>
            </p:nvSpPr>
            <p:spPr bwMode="gray">
              <a:xfrm>
                <a:off x="1030275" y="4090447"/>
                <a:ext cx="144000" cy="14400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7" name="Rectangle 46">
                <a:extLst>
                  <a:ext uri="{FF2B5EF4-FFF2-40B4-BE49-F238E27FC236}">
                    <a16:creationId xmlns:a16="http://schemas.microsoft.com/office/drawing/2014/main" id="{F4A29945-27B3-4347-9EA4-17C19B48FB73}"/>
                  </a:ext>
                </a:extLst>
              </p:cNvPr>
              <p:cNvSpPr>
                <a:spLocks/>
              </p:cNvSpPr>
              <p:nvPr/>
            </p:nvSpPr>
            <p:spPr>
              <a:xfrm>
                <a:off x="1266928" y="4090447"/>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User Focus Group</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Facilitate a guided discussion with representative markets to assess user attitude, opinions and impressions.</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137" name="Group 136">
              <a:extLst>
                <a:ext uri="{FF2B5EF4-FFF2-40B4-BE49-F238E27FC236}">
                  <a16:creationId xmlns:a16="http://schemas.microsoft.com/office/drawing/2014/main" id="{1EDB77AB-8428-49A2-987A-E708004E5546}"/>
                </a:ext>
              </a:extLst>
            </p:cNvPr>
            <p:cNvGrpSpPr/>
            <p:nvPr/>
          </p:nvGrpSpPr>
          <p:grpSpPr>
            <a:xfrm>
              <a:off x="3706618" y="4090447"/>
              <a:ext cx="2291967" cy="352054"/>
              <a:chOff x="3706618" y="4090447"/>
              <a:chExt cx="2291967" cy="352054"/>
            </a:xfrm>
          </p:grpSpPr>
          <p:sp>
            <p:nvSpPr>
              <p:cNvPr id="69" name="Oval 68">
                <a:extLst>
                  <a:ext uri="{FF2B5EF4-FFF2-40B4-BE49-F238E27FC236}">
                    <a16:creationId xmlns:a16="http://schemas.microsoft.com/office/drawing/2014/main" id="{EB68B088-3FD0-4019-8EAF-E00C9ADFBE0C}"/>
                  </a:ext>
                </a:extLst>
              </p:cNvPr>
              <p:cNvSpPr/>
              <p:nvPr/>
            </p:nvSpPr>
            <p:spPr bwMode="gray">
              <a:xfrm>
                <a:off x="3706618" y="4090447"/>
                <a:ext cx="144000" cy="144000"/>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70" name="Rectangle 69">
                <a:extLst>
                  <a:ext uri="{FF2B5EF4-FFF2-40B4-BE49-F238E27FC236}">
                    <a16:creationId xmlns:a16="http://schemas.microsoft.com/office/drawing/2014/main" id="{916D5933-9423-4656-AAAE-99959B292F62}"/>
                  </a:ext>
                </a:extLst>
              </p:cNvPr>
              <p:cNvSpPr>
                <a:spLocks/>
              </p:cNvSpPr>
              <p:nvPr/>
            </p:nvSpPr>
            <p:spPr>
              <a:xfrm>
                <a:off x="3943270" y="4090447"/>
                <a:ext cx="2055315"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User Journey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Walkthrough showing the steps a persona would take to complete a task. </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129" name="Group 128">
              <a:extLst>
                <a:ext uri="{FF2B5EF4-FFF2-40B4-BE49-F238E27FC236}">
                  <a16:creationId xmlns:a16="http://schemas.microsoft.com/office/drawing/2014/main" id="{F331D1AB-2481-40E0-9384-AAD4711CF1C8}"/>
                </a:ext>
              </a:extLst>
            </p:cNvPr>
            <p:cNvGrpSpPr/>
            <p:nvPr/>
          </p:nvGrpSpPr>
          <p:grpSpPr>
            <a:xfrm>
              <a:off x="6335348" y="4090447"/>
              <a:ext cx="2291966" cy="352055"/>
              <a:chOff x="6335348" y="4092147"/>
              <a:chExt cx="2291966" cy="352055"/>
            </a:xfrm>
          </p:grpSpPr>
          <p:sp>
            <p:nvSpPr>
              <p:cNvPr id="59" name="Oval 58">
                <a:extLst>
                  <a:ext uri="{FF2B5EF4-FFF2-40B4-BE49-F238E27FC236}">
                    <a16:creationId xmlns:a16="http://schemas.microsoft.com/office/drawing/2014/main" id="{DAB9B28D-8C8E-432C-B624-99DAB04199F2}"/>
                  </a:ext>
                </a:extLst>
              </p:cNvPr>
              <p:cNvSpPr/>
              <p:nvPr/>
            </p:nvSpPr>
            <p:spPr bwMode="gray">
              <a:xfrm>
                <a:off x="6335348" y="4092147"/>
                <a:ext cx="144000" cy="144000"/>
              </a:xfrm>
              <a:prstGeom prst="ellipse">
                <a:avLst/>
              </a:prstGeom>
              <a:solidFill>
                <a:schemeClr val="accent6">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Rectangle 59">
                <a:extLst>
                  <a:ext uri="{FF2B5EF4-FFF2-40B4-BE49-F238E27FC236}">
                    <a16:creationId xmlns:a16="http://schemas.microsoft.com/office/drawing/2014/main" id="{5BE11831-4C0D-4166-813A-995D111733B3}"/>
                  </a:ext>
                </a:extLst>
              </p:cNvPr>
              <p:cNvSpPr>
                <a:spLocks/>
              </p:cNvSpPr>
              <p:nvPr/>
            </p:nvSpPr>
            <p:spPr>
              <a:xfrm>
                <a:off x="6572000" y="4092148"/>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Sketches </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Iterative wire framing usually performed on a whiteboard or flipchart, together with the key users.</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grpSp>
        <p:nvGrpSpPr>
          <p:cNvPr id="142" name="Group 141">
            <a:extLst>
              <a:ext uri="{FF2B5EF4-FFF2-40B4-BE49-F238E27FC236}">
                <a16:creationId xmlns:a16="http://schemas.microsoft.com/office/drawing/2014/main" id="{E9835466-36C1-407E-86F3-0F41F0F112AB}"/>
              </a:ext>
            </a:extLst>
          </p:cNvPr>
          <p:cNvGrpSpPr/>
          <p:nvPr/>
        </p:nvGrpSpPr>
        <p:grpSpPr>
          <a:xfrm>
            <a:off x="1048651" y="4972599"/>
            <a:ext cx="7597039" cy="352055"/>
            <a:chOff x="1030275" y="4446826"/>
            <a:chExt cx="7597039" cy="352055"/>
          </a:xfrm>
        </p:grpSpPr>
        <p:grpSp>
          <p:nvGrpSpPr>
            <p:cNvPr id="139" name="Group 138">
              <a:extLst>
                <a:ext uri="{FF2B5EF4-FFF2-40B4-BE49-F238E27FC236}">
                  <a16:creationId xmlns:a16="http://schemas.microsoft.com/office/drawing/2014/main" id="{0557D8CE-98CA-4FA7-AECC-D57811F4E895}"/>
                </a:ext>
              </a:extLst>
            </p:cNvPr>
            <p:cNvGrpSpPr/>
            <p:nvPr/>
          </p:nvGrpSpPr>
          <p:grpSpPr>
            <a:xfrm>
              <a:off x="1030275" y="4446826"/>
              <a:ext cx="2307647" cy="352055"/>
              <a:chOff x="1030275" y="4631164"/>
              <a:chExt cx="2307647" cy="352055"/>
            </a:xfrm>
          </p:grpSpPr>
          <p:sp>
            <p:nvSpPr>
              <p:cNvPr id="49" name="Oval 48">
                <a:extLst>
                  <a:ext uri="{FF2B5EF4-FFF2-40B4-BE49-F238E27FC236}">
                    <a16:creationId xmlns:a16="http://schemas.microsoft.com/office/drawing/2014/main" id="{13A9ADAE-DA99-40E8-8964-A9C8E6525936}"/>
                  </a:ext>
                </a:extLst>
              </p:cNvPr>
              <p:cNvSpPr/>
              <p:nvPr/>
            </p:nvSpPr>
            <p:spPr bwMode="gray">
              <a:xfrm>
                <a:off x="1030275" y="4631164"/>
                <a:ext cx="144000" cy="14400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50" name="Rectangle 49">
                <a:extLst>
                  <a:ext uri="{FF2B5EF4-FFF2-40B4-BE49-F238E27FC236}">
                    <a16:creationId xmlns:a16="http://schemas.microsoft.com/office/drawing/2014/main" id="{1C666447-BAA2-46FA-AEF7-950F1EB6E9A7}"/>
                  </a:ext>
                </a:extLst>
              </p:cNvPr>
              <p:cNvSpPr>
                <a:spLocks/>
              </p:cNvSpPr>
              <p:nvPr/>
            </p:nvSpPr>
            <p:spPr>
              <a:xfrm>
                <a:off x="1266927" y="4631165"/>
                <a:ext cx="2070995"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User Interviews across local UNICEF o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One-on-one gathering technique to collect qualitative data from users about their personality and behaviours </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140" name="Group 139">
              <a:extLst>
                <a:ext uri="{FF2B5EF4-FFF2-40B4-BE49-F238E27FC236}">
                  <a16:creationId xmlns:a16="http://schemas.microsoft.com/office/drawing/2014/main" id="{19040A5E-7DFE-445C-845B-DD286B005CDB}"/>
                </a:ext>
              </a:extLst>
            </p:cNvPr>
            <p:cNvGrpSpPr/>
            <p:nvPr/>
          </p:nvGrpSpPr>
          <p:grpSpPr>
            <a:xfrm>
              <a:off x="3706618" y="4446826"/>
              <a:ext cx="2291967" cy="352055"/>
              <a:chOff x="3706618" y="4530235"/>
              <a:chExt cx="2291967" cy="352055"/>
            </a:xfrm>
          </p:grpSpPr>
          <p:sp>
            <p:nvSpPr>
              <p:cNvPr id="71" name="Oval 70">
                <a:extLst>
                  <a:ext uri="{FF2B5EF4-FFF2-40B4-BE49-F238E27FC236}">
                    <a16:creationId xmlns:a16="http://schemas.microsoft.com/office/drawing/2014/main" id="{474500A0-D538-41FE-B3FA-F204F33A6F95}"/>
                  </a:ext>
                </a:extLst>
              </p:cNvPr>
              <p:cNvSpPr/>
              <p:nvPr/>
            </p:nvSpPr>
            <p:spPr bwMode="gray">
              <a:xfrm>
                <a:off x="3706618" y="4530235"/>
                <a:ext cx="144000" cy="144000"/>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72" name="Rectangle 71">
                <a:extLst>
                  <a:ext uri="{FF2B5EF4-FFF2-40B4-BE49-F238E27FC236}">
                    <a16:creationId xmlns:a16="http://schemas.microsoft.com/office/drawing/2014/main" id="{80723056-D4B0-46B2-9620-95FE3596EE53}"/>
                  </a:ext>
                </a:extLst>
              </p:cNvPr>
              <p:cNvSpPr>
                <a:spLocks/>
              </p:cNvSpPr>
              <p:nvPr/>
            </p:nvSpPr>
            <p:spPr>
              <a:xfrm>
                <a:off x="3943270" y="4530236"/>
                <a:ext cx="2055315"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High Level User Story</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Short and simple description of a feature told from the perspective of the user. </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130" name="Group 129">
              <a:extLst>
                <a:ext uri="{FF2B5EF4-FFF2-40B4-BE49-F238E27FC236}">
                  <a16:creationId xmlns:a16="http://schemas.microsoft.com/office/drawing/2014/main" id="{5CC6D43D-DB71-4692-AED6-6949DAC389F2}"/>
                </a:ext>
              </a:extLst>
            </p:cNvPr>
            <p:cNvGrpSpPr/>
            <p:nvPr/>
          </p:nvGrpSpPr>
          <p:grpSpPr>
            <a:xfrm>
              <a:off x="6335348" y="4446826"/>
              <a:ext cx="2291966" cy="352055"/>
              <a:chOff x="6335348" y="4446826"/>
              <a:chExt cx="2291966" cy="352055"/>
            </a:xfrm>
          </p:grpSpPr>
          <p:sp>
            <p:nvSpPr>
              <p:cNvPr id="61" name="Oval 60">
                <a:extLst>
                  <a:ext uri="{FF2B5EF4-FFF2-40B4-BE49-F238E27FC236}">
                    <a16:creationId xmlns:a16="http://schemas.microsoft.com/office/drawing/2014/main" id="{22C3F050-10A1-454D-964B-54920D1A2CEC}"/>
                  </a:ext>
                </a:extLst>
              </p:cNvPr>
              <p:cNvSpPr/>
              <p:nvPr/>
            </p:nvSpPr>
            <p:spPr bwMode="gray">
              <a:xfrm>
                <a:off x="6335348" y="4446826"/>
                <a:ext cx="144000" cy="144000"/>
              </a:xfrm>
              <a:prstGeom prst="ellipse">
                <a:avLst/>
              </a:prstGeom>
              <a:solidFill>
                <a:schemeClr val="accent6">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Rectangle 61">
                <a:extLst>
                  <a:ext uri="{FF2B5EF4-FFF2-40B4-BE49-F238E27FC236}">
                    <a16:creationId xmlns:a16="http://schemas.microsoft.com/office/drawing/2014/main" id="{9F4C049C-80B9-48DF-B4AA-995027DFC626}"/>
                  </a:ext>
                </a:extLst>
              </p:cNvPr>
              <p:cNvSpPr>
                <a:spLocks/>
              </p:cNvSpPr>
              <p:nvPr/>
            </p:nvSpPr>
            <p:spPr>
              <a:xfrm>
                <a:off x="6572000" y="4446827"/>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Wireframe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The wireframe provides a basic structure of the visual components and the navigation experience of a the solution.</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sp>
        <p:nvSpPr>
          <p:cNvPr id="93" name="Rectangle 92">
            <a:extLst>
              <a:ext uri="{FF2B5EF4-FFF2-40B4-BE49-F238E27FC236}">
                <a16:creationId xmlns:a16="http://schemas.microsoft.com/office/drawing/2014/main" id="{2AA20C6E-64F8-4583-A20D-AE1C5859DFFF}"/>
              </a:ext>
            </a:extLst>
          </p:cNvPr>
          <p:cNvSpPr/>
          <p:nvPr/>
        </p:nvSpPr>
        <p:spPr bwMode="gray">
          <a:xfrm>
            <a:off x="8848203" y="3539665"/>
            <a:ext cx="2512856" cy="1060909"/>
          </a:xfrm>
          <a:prstGeom prst="rect">
            <a:avLst/>
          </a:prstGeom>
          <a:solidFill>
            <a:srgbClr val="F2F2F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cxnSp>
        <p:nvCxnSpPr>
          <p:cNvPr id="94" name="Straight Connector 93">
            <a:extLst>
              <a:ext uri="{FF2B5EF4-FFF2-40B4-BE49-F238E27FC236}">
                <a16:creationId xmlns:a16="http://schemas.microsoft.com/office/drawing/2014/main" id="{A713EF85-D7F9-4B4F-8460-E76F4F9CEB5E}"/>
              </a:ext>
            </a:extLst>
          </p:cNvPr>
          <p:cNvCxnSpPr>
            <a:cxnSpLocks/>
          </p:cNvCxnSpPr>
          <p:nvPr/>
        </p:nvCxnSpPr>
        <p:spPr>
          <a:xfrm>
            <a:off x="8848203" y="3539664"/>
            <a:ext cx="2512856"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63C85444-A597-403D-92D7-0F493DA4DBE1}"/>
              </a:ext>
            </a:extLst>
          </p:cNvPr>
          <p:cNvGrpSpPr/>
          <p:nvPr/>
        </p:nvGrpSpPr>
        <p:grpSpPr>
          <a:xfrm>
            <a:off x="1030275" y="3636369"/>
            <a:ext cx="10225769" cy="352055"/>
            <a:chOff x="1030275" y="3168989"/>
            <a:chExt cx="10225769" cy="352055"/>
          </a:xfrm>
        </p:grpSpPr>
        <p:grpSp>
          <p:nvGrpSpPr>
            <p:cNvPr id="30" name="Group 29">
              <a:extLst>
                <a:ext uri="{FF2B5EF4-FFF2-40B4-BE49-F238E27FC236}">
                  <a16:creationId xmlns:a16="http://schemas.microsoft.com/office/drawing/2014/main" id="{0317CCF5-73CC-4BF5-991F-41FD3CAE6076}"/>
                </a:ext>
              </a:extLst>
            </p:cNvPr>
            <p:cNvGrpSpPr/>
            <p:nvPr/>
          </p:nvGrpSpPr>
          <p:grpSpPr>
            <a:xfrm>
              <a:off x="1030275" y="3168989"/>
              <a:ext cx="2291967" cy="352055"/>
              <a:chOff x="1030275" y="3168989"/>
              <a:chExt cx="2291967" cy="352055"/>
            </a:xfrm>
          </p:grpSpPr>
          <p:sp>
            <p:nvSpPr>
              <p:cNvPr id="14" name="Oval 13">
                <a:extLst>
                  <a:ext uri="{FF2B5EF4-FFF2-40B4-BE49-F238E27FC236}">
                    <a16:creationId xmlns:a16="http://schemas.microsoft.com/office/drawing/2014/main" id="{9F948BA1-ECE4-48AF-BE39-D9A6B057FAF3}"/>
                  </a:ext>
                </a:extLst>
              </p:cNvPr>
              <p:cNvSpPr/>
              <p:nvPr/>
            </p:nvSpPr>
            <p:spPr bwMode="gray">
              <a:xfrm>
                <a:off x="1030275" y="3168989"/>
                <a:ext cx="144000" cy="14400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3426FA36-4BCC-48E9-9E57-815A956822D8}"/>
                  </a:ext>
                </a:extLst>
              </p:cNvPr>
              <p:cNvSpPr>
                <a:spLocks/>
              </p:cNvSpPr>
              <p:nvPr/>
            </p:nvSpPr>
            <p:spPr>
              <a:xfrm>
                <a:off x="1266928" y="3168990"/>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Existing Solution UX Review </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Evaluation of existing solutions to appraise and compare with best practices of UX. </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32" name="Group 31">
              <a:extLst>
                <a:ext uri="{FF2B5EF4-FFF2-40B4-BE49-F238E27FC236}">
                  <a16:creationId xmlns:a16="http://schemas.microsoft.com/office/drawing/2014/main" id="{BF34CF6A-5EDF-4CF7-99E5-749BCF306FA5}"/>
                </a:ext>
              </a:extLst>
            </p:cNvPr>
            <p:cNvGrpSpPr/>
            <p:nvPr/>
          </p:nvGrpSpPr>
          <p:grpSpPr>
            <a:xfrm>
              <a:off x="3706618" y="3168989"/>
              <a:ext cx="2291967" cy="352055"/>
              <a:chOff x="3706618" y="3168989"/>
              <a:chExt cx="2291967" cy="352055"/>
            </a:xfrm>
          </p:grpSpPr>
          <p:sp>
            <p:nvSpPr>
              <p:cNvPr id="65" name="Oval 64">
                <a:extLst>
                  <a:ext uri="{FF2B5EF4-FFF2-40B4-BE49-F238E27FC236}">
                    <a16:creationId xmlns:a16="http://schemas.microsoft.com/office/drawing/2014/main" id="{E1762604-13BC-4540-ADAD-D9CE6EE8D476}"/>
                  </a:ext>
                </a:extLst>
              </p:cNvPr>
              <p:cNvSpPr/>
              <p:nvPr/>
            </p:nvSpPr>
            <p:spPr bwMode="gray">
              <a:xfrm>
                <a:off x="3706618" y="3168989"/>
                <a:ext cx="144000" cy="144000"/>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66" name="Rectangle 65">
                <a:extLst>
                  <a:ext uri="{FF2B5EF4-FFF2-40B4-BE49-F238E27FC236}">
                    <a16:creationId xmlns:a16="http://schemas.microsoft.com/office/drawing/2014/main" id="{8218DD0D-D952-4EB0-9FC1-13FEB0E36A85}"/>
                  </a:ext>
                </a:extLst>
              </p:cNvPr>
              <p:cNvSpPr>
                <a:spLocks/>
              </p:cNvSpPr>
              <p:nvPr/>
            </p:nvSpPr>
            <p:spPr>
              <a:xfrm>
                <a:off x="3943270" y="3168990"/>
                <a:ext cx="2055315"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Design principle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Define the core values of the product to allow stakeholders to focus on what is important.  </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35" name="Group 34">
              <a:extLst>
                <a:ext uri="{FF2B5EF4-FFF2-40B4-BE49-F238E27FC236}">
                  <a16:creationId xmlns:a16="http://schemas.microsoft.com/office/drawing/2014/main" id="{20E984AE-C587-4992-BC9C-C048B0C6AF87}"/>
                </a:ext>
              </a:extLst>
            </p:cNvPr>
            <p:cNvGrpSpPr/>
            <p:nvPr/>
          </p:nvGrpSpPr>
          <p:grpSpPr>
            <a:xfrm>
              <a:off x="6335348" y="3168989"/>
              <a:ext cx="2291966" cy="352055"/>
              <a:chOff x="6335348" y="3168989"/>
              <a:chExt cx="2291966" cy="352055"/>
            </a:xfrm>
          </p:grpSpPr>
          <p:sp>
            <p:nvSpPr>
              <p:cNvPr id="43" name="Oval 42">
                <a:extLst>
                  <a:ext uri="{FF2B5EF4-FFF2-40B4-BE49-F238E27FC236}">
                    <a16:creationId xmlns:a16="http://schemas.microsoft.com/office/drawing/2014/main" id="{A8BCDC0E-5218-4336-B569-C2CE1CA9AF57}"/>
                  </a:ext>
                </a:extLst>
              </p:cNvPr>
              <p:cNvSpPr/>
              <p:nvPr/>
            </p:nvSpPr>
            <p:spPr bwMode="gray">
              <a:xfrm>
                <a:off x="6335348" y="3168989"/>
                <a:ext cx="144000" cy="144000"/>
              </a:xfrm>
              <a:prstGeom prst="ellipse">
                <a:avLst/>
              </a:prstGeom>
              <a:solidFill>
                <a:schemeClr val="accent6">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Rectangle 44">
                <a:extLst>
                  <a:ext uri="{FF2B5EF4-FFF2-40B4-BE49-F238E27FC236}">
                    <a16:creationId xmlns:a16="http://schemas.microsoft.com/office/drawing/2014/main" id="{7DC3B952-555A-4DA0-B790-F7877CD64F86}"/>
                  </a:ext>
                </a:extLst>
              </p:cNvPr>
              <p:cNvSpPr>
                <a:spLocks/>
              </p:cNvSpPr>
              <p:nvPr/>
            </p:nvSpPr>
            <p:spPr>
              <a:xfrm>
                <a:off x="6572000" y="3168990"/>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Content strategy</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Define key theme, topics, content purpose, content gap analysis. Ensure the right content is published at the right time and for the right reason to the right person</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37" name="Group 36">
              <a:extLst>
                <a:ext uri="{FF2B5EF4-FFF2-40B4-BE49-F238E27FC236}">
                  <a16:creationId xmlns:a16="http://schemas.microsoft.com/office/drawing/2014/main" id="{674F350A-992F-4509-B3FC-D8A2F55DE49E}"/>
                </a:ext>
              </a:extLst>
            </p:cNvPr>
            <p:cNvGrpSpPr/>
            <p:nvPr/>
          </p:nvGrpSpPr>
          <p:grpSpPr>
            <a:xfrm>
              <a:off x="8964078" y="3168989"/>
              <a:ext cx="2291966" cy="352055"/>
              <a:chOff x="8964078" y="3168989"/>
              <a:chExt cx="2291966" cy="352055"/>
            </a:xfrm>
          </p:grpSpPr>
          <p:sp>
            <p:nvSpPr>
              <p:cNvPr id="95" name="Oval 94">
                <a:extLst>
                  <a:ext uri="{FF2B5EF4-FFF2-40B4-BE49-F238E27FC236}">
                    <a16:creationId xmlns:a16="http://schemas.microsoft.com/office/drawing/2014/main" id="{E719F18E-9883-46A8-ADA8-9DA0ED26F6FB}"/>
                  </a:ext>
                </a:extLst>
              </p:cNvPr>
              <p:cNvSpPr/>
              <p:nvPr/>
            </p:nvSpPr>
            <p:spPr bwMode="gray">
              <a:xfrm>
                <a:off x="8964078" y="3168989"/>
                <a:ext cx="144000" cy="144000"/>
              </a:xfrm>
              <a:prstGeom prst="ellipse">
                <a:avLst/>
              </a:prstGeom>
              <a:solidFill>
                <a:schemeClr val="accent6"/>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96" name="Rectangle 95">
                <a:extLst>
                  <a:ext uri="{FF2B5EF4-FFF2-40B4-BE49-F238E27FC236}">
                    <a16:creationId xmlns:a16="http://schemas.microsoft.com/office/drawing/2014/main" id="{FAC14A7D-F35B-46EA-9885-0CCB88B36DB0}"/>
                  </a:ext>
                </a:extLst>
              </p:cNvPr>
              <p:cNvSpPr>
                <a:spLocks/>
              </p:cNvSpPr>
              <p:nvPr/>
            </p:nvSpPr>
            <p:spPr>
              <a:xfrm>
                <a:off x="9200730" y="3168990"/>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UX design enablement </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Enable internal teams to provide user-centric solutions by providing to them trainings in UX design (face-to-face or online / e-learning)</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grpSp>
        <p:nvGrpSpPr>
          <p:cNvPr id="136" name="Group 135">
            <a:extLst>
              <a:ext uri="{FF2B5EF4-FFF2-40B4-BE49-F238E27FC236}">
                <a16:creationId xmlns:a16="http://schemas.microsoft.com/office/drawing/2014/main" id="{DE6D1D78-7A1D-4548-9566-706044131895}"/>
              </a:ext>
            </a:extLst>
          </p:cNvPr>
          <p:cNvGrpSpPr/>
          <p:nvPr/>
        </p:nvGrpSpPr>
        <p:grpSpPr>
          <a:xfrm>
            <a:off x="1030275" y="4081779"/>
            <a:ext cx="10225769" cy="352055"/>
            <a:chOff x="1030275" y="3616772"/>
            <a:chExt cx="10225769" cy="352055"/>
          </a:xfrm>
        </p:grpSpPr>
        <p:grpSp>
          <p:nvGrpSpPr>
            <p:cNvPr id="25" name="Group 24">
              <a:extLst>
                <a:ext uri="{FF2B5EF4-FFF2-40B4-BE49-F238E27FC236}">
                  <a16:creationId xmlns:a16="http://schemas.microsoft.com/office/drawing/2014/main" id="{5999FD4D-A458-4081-988D-2599111E56E5}"/>
                </a:ext>
              </a:extLst>
            </p:cNvPr>
            <p:cNvGrpSpPr/>
            <p:nvPr/>
          </p:nvGrpSpPr>
          <p:grpSpPr>
            <a:xfrm>
              <a:off x="1030275" y="3616772"/>
              <a:ext cx="2360681" cy="352055"/>
              <a:chOff x="1030275" y="3629718"/>
              <a:chExt cx="2360681" cy="352055"/>
            </a:xfrm>
          </p:grpSpPr>
          <p:sp>
            <p:nvSpPr>
              <p:cNvPr id="41" name="Oval 40">
                <a:extLst>
                  <a:ext uri="{FF2B5EF4-FFF2-40B4-BE49-F238E27FC236}">
                    <a16:creationId xmlns:a16="http://schemas.microsoft.com/office/drawing/2014/main" id="{0268075D-52A6-49A2-AA9E-72371F2E4603}"/>
                  </a:ext>
                </a:extLst>
              </p:cNvPr>
              <p:cNvSpPr/>
              <p:nvPr/>
            </p:nvSpPr>
            <p:spPr bwMode="gray">
              <a:xfrm>
                <a:off x="1030275" y="3629718"/>
                <a:ext cx="144000" cy="14400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Rectangle 43">
                <a:extLst>
                  <a:ext uri="{FF2B5EF4-FFF2-40B4-BE49-F238E27FC236}">
                    <a16:creationId xmlns:a16="http://schemas.microsoft.com/office/drawing/2014/main" id="{D1B53271-557B-4E86-B1F3-1179BEFBB93D}"/>
                  </a:ext>
                </a:extLst>
              </p:cNvPr>
              <p:cNvSpPr>
                <a:spLocks/>
              </p:cNvSpPr>
              <p:nvPr/>
            </p:nvSpPr>
            <p:spPr>
              <a:xfrm>
                <a:off x="1266927" y="3629719"/>
                <a:ext cx="2124029"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Selected UNICEF Markets User Survey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Collect opinions, ideas and feelings from a large number of users covering selected markets for core.</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24" name="Group 23">
              <a:extLst>
                <a:ext uri="{FF2B5EF4-FFF2-40B4-BE49-F238E27FC236}">
                  <a16:creationId xmlns:a16="http://schemas.microsoft.com/office/drawing/2014/main" id="{651F0D52-73CA-4D74-B1B1-329861E4AF93}"/>
                </a:ext>
              </a:extLst>
            </p:cNvPr>
            <p:cNvGrpSpPr/>
            <p:nvPr/>
          </p:nvGrpSpPr>
          <p:grpSpPr>
            <a:xfrm>
              <a:off x="3706618" y="3616772"/>
              <a:ext cx="2291967" cy="352055"/>
              <a:chOff x="3706618" y="3533477"/>
              <a:chExt cx="2291967" cy="352055"/>
            </a:xfrm>
          </p:grpSpPr>
          <p:sp>
            <p:nvSpPr>
              <p:cNvPr id="67" name="Oval 66">
                <a:extLst>
                  <a:ext uri="{FF2B5EF4-FFF2-40B4-BE49-F238E27FC236}">
                    <a16:creationId xmlns:a16="http://schemas.microsoft.com/office/drawing/2014/main" id="{2CEAE803-8F9B-49EC-B4A5-56564F7F1A06}"/>
                  </a:ext>
                </a:extLst>
              </p:cNvPr>
              <p:cNvSpPr/>
              <p:nvPr/>
            </p:nvSpPr>
            <p:spPr bwMode="gray">
              <a:xfrm>
                <a:off x="3706618" y="3533477"/>
                <a:ext cx="144000" cy="144000"/>
              </a:xfrm>
              <a:prstGeom prst="ellipse">
                <a:avLst/>
              </a:prstGeom>
              <a:solidFill>
                <a:schemeClr val="accent3">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68" name="Rectangle 67">
                <a:extLst>
                  <a:ext uri="{FF2B5EF4-FFF2-40B4-BE49-F238E27FC236}">
                    <a16:creationId xmlns:a16="http://schemas.microsoft.com/office/drawing/2014/main" id="{1B2952E9-6A5E-4938-9C04-DA20D41D7424}"/>
                  </a:ext>
                </a:extLst>
              </p:cNvPr>
              <p:cNvSpPr>
                <a:spLocks/>
              </p:cNvSpPr>
              <p:nvPr/>
            </p:nvSpPr>
            <p:spPr>
              <a:xfrm>
                <a:off x="3943270" y="3533478"/>
                <a:ext cx="2055315"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Personas that Fits all UNICEF Market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A pen portrait showing the steps a persona would take to complete a task. </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34" name="Group 33">
              <a:extLst>
                <a:ext uri="{FF2B5EF4-FFF2-40B4-BE49-F238E27FC236}">
                  <a16:creationId xmlns:a16="http://schemas.microsoft.com/office/drawing/2014/main" id="{4A40EAB2-6A16-46AE-9B14-8471706BE812}"/>
                </a:ext>
              </a:extLst>
            </p:cNvPr>
            <p:cNvGrpSpPr/>
            <p:nvPr/>
          </p:nvGrpSpPr>
          <p:grpSpPr>
            <a:xfrm>
              <a:off x="6335348" y="3616772"/>
              <a:ext cx="2291966" cy="352055"/>
              <a:chOff x="6335348" y="3650941"/>
              <a:chExt cx="2291966" cy="352055"/>
            </a:xfrm>
          </p:grpSpPr>
          <p:sp>
            <p:nvSpPr>
              <p:cNvPr id="51" name="Oval 50">
                <a:extLst>
                  <a:ext uri="{FF2B5EF4-FFF2-40B4-BE49-F238E27FC236}">
                    <a16:creationId xmlns:a16="http://schemas.microsoft.com/office/drawing/2014/main" id="{FF2B092F-B570-4468-A4AB-47755F4721B6}"/>
                  </a:ext>
                </a:extLst>
              </p:cNvPr>
              <p:cNvSpPr/>
              <p:nvPr/>
            </p:nvSpPr>
            <p:spPr bwMode="gray">
              <a:xfrm>
                <a:off x="6335348" y="3650941"/>
                <a:ext cx="144000" cy="144000"/>
              </a:xfrm>
              <a:prstGeom prst="ellipse">
                <a:avLst/>
              </a:prstGeom>
              <a:solidFill>
                <a:schemeClr val="accent6">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52" name="Rectangle 51">
                <a:extLst>
                  <a:ext uri="{FF2B5EF4-FFF2-40B4-BE49-F238E27FC236}">
                    <a16:creationId xmlns:a16="http://schemas.microsoft.com/office/drawing/2014/main" id="{166BB3A0-62A4-4F4D-BF2F-4B42730CE6C4}"/>
                  </a:ext>
                </a:extLst>
              </p:cNvPr>
              <p:cNvSpPr>
                <a:spLocks/>
              </p:cNvSpPr>
              <p:nvPr/>
            </p:nvSpPr>
            <p:spPr>
              <a:xfrm>
                <a:off x="6572000" y="3650942"/>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Solution Map</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Describes how a user is expected to flow through its navigational menu to get to the relevant content given scenario</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38" name="Group 37">
              <a:extLst>
                <a:ext uri="{FF2B5EF4-FFF2-40B4-BE49-F238E27FC236}">
                  <a16:creationId xmlns:a16="http://schemas.microsoft.com/office/drawing/2014/main" id="{8A0C791B-ACCC-4C96-A572-90EF75DCE492}"/>
                </a:ext>
              </a:extLst>
            </p:cNvPr>
            <p:cNvGrpSpPr/>
            <p:nvPr/>
          </p:nvGrpSpPr>
          <p:grpSpPr>
            <a:xfrm>
              <a:off x="8964078" y="3616772"/>
              <a:ext cx="2291966" cy="352055"/>
              <a:chOff x="8964078" y="3688531"/>
              <a:chExt cx="2291966" cy="352055"/>
            </a:xfrm>
          </p:grpSpPr>
          <p:sp>
            <p:nvSpPr>
              <p:cNvPr id="97" name="Oval 96">
                <a:extLst>
                  <a:ext uri="{FF2B5EF4-FFF2-40B4-BE49-F238E27FC236}">
                    <a16:creationId xmlns:a16="http://schemas.microsoft.com/office/drawing/2014/main" id="{616B7157-2EAC-43EA-85F8-A2264CAB0178}"/>
                  </a:ext>
                </a:extLst>
              </p:cNvPr>
              <p:cNvSpPr/>
              <p:nvPr/>
            </p:nvSpPr>
            <p:spPr bwMode="gray">
              <a:xfrm>
                <a:off x="8964078" y="3688531"/>
                <a:ext cx="144000" cy="144000"/>
              </a:xfrm>
              <a:prstGeom prst="ellipse">
                <a:avLst/>
              </a:prstGeom>
              <a:solidFill>
                <a:schemeClr val="accent6"/>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98" name="Rectangle 97">
                <a:extLst>
                  <a:ext uri="{FF2B5EF4-FFF2-40B4-BE49-F238E27FC236}">
                    <a16:creationId xmlns:a16="http://schemas.microsoft.com/office/drawing/2014/main" id="{C400B461-D52D-424E-9FB5-79098F959ED8}"/>
                  </a:ext>
                </a:extLst>
              </p:cNvPr>
              <p:cNvSpPr>
                <a:spLocks/>
              </p:cNvSpPr>
              <p:nvPr/>
            </p:nvSpPr>
            <p:spPr>
              <a:xfrm>
                <a:off x="9200730" y="3688532"/>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On-going evolution</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Test the usability of the solution, identify issues and provide a feedback loop to iterate and improve the design and maximise insight generation.</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grpSp>
        <p:nvGrpSpPr>
          <p:cNvPr id="131" name="Group 130">
            <a:extLst>
              <a:ext uri="{FF2B5EF4-FFF2-40B4-BE49-F238E27FC236}">
                <a16:creationId xmlns:a16="http://schemas.microsoft.com/office/drawing/2014/main" id="{D53069E7-8712-424F-B6BF-3F14842EF8DA}"/>
              </a:ext>
            </a:extLst>
          </p:cNvPr>
          <p:cNvGrpSpPr/>
          <p:nvPr/>
        </p:nvGrpSpPr>
        <p:grpSpPr>
          <a:xfrm>
            <a:off x="6335348" y="5439382"/>
            <a:ext cx="2291966" cy="352055"/>
            <a:chOff x="6335348" y="4901257"/>
            <a:chExt cx="2291966" cy="352055"/>
          </a:xfrm>
        </p:grpSpPr>
        <p:sp>
          <p:nvSpPr>
            <p:cNvPr id="103" name="Oval 102">
              <a:extLst>
                <a:ext uri="{FF2B5EF4-FFF2-40B4-BE49-F238E27FC236}">
                  <a16:creationId xmlns:a16="http://schemas.microsoft.com/office/drawing/2014/main" id="{80B9E335-A038-495B-8D9C-59A15B986D3E}"/>
                </a:ext>
              </a:extLst>
            </p:cNvPr>
            <p:cNvSpPr/>
            <p:nvPr/>
          </p:nvSpPr>
          <p:spPr bwMode="gray">
            <a:xfrm>
              <a:off x="6335348" y="4901257"/>
              <a:ext cx="144000" cy="144000"/>
            </a:xfrm>
            <a:prstGeom prst="ellipse">
              <a:avLst/>
            </a:prstGeom>
            <a:solidFill>
              <a:schemeClr val="accent6">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104" name="Rectangle 103">
              <a:extLst>
                <a:ext uri="{FF2B5EF4-FFF2-40B4-BE49-F238E27FC236}">
                  <a16:creationId xmlns:a16="http://schemas.microsoft.com/office/drawing/2014/main" id="{C62BBD2C-3A5E-413B-9348-F74EDF81FF27}"/>
                </a:ext>
              </a:extLst>
            </p:cNvPr>
            <p:cNvSpPr>
              <a:spLocks/>
            </p:cNvSpPr>
            <p:nvPr/>
          </p:nvSpPr>
          <p:spPr>
            <a:xfrm>
              <a:off x="6572000" y="4901258"/>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High-fidelity wireframe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Includes formatting details and creates a realistic vision of the final solution.</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grpSp>
        <p:nvGrpSpPr>
          <p:cNvPr id="132" name="Group 131">
            <a:extLst>
              <a:ext uri="{FF2B5EF4-FFF2-40B4-BE49-F238E27FC236}">
                <a16:creationId xmlns:a16="http://schemas.microsoft.com/office/drawing/2014/main" id="{215CE74B-BE22-4731-A16C-F48422A9442C}"/>
              </a:ext>
            </a:extLst>
          </p:cNvPr>
          <p:cNvGrpSpPr/>
          <p:nvPr/>
        </p:nvGrpSpPr>
        <p:grpSpPr>
          <a:xfrm>
            <a:off x="6335348" y="5801177"/>
            <a:ext cx="2291966" cy="352055"/>
            <a:chOff x="6335348" y="5263052"/>
            <a:chExt cx="2291966" cy="352055"/>
          </a:xfrm>
        </p:grpSpPr>
        <p:sp>
          <p:nvSpPr>
            <p:cNvPr id="105" name="Oval 104">
              <a:extLst>
                <a:ext uri="{FF2B5EF4-FFF2-40B4-BE49-F238E27FC236}">
                  <a16:creationId xmlns:a16="http://schemas.microsoft.com/office/drawing/2014/main" id="{1D2BF915-8474-4920-A1E6-6D5B5C2670E4}"/>
                </a:ext>
              </a:extLst>
            </p:cNvPr>
            <p:cNvSpPr/>
            <p:nvPr/>
          </p:nvSpPr>
          <p:spPr bwMode="gray">
            <a:xfrm>
              <a:off x="6335348" y="5263052"/>
              <a:ext cx="144000" cy="144000"/>
            </a:xfrm>
            <a:prstGeom prst="ellipse">
              <a:avLst/>
            </a:prstGeom>
            <a:solidFill>
              <a:schemeClr val="accent6">
                <a:lumMod val="7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a:ea typeface="+mn-ea"/>
                <a:cs typeface="+mn-cs"/>
              </a:endParaRPr>
            </a:p>
          </p:txBody>
        </p:sp>
        <p:sp>
          <p:nvSpPr>
            <p:cNvPr id="106" name="Rectangle 105">
              <a:extLst>
                <a:ext uri="{FF2B5EF4-FFF2-40B4-BE49-F238E27FC236}">
                  <a16:creationId xmlns:a16="http://schemas.microsoft.com/office/drawing/2014/main" id="{3883EF88-C43D-4A8A-9975-3641ADC89070}"/>
                </a:ext>
              </a:extLst>
            </p:cNvPr>
            <p:cNvSpPr>
              <a:spLocks/>
            </p:cNvSpPr>
            <p:nvPr/>
          </p:nvSpPr>
          <p:spPr>
            <a:xfrm>
              <a:off x="6572000" y="5263053"/>
              <a:ext cx="2055314" cy="3520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Prototypes</a:t>
              </a:r>
              <a:endPar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rPr>
                <a:t>Illustrative solution to bring life to a design/vision which can be tested with users. Usually built on a mock-dataset. </a:t>
              </a:r>
              <a:endParaRPr kumimoji="0" lang="en-GB" sz="800" u="none" strike="noStrike" kern="1200" cap="none" spc="0" normalizeH="0" baseline="0" noProof="0" dirty="0">
                <a:ln>
                  <a:noFill/>
                </a:ln>
                <a:solidFill>
                  <a:srgbClr val="000000"/>
                </a:solidFill>
                <a:effectLst/>
                <a:uLnTx/>
                <a:uFillTx/>
                <a:latin typeface="Open Sans"/>
                <a:ea typeface="+mn-ea"/>
                <a:cs typeface="Open Sans" panose="020B0606030504020204" pitchFamily="34" charset="0"/>
              </a:endParaRPr>
            </a:p>
          </p:txBody>
        </p:sp>
      </p:grpSp>
      <p:sp>
        <p:nvSpPr>
          <p:cNvPr id="15" name="Rectangle: Rounded Corners 14">
            <a:extLst>
              <a:ext uri="{FF2B5EF4-FFF2-40B4-BE49-F238E27FC236}">
                <a16:creationId xmlns:a16="http://schemas.microsoft.com/office/drawing/2014/main" id="{0A4C5055-D21B-43B7-8E47-DBCC42403468}"/>
              </a:ext>
            </a:extLst>
          </p:cNvPr>
          <p:cNvSpPr/>
          <p:nvPr/>
        </p:nvSpPr>
        <p:spPr bwMode="gray">
          <a:xfrm>
            <a:off x="914399" y="2459564"/>
            <a:ext cx="2512856" cy="577497"/>
          </a:xfrm>
          <a:prstGeom prst="roundRect">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pic>
        <p:nvPicPr>
          <p:cNvPr id="17" name="Graphic 16" descr="Shopping basket with solid fill">
            <a:extLst>
              <a:ext uri="{FF2B5EF4-FFF2-40B4-BE49-F238E27FC236}">
                <a16:creationId xmlns:a16="http://schemas.microsoft.com/office/drawing/2014/main" id="{A56A969F-7E8D-4976-9AC6-C0D958B4572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493484" y="2469082"/>
            <a:ext cx="406875" cy="406875"/>
          </a:xfrm>
          <a:prstGeom prst="rect">
            <a:avLst/>
          </a:prstGeom>
        </p:spPr>
      </p:pic>
      <p:pic>
        <p:nvPicPr>
          <p:cNvPr id="19" name="Graphic 18" descr="Users with solid fill">
            <a:extLst>
              <a:ext uri="{FF2B5EF4-FFF2-40B4-BE49-F238E27FC236}">
                <a16:creationId xmlns:a16="http://schemas.microsoft.com/office/drawing/2014/main" id="{9F8360A6-A666-47AE-891B-BF1805FC48E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449617" y="2485309"/>
            <a:ext cx="406875" cy="406875"/>
          </a:xfrm>
          <a:prstGeom prst="rect">
            <a:avLst/>
          </a:prstGeom>
        </p:spPr>
      </p:pic>
      <p:sp>
        <p:nvSpPr>
          <p:cNvPr id="107" name="Rectangle 106">
            <a:extLst>
              <a:ext uri="{FF2B5EF4-FFF2-40B4-BE49-F238E27FC236}">
                <a16:creationId xmlns:a16="http://schemas.microsoft.com/office/drawing/2014/main" id="{F6B869C4-28A6-4456-AF68-D4234A79DDC2}"/>
              </a:ext>
            </a:extLst>
          </p:cNvPr>
          <p:cNvSpPr>
            <a:spLocks/>
          </p:cNvSpPr>
          <p:nvPr/>
        </p:nvSpPr>
        <p:spPr>
          <a:xfrm>
            <a:off x="1302354" y="2857281"/>
            <a:ext cx="700531" cy="1740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rPr>
              <a:t>User Insights</a:t>
            </a:r>
            <a:endParaRPr kumimoji="0" lang="en-GB" sz="9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endParaRPr>
          </a:p>
        </p:txBody>
      </p:sp>
      <p:sp>
        <p:nvSpPr>
          <p:cNvPr id="108" name="Rectangle 107">
            <a:extLst>
              <a:ext uri="{FF2B5EF4-FFF2-40B4-BE49-F238E27FC236}">
                <a16:creationId xmlns:a16="http://schemas.microsoft.com/office/drawing/2014/main" id="{F6EEDD49-0F5F-4B41-9823-20E3F6DF0A24}"/>
              </a:ext>
            </a:extLst>
          </p:cNvPr>
          <p:cNvSpPr>
            <a:spLocks/>
          </p:cNvSpPr>
          <p:nvPr/>
        </p:nvSpPr>
        <p:spPr>
          <a:xfrm>
            <a:off x="2002885" y="2857281"/>
            <a:ext cx="1388072" cy="1740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rPr>
              <a:t>Business Requirements</a:t>
            </a:r>
            <a:endParaRPr kumimoji="0" lang="en-GB" sz="9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endParaRPr>
          </a:p>
        </p:txBody>
      </p:sp>
      <p:pic>
        <p:nvPicPr>
          <p:cNvPr id="110" name="Graphic 109" descr="Blueprint with solid fill">
            <a:extLst>
              <a:ext uri="{FF2B5EF4-FFF2-40B4-BE49-F238E27FC236}">
                <a16:creationId xmlns:a16="http://schemas.microsoft.com/office/drawing/2014/main" id="{41EF72A3-F0DB-4789-A097-227BEC6C98D2}"/>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5155536" y="2469082"/>
            <a:ext cx="406875" cy="406875"/>
          </a:xfrm>
          <a:prstGeom prst="rect">
            <a:avLst/>
          </a:prstGeom>
        </p:spPr>
      </p:pic>
      <p:pic>
        <p:nvPicPr>
          <p:cNvPr id="111" name="Graphic 110" descr="Teacher with solid fill">
            <a:extLst>
              <a:ext uri="{FF2B5EF4-FFF2-40B4-BE49-F238E27FC236}">
                <a16:creationId xmlns:a16="http://schemas.microsoft.com/office/drawing/2014/main" id="{4917D575-98A5-45F9-BEFD-1D19A206DDA1}"/>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4132134" y="2485309"/>
            <a:ext cx="406875" cy="406875"/>
          </a:xfrm>
          <a:prstGeom prst="rect">
            <a:avLst/>
          </a:prstGeom>
        </p:spPr>
      </p:pic>
      <p:sp>
        <p:nvSpPr>
          <p:cNvPr id="112" name="Rectangle 111">
            <a:extLst>
              <a:ext uri="{FF2B5EF4-FFF2-40B4-BE49-F238E27FC236}">
                <a16:creationId xmlns:a16="http://schemas.microsoft.com/office/drawing/2014/main" id="{571F6E66-D1F6-43F8-BEE5-C06B6806394E}"/>
              </a:ext>
            </a:extLst>
          </p:cNvPr>
          <p:cNvSpPr>
            <a:spLocks/>
          </p:cNvSpPr>
          <p:nvPr/>
        </p:nvSpPr>
        <p:spPr>
          <a:xfrm>
            <a:off x="3903562" y="2857281"/>
            <a:ext cx="864019" cy="1740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rPr>
              <a:t>Experience Design</a:t>
            </a:r>
            <a:endParaRPr kumimoji="0" lang="en-GB" sz="9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endParaRPr>
          </a:p>
        </p:txBody>
      </p:sp>
      <p:sp>
        <p:nvSpPr>
          <p:cNvPr id="113" name="Rectangle 112">
            <a:extLst>
              <a:ext uri="{FF2B5EF4-FFF2-40B4-BE49-F238E27FC236}">
                <a16:creationId xmlns:a16="http://schemas.microsoft.com/office/drawing/2014/main" id="{54B0EB77-DD55-431E-8BF8-E0D61990872D}"/>
              </a:ext>
            </a:extLst>
          </p:cNvPr>
          <p:cNvSpPr>
            <a:spLocks/>
          </p:cNvSpPr>
          <p:nvPr/>
        </p:nvSpPr>
        <p:spPr>
          <a:xfrm>
            <a:off x="4679229" y="2857281"/>
            <a:ext cx="1388072" cy="1740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rPr>
              <a:t>Solution Design</a:t>
            </a:r>
            <a:endParaRPr kumimoji="0" lang="en-GB" sz="9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endParaRPr>
          </a:p>
        </p:txBody>
      </p:sp>
      <p:pic>
        <p:nvPicPr>
          <p:cNvPr id="115" name="Graphic 114" descr="Test Dummy with solid fill">
            <a:extLst>
              <a:ext uri="{FF2B5EF4-FFF2-40B4-BE49-F238E27FC236}">
                <a16:creationId xmlns:a16="http://schemas.microsoft.com/office/drawing/2014/main" id="{67CF464A-1AF7-4EDC-8905-1D4EBB7BFDF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6641197" y="2791589"/>
            <a:ext cx="406875" cy="406875"/>
          </a:xfrm>
          <a:prstGeom prst="rect">
            <a:avLst/>
          </a:prstGeom>
        </p:spPr>
      </p:pic>
      <p:sp>
        <p:nvSpPr>
          <p:cNvPr id="116" name="Rectangle 115">
            <a:extLst>
              <a:ext uri="{FF2B5EF4-FFF2-40B4-BE49-F238E27FC236}">
                <a16:creationId xmlns:a16="http://schemas.microsoft.com/office/drawing/2014/main" id="{15F6150F-DFEC-4706-AFC8-46A2300C2BBE}"/>
              </a:ext>
            </a:extLst>
          </p:cNvPr>
          <p:cNvSpPr>
            <a:spLocks/>
          </p:cNvSpPr>
          <p:nvPr/>
        </p:nvSpPr>
        <p:spPr>
          <a:xfrm>
            <a:off x="6164890" y="3179788"/>
            <a:ext cx="1388072" cy="1740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rPr>
              <a:t>UX Evaluation</a:t>
            </a:r>
            <a:endParaRPr kumimoji="0" lang="en-GB" sz="9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endParaRPr>
          </a:p>
        </p:txBody>
      </p:sp>
      <p:pic>
        <p:nvPicPr>
          <p:cNvPr id="117" name="Graphic 116" descr="Programmer female with solid fill">
            <a:extLst>
              <a:ext uri="{FF2B5EF4-FFF2-40B4-BE49-F238E27FC236}">
                <a16:creationId xmlns:a16="http://schemas.microsoft.com/office/drawing/2014/main" id="{4AD0621A-8951-4936-A1DD-715919E0501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6641197" y="2240543"/>
            <a:ext cx="406875" cy="406875"/>
          </a:xfrm>
          <a:prstGeom prst="rect">
            <a:avLst/>
          </a:prstGeom>
        </p:spPr>
      </p:pic>
      <p:sp>
        <p:nvSpPr>
          <p:cNvPr id="118" name="Rectangle 117">
            <a:extLst>
              <a:ext uri="{FF2B5EF4-FFF2-40B4-BE49-F238E27FC236}">
                <a16:creationId xmlns:a16="http://schemas.microsoft.com/office/drawing/2014/main" id="{EAA1FF10-8497-49EF-BAAF-B7D531754AA0}"/>
              </a:ext>
            </a:extLst>
          </p:cNvPr>
          <p:cNvSpPr>
            <a:spLocks/>
          </p:cNvSpPr>
          <p:nvPr/>
        </p:nvSpPr>
        <p:spPr>
          <a:xfrm>
            <a:off x="6164890" y="2628742"/>
            <a:ext cx="1388072" cy="1740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rPr>
              <a:t>Development</a:t>
            </a:r>
            <a:endParaRPr kumimoji="0" lang="en-GB" sz="9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endParaRPr>
          </a:p>
        </p:txBody>
      </p:sp>
      <p:sp>
        <p:nvSpPr>
          <p:cNvPr id="119" name="Rectangle: Rounded Corners 118">
            <a:extLst>
              <a:ext uri="{FF2B5EF4-FFF2-40B4-BE49-F238E27FC236}">
                <a16:creationId xmlns:a16="http://schemas.microsoft.com/office/drawing/2014/main" id="{2DD3F679-434E-4C75-B1E8-0558C0E37F7D}"/>
              </a:ext>
            </a:extLst>
          </p:cNvPr>
          <p:cNvSpPr/>
          <p:nvPr/>
        </p:nvSpPr>
        <p:spPr bwMode="gray">
          <a:xfrm>
            <a:off x="8848202" y="2459564"/>
            <a:ext cx="2512856" cy="577497"/>
          </a:xfrm>
          <a:prstGeom prst="roundRect">
            <a:avLst/>
          </a:prstGeom>
          <a:solidFill>
            <a:schemeClr val="accent6"/>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pic>
        <p:nvPicPr>
          <p:cNvPr id="120" name="Graphic 119" descr="Thermometer with solid fill">
            <a:extLst>
              <a:ext uri="{FF2B5EF4-FFF2-40B4-BE49-F238E27FC236}">
                <a16:creationId xmlns:a16="http://schemas.microsoft.com/office/drawing/2014/main" id="{F4CC99F8-7A1B-45FA-9789-E532CE26F8DB}"/>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p:blipFill>
        <p:spPr>
          <a:xfrm>
            <a:off x="10458129" y="2513721"/>
            <a:ext cx="345190" cy="345190"/>
          </a:xfrm>
          <a:prstGeom prst="rect">
            <a:avLst/>
          </a:prstGeom>
        </p:spPr>
      </p:pic>
      <p:pic>
        <p:nvPicPr>
          <p:cNvPr id="121" name="Graphic 120" descr="Share with solid fill">
            <a:extLst>
              <a:ext uri="{FF2B5EF4-FFF2-40B4-BE49-F238E27FC236}">
                <a16:creationId xmlns:a16="http://schemas.microsoft.com/office/drawing/2014/main" id="{2400955A-6633-4903-817B-3E06F3296CD6}"/>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rcRect/>
          <a:stretch/>
        </p:blipFill>
        <p:spPr>
          <a:xfrm>
            <a:off x="9458004" y="2513721"/>
            <a:ext cx="345190" cy="345190"/>
          </a:xfrm>
          <a:prstGeom prst="rect">
            <a:avLst/>
          </a:prstGeom>
        </p:spPr>
      </p:pic>
      <p:sp>
        <p:nvSpPr>
          <p:cNvPr id="122" name="Rectangle 121">
            <a:extLst>
              <a:ext uri="{FF2B5EF4-FFF2-40B4-BE49-F238E27FC236}">
                <a16:creationId xmlns:a16="http://schemas.microsoft.com/office/drawing/2014/main" id="{C8364215-5263-42AE-A91D-BC42362DB62C}"/>
              </a:ext>
            </a:extLst>
          </p:cNvPr>
          <p:cNvSpPr>
            <a:spLocks/>
          </p:cNvSpPr>
          <p:nvPr/>
        </p:nvSpPr>
        <p:spPr>
          <a:xfrm>
            <a:off x="9216294" y="2857281"/>
            <a:ext cx="828610" cy="1740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rPr>
              <a:t>Knowledge Transfer</a:t>
            </a:r>
            <a:endParaRPr kumimoji="0" lang="en-GB" sz="9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endParaRPr>
          </a:p>
        </p:txBody>
      </p:sp>
      <p:sp>
        <p:nvSpPr>
          <p:cNvPr id="123" name="Rectangle 122">
            <a:extLst>
              <a:ext uri="{FF2B5EF4-FFF2-40B4-BE49-F238E27FC236}">
                <a16:creationId xmlns:a16="http://schemas.microsoft.com/office/drawing/2014/main" id="{22E9D44F-E943-4A72-AD01-206227E14453}"/>
              </a:ext>
            </a:extLst>
          </p:cNvPr>
          <p:cNvSpPr>
            <a:spLocks/>
          </p:cNvSpPr>
          <p:nvPr/>
        </p:nvSpPr>
        <p:spPr>
          <a:xfrm>
            <a:off x="9936688" y="2857281"/>
            <a:ext cx="1388072" cy="1740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rPr>
              <a:t>On-going evaluation</a:t>
            </a:r>
            <a:endParaRPr kumimoji="0" lang="en-GB" sz="900" u="none" strike="noStrike" kern="1200" cap="none" spc="0" normalizeH="0" baseline="0" noProof="0" dirty="0">
              <a:ln>
                <a:noFill/>
              </a:ln>
              <a:solidFill>
                <a:prstClr val="white"/>
              </a:solidFill>
              <a:effectLst/>
              <a:uLnTx/>
              <a:uFillTx/>
              <a:latin typeface="Open Sans Light"/>
              <a:ea typeface="+mn-ea"/>
              <a:cs typeface="Open Sans" panose="020B0606030504020204" pitchFamily="34" charset="0"/>
            </a:endParaRPr>
          </a:p>
        </p:txBody>
      </p:sp>
      <p:sp>
        <p:nvSpPr>
          <p:cNvPr id="21" name="Arrow: Bent 20">
            <a:extLst>
              <a:ext uri="{FF2B5EF4-FFF2-40B4-BE49-F238E27FC236}">
                <a16:creationId xmlns:a16="http://schemas.microsoft.com/office/drawing/2014/main" id="{54FC31C7-ECE5-48CA-9171-58B6F14413DB}"/>
              </a:ext>
            </a:extLst>
          </p:cNvPr>
          <p:cNvSpPr/>
          <p:nvPr/>
        </p:nvSpPr>
        <p:spPr bwMode="gray">
          <a:xfrm>
            <a:off x="5324475" y="2297875"/>
            <a:ext cx="1314342" cy="187434"/>
          </a:xfrm>
          <a:prstGeom prst="bentArrow">
            <a:avLst/>
          </a:prstGeom>
          <a:solidFill>
            <a:schemeClr val="bg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4" name="Arrow: Bent 123">
            <a:extLst>
              <a:ext uri="{FF2B5EF4-FFF2-40B4-BE49-F238E27FC236}">
                <a16:creationId xmlns:a16="http://schemas.microsoft.com/office/drawing/2014/main" id="{B8AD401F-8435-4939-B2EB-B42F4C5C0F35}"/>
              </a:ext>
            </a:extLst>
          </p:cNvPr>
          <p:cNvSpPr/>
          <p:nvPr/>
        </p:nvSpPr>
        <p:spPr bwMode="gray">
          <a:xfrm rot="16200000">
            <a:off x="5867357" y="2405478"/>
            <a:ext cx="178895" cy="1307496"/>
          </a:xfrm>
          <a:prstGeom prst="bentArrow">
            <a:avLst/>
          </a:prstGeom>
          <a:solidFill>
            <a:schemeClr val="bg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Arrow: U-Turn 22">
            <a:extLst>
              <a:ext uri="{FF2B5EF4-FFF2-40B4-BE49-F238E27FC236}">
                <a16:creationId xmlns:a16="http://schemas.microsoft.com/office/drawing/2014/main" id="{56DCF33E-AF86-44EF-9EF7-F90611941D55}"/>
              </a:ext>
            </a:extLst>
          </p:cNvPr>
          <p:cNvSpPr/>
          <p:nvPr/>
        </p:nvSpPr>
        <p:spPr bwMode="gray">
          <a:xfrm rot="5400000">
            <a:off x="6888328" y="2645760"/>
            <a:ext cx="824376" cy="181453"/>
          </a:xfrm>
          <a:prstGeom prst="uturnArrow">
            <a:avLst>
              <a:gd name="adj1" fmla="val 29154"/>
              <a:gd name="adj2" fmla="val 25000"/>
              <a:gd name="adj3" fmla="val 25000"/>
              <a:gd name="adj4" fmla="val 43750"/>
              <a:gd name="adj5" fmla="val 75000"/>
            </a:avLst>
          </a:prstGeom>
          <a:solidFill>
            <a:schemeClr val="bg1"/>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5" name="Rectangle 124">
            <a:extLst>
              <a:ext uri="{FF2B5EF4-FFF2-40B4-BE49-F238E27FC236}">
                <a16:creationId xmlns:a16="http://schemas.microsoft.com/office/drawing/2014/main" id="{8F053043-EDB9-4A1F-B479-0376FEEBA409}"/>
              </a:ext>
            </a:extLst>
          </p:cNvPr>
          <p:cNvSpPr>
            <a:spLocks/>
          </p:cNvSpPr>
          <p:nvPr/>
        </p:nvSpPr>
        <p:spPr>
          <a:xfrm>
            <a:off x="914399" y="3356220"/>
            <a:ext cx="2512856" cy="1658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chemeClr val="accent3"/>
                </a:solidFill>
                <a:effectLst/>
                <a:uLnTx/>
                <a:uFillTx/>
                <a:latin typeface="Open Sans"/>
                <a:ea typeface="+mn-ea"/>
                <a:cs typeface="Open Sans" panose="020B0606030504020204" pitchFamily="34" charset="0"/>
              </a:rPr>
              <a:t>User Insights Across all Selected Core Markets</a:t>
            </a:r>
          </a:p>
        </p:txBody>
      </p:sp>
      <p:sp>
        <p:nvSpPr>
          <p:cNvPr id="126" name="Rectangle 125">
            <a:extLst>
              <a:ext uri="{FF2B5EF4-FFF2-40B4-BE49-F238E27FC236}">
                <a16:creationId xmlns:a16="http://schemas.microsoft.com/office/drawing/2014/main" id="{6AEB6177-8C37-46FA-A885-B1EAEA3260A6}"/>
              </a:ext>
            </a:extLst>
          </p:cNvPr>
          <p:cNvSpPr>
            <a:spLocks/>
          </p:cNvSpPr>
          <p:nvPr/>
        </p:nvSpPr>
        <p:spPr>
          <a:xfrm>
            <a:off x="914399" y="5439382"/>
            <a:ext cx="2070995" cy="1658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chemeClr val="accent3"/>
                </a:solidFill>
                <a:effectLst/>
                <a:uLnTx/>
                <a:uFillTx/>
                <a:latin typeface="Open Sans"/>
                <a:ea typeface="+mn-ea"/>
                <a:cs typeface="Open Sans" panose="020B0606030504020204" pitchFamily="34" charset="0"/>
              </a:rPr>
              <a:t>Business Requirements</a:t>
            </a:r>
          </a:p>
        </p:txBody>
      </p:sp>
      <p:sp>
        <p:nvSpPr>
          <p:cNvPr id="127" name="Rectangle 126">
            <a:extLst>
              <a:ext uri="{FF2B5EF4-FFF2-40B4-BE49-F238E27FC236}">
                <a16:creationId xmlns:a16="http://schemas.microsoft.com/office/drawing/2014/main" id="{904B7DB7-1498-4340-A198-242D3F7426FC}"/>
              </a:ext>
            </a:extLst>
          </p:cNvPr>
          <p:cNvSpPr>
            <a:spLocks/>
          </p:cNvSpPr>
          <p:nvPr/>
        </p:nvSpPr>
        <p:spPr>
          <a:xfrm>
            <a:off x="3590743" y="3356220"/>
            <a:ext cx="2070995" cy="1658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chemeClr val="accent3">
                    <a:lumMod val="75000"/>
                  </a:schemeClr>
                </a:solidFill>
                <a:effectLst/>
                <a:uLnTx/>
                <a:uFillTx/>
                <a:latin typeface="Open Sans"/>
                <a:ea typeface="+mn-ea"/>
                <a:cs typeface="Open Sans" panose="020B0606030504020204" pitchFamily="34" charset="0"/>
              </a:rPr>
              <a:t>Experience Decision</a:t>
            </a:r>
          </a:p>
        </p:txBody>
      </p:sp>
      <p:sp>
        <p:nvSpPr>
          <p:cNvPr id="128" name="Rectangle 127">
            <a:extLst>
              <a:ext uri="{FF2B5EF4-FFF2-40B4-BE49-F238E27FC236}">
                <a16:creationId xmlns:a16="http://schemas.microsoft.com/office/drawing/2014/main" id="{048A740D-E107-440A-A910-E7320E48AEDD}"/>
              </a:ext>
            </a:extLst>
          </p:cNvPr>
          <p:cNvSpPr>
            <a:spLocks/>
          </p:cNvSpPr>
          <p:nvPr/>
        </p:nvSpPr>
        <p:spPr>
          <a:xfrm>
            <a:off x="6219473" y="3356220"/>
            <a:ext cx="2070995" cy="1658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chemeClr val="accent6">
                    <a:lumMod val="75000"/>
                  </a:schemeClr>
                </a:solidFill>
                <a:effectLst/>
                <a:uLnTx/>
                <a:uFillTx/>
                <a:latin typeface="Open Sans"/>
                <a:ea typeface="+mn-ea"/>
                <a:cs typeface="Open Sans" panose="020B0606030504020204" pitchFamily="34" charset="0"/>
              </a:rPr>
              <a:t>Solution Design</a:t>
            </a:r>
          </a:p>
        </p:txBody>
      </p:sp>
      <p:sp>
        <p:nvSpPr>
          <p:cNvPr id="143" name="TextBox 142">
            <a:extLst>
              <a:ext uri="{FF2B5EF4-FFF2-40B4-BE49-F238E27FC236}">
                <a16:creationId xmlns:a16="http://schemas.microsoft.com/office/drawing/2014/main" id="{435CBC84-897D-4866-9CA6-49339E07E9FD}"/>
              </a:ext>
            </a:extLst>
          </p:cNvPr>
          <p:cNvSpPr txBox="1"/>
          <p:nvPr/>
        </p:nvSpPr>
        <p:spPr>
          <a:xfrm>
            <a:off x="914809" y="1977462"/>
            <a:ext cx="2476147" cy="162310"/>
          </a:xfrm>
          <a:prstGeom prst="rect">
            <a:avLst/>
          </a:prstGeom>
          <a:solidFill>
            <a:schemeClr val="bg1"/>
          </a:solidFill>
        </p:spPr>
        <p:txBody>
          <a:bodyPr wrap="square" lIns="0" tIns="0" rIns="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100" b="1" i="0" u="none" strike="noStrike" kern="1200" cap="small" spc="0" normalizeH="0" baseline="0" noProof="0">
                <a:ln>
                  <a:noFill/>
                </a:ln>
                <a:solidFill>
                  <a:srgbClr val="D0D0CE">
                    <a:lumMod val="25000"/>
                  </a:srgbClr>
                </a:solidFill>
                <a:effectLst/>
                <a:uLnTx/>
                <a:uFillTx/>
                <a:latin typeface="Open Sans"/>
                <a:ea typeface="+mn-ea"/>
                <a:cs typeface="+mn-cs"/>
              </a:rPr>
              <a:t>Discovery</a:t>
            </a:r>
          </a:p>
        </p:txBody>
      </p:sp>
      <p:sp>
        <p:nvSpPr>
          <p:cNvPr id="146" name="TextBox 145">
            <a:extLst>
              <a:ext uri="{FF2B5EF4-FFF2-40B4-BE49-F238E27FC236}">
                <a16:creationId xmlns:a16="http://schemas.microsoft.com/office/drawing/2014/main" id="{6ACA69A7-6CED-46CA-8650-7FF8BD41B1F4}"/>
              </a:ext>
            </a:extLst>
          </p:cNvPr>
          <p:cNvSpPr txBox="1"/>
          <p:nvPr/>
        </p:nvSpPr>
        <p:spPr>
          <a:xfrm>
            <a:off x="3590743" y="1977463"/>
            <a:ext cx="2502982" cy="130666"/>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100" b="1" i="0" u="none" strike="noStrike" kern="1200" cap="small" spc="0" normalizeH="0" baseline="0" noProof="0">
                <a:ln>
                  <a:noFill/>
                </a:ln>
                <a:solidFill>
                  <a:srgbClr val="D0D0CE">
                    <a:lumMod val="25000"/>
                  </a:srgbClr>
                </a:solidFill>
                <a:effectLst/>
                <a:uLnTx/>
                <a:uFillTx/>
                <a:latin typeface="Open Sans"/>
                <a:ea typeface="+mn-ea"/>
                <a:cs typeface="+mn-cs"/>
              </a:rPr>
              <a:t>UX Definition</a:t>
            </a:r>
          </a:p>
        </p:txBody>
      </p:sp>
      <p:sp>
        <p:nvSpPr>
          <p:cNvPr id="147" name="TextBox 146">
            <a:extLst>
              <a:ext uri="{FF2B5EF4-FFF2-40B4-BE49-F238E27FC236}">
                <a16:creationId xmlns:a16="http://schemas.microsoft.com/office/drawing/2014/main" id="{C37C619F-87CD-4FE3-BA80-B6F9DDDABF37}"/>
              </a:ext>
            </a:extLst>
          </p:cNvPr>
          <p:cNvSpPr txBox="1"/>
          <p:nvPr/>
        </p:nvSpPr>
        <p:spPr>
          <a:xfrm>
            <a:off x="6415073" y="1977462"/>
            <a:ext cx="2280546" cy="149110"/>
          </a:xfrm>
          <a:prstGeom prst="rect">
            <a:avLst/>
          </a:prstGeom>
          <a:solidFill>
            <a:schemeClr val="bg1"/>
          </a:solidFill>
        </p:spPr>
        <p:txBody>
          <a:bodyPr wrap="square" lIns="0" tIns="0" rIns="0" bIns="0" rtlCol="0" anchor="ctr">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100" b="1" i="0" u="none" strike="noStrike" kern="1200" cap="small" spc="0" normalizeH="0" baseline="0" noProof="0">
                <a:ln>
                  <a:noFill/>
                </a:ln>
                <a:solidFill>
                  <a:srgbClr val="D0D0CE">
                    <a:lumMod val="25000"/>
                  </a:srgbClr>
                </a:solidFill>
                <a:effectLst/>
                <a:uLnTx/>
                <a:uFillTx/>
                <a:latin typeface="Open Sans"/>
                <a:ea typeface="+mn-ea"/>
                <a:cs typeface="+mn-cs"/>
              </a:rPr>
              <a:t>Delivery</a:t>
            </a:r>
          </a:p>
        </p:txBody>
      </p:sp>
      <p:sp>
        <p:nvSpPr>
          <p:cNvPr id="148" name="TextBox 147">
            <a:extLst>
              <a:ext uri="{FF2B5EF4-FFF2-40B4-BE49-F238E27FC236}">
                <a16:creationId xmlns:a16="http://schemas.microsoft.com/office/drawing/2014/main" id="{EE2FB456-D049-4F35-BBC3-B5D6F3C23185}"/>
              </a:ext>
            </a:extLst>
          </p:cNvPr>
          <p:cNvSpPr txBox="1"/>
          <p:nvPr/>
        </p:nvSpPr>
        <p:spPr>
          <a:xfrm>
            <a:off x="8848202" y="1977462"/>
            <a:ext cx="2476147" cy="162310"/>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100" b="1" i="0" u="none" strike="noStrike" kern="1200" cap="small" spc="0" normalizeH="0" baseline="0" noProof="0">
                <a:ln>
                  <a:noFill/>
                </a:ln>
                <a:solidFill>
                  <a:srgbClr val="D0D0CE">
                    <a:lumMod val="25000"/>
                  </a:srgbClr>
                </a:solidFill>
                <a:effectLst/>
                <a:uLnTx/>
                <a:uFillTx/>
                <a:latin typeface="Open Sans"/>
                <a:ea typeface="+mn-ea"/>
                <a:cs typeface="+mn-cs"/>
              </a:rPr>
              <a:t>Transition</a:t>
            </a:r>
          </a:p>
        </p:txBody>
      </p:sp>
      <p:cxnSp>
        <p:nvCxnSpPr>
          <p:cNvPr id="150" name="Straight Connector 149">
            <a:extLst>
              <a:ext uri="{FF2B5EF4-FFF2-40B4-BE49-F238E27FC236}">
                <a16:creationId xmlns:a16="http://schemas.microsoft.com/office/drawing/2014/main" id="{C1E839D6-61D6-4838-88CC-F8B92E8301F8}"/>
              </a:ext>
            </a:extLst>
          </p:cNvPr>
          <p:cNvCxnSpPr/>
          <p:nvPr/>
        </p:nvCxnSpPr>
        <p:spPr>
          <a:xfrm>
            <a:off x="914399" y="2156434"/>
            <a:ext cx="385318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680359B8-87BE-41F4-962F-AF2A19F9FC57}"/>
              </a:ext>
            </a:extLst>
          </p:cNvPr>
          <p:cNvCxnSpPr>
            <a:cxnSpLocks/>
          </p:cNvCxnSpPr>
          <p:nvPr/>
        </p:nvCxnSpPr>
        <p:spPr>
          <a:xfrm>
            <a:off x="8848202" y="2156434"/>
            <a:ext cx="250575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0" name="Arrow: Chevron 159">
            <a:extLst>
              <a:ext uri="{FF2B5EF4-FFF2-40B4-BE49-F238E27FC236}">
                <a16:creationId xmlns:a16="http://schemas.microsoft.com/office/drawing/2014/main" id="{2D679787-5669-46AA-95DD-F52F5EFF2FC2}"/>
              </a:ext>
            </a:extLst>
          </p:cNvPr>
          <p:cNvSpPr/>
          <p:nvPr/>
        </p:nvSpPr>
        <p:spPr bwMode="gray">
          <a:xfrm>
            <a:off x="3453567" y="2686316"/>
            <a:ext cx="109092" cy="137299"/>
          </a:xfrm>
          <a:prstGeom prst="chevron">
            <a:avLst/>
          </a:prstGeom>
          <a:solidFill>
            <a:schemeClr val="tx2">
              <a:lumMod val="50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1" name="Arrow: Chevron 160">
            <a:extLst>
              <a:ext uri="{FF2B5EF4-FFF2-40B4-BE49-F238E27FC236}">
                <a16:creationId xmlns:a16="http://schemas.microsoft.com/office/drawing/2014/main" id="{E2EB99C5-7DCC-4100-A8CC-762805D84E21}"/>
              </a:ext>
            </a:extLst>
          </p:cNvPr>
          <p:cNvSpPr/>
          <p:nvPr/>
        </p:nvSpPr>
        <p:spPr bwMode="gray">
          <a:xfrm>
            <a:off x="8730847" y="2686316"/>
            <a:ext cx="109092" cy="137299"/>
          </a:xfrm>
          <a:prstGeom prst="chevron">
            <a:avLst/>
          </a:prstGeom>
          <a:solidFill>
            <a:schemeClr val="tx2">
              <a:lumMod val="50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62" name="Group 161">
            <a:extLst>
              <a:ext uri="{FF2B5EF4-FFF2-40B4-BE49-F238E27FC236}">
                <a16:creationId xmlns:a16="http://schemas.microsoft.com/office/drawing/2014/main" id="{91FE976C-F016-401A-815A-2E92DA994AEE}"/>
              </a:ext>
            </a:extLst>
          </p:cNvPr>
          <p:cNvGrpSpPr/>
          <p:nvPr/>
        </p:nvGrpSpPr>
        <p:grpSpPr>
          <a:xfrm>
            <a:off x="8998208" y="5080001"/>
            <a:ext cx="2362839" cy="1219776"/>
            <a:chOff x="9351013" y="1401045"/>
            <a:chExt cx="2021837" cy="1219776"/>
          </a:xfrm>
        </p:grpSpPr>
        <p:sp>
          <p:nvSpPr>
            <p:cNvPr id="163" name="Freeform 5">
              <a:extLst>
                <a:ext uri="{FF2B5EF4-FFF2-40B4-BE49-F238E27FC236}">
                  <a16:creationId xmlns:a16="http://schemas.microsoft.com/office/drawing/2014/main" id="{DFA4E1A2-3C0C-46D8-9C28-E83174929B9C}"/>
                </a:ext>
              </a:extLst>
            </p:cNvPr>
            <p:cNvSpPr>
              <a:spLocks noEditPoints="1"/>
            </p:cNvSpPr>
            <p:nvPr/>
          </p:nvSpPr>
          <p:spPr bwMode="auto">
            <a:xfrm>
              <a:off x="9351013" y="1401045"/>
              <a:ext cx="441167" cy="328677"/>
            </a:xfrm>
            <a:custGeom>
              <a:avLst/>
              <a:gdLst>
                <a:gd name="T0" fmla="*/ 97 w 113"/>
                <a:gd name="T1" fmla="*/ 32 h 78"/>
                <a:gd name="T2" fmla="*/ 113 w 113"/>
                <a:gd name="T3" fmla="*/ 55 h 78"/>
                <a:gd name="T4" fmla="*/ 89 w 113"/>
                <a:gd name="T5" fmla="*/ 78 h 78"/>
                <a:gd name="T6" fmla="*/ 66 w 113"/>
                <a:gd name="T7" fmla="*/ 55 h 78"/>
                <a:gd name="T8" fmla="*/ 71 w 113"/>
                <a:gd name="T9" fmla="*/ 39 h 78"/>
                <a:gd name="T10" fmla="*/ 91 w 113"/>
                <a:gd name="T11" fmla="*/ 0 h 78"/>
                <a:gd name="T12" fmla="*/ 105 w 113"/>
                <a:gd name="T13" fmla="*/ 0 h 78"/>
                <a:gd name="T14" fmla="*/ 97 w 113"/>
                <a:gd name="T15" fmla="*/ 32 h 78"/>
                <a:gd name="T16" fmla="*/ 31 w 113"/>
                <a:gd name="T17" fmla="*/ 32 h 78"/>
                <a:gd name="T18" fmla="*/ 47 w 113"/>
                <a:gd name="T19" fmla="*/ 55 h 78"/>
                <a:gd name="T20" fmla="*/ 24 w 113"/>
                <a:gd name="T21" fmla="*/ 78 h 78"/>
                <a:gd name="T22" fmla="*/ 0 w 113"/>
                <a:gd name="T23" fmla="*/ 55 h 78"/>
                <a:gd name="T24" fmla="*/ 5 w 113"/>
                <a:gd name="T25" fmla="*/ 39 h 78"/>
                <a:gd name="T26" fmla="*/ 25 w 113"/>
                <a:gd name="T27" fmla="*/ 0 h 78"/>
                <a:gd name="T28" fmla="*/ 39 w 113"/>
                <a:gd name="T29" fmla="*/ 0 h 78"/>
                <a:gd name="T30" fmla="*/ 31 w 113"/>
                <a:gd name="T31"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78">
                  <a:moveTo>
                    <a:pt x="97" y="32"/>
                  </a:moveTo>
                  <a:cubicBezTo>
                    <a:pt x="107" y="35"/>
                    <a:pt x="113" y="44"/>
                    <a:pt x="113" y="55"/>
                  </a:cubicBezTo>
                  <a:cubicBezTo>
                    <a:pt x="113" y="68"/>
                    <a:pt x="103" y="78"/>
                    <a:pt x="89" y="78"/>
                  </a:cubicBezTo>
                  <a:cubicBezTo>
                    <a:pt x="77" y="78"/>
                    <a:pt x="66" y="68"/>
                    <a:pt x="66" y="55"/>
                  </a:cubicBezTo>
                  <a:cubicBezTo>
                    <a:pt x="66" y="48"/>
                    <a:pt x="68" y="43"/>
                    <a:pt x="71" y="39"/>
                  </a:cubicBezTo>
                  <a:cubicBezTo>
                    <a:pt x="91" y="0"/>
                    <a:pt x="91" y="0"/>
                    <a:pt x="91" y="0"/>
                  </a:cubicBezTo>
                  <a:cubicBezTo>
                    <a:pt x="105" y="0"/>
                    <a:pt x="105" y="0"/>
                    <a:pt x="105" y="0"/>
                  </a:cubicBezTo>
                  <a:lnTo>
                    <a:pt x="97" y="32"/>
                  </a:lnTo>
                  <a:close/>
                  <a:moveTo>
                    <a:pt x="31" y="32"/>
                  </a:moveTo>
                  <a:cubicBezTo>
                    <a:pt x="41" y="35"/>
                    <a:pt x="47" y="44"/>
                    <a:pt x="47" y="55"/>
                  </a:cubicBezTo>
                  <a:cubicBezTo>
                    <a:pt x="47" y="68"/>
                    <a:pt x="37" y="78"/>
                    <a:pt x="24" y="78"/>
                  </a:cubicBezTo>
                  <a:cubicBezTo>
                    <a:pt x="11" y="78"/>
                    <a:pt x="0" y="68"/>
                    <a:pt x="0" y="55"/>
                  </a:cubicBezTo>
                  <a:cubicBezTo>
                    <a:pt x="0" y="48"/>
                    <a:pt x="3" y="43"/>
                    <a:pt x="5" y="39"/>
                  </a:cubicBezTo>
                  <a:cubicBezTo>
                    <a:pt x="25" y="0"/>
                    <a:pt x="25" y="0"/>
                    <a:pt x="25" y="0"/>
                  </a:cubicBezTo>
                  <a:cubicBezTo>
                    <a:pt x="39" y="0"/>
                    <a:pt x="39" y="0"/>
                    <a:pt x="39" y="0"/>
                  </a:cubicBezTo>
                  <a:lnTo>
                    <a:pt x="31" y="32"/>
                  </a:lnTo>
                  <a:close/>
                </a:path>
              </a:pathLst>
            </a:custGeom>
            <a:solidFill>
              <a:schemeClr val="tx2">
                <a:alpha val="59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a:ea typeface="+mn-ea"/>
                <a:cs typeface="+mn-cs"/>
              </a:endParaRPr>
            </a:p>
          </p:txBody>
        </p:sp>
        <p:sp>
          <p:nvSpPr>
            <p:cNvPr id="164" name="TextBox 163">
              <a:extLst>
                <a:ext uri="{FF2B5EF4-FFF2-40B4-BE49-F238E27FC236}">
                  <a16:creationId xmlns:a16="http://schemas.microsoft.com/office/drawing/2014/main" id="{6CAB01B4-438F-46BC-B5CB-5A89896D3178}"/>
                </a:ext>
              </a:extLst>
            </p:cNvPr>
            <p:cNvSpPr txBox="1"/>
            <p:nvPr/>
          </p:nvSpPr>
          <p:spPr>
            <a:xfrm>
              <a:off x="9468926" y="1512825"/>
              <a:ext cx="1903924"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0D0CE">
                      <a:lumMod val="25000"/>
                    </a:srgbClr>
                  </a:solidFill>
                  <a:effectLst/>
                  <a:uLnTx/>
                  <a:uFillTx/>
                  <a:latin typeface="Calibri"/>
                  <a:ea typeface="メイリオ"/>
                  <a:cs typeface="Calibri"/>
                </a:rPr>
                <a:t>An </a:t>
              </a:r>
              <a:r>
                <a:rPr kumimoji="0" lang="en-GB" sz="1100" b="1" i="0" u="none" strike="noStrike" kern="1200" cap="none" spc="0" normalizeH="0" baseline="0" noProof="0" dirty="0">
                  <a:ln>
                    <a:noFill/>
                  </a:ln>
                  <a:solidFill>
                    <a:srgbClr val="00ABAB"/>
                  </a:solidFill>
                  <a:effectLst/>
                  <a:uLnTx/>
                  <a:uFillTx/>
                  <a:latin typeface="Calibri"/>
                  <a:ea typeface="メイリオ"/>
                  <a:cs typeface="Calibri"/>
                </a:rPr>
                <a:t>inclusive</a:t>
              </a:r>
              <a:r>
                <a:rPr kumimoji="0" lang="en-GB" sz="1100" b="0" i="0" u="none" strike="noStrike" kern="1200" cap="none" spc="0" normalizeH="0" baseline="0" noProof="0" dirty="0">
                  <a:ln>
                    <a:noFill/>
                  </a:ln>
                  <a:solidFill>
                    <a:srgbClr val="D0D0CE">
                      <a:lumMod val="25000"/>
                    </a:srgbClr>
                  </a:solidFill>
                  <a:effectLst/>
                  <a:uLnTx/>
                  <a:uFillTx/>
                  <a:latin typeface="Calibri"/>
                  <a:ea typeface="メイリオ"/>
                  <a:cs typeface="Calibri"/>
                </a:rPr>
                <a:t> approach that considers the </a:t>
              </a:r>
              <a:r>
                <a:rPr kumimoji="0" lang="en-GB" sz="1100" b="1" i="0" u="none" strike="noStrike" kern="1200" cap="none" spc="0" normalizeH="0" baseline="0" noProof="0" dirty="0">
                  <a:ln>
                    <a:noFill/>
                  </a:ln>
                  <a:solidFill>
                    <a:srgbClr val="00ABAB"/>
                  </a:solidFill>
                  <a:effectLst/>
                  <a:uLnTx/>
                  <a:uFillTx/>
                  <a:latin typeface="Calibri"/>
                  <a:ea typeface="メイリオ"/>
                  <a:cs typeface="Calibri"/>
                </a:rPr>
                <a:t>multi-cultural</a:t>
              </a:r>
              <a:r>
                <a:rPr kumimoji="0" lang="en-GB" sz="1100" b="0" i="0" u="none" strike="noStrike" kern="1200" cap="none" spc="0" normalizeH="0" baseline="0" noProof="0" dirty="0">
                  <a:ln>
                    <a:noFill/>
                  </a:ln>
                  <a:solidFill>
                    <a:srgbClr val="D0D0CE">
                      <a:lumMod val="25000"/>
                    </a:srgbClr>
                  </a:solidFill>
                  <a:effectLst/>
                  <a:uLnTx/>
                  <a:uFillTx/>
                  <a:latin typeface="Calibri"/>
                  <a:ea typeface="メイリオ"/>
                  <a:cs typeface="Calibri"/>
                </a:rPr>
                <a:t> organization of UNICEF, to ensure a </a:t>
              </a:r>
              <a:r>
                <a:rPr kumimoji="0" lang="en-GB" sz="1100" b="1" i="0" u="none" strike="noStrike" kern="1200" cap="none" spc="0" normalizeH="0" baseline="0" noProof="0" dirty="0">
                  <a:ln>
                    <a:noFill/>
                  </a:ln>
                  <a:solidFill>
                    <a:srgbClr val="00ABAB"/>
                  </a:solidFill>
                  <a:effectLst/>
                  <a:uLnTx/>
                  <a:uFillTx/>
                  <a:latin typeface="Calibri"/>
                  <a:ea typeface="メイリオ"/>
                  <a:cs typeface="Calibri"/>
                </a:rPr>
                <a:t>wide-spread adoption and increased insight generation </a:t>
              </a:r>
              <a:r>
                <a:rPr kumimoji="0" lang="en-GB" sz="1100" b="0" i="0" u="none" strike="noStrike" kern="1200" cap="none" spc="0" normalizeH="0" baseline="0" noProof="0" dirty="0">
                  <a:ln>
                    <a:noFill/>
                  </a:ln>
                  <a:solidFill>
                    <a:srgbClr val="D0D0CE">
                      <a:lumMod val="25000"/>
                    </a:srgbClr>
                  </a:solidFill>
                  <a:effectLst/>
                  <a:uLnTx/>
                  <a:uFillTx/>
                  <a:latin typeface="Calibri"/>
                  <a:ea typeface="メイリオ"/>
                  <a:cs typeface="Calibri"/>
                </a:rPr>
                <a:t>across markets</a:t>
              </a:r>
            </a:p>
          </p:txBody>
        </p:sp>
      </p:grpSp>
      <p:cxnSp>
        <p:nvCxnSpPr>
          <p:cNvPr id="165" name="Straight Connector 164">
            <a:extLst>
              <a:ext uri="{FF2B5EF4-FFF2-40B4-BE49-F238E27FC236}">
                <a16:creationId xmlns:a16="http://schemas.microsoft.com/office/drawing/2014/main" id="{767CBBD9-E85B-4CDB-8A43-19FA775F270B}"/>
              </a:ext>
            </a:extLst>
          </p:cNvPr>
          <p:cNvCxnSpPr>
            <a:cxnSpLocks/>
          </p:cNvCxnSpPr>
          <p:nvPr/>
        </p:nvCxnSpPr>
        <p:spPr>
          <a:xfrm>
            <a:off x="8848203" y="4977796"/>
            <a:ext cx="2512856"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09DF5B6E-262F-40A9-86A4-5B2ACFEC52F3}"/>
              </a:ext>
            </a:extLst>
          </p:cNvPr>
          <p:cNvCxnSpPr>
            <a:cxnSpLocks/>
          </p:cNvCxnSpPr>
          <p:nvPr/>
        </p:nvCxnSpPr>
        <p:spPr>
          <a:xfrm>
            <a:off x="8848202" y="6299777"/>
            <a:ext cx="2512856"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4CE9BDEA-F082-48FB-B62D-74A2F0E7C95D}"/>
              </a:ext>
            </a:extLst>
          </p:cNvPr>
          <p:cNvSpPr/>
          <p:nvPr/>
        </p:nvSpPr>
        <p:spPr bwMode="gray">
          <a:xfrm>
            <a:off x="914399" y="1549748"/>
            <a:ext cx="10799930" cy="307671"/>
          </a:xfrm>
          <a:prstGeom prst="rect">
            <a:avLst/>
          </a:prstGeom>
          <a:solidFill>
            <a:schemeClr val="bg1">
              <a:lumMod val="95000"/>
            </a:schemeClr>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4" name="Title 1">
            <a:extLst>
              <a:ext uri="{FF2B5EF4-FFF2-40B4-BE49-F238E27FC236}">
                <a16:creationId xmlns:a16="http://schemas.microsoft.com/office/drawing/2014/main" id="{B998756B-2FD5-440F-9A2E-640AADBFE325}"/>
              </a:ext>
            </a:extLst>
          </p:cNvPr>
          <p:cNvSpPr txBox="1">
            <a:spLocks/>
          </p:cNvSpPr>
          <p:nvPr/>
        </p:nvSpPr>
        <p:spPr bwMode="gray">
          <a:xfrm>
            <a:off x="1001973" y="1603787"/>
            <a:ext cx="10624782" cy="215713"/>
          </a:xfrm>
          <a:prstGeom prst="rect">
            <a:avLst/>
          </a:prstGeom>
        </p:spPr>
        <p:txBody>
          <a:bodyPr vert="horz" lIns="0" tIns="0" rIns="0" bIns="0" rtlCol="0" anchor="ctr" anchorCtr="0">
            <a:noAutofit/>
          </a:bodyPr>
          <a:lstStyle>
            <a:lvl1pPr algn="ctr" defTabSz="914400" rtl="0" eaLnBrk="1" latinLnBrk="0" hangingPunct="1">
              <a:spcBef>
                <a:spcPct val="0"/>
              </a:spcBef>
              <a:buNone/>
              <a:defRPr sz="4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Open Sans"/>
                <a:ea typeface="+mj-ea"/>
                <a:cs typeface="+mj-cs"/>
              </a:rPr>
              <a:t>Our proof-tested inclusive data visualization </a:t>
            </a:r>
            <a:r>
              <a:rPr kumimoji="0" lang="en-GB" sz="900" b="0" i="0" u="none" strike="noStrike" kern="1200" cap="none" spc="0" normalizeH="0" baseline="0" noProof="0" dirty="0">
                <a:ln>
                  <a:noFill/>
                </a:ln>
                <a:solidFill>
                  <a:srgbClr val="000000"/>
                </a:solidFill>
                <a:effectLst/>
                <a:uLnTx/>
                <a:uFillTx/>
                <a:latin typeface="Open Sans"/>
                <a:ea typeface="+mj-ea"/>
                <a:cs typeface="+mj-cs"/>
              </a:rPr>
              <a:t>and insight generation </a:t>
            </a:r>
            <a:r>
              <a:rPr kumimoji="0" lang="en-GB" sz="900" b="0" i="0" u="none" strike="noStrike" kern="1200" cap="none" spc="0" normalizeH="0" baseline="0" noProof="0">
                <a:ln>
                  <a:noFill/>
                </a:ln>
                <a:solidFill>
                  <a:srgbClr val="000000"/>
                </a:solidFill>
                <a:effectLst/>
                <a:uLnTx/>
                <a:uFillTx/>
                <a:latin typeface="Open Sans"/>
                <a:ea typeface="+mj-ea"/>
                <a:cs typeface="+mj-cs"/>
              </a:rPr>
              <a:t>approach can be adapted according to UNICEF needs. We will align with you to define which chapters and subsections fit your needs. </a:t>
            </a:r>
          </a:p>
        </p:txBody>
      </p:sp>
      <p:cxnSp>
        <p:nvCxnSpPr>
          <p:cNvPr id="144" name="Straight Connector 143">
            <a:extLst>
              <a:ext uri="{FF2B5EF4-FFF2-40B4-BE49-F238E27FC236}">
                <a16:creationId xmlns:a16="http://schemas.microsoft.com/office/drawing/2014/main" id="{EC211849-4E20-4F36-865F-5CED8A8F65C0}"/>
              </a:ext>
            </a:extLst>
          </p:cNvPr>
          <p:cNvCxnSpPr>
            <a:cxnSpLocks/>
          </p:cNvCxnSpPr>
          <p:nvPr/>
        </p:nvCxnSpPr>
        <p:spPr>
          <a:xfrm>
            <a:off x="914399" y="1549748"/>
            <a:ext cx="0" cy="30767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22230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64" name="Title 1">
            <a:extLst>
              <a:ext uri="{FF2B5EF4-FFF2-40B4-BE49-F238E27FC236}">
                <a16:creationId xmlns:a16="http://schemas.microsoft.com/office/drawing/2014/main" id="{1F3B52A3-B03D-7D40-D424-16499B46190F}"/>
              </a:ext>
            </a:extLst>
          </p:cNvPr>
          <p:cNvSpPr>
            <a:spLocks noGrp="1"/>
          </p:cNvSpPr>
          <p:nvPr>
            <p:ph type="title"/>
          </p:nvPr>
        </p:nvSpPr>
        <p:spPr>
          <a:xfrm>
            <a:off x="896400" y="906411"/>
            <a:ext cx="10467780" cy="787400"/>
          </a:xfrm>
        </p:spPr>
        <p:txBody>
          <a:bodyPr vert="horz" anchor="t"/>
          <a:lstStyle/>
          <a:p>
            <a:r>
              <a:rPr lang="en-US" sz="1400" dirty="0">
                <a:solidFill>
                  <a:prstClr val="black"/>
                </a:solidFill>
                <a:latin typeface="Open Sans Light" panose="020B0306030504020204" pitchFamily="34" charset="0"/>
              </a:rPr>
              <a:t>Applying advanced algorithms and predictive modeling, turning raw data into deeper insights and foresight, enabling proactive business strategies and innovative solutions. By building talent in various subfields, out teams can apply the right tools and techniques to all challenges.</a:t>
            </a:r>
          </a:p>
        </p:txBody>
      </p:sp>
      <p:sp>
        <p:nvSpPr>
          <p:cNvPr id="1065" name="Title 1">
            <a:extLst>
              <a:ext uri="{FF2B5EF4-FFF2-40B4-BE49-F238E27FC236}">
                <a16:creationId xmlns:a16="http://schemas.microsoft.com/office/drawing/2014/main" id="{8C32C409-17A7-7830-F3B0-7E3C50591B1E}"/>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Data Science Services</a:t>
            </a:r>
          </a:p>
        </p:txBody>
      </p:sp>
      <p:sp>
        <p:nvSpPr>
          <p:cNvPr id="1151" name="Hexagon 10">
            <a:extLst>
              <a:ext uri="{FF2B5EF4-FFF2-40B4-BE49-F238E27FC236}">
                <a16:creationId xmlns:a16="http://schemas.microsoft.com/office/drawing/2014/main" id="{124E8BE0-B7BB-D86D-173D-8ED81B2892C7}"/>
              </a:ext>
            </a:extLst>
          </p:cNvPr>
          <p:cNvSpPr/>
          <p:nvPr/>
        </p:nvSpPr>
        <p:spPr bwMode="gray">
          <a:xfrm rot="5400000">
            <a:off x="1921788" y="3026379"/>
            <a:ext cx="1493709" cy="1296734"/>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D839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2" name="Hexagon 10">
            <a:extLst>
              <a:ext uri="{FF2B5EF4-FFF2-40B4-BE49-F238E27FC236}">
                <a16:creationId xmlns:a16="http://schemas.microsoft.com/office/drawing/2014/main" id="{17D4D0B0-71E3-33E3-C25A-DEA94DD0F17E}"/>
              </a:ext>
            </a:extLst>
          </p:cNvPr>
          <p:cNvSpPr/>
          <p:nvPr/>
        </p:nvSpPr>
        <p:spPr bwMode="gray">
          <a:xfrm rot="5400000" flipH="1">
            <a:off x="3352924" y="3773234"/>
            <a:ext cx="1493709" cy="1296734"/>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B0F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3" name="Hexagon 10">
            <a:extLst>
              <a:ext uri="{FF2B5EF4-FFF2-40B4-BE49-F238E27FC236}">
                <a16:creationId xmlns:a16="http://schemas.microsoft.com/office/drawing/2014/main" id="{53B85CA8-1F44-D4DA-0BA7-AC004B76CE3F}"/>
              </a:ext>
            </a:extLst>
          </p:cNvPr>
          <p:cNvSpPr/>
          <p:nvPr/>
        </p:nvSpPr>
        <p:spPr bwMode="gray">
          <a:xfrm rot="5400000">
            <a:off x="4758520" y="3026379"/>
            <a:ext cx="1493709" cy="1296734"/>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47CFFF"/>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4" name="Hexagon 10">
            <a:extLst>
              <a:ext uri="{FF2B5EF4-FFF2-40B4-BE49-F238E27FC236}">
                <a16:creationId xmlns:a16="http://schemas.microsoft.com/office/drawing/2014/main" id="{5C3548BB-4E02-5E78-7394-FA3EDD5FD482}"/>
              </a:ext>
            </a:extLst>
          </p:cNvPr>
          <p:cNvSpPr/>
          <p:nvPr/>
        </p:nvSpPr>
        <p:spPr bwMode="gray">
          <a:xfrm rot="5400000" flipH="1">
            <a:off x="6181448" y="3773234"/>
            <a:ext cx="1493709" cy="1296734"/>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19ADFF"/>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5" name="Hexagon 10">
            <a:extLst>
              <a:ext uri="{FF2B5EF4-FFF2-40B4-BE49-F238E27FC236}">
                <a16:creationId xmlns:a16="http://schemas.microsoft.com/office/drawing/2014/main" id="{9FFFFB66-B3CD-D07B-774C-8199571E428D}"/>
              </a:ext>
            </a:extLst>
          </p:cNvPr>
          <p:cNvSpPr/>
          <p:nvPr/>
        </p:nvSpPr>
        <p:spPr bwMode="gray">
          <a:xfrm rot="5400000">
            <a:off x="7596001" y="3026379"/>
            <a:ext cx="1493709" cy="1296734"/>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23FC6"/>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2" name="Hexagon 1121">
            <a:extLst>
              <a:ext uri="{FF2B5EF4-FFF2-40B4-BE49-F238E27FC236}">
                <a16:creationId xmlns:a16="http://schemas.microsoft.com/office/drawing/2014/main" id="{FE7DAF6B-2C57-90C7-8FC9-A8D6A56701E3}"/>
              </a:ext>
            </a:extLst>
          </p:cNvPr>
          <p:cNvSpPr/>
          <p:nvPr/>
        </p:nvSpPr>
        <p:spPr bwMode="gray">
          <a:xfrm rot="16200000">
            <a:off x="2038498" y="3136666"/>
            <a:ext cx="1260289" cy="1086456"/>
          </a:xfrm>
          <a:prstGeom prst="hexagon">
            <a:avLst/>
          </a:prstGeom>
          <a:solidFill>
            <a:srgbClr val="75E7F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3" name="Hexagon 1122">
            <a:extLst>
              <a:ext uri="{FF2B5EF4-FFF2-40B4-BE49-F238E27FC236}">
                <a16:creationId xmlns:a16="http://schemas.microsoft.com/office/drawing/2014/main" id="{698284B5-4C29-C0E4-94CA-887C53DB03B0}"/>
              </a:ext>
            </a:extLst>
          </p:cNvPr>
          <p:cNvSpPr/>
          <p:nvPr/>
        </p:nvSpPr>
        <p:spPr bwMode="gray">
          <a:xfrm rot="16200000">
            <a:off x="3469634" y="3878372"/>
            <a:ext cx="1260289" cy="1086456"/>
          </a:xfrm>
          <a:prstGeom prst="hexagon">
            <a:avLst/>
          </a:prstGeom>
          <a:solidFill>
            <a:srgbClr val="7DDD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4" name="Hexagon 1123">
            <a:extLst>
              <a:ext uri="{FF2B5EF4-FFF2-40B4-BE49-F238E27FC236}">
                <a16:creationId xmlns:a16="http://schemas.microsoft.com/office/drawing/2014/main" id="{53EDD51F-48AC-DF8C-669E-F38822F75C52}"/>
              </a:ext>
            </a:extLst>
          </p:cNvPr>
          <p:cNvSpPr/>
          <p:nvPr/>
        </p:nvSpPr>
        <p:spPr bwMode="gray">
          <a:xfrm rot="16200000">
            <a:off x="4875230" y="3131517"/>
            <a:ext cx="1260289" cy="1086456"/>
          </a:xfrm>
          <a:prstGeom prst="hexagon">
            <a:avLst/>
          </a:prstGeom>
          <a:solidFill>
            <a:srgbClr val="D9F5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5" name="Hexagon 1124">
            <a:extLst>
              <a:ext uri="{FF2B5EF4-FFF2-40B4-BE49-F238E27FC236}">
                <a16:creationId xmlns:a16="http://schemas.microsoft.com/office/drawing/2014/main" id="{79C13DA5-1231-9EEB-FACF-72DA4D3C1497}"/>
              </a:ext>
            </a:extLst>
          </p:cNvPr>
          <p:cNvSpPr/>
          <p:nvPr/>
        </p:nvSpPr>
        <p:spPr bwMode="gray">
          <a:xfrm rot="16200000">
            <a:off x="6298158" y="3878372"/>
            <a:ext cx="1260289" cy="1086456"/>
          </a:xfrm>
          <a:prstGeom prst="hexagon">
            <a:avLst/>
          </a:prstGeom>
          <a:solidFill>
            <a:srgbClr val="A0DC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6" name="Hexagon 1125">
            <a:extLst>
              <a:ext uri="{FF2B5EF4-FFF2-40B4-BE49-F238E27FC236}">
                <a16:creationId xmlns:a16="http://schemas.microsoft.com/office/drawing/2014/main" id="{9A346FD3-4F64-BD37-E80C-144669739658}"/>
              </a:ext>
            </a:extLst>
          </p:cNvPr>
          <p:cNvSpPr/>
          <p:nvPr/>
        </p:nvSpPr>
        <p:spPr bwMode="gray">
          <a:xfrm rot="16200000">
            <a:off x="7712711" y="3131518"/>
            <a:ext cx="1260289" cy="1086456"/>
          </a:xfrm>
          <a:prstGeom prst="hexagon">
            <a:avLst/>
          </a:prstGeom>
          <a:solidFill>
            <a:srgbClr val="A4C0FE"/>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127" name="Group 1126">
            <a:extLst>
              <a:ext uri="{FF2B5EF4-FFF2-40B4-BE49-F238E27FC236}">
                <a16:creationId xmlns:a16="http://schemas.microsoft.com/office/drawing/2014/main" id="{B0D45E5D-C516-78CF-79E8-EA390B71F975}"/>
              </a:ext>
            </a:extLst>
          </p:cNvPr>
          <p:cNvGrpSpPr/>
          <p:nvPr/>
        </p:nvGrpSpPr>
        <p:grpSpPr>
          <a:xfrm>
            <a:off x="2658344" y="2413698"/>
            <a:ext cx="5695506" cy="519341"/>
            <a:chOff x="1425933" y="1146206"/>
            <a:chExt cx="6282218" cy="1374704"/>
          </a:xfrm>
        </p:grpSpPr>
        <p:cxnSp>
          <p:nvCxnSpPr>
            <p:cNvPr id="1148" name="Straight Connector 1147">
              <a:extLst>
                <a:ext uri="{FF2B5EF4-FFF2-40B4-BE49-F238E27FC236}">
                  <a16:creationId xmlns:a16="http://schemas.microsoft.com/office/drawing/2014/main" id="{B1072734-DD99-14C7-C125-5B27AFE117F4}"/>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149" name="Straight Connector 1148">
              <a:extLst>
                <a:ext uri="{FF2B5EF4-FFF2-40B4-BE49-F238E27FC236}">
                  <a16:creationId xmlns:a16="http://schemas.microsoft.com/office/drawing/2014/main" id="{D5240CE2-913F-E043-A982-888898E2109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150" name="Straight Connector 1149">
              <a:extLst>
                <a:ext uri="{FF2B5EF4-FFF2-40B4-BE49-F238E27FC236}">
                  <a16:creationId xmlns:a16="http://schemas.microsoft.com/office/drawing/2014/main" id="{271034C1-1445-CCD2-D9C9-D916C10B5BD0}"/>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1128" name="Group 1127">
            <a:extLst>
              <a:ext uri="{FF2B5EF4-FFF2-40B4-BE49-F238E27FC236}">
                <a16:creationId xmlns:a16="http://schemas.microsoft.com/office/drawing/2014/main" id="{3EC78FB2-EC98-1E32-A78F-2B84AC910F08}"/>
              </a:ext>
            </a:extLst>
          </p:cNvPr>
          <p:cNvGrpSpPr/>
          <p:nvPr/>
        </p:nvGrpSpPr>
        <p:grpSpPr>
          <a:xfrm>
            <a:off x="4097203" y="5174178"/>
            <a:ext cx="2837767" cy="442927"/>
            <a:chOff x="3013013" y="5005847"/>
            <a:chExt cx="3130094" cy="938942"/>
          </a:xfrm>
        </p:grpSpPr>
        <p:cxnSp>
          <p:nvCxnSpPr>
            <p:cNvPr id="1146" name="Straight Connector 1145">
              <a:extLst>
                <a:ext uri="{FF2B5EF4-FFF2-40B4-BE49-F238E27FC236}">
                  <a16:creationId xmlns:a16="http://schemas.microsoft.com/office/drawing/2014/main" id="{8C318EBF-6A72-710F-54AB-F2DB7F5BC993}"/>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147" name="Straight Connector 1146">
              <a:extLst>
                <a:ext uri="{FF2B5EF4-FFF2-40B4-BE49-F238E27FC236}">
                  <a16:creationId xmlns:a16="http://schemas.microsoft.com/office/drawing/2014/main" id="{B5A991B6-2424-46FD-EEF1-F1D032A0F1E4}"/>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1129" name="Rectangle 1128">
            <a:extLst>
              <a:ext uri="{FF2B5EF4-FFF2-40B4-BE49-F238E27FC236}">
                <a16:creationId xmlns:a16="http://schemas.microsoft.com/office/drawing/2014/main" id="{C0FE13BA-A195-ACD6-1CD2-254A469C15BE}"/>
              </a:ext>
            </a:extLst>
          </p:cNvPr>
          <p:cNvSpPr/>
          <p:nvPr/>
        </p:nvSpPr>
        <p:spPr>
          <a:xfrm>
            <a:off x="1286743" y="1842406"/>
            <a:ext cx="2743200" cy="548640"/>
          </a:xfrm>
          <a:prstGeom prst="rect">
            <a:avLst/>
          </a:prstGeom>
        </p:spPr>
        <p:txBody>
          <a:bodyPr wrap="square" anchor="b">
            <a:noAutofit/>
          </a:bodyPr>
          <a:lstStyle/>
          <a:p>
            <a:pPr lvl="0" algn="ct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nables organizations to forecast trends, demands, and outcomes, helping in proactive decision-making.</a:t>
            </a:r>
          </a:p>
        </p:txBody>
      </p:sp>
      <p:sp>
        <p:nvSpPr>
          <p:cNvPr id="1130" name="Rectangle 1129">
            <a:extLst>
              <a:ext uri="{FF2B5EF4-FFF2-40B4-BE49-F238E27FC236}">
                <a16:creationId xmlns:a16="http://schemas.microsoft.com/office/drawing/2014/main" id="{5AA0D310-F95A-4FAE-DD19-148EAC0F3AB7}"/>
              </a:ext>
            </a:extLst>
          </p:cNvPr>
          <p:cNvSpPr/>
          <p:nvPr/>
        </p:nvSpPr>
        <p:spPr>
          <a:xfrm>
            <a:off x="4136017" y="1845893"/>
            <a:ext cx="2743200" cy="548640"/>
          </a:xfrm>
          <a:prstGeom prst="rect">
            <a:avLst/>
          </a:prstGeom>
        </p:spPr>
        <p:txBody>
          <a:bodyPr wrap="square" anchor="b">
            <a:noAutofit/>
          </a:bodyPr>
          <a:lstStyle/>
          <a:p>
            <a:pPr lvl="0" algn="ct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utomates tasks such as image and video analysis, defect detection, and surveillance, providing faster and more accurate results.</a:t>
            </a:r>
            <a:endParaRPr kumimoji="0" lang="en-US" sz="1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31" name="Rectangle 1130">
            <a:extLst>
              <a:ext uri="{FF2B5EF4-FFF2-40B4-BE49-F238E27FC236}">
                <a16:creationId xmlns:a16="http://schemas.microsoft.com/office/drawing/2014/main" id="{AFD9DACA-18F7-F527-B231-83E974FEFCDD}"/>
              </a:ext>
            </a:extLst>
          </p:cNvPr>
          <p:cNvSpPr/>
          <p:nvPr/>
        </p:nvSpPr>
        <p:spPr>
          <a:xfrm>
            <a:off x="6983756" y="1849567"/>
            <a:ext cx="2743200" cy="548640"/>
          </a:xfrm>
          <a:prstGeom prst="rect">
            <a:avLst/>
          </a:prstGeom>
        </p:spPr>
        <p:txBody>
          <a:bodyPr wrap="square" anchor="b">
            <a:noAutofit/>
          </a:bodyPr>
          <a:lstStyle/>
          <a:p>
            <a:pPr lvl="0" algn="ct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nables content creation, data augmentation, and simulation, spurring innovation and improving data models.</a:t>
            </a:r>
          </a:p>
        </p:txBody>
      </p:sp>
      <p:sp>
        <p:nvSpPr>
          <p:cNvPr id="1132" name="Rectangle 1131">
            <a:extLst>
              <a:ext uri="{FF2B5EF4-FFF2-40B4-BE49-F238E27FC236}">
                <a16:creationId xmlns:a16="http://schemas.microsoft.com/office/drawing/2014/main" id="{CB31A4D3-12A6-1563-1D6B-ADD1DA8A971E}"/>
              </a:ext>
            </a:extLst>
          </p:cNvPr>
          <p:cNvSpPr/>
          <p:nvPr/>
        </p:nvSpPr>
        <p:spPr>
          <a:xfrm>
            <a:off x="2725603" y="5626423"/>
            <a:ext cx="2743200" cy="731520"/>
          </a:xfrm>
          <a:prstGeom prst="rect">
            <a:avLst/>
          </a:prstGeom>
        </p:spPr>
        <p:txBody>
          <a:bodyPr wrap="square" anchor="t">
            <a:noAutofit/>
          </a:bodyPr>
          <a:lstStyle/>
          <a:p>
            <a:pPr lvl="0" algn="ct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nhances efficiency in operations, resource allocation, and supply chain, maximizing ROI and minimizing costs.</a:t>
            </a:r>
          </a:p>
        </p:txBody>
      </p:sp>
      <p:sp>
        <p:nvSpPr>
          <p:cNvPr id="1133" name="Rectangle 1132">
            <a:extLst>
              <a:ext uri="{FF2B5EF4-FFF2-40B4-BE49-F238E27FC236}">
                <a16:creationId xmlns:a16="http://schemas.microsoft.com/office/drawing/2014/main" id="{B23F4B2C-8FBE-5EB1-7009-9ADFFEB5DF0C}"/>
              </a:ext>
            </a:extLst>
          </p:cNvPr>
          <p:cNvSpPr/>
          <p:nvPr/>
        </p:nvSpPr>
        <p:spPr>
          <a:xfrm>
            <a:off x="5563581" y="5626316"/>
            <a:ext cx="2743200" cy="731520"/>
          </a:xfrm>
          <a:prstGeom prst="rect">
            <a:avLst/>
          </a:prstGeom>
        </p:spPr>
        <p:txBody>
          <a:bodyPr wrap="square" anchor="t">
            <a:noAutofit/>
          </a:bodyPr>
          <a:lstStyle/>
          <a:p>
            <a:pPr lvl="0" algn="ctr"/>
            <a:r>
              <a:rPr lang="en-US" sz="1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acilitates sentiment analysis, chatbots, and content recommendation, enhancing user experience and understanding customer sentiment.</a:t>
            </a:r>
          </a:p>
        </p:txBody>
      </p:sp>
      <p:sp>
        <p:nvSpPr>
          <p:cNvPr id="1141" name="Hexagon 58">
            <a:extLst>
              <a:ext uri="{FF2B5EF4-FFF2-40B4-BE49-F238E27FC236}">
                <a16:creationId xmlns:a16="http://schemas.microsoft.com/office/drawing/2014/main" id="{2BDF0ABE-9D20-9A4F-1124-7AF9ADF1BB58}"/>
              </a:ext>
            </a:extLst>
          </p:cNvPr>
          <p:cNvSpPr/>
          <p:nvPr/>
        </p:nvSpPr>
        <p:spPr bwMode="gray">
          <a:xfrm rot="16200000">
            <a:off x="2504316" y="3762459"/>
            <a:ext cx="328653" cy="1314612"/>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2" name="Hexagon 58">
            <a:extLst>
              <a:ext uri="{FF2B5EF4-FFF2-40B4-BE49-F238E27FC236}">
                <a16:creationId xmlns:a16="http://schemas.microsoft.com/office/drawing/2014/main" id="{EE120FD2-5D5F-CF44-E44D-755B701C0FF6}"/>
              </a:ext>
            </a:extLst>
          </p:cNvPr>
          <p:cNvSpPr/>
          <p:nvPr/>
        </p:nvSpPr>
        <p:spPr bwMode="gray">
          <a:xfrm rot="16200000">
            <a:off x="5341048" y="3757309"/>
            <a:ext cx="328653" cy="1314612"/>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3" name="Hexagon 58">
            <a:extLst>
              <a:ext uri="{FF2B5EF4-FFF2-40B4-BE49-F238E27FC236}">
                <a16:creationId xmlns:a16="http://schemas.microsoft.com/office/drawing/2014/main" id="{9DB1F7E4-B46A-619F-F812-A0B01582E918}"/>
              </a:ext>
            </a:extLst>
          </p:cNvPr>
          <p:cNvSpPr/>
          <p:nvPr/>
        </p:nvSpPr>
        <p:spPr bwMode="gray">
          <a:xfrm rot="16200000">
            <a:off x="8178529" y="3752159"/>
            <a:ext cx="328653" cy="1314612"/>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4" name="Hexagon 58">
            <a:extLst>
              <a:ext uri="{FF2B5EF4-FFF2-40B4-BE49-F238E27FC236}">
                <a16:creationId xmlns:a16="http://schemas.microsoft.com/office/drawing/2014/main" id="{9DDA1CD3-1B18-61CF-C481-73E1AFF30C62}"/>
              </a:ext>
            </a:extLst>
          </p:cNvPr>
          <p:cNvSpPr/>
          <p:nvPr/>
        </p:nvSpPr>
        <p:spPr bwMode="gray">
          <a:xfrm rot="5400000" flipV="1">
            <a:off x="6763976" y="3002343"/>
            <a:ext cx="328653" cy="1314612"/>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5" name="Hexagon 58">
            <a:extLst>
              <a:ext uri="{FF2B5EF4-FFF2-40B4-BE49-F238E27FC236}">
                <a16:creationId xmlns:a16="http://schemas.microsoft.com/office/drawing/2014/main" id="{8664B914-92A8-26D6-E53D-80866D2AC681}"/>
              </a:ext>
            </a:extLst>
          </p:cNvPr>
          <p:cNvSpPr/>
          <p:nvPr/>
        </p:nvSpPr>
        <p:spPr bwMode="gray">
          <a:xfrm rot="5400000" flipV="1">
            <a:off x="3935452" y="3017438"/>
            <a:ext cx="328653" cy="1314612"/>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6" name="Rectangle 1155">
            <a:extLst>
              <a:ext uri="{FF2B5EF4-FFF2-40B4-BE49-F238E27FC236}">
                <a16:creationId xmlns:a16="http://schemas.microsoft.com/office/drawing/2014/main" id="{680064C1-F28B-406A-7392-D22495E1F2F6}"/>
              </a:ext>
            </a:extLst>
          </p:cNvPr>
          <p:cNvSpPr/>
          <p:nvPr/>
        </p:nvSpPr>
        <p:spPr>
          <a:xfrm>
            <a:off x="2201003" y="3686369"/>
            <a:ext cx="935279" cy="430887"/>
          </a:xfrm>
          <a:prstGeom prst="rect">
            <a:avLst/>
          </a:prstGeom>
        </p:spPr>
        <p:txBody>
          <a:bodyPr wrap="square">
            <a:spAutoFit/>
          </a:bodyPr>
          <a:lstStyle/>
          <a:p>
            <a:pPr lvl="0" algn="ct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Predictive Modeling</a:t>
            </a:r>
          </a:p>
        </p:txBody>
      </p:sp>
      <p:sp>
        <p:nvSpPr>
          <p:cNvPr id="1157" name="Rectangle 1156">
            <a:extLst>
              <a:ext uri="{FF2B5EF4-FFF2-40B4-BE49-F238E27FC236}">
                <a16:creationId xmlns:a16="http://schemas.microsoft.com/office/drawing/2014/main" id="{59343F94-3248-9D37-B6DD-B218A4DE692E}"/>
              </a:ext>
            </a:extLst>
          </p:cNvPr>
          <p:cNvSpPr/>
          <p:nvPr/>
        </p:nvSpPr>
        <p:spPr>
          <a:xfrm>
            <a:off x="3602805" y="4510173"/>
            <a:ext cx="993946" cy="253916"/>
          </a:xfrm>
          <a:prstGeom prst="rect">
            <a:avLst/>
          </a:prstGeom>
        </p:spPr>
        <p:txBody>
          <a:bodyPr wrap="square">
            <a:spAutoFit/>
          </a:bodyPr>
          <a:lstStyle/>
          <a:p>
            <a:pPr lvl="0" algn="ct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Optimization</a:t>
            </a:r>
          </a:p>
        </p:txBody>
      </p:sp>
      <p:sp>
        <p:nvSpPr>
          <p:cNvPr id="1158" name="Rectangle 1157">
            <a:extLst>
              <a:ext uri="{FF2B5EF4-FFF2-40B4-BE49-F238E27FC236}">
                <a16:creationId xmlns:a16="http://schemas.microsoft.com/office/drawing/2014/main" id="{7FB9BCC9-BCDC-C940-A1E9-FC9AA0A4677B}"/>
              </a:ext>
            </a:extLst>
          </p:cNvPr>
          <p:cNvSpPr/>
          <p:nvPr/>
        </p:nvSpPr>
        <p:spPr>
          <a:xfrm>
            <a:off x="5037735" y="3684549"/>
            <a:ext cx="935279" cy="430887"/>
          </a:xfrm>
          <a:prstGeom prst="rect">
            <a:avLst/>
          </a:prstGeom>
        </p:spPr>
        <p:txBody>
          <a:bodyPr wrap="square">
            <a:spAutoFit/>
          </a:bodyPr>
          <a:lstStyle/>
          <a:p>
            <a:pPr lvl="0" algn="ct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Computer Vision</a:t>
            </a:r>
          </a:p>
        </p:txBody>
      </p:sp>
      <p:sp>
        <p:nvSpPr>
          <p:cNvPr id="1159" name="Rectangle 1158">
            <a:extLst>
              <a:ext uri="{FF2B5EF4-FFF2-40B4-BE49-F238E27FC236}">
                <a16:creationId xmlns:a16="http://schemas.microsoft.com/office/drawing/2014/main" id="{5956B55D-9473-FB44-238F-C7B8496BCEC6}"/>
              </a:ext>
            </a:extLst>
          </p:cNvPr>
          <p:cNvSpPr/>
          <p:nvPr/>
        </p:nvSpPr>
        <p:spPr>
          <a:xfrm>
            <a:off x="6460663" y="4316798"/>
            <a:ext cx="935279" cy="577081"/>
          </a:xfrm>
          <a:prstGeom prst="rect">
            <a:avLst/>
          </a:prstGeom>
        </p:spPr>
        <p:txBody>
          <a:bodyPr wrap="square">
            <a:spAutoFit/>
          </a:bodyPr>
          <a:lstStyle/>
          <a:p>
            <a:pPr lvl="0" algn="ct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Natural Language Processing</a:t>
            </a:r>
          </a:p>
        </p:txBody>
      </p:sp>
      <p:sp>
        <p:nvSpPr>
          <p:cNvPr id="1160" name="Rectangle 1159">
            <a:extLst>
              <a:ext uri="{FF2B5EF4-FFF2-40B4-BE49-F238E27FC236}">
                <a16:creationId xmlns:a16="http://schemas.microsoft.com/office/drawing/2014/main" id="{83F075AB-B5CE-28A3-3F55-98C5CF0A76CD}"/>
              </a:ext>
            </a:extLst>
          </p:cNvPr>
          <p:cNvSpPr/>
          <p:nvPr/>
        </p:nvSpPr>
        <p:spPr>
          <a:xfrm>
            <a:off x="7875216" y="3733055"/>
            <a:ext cx="935279" cy="430887"/>
          </a:xfrm>
          <a:prstGeom prst="rect">
            <a:avLst/>
          </a:prstGeom>
        </p:spPr>
        <p:txBody>
          <a:bodyPr wrap="square">
            <a:spAutoFit/>
          </a:bodyPr>
          <a:lstStyle/>
          <a:p>
            <a:pPr lvl="0" algn="ct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Generative AI</a:t>
            </a:r>
          </a:p>
        </p:txBody>
      </p:sp>
      <p:grpSp>
        <p:nvGrpSpPr>
          <p:cNvPr id="1161" name="Graphic 4">
            <a:extLst>
              <a:ext uri="{FF2B5EF4-FFF2-40B4-BE49-F238E27FC236}">
                <a16:creationId xmlns:a16="http://schemas.microsoft.com/office/drawing/2014/main" id="{B8BE0A08-A743-49D2-13D0-2CF4DF61CB9F}"/>
              </a:ext>
            </a:extLst>
          </p:cNvPr>
          <p:cNvGrpSpPr>
            <a:grpSpLocks noChangeAspect="1"/>
          </p:cNvGrpSpPr>
          <p:nvPr/>
        </p:nvGrpSpPr>
        <p:grpSpPr>
          <a:xfrm>
            <a:off x="2440042" y="3164424"/>
            <a:ext cx="457200" cy="456775"/>
            <a:chOff x="2998797" y="2855717"/>
            <a:chExt cx="361670" cy="361333"/>
          </a:xfrm>
          <a:solidFill>
            <a:srgbClr val="0D8390"/>
          </a:solidFill>
        </p:grpSpPr>
        <p:sp>
          <p:nvSpPr>
            <p:cNvPr id="1162" name="Graphic 4">
              <a:extLst>
                <a:ext uri="{FF2B5EF4-FFF2-40B4-BE49-F238E27FC236}">
                  <a16:creationId xmlns:a16="http://schemas.microsoft.com/office/drawing/2014/main" id="{B60E76A4-57D2-0CCC-C84F-A95B40B57EB4}"/>
                </a:ext>
              </a:extLst>
            </p:cNvPr>
            <p:cNvSpPr/>
            <p:nvPr/>
          </p:nvSpPr>
          <p:spPr>
            <a:xfrm>
              <a:off x="3096563" y="3092563"/>
              <a:ext cx="164860" cy="39580"/>
            </a:xfrm>
            <a:custGeom>
              <a:avLst/>
              <a:gdLst>
                <a:gd name="connsiteX0" fmla="*/ 113741 w 164860"/>
                <a:gd name="connsiteY0" fmla="*/ 8299 h 39580"/>
                <a:gd name="connsiteX1" fmla="*/ 47925 w 164860"/>
                <a:gd name="connsiteY1" fmla="*/ 8938 h 39580"/>
                <a:gd name="connsiteX2" fmla="*/ 15975 w 164860"/>
                <a:gd name="connsiteY2" fmla="*/ 0 h 39580"/>
                <a:gd name="connsiteX3" fmla="*/ 14697 w 164860"/>
                <a:gd name="connsiteY3" fmla="*/ 0 h 39580"/>
                <a:gd name="connsiteX4" fmla="*/ 0 w 164860"/>
                <a:gd name="connsiteY4" fmla="*/ 39581 h 39580"/>
                <a:gd name="connsiteX5" fmla="*/ 0 w 164860"/>
                <a:gd name="connsiteY5" fmla="*/ 39581 h 39580"/>
                <a:gd name="connsiteX6" fmla="*/ 39617 w 164860"/>
                <a:gd name="connsiteY6" fmla="*/ 20429 h 39580"/>
                <a:gd name="connsiteX7" fmla="*/ 77957 w 164860"/>
                <a:gd name="connsiteY7" fmla="*/ 39581 h 39580"/>
                <a:gd name="connsiteX8" fmla="*/ 88820 w 164860"/>
                <a:gd name="connsiteY8" fmla="*/ 39581 h 39580"/>
                <a:gd name="connsiteX9" fmla="*/ 127799 w 164860"/>
                <a:gd name="connsiteY9" fmla="*/ 21067 h 39580"/>
                <a:gd name="connsiteX10" fmla="*/ 164860 w 164860"/>
                <a:gd name="connsiteY10" fmla="*/ 39581 h 39580"/>
                <a:gd name="connsiteX11" fmla="*/ 164860 w 164860"/>
                <a:gd name="connsiteY11" fmla="*/ 39581 h 39580"/>
                <a:gd name="connsiteX12" fmla="*/ 150803 w 164860"/>
                <a:gd name="connsiteY12" fmla="*/ 638 h 39580"/>
                <a:gd name="connsiteX13" fmla="*/ 113741 w 164860"/>
                <a:gd name="connsiteY13" fmla="*/ 8299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60" h="39580">
                  <a:moveTo>
                    <a:pt x="113741" y="8299"/>
                  </a:moveTo>
                  <a:cubicBezTo>
                    <a:pt x="92654" y="10214"/>
                    <a:pt x="63260" y="10853"/>
                    <a:pt x="47925" y="8938"/>
                  </a:cubicBezTo>
                  <a:cubicBezTo>
                    <a:pt x="36423" y="7022"/>
                    <a:pt x="25560" y="5107"/>
                    <a:pt x="15975" y="0"/>
                  </a:cubicBezTo>
                  <a:cubicBezTo>
                    <a:pt x="15336" y="0"/>
                    <a:pt x="15336" y="0"/>
                    <a:pt x="14697" y="0"/>
                  </a:cubicBezTo>
                  <a:lnTo>
                    <a:pt x="0" y="39581"/>
                  </a:lnTo>
                  <a:lnTo>
                    <a:pt x="0" y="39581"/>
                  </a:lnTo>
                  <a:cubicBezTo>
                    <a:pt x="5112" y="33835"/>
                    <a:pt x="19809" y="20429"/>
                    <a:pt x="39617" y="20429"/>
                  </a:cubicBezTo>
                  <a:cubicBezTo>
                    <a:pt x="59426" y="20429"/>
                    <a:pt x="72845" y="33835"/>
                    <a:pt x="77957" y="39581"/>
                  </a:cubicBezTo>
                  <a:lnTo>
                    <a:pt x="88820" y="39581"/>
                  </a:lnTo>
                  <a:cubicBezTo>
                    <a:pt x="93932" y="33835"/>
                    <a:pt x="108629" y="21067"/>
                    <a:pt x="127799" y="21067"/>
                  </a:cubicBezTo>
                  <a:cubicBezTo>
                    <a:pt x="146330" y="21067"/>
                    <a:pt x="159748" y="33835"/>
                    <a:pt x="164860" y="39581"/>
                  </a:cubicBezTo>
                  <a:lnTo>
                    <a:pt x="164860" y="39581"/>
                  </a:lnTo>
                  <a:lnTo>
                    <a:pt x="150803" y="638"/>
                  </a:lnTo>
                  <a:cubicBezTo>
                    <a:pt x="143774" y="3192"/>
                    <a:pt x="127799" y="7022"/>
                    <a:pt x="113741" y="829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63" name="Graphic 4">
              <a:extLst>
                <a:ext uri="{FF2B5EF4-FFF2-40B4-BE49-F238E27FC236}">
                  <a16:creationId xmlns:a16="http://schemas.microsoft.com/office/drawing/2014/main" id="{0DF78D92-D126-E34F-CB89-5AA079196C17}"/>
                </a:ext>
              </a:extLst>
            </p:cNvPr>
            <p:cNvSpPr/>
            <p:nvPr/>
          </p:nvSpPr>
          <p:spPr>
            <a:xfrm>
              <a:off x="3096529" y="2941263"/>
              <a:ext cx="167450" cy="148899"/>
            </a:xfrm>
            <a:custGeom>
              <a:avLst/>
              <a:gdLst>
                <a:gd name="connsiteX0" fmla="*/ 49876 w 167450"/>
                <a:gd name="connsiteY0" fmla="*/ 147470 h 148899"/>
                <a:gd name="connsiteX1" fmla="*/ 112497 w 167450"/>
                <a:gd name="connsiteY1" fmla="*/ 146832 h 148899"/>
                <a:gd name="connsiteX2" fmla="*/ 144447 w 167450"/>
                <a:gd name="connsiteY2" fmla="*/ 140448 h 148899"/>
                <a:gd name="connsiteX3" fmla="*/ 167451 w 167450"/>
                <a:gd name="connsiteY3" fmla="*/ 83630 h 148899"/>
                <a:gd name="connsiteX4" fmla="*/ 83743 w 167450"/>
                <a:gd name="connsiteY4" fmla="*/ 0 h 148899"/>
                <a:gd name="connsiteX5" fmla="*/ 23038 w 167450"/>
                <a:gd name="connsiteY5" fmla="*/ 25536 h 148899"/>
                <a:gd name="connsiteX6" fmla="*/ 34 w 167450"/>
                <a:gd name="connsiteY6" fmla="*/ 84268 h 148899"/>
                <a:gd name="connsiteX7" fmla="*/ 21121 w 167450"/>
                <a:gd name="connsiteY7" fmla="*/ 139171 h 148899"/>
                <a:gd name="connsiteX8" fmla="*/ 49876 w 167450"/>
                <a:gd name="connsiteY8" fmla="*/ 147470 h 148899"/>
                <a:gd name="connsiteX9" fmla="*/ 84381 w 167450"/>
                <a:gd name="connsiteY9" fmla="*/ 16598 h 148899"/>
                <a:gd name="connsiteX10" fmla="*/ 131028 w 167450"/>
                <a:gd name="connsiteY10" fmla="*/ 38942 h 148899"/>
                <a:gd name="connsiteX11" fmla="*/ 150198 w 167450"/>
                <a:gd name="connsiteY11" fmla="*/ 81076 h 148899"/>
                <a:gd name="connsiteX12" fmla="*/ 144447 w 167450"/>
                <a:gd name="connsiteY12" fmla="*/ 88099 h 148899"/>
                <a:gd name="connsiteX13" fmla="*/ 143808 w 167450"/>
                <a:gd name="connsiteY13" fmla="*/ 88099 h 148899"/>
                <a:gd name="connsiteX14" fmla="*/ 137418 w 167450"/>
                <a:gd name="connsiteY14" fmla="*/ 82353 h 148899"/>
                <a:gd name="connsiteX15" fmla="*/ 122082 w 167450"/>
                <a:gd name="connsiteY15" fmla="*/ 48518 h 148899"/>
                <a:gd name="connsiteX16" fmla="*/ 83104 w 167450"/>
                <a:gd name="connsiteY16" fmla="*/ 30005 h 148899"/>
                <a:gd name="connsiteX17" fmla="*/ 77353 w 167450"/>
                <a:gd name="connsiteY17" fmla="*/ 22982 h 148899"/>
                <a:gd name="connsiteX18" fmla="*/ 84381 w 167450"/>
                <a:gd name="connsiteY18" fmla="*/ 16598 h 14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450" h="148899">
                  <a:moveTo>
                    <a:pt x="49876" y="147470"/>
                  </a:moveTo>
                  <a:cubicBezTo>
                    <a:pt x="63934" y="150024"/>
                    <a:pt x="92688" y="148747"/>
                    <a:pt x="112497" y="146832"/>
                  </a:cubicBezTo>
                  <a:cubicBezTo>
                    <a:pt x="123360" y="145555"/>
                    <a:pt x="136140" y="142363"/>
                    <a:pt x="144447" y="140448"/>
                  </a:cubicBezTo>
                  <a:cubicBezTo>
                    <a:pt x="158505" y="126403"/>
                    <a:pt x="167451" y="104059"/>
                    <a:pt x="167451" y="83630"/>
                  </a:cubicBezTo>
                  <a:cubicBezTo>
                    <a:pt x="167451" y="37665"/>
                    <a:pt x="129750" y="0"/>
                    <a:pt x="83743" y="0"/>
                  </a:cubicBezTo>
                  <a:cubicBezTo>
                    <a:pt x="61378" y="0"/>
                    <a:pt x="39013" y="9576"/>
                    <a:pt x="23038" y="25536"/>
                  </a:cubicBezTo>
                  <a:cubicBezTo>
                    <a:pt x="7702" y="41496"/>
                    <a:pt x="-605" y="62563"/>
                    <a:pt x="34" y="84268"/>
                  </a:cubicBezTo>
                  <a:cubicBezTo>
                    <a:pt x="673" y="109166"/>
                    <a:pt x="8341" y="123849"/>
                    <a:pt x="21121" y="139171"/>
                  </a:cubicBezTo>
                  <a:cubicBezTo>
                    <a:pt x="28789" y="144278"/>
                    <a:pt x="37735" y="145555"/>
                    <a:pt x="49876" y="147470"/>
                  </a:cubicBezTo>
                  <a:close/>
                  <a:moveTo>
                    <a:pt x="84381" y="16598"/>
                  </a:moveTo>
                  <a:cubicBezTo>
                    <a:pt x="85659" y="16598"/>
                    <a:pt x="111858" y="19152"/>
                    <a:pt x="131028" y="38942"/>
                  </a:cubicBezTo>
                  <a:cubicBezTo>
                    <a:pt x="148920" y="56817"/>
                    <a:pt x="150198" y="80438"/>
                    <a:pt x="150198" y="81076"/>
                  </a:cubicBezTo>
                  <a:cubicBezTo>
                    <a:pt x="150198" y="84907"/>
                    <a:pt x="147642" y="87460"/>
                    <a:pt x="144447" y="88099"/>
                  </a:cubicBezTo>
                  <a:cubicBezTo>
                    <a:pt x="144447" y="88099"/>
                    <a:pt x="144447" y="88099"/>
                    <a:pt x="143808" y="88099"/>
                  </a:cubicBezTo>
                  <a:cubicBezTo>
                    <a:pt x="140613" y="88099"/>
                    <a:pt x="137418" y="85545"/>
                    <a:pt x="137418" y="82353"/>
                  </a:cubicBezTo>
                  <a:cubicBezTo>
                    <a:pt x="137418" y="82353"/>
                    <a:pt x="136140" y="62563"/>
                    <a:pt x="122082" y="48518"/>
                  </a:cubicBezTo>
                  <a:cubicBezTo>
                    <a:pt x="106107" y="32558"/>
                    <a:pt x="83104" y="30005"/>
                    <a:pt x="83104" y="30005"/>
                  </a:cubicBezTo>
                  <a:cubicBezTo>
                    <a:pt x="79909" y="29366"/>
                    <a:pt x="76714" y="26813"/>
                    <a:pt x="77353" y="22982"/>
                  </a:cubicBezTo>
                  <a:cubicBezTo>
                    <a:pt x="77991" y="19152"/>
                    <a:pt x="81186" y="16598"/>
                    <a:pt x="84381" y="16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64" name="Graphic 4">
              <a:extLst>
                <a:ext uri="{FF2B5EF4-FFF2-40B4-BE49-F238E27FC236}">
                  <a16:creationId xmlns:a16="http://schemas.microsoft.com/office/drawing/2014/main" id="{53C19074-7E7D-ADE3-0F37-96BDE4C35037}"/>
                </a:ext>
              </a:extLst>
            </p:cNvPr>
            <p:cNvSpPr/>
            <p:nvPr/>
          </p:nvSpPr>
          <p:spPr>
            <a:xfrm>
              <a:off x="2998797" y="2855717"/>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1 w 361670"/>
                <a:gd name="connsiteY3" fmla="*/ 180667 h 361333"/>
                <a:gd name="connsiteX4" fmla="*/ 180835 w 361670"/>
                <a:gd name="connsiteY4" fmla="*/ 0 h 361333"/>
                <a:gd name="connsiteX5" fmla="*/ 277962 w 361670"/>
                <a:gd name="connsiteY5" fmla="*/ 286002 h 361333"/>
                <a:gd name="connsiteX6" fmla="*/ 272850 w 361670"/>
                <a:gd name="connsiteY6" fmla="*/ 288556 h 361333"/>
                <a:gd name="connsiteX7" fmla="*/ 260710 w 361670"/>
                <a:gd name="connsiteY7" fmla="*/ 288556 h 361333"/>
                <a:gd name="connsiteX8" fmla="*/ 255597 w 361670"/>
                <a:gd name="connsiteY8" fmla="*/ 286002 h 361333"/>
                <a:gd name="connsiteX9" fmla="*/ 226843 w 361670"/>
                <a:gd name="connsiteY9" fmla="*/ 270042 h 361333"/>
                <a:gd name="connsiteX10" fmla="*/ 195532 w 361670"/>
                <a:gd name="connsiteY10" fmla="*/ 286002 h 361333"/>
                <a:gd name="connsiteX11" fmla="*/ 190420 w 361670"/>
                <a:gd name="connsiteY11" fmla="*/ 288556 h 361333"/>
                <a:gd name="connsiteX12" fmla="*/ 190420 w 361670"/>
                <a:gd name="connsiteY12" fmla="*/ 288556 h 361333"/>
                <a:gd name="connsiteX13" fmla="*/ 173806 w 361670"/>
                <a:gd name="connsiteY13" fmla="*/ 288556 h 361333"/>
                <a:gd name="connsiteX14" fmla="*/ 168695 w 361670"/>
                <a:gd name="connsiteY14" fmla="*/ 286002 h 361333"/>
                <a:gd name="connsiteX15" fmla="*/ 138662 w 361670"/>
                <a:gd name="connsiteY15" fmla="*/ 269404 h 361333"/>
                <a:gd name="connsiteX16" fmla="*/ 106712 w 361670"/>
                <a:gd name="connsiteY16" fmla="*/ 286002 h 361333"/>
                <a:gd name="connsiteX17" fmla="*/ 101600 w 361670"/>
                <a:gd name="connsiteY17" fmla="*/ 288556 h 361333"/>
                <a:gd name="connsiteX18" fmla="*/ 89459 w 361670"/>
                <a:gd name="connsiteY18" fmla="*/ 288556 h 361333"/>
                <a:gd name="connsiteX19" fmla="*/ 84347 w 361670"/>
                <a:gd name="connsiteY19" fmla="*/ 286002 h 361333"/>
                <a:gd name="connsiteX20" fmla="*/ 83708 w 361670"/>
                <a:gd name="connsiteY20" fmla="*/ 280257 h 361333"/>
                <a:gd name="connsiteX21" fmla="*/ 103517 w 361670"/>
                <a:gd name="connsiteY21" fmla="*/ 225993 h 361333"/>
                <a:gd name="connsiteX22" fmla="*/ 84986 w 361670"/>
                <a:gd name="connsiteY22" fmla="*/ 170452 h 361333"/>
                <a:gd name="connsiteX23" fmla="*/ 111824 w 361670"/>
                <a:gd name="connsiteY23" fmla="*/ 102782 h 361333"/>
                <a:gd name="connsiteX24" fmla="*/ 181474 w 361670"/>
                <a:gd name="connsiteY24" fmla="*/ 73416 h 361333"/>
                <a:gd name="connsiteX25" fmla="*/ 277962 w 361670"/>
                <a:gd name="connsiteY25" fmla="*/ 169814 h 361333"/>
                <a:gd name="connsiteX26" fmla="*/ 259431 w 361670"/>
                <a:gd name="connsiteY26" fmla="*/ 226631 h 361333"/>
                <a:gd name="connsiteX27" fmla="*/ 260071 w 361670"/>
                <a:gd name="connsiteY27" fmla="*/ 227908 h 361333"/>
                <a:gd name="connsiteX28" fmla="*/ 279240 w 361670"/>
                <a:gd name="connsiteY28" fmla="*/ 280895 h 361333"/>
                <a:gd name="connsiteX29" fmla="*/ 277962 w 361670"/>
                <a:gd name="connsiteY29" fmla="*/ 28600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1670" h="361333">
                  <a:moveTo>
                    <a:pt x="180835" y="0"/>
                  </a:moveTo>
                  <a:cubicBezTo>
                    <a:pt x="80513" y="0"/>
                    <a:pt x="0" y="81076"/>
                    <a:pt x="0" y="180667"/>
                  </a:cubicBezTo>
                  <a:cubicBezTo>
                    <a:pt x="0" y="280257"/>
                    <a:pt x="81152" y="361333"/>
                    <a:pt x="180835" y="361333"/>
                  </a:cubicBezTo>
                  <a:cubicBezTo>
                    <a:pt x="281157" y="361333"/>
                    <a:pt x="361671" y="280257"/>
                    <a:pt x="361671" y="180667"/>
                  </a:cubicBezTo>
                  <a:cubicBezTo>
                    <a:pt x="361671" y="81076"/>
                    <a:pt x="281157" y="0"/>
                    <a:pt x="180835" y="0"/>
                  </a:cubicBezTo>
                  <a:close/>
                  <a:moveTo>
                    <a:pt x="277962" y="286002"/>
                  </a:moveTo>
                  <a:cubicBezTo>
                    <a:pt x="276684" y="287917"/>
                    <a:pt x="274767" y="288556"/>
                    <a:pt x="272850" y="288556"/>
                  </a:cubicBezTo>
                  <a:lnTo>
                    <a:pt x="260710" y="288556"/>
                  </a:lnTo>
                  <a:cubicBezTo>
                    <a:pt x="258792" y="288556"/>
                    <a:pt x="256876" y="287279"/>
                    <a:pt x="255597" y="286002"/>
                  </a:cubicBezTo>
                  <a:cubicBezTo>
                    <a:pt x="255597" y="286002"/>
                    <a:pt x="244096" y="270042"/>
                    <a:pt x="226843" y="270042"/>
                  </a:cubicBezTo>
                  <a:cubicBezTo>
                    <a:pt x="209590" y="270042"/>
                    <a:pt x="195532" y="286002"/>
                    <a:pt x="195532" y="286002"/>
                  </a:cubicBezTo>
                  <a:cubicBezTo>
                    <a:pt x="194254" y="287279"/>
                    <a:pt x="192337" y="288556"/>
                    <a:pt x="190420" y="288556"/>
                  </a:cubicBezTo>
                  <a:cubicBezTo>
                    <a:pt x="190420" y="288556"/>
                    <a:pt x="190420" y="288556"/>
                    <a:pt x="190420" y="288556"/>
                  </a:cubicBezTo>
                  <a:lnTo>
                    <a:pt x="173806" y="288556"/>
                  </a:lnTo>
                  <a:cubicBezTo>
                    <a:pt x="171889" y="288556"/>
                    <a:pt x="169972" y="287279"/>
                    <a:pt x="168695" y="286002"/>
                  </a:cubicBezTo>
                  <a:cubicBezTo>
                    <a:pt x="168695" y="286002"/>
                    <a:pt x="156553" y="269404"/>
                    <a:pt x="138662" y="269404"/>
                  </a:cubicBezTo>
                  <a:cubicBezTo>
                    <a:pt x="120131" y="269404"/>
                    <a:pt x="106712" y="286002"/>
                    <a:pt x="106712" y="286002"/>
                  </a:cubicBezTo>
                  <a:cubicBezTo>
                    <a:pt x="105434" y="287279"/>
                    <a:pt x="103517" y="288556"/>
                    <a:pt x="101600" y="288556"/>
                  </a:cubicBezTo>
                  <a:lnTo>
                    <a:pt x="89459" y="288556"/>
                  </a:lnTo>
                  <a:cubicBezTo>
                    <a:pt x="87542" y="288556"/>
                    <a:pt x="85625" y="287279"/>
                    <a:pt x="84347" y="286002"/>
                  </a:cubicBezTo>
                  <a:cubicBezTo>
                    <a:pt x="83069" y="284087"/>
                    <a:pt x="83069" y="282172"/>
                    <a:pt x="83708" y="280257"/>
                  </a:cubicBezTo>
                  <a:lnTo>
                    <a:pt x="103517" y="225993"/>
                  </a:lnTo>
                  <a:cubicBezTo>
                    <a:pt x="92654" y="211310"/>
                    <a:pt x="85625" y="194711"/>
                    <a:pt x="84986" y="170452"/>
                  </a:cubicBezTo>
                  <a:cubicBezTo>
                    <a:pt x="84347" y="144916"/>
                    <a:pt x="93932" y="121296"/>
                    <a:pt x="111824" y="102782"/>
                  </a:cubicBezTo>
                  <a:cubicBezTo>
                    <a:pt x="130355" y="84268"/>
                    <a:pt x="155276" y="73416"/>
                    <a:pt x="181474" y="73416"/>
                  </a:cubicBezTo>
                  <a:cubicBezTo>
                    <a:pt x="234511" y="73416"/>
                    <a:pt x="277962" y="116827"/>
                    <a:pt x="277962" y="169814"/>
                  </a:cubicBezTo>
                  <a:cubicBezTo>
                    <a:pt x="277962" y="190243"/>
                    <a:pt x="270934" y="210671"/>
                    <a:pt x="259431" y="226631"/>
                  </a:cubicBezTo>
                  <a:cubicBezTo>
                    <a:pt x="259431" y="227270"/>
                    <a:pt x="260071" y="227270"/>
                    <a:pt x="260071" y="227908"/>
                  </a:cubicBezTo>
                  <a:lnTo>
                    <a:pt x="279240" y="280895"/>
                  </a:lnTo>
                  <a:cubicBezTo>
                    <a:pt x="279240" y="282172"/>
                    <a:pt x="279240" y="284087"/>
                    <a:pt x="277962" y="2860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65" name="Graphic 4">
            <a:extLst>
              <a:ext uri="{FF2B5EF4-FFF2-40B4-BE49-F238E27FC236}">
                <a16:creationId xmlns:a16="http://schemas.microsoft.com/office/drawing/2014/main" id="{A49F5BF3-F4CB-47FC-5C9E-444C72F40BFD}"/>
              </a:ext>
            </a:extLst>
          </p:cNvPr>
          <p:cNvGrpSpPr>
            <a:grpSpLocks noChangeAspect="1"/>
          </p:cNvGrpSpPr>
          <p:nvPr/>
        </p:nvGrpSpPr>
        <p:grpSpPr>
          <a:xfrm>
            <a:off x="3871178" y="3900713"/>
            <a:ext cx="457200" cy="452464"/>
            <a:chOff x="9278188" y="917540"/>
            <a:chExt cx="361674" cy="361971"/>
          </a:xfrm>
          <a:solidFill>
            <a:srgbClr val="00B0F0"/>
          </a:solidFill>
        </p:grpSpPr>
        <p:sp>
          <p:nvSpPr>
            <p:cNvPr id="1166" name="Graphic 4">
              <a:extLst>
                <a:ext uri="{FF2B5EF4-FFF2-40B4-BE49-F238E27FC236}">
                  <a16:creationId xmlns:a16="http://schemas.microsoft.com/office/drawing/2014/main" id="{AA607F6D-8B93-B787-C300-CD64F9BB5A14}"/>
                </a:ext>
              </a:extLst>
            </p:cNvPr>
            <p:cNvSpPr/>
            <p:nvPr/>
          </p:nvSpPr>
          <p:spPr>
            <a:xfrm>
              <a:off x="9370203" y="1052242"/>
              <a:ext cx="46646" cy="82353"/>
            </a:xfrm>
            <a:custGeom>
              <a:avLst/>
              <a:gdLst>
                <a:gd name="connsiteX0" fmla="*/ 0 w 46646"/>
                <a:gd name="connsiteY0" fmla="*/ 82353 h 82353"/>
                <a:gd name="connsiteX1" fmla="*/ 46646 w 46646"/>
                <a:gd name="connsiteY1" fmla="*/ 82353 h 82353"/>
                <a:gd name="connsiteX2" fmla="*/ 26199 w 46646"/>
                <a:gd name="connsiteY2" fmla="*/ 0 h 82353"/>
              </a:gdLst>
              <a:ahLst/>
              <a:cxnLst>
                <a:cxn ang="0">
                  <a:pos x="connsiteX0" y="connsiteY0"/>
                </a:cxn>
                <a:cxn ang="0">
                  <a:pos x="connsiteX1" y="connsiteY1"/>
                </a:cxn>
                <a:cxn ang="0">
                  <a:pos x="connsiteX2" y="connsiteY2"/>
                </a:cxn>
              </a:cxnLst>
              <a:rect l="l" t="t" r="r" b="b"/>
              <a:pathLst>
                <a:path w="46646" h="82353">
                  <a:moveTo>
                    <a:pt x="0" y="82353"/>
                  </a:moveTo>
                  <a:lnTo>
                    <a:pt x="46646" y="82353"/>
                  </a:lnTo>
                  <a:lnTo>
                    <a:pt x="2619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67" name="Graphic 4">
              <a:extLst>
                <a:ext uri="{FF2B5EF4-FFF2-40B4-BE49-F238E27FC236}">
                  <a16:creationId xmlns:a16="http://schemas.microsoft.com/office/drawing/2014/main" id="{F6F5D7D6-C43F-0723-A92C-5DB744298E34}"/>
                </a:ext>
              </a:extLst>
            </p:cNvPr>
            <p:cNvSpPr/>
            <p:nvPr/>
          </p:nvSpPr>
          <p:spPr>
            <a:xfrm>
              <a:off x="9503753" y="1052242"/>
              <a:ext cx="46646" cy="82353"/>
            </a:xfrm>
            <a:custGeom>
              <a:avLst/>
              <a:gdLst>
                <a:gd name="connsiteX0" fmla="*/ 0 w 46646"/>
                <a:gd name="connsiteY0" fmla="*/ 82353 h 82353"/>
                <a:gd name="connsiteX1" fmla="*/ 46646 w 46646"/>
                <a:gd name="connsiteY1" fmla="*/ 82353 h 82353"/>
                <a:gd name="connsiteX2" fmla="*/ 26199 w 46646"/>
                <a:gd name="connsiteY2" fmla="*/ 0 h 82353"/>
              </a:gdLst>
              <a:ahLst/>
              <a:cxnLst>
                <a:cxn ang="0">
                  <a:pos x="connsiteX0" y="connsiteY0"/>
                </a:cxn>
                <a:cxn ang="0">
                  <a:pos x="connsiteX1" y="connsiteY1"/>
                </a:cxn>
                <a:cxn ang="0">
                  <a:pos x="connsiteX2" y="connsiteY2"/>
                </a:cxn>
              </a:cxnLst>
              <a:rect l="l" t="t" r="r" b="b"/>
              <a:pathLst>
                <a:path w="46646" h="82353">
                  <a:moveTo>
                    <a:pt x="0" y="82353"/>
                  </a:moveTo>
                  <a:lnTo>
                    <a:pt x="46646" y="82353"/>
                  </a:lnTo>
                  <a:lnTo>
                    <a:pt x="2619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68" name="Graphic 4">
              <a:extLst>
                <a:ext uri="{FF2B5EF4-FFF2-40B4-BE49-F238E27FC236}">
                  <a16:creationId xmlns:a16="http://schemas.microsoft.com/office/drawing/2014/main" id="{4B4691DA-7EAD-FECA-9BB7-9BD03076B542}"/>
                </a:ext>
              </a:extLst>
            </p:cNvPr>
            <p:cNvSpPr/>
            <p:nvPr/>
          </p:nvSpPr>
          <p:spPr>
            <a:xfrm>
              <a:off x="9278188" y="917540"/>
              <a:ext cx="361674" cy="361971"/>
            </a:xfrm>
            <a:custGeom>
              <a:avLst/>
              <a:gdLst>
                <a:gd name="connsiteX0" fmla="*/ 285630 w 361674"/>
                <a:gd name="connsiteY0" fmla="*/ 227270 h 361971"/>
                <a:gd name="connsiteX1" fmla="*/ 280518 w 361674"/>
                <a:gd name="connsiteY1" fmla="*/ 229823 h 361971"/>
                <a:gd name="connsiteX2" fmla="*/ 217258 w 361674"/>
                <a:gd name="connsiteY2" fmla="*/ 229823 h 361971"/>
                <a:gd name="connsiteX3" fmla="*/ 210868 w 361674"/>
                <a:gd name="connsiteY3" fmla="*/ 223439 h 361971"/>
                <a:gd name="connsiteX4" fmla="*/ 210868 w 361674"/>
                <a:gd name="connsiteY4" fmla="*/ 221524 h 361971"/>
                <a:gd name="connsiteX5" fmla="*/ 243456 w 361674"/>
                <a:gd name="connsiteY5" fmla="*/ 117465 h 361971"/>
                <a:gd name="connsiteX6" fmla="*/ 187864 w 361674"/>
                <a:gd name="connsiteY6" fmla="*/ 117465 h 361971"/>
                <a:gd name="connsiteX7" fmla="*/ 187864 w 361674"/>
                <a:gd name="connsiteY7" fmla="*/ 273234 h 361971"/>
                <a:gd name="connsiteX8" fmla="*/ 223648 w 361674"/>
                <a:gd name="connsiteY8" fmla="*/ 273234 h 361971"/>
                <a:gd name="connsiteX9" fmla="*/ 230038 w 361674"/>
                <a:gd name="connsiteY9" fmla="*/ 279618 h 361971"/>
                <a:gd name="connsiteX10" fmla="*/ 223648 w 361674"/>
                <a:gd name="connsiteY10" fmla="*/ 286002 h 361971"/>
                <a:gd name="connsiteX11" fmla="*/ 139301 w 361674"/>
                <a:gd name="connsiteY11" fmla="*/ 286002 h 361971"/>
                <a:gd name="connsiteX12" fmla="*/ 132911 w 361674"/>
                <a:gd name="connsiteY12" fmla="*/ 279618 h 361971"/>
                <a:gd name="connsiteX13" fmla="*/ 139301 w 361674"/>
                <a:gd name="connsiteY13" fmla="*/ 273234 h 361971"/>
                <a:gd name="connsiteX14" fmla="*/ 175084 w 361674"/>
                <a:gd name="connsiteY14" fmla="*/ 273234 h 361971"/>
                <a:gd name="connsiteX15" fmla="*/ 175084 w 361674"/>
                <a:gd name="connsiteY15" fmla="*/ 117465 h 361971"/>
                <a:gd name="connsiteX16" fmla="*/ 126521 w 361674"/>
                <a:gd name="connsiteY16" fmla="*/ 117465 h 361971"/>
                <a:gd name="connsiteX17" fmla="*/ 152720 w 361674"/>
                <a:gd name="connsiteY17" fmla="*/ 222163 h 361971"/>
                <a:gd name="connsiteX18" fmla="*/ 151441 w 361674"/>
                <a:gd name="connsiteY18" fmla="*/ 227908 h 361971"/>
                <a:gd name="connsiteX19" fmla="*/ 146330 w 361674"/>
                <a:gd name="connsiteY19" fmla="*/ 230462 h 361971"/>
                <a:gd name="connsiteX20" fmla="*/ 83069 w 361674"/>
                <a:gd name="connsiteY20" fmla="*/ 230462 h 361971"/>
                <a:gd name="connsiteX21" fmla="*/ 76679 w 361674"/>
                <a:gd name="connsiteY21" fmla="*/ 224078 h 361971"/>
                <a:gd name="connsiteX22" fmla="*/ 76679 w 361674"/>
                <a:gd name="connsiteY22" fmla="*/ 222163 h 361971"/>
                <a:gd name="connsiteX23" fmla="*/ 111824 w 361674"/>
                <a:gd name="connsiteY23" fmla="*/ 109804 h 361971"/>
                <a:gd name="connsiteX24" fmla="*/ 111824 w 361674"/>
                <a:gd name="connsiteY24" fmla="*/ 109166 h 361971"/>
                <a:gd name="connsiteX25" fmla="*/ 112463 w 361674"/>
                <a:gd name="connsiteY25" fmla="*/ 108528 h 361971"/>
                <a:gd name="connsiteX26" fmla="*/ 113102 w 361674"/>
                <a:gd name="connsiteY26" fmla="*/ 107251 h 361971"/>
                <a:gd name="connsiteX27" fmla="*/ 113741 w 361674"/>
                <a:gd name="connsiteY27" fmla="*/ 106612 h 361971"/>
                <a:gd name="connsiteX28" fmla="*/ 115019 w 361674"/>
                <a:gd name="connsiteY28" fmla="*/ 105974 h 361971"/>
                <a:gd name="connsiteX29" fmla="*/ 115658 w 361674"/>
                <a:gd name="connsiteY29" fmla="*/ 105336 h 361971"/>
                <a:gd name="connsiteX30" fmla="*/ 117575 w 361674"/>
                <a:gd name="connsiteY30" fmla="*/ 104697 h 361971"/>
                <a:gd name="connsiteX31" fmla="*/ 118214 w 361674"/>
                <a:gd name="connsiteY31" fmla="*/ 104697 h 361971"/>
                <a:gd name="connsiteX32" fmla="*/ 175084 w 361674"/>
                <a:gd name="connsiteY32" fmla="*/ 104697 h 361971"/>
                <a:gd name="connsiteX33" fmla="*/ 175084 w 361674"/>
                <a:gd name="connsiteY33" fmla="*/ 82992 h 361971"/>
                <a:gd name="connsiteX34" fmla="*/ 181474 w 361674"/>
                <a:gd name="connsiteY34" fmla="*/ 76608 h 361971"/>
                <a:gd name="connsiteX35" fmla="*/ 187864 w 361674"/>
                <a:gd name="connsiteY35" fmla="*/ 82992 h 361971"/>
                <a:gd name="connsiteX36" fmla="*/ 187864 w 361674"/>
                <a:gd name="connsiteY36" fmla="*/ 104697 h 361971"/>
                <a:gd name="connsiteX37" fmla="*/ 251764 w 361674"/>
                <a:gd name="connsiteY37" fmla="*/ 104697 h 361971"/>
                <a:gd name="connsiteX38" fmla="*/ 253680 w 361674"/>
                <a:gd name="connsiteY38" fmla="*/ 105336 h 361971"/>
                <a:gd name="connsiteX39" fmla="*/ 254320 w 361674"/>
                <a:gd name="connsiteY39" fmla="*/ 105336 h 361971"/>
                <a:gd name="connsiteX40" fmla="*/ 255597 w 361674"/>
                <a:gd name="connsiteY40" fmla="*/ 105974 h 361971"/>
                <a:gd name="connsiteX41" fmla="*/ 256236 w 361674"/>
                <a:gd name="connsiteY41" fmla="*/ 106612 h 361971"/>
                <a:gd name="connsiteX42" fmla="*/ 256875 w 361674"/>
                <a:gd name="connsiteY42" fmla="*/ 107889 h 361971"/>
                <a:gd name="connsiteX43" fmla="*/ 257515 w 361674"/>
                <a:gd name="connsiteY43" fmla="*/ 108528 h 361971"/>
                <a:gd name="connsiteX44" fmla="*/ 257515 w 361674"/>
                <a:gd name="connsiteY44" fmla="*/ 109166 h 361971"/>
                <a:gd name="connsiteX45" fmla="*/ 285630 w 361674"/>
                <a:gd name="connsiteY45" fmla="*/ 221524 h 361971"/>
                <a:gd name="connsiteX46" fmla="*/ 284352 w 361674"/>
                <a:gd name="connsiteY46" fmla="*/ 227270 h 361971"/>
                <a:gd name="connsiteX47" fmla="*/ 180836 w 361674"/>
                <a:gd name="connsiteY47" fmla="*/ 0 h 361971"/>
                <a:gd name="connsiteX48" fmla="*/ 0 w 361674"/>
                <a:gd name="connsiteY48" fmla="*/ 180667 h 361971"/>
                <a:gd name="connsiteX49" fmla="*/ 180836 w 361674"/>
                <a:gd name="connsiteY49" fmla="*/ 361972 h 361971"/>
                <a:gd name="connsiteX50" fmla="*/ 361670 w 361674"/>
                <a:gd name="connsiteY50" fmla="*/ 181305 h 361971"/>
                <a:gd name="connsiteX51" fmla="*/ 361670 w 361674"/>
                <a:gd name="connsiteY51" fmla="*/ 181305 h 361971"/>
                <a:gd name="connsiteX52" fmla="*/ 180836 w 361674"/>
                <a:gd name="connsiteY52" fmla="*/ 0 h 361971"/>
                <a:gd name="connsiteX53" fmla="*/ 180836 w 361674"/>
                <a:gd name="connsiteY53"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61674" h="361971">
                  <a:moveTo>
                    <a:pt x="285630" y="227270"/>
                  </a:moveTo>
                  <a:cubicBezTo>
                    <a:pt x="284352" y="228546"/>
                    <a:pt x="282435" y="229823"/>
                    <a:pt x="280518" y="229823"/>
                  </a:cubicBezTo>
                  <a:lnTo>
                    <a:pt x="217258" y="229823"/>
                  </a:lnTo>
                  <a:cubicBezTo>
                    <a:pt x="213424" y="229823"/>
                    <a:pt x="210868" y="227270"/>
                    <a:pt x="210868" y="223439"/>
                  </a:cubicBezTo>
                  <a:cubicBezTo>
                    <a:pt x="210868" y="222801"/>
                    <a:pt x="210868" y="222163"/>
                    <a:pt x="210868" y="221524"/>
                  </a:cubicBezTo>
                  <a:lnTo>
                    <a:pt x="243456" y="117465"/>
                  </a:lnTo>
                  <a:lnTo>
                    <a:pt x="187864" y="117465"/>
                  </a:lnTo>
                  <a:lnTo>
                    <a:pt x="187864" y="273234"/>
                  </a:lnTo>
                  <a:lnTo>
                    <a:pt x="223648" y="273234"/>
                  </a:lnTo>
                  <a:cubicBezTo>
                    <a:pt x="227482" y="273234"/>
                    <a:pt x="230038" y="275788"/>
                    <a:pt x="230038" y="279618"/>
                  </a:cubicBezTo>
                  <a:cubicBezTo>
                    <a:pt x="230038" y="283449"/>
                    <a:pt x="227482" y="286002"/>
                    <a:pt x="223648" y="286002"/>
                  </a:cubicBezTo>
                  <a:lnTo>
                    <a:pt x="139301" y="286002"/>
                  </a:lnTo>
                  <a:cubicBezTo>
                    <a:pt x="135466" y="286002"/>
                    <a:pt x="132911" y="283449"/>
                    <a:pt x="132911" y="279618"/>
                  </a:cubicBezTo>
                  <a:cubicBezTo>
                    <a:pt x="132911" y="275788"/>
                    <a:pt x="135466" y="273234"/>
                    <a:pt x="139301" y="273234"/>
                  </a:cubicBezTo>
                  <a:lnTo>
                    <a:pt x="175084" y="273234"/>
                  </a:lnTo>
                  <a:lnTo>
                    <a:pt x="175084" y="117465"/>
                  </a:lnTo>
                  <a:lnTo>
                    <a:pt x="126521" y="117465"/>
                  </a:lnTo>
                  <a:lnTo>
                    <a:pt x="152720" y="222163"/>
                  </a:lnTo>
                  <a:cubicBezTo>
                    <a:pt x="153358" y="224078"/>
                    <a:pt x="152720" y="225993"/>
                    <a:pt x="151441" y="227908"/>
                  </a:cubicBezTo>
                  <a:cubicBezTo>
                    <a:pt x="150164" y="229185"/>
                    <a:pt x="148246" y="230462"/>
                    <a:pt x="146330" y="230462"/>
                  </a:cubicBezTo>
                  <a:lnTo>
                    <a:pt x="83069" y="230462"/>
                  </a:lnTo>
                  <a:cubicBezTo>
                    <a:pt x="79235" y="230462"/>
                    <a:pt x="76679" y="227908"/>
                    <a:pt x="76679" y="224078"/>
                  </a:cubicBezTo>
                  <a:cubicBezTo>
                    <a:pt x="76679" y="223439"/>
                    <a:pt x="76679" y="222801"/>
                    <a:pt x="76679" y="222163"/>
                  </a:cubicBezTo>
                  <a:lnTo>
                    <a:pt x="111824" y="109804"/>
                  </a:lnTo>
                  <a:cubicBezTo>
                    <a:pt x="111824" y="109804"/>
                    <a:pt x="111824" y="109804"/>
                    <a:pt x="111824" y="109166"/>
                  </a:cubicBezTo>
                  <a:lnTo>
                    <a:pt x="112463" y="108528"/>
                  </a:lnTo>
                  <a:lnTo>
                    <a:pt x="113102" y="107251"/>
                  </a:lnTo>
                  <a:lnTo>
                    <a:pt x="113741" y="106612"/>
                  </a:lnTo>
                  <a:lnTo>
                    <a:pt x="115019" y="105974"/>
                  </a:lnTo>
                  <a:lnTo>
                    <a:pt x="115658" y="105336"/>
                  </a:lnTo>
                  <a:cubicBezTo>
                    <a:pt x="116297" y="105336"/>
                    <a:pt x="116936" y="105336"/>
                    <a:pt x="117575" y="104697"/>
                  </a:cubicBezTo>
                  <a:lnTo>
                    <a:pt x="118214" y="104697"/>
                  </a:lnTo>
                  <a:lnTo>
                    <a:pt x="175084" y="104697"/>
                  </a:lnTo>
                  <a:lnTo>
                    <a:pt x="175084" y="82992"/>
                  </a:lnTo>
                  <a:cubicBezTo>
                    <a:pt x="175084" y="79161"/>
                    <a:pt x="177641" y="76608"/>
                    <a:pt x="181474" y="76608"/>
                  </a:cubicBezTo>
                  <a:cubicBezTo>
                    <a:pt x="185308" y="76608"/>
                    <a:pt x="187864" y="79161"/>
                    <a:pt x="187864" y="82992"/>
                  </a:cubicBezTo>
                  <a:lnTo>
                    <a:pt x="187864" y="104697"/>
                  </a:lnTo>
                  <a:lnTo>
                    <a:pt x="251764" y="104697"/>
                  </a:lnTo>
                  <a:cubicBezTo>
                    <a:pt x="252403" y="104697"/>
                    <a:pt x="253041" y="104697"/>
                    <a:pt x="253680" y="105336"/>
                  </a:cubicBezTo>
                  <a:lnTo>
                    <a:pt x="254320" y="105336"/>
                  </a:lnTo>
                  <a:cubicBezTo>
                    <a:pt x="254959" y="105336"/>
                    <a:pt x="254959" y="105974"/>
                    <a:pt x="255597" y="105974"/>
                  </a:cubicBezTo>
                  <a:cubicBezTo>
                    <a:pt x="255597" y="105974"/>
                    <a:pt x="256236" y="106612"/>
                    <a:pt x="256236" y="106612"/>
                  </a:cubicBezTo>
                  <a:cubicBezTo>
                    <a:pt x="256875" y="107251"/>
                    <a:pt x="256875" y="107251"/>
                    <a:pt x="256875" y="107889"/>
                  </a:cubicBezTo>
                  <a:lnTo>
                    <a:pt x="257515" y="108528"/>
                  </a:lnTo>
                  <a:cubicBezTo>
                    <a:pt x="257515" y="108528"/>
                    <a:pt x="257515" y="109166"/>
                    <a:pt x="257515" y="109166"/>
                  </a:cubicBezTo>
                  <a:lnTo>
                    <a:pt x="285630" y="221524"/>
                  </a:lnTo>
                  <a:cubicBezTo>
                    <a:pt x="286270" y="223439"/>
                    <a:pt x="285630" y="225355"/>
                    <a:pt x="284352" y="227270"/>
                  </a:cubicBezTo>
                  <a:moveTo>
                    <a:pt x="180836" y="0"/>
                  </a:moveTo>
                  <a:cubicBezTo>
                    <a:pt x="80513" y="0"/>
                    <a:pt x="0" y="81077"/>
                    <a:pt x="0" y="180667"/>
                  </a:cubicBezTo>
                  <a:cubicBezTo>
                    <a:pt x="0" y="280895"/>
                    <a:pt x="81152" y="361972"/>
                    <a:pt x="180836" y="361972"/>
                  </a:cubicBezTo>
                  <a:cubicBezTo>
                    <a:pt x="281157" y="361972"/>
                    <a:pt x="361670" y="280895"/>
                    <a:pt x="361670" y="181305"/>
                  </a:cubicBezTo>
                  <a:lnTo>
                    <a:pt x="361670" y="181305"/>
                  </a:lnTo>
                  <a:cubicBezTo>
                    <a:pt x="362309" y="81077"/>
                    <a:pt x="281157" y="0"/>
                    <a:pt x="180836" y="0"/>
                  </a:cubicBezTo>
                  <a:cubicBezTo>
                    <a:pt x="180836" y="0"/>
                    <a:pt x="180836" y="0"/>
                    <a:pt x="180836" y="0"/>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69" name="Graphic 4">
            <a:extLst>
              <a:ext uri="{FF2B5EF4-FFF2-40B4-BE49-F238E27FC236}">
                <a16:creationId xmlns:a16="http://schemas.microsoft.com/office/drawing/2014/main" id="{B53CE0E1-B967-B0B2-12EE-7D214A9020D2}"/>
              </a:ext>
            </a:extLst>
          </p:cNvPr>
          <p:cNvGrpSpPr>
            <a:grpSpLocks noChangeAspect="1"/>
          </p:cNvGrpSpPr>
          <p:nvPr/>
        </p:nvGrpSpPr>
        <p:grpSpPr>
          <a:xfrm>
            <a:off x="5276774" y="3161191"/>
            <a:ext cx="457200" cy="457580"/>
            <a:chOff x="905454" y="4308712"/>
            <a:chExt cx="361670" cy="361971"/>
          </a:xfrm>
          <a:solidFill>
            <a:srgbClr val="47CFFF"/>
          </a:solidFill>
        </p:grpSpPr>
        <p:sp>
          <p:nvSpPr>
            <p:cNvPr id="1170" name="Graphic 4">
              <a:extLst>
                <a:ext uri="{FF2B5EF4-FFF2-40B4-BE49-F238E27FC236}">
                  <a16:creationId xmlns:a16="http://schemas.microsoft.com/office/drawing/2014/main" id="{69079598-224E-FB91-D65A-2D1B3D9F6DC6}"/>
                </a:ext>
              </a:extLst>
            </p:cNvPr>
            <p:cNvSpPr/>
            <p:nvPr/>
          </p:nvSpPr>
          <p:spPr>
            <a:xfrm>
              <a:off x="985967" y="4433838"/>
              <a:ext cx="200643" cy="111081"/>
            </a:xfrm>
            <a:custGeom>
              <a:avLst/>
              <a:gdLst>
                <a:gd name="connsiteX0" fmla="*/ 100322 w 200643"/>
                <a:gd name="connsiteY0" fmla="*/ 0 h 111081"/>
                <a:gd name="connsiteX1" fmla="*/ 0 w 200643"/>
                <a:gd name="connsiteY1" fmla="*/ 55540 h 111081"/>
                <a:gd name="connsiteX2" fmla="*/ 100322 w 200643"/>
                <a:gd name="connsiteY2" fmla="*/ 111081 h 111081"/>
                <a:gd name="connsiteX3" fmla="*/ 200644 w 200643"/>
                <a:gd name="connsiteY3" fmla="*/ 55540 h 111081"/>
                <a:gd name="connsiteX4" fmla="*/ 100322 w 200643"/>
                <a:gd name="connsiteY4" fmla="*/ 0 h 111081"/>
                <a:gd name="connsiteX5" fmla="*/ 99683 w 200643"/>
                <a:gd name="connsiteY5" fmla="*/ 93206 h 111081"/>
                <a:gd name="connsiteX6" fmla="*/ 61982 w 200643"/>
                <a:gd name="connsiteY6" fmla="*/ 55540 h 111081"/>
                <a:gd name="connsiteX7" fmla="*/ 99683 w 200643"/>
                <a:gd name="connsiteY7" fmla="*/ 17875 h 111081"/>
                <a:gd name="connsiteX8" fmla="*/ 137384 w 200643"/>
                <a:gd name="connsiteY8" fmla="*/ 55540 h 111081"/>
                <a:gd name="connsiteX9" fmla="*/ 99683 w 200643"/>
                <a:gd name="connsiteY9" fmla="*/ 93206 h 11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643" h="111081">
                  <a:moveTo>
                    <a:pt x="100322" y="0"/>
                  </a:moveTo>
                  <a:cubicBezTo>
                    <a:pt x="56231" y="0"/>
                    <a:pt x="20448" y="28089"/>
                    <a:pt x="0" y="55540"/>
                  </a:cubicBezTo>
                  <a:cubicBezTo>
                    <a:pt x="15975" y="77884"/>
                    <a:pt x="52397" y="111081"/>
                    <a:pt x="100322" y="111081"/>
                  </a:cubicBezTo>
                  <a:cubicBezTo>
                    <a:pt x="144413" y="111081"/>
                    <a:pt x="180196" y="82992"/>
                    <a:pt x="200644" y="55540"/>
                  </a:cubicBezTo>
                  <a:cubicBezTo>
                    <a:pt x="184669" y="33835"/>
                    <a:pt x="148247" y="0"/>
                    <a:pt x="100322" y="0"/>
                  </a:cubicBezTo>
                  <a:close/>
                  <a:moveTo>
                    <a:pt x="99683" y="93206"/>
                  </a:moveTo>
                  <a:cubicBezTo>
                    <a:pt x="79235" y="93206"/>
                    <a:pt x="61982" y="76608"/>
                    <a:pt x="61982" y="55540"/>
                  </a:cubicBezTo>
                  <a:cubicBezTo>
                    <a:pt x="61982" y="34473"/>
                    <a:pt x="78596" y="17875"/>
                    <a:pt x="99683" y="17875"/>
                  </a:cubicBezTo>
                  <a:cubicBezTo>
                    <a:pt x="120770" y="17875"/>
                    <a:pt x="137384" y="34473"/>
                    <a:pt x="137384" y="55540"/>
                  </a:cubicBezTo>
                  <a:cubicBezTo>
                    <a:pt x="137384" y="76608"/>
                    <a:pt x="120770" y="93206"/>
                    <a:pt x="99683" y="9320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1" name="Graphic 4">
              <a:extLst>
                <a:ext uri="{FF2B5EF4-FFF2-40B4-BE49-F238E27FC236}">
                  <a16:creationId xmlns:a16="http://schemas.microsoft.com/office/drawing/2014/main" id="{7E7054BC-D5F3-78BE-7810-095C659B3BF2}"/>
                </a:ext>
              </a:extLst>
            </p:cNvPr>
            <p:cNvSpPr/>
            <p:nvPr/>
          </p:nvSpPr>
          <p:spPr>
            <a:xfrm>
              <a:off x="1060729" y="4465119"/>
              <a:ext cx="49841" cy="49794"/>
            </a:xfrm>
            <a:custGeom>
              <a:avLst/>
              <a:gdLst>
                <a:gd name="connsiteX0" fmla="*/ 24921 w 49841"/>
                <a:gd name="connsiteY0" fmla="*/ 0 h 49794"/>
                <a:gd name="connsiteX1" fmla="*/ 0 w 49841"/>
                <a:gd name="connsiteY1" fmla="*/ 24898 h 49794"/>
                <a:gd name="connsiteX2" fmla="*/ 24921 w 49841"/>
                <a:gd name="connsiteY2" fmla="*/ 49795 h 49794"/>
                <a:gd name="connsiteX3" fmla="*/ 49842 w 49841"/>
                <a:gd name="connsiteY3" fmla="*/ 24898 h 49794"/>
                <a:gd name="connsiteX4" fmla="*/ 24921 w 49841"/>
                <a:gd name="connsiteY4" fmla="*/ 0 h 4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1" h="49794">
                  <a:moveTo>
                    <a:pt x="24921" y="0"/>
                  </a:moveTo>
                  <a:cubicBezTo>
                    <a:pt x="11502" y="0"/>
                    <a:pt x="0" y="10853"/>
                    <a:pt x="0" y="24898"/>
                  </a:cubicBezTo>
                  <a:cubicBezTo>
                    <a:pt x="0" y="38304"/>
                    <a:pt x="10863" y="49795"/>
                    <a:pt x="24921" y="49795"/>
                  </a:cubicBezTo>
                  <a:cubicBezTo>
                    <a:pt x="38979" y="49795"/>
                    <a:pt x="49842" y="38943"/>
                    <a:pt x="49842" y="24898"/>
                  </a:cubicBezTo>
                  <a:cubicBezTo>
                    <a:pt x="49842" y="10853"/>
                    <a:pt x="38979" y="0"/>
                    <a:pt x="249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2" name="Graphic 4">
              <a:extLst>
                <a:ext uri="{FF2B5EF4-FFF2-40B4-BE49-F238E27FC236}">
                  <a16:creationId xmlns:a16="http://schemas.microsoft.com/office/drawing/2014/main" id="{8A11F632-77EF-BC75-526F-E73144B71E2C}"/>
                </a:ext>
              </a:extLst>
            </p:cNvPr>
            <p:cNvSpPr/>
            <p:nvPr/>
          </p:nvSpPr>
          <p:spPr>
            <a:xfrm>
              <a:off x="905454" y="4308712"/>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180835 w 361670"/>
                <a:gd name="connsiteY4" fmla="*/ 0 h 361971"/>
                <a:gd name="connsiteX5" fmla="*/ 293937 w 361670"/>
                <a:gd name="connsiteY5" fmla="*/ 184497 h 361971"/>
                <a:gd name="connsiteX6" fmla="*/ 180835 w 361670"/>
                <a:gd name="connsiteY6" fmla="*/ 248975 h 361971"/>
                <a:gd name="connsiteX7" fmla="*/ 67733 w 361670"/>
                <a:gd name="connsiteY7" fmla="*/ 183859 h 361971"/>
                <a:gd name="connsiteX8" fmla="*/ 67094 w 361670"/>
                <a:gd name="connsiteY8" fmla="*/ 180667 h 361971"/>
                <a:gd name="connsiteX9" fmla="*/ 68372 w 361670"/>
                <a:gd name="connsiteY9" fmla="*/ 176198 h 361971"/>
                <a:gd name="connsiteX10" fmla="*/ 181474 w 361670"/>
                <a:gd name="connsiteY10" fmla="*/ 111720 h 361971"/>
                <a:gd name="connsiteX11" fmla="*/ 294576 w 361670"/>
                <a:gd name="connsiteY11" fmla="*/ 176836 h 361971"/>
                <a:gd name="connsiteX12" fmla="*/ 295215 w 361670"/>
                <a:gd name="connsiteY12" fmla="*/ 180028 h 361971"/>
                <a:gd name="connsiteX13" fmla="*/ 293937 w 361670"/>
                <a:gd name="connsiteY13" fmla="*/ 18449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257"/>
                    <a:pt x="81152" y="361972"/>
                    <a:pt x="180835" y="361972"/>
                  </a:cubicBezTo>
                  <a:cubicBezTo>
                    <a:pt x="281157" y="361972"/>
                    <a:pt x="361670" y="280895"/>
                    <a:pt x="361670" y="181305"/>
                  </a:cubicBezTo>
                  <a:cubicBezTo>
                    <a:pt x="361670" y="81715"/>
                    <a:pt x="281157" y="0"/>
                    <a:pt x="180835" y="0"/>
                  </a:cubicBezTo>
                  <a:close/>
                  <a:moveTo>
                    <a:pt x="293937" y="184497"/>
                  </a:moveTo>
                  <a:cubicBezTo>
                    <a:pt x="272850" y="215779"/>
                    <a:pt x="231955" y="248975"/>
                    <a:pt x="180835" y="248975"/>
                  </a:cubicBezTo>
                  <a:cubicBezTo>
                    <a:pt x="124604" y="248975"/>
                    <a:pt x="83069" y="208118"/>
                    <a:pt x="67733" y="183859"/>
                  </a:cubicBezTo>
                  <a:cubicBezTo>
                    <a:pt x="67094" y="182582"/>
                    <a:pt x="67094" y="181944"/>
                    <a:pt x="67094" y="180667"/>
                  </a:cubicBezTo>
                  <a:cubicBezTo>
                    <a:pt x="67094" y="179390"/>
                    <a:pt x="67094" y="177475"/>
                    <a:pt x="68372" y="176198"/>
                  </a:cubicBezTo>
                  <a:cubicBezTo>
                    <a:pt x="89459" y="144916"/>
                    <a:pt x="130355" y="111720"/>
                    <a:pt x="181474" y="111720"/>
                  </a:cubicBezTo>
                  <a:cubicBezTo>
                    <a:pt x="237706" y="111720"/>
                    <a:pt x="279240" y="152577"/>
                    <a:pt x="294576" y="176836"/>
                  </a:cubicBezTo>
                  <a:cubicBezTo>
                    <a:pt x="295215" y="178113"/>
                    <a:pt x="295215" y="178752"/>
                    <a:pt x="295215" y="180028"/>
                  </a:cubicBezTo>
                  <a:cubicBezTo>
                    <a:pt x="295215" y="181944"/>
                    <a:pt x="295215" y="183220"/>
                    <a:pt x="293937" y="18449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73" name="Graphic 4">
            <a:extLst>
              <a:ext uri="{FF2B5EF4-FFF2-40B4-BE49-F238E27FC236}">
                <a16:creationId xmlns:a16="http://schemas.microsoft.com/office/drawing/2014/main" id="{EFADBED1-7047-FF6E-11A0-BF38E1F64C35}"/>
              </a:ext>
            </a:extLst>
          </p:cNvPr>
          <p:cNvGrpSpPr>
            <a:grpSpLocks noChangeAspect="1"/>
          </p:cNvGrpSpPr>
          <p:nvPr/>
        </p:nvGrpSpPr>
        <p:grpSpPr>
          <a:xfrm>
            <a:off x="6699702" y="3888429"/>
            <a:ext cx="457200" cy="456775"/>
            <a:chOff x="905454" y="918179"/>
            <a:chExt cx="361670" cy="361333"/>
          </a:xfrm>
          <a:solidFill>
            <a:srgbClr val="19ADFF"/>
          </a:solidFill>
        </p:grpSpPr>
        <p:sp>
          <p:nvSpPr>
            <p:cNvPr id="1174" name="Graphic 4">
              <a:extLst>
                <a:ext uri="{FF2B5EF4-FFF2-40B4-BE49-F238E27FC236}">
                  <a16:creationId xmlns:a16="http://schemas.microsoft.com/office/drawing/2014/main" id="{B5CFF8C4-AB5E-AE8D-3FBA-03C3BD73B7C7}"/>
                </a:ext>
              </a:extLst>
            </p:cNvPr>
            <p:cNvSpPr/>
            <p:nvPr/>
          </p:nvSpPr>
          <p:spPr>
            <a:xfrm>
              <a:off x="991718" y="1086716"/>
              <a:ext cx="112462" cy="87460"/>
            </a:xfrm>
            <a:custGeom>
              <a:avLst/>
              <a:gdLst>
                <a:gd name="connsiteX0" fmla="*/ 49842 w 112462"/>
                <a:gd name="connsiteY0" fmla="*/ 10214 h 87460"/>
                <a:gd name="connsiteX1" fmla="*/ 49842 w 112462"/>
                <a:gd name="connsiteY1" fmla="*/ 0 h 87460"/>
                <a:gd name="connsiteX2" fmla="*/ 1278 w 112462"/>
                <a:gd name="connsiteY2" fmla="*/ 0 h 87460"/>
                <a:gd name="connsiteX3" fmla="*/ 1278 w 112462"/>
                <a:gd name="connsiteY3" fmla="*/ 638 h 87460"/>
                <a:gd name="connsiteX4" fmla="*/ 0 w 112462"/>
                <a:gd name="connsiteY4" fmla="*/ 71501 h 87460"/>
                <a:gd name="connsiteX5" fmla="*/ 639 w 112462"/>
                <a:gd name="connsiteY5" fmla="*/ 74054 h 87460"/>
                <a:gd name="connsiteX6" fmla="*/ 17892 w 112462"/>
                <a:gd name="connsiteY6" fmla="*/ 73416 h 87460"/>
                <a:gd name="connsiteX7" fmla="*/ 17892 w 112462"/>
                <a:gd name="connsiteY7" fmla="*/ 73416 h 87460"/>
                <a:gd name="connsiteX8" fmla="*/ 18531 w 112462"/>
                <a:gd name="connsiteY8" fmla="*/ 73416 h 87460"/>
                <a:gd name="connsiteX9" fmla="*/ 19809 w 112462"/>
                <a:gd name="connsiteY9" fmla="*/ 73416 h 87460"/>
                <a:gd name="connsiteX10" fmla="*/ 21087 w 112462"/>
                <a:gd name="connsiteY10" fmla="*/ 74054 h 87460"/>
                <a:gd name="connsiteX11" fmla="*/ 22365 w 112462"/>
                <a:gd name="connsiteY11" fmla="*/ 74693 h 87460"/>
                <a:gd name="connsiteX12" fmla="*/ 23004 w 112462"/>
                <a:gd name="connsiteY12" fmla="*/ 75969 h 87460"/>
                <a:gd name="connsiteX13" fmla="*/ 23643 w 112462"/>
                <a:gd name="connsiteY13" fmla="*/ 76608 h 87460"/>
                <a:gd name="connsiteX14" fmla="*/ 30033 w 112462"/>
                <a:gd name="connsiteY14" fmla="*/ 87461 h 87460"/>
                <a:gd name="connsiteX15" fmla="*/ 31950 w 112462"/>
                <a:gd name="connsiteY15" fmla="*/ 79800 h 87460"/>
                <a:gd name="connsiteX16" fmla="*/ 38340 w 112462"/>
                <a:gd name="connsiteY16" fmla="*/ 75331 h 87460"/>
                <a:gd name="connsiteX17" fmla="*/ 38979 w 112462"/>
                <a:gd name="connsiteY17" fmla="*/ 75331 h 87460"/>
                <a:gd name="connsiteX18" fmla="*/ 112463 w 112462"/>
                <a:gd name="connsiteY18" fmla="*/ 75331 h 87460"/>
                <a:gd name="connsiteX19" fmla="*/ 112463 w 112462"/>
                <a:gd name="connsiteY19" fmla="*/ 74693 h 87460"/>
                <a:gd name="connsiteX20" fmla="*/ 112463 w 112462"/>
                <a:gd name="connsiteY20" fmla="*/ 24897 h 87460"/>
                <a:gd name="connsiteX21" fmla="*/ 62621 w 112462"/>
                <a:gd name="connsiteY21" fmla="*/ 24897 h 87460"/>
                <a:gd name="connsiteX22" fmla="*/ 49842 w 112462"/>
                <a:gd name="connsiteY22" fmla="*/ 10214 h 8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462" h="87460">
                  <a:moveTo>
                    <a:pt x="49842" y="10214"/>
                  </a:moveTo>
                  <a:lnTo>
                    <a:pt x="49842" y="0"/>
                  </a:lnTo>
                  <a:lnTo>
                    <a:pt x="1278" y="0"/>
                  </a:lnTo>
                  <a:cubicBezTo>
                    <a:pt x="1278" y="0"/>
                    <a:pt x="1278" y="638"/>
                    <a:pt x="1278" y="638"/>
                  </a:cubicBezTo>
                  <a:lnTo>
                    <a:pt x="0" y="71501"/>
                  </a:lnTo>
                  <a:cubicBezTo>
                    <a:pt x="0" y="72777"/>
                    <a:pt x="639" y="73416"/>
                    <a:pt x="639" y="74054"/>
                  </a:cubicBezTo>
                  <a:lnTo>
                    <a:pt x="17892" y="73416"/>
                  </a:lnTo>
                  <a:cubicBezTo>
                    <a:pt x="17892" y="73416"/>
                    <a:pt x="17892" y="73416"/>
                    <a:pt x="17892" y="73416"/>
                  </a:cubicBezTo>
                  <a:cubicBezTo>
                    <a:pt x="17892" y="73416"/>
                    <a:pt x="18531" y="73416"/>
                    <a:pt x="18531" y="73416"/>
                  </a:cubicBezTo>
                  <a:cubicBezTo>
                    <a:pt x="19170" y="73416"/>
                    <a:pt x="19170" y="73416"/>
                    <a:pt x="19809" y="73416"/>
                  </a:cubicBezTo>
                  <a:cubicBezTo>
                    <a:pt x="20448" y="73416"/>
                    <a:pt x="20448" y="74054"/>
                    <a:pt x="21087" y="74054"/>
                  </a:cubicBezTo>
                  <a:cubicBezTo>
                    <a:pt x="21726" y="74054"/>
                    <a:pt x="21726" y="74693"/>
                    <a:pt x="22365" y="74693"/>
                  </a:cubicBezTo>
                  <a:cubicBezTo>
                    <a:pt x="23004" y="74693"/>
                    <a:pt x="23004" y="75331"/>
                    <a:pt x="23004" y="75969"/>
                  </a:cubicBezTo>
                  <a:cubicBezTo>
                    <a:pt x="23004" y="75969"/>
                    <a:pt x="23643" y="76608"/>
                    <a:pt x="23643" y="76608"/>
                  </a:cubicBezTo>
                  <a:lnTo>
                    <a:pt x="30033" y="87461"/>
                  </a:lnTo>
                  <a:lnTo>
                    <a:pt x="31950" y="79800"/>
                  </a:lnTo>
                  <a:cubicBezTo>
                    <a:pt x="32589" y="76608"/>
                    <a:pt x="35784" y="74693"/>
                    <a:pt x="38340" y="75331"/>
                  </a:cubicBezTo>
                  <a:cubicBezTo>
                    <a:pt x="38340" y="75331"/>
                    <a:pt x="38979" y="75331"/>
                    <a:pt x="38979" y="75331"/>
                  </a:cubicBezTo>
                  <a:lnTo>
                    <a:pt x="112463" y="75331"/>
                  </a:lnTo>
                  <a:cubicBezTo>
                    <a:pt x="112463" y="75331"/>
                    <a:pt x="112463" y="74693"/>
                    <a:pt x="112463" y="74693"/>
                  </a:cubicBezTo>
                  <a:lnTo>
                    <a:pt x="112463" y="24897"/>
                  </a:lnTo>
                  <a:lnTo>
                    <a:pt x="62621" y="24897"/>
                  </a:lnTo>
                  <a:cubicBezTo>
                    <a:pt x="55592" y="24259"/>
                    <a:pt x="49842" y="17875"/>
                    <a:pt x="49842" y="102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5" name="Graphic 4">
              <a:extLst>
                <a:ext uri="{FF2B5EF4-FFF2-40B4-BE49-F238E27FC236}">
                  <a16:creationId xmlns:a16="http://schemas.microsoft.com/office/drawing/2014/main" id="{4252BD20-E6B2-3B1A-D850-71EB149275DE}"/>
                </a:ext>
              </a:extLst>
            </p:cNvPr>
            <p:cNvSpPr/>
            <p:nvPr/>
          </p:nvSpPr>
          <p:spPr>
            <a:xfrm>
              <a:off x="1053700" y="1012662"/>
              <a:ext cx="126520" cy="100866"/>
            </a:xfrm>
            <a:custGeom>
              <a:avLst/>
              <a:gdLst>
                <a:gd name="connsiteX0" fmla="*/ 125882 w 126520"/>
                <a:gd name="connsiteY0" fmla="*/ 0 h 100866"/>
                <a:gd name="connsiteX1" fmla="*/ 639 w 126520"/>
                <a:gd name="connsiteY1" fmla="*/ 0 h 100866"/>
                <a:gd name="connsiteX2" fmla="*/ 0 w 126520"/>
                <a:gd name="connsiteY2" fmla="*/ 1915 h 100866"/>
                <a:gd name="connsiteX3" fmla="*/ 0 w 126520"/>
                <a:gd name="connsiteY3" fmla="*/ 84269 h 100866"/>
                <a:gd name="connsiteX4" fmla="*/ 639 w 126520"/>
                <a:gd name="connsiteY4" fmla="*/ 86184 h 100866"/>
                <a:gd name="connsiteX5" fmla="*/ 56231 w 126520"/>
                <a:gd name="connsiteY5" fmla="*/ 86184 h 100866"/>
                <a:gd name="connsiteX6" fmla="*/ 56231 w 126520"/>
                <a:gd name="connsiteY6" fmla="*/ 86184 h 100866"/>
                <a:gd name="connsiteX7" fmla="*/ 56231 w 126520"/>
                <a:gd name="connsiteY7" fmla="*/ 86184 h 100866"/>
                <a:gd name="connsiteX8" fmla="*/ 82430 w 126520"/>
                <a:gd name="connsiteY8" fmla="*/ 86184 h 100866"/>
                <a:gd name="connsiteX9" fmla="*/ 83069 w 126520"/>
                <a:gd name="connsiteY9" fmla="*/ 86184 h 100866"/>
                <a:gd name="connsiteX10" fmla="*/ 89459 w 126520"/>
                <a:gd name="connsiteY10" fmla="*/ 90653 h 100866"/>
                <a:gd name="connsiteX11" fmla="*/ 92015 w 126520"/>
                <a:gd name="connsiteY11" fmla="*/ 100867 h 100866"/>
                <a:gd name="connsiteX12" fmla="*/ 99683 w 126520"/>
                <a:gd name="connsiteY12" fmla="*/ 86822 h 100866"/>
                <a:gd name="connsiteX13" fmla="*/ 100322 w 126520"/>
                <a:gd name="connsiteY13" fmla="*/ 86184 h 100866"/>
                <a:gd name="connsiteX14" fmla="*/ 100961 w 126520"/>
                <a:gd name="connsiteY14" fmla="*/ 84907 h 100866"/>
                <a:gd name="connsiteX15" fmla="*/ 102239 w 126520"/>
                <a:gd name="connsiteY15" fmla="*/ 84269 h 100866"/>
                <a:gd name="connsiteX16" fmla="*/ 102878 w 126520"/>
                <a:gd name="connsiteY16" fmla="*/ 83630 h 100866"/>
                <a:gd name="connsiteX17" fmla="*/ 104795 w 126520"/>
                <a:gd name="connsiteY17" fmla="*/ 82992 h 100866"/>
                <a:gd name="connsiteX18" fmla="*/ 105434 w 126520"/>
                <a:gd name="connsiteY18" fmla="*/ 82992 h 100866"/>
                <a:gd name="connsiteX19" fmla="*/ 125243 w 126520"/>
                <a:gd name="connsiteY19" fmla="*/ 83630 h 100866"/>
                <a:gd name="connsiteX20" fmla="*/ 126521 w 126520"/>
                <a:gd name="connsiteY20" fmla="*/ 80438 h 100866"/>
                <a:gd name="connsiteX21" fmla="*/ 125243 w 126520"/>
                <a:gd name="connsiteY21" fmla="*/ 1915 h 100866"/>
                <a:gd name="connsiteX22" fmla="*/ 125882 w 126520"/>
                <a:gd name="connsiteY22" fmla="*/ 0 h 100866"/>
                <a:gd name="connsiteX23" fmla="*/ 36423 w 126520"/>
                <a:gd name="connsiteY23" fmla="*/ 47241 h 100866"/>
                <a:gd name="connsiteX24" fmla="*/ 34506 w 126520"/>
                <a:gd name="connsiteY24" fmla="*/ 48518 h 100866"/>
                <a:gd name="connsiteX25" fmla="*/ 31950 w 126520"/>
                <a:gd name="connsiteY25" fmla="*/ 49157 h 100866"/>
                <a:gd name="connsiteX26" fmla="*/ 29394 w 126520"/>
                <a:gd name="connsiteY26" fmla="*/ 48518 h 100866"/>
                <a:gd name="connsiteX27" fmla="*/ 27477 w 126520"/>
                <a:gd name="connsiteY27" fmla="*/ 47241 h 100866"/>
                <a:gd name="connsiteX28" fmla="*/ 25560 w 126520"/>
                <a:gd name="connsiteY28" fmla="*/ 42773 h 100866"/>
                <a:gd name="connsiteX29" fmla="*/ 26199 w 126520"/>
                <a:gd name="connsiteY29" fmla="*/ 40219 h 100866"/>
                <a:gd name="connsiteX30" fmla="*/ 27477 w 126520"/>
                <a:gd name="connsiteY30" fmla="*/ 38304 h 100866"/>
                <a:gd name="connsiteX31" fmla="*/ 29394 w 126520"/>
                <a:gd name="connsiteY31" fmla="*/ 37027 h 100866"/>
                <a:gd name="connsiteX32" fmla="*/ 33228 w 126520"/>
                <a:gd name="connsiteY32" fmla="*/ 36389 h 100866"/>
                <a:gd name="connsiteX33" fmla="*/ 34506 w 126520"/>
                <a:gd name="connsiteY33" fmla="*/ 37027 h 100866"/>
                <a:gd name="connsiteX34" fmla="*/ 35784 w 126520"/>
                <a:gd name="connsiteY34" fmla="*/ 37665 h 100866"/>
                <a:gd name="connsiteX35" fmla="*/ 36423 w 126520"/>
                <a:gd name="connsiteY35" fmla="*/ 38304 h 100866"/>
                <a:gd name="connsiteX36" fmla="*/ 37701 w 126520"/>
                <a:gd name="connsiteY36" fmla="*/ 40219 h 100866"/>
                <a:gd name="connsiteX37" fmla="*/ 38340 w 126520"/>
                <a:gd name="connsiteY37" fmla="*/ 42773 h 100866"/>
                <a:gd name="connsiteX38" fmla="*/ 36423 w 126520"/>
                <a:gd name="connsiteY38" fmla="*/ 47241 h 100866"/>
                <a:gd name="connsiteX39" fmla="*/ 69650 w 126520"/>
                <a:gd name="connsiteY39" fmla="*/ 45326 h 100866"/>
                <a:gd name="connsiteX40" fmla="*/ 68372 w 126520"/>
                <a:gd name="connsiteY40" fmla="*/ 47241 h 100866"/>
                <a:gd name="connsiteX41" fmla="*/ 63899 w 126520"/>
                <a:gd name="connsiteY41" fmla="*/ 49157 h 100866"/>
                <a:gd name="connsiteX42" fmla="*/ 59426 w 126520"/>
                <a:gd name="connsiteY42" fmla="*/ 47241 h 100866"/>
                <a:gd name="connsiteX43" fmla="*/ 58148 w 126520"/>
                <a:gd name="connsiteY43" fmla="*/ 45326 h 100866"/>
                <a:gd name="connsiteX44" fmla="*/ 57509 w 126520"/>
                <a:gd name="connsiteY44" fmla="*/ 42773 h 100866"/>
                <a:gd name="connsiteX45" fmla="*/ 58148 w 126520"/>
                <a:gd name="connsiteY45" fmla="*/ 40219 h 100866"/>
                <a:gd name="connsiteX46" fmla="*/ 59426 w 126520"/>
                <a:gd name="connsiteY46" fmla="*/ 38304 h 100866"/>
                <a:gd name="connsiteX47" fmla="*/ 68372 w 126520"/>
                <a:gd name="connsiteY47" fmla="*/ 38304 h 100866"/>
                <a:gd name="connsiteX48" fmla="*/ 69650 w 126520"/>
                <a:gd name="connsiteY48" fmla="*/ 40219 h 100866"/>
                <a:gd name="connsiteX49" fmla="*/ 70289 w 126520"/>
                <a:gd name="connsiteY49" fmla="*/ 42773 h 100866"/>
                <a:gd name="connsiteX50" fmla="*/ 69650 w 126520"/>
                <a:gd name="connsiteY50" fmla="*/ 45326 h 100866"/>
                <a:gd name="connsiteX51" fmla="*/ 101600 w 126520"/>
                <a:gd name="connsiteY51" fmla="*/ 47241 h 100866"/>
                <a:gd name="connsiteX52" fmla="*/ 99683 w 126520"/>
                <a:gd name="connsiteY52" fmla="*/ 48518 h 100866"/>
                <a:gd name="connsiteX53" fmla="*/ 97127 w 126520"/>
                <a:gd name="connsiteY53" fmla="*/ 49157 h 100866"/>
                <a:gd name="connsiteX54" fmla="*/ 94571 w 126520"/>
                <a:gd name="connsiteY54" fmla="*/ 48518 h 100866"/>
                <a:gd name="connsiteX55" fmla="*/ 92654 w 126520"/>
                <a:gd name="connsiteY55" fmla="*/ 47241 h 100866"/>
                <a:gd name="connsiteX56" fmla="*/ 90737 w 126520"/>
                <a:gd name="connsiteY56" fmla="*/ 42773 h 100866"/>
                <a:gd name="connsiteX57" fmla="*/ 91376 w 126520"/>
                <a:gd name="connsiteY57" fmla="*/ 40219 h 100866"/>
                <a:gd name="connsiteX58" fmla="*/ 92654 w 126520"/>
                <a:gd name="connsiteY58" fmla="*/ 38304 h 100866"/>
                <a:gd name="connsiteX59" fmla="*/ 93293 w 126520"/>
                <a:gd name="connsiteY59" fmla="*/ 37665 h 100866"/>
                <a:gd name="connsiteX60" fmla="*/ 94571 w 126520"/>
                <a:gd name="connsiteY60" fmla="*/ 37027 h 100866"/>
                <a:gd name="connsiteX61" fmla="*/ 95849 w 126520"/>
                <a:gd name="connsiteY61" fmla="*/ 36389 h 100866"/>
                <a:gd name="connsiteX62" fmla="*/ 99683 w 126520"/>
                <a:gd name="connsiteY62" fmla="*/ 37027 h 100866"/>
                <a:gd name="connsiteX63" fmla="*/ 101600 w 126520"/>
                <a:gd name="connsiteY63" fmla="*/ 38304 h 100866"/>
                <a:gd name="connsiteX64" fmla="*/ 102878 w 126520"/>
                <a:gd name="connsiteY64" fmla="*/ 40219 h 100866"/>
                <a:gd name="connsiteX65" fmla="*/ 103517 w 126520"/>
                <a:gd name="connsiteY65" fmla="*/ 42773 h 100866"/>
                <a:gd name="connsiteX66" fmla="*/ 101600 w 126520"/>
                <a:gd name="connsiteY66" fmla="*/ 47241 h 10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26520" h="100866">
                  <a:moveTo>
                    <a:pt x="125882" y="0"/>
                  </a:moveTo>
                  <a:lnTo>
                    <a:pt x="639" y="0"/>
                  </a:lnTo>
                  <a:cubicBezTo>
                    <a:pt x="639" y="0"/>
                    <a:pt x="0" y="638"/>
                    <a:pt x="0" y="1915"/>
                  </a:cubicBezTo>
                  <a:lnTo>
                    <a:pt x="0" y="84269"/>
                  </a:lnTo>
                  <a:cubicBezTo>
                    <a:pt x="0" y="85545"/>
                    <a:pt x="639" y="86184"/>
                    <a:pt x="639" y="86184"/>
                  </a:cubicBezTo>
                  <a:lnTo>
                    <a:pt x="56231" y="86184"/>
                  </a:lnTo>
                  <a:cubicBezTo>
                    <a:pt x="56231" y="86184"/>
                    <a:pt x="56231" y="86184"/>
                    <a:pt x="56231" y="86184"/>
                  </a:cubicBezTo>
                  <a:cubicBezTo>
                    <a:pt x="56231" y="86184"/>
                    <a:pt x="56231" y="86184"/>
                    <a:pt x="56231" y="86184"/>
                  </a:cubicBezTo>
                  <a:lnTo>
                    <a:pt x="82430" y="86184"/>
                  </a:lnTo>
                  <a:cubicBezTo>
                    <a:pt x="82430" y="86184"/>
                    <a:pt x="83069" y="86184"/>
                    <a:pt x="83069" y="86184"/>
                  </a:cubicBezTo>
                  <a:cubicBezTo>
                    <a:pt x="86264" y="86184"/>
                    <a:pt x="88820" y="88099"/>
                    <a:pt x="89459" y="90653"/>
                  </a:cubicBezTo>
                  <a:lnTo>
                    <a:pt x="92015" y="100867"/>
                  </a:lnTo>
                  <a:lnTo>
                    <a:pt x="99683" y="86822"/>
                  </a:lnTo>
                  <a:cubicBezTo>
                    <a:pt x="99683" y="86822"/>
                    <a:pt x="100322" y="86184"/>
                    <a:pt x="100322" y="86184"/>
                  </a:cubicBezTo>
                  <a:cubicBezTo>
                    <a:pt x="100322" y="85545"/>
                    <a:pt x="100961" y="85545"/>
                    <a:pt x="100961" y="84907"/>
                  </a:cubicBezTo>
                  <a:cubicBezTo>
                    <a:pt x="101600" y="84269"/>
                    <a:pt x="101600" y="84269"/>
                    <a:pt x="102239" y="84269"/>
                  </a:cubicBezTo>
                  <a:cubicBezTo>
                    <a:pt x="102239" y="84269"/>
                    <a:pt x="102878" y="84269"/>
                    <a:pt x="102878" y="83630"/>
                  </a:cubicBezTo>
                  <a:cubicBezTo>
                    <a:pt x="103517" y="83630"/>
                    <a:pt x="104156" y="83630"/>
                    <a:pt x="104795" y="82992"/>
                  </a:cubicBezTo>
                  <a:cubicBezTo>
                    <a:pt x="104795" y="82992"/>
                    <a:pt x="105434" y="82992"/>
                    <a:pt x="105434" y="82992"/>
                  </a:cubicBezTo>
                  <a:lnTo>
                    <a:pt x="125243" y="83630"/>
                  </a:lnTo>
                  <a:cubicBezTo>
                    <a:pt x="126521" y="82992"/>
                    <a:pt x="126521" y="81715"/>
                    <a:pt x="126521" y="80438"/>
                  </a:cubicBezTo>
                  <a:lnTo>
                    <a:pt x="125243" y="1915"/>
                  </a:lnTo>
                  <a:cubicBezTo>
                    <a:pt x="126521" y="638"/>
                    <a:pt x="125882" y="0"/>
                    <a:pt x="125882" y="0"/>
                  </a:cubicBezTo>
                  <a:close/>
                  <a:moveTo>
                    <a:pt x="36423" y="47241"/>
                  </a:moveTo>
                  <a:cubicBezTo>
                    <a:pt x="35784" y="47880"/>
                    <a:pt x="35145" y="48518"/>
                    <a:pt x="34506" y="48518"/>
                  </a:cubicBezTo>
                  <a:cubicBezTo>
                    <a:pt x="33867" y="49157"/>
                    <a:pt x="33228" y="49157"/>
                    <a:pt x="31950" y="49157"/>
                  </a:cubicBezTo>
                  <a:cubicBezTo>
                    <a:pt x="30672" y="49157"/>
                    <a:pt x="30033" y="49157"/>
                    <a:pt x="29394" y="48518"/>
                  </a:cubicBezTo>
                  <a:cubicBezTo>
                    <a:pt x="28755" y="48518"/>
                    <a:pt x="28116" y="47880"/>
                    <a:pt x="27477" y="47241"/>
                  </a:cubicBezTo>
                  <a:cubicBezTo>
                    <a:pt x="26199" y="45965"/>
                    <a:pt x="25560" y="44688"/>
                    <a:pt x="25560" y="42773"/>
                  </a:cubicBezTo>
                  <a:cubicBezTo>
                    <a:pt x="25560" y="42134"/>
                    <a:pt x="25560" y="40857"/>
                    <a:pt x="26199" y="40219"/>
                  </a:cubicBezTo>
                  <a:cubicBezTo>
                    <a:pt x="26199" y="39581"/>
                    <a:pt x="26838" y="38942"/>
                    <a:pt x="27477" y="38304"/>
                  </a:cubicBezTo>
                  <a:cubicBezTo>
                    <a:pt x="28116" y="37665"/>
                    <a:pt x="28755" y="37027"/>
                    <a:pt x="29394" y="37027"/>
                  </a:cubicBezTo>
                  <a:cubicBezTo>
                    <a:pt x="30672" y="36389"/>
                    <a:pt x="31950" y="36389"/>
                    <a:pt x="33228" y="36389"/>
                  </a:cubicBezTo>
                  <a:cubicBezTo>
                    <a:pt x="33867" y="36389"/>
                    <a:pt x="33867" y="36389"/>
                    <a:pt x="34506" y="37027"/>
                  </a:cubicBezTo>
                  <a:cubicBezTo>
                    <a:pt x="35145" y="37027"/>
                    <a:pt x="35145" y="37665"/>
                    <a:pt x="35784" y="37665"/>
                  </a:cubicBezTo>
                  <a:cubicBezTo>
                    <a:pt x="35784" y="37665"/>
                    <a:pt x="36423" y="38304"/>
                    <a:pt x="36423" y="38304"/>
                  </a:cubicBezTo>
                  <a:cubicBezTo>
                    <a:pt x="37062" y="38942"/>
                    <a:pt x="37701" y="39581"/>
                    <a:pt x="37701" y="40219"/>
                  </a:cubicBezTo>
                  <a:cubicBezTo>
                    <a:pt x="37701" y="40857"/>
                    <a:pt x="38340" y="41496"/>
                    <a:pt x="38340" y="42773"/>
                  </a:cubicBezTo>
                  <a:cubicBezTo>
                    <a:pt x="38340" y="44688"/>
                    <a:pt x="37701" y="45965"/>
                    <a:pt x="36423" y="47241"/>
                  </a:cubicBezTo>
                  <a:close/>
                  <a:moveTo>
                    <a:pt x="69650" y="45326"/>
                  </a:moveTo>
                  <a:cubicBezTo>
                    <a:pt x="69011" y="45965"/>
                    <a:pt x="69011" y="46603"/>
                    <a:pt x="68372" y="47241"/>
                  </a:cubicBezTo>
                  <a:cubicBezTo>
                    <a:pt x="67094" y="48518"/>
                    <a:pt x="65816" y="49157"/>
                    <a:pt x="63899" y="49157"/>
                  </a:cubicBezTo>
                  <a:cubicBezTo>
                    <a:pt x="61982" y="49157"/>
                    <a:pt x="60704" y="48518"/>
                    <a:pt x="59426" y="47241"/>
                  </a:cubicBezTo>
                  <a:cubicBezTo>
                    <a:pt x="58788" y="46603"/>
                    <a:pt x="58148" y="45965"/>
                    <a:pt x="58148" y="45326"/>
                  </a:cubicBezTo>
                  <a:cubicBezTo>
                    <a:pt x="57509" y="44688"/>
                    <a:pt x="57509" y="44049"/>
                    <a:pt x="57509" y="42773"/>
                  </a:cubicBezTo>
                  <a:cubicBezTo>
                    <a:pt x="57509" y="42134"/>
                    <a:pt x="57509" y="40857"/>
                    <a:pt x="58148" y="40219"/>
                  </a:cubicBezTo>
                  <a:cubicBezTo>
                    <a:pt x="58788" y="39581"/>
                    <a:pt x="58788" y="38942"/>
                    <a:pt x="59426" y="38304"/>
                  </a:cubicBezTo>
                  <a:cubicBezTo>
                    <a:pt x="61982" y="35750"/>
                    <a:pt x="65816" y="35750"/>
                    <a:pt x="68372" y="38304"/>
                  </a:cubicBezTo>
                  <a:cubicBezTo>
                    <a:pt x="69011" y="38942"/>
                    <a:pt x="69650" y="39581"/>
                    <a:pt x="69650" y="40219"/>
                  </a:cubicBezTo>
                  <a:cubicBezTo>
                    <a:pt x="70289" y="40857"/>
                    <a:pt x="70289" y="41496"/>
                    <a:pt x="70289" y="42773"/>
                  </a:cubicBezTo>
                  <a:cubicBezTo>
                    <a:pt x="70289" y="44049"/>
                    <a:pt x="70289" y="44688"/>
                    <a:pt x="69650" y="45326"/>
                  </a:cubicBezTo>
                  <a:close/>
                  <a:moveTo>
                    <a:pt x="101600" y="47241"/>
                  </a:moveTo>
                  <a:cubicBezTo>
                    <a:pt x="100961" y="47880"/>
                    <a:pt x="100322" y="48518"/>
                    <a:pt x="99683" y="48518"/>
                  </a:cubicBezTo>
                  <a:cubicBezTo>
                    <a:pt x="99044" y="49157"/>
                    <a:pt x="98405" y="49157"/>
                    <a:pt x="97127" y="49157"/>
                  </a:cubicBezTo>
                  <a:cubicBezTo>
                    <a:pt x="96488" y="49157"/>
                    <a:pt x="95210" y="49157"/>
                    <a:pt x="94571" y="48518"/>
                  </a:cubicBezTo>
                  <a:cubicBezTo>
                    <a:pt x="93932" y="48518"/>
                    <a:pt x="93293" y="47880"/>
                    <a:pt x="92654" y="47241"/>
                  </a:cubicBezTo>
                  <a:cubicBezTo>
                    <a:pt x="91376" y="45965"/>
                    <a:pt x="90737" y="44688"/>
                    <a:pt x="90737" y="42773"/>
                  </a:cubicBezTo>
                  <a:cubicBezTo>
                    <a:pt x="90737" y="42134"/>
                    <a:pt x="90737" y="40857"/>
                    <a:pt x="91376" y="40219"/>
                  </a:cubicBezTo>
                  <a:cubicBezTo>
                    <a:pt x="92015" y="39581"/>
                    <a:pt x="92015" y="38942"/>
                    <a:pt x="92654" y="38304"/>
                  </a:cubicBezTo>
                  <a:cubicBezTo>
                    <a:pt x="93293" y="38304"/>
                    <a:pt x="93293" y="37665"/>
                    <a:pt x="93293" y="37665"/>
                  </a:cubicBezTo>
                  <a:cubicBezTo>
                    <a:pt x="93932" y="37665"/>
                    <a:pt x="93932" y="37027"/>
                    <a:pt x="94571" y="37027"/>
                  </a:cubicBezTo>
                  <a:cubicBezTo>
                    <a:pt x="95210" y="37027"/>
                    <a:pt x="95210" y="37027"/>
                    <a:pt x="95849" y="36389"/>
                  </a:cubicBezTo>
                  <a:cubicBezTo>
                    <a:pt x="97127" y="36389"/>
                    <a:pt x="98405" y="36389"/>
                    <a:pt x="99683" y="37027"/>
                  </a:cubicBezTo>
                  <a:cubicBezTo>
                    <a:pt x="100322" y="37027"/>
                    <a:pt x="100961" y="37665"/>
                    <a:pt x="101600" y="38304"/>
                  </a:cubicBezTo>
                  <a:cubicBezTo>
                    <a:pt x="102239" y="38942"/>
                    <a:pt x="102878" y="39581"/>
                    <a:pt x="102878" y="40219"/>
                  </a:cubicBezTo>
                  <a:cubicBezTo>
                    <a:pt x="103517" y="40857"/>
                    <a:pt x="103517" y="41496"/>
                    <a:pt x="103517" y="42773"/>
                  </a:cubicBezTo>
                  <a:cubicBezTo>
                    <a:pt x="102878" y="44688"/>
                    <a:pt x="102239" y="45965"/>
                    <a:pt x="101600" y="472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6" name="Graphic 4">
              <a:extLst>
                <a:ext uri="{FF2B5EF4-FFF2-40B4-BE49-F238E27FC236}">
                  <a16:creationId xmlns:a16="http://schemas.microsoft.com/office/drawing/2014/main" id="{5D18CD7A-2DEA-4902-540C-26C765F346EA}"/>
                </a:ext>
              </a:extLst>
            </p:cNvPr>
            <p:cNvSpPr/>
            <p:nvPr/>
          </p:nvSpPr>
          <p:spPr>
            <a:xfrm>
              <a:off x="905454" y="91817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83713 w 361670"/>
                <a:gd name="connsiteY5" fmla="*/ 187051 h 361333"/>
                <a:gd name="connsiteX6" fmla="*/ 274128 w 361670"/>
                <a:gd name="connsiteY6" fmla="*/ 190881 h 361333"/>
                <a:gd name="connsiteX7" fmla="*/ 258154 w 361670"/>
                <a:gd name="connsiteY7" fmla="*/ 190881 h 361333"/>
                <a:gd name="connsiteX8" fmla="*/ 244096 w 361670"/>
                <a:gd name="connsiteY8" fmla="*/ 215779 h 361333"/>
                <a:gd name="connsiteX9" fmla="*/ 243457 w 361670"/>
                <a:gd name="connsiteY9" fmla="*/ 216417 h 361333"/>
                <a:gd name="connsiteX10" fmla="*/ 242818 w 361670"/>
                <a:gd name="connsiteY10" fmla="*/ 217055 h 361333"/>
                <a:gd name="connsiteX11" fmla="*/ 241540 w 361670"/>
                <a:gd name="connsiteY11" fmla="*/ 217694 h 361333"/>
                <a:gd name="connsiteX12" fmla="*/ 240901 w 361670"/>
                <a:gd name="connsiteY12" fmla="*/ 218332 h 361333"/>
                <a:gd name="connsiteX13" fmla="*/ 238984 w 361670"/>
                <a:gd name="connsiteY13" fmla="*/ 218971 h 361333"/>
                <a:gd name="connsiteX14" fmla="*/ 238984 w 361670"/>
                <a:gd name="connsiteY14" fmla="*/ 218971 h 361333"/>
                <a:gd name="connsiteX15" fmla="*/ 237706 w 361670"/>
                <a:gd name="connsiteY15" fmla="*/ 218971 h 361333"/>
                <a:gd name="connsiteX16" fmla="*/ 235789 w 361670"/>
                <a:gd name="connsiteY16" fmla="*/ 218971 h 361333"/>
                <a:gd name="connsiteX17" fmla="*/ 235150 w 361670"/>
                <a:gd name="connsiteY17" fmla="*/ 218971 h 361333"/>
                <a:gd name="connsiteX18" fmla="*/ 234511 w 361670"/>
                <a:gd name="connsiteY18" fmla="*/ 218971 h 361333"/>
                <a:gd name="connsiteX19" fmla="*/ 234511 w 361670"/>
                <a:gd name="connsiteY19" fmla="*/ 218971 h 361333"/>
                <a:gd name="connsiteX20" fmla="*/ 233233 w 361670"/>
                <a:gd name="connsiteY20" fmla="*/ 217694 h 361333"/>
                <a:gd name="connsiteX21" fmla="*/ 232594 w 361670"/>
                <a:gd name="connsiteY21" fmla="*/ 217055 h 361333"/>
                <a:gd name="connsiteX22" fmla="*/ 231955 w 361670"/>
                <a:gd name="connsiteY22" fmla="*/ 215779 h 361333"/>
                <a:gd name="connsiteX23" fmla="*/ 231955 w 361670"/>
                <a:gd name="connsiteY23" fmla="*/ 215140 h 361333"/>
                <a:gd name="connsiteX24" fmla="*/ 231955 w 361670"/>
                <a:gd name="connsiteY24" fmla="*/ 215140 h 361333"/>
                <a:gd name="connsiteX25" fmla="*/ 226843 w 361670"/>
                <a:gd name="connsiteY25" fmla="*/ 194073 h 361333"/>
                <a:gd name="connsiteX26" fmla="*/ 210868 w 361670"/>
                <a:gd name="connsiteY26" fmla="*/ 194073 h 361333"/>
                <a:gd name="connsiteX27" fmla="*/ 210868 w 361670"/>
                <a:gd name="connsiteY27" fmla="*/ 243868 h 361333"/>
                <a:gd name="connsiteX28" fmla="*/ 198727 w 361670"/>
                <a:gd name="connsiteY28" fmla="*/ 257275 h 361333"/>
                <a:gd name="connsiteX29" fmla="*/ 129077 w 361670"/>
                <a:gd name="connsiteY29" fmla="*/ 257275 h 361333"/>
                <a:gd name="connsiteX30" fmla="*/ 124604 w 361670"/>
                <a:gd name="connsiteY30" fmla="*/ 275788 h 361333"/>
                <a:gd name="connsiteX31" fmla="*/ 124604 w 361670"/>
                <a:gd name="connsiteY31" fmla="*/ 275788 h 361333"/>
                <a:gd name="connsiteX32" fmla="*/ 124604 w 361670"/>
                <a:gd name="connsiteY32" fmla="*/ 276426 h 361333"/>
                <a:gd name="connsiteX33" fmla="*/ 123965 w 361670"/>
                <a:gd name="connsiteY33" fmla="*/ 277703 h 361333"/>
                <a:gd name="connsiteX34" fmla="*/ 123326 w 361670"/>
                <a:gd name="connsiteY34" fmla="*/ 278342 h 361333"/>
                <a:gd name="connsiteX35" fmla="*/ 122048 w 361670"/>
                <a:gd name="connsiteY35" fmla="*/ 279618 h 361333"/>
                <a:gd name="connsiteX36" fmla="*/ 122048 w 361670"/>
                <a:gd name="connsiteY36" fmla="*/ 279618 h 361333"/>
                <a:gd name="connsiteX37" fmla="*/ 121409 w 361670"/>
                <a:gd name="connsiteY37" fmla="*/ 279618 h 361333"/>
                <a:gd name="connsiteX38" fmla="*/ 120770 w 361670"/>
                <a:gd name="connsiteY38" fmla="*/ 279618 h 361333"/>
                <a:gd name="connsiteX39" fmla="*/ 118853 w 361670"/>
                <a:gd name="connsiteY39" fmla="*/ 279618 h 361333"/>
                <a:gd name="connsiteX40" fmla="*/ 117575 w 361670"/>
                <a:gd name="connsiteY40" fmla="*/ 279618 h 361333"/>
                <a:gd name="connsiteX41" fmla="*/ 117575 w 361670"/>
                <a:gd name="connsiteY41" fmla="*/ 279618 h 361333"/>
                <a:gd name="connsiteX42" fmla="*/ 115658 w 361670"/>
                <a:gd name="connsiteY42" fmla="*/ 278980 h 361333"/>
                <a:gd name="connsiteX43" fmla="*/ 115019 w 361670"/>
                <a:gd name="connsiteY43" fmla="*/ 278342 h 361333"/>
                <a:gd name="connsiteX44" fmla="*/ 113741 w 361670"/>
                <a:gd name="connsiteY44" fmla="*/ 277703 h 361333"/>
                <a:gd name="connsiteX45" fmla="*/ 113102 w 361670"/>
                <a:gd name="connsiteY45" fmla="*/ 277065 h 361333"/>
                <a:gd name="connsiteX46" fmla="*/ 112463 w 361670"/>
                <a:gd name="connsiteY46" fmla="*/ 276426 h 361333"/>
                <a:gd name="connsiteX47" fmla="*/ 100322 w 361670"/>
                <a:gd name="connsiteY47" fmla="*/ 254721 h 361333"/>
                <a:gd name="connsiteX48" fmla="*/ 86264 w 361670"/>
                <a:gd name="connsiteY48" fmla="*/ 254721 h 361333"/>
                <a:gd name="connsiteX49" fmla="*/ 86264 w 361670"/>
                <a:gd name="connsiteY49" fmla="*/ 254721 h 361333"/>
                <a:gd name="connsiteX50" fmla="*/ 77318 w 361670"/>
                <a:gd name="connsiteY50" fmla="*/ 250891 h 361333"/>
                <a:gd name="connsiteX51" fmla="*/ 72845 w 361670"/>
                <a:gd name="connsiteY51" fmla="*/ 239399 h 361333"/>
                <a:gd name="connsiteX52" fmla="*/ 74123 w 361670"/>
                <a:gd name="connsiteY52" fmla="*/ 168537 h 361333"/>
                <a:gd name="connsiteX53" fmla="*/ 86264 w 361670"/>
                <a:gd name="connsiteY53" fmla="*/ 155131 h 361333"/>
                <a:gd name="connsiteX54" fmla="*/ 135467 w 361670"/>
                <a:gd name="connsiteY54" fmla="*/ 155131 h 361333"/>
                <a:gd name="connsiteX55" fmla="*/ 135467 w 361670"/>
                <a:gd name="connsiteY55" fmla="*/ 95760 h 361333"/>
                <a:gd name="connsiteX56" fmla="*/ 148886 w 361670"/>
                <a:gd name="connsiteY56" fmla="*/ 81077 h 361333"/>
                <a:gd name="connsiteX57" fmla="*/ 274128 w 361670"/>
                <a:gd name="connsiteY57" fmla="*/ 81077 h 361333"/>
                <a:gd name="connsiteX58" fmla="*/ 287547 w 361670"/>
                <a:gd name="connsiteY58" fmla="*/ 95760 h 361333"/>
                <a:gd name="connsiteX59" fmla="*/ 288825 w 361670"/>
                <a:gd name="connsiteY59" fmla="*/ 174283 h 361333"/>
                <a:gd name="connsiteX60" fmla="*/ 283713 w 361670"/>
                <a:gd name="connsiteY60" fmla="*/ 187051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83713" y="187051"/>
                  </a:moveTo>
                  <a:cubicBezTo>
                    <a:pt x="281157" y="189604"/>
                    <a:pt x="277962" y="190881"/>
                    <a:pt x="274128" y="190881"/>
                  </a:cubicBezTo>
                  <a:lnTo>
                    <a:pt x="258154" y="190881"/>
                  </a:lnTo>
                  <a:lnTo>
                    <a:pt x="244096" y="215779"/>
                  </a:lnTo>
                  <a:cubicBezTo>
                    <a:pt x="244096" y="215779"/>
                    <a:pt x="244096" y="215779"/>
                    <a:pt x="243457" y="216417"/>
                  </a:cubicBezTo>
                  <a:cubicBezTo>
                    <a:pt x="243457" y="216417"/>
                    <a:pt x="243457" y="217055"/>
                    <a:pt x="242818" y="217055"/>
                  </a:cubicBezTo>
                  <a:cubicBezTo>
                    <a:pt x="242818" y="217694"/>
                    <a:pt x="242179" y="217694"/>
                    <a:pt x="241540" y="217694"/>
                  </a:cubicBezTo>
                  <a:cubicBezTo>
                    <a:pt x="241540" y="217694"/>
                    <a:pt x="241540" y="217694"/>
                    <a:pt x="240901" y="218332"/>
                  </a:cubicBezTo>
                  <a:cubicBezTo>
                    <a:pt x="240262" y="218971"/>
                    <a:pt x="239623" y="218971"/>
                    <a:pt x="238984" y="218971"/>
                  </a:cubicBezTo>
                  <a:cubicBezTo>
                    <a:pt x="238984" y="218971"/>
                    <a:pt x="238984" y="218971"/>
                    <a:pt x="238984" y="218971"/>
                  </a:cubicBezTo>
                  <a:cubicBezTo>
                    <a:pt x="238345" y="218971"/>
                    <a:pt x="237706" y="218971"/>
                    <a:pt x="237706" y="218971"/>
                  </a:cubicBezTo>
                  <a:cubicBezTo>
                    <a:pt x="237067" y="218971"/>
                    <a:pt x="236428" y="218971"/>
                    <a:pt x="235789" y="218971"/>
                  </a:cubicBezTo>
                  <a:cubicBezTo>
                    <a:pt x="235789" y="218971"/>
                    <a:pt x="235150" y="218971"/>
                    <a:pt x="235150" y="218971"/>
                  </a:cubicBezTo>
                  <a:cubicBezTo>
                    <a:pt x="235150" y="218971"/>
                    <a:pt x="234511" y="218971"/>
                    <a:pt x="234511" y="218971"/>
                  </a:cubicBezTo>
                  <a:cubicBezTo>
                    <a:pt x="234511" y="218971"/>
                    <a:pt x="234511" y="218971"/>
                    <a:pt x="234511" y="218971"/>
                  </a:cubicBezTo>
                  <a:cubicBezTo>
                    <a:pt x="233872" y="218971"/>
                    <a:pt x="233872" y="218332"/>
                    <a:pt x="233233" y="217694"/>
                  </a:cubicBezTo>
                  <a:cubicBezTo>
                    <a:pt x="233233" y="217694"/>
                    <a:pt x="232594" y="217055"/>
                    <a:pt x="232594" y="217055"/>
                  </a:cubicBezTo>
                  <a:cubicBezTo>
                    <a:pt x="232594" y="216417"/>
                    <a:pt x="231955" y="216417"/>
                    <a:pt x="231955" y="215779"/>
                  </a:cubicBezTo>
                  <a:cubicBezTo>
                    <a:pt x="231955" y="215779"/>
                    <a:pt x="231955" y="215140"/>
                    <a:pt x="231955" y="215140"/>
                  </a:cubicBezTo>
                  <a:cubicBezTo>
                    <a:pt x="231955" y="215140"/>
                    <a:pt x="231955" y="215140"/>
                    <a:pt x="231955" y="215140"/>
                  </a:cubicBezTo>
                  <a:lnTo>
                    <a:pt x="226843" y="194073"/>
                  </a:lnTo>
                  <a:lnTo>
                    <a:pt x="210868" y="194073"/>
                  </a:lnTo>
                  <a:lnTo>
                    <a:pt x="210868" y="243868"/>
                  </a:lnTo>
                  <a:cubicBezTo>
                    <a:pt x="210868" y="251529"/>
                    <a:pt x="205117" y="257275"/>
                    <a:pt x="198727" y="257275"/>
                  </a:cubicBezTo>
                  <a:lnTo>
                    <a:pt x="129077" y="257275"/>
                  </a:lnTo>
                  <a:lnTo>
                    <a:pt x="124604" y="275788"/>
                  </a:lnTo>
                  <a:cubicBezTo>
                    <a:pt x="124604" y="275788"/>
                    <a:pt x="124604" y="275788"/>
                    <a:pt x="124604" y="275788"/>
                  </a:cubicBezTo>
                  <a:cubicBezTo>
                    <a:pt x="124604" y="275788"/>
                    <a:pt x="124604" y="276426"/>
                    <a:pt x="124604" y="276426"/>
                  </a:cubicBezTo>
                  <a:cubicBezTo>
                    <a:pt x="124604" y="277065"/>
                    <a:pt x="123965" y="277703"/>
                    <a:pt x="123965" y="277703"/>
                  </a:cubicBezTo>
                  <a:cubicBezTo>
                    <a:pt x="123965" y="277703"/>
                    <a:pt x="123326" y="278342"/>
                    <a:pt x="123326" y="278342"/>
                  </a:cubicBezTo>
                  <a:cubicBezTo>
                    <a:pt x="122687" y="278980"/>
                    <a:pt x="122687" y="278980"/>
                    <a:pt x="122048" y="279618"/>
                  </a:cubicBezTo>
                  <a:cubicBezTo>
                    <a:pt x="122048" y="279618"/>
                    <a:pt x="122048" y="279618"/>
                    <a:pt x="122048" y="279618"/>
                  </a:cubicBezTo>
                  <a:cubicBezTo>
                    <a:pt x="122048" y="279618"/>
                    <a:pt x="121409" y="279618"/>
                    <a:pt x="121409" y="279618"/>
                  </a:cubicBezTo>
                  <a:cubicBezTo>
                    <a:pt x="121409" y="279618"/>
                    <a:pt x="120770" y="279618"/>
                    <a:pt x="120770" y="279618"/>
                  </a:cubicBezTo>
                  <a:cubicBezTo>
                    <a:pt x="120131" y="279618"/>
                    <a:pt x="119492" y="279618"/>
                    <a:pt x="118853" y="279618"/>
                  </a:cubicBezTo>
                  <a:cubicBezTo>
                    <a:pt x="118214" y="279618"/>
                    <a:pt x="117575" y="279618"/>
                    <a:pt x="117575" y="279618"/>
                  </a:cubicBezTo>
                  <a:cubicBezTo>
                    <a:pt x="117575" y="279618"/>
                    <a:pt x="117575" y="279618"/>
                    <a:pt x="117575" y="279618"/>
                  </a:cubicBezTo>
                  <a:cubicBezTo>
                    <a:pt x="116936" y="279618"/>
                    <a:pt x="116297" y="278980"/>
                    <a:pt x="115658" y="278980"/>
                  </a:cubicBezTo>
                  <a:cubicBezTo>
                    <a:pt x="115658" y="278980"/>
                    <a:pt x="115658" y="278980"/>
                    <a:pt x="115019" y="278342"/>
                  </a:cubicBezTo>
                  <a:cubicBezTo>
                    <a:pt x="114380" y="278342"/>
                    <a:pt x="114380" y="277703"/>
                    <a:pt x="113741" y="277703"/>
                  </a:cubicBezTo>
                  <a:cubicBezTo>
                    <a:pt x="113741" y="277703"/>
                    <a:pt x="113741" y="277065"/>
                    <a:pt x="113102" y="277065"/>
                  </a:cubicBezTo>
                  <a:cubicBezTo>
                    <a:pt x="113102" y="277065"/>
                    <a:pt x="113102" y="277065"/>
                    <a:pt x="112463" y="276426"/>
                  </a:cubicBezTo>
                  <a:lnTo>
                    <a:pt x="100322" y="254721"/>
                  </a:lnTo>
                  <a:lnTo>
                    <a:pt x="86264" y="254721"/>
                  </a:lnTo>
                  <a:cubicBezTo>
                    <a:pt x="86264" y="254721"/>
                    <a:pt x="86264" y="254721"/>
                    <a:pt x="86264" y="254721"/>
                  </a:cubicBezTo>
                  <a:cubicBezTo>
                    <a:pt x="83069" y="254721"/>
                    <a:pt x="79874" y="253444"/>
                    <a:pt x="77318" y="250891"/>
                  </a:cubicBezTo>
                  <a:cubicBezTo>
                    <a:pt x="74123" y="247699"/>
                    <a:pt x="72845" y="243868"/>
                    <a:pt x="72845" y="239399"/>
                  </a:cubicBezTo>
                  <a:lnTo>
                    <a:pt x="74123" y="168537"/>
                  </a:lnTo>
                  <a:cubicBezTo>
                    <a:pt x="74123" y="160876"/>
                    <a:pt x="79874" y="155131"/>
                    <a:pt x="86264" y="155131"/>
                  </a:cubicBezTo>
                  <a:lnTo>
                    <a:pt x="135467" y="155131"/>
                  </a:lnTo>
                  <a:lnTo>
                    <a:pt x="135467" y="95760"/>
                  </a:lnTo>
                  <a:cubicBezTo>
                    <a:pt x="135467" y="87461"/>
                    <a:pt x="141218" y="81077"/>
                    <a:pt x="148886" y="81077"/>
                  </a:cubicBezTo>
                  <a:lnTo>
                    <a:pt x="274128" y="81077"/>
                  </a:lnTo>
                  <a:cubicBezTo>
                    <a:pt x="281157" y="81077"/>
                    <a:pt x="287547" y="87461"/>
                    <a:pt x="287547" y="95760"/>
                  </a:cubicBezTo>
                  <a:lnTo>
                    <a:pt x="288825" y="174283"/>
                  </a:lnTo>
                  <a:cubicBezTo>
                    <a:pt x="288825" y="179390"/>
                    <a:pt x="286908" y="183859"/>
                    <a:pt x="283713" y="1870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77" name="Graphic 4">
            <a:extLst>
              <a:ext uri="{FF2B5EF4-FFF2-40B4-BE49-F238E27FC236}">
                <a16:creationId xmlns:a16="http://schemas.microsoft.com/office/drawing/2014/main" id="{8DE588E4-703D-F2B1-BE76-8EDE323EE3F9}"/>
              </a:ext>
            </a:extLst>
          </p:cNvPr>
          <p:cNvGrpSpPr>
            <a:grpSpLocks noChangeAspect="1"/>
          </p:cNvGrpSpPr>
          <p:nvPr/>
        </p:nvGrpSpPr>
        <p:grpSpPr>
          <a:xfrm>
            <a:off x="8114255" y="3162735"/>
            <a:ext cx="457200" cy="456775"/>
            <a:chOff x="905454" y="3339623"/>
            <a:chExt cx="361670" cy="361333"/>
          </a:xfrm>
          <a:solidFill>
            <a:srgbClr val="023FC6"/>
          </a:solidFill>
        </p:grpSpPr>
        <p:sp>
          <p:nvSpPr>
            <p:cNvPr id="1178" name="Graphic 4">
              <a:extLst>
                <a:ext uri="{FF2B5EF4-FFF2-40B4-BE49-F238E27FC236}">
                  <a16:creationId xmlns:a16="http://schemas.microsoft.com/office/drawing/2014/main" id="{4A298E14-A1D9-EFDF-910D-DE82874FCD75}"/>
                </a:ext>
              </a:extLst>
            </p:cNvPr>
            <p:cNvSpPr/>
            <p:nvPr/>
          </p:nvSpPr>
          <p:spPr>
            <a:xfrm>
              <a:off x="1060729" y="3444959"/>
              <a:ext cx="100961" cy="100866"/>
            </a:xfrm>
            <a:custGeom>
              <a:avLst/>
              <a:gdLst>
                <a:gd name="connsiteX0" fmla="*/ 81152 w 100961"/>
                <a:gd name="connsiteY0" fmla="*/ 40219 h 100866"/>
                <a:gd name="connsiteX1" fmla="*/ 91376 w 100961"/>
                <a:gd name="connsiteY1" fmla="*/ 9576 h 100866"/>
                <a:gd name="connsiteX2" fmla="*/ 60704 w 100961"/>
                <a:gd name="connsiteY2" fmla="*/ 19790 h 100866"/>
                <a:gd name="connsiteX3" fmla="*/ 54954 w 100961"/>
                <a:gd name="connsiteY3" fmla="*/ 19152 h 100866"/>
                <a:gd name="connsiteX4" fmla="*/ 28755 w 100961"/>
                <a:gd name="connsiteY4" fmla="*/ 0 h 100866"/>
                <a:gd name="connsiteX5" fmla="*/ 29394 w 100961"/>
                <a:gd name="connsiteY5" fmla="*/ 32558 h 100866"/>
                <a:gd name="connsiteX6" fmla="*/ 26838 w 100961"/>
                <a:gd name="connsiteY6" fmla="*/ 37666 h 100866"/>
                <a:gd name="connsiteX7" fmla="*/ 0 w 100961"/>
                <a:gd name="connsiteY7" fmla="*/ 56179 h 100866"/>
                <a:gd name="connsiteX8" fmla="*/ 31311 w 100961"/>
                <a:gd name="connsiteY8" fmla="*/ 65755 h 100866"/>
                <a:gd name="connsiteX9" fmla="*/ 31311 w 100961"/>
                <a:gd name="connsiteY9" fmla="*/ 65755 h 100866"/>
                <a:gd name="connsiteX10" fmla="*/ 33867 w 100961"/>
                <a:gd name="connsiteY10" fmla="*/ 67032 h 100866"/>
                <a:gd name="connsiteX11" fmla="*/ 33867 w 100961"/>
                <a:gd name="connsiteY11" fmla="*/ 67032 h 100866"/>
                <a:gd name="connsiteX12" fmla="*/ 35145 w 100961"/>
                <a:gd name="connsiteY12" fmla="*/ 69586 h 100866"/>
                <a:gd name="connsiteX13" fmla="*/ 35145 w 100961"/>
                <a:gd name="connsiteY13" fmla="*/ 69586 h 100866"/>
                <a:gd name="connsiteX14" fmla="*/ 44730 w 100961"/>
                <a:gd name="connsiteY14" fmla="*/ 100867 h 100866"/>
                <a:gd name="connsiteX15" fmla="*/ 63260 w 100961"/>
                <a:gd name="connsiteY15" fmla="*/ 74054 h 100866"/>
                <a:gd name="connsiteX16" fmla="*/ 68372 w 100961"/>
                <a:gd name="connsiteY16" fmla="*/ 71501 h 100866"/>
                <a:gd name="connsiteX17" fmla="*/ 100961 w 100961"/>
                <a:gd name="connsiteY17" fmla="*/ 72139 h 100866"/>
                <a:gd name="connsiteX18" fmla="*/ 81791 w 100961"/>
                <a:gd name="connsiteY18" fmla="*/ 45965 h 100866"/>
                <a:gd name="connsiteX19" fmla="*/ 81152 w 100961"/>
                <a:gd name="connsiteY19" fmla="*/ 40219 h 10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961" h="100866">
                  <a:moveTo>
                    <a:pt x="81152" y="40219"/>
                  </a:moveTo>
                  <a:lnTo>
                    <a:pt x="91376" y="9576"/>
                  </a:lnTo>
                  <a:lnTo>
                    <a:pt x="60704" y="19790"/>
                  </a:lnTo>
                  <a:cubicBezTo>
                    <a:pt x="58787" y="20429"/>
                    <a:pt x="56231" y="20429"/>
                    <a:pt x="54954" y="19152"/>
                  </a:cubicBezTo>
                  <a:lnTo>
                    <a:pt x="28755" y="0"/>
                  </a:lnTo>
                  <a:lnTo>
                    <a:pt x="29394" y="32558"/>
                  </a:lnTo>
                  <a:cubicBezTo>
                    <a:pt x="29394" y="34474"/>
                    <a:pt x="28116" y="36389"/>
                    <a:pt x="26838" y="37666"/>
                  </a:cubicBezTo>
                  <a:lnTo>
                    <a:pt x="0" y="56179"/>
                  </a:lnTo>
                  <a:lnTo>
                    <a:pt x="31311" y="65755"/>
                  </a:lnTo>
                  <a:cubicBezTo>
                    <a:pt x="31311" y="65755"/>
                    <a:pt x="31311" y="65755"/>
                    <a:pt x="31311" y="65755"/>
                  </a:cubicBezTo>
                  <a:cubicBezTo>
                    <a:pt x="31950" y="65755"/>
                    <a:pt x="33228" y="66394"/>
                    <a:pt x="33867" y="67032"/>
                  </a:cubicBezTo>
                  <a:cubicBezTo>
                    <a:pt x="33867" y="67032"/>
                    <a:pt x="33867" y="67032"/>
                    <a:pt x="33867" y="67032"/>
                  </a:cubicBezTo>
                  <a:cubicBezTo>
                    <a:pt x="34506" y="67670"/>
                    <a:pt x="35145" y="68309"/>
                    <a:pt x="35145" y="69586"/>
                  </a:cubicBezTo>
                  <a:cubicBezTo>
                    <a:pt x="35145" y="69586"/>
                    <a:pt x="35145" y="69586"/>
                    <a:pt x="35145" y="69586"/>
                  </a:cubicBezTo>
                  <a:lnTo>
                    <a:pt x="44730" y="100867"/>
                  </a:lnTo>
                  <a:lnTo>
                    <a:pt x="63260" y="74054"/>
                  </a:lnTo>
                  <a:cubicBezTo>
                    <a:pt x="64538" y="72139"/>
                    <a:pt x="66455" y="71501"/>
                    <a:pt x="68372" y="71501"/>
                  </a:cubicBezTo>
                  <a:lnTo>
                    <a:pt x="100961" y="72139"/>
                  </a:lnTo>
                  <a:lnTo>
                    <a:pt x="81791" y="45965"/>
                  </a:lnTo>
                  <a:cubicBezTo>
                    <a:pt x="81152" y="44688"/>
                    <a:pt x="80513" y="42773"/>
                    <a:pt x="81152" y="402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9" name="Graphic 4">
              <a:extLst>
                <a:ext uri="{FF2B5EF4-FFF2-40B4-BE49-F238E27FC236}">
                  <a16:creationId xmlns:a16="http://schemas.microsoft.com/office/drawing/2014/main" id="{BDFD09C3-D45E-A842-F0B2-2E061F573721}"/>
                </a:ext>
              </a:extLst>
            </p:cNvPr>
            <p:cNvSpPr/>
            <p:nvPr/>
          </p:nvSpPr>
          <p:spPr>
            <a:xfrm>
              <a:off x="905454"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75406 w 361670"/>
                <a:gd name="connsiteY5" fmla="*/ 187051 h 361333"/>
                <a:gd name="connsiteX6" fmla="*/ 269655 w 361670"/>
                <a:gd name="connsiteY6" fmla="*/ 190243 h 361333"/>
                <a:gd name="connsiteX7" fmla="*/ 227482 w 361670"/>
                <a:gd name="connsiteY7" fmla="*/ 189604 h 361333"/>
                <a:gd name="connsiteX8" fmla="*/ 203200 w 361670"/>
                <a:gd name="connsiteY8" fmla="*/ 224078 h 361333"/>
                <a:gd name="connsiteX9" fmla="*/ 198088 w 361670"/>
                <a:gd name="connsiteY9" fmla="*/ 226631 h 361333"/>
                <a:gd name="connsiteX10" fmla="*/ 196810 w 361670"/>
                <a:gd name="connsiteY10" fmla="*/ 226631 h 361333"/>
                <a:gd name="connsiteX11" fmla="*/ 191698 w 361670"/>
                <a:gd name="connsiteY11" fmla="*/ 222163 h 361333"/>
                <a:gd name="connsiteX12" fmla="*/ 181474 w 361670"/>
                <a:gd name="connsiteY12" fmla="*/ 188966 h 361333"/>
                <a:gd name="connsiteX13" fmla="*/ 96488 w 361670"/>
                <a:gd name="connsiteY13" fmla="*/ 273873 h 361333"/>
                <a:gd name="connsiteX14" fmla="*/ 92015 w 361670"/>
                <a:gd name="connsiteY14" fmla="*/ 275788 h 361333"/>
                <a:gd name="connsiteX15" fmla="*/ 87542 w 361670"/>
                <a:gd name="connsiteY15" fmla="*/ 273873 h 361333"/>
                <a:gd name="connsiteX16" fmla="*/ 87542 w 361670"/>
                <a:gd name="connsiteY16" fmla="*/ 264935 h 361333"/>
                <a:gd name="connsiteX17" fmla="*/ 172528 w 361670"/>
                <a:gd name="connsiteY17" fmla="*/ 180028 h 361333"/>
                <a:gd name="connsiteX18" fmla="*/ 139301 w 361670"/>
                <a:gd name="connsiteY18" fmla="*/ 169814 h 361333"/>
                <a:gd name="connsiteX19" fmla="*/ 134828 w 361670"/>
                <a:gd name="connsiteY19" fmla="*/ 164707 h 361333"/>
                <a:gd name="connsiteX20" fmla="*/ 137384 w 361670"/>
                <a:gd name="connsiteY20" fmla="*/ 158323 h 361333"/>
                <a:gd name="connsiteX21" fmla="*/ 171889 w 361670"/>
                <a:gd name="connsiteY21" fmla="*/ 134064 h 361333"/>
                <a:gd name="connsiteX22" fmla="*/ 171250 w 361670"/>
                <a:gd name="connsiteY22" fmla="*/ 91930 h 361333"/>
                <a:gd name="connsiteX23" fmla="*/ 174445 w 361670"/>
                <a:gd name="connsiteY23" fmla="*/ 86184 h 361333"/>
                <a:gd name="connsiteX24" fmla="*/ 181474 w 361670"/>
                <a:gd name="connsiteY24" fmla="*/ 86822 h 361333"/>
                <a:gd name="connsiteX25" fmla="*/ 215341 w 361670"/>
                <a:gd name="connsiteY25" fmla="*/ 111720 h 361333"/>
                <a:gd name="connsiteX26" fmla="*/ 254959 w 361670"/>
                <a:gd name="connsiteY26" fmla="*/ 98313 h 361333"/>
                <a:gd name="connsiteX27" fmla="*/ 261348 w 361670"/>
                <a:gd name="connsiteY27" fmla="*/ 99590 h 361333"/>
                <a:gd name="connsiteX28" fmla="*/ 262626 w 361670"/>
                <a:gd name="connsiteY28" fmla="*/ 105974 h 361333"/>
                <a:gd name="connsiteX29" fmla="*/ 249208 w 361670"/>
                <a:gd name="connsiteY29" fmla="*/ 145555 h 361333"/>
                <a:gd name="connsiteX30" fmla="*/ 274128 w 361670"/>
                <a:gd name="connsiteY30" fmla="*/ 179390 h 361333"/>
                <a:gd name="connsiteX31" fmla="*/ 275406 w 361670"/>
                <a:gd name="connsiteY31" fmla="*/ 187051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1157" y="0"/>
                    <a:pt x="180835" y="0"/>
                  </a:cubicBezTo>
                  <a:close/>
                  <a:moveTo>
                    <a:pt x="275406" y="187051"/>
                  </a:moveTo>
                  <a:cubicBezTo>
                    <a:pt x="274128" y="188966"/>
                    <a:pt x="272211" y="190881"/>
                    <a:pt x="269655" y="190243"/>
                  </a:cubicBezTo>
                  <a:lnTo>
                    <a:pt x="227482" y="189604"/>
                  </a:lnTo>
                  <a:lnTo>
                    <a:pt x="203200" y="224078"/>
                  </a:lnTo>
                  <a:cubicBezTo>
                    <a:pt x="201922" y="225993"/>
                    <a:pt x="200005" y="226631"/>
                    <a:pt x="198088" y="226631"/>
                  </a:cubicBezTo>
                  <a:cubicBezTo>
                    <a:pt x="197449" y="226631"/>
                    <a:pt x="197449" y="226631"/>
                    <a:pt x="196810" y="226631"/>
                  </a:cubicBezTo>
                  <a:cubicBezTo>
                    <a:pt x="194254" y="225993"/>
                    <a:pt x="192337" y="224716"/>
                    <a:pt x="191698" y="222163"/>
                  </a:cubicBezTo>
                  <a:lnTo>
                    <a:pt x="181474" y="188966"/>
                  </a:lnTo>
                  <a:lnTo>
                    <a:pt x="96488" y="273873"/>
                  </a:lnTo>
                  <a:cubicBezTo>
                    <a:pt x="95210" y="275149"/>
                    <a:pt x="93293" y="275788"/>
                    <a:pt x="92015" y="275788"/>
                  </a:cubicBezTo>
                  <a:cubicBezTo>
                    <a:pt x="90737" y="275788"/>
                    <a:pt x="88820" y="275149"/>
                    <a:pt x="87542" y="273873"/>
                  </a:cubicBezTo>
                  <a:cubicBezTo>
                    <a:pt x="84986" y="271319"/>
                    <a:pt x="84986" y="267489"/>
                    <a:pt x="87542" y="264935"/>
                  </a:cubicBezTo>
                  <a:lnTo>
                    <a:pt x="172528" y="180028"/>
                  </a:lnTo>
                  <a:lnTo>
                    <a:pt x="139301" y="169814"/>
                  </a:lnTo>
                  <a:cubicBezTo>
                    <a:pt x="136745" y="169176"/>
                    <a:pt x="135467" y="167260"/>
                    <a:pt x="134828" y="164707"/>
                  </a:cubicBezTo>
                  <a:cubicBezTo>
                    <a:pt x="134189" y="162153"/>
                    <a:pt x="135467" y="159600"/>
                    <a:pt x="137384" y="158323"/>
                  </a:cubicBezTo>
                  <a:lnTo>
                    <a:pt x="171889" y="134064"/>
                  </a:lnTo>
                  <a:lnTo>
                    <a:pt x="171250" y="91930"/>
                  </a:lnTo>
                  <a:cubicBezTo>
                    <a:pt x="171250" y="89376"/>
                    <a:pt x="172528" y="87461"/>
                    <a:pt x="174445" y="86184"/>
                  </a:cubicBezTo>
                  <a:cubicBezTo>
                    <a:pt x="176362" y="84907"/>
                    <a:pt x="178918" y="85546"/>
                    <a:pt x="181474" y="86822"/>
                  </a:cubicBezTo>
                  <a:lnTo>
                    <a:pt x="215341" y="111720"/>
                  </a:lnTo>
                  <a:lnTo>
                    <a:pt x="254959" y="98313"/>
                  </a:lnTo>
                  <a:cubicBezTo>
                    <a:pt x="257514" y="97675"/>
                    <a:pt x="260070" y="98313"/>
                    <a:pt x="261348" y="99590"/>
                  </a:cubicBezTo>
                  <a:cubicBezTo>
                    <a:pt x="263265" y="101505"/>
                    <a:pt x="263904" y="104059"/>
                    <a:pt x="262626" y="105974"/>
                  </a:cubicBezTo>
                  <a:lnTo>
                    <a:pt x="249208" y="145555"/>
                  </a:lnTo>
                  <a:lnTo>
                    <a:pt x="274128" y="179390"/>
                  </a:lnTo>
                  <a:cubicBezTo>
                    <a:pt x="276684" y="182582"/>
                    <a:pt x="276684" y="185135"/>
                    <a:pt x="275406" y="1870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80" name="TextBox 1179">
            <a:extLst>
              <a:ext uri="{FF2B5EF4-FFF2-40B4-BE49-F238E27FC236}">
                <a16:creationId xmlns:a16="http://schemas.microsoft.com/office/drawing/2014/main" id="{9599BF26-CFEC-850B-DA8E-AFB4A540C33F}"/>
              </a:ext>
            </a:extLst>
          </p:cNvPr>
          <p:cNvSpPr txBox="1"/>
          <p:nvPr/>
        </p:nvSpPr>
        <p:spPr>
          <a:xfrm>
            <a:off x="883333" y="1828214"/>
            <a:ext cx="292320" cy="4572000"/>
          </a:xfrm>
          <a:prstGeom prst="roundRect">
            <a:avLst/>
          </a:prstGeom>
          <a:solidFill>
            <a:schemeClr val="accent2">
              <a:lumMod val="20000"/>
              <a:lumOff val="80000"/>
            </a:schemeClr>
          </a:solidFill>
        </p:spPr>
        <p:txBody>
          <a:bodyPr vert="vert270"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Use case ideas</a:t>
            </a:r>
            <a:endParaRPr kumimoji="0" lang="en-US" sz="1050" b="0" i="0" u="none" strike="noStrike" kern="1200" cap="none" spc="0" normalizeH="0" baseline="0" noProof="0" dirty="0">
              <a:ln>
                <a:noFill/>
              </a:ln>
              <a:solidFill>
                <a:schemeClr val="tx1">
                  <a:lumMod val="95000"/>
                  <a:lumOff val="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81" name="Isosceles Triangle 1180">
            <a:extLst>
              <a:ext uri="{FF2B5EF4-FFF2-40B4-BE49-F238E27FC236}">
                <a16:creationId xmlns:a16="http://schemas.microsoft.com/office/drawing/2014/main" id="{60FC85E8-7366-4FC6-C500-894018E65C0A}"/>
              </a:ext>
            </a:extLst>
          </p:cNvPr>
          <p:cNvSpPr/>
          <p:nvPr/>
        </p:nvSpPr>
        <p:spPr bwMode="gray">
          <a:xfrm rot="5400000">
            <a:off x="168849" y="3968053"/>
            <a:ext cx="2542902" cy="292322"/>
          </a:xfrm>
          <a:prstGeom prst="triangle">
            <a:avLst/>
          </a:prstGeom>
          <a:solidFill>
            <a:schemeClr val="accent2">
              <a:lumMod val="20000"/>
              <a:lumOff val="80000"/>
            </a:schemeClr>
          </a:solidFill>
        </p:spPr>
        <p:txBody>
          <a:bodyPr vert="vert270" wrap="square" lIns="0" tIns="0" rIns="0" bIns="0" rtlCol="0" anchor="ctr">
            <a:noAutofit/>
          </a:bodyPr>
          <a:lstStyle/>
          <a:p>
            <a:pPr algn="ctr"/>
            <a:endParaRPr lang="en-US" sz="12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82" name="Isosceles Triangle 1181">
            <a:extLst>
              <a:ext uri="{FF2B5EF4-FFF2-40B4-BE49-F238E27FC236}">
                <a16:creationId xmlns:a16="http://schemas.microsoft.com/office/drawing/2014/main" id="{C5A4ED4E-E236-C3C1-E178-438B031EAA97}"/>
              </a:ext>
            </a:extLst>
          </p:cNvPr>
          <p:cNvSpPr/>
          <p:nvPr/>
        </p:nvSpPr>
        <p:spPr bwMode="gray">
          <a:xfrm rot="5400000">
            <a:off x="8495363" y="3968053"/>
            <a:ext cx="2542902" cy="292322"/>
          </a:xfrm>
          <a:prstGeom prst="triangle">
            <a:avLst/>
          </a:prstGeom>
          <a:solidFill>
            <a:srgbClr val="C0EEEB"/>
          </a:solidFill>
        </p:spPr>
        <p:txBody>
          <a:bodyPr vert="vert270" wrap="square" lIns="0" tIns="0" rIns="0" bIns="0" rtlCol="0" anchor="ctr">
            <a:noAutofit/>
          </a:bodyPr>
          <a:lstStyle/>
          <a:p>
            <a:pPr algn="ctr"/>
            <a:endParaRPr lang="en-US" sz="12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83" name="TextBox 1182">
            <a:extLst>
              <a:ext uri="{FF2B5EF4-FFF2-40B4-BE49-F238E27FC236}">
                <a16:creationId xmlns:a16="http://schemas.microsoft.com/office/drawing/2014/main" id="{62C52E48-00F3-7612-A6FF-3DAEC23124F4}"/>
              </a:ext>
            </a:extLst>
          </p:cNvPr>
          <p:cNvSpPr txBox="1"/>
          <p:nvPr/>
        </p:nvSpPr>
        <p:spPr>
          <a:xfrm>
            <a:off x="10085498" y="1828214"/>
            <a:ext cx="292320" cy="4572000"/>
          </a:xfrm>
          <a:prstGeom prst="roundRect">
            <a:avLst/>
          </a:prstGeom>
          <a:solidFill>
            <a:srgbClr val="C0EEEB"/>
          </a:solidFill>
        </p:spPr>
        <p:txBody>
          <a:bodyPr vert="vert270"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Validated, functional prototypes, ready for scaling</a:t>
            </a:r>
            <a:endParaRPr kumimoji="0" lang="en-US" sz="1050" b="0" i="0" u="none" strike="noStrike" kern="1200" cap="none" spc="0" normalizeH="0" baseline="0" noProof="0" dirty="0">
              <a:ln>
                <a:noFill/>
              </a:ln>
              <a:solidFill>
                <a:schemeClr val="tx1">
                  <a:lumMod val="95000"/>
                  <a:lumOff val="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72212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8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0" grpId="0" animBg="1"/>
      <p:bldP spid="1183"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64" name="Title 1">
            <a:extLst>
              <a:ext uri="{FF2B5EF4-FFF2-40B4-BE49-F238E27FC236}">
                <a16:creationId xmlns:a16="http://schemas.microsoft.com/office/drawing/2014/main" id="{1F3B52A3-B03D-7D40-D424-16499B46190F}"/>
              </a:ext>
            </a:extLst>
          </p:cNvPr>
          <p:cNvSpPr>
            <a:spLocks noGrp="1"/>
          </p:cNvSpPr>
          <p:nvPr>
            <p:ph type="title"/>
          </p:nvPr>
        </p:nvSpPr>
        <p:spPr>
          <a:xfrm>
            <a:off x="896400" y="906411"/>
            <a:ext cx="10467780" cy="787400"/>
          </a:xfrm>
        </p:spPr>
        <p:txBody>
          <a:bodyPr vert="horz" anchor="t"/>
          <a:lstStyle/>
          <a:p>
            <a:r>
              <a:rPr lang="en-US" sz="1400" dirty="0">
                <a:solidFill>
                  <a:prstClr val="black"/>
                </a:solidFill>
                <a:latin typeface="Open Sans Light" panose="020B0306030504020204" pitchFamily="34" charset="0"/>
              </a:rPr>
              <a:t>Leveraging the TDSP (Team Data Science Process) framework, we ensure a systematic approach to transform raw data into actionable insights, optimizing every step for value delivery.</a:t>
            </a:r>
          </a:p>
        </p:txBody>
      </p:sp>
      <p:sp>
        <p:nvSpPr>
          <p:cNvPr id="1065" name="Title 1">
            <a:extLst>
              <a:ext uri="{FF2B5EF4-FFF2-40B4-BE49-F238E27FC236}">
                <a16:creationId xmlns:a16="http://schemas.microsoft.com/office/drawing/2014/main" id="{8C32C409-17A7-7830-F3B0-7E3C50591B1E}"/>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Data Science Methodology</a:t>
            </a:r>
          </a:p>
        </p:txBody>
      </p:sp>
      <p:sp>
        <p:nvSpPr>
          <p:cNvPr id="2" name="Freeform 2">
            <a:extLst>
              <a:ext uri="{FF2B5EF4-FFF2-40B4-BE49-F238E27FC236}">
                <a16:creationId xmlns:a16="http://schemas.microsoft.com/office/drawing/2014/main" id="{26F3A3E0-E84F-4963-0EFC-020375817DEA}"/>
              </a:ext>
            </a:extLst>
          </p:cNvPr>
          <p:cNvSpPr>
            <a:spLocks/>
          </p:cNvSpPr>
          <p:nvPr/>
        </p:nvSpPr>
        <p:spPr bwMode="blackWhite">
          <a:xfrm>
            <a:off x="5224835" y="3429000"/>
            <a:ext cx="1327167" cy="1801592"/>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rgbClr val="6EE5F2"/>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reeform 3">
            <a:extLst>
              <a:ext uri="{FF2B5EF4-FFF2-40B4-BE49-F238E27FC236}">
                <a16:creationId xmlns:a16="http://schemas.microsoft.com/office/drawing/2014/main" id="{91FB4BF6-AC5B-CD4A-DCB0-7E456680C7F4}"/>
              </a:ext>
            </a:extLst>
          </p:cNvPr>
          <p:cNvSpPr>
            <a:spLocks/>
          </p:cNvSpPr>
          <p:nvPr/>
        </p:nvSpPr>
        <p:spPr bwMode="blackWhite">
          <a:xfrm>
            <a:off x="4745049" y="2327603"/>
            <a:ext cx="1725289" cy="1495000"/>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 name="connsiteX0" fmla="*/ 2218 w 9991"/>
              <a:gd name="connsiteY0" fmla="*/ 9969 h 9990"/>
              <a:gd name="connsiteX1" fmla="*/ 7565 w 9991"/>
              <a:gd name="connsiteY1" fmla="*/ 9990 h 9990"/>
              <a:gd name="connsiteX2" fmla="*/ 8422 w 9991"/>
              <a:gd name="connsiteY2" fmla="*/ 8170 h 9990"/>
              <a:gd name="connsiteX3" fmla="*/ 9225 w 9991"/>
              <a:gd name="connsiteY3" fmla="*/ 6351 h 9990"/>
              <a:gd name="connsiteX4" fmla="*/ 9991 w 9991"/>
              <a:gd name="connsiteY4" fmla="*/ 4459 h 9990"/>
              <a:gd name="connsiteX5" fmla="*/ 8386 w 9991"/>
              <a:gd name="connsiteY5" fmla="*/ 5603 h 9990"/>
              <a:gd name="connsiteX6" fmla="*/ 7980 w 9991"/>
              <a:gd name="connsiteY6" fmla="*/ 4896 h 9990"/>
              <a:gd name="connsiteX7" fmla="*/ 7547 w 9991"/>
              <a:gd name="connsiteY7" fmla="*/ 4220 h 9990"/>
              <a:gd name="connsiteX8" fmla="*/ 7060 w 9991"/>
              <a:gd name="connsiteY8" fmla="*/ 3576 h 9990"/>
              <a:gd name="connsiteX9" fmla="*/ 6528 w 9991"/>
              <a:gd name="connsiteY9" fmla="*/ 2983 h 9990"/>
              <a:gd name="connsiteX10" fmla="*/ 5978 w 9991"/>
              <a:gd name="connsiteY10" fmla="*/ 2443 h 9990"/>
              <a:gd name="connsiteX11" fmla="*/ 5392 w 9991"/>
              <a:gd name="connsiteY11" fmla="*/ 1954 h 9990"/>
              <a:gd name="connsiteX12" fmla="*/ 4779 w 9991"/>
              <a:gd name="connsiteY12" fmla="*/ 1507 h 9990"/>
              <a:gd name="connsiteX13" fmla="*/ 4148 w 9991"/>
              <a:gd name="connsiteY13" fmla="*/ 1112 h 9990"/>
              <a:gd name="connsiteX14" fmla="*/ 3490 w 9991"/>
              <a:gd name="connsiteY14" fmla="*/ 780 h 9990"/>
              <a:gd name="connsiteX15" fmla="*/ 2804 w 9991"/>
              <a:gd name="connsiteY15" fmla="*/ 499 h 9990"/>
              <a:gd name="connsiteX16" fmla="*/ 2128 w 9991"/>
              <a:gd name="connsiteY16" fmla="*/ 281 h 9990"/>
              <a:gd name="connsiteX17" fmla="*/ 1425 w 9991"/>
              <a:gd name="connsiteY17" fmla="*/ 125 h 9990"/>
              <a:gd name="connsiteX18" fmla="*/ 712 w 9991"/>
              <a:gd name="connsiteY18" fmla="*/ 21 h 9990"/>
              <a:gd name="connsiteX19" fmla="*/ 0 w 9991"/>
              <a:gd name="connsiteY19" fmla="*/ 0 h 9990"/>
              <a:gd name="connsiteX20" fmla="*/ 1894 w 9991"/>
              <a:gd name="connsiteY20" fmla="*/ 2879 h 9990"/>
              <a:gd name="connsiteX21" fmla="*/ 625 w 9991"/>
              <a:gd name="connsiteY21" fmla="*/ 6191 h 9990"/>
              <a:gd name="connsiteX22" fmla="*/ 1208 w 9991"/>
              <a:gd name="connsiteY22" fmla="*/ 6383 h 9990"/>
              <a:gd name="connsiteX23" fmla="*/ 1677 w 9991"/>
              <a:gd name="connsiteY23" fmla="*/ 6559 h 9990"/>
              <a:gd name="connsiteX24" fmla="*/ 2128 w 9991"/>
              <a:gd name="connsiteY24" fmla="*/ 6798 h 9990"/>
              <a:gd name="connsiteX25" fmla="*/ 2552 w 9991"/>
              <a:gd name="connsiteY25" fmla="*/ 7079 h 9990"/>
              <a:gd name="connsiteX26" fmla="*/ 2958 w 9991"/>
              <a:gd name="connsiteY26" fmla="*/ 7432 h 9990"/>
              <a:gd name="connsiteX27" fmla="*/ 3336 w 9991"/>
              <a:gd name="connsiteY27" fmla="*/ 7817 h 9990"/>
              <a:gd name="connsiteX28" fmla="*/ 3679 w 9991"/>
              <a:gd name="connsiteY28" fmla="*/ 8233 h 9990"/>
              <a:gd name="connsiteX29" fmla="*/ 4022 w 9991"/>
              <a:gd name="connsiteY29" fmla="*/ 8701 h 9990"/>
              <a:gd name="connsiteX30" fmla="*/ 2218 w 9991"/>
              <a:gd name="connsiteY30" fmla="*/ 9969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1" h="9990">
                <a:moveTo>
                  <a:pt x="2218" y="9969"/>
                </a:moveTo>
                <a:lnTo>
                  <a:pt x="7565" y="9990"/>
                </a:lnTo>
                <a:lnTo>
                  <a:pt x="8422" y="8170"/>
                </a:lnTo>
                <a:lnTo>
                  <a:pt x="9225" y="6351"/>
                </a:lnTo>
                <a:lnTo>
                  <a:pt x="9991" y="4459"/>
                </a:lnTo>
                <a:lnTo>
                  <a:pt x="8386" y="5603"/>
                </a:lnTo>
                <a:lnTo>
                  <a:pt x="7980" y="4896"/>
                </a:lnTo>
                <a:lnTo>
                  <a:pt x="7547" y="4220"/>
                </a:lnTo>
                <a:lnTo>
                  <a:pt x="7060" y="3576"/>
                </a:lnTo>
                <a:lnTo>
                  <a:pt x="6528" y="2983"/>
                </a:lnTo>
                <a:lnTo>
                  <a:pt x="5978" y="2443"/>
                </a:lnTo>
                <a:lnTo>
                  <a:pt x="5392" y="1954"/>
                </a:lnTo>
                <a:lnTo>
                  <a:pt x="4779" y="1507"/>
                </a:lnTo>
                <a:lnTo>
                  <a:pt x="4148" y="1112"/>
                </a:lnTo>
                <a:lnTo>
                  <a:pt x="3490" y="780"/>
                </a:lnTo>
                <a:lnTo>
                  <a:pt x="2804" y="499"/>
                </a:lnTo>
                <a:lnTo>
                  <a:pt x="2128" y="281"/>
                </a:lnTo>
                <a:lnTo>
                  <a:pt x="1425" y="125"/>
                </a:lnTo>
                <a:lnTo>
                  <a:pt x="712" y="21"/>
                </a:lnTo>
                <a:lnTo>
                  <a:pt x="0" y="0"/>
                </a:lnTo>
                <a:lnTo>
                  <a:pt x="1894" y="2879"/>
                </a:lnTo>
                <a:lnTo>
                  <a:pt x="625" y="6191"/>
                </a:lnTo>
                <a:lnTo>
                  <a:pt x="1208" y="6383"/>
                </a:lnTo>
                <a:lnTo>
                  <a:pt x="1677" y="6559"/>
                </a:lnTo>
                <a:lnTo>
                  <a:pt x="2128" y="6798"/>
                </a:lnTo>
                <a:lnTo>
                  <a:pt x="2552" y="7079"/>
                </a:lnTo>
                <a:lnTo>
                  <a:pt x="2958" y="7432"/>
                </a:lnTo>
                <a:lnTo>
                  <a:pt x="3336" y="7817"/>
                </a:lnTo>
                <a:lnTo>
                  <a:pt x="3679" y="8233"/>
                </a:lnTo>
                <a:lnTo>
                  <a:pt x="4022" y="8701"/>
                </a:lnTo>
                <a:lnTo>
                  <a:pt x="2218" y="9969"/>
                </a:lnTo>
              </a:path>
            </a:pathLst>
          </a:custGeom>
          <a:solidFill>
            <a:srgbClr val="9FFFFF"/>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Freeform 4">
            <a:extLst>
              <a:ext uri="{FF2B5EF4-FFF2-40B4-BE49-F238E27FC236}">
                <a16:creationId xmlns:a16="http://schemas.microsoft.com/office/drawing/2014/main" id="{BCA9BCAB-424D-7265-33AF-FEC8DA230A8C}"/>
              </a:ext>
            </a:extLst>
          </p:cNvPr>
          <p:cNvSpPr>
            <a:spLocks/>
          </p:cNvSpPr>
          <p:nvPr/>
        </p:nvSpPr>
        <p:spPr bwMode="blackWhite">
          <a:xfrm>
            <a:off x="1314184" y="2021969"/>
            <a:ext cx="3706974" cy="1654046"/>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rgbClr val="9DD4CF"/>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Open Sans" panose="020B0606030504020204" pitchFamily="34" charset="0"/>
            </a:endParaRPr>
          </a:p>
        </p:txBody>
      </p:sp>
      <p:sp>
        <p:nvSpPr>
          <p:cNvPr id="5" name="Freeform 5">
            <a:extLst>
              <a:ext uri="{FF2B5EF4-FFF2-40B4-BE49-F238E27FC236}">
                <a16:creationId xmlns:a16="http://schemas.microsoft.com/office/drawing/2014/main" id="{5211D358-BD89-8AE4-B24D-EC9D592BC5CA}"/>
              </a:ext>
            </a:extLst>
          </p:cNvPr>
          <p:cNvSpPr>
            <a:spLocks/>
          </p:cNvSpPr>
          <p:nvPr/>
        </p:nvSpPr>
        <p:spPr bwMode="blackWhite">
          <a:xfrm>
            <a:off x="4396498" y="4751593"/>
            <a:ext cx="1735996" cy="1649043"/>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rgbClr val="4BCCFF"/>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Freeform 7">
            <a:extLst>
              <a:ext uri="{FF2B5EF4-FFF2-40B4-BE49-F238E27FC236}">
                <a16:creationId xmlns:a16="http://schemas.microsoft.com/office/drawing/2014/main" id="{86CE5CCE-8A35-F1C2-D3D8-39108C46FE94}"/>
              </a:ext>
            </a:extLst>
          </p:cNvPr>
          <p:cNvSpPr>
            <a:spLocks/>
          </p:cNvSpPr>
          <p:nvPr/>
        </p:nvSpPr>
        <p:spPr bwMode="blackWhite">
          <a:xfrm rot="120000">
            <a:off x="2698095" y="3316003"/>
            <a:ext cx="1507132" cy="1691589"/>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rgbClr val="CBF0C2"/>
          </a:solidFill>
          <a:ln w="57150" cap="rnd">
            <a:noFill/>
            <a:miter lim="800000"/>
            <a:headEnd/>
            <a:tailEnd/>
          </a:ln>
        </p:spPr>
        <p:txBody>
          <a:bodyPr/>
          <a:lstStyle/>
          <a:p>
            <a:pPr algn="ctr" eaLnBrk="1" hangingPunct="1">
              <a:spcBef>
                <a:spcPct val="20000"/>
              </a:spcBef>
              <a:buClr>
                <a:schemeClr val="bg1"/>
              </a:buClr>
              <a:defRPr/>
            </a:pPr>
            <a:endParaRPr lang="en-GB" sz="1200" dirty="0">
              <a:ln cap="flat">
                <a:noFill/>
                <a:round/>
              </a:ln>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8">
            <a:extLst>
              <a:ext uri="{FF2B5EF4-FFF2-40B4-BE49-F238E27FC236}">
                <a16:creationId xmlns:a16="http://schemas.microsoft.com/office/drawing/2014/main" id="{9C6301D6-A5E7-C931-6E2A-650AD16F73D6}"/>
              </a:ext>
            </a:extLst>
          </p:cNvPr>
          <p:cNvSpPr>
            <a:spLocks noChangeArrowheads="1"/>
          </p:cNvSpPr>
          <p:nvPr/>
        </p:nvSpPr>
        <p:spPr bwMode="blackWhite">
          <a:xfrm>
            <a:off x="2458383" y="2802918"/>
            <a:ext cx="1450718" cy="146194"/>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bg1"/>
              </a:buClr>
            </a:pP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Business Understanding</a:t>
            </a:r>
          </a:p>
        </p:txBody>
      </p:sp>
      <p:sp>
        <p:nvSpPr>
          <p:cNvPr id="9" name="Rectangle 9">
            <a:extLst>
              <a:ext uri="{FF2B5EF4-FFF2-40B4-BE49-F238E27FC236}">
                <a16:creationId xmlns:a16="http://schemas.microsoft.com/office/drawing/2014/main" id="{293003E8-CF9F-7907-CC07-A350C813C2D2}"/>
              </a:ext>
            </a:extLst>
          </p:cNvPr>
          <p:cNvSpPr>
            <a:spLocks noChangeArrowheads="1"/>
          </p:cNvSpPr>
          <p:nvPr/>
        </p:nvSpPr>
        <p:spPr bwMode="blackWhite">
          <a:xfrm>
            <a:off x="5187227" y="2860370"/>
            <a:ext cx="889666" cy="438582"/>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Data</a:t>
            </a:r>
            <a:br>
              <a:rPr lang="hu-HU"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Acquisition &amp;</a:t>
            </a:r>
            <a:br>
              <a:rPr lang="hu-HU"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Understanding</a:t>
            </a:r>
          </a:p>
        </p:txBody>
      </p:sp>
      <p:sp>
        <p:nvSpPr>
          <p:cNvPr id="10" name="Rectangle 10">
            <a:extLst>
              <a:ext uri="{FF2B5EF4-FFF2-40B4-BE49-F238E27FC236}">
                <a16:creationId xmlns:a16="http://schemas.microsoft.com/office/drawing/2014/main" id="{E8449E37-D123-6808-44F1-45E6A9F98702}"/>
              </a:ext>
            </a:extLst>
          </p:cNvPr>
          <p:cNvSpPr>
            <a:spLocks noChangeArrowheads="1"/>
          </p:cNvSpPr>
          <p:nvPr/>
        </p:nvSpPr>
        <p:spPr bwMode="blackWhite">
          <a:xfrm>
            <a:off x="5645947" y="4030753"/>
            <a:ext cx="708527" cy="730969"/>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Data</a:t>
            </a:r>
            <a:br>
              <a:rPr lang="hu-HU"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Preparation</a:t>
            </a:r>
            <a:br>
              <a:rPr lang="en-US"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amp;</a:t>
            </a:r>
            <a:br>
              <a:rPr lang="en-US"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Feature</a:t>
            </a:r>
            <a:br>
              <a:rPr lang="en-US"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Engineering</a:t>
            </a:r>
            <a:endPar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1">
            <a:extLst>
              <a:ext uri="{FF2B5EF4-FFF2-40B4-BE49-F238E27FC236}">
                <a16:creationId xmlns:a16="http://schemas.microsoft.com/office/drawing/2014/main" id="{D2467757-DF56-5C55-7C41-81718231433E}"/>
              </a:ext>
            </a:extLst>
          </p:cNvPr>
          <p:cNvSpPr>
            <a:spLocks noChangeArrowheads="1"/>
          </p:cNvSpPr>
          <p:nvPr/>
        </p:nvSpPr>
        <p:spPr bwMode="blackWhite">
          <a:xfrm>
            <a:off x="4869662" y="5417590"/>
            <a:ext cx="588302" cy="146194"/>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Modelling</a:t>
            </a:r>
          </a:p>
        </p:txBody>
      </p:sp>
      <p:sp>
        <p:nvSpPr>
          <p:cNvPr id="12" name="Rectangle 13">
            <a:extLst>
              <a:ext uri="{FF2B5EF4-FFF2-40B4-BE49-F238E27FC236}">
                <a16:creationId xmlns:a16="http://schemas.microsoft.com/office/drawing/2014/main" id="{C255ED44-6601-7FAB-0E83-D512D761D67B}"/>
              </a:ext>
            </a:extLst>
          </p:cNvPr>
          <p:cNvSpPr>
            <a:spLocks noChangeArrowheads="1"/>
          </p:cNvSpPr>
          <p:nvPr/>
        </p:nvSpPr>
        <p:spPr bwMode="blackWhite">
          <a:xfrm>
            <a:off x="2997375" y="3692651"/>
            <a:ext cx="730969" cy="584775"/>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Deployment</a:t>
            </a:r>
            <a:b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amp;</a:t>
            </a:r>
            <a:b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Customer</a:t>
            </a:r>
            <a:b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Acceptance</a:t>
            </a:r>
          </a:p>
        </p:txBody>
      </p:sp>
      <p:sp>
        <p:nvSpPr>
          <p:cNvPr id="13" name="Freeform 6">
            <a:extLst>
              <a:ext uri="{FF2B5EF4-FFF2-40B4-BE49-F238E27FC236}">
                <a16:creationId xmlns:a16="http://schemas.microsoft.com/office/drawing/2014/main" id="{828AB3C7-DA9D-2A01-7F09-2209A35F4F07}"/>
              </a:ext>
            </a:extLst>
          </p:cNvPr>
          <p:cNvSpPr>
            <a:spLocks/>
          </p:cNvSpPr>
          <p:nvPr/>
        </p:nvSpPr>
        <p:spPr bwMode="blackWhite">
          <a:xfrm>
            <a:off x="2921359" y="4545652"/>
            <a:ext cx="1652094" cy="147208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rgbClr val="82FABE"/>
          </a:solidFill>
          <a:ln w="12700" cap="rnd">
            <a:noFill/>
            <a:round/>
            <a:headEnd/>
            <a:tailEnd/>
          </a:ln>
        </p:spPr>
        <p:txBody>
          <a:bodyPr/>
          <a:lstStyle/>
          <a:p>
            <a:pPr algn="ctr" eaLnBrk="1" hangingPunct="1">
              <a:spcBef>
                <a:spcPct val="20000"/>
              </a:spcBef>
              <a:buClr>
                <a:schemeClr val="bg1"/>
              </a:buClr>
              <a:defRPr/>
            </a:pPr>
            <a:endParaRPr lang="en-GB" sz="1200" dirty="0">
              <a:solidFill>
                <a:srgbClr val="00277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2">
            <a:extLst>
              <a:ext uri="{FF2B5EF4-FFF2-40B4-BE49-F238E27FC236}">
                <a16:creationId xmlns:a16="http://schemas.microsoft.com/office/drawing/2014/main" id="{4D83C309-DF64-3A1F-AF99-3318F8CA31FF}"/>
              </a:ext>
            </a:extLst>
          </p:cNvPr>
          <p:cNvSpPr>
            <a:spLocks noChangeArrowheads="1"/>
          </p:cNvSpPr>
          <p:nvPr/>
        </p:nvSpPr>
        <p:spPr bwMode="blackWhite">
          <a:xfrm>
            <a:off x="3571505" y="5059228"/>
            <a:ext cx="618759" cy="292388"/>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Model</a:t>
            </a:r>
            <a:b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GB" sz="10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Evaluation</a:t>
            </a:r>
          </a:p>
        </p:txBody>
      </p:sp>
      <p:sp>
        <p:nvSpPr>
          <p:cNvPr id="20" name="TextBox 19">
            <a:extLst>
              <a:ext uri="{FF2B5EF4-FFF2-40B4-BE49-F238E27FC236}">
                <a16:creationId xmlns:a16="http://schemas.microsoft.com/office/drawing/2014/main" id="{A1B0CFD2-12B3-3EFE-9EC4-57AD02604490}"/>
              </a:ext>
            </a:extLst>
          </p:cNvPr>
          <p:cNvSpPr txBox="1"/>
          <p:nvPr/>
        </p:nvSpPr>
        <p:spPr>
          <a:xfrm>
            <a:off x="2642511" y="1943963"/>
            <a:ext cx="1823384" cy="369332"/>
          </a:xfrm>
          <a:prstGeom prst="rect">
            <a:avLst/>
          </a:prstGeom>
          <a:noFill/>
        </p:spPr>
        <p:txBody>
          <a:bodyPr wrap="square">
            <a:spAutoFit/>
          </a:bodyPr>
          <a:lstStyle/>
          <a:p>
            <a:pPr marL="171450" indent="-171450">
              <a:buFont typeface="Arial" panose="020B0604020202020204" pitchFamily="34" charset="0"/>
              <a:buChar char="•"/>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Define objectives, scope, and metrics for success.</a:t>
            </a:r>
          </a:p>
        </p:txBody>
      </p:sp>
      <p:sp>
        <p:nvSpPr>
          <p:cNvPr id="21" name="TextBox 20">
            <a:extLst>
              <a:ext uri="{FF2B5EF4-FFF2-40B4-BE49-F238E27FC236}">
                <a16:creationId xmlns:a16="http://schemas.microsoft.com/office/drawing/2014/main" id="{4CBF163A-400A-1A04-1299-CA1580383C0C}"/>
              </a:ext>
            </a:extLst>
          </p:cNvPr>
          <p:cNvSpPr txBox="1"/>
          <p:nvPr/>
        </p:nvSpPr>
        <p:spPr>
          <a:xfrm>
            <a:off x="5684099" y="2236658"/>
            <a:ext cx="2070716" cy="369332"/>
          </a:xfrm>
          <a:prstGeom prst="rect">
            <a:avLst/>
          </a:prstGeom>
          <a:noFill/>
        </p:spPr>
        <p:txBody>
          <a:bodyPr wrap="square">
            <a:spAutoFit/>
          </a:bodyPr>
          <a:lstStyle/>
          <a:p>
            <a:pPr marL="171450" indent="-171450">
              <a:buFont typeface="Arial" panose="020B0604020202020204" pitchFamily="34" charset="0"/>
              <a:buChar char="•"/>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Gather, assess, and preprocess relevant data sources.</a:t>
            </a:r>
          </a:p>
        </p:txBody>
      </p:sp>
      <p:sp>
        <p:nvSpPr>
          <p:cNvPr id="22" name="TextBox 21">
            <a:extLst>
              <a:ext uri="{FF2B5EF4-FFF2-40B4-BE49-F238E27FC236}">
                <a16:creationId xmlns:a16="http://schemas.microsoft.com/office/drawing/2014/main" id="{59E1857C-C0DC-BF03-366A-DD4A61A8E2F7}"/>
              </a:ext>
            </a:extLst>
          </p:cNvPr>
          <p:cNvSpPr txBox="1"/>
          <p:nvPr/>
        </p:nvSpPr>
        <p:spPr>
          <a:xfrm>
            <a:off x="6481299" y="3807602"/>
            <a:ext cx="2216344" cy="784830"/>
          </a:xfrm>
          <a:prstGeom prst="rect">
            <a:avLst/>
          </a:prstGeom>
          <a:noFill/>
        </p:spPr>
        <p:txBody>
          <a:bodyPr wrap="square">
            <a:spAutoFit/>
          </a:bodyPr>
          <a:lstStyle/>
          <a:p>
            <a:pPr marL="171450" indent="-171450">
              <a:buFont typeface="Arial" panose="020B0604020202020204" pitchFamily="34" charset="0"/>
              <a:buChar char="•"/>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Clean, transform, and structure data for modeling</a:t>
            </a:r>
          </a:p>
          <a:p>
            <a:pPr marL="171450" indent="-171450">
              <a:buFont typeface="Arial" panose="020B0604020202020204" pitchFamily="34" charset="0"/>
              <a:buChar char="•"/>
            </a:pPr>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171450" indent="-171450">
              <a:buFont typeface="Arial" panose="020B0604020202020204" pitchFamily="34" charset="0"/>
              <a:buChar char="•"/>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Enhance data by extracting or creating relevant variables.</a:t>
            </a:r>
          </a:p>
        </p:txBody>
      </p:sp>
      <p:sp>
        <p:nvSpPr>
          <p:cNvPr id="23" name="TextBox 22">
            <a:extLst>
              <a:ext uri="{FF2B5EF4-FFF2-40B4-BE49-F238E27FC236}">
                <a16:creationId xmlns:a16="http://schemas.microsoft.com/office/drawing/2014/main" id="{79DCA0C6-CE40-A401-13C8-4D3543201A06}"/>
              </a:ext>
            </a:extLst>
          </p:cNvPr>
          <p:cNvSpPr txBox="1"/>
          <p:nvPr/>
        </p:nvSpPr>
        <p:spPr>
          <a:xfrm>
            <a:off x="5587561" y="5793527"/>
            <a:ext cx="2001910" cy="369332"/>
          </a:xfrm>
          <a:prstGeom prst="rect">
            <a:avLst/>
          </a:prstGeom>
          <a:noFill/>
        </p:spPr>
        <p:txBody>
          <a:bodyPr wrap="square">
            <a:spAutoFit/>
          </a:bodyPr>
          <a:lstStyle/>
          <a:p>
            <a:pPr marL="171450" indent="-171450">
              <a:buFont typeface="Arial" panose="020B0604020202020204" pitchFamily="34" charset="0"/>
              <a:buChar char="•"/>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Choose and train algorithms to develop predictive models.</a:t>
            </a:r>
          </a:p>
        </p:txBody>
      </p:sp>
      <p:sp>
        <p:nvSpPr>
          <p:cNvPr id="24" name="TextBox 23">
            <a:extLst>
              <a:ext uri="{FF2B5EF4-FFF2-40B4-BE49-F238E27FC236}">
                <a16:creationId xmlns:a16="http://schemas.microsoft.com/office/drawing/2014/main" id="{D0C74A8E-429D-F809-56FD-B98F2FA3FB76}"/>
              </a:ext>
            </a:extLst>
          </p:cNvPr>
          <p:cNvSpPr txBox="1"/>
          <p:nvPr/>
        </p:nvSpPr>
        <p:spPr>
          <a:xfrm>
            <a:off x="2152940" y="5793527"/>
            <a:ext cx="2029461" cy="369332"/>
          </a:xfrm>
          <a:prstGeom prst="rect">
            <a:avLst/>
          </a:prstGeom>
          <a:noFill/>
        </p:spPr>
        <p:txBody>
          <a:bodyPr wrap="square">
            <a:spAutoFit/>
          </a:bodyPr>
          <a:lstStyle/>
          <a:p>
            <a:pPr marL="171450" indent="-171450">
              <a:buFont typeface="Arial" panose="020B0604020202020204" pitchFamily="34" charset="0"/>
              <a:buChar char="•"/>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Validate model performance using key metrics and tests.</a:t>
            </a:r>
          </a:p>
        </p:txBody>
      </p:sp>
      <p:sp>
        <p:nvSpPr>
          <p:cNvPr id="25" name="TextBox 24">
            <a:extLst>
              <a:ext uri="{FF2B5EF4-FFF2-40B4-BE49-F238E27FC236}">
                <a16:creationId xmlns:a16="http://schemas.microsoft.com/office/drawing/2014/main" id="{334A691F-6552-C494-182F-8A7CF700104B}"/>
              </a:ext>
            </a:extLst>
          </p:cNvPr>
          <p:cNvSpPr txBox="1"/>
          <p:nvPr/>
        </p:nvSpPr>
        <p:spPr>
          <a:xfrm>
            <a:off x="1191997" y="3669103"/>
            <a:ext cx="1735805" cy="1061829"/>
          </a:xfrm>
          <a:prstGeom prst="rect">
            <a:avLst/>
          </a:prstGeom>
          <a:noFill/>
        </p:spPr>
        <p:txBody>
          <a:bodyPr wrap="square">
            <a:spAutoFit/>
          </a:bodyPr>
          <a:lstStyle/>
          <a:p>
            <a:pPr marL="171450" indent="-171450">
              <a:buFont typeface="Arial" panose="020B0604020202020204" pitchFamily="34" charset="0"/>
              <a:buChar char="•"/>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Integrate the model into business operations or systems</a:t>
            </a:r>
          </a:p>
          <a:p>
            <a:endParaRPr lang="en-US" sz="900" dirty="0">
              <a:latin typeface="Open Sans Light" panose="020B0306030504020204" pitchFamily="34" charset="0"/>
              <a:ea typeface="Open Sans Light" panose="020B0306030504020204" pitchFamily="34" charset="0"/>
              <a:cs typeface="Open Sans Light" panose="020B0306030504020204" pitchFamily="34" charset="0"/>
            </a:endParaRPr>
          </a:p>
          <a:p>
            <a:pPr marL="171450" indent="-171450">
              <a:buFont typeface="Arial" panose="020B0604020202020204" pitchFamily="34" charset="0"/>
              <a:buChar char="•"/>
            </a:pPr>
            <a:r>
              <a:rPr lang="en-US" sz="900" dirty="0">
                <a:latin typeface="Open Sans Light" panose="020B0306030504020204" pitchFamily="34" charset="0"/>
                <a:ea typeface="Open Sans Light" panose="020B0306030504020204" pitchFamily="34" charset="0"/>
                <a:cs typeface="Open Sans Light" panose="020B0306030504020204" pitchFamily="34" charset="0"/>
              </a:rPr>
              <a:t>Ensure stakeholders' alignment and satisfaction with the solution.</a:t>
            </a:r>
          </a:p>
        </p:txBody>
      </p:sp>
      <p:pic>
        <p:nvPicPr>
          <p:cNvPr id="27" name="Graphic 26" descr="Gears with solid fill">
            <a:extLst>
              <a:ext uri="{FF2B5EF4-FFF2-40B4-BE49-F238E27FC236}">
                <a16:creationId xmlns:a16="http://schemas.microsoft.com/office/drawing/2014/main" id="{93CCD402-BF9D-3A0E-F465-99C3D3F7632C}"/>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07693" y="4798104"/>
            <a:ext cx="365760" cy="365760"/>
          </a:xfrm>
          <a:prstGeom prst="rect">
            <a:avLst/>
          </a:prstGeom>
        </p:spPr>
      </p:pic>
      <p:pic>
        <p:nvPicPr>
          <p:cNvPr id="29" name="Graphic 28" descr="Clipboard Checked with solid fill">
            <a:extLst>
              <a:ext uri="{FF2B5EF4-FFF2-40B4-BE49-F238E27FC236}">
                <a16:creationId xmlns:a16="http://schemas.microsoft.com/office/drawing/2014/main" id="{745C3D76-201D-BD36-29E5-5B64FF9514D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425999" y="4660100"/>
            <a:ext cx="365760" cy="365760"/>
          </a:xfrm>
          <a:prstGeom prst="rect">
            <a:avLst/>
          </a:prstGeom>
        </p:spPr>
      </p:pic>
      <p:pic>
        <p:nvPicPr>
          <p:cNvPr id="31" name="Graphic 30" descr="Good Idea with solid fill">
            <a:extLst>
              <a:ext uri="{FF2B5EF4-FFF2-40B4-BE49-F238E27FC236}">
                <a16:creationId xmlns:a16="http://schemas.microsoft.com/office/drawing/2014/main" id="{AE4BD98A-48CE-A2A6-0951-93FA6F21212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98707" y="5354926"/>
            <a:ext cx="365760" cy="365760"/>
          </a:xfrm>
          <a:prstGeom prst="rect">
            <a:avLst/>
          </a:prstGeom>
        </p:spPr>
      </p:pic>
      <p:pic>
        <p:nvPicPr>
          <p:cNvPr id="33" name="Graphic 32" descr="Database with solid fill">
            <a:extLst>
              <a:ext uri="{FF2B5EF4-FFF2-40B4-BE49-F238E27FC236}">
                <a16:creationId xmlns:a16="http://schemas.microsoft.com/office/drawing/2014/main" id="{EAEE217D-44FF-E2A7-CCB9-8D40D607C6A7}"/>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645947" y="3366519"/>
            <a:ext cx="365760" cy="365760"/>
          </a:xfrm>
          <a:prstGeom prst="rect">
            <a:avLst/>
          </a:prstGeom>
        </p:spPr>
      </p:pic>
      <p:pic>
        <p:nvPicPr>
          <p:cNvPr id="35" name="Graphic 34" descr="Handshake with solid fill">
            <a:extLst>
              <a:ext uri="{FF2B5EF4-FFF2-40B4-BE49-F238E27FC236}">
                <a16:creationId xmlns:a16="http://schemas.microsoft.com/office/drawing/2014/main" id="{303247BE-8B14-D472-3640-BDA8D1926E1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348914" y="3349684"/>
            <a:ext cx="365760" cy="365760"/>
          </a:xfrm>
          <a:prstGeom prst="rect">
            <a:avLst/>
          </a:prstGeom>
        </p:spPr>
      </p:pic>
      <p:pic>
        <p:nvPicPr>
          <p:cNvPr id="37" name="Graphic 36" descr="Customer review with solid fill">
            <a:extLst>
              <a:ext uri="{FF2B5EF4-FFF2-40B4-BE49-F238E27FC236}">
                <a16:creationId xmlns:a16="http://schemas.microsoft.com/office/drawing/2014/main" id="{9709EF89-17A7-7460-2D72-98EBA52A56DF}"/>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324700" y="2670100"/>
            <a:ext cx="365760" cy="365760"/>
          </a:xfrm>
          <a:prstGeom prst="rect">
            <a:avLst/>
          </a:prstGeom>
        </p:spPr>
      </p:pic>
    </p:spTree>
    <p:extLst>
      <p:ext uri="{BB962C8B-B14F-4D97-AF65-F5344CB8AC3E}">
        <p14:creationId xmlns:p14="http://schemas.microsoft.com/office/powerpoint/2010/main" val="899318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4400" y="417600"/>
            <a:ext cx="10363200" cy="462763"/>
          </a:xfrm>
        </p:spPr>
        <p:txBody>
          <a:bodyPr/>
          <a:lstStyle/>
          <a:p>
            <a:r>
              <a:rPr lang="en-US" sz="2400" dirty="0">
                <a:latin typeface="Open Sans Light" panose="020B0306030504020204" pitchFamily="34" charset="0"/>
              </a:rPr>
              <a:t>A technology agnostic focus on winning insights</a:t>
            </a:r>
          </a:p>
        </p:txBody>
      </p:sp>
      <p:pic>
        <p:nvPicPr>
          <p:cNvPr id="2" name="Picture 4" descr="Qlik Sense - Besoftware">
            <a:extLst>
              <a:ext uri="{FF2B5EF4-FFF2-40B4-BE49-F238E27FC236}">
                <a16:creationId xmlns:a16="http://schemas.microsoft.com/office/drawing/2014/main" id="{647D9EEC-FEE1-7336-3028-477044FDD4C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93080" y="3137797"/>
            <a:ext cx="1286488" cy="67075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3" descr="Logo&#10;&#10;Description automatically generated">
            <a:extLst>
              <a:ext uri="{FF2B5EF4-FFF2-40B4-BE49-F238E27FC236}">
                <a16:creationId xmlns:a16="http://schemas.microsoft.com/office/drawing/2014/main" id="{34E75628-5708-3529-2083-A39ED313E89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86476" y="3182078"/>
            <a:ext cx="1341669" cy="402920"/>
          </a:xfrm>
          <a:prstGeom prst="rect">
            <a:avLst/>
          </a:prstGeom>
        </p:spPr>
      </p:pic>
      <p:pic>
        <p:nvPicPr>
          <p:cNvPr id="27" name="Picture 4" descr="A picture containing diagram&#10;&#10;Description automatically generated">
            <a:extLst>
              <a:ext uri="{FF2B5EF4-FFF2-40B4-BE49-F238E27FC236}">
                <a16:creationId xmlns:a16="http://schemas.microsoft.com/office/drawing/2014/main" id="{E628DD79-7552-0A45-26C7-6A17D7C0962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9657" y="3129640"/>
            <a:ext cx="934500" cy="526718"/>
          </a:xfrm>
          <a:prstGeom prst="rect">
            <a:avLst/>
          </a:prstGeom>
        </p:spPr>
      </p:pic>
      <p:pic>
        <p:nvPicPr>
          <p:cNvPr id="28" name="Picture 5" descr="Logo&#10;&#10;Description automatically generated">
            <a:extLst>
              <a:ext uri="{FF2B5EF4-FFF2-40B4-BE49-F238E27FC236}">
                <a16:creationId xmlns:a16="http://schemas.microsoft.com/office/drawing/2014/main" id="{42B1EDB4-334C-2570-6001-B036DFC2F1B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34576" y="4041552"/>
            <a:ext cx="1252190" cy="163543"/>
          </a:xfrm>
          <a:prstGeom prst="rect">
            <a:avLst/>
          </a:prstGeom>
        </p:spPr>
      </p:pic>
      <p:pic>
        <p:nvPicPr>
          <p:cNvPr id="29" name="Picture 15" descr="Logo&#10;&#10;Description automatically generated">
            <a:extLst>
              <a:ext uri="{FF2B5EF4-FFF2-40B4-BE49-F238E27FC236}">
                <a16:creationId xmlns:a16="http://schemas.microsoft.com/office/drawing/2014/main" id="{4CFFA723-49A9-B388-F3D9-F0B535896FD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0428" y="3984328"/>
            <a:ext cx="968801" cy="295750"/>
          </a:xfrm>
          <a:prstGeom prst="rect">
            <a:avLst/>
          </a:prstGeom>
        </p:spPr>
      </p:pic>
      <p:pic>
        <p:nvPicPr>
          <p:cNvPr id="30" name="Picture 2" descr="Cloud Computing Services - Amazon Web Services (AWS)">
            <a:extLst>
              <a:ext uri="{FF2B5EF4-FFF2-40B4-BE49-F238E27FC236}">
                <a16:creationId xmlns:a16="http://schemas.microsoft.com/office/drawing/2014/main" id="{2E63B147-9185-1962-E725-E03DF58B8E0E}"/>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t="12871" b="13196"/>
          <a:stretch/>
        </p:blipFill>
        <p:spPr bwMode="auto">
          <a:xfrm>
            <a:off x="59863" y="1853196"/>
            <a:ext cx="1214902" cy="47228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Snowflake SVG Vector Logos - Vector Logo Zone">
            <a:extLst>
              <a:ext uri="{FF2B5EF4-FFF2-40B4-BE49-F238E27FC236}">
                <a16:creationId xmlns:a16="http://schemas.microsoft.com/office/drawing/2014/main" id="{EE9E6F20-A6E1-332D-A8A4-FBAE9E2AA4AD}"/>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t="12080" b="12113"/>
          <a:stretch/>
        </p:blipFill>
        <p:spPr bwMode="auto">
          <a:xfrm>
            <a:off x="1431922" y="1773609"/>
            <a:ext cx="1453907" cy="48855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Cloudera Cloud-Native Operational Database Accelerates Application  Development">
            <a:extLst>
              <a:ext uri="{FF2B5EF4-FFF2-40B4-BE49-F238E27FC236}">
                <a16:creationId xmlns:a16="http://schemas.microsoft.com/office/drawing/2014/main" id="{0FD4757E-C529-ED6A-7AE8-E35A65DC098B}"/>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t="18095" b="21098"/>
          <a:stretch/>
        </p:blipFill>
        <p:spPr bwMode="auto">
          <a:xfrm>
            <a:off x="3068831" y="1780999"/>
            <a:ext cx="1441942" cy="45819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C3BA7F35-18EB-CD79-F257-EF8699713484}"/>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751468" y="5969779"/>
            <a:ext cx="924948" cy="27459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descr="A red circle with white text&#10;&#10;Description automatically generated with low confidence">
            <a:extLst>
              <a:ext uri="{FF2B5EF4-FFF2-40B4-BE49-F238E27FC236}">
                <a16:creationId xmlns:a16="http://schemas.microsoft.com/office/drawing/2014/main" id="{31BE3E71-D25E-D7B5-3BEF-4B989CE5096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068830" y="2399530"/>
            <a:ext cx="1312108" cy="524843"/>
          </a:xfrm>
          <a:prstGeom prst="rect">
            <a:avLst/>
          </a:prstGeom>
        </p:spPr>
      </p:pic>
      <p:pic>
        <p:nvPicPr>
          <p:cNvPr id="35" name="Picture 34" descr="Logo, icon&#10;&#10;Description automatically generated">
            <a:extLst>
              <a:ext uri="{FF2B5EF4-FFF2-40B4-BE49-F238E27FC236}">
                <a16:creationId xmlns:a16="http://schemas.microsoft.com/office/drawing/2014/main" id="{12B6A873-6A41-1C55-6653-76A439E7EE2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878541" y="5183050"/>
            <a:ext cx="698251" cy="291576"/>
          </a:xfrm>
          <a:prstGeom prst="rect">
            <a:avLst/>
          </a:prstGeom>
        </p:spPr>
      </p:pic>
      <p:pic>
        <p:nvPicPr>
          <p:cNvPr id="36" name="Picture 35" descr="Logo&#10;&#10;Description automatically generated">
            <a:extLst>
              <a:ext uri="{FF2B5EF4-FFF2-40B4-BE49-F238E27FC236}">
                <a16:creationId xmlns:a16="http://schemas.microsoft.com/office/drawing/2014/main" id="{E3882E06-7011-7E68-229C-A45072F27E8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137230" y="4446002"/>
            <a:ext cx="873395" cy="454165"/>
          </a:xfrm>
          <a:prstGeom prst="rect">
            <a:avLst/>
          </a:prstGeom>
        </p:spPr>
      </p:pic>
      <p:pic>
        <p:nvPicPr>
          <p:cNvPr id="37" name="Picture 8" descr="Keras: the Python deep learning API">
            <a:extLst>
              <a:ext uri="{FF2B5EF4-FFF2-40B4-BE49-F238E27FC236}">
                <a16:creationId xmlns:a16="http://schemas.microsoft.com/office/drawing/2014/main" id="{8CFCA139-647E-B32E-8226-D535A4BE23C5}"/>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628530" y="4563141"/>
            <a:ext cx="1180693" cy="34240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2">
            <a:extLst>
              <a:ext uri="{FF2B5EF4-FFF2-40B4-BE49-F238E27FC236}">
                <a16:creationId xmlns:a16="http://schemas.microsoft.com/office/drawing/2014/main" id="{0F0A4415-C7DC-B885-6FEB-901D39DDF33B}"/>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28923" y="5872138"/>
            <a:ext cx="378045" cy="43831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4" descr="Machine Learning with Amazon SageMaker » Nub8">
            <a:extLst>
              <a:ext uri="{FF2B5EF4-FFF2-40B4-BE49-F238E27FC236}">
                <a16:creationId xmlns:a16="http://schemas.microsoft.com/office/drawing/2014/main" id="{2E8FA682-FCF9-F2A9-4BEA-932117708CBD}"/>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790764" y="5796264"/>
            <a:ext cx="1244523" cy="53016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TensorFlow">
            <a:extLst>
              <a:ext uri="{FF2B5EF4-FFF2-40B4-BE49-F238E27FC236}">
                <a16:creationId xmlns:a16="http://schemas.microsoft.com/office/drawing/2014/main" id="{56021B76-0EAF-6CD7-15EB-7A5A8807E937}"/>
              </a:ext>
            </a:extLst>
          </p:cNvPr>
          <p:cNvPicPr>
            <a:picLocks noChangeAspect="1" noChangeArrowheads="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14358" y="5104141"/>
            <a:ext cx="1423954" cy="31843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8">
            <a:extLst>
              <a:ext uri="{FF2B5EF4-FFF2-40B4-BE49-F238E27FC236}">
                <a16:creationId xmlns:a16="http://schemas.microsoft.com/office/drawing/2014/main" id="{16253204-E541-689A-5BBD-F915248FE8E4}"/>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92162" y="4588907"/>
            <a:ext cx="946085" cy="3813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0">
            <a:extLst>
              <a:ext uri="{FF2B5EF4-FFF2-40B4-BE49-F238E27FC236}">
                <a16:creationId xmlns:a16="http://schemas.microsoft.com/office/drawing/2014/main" id="{18813B71-6845-B27A-2327-A1C425065B47}"/>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462133" y="5104212"/>
            <a:ext cx="715185" cy="38441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a:extLst>
              <a:ext uri="{FF2B5EF4-FFF2-40B4-BE49-F238E27FC236}">
                <a16:creationId xmlns:a16="http://schemas.microsoft.com/office/drawing/2014/main" id="{B36BC73E-DC91-E141-E227-DB973AAB343A}"/>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1392139" y="2379711"/>
            <a:ext cx="1642437" cy="47605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2">
            <a:extLst>
              <a:ext uri="{FF2B5EF4-FFF2-40B4-BE49-F238E27FC236}">
                <a16:creationId xmlns:a16="http://schemas.microsoft.com/office/drawing/2014/main" id="{B980477A-F2D7-8D09-8A33-3682E410F9C4}"/>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108772" y="2255436"/>
            <a:ext cx="1076949" cy="717965"/>
          </a:xfrm>
          <a:prstGeom prst="rect">
            <a:avLst/>
          </a:prstGeom>
          <a:noFill/>
          <a:extLst>
            <a:ext uri="{909E8E84-426E-40DD-AFC4-6F175D3DCCD1}">
              <a14:hiddenFill xmlns:a14="http://schemas.microsoft.com/office/drawing/2010/main">
                <a:solidFill>
                  <a:srgbClr val="FFFFFF"/>
                </a:solidFill>
              </a14:hiddenFill>
            </a:ext>
          </a:extLst>
        </p:spPr>
      </p:pic>
      <p:pic>
        <p:nvPicPr>
          <p:cNvPr id="46" name="Graphic 3">
            <a:extLst>
              <a:ext uri="{FF2B5EF4-FFF2-40B4-BE49-F238E27FC236}">
                <a16:creationId xmlns:a16="http://schemas.microsoft.com/office/drawing/2014/main" id="{A3282C04-ED85-D2FD-43AA-5204F673EAB6}"/>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650866" y="3919998"/>
            <a:ext cx="1063867" cy="309763"/>
          </a:xfrm>
          <a:prstGeom prst="rect">
            <a:avLst/>
          </a:prstGeom>
        </p:spPr>
      </p:pic>
      <p:sp>
        <p:nvSpPr>
          <p:cNvPr id="51" name="Rectangle 50">
            <a:extLst>
              <a:ext uri="{FF2B5EF4-FFF2-40B4-BE49-F238E27FC236}">
                <a16:creationId xmlns:a16="http://schemas.microsoft.com/office/drawing/2014/main" id="{0D7069A4-1A8B-320A-39DB-E9945CBE1326}"/>
              </a:ext>
            </a:extLst>
          </p:cNvPr>
          <p:cNvSpPr/>
          <p:nvPr/>
        </p:nvSpPr>
        <p:spPr bwMode="gray">
          <a:xfrm>
            <a:off x="5406190" y="1214833"/>
            <a:ext cx="6484768" cy="1720872"/>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48" name="TextBox 47">
            <a:extLst>
              <a:ext uri="{FF2B5EF4-FFF2-40B4-BE49-F238E27FC236}">
                <a16:creationId xmlns:a16="http://schemas.microsoft.com/office/drawing/2014/main" id="{39D48931-AD80-A1F6-94F4-B333D046AFA3}"/>
              </a:ext>
            </a:extLst>
          </p:cNvPr>
          <p:cNvSpPr txBox="1"/>
          <p:nvPr/>
        </p:nvSpPr>
        <p:spPr>
          <a:xfrm>
            <a:off x="5347813" y="1253836"/>
            <a:ext cx="6601376" cy="1615827"/>
          </a:xfrm>
          <a:prstGeom prst="rect">
            <a:avLst/>
          </a:prstGeom>
          <a:noFill/>
        </p:spPr>
        <p:txBody>
          <a:bodyPr wrap="square">
            <a:spAutoFit/>
          </a:bodyPr>
          <a:lstStyle/>
          <a:p>
            <a:r>
              <a:rPr lang="en-GB" sz="1100" dirty="0">
                <a:effectLst/>
                <a:latin typeface="Open Sans Light" panose="020B0306030504020204" pitchFamily="34" charset="0"/>
                <a:ea typeface="Open Sans Light" panose="020B0306030504020204" pitchFamily="34" charset="0"/>
                <a:cs typeface="Open Sans Light" panose="020B0306030504020204" pitchFamily="34" charset="0"/>
              </a:rPr>
              <a:t>Our team possesses deep proficiency across a spectrum of data analytics platforms and essential governance principles. </a:t>
            </a:r>
          </a:p>
          <a:p>
            <a:endParaRPr lang="en-GB" sz="1100" dirty="0">
              <a:effectLst/>
              <a:latin typeface="Open Sans Light" panose="020B0306030504020204" pitchFamily="34" charset="0"/>
              <a:ea typeface="Open Sans Light" panose="020B0306030504020204" pitchFamily="34" charset="0"/>
              <a:cs typeface="Open Sans Light" panose="020B0306030504020204" pitchFamily="34" charset="0"/>
            </a:endParaRPr>
          </a:p>
          <a:p>
            <a:r>
              <a:rPr lang="en-GB" sz="1100" dirty="0">
                <a:effectLst/>
                <a:latin typeface="Open Sans Light" panose="020B0306030504020204" pitchFamily="34" charset="0"/>
                <a:ea typeface="Open Sans Light" panose="020B0306030504020204" pitchFamily="34" charset="0"/>
                <a:cs typeface="Open Sans Light" panose="020B0306030504020204" pitchFamily="34" charset="0"/>
              </a:rPr>
              <a:t>From cloud solutions like </a:t>
            </a:r>
            <a:r>
              <a:rPr lang="en-GB" sz="1100" b="1" dirty="0">
                <a:effectLst/>
                <a:latin typeface="Open Sans Light" panose="020B0306030504020204" pitchFamily="34" charset="0"/>
                <a:ea typeface="Open Sans Light" panose="020B0306030504020204" pitchFamily="34" charset="0"/>
                <a:cs typeface="Open Sans Light" panose="020B0306030504020204" pitchFamily="34" charset="0"/>
              </a:rPr>
              <a:t>AWS, Azure, and Google Cloud </a:t>
            </a:r>
            <a:r>
              <a:rPr lang="en-GB" sz="1100" dirty="0">
                <a:effectLst/>
                <a:latin typeface="Open Sans Light" panose="020B0306030504020204" pitchFamily="34" charset="0"/>
                <a:ea typeface="Open Sans Light" panose="020B0306030504020204" pitchFamily="34" charset="0"/>
                <a:cs typeface="Open Sans Light" panose="020B0306030504020204" pitchFamily="34" charset="0"/>
              </a:rPr>
              <a:t>to visualization tools such as </a:t>
            </a:r>
            <a:r>
              <a:rPr lang="en-GB" sz="1100" b="1" dirty="0">
                <a:effectLst/>
                <a:latin typeface="Open Sans Light" panose="020B0306030504020204" pitchFamily="34" charset="0"/>
                <a:ea typeface="Open Sans Light" panose="020B0306030504020204" pitchFamily="34" charset="0"/>
                <a:cs typeface="Open Sans Light" panose="020B0306030504020204" pitchFamily="34" charset="0"/>
              </a:rPr>
              <a:t>Tableau, </a:t>
            </a:r>
            <a:r>
              <a:rPr lang="en-GB" sz="1100" b="1" dirty="0" err="1">
                <a:effectLst/>
                <a:latin typeface="Open Sans Light" panose="020B0306030504020204" pitchFamily="34" charset="0"/>
                <a:ea typeface="Open Sans Light" panose="020B0306030504020204" pitchFamily="34" charset="0"/>
                <a:cs typeface="Open Sans Light" panose="020B0306030504020204" pitchFamily="34" charset="0"/>
              </a:rPr>
              <a:t>PowerBI</a:t>
            </a:r>
            <a:r>
              <a:rPr lang="en-GB" sz="1100" b="1" dirty="0">
                <a:effectLst/>
                <a:latin typeface="Open Sans Light" panose="020B0306030504020204" pitchFamily="34" charset="0"/>
                <a:ea typeface="Open Sans Light" panose="020B0306030504020204" pitchFamily="34" charset="0"/>
                <a:cs typeface="Open Sans Light" panose="020B0306030504020204" pitchFamily="34" charset="0"/>
              </a:rPr>
              <a:t>, and Looker</a:t>
            </a:r>
            <a:r>
              <a:rPr lang="en-GB" sz="1100" dirty="0">
                <a:effectLst/>
                <a:latin typeface="Open Sans Light" panose="020B0306030504020204" pitchFamily="34" charset="0"/>
                <a:ea typeface="Open Sans Light" panose="020B0306030504020204" pitchFamily="34" charset="0"/>
                <a:cs typeface="Open Sans Light" panose="020B0306030504020204" pitchFamily="34" charset="0"/>
              </a:rPr>
              <a:t>, we've got it covered. Our experience also extends to data preparation with Alteryx and advanced AI/ML technologies using Python and TensorFlow. </a:t>
            </a:r>
          </a:p>
          <a:p>
            <a:endParaRPr lang="en-GB" sz="1100" dirty="0">
              <a:latin typeface="Open Sans Light" panose="020B0306030504020204" pitchFamily="34" charset="0"/>
              <a:ea typeface="Open Sans Light" panose="020B0306030504020204" pitchFamily="34" charset="0"/>
              <a:cs typeface="Open Sans Light" panose="020B0306030504020204" pitchFamily="34" charset="0"/>
            </a:endParaRPr>
          </a:p>
          <a:p>
            <a:r>
              <a:rPr lang="en-GB" sz="1100" dirty="0">
                <a:effectLst/>
                <a:latin typeface="Open Sans Light" panose="020B0306030504020204" pitchFamily="34" charset="0"/>
                <a:ea typeface="Open Sans Light" panose="020B0306030504020204" pitchFamily="34" charset="0"/>
                <a:cs typeface="Open Sans Light" panose="020B0306030504020204" pitchFamily="34" charset="0"/>
              </a:rPr>
              <a:t>Beyond analytics, we champion data governance through </a:t>
            </a:r>
            <a:r>
              <a:rPr lang="en-GB" sz="1100" b="1" dirty="0">
                <a:effectLst/>
                <a:latin typeface="Open Sans Light" panose="020B0306030504020204" pitchFamily="34" charset="0"/>
                <a:ea typeface="Open Sans Light" panose="020B0306030504020204" pitchFamily="34" charset="0"/>
                <a:cs typeface="Open Sans Light" panose="020B0306030504020204" pitchFamily="34" charset="0"/>
              </a:rPr>
              <a:t>data strategy &amp; standardization</a:t>
            </a:r>
            <a:r>
              <a:rPr lang="en-GB" sz="1100" dirty="0">
                <a:effectLst/>
                <a:latin typeface="Open Sans Light" panose="020B0306030504020204" pitchFamily="34" charset="0"/>
                <a:ea typeface="Open Sans Light" panose="020B0306030504020204" pitchFamily="34" charset="0"/>
                <a:cs typeface="Open Sans Light" panose="020B0306030504020204" pitchFamily="34" charset="0"/>
              </a:rPr>
              <a:t>, enablement, maintenance, compliance, and uphold stringent </a:t>
            </a:r>
            <a:r>
              <a:rPr lang="en-GB" sz="1100" b="1" dirty="0">
                <a:effectLst/>
                <a:latin typeface="Open Sans Light" panose="020B0306030504020204" pitchFamily="34" charset="0"/>
                <a:ea typeface="Open Sans Light" panose="020B0306030504020204" pitchFamily="34" charset="0"/>
                <a:cs typeface="Open Sans Light" panose="020B0306030504020204" pitchFamily="34" charset="0"/>
              </a:rPr>
              <a:t>data privacy standards</a:t>
            </a:r>
            <a:r>
              <a:rPr lang="en-GB" sz="1100" dirty="0">
                <a:effectLst/>
                <a:latin typeface="Open Sans Light" panose="020B0306030504020204" pitchFamily="34" charset="0"/>
                <a:ea typeface="Open Sans Light" panose="020B0306030504020204" pitchFamily="34" charset="0"/>
                <a:cs typeface="Open Sans Light" panose="020B0306030504020204" pitchFamily="34" charset="0"/>
              </a:rPr>
              <a:t>.</a:t>
            </a:r>
            <a:endParaRPr lang="en-US" sz="1100" dirty="0">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50" name="Straight Connector 49">
            <a:extLst>
              <a:ext uri="{FF2B5EF4-FFF2-40B4-BE49-F238E27FC236}">
                <a16:creationId xmlns:a16="http://schemas.microsoft.com/office/drawing/2014/main" id="{74088221-1EA0-86CB-BAA1-0D9EF4760B85}"/>
              </a:ext>
            </a:extLst>
          </p:cNvPr>
          <p:cNvCxnSpPr>
            <a:cxnSpLocks/>
          </p:cNvCxnSpPr>
          <p:nvPr/>
        </p:nvCxnSpPr>
        <p:spPr>
          <a:xfrm>
            <a:off x="4704433" y="1253836"/>
            <a:ext cx="0" cy="466159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CB482ECD-90D3-C73E-F1E3-386318D1B75B}"/>
              </a:ext>
            </a:extLst>
          </p:cNvPr>
          <p:cNvSpPr/>
          <p:nvPr/>
        </p:nvSpPr>
        <p:spPr bwMode="gray">
          <a:xfrm>
            <a:off x="5406190" y="3223147"/>
            <a:ext cx="6484766" cy="2746632"/>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55" name="TextBox 54">
            <a:extLst>
              <a:ext uri="{FF2B5EF4-FFF2-40B4-BE49-F238E27FC236}">
                <a16:creationId xmlns:a16="http://schemas.microsoft.com/office/drawing/2014/main" id="{7A21242B-A159-B7B8-BE38-7BACE5CE82C5}"/>
              </a:ext>
            </a:extLst>
          </p:cNvPr>
          <p:cNvSpPr txBox="1"/>
          <p:nvPr/>
        </p:nvSpPr>
        <p:spPr>
          <a:xfrm>
            <a:off x="5348918" y="3354441"/>
            <a:ext cx="6542039" cy="2508379"/>
          </a:xfrm>
          <a:prstGeom prst="rect">
            <a:avLst/>
          </a:prstGeom>
          <a:noFill/>
        </p:spPr>
        <p:txBody>
          <a:bodyPr wrap="square">
            <a:spAutoFit/>
          </a:bodyPr>
          <a:lstStyle/>
          <a:p>
            <a:pPr>
              <a:spcBef>
                <a:spcPts val="600"/>
              </a:spcBef>
            </a:pPr>
            <a:r>
              <a:rPr lang="en-US" sz="1100" b="1" dirty="0">
                <a:latin typeface="Open Sans Light" panose="020B0306030504020204" pitchFamily="34" charset="0"/>
                <a:ea typeface="Open Sans Light" panose="020B0306030504020204" pitchFamily="34" charset="0"/>
                <a:cs typeface="Open Sans Light" panose="020B0306030504020204" pitchFamily="34" charset="0"/>
              </a:rPr>
              <a:t>Multi-Platform Mastery</a:t>
            </a:r>
            <a:r>
              <a:rPr lang="en-US" sz="1100" dirty="0">
                <a:latin typeface="Open Sans Light" panose="020B0306030504020204" pitchFamily="34" charset="0"/>
                <a:ea typeface="Open Sans Light" panose="020B0306030504020204" pitchFamily="34" charset="0"/>
                <a:cs typeface="Open Sans Light" panose="020B0306030504020204" pitchFamily="34" charset="0"/>
              </a:rPr>
              <a:t>: Our adeptness in a diverse range of tools ensures we craft solutions uniquely suited to each client's needs.</a:t>
            </a:r>
          </a:p>
          <a:p>
            <a:pPr>
              <a:spcBef>
                <a:spcPts val="600"/>
              </a:spcBef>
            </a:pPr>
            <a:r>
              <a:rPr lang="en-US" sz="1100" b="1" dirty="0">
                <a:latin typeface="Open Sans Light" panose="020B0306030504020204" pitchFamily="34" charset="0"/>
                <a:ea typeface="Open Sans Light" panose="020B0306030504020204" pitchFamily="34" charset="0"/>
                <a:cs typeface="Open Sans Light" panose="020B0306030504020204" pitchFamily="34" charset="0"/>
              </a:rPr>
              <a:t>End-to-End Capability</a:t>
            </a:r>
            <a:r>
              <a:rPr lang="en-US" sz="1100" dirty="0">
                <a:latin typeface="Open Sans Light" panose="020B0306030504020204" pitchFamily="34" charset="0"/>
                <a:ea typeface="Open Sans Light" panose="020B0306030504020204" pitchFamily="34" charset="0"/>
                <a:cs typeface="Open Sans Light" panose="020B0306030504020204" pitchFamily="34" charset="0"/>
              </a:rPr>
              <a:t>: Our expertise spans the full data spectrum, from ingestion and visualization to advanced predictive analytics.</a:t>
            </a:r>
          </a:p>
          <a:p>
            <a:pPr>
              <a:spcBef>
                <a:spcPts val="600"/>
              </a:spcBef>
            </a:pPr>
            <a:r>
              <a:rPr lang="en-US" sz="1100" b="1" dirty="0">
                <a:latin typeface="Open Sans Light" panose="020B0306030504020204" pitchFamily="34" charset="0"/>
                <a:ea typeface="Open Sans Light" panose="020B0306030504020204" pitchFamily="34" charset="0"/>
                <a:cs typeface="Open Sans Light" panose="020B0306030504020204" pitchFamily="34" charset="0"/>
              </a:rPr>
              <a:t>Data Governance</a:t>
            </a:r>
            <a:r>
              <a:rPr lang="en-US" sz="1100" dirty="0">
                <a:latin typeface="Open Sans Light" panose="020B0306030504020204" pitchFamily="34" charset="0"/>
                <a:ea typeface="Open Sans Light" panose="020B0306030504020204" pitchFamily="34" charset="0"/>
                <a:cs typeface="Open Sans Light" panose="020B0306030504020204" pitchFamily="34" charset="0"/>
              </a:rPr>
              <a:t>: We prioritize sound data governance practices, emphasizing strategic standardization, seamless enablement, ongoing maintenance, and strict compliance.</a:t>
            </a:r>
          </a:p>
          <a:p>
            <a:pPr>
              <a:spcBef>
                <a:spcPts val="600"/>
              </a:spcBef>
            </a:pPr>
            <a:r>
              <a:rPr lang="en-US" sz="1100" b="1" dirty="0">
                <a:latin typeface="Open Sans Light" panose="020B0306030504020204" pitchFamily="34" charset="0"/>
                <a:ea typeface="Open Sans Light" panose="020B0306030504020204" pitchFamily="34" charset="0"/>
                <a:cs typeface="Open Sans Light" panose="020B0306030504020204" pitchFamily="34" charset="0"/>
              </a:rPr>
              <a:t>Data Privacy Commitment</a:t>
            </a:r>
            <a:r>
              <a:rPr lang="en-US" sz="1100" dirty="0">
                <a:latin typeface="Open Sans Light" panose="020B0306030504020204" pitchFamily="34" charset="0"/>
                <a:ea typeface="Open Sans Light" panose="020B0306030504020204" pitchFamily="34" charset="0"/>
                <a:cs typeface="Open Sans Light" panose="020B0306030504020204" pitchFamily="34" charset="0"/>
              </a:rPr>
              <a:t>: Upholding data privacy is paramount. We integrate best practices to ensure data is protected, compliant, and used ethically.</a:t>
            </a:r>
          </a:p>
          <a:p>
            <a:pPr>
              <a:spcBef>
                <a:spcPts val="600"/>
              </a:spcBef>
            </a:pPr>
            <a:r>
              <a:rPr lang="en-US" sz="1100" b="1" dirty="0">
                <a:latin typeface="Open Sans Light" panose="020B0306030504020204" pitchFamily="34" charset="0"/>
                <a:ea typeface="Open Sans Light" panose="020B0306030504020204" pitchFamily="34" charset="0"/>
                <a:cs typeface="Open Sans Light" panose="020B0306030504020204" pitchFamily="34" charset="0"/>
              </a:rPr>
              <a:t>Technology Agnostic Approach</a:t>
            </a:r>
            <a:r>
              <a:rPr lang="en-US" sz="1100" dirty="0">
                <a:latin typeface="Open Sans Light" panose="020B0306030504020204" pitchFamily="34" charset="0"/>
                <a:ea typeface="Open Sans Light" panose="020B0306030504020204" pitchFamily="34" charset="0"/>
                <a:cs typeface="Open Sans Light" panose="020B0306030504020204" pitchFamily="34" charset="0"/>
              </a:rPr>
              <a:t>: Our extensive knowledge ensures we recommend the best tools and methodologies for our clients, rather than a one-size-fits-all approach.</a:t>
            </a:r>
          </a:p>
          <a:p>
            <a:pPr>
              <a:spcBef>
                <a:spcPts val="600"/>
              </a:spcBef>
            </a:pPr>
            <a:r>
              <a:rPr lang="en-US" sz="1100" b="1" dirty="0">
                <a:latin typeface="Open Sans Light" panose="020B0306030504020204" pitchFamily="34" charset="0"/>
                <a:ea typeface="Open Sans Light" panose="020B0306030504020204" pitchFamily="34" charset="0"/>
                <a:cs typeface="Open Sans Light" panose="020B0306030504020204" pitchFamily="34" charset="0"/>
              </a:rPr>
              <a:t>Client-Centric</a:t>
            </a:r>
            <a:r>
              <a:rPr lang="en-US" sz="1100" dirty="0">
                <a:latin typeface="Open Sans Light" panose="020B0306030504020204" pitchFamily="34" charset="0"/>
                <a:ea typeface="Open Sans Light" panose="020B0306030504020204" pitchFamily="34" charset="0"/>
                <a:cs typeface="Open Sans Light" panose="020B0306030504020204" pitchFamily="34" charset="0"/>
              </a:rPr>
              <a:t>: Every solution is curated with the client's business at the forefront, ensuring impactful, tailor-made results.</a:t>
            </a:r>
          </a:p>
        </p:txBody>
      </p:sp>
      <p:pic>
        <p:nvPicPr>
          <p:cNvPr id="57" name="Picture 56">
            <a:extLst>
              <a:ext uri="{FF2B5EF4-FFF2-40B4-BE49-F238E27FC236}">
                <a16:creationId xmlns:a16="http://schemas.microsoft.com/office/drawing/2014/main" id="{A4AE8FA3-D936-A1C2-8A96-54AA7719A2D6}"/>
              </a:ext>
            </a:extLst>
          </p:cNvPr>
          <p:cNvPicPr>
            <a:picLocks noChangeAspect="1"/>
          </p:cNvPicPr>
          <p:nvPr/>
        </p:nvPicPr>
        <p:blipFill>
          <a:blip r:embed="rId25" cstate="email">
            <a:grayscl/>
            <a:extLst>
              <a:ext uri="{BEBA8EAE-BF5A-486C-A8C5-ECC9F3942E4B}">
                <a14:imgProps xmlns:a14="http://schemas.microsoft.com/office/drawing/2010/main">
                  <a14:imgLayer r:embed="rId26">
                    <a14:imgEffect>
                      <a14:saturation sat="0"/>
                    </a14:imgEffect>
                  </a14:imgLayer>
                </a14:imgProps>
              </a:ext>
              <a:ext uri="{28A0092B-C50C-407E-A947-70E740481C1C}">
                <a14:useLocalDpi xmlns:a14="http://schemas.microsoft.com/office/drawing/2010/main"/>
              </a:ext>
            </a:extLst>
          </a:blip>
          <a:stretch>
            <a:fillRect/>
          </a:stretch>
        </p:blipFill>
        <p:spPr>
          <a:xfrm>
            <a:off x="4762576" y="1253836"/>
            <a:ext cx="503662" cy="503662"/>
          </a:xfrm>
          <a:prstGeom prst="ellipse">
            <a:avLst/>
          </a:prstGeom>
        </p:spPr>
      </p:pic>
      <p:pic>
        <p:nvPicPr>
          <p:cNvPr id="59" name="Picture 58">
            <a:extLst>
              <a:ext uri="{FF2B5EF4-FFF2-40B4-BE49-F238E27FC236}">
                <a16:creationId xmlns:a16="http://schemas.microsoft.com/office/drawing/2014/main" id="{E071379D-B9A5-5170-31DC-95DA5703D131}"/>
              </a:ext>
            </a:extLst>
          </p:cNvPr>
          <p:cNvPicPr>
            <a:picLocks noChangeAspect="1"/>
          </p:cNvPicPr>
          <p:nvPr/>
        </p:nvPicPr>
        <p:blipFill>
          <a:blip r:embed="rId27" cstate="email">
            <a:grayscl/>
            <a:extLst>
              <a:ext uri="{28A0092B-C50C-407E-A947-70E740481C1C}">
                <a14:useLocalDpi xmlns:a14="http://schemas.microsoft.com/office/drawing/2010/main"/>
              </a:ext>
            </a:extLst>
          </a:blip>
          <a:stretch>
            <a:fillRect/>
          </a:stretch>
        </p:blipFill>
        <p:spPr>
          <a:xfrm>
            <a:off x="4760760" y="3354441"/>
            <a:ext cx="507294" cy="507294"/>
          </a:xfrm>
          <a:prstGeom prst="ellipse">
            <a:avLst/>
          </a:prstGeom>
        </p:spPr>
      </p:pic>
    </p:spTree>
    <p:extLst>
      <p:ext uri="{BB962C8B-B14F-4D97-AF65-F5344CB8AC3E}">
        <p14:creationId xmlns:p14="http://schemas.microsoft.com/office/powerpoint/2010/main" val="1199761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695C1324-292E-4BD9-2605-1165B449D9E0}"/>
              </a:ext>
            </a:extLst>
          </p:cNvPr>
          <p:cNvGraphicFramePr>
            <a:graphicFrameLocks noChangeAspect="1"/>
          </p:cNvGraphicFramePr>
          <p:nvPr>
            <p:custDataLst>
              <p:tags r:id="rId1"/>
            </p:custDataLst>
            <p:extLst>
              <p:ext uri="{D42A27DB-BD31-4B8C-83A1-F6EECF244321}">
                <p14:modId xmlns:p14="http://schemas.microsoft.com/office/powerpoint/2010/main" val="2303878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6" progId="TCLayout.ActiveDocument.1">
                  <p:embed/>
                </p:oleObj>
              </mc:Choice>
              <mc:Fallback>
                <p:oleObj name="think-cell Slide" r:id="rId22" imgW="473" imgH="476" progId="TCLayout.ActiveDocument.1">
                  <p:embed/>
                  <p:pic>
                    <p:nvPicPr>
                      <p:cNvPr id="80" name="think-cell data - do not delete" hidden="1">
                        <a:extLst>
                          <a:ext uri="{FF2B5EF4-FFF2-40B4-BE49-F238E27FC236}">
                            <a16:creationId xmlns:a16="http://schemas.microsoft.com/office/drawing/2014/main" id="{695C1324-292E-4BD9-2605-1165B449D9E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98AF1A0-BDC9-C1EE-8F0C-0C5F3DAA72FA}"/>
              </a:ext>
            </a:extLst>
          </p:cNvPr>
          <p:cNvSpPr>
            <a:spLocks noGrp="1"/>
          </p:cNvSpPr>
          <p:nvPr>
            <p:ph type="title"/>
          </p:nvPr>
        </p:nvSpPr>
        <p:spPr>
          <a:xfrm>
            <a:off x="463295" y="417911"/>
            <a:ext cx="11372534" cy="334099"/>
          </a:xfrm>
        </p:spPr>
        <p:txBody>
          <a:bodyPr vert="horz"/>
          <a:lstStyle/>
          <a:p>
            <a:r>
              <a:rPr lang="en-US" sz="2000" dirty="0"/>
              <a:t>75% of our Consulting staff in Central Europe are technology practitioners, having deep expertise in a wide spectrum of technology domains</a:t>
            </a:r>
          </a:p>
        </p:txBody>
      </p:sp>
      <p:sp>
        <p:nvSpPr>
          <p:cNvPr id="26" name="Text Placeholder 3">
            <a:extLst>
              <a:ext uri="{FF2B5EF4-FFF2-40B4-BE49-F238E27FC236}">
                <a16:creationId xmlns:a16="http://schemas.microsoft.com/office/drawing/2014/main" id="{9F3D5EBF-53BA-BB7F-BC59-13FCD09FCD22}"/>
              </a:ext>
            </a:extLst>
          </p:cNvPr>
          <p:cNvSpPr txBox="1">
            <a:spLocks/>
          </p:cNvSpPr>
          <p:nvPr/>
        </p:nvSpPr>
        <p:spPr bwMode="gray">
          <a:xfrm>
            <a:off x="1277734" y="1814487"/>
            <a:ext cx="3357563" cy="200025"/>
          </a:xfrm>
          <a:prstGeom prst="rect">
            <a:avLst/>
          </a:prstGeom>
          <a:solidFill>
            <a:schemeClr val="bg1"/>
          </a:solidFill>
          <a:ln>
            <a:noFill/>
          </a:ln>
        </p:spPr>
        <p:txBody>
          <a:bodyPr vert="horz" wrap="square" lIns="0" tIns="0" rIns="0" bIns="0" rtlCol="0" anchor="t">
            <a:spAutoFit/>
          </a:bodyPr>
          <a:lstStyle/>
          <a:p>
            <a:pPr marL="0" lvl="1">
              <a:spcBef>
                <a:spcPts val="1200"/>
              </a:spcBef>
              <a:buSzPct val="100000"/>
              <a:defRPr/>
            </a:pPr>
            <a:r>
              <a:rPr lang="en-US" sz="1300" b="1" spc="300" dirty="0">
                <a:latin typeface="Open Sans" panose="020B0606030504020204" pitchFamily="34" charset="0"/>
                <a:ea typeface="Open Sans" panose="020B0606030504020204" pitchFamily="34" charset="0"/>
                <a:cs typeface="Open Sans" panose="020B0606030504020204" pitchFamily="34" charset="0"/>
              </a:rPr>
              <a:t>CE Consulting People (FTEs)</a:t>
            </a:r>
          </a:p>
        </p:txBody>
      </p:sp>
      <p:sp>
        <p:nvSpPr>
          <p:cNvPr id="77" name="Text Placeholder 1">
            <a:extLst>
              <a:ext uri="{FF2B5EF4-FFF2-40B4-BE49-F238E27FC236}">
                <a16:creationId xmlns:a16="http://schemas.microsoft.com/office/drawing/2014/main" id="{7B645C45-C1F7-B293-61D1-394C82B94498}"/>
              </a:ext>
            </a:extLst>
          </p:cNvPr>
          <p:cNvSpPr txBox="1">
            <a:spLocks/>
          </p:cNvSpPr>
          <p:nvPr/>
        </p:nvSpPr>
        <p:spPr>
          <a:xfrm>
            <a:off x="5818188" y="1435101"/>
            <a:ext cx="4482974" cy="385763"/>
          </a:xfrm>
          <a:prstGeom prst="rect">
            <a:avLst/>
          </a:prstGeom>
        </p:spPr>
        <p:txBody>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600" b="1" dirty="0">
                <a:solidFill>
                  <a:srgbClr val="00B0F2"/>
                </a:solidFill>
                <a:latin typeface="Open Sans Bold" panose="020B0806030504020204" pitchFamily="34" charset="0"/>
                <a:ea typeface="Open Sans Bold" panose="020B0806030504020204" pitchFamily="34" charset="0"/>
                <a:cs typeface="Open Sans Bold" panose="020B0806030504020204" pitchFamily="34" charset="0"/>
              </a:rPr>
              <a:t>75% </a:t>
            </a:r>
            <a:r>
              <a:rPr lang="en-US" sz="1200" dirty="0"/>
              <a:t>of CE Consulting Staff are technology professionals</a:t>
            </a:r>
            <a:endParaRPr lang="en-US" dirty="0"/>
          </a:p>
        </p:txBody>
      </p:sp>
      <p:sp>
        <p:nvSpPr>
          <p:cNvPr id="81" name="Title 1">
            <a:extLst>
              <a:ext uri="{FF2B5EF4-FFF2-40B4-BE49-F238E27FC236}">
                <a16:creationId xmlns:a16="http://schemas.microsoft.com/office/drawing/2014/main" id="{F3258D35-ACA5-0C39-9257-BE30AC9B2A25}"/>
              </a:ext>
            </a:extLst>
          </p:cNvPr>
          <p:cNvSpPr txBox="1">
            <a:spLocks/>
          </p:cNvSpPr>
          <p:nvPr/>
        </p:nvSpPr>
        <p:spPr bwMode="gray">
          <a:xfrm>
            <a:off x="481403" y="906411"/>
            <a:ext cx="11124034" cy="787400"/>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sz="1400" dirty="0">
              <a:solidFill>
                <a:prstClr val="black"/>
              </a:solidFill>
            </a:endParaRPr>
          </a:p>
        </p:txBody>
      </p:sp>
      <p:sp>
        <p:nvSpPr>
          <p:cNvPr id="206" name="Rectangle 4">
            <a:extLst>
              <a:ext uri="{FF2B5EF4-FFF2-40B4-BE49-F238E27FC236}">
                <a16:creationId xmlns:a16="http://schemas.microsoft.com/office/drawing/2014/main" id="{899B3466-424B-D852-B829-0978008B7714}"/>
              </a:ext>
            </a:extLst>
          </p:cNvPr>
          <p:cNvSpPr/>
          <p:nvPr/>
        </p:nvSpPr>
        <p:spPr bwMode="gray">
          <a:xfrm flipV="1">
            <a:off x="463295" y="1587818"/>
            <a:ext cx="4918330" cy="60230"/>
          </a:xfrm>
          <a:prstGeom prst="rect">
            <a:avLst/>
          </a:prstGeom>
          <a:solidFill>
            <a:srgbClr val="D5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50" dirty="0">
              <a:solidFill>
                <a:prstClr val="white"/>
              </a:solidFill>
              <a:latin typeface="Calibri" panose="020F0502020204030204" pitchFamily="34" charset="0"/>
              <a:cs typeface="Calibri" panose="020F0502020204030204" pitchFamily="34" charset="0"/>
            </a:endParaRPr>
          </a:p>
        </p:txBody>
      </p:sp>
      <p:graphicFrame>
        <p:nvGraphicFramePr>
          <p:cNvPr id="4" name="Chart 3">
            <a:extLst>
              <a:ext uri="{FF2B5EF4-FFF2-40B4-BE49-F238E27FC236}">
                <a16:creationId xmlns:a16="http://schemas.microsoft.com/office/drawing/2014/main" id="{C3371E68-9597-B4C3-6D63-9DE908604951}"/>
              </a:ext>
            </a:extLst>
          </p:cNvPr>
          <p:cNvGraphicFramePr/>
          <p:nvPr>
            <p:custDataLst>
              <p:tags r:id="rId2"/>
            </p:custDataLst>
            <p:extLst>
              <p:ext uri="{D42A27DB-BD31-4B8C-83A1-F6EECF244321}">
                <p14:modId xmlns:p14="http://schemas.microsoft.com/office/powerpoint/2010/main" val="3838843431"/>
              </p:ext>
            </p:extLst>
          </p:nvPr>
        </p:nvGraphicFramePr>
        <p:xfrm>
          <a:off x="7673975" y="2135188"/>
          <a:ext cx="3368675" cy="4478337"/>
        </p:xfrm>
        <a:graphic>
          <a:graphicData uri="http://schemas.openxmlformats.org/drawingml/2006/chart">
            <c:chart xmlns:c="http://schemas.openxmlformats.org/drawingml/2006/chart" xmlns:r="http://schemas.openxmlformats.org/officeDocument/2006/relationships" r:id="rId24"/>
          </a:graphicData>
        </a:graphic>
      </p:graphicFrame>
      <p:sp>
        <p:nvSpPr>
          <p:cNvPr id="402" name="Text Placeholder 18">
            <a:extLst>
              <a:ext uri="{FF2B5EF4-FFF2-40B4-BE49-F238E27FC236}">
                <a16:creationId xmlns:a16="http://schemas.microsoft.com/office/drawing/2014/main" id="{06677D1E-B43C-6C38-6223-3232A7B9DB49}"/>
              </a:ext>
            </a:extLst>
          </p:cNvPr>
          <p:cNvSpPr>
            <a:spLocks noGrp="1"/>
          </p:cNvSpPr>
          <p:nvPr>
            <p:custDataLst>
              <p:tags r:id="rId3"/>
            </p:custDataLst>
          </p:nvPr>
        </p:nvSpPr>
        <p:spPr bwMode="auto">
          <a:xfrm>
            <a:off x="7513637" y="2276475"/>
            <a:ext cx="223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3C62A80A-1B52-459D-91A6-AB687B73888C}" type="datetime'''''''''''''''''''''''''''A''''''''''W''''''''''''''''''S'''''">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AWS</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03" name="Text Placeholder 18">
            <a:extLst>
              <a:ext uri="{FF2B5EF4-FFF2-40B4-BE49-F238E27FC236}">
                <a16:creationId xmlns:a16="http://schemas.microsoft.com/office/drawing/2014/main" id="{99A24B5E-6AF7-7276-CF99-8FF2272957EE}"/>
              </a:ext>
            </a:extLst>
          </p:cNvPr>
          <p:cNvSpPr>
            <a:spLocks noGrp="1"/>
          </p:cNvSpPr>
          <p:nvPr>
            <p:custDataLst>
              <p:tags r:id="rId4"/>
            </p:custDataLst>
          </p:nvPr>
        </p:nvSpPr>
        <p:spPr bwMode="auto">
          <a:xfrm>
            <a:off x="5816600" y="2517775"/>
            <a:ext cx="1920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AC5826B7-8154-49AE-921C-A01855687B6D}" type="datetime'''''''Systens'' ''T''ransformation &amp; I''''n''teg''r''atio''n'">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Systens Transformation &amp; Integration</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04" name="Text Placeholder 18">
            <a:extLst>
              <a:ext uri="{FF2B5EF4-FFF2-40B4-BE49-F238E27FC236}">
                <a16:creationId xmlns:a16="http://schemas.microsoft.com/office/drawing/2014/main" id="{2D096AC0-E0F7-12C0-CC8D-254430B94828}"/>
              </a:ext>
            </a:extLst>
          </p:cNvPr>
          <p:cNvSpPr>
            <a:spLocks noGrp="1"/>
          </p:cNvSpPr>
          <p:nvPr>
            <p:custDataLst>
              <p:tags r:id="rId5"/>
            </p:custDataLst>
          </p:nvPr>
        </p:nvSpPr>
        <p:spPr bwMode="auto">
          <a:xfrm>
            <a:off x="7548563" y="2759075"/>
            <a:ext cx="188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C7FDBF0F-7DCE-455C-A362-8B6510343227}" type="datetime'S''''''''''''''''''A''''''''''''''''P'''''''''">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SAP</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05" name="Text Placeholder 18">
            <a:extLst>
              <a:ext uri="{FF2B5EF4-FFF2-40B4-BE49-F238E27FC236}">
                <a16:creationId xmlns:a16="http://schemas.microsoft.com/office/drawing/2014/main" id="{F879DC2D-13ED-11E4-A4D4-A3880393B5C1}"/>
              </a:ext>
            </a:extLst>
          </p:cNvPr>
          <p:cNvSpPr>
            <a:spLocks noGrp="1"/>
          </p:cNvSpPr>
          <p:nvPr>
            <p:custDataLst>
              <p:tags r:id="rId6"/>
            </p:custDataLst>
          </p:nvPr>
        </p:nvSpPr>
        <p:spPr bwMode="auto">
          <a:xfrm>
            <a:off x="6299200" y="2998788"/>
            <a:ext cx="14382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D8AA494E-CC30-4D70-A69E-4A1138D0254C}" type="datetime'A''rt''ificial ''In''telli''''gence ''&amp; Da''''''t''a'">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Artificial Intelligence &amp; Data</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06" name="Text Placeholder 18">
            <a:extLst>
              <a:ext uri="{FF2B5EF4-FFF2-40B4-BE49-F238E27FC236}">
                <a16:creationId xmlns:a16="http://schemas.microsoft.com/office/drawing/2014/main" id="{B0D7C764-764D-3E54-C994-DA43419460C3}"/>
              </a:ext>
            </a:extLst>
          </p:cNvPr>
          <p:cNvSpPr>
            <a:spLocks noGrp="1"/>
          </p:cNvSpPr>
          <p:nvPr>
            <p:custDataLst>
              <p:tags r:id="rId7"/>
            </p:custDataLst>
          </p:nvPr>
        </p:nvSpPr>
        <p:spPr bwMode="auto">
          <a:xfrm>
            <a:off x="7215188" y="3240088"/>
            <a:ext cx="522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268744AE-FD9B-4034-8AD7-951734D30A04}" type="datetime'S''''a''''''l''''e''s''''f''or''''c''e'''''''''''">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Salesforce</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07" name="Text Placeholder 18">
            <a:extLst>
              <a:ext uri="{FF2B5EF4-FFF2-40B4-BE49-F238E27FC236}">
                <a16:creationId xmlns:a16="http://schemas.microsoft.com/office/drawing/2014/main" id="{255E2365-F1D2-C0F0-2BC8-EE6206FB9969}"/>
              </a:ext>
            </a:extLst>
          </p:cNvPr>
          <p:cNvSpPr>
            <a:spLocks noGrp="1"/>
          </p:cNvSpPr>
          <p:nvPr>
            <p:custDataLst>
              <p:tags r:id="rId8"/>
            </p:custDataLst>
          </p:nvPr>
        </p:nvSpPr>
        <p:spPr bwMode="auto">
          <a:xfrm>
            <a:off x="7140574" y="3481388"/>
            <a:ext cx="5969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EB102899-1BBE-4ECA-B0A8-BD47F8A06FD8}" type="datetime'''''''''''''Se''''''r''''''vi''''c''''e''''N''o''''w'''''''''">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ServiceNow</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08" name="Text Placeholder 18">
            <a:extLst>
              <a:ext uri="{FF2B5EF4-FFF2-40B4-BE49-F238E27FC236}">
                <a16:creationId xmlns:a16="http://schemas.microsoft.com/office/drawing/2014/main" id="{B73F8CF1-E590-BAA6-B525-109C22142A6A}"/>
              </a:ext>
            </a:extLst>
          </p:cNvPr>
          <p:cNvSpPr>
            <a:spLocks noGrp="1"/>
          </p:cNvSpPr>
          <p:nvPr>
            <p:custDataLst>
              <p:tags r:id="rId9"/>
            </p:custDataLst>
          </p:nvPr>
        </p:nvSpPr>
        <p:spPr bwMode="auto">
          <a:xfrm>
            <a:off x="7277100" y="3722688"/>
            <a:ext cx="460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6DAFFB9D-DA46-4140-A531-88BDCB112EAD}" type="datetime'''''''T''e''''''''me''''no''''''''''''''''''''''''''''''s'''''">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Temenos</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09" name="Text Placeholder 18">
            <a:extLst>
              <a:ext uri="{FF2B5EF4-FFF2-40B4-BE49-F238E27FC236}">
                <a16:creationId xmlns:a16="http://schemas.microsoft.com/office/drawing/2014/main" id="{AE5AED6B-0DF4-4C64-2207-781337F1C24F}"/>
              </a:ext>
            </a:extLst>
          </p:cNvPr>
          <p:cNvSpPr>
            <a:spLocks noGrp="1"/>
          </p:cNvSpPr>
          <p:nvPr>
            <p:custDataLst>
              <p:tags r:id="rId10"/>
            </p:custDataLst>
          </p:nvPr>
        </p:nvSpPr>
        <p:spPr bwMode="auto">
          <a:xfrm>
            <a:off x="6115050" y="3962400"/>
            <a:ext cx="1622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378F3146-21D3-4AD4-A206-0EB64196F409}" type="datetime'''Mi''cros''oft Bu''sine''''''ss Appl''''''''i''catio''ns'''''">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Microsoft Business Applications</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0" name="Text Placeholder 18">
            <a:extLst>
              <a:ext uri="{FF2B5EF4-FFF2-40B4-BE49-F238E27FC236}">
                <a16:creationId xmlns:a16="http://schemas.microsoft.com/office/drawing/2014/main" id="{F816F6F9-276E-1488-071A-12FEEAFB9BF6}"/>
              </a:ext>
            </a:extLst>
          </p:cNvPr>
          <p:cNvSpPr>
            <a:spLocks noGrp="1"/>
          </p:cNvSpPr>
          <p:nvPr>
            <p:custDataLst>
              <p:tags r:id="rId11"/>
            </p:custDataLst>
          </p:nvPr>
        </p:nvSpPr>
        <p:spPr bwMode="auto">
          <a:xfrm>
            <a:off x="6459537" y="4203700"/>
            <a:ext cx="1277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A013E003-D43C-41E1-95A9-0E9552E5E458}" type="datetime'''D''''i''g''''it''''''al ''B''a''''''n''king'''' Solutions'''">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Digital Banking Solutions</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1" name="Text Placeholder 18">
            <a:extLst>
              <a:ext uri="{FF2B5EF4-FFF2-40B4-BE49-F238E27FC236}">
                <a16:creationId xmlns:a16="http://schemas.microsoft.com/office/drawing/2014/main" id="{9023BB1E-C475-76DD-A1D1-6F4339041471}"/>
              </a:ext>
            </a:extLst>
          </p:cNvPr>
          <p:cNvSpPr>
            <a:spLocks noGrp="1"/>
          </p:cNvSpPr>
          <p:nvPr>
            <p:custDataLst>
              <p:tags r:id="rId12"/>
            </p:custDataLst>
          </p:nvPr>
        </p:nvSpPr>
        <p:spPr bwMode="auto">
          <a:xfrm>
            <a:off x="7069138" y="4445000"/>
            <a:ext cx="668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B44AAAA4-3E30-4428-9632-D9980175BD2D}" type="datetime'''G''''''''''o''o''gle'' ''''''''''''C''lo''u''''d'''''">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Google Cloud</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2" name="Text Placeholder 18">
            <a:extLst>
              <a:ext uri="{FF2B5EF4-FFF2-40B4-BE49-F238E27FC236}">
                <a16:creationId xmlns:a16="http://schemas.microsoft.com/office/drawing/2014/main" id="{E5993FB6-660C-C35E-5A91-C4324A995501}"/>
              </a:ext>
            </a:extLst>
          </p:cNvPr>
          <p:cNvSpPr>
            <a:spLocks noGrp="1"/>
          </p:cNvSpPr>
          <p:nvPr>
            <p:custDataLst>
              <p:tags r:id="rId13"/>
            </p:custDataLst>
          </p:nvPr>
        </p:nvSpPr>
        <p:spPr bwMode="auto">
          <a:xfrm>
            <a:off x="6134100" y="4686300"/>
            <a:ext cx="1603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8F4C8709-FA50-4488-A4F7-C3324BBCA9A9}" type="datetime'Actu''''ari''al &amp; ''I''''n''sura''''n''ce'''' Sol''ution''s'''">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Actuarial &amp; Insurance Solutions</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3" name="Text Placeholder 18">
            <a:extLst>
              <a:ext uri="{FF2B5EF4-FFF2-40B4-BE49-F238E27FC236}">
                <a16:creationId xmlns:a16="http://schemas.microsoft.com/office/drawing/2014/main" id="{A66FB483-78D5-7FC0-C5B4-869FDDA6BBFB}"/>
              </a:ext>
            </a:extLst>
          </p:cNvPr>
          <p:cNvSpPr>
            <a:spLocks noGrp="1"/>
          </p:cNvSpPr>
          <p:nvPr>
            <p:custDataLst>
              <p:tags r:id="rId14"/>
            </p:custDataLst>
          </p:nvPr>
        </p:nvSpPr>
        <p:spPr bwMode="auto">
          <a:xfrm>
            <a:off x="6770688" y="4926013"/>
            <a:ext cx="966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76E0A757-1AB9-4BC0-B56F-9B6C8ABA354E}" type="datetime'''C''''lo''''''''u''d &amp;'''' E''n''''''''i''ne''e''''ring'''">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Cloud &amp; Enineering</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4" name="Text Placeholder 18">
            <a:extLst>
              <a:ext uri="{FF2B5EF4-FFF2-40B4-BE49-F238E27FC236}">
                <a16:creationId xmlns:a16="http://schemas.microsoft.com/office/drawing/2014/main" id="{3A7108D3-B81B-77A7-872D-51E23098BFA2}"/>
              </a:ext>
            </a:extLst>
          </p:cNvPr>
          <p:cNvSpPr>
            <a:spLocks noGrp="1"/>
          </p:cNvSpPr>
          <p:nvPr>
            <p:custDataLst>
              <p:tags r:id="rId15"/>
            </p:custDataLst>
          </p:nvPr>
        </p:nvSpPr>
        <p:spPr bwMode="auto">
          <a:xfrm>
            <a:off x="6519863" y="5167313"/>
            <a:ext cx="12176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20575A89-4C6F-4DDE-989C-98C5910BB7F8}" type="datetime'''''Ma''''rke''''ti''ng Tec''''''h''''''n''''''olo''gi''''es'">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Marketing Technologies</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5" name="Text Placeholder 18">
            <a:extLst>
              <a:ext uri="{FF2B5EF4-FFF2-40B4-BE49-F238E27FC236}">
                <a16:creationId xmlns:a16="http://schemas.microsoft.com/office/drawing/2014/main" id="{1D1FA862-9E5B-1BA9-2EE7-C28550EB8665}"/>
              </a:ext>
            </a:extLst>
          </p:cNvPr>
          <p:cNvSpPr>
            <a:spLocks noGrp="1"/>
          </p:cNvSpPr>
          <p:nvPr>
            <p:custDataLst>
              <p:tags r:id="rId16"/>
            </p:custDataLst>
          </p:nvPr>
        </p:nvSpPr>
        <p:spPr bwMode="auto">
          <a:xfrm>
            <a:off x="7281863" y="5408613"/>
            <a:ext cx="4556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70D0A979-AE0D-4858-9DD0-8C2E1E3B19BD}" type="datetime'W''o''r''''''k''''d''a''''''''''y'''''''''''''''''''''''''">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Workday</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6" name="Text Placeholder 18">
            <a:extLst>
              <a:ext uri="{FF2B5EF4-FFF2-40B4-BE49-F238E27FC236}">
                <a16:creationId xmlns:a16="http://schemas.microsoft.com/office/drawing/2014/main" id="{024E9EF5-1C76-D0F7-D590-85B32E46875C}"/>
              </a:ext>
            </a:extLst>
          </p:cNvPr>
          <p:cNvSpPr>
            <a:spLocks noGrp="1"/>
          </p:cNvSpPr>
          <p:nvPr>
            <p:custDataLst>
              <p:tags r:id="rId17"/>
            </p:custDataLst>
          </p:nvPr>
        </p:nvSpPr>
        <p:spPr bwMode="auto">
          <a:xfrm>
            <a:off x="5775324" y="5649913"/>
            <a:ext cx="1962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07C06236-9A7C-445D-AB32-1D91C2220748}" type="datetime'''''Ente''rpri''se Technology'' T''''ran''''sfo''''rmat''ion'">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Enterprise Technology Transformation</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7" name="Text Placeholder 18">
            <a:extLst>
              <a:ext uri="{FF2B5EF4-FFF2-40B4-BE49-F238E27FC236}">
                <a16:creationId xmlns:a16="http://schemas.microsoft.com/office/drawing/2014/main" id="{1D6D2AF1-8B09-1C74-B866-A642B5FBE44A}"/>
              </a:ext>
            </a:extLst>
          </p:cNvPr>
          <p:cNvSpPr>
            <a:spLocks noGrp="1"/>
          </p:cNvSpPr>
          <p:nvPr>
            <p:custDataLst>
              <p:tags r:id="rId18"/>
            </p:custDataLst>
          </p:nvPr>
        </p:nvSpPr>
        <p:spPr bwMode="auto">
          <a:xfrm>
            <a:off x="5565774" y="5889625"/>
            <a:ext cx="2171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839AA446-82E9-46FA-9DFD-B00129FD9866}" type="datetime'Technology'' Str''a''tegy'', Vis''i''on &amp; Architec''t''ure'">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Technology Strategy, Vision &amp; Architecture</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18" name="Text Placeholder 18">
            <a:extLst>
              <a:ext uri="{FF2B5EF4-FFF2-40B4-BE49-F238E27FC236}">
                <a16:creationId xmlns:a16="http://schemas.microsoft.com/office/drawing/2014/main" id="{AB2FDAFB-DBE7-34BF-FABE-166F6D716C65}"/>
              </a:ext>
            </a:extLst>
          </p:cNvPr>
          <p:cNvSpPr>
            <a:spLocks noGrp="1"/>
          </p:cNvSpPr>
          <p:nvPr>
            <p:custDataLst>
              <p:tags r:id="rId19"/>
            </p:custDataLst>
          </p:nvPr>
        </p:nvSpPr>
        <p:spPr bwMode="auto">
          <a:xfrm>
            <a:off x="6940550" y="6130925"/>
            <a:ext cx="7969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spcBef>
                <a:spcPts val="0"/>
              </a:spcBef>
              <a:spcAft>
                <a:spcPts val="750"/>
              </a:spcAft>
              <a:buSzPct val="100000"/>
              <a:buFontTx/>
              <a:buNone/>
              <a:defRPr sz="1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685800" rtl="0" eaLnBrk="1" latinLnBrk="0" hangingPunct="1">
              <a:spcBef>
                <a:spcPts val="0"/>
              </a:spcBef>
              <a:spcAft>
                <a:spcPts val="750"/>
              </a:spcAft>
              <a:buClrTx/>
              <a:buSzPct val="100000"/>
              <a:buFont typeface="Arial" panose="020B0604020202020204" pitchFamily="34" charset="0"/>
              <a:buNone/>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79388" indent="-179388" algn="l" defTabSz="685800" rtl="0" eaLnBrk="1" latinLnBrk="0" hangingPunct="1">
              <a:spcBef>
                <a:spcPts val="0"/>
              </a:spcBef>
              <a:spcAft>
                <a:spcPts val="750"/>
              </a:spcAft>
              <a:buClrTx/>
              <a:buSzPct val="100000"/>
              <a:buFont typeface="Arial" panose="020B0604020202020204" pitchFamily="34" charset="0"/>
              <a:buChar char="•"/>
              <a:defRPr lang="en-US" sz="10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2425" indent="-173038" algn="l" defTabSz="685800" rtl="0" eaLnBrk="1" latinLnBrk="0" hangingPunct="1">
              <a:spcBef>
                <a:spcPts val="0"/>
              </a:spcBef>
              <a:spcAft>
                <a:spcPts val="750"/>
              </a:spcAft>
              <a:buClrTx/>
              <a:buSzPct val="100000"/>
              <a:buFont typeface="Calibri" panose="020F0502020204030204" pitchFamily="34" charset="0"/>
              <a:buChar char="–"/>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0" indent="0" algn="l" defTabSz="598885" rtl="0" eaLnBrk="1" latinLnBrk="0" hangingPunct="1">
              <a:spcBef>
                <a:spcPts val="0"/>
              </a:spcBef>
              <a:spcAft>
                <a:spcPts val="750"/>
              </a:spcAft>
              <a:buClrTx/>
              <a:buSzPct val="100000"/>
              <a:buFont typeface="Arial" panose="020B0604020202020204" pitchFamily="34" charset="0"/>
              <a:buNone/>
              <a:tabLst/>
              <a:defRPr lang="en-US" sz="10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0" algn="r">
              <a:spcBef>
                <a:spcPct val="0"/>
              </a:spcBef>
              <a:spcAft>
                <a:spcPct val="0"/>
              </a:spcAft>
            </a:pPr>
            <a:fld id="{4DF679E4-C293-4CFA-8488-902810E6983A}" type="datetime'''''''Bu''s''''ine''''''''''''''s''s ''A''''gi''''''l''i''ty'">
              <a:rPr lang="en-US" altLang="en-US" sz="800" b="1" smtClean="0">
                <a:effectLst/>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pPr lvl="0" algn="r">
                <a:spcBef>
                  <a:spcPct val="0"/>
                </a:spcBef>
                <a:spcAft>
                  <a:spcPct val="0"/>
                </a:spcAft>
              </a:pPr>
              <a:t>Business Agility</a:t>
            </a:fld>
            <a:endParaRPr lang="en-US" sz="800" b="1" noProof="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32" name="TextBox 431">
            <a:extLst>
              <a:ext uri="{FF2B5EF4-FFF2-40B4-BE49-F238E27FC236}">
                <a16:creationId xmlns:a16="http://schemas.microsoft.com/office/drawing/2014/main" id="{D0E534B5-62FA-9415-6CC2-18E744F5AC8D}"/>
              </a:ext>
            </a:extLst>
          </p:cNvPr>
          <p:cNvSpPr txBox="1"/>
          <p:nvPr/>
        </p:nvSpPr>
        <p:spPr>
          <a:xfrm>
            <a:off x="7836115" y="1922436"/>
            <a:ext cx="2800135" cy="122238"/>
          </a:xfrm>
          <a:prstGeom prst="rect">
            <a:avLst/>
          </a:prstGeom>
          <a:noFill/>
        </p:spPr>
        <p:txBody>
          <a:bodyPr vert="horz" wrap="square" lIns="0" tIns="0" rIns="0" bIns="0" rtlCol="0">
            <a:spAutoFit/>
          </a:bodyPr>
          <a:lstStyle/>
          <a:p>
            <a:pPr>
              <a:spcBef>
                <a:spcPts val="200"/>
              </a:spcBef>
              <a:buSzPct val="100000"/>
              <a:defRPr/>
            </a:pPr>
            <a:r>
              <a:rPr lang="en-US" sz="800" i="1" dirty="0">
                <a:solidFill>
                  <a:srgbClr val="97999B"/>
                </a:solidFill>
                <a:latin typeface="Open Sans" panose="020B0606030504020204" pitchFamily="34" charset="0"/>
                <a:ea typeface="Open Sans" panose="020B0606030504020204" pitchFamily="34" charset="0"/>
                <a:cs typeface="Open Sans" panose="020B0606030504020204" pitchFamily="34" charset="0"/>
              </a:rPr>
              <a:t>Number of professionals by capability field</a:t>
            </a:r>
          </a:p>
        </p:txBody>
      </p:sp>
      <p:sp>
        <p:nvSpPr>
          <p:cNvPr id="440" name="Rectangle: Rounded Corners 439">
            <a:extLst>
              <a:ext uri="{FF2B5EF4-FFF2-40B4-BE49-F238E27FC236}">
                <a16:creationId xmlns:a16="http://schemas.microsoft.com/office/drawing/2014/main" id="{6EA67E43-F77C-C97E-CB9D-4C7D8B07D509}"/>
              </a:ext>
            </a:extLst>
          </p:cNvPr>
          <p:cNvSpPr/>
          <p:nvPr/>
        </p:nvSpPr>
        <p:spPr bwMode="gray">
          <a:xfrm>
            <a:off x="2568176" y="4465229"/>
            <a:ext cx="2256671" cy="1700982"/>
          </a:xfrm>
          <a:prstGeom prst="roundRect">
            <a:avLst>
              <a:gd name="adj" fmla="val 7872"/>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9" name="Rectangle: Rounded Corners 438">
            <a:extLst>
              <a:ext uri="{FF2B5EF4-FFF2-40B4-BE49-F238E27FC236}">
                <a16:creationId xmlns:a16="http://schemas.microsoft.com/office/drawing/2014/main" id="{E1A7D6FA-A430-451F-C770-A93955D415FD}"/>
              </a:ext>
            </a:extLst>
          </p:cNvPr>
          <p:cNvSpPr/>
          <p:nvPr/>
        </p:nvSpPr>
        <p:spPr bwMode="gray">
          <a:xfrm>
            <a:off x="997391" y="4465229"/>
            <a:ext cx="998621" cy="1700982"/>
          </a:xfrm>
          <a:prstGeom prst="roundRect">
            <a:avLst>
              <a:gd name="adj" fmla="val 12298"/>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TextBox 30">
            <a:extLst>
              <a:ext uri="{FF2B5EF4-FFF2-40B4-BE49-F238E27FC236}">
                <a16:creationId xmlns:a16="http://schemas.microsoft.com/office/drawing/2014/main" id="{8CF8F5AA-8269-CCBE-81C9-15A9AA034ACE}"/>
              </a:ext>
            </a:extLst>
          </p:cNvPr>
          <p:cNvSpPr txBox="1"/>
          <p:nvPr/>
        </p:nvSpPr>
        <p:spPr>
          <a:xfrm>
            <a:off x="1208843" y="4753957"/>
            <a:ext cx="819154" cy="371897"/>
          </a:xfrm>
          <a:prstGeom prst="rect">
            <a:avLst/>
          </a:prstGeom>
          <a:noFill/>
        </p:spPr>
        <p:txBody>
          <a:bodyPr vert="horz" wrap="square" lIns="0" tIns="0" rIns="0" bIns="0" rtlCol="0">
            <a:spAutoFit/>
          </a:bodyPr>
          <a:lstStyle/>
          <a:p>
            <a:pPr>
              <a:spcBef>
                <a:spcPts val="200"/>
              </a:spcBef>
              <a:buSzPct val="100000"/>
              <a:defRPr/>
            </a:pPr>
            <a:r>
              <a:rPr lang="en-US" sz="1050" dirty="0">
                <a:latin typeface="Open Sans" panose="020B0606030504020204" pitchFamily="34" charset="0"/>
                <a:ea typeface="Open Sans" panose="020B0606030504020204" pitchFamily="34" charset="0"/>
                <a:cs typeface="Open Sans" panose="020B0606030504020204" pitchFamily="34" charset="0"/>
              </a:rPr>
              <a:t>Female</a:t>
            </a:r>
          </a:p>
          <a:p>
            <a:pPr>
              <a:spcBef>
                <a:spcPts val="200"/>
              </a:spcBef>
              <a:buSzPct val="100000"/>
              <a:defRPr/>
            </a:pPr>
            <a:r>
              <a:rPr lang="en-US" sz="1200" b="1" dirty="0">
                <a:latin typeface="Open Sans" panose="020B0606030504020204" pitchFamily="34" charset="0"/>
                <a:ea typeface="Open Sans" panose="020B0606030504020204" pitchFamily="34" charset="0"/>
                <a:cs typeface="Open Sans" panose="020B0606030504020204" pitchFamily="34" charset="0"/>
              </a:rPr>
              <a:t>39%</a:t>
            </a:r>
          </a:p>
        </p:txBody>
      </p:sp>
      <p:sp>
        <p:nvSpPr>
          <p:cNvPr id="32" name="TextBox 31">
            <a:extLst>
              <a:ext uri="{FF2B5EF4-FFF2-40B4-BE49-F238E27FC236}">
                <a16:creationId xmlns:a16="http://schemas.microsoft.com/office/drawing/2014/main" id="{93D56EE0-64C1-BE9B-4709-1B76B3B5CE54}"/>
              </a:ext>
            </a:extLst>
          </p:cNvPr>
          <p:cNvSpPr txBox="1"/>
          <p:nvPr/>
        </p:nvSpPr>
        <p:spPr>
          <a:xfrm>
            <a:off x="1208843" y="5534357"/>
            <a:ext cx="463773" cy="371897"/>
          </a:xfrm>
          <a:prstGeom prst="rect">
            <a:avLst/>
          </a:prstGeom>
          <a:noFill/>
        </p:spPr>
        <p:txBody>
          <a:bodyPr vert="horz" wrap="square" lIns="0" tIns="0" rIns="0" bIns="0" rtlCol="0">
            <a:spAutoFit/>
          </a:bodyPr>
          <a:lstStyle/>
          <a:p>
            <a:pPr>
              <a:spcBef>
                <a:spcPts val="200"/>
              </a:spcBef>
              <a:buSzPct val="100000"/>
              <a:defRPr/>
            </a:pPr>
            <a:r>
              <a:rPr lang="en-US" sz="1050" dirty="0">
                <a:latin typeface="Open Sans" panose="020B0606030504020204" pitchFamily="34" charset="0"/>
                <a:ea typeface="Open Sans" panose="020B0606030504020204" pitchFamily="34" charset="0"/>
                <a:cs typeface="Open Sans" panose="020B0606030504020204" pitchFamily="34" charset="0"/>
              </a:rPr>
              <a:t>Male</a:t>
            </a:r>
          </a:p>
          <a:p>
            <a:pPr>
              <a:spcBef>
                <a:spcPts val="200"/>
              </a:spcBef>
              <a:buSzPct val="100000"/>
              <a:defRPr/>
            </a:pPr>
            <a:r>
              <a:rPr lang="en-US" sz="1200" b="1" dirty="0">
                <a:latin typeface="Open Sans" panose="020B0606030504020204" pitchFamily="34" charset="0"/>
                <a:ea typeface="Open Sans" panose="020B0606030504020204" pitchFamily="34" charset="0"/>
                <a:cs typeface="Open Sans" panose="020B0606030504020204" pitchFamily="34" charset="0"/>
              </a:rPr>
              <a:t>61%</a:t>
            </a:r>
          </a:p>
        </p:txBody>
      </p:sp>
      <p:sp>
        <p:nvSpPr>
          <p:cNvPr id="40" name="TextBox 39">
            <a:extLst>
              <a:ext uri="{FF2B5EF4-FFF2-40B4-BE49-F238E27FC236}">
                <a16:creationId xmlns:a16="http://schemas.microsoft.com/office/drawing/2014/main" id="{FA32F857-0049-1AC6-E9C4-C3788F6AF165}"/>
              </a:ext>
            </a:extLst>
          </p:cNvPr>
          <p:cNvSpPr txBox="1"/>
          <p:nvPr/>
        </p:nvSpPr>
        <p:spPr>
          <a:xfrm>
            <a:off x="2744090" y="4753957"/>
            <a:ext cx="1076805" cy="371897"/>
          </a:xfrm>
          <a:prstGeom prst="rect">
            <a:avLst/>
          </a:prstGeom>
          <a:noFill/>
        </p:spPr>
        <p:txBody>
          <a:bodyPr vert="horz" wrap="square" lIns="0" tIns="0" rIns="0" bIns="0" rtlCol="0">
            <a:spAutoFit/>
          </a:bodyPr>
          <a:lstStyle/>
          <a:p>
            <a:pPr>
              <a:spcBef>
                <a:spcPts val="200"/>
              </a:spcBef>
              <a:buSzPct val="100000"/>
              <a:defRPr/>
            </a:pPr>
            <a:r>
              <a:rPr lang="en-US" sz="1050" dirty="0">
                <a:latin typeface="Open Sans" panose="020B0606030504020204" pitchFamily="34" charset="0"/>
                <a:ea typeface="Open Sans" panose="020B0606030504020204" pitchFamily="34" charset="0"/>
                <a:cs typeface="Open Sans" panose="020B0606030504020204" pitchFamily="34" charset="0"/>
              </a:rPr>
              <a:t>Boomers</a:t>
            </a:r>
          </a:p>
          <a:p>
            <a:pPr>
              <a:spcBef>
                <a:spcPts val="200"/>
              </a:spcBef>
              <a:buSzPct val="100000"/>
              <a:defRPr/>
            </a:pPr>
            <a:r>
              <a:rPr lang="en-US" sz="1200" b="1" dirty="0">
                <a:latin typeface="Open Sans" panose="020B0606030504020204" pitchFamily="34" charset="0"/>
                <a:ea typeface="Open Sans" panose="020B0606030504020204" pitchFamily="34" charset="0"/>
                <a:cs typeface="Open Sans" panose="020B0606030504020204" pitchFamily="34" charset="0"/>
              </a:rPr>
              <a:t>1%</a:t>
            </a:r>
          </a:p>
        </p:txBody>
      </p:sp>
      <p:sp>
        <p:nvSpPr>
          <p:cNvPr id="41" name="TextBox 40">
            <a:extLst>
              <a:ext uri="{FF2B5EF4-FFF2-40B4-BE49-F238E27FC236}">
                <a16:creationId xmlns:a16="http://schemas.microsoft.com/office/drawing/2014/main" id="{67D1D1B7-2EEA-28C2-0834-72D1F5E1C95A}"/>
              </a:ext>
            </a:extLst>
          </p:cNvPr>
          <p:cNvSpPr txBox="1"/>
          <p:nvPr/>
        </p:nvSpPr>
        <p:spPr>
          <a:xfrm>
            <a:off x="2744090" y="5534357"/>
            <a:ext cx="653901" cy="371897"/>
          </a:xfrm>
          <a:prstGeom prst="rect">
            <a:avLst/>
          </a:prstGeom>
          <a:noFill/>
        </p:spPr>
        <p:txBody>
          <a:bodyPr vert="horz" wrap="square" lIns="0" tIns="0" rIns="0" bIns="0" rtlCol="0">
            <a:spAutoFit/>
          </a:bodyPr>
          <a:lstStyle/>
          <a:p>
            <a:pPr>
              <a:spcBef>
                <a:spcPts val="200"/>
              </a:spcBef>
              <a:buSzPct val="100000"/>
              <a:defRPr/>
            </a:pPr>
            <a:r>
              <a:rPr lang="en-US" sz="1050" dirty="0">
                <a:latin typeface="Open Sans" panose="020B0606030504020204" pitchFamily="34" charset="0"/>
                <a:ea typeface="Open Sans" panose="020B0606030504020204" pitchFamily="34" charset="0"/>
                <a:cs typeface="Open Sans" panose="020B0606030504020204" pitchFamily="34" charset="0"/>
              </a:rPr>
              <a:t>Gen X</a:t>
            </a:r>
          </a:p>
          <a:p>
            <a:pPr>
              <a:spcBef>
                <a:spcPts val="200"/>
              </a:spcBef>
              <a:buSzPct val="100000"/>
              <a:defRPr/>
            </a:pPr>
            <a:r>
              <a:rPr lang="en-US" sz="1200" b="1" dirty="0">
                <a:latin typeface="Open Sans" panose="020B0606030504020204" pitchFamily="34" charset="0"/>
                <a:ea typeface="Open Sans" panose="020B0606030504020204" pitchFamily="34" charset="0"/>
                <a:cs typeface="Open Sans" panose="020B0606030504020204" pitchFamily="34" charset="0"/>
              </a:rPr>
              <a:t>15%</a:t>
            </a:r>
          </a:p>
        </p:txBody>
      </p:sp>
      <p:sp>
        <p:nvSpPr>
          <p:cNvPr id="42" name="TextBox 41">
            <a:extLst>
              <a:ext uri="{FF2B5EF4-FFF2-40B4-BE49-F238E27FC236}">
                <a16:creationId xmlns:a16="http://schemas.microsoft.com/office/drawing/2014/main" id="{E9146B05-D43D-372F-C1E5-E1FCBAA24BBD}"/>
              </a:ext>
            </a:extLst>
          </p:cNvPr>
          <p:cNvSpPr txBox="1"/>
          <p:nvPr/>
        </p:nvSpPr>
        <p:spPr>
          <a:xfrm>
            <a:off x="3833333" y="4753957"/>
            <a:ext cx="1076805" cy="371897"/>
          </a:xfrm>
          <a:prstGeom prst="rect">
            <a:avLst/>
          </a:prstGeom>
          <a:noFill/>
        </p:spPr>
        <p:txBody>
          <a:bodyPr vert="horz" wrap="square" lIns="0" tIns="0" rIns="0" bIns="0" rtlCol="0">
            <a:spAutoFit/>
          </a:bodyPr>
          <a:lstStyle/>
          <a:p>
            <a:pPr>
              <a:spcBef>
                <a:spcPts val="200"/>
              </a:spcBef>
              <a:buSzPct val="100000"/>
              <a:defRPr/>
            </a:pPr>
            <a:r>
              <a:rPr lang="en-US" sz="1050" dirty="0">
                <a:latin typeface="Open Sans" panose="020B0606030504020204" pitchFamily="34" charset="0"/>
                <a:ea typeface="Open Sans" panose="020B0606030504020204" pitchFamily="34" charset="0"/>
                <a:cs typeface="Open Sans" panose="020B0606030504020204" pitchFamily="34" charset="0"/>
              </a:rPr>
              <a:t>Millennials</a:t>
            </a:r>
          </a:p>
          <a:p>
            <a:pPr>
              <a:spcBef>
                <a:spcPts val="200"/>
              </a:spcBef>
              <a:buSzPct val="100000"/>
              <a:defRPr/>
            </a:pPr>
            <a:r>
              <a:rPr lang="en-US" sz="1200" b="1" dirty="0">
                <a:latin typeface="Open Sans" panose="020B0606030504020204" pitchFamily="34" charset="0"/>
                <a:ea typeface="Open Sans" panose="020B0606030504020204" pitchFamily="34" charset="0"/>
                <a:cs typeface="Open Sans" panose="020B0606030504020204" pitchFamily="34" charset="0"/>
              </a:rPr>
              <a:t>69%</a:t>
            </a:r>
          </a:p>
        </p:txBody>
      </p:sp>
      <p:sp>
        <p:nvSpPr>
          <p:cNvPr id="43" name="TextBox 42">
            <a:extLst>
              <a:ext uri="{FF2B5EF4-FFF2-40B4-BE49-F238E27FC236}">
                <a16:creationId xmlns:a16="http://schemas.microsoft.com/office/drawing/2014/main" id="{881B94B5-DD73-CB7B-8274-366C1E76027D}"/>
              </a:ext>
            </a:extLst>
          </p:cNvPr>
          <p:cNvSpPr txBox="1"/>
          <p:nvPr/>
        </p:nvSpPr>
        <p:spPr>
          <a:xfrm>
            <a:off x="3833333" y="5534357"/>
            <a:ext cx="643240" cy="371897"/>
          </a:xfrm>
          <a:prstGeom prst="rect">
            <a:avLst/>
          </a:prstGeom>
          <a:noFill/>
        </p:spPr>
        <p:txBody>
          <a:bodyPr vert="horz" wrap="square" lIns="0" tIns="0" rIns="0" bIns="0" rtlCol="0">
            <a:spAutoFit/>
          </a:bodyPr>
          <a:lstStyle/>
          <a:p>
            <a:pPr>
              <a:spcBef>
                <a:spcPts val="200"/>
              </a:spcBef>
              <a:buSzPct val="100000"/>
              <a:defRPr/>
            </a:pPr>
            <a:r>
              <a:rPr lang="en-US" sz="1050" dirty="0">
                <a:latin typeface="Open Sans" panose="020B0606030504020204" pitchFamily="34" charset="0"/>
                <a:ea typeface="Open Sans" panose="020B0606030504020204" pitchFamily="34" charset="0"/>
                <a:cs typeface="Open Sans" panose="020B0606030504020204" pitchFamily="34" charset="0"/>
              </a:rPr>
              <a:t>Gen Z</a:t>
            </a:r>
          </a:p>
          <a:p>
            <a:pPr>
              <a:spcBef>
                <a:spcPts val="200"/>
              </a:spcBef>
              <a:buSzPct val="100000"/>
              <a:defRPr/>
            </a:pPr>
            <a:r>
              <a:rPr lang="en-US" sz="1200" b="1" dirty="0">
                <a:latin typeface="Open Sans" panose="020B0606030504020204" pitchFamily="34" charset="0"/>
                <a:ea typeface="Open Sans" panose="020B0606030504020204" pitchFamily="34" charset="0"/>
                <a:cs typeface="Open Sans" panose="020B0606030504020204" pitchFamily="34" charset="0"/>
              </a:rPr>
              <a:t>15%</a:t>
            </a:r>
          </a:p>
        </p:txBody>
      </p:sp>
      <p:sp>
        <p:nvSpPr>
          <p:cNvPr id="441" name="Graphic 4">
            <a:extLst>
              <a:ext uri="{FF2B5EF4-FFF2-40B4-BE49-F238E27FC236}">
                <a16:creationId xmlns:a16="http://schemas.microsoft.com/office/drawing/2014/main" id="{59EE76FC-9C0A-4970-2486-E009D55B8990}"/>
              </a:ext>
            </a:extLst>
          </p:cNvPr>
          <p:cNvSpPr/>
          <p:nvPr/>
        </p:nvSpPr>
        <p:spPr>
          <a:xfrm>
            <a:off x="1256819" y="4203700"/>
            <a:ext cx="469103" cy="468659"/>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27160 w 362309"/>
              <a:gd name="connsiteY7" fmla="*/ 66394 h 361971"/>
              <a:gd name="connsiteX8" fmla="*/ 148885 w 362309"/>
              <a:gd name="connsiteY8" fmla="*/ 88099 h 361971"/>
              <a:gd name="connsiteX9" fmla="*/ 127160 w 362309"/>
              <a:gd name="connsiteY9" fmla="*/ 109805 h 361971"/>
              <a:gd name="connsiteX10" fmla="*/ 105434 w 362309"/>
              <a:gd name="connsiteY10" fmla="*/ 88099 h 361971"/>
              <a:gd name="connsiteX11" fmla="*/ 105434 w 362309"/>
              <a:gd name="connsiteY11" fmla="*/ 88099 h 361971"/>
              <a:gd name="connsiteX12" fmla="*/ 127160 w 362309"/>
              <a:gd name="connsiteY12" fmla="*/ 66394 h 361971"/>
              <a:gd name="connsiteX13" fmla="*/ 164221 w 362309"/>
              <a:gd name="connsiteY13" fmla="*/ 211310 h 361971"/>
              <a:gd name="connsiteX14" fmla="*/ 157832 w 362309"/>
              <a:gd name="connsiteY14" fmla="*/ 217694 h 361971"/>
              <a:gd name="connsiteX15" fmla="*/ 148885 w 362309"/>
              <a:gd name="connsiteY15" fmla="*/ 217694 h 361971"/>
              <a:gd name="connsiteX16" fmla="*/ 148885 w 362309"/>
              <a:gd name="connsiteY16" fmla="*/ 288556 h 361971"/>
              <a:gd name="connsiteX17" fmla="*/ 142496 w 362309"/>
              <a:gd name="connsiteY17" fmla="*/ 294940 h 361971"/>
              <a:gd name="connsiteX18" fmla="*/ 136106 w 362309"/>
              <a:gd name="connsiteY18" fmla="*/ 288556 h 361971"/>
              <a:gd name="connsiteX19" fmla="*/ 136106 w 362309"/>
              <a:gd name="connsiteY19" fmla="*/ 217694 h 361971"/>
              <a:gd name="connsiteX20" fmla="*/ 118214 w 362309"/>
              <a:gd name="connsiteY20" fmla="*/ 217694 h 361971"/>
              <a:gd name="connsiteX21" fmla="*/ 118214 w 362309"/>
              <a:gd name="connsiteY21" fmla="*/ 288556 h 361971"/>
              <a:gd name="connsiteX22" fmla="*/ 111824 w 362309"/>
              <a:gd name="connsiteY22" fmla="*/ 294940 h 361971"/>
              <a:gd name="connsiteX23" fmla="*/ 105434 w 362309"/>
              <a:gd name="connsiteY23" fmla="*/ 288556 h 361971"/>
              <a:gd name="connsiteX24" fmla="*/ 105434 w 362309"/>
              <a:gd name="connsiteY24" fmla="*/ 217694 h 361971"/>
              <a:gd name="connsiteX25" fmla="*/ 96488 w 362309"/>
              <a:gd name="connsiteY25" fmla="*/ 217694 h 361971"/>
              <a:gd name="connsiteX26" fmla="*/ 90098 w 362309"/>
              <a:gd name="connsiteY26" fmla="*/ 211310 h 361971"/>
              <a:gd name="connsiteX27" fmla="*/ 90098 w 362309"/>
              <a:gd name="connsiteY27" fmla="*/ 134064 h 361971"/>
              <a:gd name="connsiteX28" fmla="*/ 96488 w 362309"/>
              <a:gd name="connsiteY28" fmla="*/ 127680 h 361971"/>
              <a:gd name="connsiteX29" fmla="*/ 158470 w 362309"/>
              <a:gd name="connsiteY29" fmla="*/ 127680 h 361971"/>
              <a:gd name="connsiteX30" fmla="*/ 164860 w 362309"/>
              <a:gd name="connsiteY30" fmla="*/ 134064 h 361971"/>
              <a:gd name="connsiteX31" fmla="*/ 164860 w 362309"/>
              <a:gd name="connsiteY31" fmla="*/ 211310 h 361971"/>
              <a:gd name="connsiteX32" fmla="*/ 235150 w 362309"/>
              <a:gd name="connsiteY32" fmla="*/ 66394 h 361971"/>
              <a:gd name="connsiteX33" fmla="*/ 256876 w 362309"/>
              <a:gd name="connsiteY33" fmla="*/ 88099 h 361971"/>
              <a:gd name="connsiteX34" fmla="*/ 235150 w 362309"/>
              <a:gd name="connsiteY34" fmla="*/ 109805 h 361971"/>
              <a:gd name="connsiteX35" fmla="*/ 213424 w 362309"/>
              <a:gd name="connsiteY35" fmla="*/ 88099 h 361971"/>
              <a:gd name="connsiteX36" fmla="*/ 213424 w 362309"/>
              <a:gd name="connsiteY36" fmla="*/ 88099 h 361971"/>
              <a:gd name="connsiteX37" fmla="*/ 235150 w 362309"/>
              <a:gd name="connsiteY37" fmla="*/ 66394 h 361971"/>
              <a:gd name="connsiteX38" fmla="*/ 270934 w 362309"/>
              <a:gd name="connsiteY38" fmla="*/ 231100 h 361971"/>
              <a:gd name="connsiteX39" fmla="*/ 265821 w 362309"/>
              <a:gd name="connsiteY39" fmla="*/ 233654 h 361971"/>
              <a:gd name="connsiteX40" fmla="*/ 256876 w 362309"/>
              <a:gd name="connsiteY40" fmla="*/ 233654 h 361971"/>
              <a:gd name="connsiteX41" fmla="*/ 256876 w 362309"/>
              <a:gd name="connsiteY41" fmla="*/ 288556 h 361971"/>
              <a:gd name="connsiteX42" fmla="*/ 250486 w 362309"/>
              <a:gd name="connsiteY42" fmla="*/ 294940 h 361971"/>
              <a:gd name="connsiteX43" fmla="*/ 244096 w 362309"/>
              <a:gd name="connsiteY43" fmla="*/ 288556 h 361971"/>
              <a:gd name="connsiteX44" fmla="*/ 244096 w 362309"/>
              <a:gd name="connsiteY44" fmla="*/ 233015 h 361971"/>
              <a:gd name="connsiteX45" fmla="*/ 226204 w 362309"/>
              <a:gd name="connsiteY45" fmla="*/ 233015 h 361971"/>
              <a:gd name="connsiteX46" fmla="*/ 226204 w 362309"/>
              <a:gd name="connsiteY46" fmla="*/ 288556 h 361971"/>
              <a:gd name="connsiteX47" fmla="*/ 219814 w 362309"/>
              <a:gd name="connsiteY47" fmla="*/ 294940 h 361971"/>
              <a:gd name="connsiteX48" fmla="*/ 213424 w 362309"/>
              <a:gd name="connsiteY48" fmla="*/ 288556 h 361971"/>
              <a:gd name="connsiteX49" fmla="*/ 213424 w 362309"/>
              <a:gd name="connsiteY49" fmla="*/ 233015 h 361971"/>
              <a:gd name="connsiteX50" fmla="*/ 204478 w 362309"/>
              <a:gd name="connsiteY50" fmla="*/ 233015 h 361971"/>
              <a:gd name="connsiteX51" fmla="*/ 199366 w 362309"/>
              <a:gd name="connsiteY51" fmla="*/ 230462 h 361971"/>
              <a:gd name="connsiteX52" fmla="*/ 198088 w 362309"/>
              <a:gd name="connsiteY52" fmla="*/ 224716 h 361971"/>
              <a:gd name="connsiteX53" fmla="*/ 221092 w 362309"/>
              <a:gd name="connsiteY53" fmla="*/ 132149 h 361971"/>
              <a:gd name="connsiteX54" fmla="*/ 227482 w 362309"/>
              <a:gd name="connsiteY54" fmla="*/ 127041 h 361971"/>
              <a:gd name="connsiteX55" fmla="*/ 242179 w 362309"/>
              <a:gd name="connsiteY55" fmla="*/ 127041 h 361971"/>
              <a:gd name="connsiteX56" fmla="*/ 248569 w 362309"/>
              <a:gd name="connsiteY56" fmla="*/ 132149 h 361971"/>
              <a:gd name="connsiteX57" fmla="*/ 271572 w 362309"/>
              <a:gd name="connsiteY57" fmla="*/ 224716 h 361971"/>
              <a:gd name="connsiteX58" fmla="*/ 270934 w 362309"/>
              <a:gd name="connsiteY58" fmla="*/ 23110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127160" y="66394"/>
                </a:moveTo>
                <a:cubicBezTo>
                  <a:pt x="139301" y="66394"/>
                  <a:pt x="148885" y="75970"/>
                  <a:pt x="148885" y="88099"/>
                </a:cubicBezTo>
                <a:cubicBezTo>
                  <a:pt x="148885" y="100229"/>
                  <a:pt x="139301" y="109805"/>
                  <a:pt x="127160" y="109805"/>
                </a:cubicBezTo>
                <a:cubicBezTo>
                  <a:pt x="115019" y="109805"/>
                  <a:pt x="105434" y="100229"/>
                  <a:pt x="105434" y="88099"/>
                </a:cubicBezTo>
                <a:lnTo>
                  <a:pt x="105434" y="88099"/>
                </a:lnTo>
                <a:cubicBezTo>
                  <a:pt x="105434" y="75970"/>
                  <a:pt x="115019" y="66394"/>
                  <a:pt x="127160" y="66394"/>
                </a:cubicBezTo>
                <a:close/>
                <a:moveTo>
                  <a:pt x="164221" y="211310"/>
                </a:moveTo>
                <a:cubicBezTo>
                  <a:pt x="164221" y="215140"/>
                  <a:pt x="161665" y="217694"/>
                  <a:pt x="157832" y="217694"/>
                </a:cubicBezTo>
                <a:lnTo>
                  <a:pt x="148885" y="217694"/>
                </a:lnTo>
                <a:lnTo>
                  <a:pt x="148885" y="288556"/>
                </a:lnTo>
                <a:cubicBezTo>
                  <a:pt x="148885" y="292387"/>
                  <a:pt x="146330" y="294940"/>
                  <a:pt x="142496" y="294940"/>
                </a:cubicBezTo>
                <a:cubicBezTo>
                  <a:pt x="138662" y="294940"/>
                  <a:pt x="136106" y="292387"/>
                  <a:pt x="136106" y="288556"/>
                </a:cubicBezTo>
                <a:lnTo>
                  <a:pt x="136106" y="217694"/>
                </a:lnTo>
                <a:lnTo>
                  <a:pt x="118214" y="217694"/>
                </a:lnTo>
                <a:lnTo>
                  <a:pt x="118214" y="288556"/>
                </a:lnTo>
                <a:cubicBezTo>
                  <a:pt x="118214" y="292387"/>
                  <a:pt x="115658" y="294940"/>
                  <a:pt x="111824" y="294940"/>
                </a:cubicBezTo>
                <a:cubicBezTo>
                  <a:pt x="107990" y="294940"/>
                  <a:pt x="105434" y="292387"/>
                  <a:pt x="105434" y="288556"/>
                </a:cubicBezTo>
                <a:lnTo>
                  <a:pt x="105434" y="217694"/>
                </a:lnTo>
                <a:lnTo>
                  <a:pt x="96488" y="217694"/>
                </a:lnTo>
                <a:cubicBezTo>
                  <a:pt x="92654" y="217694"/>
                  <a:pt x="90098" y="215140"/>
                  <a:pt x="90098" y="211310"/>
                </a:cubicBezTo>
                <a:lnTo>
                  <a:pt x="90098" y="134064"/>
                </a:lnTo>
                <a:cubicBezTo>
                  <a:pt x="90098" y="130233"/>
                  <a:pt x="92654" y="127680"/>
                  <a:pt x="96488" y="127680"/>
                </a:cubicBezTo>
                <a:lnTo>
                  <a:pt x="158470" y="127680"/>
                </a:lnTo>
                <a:cubicBezTo>
                  <a:pt x="162305" y="127680"/>
                  <a:pt x="164860" y="130233"/>
                  <a:pt x="164860" y="134064"/>
                </a:cubicBezTo>
                <a:lnTo>
                  <a:pt x="164860" y="211310"/>
                </a:lnTo>
                <a:close/>
                <a:moveTo>
                  <a:pt x="235150" y="66394"/>
                </a:moveTo>
                <a:cubicBezTo>
                  <a:pt x="247291" y="66394"/>
                  <a:pt x="256876" y="75970"/>
                  <a:pt x="256876" y="88099"/>
                </a:cubicBezTo>
                <a:cubicBezTo>
                  <a:pt x="256876" y="100229"/>
                  <a:pt x="247291" y="109805"/>
                  <a:pt x="235150" y="109805"/>
                </a:cubicBezTo>
                <a:cubicBezTo>
                  <a:pt x="223009" y="109805"/>
                  <a:pt x="213424" y="100229"/>
                  <a:pt x="213424" y="88099"/>
                </a:cubicBezTo>
                <a:lnTo>
                  <a:pt x="213424" y="88099"/>
                </a:lnTo>
                <a:cubicBezTo>
                  <a:pt x="213424" y="75970"/>
                  <a:pt x="223009" y="66394"/>
                  <a:pt x="235150" y="66394"/>
                </a:cubicBezTo>
                <a:close/>
                <a:moveTo>
                  <a:pt x="270934" y="231100"/>
                </a:moveTo>
                <a:cubicBezTo>
                  <a:pt x="269655" y="232377"/>
                  <a:pt x="267739" y="233654"/>
                  <a:pt x="265821" y="233654"/>
                </a:cubicBezTo>
                <a:lnTo>
                  <a:pt x="256876" y="233654"/>
                </a:lnTo>
                <a:lnTo>
                  <a:pt x="256876" y="288556"/>
                </a:lnTo>
                <a:cubicBezTo>
                  <a:pt x="256876" y="292387"/>
                  <a:pt x="254319" y="294940"/>
                  <a:pt x="250486" y="294940"/>
                </a:cubicBezTo>
                <a:cubicBezTo>
                  <a:pt x="246651" y="294940"/>
                  <a:pt x="244096" y="292387"/>
                  <a:pt x="244096" y="288556"/>
                </a:cubicBezTo>
                <a:lnTo>
                  <a:pt x="244096" y="233015"/>
                </a:lnTo>
                <a:lnTo>
                  <a:pt x="226204" y="233015"/>
                </a:lnTo>
                <a:lnTo>
                  <a:pt x="226204" y="288556"/>
                </a:lnTo>
                <a:cubicBezTo>
                  <a:pt x="226204" y="292387"/>
                  <a:pt x="223648" y="294940"/>
                  <a:pt x="219814" y="294940"/>
                </a:cubicBezTo>
                <a:cubicBezTo>
                  <a:pt x="215980" y="294940"/>
                  <a:pt x="213424" y="292387"/>
                  <a:pt x="213424" y="288556"/>
                </a:cubicBezTo>
                <a:lnTo>
                  <a:pt x="213424" y="233015"/>
                </a:lnTo>
                <a:lnTo>
                  <a:pt x="204478" y="233015"/>
                </a:lnTo>
                <a:cubicBezTo>
                  <a:pt x="202561" y="233015"/>
                  <a:pt x="200644" y="232377"/>
                  <a:pt x="199366" y="230462"/>
                </a:cubicBezTo>
                <a:cubicBezTo>
                  <a:pt x="198088" y="229185"/>
                  <a:pt x="197449" y="226631"/>
                  <a:pt x="198088" y="224716"/>
                </a:cubicBezTo>
                <a:lnTo>
                  <a:pt x="221092" y="132149"/>
                </a:lnTo>
                <a:cubicBezTo>
                  <a:pt x="221731" y="128957"/>
                  <a:pt x="224287" y="127041"/>
                  <a:pt x="227482" y="127041"/>
                </a:cubicBezTo>
                <a:lnTo>
                  <a:pt x="242179" y="127041"/>
                </a:lnTo>
                <a:cubicBezTo>
                  <a:pt x="245374" y="127041"/>
                  <a:pt x="247929" y="128957"/>
                  <a:pt x="248569" y="132149"/>
                </a:cubicBezTo>
                <a:lnTo>
                  <a:pt x="271572" y="224716"/>
                </a:lnTo>
                <a:cubicBezTo>
                  <a:pt x="272850" y="227270"/>
                  <a:pt x="272211" y="229185"/>
                  <a:pt x="270934" y="231100"/>
                </a:cubicBezTo>
                <a:close/>
              </a:path>
            </a:pathLst>
          </a:custGeom>
          <a:solidFill>
            <a:srgbClr val="00B0F2"/>
          </a:solidFill>
          <a:ln w="6390" cap="flat">
            <a:noFill/>
            <a:prstDash val="solid"/>
            <a:miter/>
          </a:ln>
        </p:spPr>
        <p:txBody>
          <a:bodyPr rtlCol="0" anchor="ctr"/>
          <a:lstStyle/>
          <a:p>
            <a:endParaRPr lang="en-US" dirty="0"/>
          </a:p>
        </p:txBody>
      </p:sp>
      <p:sp>
        <p:nvSpPr>
          <p:cNvPr id="442" name="Freeform 534">
            <a:extLst>
              <a:ext uri="{FF2B5EF4-FFF2-40B4-BE49-F238E27FC236}">
                <a16:creationId xmlns:a16="http://schemas.microsoft.com/office/drawing/2014/main" id="{D1FE7C2A-68FB-BD60-B1F0-00EE8B67B6D2}"/>
              </a:ext>
            </a:extLst>
          </p:cNvPr>
          <p:cNvSpPr>
            <a:spLocks noChangeAspect="1" noEditPoints="1"/>
          </p:cNvSpPr>
          <p:nvPr/>
        </p:nvSpPr>
        <p:spPr bwMode="auto">
          <a:xfrm>
            <a:off x="3431895" y="4214161"/>
            <a:ext cx="470881" cy="470881"/>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 name="Group 15">
            <a:extLst>
              <a:ext uri="{FF2B5EF4-FFF2-40B4-BE49-F238E27FC236}">
                <a16:creationId xmlns:a16="http://schemas.microsoft.com/office/drawing/2014/main" id="{10817848-771C-1114-18B2-9FDB47A6CECF}"/>
              </a:ext>
            </a:extLst>
          </p:cNvPr>
          <p:cNvGrpSpPr/>
          <p:nvPr/>
        </p:nvGrpSpPr>
        <p:grpSpPr>
          <a:xfrm>
            <a:off x="2118641" y="2712834"/>
            <a:ext cx="2097094" cy="433639"/>
            <a:chOff x="3118302" y="1549431"/>
            <a:chExt cx="2097094" cy="433639"/>
          </a:xfrm>
        </p:grpSpPr>
        <p:sp>
          <p:nvSpPr>
            <p:cNvPr id="17" name="object 6">
              <a:extLst>
                <a:ext uri="{FF2B5EF4-FFF2-40B4-BE49-F238E27FC236}">
                  <a16:creationId xmlns:a16="http://schemas.microsoft.com/office/drawing/2014/main" id="{50426205-1FE3-B865-A735-BF09B153C9A7}"/>
                </a:ext>
              </a:extLst>
            </p:cNvPr>
            <p:cNvSpPr txBox="1"/>
            <p:nvPr/>
          </p:nvSpPr>
          <p:spPr>
            <a:xfrm>
              <a:off x="4340566" y="1568250"/>
              <a:ext cx="874830" cy="396000"/>
            </a:xfrm>
            <a:prstGeom prst="rect">
              <a:avLst/>
            </a:prstGeom>
          </p:spPr>
          <p:txBody>
            <a:bodyPr vert="horz" wrap="square" lIns="0" tIns="0" rIns="0" bIns="0" rtlCol="0" anchor="ctr">
              <a:noAutofit/>
            </a:bodyPr>
            <a:lstStyle/>
            <a:p>
              <a:pPr marL="11516" marR="0" lvl="0" indent="0" algn="l" defTabSz="914400" eaLnBrk="1" fontAlgn="auto" latinLnBrk="0" hangingPunct="1">
                <a:lnSpc>
                  <a:spcPct val="100000"/>
                </a:lnSpc>
                <a:spcBef>
                  <a:spcPts val="272"/>
                </a:spcBef>
                <a:spcAft>
                  <a:spcPts val="0"/>
                </a:spcAft>
                <a:buClrTx/>
                <a:buSzTx/>
                <a:buFontTx/>
                <a:buNone/>
                <a:tabLst/>
                <a:defRPr/>
              </a:pPr>
              <a:r>
                <a:rPr kumimoji="0" lang="en-US" sz="1050" b="0" i="0" u="none" strike="noStrike" kern="1200" cap="none" spc="-27"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killed professionals</a:t>
              </a:r>
            </a:p>
          </p:txBody>
        </p:sp>
        <p:sp>
          <p:nvSpPr>
            <p:cNvPr id="18" name="object 8">
              <a:extLst>
                <a:ext uri="{FF2B5EF4-FFF2-40B4-BE49-F238E27FC236}">
                  <a16:creationId xmlns:a16="http://schemas.microsoft.com/office/drawing/2014/main" id="{EE8AC4D0-CC80-B0A4-EEDC-8CB8EEA01873}"/>
                </a:ext>
              </a:extLst>
            </p:cNvPr>
            <p:cNvSpPr txBox="1"/>
            <p:nvPr/>
          </p:nvSpPr>
          <p:spPr>
            <a:xfrm>
              <a:off x="3118302" y="1549431"/>
              <a:ext cx="1176210"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2050+</a:t>
              </a:r>
            </a:p>
          </p:txBody>
        </p:sp>
      </p:grpSp>
      <p:grpSp>
        <p:nvGrpSpPr>
          <p:cNvPr id="19" name="Group 18">
            <a:extLst>
              <a:ext uri="{FF2B5EF4-FFF2-40B4-BE49-F238E27FC236}">
                <a16:creationId xmlns:a16="http://schemas.microsoft.com/office/drawing/2014/main" id="{754F8A59-96B0-65BE-C5F6-3BA0D4C65DE9}"/>
              </a:ext>
            </a:extLst>
          </p:cNvPr>
          <p:cNvGrpSpPr/>
          <p:nvPr/>
        </p:nvGrpSpPr>
        <p:grpSpPr>
          <a:xfrm>
            <a:off x="1545816" y="2641601"/>
            <a:ext cx="528077" cy="528077"/>
            <a:chOff x="1984379" y="4874000"/>
            <a:chExt cx="1816041" cy="1816041"/>
          </a:xfrm>
        </p:grpSpPr>
        <p:grpSp>
          <p:nvGrpSpPr>
            <p:cNvPr id="20" name="Group 19">
              <a:extLst>
                <a:ext uri="{FF2B5EF4-FFF2-40B4-BE49-F238E27FC236}">
                  <a16:creationId xmlns:a16="http://schemas.microsoft.com/office/drawing/2014/main" id="{23BEC37E-C272-C8EA-49CA-0B2F6A8EE773}"/>
                </a:ext>
              </a:extLst>
            </p:cNvPr>
            <p:cNvGrpSpPr/>
            <p:nvPr/>
          </p:nvGrpSpPr>
          <p:grpSpPr>
            <a:xfrm>
              <a:off x="1984379" y="4874000"/>
              <a:ext cx="1816041" cy="1816041"/>
              <a:chOff x="465740" y="2706207"/>
              <a:chExt cx="442310" cy="442310"/>
            </a:xfrm>
          </p:grpSpPr>
          <p:sp>
            <p:nvSpPr>
              <p:cNvPr id="29" name="Oval 28">
                <a:extLst>
                  <a:ext uri="{FF2B5EF4-FFF2-40B4-BE49-F238E27FC236}">
                    <a16:creationId xmlns:a16="http://schemas.microsoft.com/office/drawing/2014/main" id="{95ADD5D2-3471-199C-12AA-2BE208D7C825}"/>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30" name="Oval 29">
                <a:extLst>
                  <a:ext uri="{FF2B5EF4-FFF2-40B4-BE49-F238E27FC236}">
                    <a16:creationId xmlns:a16="http://schemas.microsoft.com/office/drawing/2014/main" id="{DA493DE2-C0DD-1A60-40DC-13630ED7C289}"/>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33" name="Oval 32">
                <a:extLst>
                  <a:ext uri="{FF2B5EF4-FFF2-40B4-BE49-F238E27FC236}">
                    <a16:creationId xmlns:a16="http://schemas.microsoft.com/office/drawing/2014/main" id="{35D1381D-5990-6373-5BA5-22C1BA1103F7}"/>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grpSp>
          <p:nvGrpSpPr>
            <p:cNvPr id="21" name="Graphic 4">
              <a:extLst>
                <a:ext uri="{FF2B5EF4-FFF2-40B4-BE49-F238E27FC236}">
                  <a16:creationId xmlns:a16="http://schemas.microsoft.com/office/drawing/2014/main" id="{16B35BB3-4A50-98B8-BA46-B557964C7093}"/>
                </a:ext>
              </a:extLst>
            </p:cNvPr>
            <p:cNvGrpSpPr>
              <a:grpSpLocks noChangeAspect="1"/>
            </p:cNvGrpSpPr>
            <p:nvPr/>
          </p:nvGrpSpPr>
          <p:grpSpPr>
            <a:xfrm>
              <a:off x="2535592" y="5425957"/>
              <a:ext cx="713661" cy="712127"/>
              <a:chOff x="4735970" y="2449058"/>
              <a:chExt cx="206646" cy="206202"/>
            </a:xfrm>
            <a:solidFill>
              <a:schemeClr val="bg1"/>
            </a:solidFill>
          </p:grpSpPr>
          <p:sp>
            <p:nvSpPr>
              <p:cNvPr id="22" name="Graphic 4">
                <a:extLst>
                  <a:ext uri="{FF2B5EF4-FFF2-40B4-BE49-F238E27FC236}">
                    <a16:creationId xmlns:a16="http://schemas.microsoft.com/office/drawing/2014/main" id="{7047BFEB-5D25-B1B9-0F06-D44DD0910673}"/>
                  </a:ext>
                </a:extLst>
              </p:cNvPr>
              <p:cNvSpPr/>
              <p:nvPr/>
            </p:nvSpPr>
            <p:spPr>
              <a:xfrm>
                <a:off x="4735970" y="2508429"/>
                <a:ext cx="58649" cy="146831"/>
              </a:xfrm>
              <a:custGeom>
                <a:avLst/>
                <a:gdLst>
                  <a:gd name="connsiteX0" fmla="*/ 36034 w 58649"/>
                  <a:gd name="connsiteY0" fmla="*/ 0 h 146831"/>
                  <a:gd name="connsiteX1" fmla="*/ 21337 w 58649"/>
                  <a:gd name="connsiteY1" fmla="*/ 0 h 146831"/>
                  <a:gd name="connsiteX2" fmla="*/ 14948 w 58649"/>
                  <a:gd name="connsiteY2" fmla="*/ 5107 h 146831"/>
                  <a:gd name="connsiteX3" fmla="*/ 251 w 58649"/>
                  <a:gd name="connsiteY3" fmla="*/ 79800 h 146831"/>
                  <a:gd name="connsiteX4" fmla="*/ 1529 w 58649"/>
                  <a:gd name="connsiteY4" fmla="*/ 84907 h 146831"/>
                  <a:gd name="connsiteX5" fmla="*/ 6641 w 58649"/>
                  <a:gd name="connsiteY5" fmla="*/ 87461 h 146831"/>
                  <a:gd name="connsiteX6" fmla="*/ 7919 w 58649"/>
                  <a:gd name="connsiteY6" fmla="*/ 87461 h 146831"/>
                  <a:gd name="connsiteX7" fmla="*/ 7919 w 58649"/>
                  <a:gd name="connsiteY7" fmla="*/ 140448 h 146831"/>
                  <a:gd name="connsiteX8" fmla="*/ 14309 w 58649"/>
                  <a:gd name="connsiteY8" fmla="*/ 146832 h 146831"/>
                  <a:gd name="connsiteX9" fmla="*/ 20699 w 58649"/>
                  <a:gd name="connsiteY9" fmla="*/ 140448 h 146831"/>
                  <a:gd name="connsiteX10" fmla="*/ 20699 w 58649"/>
                  <a:gd name="connsiteY10" fmla="*/ 87461 h 146831"/>
                  <a:gd name="connsiteX11" fmla="*/ 37951 w 58649"/>
                  <a:gd name="connsiteY11" fmla="*/ 87461 h 146831"/>
                  <a:gd name="connsiteX12" fmla="*/ 37951 w 58649"/>
                  <a:gd name="connsiteY12" fmla="*/ 140448 h 146831"/>
                  <a:gd name="connsiteX13" fmla="*/ 44341 w 58649"/>
                  <a:gd name="connsiteY13" fmla="*/ 146832 h 146831"/>
                  <a:gd name="connsiteX14" fmla="*/ 50731 w 58649"/>
                  <a:gd name="connsiteY14" fmla="*/ 140448 h 146831"/>
                  <a:gd name="connsiteX15" fmla="*/ 50731 w 58649"/>
                  <a:gd name="connsiteY15" fmla="*/ 87461 h 146831"/>
                  <a:gd name="connsiteX16" fmla="*/ 52009 w 58649"/>
                  <a:gd name="connsiteY16" fmla="*/ 87461 h 146831"/>
                  <a:gd name="connsiteX17" fmla="*/ 57121 w 58649"/>
                  <a:gd name="connsiteY17" fmla="*/ 84907 h 146831"/>
                  <a:gd name="connsiteX18" fmla="*/ 58399 w 58649"/>
                  <a:gd name="connsiteY18" fmla="*/ 79800 h 146831"/>
                  <a:gd name="connsiteX19" fmla="*/ 43702 w 58649"/>
                  <a:gd name="connsiteY19" fmla="*/ 5107 h 146831"/>
                  <a:gd name="connsiteX20" fmla="*/ 36034 w 58649"/>
                  <a:gd name="connsiteY20" fmla="*/ 0 h 146831"/>
                  <a:gd name="connsiteX21" fmla="*/ 13669 w 58649"/>
                  <a:gd name="connsiteY21" fmla="*/ 74693 h 146831"/>
                  <a:gd name="connsiteX22" fmla="*/ 25811 w 58649"/>
                  <a:gd name="connsiteY22" fmla="*/ 13406 h 146831"/>
                  <a:gd name="connsiteX23" fmla="*/ 30284 w 58649"/>
                  <a:gd name="connsiteY23" fmla="*/ 13406 h 146831"/>
                  <a:gd name="connsiteX24" fmla="*/ 42424 w 58649"/>
                  <a:gd name="connsiteY24" fmla="*/ 74693 h 146831"/>
                  <a:gd name="connsiteX25" fmla="*/ 13669 w 58649"/>
                  <a:gd name="connsiteY25" fmla="*/ 74693 h 14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649" h="146831">
                    <a:moveTo>
                      <a:pt x="36034" y="0"/>
                    </a:moveTo>
                    <a:lnTo>
                      <a:pt x="21337" y="0"/>
                    </a:lnTo>
                    <a:cubicBezTo>
                      <a:pt x="18143" y="0"/>
                      <a:pt x="15586" y="1915"/>
                      <a:pt x="14948" y="5107"/>
                    </a:cubicBezTo>
                    <a:lnTo>
                      <a:pt x="251" y="79800"/>
                    </a:lnTo>
                    <a:cubicBezTo>
                      <a:pt x="-388" y="81715"/>
                      <a:pt x="251" y="83630"/>
                      <a:pt x="1529" y="84907"/>
                    </a:cubicBezTo>
                    <a:cubicBezTo>
                      <a:pt x="2807" y="86184"/>
                      <a:pt x="4724" y="87461"/>
                      <a:pt x="6641" y="87461"/>
                    </a:cubicBezTo>
                    <a:lnTo>
                      <a:pt x="7919" y="87461"/>
                    </a:lnTo>
                    <a:lnTo>
                      <a:pt x="7919" y="140448"/>
                    </a:lnTo>
                    <a:cubicBezTo>
                      <a:pt x="7919" y="144278"/>
                      <a:pt x="10475" y="146832"/>
                      <a:pt x="14309" y="146832"/>
                    </a:cubicBezTo>
                    <a:cubicBezTo>
                      <a:pt x="18143" y="146832"/>
                      <a:pt x="20699" y="144278"/>
                      <a:pt x="20699" y="140448"/>
                    </a:cubicBezTo>
                    <a:lnTo>
                      <a:pt x="20699" y="87461"/>
                    </a:lnTo>
                    <a:lnTo>
                      <a:pt x="37951" y="87461"/>
                    </a:lnTo>
                    <a:lnTo>
                      <a:pt x="37951" y="140448"/>
                    </a:lnTo>
                    <a:cubicBezTo>
                      <a:pt x="37951" y="144278"/>
                      <a:pt x="40507" y="146832"/>
                      <a:pt x="44341" y="146832"/>
                    </a:cubicBezTo>
                    <a:cubicBezTo>
                      <a:pt x="48175" y="146832"/>
                      <a:pt x="50731" y="144278"/>
                      <a:pt x="50731" y="140448"/>
                    </a:cubicBezTo>
                    <a:lnTo>
                      <a:pt x="50731" y="87461"/>
                    </a:lnTo>
                    <a:lnTo>
                      <a:pt x="52009" y="87461"/>
                    </a:lnTo>
                    <a:cubicBezTo>
                      <a:pt x="53926" y="87461"/>
                      <a:pt x="55843" y="86822"/>
                      <a:pt x="57121" y="84907"/>
                    </a:cubicBezTo>
                    <a:cubicBezTo>
                      <a:pt x="58399" y="83630"/>
                      <a:pt x="59038" y="81715"/>
                      <a:pt x="58399" y="79800"/>
                    </a:cubicBezTo>
                    <a:lnTo>
                      <a:pt x="43702" y="5107"/>
                    </a:lnTo>
                    <a:cubicBezTo>
                      <a:pt x="41146" y="2554"/>
                      <a:pt x="38590" y="0"/>
                      <a:pt x="36034" y="0"/>
                    </a:cubicBezTo>
                    <a:close/>
                    <a:moveTo>
                      <a:pt x="13669" y="74693"/>
                    </a:moveTo>
                    <a:lnTo>
                      <a:pt x="25811" y="13406"/>
                    </a:lnTo>
                    <a:lnTo>
                      <a:pt x="30284" y="13406"/>
                    </a:lnTo>
                    <a:lnTo>
                      <a:pt x="42424" y="74693"/>
                    </a:lnTo>
                    <a:lnTo>
                      <a:pt x="13669"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3" name="Graphic 4">
                <a:extLst>
                  <a:ext uri="{FF2B5EF4-FFF2-40B4-BE49-F238E27FC236}">
                    <a16:creationId xmlns:a16="http://schemas.microsoft.com/office/drawing/2014/main" id="{3E2E6927-62C3-ED1E-8936-F054DF6D4B51}"/>
                  </a:ext>
                </a:extLst>
              </p:cNvPr>
              <p:cNvSpPr/>
              <p:nvPr/>
            </p:nvSpPr>
            <p:spPr>
              <a:xfrm>
                <a:off x="4743250"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ubicBezTo>
                      <a:pt x="21087" y="12768"/>
                      <a:pt x="21087"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4" name="Graphic 4">
                <a:extLst>
                  <a:ext uri="{FF2B5EF4-FFF2-40B4-BE49-F238E27FC236}">
                    <a16:creationId xmlns:a16="http://schemas.microsoft.com/office/drawing/2014/main" id="{6BEBA64A-F252-C36F-A61E-F74A86F31F8D}"/>
                  </a:ext>
                </a:extLst>
              </p:cNvPr>
              <p:cNvSpPr/>
              <p:nvPr/>
            </p:nvSpPr>
            <p:spPr>
              <a:xfrm>
                <a:off x="4884468"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7 w 58148"/>
                  <a:gd name="connsiteY8" fmla="*/ 139809 h 146193"/>
                  <a:gd name="connsiteX9" fmla="*/ 20447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7" y="143640"/>
                      <a:pt x="20447" y="139809"/>
                    </a:cubicBezTo>
                    <a:lnTo>
                      <a:pt x="20447"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2" y="72139"/>
                      <a:pt x="58148" y="69586"/>
                      <a:pt x="58148" y="65755"/>
                    </a:cubicBezTo>
                    <a:lnTo>
                      <a:pt x="58148" y="6384"/>
                    </a:lnTo>
                    <a:cubicBezTo>
                      <a:pt x="57509" y="3192"/>
                      <a:pt x="54314"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5" name="Graphic 4">
                <a:extLst>
                  <a:ext uri="{FF2B5EF4-FFF2-40B4-BE49-F238E27FC236}">
                    <a16:creationId xmlns:a16="http://schemas.microsoft.com/office/drawing/2014/main" id="{31B69CEC-2E21-26EA-5250-A535A3EA0FDF}"/>
                  </a:ext>
                </a:extLst>
              </p:cNvPr>
              <p:cNvSpPr/>
              <p:nvPr/>
            </p:nvSpPr>
            <p:spPr>
              <a:xfrm>
                <a:off x="4892135"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7" name="Graphic 4">
                <a:extLst>
                  <a:ext uri="{FF2B5EF4-FFF2-40B4-BE49-F238E27FC236}">
                    <a16:creationId xmlns:a16="http://schemas.microsoft.com/office/drawing/2014/main" id="{F475688B-BFAA-14E4-717D-5F400BABA348}"/>
                  </a:ext>
                </a:extLst>
              </p:cNvPr>
              <p:cNvSpPr/>
              <p:nvPr/>
            </p:nvSpPr>
            <p:spPr>
              <a:xfrm>
                <a:off x="4809705"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8 w 58148"/>
                  <a:gd name="connsiteY8" fmla="*/ 139809 h 146193"/>
                  <a:gd name="connsiteX9" fmla="*/ 20448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8" y="143640"/>
                      <a:pt x="20448" y="139809"/>
                    </a:cubicBezTo>
                    <a:lnTo>
                      <a:pt x="20448"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3" y="72139"/>
                      <a:pt x="58148" y="69586"/>
                      <a:pt x="58148" y="65755"/>
                    </a:cubicBezTo>
                    <a:lnTo>
                      <a:pt x="58148" y="6384"/>
                    </a:lnTo>
                    <a:cubicBezTo>
                      <a:pt x="57509" y="3192"/>
                      <a:pt x="54953"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28" name="Graphic 4">
                <a:extLst>
                  <a:ext uri="{FF2B5EF4-FFF2-40B4-BE49-F238E27FC236}">
                    <a16:creationId xmlns:a16="http://schemas.microsoft.com/office/drawing/2014/main" id="{AA118ABB-F572-5AB1-3F57-982EAED2DC46}"/>
                  </a:ext>
                </a:extLst>
              </p:cNvPr>
              <p:cNvSpPr/>
              <p:nvPr/>
            </p:nvSpPr>
            <p:spPr>
              <a:xfrm>
                <a:off x="4817373" y="2449058"/>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grpSp>
      <p:sp>
        <p:nvSpPr>
          <p:cNvPr id="463" name="Rectangle 4">
            <a:extLst>
              <a:ext uri="{FF2B5EF4-FFF2-40B4-BE49-F238E27FC236}">
                <a16:creationId xmlns:a16="http://schemas.microsoft.com/office/drawing/2014/main" id="{238E6F4D-D30A-5D84-9F71-7C06F6E85B9C}"/>
              </a:ext>
            </a:extLst>
          </p:cNvPr>
          <p:cNvSpPr/>
          <p:nvPr/>
        </p:nvSpPr>
        <p:spPr bwMode="gray">
          <a:xfrm flipV="1">
            <a:off x="463295" y="3717857"/>
            <a:ext cx="4918330" cy="60230"/>
          </a:xfrm>
          <a:prstGeom prst="rect">
            <a:avLst/>
          </a:prstGeom>
          <a:solidFill>
            <a:srgbClr val="D5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50" dirty="0">
              <a:solidFill>
                <a:prstClr val="white"/>
              </a:solidFill>
              <a:latin typeface="Calibri" panose="020F0502020204030204" pitchFamily="34" charset="0"/>
              <a:cs typeface="Calibri" panose="020F0502020204030204" pitchFamily="34" charset="0"/>
            </a:endParaRPr>
          </a:p>
        </p:txBody>
      </p:sp>
      <p:sp>
        <p:nvSpPr>
          <p:cNvPr id="78" name="Text Placeholder 3">
            <a:extLst>
              <a:ext uri="{FF2B5EF4-FFF2-40B4-BE49-F238E27FC236}">
                <a16:creationId xmlns:a16="http://schemas.microsoft.com/office/drawing/2014/main" id="{BE611AAE-06B9-391E-0D39-EF33EFECFA12}"/>
              </a:ext>
            </a:extLst>
          </p:cNvPr>
          <p:cNvSpPr txBox="1">
            <a:spLocks/>
          </p:cNvSpPr>
          <p:nvPr/>
        </p:nvSpPr>
        <p:spPr bwMode="gray">
          <a:xfrm>
            <a:off x="9396322" y="4096777"/>
            <a:ext cx="1422490" cy="1508105"/>
          </a:xfrm>
          <a:prstGeom prst="rect">
            <a:avLst/>
          </a:prstGeom>
          <a:noFill/>
          <a:ln>
            <a:noFill/>
          </a:ln>
        </p:spPr>
        <p:txBody>
          <a:bodyPr vert="horz" wrap="square" lIns="0" tIns="0" rIns="0" bIns="0" rtlCol="0" anchor="t">
            <a:spAutoFit/>
          </a:bodyPr>
          <a:lstStyle/>
          <a:p>
            <a:pPr marL="0" lvl="1">
              <a:spcBef>
                <a:spcPts val="1200"/>
              </a:spcBef>
              <a:buSzPct val="100000"/>
              <a:defRPr/>
            </a:pPr>
            <a:r>
              <a:rPr lang="en-US" sz="800" dirty="0">
                <a:latin typeface="Open Sans" panose="020B0606030504020204" pitchFamily="34" charset="0"/>
                <a:ea typeface="Open Sans" panose="020B0606030504020204" pitchFamily="34" charset="0"/>
                <a:cs typeface="Open Sans" panose="020B0606030504020204" pitchFamily="34" charset="0"/>
              </a:rPr>
              <a:t>c</a:t>
            </a:r>
            <a:r>
              <a:rPr lang="en-US" sz="800" b="1" dirty="0">
                <a:latin typeface="Open Sans" panose="020B0606030504020204" pitchFamily="34" charset="0"/>
                <a:ea typeface="Open Sans" panose="020B0606030504020204" pitchFamily="34" charset="0"/>
                <a:cs typeface="Open Sans" panose="020B0606030504020204" pitchFamily="34" charset="0"/>
              </a:rPr>
              <a:t>. </a:t>
            </a:r>
            <a:r>
              <a:rPr lang="en-US" sz="12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2 000 </a:t>
            </a:r>
            <a:r>
              <a:rPr lang="en-US" sz="800" dirty="0">
                <a:latin typeface="Open Sans" panose="020B0606030504020204" pitchFamily="34" charset="0"/>
                <a:ea typeface="Open Sans" panose="020B0606030504020204" pitchFamily="34" charset="0"/>
                <a:cs typeface="Open Sans" panose="020B0606030504020204" pitchFamily="34" charset="0"/>
              </a:rPr>
              <a:t>professionals</a:t>
            </a:r>
            <a:br>
              <a:rPr lang="en-US" sz="800" dirty="0">
                <a:latin typeface="Open Sans" panose="020B0606030504020204" pitchFamily="34" charset="0"/>
                <a:ea typeface="Open Sans" panose="020B0606030504020204" pitchFamily="34" charset="0"/>
                <a:cs typeface="Open Sans" panose="020B0606030504020204" pitchFamily="34" charset="0"/>
              </a:rPr>
            </a:br>
            <a:r>
              <a:rPr lang="en-US" sz="800" dirty="0">
                <a:latin typeface="Open Sans" panose="020B0606030504020204" pitchFamily="34" charset="0"/>
                <a:ea typeface="Open Sans" panose="020B0606030504020204" pitchFamily="34" charset="0"/>
                <a:cs typeface="Open Sans" panose="020B0606030504020204" pitchFamily="34" charset="0"/>
              </a:rPr>
              <a:t>in Central Europe Consulting</a:t>
            </a:r>
            <a:br>
              <a:rPr lang="en-US" sz="800" dirty="0">
                <a:latin typeface="Open Sans" panose="020B0606030504020204" pitchFamily="34" charset="0"/>
                <a:ea typeface="Open Sans" panose="020B0606030504020204" pitchFamily="34" charset="0"/>
                <a:cs typeface="Open Sans" panose="020B0606030504020204" pitchFamily="34" charset="0"/>
              </a:rPr>
            </a:br>
            <a:br>
              <a:rPr lang="en-US" sz="800" dirty="0">
                <a:latin typeface="Open Sans" panose="020B0606030504020204" pitchFamily="34" charset="0"/>
                <a:ea typeface="Open Sans" panose="020B0606030504020204" pitchFamily="34" charset="0"/>
                <a:cs typeface="Open Sans" panose="020B0606030504020204" pitchFamily="34" charset="0"/>
              </a:rPr>
            </a:br>
            <a:r>
              <a:rPr lang="en-US" sz="800" i="1" dirty="0">
                <a:latin typeface="Open Sans" panose="020B0606030504020204" pitchFamily="34" charset="0"/>
                <a:ea typeface="Open Sans" panose="020B0606030504020204" pitchFamily="34" charset="0"/>
                <a:cs typeface="Open Sans" panose="020B0606030504020204" pitchFamily="34" charset="0"/>
              </a:rPr>
              <a:t>of which</a:t>
            </a:r>
          </a:p>
          <a:p>
            <a:pPr marL="0" lvl="1">
              <a:spcBef>
                <a:spcPts val="1200"/>
              </a:spcBef>
              <a:buSzPct val="100000"/>
              <a:defRPr/>
            </a:pPr>
            <a:r>
              <a:rPr lang="en-US" sz="800" dirty="0">
                <a:latin typeface="Open Sans" panose="020B0606030504020204" pitchFamily="34" charset="0"/>
                <a:ea typeface="Open Sans" panose="020B0606030504020204" pitchFamily="34" charset="0"/>
                <a:cs typeface="Open Sans" panose="020B0606030504020204" pitchFamily="34" charset="0"/>
              </a:rPr>
              <a:t>c</a:t>
            </a:r>
            <a:r>
              <a:rPr lang="en-US" sz="800" b="1" dirty="0">
                <a:latin typeface="Open Sans" panose="020B0606030504020204" pitchFamily="34" charset="0"/>
                <a:ea typeface="Open Sans" panose="020B0606030504020204" pitchFamily="34" charset="0"/>
                <a:cs typeface="Open Sans" panose="020B0606030504020204" pitchFamily="34" charset="0"/>
              </a:rPr>
              <a:t>. </a:t>
            </a:r>
            <a:r>
              <a:rPr lang="en-US" sz="12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1 500</a:t>
            </a:r>
            <a:r>
              <a:rPr lang="en-US" sz="900" b="1" dirty="0">
                <a:solidFill>
                  <a:srgbClr val="00B0F2"/>
                </a:solidFill>
                <a:latin typeface="Open Sans" panose="020B0606030504020204" pitchFamily="34" charset="0"/>
                <a:ea typeface="Open Sans" panose="020B0606030504020204" pitchFamily="34" charset="0"/>
                <a:cs typeface="Open Sans" panose="020B0606030504020204" pitchFamily="34" charset="0"/>
              </a:rPr>
              <a:t> </a:t>
            </a:r>
            <a:r>
              <a:rPr lang="en-US" sz="800" dirty="0">
                <a:latin typeface="Open Sans" panose="020B0606030504020204" pitchFamily="34" charset="0"/>
                <a:ea typeface="Open Sans" panose="020B0606030504020204" pitchFamily="34" charset="0"/>
                <a:cs typeface="Open Sans" panose="020B0606030504020204" pitchFamily="34" charset="0"/>
              </a:rPr>
              <a:t>technology experts, often with knowledge of multiple solutions</a:t>
            </a:r>
            <a:br>
              <a:rPr lang="en-US" sz="800" dirty="0">
                <a:latin typeface="Open Sans" panose="020B0606030504020204" pitchFamily="34" charset="0"/>
                <a:ea typeface="Open Sans" panose="020B0606030504020204" pitchFamily="34" charset="0"/>
                <a:cs typeface="Open Sans" panose="020B0606030504020204" pitchFamily="34" charset="0"/>
              </a:rPr>
            </a:br>
            <a:br>
              <a:rPr lang="en-US" sz="800" dirty="0">
                <a:latin typeface="Open Sans" panose="020B0606030504020204" pitchFamily="34" charset="0"/>
                <a:ea typeface="Open Sans" panose="020B0606030504020204" pitchFamily="34" charset="0"/>
                <a:cs typeface="Open Sans" panose="020B0606030504020204" pitchFamily="34" charset="0"/>
              </a:rPr>
            </a:br>
            <a:endParaRPr lang="en-US" sz="800"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741179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6825491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cxnSp>
        <p:nvCxnSpPr>
          <p:cNvPr id="39" name="Straight Connector 38">
            <a:extLst>
              <a:ext uri="{FF2B5EF4-FFF2-40B4-BE49-F238E27FC236}">
                <a16:creationId xmlns:a16="http://schemas.microsoft.com/office/drawing/2014/main" id="{A161A025-A9EC-8155-64DA-31ADFAD66BC9}"/>
              </a:ext>
            </a:extLst>
          </p:cNvPr>
          <p:cNvCxnSpPr>
            <a:cxnSpLocks/>
          </p:cNvCxnSpPr>
          <p:nvPr/>
        </p:nvCxnSpPr>
        <p:spPr>
          <a:xfrm>
            <a:off x="2426327" y="2181022"/>
            <a:ext cx="7829064"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D1176CCC-DBC5-3ACE-B530-1E064778C01F}"/>
              </a:ext>
            </a:extLst>
          </p:cNvPr>
          <p:cNvCxnSpPr>
            <a:cxnSpLocks/>
          </p:cNvCxnSpPr>
          <p:nvPr/>
        </p:nvCxnSpPr>
        <p:spPr>
          <a:xfrm>
            <a:off x="2426327" y="3693588"/>
            <a:ext cx="5990082" cy="2516"/>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897857" y="906411"/>
            <a:ext cx="10467780" cy="787400"/>
          </a:xfrm>
        </p:spPr>
        <p:txBody>
          <a:bodyPr vert="horz" anchor="t"/>
          <a:lstStyle/>
          <a:p>
            <a:r>
              <a:rPr lang="en-US" sz="1400" dirty="0">
                <a:solidFill>
                  <a:prstClr val="black"/>
                </a:solidFill>
              </a:rPr>
              <a:t>Deloitte has a strong strategy and business design practitioner team in Hungary, Budapest with a relevant service portfolio, leveraging a wide range of tools and methodologies to create solutions that are effective, efficient and sustainable.</a:t>
            </a: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cs typeface="Calibri Light"/>
              </a:rPr>
              <a:t>Data and Analytics Services Team</a:t>
            </a:r>
          </a:p>
        </p:txBody>
      </p:sp>
      <p:sp>
        <p:nvSpPr>
          <p:cNvPr id="5" name="Rectangle 4">
            <a:extLst>
              <a:ext uri="{FF2B5EF4-FFF2-40B4-BE49-F238E27FC236}">
                <a16:creationId xmlns:a16="http://schemas.microsoft.com/office/drawing/2014/main" id="{E43103C4-F4C2-17E8-E7B1-1A3A3CB90E2B}"/>
              </a:ext>
            </a:extLst>
          </p:cNvPr>
          <p:cNvSpPr/>
          <p:nvPr/>
        </p:nvSpPr>
        <p:spPr bwMode="gray">
          <a:xfrm>
            <a:off x="943129" y="1693812"/>
            <a:ext cx="2237205" cy="1006787"/>
          </a:xfrm>
          <a:prstGeom prst="rect">
            <a:avLst/>
          </a:prstGeom>
          <a:solidFill>
            <a:schemeClr val="accent3">
              <a:lumMod val="40000"/>
              <a:lumOff val="6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 name="TextBox 6">
            <a:extLst>
              <a:ext uri="{FF2B5EF4-FFF2-40B4-BE49-F238E27FC236}">
                <a16:creationId xmlns:a16="http://schemas.microsoft.com/office/drawing/2014/main" id="{8DF60F61-383C-53B3-3718-67AFBDBAC3BA}"/>
              </a:ext>
            </a:extLst>
          </p:cNvPr>
          <p:cNvSpPr txBox="1"/>
          <p:nvPr/>
        </p:nvSpPr>
        <p:spPr>
          <a:xfrm>
            <a:off x="1759343" y="1824791"/>
            <a:ext cx="1484365" cy="738664"/>
          </a:xfrm>
          <a:prstGeom prst="rect">
            <a:avLst/>
          </a:prstGeom>
          <a:noFill/>
        </p:spPr>
        <p:txBody>
          <a:bodyPr wrap="square" lIns="0" tIns="0" rIns="0" bIns="0" rtlCol="0" anchor="t">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Vartik Péter</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Director</a:t>
            </a:r>
          </a:p>
          <a:p>
            <a:pPr>
              <a:spcBef>
                <a:spcPts val="300"/>
              </a:spcBef>
              <a:buSzPct val="100000"/>
            </a:pPr>
            <a:r>
              <a:rPr lang="en-US" sz="1000" dirty="0">
                <a:solidFill>
                  <a:srgbClr val="313131"/>
                </a:solidFill>
                <a:latin typeface="Open Sans Light"/>
                <a:ea typeface="Open Sans Light"/>
                <a:cs typeface="Open Sans Light"/>
              </a:rPr>
              <a:t>15+ years of exp.</a:t>
            </a:r>
            <a:endPar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endParaRP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106" name="Rectangle 105">
            <a:extLst>
              <a:ext uri="{FF2B5EF4-FFF2-40B4-BE49-F238E27FC236}">
                <a16:creationId xmlns:a16="http://schemas.microsoft.com/office/drawing/2014/main" id="{874AF571-D978-82DE-B6CB-44751FF5ACC8}"/>
              </a:ext>
            </a:extLst>
          </p:cNvPr>
          <p:cNvSpPr/>
          <p:nvPr/>
        </p:nvSpPr>
        <p:spPr bwMode="gray">
          <a:xfrm>
            <a:off x="3659929" y="1693812"/>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5" name="Rectangle 124">
            <a:extLst>
              <a:ext uri="{FF2B5EF4-FFF2-40B4-BE49-F238E27FC236}">
                <a16:creationId xmlns:a16="http://schemas.microsoft.com/office/drawing/2014/main" id="{874C2E2D-1BD2-F67F-EA28-7A7677A3D75C}"/>
              </a:ext>
            </a:extLst>
          </p:cNvPr>
          <p:cNvSpPr/>
          <p:nvPr/>
        </p:nvSpPr>
        <p:spPr bwMode="gray">
          <a:xfrm>
            <a:off x="6259510"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8" name="TextBox 127">
            <a:extLst>
              <a:ext uri="{FF2B5EF4-FFF2-40B4-BE49-F238E27FC236}">
                <a16:creationId xmlns:a16="http://schemas.microsoft.com/office/drawing/2014/main" id="{BD5854A9-5BC9-045E-FEB6-D4B82213312C}"/>
              </a:ext>
            </a:extLst>
          </p:cNvPr>
          <p:cNvSpPr txBox="1"/>
          <p:nvPr/>
        </p:nvSpPr>
        <p:spPr>
          <a:xfrm>
            <a:off x="4468057" y="1824791"/>
            <a:ext cx="1484365" cy="738664"/>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050" b="1" dirty="0">
                <a:solidFill>
                  <a:srgbClr val="313131"/>
                </a:solidFill>
                <a:latin typeface="Open Sans"/>
                <a:ea typeface="Open Sans Light" panose="020B0306030504020204" pitchFamily="34" charset="0"/>
                <a:cs typeface="Open Sans Light" panose="020B0306030504020204" pitchFamily="34" charset="0"/>
              </a:rPr>
              <a:t>Berkes Daniel</a:t>
            </a:r>
            <a:endParaRPr kumimoji="0" lang="en-US" sz="105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Light"/>
                <a:ea typeface="Open Sans Light"/>
                <a:cs typeface="Open Sans Light"/>
              </a:rPr>
              <a:t>10+ years of exp.</a:t>
            </a:r>
            <a:endParaRPr kumimoji="0" lang="en-US" sz="10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129" name="TextBox 128">
            <a:extLst>
              <a:ext uri="{FF2B5EF4-FFF2-40B4-BE49-F238E27FC236}">
                <a16:creationId xmlns:a16="http://schemas.microsoft.com/office/drawing/2014/main" id="{A6D46EF4-48DD-87E0-55AC-5A8DFAB52783}"/>
              </a:ext>
            </a:extLst>
          </p:cNvPr>
          <p:cNvSpPr txBox="1"/>
          <p:nvPr/>
        </p:nvSpPr>
        <p:spPr>
          <a:xfrm>
            <a:off x="7047785" y="1842896"/>
            <a:ext cx="1484365" cy="738664"/>
          </a:xfrm>
          <a:prstGeom prst="rect">
            <a:avLst/>
          </a:prstGeom>
          <a:noFill/>
        </p:spPr>
        <p:txBody>
          <a:bodyPr wrap="square" lIns="0" tIns="0" rIns="0" bIns="0" rtlCol="0">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Takács István</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Manager</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0 years of exp.</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139" name="Rectangle 138">
            <a:extLst>
              <a:ext uri="{FF2B5EF4-FFF2-40B4-BE49-F238E27FC236}">
                <a16:creationId xmlns:a16="http://schemas.microsoft.com/office/drawing/2014/main" id="{D24F5A2A-964F-033E-A1BE-A37D9B8D9E69}"/>
              </a:ext>
            </a:extLst>
          </p:cNvPr>
          <p:cNvSpPr/>
          <p:nvPr/>
        </p:nvSpPr>
        <p:spPr bwMode="gray">
          <a:xfrm>
            <a:off x="359778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41" name="TextBox 140">
            <a:extLst>
              <a:ext uri="{FF2B5EF4-FFF2-40B4-BE49-F238E27FC236}">
                <a16:creationId xmlns:a16="http://schemas.microsoft.com/office/drawing/2014/main" id="{C1E126F8-F431-9388-C8CB-74AC231347F6}"/>
              </a:ext>
            </a:extLst>
          </p:cNvPr>
          <p:cNvSpPr txBox="1"/>
          <p:nvPr/>
        </p:nvSpPr>
        <p:spPr>
          <a:xfrm>
            <a:off x="4369701"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100" b="1" dirty="0" err="1">
                <a:solidFill>
                  <a:srgbClr val="313131"/>
                </a:solidFill>
                <a:latin typeface="Open Sans"/>
                <a:ea typeface="Open Sans Light" panose="020B0306030504020204" pitchFamily="34" charset="0"/>
                <a:cs typeface="Open Sans Light" panose="020B0306030504020204" pitchFamily="34" charset="0"/>
              </a:rPr>
              <a:t>Láncos</a:t>
            </a:r>
            <a:r>
              <a:rPr lang="en-US" sz="1100" b="1" dirty="0">
                <a:solidFill>
                  <a:srgbClr val="313131"/>
                </a:solidFill>
                <a:latin typeface="Open Sans"/>
                <a:ea typeface="Open Sans Light" panose="020B0306030504020204" pitchFamily="34" charset="0"/>
                <a:cs typeface="Open Sans Light" panose="020B0306030504020204" pitchFamily="34" charset="0"/>
              </a:rPr>
              <a:t> </a:t>
            </a:r>
            <a:r>
              <a:rPr lang="en-US" sz="1100" b="1" dirty="0" err="1">
                <a:solidFill>
                  <a:srgbClr val="313131"/>
                </a:solidFill>
                <a:latin typeface="Open Sans"/>
                <a:ea typeface="Open Sans Light" panose="020B0306030504020204" pitchFamily="34" charset="0"/>
                <a:cs typeface="Open Sans Light" panose="020B0306030504020204" pitchFamily="34" charset="0"/>
              </a:rPr>
              <a:t>Márton</a:t>
            </a:r>
            <a:endPar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a:t>
            </a:r>
            <a:r>
              <a:rPr lang="en-US" sz="105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0 </a:t>
            </a: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cxnSp>
        <p:nvCxnSpPr>
          <p:cNvPr id="145" name="Straight Connector 144">
            <a:extLst>
              <a:ext uri="{FF2B5EF4-FFF2-40B4-BE49-F238E27FC236}">
                <a16:creationId xmlns:a16="http://schemas.microsoft.com/office/drawing/2014/main" id="{FB907A28-5A73-F586-0ABE-8B94A3568479}"/>
              </a:ext>
            </a:extLst>
          </p:cNvPr>
          <p:cNvCxnSpPr>
            <a:cxnSpLocks/>
          </p:cNvCxnSpPr>
          <p:nvPr/>
        </p:nvCxnSpPr>
        <p:spPr>
          <a:xfrm>
            <a:off x="1810693" y="5244871"/>
            <a:ext cx="8890492"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92C02D16-163B-7953-F72B-DC573C407A31}"/>
              </a:ext>
            </a:extLst>
          </p:cNvPr>
          <p:cNvSpPr/>
          <p:nvPr/>
        </p:nvSpPr>
        <p:spPr bwMode="gray">
          <a:xfrm>
            <a:off x="897859" y="4799452"/>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54" name="TextBox 153">
            <a:extLst>
              <a:ext uri="{FF2B5EF4-FFF2-40B4-BE49-F238E27FC236}">
                <a16:creationId xmlns:a16="http://schemas.microsoft.com/office/drawing/2014/main" id="{FBE76922-A8C8-868A-8844-C826086DDCAA}"/>
              </a:ext>
            </a:extLst>
          </p:cNvPr>
          <p:cNvSpPr txBox="1"/>
          <p:nvPr/>
        </p:nvSpPr>
        <p:spPr>
          <a:xfrm>
            <a:off x="1608481" y="4973232"/>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err="1">
                <a:ln>
                  <a:noFill/>
                </a:ln>
                <a:solidFill>
                  <a:srgbClr val="313131"/>
                </a:solidFill>
                <a:effectLst/>
                <a:uLnTx/>
                <a:uFillTx/>
                <a:latin typeface="Open Sans"/>
                <a:ea typeface="Open Sans Light" panose="020B0306030504020204" pitchFamily="34" charset="0"/>
                <a:cs typeface="Open Sans Light" panose="020B0306030504020204" pitchFamily="34" charset="0"/>
              </a:rPr>
              <a:t>Tőzsér</a:t>
            </a:r>
            <a:r>
              <a:rPr kumimoji="0" lang="en-US" sz="9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 Báli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enior </a:t>
            </a: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9</a:t>
            </a: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5124" name="Picture 4" descr="Hungary Large Flag | Gallery Yopriceville - High-Quality Free Images ...">
            <a:extLst>
              <a:ext uri="{FF2B5EF4-FFF2-40B4-BE49-F238E27FC236}">
                <a16:creationId xmlns:a16="http://schemas.microsoft.com/office/drawing/2014/main" id="{521CB28C-95F3-7454-4F91-EDA9D87240CF}"/>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859779" y="2464737"/>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56" name="Picture 4" descr="Hungary Large Flag | Gallery Yopriceville - High-Quality Free Images ...">
            <a:extLst>
              <a:ext uri="{FF2B5EF4-FFF2-40B4-BE49-F238E27FC236}">
                <a16:creationId xmlns:a16="http://schemas.microsoft.com/office/drawing/2014/main" id="{94FFD933-BE6D-850C-C5C5-E1B7CD00BECD}"/>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59279"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70FFB980-88EB-59B7-E1ED-001B72067921}"/>
              </a:ext>
            </a:extLst>
          </p:cNvPr>
          <p:cNvSpPr/>
          <p:nvPr/>
        </p:nvSpPr>
        <p:spPr bwMode="gray">
          <a:xfrm>
            <a:off x="2872767"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BA</a:t>
            </a:r>
            <a:endParaRPr lang="en-US" sz="800" b="1" dirty="0">
              <a:solidFill>
                <a:schemeClr val="accent2">
                  <a:lumMod val="50000"/>
                </a:schemeClr>
              </a:solidFill>
            </a:endParaRP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79B756F-5CA7-461C-723F-D3A46640B769}"/>
              </a:ext>
            </a:extLst>
          </p:cNvPr>
          <p:cNvSpPr txBox="1"/>
          <p:nvPr/>
        </p:nvSpPr>
        <p:spPr>
          <a:xfrm>
            <a:off x="4992364" y="6263625"/>
            <a:ext cx="1061396" cy="176139"/>
          </a:xfrm>
          <a:prstGeom prst="rect">
            <a:avLst/>
          </a:prstGeom>
          <a:noFill/>
        </p:spPr>
        <p:txBody>
          <a:bodyPr wrap="square" lIns="0" tIns="0" rIns="0" bIns="0" rtlCol="0" anchor="t">
            <a:noAutofit/>
          </a:bodyPr>
          <a:lstStyle/>
          <a:p>
            <a:pPr>
              <a:spcAft>
                <a:spcPts val="1000"/>
              </a:spcAft>
            </a:pPr>
            <a:r>
              <a:rPr lang="en-US" sz="900" dirty="0">
                <a:latin typeface="+mj-lt"/>
                <a:ea typeface="Open Sans Light" panose="020B0306030504020204" pitchFamily="34" charset="0"/>
                <a:cs typeface="Open Sans Light" panose="020B0306030504020204" pitchFamily="34" charset="0"/>
              </a:rPr>
              <a:t>SENIORITY LEVELS</a:t>
            </a:r>
          </a:p>
        </p:txBody>
      </p:sp>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Business Analys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Junior Consultan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Manager               (8+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Consultant (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Manager (10+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Project Manager (15+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 name="Picture 4" descr="Hungary Large Flag | Gallery Yopriceville - High-Quality Free Images ...">
            <a:extLst>
              <a:ext uri="{FF2B5EF4-FFF2-40B4-BE49-F238E27FC236}">
                <a16:creationId xmlns:a16="http://schemas.microsoft.com/office/drawing/2014/main" id="{E277B3CA-DD37-2A92-5022-215D24387CB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68332" y="2456515"/>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Picture 4" descr="Hungary Large Flag | Gallery Yopriceville - High-Quality Free Images ...">
            <a:extLst>
              <a:ext uri="{FF2B5EF4-FFF2-40B4-BE49-F238E27FC236}">
                <a16:creationId xmlns:a16="http://schemas.microsoft.com/office/drawing/2014/main" id="{460219FC-39B9-1DBC-D25A-E60C5561B4A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191356" y="247501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1" name="Picture 4" descr="Hungary Large Flag | Gallery Yopriceville - High-Quality Free Images ...">
            <a:extLst>
              <a:ext uri="{FF2B5EF4-FFF2-40B4-BE49-F238E27FC236}">
                <a16:creationId xmlns:a16="http://schemas.microsoft.com/office/drawing/2014/main" id="{AF1ECC5C-35AA-AD1C-700D-0C559420166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484374"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3" name="Picture 4" descr="Hungary Large Flag | Gallery Yopriceville - High-Quality Free Images ...">
            <a:extLst>
              <a:ext uri="{FF2B5EF4-FFF2-40B4-BE49-F238E27FC236}">
                <a16:creationId xmlns:a16="http://schemas.microsoft.com/office/drawing/2014/main" id="{019FA043-B4E8-B54D-4578-17BFFA1D25EC}"/>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22134" y="6485356"/>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349386B-F880-0C53-DE2D-537CFCF784B6}"/>
              </a:ext>
            </a:extLst>
          </p:cNvPr>
          <p:cNvSpPr txBox="1"/>
          <p:nvPr/>
        </p:nvSpPr>
        <p:spPr>
          <a:xfrm>
            <a:off x="1181282" y="6481568"/>
            <a:ext cx="2483526" cy="284693"/>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Deloitte Hungary</a:t>
            </a:r>
          </a:p>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For detailed CVs see Appendix</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Oval 35">
            <a:extLst>
              <a:ext uri="{FF2B5EF4-FFF2-40B4-BE49-F238E27FC236}">
                <a16:creationId xmlns:a16="http://schemas.microsoft.com/office/drawing/2014/main" id="{72DF33AF-DF6C-8E3F-2C17-416E75F157C3}"/>
              </a:ext>
            </a:extLst>
          </p:cNvPr>
          <p:cNvSpPr/>
          <p:nvPr/>
        </p:nvSpPr>
        <p:spPr bwMode="gray">
          <a:xfrm>
            <a:off x="5594249" y="2157054"/>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38" name="Oval 37">
            <a:extLst>
              <a:ext uri="{FF2B5EF4-FFF2-40B4-BE49-F238E27FC236}">
                <a16:creationId xmlns:a16="http://schemas.microsoft.com/office/drawing/2014/main" id="{20B78D97-C97E-4760-D25E-079E654B533E}"/>
              </a:ext>
            </a:extLst>
          </p:cNvPr>
          <p:cNvSpPr/>
          <p:nvPr/>
        </p:nvSpPr>
        <p:spPr bwMode="gray">
          <a:xfrm>
            <a:off x="8213709" y="217516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47" name="Rectangle 46">
            <a:extLst>
              <a:ext uri="{FF2B5EF4-FFF2-40B4-BE49-F238E27FC236}">
                <a16:creationId xmlns:a16="http://schemas.microsoft.com/office/drawing/2014/main" id="{C330718C-E34C-5F8E-75A6-9EF9AECC6C4C}"/>
              </a:ext>
            </a:extLst>
          </p:cNvPr>
          <p:cNvSpPr/>
          <p:nvPr/>
        </p:nvSpPr>
        <p:spPr bwMode="gray">
          <a:xfrm>
            <a:off x="8957940"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48" name="TextBox 47">
            <a:extLst>
              <a:ext uri="{FF2B5EF4-FFF2-40B4-BE49-F238E27FC236}">
                <a16:creationId xmlns:a16="http://schemas.microsoft.com/office/drawing/2014/main" id="{36FF32DC-0608-88AA-830C-9007770662C6}"/>
              </a:ext>
            </a:extLst>
          </p:cNvPr>
          <p:cNvSpPr txBox="1"/>
          <p:nvPr/>
        </p:nvSpPr>
        <p:spPr>
          <a:xfrm>
            <a:off x="9746215" y="1842896"/>
            <a:ext cx="1484365" cy="738664"/>
          </a:xfrm>
          <a:prstGeom prst="rect">
            <a:avLst/>
          </a:prstGeom>
          <a:noFill/>
        </p:spPr>
        <p:txBody>
          <a:bodyPr wrap="square" lIns="0" tIns="0" rIns="0" bIns="0" rtlCol="0">
            <a:spAutoFit/>
          </a:bodyPr>
          <a:lstStyle/>
          <a:p>
            <a:pPr>
              <a:spcBef>
                <a:spcPts val="600"/>
              </a:spcBef>
              <a:buSzPct val="100000"/>
            </a:pPr>
            <a:r>
              <a:rPr lang="en-US" sz="1050" b="1" dirty="0" err="1">
                <a:solidFill>
                  <a:srgbClr val="313131"/>
                </a:solidFill>
                <a:latin typeface="Open Sans" panose="020B0606030504020204" pitchFamily="34" charset="0"/>
                <a:ea typeface="Open Sans" panose="020B0606030504020204" pitchFamily="34" charset="0"/>
                <a:cs typeface="Open Sans" panose="020B0606030504020204" pitchFamily="34" charset="0"/>
              </a:rPr>
              <a:t>Rusznyák</a:t>
            </a: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 András</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Manager</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8 years of exp.</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49" name="Picture 4" descr="Hungary Large Flag | Gallery Yopriceville - High-Quality Free Images ...">
            <a:extLst>
              <a:ext uri="{FF2B5EF4-FFF2-40B4-BE49-F238E27FC236}">
                <a16:creationId xmlns:a16="http://schemas.microsoft.com/office/drawing/2014/main" id="{D5605A27-066A-EFB7-FA69-43EA274AC20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889786" y="247501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1" name="Oval 50">
            <a:extLst>
              <a:ext uri="{FF2B5EF4-FFF2-40B4-BE49-F238E27FC236}">
                <a16:creationId xmlns:a16="http://schemas.microsoft.com/office/drawing/2014/main" id="{7CA5DFAB-1F2E-CCBC-B430-36376DF07305}"/>
              </a:ext>
            </a:extLst>
          </p:cNvPr>
          <p:cNvSpPr/>
          <p:nvPr/>
        </p:nvSpPr>
        <p:spPr bwMode="gray">
          <a:xfrm>
            <a:off x="10912139" y="216610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54" name="Rectangle 53">
            <a:extLst>
              <a:ext uri="{FF2B5EF4-FFF2-40B4-BE49-F238E27FC236}">
                <a16:creationId xmlns:a16="http://schemas.microsoft.com/office/drawing/2014/main" id="{B73EF687-CC29-F641-ED11-1AB0F188B59D}"/>
              </a:ext>
            </a:extLst>
          </p:cNvPr>
          <p:cNvSpPr/>
          <p:nvPr/>
        </p:nvSpPr>
        <p:spPr bwMode="gray">
          <a:xfrm>
            <a:off x="897857" y="3205562"/>
            <a:ext cx="224028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55" name="TextBox 54">
            <a:extLst>
              <a:ext uri="{FF2B5EF4-FFF2-40B4-BE49-F238E27FC236}">
                <a16:creationId xmlns:a16="http://schemas.microsoft.com/office/drawing/2014/main" id="{BCAC0D4D-D046-0E69-8044-BEE5F6111D72}"/>
              </a:ext>
            </a:extLst>
          </p:cNvPr>
          <p:cNvSpPr txBox="1"/>
          <p:nvPr/>
        </p:nvSpPr>
        <p:spPr>
          <a:xfrm>
            <a:off x="1724086"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1100" b="1" dirty="0">
                <a:solidFill>
                  <a:srgbClr val="313131"/>
                </a:solidFill>
                <a:latin typeface="Open Sans"/>
                <a:ea typeface="Open Sans Light" panose="020B0306030504020204" pitchFamily="34" charset="0"/>
                <a:cs typeface="Open Sans Light" panose="020B0306030504020204" pitchFamily="34" charset="0"/>
              </a:rPr>
              <a:t>Ambrus Attila</a:t>
            </a:r>
            <a:endPar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a:t>
            </a:r>
            <a:r>
              <a:rPr lang="en-US"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0</a:t>
            </a: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56" name="Picture 4" descr="Hungary Large Flag | Gallery Yopriceville - High-Quality Free Images ...">
            <a:extLst>
              <a:ext uri="{FF2B5EF4-FFF2-40B4-BE49-F238E27FC236}">
                <a16:creationId xmlns:a16="http://schemas.microsoft.com/office/drawing/2014/main" id="{7F72C73D-B2F0-5819-A793-C057DC0ABC8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828057"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8" name="Oval 57">
            <a:extLst>
              <a:ext uri="{FF2B5EF4-FFF2-40B4-BE49-F238E27FC236}">
                <a16:creationId xmlns:a16="http://schemas.microsoft.com/office/drawing/2014/main" id="{3B6B7AA7-B405-B2FB-EDB5-C8A286DAF38F}"/>
              </a:ext>
            </a:extLst>
          </p:cNvPr>
          <p:cNvSpPr/>
          <p:nvPr/>
        </p:nvSpPr>
        <p:spPr bwMode="gray">
          <a:xfrm>
            <a:off x="284628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60" name="Oval 59">
            <a:extLst>
              <a:ext uri="{FF2B5EF4-FFF2-40B4-BE49-F238E27FC236}">
                <a16:creationId xmlns:a16="http://schemas.microsoft.com/office/drawing/2014/main" id="{DDD8E259-5CDD-ABCB-61E3-60A7EC634566}"/>
              </a:ext>
            </a:extLst>
          </p:cNvPr>
          <p:cNvSpPr/>
          <p:nvPr/>
        </p:nvSpPr>
        <p:spPr bwMode="gray">
          <a:xfrm>
            <a:off x="557135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61" name="Rectangle 60">
            <a:extLst>
              <a:ext uri="{FF2B5EF4-FFF2-40B4-BE49-F238E27FC236}">
                <a16:creationId xmlns:a16="http://schemas.microsoft.com/office/drawing/2014/main" id="{A2AB564D-1D1C-2E33-CC2B-F0DAAC7D03D6}"/>
              </a:ext>
            </a:extLst>
          </p:cNvPr>
          <p:cNvSpPr/>
          <p:nvPr/>
        </p:nvSpPr>
        <p:spPr bwMode="gray">
          <a:xfrm>
            <a:off x="6214239"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62" name="TextBox 61">
            <a:extLst>
              <a:ext uri="{FF2B5EF4-FFF2-40B4-BE49-F238E27FC236}">
                <a16:creationId xmlns:a16="http://schemas.microsoft.com/office/drawing/2014/main" id="{DC0EAF42-F85E-1E08-6D19-A27095EF7F25}"/>
              </a:ext>
            </a:extLst>
          </p:cNvPr>
          <p:cNvSpPr txBox="1"/>
          <p:nvPr/>
        </p:nvSpPr>
        <p:spPr>
          <a:xfrm>
            <a:off x="7013310" y="3336541"/>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Berczi </a:t>
            </a:r>
            <a:r>
              <a:rPr lang="en-US" sz="1100" b="1" dirty="0">
                <a:solidFill>
                  <a:srgbClr val="313131"/>
                </a:solidFill>
                <a:latin typeface="Open Sans"/>
                <a:ea typeface="Open Sans Light" panose="020B0306030504020204" pitchFamily="34" charset="0"/>
                <a:cs typeface="Open Sans Light" panose="020B0306030504020204" pitchFamily="34" charset="0"/>
              </a:rPr>
              <a:t>Ádám</a:t>
            </a:r>
            <a:endParaRPr kumimoji="0" lang="en-US" sz="11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nager</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0</a:t>
            </a: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63" name="Picture 4" descr="Hungary Large Flag | Gallery Yopriceville - High-Quality Free Images ...">
            <a:extLst>
              <a:ext uri="{FF2B5EF4-FFF2-40B4-BE49-F238E27FC236}">
                <a16:creationId xmlns:a16="http://schemas.microsoft.com/office/drawing/2014/main" id="{1A0B5DCA-64B8-3111-7F44-A33C9793866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175729"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5" name="Oval 64">
            <a:extLst>
              <a:ext uri="{FF2B5EF4-FFF2-40B4-BE49-F238E27FC236}">
                <a16:creationId xmlns:a16="http://schemas.microsoft.com/office/drawing/2014/main" id="{AFBB43CE-5FFB-D6B6-2D91-23F60956C48A}"/>
              </a:ext>
            </a:extLst>
          </p:cNvPr>
          <p:cNvSpPr/>
          <p:nvPr/>
        </p:nvSpPr>
        <p:spPr bwMode="gray">
          <a:xfrm>
            <a:off x="8187809"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72" name="Oval 71">
            <a:extLst>
              <a:ext uri="{FF2B5EF4-FFF2-40B4-BE49-F238E27FC236}">
                <a16:creationId xmlns:a16="http://schemas.microsoft.com/office/drawing/2014/main" id="{51169A17-EB78-41B8-75A1-77706FE573C3}"/>
              </a:ext>
            </a:extLst>
          </p:cNvPr>
          <p:cNvSpPr/>
          <p:nvPr/>
        </p:nvSpPr>
        <p:spPr bwMode="gray">
          <a:xfrm>
            <a:off x="2501033"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grpSp>
        <p:nvGrpSpPr>
          <p:cNvPr id="12" name="Group 11">
            <a:extLst>
              <a:ext uri="{FF2B5EF4-FFF2-40B4-BE49-F238E27FC236}">
                <a16:creationId xmlns:a16="http://schemas.microsoft.com/office/drawing/2014/main" id="{FFA4452F-91A7-02F9-38B4-F8F6CC29AED8}"/>
              </a:ext>
            </a:extLst>
          </p:cNvPr>
          <p:cNvGrpSpPr/>
          <p:nvPr/>
        </p:nvGrpSpPr>
        <p:grpSpPr>
          <a:xfrm>
            <a:off x="6208392" y="4797030"/>
            <a:ext cx="2294081" cy="900420"/>
            <a:chOff x="2993752" y="4799452"/>
            <a:chExt cx="2294081" cy="900420"/>
          </a:xfrm>
        </p:grpSpPr>
        <p:sp>
          <p:nvSpPr>
            <p:cNvPr id="89" name="Rectangle 88">
              <a:extLst>
                <a:ext uri="{FF2B5EF4-FFF2-40B4-BE49-F238E27FC236}">
                  <a16:creationId xmlns:a16="http://schemas.microsoft.com/office/drawing/2014/main" id="{BC1472F9-DCB3-CE77-9D5F-69FD5964909C}"/>
                </a:ext>
              </a:extLst>
            </p:cNvPr>
            <p:cNvSpPr/>
            <p:nvPr/>
          </p:nvSpPr>
          <p:spPr bwMode="gray">
            <a:xfrm>
              <a:off x="2993752" y="4799452"/>
              <a:ext cx="224028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11" name="Group 10">
              <a:extLst>
                <a:ext uri="{FF2B5EF4-FFF2-40B4-BE49-F238E27FC236}">
                  <a16:creationId xmlns:a16="http://schemas.microsoft.com/office/drawing/2014/main" id="{C8DB8B8D-7C48-9281-6E5B-7B8923D3863E}"/>
                </a:ext>
              </a:extLst>
            </p:cNvPr>
            <p:cNvGrpSpPr/>
            <p:nvPr/>
          </p:nvGrpSpPr>
          <p:grpSpPr>
            <a:xfrm>
              <a:off x="3803468" y="4946564"/>
              <a:ext cx="1484365" cy="703310"/>
              <a:chOff x="3450061" y="4956532"/>
              <a:chExt cx="1484365" cy="703310"/>
            </a:xfrm>
          </p:grpSpPr>
          <p:pic>
            <p:nvPicPr>
              <p:cNvPr id="91" name="Picture 4" descr="Hungary Large Flag | Gallery Yopriceville - High-Quality Free Images ...">
                <a:extLst>
                  <a:ext uri="{FF2B5EF4-FFF2-40B4-BE49-F238E27FC236}">
                    <a16:creationId xmlns:a16="http://schemas.microsoft.com/office/drawing/2014/main" id="{93502A47-9ABC-00EE-FDF9-615A1538964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80268" y="5484330"/>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5FB9255D-E12E-347F-903C-ADA21949F413}"/>
                  </a:ext>
                </a:extLst>
              </p:cNvPr>
              <p:cNvGrpSpPr/>
              <p:nvPr/>
            </p:nvGrpSpPr>
            <p:grpSpPr>
              <a:xfrm>
                <a:off x="3450061" y="4956532"/>
                <a:ext cx="1484365" cy="623248"/>
                <a:chOff x="3450061" y="4956532"/>
                <a:chExt cx="1484365" cy="623248"/>
              </a:xfrm>
            </p:grpSpPr>
            <p:sp>
              <p:nvSpPr>
                <p:cNvPr id="90" name="TextBox 89">
                  <a:extLst>
                    <a:ext uri="{FF2B5EF4-FFF2-40B4-BE49-F238E27FC236}">
                      <a16:creationId xmlns:a16="http://schemas.microsoft.com/office/drawing/2014/main" id="{1E77CFA2-EC17-7340-832D-33404683085C}"/>
                    </a:ext>
                  </a:extLst>
                </p:cNvPr>
                <p:cNvSpPr txBox="1"/>
                <p:nvPr/>
              </p:nvSpPr>
              <p:spPr>
                <a:xfrm>
                  <a:off x="3450061" y="4956532"/>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lang="en-US" sz="900" b="1" dirty="0" err="1">
                      <a:solidFill>
                        <a:srgbClr val="313131"/>
                      </a:solidFill>
                      <a:latin typeface="Open Sans"/>
                      <a:ea typeface="Open Sans Light" panose="020B0306030504020204" pitchFamily="34" charset="0"/>
                      <a:cs typeface="Open Sans Light" panose="020B0306030504020204" pitchFamily="34" charset="0"/>
                    </a:rPr>
                    <a:t>Manouan</a:t>
                  </a:r>
                  <a:r>
                    <a:rPr lang="en-US" sz="900" b="1" dirty="0">
                      <a:solidFill>
                        <a:srgbClr val="313131"/>
                      </a:solidFill>
                      <a:latin typeface="Open Sans"/>
                      <a:ea typeface="Open Sans Light" panose="020B0306030504020204" pitchFamily="34" charset="0"/>
                      <a:cs typeface="Open Sans Light" panose="020B0306030504020204" pitchFamily="34" charset="0"/>
                    </a:rPr>
                    <a:t> Eddy-Jonathan</a:t>
                  </a:r>
                  <a:endParaRPr kumimoji="0" lang="en-US" sz="9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93" name="Oval 92">
                  <a:extLst>
                    <a:ext uri="{FF2B5EF4-FFF2-40B4-BE49-F238E27FC236}">
                      <a16:creationId xmlns:a16="http://schemas.microsoft.com/office/drawing/2014/main" id="{E236F179-01F0-9ECC-C494-6A4B0FB669A6}"/>
                    </a:ext>
                  </a:extLst>
                </p:cNvPr>
                <p:cNvSpPr/>
                <p:nvPr/>
              </p:nvSpPr>
              <p:spPr bwMode="gray">
                <a:xfrm>
                  <a:off x="4596927" y="518391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grpSp>
        </p:grpSp>
      </p:grpSp>
      <p:sp>
        <p:nvSpPr>
          <p:cNvPr id="94" name="Rectangle 93">
            <a:extLst>
              <a:ext uri="{FF2B5EF4-FFF2-40B4-BE49-F238E27FC236}">
                <a16:creationId xmlns:a16="http://schemas.microsoft.com/office/drawing/2014/main" id="{E4DE9A55-B624-DE98-0101-A8B42FE9C0C3}"/>
              </a:ext>
            </a:extLst>
          </p:cNvPr>
          <p:cNvSpPr/>
          <p:nvPr/>
        </p:nvSpPr>
        <p:spPr bwMode="gray">
          <a:xfrm>
            <a:off x="9235247" y="4805556"/>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95" name="TextBox 94">
            <a:extLst>
              <a:ext uri="{FF2B5EF4-FFF2-40B4-BE49-F238E27FC236}">
                <a16:creationId xmlns:a16="http://schemas.microsoft.com/office/drawing/2014/main" id="{7F3FADD7-A655-F99F-B6BF-6DEE95A14F67}"/>
              </a:ext>
            </a:extLst>
          </p:cNvPr>
          <p:cNvSpPr txBox="1"/>
          <p:nvPr/>
        </p:nvSpPr>
        <p:spPr>
          <a:xfrm>
            <a:off x="9945869" y="4979336"/>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Benedek Posfay</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2</a:t>
            </a: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96" name="Picture 4" descr="Hungary Large Flag | Gallery Yopriceville - High-Quality Free Images ...">
            <a:extLst>
              <a:ext uri="{FF2B5EF4-FFF2-40B4-BE49-F238E27FC236}">
                <a16:creationId xmlns:a16="http://schemas.microsoft.com/office/drawing/2014/main" id="{259E8329-2E14-7E60-2187-267CC91CE67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821762" y="5490434"/>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8" name="Oval 97">
            <a:extLst>
              <a:ext uri="{FF2B5EF4-FFF2-40B4-BE49-F238E27FC236}">
                <a16:creationId xmlns:a16="http://schemas.microsoft.com/office/drawing/2014/main" id="{047DF9AD-381D-4685-48C5-6FA34163C1CC}"/>
              </a:ext>
            </a:extLst>
          </p:cNvPr>
          <p:cNvSpPr/>
          <p:nvPr/>
        </p:nvSpPr>
        <p:spPr bwMode="gray">
          <a:xfrm>
            <a:off x="10838421" y="5190023"/>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104" name="Rectangle 103">
            <a:extLst>
              <a:ext uri="{FF2B5EF4-FFF2-40B4-BE49-F238E27FC236}">
                <a16:creationId xmlns:a16="http://schemas.microsoft.com/office/drawing/2014/main" id="{2C62EBE5-5B63-18C0-2CBA-B59C2FBD69DF}"/>
              </a:ext>
            </a:extLst>
          </p:cNvPr>
          <p:cNvSpPr/>
          <p:nvPr/>
        </p:nvSpPr>
        <p:spPr bwMode="gray">
          <a:xfrm>
            <a:off x="3603547" y="4797030"/>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05" name="TextBox 104">
            <a:extLst>
              <a:ext uri="{FF2B5EF4-FFF2-40B4-BE49-F238E27FC236}">
                <a16:creationId xmlns:a16="http://schemas.microsoft.com/office/drawing/2014/main" id="{3CE209C2-EEE3-025B-D0FA-06AA9097AC8D}"/>
              </a:ext>
            </a:extLst>
          </p:cNvPr>
          <p:cNvSpPr txBox="1"/>
          <p:nvPr/>
        </p:nvSpPr>
        <p:spPr>
          <a:xfrm>
            <a:off x="4314169" y="4970810"/>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Szilvia </a:t>
            </a:r>
            <a:r>
              <a:rPr kumimoji="0" lang="en-US" sz="900" b="1" i="0" u="none" strike="noStrike" kern="1200" cap="none" spc="0" normalizeH="0" baseline="0" dirty="0" err="1">
                <a:ln>
                  <a:noFill/>
                </a:ln>
                <a:solidFill>
                  <a:srgbClr val="313131"/>
                </a:solidFill>
                <a:effectLst/>
                <a:uLnTx/>
                <a:uFillTx/>
                <a:latin typeface="Open Sans"/>
                <a:ea typeface="Open Sans Light" panose="020B0306030504020204" pitchFamily="34" charset="0"/>
                <a:cs typeface="Open Sans Light" panose="020B0306030504020204" pitchFamily="34" charset="0"/>
              </a:rPr>
              <a:t>Képesi</a:t>
            </a:r>
            <a:endParaRPr kumimoji="0" lang="en-US" sz="900" b="1" i="0" u="none" strike="noStrike" kern="1200" cap="none" spc="0" normalizeH="0" baseline="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en-US" sz="8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7</a:t>
            </a: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107" name="Picture 4" descr="Hungary Large Flag | Gallery Yopriceville - High-Quality Free Images ...">
            <a:extLst>
              <a:ext uri="{FF2B5EF4-FFF2-40B4-BE49-F238E27FC236}">
                <a16:creationId xmlns:a16="http://schemas.microsoft.com/office/drawing/2014/main" id="{173E4106-FF27-A027-6640-1FFEC7C67C8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90062" y="5481908"/>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9" name="Oval 108">
            <a:extLst>
              <a:ext uri="{FF2B5EF4-FFF2-40B4-BE49-F238E27FC236}">
                <a16:creationId xmlns:a16="http://schemas.microsoft.com/office/drawing/2014/main" id="{2E4B2EA4-4C8F-3FD6-83C9-47D258DACA54}"/>
              </a:ext>
            </a:extLst>
          </p:cNvPr>
          <p:cNvSpPr/>
          <p:nvPr/>
        </p:nvSpPr>
        <p:spPr bwMode="gray">
          <a:xfrm>
            <a:off x="5206721" y="518149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10" cstate="email">
            <a:duotone>
              <a:prstClr val="black"/>
              <a:schemeClr val="accent4">
                <a:tint val="45000"/>
                <a:satMod val="400000"/>
              </a:scheme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pic>
        <p:nvPicPr>
          <p:cNvPr id="2" name="Picture Placeholder 21">
            <a:extLst>
              <a:ext uri="{FF2B5EF4-FFF2-40B4-BE49-F238E27FC236}">
                <a16:creationId xmlns:a16="http://schemas.microsoft.com/office/drawing/2014/main" id="{AA4BC817-89F4-866C-E740-2BC1F89F0B70}"/>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a:xfrm>
            <a:off x="1066728" y="1889092"/>
            <a:ext cx="649511" cy="649511"/>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40" name="Picture Placeholder 21">
            <a:extLst>
              <a:ext uri="{FF2B5EF4-FFF2-40B4-BE49-F238E27FC236}">
                <a16:creationId xmlns:a16="http://schemas.microsoft.com/office/drawing/2014/main" id="{0508314C-B711-DB80-B0BA-F3D9E1DB9859}"/>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6339186" y="1896644"/>
            <a:ext cx="649511" cy="649511"/>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41" name="Picture Placeholder 21">
            <a:extLst>
              <a:ext uri="{FF2B5EF4-FFF2-40B4-BE49-F238E27FC236}">
                <a16:creationId xmlns:a16="http://schemas.microsoft.com/office/drawing/2014/main" id="{8641F090-A743-E4D6-8915-A03A4B348B16}"/>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9026342" y="1891803"/>
            <a:ext cx="649511" cy="649511"/>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42" name="Picture Placeholder 21">
            <a:extLst>
              <a:ext uri="{FF2B5EF4-FFF2-40B4-BE49-F238E27FC236}">
                <a16:creationId xmlns:a16="http://schemas.microsoft.com/office/drawing/2014/main" id="{3000FA9F-2FCB-3D27-48D9-4DA04362557C}"/>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a:xfrm>
            <a:off x="983292" y="3396505"/>
            <a:ext cx="649511" cy="649511"/>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43" name="Picture Placeholder 21">
            <a:extLst>
              <a:ext uri="{FF2B5EF4-FFF2-40B4-BE49-F238E27FC236}">
                <a16:creationId xmlns:a16="http://schemas.microsoft.com/office/drawing/2014/main" id="{515BF84A-E6C7-8BF5-B152-70E853148F87}"/>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a:xfrm>
            <a:off x="3645410" y="3395787"/>
            <a:ext cx="649511" cy="649511"/>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46" name="Picture Placeholder 21">
            <a:extLst>
              <a:ext uri="{FF2B5EF4-FFF2-40B4-BE49-F238E27FC236}">
                <a16:creationId xmlns:a16="http://schemas.microsoft.com/office/drawing/2014/main" id="{2D28C157-C5E8-79AF-E3F6-96AC5569B7AC}"/>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3686348" y="4980560"/>
            <a:ext cx="550411" cy="550411"/>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53" name="Picture Placeholder 21">
            <a:extLst>
              <a:ext uri="{FF2B5EF4-FFF2-40B4-BE49-F238E27FC236}">
                <a16:creationId xmlns:a16="http://schemas.microsoft.com/office/drawing/2014/main" id="{EC49413C-BD4C-2051-E7E6-7EDAB0F5EA37}"/>
              </a:ext>
            </a:extLst>
          </p:cNvPr>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a:xfrm>
            <a:off x="9320332" y="4980560"/>
            <a:ext cx="550411" cy="550411"/>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25" name="Picture Placeholder 4" descr="A person smiling for the camera&#10;&#10;Description automatically generated with medium confidence">
            <a:extLst>
              <a:ext uri="{FF2B5EF4-FFF2-40B4-BE49-F238E27FC236}">
                <a16:creationId xmlns:a16="http://schemas.microsoft.com/office/drawing/2014/main" id="{3A1D294D-828B-4D57-1F26-A08EF452D087}"/>
              </a:ext>
            </a:extLst>
          </p:cNvPr>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a:xfrm>
            <a:off x="3718267" y="1889092"/>
            <a:ext cx="648000" cy="648000"/>
          </a:xfrm>
          <a:prstGeom prst="ellipse">
            <a:avLst/>
          </a:prstGeom>
        </p:spPr>
      </p:pic>
      <p:pic>
        <p:nvPicPr>
          <p:cNvPr id="29" name="Picture 40">
            <a:extLst>
              <a:ext uri="{FF2B5EF4-FFF2-40B4-BE49-F238E27FC236}">
                <a16:creationId xmlns:a16="http://schemas.microsoft.com/office/drawing/2014/main" id="{62769047-4790-5BEC-E556-4DE511349DBE}"/>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6337438" y="3352464"/>
            <a:ext cx="649503" cy="649503"/>
          </a:xfrm>
          <a:prstGeom prst="ellipse">
            <a:avLst/>
          </a:prstGeom>
        </p:spPr>
      </p:pic>
      <p:pic>
        <p:nvPicPr>
          <p:cNvPr id="30" name="Picture Placeholder 4" descr="A person with a beard&#10;&#10;Description automatically generated with low confidence">
            <a:extLst>
              <a:ext uri="{FF2B5EF4-FFF2-40B4-BE49-F238E27FC236}">
                <a16:creationId xmlns:a16="http://schemas.microsoft.com/office/drawing/2014/main" id="{38377BF6-743C-EC39-2162-60308860C306}"/>
              </a:ext>
            </a:extLst>
          </p:cNvPr>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a:xfrm>
            <a:off x="976866" y="4990417"/>
            <a:ext cx="545378" cy="545378"/>
          </a:xfrm>
          <a:prstGeom prst="ellipse">
            <a:avLst/>
          </a:prstGeom>
        </p:spPr>
      </p:pic>
      <p:pic>
        <p:nvPicPr>
          <p:cNvPr id="57" name="Picture Placeholder 4">
            <a:extLst>
              <a:ext uri="{FF2B5EF4-FFF2-40B4-BE49-F238E27FC236}">
                <a16:creationId xmlns:a16="http://schemas.microsoft.com/office/drawing/2014/main" id="{E57C1F7D-DEEE-3625-6551-F649F52ABDA4}"/>
              </a:ext>
            </a:extLst>
          </p:cNvPr>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a:xfrm>
            <a:off x="6385649" y="4978880"/>
            <a:ext cx="550411" cy="550411"/>
          </a:xfrm>
          <a:prstGeom prst="rect">
            <a:avLst/>
          </a:prstGeom>
        </p:spPr>
      </p:pic>
    </p:spTree>
    <p:extLst>
      <p:ext uri="{BB962C8B-B14F-4D97-AF65-F5344CB8AC3E}">
        <p14:creationId xmlns:p14="http://schemas.microsoft.com/office/powerpoint/2010/main" val="2911823913"/>
      </p:ext>
    </p:extLst>
  </p:cSld>
  <p:clrMapOvr>
    <a:masterClrMapping/>
  </p:clrMapOvr>
  <p:transition>
    <p:fade/>
  </p:transition>
  <p:extLst>
    <p:ext uri="{6950BFC3-D8DA-4A85-94F7-54DA5524770B}">
      <p188:commentRel xmlns:p188="http://schemas.microsoft.com/office/powerpoint/2018/8/main" r:id="rId4"/>
    </p:ext>
  </p:extLs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11717735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7AE8EE52-01D3-A94A-07E0-7E74FC47A5AD}"/>
              </a:ext>
            </a:extLst>
          </p:cNvPr>
          <p:cNvCxnSpPr>
            <a:cxnSpLocks/>
          </p:cNvCxnSpPr>
          <p:nvPr/>
        </p:nvCxnSpPr>
        <p:spPr>
          <a:xfrm>
            <a:off x="2426327" y="3666922"/>
            <a:ext cx="2983873"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420EE10-9367-4C4A-B30D-03411040A7D1}"/>
              </a:ext>
            </a:extLst>
          </p:cNvPr>
          <p:cNvSpPr>
            <a:spLocks noGrp="1"/>
          </p:cNvSpPr>
          <p:nvPr>
            <p:ph type="title"/>
          </p:nvPr>
        </p:nvSpPr>
        <p:spPr>
          <a:xfrm>
            <a:off x="897857" y="906411"/>
            <a:ext cx="10467780" cy="787400"/>
          </a:xfrm>
        </p:spPr>
        <p:txBody>
          <a:bodyPr vert="horz" anchor="t"/>
          <a:lstStyle/>
          <a:p>
            <a:r>
              <a:rPr lang="en-US" sz="1400" dirty="0">
                <a:solidFill>
                  <a:prstClr val="black"/>
                </a:solidFill>
              </a:rPr>
              <a:t>…</a:t>
            </a:r>
          </a:p>
        </p:txBody>
      </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sp>
        <p:nvSpPr>
          <p:cNvPr id="10" name="Title 1">
            <a:extLst>
              <a:ext uri="{FF2B5EF4-FFF2-40B4-BE49-F238E27FC236}">
                <a16:creationId xmlns:a16="http://schemas.microsoft.com/office/drawing/2014/main" id="{0F572EF8-AE85-4C98-8B68-5DA3F80EC595}"/>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hu-HU" dirty="0">
                <a:cs typeface="Calibri Light"/>
              </a:rPr>
              <a:t>Data </a:t>
            </a:r>
            <a:r>
              <a:rPr lang="hu-HU" dirty="0" err="1">
                <a:cs typeface="Calibri Light"/>
              </a:rPr>
              <a:t>governance</a:t>
            </a:r>
            <a:endParaRPr lang="en-US" dirty="0">
              <a:cs typeface="Calibri Light"/>
            </a:endParaRPr>
          </a:p>
        </p:txBody>
      </p:sp>
      <p:sp>
        <p:nvSpPr>
          <p:cNvPr id="125" name="Rectangle 124">
            <a:extLst>
              <a:ext uri="{FF2B5EF4-FFF2-40B4-BE49-F238E27FC236}">
                <a16:creationId xmlns:a16="http://schemas.microsoft.com/office/drawing/2014/main" id="{874C2E2D-1BD2-F67F-EA28-7A7677A3D75C}"/>
              </a:ext>
            </a:extLst>
          </p:cNvPr>
          <p:cNvSpPr/>
          <p:nvPr/>
        </p:nvSpPr>
        <p:spPr bwMode="gray">
          <a:xfrm>
            <a:off x="897857" y="1702864"/>
            <a:ext cx="2240280" cy="1006787"/>
          </a:xfrm>
          <a:prstGeom prst="rect">
            <a:avLst/>
          </a:prstGeom>
          <a:solidFill>
            <a:srgbClr val="E0F0FA"/>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9" name="TextBox 128">
            <a:extLst>
              <a:ext uri="{FF2B5EF4-FFF2-40B4-BE49-F238E27FC236}">
                <a16:creationId xmlns:a16="http://schemas.microsoft.com/office/drawing/2014/main" id="{A6D46EF4-48DD-87E0-55AC-5A8DFAB52783}"/>
              </a:ext>
            </a:extLst>
          </p:cNvPr>
          <p:cNvSpPr txBox="1"/>
          <p:nvPr/>
        </p:nvSpPr>
        <p:spPr>
          <a:xfrm>
            <a:off x="1686132" y="1842896"/>
            <a:ext cx="1484365" cy="738664"/>
          </a:xfrm>
          <a:prstGeom prst="rect">
            <a:avLst/>
          </a:prstGeom>
          <a:noFill/>
        </p:spPr>
        <p:txBody>
          <a:bodyPr wrap="square" lIns="0" tIns="0" rIns="0" bIns="0" rtlCol="0">
            <a:spAutoFit/>
          </a:bodyPr>
          <a:lstStyle/>
          <a:p>
            <a:pPr>
              <a:spcBef>
                <a:spcPts val="600"/>
              </a:spcBef>
              <a:buSzPct val="100000"/>
            </a:pPr>
            <a:r>
              <a:rPr lang="en-US" sz="1050" b="1" dirty="0">
                <a:solidFill>
                  <a:srgbClr val="313131"/>
                </a:solidFill>
                <a:latin typeface="Open Sans" panose="020B0606030504020204" pitchFamily="34" charset="0"/>
                <a:ea typeface="Open Sans" panose="020B0606030504020204" pitchFamily="34" charset="0"/>
                <a:cs typeface="Open Sans" panose="020B0606030504020204" pitchFamily="34" charset="0"/>
              </a:rPr>
              <a:t>Tamás Eperjesi</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enior manager</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1</a:t>
            </a:r>
            <a:r>
              <a:rPr lang="hu-HU"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5</a:t>
            </a: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 years of exp.</a:t>
            </a:r>
          </a:p>
          <a:p>
            <a:pPr>
              <a:spcBef>
                <a:spcPts val="300"/>
              </a:spcBef>
              <a:buSzPct val="100000"/>
            </a:pPr>
            <a:r>
              <a:rPr lang="en-US" sz="10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Budapest</a:t>
            </a:r>
          </a:p>
        </p:txBody>
      </p:sp>
      <p:sp>
        <p:nvSpPr>
          <p:cNvPr id="6" name="Oval 5">
            <a:extLst>
              <a:ext uri="{FF2B5EF4-FFF2-40B4-BE49-F238E27FC236}">
                <a16:creationId xmlns:a16="http://schemas.microsoft.com/office/drawing/2014/main" id="{B818D4A9-F7A9-5111-6854-FCC2C6D9716E}"/>
              </a:ext>
            </a:extLst>
          </p:cNvPr>
          <p:cNvSpPr/>
          <p:nvPr/>
        </p:nvSpPr>
        <p:spPr bwMode="gray">
          <a:xfrm>
            <a:off x="4345580"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BA</a:t>
            </a:r>
            <a:endParaRPr lang="en-US" sz="800" b="1" dirty="0">
              <a:solidFill>
                <a:schemeClr val="accent2">
                  <a:lumMod val="50000"/>
                </a:schemeClr>
              </a:solidFill>
            </a:endParaRPr>
          </a:p>
        </p:txBody>
      </p:sp>
      <p:pic>
        <p:nvPicPr>
          <p:cNvPr id="13" name="Picture 2" descr="UNICEF Logo and symbol, meaning, history, PNG, brand">
            <a:extLst>
              <a:ext uri="{FF2B5EF4-FFF2-40B4-BE49-F238E27FC236}">
                <a16:creationId xmlns:a16="http://schemas.microsoft.com/office/drawing/2014/main" id="{03CCCE60-C659-02B3-2670-3074365DDE40}"/>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56270" y="6162964"/>
            <a:ext cx="593087" cy="33361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79B756F-5CA7-461C-723F-D3A46640B769}"/>
              </a:ext>
            </a:extLst>
          </p:cNvPr>
          <p:cNvSpPr txBox="1"/>
          <p:nvPr/>
        </p:nvSpPr>
        <p:spPr>
          <a:xfrm>
            <a:off x="4992364" y="6263625"/>
            <a:ext cx="1061396" cy="176139"/>
          </a:xfrm>
          <a:prstGeom prst="rect">
            <a:avLst/>
          </a:prstGeom>
          <a:noFill/>
        </p:spPr>
        <p:txBody>
          <a:bodyPr wrap="square" lIns="0" tIns="0" rIns="0" bIns="0" rtlCol="0" anchor="t">
            <a:noAutofit/>
          </a:bodyPr>
          <a:lstStyle/>
          <a:p>
            <a:pPr>
              <a:spcAft>
                <a:spcPts val="1000"/>
              </a:spcAft>
            </a:pPr>
            <a:r>
              <a:rPr lang="en-US" sz="900" dirty="0">
                <a:latin typeface="+mj-lt"/>
                <a:ea typeface="Open Sans Light" panose="020B0306030504020204" pitchFamily="34" charset="0"/>
                <a:cs typeface="Open Sans Light" panose="020B0306030504020204" pitchFamily="34" charset="0"/>
              </a:rPr>
              <a:t>SENIORITY LEVELS</a:t>
            </a:r>
          </a:p>
        </p:txBody>
      </p:sp>
      <p:sp>
        <p:nvSpPr>
          <p:cNvPr id="15" name="TextBox 14">
            <a:extLst>
              <a:ext uri="{FF2B5EF4-FFF2-40B4-BE49-F238E27FC236}">
                <a16:creationId xmlns:a16="http://schemas.microsoft.com/office/drawing/2014/main" id="{F0B417AD-BC1E-2C8F-980F-26D84F809AA0}"/>
              </a:ext>
            </a:extLst>
          </p:cNvPr>
          <p:cNvSpPr txBox="1"/>
          <p:nvPr/>
        </p:nvSpPr>
        <p:spPr>
          <a:xfrm>
            <a:off x="4623395" y="6505192"/>
            <a:ext cx="83629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Business Analys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15">
            <a:extLst>
              <a:ext uri="{FF2B5EF4-FFF2-40B4-BE49-F238E27FC236}">
                <a16:creationId xmlns:a16="http://schemas.microsoft.com/office/drawing/2014/main" id="{7AE1726B-0B15-B58B-6339-A69ED9CFDCC9}"/>
              </a:ext>
            </a:extLst>
          </p:cNvPr>
          <p:cNvSpPr/>
          <p:nvPr/>
        </p:nvSpPr>
        <p:spPr bwMode="gray">
          <a:xfrm>
            <a:off x="566729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sp>
        <p:nvSpPr>
          <p:cNvPr id="17" name="TextBox 16">
            <a:extLst>
              <a:ext uri="{FF2B5EF4-FFF2-40B4-BE49-F238E27FC236}">
                <a16:creationId xmlns:a16="http://schemas.microsoft.com/office/drawing/2014/main" id="{EA9BFB0A-13C0-8536-B851-1E3169E4C95E}"/>
              </a:ext>
            </a:extLst>
          </p:cNvPr>
          <p:cNvSpPr txBox="1"/>
          <p:nvPr/>
        </p:nvSpPr>
        <p:spPr>
          <a:xfrm>
            <a:off x="5950707" y="6505192"/>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Junior Consultant (2-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7EBEE6C9-7EE0-4924-F8E4-5D464DE88E45}"/>
              </a:ext>
            </a:extLst>
          </p:cNvPr>
          <p:cNvSpPr/>
          <p:nvPr/>
        </p:nvSpPr>
        <p:spPr bwMode="gray">
          <a:xfrm>
            <a:off x="83109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19" name="TextBox 18">
            <a:extLst>
              <a:ext uri="{FF2B5EF4-FFF2-40B4-BE49-F238E27FC236}">
                <a16:creationId xmlns:a16="http://schemas.microsoft.com/office/drawing/2014/main" id="{B801882C-4D1E-B914-BCB6-8E6901B2304A}"/>
              </a:ext>
            </a:extLst>
          </p:cNvPr>
          <p:cNvSpPr txBox="1"/>
          <p:nvPr/>
        </p:nvSpPr>
        <p:spPr>
          <a:xfrm>
            <a:off x="8594367" y="6514248"/>
            <a:ext cx="9494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Manager               (8+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19">
            <a:extLst>
              <a:ext uri="{FF2B5EF4-FFF2-40B4-BE49-F238E27FC236}">
                <a16:creationId xmlns:a16="http://schemas.microsoft.com/office/drawing/2014/main" id="{767A2A9B-1E82-FD15-925C-3829B0BD09A9}"/>
              </a:ext>
            </a:extLst>
          </p:cNvPr>
          <p:cNvSpPr/>
          <p:nvPr/>
        </p:nvSpPr>
        <p:spPr bwMode="gray">
          <a:xfrm>
            <a:off x="6967971" y="651191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21" name="TextBox 20">
            <a:extLst>
              <a:ext uri="{FF2B5EF4-FFF2-40B4-BE49-F238E27FC236}">
                <a16:creationId xmlns:a16="http://schemas.microsoft.com/office/drawing/2014/main" id="{6E50838E-CB82-28D8-BF11-7A8B87F8CE3D}"/>
              </a:ext>
            </a:extLst>
          </p:cNvPr>
          <p:cNvSpPr txBox="1"/>
          <p:nvPr/>
        </p:nvSpPr>
        <p:spPr>
          <a:xfrm>
            <a:off x="7251384" y="6503741"/>
            <a:ext cx="953892"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Consultant (5+ years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347797C3-20B4-4DA6-8A79-9F7A4F9DB419}"/>
              </a:ext>
            </a:extLst>
          </p:cNvPr>
          <p:cNvSpPr/>
          <p:nvPr/>
        </p:nvSpPr>
        <p:spPr bwMode="gray">
          <a:xfrm>
            <a:off x="9552283"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M</a:t>
            </a:r>
            <a:endParaRPr lang="en-US" sz="800" b="1" dirty="0">
              <a:solidFill>
                <a:schemeClr val="accent2">
                  <a:lumMod val="50000"/>
                </a:schemeClr>
              </a:solidFill>
            </a:endParaRPr>
          </a:p>
        </p:txBody>
      </p:sp>
      <p:sp>
        <p:nvSpPr>
          <p:cNvPr id="23" name="TextBox 22">
            <a:extLst>
              <a:ext uri="{FF2B5EF4-FFF2-40B4-BE49-F238E27FC236}">
                <a16:creationId xmlns:a16="http://schemas.microsoft.com/office/drawing/2014/main" id="{962E12F2-0C8B-182C-2D4F-BB83FFF47226}"/>
              </a:ext>
            </a:extLst>
          </p:cNvPr>
          <p:cNvSpPr txBox="1"/>
          <p:nvPr/>
        </p:nvSpPr>
        <p:spPr>
          <a:xfrm>
            <a:off x="9835695" y="6505194"/>
            <a:ext cx="945105"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Senior Manager (10+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23">
            <a:extLst>
              <a:ext uri="{FF2B5EF4-FFF2-40B4-BE49-F238E27FC236}">
                <a16:creationId xmlns:a16="http://schemas.microsoft.com/office/drawing/2014/main" id="{8F4CB636-D98A-AE1B-7FC8-7AED124492F7}"/>
              </a:ext>
            </a:extLst>
          </p:cNvPr>
          <p:cNvSpPr/>
          <p:nvPr/>
        </p:nvSpPr>
        <p:spPr bwMode="gray">
          <a:xfrm>
            <a:off x="10838254" y="6513368"/>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PM</a:t>
            </a:r>
            <a:endParaRPr lang="en-US" sz="800" b="1" dirty="0">
              <a:solidFill>
                <a:schemeClr val="accent2">
                  <a:lumMod val="50000"/>
                </a:schemeClr>
              </a:solidFill>
            </a:endParaRPr>
          </a:p>
        </p:txBody>
      </p:sp>
      <p:sp>
        <p:nvSpPr>
          <p:cNvPr id="26" name="TextBox 25">
            <a:extLst>
              <a:ext uri="{FF2B5EF4-FFF2-40B4-BE49-F238E27FC236}">
                <a16:creationId xmlns:a16="http://schemas.microsoft.com/office/drawing/2014/main" id="{F8D714CD-15E8-43B2-9544-6796CE467E27}"/>
              </a:ext>
            </a:extLst>
          </p:cNvPr>
          <p:cNvSpPr txBox="1"/>
          <p:nvPr/>
        </p:nvSpPr>
        <p:spPr>
          <a:xfrm>
            <a:off x="11121667" y="6505194"/>
            <a:ext cx="964710" cy="24622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panose="020B0606030504020204" pitchFamily="34" charset="0"/>
                <a:ea typeface="Open Sans" panose="020B0606030504020204" pitchFamily="34" charset="0"/>
                <a:cs typeface="Open Sans" panose="020B0606030504020204" pitchFamily="34" charset="0"/>
              </a:rPr>
              <a:t>Project Manager (15+ years of exp.)</a:t>
            </a:r>
            <a:endParaRPr lang="en-US" sz="7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4" descr="Hungary Large Flag | Gallery Yopriceville - High-Quality Free Images ...">
            <a:extLst>
              <a:ext uri="{FF2B5EF4-FFF2-40B4-BE49-F238E27FC236}">
                <a16:creationId xmlns:a16="http://schemas.microsoft.com/office/drawing/2014/main" id="{460219FC-39B9-1DBC-D25A-E60C5561B4A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829703" y="247501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3" name="Picture 4" descr="Hungary Large Flag | Gallery Yopriceville - High-Quality Free Images ...">
            <a:extLst>
              <a:ext uri="{FF2B5EF4-FFF2-40B4-BE49-F238E27FC236}">
                <a16:creationId xmlns:a16="http://schemas.microsoft.com/office/drawing/2014/main" id="{019FA043-B4E8-B54D-4578-17BFFA1D25E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22134" y="6485356"/>
            <a:ext cx="193960" cy="1293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349386B-F880-0C53-DE2D-537CFCF784B6}"/>
              </a:ext>
            </a:extLst>
          </p:cNvPr>
          <p:cNvSpPr txBox="1"/>
          <p:nvPr/>
        </p:nvSpPr>
        <p:spPr>
          <a:xfrm>
            <a:off x="1181282" y="6481568"/>
            <a:ext cx="2483526" cy="284693"/>
          </a:xfrm>
          <a:prstGeom prst="rect">
            <a:avLst/>
          </a:prstGeom>
          <a:noFill/>
        </p:spPr>
        <p:txBody>
          <a:bodyPr wrap="square" lIns="0" tIns="0" rIns="0" bIns="0" rtlCol="0">
            <a:spAutoFit/>
          </a:bodyPr>
          <a:lstStyle/>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Deloitte Hungary</a:t>
            </a:r>
          </a:p>
          <a:p>
            <a:pPr>
              <a:spcAft>
                <a:spcPts val="300"/>
              </a:spcAft>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For detailed CVs see Appendix</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Oval 37">
            <a:extLst>
              <a:ext uri="{FF2B5EF4-FFF2-40B4-BE49-F238E27FC236}">
                <a16:creationId xmlns:a16="http://schemas.microsoft.com/office/drawing/2014/main" id="{20B78D97-C97E-4760-D25E-079E654B533E}"/>
              </a:ext>
            </a:extLst>
          </p:cNvPr>
          <p:cNvSpPr/>
          <p:nvPr/>
        </p:nvSpPr>
        <p:spPr bwMode="gray">
          <a:xfrm>
            <a:off x="2852056" y="2175160"/>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hu-HU" sz="800" b="1" dirty="0">
                <a:solidFill>
                  <a:schemeClr val="accent2">
                    <a:lumMod val="50000"/>
                  </a:schemeClr>
                </a:solidFill>
                <a:ea typeface="Open Sans"/>
                <a:cs typeface="Open Sans"/>
              </a:rPr>
              <a:t>P</a:t>
            </a:r>
            <a:r>
              <a:rPr lang="en-US" sz="800" b="1" dirty="0">
                <a:solidFill>
                  <a:schemeClr val="accent2">
                    <a:lumMod val="50000"/>
                  </a:schemeClr>
                </a:solidFill>
                <a:ea typeface="Open Sans"/>
                <a:cs typeface="Open Sans"/>
              </a:rPr>
              <a:t>M</a:t>
            </a:r>
            <a:endParaRPr lang="en-US" sz="800" b="1" dirty="0">
              <a:solidFill>
                <a:schemeClr val="accent2">
                  <a:lumMod val="50000"/>
                </a:schemeClr>
              </a:solidFill>
            </a:endParaRPr>
          </a:p>
        </p:txBody>
      </p:sp>
      <p:sp>
        <p:nvSpPr>
          <p:cNvPr id="61" name="Rectangle 60">
            <a:extLst>
              <a:ext uri="{FF2B5EF4-FFF2-40B4-BE49-F238E27FC236}">
                <a16:creationId xmlns:a16="http://schemas.microsoft.com/office/drawing/2014/main" id="{A2AB564D-1D1C-2E33-CC2B-F0DAAC7D03D6}"/>
              </a:ext>
            </a:extLst>
          </p:cNvPr>
          <p:cNvSpPr/>
          <p:nvPr/>
        </p:nvSpPr>
        <p:spPr bwMode="gray">
          <a:xfrm>
            <a:off x="897857"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62" name="TextBox 61">
            <a:extLst>
              <a:ext uri="{FF2B5EF4-FFF2-40B4-BE49-F238E27FC236}">
                <a16:creationId xmlns:a16="http://schemas.microsoft.com/office/drawing/2014/main" id="{DC0EAF42-F85E-1E08-6D19-A27095EF7F25}"/>
              </a:ext>
            </a:extLst>
          </p:cNvPr>
          <p:cNvSpPr txBox="1"/>
          <p:nvPr/>
        </p:nvSpPr>
        <p:spPr>
          <a:xfrm>
            <a:off x="1696928" y="3324235"/>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Csaba </a:t>
            </a:r>
            <a:r>
              <a:rPr kumimoji="0" lang="en-US" sz="1100" b="1" i="0" u="none" strike="noStrike" kern="1200" cap="none" spc="0" normalizeH="0" baseline="0" noProof="0" dirty="0" err="1">
                <a:ln>
                  <a:noFill/>
                </a:ln>
                <a:solidFill>
                  <a:srgbClr val="313131"/>
                </a:solidFill>
                <a:effectLst/>
                <a:uLnTx/>
                <a:uFillTx/>
                <a:latin typeface="Open Sans"/>
                <a:ea typeface="Open Sans Light" panose="020B0306030504020204" pitchFamily="34" charset="0"/>
                <a:cs typeface="Open Sans Light" panose="020B0306030504020204" pitchFamily="34" charset="0"/>
              </a:rPr>
              <a:t>Békési</a:t>
            </a:r>
            <a:endParaRPr kumimoji="0" lang="en-US" sz="11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7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63" name="Picture 4" descr="Hungary Large Flag | Gallery Yopriceville - High-Quality Free Images ...">
            <a:extLst>
              <a:ext uri="{FF2B5EF4-FFF2-40B4-BE49-F238E27FC236}">
                <a16:creationId xmlns:a16="http://schemas.microsoft.com/office/drawing/2014/main" id="{1A0B5DCA-64B8-3111-7F44-A33C9793866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859347"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5" name="Oval 64">
            <a:extLst>
              <a:ext uri="{FF2B5EF4-FFF2-40B4-BE49-F238E27FC236}">
                <a16:creationId xmlns:a16="http://schemas.microsoft.com/office/drawing/2014/main" id="{AFBB43CE-5FFB-D6B6-2D91-23F60956C48A}"/>
              </a:ext>
            </a:extLst>
          </p:cNvPr>
          <p:cNvSpPr/>
          <p:nvPr/>
        </p:nvSpPr>
        <p:spPr bwMode="gray">
          <a:xfrm>
            <a:off x="2871427"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sp>
        <p:nvSpPr>
          <p:cNvPr id="104" name="Rectangle 103">
            <a:extLst>
              <a:ext uri="{FF2B5EF4-FFF2-40B4-BE49-F238E27FC236}">
                <a16:creationId xmlns:a16="http://schemas.microsoft.com/office/drawing/2014/main" id="{2C62EBE5-5B63-18C0-2CBA-B59C2FBD69DF}"/>
              </a:ext>
            </a:extLst>
          </p:cNvPr>
          <p:cNvSpPr/>
          <p:nvPr/>
        </p:nvSpPr>
        <p:spPr bwMode="gray">
          <a:xfrm>
            <a:off x="927850" y="4801293"/>
            <a:ext cx="1886420" cy="900420"/>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05" name="TextBox 104">
            <a:extLst>
              <a:ext uri="{FF2B5EF4-FFF2-40B4-BE49-F238E27FC236}">
                <a16:creationId xmlns:a16="http://schemas.microsoft.com/office/drawing/2014/main" id="{3CE209C2-EEE3-025B-D0FA-06AA9097AC8D}"/>
              </a:ext>
            </a:extLst>
          </p:cNvPr>
          <p:cNvSpPr txBox="1"/>
          <p:nvPr/>
        </p:nvSpPr>
        <p:spPr>
          <a:xfrm>
            <a:off x="1638472" y="4939879"/>
            <a:ext cx="1484365" cy="623248"/>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en-US" sz="900" b="1" i="0" u="none" strike="noStrike" kern="1200" cap="none" spc="0" normalizeH="0" baseline="0" noProof="0" dirty="0" err="1">
                <a:ln>
                  <a:noFill/>
                </a:ln>
                <a:solidFill>
                  <a:srgbClr val="313131"/>
                </a:solidFill>
                <a:effectLst/>
                <a:uLnTx/>
                <a:uFillTx/>
                <a:latin typeface="Open Sans"/>
                <a:ea typeface="Open Sans Light" panose="020B0306030504020204" pitchFamily="34" charset="0"/>
                <a:cs typeface="Open Sans Light" panose="020B0306030504020204" pitchFamily="34" charset="0"/>
              </a:rPr>
              <a:t>Gréta</a:t>
            </a:r>
            <a:r>
              <a:rPr kumimoji="0" lang="en-US" sz="9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 </a:t>
            </a:r>
            <a:r>
              <a:rPr kumimoji="0" lang="en-US" sz="900" b="1" i="0" u="none" strike="noStrike" kern="1200" cap="none" spc="0" normalizeH="0" baseline="0" noProof="0" dirty="0" err="1">
                <a:ln>
                  <a:noFill/>
                </a:ln>
                <a:solidFill>
                  <a:srgbClr val="313131"/>
                </a:solidFill>
                <a:effectLst/>
                <a:uLnTx/>
                <a:uFillTx/>
                <a:latin typeface="Open Sans"/>
                <a:ea typeface="Open Sans Light" panose="020B0306030504020204" pitchFamily="34" charset="0"/>
                <a:cs typeface="Open Sans Light" panose="020B0306030504020204" pitchFamily="34" charset="0"/>
              </a:rPr>
              <a:t>Deák</a:t>
            </a:r>
            <a:endParaRPr kumimoji="0" lang="en-US" sz="9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4+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107" name="Picture 4" descr="Hungary Large Flag | Gallery Yopriceville - High-Quality Free Images ...">
            <a:extLst>
              <a:ext uri="{FF2B5EF4-FFF2-40B4-BE49-F238E27FC236}">
                <a16:creationId xmlns:a16="http://schemas.microsoft.com/office/drawing/2014/main" id="{173E4106-FF27-A027-6640-1FFEC7C67C8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514365" y="5481908"/>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9" name="Oval 108">
            <a:extLst>
              <a:ext uri="{FF2B5EF4-FFF2-40B4-BE49-F238E27FC236}">
                <a16:creationId xmlns:a16="http://schemas.microsoft.com/office/drawing/2014/main" id="{2E4B2EA4-4C8F-3FD6-83C9-47D258DACA54}"/>
              </a:ext>
            </a:extLst>
          </p:cNvPr>
          <p:cNvSpPr/>
          <p:nvPr/>
        </p:nvSpPr>
        <p:spPr bwMode="gray">
          <a:xfrm>
            <a:off x="2531024" y="5181497"/>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JC</a:t>
            </a:r>
            <a:endParaRPr lang="en-US" sz="800" b="1" dirty="0">
              <a:solidFill>
                <a:schemeClr val="accent2">
                  <a:lumMod val="50000"/>
                </a:schemeClr>
              </a:solidFill>
            </a:endParaRPr>
          </a:p>
        </p:txBody>
      </p:sp>
      <p:pic>
        <p:nvPicPr>
          <p:cNvPr id="50" name="Picture 49">
            <a:extLst>
              <a:ext uri="{FF2B5EF4-FFF2-40B4-BE49-F238E27FC236}">
                <a16:creationId xmlns:a16="http://schemas.microsoft.com/office/drawing/2014/main" id="{E442B693-C19E-D24C-FA76-1B6074DB4620}"/>
              </a:ext>
            </a:extLst>
          </p:cNvPr>
          <p:cNvPicPr>
            <a:picLocks noChangeAspect="1"/>
          </p:cNvPicPr>
          <p:nvPr/>
        </p:nvPicPr>
        <p:blipFill rotWithShape="1">
          <a:blip r:embed="rId9" cstate="email">
            <a:duotone>
              <a:prstClr val="black"/>
              <a:schemeClr val="accent4">
                <a:tint val="45000"/>
                <a:satMod val="400000"/>
              </a:schemeClr>
            </a:duotone>
            <a:extLst>
              <a:ext uri="{BEBA8EAE-BF5A-486C-A8C5-ECC9F3942E4B}">
                <a14:imgProps xmlns:a14="http://schemas.microsoft.com/office/drawing/2010/main">
                  <a14:imgLayer r:embed="rId10">
                    <a14:imgEffect>
                      <a14:colorTemperature colorTemp="4700"/>
                    </a14:imgEffect>
                  </a14:imgLayer>
                </a14:imgProps>
              </a:ext>
              <a:ext uri="{28A0092B-C50C-407E-A947-70E740481C1C}">
                <a14:useLocalDpi xmlns:a14="http://schemas.microsoft.com/office/drawing/2010/main"/>
              </a:ext>
            </a:extLst>
          </a:blip>
          <a:srcRect/>
          <a:stretch/>
        </p:blipFill>
        <p:spPr>
          <a:xfrm>
            <a:off x="11294141" y="5028124"/>
            <a:ext cx="894466" cy="1484272"/>
          </a:xfrm>
          <a:prstGeom prst="rect">
            <a:avLst/>
          </a:prstGeom>
          <a:ln>
            <a:noFill/>
          </a:ln>
        </p:spPr>
      </p:pic>
      <p:pic>
        <p:nvPicPr>
          <p:cNvPr id="30" name="Picture Placeholder 21">
            <a:extLst>
              <a:ext uri="{FF2B5EF4-FFF2-40B4-BE49-F238E27FC236}">
                <a16:creationId xmlns:a16="http://schemas.microsoft.com/office/drawing/2014/main" id="{E9D321BC-33A6-DB01-8A24-7C4C279648D8}"/>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972664" y="1858720"/>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p:spPr>
      </p:pic>
      <p:pic>
        <p:nvPicPr>
          <p:cNvPr id="68" name="Picture 14">
            <a:extLst>
              <a:ext uri="{FF2B5EF4-FFF2-40B4-BE49-F238E27FC236}">
                <a16:creationId xmlns:a16="http://schemas.microsoft.com/office/drawing/2014/main" id="{4BB617FF-B98B-7517-3905-10712A09262E}"/>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t="-283"/>
          <a:stretch/>
        </p:blipFill>
        <p:spPr bwMode="auto">
          <a:xfrm>
            <a:off x="1013628" y="3384955"/>
            <a:ext cx="648000" cy="648000"/>
          </a:xfrm>
          <a:custGeom>
            <a:avLst/>
            <a:gdLst>
              <a:gd name="connsiteX0" fmla="*/ 1045630 w 2091260"/>
              <a:gd name="connsiteY0" fmla="*/ 0 h 2091260"/>
              <a:gd name="connsiteX1" fmla="*/ 2091260 w 2091260"/>
              <a:gd name="connsiteY1" fmla="*/ 1045630 h 2091260"/>
              <a:gd name="connsiteX2" fmla="*/ 1045630 w 2091260"/>
              <a:gd name="connsiteY2" fmla="*/ 2091260 h 2091260"/>
              <a:gd name="connsiteX3" fmla="*/ 0 w 2091260"/>
              <a:gd name="connsiteY3" fmla="*/ 1045630 h 2091260"/>
              <a:gd name="connsiteX4" fmla="*/ 1045630 w 2091260"/>
              <a:gd name="connsiteY4" fmla="*/ 0 h 209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260" h="2091260">
                <a:moveTo>
                  <a:pt x="1045630" y="0"/>
                </a:moveTo>
                <a:cubicBezTo>
                  <a:pt x="1623116" y="0"/>
                  <a:pt x="2091260" y="468144"/>
                  <a:pt x="2091260" y="1045630"/>
                </a:cubicBezTo>
                <a:cubicBezTo>
                  <a:pt x="2091260" y="1623116"/>
                  <a:pt x="1623116" y="2091260"/>
                  <a:pt x="1045630" y="2091260"/>
                </a:cubicBezTo>
                <a:cubicBezTo>
                  <a:pt x="468144" y="2091260"/>
                  <a:pt x="0" y="1623116"/>
                  <a:pt x="0" y="1045630"/>
                </a:cubicBezTo>
                <a:cubicBezTo>
                  <a:pt x="0" y="468144"/>
                  <a:pt x="468144" y="0"/>
                  <a:pt x="1045630" y="0"/>
                </a:cubicBezTo>
                <a:close/>
              </a:path>
            </a:pathLst>
          </a:cu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2" name="Picture 14">
            <a:extLst>
              <a:ext uri="{FF2B5EF4-FFF2-40B4-BE49-F238E27FC236}">
                <a16:creationId xmlns:a16="http://schemas.microsoft.com/office/drawing/2014/main" id="{B0F8B288-2033-046F-8307-BC9763DFF238}"/>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p:blipFill>
        <p:spPr bwMode="auto">
          <a:xfrm>
            <a:off x="1011196" y="4976103"/>
            <a:ext cx="550800" cy="55080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0E7FA0F-56FC-C0DF-CFC3-7AC813ED2ADC}"/>
              </a:ext>
            </a:extLst>
          </p:cNvPr>
          <p:cNvSpPr/>
          <p:nvPr/>
        </p:nvSpPr>
        <p:spPr bwMode="gray">
          <a:xfrm>
            <a:off x="3603547" y="3205562"/>
            <a:ext cx="2257150" cy="1006787"/>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5" name="TextBox 4">
            <a:extLst>
              <a:ext uri="{FF2B5EF4-FFF2-40B4-BE49-F238E27FC236}">
                <a16:creationId xmlns:a16="http://schemas.microsoft.com/office/drawing/2014/main" id="{DCA608D7-1A31-DBDB-1F04-2E828D6FB136}"/>
              </a:ext>
            </a:extLst>
          </p:cNvPr>
          <p:cNvSpPr txBox="1"/>
          <p:nvPr/>
        </p:nvSpPr>
        <p:spPr>
          <a:xfrm>
            <a:off x="4402618" y="3324235"/>
            <a:ext cx="1484365" cy="76944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Tx/>
              <a:buSzPct val="100000"/>
              <a:buFontTx/>
              <a:buNone/>
              <a:tabLst/>
              <a:defRPr/>
            </a:pPr>
            <a:r>
              <a:rPr kumimoji="0" lang="hu-HU" sz="11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rPr>
              <a:t>Krisztián Füzesi</a:t>
            </a:r>
            <a:endParaRPr kumimoji="0" lang="en-US" sz="1100" b="1" i="0" u="none" strike="noStrike" kern="1200" cap="none" spc="0" normalizeH="0" baseline="0" noProof="0" dirty="0">
              <a:ln>
                <a:noFill/>
              </a:ln>
              <a:solidFill>
                <a:srgbClr val="313131"/>
              </a:solidFill>
              <a:effectLst/>
              <a:uLnTx/>
              <a:uFillTx/>
              <a:latin typeface="Open Sans"/>
              <a:ea typeface="Open Sans Light" panose="020B0306030504020204" pitchFamily="34" charset="0"/>
              <a:cs typeface="Open Sans Light" panose="020B0306030504020204" pitchFamily="34" charset="0"/>
            </a:endParaRP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nior Consultant</a:t>
            </a:r>
          </a:p>
          <a:p>
            <a:pPr marL="0" marR="0" lvl="0" indent="0" algn="l" defTabSz="914400" eaLnBrk="1" fontAlgn="auto" latinLnBrk="0" hangingPunct="1">
              <a:lnSpc>
                <a:spcPct val="100000"/>
              </a:lnSpc>
              <a:spcBef>
                <a:spcPts val="300"/>
              </a:spcBef>
              <a:spcAft>
                <a:spcPts val="0"/>
              </a:spcAft>
              <a:buClrTx/>
              <a:buSzPct val="100000"/>
              <a:buFontTx/>
              <a:buNone/>
              <a:tabLst/>
              <a:defRPr/>
            </a:pPr>
            <a:r>
              <a:rPr lang="hu-HU" sz="105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5+</a:t>
            </a: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years of exp.</a:t>
            </a:r>
          </a:p>
          <a:p>
            <a:pPr marL="0" marR="0" lvl="0" indent="0" algn="l" defTabSz="914400" eaLnBrk="1" fontAlgn="auto" latinLnBrk="0" hangingPunct="1">
              <a:lnSpc>
                <a:spcPct val="100000"/>
              </a:lnSpc>
              <a:spcBef>
                <a:spcPts val="300"/>
              </a:spcBef>
              <a:spcAft>
                <a:spcPts val="0"/>
              </a:spcAft>
              <a:buClrTx/>
              <a:buSzPct val="100000"/>
              <a:buFontTx/>
              <a:buNone/>
              <a:tabLst/>
              <a:defRPr/>
            </a:pPr>
            <a:r>
              <a:rPr kumimoji="0" lang="en-US" sz="105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udapest</a:t>
            </a:r>
          </a:p>
        </p:txBody>
      </p:sp>
      <p:pic>
        <p:nvPicPr>
          <p:cNvPr id="7" name="Picture 4" descr="Hungary Large Flag | Gallery Yopriceville - High-Quality Free Images ...">
            <a:extLst>
              <a:ext uri="{FF2B5EF4-FFF2-40B4-BE49-F238E27FC236}">
                <a16:creationId xmlns:a16="http://schemas.microsoft.com/office/drawing/2014/main" id="{43C9D218-750B-76D6-47A2-9C11C73A7A6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65037" y="3993212"/>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Oval 7">
            <a:extLst>
              <a:ext uri="{FF2B5EF4-FFF2-40B4-BE49-F238E27FC236}">
                <a16:creationId xmlns:a16="http://schemas.microsoft.com/office/drawing/2014/main" id="{7B80E351-4D19-D44D-FE0D-B72FD1F9C698}"/>
              </a:ext>
            </a:extLst>
          </p:cNvPr>
          <p:cNvSpPr/>
          <p:nvPr/>
        </p:nvSpPr>
        <p:spPr bwMode="gray">
          <a:xfrm>
            <a:off x="5577117" y="3705009"/>
            <a:ext cx="228600" cy="228600"/>
          </a:xfrm>
          <a:prstGeom prst="ellipse">
            <a:avLst/>
          </a:prstGeom>
          <a:solidFill>
            <a:srgbClr val="A3DEFF"/>
          </a:solidFill>
          <a:ln w="19050" algn="ctr">
            <a:noFill/>
            <a:miter lim="800000"/>
            <a:headEnd/>
            <a:tailEnd/>
          </a:ln>
        </p:spPr>
        <p:txBody>
          <a:bodyPr wrap="square" lIns="0" tIns="0" rIns="0" bIns="0" rtlCol="0" anchor="ctr"/>
          <a:lstStyle/>
          <a:p>
            <a:pPr algn="ctr"/>
            <a:r>
              <a:rPr lang="en-US" sz="800" b="1" dirty="0">
                <a:solidFill>
                  <a:schemeClr val="accent2">
                    <a:lumMod val="50000"/>
                  </a:schemeClr>
                </a:solidFill>
                <a:ea typeface="Open Sans"/>
                <a:cs typeface="Open Sans"/>
              </a:rPr>
              <a:t>SC</a:t>
            </a:r>
            <a:endParaRPr lang="en-US" sz="800" b="1" dirty="0">
              <a:solidFill>
                <a:schemeClr val="accent2">
                  <a:lumMod val="50000"/>
                </a:schemeClr>
              </a:solidFill>
            </a:endParaRPr>
          </a:p>
        </p:txBody>
      </p:sp>
      <p:pic>
        <p:nvPicPr>
          <p:cNvPr id="81" name="Picture Placeholder 5">
            <a:extLst>
              <a:ext uri="{FF2B5EF4-FFF2-40B4-BE49-F238E27FC236}">
                <a16:creationId xmlns:a16="http://schemas.microsoft.com/office/drawing/2014/main" id="{D69DC412-6444-F931-7A74-A758CA8CDE94}"/>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3670057" y="3370073"/>
            <a:ext cx="648000" cy="64800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45477112"/>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u="none" strike="noStrike" kern="0" cap="none" spc="0" normalizeH="0" baseline="0" dirty="0">
                <a:ln>
                  <a:noFill/>
                </a:ln>
                <a:solidFill>
                  <a:srgbClr val="000000"/>
                </a:solidFill>
                <a:effectLst/>
                <a:uLnTx/>
                <a:uFillTx/>
                <a:latin typeface="Open Sans" panose="020B0606030504020204" pitchFamily="34" charset="0"/>
                <a:ea typeface="+mn-ea"/>
                <a:cs typeface="+mn-cs"/>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a:ea typeface="+mn-ea"/>
                <a:cs typeface="+mn-cs"/>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a:ea typeface="+mn-ea"/>
                <a:cs typeface="+mn-cs"/>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cs typeface="Calibri Light"/>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hu-HU" dirty="0">
                <a:cs typeface="Calibri Light"/>
              </a:rPr>
              <a:t>Data and </a:t>
            </a:r>
            <a:r>
              <a:rPr lang="en-US" dirty="0">
                <a:cs typeface="Calibri Light"/>
              </a:rPr>
              <a:t>Analytics</a:t>
            </a:r>
            <a:r>
              <a:rPr lang="hu-HU" dirty="0">
                <a:cs typeface="Calibri Light"/>
              </a:rPr>
              <a:t> </a:t>
            </a:r>
            <a:r>
              <a:rPr lang="en-US" dirty="0">
                <a:cs typeface="Calibri Light"/>
              </a:rPr>
              <a:t>Credential Tombstones</a:t>
            </a:r>
          </a:p>
        </p:txBody>
      </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Strategy Consulting Services</a:t>
            </a:r>
          </a:p>
        </p:txBody>
      </p:sp>
      <p:sp>
        <p:nvSpPr>
          <p:cNvPr id="5" name="Rectangle 4">
            <a:extLst>
              <a:ext uri="{FF2B5EF4-FFF2-40B4-BE49-F238E27FC236}">
                <a16:creationId xmlns:a16="http://schemas.microsoft.com/office/drawing/2014/main" id="{23D5FFFB-7A41-86E3-5757-19AC57B1E822}"/>
              </a:ext>
            </a:extLst>
          </p:cNvPr>
          <p:cNvSpPr/>
          <p:nvPr/>
        </p:nvSpPr>
        <p:spPr bwMode="gray">
          <a:xfrm>
            <a:off x="8031211"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20" name="Rectangle 19">
            <a:extLst>
              <a:ext uri="{FF2B5EF4-FFF2-40B4-BE49-F238E27FC236}">
                <a16:creationId xmlns:a16="http://schemas.microsoft.com/office/drawing/2014/main" id="{2CC0A158-507D-267E-DD0F-2359B3CCD69A}"/>
              </a:ext>
            </a:extLst>
          </p:cNvPr>
          <p:cNvSpPr/>
          <p:nvPr/>
        </p:nvSpPr>
        <p:spPr bwMode="gray">
          <a:xfrm>
            <a:off x="8023320"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8" name="TextBox 7">
            <a:extLst>
              <a:ext uri="{FF2B5EF4-FFF2-40B4-BE49-F238E27FC236}">
                <a16:creationId xmlns:a16="http://schemas.microsoft.com/office/drawing/2014/main" id="{63282888-74DB-BEEA-8796-97E3A9B3F7BD}"/>
              </a:ext>
            </a:extLst>
          </p:cNvPr>
          <p:cNvSpPr txBox="1"/>
          <p:nvPr/>
        </p:nvSpPr>
        <p:spPr>
          <a:xfrm>
            <a:off x="8194795" y="1699835"/>
            <a:ext cx="2424997" cy="246222"/>
          </a:xfrm>
          <a:prstGeom prst="rect">
            <a:avLst/>
          </a:prstGeom>
          <a:noFill/>
        </p:spPr>
        <p:txBody>
          <a:bodyPr wrap="square" lIns="0" tIns="0" rIns="0" bIns="0" rtlCol="0" anchor="t">
            <a:noAutofit/>
          </a:bodyPr>
          <a:lstStyle/>
          <a:p>
            <a:r>
              <a:rPr lang="ro-RO" sz="900" b="1" dirty="0">
                <a:solidFill>
                  <a:schemeClr val="bg1"/>
                </a:solidFill>
              </a:rPr>
              <a:t>LEADING BANK IN BULGARIA</a:t>
            </a:r>
          </a:p>
        </p:txBody>
      </p:sp>
      <p:sp>
        <p:nvSpPr>
          <p:cNvPr id="44" name="Flowchart: Connector 43">
            <a:extLst>
              <a:ext uri="{FF2B5EF4-FFF2-40B4-BE49-F238E27FC236}">
                <a16:creationId xmlns:a16="http://schemas.microsoft.com/office/drawing/2014/main" id="{A08E6A24-E3E1-2E18-5302-29E195DBCB15}"/>
              </a:ext>
            </a:extLst>
          </p:cNvPr>
          <p:cNvSpPr/>
          <p:nvPr/>
        </p:nvSpPr>
        <p:spPr bwMode="gray">
          <a:xfrm>
            <a:off x="10677885" y="1579799"/>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47" name="Group 531">
            <a:extLst>
              <a:ext uri="{FF2B5EF4-FFF2-40B4-BE49-F238E27FC236}">
                <a16:creationId xmlns:a16="http://schemas.microsoft.com/office/drawing/2014/main" id="{A3EDCFE8-7889-17DF-6591-6A851EF283FC}"/>
              </a:ext>
            </a:extLst>
          </p:cNvPr>
          <p:cNvGrpSpPr>
            <a:grpSpLocks noChangeAspect="1"/>
          </p:cNvGrpSpPr>
          <p:nvPr/>
        </p:nvGrpSpPr>
        <p:grpSpPr bwMode="auto">
          <a:xfrm>
            <a:off x="10660426" y="1528471"/>
            <a:ext cx="489164" cy="489164"/>
            <a:chOff x="3061" y="1953"/>
            <a:chExt cx="340" cy="340"/>
          </a:xfrm>
          <a:solidFill>
            <a:srgbClr val="9DD4CF"/>
          </a:solidFill>
        </p:grpSpPr>
        <p:sp>
          <p:nvSpPr>
            <p:cNvPr id="48" name="Freeform 532">
              <a:extLst>
                <a:ext uri="{FF2B5EF4-FFF2-40B4-BE49-F238E27FC236}">
                  <a16:creationId xmlns:a16="http://schemas.microsoft.com/office/drawing/2014/main" id="{D7BBB453-E69F-252D-89C4-31B83F290AC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533">
              <a:extLst>
                <a:ext uri="{FF2B5EF4-FFF2-40B4-BE49-F238E27FC236}">
                  <a16:creationId xmlns:a16="http://schemas.microsoft.com/office/drawing/2014/main" id="{60AB9093-28CE-44F0-DB22-2F1ED3C427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68CAB38A-8D40-D640-8DBC-A743DCC161D4}"/>
              </a:ext>
            </a:extLst>
          </p:cNvPr>
          <p:cNvGrpSpPr/>
          <p:nvPr/>
        </p:nvGrpSpPr>
        <p:grpSpPr>
          <a:xfrm>
            <a:off x="9229054" y="3339355"/>
            <a:ext cx="1704190" cy="306056"/>
            <a:chOff x="2050976" y="3519440"/>
            <a:chExt cx="1704190" cy="306056"/>
          </a:xfrm>
        </p:grpSpPr>
        <p:sp>
          <p:nvSpPr>
            <p:cNvPr id="18" name="Rectangle: Rounded Corners 17">
              <a:extLst>
                <a:ext uri="{FF2B5EF4-FFF2-40B4-BE49-F238E27FC236}">
                  <a16:creationId xmlns:a16="http://schemas.microsoft.com/office/drawing/2014/main" id="{5FBED754-A311-3D18-C57B-0CD5A35A1707}"/>
                </a:ext>
              </a:extLst>
            </p:cNvPr>
            <p:cNvSpPr/>
            <p:nvPr/>
          </p:nvSpPr>
          <p:spPr bwMode="gray">
            <a:xfrm>
              <a:off x="2050976" y="3519440"/>
              <a:ext cx="1704190"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 name="TextBox 18">
              <a:extLst>
                <a:ext uri="{FF2B5EF4-FFF2-40B4-BE49-F238E27FC236}">
                  <a16:creationId xmlns:a16="http://schemas.microsoft.com/office/drawing/2014/main" id="{CB5E46A5-34D1-0CFA-C99E-7F55BA48EDCE}"/>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STRATEGIC PLANNING</a:t>
              </a:r>
              <a:endParaRPr lang="en-US" sz="800" b="1" dirty="0">
                <a:latin typeface="+mj-lt"/>
                <a:ea typeface="Open Sans Light" panose="020B0306030504020204" pitchFamily="34" charset="0"/>
                <a:cs typeface="Open Sans Light" panose="020B0306030504020204" pitchFamily="34" charset="0"/>
              </a:endParaRPr>
            </a:p>
          </p:txBody>
        </p:sp>
      </p:grpSp>
      <p:sp>
        <p:nvSpPr>
          <p:cNvPr id="129" name="TextBox 128">
            <a:extLst>
              <a:ext uri="{FF2B5EF4-FFF2-40B4-BE49-F238E27FC236}">
                <a16:creationId xmlns:a16="http://schemas.microsoft.com/office/drawing/2014/main" id="{7D51D67F-A064-D48F-02D5-A2115A22C22D}"/>
              </a:ext>
            </a:extLst>
          </p:cNvPr>
          <p:cNvSpPr txBox="1"/>
          <p:nvPr/>
        </p:nvSpPr>
        <p:spPr>
          <a:xfrm>
            <a:off x="8186041" y="2612833"/>
            <a:ext cx="2993278" cy="588764"/>
          </a:xfrm>
          <a:prstGeom prst="rect">
            <a:avLst/>
          </a:prstGeom>
          <a:noFill/>
        </p:spPr>
        <p:txBody>
          <a:bodyPr wrap="square" lIns="0" tIns="0" rIns="0" bIns="0" rtlCol="0" anchor="t">
            <a:noAutofit/>
          </a:bodyPr>
          <a:lstStyle/>
          <a:p>
            <a:pPr>
              <a:spcAft>
                <a:spcPts val="300"/>
              </a:spcAft>
            </a:pPr>
            <a:r>
              <a:rPr lang="hu-HU" sz="900" dirty="0" err="1">
                <a:ea typeface="Open Sans Light" panose="020B0306030504020204" pitchFamily="34" charset="0"/>
                <a:cs typeface="Open Sans Light" panose="020B0306030504020204" pitchFamily="34" charset="0"/>
              </a:rPr>
              <a:t>Placeholder</a:t>
            </a:r>
            <a:endParaRPr lang="en-US" sz="900" dirty="0">
              <a:ea typeface="Open Sans Light" panose="020B0306030504020204" pitchFamily="34" charset="0"/>
              <a:cs typeface="Open Sans Light" panose="020B0306030504020204" pitchFamily="34" charset="0"/>
            </a:endParaRPr>
          </a:p>
          <a:p>
            <a:pPr>
              <a:spcAft>
                <a:spcPts val="300"/>
              </a:spcAft>
            </a:pPr>
            <a:endParaRPr lang="hu-HU" sz="900" dirty="0">
              <a:ea typeface="Open Sans Light" panose="020B0306030504020204" pitchFamily="34" charset="0"/>
              <a:cs typeface="Open Sans Light" panose="020B0306030504020204" pitchFamily="34" charset="0"/>
            </a:endParaRPr>
          </a:p>
        </p:txBody>
      </p:sp>
      <p:sp>
        <p:nvSpPr>
          <p:cNvPr id="13" name="TextBox 12">
            <a:extLst>
              <a:ext uri="{FF2B5EF4-FFF2-40B4-BE49-F238E27FC236}">
                <a16:creationId xmlns:a16="http://schemas.microsoft.com/office/drawing/2014/main" id="{D21B3168-0BF6-290F-DD93-E590EACE2EA1}"/>
              </a:ext>
            </a:extLst>
          </p:cNvPr>
          <p:cNvSpPr txBox="1"/>
          <p:nvPr/>
        </p:nvSpPr>
        <p:spPr>
          <a:xfrm>
            <a:off x="8186041" y="221534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PLACEHOLDER</a:t>
            </a:r>
          </a:p>
        </p:txBody>
      </p:sp>
      <p:sp>
        <p:nvSpPr>
          <p:cNvPr id="14" name="Rectangle 13">
            <a:extLst>
              <a:ext uri="{FF2B5EF4-FFF2-40B4-BE49-F238E27FC236}">
                <a16:creationId xmlns:a16="http://schemas.microsoft.com/office/drawing/2014/main" id="{9DB648EF-8476-4A03-2C11-9178E2030D2C}"/>
              </a:ext>
            </a:extLst>
          </p:cNvPr>
          <p:cNvSpPr/>
          <p:nvPr/>
        </p:nvSpPr>
        <p:spPr bwMode="gray">
          <a:xfrm>
            <a:off x="1012681"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39" name="Rectangle 38">
            <a:extLst>
              <a:ext uri="{FF2B5EF4-FFF2-40B4-BE49-F238E27FC236}">
                <a16:creationId xmlns:a16="http://schemas.microsoft.com/office/drawing/2014/main" id="{30E643F9-9AFB-7F1D-A760-95B452450FC8}"/>
              </a:ext>
            </a:extLst>
          </p:cNvPr>
          <p:cNvSpPr/>
          <p:nvPr/>
        </p:nvSpPr>
        <p:spPr bwMode="gray">
          <a:xfrm>
            <a:off x="1014518"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40" name="TextBox 39">
            <a:extLst>
              <a:ext uri="{FF2B5EF4-FFF2-40B4-BE49-F238E27FC236}">
                <a16:creationId xmlns:a16="http://schemas.microsoft.com/office/drawing/2014/main" id="{0438F638-92A7-4437-0857-B8718F77E13A}"/>
              </a:ext>
            </a:extLst>
          </p:cNvPr>
          <p:cNvSpPr txBox="1"/>
          <p:nvPr/>
        </p:nvSpPr>
        <p:spPr>
          <a:xfrm>
            <a:off x="1147081" y="1699835"/>
            <a:ext cx="2424997" cy="246222"/>
          </a:xfrm>
          <a:prstGeom prst="rect">
            <a:avLst/>
          </a:prstGeom>
          <a:noFill/>
        </p:spPr>
        <p:txBody>
          <a:bodyPr wrap="square" lIns="0" tIns="0" rIns="0" bIns="0" rtlCol="0" anchor="t">
            <a:noAutofit/>
          </a:bodyPr>
          <a:lstStyle/>
          <a:p>
            <a:r>
              <a:rPr lang="ro-RO" sz="900" b="1" dirty="0">
                <a:solidFill>
                  <a:schemeClr val="bg1"/>
                </a:solidFill>
              </a:rPr>
              <a:t>INTERNATIONAL INSURANCE COMPANY </a:t>
            </a:r>
            <a:endParaRPr lang="en-US" sz="900" b="1" dirty="0">
              <a:solidFill>
                <a:schemeClr val="bg1"/>
              </a:solidFill>
            </a:endParaRPr>
          </a:p>
        </p:txBody>
      </p:sp>
      <p:sp>
        <p:nvSpPr>
          <p:cNvPr id="122" name="Flowchart: Connector 121">
            <a:extLst>
              <a:ext uri="{FF2B5EF4-FFF2-40B4-BE49-F238E27FC236}">
                <a16:creationId xmlns:a16="http://schemas.microsoft.com/office/drawing/2014/main" id="{7D3078D8-E59C-B6FB-EF19-6FC84FFF05EC}"/>
              </a:ext>
            </a:extLst>
          </p:cNvPr>
          <p:cNvSpPr/>
          <p:nvPr/>
        </p:nvSpPr>
        <p:spPr bwMode="gray">
          <a:xfrm>
            <a:off x="3659356" y="1570071"/>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24" name="Group 531">
            <a:extLst>
              <a:ext uri="{FF2B5EF4-FFF2-40B4-BE49-F238E27FC236}">
                <a16:creationId xmlns:a16="http://schemas.microsoft.com/office/drawing/2014/main" id="{1F6AE038-CADC-C2F9-6D79-AFF8180F4732}"/>
              </a:ext>
            </a:extLst>
          </p:cNvPr>
          <p:cNvGrpSpPr>
            <a:grpSpLocks noChangeAspect="1"/>
          </p:cNvGrpSpPr>
          <p:nvPr/>
        </p:nvGrpSpPr>
        <p:grpSpPr bwMode="auto">
          <a:xfrm>
            <a:off x="3641897" y="1518743"/>
            <a:ext cx="489164" cy="489164"/>
            <a:chOff x="3061" y="1953"/>
            <a:chExt cx="340" cy="340"/>
          </a:xfrm>
          <a:solidFill>
            <a:srgbClr val="9DD4CF"/>
          </a:solidFill>
        </p:grpSpPr>
        <p:sp>
          <p:nvSpPr>
            <p:cNvPr id="125"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2" name="Group 141">
            <a:extLst>
              <a:ext uri="{FF2B5EF4-FFF2-40B4-BE49-F238E27FC236}">
                <a16:creationId xmlns:a16="http://schemas.microsoft.com/office/drawing/2014/main" id="{B180359B-0667-661C-787D-E013F443D110}"/>
              </a:ext>
            </a:extLst>
          </p:cNvPr>
          <p:cNvGrpSpPr/>
          <p:nvPr/>
        </p:nvGrpSpPr>
        <p:grpSpPr>
          <a:xfrm>
            <a:off x="2210524" y="3339355"/>
            <a:ext cx="1704190" cy="306056"/>
            <a:chOff x="2050976" y="3519440"/>
            <a:chExt cx="1704190" cy="306056"/>
          </a:xfrm>
        </p:grpSpPr>
        <p:sp>
          <p:nvSpPr>
            <p:cNvPr id="143" name="Rectangle: Rounded Corners 142">
              <a:extLst>
                <a:ext uri="{FF2B5EF4-FFF2-40B4-BE49-F238E27FC236}">
                  <a16:creationId xmlns:a16="http://schemas.microsoft.com/office/drawing/2014/main" id="{EF5B7140-15FD-0460-4881-C713C8767A08}"/>
                </a:ext>
              </a:extLst>
            </p:cNvPr>
            <p:cNvSpPr/>
            <p:nvPr/>
          </p:nvSpPr>
          <p:spPr bwMode="gray">
            <a:xfrm>
              <a:off x="2050976" y="3519440"/>
              <a:ext cx="1704190"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4" name="TextBox 143">
              <a:extLst>
                <a:ext uri="{FF2B5EF4-FFF2-40B4-BE49-F238E27FC236}">
                  <a16:creationId xmlns:a16="http://schemas.microsoft.com/office/drawing/2014/main" id="{B1FD2A87-B822-C52F-A05B-735E59FE3A4A}"/>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Data Privacy </a:t>
              </a:r>
              <a:endParaRPr lang="en-US" sz="800" b="1" dirty="0">
                <a:latin typeface="+mj-lt"/>
                <a:ea typeface="Open Sans Light" panose="020B0306030504020204" pitchFamily="34" charset="0"/>
                <a:cs typeface="Open Sans Light" panose="020B0306030504020204" pitchFamily="34" charset="0"/>
              </a:endParaRPr>
            </a:p>
          </p:txBody>
        </p:sp>
      </p:grpSp>
      <p:sp>
        <p:nvSpPr>
          <p:cNvPr id="145" name="TextBox 144">
            <a:extLst>
              <a:ext uri="{FF2B5EF4-FFF2-40B4-BE49-F238E27FC236}">
                <a16:creationId xmlns:a16="http://schemas.microsoft.com/office/drawing/2014/main" id="{883D69FE-0988-760E-0D05-72A43C585874}"/>
              </a:ext>
            </a:extLst>
          </p:cNvPr>
          <p:cNvSpPr txBox="1"/>
          <p:nvPr/>
        </p:nvSpPr>
        <p:spPr>
          <a:xfrm>
            <a:off x="1138327" y="2612833"/>
            <a:ext cx="2780590"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Assisted a major oversees pharmaceutical company and its EMEA affiliates in establishing their privacy program and conducted a comprehensive data protection assessment.</a:t>
            </a:r>
          </a:p>
        </p:txBody>
      </p:sp>
      <p:sp>
        <p:nvSpPr>
          <p:cNvPr id="146" name="TextBox 145">
            <a:extLst>
              <a:ext uri="{FF2B5EF4-FFF2-40B4-BE49-F238E27FC236}">
                <a16:creationId xmlns:a16="http://schemas.microsoft.com/office/drawing/2014/main" id="{9C653446-6E12-F57B-15F9-1D7879EFFEE6}"/>
              </a:ext>
            </a:extLst>
          </p:cNvPr>
          <p:cNvSpPr txBox="1"/>
          <p:nvPr/>
        </p:nvSpPr>
        <p:spPr>
          <a:xfrm>
            <a:off x="1138327" y="2215344"/>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hu-HU" dirty="0">
                <a:solidFill>
                  <a:srgbClr val="00B0F2"/>
                </a:solidFill>
              </a:rPr>
              <a:t>ESTABLISH PRIVACY PROGRAM</a:t>
            </a:r>
            <a:endParaRPr lang="en-US" dirty="0">
              <a:solidFill>
                <a:srgbClr val="00B0F2"/>
              </a:solidFill>
            </a:endParaRPr>
          </a:p>
        </p:txBody>
      </p:sp>
      <p:sp>
        <p:nvSpPr>
          <p:cNvPr id="147" name="Rectangle 146">
            <a:extLst>
              <a:ext uri="{FF2B5EF4-FFF2-40B4-BE49-F238E27FC236}">
                <a16:creationId xmlns:a16="http://schemas.microsoft.com/office/drawing/2014/main" id="{735C1D2F-26FC-2D9A-0A41-F54EEF30FB92}"/>
              </a:ext>
            </a:extLst>
          </p:cNvPr>
          <p:cNvSpPr/>
          <p:nvPr/>
        </p:nvSpPr>
        <p:spPr bwMode="gray">
          <a:xfrm>
            <a:off x="4561134" y="2010091"/>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8" name="Rectangle 147">
            <a:extLst>
              <a:ext uri="{FF2B5EF4-FFF2-40B4-BE49-F238E27FC236}">
                <a16:creationId xmlns:a16="http://schemas.microsoft.com/office/drawing/2014/main" id="{1B6D349D-C10A-5588-8900-AF5B7C72CE8C}"/>
              </a:ext>
            </a:extLst>
          </p:cNvPr>
          <p:cNvSpPr/>
          <p:nvPr/>
        </p:nvSpPr>
        <p:spPr bwMode="gray">
          <a:xfrm>
            <a:off x="4543515" y="1559738"/>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49" name="TextBox 148">
            <a:extLst>
              <a:ext uri="{FF2B5EF4-FFF2-40B4-BE49-F238E27FC236}">
                <a16:creationId xmlns:a16="http://schemas.microsoft.com/office/drawing/2014/main" id="{DC2158EA-3D77-8F0E-2364-B8431216278E}"/>
              </a:ext>
            </a:extLst>
          </p:cNvPr>
          <p:cNvSpPr txBox="1"/>
          <p:nvPr/>
        </p:nvSpPr>
        <p:spPr>
          <a:xfrm>
            <a:off x="4695534" y="1699835"/>
            <a:ext cx="2424997" cy="246222"/>
          </a:xfrm>
          <a:prstGeom prst="rect">
            <a:avLst/>
          </a:prstGeom>
          <a:noFill/>
        </p:spPr>
        <p:txBody>
          <a:bodyPr wrap="square" lIns="0" tIns="0" rIns="0" bIns="0" rtlCol="0" anchor="t">
            <a:noAutofit/>
          </a:bodyPr>
          <a:lstStyle/>
          <a:p>
            <a:r>
              <a:rPr lang="ro-RO" sz="900" b="1" dirty="0">
                <a:solidFill>
                  <a:schemeClr val="bg1"/>
                </a:solidFill>
              </a:rPr>
              <a:t>DOMESTIC LEASING COMPANY </a:t>
            </a:r>
            <a:endParaRPr lang="en-US" sz="900" b="1" dirty="0">
              <a:solidFill>
                <a:schemeClr val="bg1"/>
              </a:solidFill>
            </a:endParaRPr>
          </a:p>
        </p:txBody>
      </p:sp>
      <p:sp>
        <p:nvSpPr>
          <p:cNvPr id="150" name="Flowchart: Connector 149">
            <a:extLst>
              <a:ext uri="{FF2B5EF4-FFF2-40B4-BE49-F238E27FC236}">
                <a16:creationId xmlns:a16="http://schemas.microsoft.com/office/drawing/2014/main" id="{6DE11E07-4C60-AE0B-A881-64DD14025476}"/>
              </a:ext>
            </a:extLst>
          </p:cNvPr>
          <p:cNvSpPr/>
          <p:nvPr/>
        </p:nvSpPr>
        <p:spPr bwMode="gray">
          <a:xfrm>
            <a:off x="7207809" y="1570071"/>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51" name="Group 531">
            <a:extLst>
              <a:ext uri="{FF2B5EF4-FFF2-40B4-BE49-F238E27FC236}">
                <a16:creationId xmlns:a16="http://schemas.microsoft.com/office/drawing/2014/main" id="{FA52585D-19AF-EF1A-3600-EC73F071B8EE}"/>
              </a:ext>
            </a:extLst>
          </p:cNvPr>
          <p:cNvGrpSpPr>
            <a:grpSpLocks noChangeAspect="1"/>
          </p:cNvGrpSpPr>
          <p:nvPr/>
        </p:nvGrpSpPr>
        <p:grpSpPr bwMode="auto">
          <a:xfrm>
            <a:off x="7190350" y="1518743"/>
            <a:ext cx="489164" cy="489164"/>
            <a:chOff x="3061" y="1953"/>
            <a:chExt cx="340" cy="340"/>
          </a:xfrm>
          <a:solidFill>
            <a:srgbClr val="9DD4CF"/>
          </a:solidFill>
        </p:grpSpPr>
        <p:sp>
          <p:nvSpPr>
            <p:cNvPr id="152" name="Freeform 532">
              <a:extLst>
                <a:ext uri="{FF2B5EF4-FFF2-40B4-BE49-F238E27FC236}">
                  <a16:creationId xmlns:a16="http://schemas.microsoft.com/office/drawing/2014/main" id="{B86E1DE2-9142-A18E-38F0-AFA5403DC36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533">
              <a:extLst>
                <a:ext uri="{FF2B5EF4-FFF2-40B4-BE49-F238E27FC236}">
                  <a16:creationId xmlns:a16="http://schemas.microsoft.com/office/drawing/2014/main" id="{055940D6-F3BC-6FFA-CEA2-DCF07EE8891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4" name="Group 153">
            <a:extLst>
              <a:ext uri="{FF2B5EF4-FFF2-40B4-BE49-F238E27FC236}">
                <a16:creationId xmlns:a16="http://schemas.microsoft.com/office/drawing/2014/main" id="{E2A9F0D2-8AFF-73E2-3D78-5E5D4D7F20DB}"/>
              </a:ext>
            </a:extLst>
          </p:cNvPr>
          <p:cNvGrpSpPr/>
          <p:nvPr/>
        </p:nvGrpSpPr>
        <p:grpSpPr>
          <a:xfrm>
            <a:off x="5758977" y="3339355"/>
            <a:ext cx="1704190" cy="306056"/>
            <a:chOff x="2050976" y="3519440"/>
            <a:chExt cx="1704190" cy="306056"/>
          </a:xfrm>
        </p:grpSpPr>
        <p:sp>
          <p:nvSpPr>
            <p:cNvPr id="155" name="Rectangle: Rounded Corners 154">
              <a:extLst>
                <a:ext uri="{FF2B5EF4-FFF2-40B4-BE49-F238E27FC236}">
                  <a16:creationId xmlns:a16="http://schemas.microsoft.com/office/drawing/2014/main" id="{36C419E1-E418-3805-D1CE-7C41B27D8B01}"/>
                </a:ext>
              </a:extLst>
            </p:cNvPr>
            <p:cNvSpPr/>
            <p:nvPr/>
          </p:nvSpPr>
          <p:spPr bwMode="gray">
            <a:xfrm>
              <a:off x="2050976" y="3519440"/>
              <a:ext cx="1704190"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56" name="TextBox 155">
              <a:extLst>
                <a:ext uri="{FF2B5EF4-FFF2-40B4-BE49-F238E27FC236}">
                  <a16:creationId xmlns:a16="http://schemas.microsoft.com/office/drawing/2014/main" id="{2B4D19C9-4D65-FC1B-FA7E-44DA9CD9BC9B}"/>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Data Privacy </a:t>
              </a:r>
              <a:endParaRPr lang="en-US" sz="800" b="1" dirty="0">
                <a:latin typeface="+mj-lt"/>
                <a:ea typeface="Open Sans Light" panose="020B0306030504020204" pitchFamily="34" charset="0"/>
                <a:cs typeface="Open Sans Light" panose="020B0306030504020204" pitchFamily="34" charset="0"/>
              </a:endParaRPr>
            </a:p>
          </p:txBody>
        </p:sp>
      </p:grpSp>
      <p:sp>
        <p:nvSpPr>
          <p:cNvPr id="157" name="TextBox 156">
            <a:extLst>
              <a:ext uri="{FF2B5EF4-FFF2-40B4-BE49-F238E27FC236}">
                <a16:creationId xmlns:a16="http://schemas.microsoft.com/office/drawing/2014/main" id="{1ECD6F58-A535-A242-FE13-BC47D85F11BD}"/>
              </a:ext>
            </a:extLst>
          </p:cNvPr>
          <p:cNvSpPr txBox="1"/>
          <p:nvPr/>
        </p:nvSpPr>
        <p:spPr>
          <a:xfrm>
            <a:off x="4706235" y="2612833"/>
            <a:ext cx="2879518"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We conducted a maturity assessment based on our established Data Privacy framework and assisted a banking sector client in redesigning and implementing their Data Privacy framework.</a:t>
            </a:r>
          </a:p>
        </p:txBody>
      </p:sp>
      <p:sp>
        <p:nvSpPr>
          <p:cNvPr id="158" name="TextBox 157">
            <a:extLst>
              <a:ext uri="{FF2B5EF4-FFF2-40B4-BE49-F238E27FC236}">
                <a16:creationId xmlns:a16="http://schemas.microsoft.com/office/drawing/2014/main" id="{0D684CFD-E92B-65A3-52C0-5F36B58274E6}"/>
              </a:ext>
            </a:extLst>
          </p:cNvPr>
          <p:cNvSpPr txBox="1"/>
          <p:nvPr/>
        </p:nvSpPr>
        <p:spPr>
          <a:xfrm>
            <a:off x="4706235" y="2215344"/>
            <a:ext cx="2529523" cy="233109"/>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pPr>
              <a:spcAft>
                <a:spcPts val="1000"/>
              </a:spcAft>
            </a:pPr>
            <a:r>
              <a:rPr lang="hu-HU" sz="900" b="1">
                <a:solidFill>
                  <a:srgbClr val="00B0F2"/>
                </a:solidFill>
                <a:ea typeface="Open Sans Light" panose="020B0306030504020204" pitchFamily="34" charset="0"/>
                <a:cs typeface="Open Sans Light" panose="020B0306030504020204" pitchFamily="34" charset="0"/>
              </a:rPr>
              <a:t>REDESIGN AND </a:t>
            </a:r>
            <a:r>
              <a:rPr lang="hu-HU" sz="900" b="1" dirty="0">
                <a:solidFill>
                  <a:srgbClr val="00B0F2"/>
                </a:solidFill>
                <a:ea typeface="Open Sans Light" panose="020B0306030504020204" pitchFamily="34" charset="0"/>
                <a:cs typeface="Open Sans Light" panose="020B0306030504020204" pitchFamily="34" charset="0"/>
              </a:rPr>
              <a:t>IMPLEMENT DATA PRIVACY FRAMEWORK</a:t>
            </a:r>
            <a:endParaRPr lang="en-US" sz="900" b="1" dirty="0">
              <a:solidFill>
                <a:srgbClr val="00B0F2"/>
              </a:solidFill>
              <a:ea typeface="Open Sans Light" panose="020B0306030504020204" pitchFamily="34" charset="0"/>
              <a:cs typeface="Open Sans Light" panose="020B0306030504020204" pitchFamily="34" charset="0"/>
            </a:endParaRPr>
          </a:p>
        </p:txBody>
      </p:sp>
      <p:sp>
        <p:nvSpPr>
          <p:cNvPr id="161" name="Rectangle 160">
            <a:extLst>
              <a:ext uri="{FF2B5EF4-FFF2-40B4-BE49-F238E27FC236}">
                <a16:creationId xmlns:a16="http://schemas.microsoft.com/office/drawing/2014/main" id="{188F9994-5227-1AF7-B863-35AB42AF2865}"/>
              </a:ext>
            </a:extLst>
          </p:cNvPr>
          <p:cNvSpPr/>
          <p:nvPr/>
        </p:nvSpPr>
        <p:spPr bwMode="gray">
          <a:xfrm>
            <a:off x="968905" y="4462318"/>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2" name="Rectangle 161">
            <a:extLst>
              <a:ext uri="{FF2B5EF4-FFF2-40B4-BE49-F238E27FC236}">
                <a16:creationId xmlns:a16="http://schemas.microsoft.com/office/drawing/2014/main" id="{3567DDAE-BD14-2D38-5110-561C65945373}"/>
              </a:ext>
            </a:extLst>
          </p:cNvPr>
          <p:cNvSpPr/>
          <p:nvPr/>
        </p:nvSpPr>
        <p:spPr bwMode="gray">
          <a:xfrm>
            <a:off x="961014" y="4011965"/>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63" name="TextBox 162">
            <a:extLst>
              <a:ext uri="{FF2B5EF4-FFF2-40B4-BE49-F238E27FC236}">
                <a16:creationId xmlns:a16="http://schemas.microsoft.com/office/drawing/2014/main" id="{757556D0-82C4-571F-7019-F245A0C20034}"/>
              </a:ext>
            </a:extLst>
          </p:cNvPr>
          <p:cNvSpPr txBox="1"/>
          <p:nvPr/>
        </p:nvSpPr>
        <p:spPr>
          <a:xfrm>
            <a:off x="1103305" y="4161790"/>
            <a:ext cx="2424997" cy="246222"/>
          </a:xfrm>
          <a:prstGeom prst="rect">
            <a:avLst/>
          </a:prstGeom>
          <a:noFill/>
        </p:spPr>
        <p:txBody>
          <a:bodyPr wrap="square" lIns="0" tIns="0" rIns="0" bIns="0" rtlCol="0" anchor="t">
            <a:noAutofit/>
          </a:bodyPr>
          <a:lstStyle/>
          <a:p>
            <a:r>
              <a:rPr lang="en-US" sz="900" b="1" dirty="0">
                <a:solidFill>
                  <a:schemeClr val="bg1"/>
                </a:solidFill>
              </a:rPr>
              <a:t>HUNGARIAN UTILITY COMPANY</a:t>
            </a:r>
          </a:p>
        </p:txBody>
      </p:sp>
      <p:sp>
        <p:nvSpPr>
          <p:cNvPr id="164" name="Flowchart: Connector 163">
            <a:extLst>
              <a:ext uri="{FF2B5EF4-FFF2-40B4-BE49-F238E27FC236}">
                <a16:creationId xmlns:a16="http://schemas.microsoft.com/office/drawing/2014/main" id="{2FD0A1D8-DFFF-25E5-CA52-9E218A46EC4B}"/>
              </a:ext>
            </a:extLst>
          </p:cNvPr>
          <p:cNvSpPr/>
          <p:nvPr/>
        </p:nvSpPr>
        <p:spPr bwMode="gray">
          <a:xfrm>
            <a:off x="3615579" y="403202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68" name="Group 167">
            <a:extLst>
              <a:ext uri="{FF2B5EF4-FFF2-40B4-BE49-F238E27FC236}">
                <a16:creationId xmlns:a16="http://schemas.microsoft.com/office/drawing/2014/main" id="{D7F91792-5860-35C1-FA34-74717D3E82E1}"/>
              </a:ext>
            </a:extLst>
          </p:cNvPr>
          <p:cNvGrpSpPr/>
          <p:nvPr/>
        </p:nvGrpSpPr>
        <p:grpSpPr>
          <a:xfrm>
            <a:off x="2166748" y="5791582"/>
            <a:ext cx="1704190" cy="306056"/>
            <a:chOff x="2050976" y="3519440"/>
            <a:chExt cx="1704190" cy="306056"/>
          </a:xfrm>
        </p:grpSpPr>
        <p:sp>
          <p:nvSpPr>
            <p:cNvPr id="169" name="Rectangle: Rounded Corners 168">
              <a:extLst>
                <a:ext uri="{FF2B5EF4-FFF2-40B4-BE49-F238E27FC236}">
                  <a16:creationId xmlns:a16="http://schemas.microsoft.com/office/drawing/2014/main" id="{B9510B86-02F5-E550-4EA2-8C825D733FF7}"/>
                </a:ext>
              </a:extLst>
            </p:cNvPr>
            <p:cNvSpPr/>
            <p:nvPr/>
          </p:nvSpPr>
          <p:spPr bwMode="gray">
            <a:xfrm>
              <a:off x="2050976" y="3519440"/>
              <a:ext cx="1704190"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0" name="TextBox 169">
              <a:extLst>
                <a:ext uri="{FF2B5EF4-FFF2-40B4-BE49-F238E27FC236}">
                  <a16:creationId xmlns:a16="http://schemas.microsoft.com/office/drawing/2014/main" id="{8A287CEA-6E97-4A48-7049-3C04FDD3118F}"/>
                </a:ext>
              </a:extLst>
            </p:cNvPr>
            <p:cNvSpPr txBox="1"/>
            <p:nvPr/>
          </p:nvSpPr>
          <p:spPr>
            <a:xfrm>
              <a:off x="2340188" y="3579274"/>
              <a:ext cx="1285514" cy="246222"/>
            </a:xfrm>
            <a:prstGeom prst="rect">
              <a:avLst/>
            </a:prstGeom>
            <a:noFill/>
          </p:spPr>
          <p:txBody>
            <a:bodyPr wrap="square" lIns="0" tIns="0" rIns="0" bIns="0" rtlCol="0" anchor="t">
              <a:noAutofit/>
            </a:bodyPr>
            <a:lstStyle/>
            <a:p>
              <a:pPr>
                <a:spcAft>
                  <a:spcPts val="1000"/>
                </a:spcAft>
              </a:pPr>
              <a:r>
                <a:rPr lang="hu-HU" sz="800" b="1" dirty="0">
                  <a:ea typeface="Open Sans Light" panose="020B0306030504020204" pitchFamily="34" charset="0"/>
                  <a:cs typeface="Open Sans Light" panose="020B0306030504020204" pitchFamily="34" charset="0"/>
                </a:rPr>
                <a:t>ADVANCED ANALYTICS</a:t>
              </a:r>
              <a:endParaRPr lang="en-US" sz="800" b="1" dirty="0">
                <a:latin typeface="+mj-lt"/>
                <a:ea typeface="Open Sans Light" panose="020B0306030504020204" pitchFamily="34" charset="0"/>
                <a:cs typeface="Open Sans Light" panose="020B0306030504020204" pitchFamily="34" charset="0"/>
              </a:endParaRPr>
            </a:p>
          </p:txBody>
        </p:sp>
      </p:grpSp>
      <p:sp>
        <p:nvSpPr>
          <p:cNvPr id="171" name="TextBox 170">
            <a:extLst>
              <a:ext uri="{FF2B5EF4-FFF2-40B4-BE49-F238E27FC236}">
                <a16:creationId xmlns:a16="http://schemas.microsoft.com/office/drawing/2014/main" id="{721D9BC5-87A7-1A57-DB42-619A9F8D967F}"/>
              </a:ext>
            </a:extLst>
          </p:cNvPr>
          <p:cNvSpPr txBox="1"/>
          <p:nvPr/>
        </p:nvSpPr>
        <p:spPr>
          <a:xfrm>
            <a:off x="1104279" y="5074786"/>
            <a:ext cx="2534326"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Built</a:t>
            </a:r>
            <a:r>
              <a:rPr lang="en-US" sz="900">
                <a:ea typeface="Open Sans Light" panose="020B0306030504020204" pitchFamily="34" charset="0"/>
                <a:cs typeface="Open Sans Light" panose="020B0306030504020204" pitchFamily="34" charset="0"/>
              </a:rPr>
              <a:t> </a:t>
            </a:r>
            <a:r>
              <a:rPr lang="en-US" sz="900" dirty="0">
                <a:ea typeface="Open Sans Light" panose="020B0306030504020204" pitchFamily="34" charset="0"/>
                <a:cs typeface="Open Sans Light" panose="020B0306030504020204" pitchFamily="34" charset="0"/>
              </a:rPr>
              <a:t>a predictive algorithm for unwanted talent attrition by analyzing historical employee behavior</a:t>
            </a:r>
          </a:p>
        </p:txBody>
      </p:sp>
      <p:sp>
        <p:nvSpPr>
          <p:cNvPr id="172" name="TextBox 171">
            <a:extLst>
              <a:ext uri="{FF2B5EF4-FFF2-40B4-BE49-F238E27FC236}">
                <a16:creationId xmlns:a16="http://schemas.microsoft.com/office/drawing/2014/main" id="{27A02338-5481-10EB-2D56-5C27F9FE461C}"/>
              </a:ext>
            </a:extLst>
          </p:cNvPr>
          <p:cNvSpPr txBox="1"/>
          <p:nvPr/>
        </p:nvSpPr>
        <p:spPr>
          <a:xfrm>
            <a:off x="1104279" y="4667571"/>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sz="900" b="1" dirty="0">
                <a:solidFill>
                  <a:srgbClr val="00B0F2"/>
                </a:solidFill>
              </a:rPr>
              <a:t>PREDICTIVE EMPLOYEE ANALYTICS</a:t>
            </a:r>
          </a:p>
        </p:txBody>
      </p:sp>
      <p:sp>
        <p:nvSpPr>
          <p:cNvPr id="177" name="Rectangle 176">
            <a:extLst>
              <a:ext uri="{FF2B5EF4-FFF2-40B4-BE49-F238E27FC236}">
                <a16:creationId xmlns:a16="http://schemas.microsoft.com/office/drawing/2014/main" id="{9C5C4AF6-D554-A9B6-6DAA-8CD5DDB69248}"/>
              </a:ext>
            </a:extLst>
          </p:cNvPr>
          <p:cNvSpPr/>
          <p:nvPr/>
        </p:nvSpPr>
        <p:spPr bwMode="gray">
          <a:xfrm>
            <a:off x="4578635" y="4462318"/>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8" name="Rectangle 177">
            <a:extLst>
              <a:ext uri="{FF2B5EF4-FFF2-40B4-BE49-F238E27FC236}">
                <a16:creationId xmlns:a16="http://schemas.microsoft.com/office/drawing/2014/main" id="{B4C022AC-E05C-58B4-20E8-4BFAF8CB8531}"/>
              </a:ext>
            </a:extLst>
          </p:cNvPr>
          <p:cNvSpPr/>
          <p:nvPr/>
        </p:nvSpPr>
        <p:spPr bwMode="gray">
          <a:xfrm>
            <a:off x="4570744" y="4011965"/>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79" name="TextBox 178">
            <a:extLst>
              <a:ext uri="{FF2B5EF4-FFF2-40B4-BE49-F238E27FC236}">
                <a16:creationId xmlns:a16="http://schemas.microsoft.com/office/drawing/2014/main" id="{D84CF974-E33C-3D3E-31AE-70E6D82CDD9C}"/>
              </a:ext>
            </a:extLst>
          </p:cNvPr>
          <p:cNvSpPr txBox="1"/>
          <p:nvPr/>
        </p:nvSpPr>
        <p:spPr>
          <a:xfrm>
            <a:off x="4713035" y="4161790"/>
            <a:ext cx="2424997" cy="246222"/>
          </a:xfrm>
          <a:prstGeom prst="rect">
            <a:avLst/>
          </a:prstGeom>
          <a:noFill/>
        </p:spPr>
        <p:txBody>
          <a:bodyPr wrap="square" lIns="0" tIns="0" rIns="0" bIns="0" rtlCol="0" anchor="t">
            <a:noAutofit/>
          </a:bodyPr>
          <a:lstStyle/>
          <a:p>
            <a:r>
              <a:rPr lang="en-US" sz="900" b="1">
                <a:solidFill>
                  <a:schemeClr val="bg1"/>
                </a:solidFill>
              </a:rPr>
              <a:t>LARGE </a:t>
            </a:r>
            <a:r>
              <a:rPr lang="en-US" sz="900" b="1" dirty="0">
                <a:solidFill>
                  <a:schemeClr val="bg1"/>
                </a:solidFill>
              </a:rPr>
              <a:t>EUROPEAN AUDITOR</a:t>
            </a:r>
          </a:p>
        </p:txBody>
      </p:sp>
      <p:sp>
        <p:nvSpPr>
          <p:cNvPr id="180" name="Flowchart: Connector 179">
            <a:extLst>
              <a:ext uri="{FF2B5EF4-FFF2-40B4-BE49-F238E27FC236}">
                <a16:creationId xmlns:a16="http://schemas.microsoft.com/office/drawing/2014/main" id="{F17E2F9D-B5C2-86DE-DEC6-A3A5E5E6695D}"/>
              </a:ext>
            </a:extLst>
          </p:cNvPr>
          <p:cNvSpPr/>
          <p:nvPr/>
        </p:nvSpPr>
        <p:spPr bwMode="gray">
          <a:xfrm>
            <a:off x="7225309" y="403202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81" name="Group 180">
            <a:extLst>
              <a:ext uri="{FF2B5EF4-FFF2-40B4-BE49-F238E27FC236}">
                <a16:creationId xmlns:a16="http://schemas.microsoft.com/office/drawing/2014/main" id="{50BCF8BE-2304-AADC-E51C-2EDE5860C917}"/>
              </a:ext>
            </a:extLst>
          </p:cNvPr>
          <p:cNvGrpSpPr/>
          <p:nvPr/>
        </p:nvGrpSpPr>
        <p:grpSpPr>
          <a:xfrm>
            <a:off x="5776478" y="5791582"/>
            <a:ext cx="1704190" cy="305564"/>
            <a:chOff x="2050976" y="3519440"/>
            <a:chExt cx="1704190" cy="305564"/>
          </a:xfrm>
        </p:grpSpPr>
        <p:sp>
          <p:nvSpPr>
            <p:cNvPr id="182" name="Rectangle: Rounded Corners 181">
              <a:extLst>
                <a:ext uri="{FF2B5EF4-FFF2-40B4-BE49-F238E27FC236}">
                  <a16:creationId xmlns:a16="http://schemas.microsoft.com/office/drawing/2014/main" id="{EF4FEBC4-5D7A-CB1B-588E-3B0D417A3DBB}"/>
                </a:ext>
              </a:extLst>
            </p:cNvPr>
            <p:cNvSpPr/>
            <p:nvPr/>
          </p:nvSpPr>
          <p:spPr bwMode="gray">
            <a:xfrm>
              <a:off x="2050976" y="3519440"/>
              <a:ext cx="1704190"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83" name="TextBox 182">
              <a:extLst>
                <a:ext uri="{FF2B5EF4-FFF2-40B4-BE49-F238E27FC236}">
                  <a16:creationId xmlns:a16="http://schemas.microsoft.com/office/drawing/2014/main" id="{A36145F1-FD25-E19A-4EE6-AD3BAF02EAF0}"/>
                </a:ext>
              </a:extLst>
            </p:cNvPr>
            <p:cNvSpPr txBox="1"/>
            <p:nvPr/>
          </p:nvSpPr>
          <p:spPr>
            <a:xfrm>
              <a:off x="2165090" y="3578782"/>
              <a:ext cx="1491410" cy="246222"/>
            </a:xfrm>
            <a:prstGeom prst="rect">
              <a:avLst/>
            </a:prstGeom>
            <a:noFill/>
          </p:spPr>
          <p:txBody>
            <a:bodyPr wrap="square" lIns="0" tIns="0" rIns="0" bIns="0" rtlCol="0" anchor="t">
              <a:noAutofit/>
            </a:bodyPr>
            <a:lstStyle/>
            <a:p>
              <a:pPr>
                <a:spcAft>
                  <a:spcPts val="1000"/>
                </a:spcAft>
              </a:pPr>
              <a:r>
                <a:rPr lang="en-US" sz="800" b="1" dirty="0">
                  <a:ea typeface="Open Sans Light" panose="020B0306030504020204" pitchFamily="34" charset="0"/>
                  <a:cs typeface="Open Sans Light" panose="020B0306030504020204" pitchFamily="34" charset="0"/>
                </a:rPr>
                <a:t>ADVANCED ANALYTICS</a:t>
              </a:r>
              <a:endParaRPr lang="en-US" sz="800" b="1" dirty="0">
                <a:latin typeface="+mj-lt"/>
                <a:ea typeface="Open Sans Light" panose="020B0306030504020204" pitchFamily="34" charset="0"/>
                <a:cs typeface="Open Sans Light" panose="020B0306030504020204" pitchFamily="34" charset="0"/>
              </a:endParaRPr>
            </a:p>
          </p:txBody>
        </p:sp>
      </p:grpSp>
      <p:sp>
        <p:nvSpPr>
          <p:cNvPr id="184" name="TextBox 183">
            <a:extLst>
              <a:ext uri="{FF2B5EF4-FFF2-40B4-BE49-F238E27FC236}">
                <a16:creationId xmlns:a16="http://schemas.microsoft.com/office/drawing/2014/main" id="{61027E31-F5C0-5145-59D9-67AB5008D491}"/>
              </a:ext>
            </a:extLst>
          </p:cNvPr>
          <p:cNvSpPr txBox="1"/>
          <p:nvPr/>
        </p:nvSpPr>
        <p:spPr>
          <a:xfrm>
            <a:off x="4723737" y="5074786"/>
            <a:ext cx="2534326" cy="588764"/>
          </a:xfrm>
          <a:prstGeom prst="rect">
            <a:avLst/>
          </a:prstGeom>
          <a:noFill/>
        </p:spPr>
        <p:txBody>
          <a:bodyPr wrap="square" lIns="0" tIns="0" rIns="0" bIns="0" rtlCol="0" anchor="t">
            <a:noAutofit/>
          </a:bodyPr>
          <a:lstStyle/>
          <a:p>
            <a:pPr>
              <a:spcAft>
                <a:spcPts val="300"/>
              </a:spcAft>
            </a:pPr>
            <a:r>
              <a:rPr lang="en-US" sz="900" dirty="0">
                <a:ea typeface="Open Sans Light" panose="020B0306030504020204" pitchFamily="34" charset="0"/>
                <a:cs typeface="Open Sans Light" panose="020B0306030504020204" pitchFamily="34" charset="0"/>
              </a:rPr>
              <a:t>The client requested a data-driven scheduling solution that optimizes their resource allocation without manual intervention.</a:t>
            </a:r>
          </a:p>
        </p:txBody>
      </p:sp>
      <p:sp>
        <p:nvSpPr>
          <p:cNvPr id="185" name="TextBox 184">
            <a:extLst>
              <a:ext uri="{FF2B5EF4-FFF2-40B4-BE49-F238E27FC236}">
                <a16:creationId xmlns:a16="http://schemas.microsoft.com/office/drawing/2014/main" id="{DB5DBAE5-F587-03D9-60B5-FC50DEF1E19E}"/>
              </a:ext>
            </a:extLst>
          </p:cNvPr>
          <p:cNvSpPr txBox="1"/>
          <p:nvPr/>
        </p:nvSpPr>
        <p:spPr>
          <a:xfrm>
            <a:off x="4723737" y="4667571"/>
            <a:ext cx="296410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WORKFORCE ALLOCATION OPTIMIZATION</a:t>
            </a:r>
          </a:p>
        </p:txBody>
      </p:sp>
      <p:sp>
        <p:nvSpPr>
          <p:cNvPr id="192" name="Rectangle 191">
            <a:extLst>
              <a:ext uri="{FF2B5EF4-FFF2-40B4-BE49-F238E27FC236}">
                <a16:creationId xmlns:a16="http://schemas.microsoft.com/office/drawing/2014/main" id="{2A05AA23-5FF1-2A33-4CE6-24837DC2AA96}"/>
              </a:ext>
            </a:extLst>
          </p:cNvPr>
          <p:cNvSpPr/>
          <p:nvPr/>
        </p:nvSpPr>
        <p:spPr bwMode="gray">
          <a:xfrm>
            <a:off x="8039345" y="4462318"/>
            <a:ext cx="3078181"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3" name="Rectangle 192">
            <a:extLst>
              <a:ext uri="{FF2B5EF4-FFF2-40B4-BE49-F238E27FC236}">
                <a16:creationId xmlns:a16="http://schemas.microsoft.com/office/drawing/2014/main" id="{98E846DD-C12A-D3B2-9F84-AB179578CA56}"/>
              </a:ext>
            </a:extLst>
          </p:cNvPr>
          <p:cNvSpPr/>
          <p:nvPr/>
        </p:nvSpPr>
        <p:spPr bwMode="gray">
          <a:xfrm>
            <a:off x="8031454" y="4011965"/>
            <a:ext cx="3078181"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4" name="TextBox 193">
            <a:extLst>
              <a:ext uri="{FF2B5EF4-FFF2-40B4-BE49-F238E27FC236}">
                <a16:creationId xmlns:a16="http://schemas.microsoft.com/office/drawing/2014/main" id="{7C8711B0-6613-5BFE-B7E2-028ACB12F17E}"/>
              </a:ext>
            </a:extLst>
          </p:cNvPr>
          <p:cNvSpPr txBox="1"/>
          <p:nvPr/>
        </p:nvSpPr>
        <p:spPr>
          <a:xfrm>
            <a:off x="8173745" y="4161790"/>
            <a:ext cx="2424997" cy="246222"/>
          </a:xfrm>
          <a:prstGeom prst="rect">
            <a:avLst/>
          </a:prstGeom>
          <a:noFill/>
        </p:spPr>
        <p:txBody>
          <a:bodyPr wrap="square" lIns="0" tIns="0" rIns="0" bIns="0" rtlCol="0" anchor="t">
            <a:noAutofit/>
          </a:bodyPr>
          <a:lstStyle/>
          <a:p>
            <a:r>
              <a:rPr lang="en-US" sz="900" b="1" dirty="0">
                <a:solidFill>
                  <a:schemeClr val="bg1"/>
                </a:solidFill>
              </a:rPr>
              <a:t>PLACEHOLDER</a:t>
            </a:r>
          </a:p>
        </p:txBody>
      </p:sp>
      <p:sp>
        <p:nvSpPr>
          <p:cNvPr id="195" name="Flowchart: Connector 194">
            <a:extLst>
              <a:ext uri="{FF2B5EF4-FFF2-40B4-BE49-F238E27FC236}">
                <a16:creationId xmlns:a16="http://schemas.microsoft.com/office/drawing/2014/main" id="{EAF092BA-60DE-497C-3215-A9E33B35D59E}"/>
              </a:ext>
            </a:extLst>
          </p:cNvPr>
          <p:cNvSpPr/>
          <p:nvPr/>
        </p:nvSpPr>
        <p:spPr bwMode="gray">
          <a:xfrm>
            <a:off x="10686019" y="4032026"/>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p>
        </p:txBody>
      </p:sp>
      <p:grpSp>
        <p:nvGrpSpPr>
          <p:cNvPr id="196" name="Group 195">
            <a:extLst>
              <a:ext uri="{FF2B5EF4-FFF2-40B4-BE49-F238E27FC236}">
                <a16:creationId xmlns:a16="http://schemas.microsoft.com/office/drawing/2014/main" id="{31472C03-E625-56F5-2C1B-A4B7FD30678D}"/>
              </a:ext>
            </a:extLst>
          </p:cNvPr>
          <p:cNvGrpSpPr/>
          <p:nvPr/>
        </p:nvGrpSpPr>
        <p:grpSpPr>
          <a:xfrm>
            <a:off x="9237188" y="5791582"/>
            <a:ext cx="1704190" cy="305564"/>
            <a:chOff x="2050976" y="3519440"/>
            <a:chExt cx="1704190" cy="305564"/>
          </a:xfrm>
        </p:grpSpPr>
        <p:sp>
          <p:nvSpPr>
            <p:cNvPr id="197" name="Rectangle: Rounded Corners 196">
              <a:extLst>
                <a:ext uri="{FF2B5EF4-FFF2-40B4-BE49-F238E27FC236}">
                  <a16:creationId xmlns:a16="http://schemas.microsoft.com/office/drawing/2014/main" id="{1011736E-81B9-85C7-0849-449A5D83E4E5}"/>
                </a:ext>
              </a:extLst>
            </p:cNvPr>
            <p:cNvSpPr/>
            <p:nvPr/>
          </p:nvSpPr>
          <p:spPr bwMode="gray">
            <a:xfrm>
              <a:off x="2050976" y="3519440"/>
              <a:ext cx="1704190"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p>
          </p:txBody>
        </p:sp>
        <p:sp>
          <p:nvSpPr>
            <p:cNvPr id="198" name="TextBox 197">
              <a:extLst>
                <a:ext uri="{FF2B5EF4-FFF2-40B4-BE49-F238E27FC236}">
                  <a16:creationId xmlns:a16="http://schemas.microsoft.com/office/drawing/2014/main" id="{5336F759-4849-079B-309C-A6B4F11009B6}"/>
                </a:ext>
              </a:extLst>
            </p:cNvPr>
            <p:cNvSpPr txBox="1"/>
            <p:nvPr/>
          </p:nvSpPr>
          <p:spPr>
            <a:xfrm>
              <a:off x="2291550" y="3578782"/>
              <a:ext cx="1366846" cy="246222"/>
            </a:xfrm>
            <a:prstGeom prst="rect">
              <a:avLst/>
            </a:prstGeom>
            <a:noFill/>
          </p:spPr>
          <p:txBody>
            <a:bodyPr wrap="square" lIns="0" tIns="0" rIns="0" bIns="0" rtlCol="0" anchor="t">
              <a:noAutofit/>
            </a:bodyPr>
            <a:lstStyle/>
            <a:p>
              <a:pPr>
                <a:spcAft>
                  <a:spcPts val="1000"/>
                </a:spcAft>
              </a:pPr>
              <a:r>
                <a:rPr lang="ro-RO" sz="800" b="1" dirty="0">
                  <a:ea typeface="Open Sans Light" panose="020B0306030504020204" pitchFamily="34" charset="0"/>
                  <a:cs typeface="Open Sans Light" panose="020B0306030504020204" pitchFamily="34" charset="0"/>
                </a:rPr>
                <a:t>STRATEGIC PLANNING</a:t>
              </a:r>
              <a:endParaRPr lang="en-US" sz="800" b="1" dirty="0">
                <a:ea typeface="Open Sans Light" panose="020B0306030504020204" pitchFamily="34" charset="0"/>
                <a:cs typeface="Open Sans Light" panose="020B0306030504020204" pitchFamily="34" charset="0"/>
              </a:endParaRPr>
            </a:p>
          </p:txBody>
        </p:sp>
      </p:grpSp>
      <p:sp>
        <p:nvSpPr>
          <p:cNvPr id="199" name="TextBox 198">
            <a:extLst>
              <a:ext uri="{FF2B5EF4-FFF2-40B4-BE49-F238E27FC236}">
                <a16:creationId xmlns:a16="http://schemas.microsoft.com/office/drawing/2014/main" id="{F3EA7091-0A4E-47EF-68A1-BC1100D33803}"/>
              </a:ext>
            </a:extLst>
          </p:cNvPr>
          <p:cNvSpPr txBox="1"/>
          <p:nvPr/>
        </p:nvSpPr>
        <p:spPr>
          <a:xfrm>
            <a:off x="8184447" y="5074786"/>
            <a:ext cx="2819390" cy="588764"/>
          </a:xfrm>
          <a:prstGeom prst="rect">
            <a:avLst/>
          </a:prstGeom>
          <a:noFill/>
        </p:spPr>
        <p:txBody>
          <a:bodyPr wrap="square" lIns="0" tIns="0" rIns="0" bIns="0" rtlCol="0" anchor="t">
            <a:noAutofit/>
          </a:bodyPr>
          <a:lstStyle/>
          <a:p>
            <a:pPr>
              <a:spcAft>
                <a:spcPts val="300"/>
              </a:spcAft>
            </a:pPr>
            <a:r>
              <a:rPr lang="hu-HU" sz="900" dirty="0" err="1">
                <a:ea typeface="Open Sans Light" panose="020B0306030504020204" pitchFamily="34" charset="0"/>
                <a:cs typeface="Open Sans Light" panose="020B0306030504020204" pitchFamily="34" charset="0"/>
              </a:rPr>
              <a:t>Placeholder</a:t>
            </a:r>
            <a:endParaRPr lang="en-US" sz="900" dirty="0">
              <a:ea typeface="Open Sans Light" panose="020B0306030504020204" pitchFamily="34" charset="0"/>
              <a:cs typeface="Open Sans Light" panose="020B0306030504020204" pitchFamily="34" charset="0"/>
            </a:endParaRPr>
          </a:p>
        </p:txBody>
      </p:sp>
      <p:sp>
        <p:nvSpPr>
          <p:cNvPr id="200" name="TextBox 199">
            <a:extLst>
              <a:ext uri="{FF2B5EF4-FFF2-40B4-BE49-F238E27FC236}">
                <a16:creationId xmlns:a16="http://schemas.microsoft.com/office/drawing/2014/main" id="{85BBEE04-C2C0-8272-06B2-7A479286AD3D}"/>
              </a:ext>
            </a:extLst>
          </p:cNvPr>
          <p:cNvSpPr txBox="1"/>
          <p:nvPr/>
        </p:nvSpPr>
        <p:spPr>
          <a:xfrm>
            <a:off x="8184447" y="4667571"/>
            <a:ext cx="2593284"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rPr>
              <a:t>PLACEHOLDER</a:t>
            </a:r>
          </a:p>
        </p:txBody>
      </p:sp>
      <p:sp>
        <p:nvSpPr>
          <p:cNvPr id="201" name="Freeform 787">
            <a:extLst>
              <a:ext uri="{FF2B5EF4-FFF2-40B4-BE49-F238E27FC236}">
                <a16:creationId xmlns:a16="http://schemas.microsoft.com/office/drawing/2014/main" id="{06BFBE47-44CE-E701-D0CD-601AC169CDEE}"/>
              </a:ext>
            </a:extLst>
          </p:cNvPr>
          <p:cNvSpPr>
            <a:spLocks noChangeAspect="1" noEditPoints="1"/>
          </p:cNvSpPr>
          <p:nvPr/>
        </p:nvSpPr>
        <p:spPr bwMode="auto">
          <a:xfrm>
            <a:off x="10685543" y="3984438"/>
            <a:ext cx="493776" cy="493776"/>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 name="Graphic 4">
            <a:extLst>
              <a:ext uri="{FF2B5EF4-FFF2-40B4-BE49-F238E27FC236}">
                <a16:creationId xmlns:a16="http://schemas.microsoft.com/office/drawing/2014/main" id="{FB8B590C-8585-9060-3EC6-6F8D6B9E8804}"/>
              </a:ext>
            </a:extLst>
          </p:cNvPr>
          <p:cNvGrpSpPr>
            <a:grpSpLocks noChangeAspect="1"/>
          </p:cNvGrpSpPr>
          <p:nvPr/>
        </p:nvGrpSpPr>
        <p:grpSpPr>
          <a:xfrm>
            <a:off x="3578589" y="3994965"/>
            <a:ext cx="493777" cy="493317"/>
            <a:chOff x="9278827" y="918179"/>
            <a:chExt cx="362309" cy="361971"/>
          </a:xfrm>
          <a:solidFill>
            <a:srgbClr val="00ABAB"/>
          </a:solidFill>
        </p:grpSpPr>
        <p:sp>
          <p:nvSpPr>
            <p:cNvPr id="3" name="Graphic 4">
              <a:extLst>
                <a:ext uri="{FF2B5EF4-FFF2-40B4-BE49-F238E27FC236}">
                  <a16:creationId xmlns:a16="http://schemas.microsoft.com/office/drawing/2014/main" id="{70D7ED2C-EBE4-6242-CB20-8F57FBDCBC33}"/>
                </a:ext>
              </a:extLst>
            </p:cNvPr>
            <p:cNvSpPr/>
            <p:nvPr/>
          </p:nvSpPr>
          <p:spPr>
            <a:xfrm>
              <a:off x="9420684" y="989041"/>
              <a:ext cx="12779" cy="52987"/>
            </a:xfrm>
            <a:custGeom>
              <a:avLst/>
              <a:gdLst>
                <a:gd name="connsiteX0" fmla="*/ 12780 w 12779"/>
                <a:gd name="connsiteY0" fmla="*/ 6384 h 52987"/>
                <a:gd name="connsiteX1" fmla="*/ 6390 w 12779"/>
                <a:gd name="connsiteY1" fmla="*/ 0 h 52987"/>
                <a:gd name="connsiteX2" fmla="*/ 0 w 12779"/>
                <a:gd name="connsiteY2" fmla="*/ 6384 h 52987"/>
                <a:gd name="connsiteX3" fmla="*/ 0 w 12779"/>
                <a:gd name="connsiteY3" fmla="*/ 52987 h 52987"/>
                <a:gd name="connsiteX4" fmla="*/ 12780 w 12779"/>
                <a:gd name="connsiteY4" fmla="*/ 52987 h 52987"/>
                <a:gd name="connsiteX5" fmla="*/ 12780 w 12779"/>
                <a:gd name="connsiteY5" fmla="*/ 6384 h 5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9" h="52987">
                  <a:moveTo>
                    <a:pt x="12780" y="6384"/>
                  </a:moveTo>
                  <a:cubicBezTo>
                    <a:pt x="12780" y="2554"/>
                    <a:pt x="10224" y="0"/>
                    <a:pt x="6390" y="0"/>
                  </a:cubicBezTo>
                  <a:cubicBezTo>
                    <a:pt x="2555" y="0"/>
                    <a:pt x="0" y="2554"/>
                    <a:pt x="0" y="6384"/>
                  </a:cubicBezTo>
                  <a:lnTo>
                    <a:pt x="0" y="52987"/>
                  </a:lnTo>
                  <a:lnTo>
                    <a:pt x="12780" y="52987"/>
                  </a:lnTo>
                  <a:lnTo>
                    <a:pt x="12780" y="6384"/>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Graphic 4">
              <a:extLst>
                <a:ext uri="{FF2B5EF4-FFF2-40B4-BE49-F238E27FC236}">
                  <a16:creationId xmlns:a16="http://schemas.microsoft.com/office/drawing/2014/main" id="{66E38C47-62AA-CFDF-87CD-F92BE95CB790}"/>
                </a:ext>
              </a:extLst>
            </p:cNvPr>
            <p:cNvSpPr/>
            <p:nvPr/>
          </p:nvSpPr>
          <p:spPr>
            <a:xfrm>
              <a:off x="9487139" y="989041"/>
              <a:ext cx="12779" cy="52987"/>
            </a:xfrm>
            <a:custGeom>
              <a:avLst/>
              <a:gdLst>
                <a:gd name="connsiteX0" fmla="*/ 12780 w 12779"/>
                <a:gd name="connsiteY0" fmla="*/ 6384 h 52987"/>
                <a:gd name="connsiteX1" fmla="*/ 6390 w 12779"/>
                <a:gd name="connsiteY1" fmla="*/ 0 h 52987"/>
                <a:gd name="connsiteX2" fmla="*/ 0 w 12779"/>
                <a:gd name="connsiteY2" fmla="*/ 6384 h 52987"/>
                <a:gd name="connsiteX3" fmla="*/ 0 w 12779"/>
                <a:gd name="connsiteY3" fmla="*/ 52987 h 52987"/>
                <a:gd name="connsiteX4" fmla="*/ 12780 w 12779"/>
                <a:gd name="connsiteY4" fmla="*/ 52987 h 52987"/>
                <a:gd name="connsiteX5" fmla="*/ 12780 w 12779"/>
                <a:gd name="connsiteY5" fmla="*/ 6384 h 5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9" h="52987">
                  <a:moveTo>
                    <a:pt x="12780" y="6384"/>
                  </a:moveTo>
                  <a:cubicBezTo>
                    <a:pt x="12780" y="2554"/>
                    <a:pt x="10225" y="0"/>
                    <a:pt x="6390" y="0"/>
                  </a:cubicBezTo>
                  <a:cubicBezTo>
                    <a:pt x="2556" y="0"/>
                    <a:pt x="0" y="2554"/>
                    <a:pt x="0" y="6384"/>
                  </a:cubicBezTo>
                  <a:lnTo>
                    <a:pt x="0" y="52987"/>
                  </a:lnTo>
                  <a:lnTo>
                    <a:pt x="12780" y="52987"/>
                  </a:lnTo>
                  <a:lnTo>
                    <a:pt x="12780" y="6384"/>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Graphic 4">
              <a:extLst>
                <a:ext uri="{FF2B5EF4-FFF2-40B4-BE49-F238E27FC236}">
                  <a16:creationId xmlns:a16="http://schemas.microsoft.com/office/drawing/2014/main" id="{EA334AAE-2EA7-4C38-1E5C-91CC0FD4A872}"/>
                </a:ext>
              </a:extLst>
            </p:cNvPr>
            <p:cNvSpPr/>
            <p:nvPr/>
          </p:nvSpPr>
          <p:spPr>
            <a:xfrm>
              <a:off x="9443049" y="1091823"/>
              <a:ext cx="34505" cy="41495"/>
            </a:xfrm>
            <a:custGeom>
              <a:avLst/>
              <a:gdLst>
                <a:gd name="connsiteX0" fmla="*/ 17253 w 34505"/>
                <a:gd name="connsiteY0" fmla="*/ 17237 h 41495"/>
                <a:gd name="connsiteX1" fmla="*/ 15975 w 34505"/>
                <a:gd name="connsiteY1" fmla="*/ 12130 h 41495"/>
                <a:gd name="connsiteX2" fmla="*/ 17891 w 34505"/>
                <a:gd name="connsiteY2" fmla="*/ 0 h 41495"/>
                <a:gd name="connsiteX3" fmla="*/ 0 w 34505"/>
                <a:gd name="connsiteY3" fmla="*/ 22344 h 41495"/>
                <a:gd name="connsiteX4" fmla="*/ 12140 w 34505"/>
                <a:gd name="connsiteY4" fmla="*/ 22344 h 41495"/>
                <a:gd name="connsiteX5" fmla="*/ 17253 w 34505"/>
                <a:gd name="connsiteY5" fmla="*/ 24259 h 41495"/>
                <a:gd name="connsiteX6" fmla="*/ 18530 w 34505"/>
                <a:gd name="connsiteY6" fmla="*/ 29366 h 41495"/>
                <a:gd name="connsiteX7" fmla="*/ 16614 w 34505"/>
                <a:gd name="connsiteY7" fmla="*/ 41496 h 41495"/>
                <a:gd name="connsiteX8" fmla="*/ 34505 w 34505"/>
                <a:gd name="connsiteY8" fmla="*/ 19152 h 41495"/>
                <a:gd name="connsiteX9" fmla="*/ 22365 w 34505"/>
                <a:gd name="connsiteY9" fmla="*/ 19152 h 41495"/>
                <a:gd name="connsiteX10" fmla="*/ 17253 w 34505"/>
                <a:gd name="connsiteY10" fmla="*/ 17237 h 4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05" h="41495">
                  <a:moveTo>
                    <a:pt x="17253" y="17237"/>
                  </a:moveTo>
                  <a:cubicBezTo>
                    <a:pt x="15975" y="15960"/>
                    <a:pt x="15335" y="14045"/>
                    <a:pt x="15975" y="12130"/>
                  </a:cubicBezTo>
                  <a:lnTo>
                    <a:pt x="17891" y="0"/>
                  </a:lnTo>
                  <a:lnTo>
                    <a:pt x="0" y="22344"/>
                  </a:lnTo>
                  <a:lnTo>
                    <a:pt x="12140" y="22344"/>
                  </a:lnTo>
                  <a:cubicBezTo>
                    <a:pt x="14058" y="22344"/>
                    <a:pt x="15975" y="22982"/>
                    <a:pt x="17253" y="24259"/>
                  </a:cubicBezTo>
                  <a:cubicBezTo>
                    <a:pt x="18530" y="25536"/>
                    <a:pt x="19170" y="27451"/>
                    <a:pt x="18530" y="29366"/>
                  </a:cubicBezTo>
                  <a:lnTo>
                    <a:pt x="16614" y="41496"/>
                  </a:lnTo>
                  <a:lnTo>
                    <a:pt x="34505" y="19152"/>
                  </a:lnTo>
                  <a:lnTo>
                    <a:pt x="22365" y="19152"/>
                  </a:lnTo>
                  <a:cubicBezTo>
                    <a:pt x="20447" y="19152"/>
                    <a:pt x="18530" y="18514"/>
                    <a:pt x="17253" y="17237"/>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Graphic 4">
              <a:extLst>
                <a:ext uri="{FF2B5EF4-FFF2-40B4-BE49-F238E27FC236}">
                  <a16:creationId xmlns:a16="http://schemas.microsoft.com/office/drawing/2014/main" id="{253F3740-ECAB-D3EA-7D11-35605FF23C08}"/>
                </a:ext>
              </a:extLst>
            </p:cNvPr>
            <p:cNvSpPr/>
            <p:nvPr/>
          </p:nvSpPr>
          <p:spPr>
            <a:xfrm>
              <a:off x="9278827" y="918179"/>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58792 w 362309"/>
                <a:gd name="connsiteY6" fmla="*/ 155769 h 361971"/>
                <a:gd name="connsiteX7" fmla="*/ 256876 w 362309"/>
                <a:gd name="connsiteY7" fmla="*/ 160238 h 361971"/>
                <a:gd name="connsiteX8" fmla="*/ 243456 w 362309"/>
                <a:gd name="connsiteY8" fmla="*/ 173644 h 361971"/>
                <a:gd name="connsiteX9" fmla="*/ 243456 w 362309"/>
                <a:gd name="connsiteY9" fmla="*/ 211948 h 361971"/>
                <a:gd name="connsiteX10" fmla="*/ 217897 w 362309"/>
                <a:gd name="connsiteY10" fmla="*/ 254721 h 361971"/>
                <a:gd name="connsiteX11" fmla="*/ 217897 w 362309"/>
                <a:gd name="connsiteY11" fmla="*/ 267489 h 361971"/>
                <a:gd name="connsiteX12" fmla="*/ 202561 w 362309"/>
                <a:gd name="connsiteY12" fmla="*/ 285364 h 361971"/>
                <a:gd name="connsiteX13" fmla="*/ 202561 w 362309"/>
                <a:gd name="connsiteY13" fmla="*/ 303239 h 361971"/>
                <a:gd name="connsiteX14" fmla="*/ 196172 w 362309"/>
                <a:gd name="connsiteY14" fmla="*/ 309623 h 361971"/>
                <a:gd name="connsiteX15" fmla="*/ 189782 w 362309"/>
                <a:gd name="connsiteY15" fmla="*/ 303239 h 361971"/>
                <a:gd name="connsiteX16" fmla="*/ 189782 w 362309"/>
                <a:gd name="connsiteY16" fmla="*/ 288556 h 361971"/>
                <a:gd name="connsiteX17" fmla="*/ 189142 w 362309"/>
                <a:gd name="connsiteY17" fmla="*/ 288556 h 361971"/>
                <a:gd name="connsiteX18" fmla="*/ 188503 w 362309"/>
                <a:gd name="connsiteY18" fmla="*/ 288556 h 361971"/>
                <a:gd name="connsiteX19" fmla="*/ 185308 w 362309"/>
                <a:gd name="connsiteY19" fmla="*/ 287279 h 361971"/>
                <a:gd name="connsiteX20" fmla="*/ 181474 w 362309"/>
                <a:gd name="connsiteY20" fmla="*/ 288556 h 361971"/>
                <a:gd name="connsiteX21" fmla="*/ 172528 w 362309"/>
                <a:gd name="connsiteY21" fmla="*/ 287918 h 361971"/>
                <a:gd name="connsiteX22" fmla="*/ 172528 w 362309"/>
                <a:gd name="connsiteY22" fmla="*/ 302601 h 361971"/>
                <a:gd name="connsiteX23" fmla="*/ 166138 w 362309"/>
                <a:gd name="connsiteY23" fmla="*/ 308985 h 361971"/>
                <a:gd name="connsiteX24" fmla="*/ 159748 w 362309"/>
                <a:gd name="connsiteY24" fmla="*/ 302601 h 361971"/>
                <a:gd name="connsiteX25" fmla="*/ 159748 w 362309"/>
                <a:gd name="connsiteY25" fmla="*/ 284726 h 361971"/>
                <a:gd name="connsiteX26" fmla="*/ 144412 w 362309"/>
                <a:gd name="connsiteY26" fmla="*/ 266850 h 361971"/>
                <a:gd name="connsiteX27" fmla="*/ 144412 w 362309"/>
                <a:gd name="connsiteY27" fmla="*/ 254083 h 361971"/>
                <a:gd name="connsiteX28" fmla="*/ 118853 w 362309"/>
                <a:gd name="connsiteY28" fmla="*/ 211310 h 361971"/>
                <a:gd name="connsiteX29" fmla="*/ 118853 w 362309"/>
                <a:gd name="connsiteY29" fmla="*/ 173006 h 361971"/>
                <a:gd name="connsiteX30" fmla="*/ 105434 w 362309"/>
                <a:gd name="connsiteY30" fmla="*/ 159600 h 361971"/>
                <a:gd name="connsiteX31" fmla="*/ 103517 w 362309"/>
                <a:gd name="connsiteY31" fmla="*/ 155131 h 361971"/>
                <a:gd name="connsiteX32" fmla="*/ 103517 w 362309"/>
                <a:gd name="connsiteY32" fmla="*/ 129595 h 361971"/>
                <a:gd name="connsiteX33" fmla="*/ 109907 w 362309"/>
                <a:gd name="connsiteY33" fmla="*/ 123211 h 361971"/>
                <a:gd name="connsiteX34" fmla="*/ 129077 w 362309"/>
                <a:gd name="connsiteY34" fmla="*/ 123211 h 361971"/>
                <a:gd name="connsiteX35" fmla="*/ 129077 w 362309"/>
                <a:gd name="connsiteY35" fmla="*/ 76608 h 361971"/>
                <a:gd name="connsiteX36" fmla="*/ 148247 w 362309"/>
                <a:gd name="connsiteY36" fmla="*/ 57456 h 361971"/>
                <a:gd name="connsiteX37" fmla="*/ 167417 w 362309"/>
                <a:gd name="connsiteY37" fmla="*/ 76608 h 361971"/>
                <a:gd name="connsiteX38" fmla="*/ 167417 w 362309"/>
                <a:gd name="connsiteY38" fmla="*/ 123211 h 361971"/>
                <a:gd name="connsiteX39" fmla="*/ 195532 w 362309"/>
                <a:gd name="connsiteY39" fmla="*/ 123211 h 361971"/>
                <a:gd name="connsiteX40" fmla="*/ 195532 w 362309"/>
                <a:gd name="connsiteY40" fmla="*/ 76608 h 361971"/>
                <a:gd name="connsiteX41" fmla="*/ 214702 w 362309"/>
                <a:gd name="connsiteY41" fmla="*/ 57456 h 361971"/>
                <a:gd name="connsiteX42" fmla="*/ 233872 w 362309"/>
                <a:gd name="connsiteY42" fmla="*/ 76608 h 361971"/>
                <a:gd name="connsiteX43" fmla="*/ 233872 w 362309"/>
                <a:gd name="connsiteY43" fmla="*/ 123211 h 361971"/>
                <a:gd name="connsiteX44" fmla="*/ 253041 w 362309"/>
                <a:gd name="connsiteY44" fmla="*/ 123211 h 361971"/>
                <a:gd name="connsiteX45" fmla="*/ 259431 w 362309"/>
                <a:gd name="connsiteY45" fmla="*/ 129595 h 361971"/>
                <a:gd name="connsiteX46" fmla="*/ 258792 w 362309"/>
                <a:gd name="connsiteY46" fmla="*/ 15576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258792" y="155769"/>
                  </a:moveTo>
                  <a:cubicBezTo>
                    <a:pt x="258792" y="157684"/>
                    <a:pt x="258154" y="158961"/>
                    <a:pt x="256876" y="160238"/>
                  </a:cubicBezTo>
                  <a:lnTo>
                    <a:pt x="243456" y="173644"/>
                  </a:lnTo>
                  <a:lnTo>
                    <a:pt x="243456" y="211948"/>
                  </a:lnTo>
                  <a:cubicBezTo>
                    <a:pt x="243456" y="229823"/>
                    <a:pt x="233872" y="246422"/>
                    <a:pt x="217897" y="254721"/>
                  </a:cubicBezTo>
                  <a:lnTo>
                    <a:pt x="217897" y="267489"/>
                  </a:lnTo>
                  <a:cubicBezTo>
                    <a:pt x="217897" y="275150"/>
                    <a:pt x="212146" y="281534"/>
                    <a:pt x="202561" y="285364"/>
                  </a:cubicBezTo>
                  <a:lnTo>
                    <a:pt x="202561" y="303239"/>
                  </a:lnTo>
                  <a:cubicBezTo>
                    <a:pt x="202561" y="307070"/>
                    <a:pt x="200005" y="309623"/>
                    <a:pt x="196172" y="309623"/>
                  </a:cubicBezTo>
                  <a:cubicBezTo>
                    <a:pt x="192337" y="309623"/>
                    <a:pt x="189782" y="307070"/>
                    <a:pt x="189782" y="303239"/>
                  </a:cubicBezTo>
                  <a:lnTo>
                    <a:pt x="189782" y="288556"/>
                  </a:lnTo>
                  <a:lnTo>
                    <a:pt x="189142" y="288556"/>
                  </a:lnTo>
                  <a:lnTo>
                    <a:pt x="188503" y="288556"/>
                  </a:lnTo>
                  <a:cubicBezTo>
                    <a:pt x="187225" y="288556"/>
                    <a:pt x="185947" y="287918"/>
                    <a:pt x="185308" y="287279"/>
                  </a:cubicBezTo>
                  <a:cubicBezTo>
                    <a:pt x="184031" y="287918"/>
                    <a:pt x="182752" y="288556"/>
                    <a:pt x="181474" y="288556"/>
                  </a:cubicBezTo>
                  <a:cubicBezTo>
                    <a:pt x="178279" y="288556"/>
                    <a:pt x="175723" y="288556"/>
                    <a:pt x="172528" y="287918"/>
                  </a:cubicBezTo>
                  <a:lnTo>
                    <a:pt x="172528" y="302601"/>
                  </a:lnTo>
                  <a:cubicBezTo>
                    <a:pt x="172528" y="306431"/>
                    <a:pt x="169972" y="308985"/>
                    <a:pt x="166138" y="308985"/>
                  </a:cubicBezTo>
                  <a:cubicBezTo>
                    <a:pt x="162305" y="308985"/>
                    <a:pt x="159748" y="306431"/>
                    <a:pt x="159748" y="302601"/>
                  </a:cubicBezTo>
                  <a:lnTo>
                    <a:pt x="159748" y="284726"/>
                  </a:lnTo>
                  <a:cubicBezTo>
                    <a:pt x="150164" y="280895"/>
                    <a:pt x="144412" y="274511"/>
                    <a:pt x="144412" y="266850"/>
                  </a:cubicBezTo>
                  <a:lnTo>
                    <a:pt x="144412" y="254083"/>
                  </a:lnTo>
                  <a:cubicBezTo>
                    <a:pt x="128438" y="245783"/>
                    <a:pt x="118853" y="229185"/>
                    <a:pt x="118853" y="211310"/>
                  </a:cubicBezTo>
                  <a:lnTo>
                    <a:pt x="118853" y="173006"/>
                  </a:lnTo>
                  <a:lnTo>
                    <a:pt x="105434" y="159600"/>
                  </a:lnTo>
                  <a:cubicBezTo>
                    <a:pt x="104156" y="158323"/>
                    <a:pt x="103517" y="157046"/>
                    <a:pt x="103517" y="155131"/>
                  </a:cubicBezTo>
                  <a:lnTo>
                    <a:pt x="103517" y="129595"/>
                  </a:lnTo>
                  <a:cubicBezTo>
                    <a:pt x="103517" y="125764"/>
                    <a:pt x="106073" y="123211"/>
                    <a:pt x="109907" y="123211"/>
                  </a:cubicBezTo>
                  <a:lnTo>
                    <a:pt x="129077" y="123211"/>
                  </a:lnTo>
                  <a:lnTo>
                    <a:pt x="129077" y="76608"/>
                  </a:lnTo>
                  <a:cubicBezTo>
                    <a:pt x="129077" y="65755"/>
                    <a:pt x="137384" y="57456"/>
                    <a:pt x="148247" y="57456"/>
                  </a:cubicBezTo>
                  <a:cubicBezTo>
                    <a:pt x="159110" y="57456"/>
                    <a:pt x="167417" y="65755"/>
                    <a:pt x="167417" y="76608"/>
                  </a:cubicBezTo>
                  <a:lnTo>
                    <a:pt x="167417" y="123211"/>
                  </a:lnTo>
                  <a:lnTo>
                    <a:pt x="195532" y="123211"/>
                  </a:lnTo>
                  <a:lnTo>
                    <a:pt x="195532" y="76608"/>
                  </a:lnTo>
                  <a:cubicBezTo>
                    <a:pt x="195532" y="65755"/>
                    <a:pt x="203839" y="57456"/>
                    <a:pt x="214702" y="57456"/>
                  </a:cubicBezTo>
                  <a:cubicBezTo>
                    <a:pt x="225565" y="57456"/>
                    <a:pt x="233872" y="65755"/>
                    <a:pt x="233872" y="76608"/>
                  </a:cubicBezTo>
                  <a:lnTo>
                    <a:pt x="233872" y="123211"/>
                  </a:lnTo>
                  <a:lnTo>
                    <a:pt x="253041" y="123211"/>
                  </a:lnTo>
                  <a:cubicBezTo>
                    <a:pt x="256876" y="123211"/>
                    <a:pt x="259431" y="125764"/>
                    <a:pt x="259431" y="129595"/>
                  </a:cubicBezTo>
                  <a:lnTo>
                    <a:pt x="258792" y="155769"/>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Graphic 4">
              <a:extLst>
                <a:ext uri="{FF2B5EF4-FFF2-40B4-BE49-F238E27FC236}">
                  <a16:creationId xmlns:a16="http://schemas.microsoft.com/office/drawing/2014/main" id="{FBACB272-8D0D-515B-AFFF-461AA107B73E}"/>
                </a:ext>
              </a:extLst>
            </p:cNvPr>
            <p:cNvSpPr/>
            <p:nvPr/>
          </p:nvSpPr>
          <p:spPr>
            <a:xfrm>
              <a:off x="9395124" y="1054796"/>
              <a:ext cx="130354" cy="141085"/>
            </a:xfrm>
            <a:custGeom>
              <a:avLst/>
              <a:gdLst>
                <a:gd name="connsiteX0" fmla="*/ 65177 w 130354"/>
                <a:gd name="connsiteY0" fmla="*/ 0 h 141085"/>
                <a:gd name="connsiteX1" fmla="*/ 0 w 130354"/>
                <a:gd name="connsiteY1" fmla="*/ 0 h 141085"/>
                <a:gd name="connsiteX2" fmla="*/ 0 w 130354"/>
                <a:gd name="connsiteY2" fmla="*/ 16598 h 141085"/>
                <a:gd name="connsiteX3" fmla="*/ 13419 w 130354"/>
                <a:gd name="connsiteY3" fmla="*/ 30005 h 141085"/>
                <a:gd name="connsiteX4" fmla="*/ 15335 w 130354"/>
                <a:gd name="connsiteY4" fmla="*/ 34473 h 141085"/>
                <a:gd name="connsiteX5" fmla="*/ 15335 w 130354"/>
                <a:gd name="connsiteY5" fmla="*/ 75331 h 141085"/>
                <a:gd name="connsiteX6" fmla="*/ 65177 w 130354"/>
                <a:gd name="connsiteY6" fmla="*/ 114912 h 141085"/>
                <a:gd name="connsiteX7" fmla="*/ 71567 w 130354"/>
                <a:gd name="connsiteY7" fmla="*/ 121296 h 141085"/>
                <a:gd name="connsiteX8" fmla="*/ 65177 w 130354"/>
                <a:gd name="connsiteY8" fmla="*/ 127680 h 141085"/>
                <a:gd name="connsiteX9" fmla="*/ 40895 w 130354"/>
                <a:gd name="connsiteY9" fmla="*/ 123849 h 141085"/>
                <a:gd name="connsiteX10" fmla="*/ 40895 w 130354"/>
                <a:gd name="connsiteY10" fmla="*/ 130872 h 141085"/>
                <a:gd name="connsiteX11" fmla="*/ 65177 w 130354"/>
                <a:gd name="connsiteY11" fmla="*/ 139809 h 141085"/>
                <a:gd name="connsiteX12" fmla="*/ 68372 w 130354"/>
                <a:gd name="connsiteY12" fmla="*/ 141086 h 141085"/>
                <a:gd name="connsiteX13" fmla="*/ 71567 w 130354"/>
                <a:gd name="connsiteY13" fmla="*/ 139809 h 141085"/>
                <a:gd name="connsiteX14" fmla="*/ 89459 w 130354"/>
                <a:gd name="connsiteY14" fmla="*/ 131510 h 141085"/>
                <a:gd name="connsiteX15" fmla="*/ 89459 w 130354"/>
                <a:gd name="connsiteY15" fmla="*/ 123849 h 141085"/>
                <a:gd name="connsiteX16" fmla="*/ 81791 w 130354"/>
                <a:gd name="connsiteY16" fmla="*/ 125764 h 141085"/>
                <a:gd name="connsiteX17" fmla="*/ 80513 w 130354"/>
                <a:gd name="connsiteY17" fmla="*/ 125764 h 141085"/>
                <a:gd name="connsiteX18" fmla="*/ 73484 w 130354"/>
                <a:gd name="connsiteY18" fmla="*/ 120019 h 141085"/>
                <a:gd name="connsiteX19" fmla="*/ 79235 w 130354"/>
                <a:gd name="connsiteY19" fmla="*/ 112996 h 141085"/>
                <a:gd name="connsiteX20" fmla="*/ 115019 w 130354"/>
                <a:gd name="connsiteY20" fmla="*/ 74693 h 141085"/>
                <a:gd name="connsiteX21" fmla="*/ 115019 w 130354"/>
                <a:gd name="connsiteY21" fmla="*/ 34473 h 141085"/>
                <a:gd name="connsiteX22" fmla="*/ 116935 w 130354"/>
                <a:gd name="connsiteY22" fmla="*/ 30005 h 141085"/>
                <a:gd name="connsiteX23" fmla="*/ 130354 w 130354"/>
                <a:gd name="connsiteY23" fmla="*/ 16598 h 141085"/>
                <a:gd name="connsiteX24" fmla="*/ 130354 w 130354"/>
                <a:gd name="connsiteY24" fmla="*/ 0 h 141085"/>
                <a:gd name="connsiteX25" fmla="*/ 65177 w 130354"/>
                <a:gd name="connsiteY25" fmla="*/ 0 h 141085"/>
                <a:gd name="connsiteX26" fmla="*/ 100961 w 130354"/>
                <a:gd name="connsiteY26" fmla="*/ 53625 h 141085"/>
                <a:gd name="connsiteX27" fmla="*/ 60065 w 130354"/>
                <a:gd name="connsiteY27" fmla="*/ 104697 h 141085"/>
                <a:gd name="connsiteX28" fmla="*/ 54953 w 130354"/>
                <a:gd name="connsiteY28" fmla="*/ 107251 h 141085"/>
                <a:gd name="connsiteX29" fmla="*/ 52397 w 130354"/>
                <a:gd name="connsiteY29" fmla="*/ 106612 h 141085"/>
                <a:gd name="connsiteX30" fmla="*/ 48563 w 130354"/>
                <a:gd name="connsiteY30" fmla="*/ 99590 h 141085"/>
                <a:gd name="connsiteX31" fmla="*/ 52397 w 130354"/>
                <a:gd name="connsiteY31" fmla="*/ 71501 h 141085"/>
                <a:gd name="connsiteX32" fmla="*/ 34505 w 130354"/>
                <a:gd name="connsiteY32" fmla="*/ 71501 h 141085"/>
                <a:gd name="connsiteX33" fmla="*/ 28115 w 130354"/>
                <a:gd name="connsiteY33" fmla="*/ 65117 h 141085"/>
                <a:gd name="connsiteX34" fmla="*/ 29394 w 130354"/>
                <a:gd name="connsiteY34" fmla="*/ 61286 h 141085"/>
                <a:gd name="connsiteX35" fmla="*/ 70289 w 130354"/>
                <a:gd name="connsiteY35" fmla="*/ 10214 h 141085"/>
                <a:gd name="connsiteX36" fmla="*/ 77957 w 130354"/>
                <a:gd name="connsiteY36" fmla="*/ 8299 h 141085"/>
                <a:gd name="connsiteX37" fmla="*/ 81791 w 130354"/>
                <a:gd name="connsiteY37" fmla="*/ 15322 h 141085"/>
                <a:gd name="connsiteX38" fmla="*/ 77957 w 130354"/>
                <a:gd name="connsiteY38" fmla="*/ 43411 h 141085"/>
                <a:gd name="connsiteX39" fmla="*/ 95849 w 130354"/>
                <a:gd name="connsiteY39" fmla="*/ 43411 h 141085"/>
                <a:gd name="connsiteX40" fmla="*/ 102239 w 130354"/>
                <a:gd name="connsiteY40" fmla="*/ 49795 h 141085"/>
                <a:gd name="connsiteX41" fmla="*/ 100961 w 130354"/>
                <a:gd name="connsiteY41" fmla="*/ 53625 h 141085"/>
                <a:gd name="connsiteX42" fmla="*/ 100961 w 130354"/>
                <a:gd name="connsiteY42" fmla="*/ 53625 h 141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354" h="141085">
                  <a:moveTo>
                    <a:pt x="65177" y="0"/>
                  </a:moveTo>
                  <a:lnTo>
                    <a:pt x="0" y="0"/>
                  </a:lnTo>
                  <a:lnTo>
                    <a:pt x="0" y="16598"/>
                  </a:lnTo>
                  <a:lnTo>
                    <a:pt x="13419" y="30005"/>
                  </a:lnTo>
                  <a:cubicBezTo>
                    <a:pt x="14696" y="31281"/>
                    <a:pt x="15335" y="32558"/>
                    <a:pt x="15335" y="34473"/>
                  </a:cubicBezTo>
                  <a:lnTo>
                    <a:pt x="15335" y="75331"/>
                  </a:lnTo>
                  <a:cubicBezTo>
                    <a:pt x="15335" y="98952"/>
                    <a:pt x="35145" y="114912"/>
                    <a:pt x="65177" y="114912"/>
                  </a:cubicBezTo>
                  <a:cubicBezTo>
                    <a:pt x="69011" y="114912"/>
                    <a:pt x="71567" y="117465"/>
                    <a:pt x="71567" y="121296"/>
                  </a:cubicBezTo>
                  <a:cubicBezTo>
                    <a:pt x="71567" y="125126"/>
                    <a:pt x="69011" y="127680"/>
                    <a:pt x="65177" y="127680"/>
                  </a:cubicBezTo>
                  <a:cubicBezTo>
                    <a:pt x="56870" y="127680"/>
                    <a:pt x="48563" y="126403"/>
                    <a:pt x="40895" y="123849"/>
                  </a:cubicBezTo>
                  <a:lnTo>
                    <a:pt x="40895" y="130872"/>
                  </a:lnTo>
                  <a:cubicBezTo>
                    <a:pt x="40895" y="134064"/>
                    <a:pt x="49841" y="139809"/>
                    <a:pt x="65177" y="139809"/>
                  </a:cubicBezTo>
                  <a:cubicBezTo>
                    <a:pt x="66455" y="139809"/>
                    <a:pt x="67733" y="140448"/>
                    <a:pt x="68372" y="141086"/>
                  </a:cubicBezTo>
                  <a:cubicBezTo>
                    <a:pt x="69011" y="140448"/>
                    <a:pt x="70289" y="139809"/>
                    <a:pt x="71567" y="139809"/>
                  </a:cubicBezTo>
                  <a:cubicBezTo>
                    <a:pt x="83069" y="138532"/>
                    <a:pt x="89459" y="133425"/>
                    <a:pt x="89459" y="131510"/>
                  </a:cubicBezTo>
                  <a:lnTo>
                    <a:pt x="89459" y="123849"/>
                  </a:lnTo>
                  <a:cubicBezTo>
                    <a:pt x="86903" y="124488"/>
                    <a:pt x="84347" y="125126"/>
                    <a:pt x="81791" y="125764"/>
                  </a:cubicBezTo>
                  <a:lnTo>
                    <a:pt x="80513" y="125764"/>
                  </a:lnTo>
                  <a:cubicBezTo>
                    <a:pt x="76679" y="126403"/>
                    <a:pt x="74123" y="123211"/>
                    <a:pt x="73484" y="120019"/>
                  </a:cubicBezTo>
                  <a:cubicBezTo>
                    <a:pt x="72845" y="116827"/>
                    <a:pt x="76040" y="113635"/>
                    <a:pt x="79235" y="112996"/>
                  </a:cubicBezTo>
                  <a:cubicBezTo>
                    <a:pt x="100961" y="108528"/>
                    <a:pt x="115019" y="93845"/>
                    <a:pt x="115019" y="74693"/>
                  </a:cubicBezTo>
                  <a:lnTo>
                    <a:pt x="115019" y="34473"/>
                  </a:lnTo>
                  <a:cubicBezTo>
                    <a:pt x="115019" y="32558"/>
                    <a:pt x="115658" y="31281"/>
                    <a:pt x="116935" y="30005"/>
                  </a:cubicBezTo>
                  <a:lnTo>
                    <a:pt x="130354" y="16598"/>
                  </a:lnTo>
                  <a:lnTo>
                    <a:pt x="130354" y="0"/>
                  </a:lnTo>
                  <a:lnTo>
                    <a:pt x="65177" y="0"/>
                  </a:lnTo>
                  <a:close/>
                  <a:moveTo>
                    <a:pt x="100961" y="53625"/>
                  </a:moveTo>
                  <a:lnTo>
                    <a:pt x="60065" y="104697"/>
                  </a:lnTo>
                  <a:cubicBezTo>
                    <a:pt x="58787" y="105974"/>
                    <a:pt x="56870" y="107251"/>
                    <a:pt x="54953" y="107251"/>
                  </a:cubicBezTo>
                  <a:cubicBezTo>
                    <a:pt x="54314" y="107251"/>
                    <a:pt x="53036" y="107251"/>
                    <a:pt x="52397" y="106612"/>
                  </a:cubicBezTo>
                  <a:cubicBezTo>
                    <a:pt x="49841" y="105336"/>
                    <a:pt x="47925" y="102782"/>
                    <a:pt x="48563" y="99590"/>
                  </a:cubicBezTo>
                  <a:lnTo>
                    <a:pt x="52397" y="71501"/>
                  </a:lnTo>
                  <a:lnTo>
                    <a:pt x="34505" y="71501"/>
                  </a:lnTo>
                  <a:cubicBezTo>
                    <a:pt x="30671" y="71501"/>
                    <a:pt x="28115" y="68947"/>
                    <a:pt x="28115" y="65117"/>
                  </a:cubicBezTo>
                  <a:cubicBezTo>
                    <a:pt x="28115" y="63840"/>
                    <a:pt x="28755" y="61925"/>
                    <a:pt x="29394" y="61286"/>
                  </a:cubicBezTo>
                  <a:lnTo>
                    <a:pt x="70289" y="10214"/>
                  </a:lnTo>
                  <a:cubicBezTo>
                    <a:pt x="72206" y="7661"/>
                    <a:pt x="75401" y="7022"/>
                    <a:pt x="77957" y="8299"/>
                  </a:cubicBezTo>
                  <a:cubicBezTo>
                    <a:pt x="80513" y="9576"/>
                    <a:pt x="82430" y="12130"/>
                    <a:pt x="81791" y="15322"/>
                  </a:cubicBezTo>
                  <a:lnTo>
                    <a:pt x="77957" y="43411"/>
                  </a:lnTo>
                  <a:lnTo>
                    <a:pt x="95849" y="43411"/>
                  </a:lnTo>
                  <a:cubicBezTo>
                    <a:pt x="99683" y="43411"/>
                    <a:pt x="102239" y="46603"/>
                    <a:pt x="102239" y="49795"/>
                  </a:cubicBezTo>
                  <a:cubicBezTo>
                    <a:pt x="102239" y="51072"/>
                    <a:pt x="101599" y="52349"/>
                    <a:pt x="100961" y="53625"/>
                  </a:cubicBezTo>
                  <a:lnTo>
                    <a:pt x="100961" y="53625"/>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 name="Graphic 4">
            <a:extLst>
              <a:ext uri="{FF2B5EF4-FFF2-40B4-BE49-F238E27FC236}">
                <a16:creationId xmlns:a16="http://schemas.microsoft.com/office/drawing/2014/main" id="{2F0D0CF0-28C9-DF3E-C237-E0F6B85C06B5}"/>
              </a:ext>
            </a:extLst>
          </p:cNvPr>
          <p:cNvGrpSpPr>
            <a:grpSpLocks noChangeAspect="1"/>
          </p:cNvGrpSpPr>
          <p:nvPr/>
        </p:nvGrpSpPr>
        <p:grpSpPr>
          <a:xfrm>
            <a:off x="7202022" y="3994959"/>
            <a:ext cx="493776" cy="493315"/>
            <a:chOff x="11372170" y="1402085"/>
            <a:chExt cx="361671" cy="361333"/>
          </a:xfrm>
          <a:solidFill>
            <a:srgbClr val="007680"/>
          </a:solidFill>
        </p:grpSpPr>
        <p:sp>
          <p:nvSpPr>
            <p:cNvPr id="17" name="Graphic 4">
              <a:extLst>
                <a:ext uri="{FF2B5EF4-FFF2-40B4-BE49-F238E27FC236}">
                  <a16:creationId xmlns:a16="http://schemas.microsoft.com/office/drawing/2014/main" id="{F2FBECAF-F83C-D64C-A2BB-8E831174AAB1}"/>
                </a:ext>
              </a:extLst>
            </p:cNvPr>
            <p:cNvSpPr/>
            <p:nvPr/>
          </p:nvSpPr>
          <p:spPr>
            <a:xfrm>
              <a:off x="11372170" y="1402085"/>
              <a:ext cx="361671" cy="361333"/>
            </a:xfrm>
            <a:custGeom>
              <a:avLst/>
              <a:gdLst>
                <a:gd name="connsiteX0" fmla="*/ 180836 w 361671"/>
                <a:gd name="connsiteY0" fmla="*/ 0 h 361333"/>
                <a:gd name="connsiteX1" fmla="*/ 0 w 361671"/>
                <a:gd name="connsiteY1" fmla="*/ 180667 h 361333"/>
                <a:gd name="connsiteX2" fmla="*/ 180836 w 361671"/>
                <a:gd name="connsiteY2" fmla="*/ 361333 h 361333"/>
                <a:gd name="connsiteX3" fmla="*/ 361671 w 361671"/>
                <a:gd name="connsiteY3" fmla="*/ 180667 h 361333"/>
                <a:gd name="connsiteX4" fmla="*/ 180836 w 361671"/>
                <a:gd name="connsiteY4" fmla="*/ 0 h 361333"/>
                <a:gd name="connsiteX5" fmla="*/ 271572 w 361671"/>
                <a:gd name="connsiteY5" fmla="*/ 276426 h 361333"/>
                <a:gd name="connsiteX6" fmla="*/ 267100 w 361671"/>
                <a:gd name="connsiteY6" fmla="*/ 278342 h 361333"/>
                <a:gd name="connsiteX7" fmla="*/ 262627 w 361671"/>
                <a:gd name="connsiteY7" fmla="*/ 276426 h 361333"/>
                <a:gd name="connsiteX8" fmla="*/ 207673 w 361671"/>
                <a:gd name="connsiteY8" fmla="*/ 220886 h 361333"/>
                <a:gd name="connsiteX9" fmla="*/ 164222 w 361671"/>
                <a:gd name="connsiteY9" fmla="*/ 234931 h 361333"/>
                <a:gd name="connsiteX10" fmla="*/ 88820 w 361671"/>
                <a:gd name="connsiteY10" fmla="*/ 159600 h 361333"/>
                <a:gd name="connsiteX11" fmla="*/ 164222 w 361671"/>
                <a:gd name="connsiteY11" fmla="*/ 84269 h 361333"/>
                <a:gd name="connsiteX12" fmla="*/ 239623 w 361671"/>
                <a:gd name="connsiteY12" fmla="*/ 159600 h 361333"/>
                <a:gd name="connsiteX13" fmla="*/ 217258 w 361671"/>
                <a:gd name="connsiteY13" fmla="*/ 213225 h 361333"/>
                <a:gd name="connsiteX14" fmla="*/ 271572 w 361671"/>
                <a:gd name="connsiteY14" fmla="*/ 267489 h 361333"/>
                <a:gd name="connsiteX15" fmla="*/ 271572 w 361671"/>
                <a:gd name="connsiteY15" fmla="*/ 276426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1671" h="361333">
                  <a:moveTo>
                    <a:pt x="180836" y="0"/>
                  </a:moveTo>
                  <a:cubicBezTo>
                    <a:pt x="80514" y="0"/>
                    <a:pt x="0" y="81077"/>
                    <a:pt x="0" y="180667"/>
                  </a:cubicBezTo>
                  <a:cubicBezTo>
                    <a:pt x="0" y="280257"/>
                    <a:pt x="81153" y="361333"/>
                    <a:pt x="180836" y="361333"/>
                  </a:cubicBezTo>
                  <a:cubicBezTo>
                    <a:pt x="281157" y="361333"/>
                    <a:pt x="361671" y="280257"/>
                    <a:pt x="361671" y="180667"/>
                  </a:cubicBezTo>
                  <a:cubicBezTo>
                    <a:pt x="361671" y="81077"/>
                    <a:pt x="281157" y="0"/>
                    <a:pt x="180836" y="0"/>
                  </a:cubicBezTo>
                  <a:close/>
                  <a:moveTo>
                    <a:pt x="271572" y="276426"/>
                  </a:moveTo>
                  <a:cubicBezTo>
                    <a:pt x="270295" y="277703"/>
                    <a:pt x="268377" y="278342"/>
                    <a:pt x="267100" y="278342"/>
                  </a:cubicBezTo>
                  <a:cubicBezTo>
                    <a:pt x="265182" y="278342"/>
                    <a:pt x="263905" y="277703"/>
                    <a:pt x="262627" y="276426"/>
                  </a:cubicBezTo>
                  <a:lnTo>
                    <a:pt x="207673" y="220886"/>
                  </a:lnTo>
                  <a:cubicBezTo>
                    <a:pt x="195533" y="229823"/>
                    <a:pt x="180197" y="234931"/>
                    <a:pt x="164222" y="234931"/>
                  </a:cubicBezTo>
                  <a:cubicBezTo>
                    <a:pt x="122687" y="234931"/>
                    <a:pt x="88820" y="201095"/>
                    <a:pt x="88820" y="159600"/>
                  </a:cubicBezTo>
                  <a:cubicBezTo>
                    <a:pt x="88820" y="118104"/>
                    <a:pt x="122687" y="84269"/>
                    <a:pt x="164222" y="84269"/>
                  </a:cubicBezTo>
                  <a:cubicBezTo>
                    <a:pt x="205756" y="84269"/>
                    <a:pt x="239623" y="118104"/>
                    <a:pt x="239623" y="159600"/>
                  </a:cubicBezTo>
                  <a:cubicBezTo>
                    <a:pt x="239623" y="180667"/>
                    <a:pt x="231316" y="199180"/>
                    <a:pt x="217258" y="213225"/>
                  </a:cubicBezTo>
                  <a:lnTo>
                    <a:pt x="271572" y="267489"/>
                  </a:lnTo>
                  <a:cubicBezTo>
                    <a:pt x="274128" y="270042"/>
                    <a:pt x="274128" y="273873"/>
                    <a:pt x="271572" y="276426"/>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Graphic 4">
              <a:extLst>
                <a:ext uri="{FF2B5EF4-FFF2-40B4-BE49-F238E27FC236}">
                  <a16:creationId xmlns:a16="http://schemas.microsoft.com/office/drawing/2014/main" id="{0E4527AE-3110-7097-B928-023DC8FD163F}"/>
                </a:ext>
              </a:extLst>
            </p:cNvPr>
            <p:cNvSpPr/>
            <p:nvPr/>
          </p:nvSpPr>
          <p:spPr>
            <a:xfrm>
              <a:off x="11473770" y="1499121"/>
              <a:ext cx="125242" cy="125126"/>
            </a:xfrm>
            <a:custGeom>
              <a:avLst/>
              <a:gdLst>
                <a:gd name="connsiteX0" fmla="*/ 125243 w 125242"/>
                <a:gd name="connsiteY0" fmla="*/ 62563 h 125126"/>
                <a:gd name="connsiteX1" fmla="*/ 62622 w 125242"/>
                <a:gd name="connsiteY1" fmla="*/ 0 h 125126"/>
                <a:gd name="connsiteX2" fmla="*/ 0 w 125242"/>
                <a:gd name="connsiteY2" fmla="*/ 62563 h 125126"/>
                <a:gd name="connsiteX3" fmla="*/ 62622 w 125242"/>
                <a:gd name="connsiteY3" fmla="*/ 125126 h 125126"/>
                <a:gd name="connsiteX4" fmla="*/ 125243 w 125242"/>
                <a:gd name="connsiteY4" fmla="*/ 62563 h 125126"/>
                <a:gd name="connsiteX5" fmla="*/ 65817 w 125242"/>
                <a:gd name="connsiteY5" fmla="*/ 48518 h 125126"/>
                <a:gd name="connsiteX6" fmla="*/ 72207 w 125242"/>
                <a:gd name="connsiteY6" fmla="*/ 54902 h 125126"/>
                <a:gd name="connsiteX7" fmla="*/ 65817 w 125242"/>
                <a:gd name="connsiteY7" fmla="*/ 61286 h 125126"/>
                <a:gd name="connsiteX8" fmla="*/ 48563 w 125242"/>
                <a:gd name="connsiteY8" fmla="*/ 61286 h 125126"/>
                <a:gd name="connsiteX9" fmla="*/ 48563 w 125242"/>
                <a:gd name="connsiteY9" fmla="*/ 64478 h 125126"/>
                <a:gd name="connsiteX10" fmla="*/ 65817 w 125242"/>
                <a:gd name="connsiteY10" fmla="*/ 64478 h 125126"/>
                <a:gd name="connsiteX11" fmla="*/ 72207 w 125242"/>
                <a:gd name="connsiteY11" fmla="*/ 70862 h 125126"/>
                <a:gd name="connsiteX12" fmla="*/ 65817 w 125242"/>
                <a:gd name="connsiteY12" fmla="*/ 77246 h 125126"/>
                <a:gd name="connsiteX13" fmla="*/ 48563 w 125242"/>
                <a:gd name="connsiteY13" fmla="*/ 77246 h 125126"/>
                <a:gd name="connsiteX14" fmla="*/ 61983 w 125242"/>
                <a:gd name="connsiteY14" fmla="*/ 88099 h 125126"/>
                <a:gd name="connsiteX15" fmla="*/ 65817 w 125242"/>
                <a:gd name="connsiteY15" fmla="*/ 88099 h 125126"/>
                <a:gd name="connsiteX16" fmla="*/ 79235 w 125242"/>
                <a:gd name="connsiteY16" fmla="*/ 74693 h 125126"/>
                <a:gd name="connsiteX17" fmla="*/ 85625 w 125242"/>
                <a:gd name="connsiteY17" fmla="*/ 68309 h 125126"/>
                <a:gd name="connsiteX18" fmla="*/ 92015 w 125242"/>
                <a:gd name="connsiteY18" fmla="*/ 74693 h 125126"/>
                <a:gd name="connsiteX19" fmla="*/ 65817 w 125242"/>
                <a:gd name="connsiteY19" fmla="*/ 100867 h 125126"/>
                <a:gd name="connsiteX20" fmla="*/ 61983 w 125242"/>
                <a:gd name="connsiteY20" fmla="*/ 100867 h 125126"/>
                <a:gd name="connsiteX21" fmla="*/ 35783 w 125242"/>
                <a:gd name="connsiteY21" fmla="*/ 77246 h 125126"/>
                <a:gd name="connsiteX22" fmla="*/ 30033 w 125242"/>
                <a:gd name="connsiteY22" fmla="*/ 77246 h 125126"/>
                <a:gd name="connsiteX23" fmla="*/ 23643 w 125242"/>
                <a:gd name="connsiteY23" fmla="*/ 70862 h 125126"/>
                <a:gd name="connsiteX24" fmla="*/ 30033 w 125242"/>
                <a:gd name="connsiteY24" fmla="*/ 64478 h 125126"/>
                <a:gd name="connsiteX25" fmla="*/ 35783 w 125242"/>
                <a:gd name="connsiteY25" fmla="*/ 64478 h 125126"/>
                <a:gd name="connsiteX26" fmla="*/ 35783 w 125242"/>
                <a:gd name="connsiteY26" fmla="*/ 61286 h 125126"/>
                <a:gd name="connsiteX27" fmla="*/ 30033 w 125242"/>
                <a:gd name="connsiteY27" fmla="*/ 61286 h 125126"/>
                <a:gd name="connsiteX28" fmla="*/ 23643 w 125242"/>
                <a:gd name="connsiteY28" fmla="*/ 54902 h 125126"/>
                <a:gd name="connsiteX29" fmla="*/ 30033 w 125242"/>
                <a:gd name="connsiteY29" fmla="*/ 48518 h 125126"/>
                <a:gd name="connsiteX30" fmla="*/ 35783 w 125242"/>
                <a:gd name="connsiteY30" fmla="*/ 48518 h 125126"/>
                <a:gd name="connsiteX31" fmla="*/ 35783 w 125242"/>
                <a:gd name="connsiteY31" fmla="*/ 47242 h 125126"/>
                <a:gd name="connsiteX32" fmla="*/ 61983 w 125242"/>
                <a:gd name="connsiteY32" fmla="*/ 21067 h 125126"/>
                <a:gd name="connsiteX33" fmla="*/ 65817 w 125242"/>
                <a:gd name="connsiteY33" fmla="*/ 21067 h 125126"/>
                <a:gd name="connsiteX34" fmla="*/ 92015 w 125242"/>
                <a:gd name="connsiteY34" fmla="*/ 47242 h 125126"/>
                <a:gd name="connsiteX35" fmla="*/ 85625 w 125242"/>
                <a:gd name="connsiteY35" fmla="*/ 53626 h 125126"/>
                <a:gd name="connsiteX36" fmla="*/ 79235 w 125242"/>
                <a:gd name="connsiteY36" fmla="*/ 47242 h 125126"/>
                <a:gd name="connsiteX37" fmla="*/ 65817 w 125242"/>
                <a:gd name="connsiteY37" fmla="*/ 33835 h 125126"/>
                <a:gd name="connsiteX38" fmla="*/ 61983 w 125242"/>
                <a:gd name="connsiteY38" fmla="*/ 33835 h 125126"/>
                <a:gd name="connsiteX39" fmla="*/ 48563 w 125242"/>
                <a:gd name="connsiteY39" fmla="*/ 47242 h 125126"/>
                <a:gd name="connsiteX40" fmla="*/ 48563 w 125242"/>
                <a:gd name="connsiteY40" fmla="*/ 48518 h 125126"/>
                <a:gd name="connsiteX41" fmla="*/ 65817 w 125242"/>
                <a:gd name="connsiteY41" fmla="*/ 48518 h 12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5242" h="125126">
                  <a:moveTo>
                    <a:pt x="125243" y="62563"/>
                  </a:moveTo>
                  <a:cubicBezTo>
                    <a:pt x="125243" y="28090"/>
                    <a:pt x="97128" y="0"/>
                    <a:pt x="62622" y="0"/>
                  </a:cubicBezTo>
                  <a:cubicBezTo>
                    <a:pt x="28116" y="0"/>
                    <a:pt x="0" y="28090"/>
                    <a:pt x="0" y="62563"/>
                  </a:cubicBezTo>
                  <a:cubicBezTo>
                    <a:pt x="0" y="97037"/>
                    <a:pt x="28116" y="125126"/>
                    <a:pt x="62622" y="125126"/>
                  </a:cubicBezTo>
                  <a:cubicBezTo>
                    <a:pt x="97128" y="125126"/>
                    <a:pt x="125243" y="97037"/>
                    <a:pt x="125243" y="62563"/>
                  </a:cubicBezTo>
                  <a:close/>
                  <a:moveTo>
                    <a:pt x="65817" y="48518"/>
                  </a:moveTo>
                  <a:cubicBezTo>
                    <a:pt x="69650" y="48518"/>
                    <a:pt x="72207" y="51072"/>
                    <a:pt x="72207" y="54902"/>
                  </a:cubicBezTo>
                  <a:cubicBezTo>
                    <a:pt x="72207" y="58733"/>
                    <a:pt x="69650" y="61286"/>
                    <a:pt x="65817" y="61286"/>
                  </a:cubicBezTo>
                  <a:lnTo>
                    <a:pt x="48563" y="61286"/>
                  </a:lnTo>
                  <a:lnTo>
                    <a:pt x="48563" y="64478"/>
                  </a:lnTo>
                  <a:lnTo>
                    <a:pt x="65817" y="64478"/>
                  </a:lnTo>
                  <a:cubicBezTo>
                    <a:pt x="69650" y="64478"/>
                    <a:pt x="72207" y="67032"/>
                    <a:pt x="72207" y="70862"/>
                  </a:cubicBezTo>
                  <a:cubicBezTo>
                    <a:pt x="72207" y="74693"/>
                    <a:pt x="69650" y="77246"/>
                    <a:pt x="65817" y="77246"/>
                  </a:cubicBezTo>
                  <a:lnTo>
                    <a:pt x="48563" y="77246"/>
                  </a:lnTo>
                  <a:cubicBezTo>
                    <a:pt x="49842" y="83630"/>
                    <a:pt x="54953" y="88099"/>
                    <a:pt x="61983" y="88099"/>
                  </a:cubicBezTo>
                  <a:lnTo>
                    <a:pt x="65817" y="88099"/>
                  </a:lnTo>
                  <a:cubicBezTo>
                    <a:pt x="73484" y="88099"/>
                    <a:pt x="79235" y="82353"/>
                    <a:pt x="79235" y="74693"/>
                  </a:cubicBezTo>
                  <a:cubicBezTo>
                    <a:pt x="79235" y="70862"/>
                    <a:pt x="81792" y="68309"/>
                    <a:pt x="85625" y="68309"/>
                  </a:cubicBezTo>
                  <a:cubicBezTo>
                    <a:pt x="89459" y="68309"/>
                    <a:pt x="92015" y="70862"/>
                    <a:pt x="92015" y="74693"/>
                  </a:cubicBezTo>
                  <a:cubicBezTo>
                    <a:pt x="92015" y="89376"/>
                    <a:pt x="80513" y="100867"/>
                    <a:pt x="65817" y="100867"/>
                  </a:cubicBezTo>
                  <a:lnTo>
                    <a:pt x="61983" y="100867"/>
                  </a:lnTo>
                  <a:cubicBezTo>
                    <a:pt x="48563" y="100867"/>
                    <a:pt x="37062" y="90653"/>
                    <a:pt x="35783" y="77246"/>
                  </a:cubicBezTo>
                  <a:lnTo>
                    <a:pt x="30033" y="77246"/>
                  </a:lnTo>
                  <a:cubicBezTo>
                    <a:pt x="26199" y="77246"/>
                    <a:pt x="23643" y="74693"/>
                    <a:pt x="23643" y="70862"/>
                  </a:cubicBezTo>
                  <a:cubicBezTo>
                    <a:pt x="23643" y="67032"/>
                    <a:pt x="26199" y="64478"/>
                    <a:pt x="30033" y="64478"/>
                  </a:cubicBezTo>
                  <a:lnTo>
                    <a:pt x="35783" y="64478"/>
                  </a:lnTo>
                  <a:lnTo>
                    <a:pt x="35783" y="61286"/>
                  </a:lnTo>
                  <a:lnTo>
                    <a:pt x="30033" y="61286"/>
                  </a:lnTo>
                  <a:cubicBezTo>
                    <a:pt x="26199" y="61286"/>
                    <a:pt x="23643" y="58733"/>
                    <a:pt x="23643" y="54902"/>
                  </a:cubicBezTo>
                  <a:cubicBezTo>
                    <a:pt x="23643" y="51072"/>
                    <a:pt x="26199" y="48518"/>
                    <a:pt x="30033" y="48518"/>
                  </a:cubicBezTo>
                  <a:lnTo>
                    <a:pt x="35783" y="48518"/>
                  </a:lnTo>
                  <a:lnTo>
                    <a:pt x="35783" y="47242"/>
                  </a:lnTo>
                  <a:cubicBezTo>
                    <a:pt x="35783" y="32558"/>
                    <a:pt x="47286" y="21067"/>
                    <a:pt x="61983" y="21067"/>
                  </a:cubicBezTo>
                  <a:lnTo>
                    <a:pt x="65817" y="21067"/>
                  </a:lnTo>
                  <a:cubicBezTo>
                    <a:pt x="80513" y="21067"/>
                    <a:pt x="92015" y="32558"/>
                    <a:pt x="92015" y="47242"/>
                  </a:cubicBezTo>
                  <a:cubicBezTo>
                    <a:pt x="92015" y="51072"/>
                    <a:pt x="89459" y="53626"/>
                    <a:pt x="85625" y="53626"/>
                  </a:cubicBezTo>
                  <a:cubicBezTo>
                    <a:pt x="81792" y="53626"/>
                    <a:pt x="79235" y="51072"/>
                    <a:pt x="79235" y="47242"/>
                  </a:cubicBezTo>
                  <a:cubicBezTo>
                    <a:pt x="79235" y="39581"/>
                    <a:pt x="73484" y="33835"/>
                    <a:pt x="65817" y="33835"/>
                  </a:cubicBezTo>
                  <a:lnTo>
                    <a:pt x="61983" y="33835"/>
                  </a:lnTo>
                  <a:cubicBezTo>
                    <a:pt x="54314" y="33835"/>
                    <a:pt x="48563" y="39581"/>
                    <a:pt x="48563" y="47242"/>
                  </a:cubicBezTo>
                  <a:lnTo>
                    <a:pt x="48563" y="48518"/>
                  </a:lnTo>
                  <a:lnTo>
                    <a:pt x="65817" y="48518"/>
                  </a:ln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5" name="Rectangle 14">
            <a:extLst>
              <a:ext uri="{FF2B5EF4-FFF2-40B4-BE49-F238E27FC236}">
                <a16:creationId xmlns:a16="http://schemas.microsoft.com/office/drawing/2014/main" id="{304794FD-C2CE-5A6E-9628-6E72FD72FA37}"/>
              </a:ext>
            </a:extLst>
          </p:cNvPr>
          <p:cNvSpPr/>
          <p:nvPr/>
        </p:nvSpPr>
        <p:spPr bwMode="gray">
          <a:xfrm>
            <a:off x="6770263" y="-182088"/>
            <a:ext cx="2897979" cy="1899345"/>
          </a:xfrm>
          <a:prstGeom prst="rect">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1600" b="1" dirty="0" err="1">
                <a:solidFill>
                  <a:schemeClr val="bg1"/>
                </a:solidFill>
              </a:rPr>
              <a:t>ToDo</a:t>
            </a:r>
            <a:endParaRPr lang="hu-HU" sz="1600" b="1" dirty="0">
              <a:solidFill>
                <a:schemeClr val="bg1"/>
              </a:solidFill>
            </a:endParaRPr>
          </a:p>
          <a:p>
            <a:pPr>
              <a:lnSpc>
                <a:spcPct val="106000"/>
              </a:lnSpc>
              <a:buFont typeface="Wingdings 2" pitchFamily="18" charset="2"/>
              <a:buNone/>
            </a:pPr>
            <a:endParaRPr lang="hu-HU" sz="1600" b="1" dirty="0">
              <a:solidFill>
                <a:schemeClr val="bg1"/>
              </a:solidFill>
            </a:endParaRPr>
          </a:p>
          <a:p>
            <a:pPr marL="285750" indent="-285750">
              <a:lnSpc>
                <a:spcPct val="106000"/>
              </a:lnSpc>
              <a:buFont typeface="Arial" panose="020B0604020202020204" pitchFamily="34" charset="0"/>
              <a:buChar char="•"/>
            </a:pPr>
            <a:r>
              <a:rPr lang="en-US" sz="1600" b="1" dirty="0">
                <a:solidFill>
                  <a:schemeClr val="bg1"/>
                </a:solidFill>
              </a:rPr>
              <a:t>Min. 2-2 references from all sub-chapters</a:t>
            </a:r>
          </a:p>
          <a:p>
            <a:pPr marL="285750" indent="-285750">
              <a:lnSpc>
                <a:spcPct val="106000"/>
              </a:lnSpc>
              <a:buFont typeface="Arial" panose="020B0604020202020204" pitchFamily="34" charset="0"/>
              <a:buChar char="•"/>
            </a:pPr>
            <a:r>
              <a:rPr lang="en-US" sz="1600" b="1" dirty="0">
                <a:solidFill>
                  <a:schemeClr val="bg1"/>
                </a:solidFill>
              </a:rPr>
              <a:t>Naming should be consistent on Sub chapters</a:t>
            </a:r>
          </a:p>
        </p:txBody>
      </p:sp>
    </p:spTree>
    <p:extLst>
      <p:ext uri="{BB962C8B-B14F-4D97-AF65-F5344CB8AC3E}">
        <p14:creationId xmlns:p14="http://schemas.microsoft.com/office/powerpoint/2010/main" val="2016790049"/>
      </p:ext>
    </p:extLst>
  </p:cSld>
  <p:clrMapOvr>
    <a:masterClrMapping/>
  </p:clrMapOvr>
  <p:transition>
    <p:fade/>
  </p:transition>
  <p:extLst>
    <p:ext uri="{6950BFC3-D8DA-4A85-94F7-54DA5524770B}">
      <p188:commentRel xmlns:p188="http://schemas.microsoft.com/office/powerpoint/2018/8/main" r:id="rId4"/>
    </p:ext>
  </p:extLs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46D186D-3950-355A-7727-D4279B1E92D3}"/>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7799324" y="0"/>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438090"/>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4" y="4437413"/>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731896"/>
            <a:ext cx="6851894" cy="151323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r team followed a structured approach through various phases to deliver valuable insights to the client.</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began by defining the project's objectives and scoping out the available data sources, which were holding employee related data.</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ce we collected and preprocessed the data, we conducted thorough exploratory data analysis to scope the risk variables after understanding their correlation to attrition. Enriching the available data was a critical step towards building a more informative and accurate model.</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xt, we built a statistical predictive model to forecast the expected attrition over the short-term future.</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roughout the project, we prioritized rigorous testing and validation to ensure the reliability of our solutions.</a:t>
            </a:r>
          </a:p>
          <a:p>
            <a:pPr marL="171450" marR="0" lvl="3" indent="-171450" algn="l" defTabSz="914400" rtl="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 the end, our team provided the client with a dashboard showing actionable insights.</a:t>
            </a: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788873"/>
            <a:ext cx="6851896"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6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 wanted to enable their management and HR team to understand and counter unwanted workforce attrition. They asked Deloitte to create an employee attrition risk prediction model and dashboard, using only the data they already had about employes..</a:t>
            </a:r>
          </a:p>
        </p:txBody>
      </p:sp>
      <p:sp>
        <p:nvSpPr>
          <p:cNvPr id="14" name="TextBox 13">
            <a:extLst>
              <a:ext uri="{FF2B5EF4-FFF2-40B4-BE49-F238E27FC236}">
                <a16:creationId xmlns:a16="http://schemas.microsoft.com/office/drawing/2014/main" id="{242EC6AF-8C25-A375-FF99-2FB0991EC69E}"/>
              </a:ext>
            </a:extLst>
          </p:cNvPr>
          <p:cNvSpPr txBox="1"/>
          <p:nvPr/>
        </p:nvSpPr>
        <p:spPr>
          <a:xfrm>
            <a:off x="526665" y="4708093"/>
            <a:ext cx="6748358" cy="48731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y developing a workforce attrition model, HR was able to play a more direct role in ensuring the engagement level of individuals and position itself as a strategic business partner, empowering a data-driven organization.</a:t>
            </a:r>
          </a:p>
          <a:p>
            <a:pPr marL="0" marR="0" lvl="3" indent="0" algn="l" defTabSz="914400" rtl="0" eaLnBrk="1" fontAlgn="auto" latinLnBrk="0" hangingPunct="1">
              <a:lnSpc>
                <a:spcPct val="100000"/>
              </a:lnSpc>
              <a:spcBef>
                <a:spcPts val="0"/>
              </a:spcBef>
              <a:spcAft>
                <a:spcPts val="2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 introduced individual level adjustments to reduce attrition risk based on the model’s recommendations.</a:t>
            </a:r>
          </a:p>
        </p:txBody>
      </p:sp>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PREDICTIVE EMPLOYEE ANALYTICS</a:t>
            </a: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uropean Utility Provider</a:t>
            </a:r>
            <a:r>
              <a:rPr kumimoji="0" lang="hu-HU"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202</a:t>
            </a: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15766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46D186D-3950-355A-7727-D4279B1E92D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99324" y="0"/>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438090"/>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4" y="3918312"/>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731896"/>
            <a:ext cx="6851894" cy="100027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300"/>
              </a:spcAft>
              <a:buClr>
                <a:srgbClr val="000066"/>
              </a:buClr>
              <a:buSzTx/>
              <a:buFontTx/>
              <a:buNone/>
              <a:tabLst/>
              <a:defRPr/>
            </a:pPr>
            <a:r>
              <a:rPr kumimoji="0" lang="en-US" sz="1000" b="0" i="0" u="none" strike="noStrike" kern="1200" cap="none" spc="0" normalizeH="0" baseline="0" noProof="0" dirty="0">
                <a:ln>
                  <a:noFill/>
                </a:ln>
                <a:solidFill>
                  <a:prstClr val="black"/>
                </a:solidFill>
                <a:effectLst/>
                <a:uLnTx/>
                <a:uFillTx/>
                <a:latin typeface="Open Sans"/>
                <a:ea typeface="+mn-ea"/>
                <a:cs typeface="+mn-cs"/>
              </a:rPr>
              <a:t>We designed and developed a system, that takes inputs from the Audit team – engagements and their possible time periods, employees, past experiences of employees with given clients, etc. and formalized the problem with Integer Linear Programming. </a:t>
            </a:r>
          </a:p>
          <a:p>
            <a:pPr marL="0" marR="0" lvl="0" indent="0" algn="l" defTabSz="914400" rtl="0" eaLnBrk="1" fontAlgn="auto" latinLnBrk="0" hangingPunct="1">
              <a:lnSpc>
                <a:spcPct val="100000"/>
              </a:lnSpc>
              <a:spcBef>
                <a:spcPts val="0"/>
              </a:spcBef>
              <a:spcAft>
                <a:spcPts val="300"/>
              </a:spcAft>
              <a:buClr>
                <a:srgbClr val="000066"/>
              </a:buClr>
              <a:buSzTx/>
              <a:buFontTx/>
              <a:buNone/>
              <a:tabLst/>
              <a:defRPr/>
            </a:pPr>
            <a:r>
              <a:rPr kumimoji="0" lang="en-US" sz="1000" b="0" i="0" u="none" strike="noStrike" kern="1200" cap="none" spc="0" normalizeH="0" baseline="0" noProof="0" dirty="0">
                <a:ln>
                  <a:noFill/>
                </a:ln>
                <a:solidFill>
                  <a:prstClr val="black"/>
                </a:solidFill>
                <a:effectLst/>
                <a:uLnTx/>
                <a:uFillTx/>
                <a:latin typeface="Open Sans"/>
                <a:ea typeface="+mn-ea"/>
                <a:cs typeface="+mn-cs"/>
              </a:rPr>
              <a:t>The system is able to provide optimal allocation of resources for individual engagements along with the optimal timeframes when each engagement should be handled.</a:t>
            </a:r>
          </a:p>
          <a:p>
            <a:pPr marL="0" marR="0" lvl="0" indent="0" algn="l" defTabSz="914400" rtl="0" eaLnBrk="1" fontAlgn="auto" latinLnBrk="0" hangingPunct="1">
              <a:lnSpc>
                <a:spcPct val="100000"/>
              </a:lnSpc>
              <a:spcBef>
                <a:spcPts val="0"/>
              </a:spcBef>
              <a:spcAft>
                <a:spcPts val="300"/>
              </a:spcAft>
              <a:buClr>
                <a:srgbClr val="000066"/>
              </a:buClr>
              <a:buSzTx/>
              <a:buFontTx/>
              <a:buNone/>
              <a:tabLst/>
              <a:defRPr/>
            </a:pPr>
            <a:r>
              <a:rPr kumimoji="0" lang="en-US" sz="1000" b="0" i="0" u="none" strike="noStrike" kern="1200" cap="none" spc="0" normalizeH="0" baseline="0" noProof="0" dirty="0">
                <a:ln>
                  <a:noFill/>
                </a:ln>
                <a:solidFill>
                  <a:prstClr val="black"/>
                </a:solidFill>
                <a:effectLst/>
                <a:uLnTx/>
                <a:uFillTx/>
                <a:latin typeface="Open Sans"/>
                <a:ea typeface="+mn-ea"/>
                <a:cs typeface="+mn-cs"/>
              </a:rPr>
              <a:t>We have benchmarked the solution with CBC and </a:t>
            </a:r>
            <a:r>
              <a:rPr kumimoji="0" lang="en-US" sz="1000" b="0" i="0" u="none" strike="noStrike" kern="1200" cap="none" spc="0" normalizeH="0" baseline="0" noProof="0" dirty="0" err="1">
                <a:ln>
                  <a:noFill/>
                </a:ln>
                <a:solidFill>
                  <a:prstClr val="black"/>
                </a:solidFill>
                <a:effectLst/>
                <a:uLnTx/>
                <a:uFillTx/>
                <a:latin typeface="Open Sans"/>
                <a:ea typeface="+mn-ea"/>
                <a:cs typeface="+mn-cs"/>
              </a:rPr>
              <a:t>Gurobi</a:t>
            </a:r>
            <a:r>
              <a:rPr kumimoji="0" lang="en-US" sz="1000" b="0" i="0" u="none" strike="noStrike" kern="1200" cap="none" spc="0" normalizeH="0" baseline="0" noProof="0" dirty="0">
                <a:ln>
                  <a:noFill/>
                </a:ln>
                <a:solidFill>
                  <a:prstClr val="black"/>
                </a:solidFill>
                <a:effectLst/>
                <a:uLnTx/>
                <a:uFillTx/>
                <a:latin typeface="Open Sans"/>
                <a:ea typeface="+mn-ea"/>
                <a:cs typeface="+mn-cs"/>
              </a:rPr>
              <a:t> solvers.</a:t>
            </a: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788873"/>
            <a:ext cx="6851896"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indent="0" algn="l" defTabSz="914400" rtl="0" eaLnBrk="1" fontAlgn="auto" latinLnBrk="0" hangingPunct="1">
              <a:lnSpc>
                <a:spcPct val="100000"/>
              </a:lnSpc>
              <a:spcBef>
                <a:spcPts val="0"/>
              </a:spcBef>
              <a:spcAft>
                <a:spcPts val="600"/>
              </a:spcAft>
              <a:buClr>
                <a:srgbClr val="00ABAB">
                  <a:lumMod val="50000"/>
                </a:srgbClr>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oitte’s Audit Business Line was looking for improvement of season planning which was done manually and took a lot of time of senior employees. The goal was to have a data-driven solution that could provide an optimal result and be objective.</a:t>
            </a:r>
          </a:p>
        </p:txBody>
      </p:sp>
      <p:sp>
        <p:nvSpPr>
          <p:cNvPr id="14" name="TextBox 13">
            <a:extLst>
              <a:ext uri="{FF2B5EF4-FFF2-40B4-BE49-F238E27FC236}">
                <a16:creationId xmlns:a16="http://schemas.microsoft.com/office/drawing/2014/main" id="{242EC6AF-8C25-A375-FF99-2FB0991EC69E}"/>
              </a:ext>
            </a:extLst>
          </p:cNvPr>
          <p:cNvSpPr txBox="1"/>
          <p:nvPr/>
        </p:nvSpPr>
        <p:spPr>
          <a:xfrm>
            <a:off x="526665" y="4188992"/>
            <a:ext cx="6748358"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000" b="0" i="0" u="none" strike="noStrike" kern="1200" cap="none" spc="0" normalizeH="0" baseline="0" noProof="0" dirty="0">
                <a:ln>
                  <a:noFill/>
                </a:ln>
                <a:solidFill>
                  <a:prstClr val="black"/>
                </a:solidFill>
                <a:effectLst/>
                <a:uLnTx/>
                <a:uFillTx/>
                <a:latin typeface="Open Sans"/>
                <a:ea typeface="+mn-ea"/>
                <a:cs typeface="+mn-cs"/>
              </a:rPr>
              <a:t>We have provided globally optimal solution for the Audit Team which enabled better allocation of resources for engagements and significantly reduced the time needed for determining the distribution of resources to individual engagements.</a:t>
            </a:r>
          </a:p>
        </p:txBody>
      </p:sp>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0" i="0" u="none" strike="noStrike" kern="0" cap="none" spc="-75"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WORKFORCE ALLOCATION OPTIMIZATION</a:t>
            </a: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entral European Auditor</a:t>
            </a:r>
            <a:r>
              <a:rPr kumimoji="0" lang="hu-HU"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202</a:t>
            </a:r>
            <a:r>
              <a:rPr kumimoji="0" lang="en-US" sz="1400" b="0" i="0" u="none" strike="noStrike" kern="0" cap="none" spc="0" normalizeH="0" baseline="0" noProof="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8870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F2AABC22-0810-85FC-BD51-093C711A923E}"/>
              </a:ext>
            </a:extLst>
          </p:cNvPr>
          <p:cNvGraphicFramePr>
            <a:graphicFrameLocks noChangeAspect="1"/>
          </p:cNvGraphicFramePr>
          <p:nvPr>
            <p:custDataLst>
              <p:tags r:id="rId1"/>
            </p:custDataLst>
            <p:extLst>
              <p:ext uri="{D42A27DB-BD31-4B8C-83A1-F6EECF244321}">
                <p14:modId xmlns:p14="http://schemas.microsoft.com/office/powerpoint/2010/main" val="37945390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4" name="Object 33" hidden="1">
                        <a:extLst>
                          <a:ext uri="{FF2B5EF4-FFF2-40B4-BE49-F238E27FC236}">
                            <a16:creationId xmlns:a16="http://schemas.microsoft.com/office/drawing/2014/main" id="{F2AABC22-0810-85FC-BD51-093C711A923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215E7AF-A334-EFBF-EE48-5F01636F176F}"/>
              </a:ext>
            </a:extLst>
          </p:cNvPr>
          <p:cNvGrpSpPr/>
          <p:nvPr/>
        </p:nvGrpSpPr>
        <p:grpSpPr>
          <a:xfrm>
            <a:off x="8879717" y="3602638"/>
            <a:ext cx="3321336" cy="3255362"/>
            <a:chOff x="8870665" y="3602870"/>
            <a:chExt cx="3321336" cy="3255362"/>
          </a:xfrm>
        </p:grpSpPr>
        <p:sp>
          <p:nvSpPr>
            <p:cNvPr id="31" name="Freeform 80">
              <a:extLst>
                <a:ext uri="{FF2B5EF4-FFF2-40B4-BE49-F238E27FC236}">
                  <a16:creationId xmlns:a16="http://schemas.microsoft.com/office/drawing/2014/main" id="{EAA47266-D7F8-523B-6D46-87AD9D3BBEAB}"/>
                </a:ext>
              </a:extLst>
            </p:cNvPr>
            <p:cNvSpPr/>
            <p:nvPr/>
          </p:nvSpPr>
          <p:spPr>
            <a:xfrm flipH="1" flipV="1">
              <a:off x="9430185" y="6721294"/>
              <a:ext cx="284398" cy="136706"/>
            </a:xfrm>
            <a:custGeom>
              <a:avLst/>
              <a:gdLst>
                <a:gd name="connsiteX0" fmla="*/ 151810 w 284398"/>
                <a:gd name="connsiteY0" fmla="*/ 136706 h 136706"/>
                <a:gd name="connsiteX1" fmla="*/ 143648 w 284398"/>
                <a:gd name="connsiteY1" fmla="*/ 123076 h 136706"/>
                <a:gd name="connsiteX2" fmla="*/ 119163 w 284398"/>
                <a:gd name="connsiteY2" fmla="*/ 114898 h 136706"/>
                <a:gd name="connsiteX3" fmla="*/ 94677 w 284398"/>
                <a:gd name="connsiteY3" fmla="*/ 125257 h 136706"/>
                <a:gd name="connsiteX4" fmla="*/ 76177 w 284398"/>
                <a:gd name="connsiteY4" fmla="*/ 121440 h 136706"/>
                <a:gd name="connsiteX5" fmla="*/ 61486 w 284398"/>
                <a:gd name="connsiteY5" fmla="*/ 114898 h 136706"/>
                <a:gd name="connsiteX6" fmla="*/ 40265 w 284398"/>
                <a:gd name="connsiteY6" fmla="*/ 119259 h 136706"/>
                <a:gd name="connsiteX7" fmla="*/ 30471 w 284398"/>
                <a:gd name="connsiteY7" fmla="*/ 97451 h 136706"/>
                <a:gd name="connsiteX8" fmla="*/ 20677 w 284398"/>
                <a:gd name="connsiteY8" fmla="*/ 77279 h 136706"/>
                <a:gd name="connsiteX9" fmla="*/ 13059 w 284398"/>
                <a:gd name="connsiteY9" fmla="*/ 54925 h 136706"/>
                <a:gd name="connsiteX10" fmla="*/ 10882 w 284398"/>
                <a:gd name="connsiteY10" fmla="*/ 36934 h 136706"/>
                <a:gd name="connsiteX11" fmla="*/ 0 w 284398"/>
                <a:gd name="connsiteY11" fmla="*/ 8583 h 136706"/>
                <a:gd name="connsiteX12" fmla="*/ 514 w 284398"/>
                <a:gd name="connsiteY12" fmla="*/ 0 h 136706"/>
                <a:gd name="connsiteX13" fmla="*/ 284398 w 284398"/>
                <a:gd name="connsiteY13" fmla="*/ 0 h 136706"/>
                <a:gd name="connsiteX14" fmla="*/ 278591 w 284398"/>
                <a:gd name="connsiteY14" fmla="*/ 8583 h 136706"/>
                <a:gd name="connsiteX15" fmla="*/ 244311 w 284398"/>
                <a:gd name="connsiteY15" fmla="*/ 41840 h 136706"/>
                <a:gd name="connsiteX16" fmla="*/ 220370 w 284398"/>
                <a:gd name="connsiteY16" fmla="*/ 47838 h 136706"/>
                <a:gd name="connsiteX17" fmla="*/ 204046 w 284398"/>
                <a:gd name="connsiteY17" fmla="*/ 65829 h 136706"/>
                <a:gd name="connsiteX18" fmla="*/ 186090 w 284398"/>
                <a:gd name="connsiteY18" fmla="*/ 77824 h 136706"/>
                <a:gd name="connsiteX19" fmla="*/ 177928 w 284398"/>
                <a:gd name="connsiteY19" fmla="*/ 100722 h 136706"/>
                <a:gd name="connsiteX20" fmla="*/ 173031 w 284398"/>
                <a:gd name="connsiteY20" fmla="*/ 121985 h 136706"/>
                <a:gd name="connsiteX21" fmla="*/ 167590 w 284398"/>
                <a:gd name="connsiteY21" fmla="*/ 135070 h 136706"/>
                <a:gd name="connsiteX22" fmla="*/ 151810 w 284398"/>
                <a:gd name="connsiteY22" fmla="*/ 136706 h 13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398" h="136706">
                  <a:moveTo>
                    <a:pt x="151810" y="136706"/>
                  </a:moveTo>
                  <a:lnTo>
                    <a:pt x="143648" y="123076"/>
                  </a:lnTo>
                  <a:lnTo>
                    <a:pt x="119163" y="114898"/>
                  </a:lnTo>
                  <a:lnTo>
                    <a:pt x="94677" y="125257"/>
                  </a:lnTo>
                  <a:lnTo>
                    <a:pt x="76177" y="121440"/>
                  </a:lnTo>
                  <a:lnTo>
                    <a:pt x="61486" y="114898"/>
                  </a:lnTo>
                  <a:lnTo>
                    <a:pt x="40265" y="119259"/>
                  </a:lnTo>
                  <a:lnTo>
                    <a:pt x="30471" y="97451"/>
                  </a:lnTo>
                  <a:lnTo>
                    <a:pt x="20677" y="77279"/>
                  </a:lnTo>
                  <a:lnTo>
                    <a:pt x="13059" y="54925"/>
                  </a:lnTo>
                  <a:lnTo>
                    <a:pt x="10882" y="36934"/>
                  </a:lnTo>
                  <a:lnTo>
                    <a:pt x="0" y="8583"/>
                  </a:lnTo>
                  <a:lnTo>
                    <a:pt x="514" y="0"/>
                  </a:lnTo>
                  <a:lnTo>
                    <a:pt x="284398" y="0"/>
                  </a:lnTo>
                  <a:lnTo>
                    <a:pt x="278591" y="8583"/>
                  </a:lnTo>
                  <a:lnTo>
                    <a:pt x="244311" y="41840"/>
                  </a:lnTo>
                  <a:lnTo>
                    <a:pt x="220370" y="47838"/>
                  </a:lnTo>
                  <a:lnTo>
                    <a:pt x="204046" y="65829"/>
                  </a:lnTo>
                  <a:lnTo>
                    <a:pt x="186090" y="77824"/>
                  </a:lnTo>
                  <a:lnTo>
                    <a:pt x="177928" y="100722"/>
                  </a:lnTo>
                  <a:lnTo>
                    <a:pt x="173031" y="121985"/>
                  </a:lnTo>
                  <a:lnTo>
                    <a:pt x="167590" y="135070"/>
                  </a:lnTo>
                  <a:lnTo>
                    <a:pt x="151810" y="1367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81">
              <a:extLst>
                <a:ext uri="{FF2B5EF4-FFF2-40B4-BE49-F238E27FC236}">
                  <a16:creationId xmlns:a16="http://schemas.microsoft.com/office/drawing/2014/main" id="{67C10D26-0EF3-EBF0-1D9A-803DCDE3164A}"/>
                </a:ext>
              </a:extLst>
            </p:cNvPr>
            <p:cNvSpPr>
              <a:spLocks/>
            </p:cNvSpPr>
            <p:nvPr/>
          </p:nvSpPr>
          <p:spPr bwMode="auto">
            <a:xfrm>
              <a:off x="11450182" y="5723872"/>
              <a:ext cx="741819" cy="748082"/>
            </a:xfrm>
            <a:custGeom>
              <a:avLst/>
              <a:gdLst>
                <a:gd name="connsiteX0" fmla="*/ 741819 w 741819"/>
                <a:gd name="connsiteY0" fmla="*/ 0 h 748082"/>
                <a:gd name="connsiteX1" fmla="*/ 741819 w 741819"/>
                <a:gd name="connsiteY1" fmla="*/ 748082 h 748082"/>
                <a:gd name="connsiteX2" fmla="*/ 740256 w 741819"/>
                <a:gd name="connsiteY2" fmla="*/ 747849 h 748082"/>
                <a:gd name="connsiteX3" fmla="*/ 722877 w 741819"/>
                <a:gd name="connsiteY3" fmla="*/ 727682 h 748082"/>
                <a:gd name="connsiteX4" fmla="*/ 716903 w 741819"/>
                <a:gd name="connsiteY4" fmla="*/ 708060 h 748082"/>
                <a:gd name="connsiteX5" fmla="*/ 699523 w 741819"/>
                <a:gd name="connsiteY5" fmla="*/ 682443 h 748082"/>
                <a:gd name="connsiteX6" fmla="*/ 698980 w 741819"/>
                <a:gd name="connsiteY6" fmla="*/ 652465 h 748082"/>
                <a:gd name="connsiteX7" fmla="*/ 679428 w 741819"/>
                <a:gd name="connsiteY7" fmla="*/ 635569 h 748082"/>
                <a:gd name="connsiteX8" fmla="*/ 661506 w 741819"/>
                <a:gd name="connsiteY8" fmla="*/ 614857 h 748082"/>
                <a:gd name="connsiteX9" fmla="*/ 634350 w 741819"/>
                <a:gd name="connsiteY9" fmla="*/ 609951 h 748082"/>
                <a:gd name="connsiteX10" fmla="*/ 601221 w 741819"/>
                <a:gd name="connsiteY10" fmla="*/ 621942 h 748082"/>
                <a:gd name="connsiteX11" fmla="*/ 569177 w 741819"/>
                <a:gd name="connsiteY11" fmla="*/ 619217 h 748082"/>
                <a:gd name="connsiteX12" fmla="*/ 540393 w 741819"/>
                <a:gd name="connsiteY12" fmla="*/ 617037 h 748082"/>
                <a:gd name="connsiteX13" fmla="*/ 513237 w 741819"/>
                <a:gd name="connsiteY13" fmla="*/ 600685 h 748082"/>
                <a:gd name="connsiteX14" fmla="*/ 513237 w 741819"/>
                <a:gd name="connsiteY14" fmla="*/ 582154 h 748082"/>
                <a:gd name="connsiteX15" fmla="*/ 531160 w 741819"/>
                <a:gd name="connsiteY15" fmla="*/ 556536 h 748082"/>
                <a:gd name="connsiteX16" fmla="*/ 546910 w 741819"/>
                <a:gd name="connsiteY16" fmla="*/ 518928 h 748082"/>
                <a:gd name="connsiteX17" fmla="*/ 519755 w 741819"/>
                <a:gd name="connsiteY17" fmla="*/ 516748 h 748082"/>
                <a:gd name="connsiteX18" fmla="*/ 526815 w 741819"/>
                <a:gd name="connsiteY18" fmla="*/ 486770 h 748082"/>
                <a:gd name="connsiteX19" fmla="*/ 533332 w 741819"/>
                <a:gd name="connsiteY19" fmla="*/ 467693 h 748082"/>
                <a:gd name="connsiteX20" fmla="*/ 519755 w 741819"/>
                <a:gd name="connsiteY20" fmla="*/ 454067 h 748082"/>
                <a:gd name="connsiteX21" fmla="*/ 493142 w 741819"/>
                <a:gd name="connsiteY21" fmla="*/ 460608 h 748082"/>
                <a:gd name="connsiteX22" fmla="*/ 467616 w 741819"/>
                <a:gd name="connsiteY22" fmla="*/ 475324 h 748082"/>
                <a:gd name="connsiteX23" fmla="*/ 444806 w 741819"/>
                <a:gd name="connsiteY23" fmla="*/ 499306 h 748082"/>
                <a:gd name="connsiteX24" fmla="*/ 416564 w 741819"/>
                <a:gd name="connsiteY24" fmla="*/ 516748 h 748082"/>
                <a:gd name="connsiteX25" fmla="*/ 430142 w 741819"/>
                <a:gd name="connsiteY25" fmla="*/ 539640 h 748082"/>
                <a:gd name="connsiteX26" fmla="*/ 406788 w 741819"/>
                <a:gd name="connsiteY26" fmla="*/ 536915 h 748082"/>
                <a:gd name="connsiteX27" fmla="*/ 385064 w 741819"/>
                <a:gd name="connsiteY27" fmla="*/ 542365 h 748082"/>
                <a:gd name="connsiteX28" fmla="*/ 368227 w 741819"/>
                <a:gd name="connsiteY28" fmla="*/ 549996 h 748082"/>
                <a:gd name="connsiteX29" fmla="*/ 348675 w 741819"/>
                <a:gd name="connsiteY29" fmla="*/ 559262 h 748082"/>
                <a:gd name="connsiteX30" fmla="*/ 343244 w 741819"/>
                <a:gd name="connsiteY30" fmla="*/ 590875 h 748082"/>
                <a:gd name="connsiteX31" fmla="*/ 349762 w 741819"/>
                <a:gd name="connsiteY31" fmla="*/ 606681 h 748082"/>
                <a:gd name="connsiteX32" fmla="*/ 342158 w 741819"/>
                <a:gd name="connsiteY32" fmla="*/ 643199 h 748082"/>
                <a:gd name="connsiteX33" fmla="*/ 355193 w 741819"/>
                <a:gd name="connsiteY33" fmla="*/ 670452 h 748082"/>
                <a:gd name="connsiteX34" fmla="*/ 351391 w 741819"/>
                <a:gd name="connsiteY34" fmla="*/ 703155 h 748082"/>
                <a:gd name="connsiteX35" fmla="*/ 349762 w 741819"/>
                <a:gd name="connsiteY35" fmla="*/ 729317 h 748082"/>
                <a:gd name="connsiteX36" fmla="*/ 322063 w 741819"/>
                <a:gd name="connsiteY36" fmla="*/ 738038 h 748082"/>
                <a:gd name="connsiteX37" fmla="*/ 299253 w 741819"/>
                <a:gd name="connsiteY37" fmla="*/ 710240 h 748082"/>
                <a:gd name="connsiteX38" fmla="*/ 286218 w 741819"/>
                <a:gd name="connsiteY38" fmla="*/ 688983 h 748082"/>
                <a:gd name="connsiteX39" fmla="*/ 261235 w 741819"/>
                <a:gd name="connsiteY39" fmla="*/ 686803 h 748082"/>
                <a:gd name="connsiteX40" fmla="*/ 236252 w 741819"/>
                <a:gd name="connsiteY40" fmla="*/ 700429 h 748082"/>
                <a:gd name="connsiteX41" fmla="*/ 225933 w 741819"/>
                <a:gd name="connsiteY41" fmla="*/ 721141 h 748082"/>
                <a:gd name="connsiteX42" fmla="*/ 210183 w 741819"/>
                <a:gd name="connsiteY42" fmla="*/ 726592 h 748082"/>
                <a:gd name="connsiteX43" fmla="*/ 211812 w 741819"/>
                <a:gd name="connsiteY43" fmla="*/ 694979 h 748082"/>
                <a:gd name="connsiteX44" fmla="*/ 221045 w 741819"/>
                <a:gd name="connsiteY44" fmla="*/ 675357 h 748082"/>
                <a:gd name="connsiteX45" fmla="*/ 203122 w 741819"/>
                <a:gd name="connsiteY45" fmla="*/ 666091 h 748082"/>
                <a:gd name="connsiteX46" fmla="*/ 180312 w 741819"/>
                <a:gd name="connsiteY46" fmla="*/ 654100 h 748082"/>
                <a:gd name="connsiteX47" fmla="*/ 172165 w 741819"/>
                <a:gd name="connsiteY47" fmla="*/ 631753 h 748082"/>
                <a:gd name="connsiteX48" fmla="*/ 157501 w 741819"/>
                <a:gd name="connsiteY48" fmla="*/ 608316 h 748082"/>
                <a:gd name="connsiteX49" fmla="*/ 134691 w 741819"/>
                <a:gd name="connsiteY49" fmla="*/ 587604 h 748082"/>
                <a:gd name="connsiteX50" fmla="*/ 134691 w 741819"/>
                <a:gd name="connsiteY50" fmla="*/ 564167 h 748082"/>
                <a:gd name="connsiteX51" fmla="*/ 160217 w 741819"/>
                <a:gd name="connsiteY51" fmla="*/ 565802 h 748082"/>
                <a:gd name="connsiteX52" fmla="*/ 162389 w 741819"/>
                <a:gd name="connsiteY52" fmla="*/ 551631 h 748082"/>
                <a:gd name="connsiteX53" fmla="*/ 171622 w 741819"/>
                <a:gd name="connsiteY53" fmla="*/ 540185 h 748082"/>
                <a:gd name="connsiteX54" fmla="*/ 191717 w 741819"/>
                <a:gd name="connsiteY54" fmla="*/ 538005 h 748082"/>
                <a:gd name="connsiteX55" fmla="*/ 218873 w 741819"/>
                <a:gd name="connsiteY55" fmla="*/ 540730 h 748082"/>
                <a:gd name="connsiteX56" fmla="*/ 238968 w 741819"/>
                <a:gd name="connsiteY56" fmla="*/ 538005 h 748082"/>
                <a:gd name="connsiteX57" fmla="*/ 241140 w 741819"/>
                <a:gd name="connsiteY57" fmla="*/ 515658 h 748082"/>
                <a:gd name="connsiteX58" fmla="*/ 227562 w 741819"/>
                <a:gd name="connsiteY58" fmla="*/ 502576 h 748082"/>
                <a:gd name="connsiteX59" fmla="*/ 225390 w 741819"/>
                <a:gd name="connsiteY59" fmla="*/ 479684 h 748082"/>
                <a:gd name="connsiteX60" fmla="*/ 229735 w 741819"/>
                <a:gd name="connsiteY60" fmla="*/ 460608 h 748082"/>
                <a:gd name="connsiteX61" fmla="*/ 213985 w 741819"/>
                <a:gd name="connsiteY61" fmla="*/ 449162 h 748082"/>
                <a:gd name="connsiteX62" fmla="*/ 191717 w 741819"/>
                <a:gd name="connsiteY62" fmla="*/ 456247 h 748082"/>
                <a:gd name="connsiteX63" fmla="*/ 167277 w 741819"/>
                <a:gd name="connsiteY63" fmla="*/ 446981 h 748082"/>
                <a:gd name="connsiteX64" fmla="*/ 133605 w 741819"/>
                <a:gd name="connsiteY64" fmla="*/ 465513 h 748082"/>
                <a:gd name="connsiteX65" fmla="*/ 115682 w 741819"/>
                <a:gd name="connsiteY65" fmla="*/ 471509 h 748082"/>
                <a:gd name="connsiteX66" fmla="*/ 92328 w 741819"/>
                <a:gd name="connsiteY66" fmla="*/ 495491 h 748082"/>
                <a:gd name="connsiteX67" fmla="*/ 82552 w 741819"/>
                <a:gd name="connsiteY67" fmla="*/ 479139 h 748082"/>
                <a:gd name="connsiteX68" fmla="*/ 79837 w 741819"/>
                <a:gd name="connsiteY68" fmla="*/ 457882 h 748082"/>
                <a:gd name="connsiteX69" fmla="*/ 63544 w 741819"/>
                <a:gd name="connsiteY69" fmla="*/ 427360 h 748082"/>
                <a:gd name="connsiteX70" fmla="*/ 32043 w 741819"/>
                <a:gd name="connsiteY70" fmla="*/ 420274 h 748082"/>
                <a:gd name="connsiteX71" fmla="*/ 14664 w 741819"/>
                <a:gd name="connsiteY71" fmla="*/ 409373 h 748082"/>
                <a:gd name="connsiteX72" fmla="*/ 13035 w 741819"/>
                <a:gd name="connsiteY72" fmla="*/ 387571 h 748082"/>
                <a:gd name="connsiteX73" fmla="*/ 0 w 741819"/>
                <a:gd name="connsiteY73" fmla="*/ 361954 h 748082"/>
                <a:gd name="connsiteX74" fmla="*/ 4345 w 741819"/>
                <a:gd name="connsiteY74" fmla="*/ 337426 h 748082"/>
                <a:gd name="connsiteX75" fmla="*/ 4888 w 741819"/>
                <a:gd name="connsiteY75" fmla="*/ 315624 h 748082"/>
                <a:gd name="connsiteX76" fmla="*/ 17923 w 741819"/>
                <a:gd name="connsiteY76" fmla="*/ 294367 h 748082"/>
                <a:gd name="connsiteX77" fmla="*/ 29328 w 741819"/>
                <a:gd name="connsiteY77" fmla="*/ 263845 h 748082"/>
                <a:gd name="connsiteX78" fmla="*/ 72776 w 741819"/>
                <a:gd name="connsiteY78" fmla="*/ 300908 h 748082"/>
                <a:gd name="connsiteX79" fmla="*/ 70061 w 741819"/>
                <a:gd name="connsiteY79" fmla="*/ 245858 h 748082"/>
                <a:gd name="connsiteX80" fmla="*/ 94501 w 741819"/>
                <a:gd name="connsiteY80" fmla="*/ 232232 h 748082"/>
                <a:gd name="connsiteX81" fmla="*/ 114053 w 741819"/>
                <a:gd name="connsiteY81" fmla="*/ 209885 h 748082"/>
                <a:gd name="connsiteX82" fmla="*/ 148269 w 741819"/>
                <a:gd name="connsiteY82" fmla="*/ 183177 h 748082"/>
                <a:gd name="connsiteX83" fmla="*/ 169450 w 741819"/>
                <a:gd name="connsiteY83" fmla="*/ 204434 h 748082"/>
                <a:gd name="connsiteX84" fmla="*/ 206924 w 741819"/>
                <a:gd name="connsiteY84" fmla="*/ 186993 h 748082"/>
                <a:gd name="connsiteX85" fmla="*/ 250373 w 741819"/>
                <a:gd name="connsiteY85" fmla="*/ 214790 h 748082"/>
                <a:gd name="connsiteX86" fmla="*/ 274813 w 741819"/>
                <a:gd name="connsiteY86" fmla="*/ 245313 h 748082"/>
                <a:gd name="connsiteX87" fmla="*/ 300882 w 741819"/>
                <a:gd name="connsiteY87" fmla="*/ 244223 h 748082"/>
                <a:gd name="connsiteX88" fmla="*/ 356279 w 741819"/>
                <a:gd name="connsiteY88" fmla="*/ 232777 h 748082"/>
                <a:gd name="connsiteX89" fmla="*/ 369857 w 741819"/>
                <a:gd name="connsiteY89" fmla="*/ 246948 h 748082"/>
                <a:gd name="connsiteX90" fmla="*/ 391038 w 741819"/>
                <a:gd name="connsiteY90" fmla="*/ 230597 h 748082"/>
                <a:gd name="connsiteX91" fmla="*/ 414935 w 741819"/>
                <a:gd name="connsiteY91" fmla="*/ 230597 h 748082"/>
                <a:gd name="connsiteX92" fmla="*/ 426883 w 741819"/>
                <a:gd name="connsiteY92" fmla="*/ 219696 h 748082"/>
                <a:gd name="connsiteX93" fmla="*/ 441004 w 741819"/>
                <a:gd name="connsiteY93" fmla="*/ 240953 h 748082"/>
                <a:gd name="connsiteX94" fmla="*/ 465987 w 741819"/>
                <a:gd name="connsiteY94" fmla="*/ 249128 h 748082"/>
                <a:gd name="connsiteX95" fmla="*/ 481737 w 741819"/>
                <a:gd name="connsiteY95" fmla="*/ 232777 h 748082"/>
                <a:gd name="connsiteX96" fmla="*/ 503461 w 741819"/>
                <a:gd name="connsiteY96" fmla="*/ 240408 h 748082"/>
                <a:gd name="connsiteX97" fmla="*/ 523013 w 741819"/>
                <a:gd name="connsiteY97" fmla="*/ 235502 h 748082"/>
                <a:gd name="connsiteX98" fmla="*/ 540393 w 741819"/>
                <a:gd name="connsiteY98" fmla="*/ 229507 h 748082"/>
                <a:gd name="connsiteX99" fmla="*/ 539306 w 741819"/>
                <a:gd name="connsiteY99" fmla="*/ 211520 h 748082"/>
                <a:gd name="connsiteX100" fmla="*/ 527901 w 741819"/>
                <a:gd name="connsiteY100" fmla="*/ 197894 h 748082"/>
                <a:gd name="connsiteX101" fmla="*/ 489884 w 741819"/>
                <a:gd name="connsiteY101" fmla="*/ 171731 h 748082"/>
                <a:gd name="connsiteX102" fmla="*/ 516496 w 741819"/>
                <a:gd name="connsiteY102" fmla="*/ 152655 h 748082"/>
                <a:gd name="connsiteX103" fmla="*/ 515953 w 741819"/>
                <a:gd name="connsiteY103" fmla="*/ 134123 h 748082"/>
                <a:gd name="connsiteX104" fmla="*/ 519755 w 741819"/>
                <a:gd name="connsiteY104" fmla="*/ 113411 h 748082"/>
                <a:gd name="connsiteX105" fmla="*/ 552341 w 741819"/>
                <a:gd name="connsiteY105" fmla="*/ 109596 h 748082"/>
                <a:gd name="connsiteX106" fmla="*/ 530617 w 741819"/>
                <a:gd name="connsiteY106" fmla="*/ 88884 h 748082"/>
                <a:gd name="connsiteX107" fmla="*/ 516496 w 741819"/>
                <a:gd name="connsiteY107" fmla="*/ 60541 h 748082"/>
                <a:gd name="connsiteX108" fmla="*/ 553970 w 741819"/>
                <a:gd name="connsiteY108" fmla="*/ 42555 h 748082"/>
                <a:gd name="connsiteX109" fmla="*/ 603936 w 741819"/>
                <a:gd name="connsiteY109" fmla="*/ 44735 h 748082"/>
                <a:gd name="connsiteX110" fmla="*/ 656618 w 741819"/>
                <a:gd name="connsiteY110" fmla="*/ 34924 h 748082"/>
                <a:gd name="connsiteX111" fmla="*/ 687575 w 741819"/>
                <a:gd name="connsiteY111" fmla="*/ 8761 h 748082"/>
                <a:gd name="connsiteX112" fmla="*/ 727765 w 741819"/>
                <a:gd name="connsiteY112" fmla="*/ 6581 h 748082"/>
                <a:gd name="connsiteX113" fmla="*/ 741819 w 741819"/>
                <a:gd name="connsiteY113" fmla="*/ 0 h 74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41819" h="748082">
                  <a:moveTo>
                    <a:pt x="741819" y="0"/>
                  </a:moveTo>
                  <a:lnTo>
                    <a:pt x="741819" y="748082"/>
                  </a:lnTo>
                  <a:lnTo>
                    <a:pt x="740256" y="747849"/>
                  </a:lnTo>
                  <a:lnTo>
                    <a:pt x="722877" y="727682"/>
                  </a:lnTo>
                  <a:lnTo>
                    <a:pt x="716903" y="708060"/>
                  </a:lnTo>
                  <a:lnTo>
                    <a:pt x="699523" y="682443"/>
                  </a:lnTo>
                  <a:lnTo>
                    <a:pt x="698980" y="652465"/>
                  </a:lnTo>
                  <a:lnTo>
                    <a:pt x="679428" y="635569"/>
                  </a:lnTo>
                  <a:lnTo>
                    <a:pt x="661506" y="614857"/>
                  </a:lnTo>
                  <a:lnTo>
                    <a:pt x="634350" y="609951"/>
                  </a:lnTo>
                  <a:lnTo>
                    <a:pt x="601221" y="621942"/>
                  </a:lnTo>
                  <a:lnTo>
                    <a:pt x="569177" y="619217"/>
                  </a:lnTo>
                  <a:lnTo>
                    <a:pt x="540393" y="617037"/>
                  </a:lnTo>
                  <a:lnTo>
                    <a:pt x="513237" y="600685"/>
                  </a:lnTo>
                  <a:lnTo>
                    <a:pt x="513237" y="582154"/>
                  </a:lnTo>
                  <a:lnTo>
                    <a:pt x="531160" y="556536"/>
                  </a:lnTo>
                  <a:lnTo>
                    <a:pt x="546910" y="518928"/>
                  </a:lnTo>
                  <a:lnTo>
                    <a:pt x="519755" y="516748"/>
                  </a:lnTo>
                  <a:lnTo>
                    <a:pt x="526815" y="486770"/>
                  </a:lnTo>
                  <a:lnTo>
                    <a:pt x="533332" y="467693"/>
                  </a:lnTo>
                  <a:lnTo>
                    <a:pt x="519755" y="454067"/>
                  </a:lnTo>
                  <a:lnTo>
                    <a:pt x="493142" y="460608"/>
                  </a:lnTo>
                  <a:lnTo>
                    <a:pt x="467616" y="475324"/>
                  </a:lnTo>
                  <a:lnTo>
                    <a:pt x="444806" y="499306"/>
                  </a:lnTo>
                  <a:lnTo>
                    <a:pt x="416564" y="516748"/>
                  </a:lnTo>
                  <a:lnTo>
                    <a:pt x="430142" y="539640"/>
                  </a:lnTo>
                  <a:lnTo>
                    <a:pt x="406788" y="536915"/>
                  </a:lnTo>
                  <a:lnTo>
                    <a:pt x="385064" y="542365"/>
                  </a:lnTo>
                  <a:lnTo>
                    <a:pt x="368227" y="549996"/>
                  </a:lnTo>
                  <a:lnTo>
                    <a:pt x="348675" y="559262"/>
                  </a:lnTo>
                  <a:lnTo>
                    <a:pt x="343244" y="590875"/>
                  </a:lnTo>
                  <a:lnTo>
                    <a:pt x="349762" y="606681"/>
                  </a:lnTo>
                  <a:lnTo>
                    <a:pt x="342158" y="643199"/>
                  </a:lnTo>
                  <a:lnTo>
                    <a:pt x="355193" y="670452"/>
                  </a:lnTo>
                  <a:lnTo>
                    <a:pt x="351391" y="703155"/>
                  </a:lnTo>
                  <a:lnTo>
                    <a:pt x="349762" y="729317"/>
                  </a:lnTo>
                  <a:lnTo>
                    <a:pt x="322063" y="738038"/>
                  </a:lnTo>
                  <a:lnTo>
                    <a:pt x="299253" y="710240"/>
                  </a:lnTo>
                  <a:lnTo>
                    <a:pt x="286218" y="688983"/>
                  </a:lnTo>
                  <a:lnTo>
                    <a:pt x="261235" y="686803"/>
                  </a:lnTo>
                  <a:lnTo>
                    <a:pt x="236252" y="700429"/>
                  </a:lnTo>
                  <a:lnTo>
                    <a:pt x="225933" y="721141"/>
                  </a:lnTo>
                  <a:lnTo>
                    <a:pt x="210183" y="726592"/>
                  </a:lnTo>
                  <a:lnTo>
                    <a:pt x="211812" y="694979"/>
                  </a:lnTo>
                  <a:lnTo>
                    <a:pt x="221045" y="675357"/>
                  </a:lnTo>
                  <a:lnTo>
                    <a:pt x="203122" y="666091"/>
                  </a:lnTo>
                  <a:lnTo>
                    <a:pt x="180312" y="654100"/>
                  </a:lnTo>
                  <a:lnTo>
                    <a:pt x="172165" y="631753"/>
                  </a:lnTo>
                  <a:lnTo>
                    <a:pt x="157501" y="608316"/>
                  </a:lnTo>
                  <a:lnTo>
                    <a:pt x="134691" y="587604"/>
                  </a:lnTo>
                  <a:lnTo>
                    <a:pt x="134691" y="564167"/>
                  </a:lnTo>
                  <a:lnTo>
                    <a:pt x="160217" y="565802"/>
                  </a:lnTo>
                  <a:lnTo>
                    <a:pt x="162389" y="551631"/>
                  </a:lnTo>
                  <a:lnTo>
                    <a:pt x="171622" y="540185"/>
                  </a:lnTo>
                  <a:lnTo>
                    <a:pt x="191717" y="538005"/>
                  </a:lnTo>
                  <a:lnTo>
                    <a:pt x="218873" y="540730"/>
                  </a:lnTo>
                  <a:lnTo>
                    <a:pt x="238968" y="538005"/>
                  </a:lnTo>
                  <a:lnTo>
                    <a:pt x="241140" y="515658"/>
                  </a:lnTo>
                  <a:lnTo>
                    <a:pt x="227562" y="502576"/>
                  </a:lnTo>
                  <a:lnTo>
                    <a:pt x="225390" y="479684"/>
                  </a:lnTo>
                  <a:lnTo>
                    <a:pt x="229735" y="460608"/>
                  </a:lnTo>
                  <a:lnTo>
                    <a:pt x="213985" y="449162"/>
                  </a:lnTo>
                  <a:lnTo>
                    <a:pt x="191717" y="456247"/>
                  </a:lnTo>
                  <a:lnTo>
                    <a:pt x="167277" y="446981"/>
                  </a:lnTo>
                  <a:lnTo>
                    <a:pt x="133605" y="465513"/>
                  </a:lnTo>
                  <a:lnTo>
                    <a:pt x="115682" y="471509"/>
                  </a:lnTo>
                  <a:lnTo>
                    <a:pt x="92328" y="495491"/>
                  </a:lnTo>
                  <a:lnTo>
                    <a:pt x="82552" y="479139"/>
                  </a:lnTo>
                  <a:lnTo>
                    <a:pt x="79837" y="457882"/>
                  </a:lnTo>
                  <a:lnTo>
                    <a:pt x="63544" y="427360"/>
                  </a:lnTo>
                  <a:lnTo>
                    <a:pt x="32043" y="420274"/>
                  </a:lnTo>
                  <a:lnTo>
                    <a:pt x="14664" y="409373"/>
                  </a:lnTo>
                  <a:lnTo>
                    <a:pt x="13035" y="387571"/>
                  </a:lnTo>
                  <a:lnTo>
                    <a:pt x="0" y="361954"/>
                  </a:lnTo>
                  <a:lnTo>
                    <a:pt x="4345" y="337426"/>
                  </a:lnTo>
                  <a:lnTo>
                    <a:pt x="4888" y="315624"/>
                  </a:lnTo>
                  <a:lnTo>
                    <a:pt x="17923" y="294367"/>
                  </a:lnTo>
                  <a:lnTo>
                    <a:pt x="29328" y="263845"/>
                  </a:lnTo>
                  <a:lnTo>
                    <a:pt x="72776" y="300908"/>
                  </a:lnTo>
                  <a:lnTo>
                    <a:pt x="70061" y="245858"/>
                  </a:lnTo>
                  <a:lnTo>
                    <a:pt x="94501" y="232232"/>
                  </a:lnTo>
                  <a:lnTo>
                    <a:pt x="114053" y="209885"/>
                  </a:lnTo>
                  <a:lnTo>
                    <a:pt x="148269" y="183177"/>
                  </a:lnTo>
                  <a:lnTo>
                    <a:pt x="169450" y="204434"/>
                  </a:lnTo>
                  <a:lnTo>
                    <a:pt x="206924" y="186993"/>
                  </a:lnTo>
                  <a:lnTo>
                    <a:pt x="250373" y="214790"/>
                  </a:lnTo>
                  <a:lnTo>
                    <a:pt x="274813" y="245313"/>
                  </a:lnTo>
                  <a:lnTo>
                    <a:pt x="300882" y="244223"/>
                  </a:lnTo>
                  <a:lnTo>
                    <a:pt x="356279" y="232777"/>
                  </a:lnTo>
                  <a:lnTo>
                    <a:pt x="369857" y="246948"/>
                  </a:lnTo>
                  <a:lnTo>
                    <a:pt x="391038" y="230597"/>
                  </a:lnTo>
                  <a:lnTo>
                    <a:pt x="414935" y="230597"/>
                  </a:lnTo>
                  <a:lnTo>
                    <a:pt x="426883" y="219696"/>
                  </a:lnTo>
                  <a:lnTo>
                    <a:pt x="441004" y="240953"/>
                  </a:lnTo>
                  <a:lnTo>
                    <a:pt x="465987" y="249128"/>
                  </a:lnTo>
                  <a:lnTo>
                    <a:pt x="481737" y="232777"/>
                  </a:lnTo>
                  <a:lnTo>
                    <a:pt x="503461" y="240408"/>
                  </a:lnTo>
                  <a:lnTo>
                    <a:pt x="523013" y="235502"/>
                  </a:lnTo>
                  <a:lnTo>
                    <a:pt x="540393" y="229507"/>
                  </a:lnTo>
                  <a:lnTo>
                    <a:pt x="539306" y="211520"/>
                  </a:lnTo>
                  <a:lnTo>
                    <a:pt x="527901" y="197894"/>
                  </a:lnTo>
                  <a:lnTo>
                    <a:pt x="489884" y="171731"/>
                  </a:lnTo>
                  <a:lnTo>
                    <a:pt x="516496" y="152655"/>
                  </a:lnTo>
                  <a:lnTo>
                    <a:pt x="515953" y="134123"/>
                  </a:lnTo>
                  <a:lnTo>
                    <a:pt x="519755" y="113411"/>
                  </a:lnTo>
                  <a:lnTo>
                    <a:pt x="552341" y="109596"/>
                  </a:lnTo>
                  <a:lnTo>
                    <a:pt x="530617" y="88884"/>
                  </a:lnTo>
                  <a:lnTo>
                    <a:pt x="516496" y="60541"/>
                  </a:lnTo>
                  <a:lnTo>
                    <a:pt x="553970" y="42555"/>
                  </a:lnTo>
                  <a:lnTo>
                    <a:pt x="603936" y="44735"/>
                  </a:lnTo>
                  <a:lnTo>
                    <a:pt x="656618" y="34924"/>
                  </a:lnTo>
                  <a:lnTo>
                    <a:pt x="687575" y="8761"/>
                  </a:lnTo>
                  <a:lnTo>
                    <a:pt x="727765" y="6581"/>
                  </a:lnTo>
                  <a:lnTo>
                    <a:pt x="74181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82">
              <a:extLst>
                <a:ext uri="{FF2B5EF4-FFF2-40B4-BE49-F238E27FC236}">
                  <a16:creationId xmlns:a16="http://schemas.microsoft.com/office/drawing/2014/main" id="{58581C56-5FBD-B255-0253-E0C925C39CBB}"/>
                </a:ext>
              </a:extLst>
            </p:cNvPr>
            <p:cNvSpPr>
              <a:spLocks/>
            </p:cNvSpPr>
            <p:nvPr/>
          </p:nvSpPr>
          <p:spPr bwMode="auto">
            <a:xfrm>
              <a:off x="10042593" y="6654420"/>
              <a:ext cx="146491" cy="203581"/>
            </a:xfrm>
            <a:custGeom>
              <a:avLst/>
              <a:gdLst>
                <a:gd name="connsiteX0" fmla="*/ 77403 w 146491"/>
                <a:gd name="connsiteY0" fmla="*/ 0 h 203581"/>
                <a:gd name="connsiteX1" fmla="*/ 88322 w 146491"/>
                <a:gd name="connsiteY1" fmla="*/ 7824 h 203581"/>
                <a:gd name="connsiteX2" fmla="*/ 99300 w 146491"/>
                <a:gd name="connsiteY2" fmla="*/ 18855 h 203581"/>
                <a:gd name="connsiteX3" fmla="*/ 117544 w 146491"/>
                <a:gd name="connsiteY3" fmla="*/ 16720 h 203581"/>
                <a:gd name="connsiteX4" fmla="*/ 101188 w 146491"/>
                <a:gd name="connsiteY4" fmla="*/ 38074 h 203581"/>
                <a:gd name="connsiteX5" fmla="*/ 101537 w 146491"/>
                <a:gd name="connsiteY5" fmla="*/ 57321 h 203581"/>
                <a:gd name="connsiteX6" fmla="*/ 116987 w 146491"/>
                <a:gd name="connsiteY6" fmla="*/ 60249 h 203581"/>
                <a:gd name="connsiteX7" fmla="*/ 114258 w 146491"/>
                <a:gd name="connsiteY7" fmla="*/ 79551 h 203581"/>
                <a:gd name="connsiteX8" fmla="*/ 106853 w 146491"/>
                <a:gd name="connsiteY8" fmla="*/ 95729 h 203581"/>
                <a:gd name="connsiteX9" fmla="*/ 87049 w 146491"/>
                <a:gd name="connsiteY9" fmla="*/ 107319 h 203581"/>
                <a:gd name="connsiteX10" fmla="*/ 75852 w 146491"/>
                <a:gd name="connsiteY10" fmla="*/ 126575 h 203581"/>
                <a:gd name="connsiteX11" fmla="*/ 87660 w 146491"/>
                <a:gd name="connsiteY11" fmla="*/ 141000 h 203581"/>
                <a:gd name="connsiteX12" fmla="*/ 103139 w 146491"/>
                <a:gd name="connsiteY12" fmla="*/ 145532 h 203581"/>
                <a:gd name="connsiteX13" fmla="*/ 115684 w 146491"/>
                <a:gd name="connsiteY13" fmla="*/ 158140 h 203581"/>
                <a:gd name="connsiteX14" fmla="*/ 125311 w 146491"/>
                <a:gd name="connsiteY14" fmla="*/ 158366 h 203581"/>
                <a:gd name="connsiteX15" fmla="*/ 134215 w 146491"/>
                <a:gd name="connsiteY15" fmla="*/ 176615 h 203581"/>
                <a:gd name="connsiteX16" fmla="*/ 146491 w 146491"/>
                <a:gd name="connsiteY16" fmla="*/ 186434 h 203581"/>
                <a:gd name="connsiteX17" fmla="*/ 132859 w 146491"/>
                <a:gd name="connsiteY17" fmla="*/ 203581 h 203581"/>
                <a:gd name="connsiteX18" fmla="*/ 36110 w 146491"/>
                <a:gd name="connsiteY18" fmla="*/ 203581 h 203581"/>
                <a:gd name="connsiteX19" fmla="*/ 20460 w 146491"/>
                <a:gd name="connsiteY19" fmla="*/ 187252 h 203581"/>
                <a:gd name="connsiteX20" fmla="*/ 5729 w 146491"/>
                <a:gd name="connsiteY20" fmla="*/ 169250 h 203581"/>
                <a:gd name="connsiteX21" fmla="*/ 0 w 146491"/>
                <a:gd name="connsiteY21" fmla="*/ 143884 h 203581"/>
                <a:gd name="connsiteX22" fmla="*/ 9821 w 146491"/>
                <a:gd name="connsiteY22" fmla="*/ 132429 h 203581"/>
                <a:gd name="connsiteX23" fmla="*/ 7365 w 146491"/>
                <a:gd name="connsiteY23" fmla="*/ 116882 h 203581"/>
                <a:gd name="connsiteX24" fmla="*/ 12276 w 146491"/>
                <a:gd name="connsiteY24" fmla="*/ 57968 h 203581"/>
                <a:gd name="connsiteX25" fmla="*/ 22915 w 146491"/>
                <a:gd name="connsiteY25" fmla="*/ 35875 h 203581"/>
                <a:gd name="connsiteX26" fmla="*/ 25370 w 146491"/>
                <a:gd name="connsiteY26" fmla="*/ 14601 h 203581"/>
                <a:gd name="connsiteX27" fmla="*/ 63697 w 146491"/>
                <a:gd name="connsiteY27" fmla="*/ 8271 h 203581"/>
                <a:gd name="connsiteX28" fmla="*/ 77403 w 146491"/>
                <a:gd name="connsiteY28" fmla="*/ 0 h 2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6491" h="203581">
                  <a:moveTo>
                    <a:pt x="77403" y="0"/>
                  </a:moveTo>
                  <a:lnTo>
                    <a:pt x="88322" y="7824"/>
                  </a:lnTo>
                  <a:lnTo>
                    <a:pt x="99300" y="18855"/>
                  </a:lnTo>
                  <a:lnTo>
                    <a:pt x="117544" y="16720"/>
                  </a:lnTo>
                  <a:lnTo>
                    <a:pt x="101188" y="38074"/>
                  </a:lnTo>
                  <a:lnTo>
                    <a:pt x="101537" y="57321"/>
                  </a:lnTo>
                  <a:lnTo>
                    <a:pt x="116987" y="60249"/>
                  </a:lnTo>
                  <a:lnTo>
                    <a:pt x="114258" y="79551"/>
                  </a:lnTo>
                  <a:lnTo>
                    <a:pt x="106853" y="95729"/>
                  </a:lnTo>
                  <a:lnTo>
                    <a:pt x="87049" y="107319"/>
                  </a:lnTo>
                  <a:lnTo>
                    <a:pt x="75852" y="126575"/>
                  </a:lnTo>
                  <a:lnTo>
                    <a:pt x="87660" y="141000"/>
                  </a:lnTo>
                  <a:lnTo>
                    <a:pt x="103139" y="145532"/>
                  </a:lnTo>
                  <a:lnTo>
                    <a:pt x="115684" y="158140"/>
                  </a:lnTo>
                  <a:lnTo>
                    <a:pt x="125311" y="158366"/>
                  </a:lnTo>
                  <a:lnTo>
                    <a:pt x="134215" y="176615"/>
                  </a:lnTo>
                  <a:lnTo>
                    <a:pt x="146491" y="186434"/>
                  </a:lnTo>
                  <a:lnTo>
                    <a:pt x="132859" y="203581"/>
                  </a:lnTo>
                  <a:lnTo>
                    <a:pt x="36110" y="203581"/>
                  </a:lnTo>
                  <a:lnTo>
                    <a:pt x="20460" y="187252"/>
                  </a:lnTo>
                  <a:lnTo>
                    <a:pt x="5729" y="169250"/>
                  </a:lnTo>
                  <a:lnTo>
                    <a:pt x="0" y="143884"/>
                  </a:lnTo>
                  <a:lnTo>
                    <a:pt x="9821" y="132429"/>
                  </a:lnTo>
                  <a:lnTo>
                    <a:pt x="7365" y="116882"/>
                  </a:lnTo>
                  <a:lnTo>
                    <a:pt x="12276" y="57968"/>
                  </a:lnTo>
                  <a:lnTo>
                    <a:pt x="22915" y="35875"/>
                  </a:lnTo>
                  <a:lnTo>
                    <a:pt x="25370" y="14601"/>
                  </a:lnTo>
                  <a:lnTo>
                    <a:pt x="63697" y="8271"/>
                  </a:lnTo>
                  <a:lnTo>
                    <a:pt x="7740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83">
              <a:extLst>
                <a:ext uri="{FF2B5EF4-FFF2-40B4-BE49-F238E27FC236}">
                  <a16:creationId xmlns:a16="http://schemas.microsoft.com/office/drawing/2014/main" id="{F5B093B1-9009-1A31-9DD9-2947228EF2A0}"/>
                </a:ext>
              </a:extLst>
            </p:cNvPr>
            <p:cNvSpPr>
              <a:spLocks/>
            </p:cNvSpPr>
            <p:nvPr/>
          </p:nvSpPr>
          <p:spPr bwMode="auto">
            <a:xfrm>
              <a:off x="11587120" y="3602870"/>
              <a:ext cx="604880" cy="844630"/>
            </a:xfrm>
            <a:custGeom>
              <a:avLst/>
              <a:gdLst>
                <a:gd name="connsiteX0" fmla="*/ 604880 w 604880"/>
                <a:gd name="connsiteY0" fmla="*/ 0 h 844630"/>
                <a:gd name="connsiteX1" fmla="*/ 604880 w 604880"/>
                <a:gd name="connsiteY1" fmla="*/ 130942 h 844630"/>
                <a:gd name="connsiteX2" fmla="*/ 578045 w 604880"/>
                <a:gd name="connsiteY2" fmla="*/ 147639 h 844630"/>
                <a:gd name="connsiteX3" fmla="*/ 482889 w 604880"/>
                <a:gd name="connsiteY3" fmla="*/ 197037 h 844630"/>
                <a:gd name="connsiteX4" fmla="*/ 435858 w 604880"/>
                <a:gd name="connsiteY4" fmla="*/ 234492 h 844630"/>
                <a:gd name="connsiteX5" fmla="*/ 373514 w 604880"/>
                <a:gd name="connsiteY5" fmla="*/ 262176 h 844630"/>
                <a:gd name="connsiteX6" fmla="*/ 358202 w 604880"/>
                <a:gd name="connsiteY6" fmla="*/ 328944 h 844630"/>
                <a:gd name="connsiteX7" fmla="*/ 311171 w 604880"/>
                <a:gd name="connsiteY7" fmla="*/ 346314 h 844630"/>
                <a:gd name="connsiteX8" fmla="*/ 268515 w 604880"/>
                <a:gd name="connsiteY8" fmla="*/ 428824 h 844630"/>
                <a:gd name="connsiteX9" fmla="*/ 244999 w 604880"/>
                <a:gd name="connsiteY9" fmla="*/ 497220 h 844630"/>
                <a:gd name="connsiteX10" fmla="*/ 202343 w 604880"/>
                <a:gd name="connsiteY10" fmla="*/ 548789 h 844630"/>
                <a:gd name="connsiteX11" fmla="*/ 178827 w 604880"/>
                <a:gd name="connsiteY11" fmla="*/ 616643 h 844630"/>
                <a:gd name="connsiteX12" fmla="*/ 186484 w 604880"/>
                <a:gd name="connsiteY12" fmla="*/ 712723 h 844630"/>
                <a:gd name="connsiteX13" fmla="*/ 213827 w 604880"/>
                <a:gd name="connsiteY13" fmla="*/ 760492 h 844630"/>
                <a:gd name="connsiteX14" fmla="*/ 268515 w 604880"/>
                <a:gd name="connsiteY14" fmla="*/ 800661 h 844630"/>
                <a:gd name="connsiteX15" fmla="*/ 233515 w 604880"/>
                <a:gd name="connsiteY15" fmla="*/ 844630 h 844630"/>
                <a:gd name="connsiteX16" fmla="*/ 182656 w 604880"/>
                <a:gd name="connsiteY16" fmla="*/ 820746 h 844630"/>
                <a:gd name="connsiteX17" fmla="*/ 120312 w 604880"/>
                <a:gd name="connsiteY17" fmla="*/ 820746 h 844630"/>
                <a:gd name="connsiteX18" fmla="*/ 85312 w 604880"/>
                <a:gd name="connsiteY18" fmla="*/ 772434 h 844630"/>
                <a:gd name="connsiteX19" fmla="*/ 54140 w 604880"/>
                <a:gd name="connsiteY19" fmla="*/ 732808 h 844630"/>
                <a:gd name="connsiteX20" fmla="*/ 0 w 604880"/>
                <a:gd name="connsiteY20" fmla="*/ 691010 h 844630"/>
                <a:gd name="connsiteX21" fmla="*/ 50859 w 604880"/>
                <a:gd name="connsiteY21" fmla="*/ 659526 h 844630"/>
                <a:gd name="connsiteX22" fmla="*/ 73828 w 604880"/>
                <a:gd name="connsiteY22" fmla="*/ 649212 h 844630"/>
                <a:gd name="connsiteX23" fmla="*/ 84218 w 604880"/>
                <a:gd name="connsiteY23" fmla="*/ 609043 h 844630"/>
                <a:gd name="connsiteX24" fmla="*/ 66172 w 604880"/>
                <a:gd name="connsiteY24" fmla="*/ 571045 h 844630"/>
                <a:gd name="connsiteX25" fmla="*/ 93515 w 604880"/>
                <a:gd name="connsiteY25" fmla="*/ 552046 h 844630"/>
                <a:gd name="connsiteX26" fmla="*/ 105000 w 604880"/>
                <a:gd name="connsiteY26" fmla="*/ 509705 h 844630"/>
                <a:gd name="connsiteX27" fmla="*/ 143828 w 604880"/>
                <a:gd name="connsiteY27" fmla="*/ 478221 h 844630"/>
                <a:gd name="connsiteX28" fmla="*/ 118125 w 604880"/>
                <a:gd name="connsiteY28" fmla="*/ 453794 h 844630"/>
                <a:gd name="connsiteX29" fmla="*/ 131796 w 604880"/>
                <a:gd name="connsiteY29" fmla="*/ 417968 h 844630"/>
                <a:gd name="connsiteX30" fmla="*/ 167343 w 604880"/>
                <a:gd name="connsiteY30" fmla="*/ 385941 h 844630"/>
                <a:gd name="connsiteX31" fmla="*/ 187031 w 604880"/>
                <a:gd name="connsiteY31" fmla="*/ 343057 h 844630"/>
                <a:gd name="connsiteX32" fmla="*/ 182656 w 604880"/>
                <a:gd name="connsiteY32" fmla="*/ 298003 h 844630"/>
                <a:gd name="connsiteX33" fmla="*/ 178827 w 604880"/>
                <a:gd name="connsiteY33" fmla="*/ 265976 h 844630"/>
                <a:gd name="connsiteX34" fmla="*/ 225312 w 604880"/>
                <a:gd name="connsiteY34" fmla="*/ 218207 h 844630"/>
                <a:gd name="connsiteX35" fmla="*/ 272890 w 604880"/>
                <a:gd name="connsiteY35" fmla="*/ 200294 h 844630"/>
                <a:gd name="connsiteX36" fmla="*/ 310624 w 604880"/>
                <a:gd name="connsiteY36" fmla="*/ 157953 h 844630"/>
                <a:gd name="connsiteX37" fmla="*/ 385545 w 604880"/>
                <a:gd name="connsiteY37" fmla="*/ 111813 h 844630"/>
                <a:gd name="connsiteX38" fmla="*/ 408514 w 604880"/>
                <a:gd name="connsiteY38" fmla="*/ 85757 h 844630"/>
                <a:gd name="connsiteX39" fmla="*/ 441873 w 604880"/>
                <a:gd name="connsiteY39" fmla="*/ 111813 h 844630"/>
                <a:gd name="connsiteX40" fmla="*/ 510232 w 604880"/>
                <a:gd name="connsiteY40" fmla="*/ 78157 h 844630"/>
                <a:gd name="connsiteX41" fmla="*/ 556717 w 604880"/>
                <a:gd name="connsiteY41" fmla="*/ 53730 h 844630"/>
                <a:gd name="connsiteX42" fmla="*/ 604880 w 604880"/>
                <a:gd name="connsiteY42" fmla="*/ 0 h 84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4880" h="844630">
                  <a:moveTo>
                    <a:pt x="604880" y="0"/>
                  </a:moveTo>
                  <a:lnTo>
                    <a:pt x="604880" y="130942"/>
                  </a:lnTo>
                  <a:lnTo>
                    <a:pt x="578045" y="147639"/>
                  </a:lnTo>
                  <a:lnTo>
                    <a:pt x="482889" y="197037"/>
                  </a:lnTo>
                  <a:lnTo>
                    <a:pt x="435858" y="234492"/>
                  </a:lnTo>
                  <a:lnTo>
                    <a:pt x="373514" y="262176"/>
                  </a:lnTo>
                  <a:lnTo>
                    <a:pt x="358202" y="328944"/>
                  </a:lnTo>
                  <a:lnTo>
                    <a:pt x="311171" y="346314"/>
                  </a:lnTo>
                  <a:lnTo>
                    <a:pt x="268515" y="428824"/>
                  </a:lnTo>
                  <a:lnTo>
                    <a:pt x="244999" y="497220"/>
                  </a:lnTo>
                  <a:lnTo>
                    <a:pt x="202343" y="548789"/>
                  </a:lnTo>
                  <a:lnTo>
                    <a:pt x="178827" y="616643"/>
                  </a:lnTo>
                  <a:lnTo>
                    <a:pt x="186484" y="712723"/>
                  </a:lnTo>
                  <a:lnTo>
                    <a:pt x="213827" y="760492"/>
                  </a:lnTo>
                  <a:lnTo>
                    <a:pt x="268515" y="800661"/>
                  </a:lnTo>
                  <a:lnTo>
                    <a:pt x="233515" y="844630"/>
                  </a:lnTo>
                  <a:lnTo>
                    <a:pt x="182656" y="820746"/>
                  </a:lnTo>
                  <a:lnTo>
                    <a:pt x="120312" y="820746"/>
                  </a:lnTo>
                  <a:lnTo>
                    <a:pt x="85312" y="772434"/>
                  </a:lnTo>
                  <a:lnTo>
                    <a:pt x="54140" y="732808"/>
                  </a:lnTo>
                  <a:lnTo>
                    <a:pt x="0" y="691010"/>
                  </a:lnTo>
                  <a:lnTo>
                    <a:pt x="50859" y="659526"/>
                  </a:lnTo>
                  <a:lnTo>
                    <a:pt x="73828" y="649212"/>
                  </a:lnTo>
                  <a:lnTo>
                    <a:pt x="84218" y="609043"/>
                  </a:lnTo>
                  <a:lnTo>
                    <a:pt x="66172" y="571045"/>
                  </a:lnTo>
                  <a:lnTo>
                    <a:pt x="93515" y="552046"/>
                  </a:lnTo>
                  <a:lnTo>
                    <a:pt x="105000" y="509705"/>
                  </a:lnTo>
                  <a:lnTo>
                    <a:pt x="143828" y="478221"/>
                  </a:lnTo>
                  <a:lnTo>
                    <a:pt x="118125" y="453794"/>
                  </a:lnTo>
                  <a:lnTo>
                    <a:pt x="131796" y="417968"/>
                  </a:lnTo>
                  <a:lnTo>
                    <a:pt x="167343" y="385941"/>
                  </a:lnTo>
                  <a:lnTo>
                    <a:pt x="187031" y="343057"/>
                  </a:lnTo>
                  <a:lnTo>
                    <a:pt x="182656" y="298003"/>
                  </a:lnTo>
                  <a:lnTo>
                    <a:pt x="178827" y="265976"/>
                  </a:lnTo>
                  <a:lnTo>
                    <a:pt x="225312" y="218207"/>
                  </a:lnTo>
                  <a:lnTo>
                    <a:pt x="272890" y="200294"/>
                  </a:lnTo>
                  <a:lnTo>
                    <a:pt x="310624" y="157953"/>
                  </a:lnTo>
                  <a:lnTo>
                    <a:pt x="385545" y="111813"/>
                  </a:lnTo>
                  <a:lnTo>
                    <a:pt x="408514" y="85757"/>
                  </a:lnTo>
                  <a:lnTo>
                    <a:pt x="441873" y="111813"/>
                  </a:lnTo>
                  <a:lnTo>
                    <a:pt x="510232" y="78157"/>
                  </a:lnTo>
                  <a:lnTo>
                    <a:pt x="556717" y="53730"/>
                  </a:lnTo>
                  <a:lnTo>
                    <a:pt x="60488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01">
              <a:extLst>
                <a:ext uri="{FF2B5EF4-FFF2-40B4-BE49-F238E27FC236}">
                  <a16:creationId xmlns:a16="http://schemas.microsoft.com/office/drawing/2014/main" id="{26DF406F-E546-E00C-77E5-CA52FD310A59}"/>
                </a:ext>
              </a:extLst>
            </p:cNvPr>
            <p:cNvSpPr>
              <a:spLocks/>
            </p:cNvSpPr>
            <p:nvPr/>
          </p:nvSpPr>
          <p:spPr bwMode="auto">
            <a:xfrm>
              <a:off x="10529837" y="4485715"/>
              <a:ext cx="369412" cy="888500"/>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02">
              <a:extLst>
                <a:ext uri="{FF2B5EF4-FFF2-40B4-BE49-F238E27FC236}">
                  <a16:creationId xmlns:a16="http://schemas.microsoft.com/office/drawing/2014/main" id="{16F85AE0-7FE5-0EFD-3854-CB3BC2BA4973}"/>
                </a:ext>
              </a:extLst>
            </p:cNvPr>
            <p:cNvSpPr>
              <a:spLocks/>
            </p:cNvSpPr>
            <p:nvPr/>
          </p:nvSpPr>
          <p:spPr bwMode="auto">
            <a:xfrm>
              <a:off x="10160424" y="4568514"/>
              <a:ext cx="490427" cy="1127344"/>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103">
              <a:extLst>
                <a:ext uri="{FF2B5EF4-FFF2-40B4-BE49-F238E27FC236}">
                  <a16:creationId xmlns:a16="http://schemas.microsoft.com/office/drawing/2014/main" id="{9CE83BE6-2156-F303-AC79-C9ADC1ECDD89}"/>
                </a:ext>
              </a:extLst>
            </p:cNvPr>
            <p:cNvSpPr>
              <a:spLocks/>
            </p:cNvSpPr>
            <p:nvPr/>
          </p:nvSpPr>
          <p:spPr bwMode="auto">
            <a:xfrm>
              <a:off x="9937503" y="4358331"/>
              <a:ext cx="945821" cy="1140082"/>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87">
              <a:extLst>
                <a:ext uri="{FF2B5EF4-FFF2-40B4-BE49-F238E27FC236}">
                  <a16:creationId xmlns:a16="http://schemas.microsoft.com/office/drawing/2014/main" id="{B95C6D82-907C-A022-F146-1F40EC3A57A4}"/>
                </a:ext>
              </a:extLst>
            </p:cNvPr>
            <p:cNvSpPr>
              <a:spLocks/>
            </p:cNvSpPr>
            <p:nvPr/>
          </p:nvSpPr>
          <p:spPr bwMode="auto">
            <a:xfrm>
              <a:off x="11364198" y="6533404"/>
              <a:ext cx="630548" cy="324596"/>
            </a:xfrm>
            <a:custGeom>
              <a:avLst/>
              <a:gdLst>
                <a:gd name="connsiteX0" fmla="*/ 31209 w 630548"/>
                <a:gd name="connsiteY0" fmla="*/ 0 h 324596"/>
                <a:gd name="connsiteX1" fmla="*/ 46495 w 630548"/>
                <a:gd name="connsiteY1" fmla="*/ 12726 h 324596"/>
                <a:gd name="connsiteX2" fmla="*/ 63692 w 630548"/>
                <a:gd name="connsiteY2" fmla="*/ 24815 h 324596"/>
                <a:gd name="connsiteX3" fmla="*/ 78978 w 630548"/>
                <a:gd name="connsiteY3" fmla="*/ 27997 h 324596"/>
                <a:gd name="connsiteX4" fmla="*/ 94901 w 630548"/>
                <a:gd name="connsiteY4" fmla="*/ 29269 h 324596"/>
                <a:gd name="connsiteX5" fmla="*/ 117830 w 630548"/>
                <a:gd name="connsiteY5" fmla="*/ 17816 h 324596"/>
                <a:gd name="connsiteX6" fmla="*/ 128657 w 630548"/>
                <a:gd name="connsiteY6" fmla="*/ 9544 h 324596"/>
                <a:gd name="connsiteX7" fmla="*/ 142033 w 630548"/>
                <a:gd name="connsiteY7" fmla="*/ 38177 h 324596"/>
                <a:gd name="connsiteX8" fmla="*/ 160503 w 630548"/>
                <a:gd name="connsiteY8" fmla="*/ 51539 h 324596"/>
                <a:gd name="connsiteX9" fmla="*/ 163688 w 630548"/>
                <a:gd name="connsiteY9" fmla="*/ 63629 h 324596"/>
                <a:gd name="connsiteX10" fmla="*/ 170057 w 630548"/>
                <a:gd name="connsiteY10" fmla="*/ 85262 h 324596"/>
                <a:gd name="connsiteX11" fmla="*/ 179611 w 630548"/>
                <a:gd name="connsiteY11" fmla="*/ 92898 h 324596"/>
                <a:gd name="connsiteX12" fmla="*/ 198081 w 630548"/>
                <a:gd name="connsiteY12" fmla="*/ 97988 h 324596"/>
                <a:gd name="connsiteX13" fmla="*/ 205724 w 630548"/>
                <a:gd name="connsiteY13" fmla="*/ 113259 h 324596"/>
                <a:gd name="connsiteX14" fmla="*/ 222921 w 630548"/>
                <a:gd name="connsiteY14" fmla="*/ 106260 h 324596"/>
                <a:gd name="connsiteX15" fmla="*/ 241392 w 630548"/>
                <a:gd name="connsiteY15" fmla="*/ 116440 h 324596"/>
                <a:gd name="connsiteX16" fmla="*/ 259225 w 630548"/>
                <a:gd name="connsiteY16" fmla="*/ 137437 h 324596"/>
                <a:gd name="connsiteX17" fmla="*/ 280244 w 630548"/>
                <a:gd name="connsiteY17" fmla="*/ 143164 h 324596"/>
                <a:gd name="connsiteX18" fmla="*/ 303810 w 630548"/>
                <a:gd name="connsiteY18" fmla="*/ 147618 h 324596"/>
                <a:gd name="connsiteX19" fmla="*/ 329923 w 630548"/>
                <a:gd name="connsiteY19" fmla="*/ 133620 h 324596"/>
                <a:gd name="connsiteX20" fmla="*/ 354763 w 630548"/>
                <a:gd name="connsiteY20" fmla="*/ 128529 h 324596"/>
                <a:gd name="connsiteX21" fmla="*/ 357948 w 630548"/>
                <a:gd name="connsiteY21" fmla="*/ 109441 h 324596"/>
                <a:gd name="connsiteX22" fmla="*/ 390430 w 630548"/>
                <a:gd name="connsiteY22" fmla="*/ 109441 h 324596"/>
                <a:gd name="connsiteX23" fmla="*/ 400621 w 630548"/>
                <a:gd name="connsiteY23" fmla="*/ 97988 h 324596"/>
                <a:gd name="connsiteX24" fmla="*/ 412086 w 630548"/>
                <a:gd name="connsiteY24" fmla="*/ 82081 h 324596"/>
                <a:gd name="connsiteX25" fmla="*/ 429282 w 630548"/>
                <a:gd name="connsiteY25" fmla="*/ 79536 h 324596"/>
                <a:gd name="connsiteX26" fmla="*/ 447116 w 630548"/>
                <a:gd name="connsiteY26" fmla="*/ 75718 h 324596"/>
                <a:gd name="connsiteX27" fmla="*/ 460491 w 630548"/>
                <a:gd name="connsiteY27" fmla="*/ 78263 h 324596"/>
                <a:gd name="connsiteX28" fmla="*/ 482783 w 630548"/>
                <a:gd name="connsiteY28" fmla="*/ 79536 h 324596"/>
                <a:gd name="connsiteX29" fmla="*/ 513992 w 630548"/>
                <a:gd name="connsiteY29" fmla="*/ 90989 h 324596"/>
                <a:gd name="connsiteX30" fmla="*/ 535648 w 630548"/>
                <a:gd name="connsiteY30" fmla="*/ 97988 h 324596"/>
                <a:gd name="connsiteX31" fmla="*/ 553481 w 630548"/>
                <a:gd name="connsiteY31" fmla="*/ 107532 h 324596"/>
                <a:gd name="connsiteX32" fmla="*/ 575136 w 630548"/>
                <a:gd name="connsiteY32" fmla="*/ 124712 h 324596"/>
                <a:gd name="connsiteX33" fmla="*/ 589149 w 630548"/>
                <a:gd name="connsiteY33" fmla="*/ 141255 h 324596"/>
                <a:gd name="connsiteX34" fmla="*/ 604435 w 630548"/>
                <a:gd name="connsiteY34" fmla="*/ 141255 h 324596"/>
                <a:gd name="connsiteX35" fmla="*/ 620358 w 630548"/>
                <a:gd name="connsiteY35" fmla="*/ 147618 h 324596"/>
                <a:gd name="connsiteX36" fmla="*/ 624179 w 630548"/>
                <a:gd name="connsiteY36" fmla="*/ 159707 h 324596"/>
                <a:gd name="connsiteX37" fmla="*/ 624179 w 630548"/>
                <a:gd name="connsiteY37" fmla="*/ 178160 h 324596"/>
                <a:gd name="connsiteX38" fmla="*/ 630548 w 630548"/>
                <a:gd name="connsiteY38" fmla="*/ 194703 h 324596"/>
                <a:gd name="connsiteX39" fmla="*/ 615899 w 630548"/>
                <a:gd name="connsiteY39" fmla="*/ 213791 h 324596"/>
                <a:gd name="connsiteX40" fmla="*/ 600613 w 630548"/>
                <a:gd name="connsiteY40" fmla="*/ 243060 h 324596"/>
                <a:gd name="connsiteX41" fmla="*/ 600613 w 630548"/>
                <a:gd name="connsiteY41" fmla="*/ 281237 h 324596"/>
                <a:gd name="connsiteX42" fmla="*/ 603161 w 630548"/>
                <a:gd name="connsiteY42" fmla="*/ 313688 h 324596"/>
                <a:gd name="connsiteX43" fmla="*/ 604721 w 630548"/>
                <a:gd name="connsiteY43" fmla="*/ 324596 h 324596"/>
                <a:gd name="connsiteX44" fmla="*/ 120317 w 630548"/>
                <a:gd name="connsiteY44" fmla="*/ 324596 h 324596"/>
                <a:gd name="connsiteX45" fmla="*/ 112734 w 630548"/>
                <a:gd name="connsiteY45" fmla="*/ 320051 h 324596"/>
                <a:gd name="connsiteX46" fmla="*/ 92990 w 630548"/>
                <a:gd name="connsiteY46" fmla="*/ 304144 h 324596"/>
                <a:gd name="connsiteX47" fmla="*/ 82162 w 630548"/>
                <a:gd name="connsiteY47" fmla="*/ 286328 h 324596"/>
                <a:gd name="connsiteX48" fmla="*/ 74519 w 630548"/>
                <a:gd name="connsiteY48" fmla="*/ 261513 h 324596"/>
                <a:gd name="connsiteX49" fmla="*/ 73882 w 630548"/>
                <a:gd name="connsiteY49" fmla="*/ 252605 h 324596"/>
                <a:gd name="connsiteX50" fmla="*/ 75156 w 630548"/>
                <a:gd name="connsiteY50" fmla="*/ 237334 h 324596"/>
                <a:gd name="connsiteX51" fmla="*/ 65602 w 630548"/>
                <a:gd name="connsiteY51" fmla="*/ 216973 h 324596"/>
                <a:gd name="connsiteX52" fmla="*/ 73246 w 630548"/>
                <a:gd name="connsiteY52" fmla="*/ 202338 h 324596"/>
                <a:gd name="connsiteX53" fmla="*/ 84073 w 630548"/>
                <a:gd name="connsiteY53" fmla="*/ 183886 h 324596"/>
                <a:gd name="connsiteX54" fmla="*/ 68787 w 630548"/>
                <a:gd name="connsiteY54" fmla="*/ 180068 h 324596"/>
                <a:gd name="connsiteX55" fmla="*/ 47132 w 630548"/>
                <a:gd name="connsiteY55" fmla="*/ 177523 h 324596"/>
                <a:gd name="connsiteX56" fmla="*/ 35667 w 630548"/>
                <a:gd name="connsiteY56" fmla="*/ 161616 h 324596"/>
                <a:gd name="connsiteX57" fmla="*/ 28024 w 630548"/>
                <a:gd name="connsiteY57" fmla="*/ 143800 h 324596"/>
                <a:gd name="connsiteX58" fmla="*/ 17834 w 630548"/>
                <a:gd name="connsiteY58" fmla="*/ 120894 h 324596"/>
                <a:gd name="connsiteX59" fmla="*/ 16560 w 630548"/>
                <a:gd name="connsiteY59" fmla="*/ 90352 h 324596"/>
                <a:gd name="connsiteX60" fmla="*/ 4458 w 630548"/>
                <a:gd name="connsiteY60" fmla="*/ 59175 h 324596"/>
                <a:gd name="connsiteX61" fmla="*/ 1911 w 630548"/>
                <a:gd name="connsiteY61" fmla="*/ 38814 h 324596"/>
                <a:gd name="connsiteX62" fmla="*/ 0 w 630548"/>
                <a:gd name="connsiteY62" fmla="*/ 16544 h 324596"/>
                <a:gd name="connsiteX63" fmla="*/ 14649 w 630548"/>
                <a:gd name="connsiteY63" fmla="*/ 6999 h 324596"/>
                <a:gd name="connsiteX64" fmla="*/ 31209 w 630548"/>
                <a:gd name="connsiteY64" fmla="*/ 0 h 32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30548" h="324596">
                  <a:moveTo>
                    <a:pt x="31209" y="0"/>
                  </a:moveTo>
                  <a:lnTo>
                    <a:pt x="46495" y="12726"/>
                  </a:lnTo>
                  <a:lnTo>
                    <a:pt x="63692" y="24815"/>
                  </a:lnTo>
                  <a:lnTo>
                    <a:pt x="78978" y="27997"/>
                  </a:lnTo>
                  <a:lnTo>
                    <a:pt x="94901" y="29269"/>
                  </a:lnTo>
                  <a:lnTo>
                    <a:pt x="117830" y="17816"/>
                  </a:lnTo>
                  <a:lnTo>
                    <a:pt x="128657" y="9544"/>
                  </a:lnTo>
                  <a:lnTo>
                    <a:pt x="142033" y="38177"/>
                  </a:lnTo>
                  <a:lnTo>
                    <a:pt x="160503" y="51539"/>
                  </a:lnTo>
                  <a:lnTo>
                    <a:pt x="163688" y="63629"/>
                  </a:lnTo>
                  <a:lnTo>
                    <a:pt x="170057" y="85262"/>
                  </a:lnTo>
                  <a:lnTo>
                    <a:pt x="179611" y="92898"/>
                  </a:lnTo>
                  <a:lnTo>
                    <a:pt x="198081" y="97988"/>
                  </a:lnTo>
                  <a:lnTo>
                    <a:pt x="205724" y="113259"/>
                  </a:lnTo>
                  <a:lnTo>
                    <a:pt x="222921" y="106260"/>
                  </a:lnTo>
                  <a:lnTo>
                    <a:pt x="241392" y="116440"/>
                  </a:lnTo>
                  <a:lnTo>
                    <a:pt x="259225" y="137437"/>
                  </a:lnTo>
                  <a:lnTo>
                    <a:pt x="280244" y="143164"/>
                  </a:lnTo>
                  <a:lnTo>
                    <a:pt x="303810" y="147618"/>
                  </a:lnTo>
                  <a:lnTo>
                    <a:pt x="329923" y="133620"/>
                  </a:lnTo>
                  <a:lnTo>
                    <a:pt x="354763" y="128529"/>
                  </a:lnTo>
                  <a:lnTo>
                    <a:pt x="357948" y="109441"/>
                  </a:lnTo>
                  <a:lnTo>
                    <a:pt x="390430" y="109441"/>
                  </a:lnTo>
                  <a:lnTo>
                    <a:pt x="400621" y="97988"/>
                  </a:lnTo>
                  <a:lnTo>
                    <a:pt x="412086" y="82081"/>
                  </a:lnTo>
                  <a:lnTo>
                    <a:pt x="429282" y="79536"/>
                  </a:lnTo>
                  <a:lnTo>
                    <a:pt x="447116" y="75718"/>
                  </a:lnTo>
                  <a:lnTo>
                    <a:pt x="460491" y="78263"/>
                  </a:lnTo>
                  <a:lnTo>
                    <a:pt x="482783" y="79536"/>
                  </a:lnTo>
                  <a:lnTo>
                    <a:pt x="513992" y="90989"/>
                  </a:lnTo>
                  <a:lnTo>
                    <a:pt x="535648" y="97988"/>
                  </a:lnTo>
                  <a:lnTo>
                    <a:pt x="553481" y="107532"/>
                  </a:lnTo>
                  <a:lnTo>
                    <a:pt x="575136" y="124712"/>
                  </a:lnTo>
                  <a:lnTo>
                    <a:pt x="589149" y="141255"/>
                  </a:lnTo>
                  <a:lnTo>
                    <a:pt x="604435" y="141255"/>
                  </a:lnTo>
                  <a:lnTo>
                    <a:pt x="620358" y="147618"/>
                  </a:lnTo>
                  <a:lnTo>
                    <a:pt x="624179" y="159707"/>
                  </a:lnTo>
                  <a:lnTo>
                    <a:pt x="624179" y="178160"/>
                  </a:lnTo>
                  <a:lnTo>
                    <a:pt x="630548" y="194703"/>
                  </a:lnTo>
                  <a:lnTo>
                    <a:pt x="615899" y="213791"/>
                  </a:lnTo>
                  <a:lnTo>
                    <a:pt x="600613" y="243060"/>
                  </a:lnTo>
                  <a:lnTo>
                    <a:pt x="600613" y="281237"/>
                  </a:lnTo>
                  <a:lnTo>
                    <a:pt x="603161" y="313688"/>
                  </a:lnTo>
                  <a:lnTo>
                    <a:pt x="604721" y="324596"/>
                  </a:lnTo>
                  <a:lnTo>
                    <a:pt x="120317" y="324596"/>
                  </a:lnTo>
                  <a:lnTo>
                    <a:pt x="112734" y="320051"/>
                  </a:lnTo>
                  <a:lnTo>
                    <a:pt x="92990" y="304144"/>
                  </a:lnTo>
                  <a:lnTo>
                    <a:pt x="82162" y="286328"/>
                  </a:lnTo>
                  <a:lnTo>
                    <a:pt x="74519" y="261513"/>
                  </a:lnTo>
                  <a:lnTo>
                    <a:pt x="73882" y="252605"/>
                  </a:lnTo>
                  <a:lnTo>
                    <a:pt x="75156" y="237334"/>
                  </a:lnTo>
                  <a:lnTo>
                    <a:pt x="65602" y="216973"/>
                  </a:lnTo>
                  <a:lnTo>
                    <a:pt x="73246" y="202338"/>
                  </a:lnTo>
                  <a:lnTo>
                    <a:pt x="84073" y="183886"/>
                  </a:lnTo>
                  <a:lnTo>
                    <a:pt x="68787" y="180068"/>
                  </a:lnTo>
                  <a:lnTo>
                    <a:pt x="47132" y="177523"/>
                  </a:lnTo>
                  <a:lnTo>
                    <a:pt x="35667" y="161616"/>
                  </a:lnTo>
                  <a:lnTo>
                    <a:pt x="28024" y="143800"/>
                  </a:lnTo>
                  <a:lnTo>
                    <a:pt x="17834" y="120894"/>
                  </a:lnTo>
                  <a:lnTo>
                    <a:pt x="16560" y="90352"/>
                  </a:lnTo>
                  <a:lnTo>
                    <a:pt x="4458" y="59175"/>
                  </a:lnTo>
                  <a:lnTo>
                    <a:pt x="1911" y="38814"/>
                  </a:lnTo>
                  <a:lnTo>
                    <a:pt x="0" y="16544"/>
                  </a:lnTo>
                  <a:lnTo>
                    <a:pt x="14649" y="6999"/>
                  </a:lnTo>
                  <a:lnTo>
                    <a:pt x="3120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113">
              <a:extLst>
                <a:ext uri="{FF2B5EF4-FFF2-40B4-BE49-F238E27FC236}">
                  <a16:creationId xmlns:a16="http://schemas.microsoft.com/office/drawing/2014/main" id="{F32D0D6F-4269-3F20-9BAA-6A00C0E0F7DC}"/>
                </a:ext>
              </a:extLst>
            </p:cNvPr>
            <p:cNvSpPr>
              <a:spLocks/>
            </p:cNvSpPr>
            <p:nvPr/>
          </p:nvSpPr>
          <p:spPr bwMode="auto">
            <a:xfrm>
              <a:off x="11676288" y="6402835"/>
              <a:ext cx="503165" cy="328013"/>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16">
              <a:extLst>
                <a:ext uri="{FF2B5EF4-FFF2-40B4-BE49-F238E27FC236}">
                  <a16:creationId xmlns:a16="http://schemas.microsoft.com/office/drawing/2014/main" id="{4D5E649E-9884-FD08-704A-E1B47A9DA712}"/>
                </a:ext>
              </a:extLst>
            </p:cNvPr>
            <p:cNvSpPr>
              <a:spLocks/>
            </p:cNvSpPr>
            <p:nvPr/>
          </p:nvSpPr>
          <p:spPr bwMode="auto">
            <a:xfrm>
              <a:off x="9431152" y="6339144"/>
              <a:ext cx="449027" cy="37259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117">
              <a:extLst>
                <a:ext uri="{FF2B5EF4-FFF2-40B4-BE49-F238E27FC236}">
                  <a16:creationId xmlns:a16="http://schemas.microsoft.com/office/drawing/2014/main" id="{39FB6D2A-7543-6B4B-EFA6-52D34F7BAD2D}"/>
                </a:ext>
              </a:extLst>
            </p:cNvPr>
            <p:cNvSpPr>
              <a:spLocks/>
            </p:cNvSpPr>
            <p:nvPr/>
          </p:nvSpPr>
          <p:spPr bwMode="auto">
            <a:xfrm>
              <a:off x="9408861" y="6361438"/>
              <a:ext cx="143305" cy="296165"/>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118">
              <a:extLst>
                <a:ext uri="{FF2B5EF4-FFF2-40B4-BE49-F238E27FC236}">
                  <a16:creationId xmlns:a16="http://schemas.microsoft.com/office/drawing/2014/main" id="{9F3F7E19-2B63-E886-B849-95AB3EDD14C0}"/>
                </a:ext>
              </a:extLst>
            </p:cNvPr>
            <p:cNvSpPr>
              <a:spLocks/>
            </p:cNvSpPr>
            <p:nvPr/>
          </p:nvSpPr>
          <p:spPr bwMode="auto">
            <a:xfrm>
              <a:off x="10695435" y="6418759"/>
              <a:ext cx="700609" cy="289796"/>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92">
              <a:extLst>
                <a:ext uri="{FF2B5EF4-FFF2-40B4-BE49-F238E27FC236}">
                  <a16:creationId xmlns:a16="http://schemas.microsoft.com/office/drawing/2014/main" id="{B6D1DAF0-7F9A-3AC5-E74D-742509832DAA}"/>
                </a:ext>
              </a:extLst>
            </p:cNvPr>
            <p:cNvSpPr>
              <a:spLocks/>
            </p:cNvSpPr>
            <p:nvPr/>
          </p:nvSpPr>
          <p:spPr bwMode="auto">
            <a:xfrm>
              <a:off x="11134908" y="6641682"/>
              <a:ext cx="353317" cy="216319"/>
            </a:xfrm>
            <a:custGeom>
              <a:avLst/>
              <a:gdLst>
                <a:gd name="connsiteX0" fmla="*/ 165599 w 353317"/>
                <a:gd name="connsiteY0" fmla="*/ 0 h 216319"/>
                <a:gd name="connsiteX1" fmla="*/ 184069 w 353317"/>
                <a:gd name="connsiteY1" fmla="*/ 0 h 216319"/>
                <a:gd name="connsiteX2" fmla="*/ 220374 w 353317"/>
                <a:gd name="connsiteY2" fmla="*/ 8280 h 216319"/>
                <a:gd name="connsiteX3" fmla="*/ 234386 w 353317"/>
                <a:gd name="connsiteY3" fmla="*/ 7006 h 216319"/>
                <a:gd name="connsiteX4" fmla="*/ 249035 w 353317"/>
                <a:gd name="connsiteY4" fmla="*/ 12102 h 216319"/>
                <a:gd name="connsiteX5" fmla="*/ 255404 w 353317"/>
                <a:gd name="connsiteY5" fmla="*/ 24840 h 216319"/>
                <a:gd name="connsiteX6" fmla="*/ 259226 w 353317"/>
                <a:gd name="connsiteY6" fmla="*/ 37578 h 216319"/>
                <a:gd name="connsiteX7" fmla="*/ 266869 w 353317"/>
                <a:gd name="connsiteY7" fmla="*/ 54138 h 216319"/>
                <a:gd name="connsiteX8" fmla="*/ 277059 w 353317"/>
                <a:gd name="connsiteY8" fmla="*/ 68787 h 216319"/>
                <a:gd name="connsiteX9" fmla="*/ 296804 w 353317"/>
                <a:gd name="connsiteY9" fmla="*/ 70061 h 216319"/>
                <a:gd name="connsiteX10" fmla="*/ 315275 w 353317"/>
                <a:gd name="connsiteY10" fmla="*/ 73883 h 216319"/>
                <a:gd name="connsiteX11" fmla="*/ 296804 w 353317"/>
                <a:gd name="connsiteY11" fmla="*/ 108276 h 216319"/>
                <a:gd name="connsiteX12" fmla="*/ 307632 w 353317"/>
                <a:gd name="connsiteY12" fmla="*/ 128657 h 216319"/>
                <a:gd name="connsiteX13" fmla="*/ 304447 w 353317"/>
                <a:gd name="connsiteY13" fmla="*/ 140122 h 216319"/>
                <a:gd name="connsiteX14" fmla="*/ 305721 w 353317"/>
                <a:gd name="connsiteY14" fmla="*/ 153497 h 216319"/>
                <a:gd name="connsiteX15" fmla="*/ 311453 w 353317"/>
                <a:gd name="connsiteY15" fmla="*/ 173242 h 216319"/>
                <a:gd name="connsiteX16" fmla="*/ 317822 w 353317"/>
                <a:gd name="connsiteY16" fmla="*/ 186617 h 216319"/>
                <a:gd name="connsiteX17" fmla="*/ 324828 w 353317"/>
                <a:gd name="connsiteY17" fmla="*/ 196171 h 216319"/>
                <a:gd name="connsiteX18" fmla="*/ 343936 w 353317"/>
                <a:gd name="connsiteY18" fmla="*/ 210820 h 216319"/>
                <a:gd name="connsiteX19" fmla="*/ 353317 w 353317"/>
                <a:gd name="connsiteY19" fmla="*/ 216319 h 216319"/>
                <a:gd name="connsiteX20" fmla="*/ 7203 w 353317"/>
                <a:gd name="connsiteY20" fmla="*/ 216319 h 216319"/>
                <a:gd name="connsiteX21" fmla="*/ 0 w 353317"/>
                <a:gd name="connsiteY21" fmla="*/ 199992 h 216319"/>
                <a:gd name="connsiteX22" fmla="*/ 13375 w 353317"/>
                <a:gd name="connsiteY22" fmla="*/ 177700 h 216319"/>
                <a:gd name="connsiteX23" fmla="*/ 45221 w 353317"/>
                <a:gd name="connsiteY23" fmla="*/ 154771 h 216319"/>
                <a:gd name="connsiteX24" fmla="*/ 72609 w 353317"/>
                <a:gd name="connsiteY24" fmla="*/ 143307 h 216319"/>
                <a:gd name="connsiteX25" fmla="*/ 92990 w 353317"/>
                <a:gd name="connsiteY25" fmla="*/ 131205 h 216319"/>
                <a:gd name="connsiteX26" fmla="*/ 120378 w 353317"/>
                <a:gd name="connsiteY26" fmla="*/ 128657 h 216319"/>
                <a:gd name="connsiteX27" fmla="*/ 116556 w 353317"/>
                <a:gd name="connsiteY27" fmla="*/ 104455 h 216319"/>
                <a:gd name="connsiteX28" fmla="*/ 107002 w 353317"/>
                <a:gd name="connsiteY28" fmla="*/ 85984 h 216319"/>
                <a:gd name="connsiteX29" fmla="*/ 121014 w 353317"/>
                <a:gd name="connsiteY29" fmla="*/ 67513 h 216319"/>
                <a:gd name="connsiteX30" fmla="*/ 128658 w 353317"/>
                <a:gd name="connsiteY30" fmla="*/ 36941 h 216319"/>
                <a:gd name="connsiteX31" fmla="*/ 138848 w 353317"/>
                <a:gd name="connsiteY31" fmla="*/ 28025 h 216319"/>
                <a:gd name="connsiteX32" fmla="*/ 154771 w 353317"/>
                <a:gd name="connsiteY32" fmla="*/ 16560 h 216319"/>
                <a:gd name="connsiteX33" fmla="*/ 165599 w 353317"/>
                <a:gd name="connsiteY33" fmla="*/ 0 h 21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317" h="216319">
                  <a:moveTo>
                    <a:pt x="165599" y="0"/>
                  </a:moveTo>
                  <a:lnTo>
                    <a:pt x="184069" y="0"/>
                  </a:lnTo>
                  <a:lnTo>
                    <a:pt x="220374" y="8280"/>
                  </a:lnTo>
                  <a:lnTo>
                    <a:pt x="234386" y="7006"/>
                  </a:lnTo>
                  <a:lnTo>
                    <a:pt x="249035" y="12102"/>
                  </a:lnTo>
                  <a:lnTo>
                    <a:pt x="255404" y="24840"/>
                  </a:lnTo>
                  <a:lnTo>
                    <a:pt x="259226" y="37578"/>
                  </a:lnTo>
                  <a:lnTo>
                    <a:pt x="266869" y="54138"/>
                  </a:lnTo>
                  <a:lnTo>
                    <a:pt x="277059" y="68787"/>
                  </a:lnTo>
                  <a:lnTo>
                    <a:pt x="296804" y="70061"/>
                  </a:lnTo>
                  <a:lnTo>
                    <a:pt x="315275" y="73883"/>
                  </a:lnTo>
                  <a:lnTo>
                    <a:pt x="296804" y="108276"/>
                  </a:lnTo>
                  <a:lnTo>
                    <a:pt x="307632" y="128657"/>
                  </a:lnTo>
                  <a:lnTo>
                    <a:pt x="304447" y="140122"/>
                  </a:lnTo>
                  <a:lnTo>
                    <a:pt x="305721" y="153497"/>
                  </a:lnTo>
                  <a:lnTo>
                    <a:pt x="311453" y="173242"/>
                  </a:lnTo>
                  <a:lnTo>
                    <a:pt x="317822" y="186617"/>
                  </a:lnTo>
                  <a:lnTo>
                    <a:pt x="324828" y="196171"/>
                  </a:lnTo>
                  <a:lnTo>
                    <a:pt x="343936" y="210820"/>
                  </a:lnTo>
                  <a:lnTo>
                    <a:pt x="353317" y="216319"/>
                  </a:lnTo>
                  <a:lnTo>
                    <a:pt x="7203" y="216319"/>
                  </a:lnTo>
                  <a:lnTo>
                    <a:pt x="0" y="199992"/>
                  </a:lnTo>
                  <a:lnTo>
                    <a:pt x="13375" y="177700"/>
                  </a:lnTo>
                  <a:lnTo>
                    <a:pt x="45221" y="154771"/>
                  </a:lnTo>
                  <a:lnTo>
                    <a:pt x="72609" y="143307"/>
                  </a:lnTo>
                  <a:lnTo>
                    <a:pt x="92990" y="131205"/>
                  </a:lnTo>
                  <a:lnTo>
                    <a:pt x="120378" y="128657"/>
                  </a:lnTo>
                  <a:lnTo>
                    <a:pt x="116556" y="104455"/>
                  </a:lnTo>
                  <a:lnTo>
                    <a:pt x="107002" y="85984"/>
                  </a:lnTo>
                  <a:lnTo>
                    <a:pt x="121014" y="67513"/>
                  </a:lnTo>
                  <a:lnTo>
                    <a:pt x="128658" y="36941"/>
                  </a:lnTo>
                  <a:lnTo>
                    <a:pt x="138848" y="28025"/>
                  </a:lnTo>
                  <a:lnTo>
                    <a:pt x="154771" y="16560"/>
                  </a:lnTo>
                  <a:lnTo>
                    <a:pt x="16559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120">
              <a:extLst>
                <a:ext uri="{FF2B5EF4-FFF2-40B4-BE49-F238E27FC236}">
                  <a16:creationId xmlns:a16="http://schemas.microsoft.com/office/drawing/2014/main" id="{0DC5C8FA-E389-C720-BA66-18CD0976AC00}"/>
                </a:ext>
              </a:extLst>
            </p:cNvPr>
            <p:cNvSpPr>
              <a:spLocks/>
            </p:cNvSpPr>
            <p:nvPr/>
          </p:nvSpPr>
          <p:spPr bwMode="auto">
            <a:xfrm>
              <a:off x="11227260" y="6361438"/>
              <a:ext cx="226107" cy="114645"/>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121">
              <a:extLst>
                <a:ext uri="{FF2B5EF4-FFF2-40B4-BE49-F238E27FC236}">
                  <a16:creationId xmlns:a16="http://schemas.microsoft.com/office/drawing/2014/main" id="{CE573022-A934-2FA0-74EB-86802379C795}"/>
                </a:ext>
              </a:extLst>
            </p:cNvPr>
            <p:cNvSpPr>
              <a:spLocks/>
            </p:cNvSpPr>
            <p:nvPr/>
          </p:nvSpPr>
          <p:spPr bwMode="auto">
            <a:xfrm>
              <a:off x="11402413" y="6437868"/>
              <a:ext cx="165599" cy="149675"/>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122">
              <a:extLst>
                <a:ext uri="{FF2B5EF4-FFF2-40B4-BE49-F238E27FC236}">
                  <a16:creationId xmlns:a16="http://schemas.microsoft.com/office/drawing/2014/main" id="{381519B0-D973-B79E-44F1-3D92D2699F33}"/>
                </a:ext>
              </a:extLst>
            </p:cNvPr>
            <p:cNvSpPr>
              <a:spLocks/>
            </p:cNvSpPr>
            <p:nvPr/>
          </p:nvSpPr>
          <p:spPr bwMode="auto">
            <a:xfrm>
              <a:off x="11061661" y="6651233"/>
              <a:ext cx="232476" cy="206999"/>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124">
              <a:extLst>
                <a:ext uri="{FF2B5EF4-FFF2-40B4-BE49-F238E27FC236}">
                  <a16:creationId xmlns:a16="http://schemas.microsoft.com/office/drawing/2014/main" id="{6EAC760A-AA6F-B26D-00A7-3749F4BAD1A6}"/>
                </a:ext>
              </a:extLst>
            </p:cNvPr>
            <p:cNvSpPr>
              <a:spLocks/>
            </p:cNvSpPr>
            <p:nvPr/>
          </p:nvSpPr>
          <p:spPr bwMode="auto">
            <a:xfrm>
              <a:off x="10931094" y="6727663"/>
              <a:ext cx="63691" cy="41400"/>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126">
              <a:extLst>
                <a:ext uri="{FF2B5EF4-FFF2-40B4-BE49-F238E27FC236}">
                  <a16:creationId xmlns:a16="http://schemas.microsoft.com/office/drawing/2014/main" id="{A8FC211F-237D-1573-E349-29B96C306EEE}"/>
                </a:ext>
              </a:extLst>
            </p:cNvPr>
            <p:cNvSpPr>
              <a:spLocks/>
            </p:cNvSpPr>
            <p:nvPr/>
          </p:nvSpPr>
          <p:spPr bwMode="gray">
            <a:xfrm>
              <a:off x="11042554" y="6772248"/>
              <a:ext cx="38215" cy="57323"/>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129">
              <a:extLst>
                <a:ext uri="{FF2B5EF4-FFF2-40B4-BE49-F238E27FC236}">
                  <a16:creationId xmlns:a16="http://schemas.microsoft.com/office/drawing/2014/main" id="{683D71E7-C1D0-B023-8619-A8C1CA565F3A}"/>
                </a:ext>
              </a:extLst>
            </p:cNvPr>
            <p:cNvSpPr>
              <a:spLocks/>
            </p:cNvSpPr>
            <p:nvPr/>
          </p:nvSpPr>
          <p:spPr bwMode="auto">
            <a:xfrm>
              <a:off x="9555353" y="5428353"/>
              <a:ext cx="280244" cy="576411"/>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130">
              <a:extLst>
                <a:ext uri="{FF2B5EF4-FFF2-40B4-BE49-F238E27FC236}">
                  <a16:creationId xmlns:a16="http://schemas.microsoft.com/office/drawing/2014/main" id="{9CA8CF8D-D866-FFE2-E4DE-895F8FD18AD4}"/>
                </a:ext>
              </a:extLst>
            </p:cNvPr>
            <p:cNvSpPr>
              <a:spLocks/>
            </p:cNvSpPr>
            <p:nvPr/>
          </p:nvSpPr>
          <p:spPr bwMode="auto">
            <a:xfrm rot="290201">
              <a:off x="9370646" y="5673567"/>
              <a:ext cx="175151" cy="254767"/>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131">
              <a:extLst>
                <a:ext uri="{FF2B5EF4-FFF2-40B4-BE49-F238E27FC236}">
                  <a16:creationId xmlns:a16="http://schemas.microsoft.com/office/drawing/2014/main" id="{736EB2D3-84EF-6DE8-998B-5047D9FA7DC6}"/>
                </a:ext>
              </a:extLst>
            </p:cNvPr>
            <p:cNvSpPr>
              <a:spLocks/>
            </p:cNvSpPr>
            <p:nvPr/>
          </p:nvSpPr>
          <p:spPr bwMode="auto">
            <a:xfrm>
              <a:off x="9466184" y="5686304"/>
              <a:ext cx="101906" cy="82799"/>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132">
              <a:extLst>
                <a:ext uri="{FF2B5EF4-FFF2-40B4-BE49-F238E27FC236}">
                  <a16:creationId xmlns:a16="http://schemas.microsoft.com/office/drawing/2014/main" id="{CEF8080C-41CA-09CF-42EC-AAD54A227A75}"/>
                </a:ext>
              </a:extLst>
            </p:cNvPr>
            <p:cNvSpPr>
              <a:spLocks/>
            </p:cNvSpPr>
            <p:nvPr/>
          </p:nvSpPr>
          <p:spPr bwMode="auto">
            <a:xfrm>
              <a:off x="10561682" y="5871011"/>
              <a:ext cx="643286" cy="442657"/>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133">
              <a:extLst>
                <a:ext uri="{FF2B5EF4-FFF2-40B4-BE49-F238E27FC236}">
                  <a16:creationId xmlns:a16="http://schemas.microsoft.com/office/drawing/2014/main" id="{70819002-C461-4D92-A76C-DF0905140264}"/>
                </a:ext>
              </a:extLst>
            </p:cNvPr>
            <p:cNvSpPr>
              <a:spLocks/>
            </p:cNvSpPr>
            <p:nvPr/>
          </p:nvSpPr>
          <p:spPr bwMode="auto">
            <a:xfrm>
              <a:off x="10609449" y="5632165"/>
              <a:ext cx="331197" cy="289798"/>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134">
              <a:extLst>
                <a:ext uri="{FF2B5EF4-FFF2-40B4-BE49-F238E27FC236}">
                  <a16:creationId xmlns:a16="http://schemas.microsoft.com/office/drawing/2014/main" id="{F33ED5E2-C584-887A-3FE0-D25DBD7902CD}"/>
                </a:ext>
              </a:extLst>
            </p:cNvPr>
            <p:cNvSpPr>
              <a:spLocks/>
            </p:cNvSpPr>
            <p:nvPr/>
          </p:nvSpPr>
          <p:spPr bwMode="auto">
            <a:xfrm>
              <a:off x="10603081" y="5396506"/>
              <a:ext cx="168784" cy="143308"/>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135">
              <a:extLst>
                <a:ext uri="{FF2B5EF4-FFF2-40B4-BE49-F238E27FC236}">
                  <a16:creationId xmlns:a16="http://schemas.microsoft.com/office/drawing/2014/main" id="{30B76C76-326B-4904-FAB4-EB7262BF8A77}"/>
                </a:ext>
              </a:extLst>
            </p:cNvPr>
            <p:cNvSpPr>
              <a:spLocks/>
            </p:cNvSpPr>
            <p:nvPr/>
          </p:nvSpPr>
          <p:spPr bwMode="auto">
            <a:xfrm>
              <a:off x="10507543" y="5597137"/>
              <a:ext cx="238845" cy="178337"/>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136">
              <a:extLst>
                <a:ext uri="{FF2B5EF4-FFF2-40B4-BE49-F238E27FC236}">
                  <a16:creationId xmlns:a16="http://schemas.microsoft.com/office/drawing/2014/main" id="{8CF91C45-A2CF-4E95-1764-5399D8715AC8}"/>
                </a:ext>
              </a:extLst>
            </p:cNvPr>
            <p:cNvSpPr>
              <a:spLocks/>
            </p:cNvSpPr>
            <p:nvPr/>
          </p:nvSpPr>
          <p:spPr bwMode="auto">
            <a:xfrm>
              <a:off x="10526650" y="5498414"/>
              <a:ext cx="242029" cy="152860"/>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137">
              <a:extLst>
                <a:ext uri="{FF2B5EF4-FFF2-40B4-BE49-F238E27FC236}">
                  <a16:creationId xmlns:a16="http://schemas.microsoft.com/office/drawing/2014/main" id="{FC7E94F3-07E7-C023-A724-2D70E8366164}"/>
                </a:ext>
              </a:extLst>
            </p:cNvPr>
            <p:cNvSpPr>
              <a:spLocks/>
            </p:cNvSpPr>
            <p:nvPr/>
          </p:nvSpPr>
          <p:spPr bwMode="auto">
            <a:xfrm>
              <a:off x="10427929" y="5651273"/>
              <a:ext cx="156044" cy="76430"/>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138">
              <a:extLst>
                <a:ext uri="{FF2B5EF4-FFF2-40B4-BE49-F238E27FC236}">
                  <a16:creationId xmlns:a16="http://schemas.microsoft.com/office/drawing/2014/main" id="{28143650-49A0-2D19-B3ED-D89F38CBEF8C}"/>
                </a:ext>
              </a:extLst>
            </p:cNvPr>
            <p:cNvSpPr>
              <a:spLocks/>
            </p:cNvSpPr>
            <p:nvPr/>
          </p:nvSpPr>
          <p:spPr bwMode="auto">
            <a:xfrm>
              <a:off x="10271882" y="5670382"/>
              <a:ext cx="363043" cy="388519"/>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39">
              <a:extLst>
                <a:ext uri="{FF2B5EF4-FFF2-40B4-BE49-F238E27FC236}">
                  <a16:creationId xmlns:a16="http://schemas.microsoft.com/office/drawing/2014/main" id="{41349801-2610-285E-225C-277A146D0913}"/>
                </a:ext>
              </a:extLst>
            </p:cNvPr>
            <p:cNvSpPr>
              <a:spLocks/>
            </p:cNvSpPr>
            <p:nvPr/>
          </p:nvSpPr>
          <p:spPr bwMode="auto">
            <a:xfrm>
              <a:off x="9975718" y="5721334"/>
              <a:ext cx="318459" cy="420366"/>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41">
              <a:extLst>
                <a:ext uri="{FF2B5EF4-FFF2-40B4-BE49-F238E27FC236}">
                  <a16:creationId xmlns:a16="http://schemas.microsoft.com/office/drawing/2014/main" id="{5F500AC4-5AD8-124D-0AD1-6D431A9980A9}"/>
                </a:ext>
              </a:extLst>
            </p:cNvPr>
            <p:cNvSpPr>
              <a:spLocks/>
            </p:cNvSpPr>
            <p:nvPr/>
          </p:nvSpPr>
          <p:spPr bwMode="auto">
            <a:xfrm>
              <a:off x="9854703" y="5915595"/>
              <a:ext cx="136936" cy="114645"/>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142">
              <a:extLst>
                <a:ext uri="{FF2B5EF4-FFF2-40B4-BE49-F238E27FC236}">
                  <a16:creationId xmlns:a16="http://schemas.microsoft.com/office/drawing/2014/main" id="{5C3F54B6-EC5B-9CF9-7491-0089AD86E48D}"/>
                </a:ext>
              </a:extLst>
            </p:cNvPr>
            <p:cNvSpPr>
              <a:spLocks/>
            </p:cNvSpPr>
            <p:nvPr/>
          </p:nvSpPr>
          <p:spPr bwMode="auto">
            <a:xfrm>
              <a:off x="9896102" y="5804133"/>
              <a:ext cx="121014" cy="140122"/>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43">
              <a:extLst>
                <a:ext uri="{FF2B5EF4-FFF2-40B4-BE49-F238E27FC236}">
                  <a16:creationId xmlns:a16="http://schemas.microsoft.com/office/drawing/2014/main" id="{FA6EF5C3-8B65-AB1D-1611-3BF77F484C56}"/>
                </a:ext>
              </a:extLst>
            </p:cNvPr>
            <p:cNvSpPr>
              <a:spLocks/>
            </p:cNvSpPr>
            <p:nvPr/>
          </p:nvSpPr>
          <p:spPr bwMode="auto">
            <a:xfrm>
              <a:off x="10039410" y="5536629"/>
              <a:ext cx="117829" cy="18789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44">
              <a:extLst>
                <a:ext uri="{FF2B5EF4-FFF2-40B4-BE49-F238E27FC236}">
                  <a16:creationId xmlns:a16="http://schemas.microsoft.com/office/drawing/2014/main" id="{8323E684-C9BC-B055-DBA9-0A29F7B6A8B2}"/>
                </a:ext>
              </a:extLst>
            </p:cNvPr>
            <p:cNvSpPr>
              <a:spLocks/>
            </p:cNvSpPr>
            <p:nvPr/>
          </p:nvSpPr>
          <p:spPr bwMode="auto">
            <a:xfrm>
              <a:off x="10724096" y="6090746"/>
              <a:ext cx="127384" cy="162415"/>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45">
              <a:extLst>
                <a:ext uri="{FF2B5EF4-FFF2-40B4-BE49-F238E27FC236}">
                  <a16:creationId xmlns:a16="http://schemas.microsoft.com/office/drawing/2014/main" id="{6B84C0B6-A518-0B2F-3956-9FD28D998355}"/>
                </a:ext>
              </a:extLst>
            </p:cNvPr>
            <p:cNvSpPr>
              <a:spLocks/>
            </p:cNvSpPr>
            <p:nvPr/>
          </p:nvSpPr>
          <p:spPr bwMode="auto">
            <a:xfrm>
              <a:off x="10507543" y="6097116"/>
              <a:ext cx="328013" cy="242029"/>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46">
              <a:extLst>
                <a:ext uri="{FF2B5EF4-FFF2-40B4-BE49-F238E27FC236}">
                  <a16:creationId xmlns:a16="http://schemas.microsoft.com/office/drawing/2014/main" id="{A62B825B-1B74-BA1E-6351-4985F33928B5}"/>
                </a:ext>
              </a:extLst>
            </p:cNvPr>
            <p:cNvSpPr>
              <a:spLocks/>
            </p:cNvSpPr>
            <p:nvPr/>
          </p:nvSpPr>
          <p:spPr bwMode="auto">
            <a:xfrm>
              <a:off x="10564866" y="6323223"/>
              <a:ext cx="219738" cy="146491"/>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chemeClr val="bg1"/>
            </a:solidFill>
            <a:ln w="3175">
              <a:solidFill>
                <a:srgbClr val="9495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47">
              <a:extLst>
                <a:ext uri="{FF2B5EF4-FFF2-40B4-BE49-F238E27FC236}">
                  <a16:creationId xmlns:a16="http://schemas.microsoft.com/office/drawing/2014/main" id="{7F1F9319-A823-A8D9-2688-1C25401EF152}"/>
                </a:ext>
              </a:extLst>
            </p:cNvPr>
            <p:cNvSpPr>
              <a:spLocks/>
            </p:cNvSpPr>
            <p:nvPr/>
          </p:nvSpPr>
          <p:spPr bwMode="auto">
            <a:xfrm>
              <a:off x="10482067" y="6434682"/>
              <a:ext cx="238845" cy="248398"/>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48">
              <a:extLst>
                <a:ext uri="{FF2B5EF4-FFF2-40B4-BE49-F238E27FC236}">
                  <a16:creationId xmlns:a16="http://schemas.microsoft.com/office/drawing/2014/main" id="{1CE2CA7E-17D2-8DB1-62C2-1CB4B8603B8E}"/>
                </a:ext>
              </a:extLst>
            </p:cNvPr>
            <p:cNvSpPr>
              <a:spLocks/>
            </p:cNvSpPr>
            <p:nvPr/>
          </p:nvSpPr>
          <p:spPr bwMode="auto">
            <a:xfrm>
              <a:off x="10364238" y="6090746"/>
              <a:ext cx="219735" cy="149677"/>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00B0F2"/>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ltLang="zh-CN" sz="12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49">
              <a:extLst>
                <a:ext uri="{FF2B5EF4-FFF2-40B4-BE49-F238E27FC236}">
                  <a16:creationId xmlns:a16="http://schemas.microsoft.com/office/drawing/2014/main" id="{DCD9233C-92C3-8036-E0A2-7524B85D9D56}"/>
                </a:ext>
              </a:extLst>
            </p:cNvPr>
            <p:cNvSpPr>
              <a:spLocks/>
            </p:cNvSpPr>
            <p:nvPr/>
          </p:nvSpPr>
          <p:spPr bwMode="auto">
            <a:xfrm>
              <a:off x="10380160" y="6033424"/>
              <a:ext cx="194261" cy="98723"/>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51">
              <a:extLst>
                <a:ext uri="{FF2B5EF4-FFF2-40B4-BE49-F238E27FC236}">
                  <a16:creationId xmlns:a16="http://schemas.microsoft.com/office/drawing/2014/main" id="{AFE05A87-5491-EBFF-1E52-9E65E44E95ED}"/>
                </a:ext>
              </a:extLst>
            </p:cNvPr>
            <p:cNvSpPr>
              <a:spLocks/>
            </p:cNvSpPr>
            <p:nvPr/>
          </p:nvSpPr>
          <p:spPr bwMode="auto">
            <a:xfrm>
              <a:off x="10208192" y="5947441"/>
              <a:ext cx="257953" cy="143305"/>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54">
              <a:extLst>
                <a:ext uri="{FF2B5EF4-FFF2-40B4-BE49-F238E27FC236}">
                  <a16:creationId xmlns:a16="http://schemas.microsoft.com/office/drawing/2014/main" id="{59EF3613-16B8-4AF7-2C2B-AC3AFBBC7C6B}"/>
                </a:ext>
              </a:extLst>
            </p:cNvPr>
            <p:cNvSpPr>
              <a:spLocks/>
            </p:cNvSpPr>
            <p:nvPr/>
          </p:nvSpPr>
          <p:spPr bwMode="auto">
            <a:xfrm>
              <a:off x="10058517" y="6453789"/>
              <a:ext cx="54137" cy="111462"/>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55">
              <a:extLst>
                <a:ext uri="{FF2B5EF4-FFF2-40B4-BE49-F238E27FC236}">
                  <a16:creationId xmlns:a16="http://schemas.microsoft.com/office/drawing/2014/main" id="{64A2B8D6-35E7-A003-AA42-16E37A969B50}"/>
                </a:ext>
              </a:extLst>
            </p:cNvPr>
            <p:cNvSpPr>
              <a:spLocks/>
            </p:cNvSpPr>
            <p:nvPr/>
          </p:nvSpPr>
          <p:spPr bwMode="auto">
            <a:xfrm rot="290201">
              <a:off x="10195454" y="6600280"/>
              <a:ext cx="105093" cy="73246"/>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156">
              <a:extLst>
                <a:ext uri="{FF2B5EF4-FFF2-40B4-BE49-F238E27FC236}">
                  <a16:creationId xmlns:a16="http://schemas.microsoft.com/office/drawing/2014/main" id="{35D61031-A313-BFBB-B743-D0EE5E8D0005}"/>
                </a:ext>
              </a:extLst>
            </p:cNvPr>
            <p:cNvSpPr>
              <a:spLocks/>
            </p:cNvSpPr>
            <p:nvPr/>
          </p:nvSpPr>
          <p:spPr bwMode="auto">
            <a:xfrm rot="290201">
              <a:off x="10080808" y="6355068"/>
              <a:ext cx="28663" cy="70061"/>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157">
              <a:extLst>
                <a:ext uri="{FF2B5EF4-FFF2-40B4-BE49-F238E27FC236}">
                  <a16:creationId xmlns:a16="http://schemas.microsoft.com/office/drawing/2014/main" id="{7EEBC17E-A77A-D128-F4F1-C5C8E323552D}"/>
                </a:ext>
              </a:extLst>
            </p:cNvPr>
            <p:cNvSpPr>
              <a:spLocks/>
            </p:cNvSpPr>
            <p:nvPr/>
          </p:nvSpPr>
          <p:spPr bwMode="auto">
            <a:xfrm>
              <a:off x="10255961" y="6176731"/>
              <a:ext cx="111460" cy="63691"/>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158">
              <a:extLst>
                <a:ext uri="{FF2B5EF4-FFF2-40B4-BE49-F238E27FC236}">
                  <a16:creationId xmlns:a16="http://schemas.microsoft.com/office/drawing/2014/main" id="{8AB428D8-7629-8162-C226-BA8DA5255A9F}"/>
                </a:ext>
              </a:extLst>
            </p:cNvPr>
            <p:cNvSpPr>
              <a:spLocks/>
            </p:cNvSpPr>
            <p:nvPr/>
          </p:nvSpPr>
          <p:spPr bwMode="auto">
            <a:xfrm>
              <a:off x="10259145" y="6192654"/>
              <a:ext cx="197444" cy="165599"/>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59">
              <a:extLst>
                <a:ext uri="{FF2B5EF4-FFF2-40B4-BE49-F238E27FC236}">
                  <a16:creationId xmlns:a16="http://schemas.microsoft.com/office/drawing/2014/main" id="{09D4C6CF-E9E9-A40B-7BB5-CA41B4C3D0B6}"/>
                </a:ext>
              </a:extLst>
            </p:cNvPr>
            <p:cNvSpPr>
              <a:spLocks/>
            </p:cNvSpPr>
            <p:nvPr/>
          </p:nvSpPr>
          <p:spPr bwMode="auto">
            <a:xfrm>
              <a:off x="10341945" y="6262714"/>
              <a:ext cx="127384" cy="140122"/>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70">
              <a:extLst>
                <a:ext uri="{FF2B5EF4-FFF2-40B4-BE49-F238E27FC236}">
                  <a16:creationId xmlns:a16="http://schemas.microsoft.com/office/drawing/2014/main" id="{33DF2BE5-B2BC-C961-6109-B80B2D57AB73}"/>
                </a:ext>
              </a:extLst>
            </p:cNvPr>
            <p:cNvSpPr>
              <a:spLocks/>
            </p:cNvSpPr>
            <p:nvPr/>
          </p:nvSpPr>
          <p:spPr bwMode="auto">
            <a:xfrm rot="290201">
              <a:off x="8870665" y="4813728"/>
              <a:ext cx="385336" cy="257950"/>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232">
              <a:extLst>
                <a:ext uri="{FF2B5EF4-FFF2-40B4-BE49-F238E27FC236}">
                  <a16:creationId xmlns:a16="http://schemas.microsoft.com/office/drawing/2014/main" id="{573709DD-86AE-8286-1779-8344756BAE03}"/>
                </a:ext>
              </a:extLst>
            </p:cNvPr>
            <p:cNvSpPr>
              <a:spLocks/>
            </p:cNvSpPr>
            <p:nvPr/>
          </p:nvSpPr>
          <p:spPr bwMode="auto">
            <a:xfrm>
              <a:off x="10157239" y="5635352"/>
              <a:ext cx="66878" cy="108276"/>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234">
              <a:extLst>
                <a:ext uri="{FF2B5EF4-FFF2-40B4-BE49-F238E27FC236}">
                  <a16:creationId xmlns:a16="http://schemas.microsoft.com/office/drawing/2014/main" id="{95B9FCB0-F58B-C336-FC91-D56354F3E095}"/>
                </a:ext>
              </a:extLst>
            </p:cNvPr>
            <p:cNvSpPr>
              <a:spLocks/>
            </p:cNvSpPr>
            <p:nvPr/>
          </p:nvSpPr>
          <p:spPr bwMode="auto">
            <a:xfrm>
              <a:off x="9972532" y="6004764"/>
              <a:ext cx="15924" cy="22291"/>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240">
              <a:extLst>
                <a:ext uri="{FF2B5EF4-FFF2-40B4-BE49-F238E27FC236}">
                  <a16:creationId xmlns:a16="http://schemas.microsoft.com/office/drawing/2014/main" id="{5106B7FD-CFE9-D07E-9A9A-064C510C1628}"/>
                </a:ext>
              </a:extLst>
            </p:cNvPr>
            <p:cNvSpPr>
              <a:spLocks/>
            </p:cNvSpPr>
            <p:nvPr/>
          </p:nvSpPr>
          <p:spPr bwMode="auto">
            <a:xfrm>
              <a:off x="9835596" y="6364620"/>
              <a:ext cx="15922" cy="955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3" name="Group 245">
              <a:extLst>
                <a:ext uri="{FF2B5EF4-FFF2-40B4-BE49-F238E27FC236}">
                  <a16:creationId xmlns:a16="http://schemas.microsoft.com/office/drawing/2014/main" id="{67BCA7CD-19B4-4193-EA74-66AAF2035C15}"/>
                </a:ext>
              </a:extLst>
            </p:cNvPr>
            <p:cNvGrpSpPr>
              <a:grpSpLocks noChangeAspect="1"/>
            </p:cNvGrpSpPr>
            <p:nvPr/>
          </p:nvGrpSpPr>
          <p:grpSpPr bwMode="auto">
            <a:xfrm>
              <a:off x="10252788" y="6708538"/>
              <a:ext cx="25479" cy="22291"/>
              <a:chOff x="9952" y="13024"/>
              <a:chExt cx="1640" cy="1406"/>
            </a:xfrm>
            <a:solidFill>
              <a:schemeClr val="bg1"/>
            </a:solidFill>
          </p:grpSpPr>
          <p:sp>
            <p:nvSpPr>
              <p:cNvPr id="110" name="Freeform 246">
                <a:extLst>
                  <a:ext uri="{FF2B5EF4-FFF2-40B4-BE49-F238E27FC236}">
                    <a16:creationId xmlns:a16="http://schemas.microsoft.com/office/drawing/2014/main" id="{D31E52AE-C7D4-5235-0EC4-262C7BBAF250}"/>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247">
                <a:extLst>
                  <a:ext uri="{FF2B5EF4-FFF2-40B4-BE49-F238E27FC236}">
                    <a16:creationId xmlns:a16="http://schemas.microsoft.com/office/drawing/2014/main" id="{EA63844E-20E1-4140-919B-A1927657BF6B}"/>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4" name="Freeform 251">
              <a:extLst>
                <a:ext uri="{FF2B5EF4-FFF2-40B4-BE49-F238E27FC236}">
                  <a16:creationId xmlns:a16="http://schemas.microsoft.com/office/drawing/2014/main" id="{AE6F4DA4-E4F7-36E9-AC29-1D03E2E067AC}"/>
                </a:ext>
              </a:extLst>
            </p:cNvPr>
            <p:cNvSpPr>
              <a:spLocks/>
            </p:cNvSpPr>
            <p:nvPr/>
          </p:nvSpPr>
          <p:spPr bwMode="auto">
            <a:xfrm>
              <a:off x="11338722" y="6463344"/>
              <a:ext cx="133753" cy="98721"/>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252">
              <a:extLst>
                <a:ext uri="{FF2B5EF4-FFF2-40B4-BE49-F238E27FC236}">
                  <a16:creationId xmlns:a16="http://schemas.microsoft.com/office/drawing/2014/main" id="{BC99423B-12A4-FF97-AFEE-D3761173793D}"/>
                </a:ext>
              </a:extLst>
            </p:cNvPr>
            <p:cNvSpPr>
              <a:spLocks/>
            </p:cNvSpPr>
            <p:nvPr/>
          </p:nvSpPr>
          <p:spPr bwMode="auto">
            <a:xfrm>
              <a:off x="11396044" y="6527036"/>
              <a:ext cx="60506" cy="35030"/>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43">
              <a:extLst>
                <a:ext uri="{FF2B5EF4-FFF2-40B4-BE49-F238E27FC236}">
                  <a16:creationId xmlns:a16="http://schemas.microsoft.com/office/drawing/2014/main" id="{5EF76987-0386-722B-24DD-6A815A28C6EF}"/>
                </a:ext>
              </a:extLst>
            </p:cNvPr>
            <p:cNvSpPr>
              <a:spLocks noChangeAspect="1"/>
            </p:cNvSpPr>
            <p:nvPr/>
          </p:nvSpPr>
          <p:spPr bwMode="auto">
            <a:xfrm rot="287104">
              <a:off x="10456590" y="6396466"/>
              <a:ext cx="60508" cy="146491"/>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42">
              <a:extLst>
                <a:ext uri="{FF2B5EF4-FFF2-40B4-BE49-F238E27FC236}">
                  <a16:creationId xmlns:a16="http://schemas.microsoft.com/office/drawing/2014/main" id="{113003D0-A3E0-F612-63E0-9F37E624F7C5}"/>
                </a:ext>
              </a:extLst>
            </p:cNvPr>
            <p:cNvSpPr>
              <a:spLocks noChangeAspect="1"/>
            </p:cNvSpPr>
            <p:nvPr/>
          </p:nvSpPr>
          <p:spPr bwMode="auto">
            <a:xfrm>
              <a:off x="10443852" y="6224499"/>
              <a:ext cx="149677" cy="206999"/>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44">
              <a:extLst>
                <a:ext uri="{FF2B5EF4-FFF2-40B4-BE49-F238E27FC236}">
                  <a16:creationId xmlns:a16="http://schemas.microsoft.com/office/drawing/2014/main" id="{9AC893B5-42F2-B914-1C59-1A7E5A1BEDAF}"/>
                </a:ext>
              </a:extLst>
            </p:cNvPr>
            <p:cNvSpPr>
              <a:spLocks noChangeAspect="1"/>
            </p:cNvSpPr>
            <p:nvPr/>
          </p:nvSpPr>
          <p:spPr bwMode="auto">
            <a:xfrm rot="287104">
              <a:off x="10434299" y="6351883"/>
              <a:ext cx="63691" cy="82799"/>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46">
              <a:extLst>
                <a:ext uri="{FF2B5EF4-FFF2-40B4-BE49-F238E27FC236}">
                  <a16:creationId xmlns:a16="http://schemas.microsoft.com/office/drawing/2014/main" id="{B34BDEE8-0456-915D-813F-811C6D2A8644}"/>
                </a:ext>
              </a:extLst>
            </p:cNvPr>
            <p:cNvSpPr>
              <a:spLocks noChangeAspect="1"/>
            </p:cNvSpPr>
            <p:nvPr/>
          </p:nvSpPr>
          <p:spPr bwMode="auto">
            <a:xfrm>
              <a:off x="10497991" y="6418759"/>
              <a:ext cx="92352" cy="70061"/>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32">
              <a:extLst>
                <a:ext uri="{FF2B5EF4-FFF2-40B4-BE49-F238E27FC236}">
                  <a16:creationId xmlns:a16="http://schemas.microsoft.com/office/drawing/2014/main" id="{BD60A0E6-D67E-CEF5-F4B6-C96432B615E4}"/>
                </a:ext>
              </a:extLst>
            </p:cNvPr>
            <p:cNvSpPr>
              <a:spLocks/>
            </p:cNvSpPr>
            <p:nvPr/>
          </p:nvSpPr>
          <p:spPr bwMode="auto">
            <a:xfrm>
              <a:off x="10115840" y="6062086"/>
              <a:ext cx="286613" cy="140122"/>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33">
              <a:extLst>
                <a:ext uri="{FF2B5EF4-FFF2-40B4-BE49-F238E27FC236}">
                  <a16:creationId xmlns:a16="http://schemas.microsoft.com/office/drawing/2014/main" id="{9FEA86E2-EDBC-5BE7-E9F0-A2488101E0F0}"/>
                </a:ext>
              </a:extLst>
            </p:cNvPr>
            <p:cNvSpPr>
              <a:spLocks/>
            </p:cNvSpPr>
            <p:nvPr/>
          </p:nvSpPr>
          <p:spPr bwMode="auto">
            <a:xfrm>
              <a:off x="9978902" y="6132147"/>
              <a:ext cx="168784" cy="101906"/>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259">
              <a:extLst>
                <a:ext uri="{FF2B5EF4-FFF2-40B4-BE49-F238E27FC236}">
                  <a16:creationId xmlns:a16="http://schemas.microsoft.com/office/drawing/2014/main" id="{7CD3FC03-C9A9-6108-D0C9-B6602E962F74}"/>
                </a:ext>
              </a:extLst>
            </p:cNvPr>
            <p:cNvSpPr>
              <a:spLocks/>
            </p:cNvSpPr>
            <p:nvPr/>
          </p:nvSpPr>
          <p:spPr bwMode="auto">
            <a:xfrm>
              <a:off x="10109471" y="6148069"/>
              <a:ext cx="6369" cy="12739"/>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40">
              <a:extLst>
                <a:ext uri="{FF2B5EF4-FFF2-40B4-BE49-F238E27FC236}">
                  <a16:creationId xmlns:a16="http://schemas.microsoft.com/office/drawing/2014/main" id="{C206DB9A-583B-35E0-D3C1-0C54A55087DE}"/>
                </a:ext>
              </a:extLst>
            </p:cNvPr>
            <p:cNvSpPr>
              <a:spLocks/>
            </p:cNvSpPr>
            <p:nvPr/>
          </p:nvSpPr>
          <p:spPr bwMode="auto">
            <a:xfrm>
              <a:off x="9590381" y="5931517"/>
              <a:ext cx="449027" cy="455397"/>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50">
              <a:extLst>
                <a:ext uri="{FF2B5EF4-FFF2-40B4-BE49-F238E27FC236}">
                  <a16:creationId xmlns:a16="http://schemas.microsoft.com/office/drawing/2014/main" id="{23036466-3657-A0CE-51B4-AC320824B026}"/>
                </a:ext>
              </a:extLst>
            </p:cNvPr>
            <p:cNvSpPr>
              <a:spLocks/>
            </p:cNvSpPr>
            <p:nvPr/>
          </p:nvSpPr>
          <p:spPr bwMode="auto">
            <a:xfrm>
              <a:off x="10007564" y="6167176"/>
              <a:ext cx="420366" cy="452212"/>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41">
              <a:extLst>
                <a:ext uri="{FF2B5EF4-FFF2-40B4-BE49-F238E27FC236}">
                  <a16:creationId xmlns:a16="http://schemas.microsoft.com/office/drawing/2014/main" id="{744E4508-BCA5-347D-5CDF-F0F6A3609BE4}"/>
                </a:ext>
              </a:extLst>
            </p:cNvPr>
            <p:cNvSpPr/>
            <p:nvPr/>
          </p:nvSpPr>
          <p:spPr>
            <a:xfrm flipH="1">
              <a:off x="10749572" y="4449929"/>
              <a:ext cx="1442428" cy="2016598"/>
            </a:xfrm>
            <a:custGeom>
              <a:avLst/>
              <a:gdLst>
                <a:gd name="connsiteX0" fmla="*/ 292028 w 1442428"/>
                <a:gd name="connsiteY0" fmla="*/ 0 h 2016598"/>
                <a:gd name="connsiteX1" fmla="*/ 254515 w 1442428"/>
                <a:gd name="connsiteY1" fmla="*/ 27737 h 2016598"/>
                <a:gd name="connsiteX2" fmla="*/ 215915 w 1442428"/>
                <a:gd name="connsiteY2" fmla="*/ 65262 h 2016598"/>
                <a:gd name="connsiteX3" fmla="*/ 171334 w 1442428"/>
                <a:gd name="connsiteY3" fmla="*/ 65806 h 2016598"/>
                <a:gd name="connsiteX4" fmla="*/ 130559 w 1442428"/>
                <a:gd name="connsiteY4" fmla="*/ 80490 h 2016598"/>
                <a:gd name="connsiteX5" fmla="*/ 88697 w 1442428"/>
                <a:gd name="connsiteY5" fmla="*/ 98437 h 2016598"/>
                <a:gd name="connsiteX6" fmla="*/ 54446 w 1442428"/>
                <a:gd name="connsiteY6" fmla="*/ 132700 h 2016598"/>
                <a:gd name="connsiteX7" fmla="*/ 623 w 1442428"/>
                <a:gd name="connsiteY7" fmla="*/ 153366 h 2016598"/>
                <a:gd name="connsiteX8" fmla="*/ 0 w 1442428"/>
                <a:gd name="connsiteY8" fmla="*/ 154550 h 2016598"/>
                <a:gd name="connsiteX9" fmla="*/ 0 w 1442428"/>
                <a:gd name="connsiteY9" fmla="*/ 1273624 h 2016598"/>
                <a:gd name="connsiteX10" fmla="*/ 15846 w 1442428"/>
                <a:gd name="connsiteY10" fmla="*/ 1280768 h 2016598"/>
                <a:gd name="connsiteX11" fmla="*/ 54446 w 1442428"/>
                <a:gd name="connsiteY11" fmla="*/ 1282400 h 2016598"/>
                <a:gd name="connsiteX12" fmla="*/ 87610 w 1442428"/>
                <a:gd name="connsiteY12" fmla="*/ 1310136 h 2016598"/>
                <a:gd name="connsiteX13" fmla="*/ 136540 w 1442428"/>
                <a:gd name="connsiteY13" fmla="*/ 1317750 h 2016598"/>
                <a:gd name="connsiteX14" fmla="*/ 188732 w 1442428"/>
                <a:gd name="connsiteY14" fmla="*/ 1316662 h 2016598"/>
                <a:gd name="connsiteX15" fmla="*/ 226245 w 1442428"/>
                <a:gd name="connsiteY15" fmla="*/ 1334609 h 2016598"/>
                <a:gd name="connsiteX16" fmla="*/ 211566 w 1442428"/>
                <a:gd name="connsiteY16" fmla="*/ 1363434 h 2016598"/>
                <a:gd name="connsiteX17" fmla="*/ 191450 w 1442428"/>
                <a:gd name="connsiteY17" fmla="*/ 1384644 h 2016598"/>
                <a:gd name="connsiteX18" fmla="*/ 222983 w 1442428"/>
                <a:gd name="connsiteY18" fmla="*/ 1386819 h 2016598"/>
                <a:gd name="connsiteX19" fmla="*/ 227876 w 1442428"/>
                <a:gd name="connsiteY19" fmla="*/ 1409117 h 2016598"/>
                <a:gd name="connsiteX20" fmla="*/ 227332 w 1442428"/>
                <a:gd name="connsiteY20" fmla="*/ 1427064 h 2016598"/>
                <a:gd name="connsiteX21" fmla="*/ 255603 w 1442428"/>
                <a:gd name="connsiteY21" fmla="*/ 1445555 h 2016598"/>
                <a:gd name="connsiteX22" fmla="*/ 216459 w 1442428"/>
                <a:gd name="connsiteY22" fmla="*/ 1470028 h 2016598"/>
                <a:gd name="connsiteX23" fmla="*/ 202867 w 1442428"/>
                <a:gd name="connsiteY23" fmla="*/ 1485800 h 2016598"/>
                <a:gd name="connsiteX24" fmla="*/ 202867 w 1442428"/>
                <a:gd name="connsiteY24" fmla="*/ 1502659 h 2016598"/>
                <a:gd name="connsiteX25" fmla="*/ 222983 w 1442428"/>
                <a:gd name="connsiteY25" fmla="*/ 1510273 h 2016598"/>
                <a:gd name="connsiteX26" fmla="*/ 240380 w 1442428"/>
                <a:gd name="connsiteY26" fmla="*/ 1514080 h 2016598"/>
                <a:gd name="connsiteX27" fmla="*/ 263214 w 1442428"/>
                <a:gd name="connsiteY27" fmla="*/ 1505922 h 2016598"/>
                <a:gd name="connsiteX28" fmla="*/ 276806 w 1442428"/>
                <a:gd name="connsiteY28" fmla="*/ 1523326 h 2016598"/>
                <a:gd name="connsiteX29" fmla="*/ 300727 w 1442428"/>
                <a:gd name="connsiteY29" fmla="*/ 1515712 h 2016598"/>
                <a:gd name="connsiteX30" fmla="*/ 317581 w 1442428"/>
                <a:gd name="connsiteY30" fmla="*/ 1492870 h 2016598"/>
                <a:gd name="connsiteX31" fmla="*/ 327367 w 1442428"/>
                <a:gd name="connsiteY31" fmla="*/ 1504835 h 2016598"/>
                <a:gd name="connsiteX32" fmla="*/ 350744 w 1442428"/>
                <a:gd name="connsiteY32" fmla="*/ 1503203 h 2016598"/>
                <a:gd name="connsiteX33" fmla="*/ 373578 w 1442428"/>
                <a:gd name="connsiteY33" fmla="*/ 1519519 h 2016598"/>
                <a:gd name="connsiteX34" fmla="*/ 388258 w 1442428"/>
                <a:gd name="connsiteY34" fmla="*/ 1505922 h 2016598"/>
                <a:gd name="connsiteX35" fmla="*/ 437731 w 1442428"/>
                <a:gd name="connsiteY35" fmla="*/ 1516799 h 2016598"/>
                <a:gd name="connsiteX36" fmla="*/ 468720 w 1442428"/>
                <a:gd name="connsiteY36" fmla="*/ 1518975 h 2016598"/>
                <a:gd name="connsiteX37" fmla="*/ 493185 w 1442428"/>
                <a:gd name="connsiteY37" fmla="*/ 1489063 h 2016598"/>
                <a:gd name="connsiteX38" fmla="*/ 513301 w 1442428"/>
                <a:gd name="connsiteY38" fmla="*/ 1474379 h 2016598"/>
                <a:gd name="connsiteX39" fmla="*/ 535591 w 1442428"/>
                <a:gd name="connsiteY39" fmla="*/ 1460239 h 2016598"/>
                <a:gd name="connsiteX40" fmla="*/ 573648 w 1442428"/>
                <a:gd name="connsiteY40" fmla="*/ 1479274 h 2016598"/>
                <a:gd name="connsiteX41" fmla="*/ 595938 w 1442428"/>
                <a:gd name="connsiteY41" fmla="*/ 1456432 h 2016598"/>
                <a:gd name="connsiteX42" fmla="*/ 607899 w 1442428"/>
                <a:gd name="connsiteY42" fmla="*/ 1466765 h 2016598"/>
                <a:gd name="connsiteX43" fmla="*/ 629102 w 1442428"/>
                <a:gd name="connsiteY43" fmla="*/ 1484168 h 2016598"/>
                <a:gd name="connsiteX44" fmla="*/ 641606 w 1442428"/>
                <a:gd name="connsiteY44" fmla="*/ 1497765 h 2016598"/>
                <a:gd name="connsiteX45" fmla="*/ 653023 w 1442428"/>
                <a:gd name="connsiteY45" fmla="*/ 1507554 h 2016598"/>
                <a:gd name="connsiteX46" fmla="*/ 674226 w 1442428"/>
                <a:gd name="connsiteY46" fmla="*/ 1520063 h 2016598"/>
                <a:gd name="connsiteX47" fmla="*/ 670421 w 1442428"/>
                <a:gd name="connsiteY47" fmla="*/ 1574991 h 2016598"/>
                <a:gd name="connsiteX48" fmla="*/ 713370 w 1442428"/>
                <a:gd name="connsiteY48" fmla="*/ 1538010 h 2016598"/>
                <a:gd name="connsiteX49" fmla="*/ 726418 w 1442428"/>
                <a:gd name="connsiteY49" fmla="*/ 1569009 h 2016598"/>
                <a:gd name="connsiteX50" fmla="*/ 739466 w 1442428"/>
                <a:gd name="connsiteY50" fmla="*/ 1589132 h 2016598"/>
                <a:gd name="connsiteX51" fmla="*/ 738379 w 1442428"/>
                <a:gd name="connsiteY51" fmla="*/ 1610342 h 2016598"/>
                <a:gd name="connsiteX52" fmla="*/ 744359 w 1442428"/>
                <a:gd name="connsiteY52" fmla="*/ 1635903 h 2016598"/>
                <a:gd name="connsiteX53" fmla="*/ 730224 w 1442428"/>
                <a:gd name="connsiteY53" fmla="*/ 1660920 h 2016598"/>
                <a:gd name="connsiteX54" fmla="*/ 729680 w 1442428"/>
                <a:gd name="connsiteY54" fmla="*/ 1682130 h 2016598"/>
                <a:gd name="connsiteX55" fmla="*/ 713370 w 1442428"/>
                <a:gd name="connsiteY55" fmla="*/ 1693007 h 2016598"/>
                <a:gd name="connsiteX56" fmla="*/ 679119 w 1442428"/>
                <a:gd name="connsiteY56" fmla="*/ 1701165 h 2016598"/>
                <a:gd name="connsiteX57" fmla="*/ 664440 w 1442428"/>
                <a:gd name="connsiteY57" fmla="*/ 1729445 h 2016598"/>
                <a:gd name="connsiteX58" fmla="*/ 661178 w 1442428"/>
                <a:gd name="connsiteY58" fmla="*/ 1753374 h 2016598"/>
                <a:gd name="connsiteX59" fmla="*/ 651936 w 1442428"/>
                <a:gd name="connsiteY59" fmla="*/ 1768602 h 2016598"/>
                <a:gd name="connsiteX60" fmla="*/ 684012 w 1442428"/>
                <a:gd name="connsiteY60" fmla="*/ 1790900 h 2016598"/>
                <a:gd name="connsiteX61" fmla="*/ 709021 w 1442428"/>
                <a:gd name="connsiteY61" fmla="*/ 1815373 h 2016598"/>
                <a:gd name="connsiteX62" fmla="*/ 732942 w 1442428"/>
                <a:gd name="connsiteY62" fmla="*/ 1850180 h 2016598"/>
                <a:gd name="connsiteX63" fmla="*/ 713370 w 1442428"/>
                <a:gd name="connsiteY63" fmla="*/ 1885530 h 2016598"/>
                <a:gd name="connsiteX64" fmla="*/ 713370 w 1442428"/>
                <a:gd name="connsiteY64" fmla="*/ 1927950 h 2016598"/>
                <a:gd name="connsiteX65" fmla="*/ 692167 w 1442428"/>
                <a:gd name="connsiteY65" fmla="*/ 1954599 h 2016598"/>
                <a:gd name="connsiteX66" fmla="*/ 672595 w 1442428"/>
                <a:gd name="connsiteY66" fmla="*/ 1988862 h 2016598"/>
                <a:gd name="connsiteX67" fmla="*/ 711739 w 1442428"/>
                <a:gd name="connsiteY67" fmla="*/ 2016598 h 2016598"/>
                <a:gd name="connsiteX68" fmla="*/ 740010 w 1442428"/>
                <a:gd name="connsiteY68" fmla="*/ 1998107 h 2016598"/>
                <a:gd name="connsiteX69" fmla="*/ 770455 w 1442428"/>
                <a:gd name="connsiteY69" fmla="*/ 1962757 h 2016598"/>
                <a:gd name="connsiteX70" fmla="*/ 807425 w 1442428"/>
                <a:gd name="connsiteY70" fmla="*/ 1943178 h 2016598"/>
                <a:gd name="connsiteX71" fmla="*/ 852549 w 1442428"/>
                <a:gd name="connsiteY71" fmla="*/ 1947529 h 2016598"/>
                <a:gd name="connsiteX72" fmla="*/ 877014 w 1442428"/>
                <a:gd name="connsiteY72" fmla="*/ 1915442 h 2016598"/>
                <a:gd name="connsiteX73" fmla="*/ 914527 w 1442428"/>
                <a:gd name="connsiteY73" fmla="*/ 1918705 h 2016598"/>
                <a:gd name="connsiteX74" fmla="*/ 966176 w 1442428"/>
                <a:gd name="connsiteY74" fmla="*/ 1910547 h 2016598"/>
                <a:gd name="connsiteX75" fmla="*/ 1005863 w 1442428"/>
                <a:gd name="connsiteY75" fmla="*/ 1895319 h 2016598"/>
                <a:gd name="connsiteX76" fmla="*/ 1033047 w 1442428"/>
                <a:gd name="connsiteY76" fmla="*/ 1864864 h 2016598"/>
                <a:gd name="connsiteX77" fmla="*/ 1062405 w 1442428"/>
                <a:gd name="connsiteY77" fmla="*/ 1848004 h 2016598"/>
                <a:gd name="connsiteX78" fmla="*/ 1089044 w 1442428"/>
                <a:gd name="connsiteY78" fmla="*/ 1831689 h 2016598"/>
                <a:gd name="connsiteX79" fmla="*/ 1090132 w 1442428"/>
                <a:gd name="connsiteY79" fmla="*/ 1817005 h 2016598"/>
                <a:gd name="connsiteX80" fmla="*/ 1072734 w 1442428"/>
                <a:gd name="connsiteY80" fmla="*/ 1809391 h 2016598"/>
                <a:gd name="connsiteX81" fmla="*/ 1064036 w 1442428"/>
                <a:gd name="connsiteY81" fmla="*/ 1784918 h 2016598"/>
                <a:gd name="connsiteX82" fmla="*/ 1059143 w 1442428"/>
                <a:gd name="connsiteY82" fmla="*/ 1768058 h 2016598"/>
                <a:gd name="connsiteX83" fmla="*/ 1064579 w 1442428"/>
                <a:gd name="connsiteY83" fmla="*/ 1744673 h 2016598"/>
                <a:gd name="connsiteX84" fmla="*/ 1044464 w 1442428"/>
                <a:gd name="connsiteY84" fmla="*/ 1732708 h 2016598"/>
                <a:gd name="connsiteX85" fmla="*/ 1010756 w 1442428"/>
                <a:gd name="connsiteY85" fmla="*/ 1726182 h 2016598"/>
                <a:gd name="connsiteX86" fmla="*/ 1043376 w 1442428"/>
                <a:gd name="connsiteY86" fmla="*/ 1697902 h 2016598"/>
                <a:gd name="connsiteX87" fmla="*/ 997708 w 1442428"/>
                <a:gd name="connsiteY87" fmla="*/ 1677235 h 2016598"/>
                <a:gd name="connsiteX88" fmla="*/ 989010 w 1442428"/>
                <a:gd name="connsiteY88" fmla="*/ 1655481 h 2016598"/>
                <a:gd name="connsiteX89" fmla="*/ 994446 w 1442428"/>
                <a:gd name="connsiteY89" fmla="*/ 1634815 h 2016598"/>
                <a:gd name="connsiteX90" fmla="*/ 993903 w 1442428"/>
                <a:gd name="connsiteY90" fmla="*/ 1613061 h 2016598"/>
                <a:gd name="connsiteX91" fmla="*/ 993903 w 1442428"/>
                <a:gd name="connsiteY91" fmla="*/ 1600009 h 2016598"/>
                <a:gd name="connsiteX92" fmla="*/ 987922 w 1442428"/>
                <a:gd name="connsiteY92" fmla="*/ 1582061 h 2016598"/>
                <a:gd name="connsiteX93" fmla="*/ 1002601 w 1442428"/>
                <a:gd name="connsiteY93" fmla="*/ 1573904 h 2016598"/>
                <a:gd name="connsiteX94" fmla="*/ 1019999 w 1442428"/>
                <a:gd name="connsiteY94" fmla="*/ 1575535 h 2016598"/>
                <a:gd name="connsiteX95" fmla="*/ 1036852 w 1442428"/>
                <a:gd name="connsiteY95" fmla="*/ 1567921 h 2016598"/>
                <a:gd name="connsiteX96" fmla="*/ 1058055 w 1442428"/>
                <a:gd name="connsiteY96" fmla="*/ 1566290 h 2016598"/>
                <a:gd name="connsiteX97" fmla="*/ 1067298 w 1442428"/>
                <a:gd name="connsiteY97" fmla="*/ 1554869 h 2016598"/>
                <a:gd name="connsiteX98" fmla="*/ 1077627 w 1442428"/>
                <a:gd name="connsiteY98" fmla="*/ 1540185 h 2016598"/>
                <a:gd name="connsiteX99" fmla="*/ 1100461 w 1442428"/>
                <a:gd name="connsiteY99" fmla="*/ 1534746 h 2016598"/>
                <a:gd name="connsiteX100" fmla="*/ 1121664 w 1442428"/>
                <a:gd name="connsiteY100" fmla="*/ 1533115 h 2016598"/>
                <a:gd name="connsiteX101" fmla="*/ 1140693 w 1442428"/>
                <a:gd name="connsiteY101" fmla="*/ 1511905 h 2016598"/>
                <a:gd name="connsiteX102" fmla="*/ 1170594 w 1442428"/>
                <a:gd name="connsiteY102" fmla="*/ 1492326 h 2016598"/>
                <a:gd name="connsiteX103" fmla="*/ 1198321 w 1442428"/>
                <a:gd name="connsiteY103" fmla="*/ 1478186 h 2016598"/>
                <a:gd name="connsiteX104" fmla="*/ 1192885 w 1442428"/>
                <a:gd name="connsiteY104" fmla="*/ 1450450 h 2016598"/>
                <a:gd name="connsiteX105" fmla="*/ 1209195 w 1442428"/>
                <a:gd name="connsiteY105" fmla="*/ 1424345 h 2016598"/>
                <a:gd name="connsiteX106" fmla="*/ 1225505 w 1442428"/>
                <a:gd name="connsiteY106" fmla="*/ 1421082 h 2016598"/>
                <a:gd name="connsiteX107" fmla="*/ 1249970 w 1442428"/>
                <a:gd name="connsiteY107" fmla="*/ 1437397 h 2016598"/>
                <a:gd name="connsiteX108" fmla="*/ 1284765 w 1442428"/>
                <a:gd name="connsiteY108" fmla="*/ 1437397 h 2016598"/>
                <a:gd name="connsiteX109" fmla="*/ 1296182 w 1442428"/>
                <a:gd name="connsiteY109" fmla="*/ 1416187 h 2016598"/>
                <a:gd name="connsiteX110" fmla="*/ 1303793 w 1442428"/>
                <a:gd name="connsiteY110" fmla="*/ 1390082 h 2016598"/>
                <a:gd name="connsiteX111" fmla="*/ 1276066 w 1442428"/>
                <a:gd name="connsiteY111" fmla="*/ 1380293 h 2016598"/>
                <a:gd name="connsiteX112" fmla="*/ 1252144 w 1442428"/>
                <a:gd name="connsiteY112" fmla="*/ 1369960 h 2016598"/>
                <a:gd name="connsiteX113" fmla="*/ 1263562 w 1442428"/>
                <a:gd name="connsiteY113" fmla="*/ 1350381 h 2016598"/>
                <a:gd name="connsiteX114" fmla="*/ 1280959 w 1442428"/>
                <a:gd name="connsiteY114" fmla="*/ 1338960 h 2016598"/>
                <a:gd name="connsiteX115" fmla="*/ 1284765 w 1442428"/>
                <a:gd name="connsiteY115" fmla="*/ 1321013 h 2016598"/>
                <a:gd name="connsiteX116" fmla="*/ 1292376 w 1442428"/>
                <a:gd name="connsiteY116" fmla="*/ 1308505 h 2016598"/>
                <a:gd name="connsiteX117" fmla="*/ 1305968 w 1442428"/>
                <a:gd name="connsiteY117" fmla="*/ 1291645 h 2016598"/>
                <a:gd name="connsiteX118" fmla="*/ 1317385 w 1442428"/>
                <a:gd name="connsiteY118" fmla="*/ 1278593 h 2016598"/>
                <a:gd name="connsiteX119" fmla="*/ 1323365 w 1442428"/>
                <a:gd name="connsiteY119" fmla="*/ 1259558 h 2016598"/>
                <a:gd name="connsiteX120" fmla="*/ 1315754 w 1442428"/>
                <a:gd name="connsiteY120" fmla="*/ 1233453 h 2016598"/>
                <a:gd name="connsiteX121" fmla="*/ 1328802 w 1442428"/>
                <a:gd name="connsiteY121" fmla="*/ 1216594 h 2016598"/>
                <a:gd name="connsiteX122" fmla="*/ 1352723 w 1442428"/>
                <a:gd name="connsiteY122" fmla="*/ 1205717 h 2016598"/>
                <a:gd name="connsiteX123" fmla="*/ 1395129 w 1442428"/>
                <a:gd name="connsiteY123" fmla="*/ 1195384 h 2016598"/>
                <a:gd name="connsiteX124" fmla="*/ 1426662 w 1442428"/>
                <a:gd name="connsiteY124" fmla="*/ 1180700 h 2016598"/>
                <a:gd name="connsiteX125" fmla="*/ 1427749 w 1442428"/>
                <a:gd name="connsiteY125" fmla="*/ 1119245 h 2016598"/>
                <a:gd name="connsiteX126" fmla="*/ 1442428 w 1442428"/>
                <a:gd name="connsiteY126" fmla="*/ 1089877 h 2016598"/>
                <a:gd name="connsiteX127" fmla="*/ 1431555 w 1442428"/>
                <a:gd name="connsiteY127" fmla="*/ 1052351 h 2016598"/>
                <a:gd name="connsiteX128" fmla="*/ 1431011 w 1442428"/>
                <a:gd name="connsiteY128" fmla="*/ 1013194 h 2016598"/>
                <a:gd name="connsiteX129" fmla="*/ 1424487 w 1442428"/>
                <a:gd name="connsiteY129" fmla="*/ 983826 h 2016598"/>
                <a:gd name="connsiteX130" fmla="*/ 1416876 w 1442428"/>
                <a:gd name="connsiteY130" fmla="*/ 957177 h 2016598"/>
                <a:gd name="connsiteX131" fmla="*/ 1408721 w 1442428"/>
                <a:gd name="connsiteY131" fmla="*/ 944669 h 2016598"/>
                <a:gd name="connsiteX132" fmla="*/ 1375557 w 1442428"/>
                <a:gd name="connsiteY132" fmla="*/ 936511 h 2016598"/>
                <a:gd name="connsiteX133" fmla="*/ 1354898 w 1442428"/>
                <a:gd name="connsiteY133" fmla="*/ 933248 h 2016598"/>
                <a:gd name="connsiteX134" fmla="*/ 1356529 w 1442428"/>
                <a:gd name="connsiteY134" fmla="*/ 911494 h 2016598"/>
                <a:gd name="connsiteX135" fmla="*/ 1401109 w 1442428"/>
                <a:gd name="connsiteY135" fmla="*/ 881038 h 2016598"/>
                <a:gd name="connsiteX136" fmla="*/ 1388605 w 1442428"/>
                <a:gd name="connsiteY136" fmla="*/ 853302 h 2016598"/>
                <a:gd name="connsiteX137" fmla="*/ 1366858 w 1442428"/>
                <a:gd name="connsiteY137" fmla="*/ 819039 h 2016598"/>
                <a:gd name="connsiteX138" fmla="*/ 1352179 w 1442428"/>
                <a:gd name="connsiteY138" fmla="*/ 796197 h 2016598"/>
                <a:gd name="connsiteX139" fmla="*/ 1331520 w 1442428"/>
                <a:gd name="connsiteY139" fmla="*/ 759216 h 2016598"/>
                <a:gd name="connsiteX140" fmla="*/ 1305424 w 1442428"/>
                <a:gd name="connsiteY140" fmla="*/ 729304 h 2016598"/>
                <a:gd name="connsiteX141" fmla="*/ 1294007 w 1442428"/>
                <a:gd name="connsiteY141" fmla="*/ 688515 h 2016598"/>
                <a:gd name="connsiteX142" fmla="*/ 1313579 w 1442428"/>
                <a:gd name="connsiteY142" fmla="*/ 664042 h 2016598"/>
                <a:gd name="connsiteX143" fmla="*/ 1332607 w 1442428"/>
                <a:gd name="connsiteY143" fmla="*/ 649358 h 2016598"/>
                <a:gd name="connsiteX144" fmla="*/ 1339675 w 1442428"/>
                <a:gd name="connsiteY144" fmla="*/ 628148 h 2016598"/>
                <a:gd name="connsiteX145" fmla="*/ 1324996 w 1442428"/>
                <a:gd name="connsiteY145" fmla="*/ 596060 h 2016598"/>
                <a:gd name="connsiteX146" fmla="*/ 1347830 w 1442428"/>
                <a:gd name="connsiteY146" fmla="*/ 534061 h 2016598"/>
                <a:gd name="connsiteX147" fmla="*/ 1352723 w 1442428"/>
                <a:gd name="connsiteY147" fmla="*/ 481308 h 2016598"/>
                <a:gd name="connsiteX148" fmla="*/ 1342937 w 1442428"/>
                <a:gd name="connsiteY148" fmla="*/ 440519 h 2016598"/>
                <a:gd name="connsiteX149" fmla="*/ 1370664 w 1442428"/>
                <a:gd name="connsiteY149" fmla="*/ 383959 h 2016598"/>
                <a:gd name="connsiteX150" fmla="*/ 1348917 w 1442428"/>
                <a:gd name="connsiteY150" fmla="*/ 283890 h 2016598"/>
                <a:gd name="connsiteX151" fmla="*/ 1388605 w 1442428"/>
                <a:gd name="connsiteY151" fmla="*/ 234944 h 2016598"/>
                <a:gd name="connsiteX152" fmla="*/ 1384799 w 1442428"/>
                <a:gd name="connsiteY152" fmla="*/ 202313 h 2016598"/>
                <a:gd name="connsiteX153" fmla="*/ 1378819 w 1442428"/>
                <a:gd name="connsiteY153" fmla="*/ 139226 h 2016598"/>
                <a:gd name="connsiteX154" fmla="*/ 1365227 w 1442428"/>
                <a:gd name="connsiteY154" fmla="*/ 110946 h 2016598"/>
                <a:gd name="connsiteX155" fmla="*/ 1344568 w 1442428"/>
                <a:gd name="connsiteY155" fmla="*/ 85385 h 2016598"/>
                <a:gd name="connsiteX156" fmla="*/ 1342937 w 1442428"/>
                <a:gd name="connsiteY156" fmla="*/ 65262 h 2016598"/>
                <a:gd name="connsiteX157" fmla="*/ 1318472 w 1442428"/>
                <a:gd name="connsiteY157" fmla="*/ 68525 h 2016598"/>
                <a:gd name="connsiteX158" fmla="*/ 1294551 w 1442428"/>
                <a:gd name="connsiteY158" fmla="*/ 74508 h 2016598"/>
                <a:gd name="connsiteX159" fmla="*/ 1272804 w 1442428"/>
                <a:gd name="connsiteY159" fmla="*/ 55473 h 2016598"/>
                <a:gd name="connsiteX160" fmla="*/ 1243446 w 1442428"/>
                <a:gd name="connsiteY160" fmla="*/ 71245 h 2016598"/>
                <a:gd name="connsiteX161" fmla="*/ 1235834 w 1442428"/>
                <a:gd name="connsiteY161" fmla="*/ 84297 h 2016598"/>
                <a:gd name="connsiteX162" fmla="*/ 1243990 w 1442428"/>
                <a:gd name="connsiteY162" fmla="*/ 105507 h 2016598"/>
                <a:gd name="connsiteX163" fmla="*/ 1209738 w 1442428"/>
                <a:gd name="connsiteY163" fmla="*/ 120735 h 2016598"/>
                <a:gd name="connsiteX164" fmla="*/ 1139062 w 1442428"/>
                <a:gd name="connsiteY164" fmla="*/ 140314 h 2016598"/>
                <a:gd name="connsiteX165" fmla="*/ 1084151 w 1442428"/>
                <a:gd name="connsiteY165" fmla="*/ 177295 h 2016598"/>
                <a:gd name="connsiteX166" fmla="*/ 1024892 w 1442428"/>
                <a:gd name="connsiteY166" fmla="*/ 223523 h 2016598"/>
                <a:gd name="connsiteX167" fmla="*/ 958564 w 1442428"/>
                <a:gd name="connsiteY167" fmla="*/ 272469 h 2016598"/>
                <a:gd name="connsiteX168" fmla="*/ 938992 w 1442428"/>
                <a:gd name="connsiteY168" fmla="*/ 327398 h 2016598"/>
                <a:gd name="connsiteX169" fmla="*/ 940080 w 1442428"/>
                <a:gd name="connsiteY169" fmla="*/ 369819 h 2016598"/>
                <a:gd name="connsiteX170" fmla="*/ 968350 w 1442428"/>
                <a:gd name="connsiteY170" fmla="*/ 407344 h 2016598"/>
                <a:gd name="connsiteX171" fmla="*/ 1010213 w 1442428"/>
                <a:gd name="connsiteY171" fmla="*/ 431817 h 2016598"/>
                <a:gd name="connsiteX172" fmla="*/ 1091763 w 1442428"/>
                <a:gd name="connsiteY172" fmla="*/ 422572 h 2016598"/>
                <a:gd name="connsiteX173" fmla="*/ 1157546 w 1442428"/>
                <a:gd name="connsiteY173" fmla="*/ 396467 h 2016598"/>
                <a:gd name="connsiteX174" fmla="*/ 1214088 w 1442428"/>
                <a:gd name="connsiteY174" fmla="*/ 368731 h 2016598"/>
                <a:gd name="connsiteX175" fmla="*/ 1258669 w 1442428"/>
                <a:gd name="connsiteY175" fmla="*/ 340994 h 2016598"/>
                <a:gd name="connsiteX176" fmla="*/ 1261931 w 1442428"/>
                <a:gd name="connsiteY176" fmla="*/ 352415 h 2016598"/>
                <a:gd name="connsiteX177" fmla="*/ 1232572 w 1442428"/>
                <a:gd name="connsiteY177" fmla="*/ 389941 h 2016598"/>
                <a:gd name="connsiteX178" fmla="*/ 1217350 w 1442428"/>
                <a:gd name="connsiteY178" fmla="*/ 412239 h 2016598"/>
                <a:gd name="connsiteX179" fmla="*/ 1173856 w 1442428"/>
                <a:gd name="connsiteY179" fmla="*/ 453028 h 2016598"/>
                <a:gd name="connsiteX180" fmla="*/ 1173313 w 1442428"/>
                <a:gd name="connsiteY180" fmla="*/ 484571 h 2016598"/>
                <a:gd name="connsiteX181" fmla="*/ 1186361 w 1442428"/>
                <a:gd name="connsiteY181" fmla="*/ 498711 h 2016598"/>
                <a:gd name="connsiteX182" fmla="*/ 1176575 w 1442428"/>
                <a:gd name="connsiteY182" fmla="*/ 516658 h 2016598"/>
                <a:gd name="connsiteX183" fmla="*/ 1177118 w 1442428"/>
                <a:gd name="connsiteY183" fmla="*/ 549833 h 2016598"/>
                <a:gd name="connsiteX184" fmla="*/ 1160265 w 1442428"/>
                <a:gd name="connsiteY184" fmla="*/ 583552 h 2016598"/>
                <a:gd name="connsiteX185" fmla="*/ 1134169 w 1442428"/>
                <a:gd name="connsiteY185" fmla="*/ 592253 h 2016598"/>
                <a:gd name="connsiteX186" fmla="*/ 1111878 w 1442428"/>
                <a:gd name="connsiteY186" fmla="*/ 624884 h 2016598"/>
                <a:gd name="connsiteX187" fmla="*/ 1070560 w 1442428"/>
                <a:gd name="connsiteY187" fmla="*/ 630867 h 2016598"/>
                <a:gd name="connsiteX188" fmla="*/ 1067841 w 1442428"/>
                <a:gd name="connsiteY188" fmla="*/ 583008 h 2016598"/>
                <a:gd name="connsiteX189" fmla="*/ 1090132 w 1442428"/>
                <a:gd name="connsiteY189" fmla="*/ 531886 h 2016598"/>
                <a:gd name="connsiteX190" fmla="*/ 1049900 w 1442428"/>
                <a:gd name="connsiteY190" fmla="*/ 495992 h 2016598"/>
                <a:gd name="connsiteX191" fmla="*/ 1001514 w 1442428"/>
                <a:gd name="connsiteY191" fmla="*/ 518290 h 2016598"/>
                <a:gd name="connsiteX192" fmla="*/ 952584 w 1442428"/>
                <a:gd name="connsiteY192" fmla="*/ 536237 h 2016598"/>
                <a:gd name="connsiteX193" fmla="*/ 957477 w 1442428"/>
                <a:gd name="connsiteY193" fmla="*/ 468799 h 2016598"/>
                <a:gd name="connsiteX194" fmla="*/ 921595 w 1442428"/>
                <a:gd name="connsiteY194" fmla="*/ 422572 h 2016598"/>
                <a:gd name="connsiteX195" fmla="*/ 877014 w 1442428"/>
                <a:gd name="connsiteY195" fmla="*/ 381239 h 2016598"/>
                <a:gd name="connsiteX196" fmla="*/ 850374 w 1442428"/>
                <a:gd name="connsiteY196" fmla="*/ 354047 h 2016598"/>
                <a:gd name="connsiteX197" fmla="*/ 815580 w 1442428"/>
                <a:gd name="connsiteY197" fmla="*/ 399730 h 2016598"/>
                <a:gd name="connsiteX198" fmla="*/ 788940 w 1442428"/>
                <a:gd name="connsiteY198" fmla="*/ 363292 h 2016598"/>
                <a:gd name="connsiteX199" fmla="*/ 815580 w 1442428"/>
                <a:gd name="connsiteY199" fmla="*/ 331205 h 2016598"/>
                <a:gd name="connsiteX200" fmla="*/ 815580 w 1442428"/>
                <a:gd name="connsiteY200" fmla="*/ 280627 h 2016598"/>
                <a:gd name="connsiteX201" fmla="*/ 797639 w 1442428"/>
                <a:gd name="connsiteY201" fmla="*/ 235487 h 2016598"/>
                <a:gd name="connsiteX202" fmla="*/ 824278 w 1442428"/>
                <a:gd name="connsiteY202" fmla="*/ 208295 h 2016598"/>
                <a:gd name="connsiteX203" fmla="*/ 812318 w 1442428"/>
                <a:gd name="connsiteY203" fmla="*/ 165875 h 2016598"/>
                <a:gd name="connsiteX204" fmla="*/ 766106 w 1442428"/>
                <a:gd name="connsiteY204" fmla="*/ 176208 h 2016598"/>
                <a:gd name="connsiteX205" fmla="*/ 715545 w 1442428"/>
                <a:gd name="connsiteY205" fmla="*/ 199593 h 2016598"/>
                <a:gd name="connsiteX206" fmla="*/ 704128 w 1442428"/>
                <a:gd name="connsiteY206" fmla="*/ 239838 h 2016598"/>
                <a:gd name="connsiteX207" fmla="*/ 730768 w 1442428"/>
                <a:gd name="connsiteY207" fmla="*/ 271925 h 2016598"/>
                <a:gd name="connsiteX208" fmla="*/ 766106 w 1442428"/>
                <a:gd name="connsiteY208" fmla="*/ 276276 h 2016598"/>
                <a:gd name="connsiteX209" fmla="*/ 748709 w 1442428"/>
                <a:gd name="connsiteY209" fmla="*/ 312714 h 2016598"/>
                <a:gd name="connsiteX210" fmla="*/ 726962 w 1442428"/>
                <a:gd name="connsiteY210" fmla="*/ 335556 h 2016598"/>
                <a:gd name="connsiteX211" fmla="*/ 682925 w 1442428"/>
                <a:gd name="connsiteY211" fmla="*/ 322504 h 2016598"/>
                <a:gd name="connsiteX212" fmla="*/ 664440 w 1442428"/>
                <a:gd name="connsiteY212" fmla="*/ 271925 h 2016598"/>
                <a:gd name="connsiteX213" fmla="*/ 616054 w 1442428"/>
                <a:gd name="connsiteY213" fmla="*/ 221347 h 2016598"/>
                <a:gd name="connsiteX214" fmla="*/ 544834 w 1442428"/>
                <a:gd name="connsiteY214" fmla="*/ 184909 h 2016598"/>
                <a:gd name="connsiteX215" fmla="*/ 505690 w 1442428"/>
                <a:gd name="connsiteY215" fmla="*/ 139226 h 2016598"/>
                <a:gd name="connsiteX216" fmla="*/ 461109 w 1442428"/>
                <a:gd name="connsiteY216" fmla="*/ 129980 h 2016598"/>
                <a:gd name="connsiteX217" fmla="*/ 469808 w 1442428"/>
                <a:gd name="connsiteY217" fmla="*/ 199049 h 2016598"/>
                <a:gd name="connsiteX218" fmla="*/ 434469 w 1442428"/>
                <a:gd name="connsiteY218" fmla="*/ 208295 h 2016598"/>
                <a:gd name="connsiteX219" fmla="*/ 394238 w 1442428"/>
                <a:gd name="connsiteY219" fmla="*/ 189804 h 2016598"/>
                <a:gd name="connsiteX220" fmla="*/ 327367 w 1442428"/>
                <a:gd name="connsiteY220" fmla="*/ 143577 h 2016598"/>
                <a:gd name="connsiteX221" fmla="*/ 279524 w 1442428"/>
                <a:gd name="connsiteY221" fmla="*/ 139226 h 2016598"/>
                <a:gd name="connsiteX222" fmla="*/ 244729 w 1442428"/>
                <a:gd name="connsiteY222" fmla="*/ 166962 h 2016598"/>
                <a:gd name="connsiteX223" fmla="*/ 225701 w 1442428"/>
                <a:gd name="connsiteY223" fmla="*/ 137594 h 2016598"/>
                <a:gd name="connsiteX224" fmla="*/ 251253 w 1442428"/>
                <a:gd name="connsiteY224" fmla="*/ 88104 h 2016598"/>
                <a:gd name="connsiteX225" fmla="*/ 310513 w 1442428"/>
                <a:gd name="connsiteY225" fmla="*/ 33175 h 2016598"/>
                <a:gd name="connsiteX226" fmla="*/ 292028 w 1442428"/>
                <a:gd name="connsiteY226" fmla="*/ 0 h 20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2428" h="2016598">
                  <a:moveTo>
                    <a:pt x="292028" y="0"/>
                  </a:moveTo>
                  <a:lnTo>
                    <a:pt x="254515" y="27737"/>
                  </a:lnTo>
                  <a:lnTo>
                    <a:pt x="215915" y="65262"/>
                  </a:lnTo>
                  <a:lnTo>
                    <a:pt x="171334" y="65806"/>
                  </a:lnTo>
                  <a:lnTo>
                    <a:pt x="130559" y="80490"/>
                  </a:lnTo>
                  <a:lnTo>
                    <a:pt x="88697" y="98437"/>
                  </a:lnTo>
                  <a:lnTo>
                    <a:pt x="54446" y="132700"/>
                  </a:lnTo>
                  <a:lnTo>
                    <a:pt x="623" y="153366"/>
                  </a:lnTo>
                  <a:lnTo>
                    <a:pt x="0" y="154550"/>
                  </a:lnTo>
                  <a:lnTo>
                    <a:pt x="0" y="1273624"/>
                  </a:lnTo>
                  <a:lnTo>
                    <a:pt x="15846" y="1280768"/>
                  </a:lnTo>
                  <a:lnTo>
                    <a:pt x="54446" y="1282400"/>
                  </a:lnTo>
                  <a:lnTo>
                    <a:pt x="87610" y="1310136"/>
                  </a:lnTo>
                  <a:lnTo>
                    <a:pt x="136540" y="1317750"/>
                  </a:lnTo>
                  <a:lnTo>
                    <a:pt x="188732" y="1316662"/>
                  </a:lnTo>
                  <a:lnTo>
                    <a:pt x="226245" y="1334609"/>
                  </a:lnTo>
                  <a:lnTo>
                    <a:pt x="211566" y="1363434"/>
                  </a:lnTo>
                  <a:lnTo>
                    <a:pt x="191450" y="1384644"/>
                  </a:lnTo>
                  <a:lnTo>
                    <a:pt x="222983" y="1386819"/>
                  </a:lnTo>
                  <a:lnTo>
                    <a:pt x="227876" y="1409117"/>
                  </a:lnTo>
                  <a:lnTo>
                    <a:pt x="227332" y="1427064"/>
                  </a:lnTo>
                  <a:lnTo>
                    <a:pt x="255603" y="1445555"/>
                  </a:lnTo>
                  <a:lnTo>
                    <a:pt x="216459" y="1470028"/>
                  </a:lnTo>
                  <a:lnTo>
                    <a:pt x="202867" y="1485800"/>
                  </a:lnTo>
                  <a:lnTo>
                    <a:pt x="202867" y="1502659"/>
                  </a:lnTo>
                  <a:lnTo>
                    <a:pt x="222983" y="1510273"/>
                  </a:lnTo>
                  <a:lnTo>
                    <a:pt x="240380" y="1514080"/>
                  </a:lnTo>
                  <a:lnTo>
                    <a:pt x="263214" y="1505922"/>
                  </a:lnTo>
                  <a:lnTo>
                    <a:pt x="276806" y="1523326"/>
                  </a:lnTo>
                  <a:lnTo>
                    <a:pt x="300727" y="1515712"/>
                  </a:lnTo>
                  <a:lnTo>
                    <a:pt x="317581" y="1492870"/>
                  </a:lnTo>
                  <a:lnTo>
                    <a:pt x="327367" y="1504835"/>
                  </a:lnTo>
                  <a:lnTo>
                    <a:pt x="350744" y="1503203"/>
                  </a:lnTo>
                  <a:lnTo>
                    <a:pt x="373578" y="1519519"/>
                  </a:lnTo>
                  <a:lnTo>
                    <a:pt x="388258" y="1505922"/>
                  </a:lnTo>
                  <a:lnTo>
                    <a:pt x="437731" y="1516799"/>
                  </a:lnTo>
                  <a:lnTo>
                    <a:pt x="468720" y="1518975"/>
                  </a:lnTo>
                  <a:lnTo>
                    <a:pt x="493185" y="1489063"/>
                  </a:lnTo>
                  <a:lnTo>
                    <a:pt x="513301" y="1474379"/>
                  </a:lnTo>
                  <a:lnTo>
                    <a:pt x="535591" y="1460239"/>
                  </a:lnTo>
                  <a:lnTo>
                    <a:pt x="573648" y="1479274"/>
                  </a:lnTo>
                  <a:lnTo>
                    <a:pt x="595938" y="1456432"/>
                  </a:lnTo>
                  <a:lnTo>
                    <a:pt x="607899" y="1466765"/>
                  </a:lnTo>
                  <a:lnTo>
                    <a:pt x="629102" y="1484168"/>
                  </a:lnTo>
                  <a:lnTo>
                    <a:pt x="641606" y="1497765"/>
                  </a:lnTo>
                  <a:lnTo>
                    <a:pt x="653023" y="1507554"/>
                  </a:lnTo>
                  <a:lnTo>
                    <a:pt x="674226" y="1520063"/>
                  </a:lnTo>
                  <a:lnTo>
                    <a:pt x="670421" y="1574991"/>
                  </a:lnTo>
                  <a:lnTo>
                    <a:pt x="713370" y="1538010"/>
                  </a:lnTo>
                  <a:lnTo>
                    <a:pt x="726418" y="1569009"/>
                  </a:lnTo>
                  <a:lnTo>
                    <a:pt x="739466" y="1589132"/>
                  </a:lnTo>
                  <a:lnTo>
                    <a:pt x="738379" y="1610342"/>
                  </a:lnTo>
                  <a:lnTo>
                    <a:pt x="744359" y="1635903"/>
                  </a:lnTo>
                  <a:lnTo>
                    <a:pt x="730224" y="1660920"/>
                  </a:lnTo>
                  <a:lnTo>
                    <a:pt x="729680" y="1682130"/>
                  </a:lnTo>
                  <a:lnTo>
                    <a:pt x="713370" y="1693007"/>
                  </a:lnTo>
                  <a:lnTo>
                    <a:pt x="679119" y="1701165"/>
                  </a:lnTo>
                  <a:lnTo>
                    <a:pt x="664440" y="1729445"/>
                  </a:lnTo>
                  <a:lnTo>
                    <a:pt x="661178" y="1753374"/>
                  </a:lnTo>
                  <a:lnTo>
                    <a:pt x="651936" y="1768602"/>
                  </a:lnTo>
                  <a:lnTo>
                    <a:pt x="684012" y="1790900"/>
                  </a:lnTo>
                  <a:lnTo>
                    <a:pt x="709021" y="1815373"/>
                  </a:lnTo>
                  <a:lnTo>
                    <a:pt x="732942" y="1850180"/>
                  </a:lnTo>
                  <a:lnTo>
                    <a:pt x="713370" y="1885530"/>
                  </a:lnTo>
                  <a:lnTo>
                    <a:pt x="713370" y="1927950"/>
                  </a:lnTo>
                  <a:lnTo>
                    <a:pt x="692167" y="1954599"/>
                  </a:lnTo>
                  <a:lnTo>
                    <a:pt x="672595" y="1988862"/>
                  </a:lnTo>
                  <a:lnTo>
                    <a:pt x="711739" y="2016598"/>
                  </a:lnTo>
                  <a:lnTo>
                    <a:pt x="740010" y="1998107"/>
                  </a:lnTo>
                  <a:lnTo>
                    <a:pt x="770455" y="1962757"/>
                  </a:lnTo>
                  <a:lnTo>
                    <a:pt x="807425" y="1943178"/>
                  </a:lnTo>
                  <a:lnTo>
                    <a:pt x="852549" y="1947529"/>
                  </a:lnTo>
                  <a:lnTo>
                    <a:pt x="877014" y="1915442"/>
                  </a:lnTo>
                  <a:lnTo>
                    <a:pt x="914527" y="1918705"/>
                  </a:lnTo>
                  <a:lnTo>
                    <a:pt x="966176" y="1910547"/>
                  </a:lnTo>
                  <a:lnTo>
                    <a:pt x="1005863" y="1895319"/>
                  </a:lnTo>
                  <a:lnTo>
                    <a:pt x="1033047" y="1864864"/>
                  </a:lnTo>
                  <a:lnTo>
                    <a:pt x="1062405" y="1848004"/>
                  </a:lnTo>
                  <a:lnTo>
                    <a:pt x="1089044" y="1831689"/>
                  </a:lnTo>
                  <a:lnTo>
                    <a:pt x="1090132" y="1817005"/>
                  </a:lnTo>
                  <a:lnTo>
                    <a:pt x="1072734" y="1809391"/>
                  </a:lnTo>
                  <a:lnTo>
                    <a:pt x="1064036" y="1784918"/>
                  </a:lnTo>
                  <a:lnTo>
                    <a:pt x="1059143" y="1768058"/>
                  </a:lnTo>
                  <a:lnTo>
                    <a:pt x="1064579" y="1744673"/>
                  </a:lnTo>
                  <a:lnTo>
                    <a:pt x="1044464" y="1732708"/>
                  </a:lnTo>
                  <a:lnTo>
                    <a:pt x="1010756" y="1726182"/>
                  </a:lnTo>
                  <a:lnTo>
                    <a:pt x="1043376" y="1697902"/>
                  </a:lnTo>
                  <a:lnTo>
                    <a:pt x="997708" y="1677235"/>
                  </a:lnTo>
                  <a:lnTo>
                    <a:pt x="989010" y="1655481"/>
                  </a:lnTo>
                  <a:lnTo>
                    <a:pt x="994446" y="1634815"/>
                  </a:lnTo>
                  <a:lnTo>
                    <a:pt x="993903" y="1613061"/>
                  </a:lnTo>
                  <a:lnTo>
                    <a:pt x="993903" y="1600009"/>
                  </a:lnTo>
                  <a:lnTo>
                    <a:pt x="987922" y="1582061"/>
                  </a:lnTo>
                  <a:lnTo>
                    <a:pt x="1002601" y="1573904"/>
                  </a:lnTo>
                  <a:lnTo>
                    <a:pt x="1019999" y="1575535"/>
                  </a:lnTo>
                  <a:lnTo>
                    <a:pt x="1036852" y="1567921"/>
                  </a:lnTo>
                  <a:lnTo>
                    <a:pt x="1058055" y="1566290"/>
                  </a:lnTo>
                  <a:lnTo>
                    <a:pt x="1067298" y="1554869"/>
                  </a:lnTo>
                  <a:lnTo>
                    <a:pt x="1077627" y="1540185"/>
                  </a:lnTo>
                  <a:lnTo>
                    <a:pt x="1100461" y="1534746"/>
                  </a:lnTo>
                  <a:lnTo>
                    <a:pt x="1121664" y="1533115"/>
                  </a:lnTo>
                  <a:lnTo>
                    <a:pt x="1140693" y="1511905"/>
                  </a:lnTo>
                  <a:lnTo>
                    <a:pt x="1170594" y="1492326"/>
                  </a:lnTo>
                  <a:lnTo>
                    <a:pt x="1198321" y="1478186"/>
                  </a:lnTo>
                  <a:lnTo>
                    <a:pt x="1192885" y="1450450"/>
                  </a:lnTo>
                  <a:lnTo>
                    <a:pt x="1209195" y="1424345"/>
                  </a:lnTo>
                  <a:lnTo>
                    <a:pt x="1225505" y="1421082"/>
                  </a:lnTo>
                  <a:lnTo>
                    <a:pt x="1249970" y="1437397"/>
                  </a:lnTo>
                  <a:lnTo>
                    <a:pt x="1284765" y="1437397"/>
                  </a:lnTo>
                  <a:lnTo>
                    <a:pt x="1296182" y="1416187"/>
                  </a:lnTo>
                  <a:lnTo>
                    <a:pt x="1303793" y="1390082"/>
                  </a:lnTo>
                  <a:lnTo>
                    <a:pt x="1276066" y="1380293"/>
                  </a:lnTo>
                  <a:lnTo>
                    <a:pt x="1252144" y="1369960"/>
                  </a:lnTo>
                  <a:lnTo>
                    <a:pt x="1263562" y="1350381"/>
                  </a:lnTo>
                  <a:lnTo>
                    <a:pt x="1280959" y="1338960"/>
                  </a:lnTo>
                  <a:lnTo>
                    <a:pt x="1284765" y="1321013"/>
                  </a:lnTo>
                  <a:lnTo>
                    <a:pt x="1292376" y="1308505"/>
                  </a:lnTo>
                  <a:lnTo>
                    <a:pt x="1305968" y="1291645"/>
                  </a:lnTo>
                  <a:lnTo>
                    <a:pt x="1317385" y="1278593"/>
                  </a:lnTo>
                  <a:lnTo>
                    <a:pt x="1323365" y="1259558"/>
                  </a:lnTo>
                  <a:lnTo>
                    <a:pt x="1315754" y="1233453"/>
                  </a:lnTo>
                  <a:lnTo>
                    <a:pt x="1328802" y="1216594"/>
                  </a:lnTo>
                  <a:lnTo>
                    <a:pt x="1352723" y="1205717"/>
                  </a:lnTo>
                  <a:lnTo>
                    <a:pt x="1395129" y="1195384"/>
                  </a:lnTo>
                  <a:lnTo>
                    <a:pt x="1426662" y="1180700"/>
                  </a:lnTo>
                  <a:lnTo>
                    <a:pt x="1427749" y="1119245"/>
                  </a:lnTo>
                  <a:lnTo>
                    <a:pt x="1442428" y="1089877"/>
                  </a:lnTo>
                  <a:lnTo>
                    <a:pt x="1431555" y="1052351"/>
                  </a:lnTo>
                  <a:lnTo>
                    <a:pt x="1431011" y="1013194"/>
                  </a:lnTo>
                  <a:lnTo>
                    <a:pt x="1424487" y="983826"/>
                  </a:lnTo>
                  <a:lnTo>
                    <a:pt x="1416876" y="957177"/>
                  </a:lnTo>
                  <a:lnTo>
                    <a:pt x="1408721" y="944669"/>
                  </a:lnTo>
                  <a:lnTo>
                    <a:pt x="1375557" y="936511"/>
                  </a:lnTo>
                  <a:lnTo>
                    <a:pt x="1354898" y="933248"/>
                  </a:lnTo>
                  <a:lnTo>
                    <a:pt x="1356529" y="911494"/>
                  </a:lnTo>
                  <a:lnTo>
                    <a:pt x="1401109" y="881038"/>
                  </a:lnTo>
                  <a:lnTo>
                    <a:pt x="1388605" y="853302"/>
                  </a:lnTo>
                  <a:lnTo>
                    <a:pt x="1366858" y="819039"/>
                  </a:lnTo>
                  <a:lnTo>
                    <a:pt x="1352179" y="796197"/>
                  </a:lnTo>
                  <a:lnTo>
                    <a:pt x="1331520" y="759216"/>
                  </a:lnTo>
                  <a:lnTo>
                    <a:pt x="1305424" y="729304"/>
                  </a:lnTo>
                  <a:lnTo>
                    <a:pt x="1294007" y="688515"/>
                  </a:lnTo>
                  <a:lnTo>
                    <a:pt x="1313579" y="664042"/>
                  </a:lnTo>
                  <a:lnTo>
                    <a:pt x="1332607" y="649358"/>
                  </a:lnTo>
                  <a:lnTo>
                    <a:pt x="1339675" y="628148"/>
                  </a:lnTo>
                  <a:lnTo>
                    <a:pt x="1324996" y="596060"/>
                  </a:lnTo>
                  <a:lnTo>
                    <a:pt x="1347830" y="534061"/>
                  </a:lnTo>
                  <a:lnTo>
                    <a:pt x="1352723" y="481308"/>
                  </a:lnTo>
                  <a:lnTo>
                    <a:pt x="1342937" y="440519"/>
                  </a:lnTo>
                  <a:lnTo>
                    <a:pt x="1370664" y="383959"/>
                  </a:lnTo>
                  <a:lnTo>
                    <a:pt x="1348917" y="283890"/>
                  </a:lnTo>
                  <a:lnTo>
                    <a:pt x="1388605" y="234944"/>
                  </a:lnTo>
                  <a:lnTo>
                    <a:pt x="1384799" y="202313"/>
                  </a:lnTo>
                  <a:lnTo>
                    <a:pt x="1378819" y="139226"/>
                  </a:lnTo>
                  <a:lnTo>
                    <a:pt x="1365227" y="110946"/>
                  </a:lnTo>
                  <a:lnTo>
                    <a:pt x="1344568" y="85385"/>
                  </a:lnTo>
                  <a:lnTo>
                    <a:pt x="1342937" y="65262"/>
                  </a:lnTo>
                  <a:lnTo>
                    <a:pt x="1318472" y="68525"/>
                  </a:lnTo>
                  <a:lnTo>
                    <a:pt x="1294551" y="74508"/>
                  </a:lnTo>
                  <a:lnTo>
                    <a:pt x="1272804" y="55473"/>
                  </a:lnTo>
                  <a:lnTo>
                    <a:pt x="1243446" y="71245"/>
                  </a:lnTo>
                  <a:lnTo>
                    <a:pt x="1235834" y="84297"/>
                  </a:lnTo>
                  <a:lnTo>
                    <a:pt x="1243990" y="105507"/>
                  </a:lnTo>
                  <a:lnTo>
                    <a:pt x="1209738" y="120735"/>
                  </a:lnTo>
                  <a:lnTo>
                    <a:pt x="1139062" y="140314"/>
                  </a:lnTo>
                  <a:lnTo>
                    <a:pt x="1084151" y="177295"/>
                  </a:lnTo>
                  <a:lnTo>
                    <a:pt x="1024892" y="223523"/>
                  </a:lnTo>
                  <a:lnTo>
                    <a:pt x="958564" y="272469"/>
                  </a:lnTo>
                  <a:lnTo>
                    <a:pt x="938992" y="327398"/>
                  </a:lnTo>
                  <a:lnTo>
                    <a:pt x="940080" y="369819"/>
                  </a:lnTo>
                  <a:lnTo>
                    <a:pt x="968350" y="407344"/>
                  </a:lnTo>
                  <a:lnTo>
                    <a:pt x="1010213" y="431817"/>
                  </a:lnTo>
                  <a:lnTo>
                    <a:pt x="1091763" y="422572"/>
                  </a:lnTo>
                  <a:lnTo>
                    <a:pt x="1157546" y="396467"/>
                  </a:lnTo>
                  <a:lnTo>
                    <a:pt x="1214088" y="368731"/>
                  </a:lnTo>
                  <a:lnTo>
                    <a:pt x="1258669" y="340994"/>
                  </a:lnTo>
                  <a:lnTo>
                    <a:pt x="1261931" y="352415"/>
                  </a:lnTo>
                  <a:lnTo>
                    <a:pt x="1232572" y="389941"/>
                  </a:lnTo>
                  <a:lnTo>
                    <a:pt x="1217350" y="412239"/>
                  </a:lnTo>
                  <a:lnTo>
                    <a:pt x="1173856" y="453028"/>
                  </a:lnTo>
                  <a:lnTo>
                    <a:pt x="1173313" y="484571"/>
                  </a:lnTo>
                  <a:lnTo>
                    <a:pt x="1186361" y="498711"/>
                  </a:lnTo>
                  <a:lnTo>
                    <a:pt x="1176575" y="516658"/>
                  </a:lnTo>
                  <a:lnTo>
                    <a:pt x="1177118" y="549833"/>
                  </a:lnTo>
                  <a:lnTo>
                    <a:pt x="1160265" y="583552"/>
                  </a:lnTo>
                  <a:lnTo>
                    <a:pt x="1134169" y="592253"/>
                  </a:lnTo>
                  <a:lnTo>
                    <a:pt x="1111878" y="624884"/>
                  </a:lnTo>
                  <a:lnTo>
                    <a:pt x="1070560" y="630867"/>
                  </a:lnTo>
                  <a:lnTo>
                    <a:pt x="1067841" y="583008"/>
                  </a:lnTo>
                  <a:lnTo>
                    <a:pt x="1090132" y="531886"/>
                  </a:lnTo>
                  <a:lnTo>
                    <a:pt x="1049900" y="495992"/>
                  </a:lnTo>
                  <a:lnTo>
                    <a:pt x="1001514" y="518290"/>
                  </a:lnTo>
                  <a:lnTo>
                    <a:pt x="952584" y="536237"/>
                  </a:lnTo>
                  <a:lnTo>
                    <a:pt x="957477" y="468799"/>
                  </a:lnTo>
                  <a:lnTo>
                    <a:pt x="921595" y="422572"/>
                  </a:lnTo>
                  <a:lnTo>
                    <a:pt x="877014" y="381239"/>
                  </a:lnTo>
                  <a:lnTo>
                    <a:pt x="850374" y="354047"/>
                  </a:lnTo>
                  <a:lnTo>
                    <a:pt x="815580" y="399730"/>
                  </a:lnTo>
                  <a:lnTo>
                    <a:pt x="788940" y="363292"/>
                  </a:lnTo>
                  <a:lnTo>
                    <a:pt x="815580" y="331205"/>
                  </a:lnTo>
                  <a:lnTo>
                    <a:pt x="815580" y="280627"/>
                  </a:lnTo>
                  <a:lnTo>
                    <a:pt x="797639" y="235487"/>
                  </a:lnTo>
                  <a:lnTo>
                    <a:pt x="824278" y="208295"/>
                  </a:lnTo>
                  <a:lnTo>
                    <a:pt x="812318" y="165875"/>
                  </a:lnTo>
                  <a:lnTo>
                    <a:pt x="766106" y="176208"/>
                  </a:lnTo>
                  <a:lnTo>
                    <a:pt x="715545" y="199593"/>
                  </a:lnTo>
                  <a:lnTo>
                    <a:pt x="704128" y="239838"/>
                  </a:lnTo>
                  <a:lnTo>
                    <a:pt x="730768" y="271925"/>
                  </a:lnTo>
                  <a:lnTo>
                    <a:pt x="766106" y="276276"/>
                  </a:lnTo>
                  <a:lnTo>
                    <a:pt x="748709" y="312714"/>
                  </a:lnTo>
                  <a:lnTo>
                    <a:pt x="726962" y="335556"/>
                  </a:lnTo>
                  <a:lnTo>
                    <a:pt x="682925" y="322504"/>
                  </a:lnTo>
                  <a:lnTo>
                    <a:pt x="664440" y="271925"/>
                  </a:lnTo>
                  <a:lnTo>
                    <a:pt x="616054" y="221347"/>
                  </a:lnTo>
                  <a:lnTo>
                    <a:pt x="544834" y="184909"/>
                  </a:lnTo>
                  <a:lnTo>
                    <a:pt x="505690" y="139226"/>
                  </a:lnTo>
                  <a:lnTo>
                    <a:pt x="461109" y="129980"/>
                  </a:lnTo>
                  <a:lnTo>
                    <a:pt x="469808" y="199049"/>
                  </a:lnTo>
                  <a:lnTo>
                    <a:pt x="434469" y="208295"/>
                  </a:lnTo>
                  <a:lnTo>
                    <a:pt x="394238" y="189804"/>
                  </a:lnTo>
                  <a:lnTo>
                    <a:pt x="327367" y="143577"/>
                  </a:lnTo>
                  <a:lnTo>
                    <a:pt x="279524" y="139226"/>
                  </a:lnTo>
                  <a:lnTo>
                    <a:pt x="244729" y="166962"/>
                  </a:lnTo>
                  <a:lnTo>
                    <a:pt x="225701" y="137594"/>
                  </a:lnTo>
                  <a:lnTo>
                    <a:pt x="251253" y="88104"/>
                  </a:lnTo>
                  <a:lnTo>
                    <a:pt x="310513" y="33175"/>
                  </a:lnTo>
                  <a:lnTo>
                    <a:pt x="292028"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42">
              <a:extLst>
                <a:ext uri="{FF2B5EF4-FFF2-40B4-BE49-F238E27FC236}">
                  <a16:creationId xmlns:a16="http://schemas.microsoft.com/office/drawing/2014/main" id="{8682C0C4-4DDE-3BE0-49F0-6F8F0EAB33E8}"/>
                </a:ext>
              </a:extLst>
            </p:cNvPr>
            <p:cNvSpPr/>
            <p:nvPr/>
          </p:nvSpPr>
          <p:spPr>
            <a:xfrm flipH="1">
              <a:off x="12188116" y="4504806"/>
              <a:ext cx="3885" cy="18636"/>
            </a:xfrm>
            <a:custGeom>
              <a:avLst/>
              <a:gdLst>
                <a:gd name="connsiteX0" fmla="*/ 0 w 3885"/>
                <a:gd name="connsiteY0" fmla="*/ 0 h 18636"/>
                <a:gd name="connsiteX1" fmla="*/ 0 w 3885"/>
                <a:gd name="connsiteY1" fmla="*/ 18636 h 18636"/>
                <a:gd name="connsiteX2" fmla="*/ 3885 w 3885"/>
                <a:gd name="connsiteY2" fmla="*/ 15824 h 18636"/>
                <a:gd name="connsiteX3" fmla="*/ 0 w 3885"/>
                <a:gd name="connsiteY3" fmla="*/ 0 h 18636"/>
              </a:gdLst>
              <a:ahLst/>
              <a:cxnLst>
                <a:cxn ang="0">
                  <a:pos x="connsiteX0" y="connsiteY0"/>
                </a:cxn>
                <a:cxn ang="0">
                  <a:pos x="connsiteX1" y="connsiteY1"/>
                </a:cxn>
                <a:cxn ang="0">
                  <a:pos x="connsiteX2" y="connsiteY2"/>
                </a:cxn>
                <a:cxn ang="0">
                  <a:pos x="connsiteX3" y="connsiteY3"/>
                </a:cxn>
              </a:cxnLst>
              <a:rect l="l" t="t" r="r" b="b"/>
              <a:pathLst>
                <a:path w="3885" h="18636">
                  <a:moveTo>
                    <a:pt x="0" y="0"/>
                  </a:moveTo>
                  <a:lnTo>
                    <a:pt x="0" y="18636"/>
                  </a:lnTo>
                  <a:lnTo>
                    <a:pt x="3885" y="1582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43">
              <a:extLst>
                <a:ext uri="{FF2B5EF4-FFF2-40B4-BE49-F238E27FC236}">
                  <a16:creationId xmlns:a16="http://schemas.microsoft.com/office/drawing/2014/main" id="{25CE9D36-E2AD-4B07-9259-9D86E449FECC}"/>
                </a:ext>
              </a:extLst>
            </p:cNvPr>
            <p:cNvSpPr/>
            <p:nvPr/>
          </p:nvSpPr>
          <p:spPr>
            <a:xfrm flipH="1">
              <a:off x="11790934" y="6259531"/>
              <a:ext cx="401067" cy="384827"/>
            </a:xfrm>
            <a:custGeom>
              <a:avLst/>
              <a:gdLst>
                <a:gd name="connsiteX0" fmla="*/ 336753 w 401067"/>
                <a:gd name="connsiteY0" fmla="*/ 0 h 384827"/>
                <a:gd name="connsiteX1" fmla="*/ 313862 w 401067"/>
                <a:gd name="connsiteY1" fmla="*/ 3261 h 384827"/>
                <a:gd name="connsiteX2" fmla="*/ 310592 w 401067"/>
                <a:gd name="connsiteY2" fmla="*/ 28800 h 384827"/>
                <a:gd name="connsiteX3" fmla="*/ 312772 w 401067"/>
                <a:gd name="connsiteY3" fmla="*/ 51078 h 384827"/>
                <a:gd name="connsiteX4" fmla="*/ 300781 w 401067"/>
                <a:gd name="connsiteY4" fmla="*/ 74987 h 384827"/>
                <a:gd name="connsiteX5" fmla="*/ 278980 w 401067"/>
                <a:gd name="connsiteY5" fmla="*/ 81508 h 384827"/>
                <a:gd name="connsiteX6" fmla="*/ 251183 w 401067"/>
                <a:gd name="connsiteY6" fmla="*/ 91289 h 384827"/>
                <a:gd name="connsiteX7" fmla="*/ 223931 w 401067"/>
                <a:gd name="connsiteY7" fmla="*/ 81508 h 384827"/>
                <a:gd name="connsiteX8" fmla="*/ 228837 w 401067"/>
                <a:gd name="connsiteY8" fmla="*/ 63576 h 384827"/>
                <a:gd name="connsiteX9" fmla="*/ 202130 w 401067"/>
                <a:gd name="connsiteY9" fmla="*/ 81508 h 384827"/>
                <a:gd name="connsiteX10" fmla="*/ 176514 w 401067"/>
                <a:gd name="connsiteY10" fmla="*/ 83138 h 384827"/>
                <a:gd name="connsiteX11" fmla="*/ 141632 w 401067"/>
                <a:gd name="connsiteY11" fmla="*/ 84768 h 384827"/>
                <a:gd name="connsiteX12" fmla="*/ 109475 w 401067"/>
                <a:gd name="connsiteY12" fmla="*/ 73900 h 384827"/>
                <a:gd name="connsiteX13" fmla="*/ 81133 w 401067"/>
                <a:gd name="connsiteY13" fmla="*/ 77161 h 384827"/>
                <a:gd name="connsiteX14" fmla="*/ 63692 w 401067"/>
                <a:gd name="connsiteY14" fmla="*/ 99440 h 384827"/>
                <a:gd name="connsiteX15" fmla="*/ 43526 w 401067"/>
                <a:gd name="connsiteY15" fmla="*/ 115741 h 384827"/>
                <a:gd name="connsiteX16" fmla="*/ 43526 w 401067"/>
                <a:gd name="connsiteY16" fmla="*/ 145084 h 384827"/>
                <a:gd name="connsiteX17" fmla="*/ 25540 w 401067"/>
                <a:gd name="connsiteY17" fmla="*/ 170079 h 384827"/>
                <a:gd name="connsiteX18" fmla="*/ 19544 w 401067"/>
                <a:gd name="connsiteY18" fmla="*/ 191271 h 384827"/>
                <a:gd name="connsiteX19" fmla="*/ 2648 w 401067"/>
                <a:gd name="connsiteY19" fmla="*/ 210833 h 384827"/>
                <a:gd name="connsiteX20" fmla="*/ 0 w 401067"/>
                <a:gd name="connsiteY20" fmla="*/ 211204 h 384827"/>
                <a:gd name="connsiteX21" fmla="*/ 0 w 401067"/>
                <a:gd name="connsiteY21" fmla="*/ 384827 h 384827"/>
                <a:gd name="connsiteX22" fmla="*/ 16977 w 401067"/>
                <a:gd name="connsiteY22" fmla="*/ 381133 h 384827"/>
                <a:gd name="connsiteX23" fmla="*/ 15729 w 401067"/>
                <a:gd name="connsiteY23" fmla="*/ 360807 h 384827"/>
                <a:gd name="connsiteX24" fmla="*/ 23905 w 401067"/>
                <a:gd name="connsiteY24" fmla="*/ 343962 h 384827"/>
                <a:gd name="connsiteX25" fmla="*/ 51701 w 401067"/>
                <a:gd name="connsiteY25" fmla="*/ 328747 h 384827"/>
                <a:gd name="connsiteX26" fmla="*/ 93124 w 401067"/>
                <a:gd name="connsiteY26" fmla="*/ 308642 h 384827"/>
                <a:gd name="connsiteX27" fmla="*/ 120920 w 401067"/>
                <a:gd name="connsiteY27" fmla="*/ 284190 h 384827"/>
                <a:gd name="connsiteX28" fmla="*/ 152532 w 401067"/>
                <a:gd name="connsiteY28" fmla="*/ 259737 h 384827"/>
                <a:gd name="connsiteX29" fmla="*/ 174334 w 401067"/>
                <a:gd name="connsiteY29" fmla="*/ 233112 h 384827"/>
                <a:gd name="connsiteX30" fmla="*/ 197770 w 401067"/>
                <a:gd name="connsiteY30" fmla="*/ 203225 h 384827"/>
                <a:gd name="connsiteX31" fmla="*/ 219571 w 401067"/>
                <a:gd name="connsiteY31" fmla="*/ 203225 h 384827"/>
                <a:gd name="connsiteX32" fmla="*/ 233742 w 401067"/>
                <a:gd name="connsiteY32" fmla="*/ 207029 h 384827"/>
                <a:gd name="connsiteX33" fmla="*/ 231562 w 401067"/>
                <a:gd name="connsiteY33" fmla="*/ 182577 h 384827"/>
                <a:gd name="connsiteX34" fmla="*/ 243552 w 401067"/>
                <a:gd name="connsiteY34" fmla="*/ 160298 h 384827"/>
                <a:gd name="connsiteX35" fmla="*/ 263174 w 401067"/>
                <a:gd name="connsiteY35" fmla="*/ 143997 h 384827"/>
                <a:gd name="connsiteX36" fmla="*/ 290970 w 401067"/>
                <a:gd name="connsiteY36" fmla="*/ 148344 h 384827"/>
                <a:gd name="connsiteX37" fmla="*/ 314407 w 401067"/>
                <a:gd name="connsiteY37" fmla="*/ 152147 h 384827"/>
                <a:gd name="connsiteX38" fmla="*/ 334573 w 401067"/>
                <a:gd name="connsiteY38" fmla="*/ 166275 h 384827"/>
                <a:gd name="connsiteX39" fmla="*/ 352014 w 401067"/>
                <a:gd name="connsiteY39" fmla="*/ 182577 h 384827"/>
                <a:gd name="connsiteX40" fmla="*/ 376540 w 401067"/>
                <a:gd name="connsiteY40" fmla="*/ 188554 h 384827"/>
                <a:gd name="connsiteX41" fmla="*/ 393437 w 401067"/>
                <a:gd name="connsiteY41" fmla="*/ 192358 h 384827"/>
                <a:gd name="connsiteX42" fmla="*/ 392346 w 401067"/>
                <a:gd name="connsiteY42" fmla="*/ 165732 h 384827"/>
                <a:gd name="connsiteX43" fmla="*/ 389621 w 401067"/>
                <a:gd name="connsiteY43" fmla="*/ 134759 h 384827"/>
                <a:gd name="connsiteX44" fmla="*/ 401067 w 401067"/>
                <a:gd name="connsiteY44" fmla="*/ 105417 h 384827"/>
                <a:gd name="connsiteX45" fmla="*/ 392891 w 401067"/>
                <a:gd name="connsiteY45" fmla="*/ 70640 h 384827"/>
                <a:gd name="connsiteX46" fmla="*/ 401067 w 401067"/>
                <a:gd name="connsiteY46" fmla="*/ 52709 h 384827"/>
                <a:gd name="connsiteX47" fmla="*/ 394527 w 401067"/>
                <a:gd name="connsiteY47" fmla="*/ 21736 h 384827"/>
                <a:gd name="connsiteX48" fmla="*/ 362370 w 401067"/>
                <a:gd name="connsiteY48" fmla="*/ 7608 h 384827"/>
                <a:gd name="connsiteX49" fmla="*/ 336753 w 401067"/>
                <a:gd name="connsiteY49" fmla="*/ 0 h 38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1067" h="384827">
                  <a:moveTo>
                    <a:pt x="336753" y="0"/>
                  </a:moveTo>
                  <a:lnTo>
                    <a:pt x="313862" y="3261"/>
                  </a:lnTo>
                  <a:lnTo>
                    <a:pt x="310592" y="28800"/>
                  </a:lnTo>
                  <a:lnTo>
                    <a:pt x="312772" y="51078"/>
                  </a:lnTo>
                  <a:lnTo>
                    <a:pt x="300781" y="74987"/>
                  </a:lnTo>
                  <a:lnTo>
                    <a:pt x="278980" y="81508"/>
                  </a:lnTo>
                  <a:lnTo>
                    <a:pt x="251183" y="91289"/>
                  </a:lnTo>
                  <a:lnTo>
                    <a:pt x="223931" y="81508"/>
                  </a:lnTo>
                  <a:lnTo>
                    <a:pt x="228837" y="63576"/>
                  </a:lnTo>
                  <a:lnTo>
                    <a:pt x="202130" y="81508"/>
                  </a:lnTo>
                  <a:lnTo>
                    <a:pt x="176514" y="83138"/>
                  </a:lnTo>
                  <a:lnTo>
                    <a:pt x="141632" y="84768"/>
                  </a:lnTo>
                  <a:lnTo>
                    <a:pt x="109475" y="73900"/>
                  </a:lnTo>
                  <a:lnTo>
                    <a:pt x="81133" y="77161"/>
                  </a:lnTo>
                  <a:lnTo>
                    <a:pt x="63692" y="99440"/>
                  </a:lnTo>
                  <a:lnTo>
                    <a:pt x="43526" y="115741"/>
                  </a:lnTo>
                  <a:lnTo>
                    <a:pt x="43526" y="145084"/>
                  </a:lnTo>
                  <a:lnTo>
                    <a:pt x="25540" y="170079"/>
                  </a:lnTo>
                  <a:lnTo>
                    <a:pt x="19544" y="191271"/>
                  </a:lnTo>
                  <a:lnTo>
                    <a:pt x="2648" y="210833"/>
                  </a:lnTo>
                  <a:lnTo>
                    <a:pt x="0" y="211204"/>
                  </a:lnTo>
                  <a:lnTo>
                    <a:pt x="0" y="384827"/>
                  </a:lnTo>
                  <a:lnTo>
                    <a:pt x="16977" y="381133"/>
                  </a:lnTo>
                  <a:lnTo>
                    <a:pt x="15729" y="360807"/>
                  </a:lnTo>
                  <a:lnTo>
                    <a:pt x="23905" y="343962"/>
                  </a:lnTo>
                  <a:lnTo>
                    <a:pt x="51701" y="328747"/>
                  </a:lnTo>
                  <a:lnTo>
                    <a:pt x="93124" y="308642"/>
                  </a:lnTo>
                  <a:lnTo>
                    <a:pt x="120920" y="284190"/>
                  </a:lnTo>
                  <a:lnTo>
                    <a:pt x="152532" y="259737"/>
                  </a:lnTo>
                  <a:lnTo>
                    <a:pt x="174334" y="233112"/>
                  </a:lnTo>
                  <a:lnTo>
                    <a:pt x="197770" y="203225"/>
                  </a:lnTo>
                  <a:lnTo>
                    <a:pt x="219571" y="203225"/>
                  </a:lnTo>
                  <a:lnTo>
                    <a:pt x="233742" y="207029"/>
                  </a:lnTo>
                  <a:lnTo>
                    <a:pt x="231562" y="182577"/>
                  </a:lnTo>
                  <a:lnTo>
                    <a:pt x="243552" y="160298"/>
                  </a:lnTo>
                  <a:lnTo>
                    <a:pt x="263174" y="143997"/>
                  </a:lnTo>
                  <a:lnTo>
                    <a:pt x="290970" y="148344"/>
                  </a:lnTo>
                  <a:lnTo>
                    <a:pt x="314407" y="152147"/>
                  </a:lnTo>
                  <a:lnTo>
                    <a:pt x="334573" y="166275"/>
                  </a:lnTo>
                  <a:lnTo>
                    <a:pt x="352014" y="182577"/>
                  </a:lnTo>
                  <a:lnTo>
                    <a:pt x="376540" y="188554"/>
                  </a:lnTo>
                  <a:lnTo>
                    <a:pt x="393437" y="192358"/>
                  </a:lnTo>
                  <a:lnTo>
                    <a:pt x="392346" y="165732"/>
                  </a:lnTo>
                  <a:lnTo>
                    <a:pt x="389621" y="134759"/>
                  </a:lnTo>
                  <a:lnTo>
                    <a:pt x="401067" y="105417"/>
                  </a:lnTo>
                  <a:lnTo>
                    <a:pt x="392891" y="70640"/>
                  </a:lnTo>
                  <a:lnTo>
                    <a:pt x="401067" y="52709"/>
                  </a:lnTo>
                  <a:lnTo>
                    <a:pt x="394527" y="21736"/>
                  </a:lnTo>
                  <a:lnTo>
                    <a:pt x="362370" y="7608"/>
                  </a:lnTo>
                  <a:lnTo>
                    <a:pt x="336753" y="0"/>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44">
              <a:extLst>
                <a:ext uri="{FF2B5EF4-FFF2-40B4-BE49-F238E27FC236}">
                  <a16:creationId xmlns:a16="http://schemas.microsoft.com/office/drawing/2014/main" id="{B345C7FB-03C2-09B4-333B-4FE5339A6658}"/>
                </a:ext>
              </a:extLst>
            </p:cNvPr>
            <p:cNvSpPr/>
            <p:nvPr/>
          </p:nvSpPr>
          <p:spPr>
            <a:xfrm flipH="1" flipV="1">
              <a:off x="9678012" y="6657604"/>
              <a:ext cx="400646" cy="200397"/>
            </a:xfrm>
            <a:custGeom>
              <a:avLst/>
              <a:gdLst>
                <a:gd name="connsiteX0" fmla="*/ 37913 w 400646"/>
                <a:gd name="connsiteY0" fmla="*/ 200397 h 200397"/>
                <a:gd name="connsiteX1" fmla="*/ 11857 w 400646"/>
                <a:gd name="connsiteY1" fmla="*/ 188995 h 200397"/>
                <a:gd name="connsiteX2" fmla="*/ 14143 w 400646"/>
                <a:gd name="connsiteY2" fmla="*/ 164376 h 200397"/>
                <a:gd name="connsiteX3" fmla="*/ 23371 w 400646"/>
                <a:gd name="connsiteY3" fmla="*/ 145916 h 200397"/>
                <a:gd name="connsiteX4" fmla="*/ 28800 w 400646"/>
                <a:gd name="connsiteY4" fmla="*/ 84563 h 200397"/>
                <a:gd name="connsiteX5" fmla="*/ 26107 w 400646"/>
                <a:gd name="connsiteY5" fmla="*/ 71311 h 200397"/>
                <a:gd name="connsiteX6" fmla="*/ 35878 w 400646"/>
                <a:gd name="connsiteY6" fmla="*/ 60317 h 200397"/>
                <a:gd name="connsiteX7" fmla="*/ 31399 w 400646"/>
                <a:gd name="connsiteY7" fmla="*/ 34255 h 200397"/>
                <a:gd name="connsiteX8" fmla="*/ 15521 w 400646"/>
                <a:gd name="connsiteY8" fmla="*/ 15524 h 200397"/>
                <a:gd name="connsiteX9" fmla="*/ 0 w 400646"/>
                <a:gd name="connsiteY9" fmla="*/ 0 h 200397"/>
                <a:gd name="connsiteX10" fmla="*/ 362735 w 400646"/>
                <a:gd name="connsiteY10" fmla="*/ 0 h 200397"/>
                <a:gd name="connsiteX11" fmla="*/ 362104 w 400646"/>
                <a:gd name="connsiteY11" fmla="*/ 10722 h 200397"/>
                <a:gd name="connsiteX12" fmla="*/ 371875 w 400646"/>
                <a:gd name="connsiteY12" fmla="*/ 36241 h 200397"/>
                <a:gd name="connsiteX13" fmla="*/ 375832 w 400646"/>
                <a:gd name="connsiteY13" fmla="*/ 54616 h 200397"/>
                <a:gd name="connsiteX14" fmla="*/ 382732 w 400646"/>
                <a:gd name="connsiteY14" fmla="*/ 77505 h 200397"/>
                <a:gd name="connsiteX15" fmla="*/ 400646 w 400646"/>
                <a:gd name="connsiteY15" fmla="*/ 118226 h 200397"/>
                <a:gd name="connsiteX16" fmla="*/ 349775 w 400646"/>
                <a:gd name="connsiteY16" fmla="*/ 133615 h 200397"/>
                <a:gd name="connsiteX17" fmla="*/ 312320 w 400646"/>
                <a:gd name="connsiteY17" fmla="*/ 147460 h 200397"/>
                <a:gd name="connsiteX18" fmla="*/ 287077 w 400646"/>
                <a:gd name="connsiteY18" fmla="*/ 162934 h 200397"/>
                <a:gd name="connsiteX19" fmla="*/ 247993 w 400646"/>
                <a:gd name="connsiteY19" fmla="*/ 177593 h 200397"/>
                <a:gd name="connsiteX20" fmla="*/ 219494 w 400646"/>
                <a:gd name="connsiteY20" fmla="*/ 176779 h 200397"/>
                <a:gd name="connsiteX21" fmla="*/ 190994 w 400646"/>
                <a:gd name="connsiteY21" fmla="*/ 186552 h 200397"/>
                <a:gd name="connsiteX22" fmla="*/ 160053 w 400646"/>
                <a:gd name="connsiteY22" fmla="*/ 193067 h 200397"/>
                <a:gd name="connsiteX23" fmla="*/ 131554 w 400646"/>
                <a:gd name="connsiteY23" fmla="*/ 184108 h 200397"/>
                <a:gd name="connsiteX24" fmla="*/ 110383 w 400646"/>
                <a:gd name="connsiteY24" fmla="*/ 188180 h 200397"/>
                <a:gd name="connsiteX25" fmla="*/ 87584 w 400646"/>
                <a:gd name="connsiteY25" fmla="*/ 198768 h 200397"/>
                <a:gd name="connsiteX26" fmla="*/ 70484 w 400646"/>
                <a:gd name="connsiteY26" fmla="*/ 194696 h 200397"/>
                <a:gd name="connsiteX27" fmla="*/ 54199 w 400646"/>
                <a:gd name="connsiteY27" fmla="*/ 198768 h 200397"/>
                <a:gd name="connsiteX28" fmla="*/ 37913 w 400646"/>
                <a:gd name="connsiteY28" fmla="*/ 200397 h 20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0646" h="200397">
                  <a:moveTo>
                    <a:pt x="37913" y="200397"/>
                  </a:moveTo>
                  <a:lnTo>
                    <a:pt x="11857" y="188995"/>
                  </a:lnTo>
                  <a:lnTo>
                    <a:pt x="14143" y="164376"/>
                  </a:lnTo>
                  <a:lnTo>
                    <a:pt x="23371" y="145916"/>
                  </a:lnTo>
                  <a:lnTo>
                    <a:pt x="28800" y="84563"/>
                  </a:lnTo>
                  <a:lnTo>
                    <a:pt x="26107" y="71311"/>
                  </a:lnTo>
                  <a:lnTo>
                    <a:pt x="35878" y="60317"/>
                  </a:lnTo>
                  <a:lnTo>
                    <a:pt x="31399" y="34255"/>
                  </a:lnTo>
                  <a:lnTo>
                    <a:pt x="15521" y="15524"/>
                  </a:lnTo>
                  <a:lnTo>
                    <a:pt x="0" y="0"/>
                  </a:lnTo>
                  <a:lnTo>
                    <a:pt x="362735" y="0"/>
                  </a:lnTo>
                  <a:lnTo>
                    <a:pt x="362104" y="10722"/>
                  </a:lnTo>
                  <a:lnTo>
                    <a:pt x="371875" y="36241"/>
                  </a:lnTo>
                  <a:lnTo>
                    <a:pt x="375832" y="54616"/>
                  </a:lnTo>
                  <a:lnTo>
                    <a:pt x="382732" y="77505"/>
                  </a:lnTo>
                  <a:lnTo>
                    <a:pt x="400646" y="118226"/>
                  </a:lnTo>
                  <a:lnTo>
                    <a:pt x="349775" y="133615"/>
                  </a:lnTo>
                  <a:lnTo>
                    <a:pt x="312320" y="147460"/>
                  </a:lnTo>
                  <a:lnTo>
                    <a:pt x="287077" y="162934"/>
                  </a:lnTo>
                  <a:lnTo>
                    <a:pt x="247993" y="177593"/>
                  </a:lnTo>
                  <a:lnTo>
                    <a:pt x="219494" y="176779"/>
                  </a:lnTo>
                  <a:lnTo>
                    <a:pt x="190994" y="186552"/>
                  </a:lnTo>
                  <a:lnTo>
                    <a:pt x="160053" y="193067"/>
                  </a:lnTo>
                  <a:lnTo>
                    <a:pt x="131554" y="184108"/>
                  </a:lnTo>
                  <a:lnTo>
                    <a:pt x="110383" y="188180"/>
                  </a:lnTo>
                  <a:lnTo>
                    <a:pt x="87584" y="198768"/>
                  </a:lnTo>
                  <a:lnTo>
                    <a:pt x="70484" y="194696"/>
                  </a:lnTo>
                  <a:lnTo>
                    <a:pt x="54199" y="198768"/>
                  </a:lnTo>
                  <a:lnTo>
                    <a:pt x="37913" y="20039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145">
              <a:extLst>
                <a:ext uri="{FF2B5EF4-FFF2-40B4-BE49-F238E27FC236}">
                  <a16:creationId xmlns:a16="http://schemas.microsoft.com/office/drawing/2014/main" id="{D3A7163A-2CC7-AABE-9F06-4ABA0D469F2B}"/>
                </a:ext>
              </a:extLst>
            </p:cNvPr>
            <p:cNvSpPr/>
            <p:nvPr/>
          </p:nvSpPr>
          <p:spPr>
            <a:xfrm flipH="1" flipV="1">
              <a:off x="11962996" y="6634714"/>
              <a:ext cx="229005" cy="223287"/>
            </a:xfrm>
            <a:custGeom>
              <a:avLst/>
              <a:gdLst>
                <a:gd name="connsiteX0" fmla="*/ 43705 w 229005"/>
                <a:gd name="connsiteY0" fmla="*/ 223287 h 223287"/>
                <a:gd name="connsiteX1" fmla="*/ 17467 w 229005"/>
                <a:gd name="connsiteY1" fmla="*/ 218380 h 223287"/>
                <a:gd name="connsiteX2" fmla="*/ 0 w 229005"/>
                <a:gd name="connsiteY2" fmla="*/ 214793 h 223287"/>
                <a:gd name="connsiteX3" fmla="*/ 0 w 229005"/>
                <a:gd name="connsiteY3" fmla="*/ 0 h 223287"/>
                <a:gd name="connsiteX4" fmla="*/ 224921 w 229005"/>
                <a:gd name="connsiteY4" fmla="*/ 0 h 223287"/>
                <a:gd name="connsiteX5" fmla="*/ 224632 w 229005"/>
                <a:gd name="connsiteY5" fmla="*/ 865 h 223287"/>
                <a:gd name="connsiteX6" fmla="*/ 227912 w 229005"/>
                <a:gd name="connsiteY6" fmla="*/ 16130 h 223287"/>
                <a:gd name="connsiteX7" fmla="*/ 229005 w 229005"/>
                <a:gd name="connsiteY7" fmla="*/ 48293 h 223287"/>
                <a:gd name="connsiteX8" fmla="*/ 229005 w 229005"/>
                <a:gd name="connsiteY8" fmla="*/ 84818 h 223287"/>
                <a:gd name="connsiteX9" fmla="*/ 213153 w 229005"/>
                <a:gd name="connsiteY9" fmla="*/ 114257 h 223287"/>
                <a:gd name="connsiteX10" fmla="*/ 200035 w 229005"/>
                <a:gd name="connsiteY10" fmla="*/ 133337 h 223287"/>
                <a:gd name="connsiteX11" fmla="*/ 170518 w 229005"/>
                <a:gd name="connsiteY11" fmla="*/ 129521 h 223287"/>
                <a:gd name="connsiteX12" fmla="*/ 152480 w 229005"/>
                <a:gd name="connsiteY12" fmla="*/ 138243 h 223287"/>
                <a:gd name="connsiteX13" fmla="*/ 128976 w 229005"/>
                <a:gd name="connsiteY13" fmla="*/ 155143 h 223287"/>
                <a:gd name="connsiteX14" fmla="*/ 98366 w 229005"/>
                <a:gd name="connsiteY14" fmla="*/ 160049 h 223287"/>
                <a:gd name="connsiteX15" fmla="*/ 86887 w 229005"/>
                <a:gd name="connsiteY15" fmla="*/ 188942 h 223287"/>
                <a:gd name="connsiteX16" fmla="*/ 67209 w 229005"/>
                <a:gd name="connsiteY16" fmla="*/ 208567 h 223287"/>
                <a:gd name="connsiteX17" fmla="*/ 43705 w 229005"/>
                <a:gd name="connsiteY17" fmla="*/ 223287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05" h="223287">
                  <a:moveTo>
                    <a:pt x="43705" y="223287"/>
                  </a:moveTo>
                  <a:lnTo>
                    <a:pt x="17467" y="218380"/>
                  </a:lnTo>
                  <a:lnTo>
                    <a:pt x="0" y="214793"/>
                  </a:lnTo>
                  <a:lnTo>
                    <a:pt x="0" y="0"/>
                  </a:lnTo>
                  <a:lnTo>
                    <a:pt x="224921" y="0"/>
                  </a:lnTo>
                  <a:lnTo>
                    <a:pt x="224632" y="865"/>
                  </a:lnTo>
                  <a:lnTo>
                    <a:pt x="227912" y="16130"/>
                  </a:lnTo>
                  <a:lnTo>
                    <a:pt x="229005" y="48293"/>
                  </a:lnTo>
                  <a:lnTo>
                    <a:pt x="229005" y="84818"/>
                  </a:lnTo>
                  <a:lnTo>
                    <a:pt x="213153" y="114257"/>
                  </a:lnTo>
                  <a:lnTo>
                    <a:pt x="200035" y="133337"/>
                  </a:lnTo>
                  <a:lnTo>
                    <a:pt x="170518" y="129521"/>
                  </a:lnTo>
                  <a:lnTo>
                    <a:pt x="152480" y="138243"/>
                  </a:lnTo>
                  <a:lnTo>
                    <a:pt x="128976" y="155143"/>
                  </a:lnTo>
                  <a:lnTo>
                    <a:pt x="98366" y="160049"/>
                  </a:lnTo>
                  <a:lnTo>
                    <a:pt x="86887" y="188942"/>
                  </a:lnTo>
                  <a:lnTo>
                    <a:pt x="67209" y="208567"/>
                  </a:lnTo>
                  <a:lnTo>
                    <a:pt x="43705" y="223287"/>
                  </a:lnTo>
                  <a:close/>
                </a:path>
              </a:pathLst>
            </a:custGeom>
            <a:solidFill>
              <a:schemeClr val="bg1"/>
            </a:solidFill>
            <a:ln w="3175">
              <a:solidFill>
                <a:schemeClr val="bg1">
                  <a:lumMod val="75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 name="Title 1">
            <a:extLst>
              <a:ext uri="{FF2B5EF4-FFF2-40B4-BE49-F238E27FC236}">
                <a16:creationId xmlns:a16="http://schemas.microsoft.com/office/drawing/2014/main" id="{C026DBC0-D7B7-4FDA-B657-86AA103A8C80}"/>
              </a:ext>
            </a:extLst>
          </p:cNvPr>
          <p:cNvSpPr txBox="1">
            <a:spLocks/>
          </p:cNvSpPr>
          <p:nvPr/>
        </p:nvSpPr>
        <p:spPr>
          <a:xfrm>
            <a:off x="463295" y="417911"/>
            <a:ext cx="11277600" cy="334099"/>
          </a:xfrm>
          <a:prstGeom prst="rect">
            <a:avLst/>
          </a:prstGeom>
        </p:spPr>
        <p:txBody>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5C989DBA-A3A9-E99C-36C7-9FEC79BD3846}"/>
              </a:ext>
            </a:extLst>
          </p:cNvPr>
          <p:cNvPicPr>
            <a:picLocks noChangeAspect="1"/>
          </p:cNvPicPr>
          <p:nvPr/>
        </p:nvPicPr>
        <p:blipFill>
          <a:blip r:embed="rId6" cstate="email">
            <a:duotone>
              <a:prstClr val="black"/>
              <a:schemeClr val="accent4">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10475155" y="40875"/>
            <a:ext cx="1725898" cy="1484272"/>
          </a:xfrm>
          <a:prstGeom prst="rect">
            <a:avLst/>
          </a:prstGeom>
          <a:ln>
            <a:noFill/>
          </a:ln>
        </p:spPr>
      </p:pic>
      <p:sp>
        <p:nvSpPr>
          <p:cNvPr id="113" name="Title 1">
            <a:extLst>
              <a:ext uri="{FF2B5EF4-FFF2-40B4-BE49-F238E27FC236}">
                <a16:creationId xmlns:a16="http://schemas.microsoft.com/office/drawing/2014/main" id="{2073888D-D36A-9120-48F2-66BA9216459B}"/>
              </a:ext>
            </a:extLst>
          </p:cNvPr>
          <p:cNvSpPr txBox="1">
            <a:spLocks/>
          </p:cNvSpPr>
          <p:nvPr/>
        </p:nvSpPr>
        <p:spPr bwMode="gray">
          <a:xfrm>
            <a:off x="897857" y="423482"/>
            <a:ext cx="10843038"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hu-HU" dirty="0">
                <a:cs typeface="Calibri Light"/>
              </a:rPr>
              <a:t>Data </a:t>
            </a:r>
            <a:r>
              <a:rPr lang="hu-HU" dirty="0" err="1">
                <a:cs typeface="Calibri Light"/>
              </a:rPr>
              <a:t>governance</a:t>
            </a:r>
            <a:r>
              <a:rPr lang="hu-HU" dirty="0">
                <a:cs typeface="Calibri Light"/>
              </a:rPr>
              <a:t> and DWH </a:t>
            </a:r>
            <a:r>
              <a:rPr lang="en-US" dirty="0">
                <a:cs typeface="Calibri Light"/>
              </a:rPr>
              <a:t>Credential Tombstones</a:t>
            </a:r>
          </a:p>
        </p:txBody>
      </p:sp>
      <p:sp>
        <p:nvSpPr>
          <p:cNvPr id="12" name="Rectangle: Rounded Corners 11">
            <a:extLst>
              <a:ext uri="{FF2B5EF4-FFF2-40B4-BE49-F238E27FC236}">
                <a16:creationId xmlns:a16="http://schemas.microsoft.com/office/drawing/2014/main" id="{AF0695A0-1957-7065-495F-F521BB67ACF3}"/>
              </a:ext>
            </a:extLst>
          </p:cNvPr>
          <p:cNvSpPr/>
          <p:nvPr/>
        </p:nvSpPr>
        <p:spPr bwMode="gray">
          <a:xfrm>
            <a:off x="938876" y="6551338"/>
            <a:ext cx="449027" cy="144423"/>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3E2740D6-9A2C-2762-BC5C-529E2A3485F2}"/>
              </a:ext>
            </a:extLst>
          </p:cNvPr>
          <p:cNvSpPr txBox="1"/>
          <p:nvPr/>
        </p:nvSpPr>
        <p:spPr>
          <a:xfrm>
            <a:off x="1442039" y="6575706"/>
            <a:ext cx="1142697" cy="123111"/>
          </a:xfrm>
          <a:prstGeom prst="rect">
            <a:avLst/>
          </a:prstGeom>
          <a:noFill/>
        </p:spPr>
        <p:txBody>
          <a:bodyPr wrap="square" lIns="0" tIns="0" rIns="0" bIns="0" rtlCol="0">
            <a:spAutoFit/>
          </a:bodyPr>
          <a:lstStyle/>
          <a:p>
            <a:pPr>
              <a:spcBef>
                <a:spcPts val="600"/>
              </a:spcBef>
              <a:buSzPct val="100000"/>
            </a:pPr>
            <a:r>
              <a:rPr lang="en-US" sz="8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 Relating Subchapter</a:t>
            </a:r>
            <a:endParaRPr lang="en-US" sz="700" i="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Title 1">
            <a:extLst>
              <a:ext uri="{FF2B5EF4-FFF2-40B4-BE49-F238E27FC236}">
                <a16:creationId xmlns:a16="http://schemas.microsoft.com/office/drawing/2014/main" id="{70BC8237-2B70-2C4D-BB38-E555F7BA1216}"/>
              </a:ext>
            </a:extLst>
          </p:cNvPr>
          <p:cNvSpPr>
            <a:spLocks noGrp="1"/>
          </p:cNvSpPr>
          <p:nvPr>
            <p:ph type="title"/>
          </p:nvPr>
        </p:nvSpPr>
        <p:spPr>
          <a:xfrm>
            <a:off x="897857" y="906411"/>
            <a:ext cx="10467780" cy="562365"/>
          </a:xfrm>
        </p:spPr>
        <p:txBody>
          <a:bodyPr vert="horz" anchor="t"/>
          <a:lstStyle/>
          <a:p>
            <a:r>
              <a:rPr lang="en-US" sz="1400" dirty="0">
                <a:solidFill>
                  <a:prstClr val="black"/>
                </a:solidFill>
              </a:rPr>
              <a:t>We have a broad portfolio of relevant credentials in the field of </a:t>
            </a:r>
            <a:r>
              <a:rPr lang="hu-HU" sz="1400" dirty="0">
                <a:solidFill>
                  <a:prstClr val="black"/>
                </a:solidFill>
              </a:rPr>
              <a:t>Data </a:t>
            </a:r>
            <a:r>
              <a:rPr lang="hu-HU" sz="1400" dirty="0" err="1">
                <a:solidFill>
                  <a:prstClr val="black"/>
                </a:solidFill>
              </a:rPr>
              <a:t>governance</a:t>
            </a:r>
            <a:r>
              <a:rPr lang="hu-HU" sz="1400" dirty="0">
                <a:solidFill>
                  <a:prstClr val="black"/>
                </a:solidFill>
              </a:rPr>
              <a:t> and DWH </a:t>
            </a:r>
            <a:r>
              <a:rPr lang="hu-HU" sz="1400" dirty="0" err="1">
                <a:solidFill>
                  <a:prstClr val="black"/>
                </a:solidFill>
              </a:rPr>
              <a:t>related</a:t>
            </a:r>
            <a:r>
              <a:rPr lang="hu-HU" sz="1400" dirty="0">
                <a:solidFill>
                  <a:prstClr val="black"/>
                </a:solidFill>
              </a:rPr>
              <a:t> </a:t>
            </a:r>
            <a:r>
              <a:rPr lang="hu-HU" sz="1400" dirty="0" err="1">
                <a:solidFill>
                  <a:prstClr val="black"/>
                </a:solidFill>
              </a:rPr>
              <a:t>projects</a:t>
            </a:r>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7" name="Rectangle 160">
            <a:extLst>
              <a:ext uri="{FF2B5EF4-FFF2-40B4-BE49-F238E27FC236}">
                <a16:creationId xmlns:a16="http://schemas.microsoft.com/office/drawing/2014/main" id="{188F9994-5227-1AF7-B863-35AB42AF2865}"/>
              </a:ext>
            </a:extLst>
          </p:cNvPr>
          <p:cNvSpPr/>
          <p:nvPr/>
        </p:nvSpPr>
        <p:spPr bwMode="gray">
          <a:xfrm>
            <a:off x="905070" y="2019682"/>
            <a:ext cx="2813853"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9" name="Rectangle 161">
            <a:extLst>
              <a:ext uri="{FF2B5EF4-FFF2-40B4-BE49-F238E27FC236}">
                <a16:creationId xmlns:a16="http://schemas.microsoft.com/office/drawing/2014/main" id="{3567DDAE-BD14-2D38-5110-561C65945373}"/>
              </a:ext>
            </a:extLst>
          </p:cNvPr>
          <p:cNvSpPr/>
          <p:nvPr/>
        </p:nvSpPr>
        <p:spPr bwMode="gray">
          <a:xfrm>
            <a:off x="897857" y="1569481"/>
            <a:ext cx="2813853"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0" name="TextBox 162">
            <a:extLst>
              <a:ext uri="{FF2B5EF4-FFF2-40B4-BE49-F238E27FC236}">
                <a16:creationId xmlns:a16="http://schemas.microsoft.com/office/drawing/2014/main" id="{757556D0-82C4-571F-7019-F245A0C20034}"/>
              </a:ext>
            </a:extLst>
          </p:cNvPr>
          <p:cNvSpPr txBox="1"/>
          <p:nvPr/>
        </p:nvSpPr>
        <p:spPr>
          <a:xfrm>
            <a:off x="1027929" y="1706458"/>
            <a:ext cx="2216759" cy="147739"/>
          </a:xfrm>
          <a:prstGeom prst="rect">
            <a:avLst/>
          </a:prstGeom>
          <a:noFill/>
        </p:spPr>
        <p:txBody>
          <a:bodyPr wrap="square" lIns="0" tIns="0" rIns="0" bIns="0" rtlCol="0" anchor="t">
            <a:noAutofit/>
          </a:bodyPr>
          <a:lstStyle/>
          <a:p>
            <a:r>
              <a:rPr lang="hu-HU"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KK ZRT. </a:t>
            </a:r>
            <a:endPar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5" name="Rectangle: Rounded Corners 168">
            <a:extLst>
              <a:ext uri="{FF2B5EF4-FFF2-40B4-BE49-F238E27FC236}">
                <a16:creationId xmlns:a16="http://schemas.microsoft.com/office/drawing/2014/main" id="{B9510B86-02F5-E550-4EA2-8C825D733FF7}"/>
              </a:ext>
            </a:extLst>
          </p:cNvPr>
          <p:cNvSpPr/>
          <p:nvPr/>
        </p:nvSpPr>
        <p:spPr bwMode="gray">
          <a:xfrm>
            <a:off x="2000053" y="3348946"/>
            <a:ext cx="1699286"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2.1. DATA GOVERNANCE</a:t>
            </a:r>
          </a:p>
        </p:txBody>
      </p:sp>
      <p:sp>
        <p:nvSpPr>
          <p:cNvPr id="208" name="TextBox 170">
            <a:extLst>
              <a:ext uri="{FF2B5EF4-FFF2-40B4-BE49-F238E27FC236}">
                <a16:creationId xmlns:a16="http://schemas.microsoft.com/office/drawing/2014/main" id="{721D9BC5-87A7-1A57-DB42-619A9F8D967F}"/>
              </a:ext>
            </a:extLst>
          </p:cNvPr>
          <p:cNvSpPr txBox="1"/>
          <p:nvPr/>
        </p:nvSpPr>
        <p:spPr>
          <a:xfrm>
            <a:off x="1028820" y="2437300"/>
            <a:ext cx="2316699" cy="680008"/>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The client aiming to become the leader of the Hungarian factoring and receivables managing market. MKK envisioned a unified database landscape with a central Data Warehouse (DWH) core to accomplish its strategic goals.</a:t>
            </a:r>
          </a:p>
        </p:txBody>
      </p:sp>
      <p:sp>
        <p:nvSpPr>
          <p:cNvPr id="51" name="TextBox 171">
            <a:extLst>
              <a:ext uri="{FF2B5EF4-FFF2-40B4-BE49-F238E27FC236}">
                <a16:creationId xmlns:a16="http://schemas.microsoft.com/office/drawing/2014/main" id="{27A02338-5481-10EB-2D56-5C27F9FE461C}"/>
              </a:ext>
            </a:extLst>
          </p:cNvPr>
          <p:cNvSpPr txBox="1"/>
          <p:nvPr/>
        </p:nvSpPr>
        <p:spPr>
          <a:xfrm>
            <a:off x="1028820" y="2224935"/>
            <a:ext cx="2529081"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DATA GOVERNANCE </a:t>
            </a:r>
          </a:p>
        </p:txBody>
      </p:sp>
      <p:grpSp>
        <p:nvGrpSpPr>
          <p:cNvPr id="128" name="Group 172">
            <a:extLst>
              <a:ext uri="{FF2B5EF4-FFF2-40B4-BE49-F238E27FC236}">
                <a16:creationId xmlns:a16="http://schemas.microsoft.com/office/drawing/2014/main" id="{E732E4DD-B9DB-2CE0-0BF8-F48C1FBED926}"/>
              </a:ext>
            </a:extLst>
          </p:cNvPr>
          <p:cNvGrpSpPr>
            <a:grpSpLocks/>
          </p:cNvGrpSpPr>
          <p:nvPr/>
        </p:nvGrpSpPr>
        <p:grpSpPr>
          <a:xfrm>
            <a:off x="3283069" y="1555341"/>
            <a:ext cx="450000" cy="450001"/>
            <a:chOff x="7366067" y="6713969"/>
            <a:chExt cx="492328" cy="493776"/>
          </a:xfrm>
        </p:grpSpPr>
        <p:sp>
          <p:nvSpPr>
            <p:cNvPr id="137" name="Flowchart: Connector 14">
              <a:extLst>
                <a:ext uri="{FF2B5EF4-FFF2-40B4-BE49-F238E27FC236}">
                  <a16:creationId xmlns:a16="http://schemas.microsoft.com/office/drawing/2014/main" id="{118F51FE-FC01-3FA7-F009-CF92B097BE5D}"/>
                </a:ext>
              </a:extLst>
            </p:cNvPr>
            <p:cNvSpPr/>
            <p:nvPr/>
          </p:nvSpPr>
          <p:spPr bwMode="gray">
            <a:xfrm>
              <a:off x="7399799" y="6761738"/>
              <a:ext cx="421693"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850">
              <a:extLst>
                <a:ext uri="{FF2B5EF4-FFF2-40B4-BE49-F238E27FC236}">
                  <a16:creationId xmlns:a16="http://schemas.microsoft.com/office/drawing/2014/main" id="{0F04411B-B57C-1C9C-D262-FE23CFBBE982}"/>
                </a:ext>
              </a:extLst>
            </p:cNvPr>
            <p:cNvSpPr>
              <a:spLocks noChangeAspect="1" noEditPoints="1"/>
            </p:cNvSpPr>
            <p:nvPr/>
          </p:nvSpPr>
          <p:spPr bwMode="auto">
            <a:xfrm>
              <a:off x="7366067" y="6713969"/>
              <a:ext cx="492328" cy="49377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5" name="Rectangle 13">
            <a:extLst>
              <a:ext uri="{FF2B5EF4-FFF2-40B4-BE49-F238E27FC236}">
                <a16:creationId xmlns:a16="http://schemas.microsoft.com/office/drawing/2014/main" id="{9DB648EF-8476-4A03-2C11-9178E2030D2C}"/>
              </a:ext>
            </a:extLst>
          </p:cNvPr>
          <p:cNvSpPr/>
          <p:nvPr/>
        </p:nvSpPr>
        <p:spPr bwMode="gray">
          <a:xfrm>
            <a:off x="4404719" y="201009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Rectangle 38">
            <a:extLst>
              <a:ext uri="{FF2B5EF4-FFF2-40B4-BE49-F238E27FC236}">
                <a16:creationId xmlns:a16="http://schemas.microsoft.com/office/drawing/2014/main" id="{30E643F9-9AFB-7F1D-A760-95B452450FC8}"/>
              </a:ext>
            </a:extLst>
          </p:cNvPr>
          <p:cNvSpPr/>
          <p:nvPr/>
        </p:nvSpPr>
        <p:spPr bwMode="gray">
          <a:xfrm>
            <a:off x="4406401" y="156491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6" name="TextBox 39">
            <a:extLst>
              <a:ext uri="{FF2B5EF4-FFF2-40B4-BE49-F238E27FC236}">
                <a16:creationId xmlns:a16="http://schemas.microsoft.com/office/drawing/2014/main" id="{0438F638-92A7-4437-0857-B8718F77E13A}"/>
              </a:ext>
            </a:extLst>
          </p:cNvPr>
          <p:cNvSpPr txBox="1"/>
          <p:nvPr/>
        </p:nvSpPr>
        <p:spPr>
          <a:xfrm>
            <a:off x="4527759" y="1701133"/>
            <a:ext cx="2220025" cy="149263"/>
          </a:xfrm>
          <a:prstGeom prst="rect">
            <a:avLst/>
          </a:prstGeom>
          <a:noFill/>
        </p:spPr>
        <p:txBody>
          <a:bodyPr wrap="square" lIns="0" tIns="0" rIns="0" bIns="0" rtlCol="0" anchor="t">
            <a:noAutofit/>
          </a:bodyPr>
          <a:lstStyle/>
          <a:p>
            <a:r>
              <a:rPr lang="hu-HU"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IB BANK</a:t>
            </a:r>
            <a:endPar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2" name="Flowchart: Connector 121">
            <a:extLst>
              <a:ext uri="{FF2B5EF4-FFF2-40B4-BE49-F238E27FC236}">
                <a16:creationId xmlns:a16="http://schemas.microsoft.com/office/drawing/2014/main" id="{7D3078D8-E59C-B6FB-EF19-6FC84FFF05EC}"/>
              </a:ext>
            </a:extLst>
          </p:cNvPr>
          <p:cNvSpPr/>
          <p:nvPr/>
        </p:nvSpPr>
        <p:spPr bwMode="gray">
          <a:xfrm>
            <a:off x="6827685" y="156491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1" name="Group 531">
            <a:extLst>
              <a:ext uri="{FF2B5EF4-FFF2-40B4-BE49-F238E27FC236}">
                <a16:creationId xmlns:a16="http://schemas.microsoft.com/office/drawing/2014/main" id="{1F6AE038-CADC-C2F9-6D79-AFF8180F4732}"/>
              </a:ext>
            </a:extLst>
          </p:cNvPr>
          <p:cNvGrpSpPr>
            <a:grpSpLocks/>
          </p:cNvGrpSpPr>
          <p:nvPr/>
        </p:nvGrpSpPr>
        <p:grpSpPr bwMode="auto">
          <a:xfrm>
            <a:off x="6792164" y="1555327"/>
            <a:ext cx="450000" cy="450000"/>
            <a:chOff x="3061" y="1953"/>
            <a:chExt cx="340" cy="340"/>
          </a:xfrm>
          <a:solidFill>
            <a:srgbClr val="9DD4CF"/>
          </a:solidFill>
        </p:grpSpPr>
        <p:sp>
          <p:nvSpPr>
            <p:cNvPr id="132" name="Freeform 532">
              <a:extLst>
                <a:ext uri="{FF2B5EF4-FFF2-40B4-BE49-F238E27FC236}">
                  <a16:creationId xmlns:a16="http://schemas.microsoft.com/office/drawing/2014/main" id="{B9B07865-95E6-0111-B065-7FC992F9936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533">
              <a:extLst>
                <a:ext uri="{FF2B5EF4-FFF2-40B4-BE49-F238E27FC236}">
                  <a16:creationId xmlns:a16="http://schemas.microsoft.com/office/drawing/2014/main" id="{39D67C8F-50F3-581E-E36E-5B8CA842692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6" name="Rectangle: Rounded Corners 142">
            <a:extLst>
              <a:ext uri="{FF2B5EF4-FFF2-40B4-BE49-F238E27FC236}">
                <a16:creationId xmlns:a16="http://schemas.microsoft.com/office/drawing/2014/main" id="{EF5B7140-15FD-0460-4881-C713C8767A08}"/>
              </a:ext>
            </a:extLst>
          </p:cNvPr>
          <p:cNvSpPr/>
          <p:nvPr/>
        </p:nvSpPr>
        <p:spPr bwMode="gray">
          <a:xfrm>
            <a:off x="5501315" y="3339355"/>
            <a:ext cx="1699286"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2.1. DATA GOVERNANCE</a:t>
            </a:r>
          </a:p>
        </p:txBody>
      </p:sp>
      <p:sp>
        <p:nvSpPr>
          <p:cNvPr id="139" name="TextBox 144">
            <a:extLst>
              <a:ext uri="{FF2B5EF4-FFF2-40B4-BE49-F238E27FC236}">
                <a16:creationId xmlns:a16="http://schemas.microsoft.com/office/drawing/2014/main" id="{883D69FE-0988-760E-0D05-72A43C585874}"/>
              </a:ext>
            </a:extLst>
          </p:cNvPr>
          <p:cNvSpPr txBox="1"/>
          <p:nvPr/>
        </p:nvSpPr>
        <p:spPr>
          <a:xfrm>
            <a:off x="4519745" y="2437300"/>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We compared the Hungarian National Bank's data classification requirements with the Client’s current practice of data classification. During our review, we identified the gaps and provided recommendations to address the methodological gaps.</a:t>
            </a:r>
          </a:p>
        </p:txBody>
      </p:sp>
      <p:sp>
        <p:nvSpPr>
          <p:cNvPr id="140" name="TextBox 145">
            <a:extLst>
              <a:ext uri="{FF2B5EF4-FFF2-40B4-BE49-F238E27FC236}">
                <a16:creationId xmlns:a16="http://schemas.microsoft.com/office/drawing/2014/main" id="{9C653446-6E12-F57B-15F9-1D7879EFFEE6}"/>
              </a:ext>
            </a:extLst>
          </p:cNvPr>
          <p:cNvSpPr txBox="1"/>
          <p:nvPr/>
        </p:nvSpPr>
        <p:spPr>
          <a:xfrm>
            <a:off x="4519745" y="2215344"/>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DATA CLASSIFICATION</a:t>
            </a:r>
          </a:p>
        </p:txBody>
      </p:sp>
      <p:sp>
        <p:nvSpPr>
          <p:cNvPr id="2" name="Rectangle 13">
            <a:extLst>
              <a:ext uri="{FF2B5EF4-FFF2-40B4-BE49-F238E27FC236}">
                <a16:creationId xmlns:a16="http://schemas.microsoft.com/office/drawing/2014/main" id="{DF518BDE-FD4E-D35B-1614-1A101AA26DD6}"/>
              </a:ext>
            </a:extLst>
          </p:cNvPr>
          <p:cNvSpPr/>
          <p:nvPr/>
        </p:nvSpPr>
        <p:spPr bwMode="gray">
          <a:xfrm>
            <a:off x="7870152" y="201009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Rectangle 38">
            <a:extLst>
              <a:ext uri="{FF2B5EF4-FFF2-40B4-BE49-F238E27FC236}">
                <a16:creationId xmlns:a16="http://schemas.microsoft.com/office/drawing/2014/main" id="{8F21828D-6164-68DF-F32D-7DF0BBCFB744}"/>
              </a:ext>
            </a:extLst>
          </p:cNvPr>
          <p:cNvSpPr/>
          <p:nvPr/>
        </p:nvSpPr>
        <p:spPr bwMode="gray">
          <a:xfrm>
            <a:off x="7871834" y="156491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9">
            <a:extLst>
              <a:ext uri="{FF2B5EF4-FFF2-40B4-BE49-F238E27FC236}">
                <a16:creationId xmlns:a16="http://schemas.microsoft.com/office/drawing/2014/main" id="{991AD6CB-E5B0-82C9-9CC8-CF7C25C1F876}"/>
              </a:ext>
            </a:extLst>
          </p:cNvPr>
          <p:cNvSpPr txBox="1"/>
          <p:nvPr/>
        </p:nvSpPr>
        <p:spPr>
          <a:xfrm>
            <a:off x="7993192" y="1701133"/>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SURANCE COMPANY</a:t>
            </a:r>
          </a:p>
        </p:txBody>
      </p:sp>
      <p:sp>
        <p:nvSpPr>
          <p:cNvPr id="5" name="Flowchart: Connector 121">
            <a:extLst>
              <a:ext uri="{FF2B5EF4-FFF2-40B4-BE49-F238E27FC236}">
                <a16:creationId xmlns:a16="http://schemas.microsoft.com/office/drawing/2014/main" id="{38014D70-6916-63FB-9B66-4374C8F74284}"/>
              </a:ext>
            </a:extLst>
          </p:cNvPr>
          <p:cNvSpPr/>
          <p:nvPr/>
        </p:nvSpPr>
        <p:spPr bwMode="gray">
          <a:xfrm>
            <a:off x="10293118" y="156491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 name="Group 531">
            <a:extLst>
              <a:ext uri="{FF2B5EF4-FFF2-40B4-BE49-F238E27FC236}">
                <a16:creationId xmlns:a16="http://schemas.microsoft.com/office/drawing/2014/main" id="{27C20099-1EF1-5519-2829-D1FDDAA9283A}"/>
              </a:ext>
            </a:extLst>
          </p:cNvPr>
          <p:cNvGrpSpPr>
            <a:grpSpLocks/>
          </p:cNvGrpSpPr>
          <p:nvPr/>
        </p:nvGrpSpPr>
        <p:grpSpPr bwMode="auto">
          <a:xfrm>
            <a:off x="10257597" y="1555327"/>
            <a:ext cx="450000" cy="450000"/>
            <a:chOff x="3061" y="1953"/>
            <a:chExt cx="340" cy="340"/>
          </a:xfrm>
          <a:solidFill>
            <a:srgbClr val="9DD4CF"/>
          </a:solidFill>
        </p:grpSpPr>
        <p:sp>
          <p:nvSpPr>
            <p:cNvPr id="7" name="Freeform 532">
              <a:extLst>
                <a:ext uri="{FF2B5EF4-FFF2-40B4-BE49-F238E27FC236}">
                  <a16:creationId xmlns:a16="http://schemas.microsoft.com/office/drawing/2014/main" id="{9A79B29A-E33A-F989-85D0-8A19147F8DD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533">
              <a:extLst>
                <a:ext uri="{FF2B5EF4-FFF2-40B4-BE49-F238E27FC236}">
                  <a16:creationId xmlns:a16="http://schemas.microsoft.com/office/drawing/2014/main" id="{A5601A34-727C-39A9-352D-39BEE6758736}"/>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 name="Rectangle: Rounded Corners 142">
            <a:extLst>
              <a:ext uri="{FF2B5EF4-FFF2-40B4-BE49-F238E27FC236}">
                <a16:creationId xmlns:a16="http://schemas.microsoft.com/office/drawing/2014/main" id="{6D4AB6AF-A2E5-007D-7455-28A51B98C0CF}"/>
              </a:ext>
            </a:extLst>
          </p:cNvPr>
          <p:cNvSpPr/>
          <p:nvPr/>
        </p:nvSpPr>
        <p:spPr bwMode="gray">
          <a:xfrm>
            <a:off x="8966748" y="3339355"/>
            <a:ext cx="1699286"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2.1. DATA GOVERNANCE</a:t>
            </a:r>
          </a:p>
        </p:txBody>
      </p:sp>
      <p:sp>
        <p:nvSpPr>
          <p:cNvPr id="11" name="TextBox 144">
            <a:extLst>
              <a:ext uri="{FF2B5EF4-FFF2-40B4-BE49-F238E27FC236}">
                <a16:creationId xmlns:a16="http://schemas.microsoft.com/office/drawing/2014/main" id="{085DE480-E859-4C59-7D28-133A444CC314}"/>
              </a:ext>
            </a:extLst>
          </p:cNvPr>
          <p:cNvSpPr txBox="1"/>
          <p:nvPr/>
        </p:nvSpPr>
        <p:spPr>
          <a:xfrm>
            <a:off x="7985178" y="2437300"/>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Quality assurance of the design and development project of a financial Data Warehouse for a Hungarian insurance company.</a:t>
            </a:r>
          </a:p>
        </p:txBody>
      </p:sp>
      <p:sp>
        <p:nvSpPr>
          <p:cNvPr id="13" name="TextBox 145">
            <a:extLst>
              <a:ext uri="{FF2B5EF4-FFF2-40B4-BE49-F238E27FC236}">
                <a16:creationId xmlns:a16="http://schemas.microsoft.com/office/drawing/2014/main" id="{24F0CD51-3C9E-77C6-4AF8-F75C79E5EE0D}"/>
              </a:ext>
            </a:extLst>
          </p:cNvPr>
          <p:cNvSpPr txBox="1"/>
          <p:nvPr/>
        </p:nvSpPr>
        <p:spPr>
          <a:xfrm>
            <a:off x="7985178" y="2215344"/>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DWH IMPLEMENTATION</a:t>
            </a:r>
          </a:p>
        </p:txBody>
      </p:sp>
      <p:sp>
        <p:nvSpPr>
          <p:cNvPr id="14" name="Rectangle 13">
            <a:extLst>
              <a:ext uri="{FF2B5EF4-FFF2-40B4-BE49-F238E27FC236}">
                <a16:creationId xmlns:a16="http://schemas.microsoft.com/office/drawing/2014/main" id="{228DE5C0-E8F9-0190-E7FF-23347470FC2F}"/>
              </a:ext>
            </a:extLst>
          </p:cNvPr>
          <p:cNvSpPr/>
          <p:nvPr/>
        </p:nvSpPr>
        <p:spPr bwMode="gray">
          <a:xfrm>
            <a:off x="901047" y="445244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38">
            <a:extLst>
              <a:ext uri="{FF2B5EF4-FFF2-40B4-BE49-F238E27FC236}">
                <a16:creationId xmlns:a16="http://schemas.microsoft.com/office/drawing/2014/main" id="{B6D68077-EC42-006A-59D6-39E9CD479437}"/>
              </a:ext>
            </a:extLst>
          </p:cNvPr>
          <p:cNvSpPr/>
          <p:nvPr/>
        </p:nvSpPr>
        <p:spPr bwMode="gray">
          <a:xfrm>
            <a:off x="902729" y="400726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39">
            <a:extLst>
              <a:ext uri="{FF2B5EF4-FFF2-40B4-BE49-F238E27FC236}">
                <a16:creationId xmlns:a16="http://schemas.microsoft.com/office/drawing/2014/main" id="{F1F292C3-DD9F-7684-132C-40BAA4AC7ED2}"/>
              </a:ext>
            </a:extLst>
          </p:cNvPr>
          <p:cNvSpPr txBox="1"/>
          <p:nvPr/>
        </p:nvSpPr>
        <p:spPr>
          <a:xfrm>
            <a:off x="1024087" y="4143483"/>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 SECTOR</a:t>
            </a:r>
          </a:p>
        </p:txBody>
      </p:sp>
      <p:sp>
        <p:nvSpPr>
          <p:cNvPr id="18" name="Flowchart: Connector 121">
            <a:extLst>
              <a:ext uri="{FF2B5EF4-FFF2-40B4-BE49-F238E27FC236}">
                <a16:creationId xmlns:a16="http://schemas.microsoft.com/office/drawing/2014/main" id="{4CB5AA55-7CEE-8952-3FDD-82A586D81877}"/>
              </a:ext>
            </a:extLst>
          </p:cNvPr>
          <p:cNvSpPr/>
          <p:nvPr/>
        </p:nvSpPr>
        <p:spPr bwMode="gray">
          <a:xfrm>
            <a:off x="3324013" y="400726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9" name="Group 531">
            <a:extLst>
              <a:ext uri="{FF2B5EF4-FFF2-40B4-BE49-F238E27FC236}">
                <a16:creationId xmlns:a16="http://schemas.microsoft.com/office/drawing/2014/main" id="{84F0A08B-FBA2-30C2-D087-DD88D0413CD4}"/>
              </a:ext>
            </a:extLst>
          </p:cNvPr>
          <p:cNvGrpSpPr>
            <a:grpSpLocks/>
          </p:cNvGrpSpPr>
          <p:nvPr/>
        </p:nvGrpSpPr>
        <p:grpSpPr bwMode="auto">
          <a:xfrm>
            <a:off x="3288492" y="3997677"/>
            <a:ext cx="450000" cy="450000"/>
            <a:chOff x="3061" y="1953"/>
            <a:chExt cx="340" cy="340"/>
          </a:xfrm>
          <a:solidFill>
            <a:srgbClr val="9DD4CF"/>
          </a:solidFill>
        </p:grpSpPr>
        <p:sp>
          <p:nvSpPr>
            <p:cNvPr id="20" name="Freeform 532">
              <a:extLst>
                <a:ext uri="{FF2B5EF4-FFF2-40B4-BE49-F238E27FC236}">
                  <a16:creationId xmlns:a16="http://schemas.microsoft.com/office/drawing/2014/main" id="{749F16C0-2C65-B364-855F-F8F1C2713C1E}"/>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533">
              <a:extLst>
                <a:ext uri="{FF2B5EF4-FFF2-40B4-BE49-F238E27FC236}">
                  <a16:creationId xmlns:a16="http://schemas.microsoft.com/office/drawing/2014/main" id="{A8E29B2F-30B5-52B0-3EBB-7E578E302A07}"/>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3" name="Rectangle: Rounded Corners 142">
            <a:extLst>
              <a:ext uri="{FF2B5EF4-FFF2-40B4-BE49-F238E27FC236}">
                <a16:creationId xmlns:a16="http://schemas.microsoft.com/office/drawing/2014/main" id="{960D1CE9-E022-66FE-0594-723C08622165}"/>
              </a:ext>
            </a:extLst>
          </p:cNvPr>
          <p:cNvSpPr/>
          <p:nvPr/>
        </p:nvSpPr>
        <p:spPr bwMode="gray">
          <a:xfrm>
            <a:off x="1997643" y="5781705"/>
            <a:ext cx="1699286"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2.1. DATA GOVERNANCE</a:t>
            </a:r>
          </a:p>
        </p:txBody>
      </p:sp>
      <p:sp>
        <p:nvSpPr>
          <p:cNvPr id="24" name="TextBox 144">
            <a:extLst>
              <a:ext uri="{FF2B5EF4-FFF2-40B4-BE49-F238E27FC236}">
                <a16:creationId xmlns:a16="http://schemas.microsoft.com/office/drawing/2014/main" id="{A3D0C176-3FE4-9C61-FEAD-F8CCA31E1B00}"/>
              </a:ext>
            </a:extLst>
          </p:cNvPr>
          <p:cNvSpPr txBox="1"/>
          <p:nvPr/>
        </p:nvSpPr>
        <p:spPr>
          <a:xfrm>
            <a:off x="1016073" y="4879650"/>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Support for the public procurement procedure for data warehouses, expert support for data warehouse system planning and development.</a:t>
            </a:r>
          </a:p>
        </p:txBody>
      </p:sp>
      <p:sp>
        <p:nvSpPr>
          <p:cNvPr id="25" name="TextBox 145">
            <a:extLst>
              <a:ext uri="{FF2B5EF4-FFF2-40B4-BE49-F238E27FC236}">
                <a16:creationId xmlns:a16="http://schemas.microsoft.com/office/drawing/2014/main" id="{0515E3E6-148A-5223-C6F0-7AD99B20A85A}"/>
              </a:ext>
            </a:extLst>
          </p:cNvPr>
          <p:cNvSpPr txBox="1"/>
          <p:nvPr/>
        </p:nvSpPr>
        <p:spPr>
          <a:xfrm>
            <a:off x="1016073" y="4657694"/>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DWH IMPLEMENTATION</a:t>
            </a:r>
          </a:p>
        </p:txBody>
      </p:sp>
      <p:sp>
        <p:nvSpPr>
          <p:cNvPr id="26" name="Rectangle 25">
            <a:extLst>
              <a:ext uri="{FF2B5EF4-FFF2-40B4-BE49-F238E27FC236}">
                <a16:creationId xmlns:a16="http://schemas.microsoft.com/office/drawing/2014/main" id="{7431162A-E057-2C79-12CF-5C5429C01262}"/>
              </a:ext>
            </a:extLst>
          </p:cNvPr>
          <p:cNvSpPr/>
          <p:nvPr/>
        </p:nvSpPr>
        <p:spPr bwMode="gray">
          <a:xfrm>
            <a:off x="4400725" y="445244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38">
            <a:extLst>
              <a:ext uri="{FF2B5EF4-FFF2-40B4-BE49-F238E27FC236}">
                <a16:creationId xmlns:a16="http://schemas.microsoft.com/office/drawing/2014/main" id="{755F12B8-1B1C-B46C-D267-96C271658A48}"/>
              </a:ext>
            </a:extLst>
          </p:cNvPr>
          <p:cNvSpPr/>
          <p:nvPr/>
        </p:nvSpPr>
        <p:spPr bwMode="gray">
          <a:xfrm>
            <a:off x="4402407" y="400726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39">
            <a:extLst>
              <a:ext uri="{FF2B5EF4-FFF2-40B4-BE49-F238E27FC236}">
                <a16:creationId xmlns:a16="http://schemas.microsoft.com/office/drawing/2014/main" id="{5A341E07-44FF-579B-ECD9-EF1CB7F270E2}"/>
              </a:ext>
            </a:extLst>
          </p:cNvPr>
          <p:cNvSpPr txBox="1"/>
          <p:nvPr/>
        </p:nvSpPr>
        <p:spPr>
          <a:xfrm>
            <a:off x="4523765" y="4143483"/>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DUCATION NON-PROFIT</a:t>
            </a:r>
          </a:p>
        </p:txBody>
      </p:sp>
      <p:sp>
        <p:nvSpPr>
          <p:cNvPr id="29" name="Flowchart: Connector 121">
            <a:extLst>
              <a:ext uri="{FF2B5EF4-FFF2-40B4-BE49-F238E27FC236}">
                <a16:creationId xmlns:a16="http://schemas.microsoft.com/office/drawing/2014/main" id="{859AB950-83B0-3281-7454-FC3DA1121E6D}"/>
              </a:ext>
            </a:extLst>
          </p:cNvPr>
          <p:cNvSpPr/>
          <p:nvPr/>
        </p:nvSpPr>
        <p:spPr bwMode="gray">
          <a:xfrm>
            <a:off x="6823691" y="400726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38" name="Group 531">
            <a:extLst>
              <a:ext uri="{FF2B5EF4-FFF2-40B4-BE49-F238E27FC236}">
                <a16:creationId xmlns:a16="http://schemas.microsoft.com/office/drawing/2014/main" id="{46A77783-FA4D-B76A-4DC3-F633922A8FE3}"/>
              </a:ext>
            </a:extLst>
          </p:cNvPr>
          <p:cNvGrpSpPr>
            <a:grpSpLocks/>
          </p:cNvGrpSpPr>
          <p:nvPr/>
        </p:nvGrpSpPr>
        <p:grpSpPr bwMode="auto">
          <a:xfrm>
            <a:off x="6788170" y="3997677"/>
            <a:ext cx="450000" cy="450000"/>
            <a:chOff x="3061" y="1953"/>
            <a:chExt cx="340" cy="340"/>
          </a:xfrm>
          <a:solidFill>
            <a:srgbClr val="9DD4CF"/>
          </a:solidFill>
        </p:grpSpPr>
        <p:sp>
          <p:nvSpPr>
            <p:cNvPr id="39" name="Freeform 532">
              <a:extLst>
                <a:ext uri="{FF2B5EF4-FFF2-40B4-BE49-F238E27FC236}">
                  <a16:creationId xmlns:a16="http://schemas.microsoft.com/office/drawing/2014/main" id="{75E866C3-E4EB-9BE0-F2DF-DEC56094F093}"/>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533">
              <a:extLst>
                <a:ext uri="{FF2B5EF4-FFF2-40B4-BE49-F238E27FC236}">
                  <a16:creationId xmlns:a16="http://schemas.microsoft.com/office/drawing/2014/main" id="{C92FE0D0-0179-0A59-07F5-F6CDE299A9EC}"/>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1" name="Rectangle: Rounded Corners 142">
            <a:extLst>
              <a:ext uri="{FF2B5EF4-FFF2-40B4-BE49-F238E27FC236}">
                <a16:creationId xmlns:a16="http://schemas.microsoft.com/office/drawing/2014/main" id="{4E7A8D4C-D27B-8FF6-46F8-A0986159BFF7}"/>
              </a:ext>
            </a:extLst>
          </p:cNvPr>
          <p:cNvSpPr/>
          <p:nvPr/>
        </p:nvSpPr>
        <p:spPr bwMode="gray">
          <a:xfrm>
            <a:off x="5497321" y="5781705"/>
            <a:ext cx="1699286"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2.1. DATA GOVERNANCE</a:t>
            </a:r>
          </a:p>
        </p:txBody>
      </p:sp>
      <p:sp>
        <p:nvSpPr>
          <p:cNvPr id="43" name="TextBox 144">
            <a:extLst>
              <a:ext uri="{FF2B5EF4-FFF2-40B4-BE49-F238E27FC236}">
                <a16:creationId xmlns:a16="http://schemas.microsoft.com/office/drawing/2014/main" id="{177190A8-97F1-95AD-56E1-AB70B022C7CA}"/>
              </a:ext>
            </a:extLst>
          </p:cNvPr>
          <p:cNvSpPr txBox="1"/>
          <p:nvPr/>
        </p:nvSpPr>
        <p:spPr>
          <a:xfrm>
            <a:off x="4515751" y="4879650"/>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financial data warehouse and related record system planning, development and implementation project management, as well as business analysis and educational tasks (with IBM Cognos, IBM Notes and MS SQL technologies).</a:t>
            </a:r>
          </a:p>
        </p:txBody>
      </p:sp>
      <p:sp>
        <p:nvSpPr>
          <p:cNvPr id="44" name="TextBox 145">
            <a:extLst>
              <a:ext uri="{FF2B5EF4-FFF2-40B4-BE49-F238E27FC236}">
                <a16:creationId xmlns:a16="http://schemas.microsoft.com/office/drawing/2014/main" id="{E0BE9160-77C8-28B8-9D94-20CAE9070028}"/>
              </a:ext>
            </a:extLst>
          </p:cNvPr>
          <p:cNvSpPr txBox="1"/>
          <p:nvPr/>
        </p:nvSpPr>
        <p:spPr>
          <a:xfrm>
            <a:off x="4515751" y="4657694"/>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DWH IMPLEMENTATION</a:t>
            </a:r>
          </a:p>
        </p:txBody>
      </p:sp>
      <p:sp>
        <p:nvSpPr>
          <p:cNvPr id="45" name="Rectangle 44">
            <a:extLst>
              <a:ext uri="{FF2B5EF4-FFF2-40B4-BE49-F238E27FC236}">
                <a16:creationId xmlns:a16="http://schemas.microsoft.com/office/drawing/2014/main" id="{A540C171-06E3-F7F0-C1BB-450C9E7D71AE}"/>
              </a:ext>
            </a:extLst>
          </p:cNvPr>
          <p:cNvSpPr/>
          <p:nvPr/>
        </p:nvSpPr>
        <p:spPr bwMode="gray">
          <a:xfrm>
            <a:off x="7871896" y="4452441"/>
            <a:ext cx="2817999" cy="1415959"/>
          </a:xfrm>
          <a:prstGeom prst="rect">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38">
            <a:extLst>
              <a:ext uri="{FF2B5EF4-FFF2-40B4-BE49-F238E27FC236}">
                <a16:creationId xmlns:a16="http://schemas.microsoft.com/office/drawing/2014/main" id="{32F09DDD-C46B-46E5-B5FD-F59B4EF7368D}"/>
              </a:ext>
            </a:extLst>
          </p:cNvPr>
          <p:cNvSpPr/>
          <p:nvPr/>
        </p:nvSpPr>
        <p:spPr bwMode="gray">
          <a:xfrm>
            <a:off x="7873578" y="4007268"/>
            <a:ext cx="2817999" cy="42169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TextBox 39">
            <a:extLst>
              <a:ext uri="{FF2B5EF4-FFF2-40B4-BE49-F238E27FC236}">
                <a16:creationId xmlns:a16="http://schemas.microsoft.com/office/drawing/2014/main" id="{B4897070-9299-A7F9-9950-9BBDB4088252}"/>
              </a:ext>
            </a:extLst>
          </p:cNvPr>
          <p:cNvSpPr txBox="1"/>
          <p:nvPr/>
        </p:nvSpPr>
        <p:spPr>
          <a:xfrm>
            <a:off x="7994936" y="4143483"/>
            <a:ext cx="2220025" cy="149263"/>
          </a:xfrm>
          <a:prstGeom prst="rect">
            <a:avLst/>
          </a:prstGeom>
          <a:noFill/>
        </p:spPr>
        <p:txBody>
          <a:bodyPr wrap="square" lIns="0" tIns="0" rIns="0" bIns="0" rtlCol="0" anchor="t">
            <a:noAutofit/>
          </a:bodyPr>
          <a:lstStyle/>
          <a:p>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 SECTOR</a:t>
            </a:r>
          </a:p>
        </p:txBody>
      </p:sp>
      <p:sp>
        <p:nvSpPr>
          <p:cNvPr id="49" name="Flowchart: Connector 121">
            <a:extLst>
              <a:ext uri="{FF2B5EF4-FFF2-40B4-BE49-F238E27FC236}">
                <a16:creationId xmlns:a16="http://schemas.microsoft.com/office/drawing/2014/main" id="{24CDF49C-2699-1AE0-DDDC-10B9938CB907}"/>
              </a:ext>
            </a:extLst>
          </p:cNvPr>
          <p:cNvSpPr/>
          <p:nvPr/>
        </p:nvSpPr>
        <p:spPr bwMode="gray">
          <a:xfrm>
            <a:off x="10294862" y="4007268"/>
            <a:ext cx="386050" cy="421693"/>
          </a:xfrm>
          <a:prstGeom prst="flowChartConnector">
            <a:avLst/>
          </a:prstGeom>
          <a:solidFill>
            <a:schemeClr val="bg1"/>
          </a:solidFill>
          <a:ln w="6350" algn="ctr">
            <a:solidFill>
              <a:schemeClr val="accent4">
                <a:lumMod val="40000"/>
                <a:lumOff val="60000"/>
              </a:schemeClr>
            </a:solidFill>
            <a:miter lim="800000"/>
            <a:headEnd/>
            <a:tailEnd/>
          </a:ln>
        </p:spPr>
        <p:txBody>
          <a:bodyPr wrap="square" lIns="0" tIns="0" rIns="0" bIns="0"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50" name="Group 531">
            <a:extLst>
              <a:ext uri="{FF2B5EF4-FFF2-40B4-BE49-F238E27FC236}">
                <a16:creationId xmlns:a16="http://schemas.microsoft.com/office/drawing/2014/main" id="{07889A31-A182-B4E0-853C-94885916B01B}"/>
              </a:ext>
            </a:extLst>
          </p:cNvPr>
          <p:cNvGrpSpPr>
            <a:grpSpLocks/>
          </p:cNvGrpSpPr>
          <p:nvPr/>
        </p:nvGrpSpPr>
        <p:grpSpPr bwMode="auto">
          <a:xfrm>
            <a:off x="10259341" y="3997677"/>
            <a:ext cx="450000" cy="450000"/>
            <a:chOff x="3061" y="1953"/>
            <a:chExt cx="340" cy="340"/>
          </a:xfrm>
          <a:solidFill>
            <a:srgbClr val="9DD4CF"/>
          </a:solidFill>
        </p:grpSpPr>
        <p:sp>
          <p:nvSpPr>
            <p:cNvPr id="112" name="Freeform 532">
              <a:extLst>
                <a:ext uri="{FF2B5EF4-FFF2-40B4-BE49-F238E27FC236}">
                  <a16:creationId xmlns:a16="http://schemas.microsoft.com/office/drawing/2014/main" id="{981176CD-AFBF-38FA-17F6-E25042A1AC01}"/>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533">
              <a:extLst>
                <a:ext uri="{FF2B5EF4-FFF2-40B4-BE49-F238E27FC236}">
                  <a16:creationId xmlns:a16="http://schemas.microsoft.com/office/drawing/2014/main" id="{9436D2B2-0415-0F18-5180-CBB7C5AF2D79}"/>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00B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15" name="Rectangle: Rounded Corners 142">
            <a:extLst>
              <a:ext uri="{FF2B5EF4-FFF2-40B4-BE49-F238E27FC236}">
                <a16:creationId xmlns:a16="http://schemas.microsoft.com/office/drawing/2014/main" id="{01158B0F-0BA6-7525-EF44-29719DA78D34}"/>
              </a:ext>
            </a:extLst>
          </p:cNvPr>
          <p:cNvSpPr/>
          <p:nvPr/>
        </p:nvSpPr>
        <p:spPr bwMode="gray">
          <a:xfrm>
            <a:off x="8968492" y="5781705"/>
            <a:ext cx="1699286" cy="232476"/>
          </a:xfrm>
          <a:prstGeom prst="round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spcAft>
                <a:spcPts val="1000"/>
              </a:spcAft>
            </a:pPr>
            <a:r>
              <a:rPr lang="en-US" sz="900" b="1" dirty="0">
                <a:latin typeface="Open Sans" panose="020B0606030504020204" pitchFamily="34" charset="0"/>
                <a:ea typeface="Open Sans" panose="020B0606030504020204" pitchFamily="34" charset="0"/>
                <a:cs typeface="Open Sans" panose="020B0606030504020204" pitchFamily="34" charset="0"/>
              </a:rPr>
              <a:t>2.1. DATA GOVERNANCE</a:t>
            </a:r>
          </a:p>
        </p:txBody>
      </p:sp>
      <p:sp>
        <p:nvSpPr>
          <p:cNvPr id="116" name="TextBox 144">
            <a:extLst>
              <a:ext uri="{FF2B5EF4-FFF2-40B4-BE49-F238E27FC236}">
                <a16:creationId xmlns:a16="http://schemas.microsoft.com/office/drawing/2014/main" id="{7414C1C4-A067-5EA5-95D7-E0F2C3C6744B}"/>
              </a:ext>
            </a:extLst>
          </p:cNvPr>
          <p:cNvSpPr txBox="1"/>
          <p:nvPr/>
        </p:nvSpPr>
        <p:spPr>
          <a:xfrm>
            <a:off x="7986922" y="4879650"/>
            <a:ext cx="2545562" cy="588764"/>
          </a:xfrm>
          <a:prstGeom prst="rect">
            <a:avLst/>
          </a:prstGeom>
          <a:noFill/>
        </p:spPr>
        <p:txBody>
          <a:bodyPr wrap="square" lIns="0" tIns="0" rIns="0" bIns="0" rtlCol="0" anchor="t">
            <a:noAutofit/>
          </a:bodyPr>
          <a:lstStyle/>
          <a:p>
            <a:pPr>
              <a:spcAft>
                <a:spcPts val="300"/>
              </a:spcAft>
            </a:pPr>
            <a:r>
              <a:rPr lang="en-US" sz="900" dirty="0">
                <a:latin typeface="Open Sans" panose="020B0606030504020204" pitchFamily="34" charset="0"/>
                <a:ea typeface="Open Sans" panose="020B0606030504020204" pitchFamily="34" charset="0"/>
                <a:cs typeface="Open Sans" panose="020B0606030504020204" pitchFamily="34" charset="0"/>
              </a:rPr>
              <a:t>DWH and business intelligence concept planning, that included assessing the as-is landscapes, creating a BI trend analysis, creating high-level requirement list, defining a consolidated DWH-BI concept and planning a high-level project roadmap. </a:t>
            </a:r>
          </a:p>
        </p:txBody>
      </p:sp>
      <p:sp>
        <p:nvSpPr>
          <p:cNvPr id="117" name="TextBox 145">
            <a:extLst>
              <a:ext uri="{FF2B5EF4-FFF2-40B4-BE49-F238E27FC236}">
                <a16:creationId xmlns:a16="http://schemas.microsoft.com/office/drawing/2014/main" id="{CE08F5E2-98A6-8BEC-1D69-5D7C6481113F}"/>
              </a:ext>
            </a:extLst>
          </p:cNvPr>
          <p:cNvSpPr txBox="1"/>
          <p:nvPr/>
        </p:nvSpPr>
        <p:spPr>
          <a:xfrm>
            <a:off x="7986922" y="4657694"/>
            <a:ext cx="2713560" cy="246222"/>
          </a:xfrm>
          <a:prstGeom prst="rect">
            <a:avLst/>
          </a:prstGeom>
          <a:noFill/>
        </p:spPr>
        <p:txBody>
          <a:bodyPr wrap="square" lIns="0" tIns="0" rIns="0" bIns="0" rtlCol="0" anchor="t">
            <a:noAutofit/>
          </a:bodyPr>
          <a:lstStyle>
            <a:defPPr>
              <a:defRPr lang="en-US"/>
            </a:defPPr>
            <a:lvl1pPr>
              <a:defRPr sz="900" b="1">
                <a:solidFill>
                  <a:schemeClr val="accent3">
                    <a:lumMod val="50000"/>
                  </a:schemeClr>
                </a:solidFill>
              </a:defRPr>
            </a:lvl1pPr>
          </a:lstStyle>
          <a:p>
            <a:r>
              <a:rPr lang="en-US" dirty="0">
                <a:solidFill>
                  <a:srgbClr val="00B0F2"/>
                </a:solidFill>
                <a:latin typeface="Open Sans" panose="020B0606030504020204" pitchFamily="34" charset="0"/>
                <a:ea typeface="Open Sans" panose="020B0606030504020204" pitchFamily="34" charset="0"/>
                <a:cs typeface="Open Sans" panose="020B0606030504020204" pitchFamily="34" charset="0"/>
              </a:rPr>
              <a:t>DWH AND BI CONCEPT</a:t>
            </a:r>
          </a:p>
        </p:txBody>
      </p:sp>
      <p:sp>
        <p:nvSpPr>
          <p:cNvPr id="118" name="Rectangle 117">
            <a:extLst>
              <a:ext uri="{FF2B5EF4-FFF2-40B4-BE49-F238E27FC236}">
                <a16:creationId xmlns:a16="http://schemas.microsoft.com/office/drawing/2014/main" id="{84C7C3E3-C259-ABAF-A022-B447541FF050}"/>
              </a:ext>
            </a:extLst>
          </p:cNvPr>
          <p:cNvSpPr/>
          <p:nvPr/>
        </p:nvSpPr>
        <p:spPr bwMode="gray">
          <a:xfrm>
            <a:off x="9217044" y="-23005"/>
            <a:ext cx="2897979" cy="1106082"/>
          </a:xfrm>
          <a:prstGeom prst="rect">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1600" b="1" dirty="0" err="1">
                <a:solidFill>
                  <a:schemeClr val="bg1"/>
                </a:solidFill>
              </a:rPr>
              <a:t>ToDo</a:t>
            </a:r>
            <a:endParaRPr lang="hu-HU" sz="1600" b="1" dirty="0">
              <a:solidFill>
                <a:schemeClr val="bg1"/>
              </a:solidFill>
            </a:endParaRPr>
          </a:p>
          <a:p>
            <a:pPr>
              <a:lnSpc>
                <a:spcPct val="106000"/>
              </a:lnSpc>
              <a:buFont typeface="Wingdings 2" pitchFamily="18" charset="2"/>
              <a:buNone/>
            </a:pPr>
            <a:endParaRPr lang="hu-HU" sz="1600" b="1" dirty="0">
              <a:solidFill>
                <a:schemeClr val="bg1"/>
              </a:solidFill>
            </a:endParaRPr>
          </a:p>
          <a:p>
            <a:pPr marL="285750" indent="-285750">
              <a:lnSpc>
                <a:spcPct val="106000"/>
              </a:lnSpc>
              <a:buFont typeface="Arial" panose="020B0604020202020204" pitchFamily="34" charset="0"/>
              <a:buChar char="•"/>
            </a:pPr>
            <a:r>
              <a:rPr lang="en-US" sz="1600" b="1" dirty="0">
                <a:solidFill>
                  <a:schemeClr val="bg1"/>
                </a:solidFill>
              </a:rPr>
              <a:t>Talk to ET on the references</a:t>
            </a:r>
          </a:p>
        </p:txBody>
      </p:sp>
    </p:spTree>
    <p:extLst>
      <p:ext uri="{BB962C8B-B14F-4D97-AF65-F5344CB8AC3E}">
        <p14:creationId xmlns:p14="http://schemas.microsoft.com/office/powerpoint/2010/main" val="210100028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extLst>
              <p:ext uri="{D42A27DB-BD31-4B8C-83A1-F6EECF244321}">
                <p14:modId xmlns:p14="http://schemas.microsoft.com/office/powerpoint/2010/main" val="3225538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descr="A hand putting a coin on a stack of coins&#10;&#10;Description automatically generated">
            <a:extLst>
              <a:ext uri="{FF2B5EF4-FFF2-40B4-BE49-F238E27FC236}">
                <a16:creationId xmlns:a16="http://schemas.microsoft.com/office/drawing/2014/main" id="{446D186D-3950-355A-7727-D4279B1E92D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99324" y="0"/>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2438090"/>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29" name="Rectangle: Rounded Corners 70">
            <a:extLst>
              <a:ext uri="{FF2B5EF4-FFF2-40B4-BE49-F238E27FC236}">
                <a16:creationId xmlns:a16="http://schemas.microsoft.com/office/drawing/2014/main" id="{E24ADF0E-1A56-06D5-552A-168BDF01B81B}"/>
              </a:ext>
            </a:extLst>
          </p:cNvPr>
          <p:cNvSpPr>
            <a:spLocks/>
          </p:cNvSpPr>
          <p:nvPr/>
        </p:nvSpPr>
        <p:spPr bwMode="gray">
          <a:xfrm>
            <a:off x="475404" y="5473737"/>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2731896"/>
            <a:ext cx="6851894" cy="25904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algn="l" defTabSz="914400" eaLnBrk="1" fontAlgn="auto" latinLnBrk="0" hangingPunct="1">
              <a:lnSpc>
                <a:spcPct val="100000"/>
              </a:lnSpc>
              <a:spcBef>
                <a:spcPts val="0"/>
              </a:spcBef>
              <a:spcAft>
                <a:spcPts val="200"/>
              </a:spcAft>
              <a:buClr>
                <a:srgbClr val="00ABAB">
                  <a:lumMod val="50000"/>
                </a:srgbClr>
              </a:buClr>
              <a:buSzTx/>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ver an eight-week period, Deloitte developed a comprehensive DWH strategy, based on the strategic goals and current IT practices, examining five major areas: IT organization, IT architecture, current data mart solutions, business-as-usual data analytics, and data management.</a:t>
            </a:r>
          </a:p>
          <a:p>
            <a:pPr marL="0" marR="0" lvl="3" algn="l" defTabSz="914400" eaLnBrk="1" fontAlgn="auto" latinLnBrk="0" hangingPunct="1">
              <a:lnSpc>
                <a:spcPct val="100000"/>
              </a:lnSpc>
              <a:spcBef>
                <a:spcPts val="0"/>
              </a:spcBef>
              <a:spcAft>
                <a:spcPts val="200"/>
              </a:spcAft>
              <a:buClr>
                <a:srgbClr val="00ABAB">
                  <a:lumMod val="50000"/>
                </a:srgbClr>
              </a:buClr>
              <a:buSzTx/>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project was executed in four phases:</a:t>
            </a:r>
          </a:p>
          <a:p>
            <a:pPr marL="171450" marR="0" lvl="3" indent="-171450" algn="l" defTabSz="91440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S-IS mapping phase</a:t>
            </a:r>
            <a:br>
              <a:rPr kumimoji="0" lang="hu-HU"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uring the AS-IS mapping phase the Deloitte team conducted interviews with the main stakeholders of MKK to understand business-as-usual operations and the vision and expectations for future IT demands</a:t>
            </a:r>
          </a:p>
          <a:p>
            <a:pPr marL="171450" marR="0" lvl="3" indent="-171450" algn="l" defTabSz="91440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rategic directions setting</a:t>
            </a:r>
            <a:br>
              <a:rPr kumimoji="0" lang="hu-HU"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 the second phase the strategic target state had been aligned with the previously outlined IT visions based on external tendencies and internal requests alongside expert suggestions</a:t>
            </a:r>
          </a:p>
          <a:p>
            <a:pPr marL="171450" marR="0" lvl="3" indent="-171450" algn="l" defTabSz="91440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ndor demos</a:t>
            </a:r>
            <a:br>
              <a:rPr kumimoji="0" lang="hu-HU"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endor demos had been arranged to help client stakeholders better understand market-leading DWH solutions, their implementations, and possible development paths.</a:t>
            </a:r>
          </a:p>
          <a:p>
            <a:pPr marL="171450" marR="0" lvl="3" indent="-171450" algn="l" defTabSz="91440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gh level project plan </a:t>
            </a:r>
            <a:br>
              <a:rPr kumimoji="0" lang="hu-HU"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high-level project plan had been made to support client IT and business stakeholders to kick-start a possible later-stage DWH implementation project</a:t>
            </a: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788873"/>
            <a:ext cx="6851896" cy="6155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algn="l" defTabSz="914400" eaLnBrk="1" fontAlgn="auto" latinLnBrk="0" hangingPunct="1">
              <a:lnSpc>
                <a:spcPct val="100000"/>
              </a:lnSpc>
              <a:spcBef>
                <a:spcPts val="0"/>
              </a:spcBef>
              <a:spcAft>
                <a:spcPts val="600"/>
              </a:spcAft>
              <a:buClr>
                <a:srgbClr val="00ABAB">
                  <a:lumMod val="50000"/>
                </a:srgbClr>
              </a:buClr>
              <a:buSzTx/>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client aiming to become the leader of the Hungarian factoring and receivables managing market. To meet this goal, it is continually increasing its market share within the corporate and residential receivables market. MKK envisioned a unified database landscape with a central Data Warehouse (DWH) core to accomplish its strategic goals.</a:t>
            </a:r>
          </a:p>
        </p:txBody>
      </p:sp>
      <p:sp>
        <p:nvSpPr>
          <p:cNvPr id="14" name="TextBox 13">
            <a:extLst>
              <a:ext uri="{FF2B5EF4-FFF2-40B4-BE49-F238E27FC236}">
                <a16:creationId xmlns:a16="http://schemas.microsoft.com/office/drawing/2014/main" id="{242EC6AF-8C25-A375-FF99-2FB0991EC69E}"/>
              </a:ext>
            </a:extLst>
          </p:cNvPr>
          <p:cNvSpPr txBox="1"/>
          <p:nvPr/>
        </p:nvSpPr>
        <p:spPr>
          <a:xfrm>
            <a:off x="526665" y="5744417"/>
            <a:ext cx="6748358" cy="6155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algn="l" defTabSz="914400" eaLnBrk="1" fontAlgn="auto" latinLnBrk="0" hangingPunct="1">
              <a:lnSpc>
                <a:spcPct val="100000"/>
              </a:lnSpc>
              <a:spcBef>
                <a:spcPts val="0"/>
              </a:spcBef>
              <a:spcAft>
                <a:spcPts val="200"/>
              </a:spcAft>
              <a:buClr>
                <a:srgbClr val="00ABAB">
                  <a:lumMod val="50000"/>
                </a:srgbClr>
              </a:buClr>
              <a:buSzTx/>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s a result, MKK could start transforming their current AS-IS data mart solution into a more flexible and better structured data warehouse, that would make any further business and IT requirements to be easily and effectively implementable, and also possible data quality problems quickly detectable to achieve reliable reports and dashboards that support business decision making.</a:t>
            </a:r>
          </a:p>
        </p:txBody>
      </p:sp>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eaLnBrk="1" fontAlgn="auto" latinLnBrk="0" hangingPunct="1">
              <a:lnSpc>
                <a:spcPct val="100000"/>
              </a:lnSpc>
              <a:spcBef>
                <a:spcPct val="0"/>
              </a:spcBef>
              <a:spcAft>
                <a:spcPts val="0"/>
              </a:spcAft>
              <a:buClrTx/>
              <a:buSzTx/>
              <a:buFontTx/>
              <a:buNone/>
              <a:tabLst/>
              <a:defRPr/>
            </a:pPr>
            <a:r>
              <a:rPr kumimoji="0" lang="hu-HU" sz="2000" b="0" i="0" u="none" strike="noStrike" kern="0" cap="none" spc="-75" normalizeH="0" baseline="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DATA GOVERNANCE</a:t>
            </a:r>
            <a:endParaRPr kumimoji="0" lang="en-US" sz="2000" b="0" i="0" u="none" strike="noStrike" kern="0" cap="none" spc="-75" normalizeH="0" baseline="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endParaRP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eaLnBrk="1" fontAlgn="auto" latinLnBrk="0" hangingPunct="1">
              <a:lnSpc>
                <a:spcPct val="100000"/>
              </a:lnSpc>
              <a:spcBef>
                <a:spcPts val="0"/>
              </a:spcBef>
              <a:spcAft>
                <a:spcPts val="750"/>
              </a:spcAft>
              <a:buClrTx/>
              <a:buSzPct val="100000"/>
              <a:buFontTx/>
              <a:buNone/>
              <a:tabLst/>
              <a:defRPr/>
            </a:pPr>
            <a:r>
              <a:rPr kumimoji="0" lang="hu-HU" sz="1400" b="0" i="0" u="none" strike="noStrike" kern="0" cap="none" spc="0" normalizeH="0" baseline="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KK Zrt., 2021</a:t>
            </a:r>
            <a:endParaRPr kumimoji="0" lang="en-US" sz="1400" b="0" i="0" u="none" strike="noStrike" kern="0" cap="none" spc="0" normalizeH="0" baseline="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13997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05E995-AD01-222E-FE84-999C3030037F}"/>
              </a:ext>
            </a:extLst>
          </p:cNvPr>
          <p:cNvGraphicFramePr>
            <a:graphicFrameLocks noChangeAspect="1"/>
          </p:cNvGraphicFramePr>
          <p:nvPr>
            <p:custDataLst>
              <p:tags r:id="rId1"/>
            </p:custDataLst>
            <p:extLst>
              <p:ext uri="{D42A27DB-BD31-4B8C-83A1-F6EECF244321}">
                <p14:modId xmlns:p14="http://schemas.microsoft.com/office/powerpoint/2010/main" val="17909715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505E995-AD01-222E-FE84-999C3030037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Picture 7" descr="A person putting a coin into a piggy bank&#10;&#10;Description automatically generated">
            <a:extLst>
              <a:ext uri="{FF2B5EF4-FFF2-40B4-BE49-F238E27FC236}">
                <a16:creationId xmlns:a16="http://schemas.microsoft.com/office/drawing/2014/main" id="{E1C4E66A-8645-2758-EE7E-4DD396CA0D3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99324" y="1"/>
            <a:ext cx="4392676" cy="6858000"/>
          </a:xfrm>
          <a:prstGeom prst="rect">
            <a:avLst/>
          </a:prstGeom>
        </p:spPr>
      </p:pic>
      <p:sp>
        <p:nvSpPr>
          <p:cNvPr id="27" name="Rectangle: Rounded Corners 70">
            <a:extLst>
              <a:ext uri="{FF2B5EF4-FFF2-40B4-BE49-F238E27FC236}">
                <a16:creationId xmlns:a16="http://schemas.microsoft.com/office/drawing/2014/main" id="{85B30766-5529-E587-3EEC-C0B32C28A1BE}"/>
              </a:ext>
            </a:extLst>
          </p:cNvPr>
          <p:cNvSpPr>
            <a:spLocks/>
          </p:cNvSpPr>
          <p:nvPr/>
        </p:nvSpPr>
        <p:spPr bwMode="gray">
          <a:xfrm>
            <a:off x="475404" y="1532108"/>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eaLnBrk="1" fontAlgn="auto" latinLnBrk="0" hangingPunct="1">
              <a:lnSpc>
                <a:spcPct val="100000"/>
              </a:lnSpc>
              <a:spcBef>
                <a:spcPts val="0"/>
              </a:spcBef>
              <a:spcAft>
                <a:spcPts val="300"/>
              </a:spcAft>
              <a:buClrTx/>
              <a:buSzTx/>
              <a:buFontTx/>
              <a:buNone/>
              <a:tabLst/>
              <a:defRPr/>
            </a:pPr>
            <a:r>
              <a:rPr kumimoji="0" lang="en-US" sz="1400" b="1" i="0" u="none" strike="noStrike" kern="1200" cap="small" spc="3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aim of the project</a:t>
            </a:r>
          </a:p>
        </p:txBody>
      </p:sp>
      <p:sp>
        <p:nvSpPr>
          <p:cNvPr id="28" name="Rectangle: Rounded Corners 70">
            <a:extLst>
              <a:ext uri="{FF2B5EF4-FFF2-40B4-BE49-F238E27FC236}">
                <a16:creationId xmlns:a16="http://schemas.microsoft.com/office/drawing/2014/main" id="{B7010AFC-3AB7-6806-2D77-145305067952}"/>
              </a:ext>
            </a:extLst>
          </p:cNvPr>
          <p:cNvSpPr>
            <a:spLocks/>
          </p:cNvSpPr>
          <p:nvPr/>
        </p:nvSpPr>
        <p:spPr bwMode="gray">
          <a:xfrm>
            <a:off x="475404" y="3429000"/>
            <a:ext cx="6839787" cy="237016"/>
          </a:xfrm>
          <a:prstGeom prst="roundRect">
            <a:avLst/>
          </a:prstGeom>
          <a:solidFill>
            <a:schemeClr val="accent3">
              <a:lumMod val="20000"/>
              <a:lumOff val="80000"/>
            </a:schemeClr>
          </a:solidFill>
          <a:ln w="19050" algn="ctr">
            <a:noFill/>
            <a:miter lim="800000"/>
            <a:headEnd/>
            <a:tailEnd/>
          </a:ln>
        </p:spPr>
        <p:txBody>
          <a:bodyPr wrap="square" lIns="72000" tIns="0" rIns="0" bIns="0" rtlCol="0" anchor="ctr"/>
          <a:lstStyle/>
          <a:p>
            <a:pPr marL="0" marR="0" lvl="0" indent="0" algn="l" defTabSz="914400" eaLnBrk="1" fontAlgn="auto" latinLnBrk="0" hangingPunct="1">
              <a:lnSpc>
                <a:spcPct val="100000"/>
              </a:lnSpc>
              <a:spcBef>
                <a:spcPts val="0"/>
              </a:spcBef>
              <a:spcAft>
                <a:spcPts val="300"/>
              </a:spcAft>
              <a:buClrTx/>
              <a:buSzTx/>
              <a:buFontTx/>
              <a:buNone/>
              <a:tabLst/>
              <a:defRPr/>
            </a:pPr>
            <a:r>
              <a:rPr kumimoji="0" lang="hu-HU" sz="1400" b="1" i="0" u="none" strike="noStrike" kern="1200" cap="small" spc="30" normalizeH="0" baseline="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liverables</a:t>
            </a:r>
            <a:endParaRPr kumimoji="0" lang="en-US" sz="1400" b="1" i="0" u="none" strike="noStrike" kern="1200" cap="small" spc="3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455C8171-82B7-0833-71B8-A06F4751C821}"/>
              </a:ext>
            </a:extLst>
          </p:cNvPr>
          <p:cNvSpPr txBox="1"/>
          <p:nvPr/>
        </p:nvSpPr>
        <p:spPr>
          <a:xfrm>
            <a:off x="526666" y="3722806"/>
            <a:ext cx="6851894" cy="51296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3" indent="-171450" algn="l" defTabSz="91440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ap analysis report</a:t>
            </a:r>
          </a:p>
          <a:p>
            <a:pPr marL="171450" marR="0" lvl="3" indent="-171450" algn="l" defTabSz="91440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ommendations for the improvement of the data classification methodology</a:t>
            </a:r>
          </a:p>
          <a:p>
            <a:pPr marL="171450" marR="0" lvl="3" indent="-171450" algn="l" defTabSz="914400" eaLnBrk="1" fontAlgn="auto" latinLnBrk="0" hangingPunct="1">
              <a:lnSpc>
                <a:spcPct val="100000"/>
              </a:lnSpc>
              <a:spcBef>
                <a:spcPts val="0"/>
              </a:spcBef>
              <a:spcAft>
                <a:spcPts val="200"/>
              </a:spcAft>
              <a:buClr>
                <a:srgbClr val="00ABAB">
                  <a:lumMod val="50000"/>
                </a:srgbClr>
              </a:buClr>
              <a:buSzTx/>
              <a:buFont typeface="Arial" panose="020B0604020202020204" pitchFamily="34" charset="0"/>
              <a:buChar char="•"/>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hort-term and long-term action plan for data classification.</a:t>
            </a:r>
          </a:p>
        </p:txBody>
      </p:sp>
      <p:sp>
        <p:nvSpPr>
          <p:cNvPr id="9" name="TextBox 8">
            <a:extLst>
              <a:ext uri="{FF2B5EF4-FFF2-40B4-BE49-F238E27FC236}">
                <a16:creationId xmlns:a16="http://schemas.microsoft.com/office/drawing/2014/main" id="{DA777C58-6C9A-AE61-3145-40F2FC948984}"/>
              </a:ext>
            </a:extLst>
          </p:cNvPr>
          <p:cNvSpPr txBox="1"/>
          <p:nvPr/>
        </p:nvSpPr>
        <p:spPr>
          <a:xfrm>
            <a:off x="526666" y="1788873"/>
            <a:ext cx="6851896" cy="15388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3" algn="l" defTabSz="914400" eaLnBrk="1" fontAlgn="auto" latinLnBrk="0" hangingPunct="1">
              <a:lnSpc>
                <a:spcPct val="100000"/>
              </a:lnSpc>
              <a:spcBef>
                <a:spcPts val="0"/>
              </a:spcBef>
              <a:spcAft>
                <a:spcPts val="600"/>
              </a:spcAft>
              <a:buClr>
                <a:srgbClr val="00ABAB">
                  <a:lumMod val="50000"/>
                </a:srgbClr>
              </a:buClr>
              <a:buSzTx/>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velopment of a comprehensive data classification methodology, classifying the data set stored in the client's core system. </a:t>
            </a:r>
          </a:p>
          <a:p>
            <a:pPr marL="0" marR="0" lvl="3" algn="l" defTabSz="914400" eaLnBrk="1" fontAlgn="auto" latinLnBrk="0" hangingPunct="1">
              <a:lnSpc>
                <a:spcPct val="100000"/>
              </a:lnSpc>
              <a:spcBef>
                <a:spcPts val="0"/>
              </a:spcBef>
              <a:spcAft>
                <a:spcPts val="600"/>
              </a:spcAft>
              <a:buClr>
                <a:srgbClr val="00ABAB">
                  <a:lumMod val="50000"/>
                </a:srgbClr>
              </a:buClr>
              <a:buSzTx/>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compared the Hungarian National Bank's data classification requirements with the Client’s current practice of data classification. During our review, we identified the gaps and provided recommendations to address the methodological gaps.</a:t>
            </a:r>
          </a:p>
          <a:p>
            <a:pPr marL="0" marR="0" lvl="3" algn="l" defTabSz="914400" eaLnBrk="1" fontAlgn="auto" latinLnBrk="0" hangingPunct="1">
              <a:lnSpc>
                <a:spcPct val="100000"/>
              </a:lnSpc>
              <a:spcBef>
                <a:spcPts val="0"/>
              </a:spcBef>
              <a:spcAft>
                <a:spcPts val="600"/>
              </a:spcAft>
              <a:buClr>
                <a:srgbClr val="00ABAB">
                  <a:lumMod val="50000"/>
                </a:srgbClr>
              </a:buClr>
              <a:buSzTx/>
              <a:tabLst/>
              <a:defRPr/>
            </a:pPr>
            <a:r>
              <a:rPr kumimoji="0" lang="en-US" sz="10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gap analysis covered the necessary elements of the data classification process and the relationship between the Data Governance framework; the regulatory requirements for data classification, the appointment of data owners and system administrators, as well as the establishment of the necessary registers and the data sources for the data classification.</a:t>
            </a:r>
          </a:p>
        </p:txBody>
      </p:sp>
      <p:sp>
        <p:nvSpPr>
          <p:cNvPr id="3" name="Title 2">
            <a:extLst>
              <a:ext uri="{FF2B5EF4-FFF2-40B4-BE49-F238E27FC236}">
                <a16:creationId xmlns:a16="http://schemas.microsoft.com/office/drawing/2014/main" id="{24CE36F3-F570-F7EC-D353-0BD81D0E17E5}"/>
              </a:ext>
            </a:extLst>
          </p:cNvPr>
          <p:cNvSpPr txBox="1">
            <a:spLocks/>
          </p:cNvSpPr>
          <p:nvPr/>
        </p:nvSpPr>
        <p:spPr bwMode="gray">
          <a:xfrm>
            <a:off x="463295" y="417911"/>
            <a:ext cx="6064254" cy="334099"/>
          </a:xfrm>
          <a:prstGeom prst="rect">
            <a:avLst/>
          </a:prstGeom>
        </p:spPr>
        <p:txBody>
          <a:bodyPr vert="horz" lIns="0" tIns="45720" rIns="0" bIns="0" rtlCol="0" anchor="t" anchorCtr="0">
            <a:noAutofit/>
          </a:bodyPr>
          <a:lstStyle>
            <a:lvl1pPr algn="l" defTabSz="685800" rtl="0" eaLnBrk="1" latinLnBrk="0" hangingPunct="1">
              <a:spcBef>
                <a:spcPct val="0"/>
              </a:spcBef>
              <a:buNone/>
              <a:defRPr lang="en-US" sz="3200" b="0" i="0" kern="1200" spc="-75" dirty="0">
                <a:solidFill>
                  <a:schemeClr val="tx1"/>
                </a:solidFill>
                <a:latin typeface="+mj-lt"/>
                <a:ea typeface="Open Sans Light" panose="020B0306030504020204" pitchFamily="34" charset="0"/>
                <a:cs typeface="Open Sans Light" panose="020B0306030504020204" pitchFamily="34" charset="0"/>
              </a:defRPr>
            </a:lvl1pPr>
          </a:lstStyle>
          <a:p>
            <a:pPr marL="0" marR="0" lvl="0" indent="0" algn="l" defTabSz="685800" eaLnBrk="1" fontAlgn="auto" latinLnBrk="0" hangingPunct="1">
              <a:lnSpc>
                <a:spcPct val="100000"/>
              </a:lnSpc>
              <a:spcBef>
                <a:spcPct val="0"/>
              </a:spcBef>
              <a:spcAft>
                <a:spcPts val="0"/>
              </a:spcAft>
              <a:buClrTx/>
              <a:buSzTx/>
              <a:buFontTx/>
              <a:buNone/>
              <a:tabLst/>
              <a:defRPr/>
            </a:pPr>
            <a:r>
              <a:rPr kumimoji="0" lang="hu-HU" sz="2000" b="0" i="0" u="none" strike="noStrike" kern="0" cap="none" spc="-75" normalizeH="0" baseline="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rPr>
              <a:t>DATA CLASSIFICATION</a:t>
            </a:r>
            <a:endParaRPr kumimoji="0" lang="en-US" sz="2000" b="0" i="0" u="none" strike="noStrike" kern="0" cap="none" spc="-75" normalizeH="0" baseline="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Helvetica"/>
            </a:endParaRPr>
          </a:p>
        </p:txBody>
      </p:sp>
      <p:sp>
        <p:nvSpPr>
          <p:cNvPr id="4" name="TextBox 3">
            <a:extLst>
              <a:ext uri="{FF2B5EF4-FFF2-40B4-BE49-F238E27FC236}">
                <a16:creationId xmlns:a16="http://schemas.microsoft.com/office/drawing/2014/main" id="{3D9F41BF-1837-7D3B-D8EB-EEDB4B9873FE}"/>
              </a:ext>
            </a:extLst>
          </p:cNvPr>
          <p:cNvSpPr txBox="1"/>
          <p:nvPr/>
        </p:nvSpPr>
        <p:spPr>
          <a:xfrm>
            <a:off x="463294" y="1113583"/>
            <a:ext cx="8140378" cy="215444"/>
          </a:xfrm>
          <a:prstGeom prst="rect">
            <a:avLst/>
          </a:prstGeom>
          <a:noFill/>
        </p:spPr>
        <p:txBody>
          <a:bodyPr wrap="square" lIns="0" tIns="0" rIns="0" bIns="0" rtlCol="0">
            <a:spAutoFit/>
          </a:bodyPr>
          <a:lstStyle/>
          <a:p>
            <a:pPr marL="0" marR="0" lvl="0" indent="0" algn="l" defTabSz="685800" eaLnBrk="1" fontAlgn="auto" latinLnBrk="0" hangingPunct="1">
              <a:lnSpc>
                <a:spcPct val="100000"/>
              </a:lnSpc>
              <a:spcBef>
                <a:spcPts val="0"/>
              </a:spcBef>
              <a:spcAft>
                <a:spcPts val="750"/>
              </a:spcAft>
              <a:buClrTx/>
              <a:buSzPct val="100000"/>
              <a:buFontTx/>
              <a:buNone/>
              <a:tabLst/>
              <a:defRPr/>
            </a:pPr>
            <a:r>
              <a:rPr kumimoji="0" lang="hu-HU" sz="1400" b="0" i="0" u="none" strike="noStrike" kern="0" cap="none" spc="0" normalizeH="0" baseline="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IB Bank, 2020-2021</a:t>
            </a:r>
            <a:endParaRPr kumimoji="0" lang="en-US" sz="1400" b="0" i="0" u="none" strike="noStrike" kern="0" cap="none" spc="0" normalizeH="0" baseline="0" dirty="0">
              <a:ln>
                <a:noFill/>
              </a:ln>
              <a:solidFill>
                <a:srgbClr val="000000">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3" name="Straight Connector 22">
            <a:extLst>
              <a:ext uri="{FF2B5EF4-FFF2-40B4-BE49-F238E27FC236}">
                <a16:creationId xmlns:a16="http://schemas.microsoft.com/office/drawing/2014/main" id="{82874AD5-3D82-1CD5-195A-0DCB05ABAF25}"/>
              </a:ext>
            </a:extLst>
          </p:cNvPr>
          <p:cNvCxnSpPr/>
          <p:nvPr/>
        </p:nvCxnSpPr>
        <p:spPr>
          <a:xfrm>
            <a:off x="7729324" y="0"/>
            <a:ext cx="0" cy="6858000"/>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0607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875312-447B-47D5-9D22-1E8B7981A4E3}"/>
              </a:ext>
            </a:extLst>
          </p:cNvPr>
          <p:cNvSpPr>
            <a:spLocks noGrp="1"/>
          </p:cNvSpPr>
          <p:nvPr>
            <p:ph type="body" sz="quarter" idx="12"/>
          </p:nvPr>
        </p:nvSpPr>
        <p:spPr>
          <a:xfrm>
            <a:off x="1620000" y="670520"/>
            <a:ext cx="6824908" cy="1431193"/>
          </a:xfrm>
        </p:spPr>
        <p:txBody>
          <a:bodyPr/>
          <a:lstStyle/>
          <a:p>
            <a:r>
              <a:rPr lang="hu-HU" b="1" dirty="0" err="1">
                <a:latin typeface="Open Sans SemiBold" panose="020B0606030504020204" pitchFamily="34" charset="0"/>
                <a:ea typeface="Open Sans SemiBold" panose="020B0606030504020204" pitchFamily="34" charset="0"/>
                <a:cs typeface="Open Sans SemiBold" panose="020B0606030504020204" pitchFamily="34" charset="0"/>
                <a:sym typeface="+mj-lt"/>
              </a:rPr>
              <a:t>Process</a:t>
            </a:r>
            <a:r>
              <a:rPr lang="hu-HU"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 </a:t>
            </a:r>
            <a:r>
              <a:rPr lang="hu-HU" b="1" dirty="0" err="1">
                <a:latin typeface="Open Sans SemiBold" panose="020B0606030504020204" pitchFamily="34" charset="0"/>
                <a:ea typeface="Open Sans SemiBold" panose="020B0606030504020204" pitchFamily="34" charset="0"/>
                <a:cs typeface="Open Sans SemiBold" panose="020B0606030504020204" pitchFamily="34" charset="0"/>
                <a:sym typeface="+mj-lt"/>
              </a:rPr>
              <a:t>Improvement</a:t>
            </a:r>
            <a:r>
              <a:rPr lang="hu-HU" b="1" dirty="0">
                <a:latin typeface="Open Sans SemiBold" panose="020B0606030504020204" pitchFamily="34" charset="0"/>
                <a:ea typeface="Open Sans SemiBold" panose="020B0606030504020204" pitchFamily="34" charset="0"/>
                <a:cs typeface="Open Sans SemiBold" panose="020B0606030504020204" pitchFamily="34" charset="0"/>
                <a:sym typeface="+mj-lt"/>
              </a:rPr>
              <a:t> </a:t>
            </a:r>
            <a:r>
              <a:rPr lang="hu-HU" b="1" dirty="0" err="1">
                <a:latin typeface="Open Sans SemiBold" panose="020B0606030504020204" pitchFamily="34" charset="0"/>
                <a:ea typeface="Open Sans SemiBold" panose="020B0606030504020204" pitchFamily="34" charset="0"/>
                <a:cs typeface="Open Sans SemiBold" panose="020B0606030504020204" pitchFamily="34" charset="0"/>
                <a:sym typeface="+mj-lt"/>
              </a:rPr>
              <a:t>Services</a:t>
            </a:r>
            <a:endParaRPr lang="en-GB" b="1" dirty="0">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7" name="Text Placeholder 6">
            <a:extLst>
              <a:ext uri="{FF2B5EF4-FFF2-40B4-BE49-F238E27FC236}">
                <a16:creationId xmlns:a16="http://schemas.microsoft.com/office/drawing/2014/main" id="{414437F8-3633-4A36-92FF-BB5A91CE80D6}"/>
              </a:ext>
            </a:extLst>
          </p:cNvPr>
          <p:cNvSpPr>
            <a:spLocks noGrp="1"/>
          </p:cNvSpPr>
          <p:nvPr>
            <p:ph type="body" sz="quarter" idx="14"/>
          </p:nvPr>
        </p:nvSpPr>
        <p:spPr>
          <a:xfrm>
            <a:off x="307411" y="485397"/>
            <a:ext cx="1638299" cy="900720"/>
          </a:xfrm>
        </p:spPr>
        <p:txBody>
          <a:bodyPr/>
          <a:lstStyle/>
          <a:p>
            <a:r>
              <a:rPr lang="hu-HU" dirty="0"/>
              <a:t>3.</a:t>
            </a:r>
            <a:endParaRPr lang="en-GB" dirty="0"/>
          </a:p>
        </p:txBody>
      </p:sp>
    </p:spTree>
    <p:extLst>
      <p:ext uri="{BB962C8B-B14F-4D97-AF65-F5344CB8AC3E}">
        <p14:creationId xmlns:p14="http://schemas.microsoft.com/office/powerpoint/2010/main" val="3826507399"/>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67983BC2-B922-508D-6D8C-F7FA48C753F3}"/>
              </a:ext>
            </a:extLst>
          </p:cNvPr>
          <p:cNvGraphicFramePr>
            <a:graphicFrameLocks noChangeAspect="1"/>
          </p:cNvGraphicFramePr>
          <p:nvPr>
            <p:custDataLst>
              <p:tags r:id="rId1"/>
            </p:custDataLst>
            <p:extLst>
              <p:ext uri="{D42A27DB-BD31-4B8C-83A1-F6EECF244321}">
                <p14:modId xmlns:p14="http://schemas.microsoft.com/office/powerpoint/2010/main" val="1934118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67983BC2-B922-508D-6D8C-F7FA48C753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1C101E0-8077-5BEF-2F3C-AE6B209B4061}"/>
              </a:ext>
            </a:extLst>
          </p:cNvPr>
          <p:cNvSpPr/>
          <p:nvPr/>
        </p:nvSpPr>
        <p:spPr>
          <a:xfrm>
            <a:off x="9499103" y="416412"/>
            <a:ext cx="1293497" cy="1114603"/>
          </a:xfrm>
          <a:prstGeom prst="rect">
            <a:avLst/>
          </a:prstGeom>
          <a:solidFill>
            <a:schemeClr val="accent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lowchart: Manual Operation 24">
            <a:extLst>
              <a:ext uri="{FF2B5EF4-FFF2-40B4-BE49-F238E27FC236}">
                <a16:creationId xmlns:a16="http://schemas.microsoft.com/office/drawing/2014/main" id="{A4626D1C-57D7-6387-5138-7A866D1D9EC3}"/>
              </a:ext>
            </a:extLst>
          </p:cNvPr>
          <p:cNvSpPr/>
          <p:nvPr/>
        </p:nvSpPr>
        <p:spPr bwMode="gray">
          <a:xfrm rot="16200000">
            <a:off x="4491226" y="-842777"/>
            <a:ext cx="6858001" cy="8543543"/>
          </a:xfrm>
          <a:prstGeom prst="flowChartManualOperation">
            <a:avLst/>
          </a:prstGeom>
          <a:solidFill>
            <a:srgbClr val="F1F8FD"/>
          </a:solidFill>
          <a:ln w="19050" algn="ctr">
            <a:noFill/>
            <a:miter lim="800000"/>
            <a:headEnd/>
            <a:tailEnd/>
          </a:ln>
        </p:spPr>
        <p:txBody>
          <a:bodyPr wrap="square" lIns="0" tIns="0" rIns="0" bIns="0" rtlCol="0" anchor="ctr"/>
          <a:lstStyle/>
          <a:p>
            <a:pPr algn="ctr"/>
            <a:endParaRPr lang="en-US" dirty="0"/>
          </a:p>
        </p:txBody>
      </p:sp>
      <p:pic>
        <p:nvPicPr>
          <p:cNvPr id="57" name="Picture 56" descr="Medium shot of a person smiling&#10;&#10;Description automatically generated">
            <a:extLst>
              <a:ext uri="{FF2B5EF4-FFF2-40B4-BE49-F238E27FC236}">
                <a16:creationId xmlns:a16="http://schemas.microsoft.com/office/drawing/2014/main" id="{C1F477B9-F6B6-89C9-28D8-8226A403FB9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02026" y="497410"/>
            <a:ext cx="1307592" cy="1307592"/>
          </a:xfrm>
          <a:prstGeom prst="rect">
            <a:avLst/>
          </a:prstGeom>
        </p:spPr>
      </p:pic>
      <p:sp>
        <p:nvSpPr>
          <p:cNvPr id="116" name="TextBox 115">
            <a:extLst>
              <a:ext uri="{FF2B5EF4-FFF2-40B4-BE49-F238E27FC236}">
                <a16:creationId xmlns:a16="http://schemas.microsoft.com/office/drawing/2014/main" id="{02E34383-661C-C618-987F-A3294B419082}"/>
              </a:ext>
            </a:extLst>
          </p:cNvPr>
          <p:cNvSpPr txBox="1"/>
          <p:nvPr/>
        </p:nvSpPr>
        <p:spPr>
          <a:xfrm>
            <a:off x="4825143" y="3424049"/>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17" name="TextBox 116">
            <a:extLst>
              <a:ext uri="{FF2B5EF4-FFF2-40B4-BE49-F238E27FC236}">
                <a16:creationId xmlns:a16="http://schemas.microsoft.com/office/drawing/2014/main" id="{D2AB7B86-37A0-5305-1968-8E63507CC80F}"/>
              </a:ext>
            </a:extLst>
          </p:cNvPr>
          <p:cNvSpPr txBox="1"/>
          <p:nvPr/>
        </p:nvSpPr>
        <p:spPr>
          <a:xfrm>
            <a:off x="6485373" y="3754595"/>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10" name="Rectangle 9">
            <a:extLst>
              <a:ext uri="{FF2B5EF4-FFF2-40B4-BE49-F238E27FC236}">
                <a16:creationId xmlns:a16="http://schemas.microsoft.com/office/drawing/2014/main" id="{FA0CC134-109C-8FE4-CB2F-D0F9D8849D9F}"/>
              </a:ext>
            </a:extLst>
          </p:cNvPr>
          <p:cNvSpPr/>
          <p:nvPr/>
        </p:nvSpPr>
        <p:spPr bwMode="gray">
          <a:xfrm>
            <a:off x="-37280" y="-6646"/>
            <a:ext cx="3644433" cy="6861820"/>
          </a:xfrm>
          <a:prstGeom prst="rect">
            <a:avLst/>
          </a:prstGeom>
          <a:solidFill>
            <a:srgbClr val="00B0F2"/>
          </a:solidFill>
          <a:ln w="19050" algn="ctr">
            <a:noFill/>
            <a:miter lim="800000"/>
            <a:headEnd/>
            <a:tailEnd/>
          </a:ln>
        </p:spPr>
        <p:txBody>
          <a:bodyPr wrap="square" lIns="0" tIns="0" rIns="0" bIns="0" rtlCol="0" anchor="ctr"/>
          <a:lstStyle/>
          <a:p>
            <a:pPr algn="ctr"/>
            <a:endParaRPr lang="en-US" dirty="0"/>
          </a:p>
        </p:txBody>
      </p:sp>
      <p:sp>
        <p:nvSpPr>
          <p:cNvPr id="27" name="Rectangle 26">
            <a:extLst>
              <a:ext uri="{FF2B5EF4-FFF2-40B4-BE49-F238E27FC236}">
                <a16:creationId xmlns:a16="http://schemas.microsoft.com/office/drawing/2014/main" id="{50677872-A551-6A18-EAB6-D3D465EB1213}"/>
              </a:ext>
            </a:extLst>
          </p:cNvPr>
          <p:cNvSpPr/>
          <p:nvPr/>
        </p:nvSpPr>
        <p:spPr bwMode="gray">
          <a:xfrm>
            <a:off x="2" y="1871148"/>
            <a:ext cx="742121" cy="281553"/>
          </a:xfrm>
          <a:prstGeom prst="rect">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130" name="Rectangle: Rounded Corners 129">
            <a:extLst>
              <a:ext uri="{FF2B5EF4-FFF2-40B4-BE49-F238E27FC236}">
                <a16:creationId xmlns:a16="http://schemas.microsoft.com/office/drawing/2014/main" id="{53EDCB81-87BA-A180-9C12-98903723CD78}"/>
              </a:ext>
            </a:extLst>
          </p:cNvPr>
          <p:cNvSpPr/>
          <p:nvPr/>
        </p:nvSpPr>
        <p:spPr bwMode="gray">
          <a:xfrm>
            <a:off x="1047206" y="4385609"/>
            <a:ext cx="1691640"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82" name="Rectangle: Rounded Corners 81">
            <a:extLst>
              <a:ext uri="{FF2B5EF4-FFF2-40B4-BE49-F238E27FC236}">
                <a16:creationId xmlns:a16="http://schemas.microsoft.com/office/drawing/2014/main" id="{2191193D-F1B0-4F4C-0444-62CD78162E96}"/>
              </a:ext>
            </a:extLst>
          </p:cNvPr>
          <p:cNvSpPr/>
          <p:nvPr/>
        </p:nvSpPr>
        <p:spPr bwMode="gray">
          <a:xfrm>
            <a:off x="1047204" y="2377803"/>
            <a:ext cx="1691640" cy="769065"/>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pic>
        <p:nvPicPr>
          <p:cNvPr id="64" name="Picture 63">
            <a:extLst>
              <a:ext uri="{FF2B5EF4-FFF2-40B4-BE49-F238E27FC236}">
                <a16:creationId xmlns:a16="http://schemas.microsoft.com/office/drawing/2014/main" id="{406A52A1-6E1B-0B6D-3BE9-A10091D48679}"/>
              </a:ext>
            </a:extLst>
          </p:cNvPr>
          <p:cNvPicPr>
            <a:picLocks noChangeAspect="1"/>
          </p:cNvPicPr>
          <p:nvPr/>
        </p:nvPicPr>
        <p:blipFill>
          <a:blip r:embed="rId7"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flipH="1">
            <a:off x="-494937" y="-87040"/>
            <a:ext cx="1725898" cy="1484272"/>
          </a:xfrm>
          <a:prstGeom prst="rect">
            <a:avLst/>
          </a:prstGeom>
        </p:spPr>
      </p:pic>
      <p:sp>
        <p:nvSpPr>
          <p:cNvPr id="3" name="Title 3">
            <a:extLst>
              <a:ext uri="{FF2B5EF4-FFF2-40B4-BE49-F238E27FC236}">
                <a16:creationId xmlns:a16="http://schemas.microsoft.com/office/drawing/2014/main" id="{162DF167-B74A-84FC-E65A-7BB545ADC42A}"/>
              </a:ext>
            </a:extLst>
          </p:cNvPr>
          <p:cNvSpPr txBox="1">
            <a:spLocks/>
          </p:cNvSpPr>
          <p:nvPr/>
        </p:nvSpPr>
        <p:spPr bwMode="gray">
          <a:xfrm>
            <a:off x="914400" y="500020"/>
            <a:ext cx="2712246" cy="47625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r>
              <a:rPr lang="en-US" sz="2000" dirty="0">
                <a:latin typeface="+mn-lt"/>
                <a:cs typeface="Calibri Light"/>
              </a:rPr>
              <a:t>3. Process Improvement Services</a:t>
            </a:r>
          </a:p>
        </p:txBody>
      </p:sp>
      <p:sp>
        <p:nvSpPr>
          <p:cNvPr id="6" name="TextBox 5">
            <a:extLst>
              <a:ext uri="{FF2B5EF4-FFF2-40B4-BE49-F238E27FC236}">
                <a16:creationId xmlns:a16="http://schemas.microsoft.com/office/drawing/2014/main" id="{FAEF6724-E8B7-7C0B-158A-01A618E22EC0}"/>
              </a:ext>
            </a:extLst>
          </p:cNvPr>
          <p:cNvSpPr txBox="1"/>
          <p:nvPr/>
        </p:nvSpPr>
        <p:spPr>
          <a:xfrm>
            <a:off x="1064921" y="2430582"/>
            <a:ext cx="1635528" cy="679142"/>
          </a:xfrm>
          <a:prstGeom prst="rect">
            <a:avLst/>
          </a:prstGeom>
          <a:noFill/>
        </p:spPr>
        <p:txBody>
          <a:bodyPr wrap="square" lIns="0" tIns="0" rIns="0" bIns="0" rtlCol="0" anchor="t">
            <a:noAutofit/>
          </a:bodyPr>
          <a:lstStyle/>
          <a:p>
            <a:pPr>
              <a:spcAft>
                <a:spcPts val="1000"/>
              </a:spcAft>
            </a:pPr>
            <a:r>
              <a:rPr lang="en-US" sz="900" b="1" dirty="0">
                <a:ea typeface="Open Sans Light" panose="020B0306030504020204" pitchFamily="34" charset="0"/>
                <a:cs typeface="Open Sans Light" panose="020B0306030504020204" pitchFamily="34" charset="0"/>
              </a:rPr>
              <a:t>3. 1 PROCESS REENGINEERING &amp; PROCEDURE MANAGEMENT</a:t>
            </a:r>
            <a:br>
              <a:rPr lang="en-US" sz="900" b="1" dirty="0">
                <a:ea typeface="Open Sans Light" panose="020B0306030504020204" pitchFamily="34" charset="0"/>
                <a:cs typeface="Open Sans Light" panose="020B0306030504020204" pitchFamily="34" charset="0"/>
              </a:rPr>
            </a:br>
            <a:r>
              <a:rPr lang="en-US" sz="900" b="1" cap="all" dirty="0"/>
              <a:t>3. 4 Process and procedures management consulting service</a:t>
            </a:r>
          </a:p>
          <a:p>
            <a:pPr>
              <a:spcAft>
                <a:spcPts val="1000"/>
              </a:spcAft>
            </a:pPr>
            <a:endParaRPr lang="en-US" sz="900" b="1" dirty="0">
              <a:ea typeface="Open Sans Light" panose="020B0306030504020204" pitchFamily="34" charset="0"/>
              <a:cs typeface="Open Sans Light" panose="020B0306030504020204" pitchFamily="34" charset="0"/>
            </a:endParaRPr>
          </a:p>
        </p:txBody>
      </p:sp>
      <p:sp>
        <p:nvSpPr>
          <p:cNvPr id="8" name="TextBox 7">
            <a:extLst>
              <a:ext uri="{FF2B5EF4-FFF2-40B4-BE49-F238E27FC236}">
                <a16:creationId xmlns:a16="http://schemas.microsoft.com/office/drawing/2014/main" id="{2A0503F6-4EF7-56CC-B9BB-BB12C10CB290}"/>
              </a:ext>
            </a:extLst>
          </p:cNvPr>
          <p:cNvSpPr txBox="1"/>
          <p:nvPr/>
        </p:nvSpPr>
        <p:spPr>
          <a:xfrm>
            <a:off x="462403" y="1873425"/>
            <a:ext cx="3427343" cy="276999"/>
          </a:xfrm>
          <a:prstGeom prst="rect">
            <a:avLst/>
          </a:prstGeom>
          <a:noFill/>
        </p:spPr>
        <p:txBody>
          <a:bodyPr wrap="square" lIns="43200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chemeClr val="bg1"/>
                </a:solidFill>
                <a:latin typeface="Open Sans"/>
              </a:rPr>
              <a:t>SUBCHAPTERS</a:t>
            </a:r>
            <a:endParaRPr kumimoji="0" lang="en-US" sz="1200" b="1" i="0" u="none" strike="noStrike" kern="1200" cap="none" spc="300" normalizeH="0" baseline="0" dirty="0">
              <a:ln>
                <a:noFill/>
              </a:ln>
              <a:solidFill>
                <a:schemeClr val="bg1"/>
              </a:solidFill>
              <a:effectLst/>
              <a:uLnTx/>
              <a:uFillTx/>
              <a:latin typeface="Open Sans"/>
            </a:endParaRPr>
          </a:p>
        </p:txBody>
      </p:sp>
      <p:sp>
        <p:nvSpPr>
          <p:cNvPr id="32" name="Rectangle 31">
            <a:extLst>
              <a:ext uri="{FF2B5EF4-FFF2-40B4-BE49-F238E27FC236}">
                <a16:creationId xmlns:a16="http://schemas.microsoft.com/office/drawing/2014/main" id="{2D079F9F-321B-D9F9-A18C-4F353194AB20}"/>
              </a:ext>
            </a:extLst>
          </p:cNvPr>
          <p:cNvSpPr/>
          <p:nvPr/>
        </p:nvSpPr>
        <p:spPr>
          <a:xfrm>
            <a:off x="4369983" y="1843000"/>
            <a:ext cx="2727917"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600" dirty="0">
                <a:latin typeface="Open Sans"/>
              </a:rPr>
              <a:t>METHODOLOGIES</a:t>
            </a:r>
            <a:endParaRPr kumimoji="0" lang="en-US" sz="1200" b="0" i="1" u="none" strike="noStrike" kern="1200" cap="none" spc="600" normalizeH="0" baseline="0" dirty="0">
              <a:ln>
                <a:noFill/>
              </a:ln>
              <a:effectLst/>
              <a:uLnTx/>
              <a:uFillTx/>
              <a:latin typeface="Open Sans"/>
            </a:endParaRPr>
          </a:p>
        </p:txBody>
      </p:sp>
      <p:cxnSp>
        <p:nvCxnSpPr>
          <p:cNvPr id="48" name="Straight Connector 47">
            <a:extLst>
              <a:ext uri="{FF2B5EF4-FFF2-40B4-BE49-F238E27FC236}">
                <a16:creationId xmlns:a16="http://schemas.microsoft.com/office/drawing/2014/main" id="{3263EF7A-A289-4E4C-F81A-A8E8AB4B1AAA}"/>
              </a:ext>
            </a:extLst>
          </p:cNvPr>
          <p:cNvCxnSpPr>
            <a:cxnSpLocks/>
          </p:cNvCxnSpPr>
          <p:nvPr/>
        </p:nvCxnSpPr>
        <p:spPr>
          <a:xfrm>
            <a:off x="922093" y="2203797"/>
            <a:ext cx="0" cy="252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E124DB47-D5F3-2EB7-D933-C91E0869EFC2}"/>
              </a:ext>
            </a:extLst>
          </p:cNvPr>
          <p:cNvSpPr/>
          <p:nvPr/>
        </p:nvSpPr>
        <p:spPr bwMode="gray">
          <a:xfrm>
            <a:off x="875786" y="2503600"/>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69" name="TextBox 68">
            <a:extLst>
              <a:ext uri="{FF2B5EF4-FFF2-40B4-BE49-F238E27FC236}">
                <a16:creationId xmlns:a16="http://schemas.microsoft.com/office/drawing/2014/main" id="{07FC1EC4-A795-7AF4-3987-D0530EA7E826}"/>
              </a:ext>
            </a:extLst>
          </p:cNvPr>
          <p:cNvSpPr txBox="1"/>
          <p:nvPr/>
        </p:nvSpPr>
        <p:spPr>
          <a:xfrm>
            <a:off x="1618593" y="-1082566"/>
            <a:ext cx="0" cy="0"/>
          </a:xfrm>
          <a:prstGeom prst="rect">
            <a:avLst/>
          </a:prstGeom>
          <a:noFill/>
        </p:spPr>
        <p:txBody>
          <a:bodyPr wrap="none" lIns="0" tIns="0" rIns="0" bIns="0" rtlCol="0">
            <a:noAutofit/>
          </a:bodyPr>
          <a:lstStyle/>
          <a:p>
            <a:pPr algn="l">
              <a:spcBef>
                <a:spcPts val="600"/>
              </a:spcBef>
              <a:buSzPct val="100000"/>
            </a:pPr>
            <a:endParaRPr lang="en-US" sz="1200" dirty="0"/>
          </a:p>
        </p:txBody>
      </p:sp>
      <p:grpSp>
        <p:nvGrpSpPr>
          <p:cNvPr id="86" name="Graphic 4">
            <a:extLst>
              <a:ext uri="{FF2B5EF4-FFF2-40B4-BE49-F238E27FC236}">
                <a16:creationId xmlns:a16="http://schemas.microsoft.com/office/drawing/2014/main" id="{066B52F1-6950-812F-BFF3-279206A4DB92}"/>
              </a:ext>
            </a:extLst>
          </p:cNvPr>
          <p:cNvGrpSpPr>
            <a:grpSpLocks noChangeAspect="1"/>
          </p:cNvGrpSpPr>
          <p:nvPr/>
        </p:nvGrpSpPr>
        <p:grpSpPr>
          <a:xfrm>
            <a:off x="4091485" y="1840431"/>
            <a:ext cx="278631" cy="278368"/>
            <a:chOff x="1952125" y="2855717"/>
            <a:chExt cx="362313" cy="361971"/>
          </a:xfrm>
          <a:solidFill>
            <a:srgbClr val="00B0F2"/>
          </a:solidFill>
        </p:grpSpPr>
        <p:sp>
          <p:nvSpPr>
            <p:cNvPr id="87" name="Graphic 4">
              <a:extLst>
                <a:ext uri="{FF2B5EF4-FFF2-40B4-BE49-F238E27FC236}">
                  <a16:creationId xmlns:a16="http://schemas.microsoft.com/office/drawing/2014/main" id="{4E673BCE-7470-7BD4-CEC8-452168DC9B5B}"/>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5C2B41BE-CDF3-F150-4E87-CE6CF6E726B6}"/>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855D0056-344F-B5A5-454E-01BDE01AE5AD}"/>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E43242B7-EE9E-EA0B-69C8-E4848B6A102E}"/>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178FF831-F5B6-15E5-2063-869506FD3F61}"/>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FB9557A2-7DC5-8B0F-69C4-6BF11A1498C9}"/>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7944E761-7B13-386F-3C48-B41D4189E2CB}"/>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A1D3458C-450D-0BF6-52C3-BB277F791653}"/>
              </a:ext>
            </a:extLst>
          </p:cNvPr>
          <p:cNvSpPr txBox="1"/>
          <p:nvPr/>
        </p:nvSpPr>
        <p:spPr>
          <a:xfrm>
            <a:off x="6102626" y="3627954"/>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63" name="TextBox 62">
            <a:extLst>
              <a:ext uri="{FF2B5EF4-FFF2-40B4-BE49-F238E27FC236}">
                <a16:creationId xmlns:a16="http://schemas.microsoft.com/office/drawing/2014/main" id="{D6BCE08A-2010-C3CE-D191-C533EB4153F8}"/>
              </a:ext>
            </a:extLst>
          </p:cNvPr>
          <p:cNvSpPr txBox="1"/>
          <p:nvPr/>
        </p:nvSpPr>
        <p:spPr>
          <a:xfrm>
            <a:off x="3924223" y="3572773"/>
            <a:ext cx="0" cy="0"/>
          </a:xfrm>
          <a:prstGeom prst="rect">
            <a:avLst/>
          </a:prstGeom>
          <a:noFill/>
        </p:spPr>
        <p:txBody>
          <a:bodyPr wrap="none" lIns="0" tIns="0" rIns="0" bIns="0" rtlCol="0">
            <a:noAutofit/>
          </a:bodyPr>
          <a:lstStyle/>
          <a:p>
            <a:pPr algn="l">
              <a:spcBef>
                <a:spcPts val="600"/>
              </a:spcBef>
              <a:buSzPct val="100000"/>
            </a:pPr>
            <a:endParaRPr lang="en-US" sz="1200" dirty="0"/>
          </a:p>
        </p:txBody>
      </p:sp>
      <p:sp>
        <p:nvSpPr>
          <p:cNvPr id="58" name="Rectangle: Rounded Corners 57">
            <a:extLst>
              <a:ext uri="{FF2B5EF4-FFF2-40B4-BE49-F238E27FC236}">
                <a16:creationId xmlns:a16="http://schemas.microsoft.com/office/drawing/2014/main" id="{1108A491-5C0B-8E77-EC8F-6B011EF5DA56}"/>
              </a:ext>
            </a:extLst>
          </p:cNvPr>
          <p:cNvSpPr/>
          <p:nvPr/>
        </p:nvSpPr>
        <p:spPr bwMode="gray">
          <a:xfrm>
            <a:off x="1047205" y="3410020"/>
            <a:ext cx="1693153" cy="351938"/>
          </a:xfrm>
          <a:prstGeom prst="roundRect">
            <a:avLst/>
          </a:prstGeom>
          <a:solidFill>
            <a:srgbClr val="B9F4F9"/>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lstStyle/>
          <a:p>
            <a:pPr algn="ctr"/>
            <a:endParaRPr lang="en-US"/>
          </a:p>
        </p:txBody>
      </p:sp>
      <p:sp>
        <p:nvSpPr>
          <p:cNvPr id="20" name="Oval 19">
            <a:extLst>
              <a:ext uri="{FF2B5EF4-FFF2-40B4-BE49-F238E27FC236}">
                <a16:creationId xmlns:a16="http://schemas.microsoft.com/office/drawing/2014/main" id="{D83B2E23-77BE-A76A-896C-9EFB70455266}"/>
              </a:ext>
            </a:extLst>
          </p:cNvPr>
          <p:cNvSpPr/>
          <p:nvPr/>
        </p:nvSpPr>
        <p:spPr bwMode="gray">
          <a:xfrm>
            <a:off x="875786" y="3535322"/>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1" name="Oval 20">
            <a:extLst>
              <a:ext uri="{FF2B5EF4-FFF2-40B4-BE49-F238E27FC236}">
                <a16:creationId xmlns:a16="http://schemas.microsoft.com/office/drawing/2014/main" id="{D219154D-E203-927A-E17E-7821D7AFA343}"/>
              </a:ext>
            </a:extLst>
          </p:cNvPr>
          <p:cNvSpPr/>
          <p:nvPr/>
        </p:nvSpPr>
        <p:spPr bwMode="gray">
          <a:xfrm>
            <a:off x="875786" y="4523701"/>
            <a:ext cx="108000" cy="108000"/>
          </a:xfrm>
          <a:prstGeom prst="ellipse">
            <a:avLst/>
          </a:prstGeom>
          <a:solidFill>
            <a:schemeClr val="bg1"/>
          </a:solidFill>
          <a:ln w="19050" algn="ctr">
            <a:noFill/>
            <a:miter lim="800000"/>
            <a:headEnd/>
            <a:tailEnd/>
          </a:ln>
        </p:spPr>
        <p:txBody>
          <a:bodyPr wrap="square" lIns="0" tIns="0" rIns="0" bIns="0" rtlCol="0" anchor="ctr"/>
          <a:lstStyle/>
          <a:p>
            <a:pPr algn="ctr"/>
            <a:endParaRPr lang="en-US" dirty="0"/>
          </a:p>
        </p:txBody>
      </p:sp>
      <p:sp>
        <p:nvSpPr>
          <p:cNvPr id="23" name="TextBox 22">
            <a:extLst>
              <a:ext uri="{FF2B5EF4-FFF2-40B4-BE49-F238E27FC236}">
                <a16:creationId xmlns:a16="http://schemas.microsoft.com/office/drawing/2014/main" id="{71042AB0-6C28-0519-0123-4B35425F7BBA}"/>
              </a:ext>
            </a:extLst>
          </p:cNvPr>
          <p:cNvSpPr txBox="1"/>
          <p:nvPr/>
        </p:nvSpPr>
        <p:spPr>
          <a:xfrm>
            <a:off x="1122629" y="3462878"/>
            <a:ext cx="1443116" cy="246222"/>
          </a:xfrm>
          <a:prstGeom prst="rect">
            <a:avLst/>
          </a:prstGeom>
          <a:noFill/>
        </p:spPr>
        <p:txBody>
          <a:bodyPr wrap="square" lIns="0" tIns="0" rIns="0" bIns="0" rtlCol="0" anchor="t">
            <a:noAutofit/>
          </a:bodyPr>
          <a:lstStyle/>
          <a:p>
            <a:pPr>
              <a:spcAft>
                <a:spcPts val="1000"/>
              </a:spcAft>
            </a:pPr>
            <a:r>
              <a:rPr lang="en-US" sz="900" b="1" dirty="0">
                <a:ea typeface="Open Sans Light" panose="020B0306030504020204" pitchFamily="34" charset="0"/>
                <a:cs typeface="Open Sans Light" panose="020B0306030504020204" pitchFamily="34" charset="0"/>
              </a:rPr>
              <a:t>3. 2 ROBOTIC PROCESS AUTOMATION</a:t>
            </a:r>
          </a:p>
        </p:txBody>
      </p:sp>
      <p:sp>
        <p:nvSpPr>
          <p:cNvPr id="24" name="TextBox 23">
            <a:extLst>
              <a:ext uri="{FF2B5EF4-FFF2-40B4-BE49-F238E27FC236}">
                <a16:creationId xmlns:a16="http://schemas.microsoft.com/office/drawing/2014/main" id="{5C8FF9D1-C272-F408-C331-07E40145140C}"/>
              </a:ext>
            </a:extLst>
          </p:cNvPr>
          <p:cNvSpPr txBox="1"/>
          <p:nvPr/>
        </p:nvSpPr>
        <p:spPr>
          <a:xfrm>
            <a:off x="1109960" y="4435277"/>
            <a:ext cx="1232290" cy="246222"/>
          </a:xfrm>
          <a:prstGeom prst="rect">
            <a:avLst/>
          </a:prstGeom>
          <a:noFill/>
        </p:spPr>
        <p:txBody>
          <a:bodyPr wrap="square" lIns="0" tIns="0" rIns="0" bIns="0" rtlCol="0" anchor="t">
            <a:noAutofit/>
          </a:bodyPr>
          <a:lstStyle>
            <a:defPPr>
              <a:defRPr lang="en-US"/>
            </a:defPPr>
            <a:lvl1pPr>
              <a:spcAft>
                <a:spcPts val="1000"/>
              </a:spcAft>
              <a:defRPr sz="900" b="1">
                <a:ea typeface="Open Sans Light" panose="020B0306030504020204" pitchFamily="34" charset="0"/>
                <a:cs typeface="Open Sans Light" panose="020B0306030504020204" pitchFamily="34" charset="0"/>
              </a:defRPr>
            </a:lvl1pPr>
          </a:lstStyle>
          <a:p>
            <a:r>
              <a:rPr lang="en-US" dirty="0"/>
              <a:t>3.3 AGILE SERVICE MANAGEMENT</a:t>
            </a:r>
          </a:p>
        </p:txBody>
      </p:sp>
      <p:sp>
        <p:nvSpPr>
          <p:cNvPr id="124" name="Rectangle: Rounded Corners 123">
            <a:extLst>
              <a:ext uri="{FF2B5EF4-FFF2-40B4-BE49-F238E27FC236}">
                <a16:creationId xmlns:a16="http://schemas.microsoft.com/office/drawing/2014/main" id="{79AA0FA1-3922-A99B-EBF8-E2927C6B9302}"/>
              </a:ext>
            </a:extLst>
          </p:cNvPr>
          <p:cNvSpPr/>
          <p:nvPr/>
        </p:nvSpPr>
        <p:spPr bwMode="gray">
          <a:xfrm>
            <a:off x="4141467" y="3570231"/>
            <a:ext cx="5016365" cy="726923"/>
          </a:xfrm>
          <a:prstGeom prst="roundRect">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91440" tIns="0" rIns="91440" bIns="0" rtlCol="0" anchor="ctr"/>
          <a:lstStyle/>
          <a:p>
            <a:pPr algn="ctr"/>
            <a:r>
              <a:rPr lang="en-US" sz="900" b="1" dirty="0"/>
              <a:t>Robotics Delivery Approach (RDA)</a:t>
            </a:r>
          </a:p>
          <a:p>
            <a:pPr algn="ctr"/>
            <a:endParaRPr lang="en-US" sz="900" b="1" dirty="0"/>
          </a:p>
          <a:p>
            <a:pPr algn="ctr"/>
            <a:r>
              <a:rPr lang="en-US" sz="900" dirty="0"/>
              <a:t>The RDA emphasize ‘agile in spirit’ delivery of processes while avoiding some of the typical roadblocks of a traditional ‘SDLC’ (Software Development Lifecycle) approach to automation</a:t>
            </a:r>
          </a:p>
        </p:txBody>
      </p:sp>
      <p:grpSp>
        <p:nvGrpSpPr>
          <p:cNvPr id="172" name="Group 171">
            <a:extLst>
              <a:ext uri="{FF2B5EF4-FFF2-40B4-BE49-F238E27FC236}">
                <a16:creationId xmlns:a16="http://schemas.microsoft.com/office/drawing/2014/main" id="{813F559A-27B6-42EE-77B3-12F0F2E100E5}"/>
              </a:ext>
            </a:extLst>
          </p:cNvPr>
          <p:cNvGrpSpPr/>
          <p:nvPr/>
        </p:nvGrpSpPr>
        <p:grpSpPr>
          <a:xfrm>
            <a:off x="2740358" y="3443850"/>
            <a:ext cx="6240680" cy="108000"/>
            <a:chOff x="2740358" y="3290138"/>
            <a:chExt cx="6240680" cy="108000"/>
          </a:xfrm>
        </p:grpSpPr>
        <p:cxnSp>
          <p:nvCxnSpPr>
            <p:cNvPr id="122" name="Straight Connector 121">
              <a:extLst>
                <a:ext uri="{FF2B5EF4-FFF2-40B4-BE49-F238E27FC236}">
                  <a16:creationId xmlns:a16="http://schemas.microsoft.com/office/drawing/2014/main" id="{C42BD0D1-2F19-8182-22D4-281B23E168E7}"/>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40ED5E5A-EB14-6D7C-38B1-A8E7DB5ABE9C}"/>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23" name="Straight Connector 122">
              <a:extLst>
                <a:ext uri="{FF2B5EF4-FFF2-40B4-BE49-F238E27FC236}">
                  <a16:creationId xmlns:a16="http://schemas.microsoft.com/office/drawing/2014/main" id="{73E0D9EF-0526-92C8-0D3D-CF88BDDED06F}"/>
                </a:ext>
              </a:extLst>
            </p:cNvPr>
            <p:cNvCxnSpPr>
              <a:cxnSpLocks/>
            </p:cNvCxnSpPr>
            <p:nvPr/>
          </p:nvCxnSpPr>
          <p:spPr>
            <a:xfrm flipV="1">
              <a:off x="2740358" y="3337203"/>
              <a:ext cx="90809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3B57B1E-0FF2-81CE-6E4D-CC02BA27A2AE}"/>
              </a:ext>
            </a:extLst>
          </p:cNvPr>
          <p:cNvGrpSpPr/>
          <p:nvPr/>
        </p:nvGrpSpPr>
        <p:grpSpPr>
          <a:xfrm>
            <a:off x="2643598" y="2366507"/>
            <a:ext cx="6337440" cy="108000"/>
            <a:chOff x="2643598" y="3290138"/>
            <a:chExt cx="6337440" cy="108000"/>
          </a:xfrm>
        </p:grpSpPr>
        <p:cxnSp>
          <p:nvCxnSpPr>
            <p:cNvPr id="174" name="Straight Connector 173">
              <a:extLst>
                <a:ext uri="{FF2B5EF4-FFF2-40B4-BE49-F238E27FC236}">
                  <a16:creationId xmlns:a16="http://schemas.microsoft.com/office/drawing/2014/main" id="{8C0494AB-785D-EBA1-C164-E6AADE36B763}"/>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6" name="Oval 175">
              <a:extLst>
                <a:ext uri="{FF2B5EF4-FFF2-40B4-BE49-F238E27FC236}">
                  <a16:creationId xmlns:a16="http://schemas.microsoft.com/office/drawing/2014/main" id="{748EB627-A2FC-D04F-690B-753BA968BB58}"/>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77" name="Straight Connector 176">
              <a:extLst>
                <a:ext uri="{FF2B5EF4-FFF2-40B4-BE49-F238E27FC236}">
                  <a16:creationId xmlns:a16="http://schemas.microsoft.com/office/drawing/2014/main" id="{200AB870-75B8-34A5-276D-B11956C345FD}"/>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030" name="Group 1029">
            <a:extLst>
              <a:ext uri="{FF2B5EF4-FFF2-40B4-BE49-F238E27FC236}">
                <a16:creationId xmlns:a16="http://schemas.microsoft.com/office/drawing/2014/main" id="{8AAF2FCC-5E5D-E91D-209D-CA2E0085B2F9}"/>
              </a:ext>
            </a:extLst>
          </p:cNvPr>
          <p:cNvGrpSpPr/>
          <p:nvPr/>
        </p:nvGrpSpPr>
        <p:grpSpPr>
          <a:xfrm>
            <a:off x="2643598" y="4403150"/>
            <a:ext cx="6337440" cy="108000"/>
            <a:chOff x="2643598" y="3290138"/>
            <a:chExt cx="6337440" cy="108000"/>
          </a:xfrm>
        </p:grpSpPr>
        <p:cxnSp>
          <p:nvCxnSpPr>
            <p:cNvPr id="1031" name="Straight Connector 1030">
              <a:extLst>
                <a:ext uri="{FF2B5EF4-FFF2-40B4-BE49-F238E27FC236}">
                  <a16:creationId xmlns:a16="http://schemas.microsoft.com/office/drawing/2014/main" id="{E17B9138-B77D-5393-5DDF-FF48F05F5842}"/>
                </a:ext>
              </a:extLst>
            </p:cNvPr>
            <p:cNvCxnSpPr>
              <a:cxnSpLocks/>
            </p:cNvCxnSpPr>
            <p:nvPr/>
          </p:nvCxnSpPr>
          <p:spPr>
            <a:xfrm>
              <a:off x="3648455" y="3337206"/>
              <a:ext cx="5332583"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32" name="Oval 1031">
              <a:extLst>
                <a:ext uri="{FF2B5EF4-FFF2-40B4-BE49-F238E27FC236}">
                  <a16:creationId xmlns:a16="http://schemas.microsoft.com/office/drawing/2014/main" id="{FE2853AB-686B-03CC-7900-D4AE0B782346}"/>
                </a:ext>
              </a:extLst>
            </p:cNvPr>
            <p:cNvSpPr/>
            <p:nvPr/>
          </p:nvSpPr>
          <p:spPr bwMode="gray">
            <a:xfrm>
              <a:off x="4121788" y="3290138"/>
              <a:ext cx="108000" cy="108000"/>
            </a:xfrm>
            <a:prstGeom prst="ellipse">
              <a:avLst/>
            </a:prstGeom>
            <a:solidFill>
              <a:schemeClr val="accent2">
                <a:lumMod val="75000"/>
              </a:schemeClr>
            </a:solidFill>
            <a:ln w="19050" algn="ctr">
              <a:noFill/>
              <a:miter lim="800000"/>
              <a:headEnd/>
              <a:tailEnd/>
            </a:ln>
          </p:spPr>
          <p:txBody>
            <a:bodyPr wrap="square" lIns="0" tIns="0" rIns="0" bIns="0" rtlCol="0" anchor="ctr"/>
            <a:lstStyle/>
            <a:p>
              <a:pPr algn="ctr"/>
              <a:endParaRPr lang="en-US" dirty="0"/>
            </a:p>
          </p:txBody>
        </p:sp>
        <p:cxnSp>
          <p:nvCxnSpPr>
            <p:cNvPr id="1033" name="Straight Connector 1032">
              <a:extLst>
                <a:ext uri="{FF2B5EF4-FFF2-40B4-BE49-F238E27FC236}">
                  <a16:creationId xmlns:a16="http://schemas.microsoft.com/office/drawing/2014/main" id="{E85799A8-4C49-90DA-4376-48A8D9F211D0}"/>
                </a:ext>
              </a:extLst>
            </p:cNvPr>
            <p:cNvCxnSpPr>
              <a:cxnSpLocks/>
            </p:cNvCxnSpPr>
            <p:nvPr/>
          </p:nvCxnSpPr>
          <p:spPr>
            <a:xfrm>
              <a:off x="2643598" y="3337206"/>
              <a:ext cx="100485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8A305371-6D3B-C506-052D-7700239846EF}"/>
              </a:ext>
            </a:extLst>
          </p:cNvPr>
          <p:cNvSpPr/>
          <p:nvPr/>
        </p:nvSpPr>
        <p:spPr>
          <a:xfrm>
            <a:off x="9292664" y="2012605"/>
            <a:ext cx="1303215" cy="417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defRPr/>
            </a:pPr>
            <a:r>
              <a:rPr lang="en-US" sz="1200" b="1" dirty="0">
                <a:solidFill>
                  <a:srgbClr val="000000"/>
                </a:solidFill>
                <a:latin typeface="Open Sans"/>
                <a:ea typeface="Open Sans"/>
                <a:cs typeface="Open Sans"/>
              </a:rPr>
              <a:t>Eszter Lukác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mj-lt"/>
                <a:ea typeface="Open Sans"/>
                <a:cs typeface="Open Sans"/>
              </a:rPr>
              <a:t>Director</a:t>
            </a:r>
            <a:endParaRPr lang="en-US" sz="1200" b="0" i="0" u="none" strike="noStrike" kern="1200" cap="none" spc="0" normalizeH="0" baseline="0" dirty="0">
              <a:ln>
                <a:noFill/>
              </a:ln>
              <a:solidFill>
                <a:srgbClr val="000000"/>
              </a:solidFill>
              <a:effectLst/>
              <a:uLnTx/>
              <a:uFillTx/>
              <a:latin typeface="+mj-lt"/>
              <a:ea typeface="Open Sans"/>
              <a:cs typeface="Open Sans"/>
            </a:endParaRPr>
          </a:p>
        </p:txBody>
      </p:sp>
      <p:sp>
        <p:nvSpPr>
          <p:cNvPr id="16" name="Rectangle 15">
            <a:extLst>
              <a:ext uri="{FF2B5EF4-FFF2-40B4-BE49-F238E27FC236}">
                <a16:creationId xmlns:a16="http://schemas.microsoft.com/office/drawing/2014/main" id="{1E6DEB91-6AF4-AFD6-D69E-03C76F40EE47}"/>
              </a:ext>
            </a:extLst>
          </p:cNvPr>
          <p:cNvSpPr/>
          <p:nvPr/>
        </p:nvSpPr>
        <p:spPr>
          <a:xfrm>
            <a:off x="9302968" y="1806315"/>
            <a:ext cx="2659044" cy="276999"/>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spc="300" dirty="0">
                <a:solidFill>
                  <a:srgbClr val="38B6FF"/>
                </a:solidFill>
                <a:latin typeface="Open Sans"/>
              </a:rPr>
              <a:t>CHAPTER LEAD EXPERT</a:t>
            </a:r>
            <a:endParaRPr kumimoji="0" lang="en-US" sz="1200" b="0" i="1" u="none" strike="noStrike" kern="1200" cap="none" spc="300" normalizeH="0" baseline="0" dirty="0">
              <a:ln>
                <a:noFill/>
              </a:ln>
              <a:solidFill>
                <a:srgbClr val="38B6FF"/>
              </a:solidFill>
              <a:effectLst/>
              <a:uLnTx/>
              <a:uFillTx/>
              <a:latin typeface="Open Sans"/>
            </a:endParaRPr>
          </a:p>
        </p:txBody>
      </p:sp>
      <p:pic>
        <p:nvPicPr>
          <p:cNvPr id="19" name="Picture 4" descr="Linkedin logo png - greorder">
            <a:hlinkClick r:id="rId8"/>
            <a:extLst>
              <a:ext uri="{FF2B5EF4-FFF2-40B4-BE49-F238E27FC236}">
                <a16:creationId xmlns:a16="http://schemas.microsoft.com/office/drawing/2014/main" id="{F5D08B7A-FC4B-B21E-6E11-BBABB9F6EC03}"/>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392500" y="2069320"/>
            <a:ext cx="276603" cy="15558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BDE3871A-DEA6-B4C9-CA06-C0D3893E28F8}"/>
              </a:ext>
            </a:extLst>
          </p:cNvPr>
          <p:cNvSpPr/>
          <p:nvPr/>
        </p:nvSpPr>
        <p:spPr>
          <a:xfrm>
            <a:off x="9292664" y="2373331"/>
            <a:ext cx="2697252" cy="923330"/>
          </a:xfrm>
          <a:prstGeom prst="rect">
            <a:avLst/>
          </a:prstGeom>
          <a:noFill/>
        </p:spPr>
        <p:txBody>
          <a:bodyPr wrap="square" lIns="91440" tIns="45720" rIns="91440" bIns="45720" anchor="t">
            <a:spAutoFit/>
          </a:bodyPr>
          <a:lstStyle/>
          <a:p>
            <a:pPr>
              <a:defRPr/>
            </a:pPr>
            <a:r>
              <a:rPr lang="en-US" sz="900" b="1" i="1" dirty="0"/>
              <a:t>“In my profession as a consultant, it has always been important for me to create value to my clients and the community around us. As a mother of 3, serving UNICEF would be a precious stone of my career serving a highly-appreciated purpose...the welfare of new generations.”</a:t>
            </a:r>
            <a:endParaRPr lang="en-US" dirty="0">
              <a:ea typeface="Open Sans"/>
              <a:cs typeface="Open Sans"/>
            </a:endParaRPr>
          </a:p>
        </p:txBody>
      </p:sp>
      <p:sp>
        <p:nvSpPr>
          <p:cNvPr id="30" name="Rectangle 29">
            <a:extLst>
              <a:ext uri="{FF2B5EF4-FFF2-40B4-BE49-F238E27FC236}">
                <a16:creationId xmlns:a16="http://schemas.microsoft.com/office/drawing/2014/main" id="{A49D8255-BFC7-52BD-729C-9CC5D35E52A2}"/>
              </a:ext>
            </a:extLst>
          </p:cNvPr>
          <p:cNvSpPr/>
          <p:nvPr/>
        </p:nvSpPr>
        <p:spPr>
          <a:xfrm>
            <a:off x="9301748" y="3399004"/>
            <a:ext cx="2889029" cy="784830"/>
          </a:xfrm>
          <a:prstGeom prst="rect">
            <a:avLst/>
          </a:prstGeom>
          <a:noFill/>
        </p:spPr>
        <p:txBody>
          <a:bodyPr wrap="square" lIns="91440" tIns="45720" rIns="91440" bIns="45720" anchor="t">
            <a:spAutoFit/>
          </a:bodyPr>
          <a:lstStyle/>
          <a:p>
            <a:pPr>
              <a:defRPr/>
            </a:pPr>
            <a:r>
              <a:rPr lang="en-US" sz="900" dirty="0"/>
              <a:t>With 20 years of experience at Deloitte, Eszter has expertise with target operating model design, process transformation, cost efficiency, continuous improvement, robotic process automation, process analytics and shared business services set-up and operations projects. </a:t>
            </a:r>
          </a:p>
        </p:txBody>
      </p:sp>
      <p:sp>
        <p:nvSpPr>
          <p:cNvPr id="33" name="Rectangle: Rounded Corners 32">
            <a:extLst>
              <a:ext uri="{FF2B5EF4-FFF2-40B4-BE49-F238E27FC236}">
                <a16:creationId xmlns:a16="http://schemas.microsoft.com/office/drawing/2014/main" id="{2A8FA38B-49DF-04BE-B230-297E3840EC4A}"/>
              </a:ext>
            </a:extLst>
          </p:cNvPr>
          <p:cNvSpPr/>
          <p:nvPr/>
        </p:nvSpPr>
        <p:spPr bwMode="gray">
          <a:xfrm>
            <a:off x="4141467" y="4511149"/>
            <a:ext cx="1591453" cy="1344872"/>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91440" tIns="0" rIns="91440" bIns="0" rtlCol="0" anchor="t"/>
          <a:lstStyle/>
          <a:p>
            <a:pPr algn="ctr"/>
            <a:r>
              <a:rPr lang="en-US" sz="900" b="1" dirty="0"/>
              <a:t>Scrum</a:t>
            </a:r>
          </a:p>
          <a:p>
            <a:pPr algn="ctr"/>
            <a:endParaRPr lang="en-US" sz="900" b="1" dirty="0"/>
          </a:p>
          <a:p>
            <a:pPr algn="ctr"/>
            <a:r>
              <a:rPr lang="en-US" sz="900" b="0" i="0" dirty="0">
                <a:effectLst/>
              </a:rPr>
              <a:t>Agile project management framework emphasizing collaboration, adaptability, and iterative progress through short, time-boxed sprints in Scrum</a:t>
            </a:r>
            <a:endParaRPr lang="en-US" sz="900" dirty="0"/>
          </a:p>
        </p:txBody>
      </p:sp>
      <p:sp>
        <p:nvSpPr>
          <p:cNvPr id="35" name="Rectangle: Rounded Corners 34">
            <a:extLst>
              <a:ext uri="{FF2B5EF4-FFF2-40B4-BE49-F238E27FC236}">
                <a16:creationId xmlns:a16="http://schemas.microsoft.com/office/drawing/2014/main" id="{83490768-9DAE-C0F1-AD40-B822BA611F76}"/>
              </a:ext>
            </a:extLst>
          </p:cNvPr>
          <p:cNvSpPr/>
          <p:nvPr/>
        </p:nvSpPr>
        <p:spPr bwMode="gray">
          <a:xfrm>
            <a:off x="5812266" y="4511148"/>
            <a:ext cx="1605346" cy="1344873"/>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91440" tIns="0" rIns="91440" bIns="0" rtlCol="0" anchor="t"/>
          <a:lstStyle/>
          <a:p>
            <a:pPr algn="ctr"/>
            <a:r>
              <a:rPr lang="en-US" sz="900" b="1" dirty="0"/>
              <a:t>Kanban</a:t>
            </a:r>
          </a:p>
          <a:p>
            <a:pPr algn="ctr"/>
            <a:endParaRPr lang="en-US" sz="900" b="1" dirty="0"/>
          </a:p>
          <a:p>
            <a:pPr algn="ctr"/>
            <a:r>
              <a:rPr lang="en-US" sz="900" dirty="0"/>
              <a:t>Visual workflow management method optimizing efficiency, flexibility, and continuous improvement through visualizing tasks and limiting work-in-progress in Kanban</a:t>
            </a:r>
          </a:p>
        </p:txBody>
      </p:sp>
      <p:sp>
        <p:nvSpPr>
          <p:cNvPr id="36" name="Rectangle: Rounded Corners 35">
            <a:extLst>
              <a:ext uri="{FF2B5EF4-FFF2-40B4-BE49-F238E27FC236}">
                <a16:creationId xmlns:a16="http://schemas.microsoft.com/office/drawing/2014/main" id="{977BD9A9-D9E3-75D9-61E3-A79E2278838C}"/>
              </a:ext>
            </a:extLst>
          </p:cNvPr>
          <p:cNvSpPr/>
          <p:nvPr/>
        </p:nvSpPr>
        <p:spPr bwMode="gray">
          <a:xfrm>
            <a:off x="7496959" y="4511149"/>
            <a:ext cx="1660874" cy="1344872"/>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91440" tIns="0" rIns="91440" bIns="0" rtlCol="0" anchor="t"/>
          <a:lstStyle/>
          <a:p>
            <a:pPr algn="ctr"/>
            <a:r>
              <a:rPr lang="en-US" sz="900" b="1" dirty="0"/>
              <a:t>Scrumban</a:t>
            </a:r>
          </a:p>
          <a:p>
            <a:pPr algn="ctr"/>
            <a:endParaRPr lang="en-US" sz="900" b="1" dirty="0"/>
          </a:p>
          <a:p>
            <a:pPr algn="ctr"/>
            <a:r>
              <a:rPr lang="en-US" sz="900" dirty="0"/>
              <a:t>Hybrid project management approach blending Scrum and Kanban principles to optimize flexibility, collaboration, and continuous improvement in Scrumban</a:t>
            </a:r>
            <a:endParaRPr lang="en-US" sz="800" dirty="0"/>
          </a:p>
        </p:txBody>
      </p:sp>
      <p:sp>
        <p:nvSpPr>
          <p:cNvPr id="40" name="Rectangle: Rounded Corners 39">
            <a:extLst>
              <a:ext uri="{FF2B5EF4-FFF2-40B4-BE49-F238E27FC236}">
                <a16:creationId xmlns:a16="http://schemas.microsoft.com/office/drawing/2014/main" id="{4628EC75-C991-35E6-FE95-1E6CCD882E72}"/>
              </a:ext>
            </a:extLst>
          </p:cNvPr>
          <p:cNvSpPr/>
          <p:nvPr/>
        </p:nvSpPr>
        <p:spPr bwMode="gray">
          <a:xfrm>
            <a:off x="6680541" y="2502077"/>
            <a:ext cx="2480981" cy="851864"/>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lstStyle/>
          <a:p>
            <a:pPr algn="ctr"/>
            <a:r>
              <a:rPr lang="en-US" sz="900" b="1" dirty="0"/>
              <a:t>Procedure Management </a:t>
            </a:r>
            <a:br>
              <a:rPr lang="en-US" sz="900" b="1" dirty="0"/>
            </a:br>
            <a:r>
              <a:rPr lang="en-US" sz="900" b="1" dirty="0"/>
              <a:t>Framework</a:t>
            </a:r>
          </a:p>
          <a:p>
            <a:pPr algn="ctr"/>
            <a:endParaRPr lang="en-US" sz="900" dirty="0"/>
          </a:p>
          <a:p>
            <a:pPr algn="ctr"/>
            <a:r>
              <a:rPr lang="en-US" sz="900" dirty="0"/>
              <a:t>Procedure management framework support transparent overview from process cycle until workflow document</a:t>
            </a:r>
          </a:p>
        </p:txBody>
      </p:sp>
      <p:sp>
        <p:nvSpPr>
          <p:cNvPr id="4" name="Rectangle: Rounded Corners 3">
            <a:extLst>
              <a:ext uri="{FF2B5EF4-FFF2-40B4-BE49-F238E27FC236}">
                <a16:creationId xmlns:a16="http://schemas.microsoft.com/office/drawing/2014/main" id="{B06A0AE8-8495-4C56-39E6-01484D4C9B4B}"/>
              </a:ext>
            </a:extLst>
          </p:cNvPr>
          <p:cNvSpPr/>
          <p:nvPr/>
        </p:nvSpPr>
        <p:spPr bwMode="gray">
          <a:xfrm>
            <a:off x="4147014" y="2521011"/>
            <a:ext cx="2480981" cy="851864"/>
          </a:xfrm>
          <a:prstGeom prst="roundRect">
            <a:avLst>
              <a:gd name="adj" fmla="val 6827"/>
            </a:avLst>
          </a:prstGeom>
          <a:solidFill>
            <a:schemeClr val="bg1"/>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lstStyle/>
          <a:p>
            <a:pPr algn="ctr"/>
            <a:r>
              <a:rPr lang="en-US" sz="900" b="1" dirty="0"/>
              <a:t>Deloitte Business Process Reengineering (BPR) Methodology</a:t>
            </a:r>
          </a:p>
          <a:p>
            <a:pPr algn="ctr"/>
            <a:endParaRPr lang="en-US" sz="1000" dirty="0"/>
          </a:p>
          <a:p>
            <a:pPr algn="ctr"/>
            <a:r>
              <a:rPr lang="en-US" sz="900" dirty="0"/>
              <a:t>Streamlining, optimizing, and revolutionizing business processes for maximum efficiency with Deloitte’s methodology</a:t>
            </a:r>
          </a:p>
        </p:txBody>
      </p:sp>
      <p:sp>
        <p:nvSpPr>
          <p:cNvPr id="11" name="TextBox 10">
            <a:extLst>
              <a:ext uri="{FF2B5EF4-FFF2-40B4-BE49-F238E27FC236}">
                <a16:creationId xmlns:a16="http://schemas.microsoft.com/office/drawing/2014/main" id="{3B057AFC-B413-1E4B-DD01-5371FE0A968A}"/>
              </a:ext>
            </a:extLst>
          </p:cNvPr>
          <p:cNvSpPr txBox="1"/>
          <p:nvPr/>
        </p:nvSpPr>
        <p:spPr>
          <a:xfrm>
            <a:off x="1099299" y="2707442"/>
            <a:ext cx="1601150" cy="183857"/>
          </a:xfrm>
          <a:prstGeom prst="rect">
            <a:avLst/>
          </a:prstGeom>
          <a:noFill/>
        </p:spPr>
        <p:txBody>
          <a:bodyPr wrap="square" lIns="0" tIns="0" rIns="0" bIns="0" rtlCol="0" anchor="t">
            <a:noAutofit/>
          </a:bodyPr>
          <a:lstStyle>
            <a:defPPr>
              <a:defRPr lang="en-US"/>
            </a:defPPr>
            <a:lvl1pPr>
              <a:spcAft>
                <a:spcPts val="1000"/>
              </a:spcAft>
              <a:defRPr sz="900" b="1">
                <a:ea typeface="Open Sans Light" panose="020B0306030504020204" pitchFamily="34" charset="0"/>
                <a:cs typeface="Open Sans Light" panose="020B0306030504020204" pitchFamily="34" charset="0"/>
              </a:defRPr>
            </a:lvl1pPr>
          </a:lstStyle>
          <a:p>
            <a:endParaRPr lang="en-US" cap="all" dirty="0"/>
          </a:p>
        </p:txBody>
      </p:sp>
      <p:sp>
        <p:nvSpPr>
          <p:cNvPr id="2" name="Flowchart: Connector 1">
            <a:extLst>
              <a:ext uri="{FF2B5EF4-FFF2-40B4-BE49-F238E27FC236}">
                <a16:creationId xmlns:a16="http://schemas.microsoft.com/office/drawing/2014/main" id="{BF5DC1DF-CE1B-6EB9-5289-E0BB1E4E0011}"/>
              </a:ext>
            </a:extLst>
          </p:cNvPr>
          <p:cNvSpPr/>
          <p:nvPr/>
        </p:nvSpPr>
        <p:spPr bwMode="gray">
          <a:xfrm>
            <a:off x="10392500" y="4121394"/>
            <a:ext cx="2047745" cy="2047745"/>
          </a:xfrm>
          <a:prstGeom prst="flowChartConnector">
            <a:avLst/>
          </a:prstGeom>
          <a:solidFill>
            <a:schemeClr val="accent2"/>
          </a:solidFill>
          <a:ln w="19050" algn="ctr">
            <a:noFill/>
            <a:miter lim="800000"/>
            <a:headEnd/>
            <a:tailEnd/>
          </a:ln>
        </p:spPr>
        <p:txBody>
          <a:bodyPr wrap="square" lIns="0" tIns="0" rIns="0" bIns="0" rtlCol="0" anchor="ctr"/>
          <a:lstStyle/>
          <a:p>
            <a:pPr algn="ctr"/>
            <a:endParaRPr lang="en-US"/>
          </a:p>
        </p:txBody>
      </p:sp>
      <p:sp>
        <p:nvSpPr>
          <p:cNvPr id="5" name="Rectangle 4">
            <a:extLst>
              <a:ext uri="{FF2B5EF4-FFF2-40B4-BE49-F238E27FC236}">
                <a16:creationId xmlns:a16="http://schemas.microsoft.com/office/drawing/2014/main" id="{CF2EEFF8-8E80-AAF9-ED2F-2EE5DD453D40}"/>
              </a:ext>
            </a:extLst>
          </p:cNvPr>
          <p:cNvSpPr/>
          <p:nvPr/>
        </p:nvSpPr>
        <p:spPr>
          <a:xfrm>
            <a:off x="11083163" y="4890152"/>
            <a:ext cx="1252709" cy="369332"/>
          </a:xfrm>
          <a:prstGeom prst="rect">
            <a:avLst/>
          </a:prstGeom>
          <a:noFill/>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900" i="1" spc="300" dirty="0">
                <a:latin typeface="Open Sans"/>
              </a:rPr>
              <a:t>EXPERTS IN HUNGARY</a:t>
            </a:r>
            <a:endParaRPr kumimoji="0" lang="en-US" sz="900" i="1" u="none" strike="noStrike" kern="1200" cap="none" spc="300" normalizeH="0" baseline="0" noProof="0" dirty="0">
              <a:ln>
                <a:noFill/>
              </a:ln>
              <a:effectLst/>
              <a:uLnTx/>
              <a:uFillTx/>
              <a:latin typeface="Open Sans"/>
            </a:endParaRPr>
          </a:p>
        </p:txBody>
      </p:sp>
      <p:sp>
        <p:nvSpPr>
          <p:cNvPr id="7" name="Rectangle 6">
            <a:extLst>
              <a:ext uri="{FF2B5EF4-FFF2-40B4-BE49-F238E27FC236}">
                <a16:creationId xmlns:a16="http://schemas.microsoft.com/office/drawing/2014/main" id="{A09DA149-58B8-8FC8-6D3D-E3FD830C991F}"/>
              </a:ext>
            </a:extLst>
          </p:cNvPr>
          <p:cNvSpPr/>
          <p:nvPr/>
        </p:nvSpPr>
        <p:spPr>
          <a:xfrm>
            <a:off x="10569691" y="4813208"/>
            <a:ext cx="745993"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1" u="none" strike="noStrike" kern="1200" cap="none" spc="300" normalizeH="0" baseline="0" noProof="0" dirty="0">
                <a:ln>
                  <a:noFill/>
                </a:ln>
                <a:effectLst/>
                <a:uLnTx/>
                <a:uFillTx/>
                <a:latin typeface="Open Sans"/>
              </a:rPr>
              <a:t>13</a:t>
            </a:r>
          </a:p>
        </p:txBody>
      </p:sp>
      <p:sp>
        <p:nvSpPr>
          <p:cNvPr id="9" name="Freeform: Shape 8">
            <a:extLst>
              <a:ext uri="{FF2B5EF4-FFF2-40B4-BE49-F238E27FC236}">
                <a16:creationId xmlns:a16="http://schemas.microsoft.com/office/drawing/2014/main" id="{1A7B267A-646C-5730-0A16-D0DB4A505DE9}"/>
              </a:ext>
            </a:extLst>
          </p:cNvPr>
          <p:cNvSpPr/>
          <p:nvPr/>
        </p:nvSpPr>
        <p:spPr bwMode="gray">
          <a:xfrm>
            <a:off x="11163395" y="3928511"/>
            <a:ext cx="1035213" cy="967350"/>
          </a:xfrm>
          <a:custGeom>
            <a:avLst/>
            <a:gdLst>
              <a:gd name="connsiteX0" fmla="*/ 289758 w 2305147"/>
              <a:gd name="connsiteY0" fmla="*/ 304142 h 2154037"/>
              <a:gd name="connsiteX1" fmla="*/ 90582 w 2305147"/>
              <a:gd name="connsiteY1" fmla="*/ 286035 h 2154037"/>
              <a:gd name="connsiteX2" fmla="*/ 18154 w 2305147"/>
              <a:gd name="connsiteY2" fmla="*/ 385623 h 2154037"/>
              <a:gd name="connsiteX3" fmla="*/ 54368 w 2305147"/>
              <a:gd name="connsiteY3" fmla="*/ 494265 h 2154037"/>
              <a:gd name="connsiteX4" fmla="*/ 47 w 2305147"/>
              <a:gd name="connsiteY4" fmla="*/ 584799 h 2154037"/>
              <a:gd name="connsiteX5" fmla="*/ 45314 w 2305147"/>
              <a:gd name="connsiteY5" fmla="*/ 693441 h 2154037"/>
              <a:gd name="connsiteX6" fmla="*/ 72475 w 2305147"/>
              <a:gd name="connsiteY6" fmla="*/ 783975 h 2154037"/>
              <a:gd name="connsiteX7" fmla="*/ 99635 w 2305147"/>
              <a:gd name="connsiteY7" fmla="*/ 946938 h 2154037"/>
              <a:gd name="connsiteX8" fmla="*/ 45314 w 2305147"/>
              <a:gd name="connsiteY8" fmla="*/ 974098 h 2154037"/>
              <a:gd name="connsiteX9" fmla="*/ 99635 w 2305147"/>
              <a:gd name="connsiteY9" fmla="*/ 1064633 h 2154037"/>
              <a:gd name="connsiteX10" fmla="*/ 172063 w 2305147"/>
              <a:gd name="connsiteY10" fmla="*/ 1064633 h 2154037"/>
              <a:gd name="connsiteX11" fmla="*/ 316918 w 2305147"/>
              <a:gd name="connsiteY11" fmla="*/ 1263809 h 2154037"/>
              <a:gd name="connsiteX12" fmla="*/ 262598 w 2305147"/>
              <a:gd name="connsiteY12" fmla="*/ 1318130 h 2154037"/>
              <a:gd name="connsiteX13" fmla="*/ 298811 w 2305147"/>
              <a:gd name="connsiteY13" fmla="*/ 1390558 h 2154037"/>
              <a:gd name="connsiteX14" fmla="*/ 289758 w 2305147"/>
              <a:gd name="connsiteY14" fmla="*/ 1490146 h 2154037"/>
              <a:gd name="connsiteX15" fmla="*/ 271651 w 2305147"/>
              <a:gd name="connsiteY15" fmla="*/ 1544467 h 2154037"/>
              <a:gd name="connsiteX16" fmla="*/ 181116 w 2305147"/>
              <a:gd name="connsiteY16" fmla="*/ 1598787 h 2154037"/>
              <a:gd name="connsiteX17" fmla="*/ 181116 w 2305147"/>
              <a:gd name="connsiteY17" fmla="*/ 1680269 h 2154037"/>
              <a:gd name="connsiteX18" fmla="*/ 181116 w 2305147"/>
              <a:gd name="connsiteY18" fmla="*/ 1752696 h 2154037"/>
              <a:gd name="connsiteX19" fmla="*/ 144903 w 2305147"/>
              <a:gd name="connsiteY19" fmla="*/ 1852284 h 2154037"/>
              <a:gd name="connsiteX20" fmla="*/ 172063 w 2305147"/>
              <a:gd name="connsiteY20" fmla="*/ 1942819 h 2154037"/>
              <a:gd name="connsiteX21" fmla="*/ 208277 w 2305147"/>
              <a:gd name="connsiteY21" fmla="*/ 1969979 h 2154037"/>
              <a:gd name="connsiteX22" fmla="*/ 280705 w 2305147"/>
              <a:gd name="connsiteY22" fmla="*/ 1888498 h 2154037"/>
              <a:gd name="connsiteX23" fmla="*/ 425560 w 2305147"/>
              <a:gd name="connsiteY23" fmla="*/ 1834177 h 2154037"/>
              <a:gd name="connsiteX24" fmla="*/ 525148 w 2305147"/>
              <a:gd name="connsiteY24" fmla="*/ 1834177 h 2154037"/>
              <a:gd name="connsiteX25" fmla="*/ 615683 w 2305147"/>
              <a:gd name="connsiteY25" fmla="*/ 1852284 h 2154037"/>
              <a:gd name="connsiteX26" fmla="*/ 642843 w 2305147"/>
              <a:gd name="connsiteY26" fmla="*/ 1834177 h 2154037"/>
              <a:gd name="connsiteX27" fmla="*/ 760538 w 2305147"/>
              <a:gd name="connsiteY27" fmla="*/ 1761750 h 2154037"/>
              <a:gd name="connsiteX28" fmla="*/ 823912 w 2305147"/>
              <a:gd name="connsiteY28" fmla="*/ 1707429 h 2154037"/>
              <a:gd name="connsiteX29" fmla="*/ 887287 w 2305147"/>
              <a:gd name="connsiteY29" fmla="*/ 1779857 h 2154037"/>
              <a:gd name="connsiteX30" fmla="*/ 986875 w 2305147"/>
              <a:gd name="connsiteY30" fmla="*/ 1852284 h 2154037"/>
              <a:gd name="connsiteX31" fmla="*/ 959714 w 2305147"/>
              <a:gd name="connsiteY31" fmla="*/ 1915659 h 2154037"/>
              <a:gd name="connsiteX32" fmla="*/ 1023089 w 2305147"/>
              <a:gd name="connsiteY32" fmla="*/ 1997140 h 2154037"/>
              <a:gd name="connsiteX33" fmla="*/ 1195105 w 2305147"/>
              <a:gd name="connsiteY33" fmla="*/ 2151049 h 2154037"/>
              <a:gd name="connsiteX34" fmla="*/ 1276586 w 2305147"/>
              <a:gd name="connsiteY34" fmla="*/ 2096728 h 2154037"/>
              <a:gd name="connsiteX35" fmla="*/ 1385227 w 2305147"/>
              <a:gd name="connsiteY35" fmla="*/ 2069568 h 2154037"/>
              <a:gd name="connsiteX36" fmla="*/ 1475762 w 2305147"/>
              <a:gd name="connsiteY36" fmla="*/ 1997140 h 2154037"/>
              <a:gd name="connsiteX37" fmla="*/ 1557243 w 2305147"/>
              <a:gd name="connsiteY37" fmla="*/ 1788910 h 2154037"/>
              <a:gd name="connsiteX38" fmla="*/ 1629671 w 2305147"/>
              <a:gd name="connsiteY38" fmla="*/ 1716482 h 2154037"/>
              <a:gd name="connsiteX39" fmla="*/ 1665885 w 2305147"/>
              <a:gd name="connsiteY39" fmla="*/ 1698375 h 2154037"/>
              <a:gd name="connsiteX40" fmla="*/ 1638724 w 2305147"/>
              <a:gd name="connsiteY40" fmla="*/ 1625948 h 2154037"/>
              <a:gd name="connsiteX41" fmla="*/ 1683992 w 2305147"/>
              <a:gd name="connsiteY41" fmla="*/ 1562573 h 2154037"/>
              <a:gd name="connsiteX42" fmla="*/ 1783580 w 2305147"/>
              <a:gd name="connsiteY42" fmla="*/ 1598787 h 2154037"/>
              <a:gd name="connsiteX43" fmla="*/ 1846954 w 2305147"/>
              <a:gd name="connsiteY43" fmla="*/ 1535413 h 2154037"/>
              <a:gd name="connsiteX44" fmla="*/ 1865061 w 2305147"/>
              <a:gd name="connsiteY44" fmla="*/ 1435825 h 2154037"/>
              <a:gd name="connsiteX45" fmla="*/ 1964649 w 2305147"/>
              <a:gd name="connsiteY45" fmla="*/ 1453932 h 2154037"/>
              <a:gd name="connsiteX46" fmla="*/ 2046130 w 2305147"/>
              <a:gd name="connsiteY46" fmla="*/ 1318130 h 2154037"/>
              <a:gd name="connsiteX47" fmla="*/ 2100451 w 2305147"/>
              <a:gd name="connsiteY47" fmla="*/ 1290970 h 2154037"/>
              <a:gd name="connsiteX48" fmla="*/ 2299627 w 2305147"/>
              <a:gd name="connsiteY48" fmla="*/ 1245702 h 2154037"/>
              <a:gd name="connsiteX49" fmla="*/ 2245307 w 2305147"/>
              <a:gd name="connsiteY49" fmla="*/ 1091793 h 2154037"/>
              <a:gd name="connsiteX50" fmla="*/ 2200039 w 2305147"/>
              <a:gd name="connsiteY50" fmla="*/ 1046526 h 2154037"/>
              <a:gd name="connsiteX51" fmla="*/ 2163825 w 2305147"/>
              <a:gd name="connsiteY51" fmla="*/ 955991 h 2154037"/>
              <a:gd name="connsiteX52" fmla="*/ 2172879 w 2305147"/>
              <a:gd name="connsiteY52" fmla="*/ 874510 h 2154037"/>
              <a:gd name="connsiteX53" fmla="*/ 2172879 w 2305147"/>
              <a:gd name="connsiteY53" fmla="*/ 811136 h 2154037"/>
              <a:gd name="connsiteX54" fmla="*/ 2037077 w 2305147"/>
              <a:gd name="connsiteY54" fmla="*/ 811136 h 2154037"/>
              <a:gd name="connsiteX55" fmla="*/ 1892221 w 2305147"/>
              <a:gd name="connsiteY55" fmla="*/ 847350 h 2154037"/>
              <a:gd name="connsiteX56" fmla="*/ 1828847 w 2305147"/>
              <a:gd name="connsiteY56" fmla="*/ 720601 h 2154037"/>
              <a:gd name="connsiteX57" fmla="*/ 1792633 w 2305147"/>
              <a:gd name="connsiteY57" fmla="*/ 630067 h 2154037"/>
              <a:gd name="connsiteX58" fmla="*/ 1647778 w 2305147"/>
              <a:gd name="connsiteY58" fmla="*/ 639120 h 2154037"/>
              <a:gd name="connsiteX59" fmla="*/ 1566297 w 2305147"/>
              <a:gd name="connsiteY59" fmla="*/ 611960 h 2154037"/>
              <a:gd name="connsiteX60" fmla="*/ 1466708 w 2305147"/>
              <a:gd name="connsiteY60" fmla="*/ 602906 h 2154037"/>
              <a:gd name="connsiteX61" fmla="*/ 1394281 w 2305147"/>
              <a:gd name="connsiteY61" fmla="*/ 566692 h 2154037"/>
              <a:gd name="connsiteX62" fmla="*/ 1339960 w 2305147"/>
              <a:gd name="connsiteY62" fmla="*/ 439944 h 2154037"/>
              <a:gd name="connsiteX63" fmla="*/ 1376174 w 2305147"/>
              <a:gd name="connsiteY63" fmla="*/ 394676 h 2154037"/>
              <a:gd name="connsiteX64" fmla="*/ 1303746 w 2305147"/>
              <a:gd name="connsiteY64" fmla="*/ 295088 h 2154037"/>
              <a:gd name="connsiteX65" fmla="*/ 1231318 w 2305147"/>
              <a:gd name="connsiteY65" fmla="*/ 322249 h 2154037"/>
              <a:gd name="connsiteX66" fmla="*/ 1240372 w 2305147"/>
              <a:gd name="connsiteY66" fmla="*/ 276981 h 2154037"/>
              <a:gd name="connsiteX67" fmla="*/ 1222265 w 2305147"/>
              <a:gd name="connsiteY67" fmla="*/ 195500 h 2154037"/>
              <a:gd name="connsiteX68" fmla="*/ 1195105 w 2305147"/>
              <a:gd name="connsiteY68" fmla="*/ 150233 h 2154037"/>
              <a:gd name="connsiteX69" fmla="*/ 1041196 w 2305147"/>
              <a:gd name="connsiteY69" fmla="*/ 68752 h 2154037"/>
              <a:gd name="connsiteX70" fmla="*/ 1032142 w 2305147"/>
              <a:gd name="connsiteY70" fmla="*/ 14431 h 2154037"/>
              <a:gd name="connsiteX71" fmla="*/ 977821 w 2305147"/>
              <a:gd name="connsiteY71" fmla="*/ 5377 h 2154037"/>
              <a:gd name="connsiteX72" fmla="*/ 887287 w 2305147"/>
              <a:gd name="connsiteY72" fmla="*/ 86859 h 2154037"/>
              <a:gd name="connsiteX73" fmla="*/ 851073 w 2305147"/>
              <a:gd name="connsiteY73" fmla="*/ 195500 h 2154037"/>
              <a:gd name="connsiteX74" fmla="*/ 805806 w 2305147"/>
              <a:gd name="connsiteY74" fmla="*/ 213607 h 2154037"/>
              <a:gd name="connsiteX75" fmla="*/ 805806 w 2305147"/>
              <a:gd name="connsiteY75" fmla="*/ 104966 h 2154037"/>
              <a:gd name="connsiteX76" fmla="*/ 805806 w 2305147"/>
              <a:gd name="connsiteY76" fmla="*/ 41591 h 2154037"/>
              <a:gd name="connsiteX77" fmla="*/ 606629 w 2305147"/>
              <a:gd name="connsiteY77" fmla="*/ 32538 h 2154037"/>
              <a:gd name="connsiteX78" fmla="*/ 561362 w 2305147"/>
              <a:gd name="connsiteY78" fmla="*/ 59698 h 2154037"/>
              <a:gd name="connsiteX79" fmla="*/ 606629 w 2305147"/>
              <a:gd name="connsiteY79" fmla="*/ 195500 h 2154037"/>
              <a:gd name="connsiteX80" fmla="*/ 588522 w 2305147"/>
              <a:gd name="connsiteY80" fmla="*/ 222661 h 2154037"/>
              <a:gd name="connsiteX81" fmla="*/ 452720 w 2305147"/>
              <a:gd name="connsiteY81" fmla="*/ 222661 h 2154037"/>
              <a:gd name="connsiteX82" fmla="*/ 380293 w 2305147"/>
              <a:gd name="connsiteY82" fmla="*/ 240768 h 2154037"/>
              <a:gd name="connsiteX83" fmla="*/ 298811 w 2305147"/>
              <a:gd name="connsiteY83" fmla="*/ 195500 h 2154037"/>
              <a:gd name="connsiteX84" fmla="*/ 289758 w 2305147"/>
              <a:gd name="connsiteY84" fmla="*/ 304142 h 215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305147" h="2154037">
                <a:moveTo>
                  <a:pt x="289758" y="304142"/>
                </a:moveTo>
                <a:cubicBezTo>
                  <a:pt x="255053" y="319231"/>
                  <a:pt x="135849" y="272455"/>
                  <a:pt x="90582" y="286035"/>
                </a:cubicBezTo>
                <a:cubicBezTo>
                  <a:pt x="45315" y="299615"/>
                  <a:pt x="24190" y="350918"/>
                  <a:pt x="18154" y="385623"/>
                </a:cubicBezTo>
                <a:cubicBezTo>
                  <a:pt x="12118" y="420328"/>
                  <a:pt x="57386" y="461069"/>
                  <a:pt x="54368" y="494265"/>
                </a:cubicBezTo>
                <a:cubicBezTo>
                  <a:pt x="51350" y="527461"/>
                  <a:pt x="1556" y="551603"/>
                  <a:pt x="47" y="584799"/>
                </a:cubicBezTo>
                <a:cubicBezTo>
                  <a:pt x="-1462" y="617995"/>
                  <a:pt x="33243" y="660245"/>
                  <a:pt x="45314" y="693441"/>
                </a:cubicBezTo>
                <a:cubicBezTo>
                  <a:pt x="57385" y="726637"/>
                  <a:pt x="63422" y="741726"/>
                  <a:pt x="72475" y="783975"/>
                </a:cubicBezTo>
                <a:cubicBezTo>
                  <a:pt x="81528" y="826224"/>
                  <a:pt x="104162" y="915251"/>
                  <a:pt x="99635" y="946938"/>
                </a:cubicBezTo>
                <a:cubicBezTo>
                  <a:pt x="95108" y="978625"/>
                  <a:pt x="45314" y="954482"/>
                  <a:pt x="45314" y="974098"/>
                </a:cubicBezTo>
                <a:cubicBezTo>
                  <a:pt x="45314" y="993714"/>
                  <a:pt x="78510" y="1049544"/>
                  <a:pt x="99635" y="1064633"/>
                </a:cubicBezTo>
                <a:cubicBezTo>
                  <a:pt x="120760" y="1079722"/>
                  <a:pt x="135849" y="1031437"/>
                  <a:pt x="172063" y="1064633"/>
                </a:cubicBezTo>
                <a:cubicBezTo>
                  <a:pt x="208277" y="1097829"/>
                  <a:pt x="301829" y="1221560"/>
                  <a:pt x="316918" y="1263809"/>
                </a:cubicBezTo>
                <a:cubicBezTo>
                  <a:pt x="332007" y="1306059"/>
                  <a:pt x="265616" y="1297005"/>
                  <a:pt x="262598" y="1318130"/>
                </a:cubicBezTo>
                <a:cubicBezTo>
                  <a:pt x="259580" y="1339255"/>
                  <a:pt x="294284" y="1361889"/>
                  <a:pt x="298811" y="1390558"/>
                </a:cubicBezTo>
                <a:cubicBezTo>
                  <a:pt x="303338" y="1419227"/>
                  <a:pt x="294285" y="1464495"/>
                  <a:pt x="289758" y="1490146"/>
                </a:cubicBezTo>
                <a:cubicBezTo>
                  <a:pt x="285231" y="1515797"/>
                  <a:pt x="289758" y="1526360"/>
                  <a:pt x="271651" y="1544467"/>
                </a:cubicBezTo>
                <a:cubicBezTo>
                  <a:pt x="253544" y="1562574"/>
                  <a:pt x="196205" y="1576153"/>
                  <a:pt x="181116" y="1598787"/>
                </a:cubicBezTo>
                <a:cubicBezTo>
                  <a:pt x="166027" y="1621421"/>
                  <a:pt x="181116" y="1680269"/>
                  <a:pt x="181116" y="1680269"/>
                </a:cubicBezTo>
                <a:cubicBezTo>
                  <a:pt x="181116" y="1705920"/>
                  <a:pt x="187151" y="1724027"/>
                  <a:pt x="181116" y="1752696"/>
                </a:cubicBezTo>
                <a:cubicBezTo>
                  <a:pt x="175080" y="1781365"/>
                  <a:pt x="146412" y="1820597"/>
                  <a:pt x="144903" y="1852284"/>
                </a:cubicBezTo>
                <a:cubicBezTo>
                  <a:pt x="143394" y="1883971"/>
                  <a:pt x="172063" y="1942819"/>
                  <a:pt x="172063" y="1942819"/>
                </a:cubicBezTo>
                <a:cubicBezTo>
                  <a:pt x="182625" y="1962435"/>
                  <a:pt x="190170" y="1979032"/>
                  <a:pt x="208277" y="1969979"/>
                </a:cubicBezTo>
                <a:cubicBezTo>
                  <a:pt x="226384" y="1960926"/>
                  <a:pt x="244491" y="1911132"/>
                  <a:pt x="280705" y="1888498"/>
                </a:cubicBezTo>
                <a:cubicBezTo>
                  <a:pt x="316919" y="1865864"/>
                  <a:pt x="384820" y="1843230"/>
                  <a:pt x="425560" y="1834177"/>
                </a:cubicBezTo>
                <a:cubicBezTo>
                  <a:pt x="466300" y="1825124"/>
                  <a:pt x="493461" y="1831159"/>
                  <a:pt x="525148" y="1834177"/>
                </a:cubicBezTo>
                <a:cubicBezTo>
                  <a:pt x="556835" y="1837195"/>
                  <a:pt x="615683" y="1852284"/>
                  <a:pt x="615683" y="1852284"/>
                </a:cubicBezTo>
                <a:cubicBezTo>
                  <a:pt x="635299" y="1852284"/>
                  <a:pt x="642843" y="1834177"/>
                  <a:pt x="642843" y="1834177"/>
                </a:cubicBezTo>
                <a:cubicBezTo>
                  <a:pt x="666986" y="1819088"/>
                  <a:pt x="730360" y="1782875"/>
                  <a:pt x="760538" y="1761750"/>
                </a:cubicBezTo>
                <a:cubicBezTo>
                  <a:pt x="790716" y="1740625"/>
                  <a:pt x="802787" y="1704411"/>
                  <a:pt x="823912" y="1707429"/>
                </a:cubicBezTo>
                <a:cubicBezTo>
                  <a:pt x="845037" y="1710447"/>
                  <a:pt x="860127" y="1755715"/>
                  <a:pt x="887287" y="1779857"/>
                </a:cubicBezTo>
                <a:cubicBezTo>
                  <a:pt x="914447" y="1803999"/>
                  <a:pt x="974804" y="1829650"/>
                  <a:pt x="986875" y="1852284"/>
                </a:cubicBezTo>
                <a:cubicBezTo>
                  <a:pt x="998946" y="1874918"/>
                  <a:pt x="953678" y="1891516"/>
                  <a:pt x="959714" y="1915659"/>
                </a:cubicBezTo>
                <a:cubicBezTo>
                  <a:pt x="965750" y="1939802"/>
                  <a:pt x="983857" y="1957908"/>
                  <a:pt x="1023089" y="1997140"/>
                </a:cubicBezTo>
                <a:cubicBezTo>
                  <a:pt x="1062321" y="2036372"/>
                  <a:pt x="1152856" y="2134451"/>
                  <a:pt x="1195105" y="2151049"/>
                </a:cubicBezTo>
                <a:cubicBezTo>
                  <a:pt x="1237354" y="2167647"/>
                  <a:pt x="1244899" y="2110308"/>
                  <a:pt x="1276586" y="2096728"/>
                </a:cubicBezTo>
                <a:cubicBezTo>
                  <a:pt x="1308273" y="2083148"/>
                  <a:pt x="1352031" y="2086166"/>
                  <a:pt x="1385227" y="2069568"/>
                </a:cubicBezTo>
                <a:cubicBezTo>
                  <a:pt x="1418423" y="2052970"/>
                  <a:pt x="1447093" y="2043916"/>
                  <a:pt x="1475762" y="1997140"/>
                </a:cubicBezTo>
                <a:cubicBezTo>
                  <a:pt x="1504431" y="1950364"/>
                  <a:pt x="1531592" y="1835686"/>
                  <a:pt x="1557243" y="1788910"/>
                </a:cubicBezTo>
                <a:cubicBezTo>
                  <a:pt x="1582894" y="1742134"/>
                  <a:pt x="1629671" y="1716482"/>
                  <a:pt x="1629671" y="1716482"/>
                </a:cubicBezTo>
                <a:cubicBezTo>
                  <a:pt x="1647778" y="1701393"/>
                  <a:pt x="1664376" y="1713464"/>
                  <a:pt x="1665885" y="1698375"/>
                </a:cubicBezTo>
                <a:cubicBezTo>
                  <a:pt x="1667394" y="1683286"/>
                  <a:pt x="1635706" y="1648582"/>
                  <a:pt x="1638724" y="1625948"/>
                </a:cubicBezTo>
                <a:cubicBezTo>
                  <a:pt x="1641742" y="1603314"/>
                  <a:pt x="1659849" y="1567100"/>
                  <a:pt x="1683992" y="1562573"/>
                </a:cubicBezTo>
                <a:cubicBezTo>
                  <a:pt x="1708135" y="1558046"/>
                  <a:pt x="1756420" y="1603314"/>
                  <a:pt x="1783580" y="1598787"/>
                </a:cubicBezTo>
                <a:cubicBezTo>
                  <a:pt x="1810740" y="1594260"/>
                  <a:pt x="1833374" y="1562573"/>
                  <a:pt x="1846954" y="1535413"/>
                </a:cubicBezTo>
                <a:cubicBezTo>
                  <a:pt x="1860534" y="1508253"/>
                  <a:pt x="1845445" y="1449405"/>
                  <a:pt x="1865061" y="1435825"/>
                </a:cubicBezTo>
                <a:cubicBezTo>
                  <a:pt x="1884677" y="1422245"/>
                  <a:pt x="1934471" y="1473548"/>
                  <a:pt x="1964649" y="1453932"/>
                </a:cubicBezTo>
                <a:cubicBezTo>
                  <a:pt x="1994827" y="1434316"/>
                  <a:pt x="2023496" y="1345290"/>
                  <a:pt x="2046130" y="1318130"/>
                </a:cubicBezTo>
                <a:cubicBezTo>
                  <a:pt x="2068764" y="1290970"/>
                  <a:pt x="2058202" y="1303041"/>
                  <a:pt x="2100451" y="1290970"/>
                </a:cubicBezTo>
                <a:cubicBezTo>
                  <a:pt x="2142700" y="1278899"/>
                  <a:pt x="2275484" y="1278898"/>
                  <a:pt x="2299627" y="1245702"/>
                </a:cubicBezTo>
                <a:cubicBezTo>
                  <a:pt x="2323770" y="1212506"/>
                  <a:pt x="2261905" y="1124989"/>
                  <a:pt x="2245307" y="1091793"/>
                </a:cubicBezTo>
                <a:cubicBezTo>
                  <a:pt x="2228709" y="1058597"/>
                  <a:pt x="2213619" y="1069160"/>
                  <a:pt x="2200039" y="1046526"/>
                </a:cubicBezTo>
                <a:cubicBezTo>
                  <a:pt x="2186459" y="1023892"/>
                  <a:pt x="2168352" y="984660"/>
                  <a:pt x="2163825" y="955991"/>
                </a:cubicBezTo>
                <a:cubicBezTo>
                  <a:pt x="2159298" y="927322"/>
                  <a:pt x="2171370" y="898652"/>
                  <a:pt x="2172879" y="874510"/>
                </a:cubicBezTo>
                <a:cubicBezTo>
                  <a:pt x="2174388" y="850368"/>
                  <a:pt x="2195513" y="821698"/>
                  <a:pt x="2172879" y="811136"/>
                </a:cubicBezTo>
                <a:cubicBezTo>
                  <a:pt x="2150245" y="800574"/>
                  <a:pt x="2083853" y="805100"/>
                  <a:pt x="2037077" y="811136"/>
                </a:cubicBezTo>
                <a:cubicBezTo>
                  <a:pt x="1990301" y="817172"/>
                  <a:pt x="1926926" y="862439"/>
                  <a:pt x="1892221" y="847350"/>
                </a:cubicBezTo>
                <a:cubicBezTo>
                  <a:pt x="1857516" y="832261"/>
                  <a:pt x="1845445" y="756815"/>
                  <a:pt x="1828847" y="720601"/>
                </a:cubicBezTo>
                <a:cubicBezTo>
                  <a:pt x="1812249" y="684387"/>
                  <a:pt x="1822811" y="643647"/>
                  <a:pt x="1792633" y="630067"/>
                </a:cubicBezTo>
                <a:cubicBezTo>
                  <a:pt x="1762455" y="616487"/>
                  <a:pt x="1685501" y="642138"/>
                  <a:pt x="1647778" y="639120"/>
                </a:cubicBezTo>
                <a:cubicBezTo>
                  <a:pt x="1610055" y="636102"/>
                  <a:pt x="1596475" y="617996"/>
                  <a:pt x="1566297" y="611960"/>
                </a:cubicBezTo>
                <a:cubicBezTo>
                  <a:pt x="1536119" y="605924"/>
                  <a:pt x="1495377" y="610451"/>
                  <a:pt x="1466708" y="602906"/>
                </a:cubicBezTo>
                <a:cubicBezTo>
                  <a:pt x="1438039" y="595361"/>
                  <a:pt x="1415406" y="593852"/>
                  <a:pt x="1394281" y="566692"/>
                </a:cubicBezTo>
                <a:cubicBezTo>
                  <a:pt x="1373156" y="539532"/>
                  <a:pt x="1342978" y="468613"/>
                  <a:pt x="1339960" y="439944"/>
                </a:cubicBezTo>
                <a:cubicBezTo>
                  <a:pt x="1336942" y="411275"/>
                  <a:pt x="1382210" y="418819"/>
                  <a:pt x="1376174" y="394676"/>
                </a:cubicBezTo>
                <a:cubicBezTo>
                  <a:pt x="1370138" y="370533"/>
                  <a:pt x="1327889" y="307159"/>
                  <a:pt x="1303746" y="295088"/>
                </a:cubicBezTo>
                <a:cubicBezTo>
                  <a:pt x="1279603" y="283017"/>
                  <a:pt x="1241880" y="325267"/>
                  <a:pt x="1231318" y="322249"/>
                </a:cubicBezTo>
                <a:cubicBezTo>
                  <a:pt x="1220756" y="319231"/>
                  <a:pt x="1241881" y="298106"/>
                  <a:pt x="1240372" y="276981"/>
                </a:cubicBezTo>
                <a:cubicBezTo>
                  <a:pt x="1238863" y="255856"/>
                  <a:pt x="1229810" y="216625"/>
                  <a:pt x="1222265" y="195500"/>
                </a:cubicBezTo>
                <a:cubicBezTo>
                  <a:pt x="1214720" y="174375"/>
                  <a:pt x="1225283" y="171358"/>
                  <a:pt x="1195105" y="150233"/>
                </a:cubicBezTo>
                <a:cubicBezTo>
                  <a:pt x="1164927" y="129108"/>
                  <a:pt x="1068356" y="91386"/>
                  <a:pt x="1041196" y="68752"/>
                </a:cubicBezTo>
                <a:cubicBezTo>
                  <a:pt x="1014036" y="46118"/>
                  <a:pt x="1042704" y="24993"/>
                  <a:pt x="1032142" y="14431"/>
                </a:cubicBezTo>
                <a:cubicBezTo>
                  <a:pt x="1021580" y="3869"/>
                  <a:pt x="1001963" y="-6694"/>
                  <a:pt x="977821" y="5377"/>
                </a:cubicBezTo>
                <a:cubicBezTo>
                  <a:pt x="953679" y="17448"/>
                  <a:pt x="908412" y="55172"/>
                  <a:pt x="887287" y="86859"/>
                </a:cubicBezTo>
                <a:cubicBezTo>
                  <a:pt x="866162" y="118546"/>
                  <a:pt x="864653" y="174375"/>
                  <a:pt x="851073" y="195500"/>
                </a:cubicBezTo>
                <a:cubicBezTo>
                  <a:pt x="837493" y="216625"/>
                  <a:pt x="813350" y="228696"/>
                  <a:pt x="805806" y="213607"/>
                </a:cubicBezTo>
                <a:cubicBezTo>
                  <a:pt x="798262" y="198518"/>
                  <a:pt x="805806" y="104966"/>
                  <a:pt x="805806" y="104966"/>
                </a:cubicBezTo>
                <a:cubicBezTo>
                  <a:pt x="805806" y="76297"/>
                  <a:pt x="839002" y="53662"/>
                  <a:pt x="805806" y="41591"/>
                </a:cubicBezTo>
                <a:cubicBezTo>
                  <a:pt x="772610" y="29520"/>
                  <a:pt x="647370" y="29520"/>
                  <a:pt x="606629" y="32538"/>
                </a:cubicBezTo>
                <a:cubicBezTo>
                  <a:pt x="565888" y="35556"/>
                  <a:pt x="561362" y="32538"/>
                  <a:pt x="561362" y="59698"/>
                </a:cubicBezTo>
                <a:cubicBezTo>
                  <a:pt x="561362" y="86858"/>
                  <a:pt x="602102" y="168340"/>
                  <a:pt x="606629" y="195500"/>
                </a:cubicBezTo>
                <a:cubicBezTo>
                  <a:pt x="611156" y="222660"/>
                  <a:pt x="614174" y="218134"/>
                  <a:pt x="588522" y="222661"/>
                </a:cubicBezTo>
                <a:cubicBezTo>
                  <a:pt x="562870" y="227188"/>
                  <a:pt x="487425" y="219643"/>
                  <a:pt x="452720" y="222661"/>
                </a:cubicBezTo>
                <a:cubicBezTo>
                  <a:pt x="418015" y="225679"/>
                  <a:pt x="405945" y="245295"/>
                  <a:pt x="380293" y="240768"/>
                </a:cubicBezTo>
                <a:cubicBezTo>
                  <a:pt x="354641" y="236241"/>
                  <a:pt x="310882" y="189465"/>
                  <a:pt x="298811" y="195500"/>
                </a:cubicBezTo>
                <a:cubicBezTo>
                  <a:pt x="286740" y="201535"/>
                  <a:pt x="324463" y="289053"/>
                  <a:pt x="289758" y="304142"/>
                </a:cubicBezTo>
                <a:close/>
              </a:path>
            </a:pathLst>
          </a:custGeom>
          <a:solidFill>
            <a:srgbClr val="00B0F2"/>
          </a:solidFill>
          <a:ln w="19050" algn="ctr">
            <a:noFill/>
            <a:miter lim="800000"/>
            <a:headEnd/>
            <a:tailEnd/>
          </a:ln>
        </p:spPr>
        <p:txBody>
          <a:bodyPr wrap="square" lIns="0" tIns="0" rIns="0" bIns="0" rtlCol="0" anchor="ctr"/>
          <a:lstStyle/>
          <a:p>
            <a:pPr algn="ctr"/>
            <a:endParaRPr lang="en-US"/>
          </a:p>
        </p:txBody>
      </p:sp>
      <p:cxnSp>
        <p:nvCxnSpPr>
          <p:cNvPr id="12" name="Straight Connector 11">
            <a:extLst>
              <a:ext uri="{FF2B5EF4-FFF2-40B4-BE49-F238E27FC236}">
                <a16:creationId xmlns:a16="http://schemas.microsoft.com/office/drawing/2014/main" id="{C4C293E2-20F2-9C36-BE24-F4D3E9EF359B}"/>
              </a:ext>
            </a:extLst>
          </p:cNvPr>
          <p:cNvCxnSpPr/>
          <p:nvPr/>
        </p:nvCxnSpPr>
        <p:spPr>
          <a:xfrm flipV="1">
            <a:off x="11641761" y="3709347"/>
            <a:ext cx="0" cy="568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0D57FB21-DF1A-C360-1090-D0A9785270C5}"/>
              </a:ext>
            </a:extLst>
          </p:cNvPr>
          <p:cNvSpPr/>
          <p:nvPr/>
        </p:nvSpPr>
        <p:spPr bwMode="gray">
          <a:xfrm>
            <a:off x="11592033" y="4227754"/>
            <a:ext cx="108000" cy="108000"/>
          </a:xfrm>
          <a:prstGeom prst="ellipse">
            <a:avLst/>
          </a:prstGeom>
          <a:solidFill>
            <a:schemeClr val="tx1"/>
          </a:solidFill>
          <a:ln w="19050" algn="ctr">
            <a:noFill/>
            <a:miter lim="800000"/>
            <a:headEnd/>
            <a:tailEnd/>
          </a:ln>
        </p:spPr>
        <p:txBody>
          <a:bodyPr wrap="square" lIns="0" tIns="0" rIns="0" bIns="0" rtlCol="0" anchor="ctr"/>
          <a:lstStyle/>
          <a:p>
            <a:pPr algn="ctr"/>
            <a:endParaRPr lang="en-PL"/>
          </a:p>
        </p:txBody>
      </p:sp>
      <p:sp>
        <p:nvSpPr>
          <p:cNvPr id="17" name="Rectangle 16">
            <a:extLst>
              <a:ext uri="{FF2B5EF4-FFF2-40B4-BE49-F238E27FC236}">
                <a16:creationId xmlns:a16="http://schemas.microsoft.com/office/drawing/2014/main" id="{020C40ED-A5D9-0462-96A3-B8CAD011265D}"/>
              </a:ext>
            </a:extLst>
          </p:cNvPr>
          <p:cNvSpPr/>
          <p:nvPr/>
        </p:nvSpPr>
        <p:spPr>
          <a:xfrm>
            <a:off x="11315684" y="4321416"/>
            <a:ext cx="906006" cy="1839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o-RO" sz="600" i="1" u="none" strike="noStrike" kern="1200" cap="none" spc="300" normalizeH="0" baseline="0" noProof="0" dirty="0">
                <a:ln>
                  <a:noFill/>
                </a:ln>
                <a:effectLst/>
                <a:uLnTx/>
                <a:uFillTx/>
                <a:latin typeface="Open Sans"/>
              </a:rPr>
              <a:t>BUDPEST</a:t>
            </a:r>
            <a:endParaRPr kumimoji="0" lang="en-US" sz="600" i="1" u="none" strike="noStrike" kern="1200" cap="none" spc="300" normalizeH="0" baseline="0" noProof="0" dirty="0">
              <a:ln>
                <a:noFill/>
              </a:ln>
              <a:effectLst/>
              <a:uLnTx/>
              <a:uFillTx/>
              <a:latin typeface="Open Sans"/>
            </a:endParaRPr>
          </a:p>
        </p:txBody>
      </p:sp>
      <p:pic>
        <p:nvPicPr>
          <p:cNvPr id="18" name="Picture 4" descr="Hungary Large Flag | Gallery Yopriceville - High-Quality Free Images ...">
            <a:extLst>
              <a:ext uri="{FF2B5EF4-FFF2-40B4-BE49-F238E27FC236}">
                <a16:creationId xmlns:a16="http://schemas.microsoft.com/office/drawing/2014/main" id="{C9481C9E-FB88-AC2B-1ED1-06FFD4F72F55}"/>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639669" y="3704491"/>
            <a:ext cx="263227" cy="1755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8" name="Flowchart: Connector 27">
            <a:extLst>
              <a:ext uri="{FF2B5EF4-FFF2-40B4-BE49-F238E27FC236}">
                <a16:creationId xmlns:a16="http://schemas.microsoft.com/office/drawing/2014/main" id="{1F2885B0-90E4-FAAB-0F3E-8371C663758D}"/>
              </a:ext>
            </a:extLst>
          </p:cNvPr>
          <p:cNvSpPr/>
          <p:nvPr/>
        </p:nvSpPr>
        <p:spPr bwMode="gray">
          <a:xfrm>
            <a:off x="11043800" y="5284691"/>
            <a:ext cx="1170007" cy="1170007"/>
          </a:xfrm>
          <a:prstGeom prst="flowChartConnector">
            <a:avLst/>
          </a:prstGeom>
          <a:solidFill>
            <a:srgbClr val="B9F4F9"/>
          </a:solidFill>
          <a:ln w="19050" algn="ctr">
            <a:noFill/>
            <a:miter lim="800000"/>
            <a:headEnd/>
            <a:tailEnd/>
          </a:ln>
        </p:spPr>
        <p:txBody>
          <a:bodyPr wrap="square" lIns="0" tIns="0" rIns="0" bIns="0" rtlCol="0" anchor="ctr"/>
          <a:lstStyle/>
          <a:p>
            <a:pPr algn="ctr"/>
            <a:endParaRPr lang="en-US"/>
          </a:p>
        </p:txBody>
      </p:sp>
      <p:sp>
        <p:nvSpPr>
          <p:cNvPr id="29" name="Rectangle 28">
            <a:extLst>
              <a:ext uri="{FF2B5EF4-FFF2-40B4-BE49-F238E27FC236}">
                <a16:creationId xmlns:a16="http://schemas.microsoft.com/office/drawing/2014/main" id="{24D4F549-F006-45F7-B965-196A615E6FD7}"/>
              </a:ext>
            </a:extLst>
          </p:cNvPr>
          <p:cNvSpPr/>
          <p:nvPr/>
        </p:nvSpPr>
        <p:spPr>
          <a:xfrm>
            <a:off x="11270372" y="5563943"/>
            <a:ext cx="74599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i="1" spc="300" dirty="0">
                <a:solidFill>
                  <a:schemeClr val="bg1">
                    <a:lumMod val="50000"/>
                  </a:schemeClr>
                </a:solidFill>
                <a:latin typeface="Open Sans"/>
              </a:rPr>
              <a:t>+35</a:t>
            </a:r>
            <a:endParaRPr kumimoji="0" lang="en-US" b="1" i="1" u="none" strike="noStrike" kern="1200" cap="none" spc="300" normalizeH="0" baseline="0" noProof="0" dirty="0">
              <a:ln>
                <a:noFill/>
              </a:ln>
              <a:solidFill>
                <a:schemeClr val="bg1">
                  <a:lumMod val="50000"/>
                </a:schemeClr>
              </a:solidFill>
              <a:effectLst/>
              <a:uLnTx/>
              <a:uFillTx/>
              <a:latin typeface="Open Sans"/>
            </a:endParaRPr>
          </a:p>
        </p:txBody>
      </p:sp>
      <p:sp>
        <p:nvSpPr>
          <p:cNvPr id="31" name="Rectangle 30">
            <a:extLst>
              <a:ext uri="{FF2B5EF4-FFF2-40B4-BE49-F238E27FC236}">
                <a16:creationId xmlns:a16="http://schemas.microsoft.com/office/drawing/2014/main" id="{12F65FF1-BA8C-1034-1CEF-7C8A9E527C93}"/>
              </a:ext>
            </a:extLst>
          </p:cNvPr>
          <p:cNvSpPr/>
          <p:nvPr/>
        </p:nvSpPr>
        <p:spPr>
          <a:xfrm>
            <a:off x="11159174" y="5874426"/>
            <a:ext cx="122723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ro-RO" sz="800" i="1" spc="300" dirty="0">
                <a:solidFill>
                  <a:schemeClr val="bg1">
                    <a:lumMod val="50000"/>
                  </a:schemeClr>
                </a:solidFill>
                <a:latin typeface="Open Sans"/>
              </a:rPr>
              <a:t>EXPERTS IN CE REGION</a:t>
            </a:r>
            <a:endParaRPr kumimoji="0" lang="en-US" sz="800" i="1" u="none" strike="noStrike" kern="1200" cap="none" spc="300" normalizeH="0" baseline="0" noProof="0" dirty="0">
              <a:ln>
                <a:noFill/>
              </a:ln>
              <a:solidFill>
                <a:schemeClr val="bg1">
                  <a:lumMod val="50000"/>
                </a:schemeClr>
              </a:solidFill>
              <a:effectLst/>
              <a:uLnTx/>
              <a:uFillTx/>
              <a:latin typeface="Open Sans"/>
            </a:endParaRPr>
          </a:p>
        </p:txBody>
      </p:sp>
    </p:spTree>
    <p:extLst>
      <p:ext uri="{BB962C8B-B14F-4D97-AF65-F5344CB8AC3E}">
        <p14:creationId xmlns:p14="http://schemas.microsoft.com/office/powerpoint/2010/main" val="30187718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95F7E372-163A-BCAB-1934-121314425F33}"/>
              </a:ext>
            </a:extLst>
          </p:cNvPr>
          <p:cNvGraphicFramePr>
            <a:graphicFrameLocks noChangeAspect="1"/>
          </p:cNvGraphicFramePr>
          <p:nvPr>
            <p:custDataLst>
              <p:tags r:id="rId1"/>
            </p:custDataLst>
            <p:extLst>
              <p:ext uri="{D42A27DB-BD31-4B8C-83A1-F6EECF244321}">
                <p14:modId xmlns:p14="http://schemas.microsoft.com/office/powerpoint/2010/main" val="1909668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5" name="think-cell data - do not delete" hidden="1">
                        <a:extLst>
                          <a:ext uri="{FF2B5EF4-FFF2-40B4-BE49-F238E27FC236}">
                            <a16:creationId xmlns:a16="http://schemas.microsoft.com/office/drawing/2014/main" id="{95F7E372-163A-BCAB-1934-121314425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145">
            <a:extLst>
              <a:ext uri="{FF2B5EF4-FFF2-40B4-BE49-F238E27FC236}">
                <a16:creationId xmlns:a16="http://schemas.microsoft.com/office/drawing/2014/main" id="{7C2C4EEC-5135-69C7-8BAB-FA9F5B675B29}"/>
              </a:ext>
            </a:extLst>
          </p:cNvPr>
          <p:cNvSpPr>
            <a:spLocks/>
          </p:cNvSpPr>
          <p:nvPr/>
        </p:nvSpPr>
        <p:spPr bwMode="auto">
          <a:xfrm>
            <a:off x="2750972" y="2422631"/>
            <a:ext cx="613482" cy="443535"/>
          </a:xfrm>
          <a:custGeom>
            <a:avLst/>
            <a:gdLst>
              <a:gd name="T0" fmla="*/ 37 w 106"/>
              <a:gd name="T1" fmla="*/ 58 h 77"/>
              <a:gd name="T2" fmla="*/ 47 w 106"/>
              <a:gd name="T3" fmla="*/ 59 h 77"/>
              <a:gd name="T4" fmla="*/ 52 w 106"/>
              <a:gd name="T5" fmla="*/ 62 h 77"/>
              <a:gd name="T6" fmla="*/ 59 w 106"/>
              <a:gd name="T7" fmla="*/ 66 h 77"/>
              <a:gd name="T8" fmla="*/ 66 w 106"/>
              <a:gd name="T9" fmla="*/ 72 h 77"/>
              <a:gd name="T10" fmla="*/ 74 w 106"/>
              <a:gd name="T11" fmla="*/ 75 h 77"/>
              <a:gd name="T12" fmla="*/ 81 w 106"/>
              <a:gd name="T13" fmla="*/ 73 h 77"/>
              <a:gd name="T14" fmla="*/ 90 w 106"/>
              <a:gd name="T15" fmla="*/ 72 h 77"/>
              <a:gd name="T16" fmla="*/ 92 w 106"/>
              <a:gd name="T17" fmla="*/ 66 h 77"/>
              <a:gd name="T18" fmla="*/ 98 w 106"/>
              <a:gd name="T19" fmla="*/ 62 h 77"/>
              <a:gd name="T20" fmla="*/ 91 w 106"/>
              <a:gd name="T21" fmla="*/ 47 h 77"/>
              <a:gd name="T22" fmla="*/ 91 w 106"/>
              <a:gd name="T23" fmla="*/ 36 h 77"/>
              <a:gd name="T24" fmla="*/ 96 w 106"/>
              <a:gd name="T25" fmla="*/ 23 h 77"/>
              <a:gd name="T26" fmla="*/ 103 w 106"/>
              <a:gd name="T27" fmla="*/ 14 h 77"/>
              <a:gd name="T28" fmla="*/ 105 w 106"/>
              <a:gd name="T29" fmla="*/ 9 h 77"/>
              <a:gd name="T30" fmla="*/ 103 w 106"/>
              <a:gd name="T31" fmla="*/ 2 h 77"/>
              <a:gd name="T32" fmla="*/ 101 w 106"/>
              <a:gd name="T33" fmla="*/ 6 h 77"/>
              <a:gd name="T34" fmla="*/ 83 w 106"/>
              <a:gd name="T35" fmla="*/ 8 h 77"/>
              <a:gd name="T36" fmla="*/ 65 w 106"/>
              <a:gd name="T37" fmla="*/ 2 h 77"/>
              <a:gd name="T38" fmla="*/ 42 w 106"/>
              <a:gd name="T39" fmla="*/ 4 h 77"/>
              <a:gd name="T40" fmla="*/ 24 w 106"/>
              <a:gd name="T41" fmla="*/ 9 h 77"/>
              <a:gd name="T42" fmla="*/ 6 w 106"/>
              <a:gd name="T43" fmla="*/ 18 h 77"/>
              <a:gd name="T44" fmla="*/ 9 w 106"/>
              <a:gd name="T45" fmla="*/ 27 h 77"/>
              <a:gd name="T46" fmla="*/ 13 w 106"/>
              <a:gd name="T47" fmla="*/ 42 h 77"/>
              <a:gd name="T48" fmla="*/ 29 w 106"/>
              <a:gd name="T49" fmla="*/ 46 h 77"/>
              <a:gd name="T50" fmla="*/ 27 w 106"/>
              <a:gd name="T51" fmla="*/ 57 h 77"/>
              <a:gd name="T52" fmla="*/ 24 w 106"/>
              <a:gd name="T53" fmla="*/ 64 h 77"/>
              <a:gd name="T54" fmla="*/ 29 w 106"/>
              <a:gd name="T55" fmla="*/ 62 h 77"/>
              <a:gd name="T56" fmla="*/ 37 w 106"/>
              <a:gd name="T5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77">
                <a:moveTo>
                  <a:pt x="37" y="58"/>
                </a:moveTo>
                <a:cubicBezTo>
                  <a:pt x="40" y="57"/>
                  <a:pt x="45" y="57"/>
                  <a:pt x="47" y="59"/>
                </a:cubicBezTo>
                <a:cubicBezTo>
                  <a:pt x="49" y="61"/>
                  <a:pt x="49" y="61"/>
                  <a:pt x="52" y="62"/>
                </a:cubicBezTo>
                <a:cubicBezTo>
                  <a:pt x="56" y="62"/>
                  <a:pt x="57" y="65"/>
                  <a:pt x="59" y="66"/>
                </a:cubicBezTo>
                <a:cubicBezTo>
                  <a:pt x="62" y="68"/>
                  <a:pt x="64" y="70"/>
                  <a:pt x="66" y="72"/>
                </a:cubicBezTo>
                <a:cubicBezTo>
                  <a:pt x="67" y="73"/>
                  <a:pt x="71" y="77"/>
                  <a:pt x="74" y="75"/>
                </a:cubicBezTo>
                <a:cubicBezTo>
                  <a:pt x="77" y="73"/>
                  <a:pt x="78" y="73"/>
                  <a:pt x="81" y="73"/>
                </a:cubicBezTo>
                <a:cubicBezTo>
                  <a:pt x="83" y="74"/>
                  <a:pt x="87" y="73"/>
                  <a:pt x="90" y="72"/>
                </a:cubicBezTo>
                <a:cubicBezTo>
                  <a:pt x="89" y="69"/>
                  <a:pt x="89" y="68"/>
                  <a:pt x="92" y="66"/>
                </a:cubicBezTo>
                <a:cubicBezTo>
                  <a:pt x="95" y="65"/>
                  <a:pt x="100" y="67"/>
                  <a:pt x="98" y="62"/>
                </a:cubicBezTo>
                <a:cubicBezTo>
                  <a:pt x="96" y="58"/>
                  <a:pt x="90" y="52"/>
                  <a:pt x="91" y="47"/>
                </a:cubicBezTo>
                <a:cubicBezTo>
                  <a:pt x="91" y="43"/>
                  <a:pt x="92" y="41"/>
                  <a:pt x="91" y="36"/>
                </a:cubicBezTo>
                <a:cubicBezTo>
                  <a:pt x="90" y="31"/>
                  <a:pt x="92" y="26"/>
                  <a:pt x="96" y="23"/>
                </a:cubicBezTo>
                <a:cubicBezTo>
                  <a:pt x="101" y="20"/>
                  <a:pt x="100" y="15"/>
                  <a:pt x="103" y="14"/>
                </a:cubicBezTo>
                <a:cubicBezTo>
                  <a:pt x="106" y="13"/>
                  <a:pt x="106" y="11"/>
                  <a:pt x="105" y="9"/>
                </a:cubicBezTo>
                <a:cubicBezTo>
                  <a:pt x="104" y="7"/>
                  <a:pt x="105" y="4"/>
                  <a:pt x="103" y="2"/>
                </a:cubicBezTo>
                <a:cubicBezTo>
                  <a:pt x="102" y="3"/>
                  <a:pt x="102" y="4"/>
                  <a:pt x="101" y="6"/>
                </a:cubicBezTo>
                <a:cubicBezTo>
                  <a:pt x="100" y="10"/>
                  <a:pt x="90" y="8"/>
                  <a:pt x="83" y="8"/>
                </a:cubicBezTo>
                <a:cubicBezTo>
                  <a:pt x="77" y="7"/>
                  <a:pt x="72" y="4"/>
                  <a:pt x="65" y="2"/>
                </a:cubicBezTo>
                <a:cubicBezTo>
                  <a:pt x="58" y="0"/>
                  <a:pt x="47" y="3"/>
                  <a:pt x="42" y="4"/>
                </a:cubicBezTo>
                <a:cubicBezTo>
                  <a:pt x="37" y="4"/>
                  <a:pt x="28" y="2"/>
                  <a:pt x="24" y="9"/>
                </a:cubicBezTo>
                <a:cubicBezTo>
                  <a:pt x="20" y="15"/>
                  <a:pt x="12" y="17"/>
                  <a:pt x="6" y="18"/>
                </a:cubicBezTo>
                <a:cubicBezTo>
                  <a:pt x="0" y="20"/>
                  <a:pt x="5" y="23"/>
                  <a:pt x="9" y="27"/>
                </a:cubicBezTo>
                <a:cubicBezTo>
                  <a:pt x="12" y="31"/>
                  <a:pt x="11" y="36"/>
                  <a:pt x="13" y="42"/>
                </a:cubicBezTo>
                <a:cubicBezTo>
                  <a:pt x="16" y="47"/>
                  <a:pt x="22" y="46"/>
                  <a:pt x="29" y="46"/>
                </a:cubicBezTo>
                <a:cubicBezTo>
                  <a:pt x="36" y="46"/>
                  <a:pt x="31" y="51"/>
                  <a:pt x="27" y="57"/>
                </a:cubicBezTo>
                <a:cubicBezTo>
                  <a:pt x="25" y="61"/>
                  <a:pt x="24" y="62"/>
                  <a:pt x="24" y="64"/>
                </a:cubicBezTo>
                <a:cubicBezTo>
                  <a:pt x="26" y="63"/>
                  <a:pt x="28" y="63"/>
                  <a:pt x="29" y="62"/>
                </a:cubicBezTo>
                <a:cubicBezTo>
                  <a:pt x="31" y="61"/>
                  <a:pt x="33" y="59"/>
                  <a:pt x="37" y="58"/>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5" name="Freeform 102">
            <a:extLst>
              <a:ext uri="{FF2B5EF4-FFF2-40B4-BE49-F238E27FC236}">
                <a16:creationId xmlns:a16="http://schemas.microsoft.com/office/drawing/2014/main" id="{20860081-FD62-633A-2776-2188E45BB459}"/>
              </a:ext>
            </a:extLst>
          </p:cNvPr>
          <p:cNvSpPr>
            <a:spLocks/>
          </p:cNvSpPr>
          <p:nvPr/>
        </p:nvSpPr>
        <p:spPr bwMode="auto">
          <a:xfrm>
            <a:off x="2478752" y="2750376"/>
            <a:ext cx="879783" cy="478860"/>
          </a:xfrm>
          <a:custGeom>
            <a:avLst/>
            <a:gdLst>
              <a:gd name="T0" fmla="*/ 151 w 152"/>
              <a:gd name="T1" fmla="*/ 64 h 83"/>
              <a:gd name="T2" fmla="*/ 148 w 152"/>
              <a:gd name="T3" fmla="*/ 50 h 83"/>
              <a:gd name="T4" fmla="*/ 144 w 152"/>
              <a:gd name="T5" fmla="*/ 41 h 83"/>
              <a:gd name="T6" fmla="*/ 143 w 152"/>
              <a:gd name="T7" fmla="*/ 32 h 83"/>
              <a:gd name="T8" fmla="*/ 144 w 152"/>
              <a:gd name="T9" fmla="*/ 25 h 83"/>
              <a:gd name="T10" fmla="*/ 137 w 152"/>
              <a:gd name="T11" fmla="*/ 17 h 83"/>
              <a:gd name="T12" fmla="*/ 137 w 152"/>
              <a:gd name="T13" fmla="*/ 15 h 83"/>
              <a:gd name="T14" fmla="*/ 128 w 152"/>
              <a:gd name="T15" fmla="*/ 16 h 83"/>
              <a:gd name="T16" fmla="*/ 121 w 152"/>
              <a:gd name="T17" fmla="*/ 18 h 83"/>
              <a:gd name="T18" fmla="*/ 113 w 152"/>
              <a:gd name="T19" fmla="*/ 15 h 83"/>
              <a:gd name="T20" fmla="*/ 106 w 152"/>
              <a:gd name="T21" fmla="*/ 9 h 83"/>
              <a:gd name="T22" fmla="*/ 99 w 152"/>
              <a:gd name="T23" fmla="*/ 5 h 83"/>
              <a:gd name="T24" fmla="*/ 94 w 152"/>
              <a:gd name="T25" fmla="*/ 2 h 83"/>
              <a:gd name="T26" fmla="*/ 84 w 152"/>
              <a:gd name="T27" fmla="*/ 1 h 83"/>
              <a:gd name="T28" fmla="*/ 76 w 152"/>
              <a:gd name="T29" fmla="*/ 5 h 83"/>
              <a:gd name="T30" fmla="*/ 71 w 152"/>
              <a:gd name="T31" fmla="*/ 7 h 83"/>
              <a:gd name="T32" fmla="*/ 72 w 152"/>
              <a:gd name="T33" fmla="*/ 11 h 83"/>
              <a:gd name="T34" fmla="*/ 73 w 152"/>
              <a:gd name="T35" fmla="*/ 30 h 83"/>
              <a:gd name="T36" fmla="*/ 56 w 152"/>
              <a:gd name="T37" fmla="*/ 34 h 83"/>
              <a:gd name="T38" fmla="*/ 37 w 152"/>
              <a:gd name="T39" fmla="*/ 15 h 83"/>
              <a:gd name="T40" fmla="*/ 20 w 152"/>
              <a:gd name="T41" fmla="*/ 14 h 83"/>
              <a:gd name="T42" fmla="*/ 14 w 152"/>
              <a:gd name="T43" fmla="*/ 29 h 83"/>
              <a:gd name="T44" fmla="*/ 3 w 152"/>
              <a:gd name="T45" fmla="*/ 46 h 83"/>
              <a:gd name="T46" fmla="*/ 3 w 152"/>
              <a:gd name="T47" fmla="*/ 66 h 83"/>
              <a:gd name="T48" fmla="*/ 3 w 152"/>
              <a:gd name="T49" fmla="*/ 69 h 83"/>
              <a:gd name="T50" fmla="*/ 6 w 152"/>
              <a:gd name="T51" fmla="*/ 66 h 83"/>
              <a:gd name="T52" fmla="*/ 14 w 152"/>
              <a:gd name="T53" fmla="*/ 61 h 83"/>
              <a:gd name="T54" fmla="*/ 20 w 152"/>
              <a:gd name="T55" fmla="*/ 58 h 83"/>
              <a:gd name="T56" fmla="*/ 28 w 152"/>
              <a:gd name="T57" fmla="*/ 56 h 83"/>
              <a:gd name="T58" fmla="*/ 40 w 152"/>
              <a:gd name="T59" fmla="*/ 57 h 83"/>
              <a:gd name="T60" fmla="*/ 47 w 152"/>
              <a:gd name="T61" fmla="*/ 59 h 83"/>
              <a:gd name="T62" fmla="*/ 53 w 152"/>
              <a:gd name="T63" fmla="*/ 59 h 83"/>
              <a:gd name="T64" fmla="*/ 61 w 152"/>
              <a:gd name="T65" fmla="*/ 60 h 83"/>
              <a:gd name="T66" fmla="*/ 71 w 152"/>
              <a:gd name="T67" fmla="*/ 60 h 83"/>
              <a:gd name="T68" fmla="*/ 79 w 152"/>
              <a:gd name="T69" fmla="*/ 59 h 83"/>
              <a:gd name="T70" fmla="*/ 86 w 152"/>
              <a:gd name="T71" fmla="*/ 58 h 83"/>
              <a:gd name="T72" fmla="*/ 91 w 152"/>
              <a:gd name="T73" fmla="*/ 64 h 83"/>
              <a:gd name="T74" fmla="*/ 98 w 152"/>
              <a:gd name="T75" fmla="*/ 66 h 83"/>
              <a:gd name="T76" fmla="*/ 105 w 152"/>
              <a:gd name="T77" fmla="*/ 71 h 83"/>
              <a:gd name="T78" fmla="*/ 112 w 152"/>
              <a:gd name="T79" fmla="*/ 76 h 83"/>
              <a:gd name="T80" fmla="*/ 117 w 152"/>
              <a:gd name="T81" fmla="*/ 82 h 83"/>
              <a:gd name="T82" fmla="*/ 122 w 152"/>
              <a:gd name="T83" fmla="*/ 83 h 83"/>
              <a:gd name="T84" fmla="*/ 123 w 152"/>
              <a:gd name="T85" fmla="*/ 80 h 83"/>
              <a:gd name="T86" fmla="*/ 132 w 152"/>
              <a:gd name="T87" fmla="*/ 76 h 83"/>
              <a:gd name="T88" fmla="*/ 141 w 152"/>
              <a:gd name="T89" fmla="*/ 76 h 83"/>
              <a:gd name="T90" fmla="*/ 147 w 152"/>
              <a:gd name="T91" fmla="*/ 67 h 83"/>
              <a:gd name="T92" fmla="*/ 152 w 152"/>
              <a:gd name="T93" fmla="*/ 65 h 83"/>
              <a:gd name="T94" fmla="*/ 151 w 152"/>
              <a:gd name="T95" fmla="*/ 6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 h="83">
                <a:moveTo>
                  <a:pt x="151" y="64"/>
                </a:moveTo>
                <a:cubicBezTo>
                  <a:pt x="151" y="59"/>
                  <a:pt x="152" y="55"/>
                  <a:pt x="148" y="50"/>
                </a:cubicBezTo>
                <a:cubicBezTo>
                  <a:pt x="145" y="46"/>
                  <a:pt x="146" y="43"/>
                  <a:pt x="144" y="41"/>
                </a:cubicBezTo>
                <a:cubicBezTo>
                  <a:pt x="142" y="38"/>
                  <a:pt x="142" y="35"/>
                  <a:pt x="143" y="32"/>
                </a:cubicBezTo>
                <a:cubicBezTo>
                  <a:pt x="145" y="29"/>
                  <a:pt x="147" y="27"/>
                  <a:pt x="144" y="25"/>
                </a:cubicBezTo>
                <a:cubicBezTo>
                  <a:pt x="141" y="22"/>
                  <a:pt x="137" y="21"/>
                  <a:pt x="137" y="17"/>
                </a:cubicBezTo>
                <a:cubicBezTo>
                  <a:pt x="137" y="16"/>
                  <a:pt x="137" y="16"/>
                  <a:pt x="137" y="15"/>
                </a:cubicBezTo>
                <a:cubicBezTo>
                  <a:pt x="134" y="16"/>
                  <a:pt x="130" y="17"/>
                  <a:pt x="128" y="16"/>
                </a:cubicBezTo>
                <a:cubicBezTo>
                  <a:pt x="125" y="16"/>
                  <a:pt x="124" y="16"/>
                  <a:pt x="121" y="18"/>
                </a:cubicBezTo>
                <a:cubicBezTo>
                  <a:pt x="118" y="20"/>
                  <a:pt x="114" y="16"/>
                  <a:pt x="113" y="15"/>
                </a:cubicBezTo>
                <a:cubicBezTo>
                  <a:pt x="111" y="13"/>
                  <a:pt x="109" y="11"/>
                  <a:pt x="106" y="9"/>
                </a:cubicBezTo>
                <a:cubicBezTo>
                  <a:pt x="104" y="8"/>
                  <a:pt x="103" y="5"/>
                  <a:pt x="99" y="5"/>
                </a:cubicBezTo>
                <a:cubicBezTo>
                  <a:pt x="96" y="4"/>
                  <a:pt x="96" y="4"/>
                  <a:pt x="94" y="2"/>
                </a:cubicBezTo>
                <a:cubicBezTo>
                  <a:pt x="92" y="0"/>
                  <a:pt x="87" y="0"/>
                  <a:pt x="84" y="1"/>
                </a:cubicBezTo>
                <a:cubicBezTo>
                  <a:pt x="80" y="2"/>
                  <a:pt x="78" y="4"/>
                  <a:pt x="76" y="5"/>
                </a:cubicBezTo>
                <a:cubicBezTo>
                  <a:pt x="75" y="6"/>
                  <a:pt x="73" y="6"/>
                  <a:pt x="71" y="7"/>
                </a:cubicBezTo>
                <a:cubicBezTo>
                  <a:pt x="71" y="8"/>
                  <a:pt x="72" y="9"/>
                  <a:pt x="72" y="11"/>
                </a:cubicBezTo>
                <a:cubicBezTo>
                  <a:pt x="74" y="16"/>
                  <a:pt x="75" y="23"/>
                  <a:pt x="73" y="30"/>
                </a:cubicBezTo>
                <a:cubicBezTo>
                  <a:pt x="71" y="38"/>
                  <a:pt x="61" y="36"/>
                  <a:pt x="56" y="34"/>
                </a:cubicBezTo>
                <a:cubicBezTo>
                  <a:pt x="51" y="33"/>
                  <a:pt x="43" y="25"/>
                  <a:pt x="37" y="15"/>
                </a:cubicBezTo>
                <a:cubicBezTo>
                  <a:pt x="31" y="5"/>
                  <a:pt x="24" y="11"/>
                  <a:pt x="20" y="14"/>
                </a:cubicBezTo>
                <a:cubicBezTo>
                  <a:pt x="15" y="16"/>
                  <a:pt x="14" y="20"/>
                  <a:pt x="14" y="29"/>
                </a:cubicBezTo>
                <a:cubicBezTo>
                  <a:pt x="14" y="38"/>
                  <a:pt x="7" y="40"/>
                  <a:pt x="3" y="46"/>
                </a:cubicBezTo>
                <a:cubicBezTo>
                  <a:pt x="0" y="52"/>
                  <a:pt x="2" y="57"/>
                  <a:pt x="3" y="66"/>
                </a:cubicBezTo>
                <a:cubicBezTo>
                  <a:pt x="3" y="67"/>
                  <a:pt x="3" y="68"/>
                  <a:pt x="3" y="69"/>
                </a:cubicBezTo>
                <a:cubicBezTo>
                  <a:pt x="4" y="68"/>
                  <a:pt x="6" y="67"/>
                  <a:pt x="6" y="66"/>
                </a:cubicBezTo>
                <a:cubicBezTo>
                  <a:pt x="8" y="64"/>
                  <a:pt x="11" y="61"/>
                  <a:pt x="14" y="61"/>
                </a:cubicBezTo>
                <a:cubicBezTo>
                  <a:pt x="17" y="60"/>
                  <a:pt x="18" y="60"/>
                  <a:pt x="20" y="58"/>
                </a:cubicBezTo>
                <a:cubicBezTo>
                  <a:pt x="22" y="57"/>
                  <a:pt x="24" y="56"/>
                  <a:pt x="28" y="56"/>
                </a:cubicBezTo>
                <a:cubicBezTo>
                  <a:pt x="31" y="56"/>
                  <a:pt x="37" y="55"/>
                  <a:pt x="40" y="57"/>
                </a:cubicBezTo>
                <a:cubicBezTo>
                  <a:pt x="42" y="60"/>
                  <a:pt x="46" y="60"/>
                  <a:pt x="47" y="59"/>
                </a:cubicBezTo>
                <a:cubicBezTo>
                  <a:pt x="48" y="58"/>
                  <a:pt x="51" y="58"/>
                  <a:pt x="53" y="59"/>
                </a:cubicBezTo>
                <a:cubicBezTo>
                  <a:pt x="55" y="60"/>
                  <a:pt x="59" y="61"/>
                  <a:pt x="61" y="60"/>
                </a:cubicBezTo>
                <a:cubicBezTo>
                  <a:pt x="62" y="60"/>
                  <a:pt x="69" y="60"/>
                  <a:pt x="71" y="60"/>
                </a:cubicBezTo>
                <a:cubicBezTo>
                  <a:pt x="74" y="60"/>
                  <a:pt x="78" y="61"/>
                  <a:pt x="79" y="59"/>
                </a:cubicBezTo>
                <a:cubicBezTo>
                  <a:pt x="80" y="57"/>
                  <a:pt x="83" y="54"/>
                  <a:pt x="86" y="58"/>
                </a:cubicBezTo>
                <a:cubicBezTo>
                  <a:pt x="88" y="63"/>
                  <a:pt x="88" y="64"/>
                  <a:pt x="91" y="64"/>
                </a:cubicBezTo>
                <a:cubicBezTo>
                  <a:pt x="93" y="65"/>
                  <a:pt x="95" y="66"/>
                  <a:pt x="98" y="66"/>
                </a:cubicBezTo>
                <a:cubicBezTo>
                  <a:pt x="100" y="66"/>
                  <a:pt x="102" y="67"/>
                  <a:pt x="105" y="71"/>
                </a:cubicBezTo>
                <a:cubicBezTo>
                  <a:pt x="108" y="74"/>
                  <a:pt x="111" y="75"/>
                  <a:pt x="112" y="76"/>
                </a:cubicBezTo>
                <a:cubicBezTo>
                  <a:pt x="113" y="78"/>
                  <a:pt x="116" y="81"/>
                  <a:pt x="117" y="82"/>
                </a:cubicBezTo>
                <a:cubicBezTo>
                  <a:pt x="117" y="82"/>
                  <a:pt x="119" y="83"/>
                  <a:pt x="122" y="83"/>
                </a:cubicBezTo>
                <a:cubicBezTo>
                  <a:pt x="122" y="83"/>
                  <a:pt x="123" y="82"/>
                  <a:pt x="123" y="80"/>
                </a:cubicBezTo>
                <a:cubicBezTo>
                  <a:pt x="124" y="78"/>
                  <a:pt x="128" y="75"/>
                  <a:pt x="132" y="76"/>
                </a:cubicBezTo>
                <a:cubicBezTo>
                  <a:pt x="136" y="76"/>
                  <a:pt x="135" y="82"/>
                  <a:pt x="141" y="76"/>
                </a:cubicBezTo>
                <a:cubicBezTo>
                  <a:pt x="146" y="70"/>
                  <a:pt x="144" y="69"/>
                  <a:pt x="147" y="67"/>
                </a:cubicBezTo>
                <a:cubicBezTo>
                  <a:pt x="149" y="67"/>
                  <a:pt x="150" y="66"/>
                  <a:pt x="152" y="65"/>
                </a:cubicBezTo>
                <a:cubicBezTo>
                  <a:pt x="152" y="65"/>
                  <a:pt x="151" y="65"/>
                  <a:pt x="151" y="64"/>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6" name="Freeform 103">
            <a:extLst>
              <a:ext uri="{FF2B5EF4-FFF2-40B4-BE49-F238E27FC236}">
                <a16:creationId xmlns:a16="http://schemas.microsoft.com/office/drawing/2014/main" id="{59063123-CA5A-3413-72D7-7CED2D059C34}"/>
              </a:ext>
            </a:extLst>
          </p:cNvPr>
          <p:cNvSpPr>
            <a:spLocks/>
          </p:cNvSpPr>
          <p:nvPr/>
        </p:nvSpPr>
        <p:spPr bwMode="auto">
          <a:xfrm>
            <a:off x="2484669" y="3062420"/>
            <a:ext cx="700277" cy="500449"/>
          </a:xfrm>
          <a:custGeom>
            <a:avLst/>
            <a:gdLst>
              <a:gd name="T0" fmla="*/ 118 w 121"/>
              <a:gd name="T1" fmla="*/ 38 h 87"/>
              <a:gd name="T2" fmla="*/ 118 w 121"/>
              <a:gd name="T3" fmla="*/ 31 h 87"/>
              <a:gd name="T4" fmla="*/ 121 w 121"/>
              <a:gd name="T5" fmla="*/ 29 h 87"/>
              <a:gd name="T6" fmla="*/ 116 w 121"/>
              <a:gd name="T7" fmla="*/ 28 h 87"/>
              <a:gd name="T8" fmla="*/ 111 w 121"/>
              <a:gd name="T9" fmla="*/ 22 h 87"/>
              <a:gd name="T10" fmla="*/ 104 w 121"/>
              <a:gd name="T11" fmla="*/ 17 h 87"/>
              <a:gd name="T12" fmla="*/ 97 w 121"/>
              <a:gd name="T13" fmla="*/ 12 h 87"/>
              <a:gd name="T14" fmla="*/ 90 w 121"/>
              <a:gd name="T15" fmla="*/ 10 h 87"/>
              <a:gd name="T16" fmla="*/ 85 w 121"/>
              <a:gd name="T17" fmla="*/ 4 h 87"/>
              <a:gd name="T18" fmla="*/ 78 w 121"/>
              <a:gd name="T19" fmla="*/ 5 h 87"/>
              <a:gd name="T20" fmla="*/ 70 w 121"/>
              <a:gd name="T21" fmla="*/ 6 h 87"/>
              <a:gd name="T22" fmla="*/ 60 w 121"/>
              <a:gd name="T23" fmla="*/ 6 h 87"/>
              <a:gd name="T24" fmla="*/ 52 w 121"/>
              <a:gd name="T25" fmla="*/ 5 h 87"/>
              <a:gd name="T26" fmla="*/ 46 w 121"/>
              <a:gd name="T27" fmla="*/ 5 h 87"/>
              <a:gd name="T28" fmla="*/ 39 w 121"/>
              <a:gd name="T29" fmla="*/ 3 h 87"/>
              <a:gd name="T30" fmla="*/ 27 w 121"/>
              <a:gd name="T31" fmla="*/ 2 h 87"/>
              <a:gd name="T32" fmla="*/ 19 w 121"/>
              <a:gd name="T33" fmla="*/ 4 h 87"/>
              <a:gd name="T34" fmla="*/ 13 w 121"/>
              <a:gd name="T35" fmla="*/ 7 h 87"/>
              <a:gd name="T36" fmla="*/ 5 w 121"/>
              <a:gd name="T37" fmla="*/ 12 h 87"/>
              <a:gd name="T38" fmla="*/ 2 w 121"/>
              <a:gd name="T39" fmla="*/ 15 h 87"/>
              <a:gd name="T40" fmla="*/ 4 w 121"/>
              <a:gd name="T41" fmla="*/ 28 h 87"/>
              <a:gd name="T42" fmla="*/ 0 w 121"/>
              <a:gd name="T43" fmla="*/ 40 h 87"/>
              <a:gd name="T44" fmla="*/ 0 w 121"/>
              <a:gd name="T45" fmla="*/ 40 h 87"/>
              <a:gd name="T46" fmla="*/ 4 w 121"/>
              <a:gd name="T47" fmla="*/ 40 h 87"/>
              <a:gd name="T48" fmla="*/ 8 w 121"/>
              <a:gd name="T49" fmla="*/ 42 h 87"/>
              <a:gd name="T50" fmla="*/ 13 w 121"/>
              <a:gd name="T51" fmla="*/ 43 h 87"/>
              <a:gd name="T52" fmla="*/ 20 w 121"/>
              <a:gd name="T53" fmla="*/ 48 h 87"/>
              <a:gd name="T54" fmla="*/ 28 w 121"/>
              <a:gd name="T55" fmla="*/ 48 h 87"/>
              <a:gd name="T56" fmla="*/ 37 w 121"/>
              <a:gd name="T57" fmla="*/ 51 h 87"/>
              <a:gd name="T58" fmla="*/ 39 w 121"/>
              <a:gd name="T59" fmla="*/ 60 h 87"/>
              <a:gd name="T60" fmla="*/ 38 w 121"/>
              <a:gd name="T61" fmla="*/ 70 h 87"/>
              <a:gd name="T62" fmla="*/ 47 w 121"/>
              <a:gd name="T63" fmla="*/ 73 h 87"/>
              <a:gd name="T64" fmla="*/ 52 w 121"/>
              <a:gd name="T65" fmla="*/ 78 h 87"/>
              <a:gd name="T66" fmla="*/ 56 w 121"/>
              <a:gd name="T67" fmla="*/ 87 h 87"/>
              <a:gd name="T68" fmla="*/ 61 w 121"/>
              <a:gd name="T69" fmla="*/ 86 h 87"/>
              <a:gd name="T70" fmla="*/ 78 w 121"/>
              <a:gd name="T71" fmla="*/ 85 h 87"/>
              <a:gd name="T72" fmla="*/ 88 w 121"/>
              <a:gd name="T73" fmla="*/ 77 h 87"/>
              <a:gd name="T74" fmla="*/ 95 w 121"/>
              <a:gd name="T75" fmla="*/ 79 h 87"/>
              <a:gd name="T76" fmla="*/ 101 w 121"/>
              <a:gd name="T77" fmla="*/ 78 h 87"/>
              <a:gd name="T78" fmla="*/ 98 w 121"/>
              <a:gd name="T79" fmla="*/ 71 h 87"/>
              <a:gd name="T80" fmla="*/ 99 w 121"/>
              <a:gd name="T81" fmla="*/ 60 h 87"/>
              <a:gd name="T82" fmla="*/ 105 w 121"/>
              <a:gd name="T83" fmla="*/ 52 h 87"/>
              <a:gd name="T84" fmla="*/ 112 w 121"/>
              <a:gd name="T85" fmla="*/ 47 h 87"/>
              <a:gd name="T86" fmla="*/ 121 w 121"/>
              <a:gd name="T87" fmla="*/ 43 h 87"/>
              <a:gd name="T88" fmla="*/ 118 w 121"/>
              <a:gd name="T89"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87">
                <a:moveTo>
                  <a:pt x="118" y="38"/>
                </a:moveTo>
                <a:cubicBezTo>
                  <a:pt x="116" y="37"/>
                  <a:pt x="115" y="33"/>
                  <a:pt x="118" y="31"/>
                </a:cubicBezTo>
                <a:cubicBezTo>
                  <a:pt x="119" y="31"/>
                  <a:pt x="120" y="30"/>
                  <a:pt x="121" y="29"/>
                </a:cubicBezTo>
                <a:cubicBezTo>
                  <a:pt x="118" y="29"/>
                  <a:pt x="116" y="28"/>
                  <a:pt x="116" y="28"/>
                </a:cubicBezTo>
                <a:cubicBezTo>
                  <a:pt x="115" y="27"/>
                  <a:pt x="112" y="24"/>
                  <a:pt x="111" y="22"/>
                </a:cubicBezTo>
                <a:cubicBezTo>
                  <a:pt x="110" y="21"/>
                  <a:pt x="107" y="20"/>
                  <a:pt x="104" y="17"/>
                </a:cubicBezTo>
                <a:cubicBezTo>
                  <a:pt x="101" y="13"/>
                  <a:pt x="99" y="12"/>
                  <a:pt x="97" y="12"/>
                </a:cubicBezTo>
                <a:cubicBezTo>
                  <a:pt x="94" y="12"/>
                  <a:pt x="92" y="11"/>
                  <a:pt x="90" y="10"/>
                </a:cubicBezTo>
                <a:cubicBezTo>
                  <a:pt x="87" y="10"/>
                  <a:pt x="87" y="9"/>
                  <a:pt x="85" y="4"/>
                </a:cubicBezTo>
                <a:cubicBezTo>
                  <a:pt x="82" y="0"/>
                  <a:pt x="79" y="3"/>
                  <a:pt x="78" y="5"/>
                </a:cubicBezTo>
                <a:cubicBezTo>
                  <a:pt x="77" y="7"/>
                  <a:pt x="73" y="6"/>
                  <a:pt x="70" y="6"/>
                </a:cubicBezTo>
                <a:cubicBezTo>
                  <a:pt x="68" y="6"/>
                  <a:pt x="61" y="6"/>
                  <a:pt x="60" y="6"/>
                </a:cubicBezTo>
                <a:cubicBezTo>
                  <a:pt x="58" y="7"/>
                  <a:pt x="54" y="6"/>
                  <a:pt x="52" y="5"/>
                </a:cubicBezTo>
                <a:cubicBezTo>
                  <a:pt x="50" y="4"/>
                  <a:pt x="47" y="4"/>
                  <a:pt x="46" y="5"/>
                </a:cubicBezTo>
                <a:cubicBezTo>
                  <a:pt x="45" y="6"/>
                  <a:pt x="41" y="6"/>
                  <a:pt x="39" y="3"/>
                </a:cubicBezTo>
                <a:cubicBezTo>
                  <a:pt x="36" y="1"/>
                  <a:pt x="30" y="2"/>
                  <a:pt x="27" y="2"/>
                </a:cubicBezTo>
                <a:cubicBezTo>
                  <a:pt x="23" y="2"/>
                  <a:pt x="21" y="3"/>
                  <a:pt x="19" y="4"/>
                </a:cubicBezTo>
                <a:cubicBezTo>
                  <a:pt x="17" y="6"/>
                  <a:pt x="16" y="6"/>
                  <a:pt x="13" y="7"/>
                </a:cubicBezTo>
                <a:cubicBezTo>
                  <a:pt x="10" y="7"/>
                  <a:pt x="7" y="10"/>
                  <a:pt x="5" y="12"/>
                </a:cubicBezTo>
                <a:cubicBezTo>
                  <a:pt x="5" y="13"/>
                  <a:pt x="3" y="14"/>
                  <a:pt x="2" y="15"/>
                </a:cubicBezTo>
                <a:cubicBezTo>
                  <a:pt x="3" y="21"/>
                  <a:pt x="3" y="20"/>
                  <a:pt x="4" y="28"/>
                </a:cubicBezTo>
                <a:cubicBezTo>
                  <a:pt x="4" y="37"/>
                  <a:pt x="1" y="33"/>
                  <a:pt x="0" y="40"/>
                </a:cubicBezTo>
                <a:cubicBezTo>
                  <a:pt x="0" y="40"/>
                  <a:pt x="0" y="40"/>
                  <a:pt x="0" y="40"/>
                </a:cubicBezTo>
                <a:cubicBezTo>
                  <a:pt x="1" y="40"/>
                  <a:pt x="3" y="40"/>
                  <a:pt x="4" y="40"/>
                </a:cubicBezTo>
                <a:cubicBezTo>
                  <a:pt x="6" y="42"/>
                  <a:pt x="7" y="43"/>
                  <a:pt x="8" y="42"/>
                </a:cubicBezTo>
                <a:cubicBezTo>
                  <a:pt x="9" y="41"/>
                  <a:pt x="12" y="41"/>
                  <a:pt x="13" y="43"/>
                </a:cubicBezTo>
                <a:cubicBezTo>
                  <a:pt x="14" y="45"/>
                  <a:pt x="18" y="49"/>
                  <a:pt x="20" y="48"/>
                </a:cubicBezTo>
                <a:cubicBezTo>
                  <a:pt x="23" y="48"/>
                  <a:pt x="25" y="48"/>
                  <a:pt x="28" y="48"/>
                </a:cubicBezTo>
                <a:cubicBezTo>
                  <a:pt x="30" y="48"/>
                  <a:pt x="35" y="49"/>
                  <a:pt x="37" y="51"/>
                </a:cubicBezTo>
                <a:cubicBezTo>
                  <a:pt x="39" y="54"/>
                  <a:pt x="40" y="56"/>
                  <a:pt x="39" y="60"/>
                </a:cubicBezTo>
                <a:cubicBezTo>
                  <a:pt x="38" y="64"/>
                  <a:pt x="36" y="68"/>
                  <a:pt x="38" y="70"/>
                </a:cubicBezTo>
                <a:cubicBezTo>
                  <a:pt x="41" y="71"/>
                  <a:pt x="44" y="70"/>
                  <a:pt x="47" y="73"/>
                </a:cubicBezTo>
                <a:cubicBezTo>
                  <a:pt x="49" y="75"/>
                  <a:pt x="52" y="76"/>
                  <a:pt x="52" y="78"/>
                </a:cubicBezTo>
                <a:cubicBezTo>
                  <a:pt x="53" y="80"/>
                  <a:pt x="53" y="84"/>
                  <a:pt x="56" y="87"/>
                </a:cubicBezTo>
                <a:cubicBezTo>
                  <a:pt x="57" y="86"/>
                  <a:pt x="58" y="86"/>
                  <a:pt x="61" y="86"/>
                </a:cubicBezTo>
                <a:cubicBezTo>
                  <a:pt x="68" y="86"/>
                  <a:pt x="75" y="87"/>
                  <a:pt x="78" y="85"/>
                </a:cubicBezTo>
                <a:cubicBezTo>
                  <a:pt x="82" y="82"/>
                  <a:pt x="85" y="78"/>
                  <a:pt x="88" y="77"/>
                </a:cubicBezTo>
                <a:cubicBezTo>
                  <a:pt x="91" y="77"/>
                  <a:pt x="93" y="78"/>
                  <a:pt x="95" y="79"/>
                </a:cubicBezTo>
                <a:cubicBezTo>
                  <a:pt x="98" y="80"/>
                  <a:pt x="100" y="79"/>
                  <a:pt x="101" y="78"/>
                </a:cubicBezTo>
                <a:cubicBezTo>
                  <a:pt x="102" y="76"/>
                  <a:pt x="98" y="75"/>
                  <a:pt x="98" y="71"/>
                </a:cubicBezTo>
                <a:cubicBezTo>
                  <a:pt x="98" y="67"/>
                  <a:pt x="98" y="64"/>
                  <a:pt x="99" y="60"/>
                </a:cubicBezTo>
                <a:cubicBezTo>
                  <a:pt x="101" y="56"/>
                  <a:pt x="102" y="52"/>
                  <a:pt x="105" y="52"/>
                </a:cubicBezTo>
                <a:cubicBezTo>
                  <a:pt x="108" y="52"/>
                  <a:pt x="109" y="47"/>
                  <a:pt x="112" y="47"/>
                </a:cubicBezTo>
                <a:cubicBezTo>
                  <a:pt x="115" y="47"/>
                  <a:pt x="120" y="45"/>
                  <a:pt x="121" y="43"/>
                </a:cubicBezTo>
                <a:cubicBezTo>
                  <a:pt x="121" y="40"/>
                  <a:pt x="120" y="39"/>
                  <a:pt x="118" y="38"/>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7" name="Freeform 106">
            <a:extLst>
              <a:ext uri="{FF2B5EF4-FFF2-40B4-BE49-F238E27FC236}">
                <a16:creationId xmlns:a16="http://schemas.microsoft.com/office/drawing/2014/main" id="{F6936167-6F85-2E76-92DC-2D010386ECC9}"/>
              </a:ext>
            </a:extLst>
          </p:cNvPr>
          <p:cNvSpPr>
            <a:spLocks/>
          </p:cNvSpPr>
          <p:nvPr/>
        </p:nvSpPr>
        <p:spPr bwMode="auto">
          <a:xfrm>
            <a:off x="3196781" y="4550027"/>
            <a:ext cx="380714" cy="541662"/>
          </a:xfrm>
          <a:custGeom>
            <a:avLst/>
            <a:gdLst>
              <a:gd name="T0" fmla="*/ 61 w 66"/>
              <a:gd name="T1" fmla="*/ 51 h 94"/>
              <a:gd name="T2" fmla="*/ 56 w 66"/>
              <a:gd name="T3" fmla="*/ 37 h 94"/>
              <a:gd name="T4" fmla="*/ 49 w 66"/>
              <a:gd name="T5" fmla="*/ 25 h 94"/>
              <a:gd name="T6" fmla="*/ 42 w 66"/>
              <a:gd name="T7" fmla="*/ 14 h 94"/>
              <a:gd name="T8" fmla="*/ 30 w 66"/>
              <a:gd name="T9" fmla="*/ 11 h 94"/>
              <a:gd name="T10" fmla="*/ 21 w 66"/>
              <a:gd name="T11" fmla="*/ 3 h 94"/>
              <a:gd name="T12" fmla="*/ 9 w 66"/>
              <a:gd name="T13" fmla="*/ 4 h 94"/>
              <a:gd name="T14" fmla="*/ 0 w 66"/>
              <a:gd name="T15" fmla="*/ 7 h 94"/>
              <a:gd name="T16" fmla="*/ 5 w 66"/>
              <a:gd name="T17" fmla="*/ 14 h 94"/>
              <a:gd name="T18" fmla="*/ 18 w 66"/>
              <a:gd name="T19" fmla="*/ 39 h 94"/>
              <a:gd name="T20" fmla="*/ 27 w 66"/>
              <a:gd name="T21" fmla="*/ 49 h 94"/>
              <a:gd name="T22" fmla="*/ 30 w 66"/>
              <a:gd name="T23" fmla="*/ 60 h 94"/>
              <a:gd name="T24" fmla="*/ 27 w 66"/>
              <a:gd name="T25" fmla="*/ 70 h 94"/>
              <a:gd name="T26" fmla="*/ 26 w 66"/>
              <a:gd name="T27" fmla="*/ 79 h 94"/>
              <a:gd name="T28" fmla="*/ 28 w 66"/>
              <a:gd name="T29" fmla="*/ 91 h 94"/>
              <a:gd name="T30" fmla="*/ 30 w 66"/>
              <a:gd name="T31" fmla="*/ 94 h 94"/>
              <a:gd name="T32" fmla="*/ 35 w 66"/>
              <a:gd name="T33" fmla="*/ 87 h 94"/>
              <a:gd name="T34" fmla="*/ 41 w 66"/>
              <a:gd name="T35" fmla="*/ 78 h 94"/>
              <a:gd name="T36" fmla="*/ 43 w 66"/>
              <a:gd name="T37" fmla="*/ 67 h 94"/>
              <a:gd name="T38" fmla="*/ 47 w 66"/>
              <a:gd name="T39" fmla="*/ 61 h 94"/>
              <a:gd name="T40" fmla="*/ 58 w 66"/>
              <a:gd name="T41" fmla="*/ 65 h 94"/>
              <a:gd name="T42" fmla="*/ 65 w 66"/>
              <a:gd name="T43" fmla="*/ 58 h 94"/>
              <a:gd name="T44" fmla="*/ 61 w 66"/>
              <a:gd name="T45" fmla="*/ 5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94">
                <a:moveTo>
                  <a:pt x="61" y="51"/>
                </a:moveTo>
                <a:cubicBezTo>
                  <a:pt x="57" y="49"/>
                  <a:pt x="56" y="42"/>
                  <a:pt x="56" y="37"/>
                </a:cubicBezTo>
                <a:cubicBezTo>
                  <a:pt x="56" y="33"/>
                  <a:pt x="51" y="30"/>
                  <a:pt x="49" y="25"/>
                </a:cubicBezTo>
                <a:cubicBezTo>
                  <a:pt x="48" y="20"/>
                  <a:pt x="44" y="16"/>
                  <a:pt x="42" y="14"/>
                </a:cubicBezTo>
                <a:cubicBezTo>
                  <a:pt x="41" y="12"/>
                  <a:pt x="35" y="11"/>
                  <a:pt x="30" y="11"/>
                </a:cubicBezTo>
                <a:cubicBezTo>
                  <a:pt x="25" y="11"/>
                  <a:pt x="23" y="6"/>
                  <a:pt x="21" y="3"/>
                </a:cubicBezTo>
                <a:cubicBezTo>
                  <a:pt x="19" y="0"/>
                  <a:pt x="14" y="2"/>
                  <a:pt x="9" y="4"/>
                </a:cubicBezTo>
                <a:cubicBezTo>
                  <a:pt x="6" y="5"/>
                  <a:pt x="2" y="6"/>
                  <a:pt x="0" y="7"/>
                </a:cubicBezTo>
                <a:cubicBezTo>
                  <a:pt x="2" y="8"/>
                  <a:pt x="4" y="11"/>
                  <a:pt x="5" y="14"/>
                </a:cubicBezTo>
                <a:cubicBezTo>
                  <a:pt x="9" y="24"/>
                  <a:pt x="13" y="35"/>
                  <a:pt x="18" y="39"/>
                </a:cubicBezTo>
                <a:cubicBezTo>
                  <a:pt x="23" y="42"/>
                  <a:pt x="26" y="47"/>
                  <a:pt x="27" y="49"/>
                </a:cubicBezTo>
                <a:cubicBezTo>
                  <a:pt x="28" y="51"/>
                  <a:pt x="30" y="55"/>
                  <a:pt x="30" y="60"/>
                </a:cubicBezTo>
                <a:cubicBezTo>
                  <a:pt x="30" y="65"/>
                  <a:pt x="29" y="68"/>
                  <a:pt x="27" y="70"/>
                </a:cubicBezTo>
                <a:cubicBezTo>
                  <a:pt x="26" y="73"/>
                  <a:pt x="25" y="76"/>
                  <a:pt x="26" y="79"/>
                </a:cubicBezTo>
                <a:cubicBezTo>
                  <a:pt x="27" y="82"/>
                  <a:pt x="26" y="89"/>
                  <a:pt x="28" y="91"/>
                </a:cubicBezTo>
                <a:cubicBezTo>
                  <a:pt x="29" y="92"/>
                  <a:pt x="29" y="94"/>
                  <a:pt x="30" y="94"/>
                </a:cubicBezTo>
                <a:cubicBezTo>
                  <a:pt x="30" y="92"/>
                  <a:pt x="35" y="89"/>
                  <a:pt x="35" y="87"/>
                </a:cubicBezTo>
                <a:cubicBezTo>
                  <a:pt x="35" y="85"/>
                  <a:pt x="36" y="81"/>
                  <a:pt x="41" y="78"/>
                </a:cubicBezTo>
                <a:cubicBezTo>
                  <a:pt x="46" y="75"/>
                  <a:pt x="44" y="70"/>
                  <a:pt x="43" y="67"/>
                </a:cubicBezTo>
                <a:cubicBezTo>
                  <a:pt x="43" y="64"/>
                  <a:pt x="45" y="62"/>
                  <a:pt x="47" y="61"/>
                </a:cubicBezTo>
                <a:cubicBezTo>
                  <a:pt x="49" y="59"/>
                  <a:pt x="55" y="63"/>
                  <a:pt x="58" y="65"/>
                </a:cubicBezTo>
                <a:cubicBezTo>
                  <a:pt x="62" y="68"/>
                  <a:pt x="65" y="63"/>
                  <a:pt x="65" y="58"/>
                </a:cubicBezTo>
                <a:cubicBezTo>
                  <a:pt x="66" y="54"/>
                  <a:pt x="64" y="52"/>
                  <a:pt x="61" y="51"/>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8" name="Freeform 107">
            <a:extLst>
              <a:ext uri="{FF2B5EF4-FFF2-40B4-BE49-F238E27FC236}">
                <a16:creationId xmlns:a16="http://schemas.microsoft.com/office/drawing/2014/main" id="{0B6E8556-9806-F73E-16E5-72A627ED9009}"/>
              </a:ext>
            </a:extLst>
          </p:cNvPr>
          <p:cNvSpPr>
            <a:spLocks/>
          </p:cNvSpPr>
          <p:nvPr/>
        </p:nvSpPr>
        <p:spPr bwMode="auto">
          <a:xfrm>
            <a:off x="2403793" y="4589278"/>
            <a:ext cx="1146086" cy="812493"/>
          </a:xfrm>
          <a:custGeom>
            <a:avLst/>
            <a:gdLst>
              <a:gd name="T0" fmla="*/ 197 w 198"/>
              <a:gd name="T1" fmla="*/ 90 h 141"/>
              <a:gd name="T2" fmla="*/ 194 w 198"/>
              <a:gd name="T3" fmla="*/ 89 h 141"/>
              <a:gd name="T4" fmla="*/ 188 w 198"/>
              <a:gd name="T5" fmla="*/ 86 h 141"/>
              <a:gd name="T6" fmla="*/ 179 w 198"/>
              <a:gd name="T7" fmla="*/ 91 h 141"/>
              <a:gd name="T8" fmla="*/ 168 w 198"/>
              <a:gd name="T9" fmla="*/ 89 h 141"/>
              <a:gd name="T10" fmla="*/ 167 w 198"/>
              <a:gd name="T11" fmla="*/ 87 h 141"/>
              <a:gd name="T12" fmla="*/ 165 w 198"/>
              <a:gd name="T13" fmla="*/ 84 h 141"/>
              <a:gd name="T14" fmla="*/ 163 w 198"/>
              <a:gd name="T15" fmla="*/ 72 h 141"/>
              <a:gd name="T16" fmla="*/ 164 w 198"/>
              <a:gd name="T17" fmla="*/ 63 h 141"/>
              <a:gd name="T18" fmla="*/ 167 w 198"/>
              <a:gd name="T19" fmla="*/ 53 h 141"/>
              <a:gd name="T20" fmla="*/ 164 w 198"/>
              <a:gd name="T21" fmla="*/ 42 h 141"/>
              <a:gd name="T22" fmla="*/ 155 w 198"/>
              <a:gd name="T23" fmla="*/ 32 h 141"/>
              <a:gd name="T24" fmla="*/ 142 w 198"/>
              <a:gd name="T25" fmla="*/ 7 h 141"/>
              <a:gd name="T26" fmla="*/ 137 w 198"/>
              <a:gd name="T27" fmla="*/ 0 h 141"/>
              <a:gd name="T28" fmla="*/ 132 w 198"/>
              <a:gd name="T29" fmla="*/ 1 h 141"/>
              <a:gd name="T30" fmla="*/ 123 w 198"/>
              <a:gd name="T31" fmla="*/ 7 h 141"/>
              <a:gd name="T32" fmla="*/ 114 w 198"/>
              <a:gd name="T33" fmla="*/ 10 h 141"/>
              <a:gd name="T34" fmla="*/ 106 w 198"/>
              <a:gd name="T35" fmla="*/ 11 h 141"/>
              <a:gd name="T36" fmla="*/ 99 w 198"/>
              <a:gd name="T37" fmla="*/ 18 h 141"/>
              <a:gd name="T38" fmla="*/ 90 w 198"/>
              <a:gd name="T39" fmla="*/ 10 h 141"/>
              <a:gd name="T40" fmla="*/ 74 w 198"/>
              <a:gd name="T41" fmla="*/ 11 h 141"/>
              <a:gd name="T42" fmla="*/ 62 w 198"/>
              <a:gd name="T43" fmla="*/ 6 h 141"/>
              <a:gd name="T44" fmla="*/ 55 w 198"/>
              <a:gd name="T45" fmla="*/ 7 h 141"/>
              <a:gd name="T46" fmla="*/ 55 w 198"/>
              <a:gd name="T47" fmla="*/ 12 h 141"/>
              <a:gd name="T48" fmla="*/ 45 w 198"/>
              <a:gd name="T49" fmla="*/ 16 h 141"/>
              <a:gd name="T50" fmla="*/ 34 w 198"/>
              <a:gd name="T51" fmla="*/ 28 h 141"/>
              <a:gd name="T52" fmla="*/ 24 w 198"/>
              <a:gd name="T53" fmla="*/ 53 h 141"/>
              <a:gd name="T54" fmla="*/ 13 w 198"/>
              <a:gd name="T55" fmla="*/ 60 h 141"/>
              <a:gd name="T56" fmla="*/ 5 w 198"/>
              <a:gd name="T57" fmla="*/ 63 h 141"/>
              <a:gd name="T58" fmla="*/ 2 w 198"/>
              <a:gd name="T59" fmla="*/ 67 h 141"/>
              <a:gd name="T60" fmla="*/ 7 w 198"/>
              <a:gd name="T61" fmla="*/ 74 h 141"/>
              <a:gd name="T62" fmla="*/ 11 w 198"/>
              <a:gd name="T63" fmla="*/ 84 h 141"/>
              <a:gd name="T64" fmla="*/ 20 w 198"/>
              <a:gd name="T65" fmla="*/ 91 h 141"/>
              <a:gd name="T66" fmla="*/ 25 w 198"/>
              <a:gd name="T67" fmla="*/ 94 h 141"/>
              <a:gd name="T68" fmla="*/ 23 w 198"/>
              <a:gd name="T69" fmla="*/ 101 h 141"/>
              <a:gd name="T70" fmla="*/ 27 w 198"/>
              <a:gd name="T71" fmla="*/ 107 h 141"/>
              <a:gd name="T72" fmla="*/ 37 w 198"/>
              <a:gd name="T73" fmla="*/ 111 h 141"/>
              <a:gd name="T74" fmla="*/ 45 w 198"/>
              <a:gd name="T75" fmla="*/ 107 h 141"/>
              <a:gd name="T76" fmla="*/ 51 w 198"/>
              <a:gd name="T77" fmla="*/ 109 h 141"/>
              <a:gd name="T78" fmla="*/ 51 w 198"/>
              <a:gd name="T79" fmla="*/ 113 h 141"/>
              <a:gd name="T80" fmla="*/ 51 w 198"/>
              <a:gd name="T81" fmla="*/ 121 h 141"/>
              <a:gd name="T82" fmla="*/ 50 w 198"/>
              <a:gd name="T83" fmla="*/ 124 h 141"/>
              <a:gd name="T84" fmla="*/ 51 w 198"/>
              <a:gd name="T85" fmla="*/ 125 h 141"/>
              <a:gd name="T86" fmla="*/ 55 w 198"/>
              <a:gd name="T87" fmla="*/ 128 h 141"/>
              <a:gd name="T88" fmla="*/ 61 w 198"/>
              <a:gd name="T89" fmla="*/ 134 h 141"/>
              <a:gd name="T90" fmla="*/ 71 w 198"/>
              <a:gd name="T91" fmla="*/ 134 h 141"/>
              <a:gd name="T92" fmla="*/ 80 w 198"/>
              <a:gd name="T93" fmla="*/ 137 h 141"/>
              <a:gd name="T94" fmla="*/ 89 w 198"/>
              <a:gd name="T95" fmla="*/ 136 h 141"/>
              <a:gd name="T96" fmla="*/ 99 w 198"/>
              <a:gd name="T97" fmla="*/ 138 h 141"/>
              <a:gd name="T98" fmla="*/ 105 w 198"/>
              <a:gd name="T99" fmla="*/ 138 h 141"/>
              <a:gd name="T100" fmla="*/ 111 w 198"/>
              <a:gd name="T101" fmla="*/ 139 h 141"/>
              <a:gd name="T102" fmla="*/ 120 w 198"/>
              <a:gd name="T103" fmla="*/ 131 h 141"/>
              <a:gd name="T104" fmla="*/ 130 w 198"/>
              <a:gd name="T105" fmla="*/ 126 h 141"/>
              <a:gd name="T106" fmla="*/ 141 w 198"/>
              <a:gd name="T107" fmla="*/ 123 h 141"/>
              <a:gd name="T108" fmla="*/ 151 w 198"/>
              <a:gd name="T109" fmla="*/ 127 h 141"/>
              <a:gd name="T110" fmla="*/ 159 w 198"/>
              <a:gd name="T111" fmla="*/ 130 h 141"/>
              <a:gd name="T112" fmla="*/ 164 w 198"/>
              <a:gd name="T113" fmla="*/ 134 h 141"/>
              <a:gd name="T114" fmla="*/ 176 w 198"/>
              <a:gd name="T115" fmla="*/ 137 h 141"/>
              <a:gd name="T116" fmla="*/ 174 w 198"/>
              <a:gd name="T117" fmla="*/ 120 h 141"/>
              <a:gd name="T118" fmla="*/ 181 w 198"/>
              <a:gd name="T119" fmla="*/ 109 h 141"/>
              <a:gd name="T120" fmla="*/ 187 w 198"/>
              <a:gd name="T121" fmla="*/ 104 h 141"/>
              <a:gd name="T122" fmla="*/ 196 w 198"/>
              <a:gd name="T123" fmla="*/ 98 h 141"/>
              <a:gd name="T124" fmla="*/ 197 w 198"/>
              <a:gd name="T125" fmla="*/ 9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8" h="141">
                <a:moveTo>
                  <a:pt x="197" y="90"/>
                </a:moveTo>
                <a:cubicBezTo>
                  <a:pt x="196" y="91"/>
                  <a:pt x="195" y="91"/>
                  <a:pt x="194" y="89"/>
                </a:cubicBezTo>
                <a:cubicBezTo>
                  <a:pt x="192" y="84"/>
                  <a:pt x="190" y="86"/>
                  <a:pt x="188" y="86"/>
                </a:cubicBezTo>
                <a:cubicBezTo>
                  <a:pt x="185" y="86"/>
                  <a:pt x="182" y="89"/>
                  <a:pt x="179" y="91"/>
                </a:cubicBezTo>
                <a:cubicBezTo>
                  <a:pt x="176" y="92"/>
                  <a:pt x="172" y="92"/>
                  <a:pt x="168" y="89"/>
                </a:cubicBezTo>
                <a:cubicBezTo>
                  <a:pt x="167" y="89"/>
                  <a:pt x="167" y="88"/>
                  <a:pt x="167" y="87"/>
                </a:cubicBezTo>
                <a:cubicBezTo>
                  <a:pt x="166" y="87"/>
                  <a:pt x="166" y="85"/>
                  <a:pt x="165" y="84"/>
                </a:cubicBezTo>
                <a:cubicBezTo>
                  <a:pt x="163" y="82"/>
                  <a:pt x="164" y="75"/>
                  <a:pt x="163" y="72"/>
                </a:cubicBezTo>
                <a:cubicBezTo>
                  <a:pt x="162" y="69"/>
                  <a:pt x="163" y="66"/>
                  <a:pt x="164" y="63"/>
                </a:cubicBezTo>
                <a:cubicBezTo>
                  <a:pt x="166" y="61"/>
                  <a:pt x="167" y="58"/>
                  <a:pt x="167" y="53"/>
                </a:cubicBezTo>
                <a:cubicBezTo>
                  <a:pt x="167" y="48"/>
                  <a:pt x="165" y="44"/>
                  <a:pt x="164" y="42"/>
                </a:cubicBezTo>
                <a:cubicBezTo>
                  <a:pt x="163" y="40"/>
                  <a:pt x="160" y="35"/>
                  <a:pt x="155" y="32"/>
                </a:cubicBezTo>
                <a:cubicBezTo>
                  <a:pt x="150" y="28"/>
                  <a:pt x="146" y="17"/>
                  <a:pt x="142" y="7"/>
                </a:cubicBezTo>
                <a:cubicBezTo>
                  <a:pt x="141" y="4"/>
                  <a:pt x="139" y="1"/>
                  <a:pt x="137" y="0"/>
                </a:cubicBezTo>
                <a:cubicBezTo>
                  <a:pt x="135" y="0"/>
                  <a:pt x="133" y="1"/>
                  <a:pt x="132" y="1"/>
                </a:cubicBezTo>
                <a:cubicBezTo>
                  <a:pt x="129" y="3"/>
                  <a:pt x="125" y="3"/>
                  <a:pt x="123" y="7"/>
                </a:cubicBezTo>
                <a:cubicBezTo>
                  <a:pt x="121" y="11"/>
                  <a:pt x="117" y="10"/>
                  <a:pt x="114" y="10"/>
                </a:cubicBezTo>
                <a:cubicBezTo>
                  <a:pt x="112" y="10"/>
                  <a:pt x="109" y="11"/>
                  <a:pt x="106" y="11"/>
                </a:cubicBezTo>
                <a:cubicBezTo>
                  <a:pt x="104" y="11"/>
                  <a:pt x="102" y="14"/>
                  <a:pt x="99" y="18"/>
                </a:cubicBezTo>
                <a:cubicBezTo>
                  <a:pt x="95" y="21"/>
                  <a:pt x="93" y="12"/>
                  <a:pt x="90" y="10"/>
                </a:cubicBezTo>
                <a:cubicBezTo>
                  <a:pt x="87" y="8"/>
                  <a:pt x="78" y="11"/>
                  <a:pt x="74" y="11"/>
                </a:cubicBezTo>
                <a:cubicBezTo>
                  <a:pt x="70" y="11"/>
                  <a:pt x="67" y="7"/>
                  <a:pt x="62" y="6"/>
                </a:cubicBezTo>
                <a:cubicBezTo>
                  <a:pt x="59" y="6"/>
                  <a:pt x="57" y="7"/>
                  <a:pt x="55" y="7"/>
                </a:cubicBezTo>
                <a:cubicBezTo>
                  <a:pt x="56" y="9"/>
                  <a:pt x="56" y="11"/>
                  <a:pt x="55" y="12"/>
                </a:cubicBezTo>
                <a:cubicBezTo>
                  <a:pt x="53" y="14"/>
                  <a:pt x="48" y="15"/>
                  <a:pt x="45" y="16"/>
                </a:cubicBezTo>
                <a:cubicBezTo>
                  <a:pt x="41" y="18"/>
                  <a:pt x="38" y="24"/>
                  <a:pt x="34" y="28"/>
                </a:cubicBezTo>
                <a:cubicBezTo>
                  <a:pt x="30" y="32"/>
                  <a:pt x="26" y="45"/>
                  <a:pt x="24" y="53"/>
                </a:cubicBezTo>
                <a:cubicBezTo>
                  <a:pt x="21" y="61"/>
                  <a:pt x="17" y="60"/>
                  <a:pt x="13" y="60"/>
                </a:cubicBezTo>
                <a:cubicBezTo>
                  <a:pt x="9" y="60"/>
                  <a:pt x="9" y="64"/>
                  <a:pt x="5" y="63"/>
                </a:cubicBezTo>
                <a:cubicBezTo>
                  <a:pt x="1" y="63"/>
                  <a:pt x="0" y="65"/>
                  <a:pt x="2" y="67"/>
                </a:cubicBezTo>
                <a:cubicBezTo>
                  <a:pt x="3" y="69"/>
                  <a:pt x="5" y="71"/>
                  <a:pt x="7" y="74"/>
                </a:cubicBezTo>
                <a:cubicBezTo>
                  <a:pt x="9" y="77"/>
                  <a:pt x="10" y="79"/>
                  <a:pt x="11" y="84"/>
                </a:cubicBezTo>
                <a:cubicBezTo>
                  <a:pt x="13" y="89"/>
                  <a:pt x="17" y="91"/>
                  <a:pt x="20" y="91"/>
                </a:cubicBezTo>
                <a:cubicBezTo>
                  <a:pt x="23" y="90"/>
                  <a:pt x="25" y="92"/>
                  <a:pt x="25" y="94"/>
                </a:cubicBezTo>
                <a:cubicBezTo>
                  <a:pt x="26" y="97"/>
                  <a:pt x="26" y="97"/>
                  <a:pt x="23" y="101"/>
                </a:cubicBezTo>
                <a:cubicBezTo>
                  <a:pt x="21" y="104"/>
                  <a:pt x="26" y="105"/>
                  <a:pt x="27" y="107"/>
                </a:cubicBezTo>
                <a:cubicBezTo>
                  <a:pt x="28" y="108"/>
                  <a:pt x="34" y="108"/>
                  <a:pt x="37" y="111"/>
                </a:cubicBezTo>
                <a:cubicBezTo>
                  <a:pt x="39" y="114"/>
                  <a:pt x="44" y="110"/>
                  <a:pt x="45" y="107"/>
                </a:cubicBezTo>
                <a:cubicBezTo>
                  <a:pt x="46" y="104"/>
                  <a:pt x="49" y="107"/>
                  <a:pt x="51" y="109"/>
                </a:cubicBezTo>
                <a:cubicBezTo>
                  <a:pt x="53" y="110"/>
                  <a:pt x="52" y="111"/>
                  <a:pt x="51" y="113"/>
                </a:cubicBezTo>
                <a:cubicBezTo>
                  <a:pt x="49" y="116"/>
                  <a:pt x="51" y="117"/>
                  <a:pt x="51" y="121"/>
                </a:cubicBezTo>
                <a:cubicBezTo>
                  <a:pt x="51" y="123"/>
                  <a:pt x="50" y="123"/>
                  <a:pt x="50" y="124"/>
                </a:cubicBezTo>
                <a:cubicBezTo>
                  <a:pt x="50" y="124"/>
                  <a:pt x="51" y="125"/>
                  <a:pt x="51" y="125"/>
                </a:cubicBezTo>
                <a:cubicBezTo>
                  <a:pt x="53" y="125"/>
                  <a:pt x="55" y="127"/>
                  <a:pt x="55" y="128"/>
                </a:cubicBezTo>
                <a:cubicBezTo>
                  <a:pt x="55" y="130"/>
                  <a:pt x="55" y="136"/>
                  <a:pt x="61" y="134"/>
                </a:cubicBezTo>
                <a:cubicBezTo>
                  <a:pt x="67" y="133"/>
                  <a:pt x="69" y="132"/>
                  <a:pt x="71" y="134"/>
                </a:cubicBezTo>
                <a:cubicBezTo>
                  <a:pt x="73" y="135"/>
                  <a:pt x="76" y="136"/>
                  <a:pt x="80" y="137"/>
                </a:cubicBezTo>
                <a:cubicBezTo>
                  <a:pt x="84" y="137"/>
                  <a:pt x="87" y="135"/>
                  <a:pt x="89" y="136"/>
                </a:cubicBezTo>
                <a:cubicBezTo>
                  <a:pt x="92" y="138"/>
                  <a:pt x="97" y="138"/>
                  <a:pt x="99" y="138"/>
                </a:cubicBezTo>
                <a:cubicBezTo>
                  <a:pt x="101" y="138"/>
                  <a:pt x="104" y="137"/>
                  <a:pt x="105" y="138"/>
                </a:cubicBezTo>
                <a:cubicBezTo>
                  <a:pt x="106" y="140"/>
                  <a:pt x="109" y="141"/>
                  <a:pt x="111" y="139"/>
                </a:cubicBezTo>
                <a:cubicBezTo>
                  <a:pt x="113" y="137"/>
                  <a:pt x="118" y="135"/>
                  <a:pt x="120" y="131"/>
                </a:cubicBezTo>
                <a:cubicBezTo>
                  <a:pt x="122" y="128"/>
                  <a:pt x="127" y="126"/>
                  <a:pt x="130" y="126"/>
                </a:cubicBezTo>
                <a:cubicBezTo>
                  <a:pt x="133" y="126"/>
                  <a:pt x="137" y="123"/>
                  <a:pt x="141" y="123"/>
                </a:cubicBezTo>
                <a:cubicBezTo>
                  <a:pt x="144" y="123"/>
                  <a:pt x="146" y="124"/>
                  <a:pt x="151" y="127"/>
                </a:cubicBezTo>
                <a:cubicBezTo>
                  <a:pt x="155" y="129"/>
                  <a:pt x="158" y="128"/>
                  <a:pt x="159" y="130"/>
                </a:cubicBezTo>
                <a:cubicBezTo>
                  <a:pt x="160" y="132"/>
                  <a:pt x="161" y="134"/>
                  <a:pt x="164" y="134"/>
                </a:cubicBezTo>
                <a:cubicBezTo>
                  <a:pt x="167" y="135"/>
                  <a:pt x="172" y="136"/>
                  <a:pt x="176" y="137"/>
                </a:cubicBezTo>
                <a:cubicBezTo>
                  <a:pt x="176" y="131"/>
                  <a:pt x="174" y="125"/>
                  <a:pt x="174" y="120"/>
                </a:cubicBezTo>
                <a:cubicBezTo>
                  <a:pt x="175" y="112"/>
                  <a:pt x="180" y="115"/>
                  <a:pt x="181" y="109"/>
                </a:cubicBezTo>
                <a:cubicBezTo>
                  <a:pt x="182" y="103"/>
                  <a:pt x="183" y="105"/>
                  <a:pt x="187" y="104"/>
                </a:cubicBezTo>
                <a:cubicBezTo>
                  <a:pt x="190" y="103"/>
                  <a:pt x="194" y="104"/>
                  <a:pt x="196" y="98"/>
                </a:cubicBezTo>
                <a:cubicBezTo>
                  <a:pt x="198" y="95"/>
                  <a:pt x="197" y="92"/>
                  <a:pt x="197" y="90"/>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9" name="Freeform 108">
            <a:extLst>
              <a:ext uri="{FF2B5EF4-FFF2-40B4-BE49-F238E27FC236}">
                <a16:creationId xmlns:a16="http://schemas.microsoft.com/office/drawing/2014/main" id="{191EEF22-5B81-111A-4551-581A172F54FC}"/>
              </a:ext>
            </a:extLst>
          </p:cNvPr>
          <p:cNvSpPr>
            <a:spLocks/>
          </p:cNvSpPr>
          <p:nvPr/>
        </p:nvSpPr>
        <p:spPr bwMode="auto">
          <a:xfrm>
            <a:off x="2652342" y="5299718"/>
            <a:ext cx="769317" cy="488674"/>
          </a:xfrm>
          <a:custGeom>
            <a:avLst/>
            <a:gdLst>
              <a:gd name="T0" fmla="*/ 4 w 133"/>
              <a:gd name="T1" fmla="*/ 58 h 85"/>
              <a:gd name="T2" fmla="*/ 10 w 133"/>
              <a:gd name="T3" fmla="*/ 63 h 85"/>
              <a:gd name="T4" fmla="*/ 18 w 133"/>
              <a:gd name="T5" fmla="*/ 70 h 85"/>
              <a:gd name="T6" fmla="*/ 31 w 133"/>
              <a:gd name="T7" fmla="*/ 77 h 85"/>
              <a:gd name="T8" fmla="*/ 44 w 133"/>
              <a:gd name="T9" fmla="*/ 76 h 85"/>
              <a:gd name="T10" fmla="*/ 56 w 133"/>
              <a:gd name="T11" fmla="*/ 82 h 85"/>
              <a:gd name="T12" fmla="*/ 70 w 133"/>
              <a:gd name="T13" fmla="*/ 84 h 85"/>
              <a:gd name="T14" fmla="*/ 77 w 133"/>
              <a:gd name="T15" fmla="*/ 79 h 85"/>
              <a:gd name="T16" fmla="*/ 81 w 133"/>
              <a:gd name="T17" fmla="*/ 70 h 85"/>
              <a:gd name="T18" fmla="*/ 86 w 133"/>
              <a:gd name="T19" fmla="*/ 68 h 85"/>
              <a:gd name="T20" fmla="*/ 91 w 133"/>
              <a:gd name="T21" fmla="*/ 63 h 85"/>
              <a:gd name="T22" fmla="*/ 97 w 133"/>
              <a:gd name="T23" fmla="*/ 62 h 85"/>
              <a:gd name="T24" fmla="*/ 105 w 133"/>
              <a:gd name="T25" fmla="*/ 62 h 85"/>
              <a:gd name="T26" fmla="*/ 114 w 133"/>
              <a:gd name="T27" fmla="*/ 64 h 85"/>
              <a:gd name="T28" fmla="*/ 118 w 133"/>
              <a:gd name="T29" fmla="*/ 64 h 85"/>
              <a:gd name="T30" fmla="*/ 115 w 133"/>
              <a:gd name="T31" fmla="*/ 54 h 85"/>
              <a:gd name="T32" fmla="*/ 118 w 133"/>
              <a:gd name="T33" fmla="*/ 28 h 85"/>
              <a:gd name="T34" fmla="*/ 130 w 133"/>
              <a:gd name="T35" fmla="*/ 21 h 85"/>
              <a:gd name="T36" fmla="*/ 133 w 133"/>
              <a:gd name="T37" fmla="*/ 14 h 85"/>
              <a:gd name="T38" fmla="*/ 121 w 133"/>
              <a:gd name="T39" fmla="*/ 11 h 85"/>
              <a:gd name="T40" fmla="*/ 116 w 133"/>
              <a:gd name="T41" fmla="*/ 7 h 85"/>
              <a:gd name="T42" fmla="*/ 108 w 133"/>
              <a:gd name="T43" fmla="*/ 4 h 85"/>
              <a:gd name="T44" fmla="*/ 98 w 133"/>
              <a:gd name="T45" fmla="*/ 0 h 85"/>
              <a:gd name="T46" fmla="*/ 87 w 133"/>
              <a:gd name="T47" fmla="*/ 3 h 85"/>
              <a:gd name="T48" fmla="*/ 77 w 133"/>
              <a:gd name="T49" fmla="*/ 8 h 85"/>
              <a:gd name="T50" fmla="*/ 68 w 133"/>
              <a:gd name="T51" fmla="*/ 16 h 85"/>
              <a:gd name="T52" fmla="*/ 62 w 133"/>
              <a:gd name="T53" fmla="*/ 15 h 85"/>
              <a:gd name="T54" fmla="*/ 56 w 133"/>
              <a:gd name="T55" fmla="*/ 15 h 85"/>
              <a:gd name="T56" fmla="*/ 46 w 133"/>
              <a:gd name="T57" fmla="*/ 13 h 85"/>
              <a:gd name="T58" fmla="*/ 37 w 133"/>
              <a:gd name="T59" fmla="*/ 14 h 85"/>
              <a:gd name="T60" fmla="*/ 28 w 133"/>
              <a:gd name="T61" fmla="*/ 11 h 85"/>
              <a:gd name="T62" fmla="*/ 18 w 133"/>
              <a:gd name="T63" fmla="*/ 11 h 85"/>
              <a:gd name="T64" fmla="*/ 12 w 133"/>
              <a:gd name="T65" fmla="*/ 5 h 85"/>
              <a:gd name="T66" fmla="*/ 8 w 133"/>
              <a:gd name="T67" fmla="*/ 2 h 85"/>
              <a:gd name="T68" fmla="*/ 7 w 133"/>
              <a:gd name="T69" fmla="*/ 1 h 85"/>
              <a:gd name="T70" fmla="*/ 5 w 133"/>
              <a:gd name="T71" fmla="*/ 2 h 85"/>
              <a:gd name="T72" fmla="*/ 1 w 133"/>
              <a:gd name="T73" fmla="*/ 9 h 85"/>
              <a:gd name="T74" fmla="*/ 3 w 133"/>
              <a:gd name="T75" fmla="*/ 15 h 85"/>
              <a:gd name="T76" fmla="*/ 6 w 133"/>
              <a:gd name="T77" fmla="*/ 20 h 85"/>
              <a:gd name="T78" fmla="*/ 13 w 133"/>
              <a:gd name="T79" fmla="*/ 28 h 85"/>
              <a:gd name="T80" fmla="*/ 11 w 133"/>
              <a:gd name="T81" fmla="*/ 35 h 85"/>
              <a:gd name="T82" fmla="*/ 3 w 133"/>
              <a:gd name="T83" fmla="*/ 39 h 85"/>
              <a:gd name="T84" fmla="*/ 1 w 133"/>
              <a:gd name="T85" fmla="*/ 42 h 85"/>
              <a:gd name="T86" fmla="*/ 2 w 133"/>
              <a:gd name="T87" fmla="*/ 49 h 85"/>
              <a:gd name="T88" fmla="*/ 1 w 133"/>
              <a:gd name="T89" fmla="*/ 52 h 85"/>
              <a:gd name="T90" fmla="*/ 4 w 133"/>
              <a:gd name="T91" fmla="*/ 5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3" h="85">
                <a:moveTo>
                  <a:pt x="4" y="58"/>
                </a:moveTo>
                <a:cubicBezTo>
                  <a:pt x="6" y="60"/>
                  <a:pt x="9" y="62"/>
                  <a:pt x="10" y="63"/>
                </a:cubicBezTo>
                <a:cubicBezTo>
                  <a:pt x="11" y="64"/>
                  <a:pt x="16" y="67"/>
                  <a:pt x="18" y="70"/>
                </a:cubicBezTo>
                <a:cubicBezTo>
                  <a:pt x="20" y="72"/>
                  <a:pt x="27" y="77"/>
                  <a:pt x="31" y="77"/>
                </a:cubicBezTo>
                <a:cubicBezTo>
                  <a:pt x="36" y="76"/>
                  <a:pt x="41" y="75"/>
                  <a:pt x="44" y="76"/>
                </a:cubicBezTo>
                <a:cubicBezTo>
                  <a:pt x="47" y="76"/>
                  <a:pt x="54" y="80"/>
                  <a:pt x="56" y="82"/>
                </a:cubicBezTo>
                <a:cubicBezTo>
                  <a:pt x="58" y="84"/>
                  <a:pt x="66" y="85"/>
                  <a:pt x="70" y="84"/>
                </a:cubicBezTo>
                <a:cubicBezTo>
                  <a:pt x="73" y="83"/>
                  <a:pt x="77" y="83"/>
                  <a:pt x="77" y="79"/>
                </a:cubicBezTo>
                <a:cubicBezTo>
                  <a:pt x="77" y="75"/>
                  <a:pt x="79" y="71"/>
                  <a:pt x="81" y="70"/>
                </a:cubicBezTo>
                <a:cubicBezTo>
                  <a:pt x="83" y="70"/>
                  <a:pt x="84" y="71"/>
                  <a:pt x="86" y="68"/>
                </a:cubicBezTo>
                <a:cubicBezTo>
                  <a:pt x="87" y="64"/>
                  <a:pt x="88" y="63"/>
                  <a:pt x="91" y="63"/>
                </a:cubicBezTo>
                <a:cubicBezTo>
                  <a:pt x="95" y="63"/>
                  <a:pt x="96" y="64"/>
                  <a:pt x="97" y="62"/>
                </a:cubicBezTo>
                <a:cubicBezTo>
                  <a:pt x="99" y="59"/>
                  <a:pt x="101" y="59"/>
                  <a:pt x="105" y="62"/>
                </a:cubicBezTo>
                <a:cubicBezTo>
                  <a:pt x="109" y="65"/>
                  <a:pt x="111" y="64"/>
                  <a:pt x="114" y="64"/>
                </a:cubicBezTo>
                <a:cubicBezTo>
                  <a:pt x="115" y="64"/>
                  <a:pt x="117" y="64"/>
                  <a:pt x="118" y="64"/>
                </a:cubicBezTo>
                <a:cubicBezTo>
                  <a:pt x="117" y="60"/>
                  <a:pt x="116" y="57"/>
                  <a:pt x="115" y="54"/>
                </a:cubicBezTo>
                <a:cubicBezTo>
                  <a:pt x="113" y="47"/>
                  <a:pt x="118" y="35"/>
                  <a:pt x="118" y="28"/>
                </a:cubicBezTo>
                <a:cubicBezTo>
                  <a:pt x="119" y="21"/>
                  <a:pt x="123" y="26"/>
                  <a:pt x="130" y="21"/>
                </a:cubicBezTo>
                <a:cubicBezTo>
                  <a:pt x="133" y="19"/>
                  <a:pt x="133" y="17"/>
                  <a:pt x="133" y="14"/>
                </a:cubicBezTo>
                <a:cubicBezTo>
                  <a:pt x="129" y="13"/>
                  <a:pt x="124" y="12"/>
                  <a:pt x="121" y="11"/>
                </a:cubicBezTo>
                <a:cubicBezTo>
                  <a:pt x="118" y="11"/>
                  <a:pt x="117" y="9"/>
                  <a:pt x="116" y="7"/>
                </a:cubicBezTo>
                <a:cubicBezTo>
                  <a:pt x="115" y="5"/>
                  <a:pt x="112" y="6"/>
                  <a:pt x="108" y="4"/>
                </a:cubicBezTo>
                <a:cubicBezTo>
                  <a:pt x="103" y="1"/>
                  <a:pt x="101" y="0"/>
                  <a:pt x="98" y="0"/>
                </a:cubicBezTo>
                <a:cubicBezTo>
                  <a:pt x="94" y="0"/>
                  <a:pt x="90" y="3"/>
                  <a:pt x="87" y="3"/>
                </a:cubicBezTo>
                <a:cubicBezTo>
                  <a:pt x="84" y="3"/>
                  <a:pt x="79" y="5"/>
                  <a:pt x="77" y="8"/>
                </a:cubicBezTo>
                <a:cubicBezTo>
                  <a:pt x="75" y="12"/>
                  <a:pt x="70" y="14"/>
                  <a:pt x="68" y="16"/>
                </a:cubicBezTo>
                <a:cubicBezTo>
                  <a:pt x="66" y="18"/>
                  <a:pt x="63" y="17"/>
                  <a:pt x="62" y="15"/>
                </a:cubicBezTo>
                <a:cubicBezTo>
                  <a:pt x="61" y="14"/>
                  <a:pt x="58" y="15"/>
                  <a:pt x="56" y="15"/>
                </a:cubicBezTo>
                <a:cubicBezTo>
                  <a:pt x="54" y="15"/>
                  <a:pt x="49" y="15"/>
                  <a:pt x="46" y="13"/>
                </a:cubicBezTo>
                <a:cubicBezTo>
                  <a:pt x="44" y="12"/>
                  <a:pt x="41" y="14"/>
                  <a:pt x="37" y="14"/>
                </a:cubicBezTo>
                <a:cubicBezTo>
                  <a:pt x="33" y="13"/>
                  <a:pt x="30" y="12"/>
                  <a:pt x="28" y="11"/>
                </a:cubicBezTo>
                <a:cubicBezTo>
                  <a:pt x="26" y="9"/>
                  <a:pt x="24" y="10"/>
                  <a:pt x="18" y="11"/>
                </a:cubicBezTo>
                <a:cubicBezTo>
                  <a:pt x="12" y="13"/>
                  <a:pt x="12" y="7"/>
                  <a:pt x="12" y="5"/>
                </a:cubicBezTo>
                <a:cubicBezTo>
                  <a:pt x="12" y="4"/>
                  <a:pt x="10" y="2"/>
                  <a:pt x="8" y="2"/>
                </a:cubicBezTo>
                <a:cubicBezTo>
                  <a:pt x="8" y="2"/>
                  <a:pt x="7" y="1"/>
                  <a:pt x="7" y="1"/>
                </a:cubicBezTo>
                <a:cubicBezTo>
                  <a:pt x="7" y="1"/>
                  <a:pt x="6" y="1"/>
                  <a:pt x="5" y="2"/>
                </a:cubicBezTo>
                <a:cubicBezTo>
                  <a:pt x="2" y="4"/>
                  <a:pt x="3" y="4"/>
                  <a:pt x="1" y="9"/>
                </a:cubicBezTo>
                <a:cubicBezTo>
                  <a:pt x="0" y="14"/>
                  <a:pt x="2" y="14"/>
                  <a:pt x="3" y="15"/>
                </a:cubicBezTo>
                <a:cubicBezTo>
                  <a:pt x="5" y="16"/>
                  <a:pt x="6" y="18"/>
                  <a:pt x="6" y="20"/>
                </a:cubicBezTo>
                <a:cubicBezTo>
                  <a:pt x="6" y="23"/>
                  <a:pt x="12" y="25"/>
                  <a:pt x="13" y="28"/>
                </a:cubicBezTo>
                <a:cubicBezTo>
                  <a:pt x="15" y="32"/>
                  <a:pt x="12" y="33"/>
                  <a:pt x="11" y="35"/>
                </a:cubicBezTo>
                <a:cubicBezTo>
                  <a:pt x="9" y="38"/>
                  <a:pt x="6" y="39"/>
                  <a:pt x="3" y="39"/>
                </a:cubicBezTo>
                <a:cubicBezTo>
                  <a:pt x="0" y="39"/>
                  <a:pt x="0" y="40"/>
                  <a:pt x="1" y="42"/>
                </a:cubicBezTo>
                <a:cubicBezTo>
                  <a:pt x="3" y="44"/>
                  <a:pt x="2" y="46"/>
                  <a:pt x="2" y="49"/>
                </a:cubicBezTo>
                <a:cubicBezTo>
                  <a:pt x="2" y="51"/>
                  <a:pt x="2" y="52"/>
                  <a:pt x="1" y="52"/>
                </a:cubicBezTo>
                <a:cubicBezTo>
                  <a:pt x="1" y="54"/>
                  <a:pt x="2" y="57"/>
                  <a:pt x="4" y="58"/>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0" name="Freeform 109">
            <a:extLst>
              <a:ext uri="{FF2B5EF4-FFF2-40B4-BE49-F238E27FC236}">
                <a16:creationId xmlns:a16="http://schemas.microsoft.com/office/drawing/2014/main" id="{A5706B87-8EB1-533C-8CE4-4AE5B265D772}"/>
              </a:ext>
            </a:extLst>
          </p:cNvPr>
          <p:cNvSpPr>
            <a:spLocks/>
          </p:cNvSpPr>
          <p:nvPr/>
        </p:nvSpPr>
        <p:spPr bwMode="auto">
          <a:xfrm>
            <a:off x="2427464" y="5598025"/>
            <a:ext cx="293919" cy="255131"/>
          </a:xfrm>
          <a:custGeom>
            <a:avLst/>
            <a:gdLst>
              <a:gd name="T0" fmla="*/ 17 w 51"/>
              <a:gd name="T1" fmla="*/ 43 h 44"/>
              <a:gd name="T2" fmla="*/ 29 w 51"/>
              <a:gd name="T3" fmla="*/ 41 h 44"/>
              <a:gd name="T4" fmla="*/ 34 w 51"/>
              <a:gd name="T5" fmla="*/ 37 h 44"/>
              <a:gd name="T6" fmla="*/ 48 w 51"/>
              <a:gd name="T7" fmla="*/ 36 h 44"/>
              <a:gd name="T8" fmla="*/ 50 w 51"/>
              <a:gd name="T9" fmla="*/ 29 h 44"/>
              <a:gd name="T10" fmla="*/ 49 w 51"/>
              <a:gd name="T11" fmla="*/ 18 h 44"/>
              <a:gd name="T12" fmla="*/ 51 w 51"/>
              <a:gd name="T13" fmla="*/ 12 h 44"/>
              <a:gd name="T14" fmla="*/ 49 w 51"/>
              <a:gd name="T15" fmla="*/ 11 h 44"/>
              <a:gd name="T16" fmla="*/ 43 w 51"/>
              <a:gd name="T17" fmla="*/ 6 h 44"/>
              <a:gd name="T18" fmla="*/ 40 w 51"/>
              <a:gd name="T19" fmla="*/ 0 h 44"/>
              <a:gd name="T20" fmla="*/ 35 w 51"/>
              <a:gd name="T21" fmla="*/ 0 h 44"/>
              <a:gd name="T22" fmla="*/ 27 w 51"/>
              <a:gd name="T23" fmla="*/ 2 h 44"/>
              <a:gd name="T24" fmla="*/ 20 w 51"/>
              <a:gd name="T25" fmla="*/ 5 h 44"/>
              <a:gd name="T26" fmla="*/ 9 w 51"/>
              <a:gd name="T27" fmla="*/ 8 h 44"/>
              <a:gd name="T28" fmla="*/ 2 w 51"/>
              <a:gd name="T29" fmla="*/ 18 h 44"/>
              <a:gd name="T30" fmla="*/ 2 w 51"/>
              <a:gd name="T31" fmla="*/ 34 h 44"/>
              <a:gd name="T32" fmla="*/ 11 w 51"/>
              <a:gd name="T33" fmla="*/ 44 h 44"/>
              <a:gd name="T34" fmla="*/ 17 w 51"/>
              <a:gd name="T35"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44">
                <a:moveTo>
                  <a:pt x="17" y="43"/>
                </a:moveTo>
                <a:cubicBezTo>
                  <a:pt x="23" y="44"/>
                  <a:pt x="28" y="43"/>
                  <a:pt x="29" y="41"/>
                </a:cubicBezTo>
                <a:cubicBezTo>
                  <a:pt x="29" y="39"/>
                  <a:pt x="30" y="37"/>
                  <a:pt x="34" y="37"/>
                </a:cubicBezTo>
                <a:cubicBezTo>
                  <a:pt x="37" y="37"/>
                  <a:pt x="46" y="38"/>
                  <a:pt x="48" y="36"/>
                </a:cubicBezTo>
                <a:cubicBezTo>
                  <a:pt x="49" y="34"/>
                  <a:pt x="51" y="33"/>
                  <a:pt x="50" y="29"/>
                </a:cubicBezTo>
                <a:cubicBezTo>
                  <a:pt x="49" y="25"/>
                  <a:pt x="48" y="21"/>
                  <a:pt x="49" y="18"/>
                </a:cubicBezTo>
                <a:cubicBezTo>
                  <a:pt x="50" y="16"/>
                  <a:pt x="50" y="14"/>
                  <a:pt x="51" y="12"/>
                </a:cubicBezTo>
                <a:cubicBezTo>
                  <a:pt x="50" y="12"/>
                  <a:pt x="50" y="11"/>
                  <a:pt x="49" y="11"/>
                </a:cubicBezTo>
                <a:cubicBezTo>
                  <a:pt x="48" y="10"/>
                  <a:pt x="45" y="8"/>
                  <a:pt x="43" y="6"/>
                </a:cubicBezTo>
                <a:cubicBezTo>
                  <a:pt x="41" y="5"/>
                  <a:pt x="40" y="2"/>
                  <a:pt x="40" y="0"/>
                </a:cubicBezTo>
                <a:cubicBezTo>
                  <a:pt x="39" y="1"/>
                  <a:pt x="37" y="1"/>
                  <a:pt x="35" y="0"/>
                </a:cubicBezTo>
                <a:cubicBezTo>
                  <a:pt x="31" y="0"/>
                  <a:pt x="29" y="2"/>
                  <a:pt x="27" y="2"/>
                </a:cubicBezTo>
                <a:cubicBezTo>
                  <a:pt x="24" y="2"/>
                  <a:pt x="23" y="3"/>
                  <a:pt x="20" y="5"/>
                </a:cubicBezTo>
                <a:cubicBezTo>
                  <a:pt x="16" y="7"/>
                  <a:pt x="14" y="8"/>
                  <a:pt x="9" y="8"/>
                </a:cubicBezTo>
                <a:cubicBezTo>
                  <a:pt x="3" y="8"/>
                  <a:pt x="4" y="14"/>
                  <a:pt x="2" y="18"/>
                </a:cubicBezTo>
                <a:cubicBezTo>
                  <a:pt x="0" y="22"/>
                  <a:pt x="2" y="28"/>
                  <a:pt x="2" y="34"/>
                </a:cubicBezTo>
                <a:cubicBezTo>
                  <a:pt x="2" y="39"/>
                  <a:pt x="8" y="41"/>
                  <a:pt x="11" y="44"/>
                </a:cubicBezTo>
                <a:cubicBezTo>
                  <a:pt x="12" y="43"/>
                  <a:pt x="14" y="42"/>
                  <a:pt x="17" y="43"/>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1" name="Freeform 113">
            <a:extLst>
              <a:ext uri="{FF2B5EF4-FFF2-40B4-BE49-F238E27FC236}">
                <a16:creationId xmlns:a16="http://schemas.microsoft.com/office/drawing/2014/main" id="{4F1185C8-7A13-E6DD-B6DA-4837922CF147}"/>
              </a:ext>
            </a:extLst>
          </p:cNvPr>
          <p:cNvSpPr>
            <a:spLocks/>
          </p:cNvSpPr>
          <p:nvPr/>
        </p:nvSpPr>
        <p:spPr bwMode="auto">
          <a:xfrm>
            <a:off x="1407625" y="4077055"/>
            <a:ext cx="822578" cy="461198"/>
          </a:xfrm>
          <a:custGeom>
            <a:avLst/>
            <a:gdLst>
              <a:gd name="T0" fmla="*/ 135 w 142"/>
              <a:gd name="T1" fmla="*/ 38 h 80"/>
              <a:gd name="T2" fmla="*/ 126 w 142"/>
              <a:gd name="T3" fmla="*/ 35 h 80"/>
              <a:gd name="T4" fmla="*/ 119 w 142"/>
              <a:gd name="T5" fmla="*/ 30 h 80"/>
              <a:gd name="T6" fmla="*/ 114 w 142"/>
              <a:gd name="T7" fmla="*/ 26 h 80"/>
              <a:gd name="T8" fmla="*/ 109 w 142"/>
              <a:gd name="T9" fmla="*/ 24 h 80"/>
              <a:gd name="T10" fmla="*/ 106 w 142"/>
              <a:gd name="T11" fmla="*/ 21 h 80"/>
              <a:gd name="T12" fmla="*/ 104 w 142"/>
              <a:gd name="T13" fmla="*/ 25 h 80"/>
              <a:gd name="T14" fmla="*/ 102 w 142"/>
              <a:gd name="T15" fmla="*/ 29 h 80"/>
              <a:gd name="T16" fmla="*/ 95 w 142"/>
              <a:gd name="T17" fmla="*/ 28 h 80"/>
              <a:gd name="T18" fmla="*/ 92 w 142"/>
              <a:gd name="T19" fmla="*/ 22 h 80"/>
              <a:gd name="T20" fmla="*/ 88 w 142"/>
              <a:gd name="T21" fmla="*/ 17 h 80"/>
              <a:gd name="T22" fmla="*/ 82 w 142"/>
              <a:gd name="T23" fmla="*/ 13 h 80"/>
              <a:gd name="T24" fmla="*/ 74 w 142"/>
              <a:gd name="T25" fmla="*/ 11 h 80"/>
              <a:gd name="T26" fmla="*/ 70 w 142"/>
              <a:gd name="T27" fmla="*/ 7 h 80"/>
              <a:gd name="T28" fmla="*/ 65 w 142"/>
              <a:gd name="T29" fmla="*/ 4 h 80"/>
              <a:gd name="T30" fmla="*/ 64 w 142"/>
              <a:gd name="T31" fmla="*/ 3 h 80"/>
              <a:gd name="T32" fmla="*/ 60 w 142"/>
              <a:gd name="T33" fmla="*/ 7 h 80"/>
              <a:gd name="T34" fmla="*/ 53 w 142"/>
              <a:gd name="T35" fmla="*/ 3 h 80"/>
              <a:gd name="T36" fmla="*/ 49 w 142"/>
              <a:gd name="T37" fmla="*/ 2 h 80"/>
              <a:gd name="T38" fmla="*/ 46 w 142"/>
              <a:gd name="T39" fmla="*/ 7 h 80"/>
              <a:gd name="T40" fmla="*/ 41 w 142"/>
              <a:gd name="T41" fmla="*/ 10 h 80"/>
              <a:gd name="T42" fmla="*/ 34 w 142"/>
              <a:gd name="T43" fmla="*/ 12 h 80"/>
              <a:gd name="T44" fmla="*/ 29 w 142"/>
              <a:gd name="T45" fmla="*/ 15 h 80"/>
              <a:gd name="T46" fmla="*/ 24 w 142"/>
              <a:gd name="T47" fmla="*/ 18 h 80"/>
              <a:gd name="T48" fmla="*/ 17 w 142"/>
              <a:gd name="T49" fmla="*/ 21 h 80"/>
              <a:gd name="T50" fmla="*/ 10 w 142"/>
              <a:gd name="T51" fmla="*/ 22 h 80"/>
              <a:gd name="T52" fmla="*/ 6 w 142"/>
              <a:gd name="T53" fmla="*/ 25 h 80"/>
              <a:gd name="T54" fmla="*/ 4 w 142"/>
              <a:gd name="T55" fmla="*/ 28 h 80"/>
              <a:gd name="T56" fmla="*/ 9 w 142"/>
              <a:gd name="T57" fmla="*/ 34 h 80"/>
              <a:gd name="T58" fmla="*/ 11 w 142"/>
              <a:gd name="T59" fmla="*/ 40 h 80"/>
              <a:gd name="T60" fmla="*/ 12 w 142"/>
              <a:gd name="T61" fmla="*/ 48 h 80"/>
              <a:gd name="T62" fmla="*/ 20 w 142"/>
              <a:gd name="T63" fmla="*/ 56 h 80"/>
              <a:gd name="T64" fmla="*/ 26 w 142"/>
              <a:gd name="T65" fmla="*/ 61 h 80"/>
              <a:gd name="T66" fmla="*/ 32 w 142"/>
              <a:gd name="T67" fmla="*/ 65 h 80"/>
              <a:gd name="T68" fmla="*/ 36 w 142"/>
              <a:gd name="T69" fmla="*/ 70 h 80"/>
              <a:gd name="T70" fmla="*/ 43 w 142"/>
              <a:gd name="T71" fmla="*/ 77 h 80"/>
              <a:gd name="T72" fmla="*/ 43 w 142"/>
              <a:gd name="T73" fmla="*/ 77 h 80"/>
              <a:gd name="T74" fmla="*/ 51 w 142"/>
              <a:gd name="T75" fmla="*/ 79 h 80"/>
              <a:gd name="T76" fmla="*/ 59 w 142"/>
              <a:gd name="T77" fmla="*/ 77 h 80"/>
              <a:gd name="T78" fmla="*/ 63 w 142"/>
              <a:gd name="T79" fmla="*/ 71 h 80"/>
              <a:gd name="T80" fmla="*/ 68 w 142"/>
              <a:gd name="T81" fmla="*/ 66 h 80"/>
              <a:gd name="T82" fmla="*/ 75 w 142"/>
              <a:gd name="T83" fmla="*/ 69 h 80"/>
              <a:gd name="T84" fmla="*/ 81 w 142"/>
              <a:gd name="T85" fmla="*/ 72 h 80"/>
              <a:gd name="T86" fmla="*/ 87 w 142"/>
              <a:gd name="T87" fmla="*/ 75 h 80"/>
              <a:gd name="T88" fmla="*/ 94 w 142"/>
              <a:gd name="T89" fmla="*/ 72 h 80"/>
              <a:gd name="T90" fmla="*/ 97 w 142"/>
              <a:gd name="T91" fmla="*/ 74 h 80"/>
              <a:gd name="T92" fmla="*/ 102 w 142"/>
              <a:gd name="T93" fmla="*/ 75 h 80"/>
              <a:gd name="T94" fmla="*/ 107 w 142"/>
              <a:gd name="T95" fmla="*/ 74 h 80"/>
              <a:gd name="T96" fmla="*/ 109 w 142"/>
              <a:gd name="T97" fmla="*/ 68 h 80"/>
              <a:gd name="T98" fmla="*/ 113 w 142"/>
              <a:gd name="T99" fmla="*/ 70 h 80"/>
              <a:gd name="T100" fmla="*/ 117 w 142"/>
              <a:gd name="T101" fmla="*/ 72 h 80"/>
              <a:gd name="T102" fmla="*/ 122 w 142"/>
              <a:gd name="T103" fmla="*/ 69 h 80"/>
              <a:gd name="T104" fmla="*/ 125 w 142"/>
              <a:gd name="T105" fmla="*/ 65 h 80"/>
              <a:gd name="T106" fmla="*/ 129 w 142"/>
              <a:gd name="T107" fmla="*/ 63 h 80"/>
              <a:gd name="T108" fmla="*/ 132 w 142"/>
              <a:gd name="T109" fmla="*/ 56 h 80"/>
              <a:gd name="T110" fmla="*/ 137 w 142"/>
              <a:gd name="T111" fmla="*/ 52 h 80"/>
              <a:gd name="T112" fmla="*/ 142 w 142"/>
              <a:gd name="T113" fmla="*/ 49 h 80"/>
              <a:gd name="T114" fmla="*/ 135 w 142"/>
              <a:gd name="T115" fmla="*/ 3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2" h="80">
                <a:moveTo>
                  <a:pt x="135" y="38"/>
                </a:moveTo>
                <a:cubicBezTo>
                  <a:pt x="134" y="35"/>
                  <a:pt x="129" y="35"/>
                  <a:pt x="126" y="35"/>
                </a:cubicBezTo>
                <a:cubicBezTo>
                  <a:pt x="123" y="35"/>
                  <a:pt x="120" y="33"/>
                  <a:pt x="119" y="30"/>
                </a:cubicBezTo>
                <a:cubicBezTo>
                  <a:pt x="119" y="27"/>
                  <a:pt x="117" y="26"/>
                  <a:pt x="114" y="26"/>
                </a:cubicBezTo>
                <a:cubicBezTo>
                  <a:pt x="111" y="25"/>
                  <a:pt x="110" y="25"/>
                  <a:pt x="109" y="24"/>
                </a:cubicBezTo>
                <a:cubicBezTo>
                  <a:pt x="109" y="23"/>
                  <a:pt x="108" y="21"/>
                  <a:pt x="106" y="21"/>
                </a:cubicBezTo>
                <a:cubicBezTo>
                  <a:pt x="103" y="21"/>
                  <a:pt x="103" y="23"/>
                  <a:pt x="104" y="25"/>
                </a:cubicBezTo>
                <a:cubicBezTo>
                  <a:pt x="105" y="27"/>
                  <a:pt x="103" y="27"/>
                  <a:pt x="102" y="29"/>
                </a:cubicBezTo>
                <a:cubicBezTo>
                  <a:pt x="101" y="32"/>
                  <a:pt x="98" y="29"/>
                  <a:pt x="95" y="28"/>
                </a:cubicBezTo>
                <a:cubicBezTo>
                  <a:pt x="92" y="26"/>
                  <a:pt x="93" y="25"/>
                  <a:pt x="92" y="22"/>
                </a:cubicBezTo>
                <a:cubicBezTo>
                  <a:pt x="91" y="20"/>
                  <a:pt x="90" y="19"/>
                  <a:pt x="88" y="17"/>
                </a:cubicBezTo>
                <a:cubicBezTo>
                  <a:pt x="86" y="15"/>
                  <a:pt x="85" y="14"/>
                  <a:pt x="82" y="13"/>
                </a:cubicBezTo>
                <a:cubicBezTo>
                  <a:pt x="79" y="12"/>
                  <a:pt x="76" y="11"/>
                  <a:pt x="74" y="11"/>
                </a:cubicBezTo>
                <a:cubicBezTo>
                  <a:pt x="72" y="11"/>
                  <a:pt x="70" y="10"/>
                  <a:pt x="70" y="7"/>
                </a:cubicBezTo>
                <a:cubicBezTo>
                  <a:pt x="69" y="4"/>
                  <a:pt x="67" y="4"/>
                  <a:pt x="65" y="4"/>
                </a:cubicBezTo>
                <a:cubicBezTo>
                  <a:pt x="64" y="4"/>
                  <a:pt x="64" y="4"/>
                  <a:pt x="64" y="3"/>
                </a:cubicBezTo>
                <a:cubicBezTo>
                  <a:pt x="63" y="5"/>
                  <a:pt x="62" y="7"/>
                  <a:pt x="60" y="7"/>
                </a:cubicBezTo>
                <a:cubicBezTo>
                  <a:pt x="56" y="7"/>
                  <a:pt x="54" y="5"/>
                  <a:pt x="53" y="3"/>
                </a:cubicBezTo>
                <a:cubicBezTo>
                  <a:pt x="53" y="1"/>
                  <a:pt x="49" y="0"/>
                  <a:pt x="49" y="2"/>
                </a:cubicBezTo>
                <a:cubicBezTo>
                  <a:pt x="49" y="3"/>
                  <a:pt x="48" y="7"/>
                  <a:pt x="46" y="7"/>
                </a:cubicBezTo>
                <a:cubicBezTo>
                  <a:pt x="44" y="7"/>
                  <a:pt x="42" y="8"/>
                  <a:pt x="41" y="10"/>
                </a:cubicBezTo>
                <a:cubicBezTo>
                  <a:pt x="39" y="12"/>
                  <a:pt x="34" y="10"/>
                  <a:pt x="34" y="12"/>
                </a:cubicBezTo>
                <a:cubicBezTo>
                  <a:pt x="33" y="15"/>
                  <a:pt x="31" y="15"/>
                  <a:pt x="29" y="15"/>
                </a:cubicBezTo>
                <a:cubicBezTo>
                  <a:pt x="26" y="15"/>
                  <a:pt x="26" y="17"/>
                  <a:pt x="24" y="18"/>
                </a:cubicBezTo>
                <a:cubicBezTo>
                  <a:pt x="22" y="20"/>
                  <a:pt x="19" y="21"/>
                  <a:pt x="17" y="21"/>
                </a:cubicBezTo>
                <a:cubicBezTo>
                  <a:pt x="16" y="21"/>
                  <a:pt x="12" y="21"/>
                  <a:pt x="10" y="22"/>
                </a:cubicBezTo>
                <a:cubicBezTo>
                  <a:pt x="8" y="23"/>
                  <a:pt x="10" y="25"/>
                  <a:pt x="6" y="25"/>
                </a:cubicBezTo>
                <a:cubicBezTo>
                  <a:pt x="3" y="24"/>
                  <a:pt x="0" y="26"/>
                  <a:pt x="4" y="28"/>
                </a:cubicBezTo>
                <a:cubicBezTo>
                  <a:pt x="8" y="31"/>
                  <a:pt x="6" y="34"/>
                  <a:pt x="9" y="34"/>
                </a:cubicBezTo>
                <a:cubicBezTo>
                  <a:pt x="11" y="34"/>
                  <a:pt x="11" y="37"/>
                  <a:pt x="11" y="40"/>
                </a:cubicBezTo>
                <a:cubicBezTo>
                  <a:pt x="11" y="42"/>
                  <a:pt x="11" y="46"/>
                  <a:pt x="12" y="48"/>
                </a:cubicBezTo>
                <a:cubicBezTo>
                  <a:pt x="14" y="50"/>
                  <a:pt x="18" y="54"/>
                  <a:pt x="20" y="56"/>
                </a:cubicBezTo>
                <a:cubicBezTo>
                  <a:pt x="21" y="58"/>
                  <a:pt x="24" y="60"/>
                  <a:pt x="26" y="61"/>
                </a:cubicBezTo>
                <a:cubicBezTo>
                  <a:pt x="28" y="62"/>
                  <a:pt x="30" y="64"/>
                  <a:pt x="32" y="65"/>
                </a:cubicBezTo>
                <a:cubicBezTo>
                  <a:pt x="34" y="67"/>
                  <a:pt x="34" y="69"/>
                  <a:pt x="36" y="70"/>
                </a:cubicBezTo>
                <a:cubicBezTo>
                  <a:pt x="38" y="70"/>
                  <a:pt x="41" y="73"/>
                  <a:pt x="43" y="77"/>
                </a:cubicBezTo>
                <a:cubicBezTo>
                  <a:pt x="43" y="77"/>
                  <a:pt x="43" y="77"/>
                  <a:pt x="43" y="77"/>
                </a:cubicBezTo>
                <a:cubicBezTo>
                  <a:pt x="47" y="77"/>
                  <a:pt x="49" y="80"/>
                  <a:pt x="51" y="79"/>
                </a:cubicBezTo>
                <a:cubicBezTo>
                  <a:pt x="53" y="78"/>
                  <a:pt x="56" y="80"/>
                  <a:pt x="59" y="77"/>
                </a:cubicBezTo>
                <a:cubicBezTo>
                  <a:pt x="61" y="75"/>
                  <a:pt x="62" y="74"/>
                  <a:pt x="63" y="71"/>
                </a:cubicBezTo>
                <a:cubicBezTo>
                  <a:pt x="64" y="67"/>
                  <a:pt x="65" y="65"/>
                  <a:pt x="68" y="66"/>
                </a:cubicBezTo>
                <a:cubicBezTo>
                  <a:pt x="71" y="66"/>
                  <a:pt x="74" y="67"/>
                  <a:pt x="75" y="69"/>
                </a:cubicBezTo>
                <a:cubicBezTo>
                  <a:pt x="76" y="71"/>
                  <a:pt x="79" y="71"/>
                  <a:pt x="81" y="72"/>
                </a:cubicBezTo>
                <a:cubicBezTo>
                  <a:pt x="83" y="72"/>
                  <a:pt x="83" y="75"/>
                  <a:pt x="87" y="75"/>
                </a:cubicBezTo>
                <a:cubicBezTo>
                  <a:pt x="92" y="75"/>
                  <a:pt x="93" y="73"/>
                  <a:pt x="94" y="72"/>
                </a:cubicBezTo>
                <a:cubicBezTo>
                  <a:pt x="95" y="70"/>
                  <a:pt x="96" y="72"/>
                  <a:pt x="97" y="74"/>
                </a:cubicBezTo>
                <a:cubicBezTo>
                  <a:pt x="97" y="76"/>
                  <a:pt x="100" y="75"/>
                  <a:pt x="102" y="75"/>
                </a:cubicBezTo>
                <a:cubicBezTo>
                  <a:pt x="104" y="75"/>
                  <a:pt x="105" y="76"/>
                  <a:pt x="107" y="74"/>
                </a:cubicBezTo>
                <a:cubicBezTo>
                  <a:pt x="108" y="72"/>
                  <a:pt x="108" y="68"/>
                  <a:pt x="109" y="68"/>
                </a:cubicBezTo>
                <a:cubicBezTo>
                  <a:pt x="111" y="68"/>
                  <a:pt x="113" y="69"/>
                  <a:pt x="113" y="70"/>
                </a:cubicBezTo>
                <a:cubicBezTo>
                  <a:pt x="113" y="72"/>
                  <a:pt x="115" y="72"/>
                  <a:pt x="117" y="72"/>
                </a:cubicBezTo>
                <a:cubicBezTo>
                  <a:pt x="119" y="72"/>
                  <a:pt x="120" y="72"/>
                  <a:pt x="122" y="69"/>
                </a:cubicBezTo>
                <a:cubicBezTo>
                  <a:pt x="123" y="67"/>
                  <a:pt x="123" y="66"/>
                  <a:pt x="125" y="65"/>
                </a:cubicBezTo>
                <a:cubicBezTo>
                  <a:pt x="127" y="65"/>
                  <a:pt x="128" y="65"/>
                  <a:pt x="129" y="63"/>
                </a:cubicBezTo>
                <a:cubicBezTo>
                  <a:pt x="130" y="60"/>
                  <a:pt x="130" y="57"/>
                  <a:pt x="132" y="56"/>
                </a:cubicBezTo>
                <a:cubicBezTo>
                  <a:pt x="134" y="54"/>
                  <a:pt x="135" y="52"/>
                  <a:pt x="137" y="52"/>
                </a:cubicBezTo>
                <a:cubicBezTo>
                  <a:pt x="139" y="52"/>
                  <a:pt x="140" y="49"/>
                  <a:pt x="142" y="49"/>
                </a:cubicBezTo>
                <a:cubicBezTo>
                  <a:pt x="140" y="43"/>
                  <a:pt x="137" y="41"/>
                  <a:pt x="135" y="38"/>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2" name="Freeform 114">
            <a:extLst>
              <a:ext uri="{FF2B5EF4-FFF2-40B4-BE49-F238E27FC236}">
                <a16:creationId xmlns:a16="http://schemas.microsoft.com/office/drawing/2014/main" id="{FCEA5A38-16CA-6646-B07D-5D5C57BA68A9}"/>
              </a:ext>
            </a:extLst>
          </p:cNvPr>
          <p:cNvSpPr>
            <a:spLocks/>
          </p:cNvSpPr>
          <p:nvPr/>
        </p:nvSpPr>
        <p:spPr bwMode="auto">
          <a:xfrm>
            <a:off x="2003353" y="4347886"/>
            <a:ext cx="672660" cy="345407"/>
          </a:xfrm>
          <a:custGeom>
            <a:avLst/>
            <a:gdLst>
              <a:gd name="T0" fmla="*/ 8 w 116"/>
              <a:gd name="T1" fmla="*/ 50 h 60"/>
              <a:gd name="T2" fmla="*/ 15 w 116"/>
              <a:gd name="T3" fmla="*/ 56 h 60"/>
              <a:gd name="T4" fmla="*/ 20 w 116"/>
              <a:gd name="T5" fmla="*/ 59 h 60"/>
              <a:gd name="T6" fmla="*/ 33 w 116"/>
              <a:gd name="T7" fmla="*/ 57 h 60"/>
              <a:gd name="T8" fmla="*/ 39 w 116"/>
              <a:gd name="T9" fmla="*/ 55 h 60"/>
              <a:gd name="T10" fmla="*/ 43 w 116"/>
              <a:gd name="T11" fmla="*/ 49 h 60"/>
              <a:gd name="T12" fmla="*/ 48 w 116"/>
              <a:gd name="T13" fmla="*/ 48 h 60"/>
              <a:gd name="T14" fmla="*/ 53 w 116"/>
              <a:gd name="T15" fmla="*/ 45 h 60"/>
              <a:gd name="T16" fmla="*/ 59 w 116"/>
              <a:gd name="T17" fmla="*/ 44 h 60"/>
              <a:gd name="T18" fmla="*/ 64 w 116"/>
              <a:gd name="T19" fmla="*/ 46 h 60"/>
              <a:gd name="T20" fmla="*/ 72 w 116"/>
              <a:gd name="T21" fmla="*/ 40 h 60"/>
              <a:gd name="T22" fmla="*/ 77 w 116"/>
              <a:gd name="T23" fmla="*/ 31 h 60"/>
              <a:gd name="T24" fmla="*/ 84 w 116"/>
              <a:gd name="T25" fmla="*/ 31 h 60"/>
              <a:gd name="T26" fmla="*/ 91 w 116"/>
              <a:gd name="T27" fmla="*/ 33 h 60"/>
              <a:gd name="T28" fmla="*/ 98 w 116"/>
              <a:gd name="T29" fmla="*/ 36 h 60"/>
              <a:gd name="T30" fmla="*/ 104 w 116"/>
              <a:gd name="T31" fmla="*/ 40 h 60"/>
              <a:gd name="T32" fmla="*/ 109 w 116"/>
              <a:gd name="T33" fmla="*/ 39 h 60"/>
              <a:gd name="T34" fmla="*/ 109 w 116"/>
              <a:gd name="T35" fmla="*/ 32 h 60"/>
              <a:gd name="T36" fmla="*/ 115 w 116"/>
              <a:gd name="T37" fmla="*/ 22 h 60"/>
              <a:gd name="T38" fmla="*/ 116 w 116"/>
              <a:gd name="T39" fmla="*/ 19 h 60"/>
              <a:gd name="T40" fmla="*/ 114 w 116"/>
              <a:gd name="T41" fmla="*/ 16 h 60"/>
              <a:gd name="T42" fmla="*/ 108 w 116"/>
              <a:gd name="T43" fmla="*/ 13 h 60"/>
              <a:gd name="T44" fmla="*/ 102 w 116"/>
              <a:gd name="T45" fmla="*/ 7 h 60"/>
              <a:gd name="T46" fmla="*/ 90 w 116"/>
              <a:gd name="T47" fmla="*/ 5 h 60"/>
              <a:gd name="T48" fmla="*/ 84 w 116"/>
              <a:gd name="T49" fmla="*/ 9 h 60"/>
              <a:gd name="T50" fmla="*/ 77 w 116"/>
              <a:gd name="T51" fmla="*/ 6 h 60"/>
              <a:gd name="T52" fmla="*/ 69 w 116"/>
              <a:gd name="T53" fmla="*/ 8 h 60"/>
              <a:gd name="T54" fmla="*/ 59 w 116"/>
              <a:gd name="T55" fmla="*/ 7 h 60"/>
              <a:gd name="T56" fmla="*/ 56 w 116"/>
              <a:gd name="T57" fmla="*/ 3 h 60"/>
              <a:gd name="T58" fmla="*/ 52 w 116"/>
              <a:gd name="T59" fmla="*/ 1 h 60"/>
              <a:gd name="T60" fmla="*/ 47 w 116"/>
              <a:gd name="T61" fmla="*/ 5 h 60"/>
              <a:gd name="T62" fmla="*/ 41 w 116"/>
              <a:gd name="T63" fmla="*/ 3 h 60"/>
              <a:gd name="T64" fmla="*/ 34 w 116"/>
              <a:gd name="T65" fmla="*/ 5 h 60"/>
              <a:gd name="T66" fmla="*/ 29 w 116"/>
              <a:gd name="T67" fmla="*/ 9 h 60"/>
              <a:gd name="T68" fmla="*/ 26 w 116"/>
              <a:gd name="T69" fmla="*/ 16 h 60"/>
              <a:gd name="T70" fmla="*/ 22 w 116"/>
              <a:gd name="T71" fmla="*/ 18 h 60"/>
              <a:gd name="T72" fmla="*/ 19 w 116"/>
              <a:gd name="T73" fmla="*/ 22 h 60"/>
              <a:gd name="T74" fmla="*/ 14 w 116"/>
              <a:gd name="T75" fmla="*/ 25 h 60"/>
              <a:gd name="T76" fmla="*/ 10 w 116"/>
              <a:gd name="T77" fmla="*/ 23 h 60"/>
              <a:gd name="T78" fmla="*/ 6 w 116"/>
              <a:gd name="T79" fmla="*/ 21 h 60"/>
              <a:gd name="T80" fmla="*/ 4 w 116"/>
              <a:gd name="T81" fmla="*/ 27 h 60"/>
              <a:gd name="T82" fmla="*/ 0 w 116"/>
              <a:gd name="T83" fmla="*/ 28 h 60"/>
              <a:gd name="T84" fmla="*/ 0 w 116"/>
              <a:gd name="T85" fmla="*/ 40 h 60"/>
              <a:gd name="T86" fmla="*/ 4 w 116"/>
              <a:gd name="T87" fmla="*/ 48 h 60"/>
              <a:gd name="T88" fmla="*/ 4 w 116"/>
              <a:gd name="T89" fmla="*/ 49 h 60"/>
              <a:gd name="T90" fmla="*/ 8 w 116"/>
              <a:gd name="T9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60">
                <a:moveTo>
                  <a:pt x="8" y="50"/>
                </a:moveTo>
                <a:cubicBezTo>
                  <a:pt x="12" y="52"/>
                  <a:pt x="13" y="56"/>
                  <a:pt x="15" y="56"/>
                </a:cubicBezTo>
                <a:cubicBezTo>
                  <a:pt x="17" y="56"/>
                  <a:pt x="16" y="59"/>
                  <a:pt x="20" y="59"/>
                </a:cubicBezTo>
                <a:cubicBezTo>
                  <a:pt x="24" y="59"/>
                  <a:pt x="32" y="60"/>
                  <a:pt x="33" y="57"/>
                </a:cubicBezTo>
                <a:cubicBezTo>
                  <a:pt x="35" y="55"/>
                  <a:pt x="39" y="57"/>
                  <a:pt x="39" y="55"/>
                </a:cubicBezTo>
                <a:cubicBezTo>
                  <a:pt x="40" y="53"/>
                  <a:pt x="41" y="49"/>
                  <a:pt x="43" y="49"/>
                </a:cubicBezTo>
                <a:cubicBezTo>
                  <a:pt x="45" y="49"/>
                  <a:pt x="47" y="49"/>
                  <a:pt x="48" y="48"/>
                </a:cubicBezTo>
                <a:cubicBezTo>
                  <a:pt x="50" y="46"/>
                  <a:pt x="53" y="47"/>
                  <a:pt x="53" y="45"/>
                </a:cubicBezTo>
                <a:cubicBezTo>
                  <a:pt x="54" y="44"/>
                  <a:pt x="57" y="42"/>
                  <a:pt x="59" y="44"/>
                </a:cubicBezTo>
                <a:cubicBezTo>
                  <a:pt x="60" y="46"/>
                  <a:pt x="62" y="46"/>
                  <a:pt x="64" y="46"/>
                </a:cubicBezTo>
                <a:cubicBezTo>
                  <a:pt x="66" y="46"/>
                  <a:pt x="70" y="44"/>
                  <a:pt x="72" y="40"/>
                </a:cubicBezTo>
                <a:cubicBezTo>
                  <a:pt x="74" y="37"/>
                  <a:pt x="74" y="31"/>
                  <a:pt x="77" y="31"/>
                </a:cubicBezTo>
                <a:cubicBezTo>
                  <a:pt x="80" y="30"/>
                  <a:pt x="81" y="29"/>
                  <a:pt x="84" y="31"/>
                </a:cubicBezTo>
                <a:cubicBezTo>
                  <a:pt x="87" y="32"/>
                  <a:pt x="88" y="33"/>
                  <a:pt x="91" y="33"/>
                </a:cubicBezTo>
                <a:cubicBezTo>
                  <a:pt x="94" y="33"/>
                  <a:pt x="97" y="34"/>
                  <a:pt x="98" y="36"/>
                </a:cubicBezTo>
                <a:cubicBezTo>
                  <a:pt x="98" y="38"/>
                  <a:pt x="101" y="40"/>
                  <a:pt x="104" y="40"/>
                </a:cubicBezTo>
                <a:cubicBezTo>
                  <a:pt x="106" y="40"/>
                  <a:pt x="107" y="39"/>
                  <a:pt x="109" y="39"/>
                </a:cubicBezTo>
                <a:cubicBezTo>
                  <a:pt x="108" y="37"/>
                  <a:pt x="107" y="35"/>
                  <a:pt x="109" y="32"/>
                </a:cubicBezTo>
                <a:cubicBezTo>
                  <a:pt x="113" y="27"/>
                  <a:pt x="114" y="26"/>
                  <a:pt x="115" y="22"/>
                </a:cubicBezTo>
                <a:cubicBezTo>
                  <a:pt x="115" y="20"/>
                  <a:pt x="115" y="20"/>
                  <a:pt x="116" y="19"/>
                </a:cubicBezTo>
                <a:cubicBezTo>
                  <a:pt x="115" y="18"/>
                  <a:pt x="114" y="17"/>
                  <a:pt x="114" y="16"/>
                </a:cubicBezTo>
                <a:cubicBezTo>
                  <a:pt x="113" y="15"/>
                  <a:pt x="111" y="13"/>
                  <a:pt x="108" y="13"/>
                </a:cubicBezTo>
                <a:cubicBezTo>
                  <a:pt x="105" y="12"/>
                  <a:pt x="104" y="10"/>
                  <a:pt x="102" y="7"/>
                </a:cubicBezTo>
                <a:cubicBezTo>
                  <a:pt x="100" y="4"/>
                  <a:pt x="92" y="5"/>
                  <a:pt x="90" y="5"/>
                </a:cubicBezTo>
                <a:cubicBezTo>
                  <a:pt x="88" y="5"/>
                  <a:pt x="86" y="8"/>
                  <a:pt x="84" y="9"/>
                </a:cubicBezTo>
                <a:cubicBezTo>
                  <a:pt x="83" y="10"/>
                  <a:pt x="79" y="6"/>
                  <a:pt x="77" y="6"/>
                </a:cubicBezTo>
                <a:cubicBezTo>
                  <a:pt x="75" y="5"/>
                  <a:pt x="72" y="6"/>
                  <a:pt x="69" y="8"/>
                </a:cubicBezTo>
                <a:cubicBezTo>
                  <a:pt x="66" y="10"/>
                  <a:pt x="60" y="8"/>
                  <a:pt x="59" y="7"/>
                </a:cubicBezTo>
                <a:cubicBezTo>
                  <a:pt x="58" y="7"/>
                  <a:pt x="57" y="6"/>
                  <a:pt x="56" y="3"/>
                </a:cubicBezTo>
                <a:cubicBezTo>
                  <a:pt x="56" y="0"/>
                  <a:pt x="54" y="1"/>
                  <a:pt x="52" y="1"/>
                </a:cubicBezTo>
                <a:cubicBezTo>
                  <a:pt x="50" y="2"/>
                  <a:pt x="50" y="4"/>
                  <a:pt x="47" y="5"/>
                </a:cubicBezTo>
                <a:cubicBezTo>
                  <a:pt x="45" y="6"/>
                  <a:pt x="44" y="5"/>
                  <a:pt x="41" y="3"/>
                </a:cubicBezTo>
                <a:cubicBezTo>
                  <a:pt x="38" y="0"/>
                  <a:pt x="37" y="5"/>
                  <a:pt x="34" y="5"/>
                </a:cubicBezTo>
                <a:cubicBezTo>
                  <a:pt x="32" y="5"/>
                  <a:pt x="31" y="7"/>
                  <a:pt x="29" y="9"/>
                </a:cubicBezTo>
                <a:cubicBezTo>
                  <a:pt x="27" y="10"/>
                  <a:pt x="27" y="13"/>
                  <a:pt x="26" y="16"/>
                </a:cubicBezTo>
                <a:cubicBezTo>
                  <a:pt x="25" y="18"/>
                  <a:pt x="24" y="18"/>
                  <a:pt x="22" y="18"/>
                </a:cubicBezTo>
                <a:cubicBezTo>
                  <a:pt x="20" y="19"/>
                  <a:pt x="20" y="20"/>
                  <a:pt x="19" y="22"/>
                </a:cubicBezTo>
                <a:cubicBezTo>
                  <a:pt x="17" y="25"/>
                  <a:pt x="16" y="25"/>
                  <a:pt x="14" y="25"/>
                </a:cubicBezTo>
                <a:cubicBezTo>
                  <a:pt x="12" y="25"/>
                  <a:pt x="10" y="25"/>
                  <a:pt x="10" y="23"/>
                </a:cubicBezTo>
                <a:cubicBezTo>
                  <a:pt x="10" y="22"/>
                  <a:pt x="8" y="21"/>
                  <a:pt x="6" y="21"/>
                </a:cubicBezTo>
                <a:cubicBezTo>
                  <a:pt x="5" y="21"/>
                  <a:pt x="5" y="25"/>
                  <a:pt x="4" y="27"/>
                </a:cubicBezTo>
                <a:cubicBezTo>
                  <a:pt x="3" y="29"/>
                  <a:pt x="2" y="29"/>
                  <a:pt x="0" y="28"/>
                </a:cubicBezTo>
                <a:cubicBezTo>
                  <a:pt x="0" y="33"/>
                  <a:pt x="0" y="38"/>
                  <a:pt x="0" y="40"/>
                </a:cubicBezTo>
                <a:cubicBezTo>
                  <a:pt x="0" y="42"/>
                  <a:pt x="1" y="44"/>
                  <a:pt x="4" y="48"/>
                </a:cubicBezTo>
                <a:cubicBezTo>
                  <a:pt x="4" y="48"/>
                  <a:pt x="4" y="49"/>
                  <a:pt x="4" y="49"/>
                </a:cubicBezTo>
                <a:cubicBezTo>
                  <a:pt x="5" y="49"/>
                  <a:pt x="7" y="49"/>
                  <a:pt x="8" y="50"/>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3" name="Freeform 117">
            <a:extLst>
              <a:ext uri="{FF2B5EF4-FFF2-40B4-BE49-F238E27FC236}">
                <a16:creationId xmlns:a16="http://schemas.microsoft.com/office/drawing/2014/main" id="{06B9D033-7A35-E80A-B5AA-2DD099ED0EF5}"/>
              </a:ext>
            </a:extLst>
          </p:cNvPr>
          <p:cNvSpPr>
            <a:spLocks/>
          </p:cNvSpPr>
          <p:nvPr/>
        </p:nvSpPr>
        <p:spPr bwMode="auto">
          <a:xfrm>
            <a:off x="1928394" y="4514701"/>
            <a:ext cx="804824" cy="518111"/>
          </a:xfrm>
          <a:custGeom>
            <a:avLst/>
            <a:gdLst>
              <a:gd name="T0" fmla="*/ 2 w 139"/>
              <a:gd name="T1" fmla="*/ 65 h 90"/>
              <a:gd name="T2" fmla="*/ 7 w 139"/>
              <a:gd name="T3" fmla="*/ 67 h 90"/>
              <a:gd name="T4" fmla="*/ 12 w 139"/>
              <a:gd name="T5" fmla="*/ 71 h 90"/>
              <a:gd name="T6" fmla="*/ 15 w 139"/>
              <a:gd name="T7" fmla="*/ 76 h 90"/>
              <a:gd name="T8" fmla="*/ 20 w 139"/>
              <a:gd name="T9" fmla="*/ 79 h 90"/>
              <a:gd name="T10" fmla="*/ 25 w 139"/>
              <a:gd name="T11" fmla="*/ 83 h 90"/>
              <a:gd name="T12" fmla="*/ 29 w 139"/>
              <a:gd name="T13" fmla="*/ 87 h 90"/>
              <a:gd name="T14" fmla="*/ 36 w 139"/>
              <a:gd name="T15" fmla="*/ 89 h 90"/>
              <a:gd name="T16" fmla="*/ 46 w 139"/>
              <a:gd name="T17" fmla="*/ 88 h 90"/>
              <a:gd name="T18" fmla="*/ 53 w 139"/>
              <a:gd name="T19" fmla="*/ 83 h 90"/>
              <a:gd name="T20" fmla="*/ 65 w 139"/>
              <a:gd name="T21" fmla="*/ 81 h 90"/>
              <a:gd name="T22" fmla="*/ 70 w 139"/>
              <a:gd name="T23" fmla="*/ 76 h 90"/>
              <a:gd name="T24" fmla="*/ 78 w 139"/>
              <a:gd name="T25" fmla="*/ 76 h 90"/>
              <a:gd name="T26" fmla="*/ 83 w 139"/>
              <a:gd name="T27" fmla="*/ 77 h 90"/>
              <a:gd name="T28" fmla="*/ 87 w 139"/>
              <a:gd name="T29" fmla="*/ 76 h 90"/>
              <a:gd name="T30" fmla="*/ 95 w 139"/>
              <a:gd name="T31" fmla="*/ 73 h 90"/>
              <a:gd name="T32" fmla="*/ 106 w 139"/>
              <a:gd name="T33" fmla="*/ 66 h 90"/>
              <a:gd name="T34" fmla="*/ 116 w 139"/>
              <a:gd name="T35" fmla="*/ 41 h 90"/>
              <a:gd name="T36" fmla="*/ 127 w 139"/>
              <a:gd name="T37" fmla="*/ 29 h 90"/>
              <a:gd name="T38" fmla="*/ 137 w 139"/>
              <a:gd name="T39" fmla="*/ 25 h 90"/>
              <a:gd name="T40" fmla="*/ 135 w 139"/>
              <a:gd name="T41" fmla="*/ 19 h 90"/>
              <a:gd name="T42" fmla="*/ 125 w 139"/>
              <a:gd name="T43" fmla="*/ 13 h 90"/>
              <a:gd name="T44" fmla="*/ 122 w 139"/>
              <a:gd name="T45" fmla="*/ 10 h 90"/>
              <a:gd name="T46" fmla="*/ 117 w 139"/>
              <a:gd name="T47" fmla="*/ 11 h 90"/>
              <a:gd name="T48" fmla="*/ 111 w 139"/>
              <a:gd name="T49" fmla="*/ 7 h 90"/>
              <a:gd name="T50" fmla="*/ 104 w 139"/>
              <a:gd name="T51" fmla="*/ 4 h 90"/>
              <a:gd name="T52" fmla="*/ 97 w 139"/>
              <a:gd name="T53" fmla="*/ 2 h 90"/>
              <a:gd name="T54" fmla="*/ 90 w 139"/>
              <a:gd name="T55" fmla="*/ 2 h 90"/>
              <a:gd name="T56" fmla="*/ 85 w 139"/>
              <a:gd name="T57" fmla="*/ 11 h 90"/>
              <a:gd name="T58" fmla="*/ 77 w 139"/>
              <a:gd name="T59" fmla="*/ 17 h 90"/>
              <a:gd name="T60" fmla="*/ 72 w 139"/>
              <a:gd name="T61" fmla="*/ 15 h 90"/>
              <a:gd name="T62" fmla="*/ 66 w 139"/>
              <a:gd name="T63" fmla="*/ 16 h 90"/>
              <a:gd name="T64" fmla="*/ 61 w 139"/>
              <a:gd name="T65" fmla="*/ 19 h 90"/>
              <a:gd name="T66" fmla="*/ 56 w 139"/>
              <a:gd name="T67" fmla="*/ 20 h 90"/>
              <a:gd name="T68" fmla="*/ 52 w 139"/>
              <a:gd name="T69" fmla="*/ 26 h 90"/>
              <a:gd name="T70" fmla="*/ 46 w 139"/>
              <a:gd name="T71" fmla="*/ 28 h 90"/>
              <a:gd name="T72" fmla="*/ 33 w 139"/>
              <a:gd name="T73" fmla="*/ 30 h 90"/>
              <a:gd name="T74" fmla="*/ 28 w 139"/>
              <a:gd name="T75" fmla="*/ 27 h 90"/>
              <a:gd name="T76" fmla="*/ 21 w 139"/>
              <a:gd name="T77" fmla="*/ 21 h 90"/>
              <a:gd name="T78" fmla="*/ 17 w 139"/>
              <a:gd name="T79" fmla="*/ 20 h 90"/>
              <a:gd name="T80" fmla="*/ 16 w 139"/>
              <a:gd name="T81" fmla="*/ 26 h 90"/>
              <a:gd name="T82" fmla="*/ 10 w 139"/>
              <a:gd name="T83" fmla="*/ 29 h 90"/>
              <a:gd name="T84" fmla="*/ 8 w 139"/>
              <a:gd name="T85" fmla="*/ 33 h 90"/>
              <a:gd name="T86" fmla="*/ 6 w 139"/>
              <a:gd name="T87" fmla="*/ 38 h 90"/>
              <a:gd name="T88" fmla="*/ 4 w 139"/>
              <a:gd name="T89" fmla="*/ 47 h 90"/>
              <a:gd name="T90" fmla="*/ 0 w 139"/>
              <a:gd name="T91" fmla="*/ 51 h 90"/>
              <a:gd name="T92" fmla="*/ 1 w 139"/>
              <a:gd name="T93" fmla="*/ 57 h 90"/>
              <a:gd name="T94" fmla="*/ 2 w 139"/>
              <a:gd name="T95" fmla="*/ 6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9" h="90">
                <a:moveTo>
                  <a:pt x="2" y="65"/>
                </a:moveTo>
                <a:cubicBezTo>
                  <a:pt x="4" y="66"/>
                  <a:pt x="5" y="65"/>
                  <a:pt x="7" y="67"/>
                </a:cubicBezTo>
                <a:cubicBezTo>
                  <a:pt x="8" y="69"/>
                  <a:pt x="12" y="69"/>
                  <a:pt x="12" y="71"/>
                </a:cubicBezTo>
                <a:cubicBezTo>
                  <a:pt x="12" y="72"/>
                  <a:pt x="12" y="76"/>
                  <a:pt x="15" y="76"/>
                </a:cubicBezTo>
                <a:cubicBezTo>
                  <a:pt x="17" y="76"/>
                  <a:pt x="19" y="77"/>
                  <a:pt x="20" y="79"/>
                </a:cubicBezTo>
                <a:cubicBezTo>
                  <a:pt x="21" y="80"/>
                  <a:pt x="23" y="82"/>
                  <a:pt x="25" y="83"/>
                </a:cubicBezTo>
                <a:cubicBezTo>
                  <a:pt x="26" y="83"/>
                  <a:pt x="28" y="87"/>
                  <a:pt x="29" y="87"/>
                </a:cubicBezTo>
                <a:cubicBezTo>
                  <a:pt x="30" y="88"/>
                  <a:pt x="32" y="89"/>
                  <a:pt x="36" y="89"/>
                </a:cubicBezTo>
                <a:cubicBezTo>
                  <a:pt x="39" y="89"/>
                  <a:pt x="44" y="90"/>
                  <a:pt x="46" y="88"/>
                </a:cubicBezTo>
                <a:cubicBezTo>
                  <a:pt x="48" y="86"/>
                  <a:pt x="50" y="83"/>
                  <a:pt x="53" y="83"/>
                </a:cubicBezTo>
                <a:cubicBezTo>
                  <a:pt x="56" y="83"/>
                  <a:pt x="64" y="83"/>
                  <a:pt x="65" y="81"/>
                </a:cubicBezTo>
                <a:cubicBezTo>
                  <a:pt x="66" y="79"/>
                  <a:pt x="67" y="76"/>
                  <a:pt x="70" y="76"/>
                </a:cubicBezTo>
                <a:cubicBezTo>
                  <a:pt x="72" y="76"/>
                  <a:pt x="76" y="76"/>
                  <a:pt x="78" y="76"/>
                </a:cubicBezTo>
                <a:cubicBezTo>
                  <a:pt x="80" y="77"/>
                  <a:pt x="81" y="77"/>
                  <a:pt x="83" y="77"/>
                </a:cubicBezTo>
                <a:cubicBezTo>
                  <a:pt x="84" y="77"/>
                  <a:pt x="85" y="76"/>
                  <a:pt x="87" y="76"/>
                </a:cubicBezTo>
                <a:cubicBezTo>
                  <a:pt x="91" y="77"/>
                  <a:pt x="91" y="73"/>
                  <a:pt x="95" y="73"/>
                </a:cubicBezTo>
                <a:cubicBezTo>
                  <a:pt x="99" y="73"/>
                  <a:pt x="103" y="74"/>
                  <a:pt x="106" y="66"/>
                </a:cubicBezTo>
                <a:cubicBezTo>
                  <a:pt x="108" y="58"/>
                  <a:pt x="112" y="45"/>
                  <a:pt x="116" y="41"/>
                </a:cubicBezTo>
                <a:cubicBezTo>
                  <a:pt x="120" y="37"/>
                  <a:pt x="123" y="31"/>
                  <a:pt x="127" y="29"/>
                </a:cubicBezTo>
                <a:cubicBezTo>
                  <a:pt x="130" y="28"/>
                  <a:pt x="135" y="27"/>
                  <a:pt x="137" y="25"/>
                </a:cubicBezTo>
                <a:cubicBezTo>
                  <a:pt x="139" y="23"/>
                  <a:pt x="138" y="20"/>
                  <a:pt x="135" y="19"/>
                </a:cubicBezTo>
                <a:cubicBezTo>
                  <a:pt x="132" y="18"/>
                  <a:pt x="127" y="15"/>
                  <a:pt x="125" y="13"/>
                </a:cubicBezTo>
                <a:cubicBezTo>
                  <a:pt x="124" y="12"/>
                  <a:pt x="123" y="11"/>
                  <a:pt x="122" y="10"/>
                </a:cubicBezTo>
                <a:cubicBezTo>
                  <a:pt x="120" y="10"/>
                  <a:pt x="119" y="11"/>
                  <a:pt x="117" y="11"/>
                </a:cubicBezTo>
                <a:cubicBezTo>
                  <a:pt x="114" y="11"/>
                  <a:pt x="111" y="9"/>
                  <a:pt x="111" y="7"/>
                </a:cubicBezTo>
                <a:cubicBezTo>
                  <a:pt x="110" y="5"/>
                  <a:pt x="107" y="4"/>
                  <a:pt x="104" y="4"/>
                </a:cubicBezTo>
                <a:cubicBezTo>
                  <a:pt x="101" y="4"/>
                  <a:pt x="100" y="3"/>
                  <a:pt x="97" y="2"/>
                </a:cubicBezTo>
                <a:cubicBezTo>
                  <a:pt x="94" y="0"/>
                  <a:pt x="93" y="1"/>
                  <a:pt x="90" y="2"/>
                </a:cubicBezTo>
                <a:cubicBezTo>
                  <a:pt x="87" y="2"/>
                  <a:pt x="87" y="8"/>
                  <a:pt x="85" y="11"/>
                </a:cubicBezTo>
                <a:cubicBezTo>
                  <a:pt x="83" y="15"/>
                  <a:pt x="79" y="17"/>
                  <a:pt x="77" y="17"/>
                </a:cubicBezTo>
                <a:cubicBezTo>
                  <a:pt x="75" y="17"/>
                  <a:pt x="73" y="17"/>
                  <a:pt x="72" y="15"/>
                </a:cubicBezTo>
                <a:cubicBezTo>
                  <a:pt x="70" y="13"/>
                  <a:pt x="67" y="15"/>
                  <a:pt x="66" y="16"/>
                </a:cubicBezTo>
                <a:cubicBezTo>
                  <a:pt x="66" y="18"/>
                  <a:pt x="63" y="17"/>
                  <a:pt x="61" y="19"/>
                </a:cubicBezTo>
                <a:cubicBezTo>
                  <a:pt x="60" y="20"/>
                  <a:pt x="58" y="20"/>
                  <a:pt x="56" y="20"/>
                </a:cubicBezTo>
                <a:cubicBezTo>
                  <a:pt x="54" y="20"/>
                  <a:pt x="53" y="24"/>
                  <a:pt x="52" y="26"/>
                </a:cubicBezTo>
                <a:cubicBezTo>
                  <a:pt x="52" y="28"/>
                  <a:pt x="48" y="26"/>
                  <a:pt x="46" y="28"/>
                </a:cubicBezTo>
                <a:cubicBezTo>
                  <a:pt x="45" y="31"/>
                  <a:pt x="37" y="30"/>
                  <a:pt x="33" y="30"/>
                </a:cubicBezTo>
                <a:cubicBezTo>
                  <a:pt x="29" y="30"/>
                  <a:pt x="30" y="27"/>
                  <a:pt x="28" y="27"/>
                </a:cubicBezTo>
                <a:cubicBezTo>
                  <a:pt x="26" y="27"/>
                  <a:pt x="25" y="23"/>
                  <a:pt x="21" y="21"/>
                </a:cubicBezTo>
                <a:cubicBezTo>
                  <a:pt x="20" y="20"/>
                  <a:pt x="18" y="20"/>
                  <a:pt x="17" y="20"/>
                </a:cubicBezTo>
                <a:cubicBezTo>
                  <a:pt x="18" y="23"/>
                  <a:pt x="16" y="24"/>
                  <a:pt x="16" y="26"/>
                </a:cubicBezTo>
                <a:cubicBezTo>
                  <a:pt x="16" y="28"/>
                  <a:pt x="14" y="29"/>
                  <a:pt x="10" y="29"/>
                </a:cubicBezTo>
                <a:cubicBezTo>
                  <a:pt x="6" y="29"/>
                  <a:pt x="7" y="30"/>
                  <a:pt x="8" y="33"/>
                </a:cubicBezTo>
                <a:cubicBezTo>
                  <a:pt x="9" y="36"/>
                  <a:pt x="9" y="37"/>
                  <a:pt x="6" y="38"/>
                </a:cubicBezTo>
                <a:cubicBezTo>
                  <a:pt x="4" y="39"/>
                  <a:pt x="5" y="42"/>
                  <a:pt x="4" y="47"/>
                </a:cubicBezTo>
                <a:cubicBezTo>
                  <a:pt x="4" y="51"/>
                  <a:pt x="2" y="51"/>
                  <a:pt x="0" y="51"/>
                </a:cubicBezTo>
                <a:cubicBezTo>
                  <a:pt x="1" y="53"/>
                  <a:pt x="1" y="55"/>
                  <a:pt x="1" y="57"/>
                </a:cubicBezTo>
                <a:cubicBezTo>
                  <a:pt x="1" y="60"/>
                  <a:pt x="0" y="64"/>
                  <a:pt x="2" y="65"/>
                </a:cubicBezTo>
                <a:close/>
              </a:path>
            </a:pathLst>
          </a:custGeom>
          <a:solidFill>
            <a:srgbClr val="00B0F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4" name="Freeform 118">
            <a:extLst>
              <a:ext uri="{FF2B5EF4-FFF2-40B4-BE49-F238E27FC236}">
                <a16:creationId xmlns:a16="http://schemas.microsoft.com/office/drawing/2014/main" id="{CD85F20A-717C-7D3E-9197-EE8DFA288BFB}"/>
              </a:ext>
            </a:extLst>
          </p:cNvPr>
          <p:cNvSpPr>
            <a:spLocks/>
          </p:cNvSpPr>
          <p:nvPr/>
        </p:nvSpPr>
        <p:spPr bwMode="auto">
          <a:xfrm>
            <a:off x="2218368" y="4952349"/>
            <a:ext cx="520769" cy="698665"/>
          </a:xfrm>
          <a:custGeom>
            <a:avLst/>
            <a:gdLst>
              <a:gd name="T0" fmla="*/ 88 w 90"/>
              <a:gd name="T1" fmla="*/ 88 h 121"/>
              <a:gd name="T2" fmla="*/ 81 w 90"/>
              <a:gd name="T3" fmla="*/ 80 h 121"/>
              <a:gd name="T4" fmla="*/ 78 w 90"/>
              <a:gd name="T5" fmla="*/ 75 h 121"/>
              <a:gd name="T6" fmla="*/ 76 w 90"/>
              <a:gd name="T7" fmla="*/ 69 h 121"/>
              <a:gd name="T8" fmla="*/ 80 w 90"/>
              <a:gd name="T9" fmla="*/ 62 h 121"/>
              <a:gd name="T10" fmla="*/ 83 w 90"/>
              <a:gd name="T11" fmla="*/ 58 h 121"/>
              <a:gd name="T12" fmla="*/ 83 w 90"/>
              <a:gd name="T13" fmla="*/ 50 h 121"/>
              <a:gd name="T14" fmla="*/ 83 w 90"/>
              <a:gd name="T15" fmla="*/ 46 h 121"/>
              <a:gd name="T16" fmla="*/ 77 w 90"/>
              <a:gd name="T17" fmla="*/ 44 h 121"/>
              <a:gd name="T18" fmla="*/ 69 w 90"/>
              <a:gd name="T19" fmla="*/ 48 h 121"/>
              <a:gd name="T20" fmla="*/ 59 w 90"/>
              <a:gd name="T21" fmla="*/ 44 h 121"/>
              <a:gd name="T22" fmla="*/ 55 w 90"/>
              <a:gd name="T23" fmla="*/ 38 h 121"/>
              <a:gd name="T24" fmla="*/ 57 w 90"/>
              <a:gd name="T25" fmla="*/ 31 h 121"/>
              <a:gd name="T26" fmla="*/ 52 w 90"/>
              <a:gd name="T27" fmla="*/ 28 h 121"/>
              <a:gd name="T28" fmla="*/ 43 w 90"/>
              <a:gd name="T29" fmla="*/ 21 h 121"/>
              <a:gd name="T30" fmla="*/ 39 w 90"/>
              <a:gd name="T31" fmla="*/ 11 h 121"/>
              <a:gd name="T32" fmla="*/ 34 w 90"/>
              <a:gd name="T33" fmla="*/ 4 h 121"/>
              <a:gd name="T34" fmla="*/ 33 w 90"/>
              <a:gd name="T35" fmla="*/ 1 h 121"/>
              <a:gd name="T36" fmla="*/ 28 w 90"/>
              <a:gd name="T37" fmla="*/ 0 h 121"/>
              <a:gd name="T38" fmla="*/ 20 w 90"/>
              <a:gd name="T39" fmla="*/ 0 h 121"/>
              <a:gd name="T40" fmla="*/ 15 w 90"/>
              <a:gd name="T41" fmla="*/ 5 h 121"/>
              <a:gd name="T42" fmla="*/ 3 w 90"/>
              <a:gd name="T43" fmla="*/ 7 h 121"/>
              <a:gd name="T44" fmla="*/ 0 w 90"/>
              <a:gd name="T45" fmla="*/ 8 h 121"/>
              <a:gd name="T46" fmla="*/ 2 w 90"/>
              <a:gd name="T47" fmla="*/ 11 h 121"/>
              <a:gd name="T48" fmla="*/ 4 w 90"/>
              <a:gd name="T49" fmla="*/ 16 h 121"/>
              <a:gd name="T50" fmla="*/ 7 w 90"/>
              <a:gd name="T51" fmla="*/ 22 h 121"/>
              <a:gd name="T52" fmla="*/ 8 w 90"/>
              <a:gd name="T53" fmla="*/ 26 h 121"/>
              <a:gd name="T54" fmla="*/ 10 w 90"/>
              <a:gd name="T55" fmla="*/ 31 h 121"/>
              <a:gd name="T56" fmla="*/ 9 w 90"/>
              <a:gd name="T57" fmla="*/ 37 h 121"/>
              <a:gd name="T58" fmla="*/ 13 w 90"/>
              <a:gd name="T59" fmla="*/ 44 h 121"/>
              <a:gd name="T60" fmla="*/ 8 w 90"/>
              <a:gd name="T61" fmla="*/ 53 h 121"/>
              <a:gd name="T62" fmla="*/ 12 w 90"/>
              <a:gd name="T63" fmla="*/ 59 h 121"/>
              <a:gd name="T64" fmla="*/ 17 w 90"/>
              <a:gd name="T65" fmla="*/ 62 h 121"/>
              <a:gd name="T66" fmla="*/ 11 w 90"/>
              <a:gd name="T67" fmla="*/ 66 h 121"/>
              <a:gd name="T68" fmla="*/ 14 w 90"/>
              <a:gd name="T69" fmla="*/ 70 h 121"/>
              <a:gd name="T70" fmla="*/ 16 w 90"/>
              <a:gd name="T71" fmla="*/ 75 h 121"/>
              <a:gd name="T72" fmla="*/ 13 w 90"/>
              <a:gd name="T73" fmla="*/ 81 h 121"/>
              <a:gd name="T74" fmla="*/ 17 w 90"/>
              <a:gd name="T75" fmla="*/ 86 h 121"/>
              <a:gd name="T76" fmla="*/ 27 w 90"/>
              <a:gd name="T77" fmla="*/ 91 h 121"/>
              <a:gd name="T78" fmla="*/ 32 w 90"/>
              <a:gd name="T79" fmla="*/ 99 h 121"/>
              <a:gd name="T80" fmla="*/ 31 w 90"/>
              <a:gd name="T81" fmla="*/ 109 h 121"/>
              <a:gd name="T82" fmla="*/ 38 w 90"/>
              <a:gd name="T83" fmla="*/ 116 h 121"/>
              <a:gd name="T84" fmla="*/ 41 w 90"/>
              <a:gd name="T85" fmla="*/ 121 h 121"/>
              <a:gd name="T86" fmla="*/ 45 w 90"/>
              <a:gd name="T87" fmla="*/ 120 h 121"/>
              <a:gd name="T88" fmla="*/ 56 w 90"/>
              <a:gd name="T89" fmla="*/ 117 h 121"/>
              <a:gd name="T90" fmla="*/ 63 w 90"/>
              <a:gd name="T91" fmla="*/ 114 h 121"/>
              <a:gd name="T92" fmla="*/ 71 w 90"/>
              <a:gd name="T93" fmla="*/ 112 h 121"/>
              <a:gd name="T94" fmla="*/ 77 w 90"/>
              <a:gd name="T95" fmla="*/ 109 h 121"/>
              <a:gd name="T96" fmla="*/ 76 w 90"/>
              <a:gd name="T97" fmla="*/ 102 h 121"/>
              <a:gd name="T98" fmla="*/ 78 w 90"/>
              <a:gd name="T99" fmla="*/ 99 h 121"/>
              <a:gd name="T100" fmla="*/ 86 w 90"/>
              <a:gd name="T101" fmla="*/ 95 h 121"/>
              <a:gd name="T102" fmla="*/ 88 w 90"/>
              <a:gd name="T103"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121">
                <a:moveTo>
                  <a:pt x="88" y="88"/>
                </a:moveTo>
                <a:cubicBezTo>
                  <a:pt x="87" y="85"/>
                  <a:pt x="81" y="83"/>
                  <a:pt x="81" y="80"/>
                </a:cubicBezTo>
                <a:cubicBezTo>
                  <a:pt x="81" y="78"/>
                  <a:pt x="80" y="76"/>
                  <a:pt x="78" y="75"/>
                </a:cubicBezTo>
                <a:cubicBezTo>
                  <a:pt x="77" y="74"/>
                  <a:pt x="75" y="74"/>
                  <a:pt x="76" y="69"/>
                </a:cubicBezTo>
                <a:cubicBezTo>
                  <a:pt x="78" y="64"/>
                  <a:pt x="77" y="64"/>
                  <a:pt x="80" y="62"/>
                </a:cubicBezTo>
                <a:cubicBezTo>
                  <a:pt x="82" y="61"/>
                  <a:pt x="83" y="62"/>
                  <a:pt x="83" y="58"/>
                </a:cubicBezTo>
                <a:cubicBezTo>
                  <a:pt x="83" y="54"/>
                  <a:pt x="81" y="53"/>
                  <a:pt x="83" y="50"/>
                </a:cubicBezTo>
                <a:cubicBezTo>
                  <a:pt x="84" y="48"/>
                  <a:pt x="85" y="47"/>
                  <a:pt x="83" y="46"/>
                </a:cubicBezTo>
                <a:cubicBezTo>
                  <a:pt x="81" y="44"/>
                  <a:pt x="78" y="41"/>
                  <a:pt x="77" y="44"/>
                </a:cubicBezTo>
                <a:cubicBezTo>
                  <a:pt x="76" y="47"/>
                  <a:pt x="71" y="51"/>
                  <a:pt x="69" y="48"/>
                </a:cubicBezTo>
                <a:cubicBezTo>
                  <a:pt x="66" y="45"/>
                  <a:pt x="60" y="45"/>
                  <a:pt x="59" y="44"/>
                </a:cubicBezTo>
                <a:cubicBezTo>
                  <a:pt x="58" y="42"/>
                  <a:pt x="53" y="41"/>
                  <a:pt x="55" y="38"/>
                </a:cubicBezTo>
                <a:cubicBezTo>
                  <a:pt x="58" y="34"/>
                  <a:pt x="58" y="34"/>
                  <a:pt x="57" y="31"/>
                </a:cubicBezTo>
                <a:cubicBezTo>
                  <a:pt x="57" y="29"/>
                  <a:pt x="55" y="27"/>
                  <a:pt x="52" y="28"/>
                </a:cubicBezTo>
                <a:cubicBezTo>
                  <a:pt x="49" y="28"/>
                  <a:pt x="45" y="26"/>
                  <a:pt x="43" y="21"/>
                </a:cubicBezTo>
                <a:cubicBezTo>
                  <a:pt x="42" y="16"/>
                  <a:pt x="41" y="14"/>
                  <a:pt x="39" y="11"/>
                </a:cubicBezTo>
                <a:cubicBezTo>
                  <a:pt x="37" y="8"/>
                  <a:pt x="35" y="6"/>
                  <a:pt x="34" y="4"/>
                </a:cubicBezTo>
                <a:cubicBezTo>
                  <a:pt x="33" y="3"/>
                  <a:pt x="32" y="2"/>
                  <a:pt x="33" y="1"/>
                </a:cubicBezTo>
                <a:cubicBezTo>
                  <a:pt x="31" y="1"/>
                  <a:pt x="30" y="1"/>
                  <a:pt x="28" y="0"/>
                </a:cubicBezTo>
                <a:cubicBezTo>
                  <a:pt x="26" y="0"/>
                  <a:pt x="22" y="0"/>
                  <a:pt x="20" y="0"/>
                </a:cubicBezTo>
                <a:cubicBezTo>
                  <a:pt x="17" y="0"/>
                  <a:pt x="16" y="3"/>
                  <a:pt x="15" y="5"/>
                </a:cubicBezTo>
                <a:cubicBezTo>
                  <a:pt x="14" y="7"/>
                  <a:pt x="6" y="7"/>
                  <a:pt x="3" y="7"/>
                </a:cubicBezTo>
                <a:cubicBezTo>
                  <a:pt x="2" y="7"/>
                  <a:pt x="1" y="7"/>
                  <a:pt x="0" y="8"/>
                </a:cubicBezTo>
                <a:cubicBezTo>
                  <a:pt x="0" y="9"/>
                  <a:pt x="1" y="10"/>
                  <a:pt x="2" y="11"/>
                </a:cubicBezTo>
                <a:cubicBezTo>
                  <a:pt x="4" y="11"/>
                  <a:pt x="4" y="14"/>
                  <a:pt x="4" y="16"/>
                </a:cubicBezTo>
                <a:cubicBezTo>
                  <a:pt x="4" y="17"/>
                  <a:pt x="5" y="21"/>
                  <a:pt x="7" y="22"/>
                </a:cubicBezTo>
                <a:cubicBezTo>
                  <a:pt x="8" y="22"/>
                  <a:pt x="8" y="24"/>
                  <a:pt x="8" y="26"/>
                </a:cubicBezTo>
                <a:cubicBezTo>
                  <a:pt x="8" y="27"/>
                  <a:pt x="9" y="30"/>
                  <a:pt x="10" y="31"/>
                </a:cubicBezTo>
                <a:cubicBezTo>
                  <a:pt x="11" y="32"/>
                  <a:pt x="7" y="36"/>
                  <a:pt x="9" y="37"/>
                </a:cubicBezTo>
                <a:cubicBezTo>
                  <a:pt x="11" y="38"/>
                  <a:pt x="14" y="42"/>
                  <a:pt x="13" y="44"/>
                </a:cubicBezTo>
                <a:cubicBezTo>
                  <a:pt x="12" y="47"/>
                  <a:pt x="8" y="50"/>
                  <a:pt x="8" y="53"/>
                </a:cubicBezTo>
                <a:cubicBezTo>
                  <a:pt x="8" y="56"/>
                  <a:pt x="10" y="58"/>
                  <a:pt x="12" y="59"/>
                </a:cubicBezTo>
                <a:cubicBezTo>
                  <a:pt x="15" y="59"/>
                  <a:pt x="17" y="60"/>
                  <a:pt x="17" y="62"/>
                </a:cubicBezTo>
                <a:cubicBezTo>
                  <a:pt x="16" y="65"/>
                  <a:pt x="10" y="64"/>
                  <a:pt x="11" y="66"/>
                </a:cubicBezTo>
                <a:cubicBezTo>
                  <a:pt x="12" y="69"/>
                  <a:pt x="13" y="67"/>
                  <a:pt x="14" y="70"/>
                </a:cubicBezTo>
                <a:cubicBezTo>
                  <a:pt x="15" y="72"/>
                  <a:pt x="17" y="74"/>
                  <a:pt x="16" y="75"/>
                </a:cubicBezTo>
                <a:cubicBezTo>
                  <a:pt x="14" y="77"/>
                  <a:pt x="13" y="79"/>
                  <a:pt x="13" y="81"/>
                </a:cubicBezTo>
                <a:cubicBezTo>
                  <a:pt x="14" y="83"/>
                  <a:pt x="14" y="84"/>
                  <a:pt x="17" y="86"/>
                </a:cubicBezTo>
                <a:cubicBezTo>
                  <a:pt x="21" y="89"/>
                  <a:pt x="24" y="89"/>
                  <a:pt x="27" y="91"/>
                </a:cubicBezTo>
                <a:cubicBezTo>
                  <a:pt x="30" y="94"/>
                  <a:pt x="34" y="95"/>
                  <a:pt x="32" y="99"/>
                </a:cubicBezTo>
                <a:cubicBezTo>
                  <a:pt x="30" y="103"/>
                  <a:pt x="27" y="106"/>
                  <a:pt x="31" y="109"/>
                </a:cubicBezTo>
                <a:cubicBezTo>
                  <a:pt x="34" y="111"/>
                  <a:pt x="36" y="113"/>
                  <a:pt x="38" y="116"/>
                </a:cubicBezTo>
                <a:cubicBezTo>
                  <a:pt x="39" y="118"/>
                  <a:pt x="40" y="120"/>
                  <a:pt x="41" y="121"/>
                </a:cubicBezTo>
                <a:cubicBezTo>
                  <a:pt x="42" y="120"/>
                  <a:pt x="43" y="120"/>
                  <a:pt x="45" y="120"/>
                </a:cubicBezTo>
                <a:cubicBezTo>
                  <a:pt x="50" y="120"/>
                  <a:pt x="52" y="119"/>
                  <a:pt x="56" y="117"/>
                </a:cubicBezTo>
                <a:cubicBezTo>
                  <a:pt x="59" y="115"/>
                  <a:pt x="60" y="114"/>
                  <a:pt x="63" y="114"/>
                </a:cubicBezTo>
                <a:cubicBezTo>
                  <a:pt x="65" y="114"/>
                  <a:pt x="67" y="112"/>
                  <a:pt x="71" y="112"/>
                </a:cubicBezTo>
                <a:cubicBezTo>
                  <a:pt x="75" y="113"/>
                  <a:pt x="77" y="113"/>
                  <a:pt x="77" y="109"/>
                </a:cubicBezTo>
                <a:cubicBezTo>
                  <a:pt x="77" y="106"/>
                  <a:pt x="78" y="104"/>
                  <a:pt x="76" y="102"/>
                </a:cubicBezTo>
                <a:cubicBezTo>
                  <a:pt x="75" y="100"/>
                  <a:pt x="75" y="99"/>
                  <a:pt x="78" y="99"/>
                </a:cubicBezTo>
                <a:cubicBezTo>
                  <a:pt x="81" y="99"/>
                  <a:pt x="84" y="98"/>
                  <a:pt x="86" y="95"/>
                </a:cubicBezTo>
                <a:cubicBezTo>
                  <a:pt x="87" y="93"/>
                  <a:pt x="90" y="92"/>
                  <a:pt x="88" y="88"/>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5" name="Freeform 119">
            <a:extLst>
              <a:ext uri="{FF2B5EF4-FFF2-40B4-BE49-F238E27FC236}">
                <a16:creationId xmlns:a16="http://schemas.microsoft.com/office/drawing/2014/main" id="{960C2F93-8467-44E0-3C27-B97AD50F1B5E}"/>
              </a:ext>
            </a:extLst>
          </p:cNvPr>
          <p:cNvSpPr>
            <a:spLocks/>
          </p:cNvSpPr>
          <p:nvPr/>
        </p:nvSpPr>
        <p:spPr bwMode="auto">
          <a:xfrm>
            <a:off x="2293327" y="5552887"/>
            <a:ext cx="209096" cy="490636"/>
          </a:xfrm>
          <a:custGeom>
            <a:avLst/>
            <a:gdLst>
              <a:gd name="T0" fmla="*/ 34 w 36"/>
              <a:gd name="T1" fmla="*/ 53 h 85"/>
              <a:gd name="T2" fmla="*/ 25 w 36"/>
              <a:gd name="T3" fmla="*/ 42 h 85"/>
              <a:gd name="T4" fmla="*/ 25 w 36"/>
              <a:gd name="T5" fmla="*/ 26 h 85"/>
              <a:gd name="T6" fmla="*/ 28 w 36"/>
              <a:gd name="T7" fmla="*/ 17 h 85"/>
              <a:gd name="T8" fmla="*/ 25 w 36"/>
              <a:gd name="T9" fmla="*/ 12 h 85"/>
              <a:gd name="T10" fmla="*/ 18 w 36"/>
              <a:gd name="T11" fmla="*/ 5 h 85"/>
              <a:gd name="T12" fmla="*/ 16 w 36"/>
              <a:gd name="T13" fmla="*/ 2 h 85"/>
              <a:gd name="T14" fmla="*/ 12 w 36"/>
              <a:gd name="T15" fmla="*/ 3 h 85"/>
              <a:gd name="T16" fmla="*/ 7 w 36"/>
              <a:gd name="T17" fmla="*/ 1 h 85"/>
              <a:gd name="T18" fmla="*/ 3 w 36"/>
              <a:gd name="T19" fmla="*/ 7 h 85"/>
              <a:gd name="T20" fmla="*/ 1 w 36"/>
              <a:gd name="T21" fmla="*/ 15 h 85"/>
              <a:gd name="T22" fmla="*/ 0 w 36"/>
              <a:gd name="T23" fmla="*/ 20 h 85"/>
              <a:gd name="T24" fmla="*/ 4 w 36"/>
              <a:gd name="T25" fmla="*/ 24 h 85"/>
              <a:gd name="T26" fmla="*/ 4 w 36"/>
              <a:gd name="T27" fmla="*/ 51 h 85"/>
              <a:gd name="T28" fmla="*/ 6 w 36"/>
              <a:gd name="T29" fmla="*/ 68 h 85"/>
              <a:gd name="T30" fmla="*/ 9 w 36"/>
              <a:gd name="T31" fmla="*/ 79 h 85"/>
              <a:gd name="T32" fmla="*/ 8 w 36"/>
              <a:gd name="T33" fmla="*/ 85 h 85"/>
              <a:gd name="T34" fmla="*/ 14 w 36"/>
              <a:gd name="T35" fmla="*/ 84 h 85"/>
              <a:gd name="T36" fmla="*/ 23 w 36"/>
              <a:gd name="T37" fmla="*/ 79 h 85"/>
              <a:gd name="T38" fmla="*/ 29 w 36"/>
              <a:gd name="T39" fmla="*/ 68 h 85"/>
              <a:gd name="T40" fmla="*/ 34 w 36"/>
              <a:gd name="T41" fmla="*/ 61 h 85"/>
              <a:gd name="T42" fmla="*/ 34 w 36"/>
              <a:gd name="T43" fmla="*/ 5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85">
                <a:moveTo>
                  <a:pt x="34" y="53"/>
                </a:moveTo>
                <a:cubicBezTo>
                  <a:pt x="32" y="50"/>
                  <a:pt x="25" y="47"/>
                  <a:pt x="25" y="42"/>
                </a:cubicBezTo>
                <a:cubicBezTo>
                  <a:pt x="25" y="36"/>
                  <a:pt x="23" y="30"/>
                  <a:pt x="25" y="26"/>
                </a:cubicBezTo>
                <a:cubicBezTo>
                  <a:pt x="26" y="23"/>
                  <a:pt x="26" y="20"/>
                  <a:pt x="28" y="17"/>
                </a:cubicBezTo>
                <a:cubicBezTo>
                  <a:pt x="27" y="16"/>
                  <a:pt x="26" y="14"/>
                  <a:pt x="25" y="12"/>
                </a:cubicBezTo>
                <a:cubicBezTo>
                  <a:pt x="23" y="9"/>
                  <a:pt x="21" y="7"/>
                  <a:pt x="18" y="5"/>
                </a:cubicBezTo>
                <a:cubicBezTo>
                  <a:pt x="16" y="4"/>
                  <a:pt x="16" y="3"/>
                  <a:pt x="16" y="2"/>
                </a:cubicBezTo>
                <a:cubicBezTo>
                  <a:pt x="15" y="3"/>
                  <a:pt x="13" y="3"/>
                  <a:pt x="12" y="3"/>
                </a:cubicBezTo>
                <a:cubicBezTo>
                  <a:pt x="11" y="3"/>
                  <a:pt x="10" y="2"/>
                  <a:pt x="7" y="1"/>
                </a:cubicBezTo>
                <a:cubicBezTo>
                  <a:pt x="5" y="0"/>
                  <a:pt x="5" y="5"/>
                  <a:pt x="3" y="7"/>
                </a:cubicBezTo>
                <a:cubicBezTo>
                  <a:pt x="1" y="9"/>
                  <a:pt x="1" y="11"/>
                  <a:pt x="1" y="15"/>
                </a:cubicBezTo>
                <a:cubicBezTo>
                  <a:pt x="1" y="16"/>
                  <a:pt x="1" y="18"/>
                  <a:pt x="0" y="20"/>
                </a:cubicBezTo>
                <a:cubicBezTo>
                  <a:pt x="2" y="22"/>
                  <a:pt x="3" y="23"/>
                  <a:pt x="4" y="24"/>
                </a:cubicBezTo>
                <a:cubicBezTo>
                  <a:pt x="9" y="29"/>
                  <a:pt x="4" y="40"/>
                  <a:pt x="4" y="51"/>
                </a:cubicBezTo>
                <a:cubicBezTo>
                  <a:pt x="4" y="63"/>
                  <a:pt x="0" y="65"/>
                  <a:pt x="6" y="68"/>
                </a:cubicBezTo>
                <a:cubicBezTo>
                  <a:pt x="12" y="72"/>
                  <a:pt x="10" y="74"/>
                  <a:pt x="9" y="79"/>
                </a:cubicBezTo>
                <a:cubicBezTo>
                  <a:pt x="8" y="81"/>
                  <a:pt x="8" y="83"/>
                  <a:pt x="8" y="85"/>
                </a:cubicBezTo>
                <a:cubicBezTo>
                  <a:pt x="10" y="85"/>
                  <a:pt x="12" y="84"/>
                  <a:pt x="14" y="84"/>
                </a:cubicBezTo>
                <a:cubicBezTo>
                  <a:pt x="19" y="84"/>
                  <a:pt x="22" y="82"/>
                  <a:pt x="23" y="79"/>
                </a:cubicBezTo>
                <a:cubicBezTo>
                  <a:pt x="24" y="75"/>
                  <a:pt x="26" y="71"/>
                  <a:pt x="29" y="68"/>
                </a:cubicBezTo>
                <a:cubicBezTo>
                  <a:pt x="32" y="65"/>
                  <a:pt x="32" y="62"/>
                  <a:pt x="34" y="61"/>
                </a:cubicBezTo>
                <a:cubicBezTo>
                  <a:pt x="35" y="59"/>
                  <a:pt x="36" y="56"/>
                  <a:pt x="34" y="53"/>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6" name="Freeform 120">
            <a:extLst>
              <a:ext uri="{FF2B5EF4-FFF2-40B4-BE49-F238E27FC236}">
                <a16:creationId xmlns:a16="http://schemas.microsoft.com/office/drawing/2014/main" id="{85A36DBF-F341-D934-6165-629F6192AC69}"/>
              </a:ext>
            </a:extLst>
          </p:cNvPr>
          <p:cNvSpPr>
            <a:spLocks/>
          </p:cNvSpPr>
          <p:nvPr/>
        </p:nvSpPr>
        <p:spPr bwMode="auto">
          <a:xfrm>
            <a:off x="1859353" y="5109352"/>
            <a:ext cx="457645" cy="443535"/>
          </a:xfrm>
          <a:custGeom>
            <a:avLst/>
            <a:gdLst>
              <a:gd name="T0" fmla="*/ 56 w 79"/>
              <a:gd name="T1" fmla="*/ 75 h 77"/>
              <a:gd name="T2" fmla="*/ 58 w 79"/>
              <a:gd name="T3" fmla="*/ 71 h 77"/>
              <a:gd name="T4" fmla="*/ 56 w 79"/>
              <a:gd name="T5" fmla="*/ 65 h 77"/>
              <a:gd name="T6" fmla="*/ 61 w 79"/>
              <a:gd name="T7" fmla="*/ 62 h 77"/>
              <a:gd name="T8" fmla="*/ 64 w 79"/>
              <a:gd name="T9" fmla="*/ 58 h 77"/>
              <a:gd name="T10" fmla="*/ 67 w 79"/>
              <a:gd name="T11" fmla="*/ 56 h 77"/>
              <a:gd name="T12" fmla="*/ 70 w 79"/>
              <a:gd name="T13" fmla="*/ 51 h 77"/>
              <a:gd name="T14" fmla="*/ 76 w 79"/>
              <a:gd name="T15" fmla="*/ 50 h 77"/>
              <a:gd name="T16" fmla="*/ 78 w 79"/>
              <a:gd name="T17" fmla="*/ 48 h 77"/>
              <a:gd name="T18" fmla="*/ 76 w 79"/>
              <a:gd name="T19" fmla="*/ 43 h 77"/>
              <a:gd name="T20" fmla="*/ 73 w 79"/>
              <a:gd name="T21" fmla="*/ 39 h 77"/>
              <a:gd name="T22" fmla="*/ 79 w 79"/>
              <a:gd name="T23" fmla="*/ 35 h 77"/>
              <a:gd name="T24" fmla="*/ 74 w 79"/>
              <a:gd name="T25" fmla="*/ 32 h 77"/>
              <a:gd name="T26" fmla="*/ 70 w 79"/>
              <a:gd name="T27" fmla="*/ 26 h 77"/>
              <a:gd name="T28" fmla="*/ 75 w 79"/>
              <a:gd name="T29" fmla="*/ 17 h 77"/>
              <a:gd name="T30" fmla="*/ 71 w 79"/>
              <a:gd name="T31" fmla="*/ 10 h 77"/>
              <a:gd name="T32" fmla="*/ 71 w 79"/>
              <a:gd name="T33" fmla="*/ 9 h 77"/>
              <a:gd name="T34" fmla="*/ 68 w 79"/>
              <a:gd name="T35" fmla="*/ 9 h 77"/>
              <a:gd name="T36" fmla="*/ 59 w 79"/>
              <a:gd name="T37" fmla="*/ 6 h 77"/>
              <a:gd name="T38" fmla="*/ 48 w 79"/>
              <a:gd name="T39" fmla="*/ 6 h 77"/>
              <a:gd name="T40" fmla="*/ 38 w 79"/>
              <a:gd name="T41" fmla="*/ 4 h 77"/>
              <a:gd name="T42" fmla="*/ 27 w 79"/>
              <a:gd name="T43" fmla="*/ 3 h 77"/>
              <a:gd name="T44" fmla="*/ 22 w 79"/>
              <a:gd name="T45" fmla="*/ 2 h 77"/>
              <a:gd name="T46" fmla="*/ 18 w 79"/>
              <a:gd name="T47" fmla="*/ 3 h 77"/>
              <a:gd name="T48" fmla="*/ 13 w 79"/>
              <a:gd name="T49" fmla="*/ 7 h 77"/>
              <a:gd name="T50" fmla="*/ 8 w 79"/>
              <a:gd name="T51" fmla="*/ 4 h 77"/>
              <a:gd name="T52" fmla="*/ 2 w 79"/>
              <a:gd name="T53" fmla="*/ 4 h 77"/>
              <a:gd name="T54" fmla="*/ 0 w 79"/>
              <a:gd name="T55" fmla="*/ 10 h 77"/>
              <a:gd name="T56" fmla="*/ 4 w 79"/>
              <a:gd name="T57" fmla="*/ 17 h 77"/>
              <a:gd name="T58" fmla="*/ 8 w 79"/>
              <a:gd name="T59" fmla="*/ 23 h 77"/>
              <a:gd name="T60" fmla="*/ 12 w 79"/>
              <a:gd name="T61" fmla="*/ 32 h 77"/>
              <a:gd name="T62" fmla="*/ 19 w 79"/>
              <a:gd name="T63" fmla="*/ 40 h 77"/>
              <a:gd name="T64" fmla="*/ 26 w 79"/>
              <a:gd name="T65" fmla="*/ 50 h 77"/>
              <a:gd name="T66" fmla="*/ 33 w 79"/>
              <a:gd name="T67" fmla="*/ 56 h 77"/>
              <a:gd name="T68" fmla="*/ 38 w 79"/>
              <a:gd name="T69" fmla="*/ 63 h 77"/>
              <a:gd name="T70" fmla="*/ 49 w 79"/>
              <a:gd name="T71" fmla="*/ 70 h 77"/>
              <a:gd name="T72" fmla="*/ 52 w 79"/>
              <a:gd name="T73" fmla="*/ 77 h 77"/>
              <a:gd name="T74" fmla="*/ 55 w 79"/>
              <a:gd name="T75" fmla="*/ 77 h 77"/>
              <a:gd name="T76" fmla="*/ 56 w 79"/>
              <a:gd name="T77"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77">
                <a:moveTo>
                  <a:pt x="56" y="75"/>
                </a:moveTo>
                <a:cubicBezTo>
                  <a:pt x="58" y="73"/>
                  <a:pt x="59" y="73"/>
                  <a:pt x="58" y="71"/>
                </a:cubicBezTo>
                <a:cubicBezTo>
                  <a:pt x="56" y="69"/>
                  <a:pt x="54" y="66"/>
                  <a:pt x="56" y="65"/>
                </a:cubicBezTo>
                <a:cubicBezTo>
                  <a:pt x="58" y="65"/>
                  <a:pt x="60" y="65"/>
                  <a:pt x="61" y="62"/>
                </a:cubicBezTo>
                <a:cubicBezTo>
                  <a:pt x="62" y="59"/>
                  <a:pt x="61" y="58"/>
                  <a:pt x="64" y="58"/>
                </a:cubicBezTo>
                <a:cubicBezTo>
                  <a:pt x="66" y="58"/>
                  <a:pt x="67" y="59"/>
                  <a:pt x="67" y="56"/>
                </a:cubicBezTo>
                <a:cubicBezTo>
                  <a:pt x="67" y="53"/>
                  <a:pt x="67" y="52"/>
                  <a:pt x="70" y="51"/>
                </a:cubicBezTo>
                <a:cubicBezTo>
                  <a:pt x="72" y="51"/>
                  <a:pt x="73" y="49"/>
                  <a:pt x="76" y="50"/>
                </a:cubicBezTo>
                <a:cubicBezTo>
                  <a:pt x="77" y="50"/>
                  <a:pt x="77" y="49"/>
                  <a:pt x="78" y="48"/>
                </a:cubicBezTo>
                <a:cubicBezTo>
                  <a:pt x="79" y="47"/>
                  <a:pt x="77" y="45"/>
                  <a:pt x="76" y="43"/>
                </a:cubicBezTo>
                <a:cubicBezTo>
                  <a:pt x="75" y="40"/>
                  <a:pt x="74" y="42"/>
                  <a:pt x="73" y="39"/>
                </a:cubicBezTo>
                <a:cubicBezTo>
                  <a:pt x="72" y="37"/>
                  <a:pt x="78" y="38"/>
                  <a:pt x="79" y="35"/>
                </a:cubicBezTo>
                <a:cubicBezTo>
                  <a:pt x="79" y="33"/>
                  <a:pt x="77" y="32"/>
                  <a:pt x="74" y="32"/>
                </a:cubicBezTo>
                <a:cubicBezTo>
                  <a:pt x="72" y="31"/>
                  <a:pt x="70" y="29"/>
                  <a:pt x="70" y="26"/>
                </a:cubicBezTo>
                <a:cubicBezTo>
                  <a:pt x="70" y="23"/>
                  <a:pt x="74" y="20"/>
                  <a:pt x="75" y="17"/>
                </a:cubicBezTo>
                <a:cubicBezTo>
                  <a:pt x="76" y="15"/>
                  <a:pt x="73" y="11"/>
                  <a:pt x="71" y="10"/>
                </a:cubicBezTo>
                <a:cubicBezTo>
                  <a:pt x="71" y="10"/>
                  <a:pt x="71" y="9"/>
                  <a:pt x="71" y="9"/>
                </a:cubicBezTo>
                <a:cubicBezTo>
                  <a:pt x="70" y="9"/>
                  <a:pt x="69" y="9"/>
                  <a:pt x="68" y="9"/>
                </a:cubicBezTo>
                <a:cubicBezTo>
                  <a:pt x="65" y="9"/>
                  <a:pt x="61" y="7"/>
                  <a:pt x="59" y="6"/>
                </a:cubicBezTo>
                <a:cubicBezTo>
                  <a:pt x="58" y="5"/>
                  <a:pt x="53" y="5"/>
                  <a:pt x="48" y="6"/>
                </a:cubicBezTo>
                <a:cubicBezTo>
                  <a:pt x="43" y="7"/>
                  <a:pt x="42" y="6"/>
                  <a:pt x="38" y="4"/>
                </a:cubicBezTo>
                <a:cubicBezTo>
                  <a:pt x="33" y="2"/>
                  <a:pt x="31" y="3"/>
                  <a:pt x="27" y="3"/>
                </a:cubicBezTo>
                <a:cubicBezTo>
                  <a:pt x="24" y="3"/>
                  <a:pt x="24" y="3"/>
                  <a:pt x="22" y="2"/>
                </a:cubicBezTo>
                <a:cubicBezTo>
                  <a:pt x="20" y="0"/>
                  <a:pt x="19" y="2"/>
                  <a:pt x="18" y="3"/>
                </a:cubicBezTo>
                <a:cubicBezTo>
                  <a:pt x="16" y="3"/>
                  <a:pt x="16" y="8"/>
                  <a:pt x="13" y="7"/>
                </a:cubicBezTo>
                <a:cubicBezTo>
                  <a:pt x="11" y="7"/>
                  <a:pt x="10" y="6"/>
                  <a:pt x="8" y="4"/>
                </a:cubicBezTo>
                <a:cubicBezTo>
                  <a:pt x="7" y="3"/>
                  <a:pt x="4" y="3"/>
                  <a:pt x="2" y="4"/>
                </a:cubicBezTo>
                <a:cubicBezTo>
                  <a:pt x="1" y="6"/>
                  <a:pt x="0" y="8"/>
                  <a:pt x="0" y="10"/>
                </a:cubicBezTo>
                <a:cubicBezTo>
                  <a:pt x="1" y="12"/>
                  <a:pt x="2" y="15"/>
                  <a:pt x="4" y="17"/>
                </a:cubicBezTo>
                <a:cubicBezTo>
                  <a:pt x="7" y="19"/>
                  <a:pt x="8" y="21"/>
                  <a:pt x="8" y="23"/>
                </a:cubicBezTo>
                <a:cubicBezTo>
                  <a:pt x="9" y="26"/>
                  <a:pt x="12" y="29"/>
                  <a:pt x="12" y="32"/>
                </a:cubicBezTo>
                <a:cubicBezTo>
                  <a:pt x="13" y="36"/>
                  <a:pt x="14" y="38"/>
                  <a:pt x="19" y="40"/>
                </a:cubicBezTo>
                <a:cubicBezTo>
                  <a:pt x="23" y="41"/>
                  <a:pt x="25" y="47"/>
                  <a:pt x="26" y="50"/>
                </a:cubicBezTo>
                <a:cubicBezTo>
                  <a:pt x="28" y="53"/>
                  <a:pt x="30" y="53"/>
                  <a:pt x="33" y="56"/>
                </a:cubicBezTo>
                <a:cubicBezTo>
                  <a:pt x="36" y="58"/>
                  <a:pt x="37" y="60"/>
                  <a:pt x="38" y="63"/>
                </a:cubicBezTo>
                <a:cubicBezTo>
                  <a:pt x="39" y="65"/>
                  <a:pt x="44" y="67"/>
                  <a:pt x="49" y="70"/>
                </a:cubicBezTo>
                <a:cubicBezTo>
                  <a:pt x="51" y="72"/>
                  <a:pt x="52" y="74"/>
                  <a:pt x="52" y="77"/>
                </a:cubicBezTo>
                <a:cubicBezTo>
                  <a:pt x="53" y="77"/>
                  <a:pt x="54" y="77"/>
                  <a:pt x="55" y="77"/>
                </a:cubicBezTo>
                <a:cubicBezTo>
                  <a:pt x="55" y="76"/>
                  <a:pt x="56" y="75"/>
                  <a:pt x="56" y="75"/>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7" name="Freeform 121">
            <a:extLst>
              <a:ext uri="{FF2B5EF4-FFF2-40B4-BE49-F238E27FC236}">
                <a16:creationId xmlns:a16="http://schemas.microsoft.com/office/drawing/2014/main" id="{3248394F-5514-1114-0802-DB34E3EBA631}"/>
              </a:ext>
            </a:extLst>
          </p:cNvPr>
          <p:cNvSpPr>
            <a:spLocks/>
          </p:cNvSpPr>
          <p:nvPr/>
        </p:nvSpPr>
        <p:spPr bwMode="auto">
          <a:xfrm>
            <a:off x="2171025" y="5391959"/>
            <a:ext cx="244603" cy="276719"/>
          </a:xfrm>
          <a:custGeom>
            <a:avLst/>
            <a:gdLst>
              <a:gd name="T0" fmla="*/ 35 w 42"/>
              <a:gd name="T1" fmla="*/ 15 h 48"/>
              <a:gd name="T2" fmla="*/ 25 w 42"/>
              <a:gd name="T3" fmla="*/ 10 h 48"/>
              <a:gd name="T4" fmla="*/ 21 w 42"/>
              <a:gd name="T5" fmla="*/ 5 h 48"/>
              <a:gd name="T6" fmla="*/ 22 w 42"/>
              <a:gd name="T7" fmla="*/ 1 h 48"/>
              <a:gd name="T8" fmla="*/ 16 w 42"/>
              <a:gd name="T9" fmla="*/ 2 h 48"/>
              <a:gd name="T10" fmla="*/ 13 w 42"/>
              <a:gd name="T11" fmla="*/ 7 h 48"/>
              <a:gd name="T12" fmla="*/ 10 w 42"/>
              <a:gd name="T13" fmla="*/ 9 h 48"/>
              <a:gd name="T14" fmla="*/ 7 w 42"/>
              <a:gd name="T15" fmla="*/ 13 h 48"/>
              <a:gd name="T16" fmla="*/ 2 w 42"/>
              <a:gd name="T17" fmla="*/ 16 h 48"/>
              <a:gd name="T18" fmla="*/ 4 w 42"/>
              <a:gd name="T19" fmla="*/ 22 h 48"/>
              <a:gd name="T20" fmla="*/ 2 w 42"/>
              <a:gd name="T21" fmla="*/ 26 h 48"/>
              <a:gd name="T22" fmla="*/ 1 w 42"/>
              <a:gd name="T23" fmla="*/ 28 h 48"/>
              <a:gd name="T24" fmla="*/ 2 w 42"/>
              <a:gd name="T25" fmla="*/ 29 h 48"/>
              <a:gd name="T26" fmla="*/ 21 w 42"/>
              <a:gd name="T27" fmla="*/ 48 h 48"/>
              <a:gd name="T28" fmla="*/ 22 w 42"/>
              <a:gd name="T29" fmla="*/ 43 h 48"/>
              <a:gd name="T30" fmla="*/ 24 w 42"/>
              <a:gd name="T31" fmla="*/ 35 h 48"/>
              <a:gd name="T32" fmla="*/ 28 w 42"/>
              <a:gd name="T33" fmla="*/ 29 h 48"/>
              <a:gd name="T34" fmla="*/ 33 w 42"/>
              <a:gd name="T35" fmla="*/ 31 h 48"/>
              <a:gd name="T36" fmla="*/ 37 w 42"/>
              <a:gd name="T37" fmla="*/ 30 h 48"/>
              <a:gd name="T38" fmla="*/ 40 w 42"/>
              <a:gd name="T39" fmla="*/ 23 h 48"/>
              <a:gd name="T40" fmla="*/ 35 w 42"/>
              <a:gd name="T41"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8">
                <a:moveTo>
                  <a:pt x="35" y="15"/>
                </a:moveTo>
                <a:cubicBezTo>
                  <a:pt x="32" y="13"/>
                  <a:pt x="29" y="13"/>
                  <a:pt x="25" y="10"/>
                </a:cubicBezTo>
                <a:cubicBezTo>
                  <a:pt x="22" y="8"/>
                  <a:pt x="22" y="7"/>
                  <a:pt x="21" y="5"/>
                </a:cubicBezTo>
                <a:cubicBezTo>
                  <a:pt x="21" y="4"/>
                  <a:pt x="21" y="3"/>
                  <a:pt x="22" y="1"/>
                </a:cubicBezTo>
                <a:cubicBezTo>
                  <a:pt x="19" y="0"/>
                  <a:pt x="18" y="2"/>
                  <a:pt x="16" y="2"/>
                </a:cubicBezTo>
                <a:cubicBezTo>
                  <a:pt x="13" y="3"/>
                  <a:pt x="13" y="4"/>
                  <a:pt x="13" y="7"/>
                </a:cubicBezTo>
                <a:cubicBezTo>
                  <a:pt x="13" y="10"/>
                  <a:pt x="12" y="9"/>
                  <a:pt x="10" y="9"/>
                </a:cubicBezTo>
                <a:cubicBezTo>
                  <a:pt x="7" y="9"/>
                  <a:pt x="8" y="10"/>
                  <a:pt x="7" y="13"/>
                </a:cubicBezTo>
                <a:cubicBezTo>
                  <a:pt x="6" y="16"/>
                  <a:pt x="4" y="16"/>
                  <a:pt x="2" y="16"/>
                </a:cubicBezTo>
                <a:cubicBezTo>
                  <a:pt x="0" y="17"/>
                  <a:pt x="2" y="20"/>
                  <a:pt x="4" y="22"/>
                </a:cubicBezTo>
                <a:cubicBezTo>
                  <a:pt x="5" y="24"/>
                  <a:pt x="4" y="24"/>
                  <a:pt x="2" y="26"/>
                </a:cubicBezTo>
                <a:cubicBezTo>
                  <a:pt x="2" y="26"/>
                  <a:pt x="1" y="27"/>
                  <a:pt x="1" y="28"/>
                </a:cubicBezTo>
                <a:cubicBezTo>
                  <a:pt x="2" y="29"/>
                  <a:pt x="2" y="29"/>
                  <a:pt x="2" y="29"/>
                </a:cubicBezTo>
                <a:cubicBezTo>
                  <a:pt x="7" y="30"/>
                  <a:pt x="15" y="41"/>
                  <a:pt x="21" y="48"/>
                </a:cubicBezTo>
                <a:cubicBezTo>
                  <a:pt x="22" y="46"/>
                  <a:pt x="22" y="44"/>
                  <a:pt x="22" y="43"/>
                </a:cubicBezTo>
                <a:cubicBezTo>
                  <a:pt x="22" y="39"/>
                  <a:pt x="22" y="37"/>
                  <a:pt x="24" y="35"/>
                </a:cubicBezTo>
                <a:cubicBezTo>
                  <a:pt x="26" y="33"/>
                  <a:pt x="26" y="28"/>
                  <a:pt x="28" y="29"/>
                </a:cubicBezTo>
                <a:cubicBezTo>
                  <a:pt x="31" y="30"/>
                  <a:pt x="32" y="31"/>
                  <a:pt x="33" y="31"/>
                </a:cubicBezTo>
                <a:cubicBezTo>
                  <a:pt x="34" y="31"/>
                  <a:pt x="36" y="31"/>
                  <a:pt x="37" y="30"/>
                </a:cubicBezTo>
                <a:cubicBezTo>
                  <a:pt x="37" y="28"/>
                  <a:pt x="39" y="25"/>
                  <a:pt x="40" y="23"/>
                </a:cubicBezTo>
                <a:cubicBezTo>
                  <a:pt x="42" y="19"/>
                  <a:pt x="38" y="18"/>
                  <a:pt x="35" y="15"/>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8" name="Freeform 122">
            <a:extLst>
              <a:ext uri="{FF2B5EF4-FFF2-40B4-BE49-F238E27FC236}">
                <a16:creationId xmlns:a16="http://schemas.microsoft.com/office/drawing/2014/main" id="{BF2163CC-5E87-144A-C2DE-18CC9CB8A3E0}"/>
              </a:ext>
            </a:extLst>
          </p:cNvPr>
          <p:cNvSpPr>
            <a:spLocks/>
          </p:cNvSpPr>
          <p:nvPr/>
        </p:nvSpPr>
        <p:spPr bwMode="auto">
          <a:xfrm>
            <a:off x="1598969" y="4883659"/>
            <a:ext cx="682522" cy="669228"/>
          </a:xfrm>
          <a:custGeom>
            <a:avLst/>
            <a:gdLst>
              <a:gd name="T0" fmla="*/ 115 w 118"/>
              <a:gd name="T1" fmla="*/ 38 h 116"/>
              <a:gd name="T2" fmla="*/ 111 w 118"/>
              <a:gd name="T3" fmla="*/ 28 h 116"/>
              <a:gd name="T4" fmla="*/ 107 w 118"/>
              <a:gd name="T5" fmla="*/ 20 h 116"/>
              <a:gd name="T6" fmla="*/ 93 w 118"/>
              <a:gd name="T7" fmla="*/ 25 h 116"/>
              <a:gd name="T8" fmla="*/ 82 w 118"/>
              <a:gd name="T9" fmla="*/ 19 h 116"/>
              <a:gd name="T10" fmla="*/ 72 w 118"/>
              <a:gd name="T11" fmla="*/ 12 h 116"/>
              <a:gd name="T12" fmla="*/ 64 w 118"/>
              <a:gd name="T13" fmla="*/ 3 h 116"/>
              <a:gd name="T14" fmla="*/ 58 w 118"/>
              <a:gd name="T15" fmla="*/ 0 h 116"/>
              <a:gd name="T16" fmla="*/ 49 w 118"/>
              <a:gd name="T17" fmla="*/ 10 h 116"/>
              <a:gd name="T18" fmla="*/ 44 w 118"/>
              <a:gd name="T19" fmla="*/ 17 h 116"/>
              <a:gd name="T20" fmla="*/ 37 w 118"/>
              <a:gd name="T21" fmla="*/ 26 h 116"/>
              <a:gd name="T22" fmla="*/ 29 w 118"/>
              <a:gd name="T23" fmla="*/ 33 h 116"/>
              <a:gd name="T24" fmla="*/ 18 w 118"/>
              <a:gd name="T25" fmla="*/ 31 h 116"/>
              <a:gd name="T26" fmla="*/ 0 w 118"/>
              <a:gd name="T27" fmla="*/ 33 h 116"/>
              <a:gd name="T28" fmla="*/ 8 w 118"/>
              <a:gd name="T29" fmla="*/ 51 h 116"/>
              <a:gd name="T30" fmla="*/ 16 w 118"/>
              <a:gd name="T31" fmla="*/ 55 h 116"/>
              <a:gd name="T32" fmla="*/ 22 w 118"/>
              <a:gd name="T33" fmla="*/ 46 h 116"/>
              <a:gd name="T34" fmla="*/ 35 w 118"/>
              <a:gd name="T35" fmla="*/ 72 h 116"/>
              <a:gd name="T36" fmla="*/ 47 w 118"/>
              <a:gd name="T37" fmla="*/ 85 h 116"/>
              <a:gd name="T38" fmla="*/ 61 w 118"/>
              <a:gd name="T39" fmla="*/ 100 h 116"/>
              <a:gd name="T40" fmla="*/ 66 w 118"/>
              <a:gd name="T41" fmla="*/ 102 h 116"/>
              <a:gd name="T42" fmla="*/ 83 w 118"/>
              <a:gd name="T43" fmla="*/ 109 h 116"/>
              <a:gd name="T44" fmla="*/ 94 w 118"/>
              <a:gd name="T45" fmla="*/ 109 h 116"/>
              <a:gd name="T46" fmla="*/ 78 w 118"/>
              <a:gd name="T47" fmla="*/ 95 h 116"/>
              <a:gd name="T48" fmla="*/ 64 w 118"/>
              <a:gd name="T49" fmla="*/ 79 h 116"/>
              <a:gd name="T50" fmla="*/ 53 w 118"/>
              <a:gd name="T51" fmla="*/ 62 h 116"/>
              <a:gd name="T52" fmla="*/ 45 w 118"/>
              <a:gd name="T53" fmla="*/ 49 h 116"/>
              <a:gd name="T54" fmla="*/ 47 w 118"/>
              <a:gd name="T55" fmla="*/ 43 h 116"/>
              <a:gd name="T56" fmla="*/ 58 w 118"/>
              <a:gd name="T57" fmla="*/ 46 h 116"/>
              <a:gd name="T58" fmla="*/ 67 w 118"/>
              <a:gd name="T59" fmla="*/ 41 h 116"/>
              <a:gd name="T60" fmla="*/ 83 w 118"/>
              <a:gd name="T61" fmla="*/ 43 h 116"/>
              <a:gd name="T62" fmla="*/ 104 w 118"/>
              <a:gd name="T63" fmla="*/ 45 h 116"/>
              <a:gd name="T64" fmla="*/ 116 w 118"/>
              <a:gd name="T65"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116">
                <a:moveTo>
                  <a:pt x="117" y="43"/>
                </a:moveTo>
                <a:cubicBezTo>
                  <a:pt x="116" y="42"/>
                  <a:pt x="115" y="39"/>
                  <a:pt x="115" y="38"/>
                </a:cubicBezTo>
                <a:cubicBezTo>
                  <a:pt x="115" y="36"/>
                  <a:pt x="115" y="34"/>
                  <a:pt x="114" y="34"/>
                </a:cubicBezTo>
                <a:cubicBezTo>
                  <a:pt x="112" y="33"/>
                  <a:pt x="111" y="29"/>
                  <a:pt x="111" y="28"/>
                </a:cubicBezTo>
                <a:cubicBezTo>
                  <a:pt x="111" y="26"/>
                  <a:pt x="111" y="23"/>
                  <a:pt x="109" y="23"/>
                </a:cubicBezTo>
                <a:cubicBezTo>
                  <a:pt x="108" y="22"/>
                  <a:pt x="107" y="21"/>
                  <a:pt x="107" y="20"/>
                </a:cubicBezTo>
                <a:cubicBezTo>
                  <a:pt x="106" y="21"/>
                  <a:pt x="104" y="22"/>
                  <a:pt x="103" y="24"/>
                </a:cubicBezTo>
                <a:cubicBezTo>
                  <a:pt x="101" y="26"/>
                  <a:pt x="96" y="25"/>
                  <a:pt x="93" y="25"/>
                </a:cubicBezTo>
                <a:cubicBezTo>
                  <a:pt x="89" y="25"/>
                  <a:pt x="87" y="24"/>
                  <a:pt x="86" y="23"/>
                </a:cubicBezTo>
                <a:cubicBezTo>
                  <a:pt x="85" y="23"/>
                  <a:pt x="83" y="19"/>
                  <a:pt x="82" y="19"/>
                </a:cubicBezTo>
                <a:cubicBezTo>
                  <a:pt x="80" y="18"/>
                  <a:pt x="78" y="16"/>
                  <a:pt x="77" y="15"/>
                </a:cubicBezTo>
                <a:cubicBezTo>
                  <a:pt x="76" y="13"/>
                  <a:pt x="74" y="12"/>
                  <a:pt x="72" y="12"/>
                </a:cubicBezTo>
                <a:cubicBezTo>
                  <a:pt x="69" y="12"/>
                  <a:pt x="69" y="8"/>
                  <a:pt x="69" y="7"/>
                </a:cubicBezTo>
                <a:cubicBezTo>
                  <a:pt x="69" y="5"/>
                  <a:pt x="65" y="5"/>
                  <a:pt x="64" y="3"/>
                </a:cubicBezTo>
                <a:cubicBezTo>
                  <a:pt x="62" y="1"/>
                  <a:pt x="61" y="2"/>
                  <a:pt x="59" y="1"/>
                </a:cubicBezTo>
                <a:cubicBezTo>
                  <a:pt x="59" y="1"/>
                  <a:pt x="59" y="0"/>
                  <a:pt x="58" y="0"/>
                </a:cubicBezTo>
                <a:cubicBezTo>
                  <a:pt x="56" y="2"/>
                  <a:pt x="55" y="5"/>
                  <a:pt x="54" y="7"/>
                </a:cubicBezTo>
                <a:cubicBezTo>
                  <a:pt x="53" y="9"/>
                  <a:pt x="52" y="9"/>
                  <a:pt x="49" y="10"/>
                </a:cubicBezTo>
                <a:cubicBezTo>
                  <a:pt x="45" y="10"/>
                  <a:pt x="45" y="11"/>
                  <a:pt x="43" y="12"/>
                </a:cubicBezTo>
                <a:cubicBezTo>
                  <a:pt x="42" y="14"/>
                  <a:pt x="42" y="15"/>
                  <a:pt x="44" y="17"/>
                </a:cubicBezTo>
                <a:cubicBezTo>
                  <a:pt x="46" y="18"/>
                  <a:pt x="45" y="19"/>
                  <a:pt x="44" y="21"/>
                </a:cubicBezTo>
                <a:cubicBezTo>
                  <a:pt x="44" y="23"/>
                  <a:pt x="40" y="24"/>
                  <a:pt x="37" y="26"/>
                </a:cubicBezTo>
                <a:cubicBezTo>
                  <a:pt x="35" y="26"/>
                  <a:pt x="34" y="30"/>
                  <a:pt x="34" y="33"/>
                </a:cubicBezTo>
                <a:cubicBezTo>
                  <a:pt x="32" y="33"/>
                  <a:pt x="31" y="34"/>
                  <a:pt x="29" y="33"/>
                </a:cubicBezTo>
                <a:cubicBezTo>
                  <a:pt x="27" y="32"/>
                  <a:pt x="25" y="29"/>
                  <a:pt x="22" y="29"/>
                </a:cubicBezTo>
                <a:cubicBezTo>
                  <a:pt x="20" y="28"/>
                  <a:pt x="19" y="29"/>
                  <a:pt x="18" y="31"/>
                </a:cubicBezTo>
                <a:cubicBezTo>
                  <a:pt x="17" y="33"/>
                  <a:pt x="13" y="34"/>
                  <a:pt x="11" y="33"/>
                </a:cubicBezTo>
                <a:cubicBezTo>
                  <a:pt x="9" y="32"/>
                  <a:pt x="4" y="32"/>
                  <a:pt x="0" y="33"/>
                </a:cubicBezTo>
                <a:cubicBezTo>
                  <a:pt x="0" y="35"/>
                  <a:pt x="2" y="38"/>
                  <a:pt x="2" y="40"/>
                </a:cubicBezTo>
                <a:cubicBezTo>
                  <a:pt x="4" y="43"/>
                  <a:pt x="4" y="50"/>
                  <a:pt x="8" y="51"/>
                </a:cubicBezTo>
                <a:cubicBezTo>
                  <a:pt x="11" y="53"/>
                  <a:pt x="10" y="50"/>
                  <a:pt x="12" y="47"/>
                </a:cubicBezTo>
                <a:cubicBezTo>
                  <a:pt x="14" y="44"/>
                  <a:pt x="16" y="49"/>
                  <a:pt x="16" y="55"/>
                </a:cubicBezTo>
                <a:cubicBezTo>
                  <a:pt x="16" y="61"/>
                  <a:pt x="21" y="63"/>
                  <a:pt x="21" y="60"/>
                </a:cubicBezTo>
                <a:cubicBezTo>
                  <a:pt x="21" y="57"/>
                  <a:pt x="20" y="46"/>
                  <a:pt x="22" y="46"/>
                </a:cubicBezTo>
                <a:cubicBezTo>
                  <a:pt x="24" y="46"/>
                  <a:pt x="29" y="51"/>
                  <a:pt x="29" y="56"/>
                </a:cubicBezTo>
                <a:cubicBezTo>
                  <a:pt x="30" y="61"/>
                  <a:pt x="34" y="63"/>
                  <a:pt x="35" y="72"/>
                </a:cubicBezTo>
                <a:cubicBezTo>
                  <a:pt x="35" y="80"/>
                  <a:pt x="36" y="79"/>
                  <a:pt x="39" y="79"/>
                </a:cubicBezTo>
                <a:cubicBezTo>
                  <a:pt x="42" y="79"/>
                  <a:pt x="47" y="81"/>
                  <a:pt x="47" y="85"/>
                </a:cubicBezTo>
                <a:cubicBezTo>
                  <a:pt x="48" y="88"/>
                  <a:pt x="55" y="89"/>
                  <a:pt x="62" y="89"/>
                </a:cubicBezTo>
                <a:cubicBezTo>
                  <a:pt x="69" y="89"/>
                  <a:pt x="56" y="98"/>
                  <a:pt x="61" y="100"/>
                </a:cubicBezTo>
                <a:cubicBezTo>
                  <a:pt x="67" y="102"/>
                  <a:pt x="68" y="96"/>
                  <a:pt x="69" y="97"/>
                </a:cubicBezTo>
                <a:cubicBezTo>
                  <a:pt x="70" y="99"/>
                  <a:pt x="69" y="100"/>
                  <a:pt x="66" y="102"/>
                </a:cubicBezTo>
                <a:cubicBezTo>
                  <a:pt x="64" y="104"/>
                  <a:pt x="68" y="107"/>
                  <a:pt x="72" y="105"/>
                </a:cubicBezTo>
                <a:cubicBezTo>
                  <a:pt x="76" y="104"/>
                  <a:pt x="77" y="105"/>
                  <a:pt x="83" y="109"/>
                </a:cubicBezTo>
                <a:cubicBezTo>
                  <a:pt x="88" y="112"/>
                  <a:pt x="93" y="114"/>
                  <a:pt x="97" y="116"/>
                </a:cubicBezTo>
                <a:cubicBezTo>
                  <a:pt x="97" y="113"/>
                  <a:pt x="96" y="111"/>
                  <a:pt x="94" y="109"/>
                </a:cubicBezTo>
                <a:cubicBezTo>
                  <a:pt x="89" y="106"/>
                  <a:pt x="84" y="104"/>
                  <a:pt x="83" y="102"/>
                </a:cubicBezTo>
                <a:cubicBezTo>
                  <a:pt x="82" y="99"/>
                  <a:pt x="81" y="97"/>
                  <a:pt x="78" y="95"/>
                </a:cubicBezTo>
                <a:cubicBezTo>
                  <a:pt x="75" y="92"/>
                  <a:pt x="73" y="92"/>
                  <a:pt x="71" y="89"/>
                </a:cubicBezTo>
                <a:cubicBezTo>
                  <a:pt x="70" y="86"/>
                  <a:pt x="68" y="80"/>
                  <a:pt x="64" y="79"/>
                </a:cubicBezTo>
                <a:cubicBezTo>
                  <a:pt x="59" y="77"/>
                  <a:pt x="58" y="75"/>
                  <a:pt x="57" y="71"/>
                </a:cubicBezTo>
                <a:cubicBezTo>
                  <a:pt x="57" y="68"/>
                  <a:pt x="54" y="65"/>
                  <a:pt x="53" y="62"/>
                </a:cubicBezTo>
                <a:cubicBezTo>
                  <a:pt x="53" y="60"/>
                  <a:pt x="52" y="58"/>
                  <a:pt x="49" y="56"/>
                </a:cubicBezTo>
                <a:cubicBezTo>
                  <a:pt x="47" y="54"/>
                  <a:pt x="46" y="51"/>
                  <a:pt x="45" y="49"/>
                </a:cubicBezTo>
                <a:cubicBezTo>
                  <a:pt x="45" y="47"/>
                  <a:pt x="46" y="45"/>
                  <a:pt x="47" y="43"/>
                </a:cubicBezTo>
                <a:cubicBezTo>
                  <a:pt x="47" y="43"/>
                  <a:pt x="47" y="43"/>
                  <a:pt x="47" y="43"/>
                </a:cubicBezTo>
                <a:cubicBezTo>
                  <a:pt x="49" y="42"/>
                  <a:pt x="52" y="42"/>
                  <a:pt x="53" y="43"/>
                </a:cubicBezTo>
                <a:cubicBezTo>
                  <a:pt x="55" y="45"/>
                  <a:pt x="56" y="46"/>
                  <a:pt x="58" y="46"/>
                </a:cubicBezTo>
                <a:cubicBezTo>
                  <a:pt x="61" y="47"/>
                  <a:pt x="61" y="42"/>
                  <a:pt x="63" y="42"/>
                </a:cubicBezTo>
                <a:cubicBezTo>
                  <a:pt x="64" y="41"/>
                  <a:pt x="65" y="39"/>
                  <a:pt x="67" y="41"/>
                </a:cubicBezTo>
                <a:cubicBezTo>
                  <a:pt x="69" y="42"/>
                  <a:pt x="69" y="42"/>
                  <a:pt x="72" y="42"/>
                </a:cubicBezTo>
                <a:cubicBezTo>
                  <a:pt x="76" y="42"/>
                  <a:pt x="78" y="41"/>
                  <a:pt x="83" y="43"/>
                </a:cubicBezTo>
                <a:cubicBezTo>
                  <a:pt x="87" y="45"/>
                  <a:pt x="88" y="46"/>
                  <a:pt x="93" y="45"/>
                </a:cubicBezTo>
                <a:cubicBezTo>
                  <a:pt x="98" y="44"/>
                  <a:pt x="103" y="44"/>
                  <a:pt x="104" y="45"/>
                </a:cubicBezTo>
                <a:cubicBezTo>
                  <a:pt x="106" y="46"/>
                  <a:pt x="110" y="48"/>
                  <a:pt x="113" y="48"/>
                </a:cubicBezTo>
                <a:cubicBezTo>
                  <a:pt x="114" y="48"/>
                  <a:pt x="115" y="48"/>
                  <a:pt x="116" y="48"/>
                </a:cubicBezTo>
                <a:cubicBezTo>
                  <a:pt x="116" y="46"/>
                  <a:pt x="118" y="43"/>
                  <a:pt x="117" y="43"/>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9" name="Freeform 123">
            <a:extLst>
              <a:ext uri="{FF2B5EF4-FFF2-40B4-BE49-F238E27FC236}">
                <a16:creationId xmlns:a16="http://schemas.microsoft.com/office/drawing/2014/main" id="{AE0AE4CC-07A3-D8D5-7F7B-76628C70A2A6}"/>
              </a:ext>
            </a:extLst>
          </p:cNvPr>
          <p:cNvSpPr>
            <a:spLocks/>
          </p:cNvSpPr>
          <p:nvPr/>
        </p:nvSpPr>
        <p:spPr bwMode="auto">
          <a:xfrm>
            <a:off x="1575297" y="4809083"/>
            <a:ext cx="359015" cy="270831"/>
          </a:xfrm>
          <a:custGeom>
            <a:avLst/>
            <a:gdLst>
              <a:gd name="T0" fmla="*/ 1 w 62"/>
              <a:gd name="T1" fmla="*/ 37 h 47"/>
              <a:gd name="T2" fmla="*/ 2 w 62"/>
              <a:gd name="T3" fmla="*/ 37 h 47"/>
              <a:gd name="T4" fmla="*/ 5 w 62"/>
              <a:gd name="T5" fmla="*/ 43 h 47"/>
              <a:gd name="T6" fmla="*/ 4 w 62"/>
              <a:gd name="T7" fmla="*/ 46 h 47"/>
              <a:gd name="T8" fmla="*/ 15 w 62"/>
              <a:gd name="T9" fmla="*/ 46 h 47"/>
              <a:gd name="T10" fmla="*/ 22 w 62"/>
              <a:gd name="T11" fmla="*/ 44 h 47"/>
              <a:gd name="T12" fmla="*/ 26 w 62"/>
              <a:gd name="T13" fmla="*/ 42 h 47"/>
              <a:gd name="T14" fmla="*/ 33 w 62"/>
              <a:gd name="T15" fmla="*/ 46 h 47"/>
              <a:gd name="T16" fmla="*/ 38 w 62"/>
              <a:gd name="T17" fmla="*/ 46 h 47"/>
              <a:gd name="T18" fmla="*/ 41 w 62"/>
              <a:gd name="T19" fmla="*/ 39 h 47"/>
              <a:gd name="T20" fmla="*/ 48 w 62"/>
              <a:gd name="T21" fmla="*/ 34 h 47"/>
              <a:gd name="T22" fmla="*/ 48 w 62"/>
              <a:gd name="T23" fmla="*/ 30 h 47"/>
              <a:gd name="T24" fmla="*/ 47 w 62"/>
              <a:gd name="T25" fmla="*/ 25 h 47"/>
              <a:gd name="T26" fmla="*/ 53 w 62"/>
              <a:gd name="T27" fmla="*/ 23 h 47"/>
              <a:gd name="T28" fmla="*/ 58 w 62"/>
              <a:gd name="T29" fmla="*/ 20 h 47"/>
              <a:gd name="T30" fmla="*/ 62 w 62"/>
              <a:gd name="T31" fmla="*/ 13 h 47"/>
              <a:gd name="T32" fmla="*/ 62 w 62"/>
              <a:gd name="T33" fmla="*/ 6 h 47"/>
              <a:gd name="T34" fmla="*/ 61 w 62"/>
              <a:gd name="T35" fmla="*/ 0 h 47"/>
              <a:gd name="T36" fmla="*/ 61 w 62"/>
              <a:gd name="T37" fmla="*/ 1 h 47"/>
              <a:gd name="T38" fmla="*/ 57 w 62"/>
              <a:gd name="T39" fmla="*/ 8 h 47"/>
              <a:gd name="T40" fmla="*/ 46 w 62"/>
              <a:gd name="T41" fmla="*/ 10 h 47"/>
              <a:gd name="T42" fmla="*/ 36 w 62"/>
              <a:gd name="T43" fmla="*/ 11 h 47"/>
              <a:gd name="T44" fmla="*/ 29 w 62"/>
              <a:gd name="T45" fmla="*/ 16 h 47"/>
              <a:gd name="T46" fmla="*/ 22 w 62"/>
              <a:gd name="T47" fmla="*/ 17 h 47"/>
              <a:gd name="T48" fmla="*/ 14 w 62"/>
              <a:gd name="T49" fmla="*/ 16 h 47"/>
              <a:gd name="T50" fmla="*/ 5 w 62"/>
              <a:gd name="T51" fmla="*/ 15 h 47"/>
              <a:gd name="T52" fmla="*/ 4 w 62"/>
              <a:gd name="T53" fmla="*/ 14 h 47"/>
              <a:gd name="T54" fmla="*/ 4 w 62"/>
              <a:gd name="T55" fmla="*/ 21 h 47"/>
              <a:gd name="T56" fmla="*/ 1 w 62"/>
              <a:gd name="T57"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47">
                <a:moveTo>
                  <a:pt x="1" y="37"/>
                </a:moveTo>
                <a:cubicBezTo>
                  <a:pt x="1" y="37"/>
                  <a:pt x="1" y="37"/>
                  <a:pt x="2" y="37"/>
                </a:cubicBezTo>
                <a:cubicBezTo>
                  <a:pt x="6" y="37"/>
                  <a:pt x="7" y="41"/>
                  <a:pt x="5" y="43"/>
                </a:cubicBezTo>
                <a:cubicBezTo>
                  <a:pt x="4" y="43"/>
                  <a:pt x="4" y="45"/>
                  <a:pt x="4" y="46"/>
                </a:cubicBezTo>
                <a:cubicBezTo>
                  <a:pt x="8" y="45"/>
                  <a:pt x="13" y="45"/>
                  <a:pt x="15" y="46"/>
                </a:cubicBezTo>
                <a:cubicBezTo>
                  <a:pt x="17" y="47"/>
                  <a:pt x="21" y="46"/>
                  <a:pt x="22" y="44"/>
                </a:cubicBezTo>
                <a:cubicBezTo>
                  <a:pt x="23" y="42"/>
                  <a:pt x="24" y="41"/>
                  <a:pt x="26" y="42"/>
                </a:cubicBezTo>
                <a:cubicBezTo>
                  <a:pt x="29" y="42"/>
                  <a:pt x="31" y="45"/>
                  <a:pt x="33" y="46"/>
                </a:cubicBezTo>
                <a:cubicBezTo>
                  <a:pt x="35" y="47"/>
                  <a:pt x="36" y="46"/>
                  <a:pt x="38" y="46"/>
                </a:cubicBezTo>
                <a:cubicBezTo>
                  <a:pt x="38" y="43"/>
                  <a:pt x="39" y="39"/>
                  <a:pt x="41" y="39"/>
                </a:cubicBezTo>
                <a:cubicBezTo>
                  <a:pt x="44" y="37"/>
                  <a:pt x="48" y="36"/>
                  <a:pt x="48" y="34"/>
                </a:cubicBezTo>
                <a:cubicBezTo>
                  <a:pt x="49" y="32"/>
                  <a:pt x="50" y="31"/>
                  <a:pt x="48" y="30"/>
                </a:cubicBezTo>
                <a:cubicBezTo>
                  <a:pt x="46" y="28"/>
                  <a:pt x="46" y="27"/>
                  <a:pt x="47" y="25"/>
                </a:cubicBezTo>
                <a:cubicBezTo>
                  <a:pt x="49" y="24"/>
                  <a:pt x="49" y="23"/>
                  <a:pt x="53" y="23"/>
                </a:cubicBezTo>
                <a:cubicBezTo>
                  <a:pt x="56" y="22"/>
                  <a:pt x="57" y="22"/>
                  <a:pt x="58" y="20"/>
                </a:cubicBezTo>
                <a:cubicBezTo>
                  <a:pt x="59" y="18"/>
                  <a:pt x="60" y="15"/>
                  <a:pt x="62" y="13"/>
                </a:cubicBezTo>
                <a:cubicBezTo>
                  <a:pt x="62" y="11"/>
                  <a:pt x="62" y="8"/>
                  <a:pt x="62" y="6"/>
                </a:cubicBezTo>
                <a:cubicBezTo>
                  <a:pt x="62" y="4"/>
                  <a:pt x="62" y="2"/>
                  <a:pt x="61" y="0"/>
                </a:cubicBezTo>
                <a:cubicBezTo>
                  <a:pt x="61" y="0"/>
                  <a:pt x="61" y="1"/>
                  <a:pt x="61" y="1"/>
                </a:cubicBezTo>
                <a:cubicBezTo>
                  <a:pt x="58" y="1"/>
                  <a:pt x="58" y="4"/>
                  <a:pt x="57" y="8"/>
                </a:cubicBezTo>
                <a:cubicBezTo>
                  <a:pt x="55" y="12"/>
                  <a:pt x="49" y="8"/>
                  <a:pt x="46" y="10"/>
                </a:cubicBezTo>
                <a:cubicBezTo>
                  <a:pt x="43" y="12"/>
                  <a:pt x="40" y="11"/>
                  <a:pt x="36" y="11"/>
                </a:cubicBezTo>
                <a:cubicBezTo>
                  <a:pt x="33" y="11"/>
                  <a:pt x="31" y="14"/>
                  <a:pt x="29" y="16"/>
                </a:cubicBezTo>
                <a:cubicBezTo>
                  <a:pt x="28" y="18"/>
                  <a:pt x="25" y="19"/>
                  <a:pt x="22" y="17"/>
                </a:cubicBezTo>
                <a:cubicBezTo>
                  <a:pt x="19" y="15"/>
                  <a:pt x="16" y="16"/>
                  <a:pt x="14" y="16"/>
                </a:cubicBezTo>
                <a:cubicBezTo>
                  <a:pt x="11" y="16"/>
                  <a:pt x="9" y="18"/>
                  <a:pt x="5" y="15"/>
                </a:cubicBezTo>
                <a:cubicBezTo>
                  <a:pt x="4" y="15"/>
                  <a:pt x="4" y="14"/>
                  <a:pt x="4" y="14"/>
                </a:cubicBezTo>
                <a:cubicBezTo>
                  <a:pt x="4" y="17"/>
                  <a:pt x="4" y="19"/>
                  <a:pt x="4" y="21"/>
                </a:cubicBezTo>
                <a:cubicBezTo>
                  <a:pt x="4" y="25"/>
                  <a:pt x="0" y="31"/>
                  <a:pt x="1" y="37"/>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0" name="Freeform 182">
            <a:extLst>
              <a:ext uri="{FF2B5EF4-FFF2-40B4-BE49-F238E27FC236}">
                <a16:creationId xmlns:a16="http://schemas.microsoft.com/office/drawing/2014/main" id="{C725F449-11B2-E6EB-E681-8B0C3CCEB779}"/>
              </a:ext>
            </a:extLst>
          </p:cNvPr>
          <p:cNvSpPr>
            <a:spLocks/>
          </p:cNvSpPr>
          <p:nvPr/>
        </p:nvSpPr>
        <p:spPr bwMode="auto">
          <a:xfrm>
            <a:off x="1668009" y="3362690"/>
            <a:ext cx="1197374" cy="1095099"/>
          </a:xfrm>
          <a:custGeom>
            <a:avLst/>
            <a:gdLst>
              <a:gd name="T0" fmla="*/ 199 w 207"/>
              <a:gd name="T1" fmla="*/ 118 h 190"/>
              <a:gd name="T2" fmla="*/ 198 w 207"/>
              <a:gd name="T3" fmla="*/ 98 h 190"/>
              <a:gd name="T4" fmla="*/ 188 w 207"/>
              <a:gd name="T5" fmla="*/ 87 h 190"/>
              <a:gd name="T6" fmla="*/ 203 w 207"/>
              <a:gd name="T7" fmla="*/ 71 h 190"/>
              <a:gd name="T8" fmla="*/ 197 w 207"/>
              <a:gd name="T9" fmla="*/ 41 h 190"/>
              <a:gd name="T10" fmla="*/ 193 w 207"/>
              <a:gd name="T11" fmla="*/ 26 h 190"/>
              <a:gd name="T12" fmla="*/ 179 w 207"/>
              <a:gd name="T13" fmla="*/ 18 h 190"/>
              <a:gd name="T14" fmla="*/ 152 w 207"/>
              <a:gd name="T15" fmla="*/ 22 h 190"/>
              <a:gd name="T16" fmla="*/ 131 w 207"/>
              <a:gd name="T17" fmla="*/ 20 h 190"/>
              <a:gd name="T18" fmla="*/ 119 w 207"/>
              <a:gd name="T19" fmla="*/ 9 h 190"/>
              <a:gd name="T20" fmla="*/ 106 w 207"/>
              <a:gd name="T21" fmla="*/ 18 h 190"/>
              <a:gd name="T22" fmla="*/ 85 w 207"/>
              <a:gd name="T23" fmla="*/ 3 h 190"/>
              <a:gd name="T24" fmla="*/ 45 w 207"/>
              <a:gd name="T25" fmla="*/ 19 h 190"/>
              <a:gd name="T26" fmla="*/ 10 w 207"/>
              <a:gd name="T27" fmla="*/ 30 h 190"/>
              <a:gd name="T28" fmla="*/ 3 w 207"/>
              <a:gd name="T29" fmla="*/ 39 h 190"/>
              <a:gd name="T30" fmla="*/ 7 w 207"/>
              <a:gd name="T31" fmla="*/ 57 h 190"/>
              <a:gd name="T32" fmla="*/ 5 w 207"/>
              <a:gd name="T33" fmla="*/ 70 h 190"/>
              <a:gd name="T34" fmla="*/ 13 w 207"/>
              <a:gd name="T35" fmla="*/ 91 h 190"/>
              <a:gd name="T36" fmla="*/ 11 w 207"/>
              <a:gd name="T37" fmla="*/ 105 h 190"/>
              <a:gd name="T38" fmla="*/ 17 w 207"/>
              <a:gd name="T39" fmla="*/ 120 h 190"/>
              <a:gd name="T40" fmla="*/ 25 w 207"/>
              <a:gd name="T41" fmla="*/ 131 h 190"/>
              <a:gd name="T42" fmla="*/ 37 w 207"/>
              <a:gd name="T43" fmla="*/ 137 h 190"/>
              <a:gd name="T44" fmla="*/ 47 w 207"/>
              <a:gd name="T45" fmla="*/ 146 h 190"/>
              <a:gd name="T46" fmla="*/ 57 w 207"/>
              <a:gd name="T47" fmla="*/ 153 h 190"/>
              <a:gd name="T48" fmla="*/ 61 w 207"/>
              <a:gd name="T49" fmla="*/ 145 h 190"/>
              <a:gd name="T50" fmla="*/ 69 w 207"/>
              <a:gd name="T51" fmla="*/ 150 h 190"/>
              <a:gd name="T52" fmla="*/ 81 w 207"/>
              <a:gd name="T53" fmla="*/ 159 h 190"/>
              <a:gd name="T54" fmla="*/ 97 w 207"/>
              <a:gd name="T55" fmla="*/ 173 h 190"/>
              <a:gd name="T56" fmla="*/ 105 w 207"/>
              <a:gd name="T57" fmla="*/ 176 h 190"/>
              <a:gd name="T58" fmla="*/ 114 w 207"/>
              <a:gd name="T59" fmla="*/ 174 h 190"/>
              <a:gd name="T60" fmla="*/ 127 w 207"/>
              <a:gd name="T61" fmla="*/ 179 h 190"/>
              <a:gd name="T62" fmla="*/ 142 w 207"/>
              <a:gd name="T63" fmla="*/ 180 h 190"/>
              <a:gd name="T64" fmla="*/ 160 w 207"/>
              <a:gd name="T65" fmla="*/ 178 h 190"/>
              <a:gd name="T66" fmla="*/ 172 w 207"/>
              <a:gd name="T67" fmla="*/ 187 h 190"/>
              <a:gd name="T68" fmla="*/ 177 w 207"/>
              <a:gd name="T69" fmla="*/ 188 h 190"/>
              <a:gd name="T70" fmla="*/ 183 w 207"/>
              <a:gd name="T71" fmla="*/ 166 h 190"/>
              <a:gd name="T72" fmla="*/ 206 w 207"/>
              <a:gd name="T73" fmla="*/ 14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 h="190">
                <a:moveTo>
                  <a:pt x="205" y="128"/>
                </a:moveTo>
                <a:cubicBezTo>
                  <a:pt x="202" y="125"/>
                  <a:pt x="199" y="122"/>
                  <a:pt x="199" y="118"/>
                </a:cubicBezTo>
                <a:cubicBezTo>
                  <a:pt x="199" y="115"/>
                  <a:pt x="195" y="113"/>
                  <a:pt x="196" y="108"/>
                </a:cubicBezTo>
                <a:cubicBezTo>
                  <a:pt x="197" y="103"/>
                  <a:pt x="196" y="100"/>
                  <a:pt x="198" y="98"/>
                </a:cubicBezTo>
                <a:cubicBezTo>
                  <a:pt x="199" y="95"/>
                  <a:pt x="196" y="92"/>
                  <a:pt x="194" y="91"/>
                </a:cubicBezTo>
                <a:cubicBezTo>
                  <a:pt x="192" y="90"/>
                  <a:pt x="188" y="89"/>
                  <a:pt x="188" y="87"/>
                </a:cubicBezTo>
                <a:cubicBezTo>
                  <a:pt x="188" y="85"/>
                  <a:pt x="190" y="82"/>
                  <a:pt x="193" y="80"/>
                </a:cubicBezTo>
                <a:cubicBezTo>
                  <a:pt x="197" y="77"/>
                  <a:pt x="202" y="77"/>
                  <a:pt x="203" y="71"/>
                </a:cubicBezTo>
                <a:cubicBezTo>
                  <a:pt x="203" y="64"/>
                  <a:pt x="204" y="59"/>
                  <a:pt x="201" y="54"/>
                </a:cubicBezTo>
                <a:cubicBezTo>
                  <a:pt x="197" y="49"/>
                  <a:pt x="197" y="45"/>
                  <a:pt x="197" y="41"/>
                </a:cubicBezTo>
                <a:cubicBezTo>
                  <a:pt x="197" y="38"/>
                  <a:pt x="196" y="36"/>
                  <a:pt x="197" y="35"/>
                </a:cubicBezTo>
                <a:cubicBezTo>
                  <a:pt x="194" y="32"/>
                  <a:pt x="194" y="28"/>
                  <a:pt x="193" y="26"/>
                </a:cubicBezTo>
                <a:cubicBezTo>
                  <a:pt x="193" y="24"/>
                  <a:pt x="190" y="23"/>
                  <a:pt x="188" y="21"/>
                </a:cubicBezTo>
                <a:cubicBezTo>
                  <a:pt x="185" y="18"/>
                  <a:pt x="182" y="19"/>
                  <a:pt x="179" y="18"/>
                </a:cubicBezTo>
                <a:cubicBezTo>
                  <a:pt x="175" y="20"/>
                  <a:pt x="168" y="19"/>
                  <a:pt x="164" y="19"/>
                </a:cubicBezTo>
                <a:cubicBezTo>
                  <a:pt x="159" y="20"/>
                  <a:pt x="154" y="21"/>
                  <a:pt x="152" y="22"/>
                </a:cubicBezTo>
                <a:cubicBezTo>
                  <a:pt x="149" y="23"/>
                  <a:pt x="147" y="22"/>
                  <a:pt x="143" y="20"/>
                </a:cubicBezTo>
                <a:cubicBezTo>
                  <a:pt x="139" y="17"/>
                  <a:pt x="135" y="20"/>
                  <a:pt x="131" y="20"/>
                </a:cubicBezTo>
                <a:cubicBezTo>
                  <a:pt x="128" y="20"/>
                  <a:pt x="125" y="19"/>
                  <a:pt x="124" y="14"/>
                </a:cubicBezTo>
                <a:cubicBezTo>
                  <a:pt x="123" y="12"/>
                  <a:pt x="121" y="10"/>
                  <a:pt x="119" y="9"/>
                </a:cubicBezTo>
                <a:cubicBezTo>
                  <a:pt x="119" y="10"/>
                  <a:pt x="118" y="11"/>
                  <a:pt x="118" y="12"/>
                </a:cubicBezTo>
                <a:cubicBezTo>
                  <a:pt x="114" y="18"/>
                  <a:pt x="111" y="18"/>
                  <a:pt x="106" y="18"/>
                </a:cubicBezTo>
                <a:cubicBezTo>
                  <a:pt x="101" y="19"/>
                  <a:pt x="97" y="17"/>
                  <a:pt x="97" y="12"/>
                </a:cubicBezTo>
                <a:cubicBezTo>
                  <a:pt x="98" y="6"/>
                  <a:pt x="94" y="6"/>
                  <a:pt x="85" y="3"/>
                </a:cubicBezTo>
                <a:cubicBezTo>
                  <a:pt x="76" y="0"/>
                  <a:pt x="70" y="6"/>
                  <a:pt x="62" y="7"/>
                </a:cubicBezTo>
                <a:cubicBezTo>
                  <a:pt x="55" y="9"/>
                  <a:pt x="52" y="12"/>
                  <a:pt x="45" y="19"/>
                </a:cubicBezTo>
                <a:cubicBezTo>
                  <a:pt x="39" y="26"/>
                  <a:pt x="28" y="26"/>
                  <a:pt x="24" y="26"/>
                </a:cubicBezTo>
                <a:cubicBezTo>
                  <a:pt x="19" y="26"/>
                  <a:pt x="14" y="27"/>
                  <a:pt x="10" y="30"/>
                </a:cubicBezTo>
                <a:cubicBezTo>
                  <a:pt x="8" y="32"/>
                  <a:pt x="6" y="31"/>
                  <a:pt x="3" y="30"/>
                </a:cubicBezTo>
                <a:cubicBezTo>
                  <a:pt x="3" y="33"/>
                  <a:pt x="3" y="37"/>
                  <a:pt x="3" y="39"/>
                </a:cubicBezTo>
                <a:cubicBezTo>
                  <a:pt x="3" y="43"/>
                  <a:pt x="2" y="45"/>
                  <a:pt x="5" y="48"/>
                </a:cubicBezTo>
                <a:cubicBezTo>
                  <a:pt x="8" y="51"/>
                  <a:pt x="8" y="52"/>
                  <a:pt x="7" y="57"/>
                </a:cubicBezTo>
                <a:cubicBezTo>
                  <a:pt x="6" y="62"/>
                  <a:pt x="4" y="62"/>
                  <a:pt x="2" y="64"/>
                </a:cubicBezTo>
                <a:cubicBezTo>
                  <a:pt x="0" y="65"/>
                  <a:pt x="2" y="67"/>
                  <a:pt x="5" y="70"/>
                </a:cubicBezTo>
                <a:cubicBezTo>
                  <a:pt x="9" y="73"/>
                  <a:pt x="10" y="78"/>
                  <a:pt x="10" y="83"/>
                </a:cubicBezTo>
                <a:cubicBezTo>
                  <a:pt x="10" y="88"/>
                  <a:pt x="11" y="89"/>
                  <a:pt x="13" y="91"/>
                </a:cubicBezTo>
                <a:cubicBezTo>
                  <a:pt x="14" y="94"/>
                  <a:pt x="14" y="97"/>
                  <a:pt x="13" y="98"/>
                </a:cubicBezTo>
                <a:cubicBezTo>
                  <a:pt x="11" y="100"/>
                  <a:pt x="12" y="101"/>
                  <a:pt x="11" y="105"/>
                </a:cubicBezTo>
                <a:cubicBezTo>
                  <a:pt x="11" y="109"/>
                  <a:pt x="11" y="112"/>
                  <a:pt x="14" y="113"/>
                </a:cubicBezTo>
                <a:cubicBezTo>
                  <a:pt x="17" y="113"/>
                  <a:pt x="17" y="116"/>
                  <a:pt x="17" y="120"/>
                </a:cubicBezTo>
                <a:cubicBezTo>
                  <a:pt x="17" y="124"/>
                  <a:pt x="17" y="128"/>
                  <a:pt x="20" y="128"/>
                </a:cubicBezTo>
                <a:cubicBezTo>
                  <a:pt x="22" y="128"/>
                  <a:pt x="24" y="128"/>
                  <a:pt x="25" y="131"/>
                </a:cubicBezTo>
                <a:cubicBezTo>
                  <a:pt x="25" y="134"/>
                  <a:pt x="27" y="135"/>
                  <a:pt x="29" y="135"/>
                </a:cubicBezTo>
                <a:cubicBezTo>
                  <a:pt x="31" y="135"/>
                  <a:pt x="34" y="136"/>
                  <a:pt x="37" y="137"/>
                </a:cubicBezTo>
                <a:cubicBezTo>
                  <a:pt x="40" y="138"/>
                  <a:pt x="41" y="139"/>
                  <a:pt x="43" y="141"/>
                </a:cubicBezTo>
                <a:cubicBezTo>
                  <a:pt x="45" y="143"/>
                  <a:pt x="46" y="144"/>
                  <a:pt x="47" y="146"/>
                </a:cubicBezTo>
                <a:cubicBezTo>
                  <a:pt x="48" y="149"/>
                  <a:pt x="47" y="150"/>
                  <a:pt x="50" y="152"/>
                </a:cubicBezTo>
                <a:cubicBezTo>
                  <a:pt x="53" y="153"/>
                  <a:pt x="56" y="156"/>
                  <a:pt x="57" y="153"/>
                </a:cubicBezTo>
                <a:cubicBezTo>
                  <a:pt x="58" y="151"/>
                  <a:pt x="60" y="151"/>
                  <a:pt x="59" y="149"/>
                </a:cubicBezTo>
                <a:cubicBezTo>
                  <a:pt x="58" y="147"/>
                  <a:pt x="58" y="145"/>
                  <a:pt x="61" y="145"/>
                </a:cubicBezTo>
                <a:cubicBezTo>
                  <a:pt x="63" y="145"/>
                  <a:pt x="64" y="147"/>
                  <a:pt x="64" y="148"/>
                </a:cubicBezTo>
                <a:cubicBezTo>
                  <a:pt x="65" y="149"/>
                  <a:pt x="66" y="149"/>
                  <a:pt x="69" y="150"/>
                </a:cubicBezTo>
                <a:cubicBezTo>
                  <a:pt x="72" y="150"/>
                  <a:pt x="74" y="151"/>
                  <a:pt x="74" y="154"/>
                </a:cubicBezTo>
                <a:cubicBezTo>
                  <a:pt x="75" y="157"/>
                  <a:pt x="78" y="159"/>
                  <a:pt x="81" y="159"/>
                </a:cubicBezTo>
                <a:cubicBezTo>
                  <a:pt x="84" y="159"/>
                  <a:pt x="89" y="159"/>
                  <a:pt x="90" y="162"/>
                </a:cubicBezTo>
                <a:cubicBezTo>
                  <a:pt x="92" y="165"/>
                  <a:pt x="95" y="167"/>
                  <a:pt x="97" y="173"/>
                </a:cubicBezTo>
                <a:cubicBezTo>
                  <a:pt x="98" y="173"/>
                  <a:pt x="98" y="173"/>
                  <a:pt x="99" y="174"/>
                </a:cubicBezTo>
                <a:cubicBezTo>
                  <a:pt x="102" y="176"/>
                  <a:pt x="103" y="177"/>
                  <a:pt x="105" y="176"/>
                </a:cubicBezTo>
                <a:cubicBezTo>
                  <a:pt x="108" y="175"/>
                  <a:pt x="108" y="173"/>
                  <a:pt x="110" y="172"/>
                </a:cubicBezTo>
                <a:cubicBezTo>
                  <a:pt x="112" y="172"/>
                  <a:pt x="114" y="171"/>
                  <a:pt x="114" y="174"/>
                </a:cubicBezTo>
                <a:cubicBezTo>
                  <a:pt x="115" y="177"/>
                  <a:pt x="116" y="178"/>
                  <a:pt x="117" y="178"/>
                </a:cubicBezTo>
                <a:cubicBezTo>
                  <a:pt x="118" y="179"/>
                  <a:pt x="124" y="181"/>
                  <a:pt x="127" y="179"/>
                </a:cubicBezTo>
                <a:cubicBezTo>
                  <a:pt x="130" y="177"/>
                  <a:pt x="133" y="176"/>
                  <a:pt x="135" y="177"/>
                </a:cubicBezTo>
                <a:cubicBezTo>
                  <a:pt x="137" y="177"/>
                  <a:pt x="141" y="181"/>
                  <a:pt x="142" y="180"/>
                </a:cubicBezTo>
                <a:cubicBezTo>
                  <a:pt x="144" y="179"/>
                  <a:pt x="146" y="176"/>
                  <a:pt x="148" y="176"/>
                </a:cubicBezTo>
                <a:cubicBezTo>
                  <a:pt x="150" y="176"/>
                  <a:pt x="158" y="175"/>
                  <a:pt x="160" y="178"/>
                </a:cubicBezTo>
                <a:cubicBezTo>
                  <a:pt x="162" y="181"/>
                  <a:pt x="163" y="183"/>
                  <a:pt x="166" y="184"/>
                </a:cubicBezTo>
                <a:cubicBezTo>
                  <a:pt x="169" y="184"/>
                  <a:pt x="171" y="186"/>
                  <a:pt x="172" y="187"/>
                </a:cubicBezTo>
                <a:cubicBezTo>
                  <a:pt x="172" y="188"/>
                  <a:pt x="173" y="189"/>
                  <a:pt x="174" y="190"/>
                </a:cubicBezTo>
                <a:cubicBezTo>
                  <a:pt x="175" y="189"/>
                  <a:pt x="176" y="188"/>
                  <a:pt x="177" y="188"/>
                </a:cubicBezTo>
                <a:cubicBezTo>
                  <a:pt x="180" y="187"/>
                  <a:pt x="179" y="188"/>
                  <a:pt x="179" y="182"/>
                </a:cubicBezTo>
                <a:cubicBezTo>
                  <a:pt x="178" y="175"/>
                  <a:pt x="177" y="170"/>
                  <a:pt x="183" y="166"/>
                </a:cubicBezTo>
                <a:cubicBezTo>
                  <a:pt x="188" y="162"/>
                  <a:pt x="194" y="153"/>
                  <a:pt x="198" y="150"/>
                </a:cubicBezTo>
                <a:cubicBezTo>
                  <a:pt x="202" y="148"/>
                  <a:pt x="206" y="146"/>
                  <a:pt x="206" y="141"/>
                </a:cubicBezTo>
                <a:cubicBezTo>
                  <a:pt x="207" y="136"/>
                  <a:pt x="207" y="130"/>
                  <a:pt x="205" y="128"/>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 name="Freeform 121">
            <a:extLst>
              <a:ext uri="{FF2B5EF4-FFF2-40B4-BE49-F238E27FC236}">
                <a16:creationId xmlns:a16="http://schemas.microsoft.com/office/drawing/2014/main" id="{61D88AF7-872C-0E2D-2186-B6BE3D11E9D4}"/>
              </a:ext>
            </a:extLst>
          </p:cNvPr>
          <p:cNvSpPr>
            <a:spLocks/>
          </p:cNvSpPr>
          <p:nvPr/>
        </p:nvSpPr>
        <p:spPr bwMode="auto">
          <a:xfrm rot="1342057">
            <a:off x="2384958" y="5446491"/>
            <a:ext cx="230270" cy="258624"/>
          </a:xfrm>
          <a:custGeom>
            <a:avLst/>
            <a:gdLst>
              <a:gd name="T0" fmla="*/ 35 w 42"/>
              <a:gd name="T1" fmla="*/ 15 h 48"/>
              <a:gd name="T2" fmla="*/ 25 w 42"/>
              <a:gd name="T3" fmla="*/ 10 h 48"/>
              <a:gd name="T4" fmla="*/ 21 w 42"/>
              <a:gd name="T5" fmla="*/ 5 h 48"/>
              <a:gd name="T6" fmla="*/ 22 w 42"/>
              <a:gd name="T7" fmla="*/ 1 h 48"/>
              <a:gd name="T8" fmla="*/ 16 w 42"/>
              <a:gd name="T9" fmla="*/ 2 h 48"/>
              <a:gd name="T10" fmla="*/ 13 w 42"/>
              <a:gd name="T11" fmla="*/ 7 h 48"/>
              <a:gd name="T12" fmla="*/ 10 w 42"/>
              <a:gd name="T13" fmla="*/ 9 h 48"/>
              <a:gd name="T14" fmla="*/ 7 w 42"/>
              <a:gd name="T15" fmla="*/ 13 h 48"/>
              <a:gd name="T16" fmla="*/ 2 w 42"/>
              <a:gd name="T17" fmla="*/ 16 h 48"/>
              <a:gd name="T18" fmla="*/ 4 w 42"/>
              <a:gd name="T19" fmla="*/ 22 h 48"/>
              <a:gd name="T20" fmla="*/ 2 w 42"/>
              <a:gd name="T21" fmla="*/ 26 h 48"/>
              <a:gd name="T22" fmla="*/ 1 w 42"/>
              <a:gd name="T23" fmla="*/ 28 h 48"/>
              <a:gd name="T24" fmla="*/ 2 w 42"/>
              <a:gd name="T25" fmla="*/ 29 h 48"/>
              <a:gd name="T26" fmla="*/ 21 w 42"/>
              <a:gd name="T27" fmla="*/ 48 h 48"/>
              <a:gd name="T28" fmla="*/ 22 w 42"/>
              <a:gd name="T29" fmla="*/ 43 h 48"/>
              <a:gd name="T30" fmla="*/ 24 w 42"/>
              <a:gd name="T31" fmla="*/ 35 h 48"/>
              <a:gd name="T32" fmla="*/ 28 w 42"/>
              <a:gd name="T33" fmla="*/ 29 h 48"/>
              <a:gd name="T34" fmla="*/ 33 w 42"/>
              <a:gd name="T35" fmla="*/ 31 h 48"/>
              <a:gd name="T36" fmla="*/ 37 w 42"/>
              <a:gd name="T37" fmla="*/ 30 h 48"/>
              <a:gd name="T38" fmla="*/ 40 w 42"/>
              <a:gd name="T39" fmla="*/ 23 h 48"/>
              <a:gd name="T40" fmla="*/ 35 w 42"/>
              <a:gd name="T41" fmla="*/ 15 h 48"/>
              <a:gd name="connsiteX0" fmla="*/ 8095 w 9414"/>
              <a:gd name="connsiteY0" fmla="*/ 2976 h 9347"/>
              <a:gd name="connsiteX1" fmla="*/ 5714 w 9414"/>
              <a:gd name="connsiteY1" fmla="*/ 1934 h 9347"/>
              <a:gd name="connsiteX2" fmla="*/ 4762 w 9414"/>
              <a:gd name="connsiteY2" fmla="*/ 893 h 9347"/>
              <a:gd name="connsiteX3" fmla="*/ 5000 w 9414"/>
              <a:gd name="connsiteY3" fmla="*/ 59 h 9347"/>
              <a:gd name="connsiteX4" fmla="*/ 3572 w 9414"/>
              <a:gd name="connsiteY4" fmla="*/ 268 h 9347"/>
              <a:gd name="connsiteX5" fmla="*/ 2857 w 9414"/>
              <a:gd name="connsiteY5" fmla="*/ 1309 h 9347"/>
              <a:gd name="connsiteX6" fmla="*/ 2143 w 9414"/>
              <a:gd name="connsiteY6" fmla="*/ 1726 h 9347"/>
              <a:gd name="connsiteX7" fmla="*/ 1429 w 9414"/>
              <a:gd name="connsiteY7" fmla="*/ 2559 h 9347"/>
              <a:gd name="connsiteX8" fmla="*/ 238 w 9414"/>
              <a:gd name="connsiteY8" fmla="*/ 3184 h 9347"/>
              <a:gd name="connsiteX9" fmla="*/ 714 w 9414"/>
              <a:gd name="connsiteY9" fmla="*/ 4434 h 9347"/>
              <a:gd name="connsiteX10" fmla="*/ 238 w 9414"/>
              <a:gd name="connsiteY10" fmla="*/ 5268 h 9347"/>
              <a:gd name="connsiteX11" fmla="*/ 0 w 9414"/>
              <a:gd name="connsiteY11" fmla="*/ 5684 h 9347"/>
              <a:gd name="connsiteX12" fmla="*/ 238 w 9414"/>
              <a:gd name="connsiteY12" fmla="*/ 5893 h 9347"/>
              <a:gd name="connsiteX13" fmla="*/ 4177 w 9414"/>
              <a:gd name="connsiteY13" fmla="*/ 9347 h 9347"/>
              <a:gd name="connsiteX14" fmla="*/ 5000 w 9414"/>
              <a:gd name="connsiteY14" fmla="*/ 8809 h 9347"/>
              <a:gd name="connsiteX15" fmla="*/ 5476 w 9414"/>
              <a:gd name="connsiteY15" fmla="*/ 7143 h 9347"/>
              <a:gd name="connsiteX16" fmla="*/ 6429 w 9414"/>
              <a:gd name="connsiteY16" fmla="*/ 5893 h 9347"/>
              <a:gd name="connsiteX17" fmla="*/ 7619 w 9414"/>
              <a:gd name="connsiteY17" fmla="*/ 6309 h 9347"/>
              <a:gd name="connsiteX18" fmla="*/ 8572 w 9414"/>
              <a:gd name="connsiteY18" fmla="*/ 6101 h 9347"/>
              <a:gd name="connsiteX19" fmla="*/ 9286 w 9414"/>
              <a:gd name="connsiteY19" fmla="*/ 4643 h 9347"/>
              <a:gd name="connsiteX20" fmla="*/ 8095 w 9414"/>
              <a:gd name="connsiteY20" fmla="*/ 2976 h 9347"/>
              <a:gd name="connsiteX0" fmla="*/ 8599 w 10000"/>
              <a:gd name="connsiteY0" fmla="*/ 3183 h 9999"/>
              <a:gd name="connsiteX1" fmla="*/ 6070 w 10000"/>
              <a:gd name="connsiteY1" fmla="*/ 2068 h 9999"/>
              <a:gd name="connsiteX2" fmla="*/ 5058 w 10000"/>
              <a:gd name="connsiteY2" fmla="*/ 954 h 9999"/>
              <a:gd name="connsiteX3" fmla="*/ 5311 w 10000"/>
              <a:gd name="connsiteY3" fmla="*/ 62 h 9999"/>
              <a:gd name="connsiteX4" fmla="*/ 3794 w 10000"/>
              <a:gd name="connsiteY4" fmla="*/ 286 h 9999"/>
              <a:gd name="connsiteX5" fmla="*/ 3035 w 10000"/>
              <a:gd name="connsiteY5" fmla="*/ 1399 h 9999"/>
              <a:gd name="connsiteX6" fmla="*/ 2276 w 10000"/>
              <a:gd name="connsiteY6" fmla="*/ 1846 h 9999"/>
              <a:gd name="connsiteX7" fmla="*/ 1518 w 10000"/>
              <a:gd name="connsiteY7" fmla="*/ 2737 h 9999"/>
              <a:gd name="connsiteX8" fmla="*/ 253 w 10000"/>
              <a:gd name="connsiteY8" fmla="*/ 3405 h 9999"/>
              <a:gd name="connsiteX9" fmla="*/ 758 w 10000"/>
              <a:gd name="connsiteY9" fmla="*/ 4743 h 9999"/>
              <a:gd name="connsiteX10" fmla="*/ 253 w 10000"/>
              <a:gd name="connsiteY10" fmla="*/ 5635 h 9999"/>
              <a:gd name="connsiteX11" fmla="*/ 0 w 10000"/>
              <a:gd name="connsiteY11" fmla="*/ 6080 h 9999"/>
              <a:gd name="connsiteX12" fmla="*/ 253 w 10000"/>
              <a:gd name="connsiteY12" fmla="*/ 6304 h 9999"/>
              <a:gd name="connsiteX13" fmla="*/ 4437 w 10000"/>
              <a:gd name="connsiteY13" fmla="*/ 9999 h 9999"/>
              <a:gd name="connsiteX14" fmla="*/ 5311 w 10000"/>
              <a:gd name="connsiteY14" fmla="*/ 9423 h 9999"/>
              <a:gd name="connsiteX15" fmla="*/ 5817 w 10000"/>
              <a:gd name="connsiteY15" fmla="*/ 7641 h 9999"/>
              <a:gd name="connsiteX16" fmla="*/ 7003 w 10000"/>
              <a:gd name="connsiteY16" fmla="*/ 6678 h 9999"/>
              <a:gd name="connsiteX17" fmla="*/ 8093 w 10000"/>
              <a:gd name="connsiteY17" fmla="*/ 6749 h 9999"/>
              <a:gd name="connsiteX18" fmla="*/ 9106 w 10000"/>
              <a:gd name="connsiteY18" fmla="*/ 6526 h 9999"/>
              <a:gd name="connsiteX19" fmla="*/ 9864 w 10000"/>
              <a:gd name="connsiteY19" fmla="*/ 4966 h 9999"/>
              <a:gd name="connsiteX20" fmla="*/ 8599 w 10000"/>
              <a:gd name="connsiteY20" fmla="*/ 3183 h 9999"/>
              <a:gd name="connsiteX0" fmla="*/ 8599 w 10000"/>
              <a:gd name="connsiteY0" fmla="*/ 3183 h 10000"/>
              <a:gd name="connsiteX1" fmla="*/ 6809 w 10000"/>
              <a:gd name="connsiteY1" fmla="*/ 1798 h 10000"/>
              <a:gd name="connsiteX2" fmla="*/ 5058 w 10000"/>
              <a:gd name="connsiteY2" fmla="*/ 954 h 10000"/>
              <a:gd name="connsiteX3" fmla="*/ 5311 w 10000"/>
              <a:gd name="connsiteY3" fmla="*/ 62 h 10000"/>
              <a:gd name="connsiteX4" fmla="*/ 3794 w 10000"/>
              <a:gd name="connsiteY4" fmla="*/ 286 h 10000"/>
              <a:gd name="connsiteX5" fmla="*/ 3035 w 10000"/>
              <a:gd name="connsiteY5" fmla="*/ 1399 h 10000"/>
              <a:gd name="connsiteX6" fmla="*/ 2276 w 10000"/>
              <a:gd name="connsiteY6" fmla="*/ 1846 h 10000"/>
              <a:gd name="connsiteX7" fmla="*/ 1518 w 10000"/>
              <a:gd name="connsiteY7" fmla="*/ 2737 h 10000"/>
              <a:gd name="connsiteX8" fmla="*/ 253 w 10000"/>
              <a:gd name="connsiteY8" fmla="*/ 3405 h 10000"/>
              <a:gd name="connsiteX9" fmla="*/ 758 w 10000"/>
              <a:gd name="connsiteY9" fmla="*/ 4743 h 10000"/>
              <a:gd name="connsiteX10" fmla="*/ 253 w 10000"/>
              <a:gd name="connsiteY10" fmla="*/ 5636 h 10000"/>
              <a:gd name="connsiteX11" fmla="*/ 0 w 10000"/>
              <a:gd name="connsiteY11" fmla="*/ 6081 h 10000"/>
              <a:gd name="connsiteX12" fmla="*/ 253 w 10000"/>
              <a:gd name="connsiteY12" fmla="*/ 6305 h 10000"/>
              <a:gd name="connsiteX13" fmla="*/ 4437 w 10000"/>
              <a:gd name="connsiteY13" fmla="*/ 10000 h 10000"/>
              <a:gd name="connsiteX14" fmla="*/ 5311 w 10000"/>
              <a:gd name="connsiteY14" fmla="*/ 9424 h 10000"/>
              <a:gd name="connsiteX15" fmla="*/ 5817 w 10000"/>
              <a:gd name="connsiteY15" fmla="*/ 7642 h 10000"/>
              <a:gd name="connsiteX16" fmla="*/ 7003 w 10000"/>
              <a:gd name="connsiteY16" fmla="*/ 6679 h 10000"/>
              <a:gd name="connsiteX17" fmla="*/ 8093 w 10000"/>
              <a:gd name="connsiteY17" fmla="*/ 6750 h 10000"/>
              <a:gd name="connsiteX18" fmla="*/ 9106 w 10000"/>
              <a:gd name="connsiteY18" fmla="*/ 6527 h 10000"/>
              <a:gd name="connsiteX19" fmla="*/ 9864 w 10000"/>
              <a:gd name="connsiteY19" fmla="*/ 4966 h 10000"/>
              <a:gd name="connsiteX20" fmla="*/ 8599 w 10000"/>
              <a:gd name="connsiteY20" fmla="*/ 318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00" h="10000">
                <a:moveTo>
                  <a:pt x="8599" y="3183"/>
                </a:moveTo>
                <a:cubicBezTo>
                  <a:pt x="7840" y="2737"/>
                  <a:pt x="7821" y="2467"/>
                  <a:pt x="6809" y="1798"/>
                </a:cubicBezTo>
                <a:cubicBezTo>
                  <a:pt x="6050" y="1353"/>
                  <a:pt x="5311" y="1399"/>
                  <a:pt x="5058" y="954"/>
                </a:cubicBezTo>
                <a:cubicBezTo>
                  <a:pt x="5058" y="731"/>
                  <a:pt x="5058" y="508"/>
                  <a:pt x="5311" y="62"/>
                </a:cubicBezTo>
                <a:cubicBezTo>
                  <a:pt x="4553" y="-160"/>
                  <a:pt x="4300" y="286"/>
                  <a:pt x="3794" y="286"/>
                </a:cubicBezTo>
                <a:cubicBezTo>
                  <a:pt x="3035" y="508"/>
                  <a:pt x="3035" y="731"/>
                  <a:pt x="3035" y="1399"/>
                </a:cubicBezTo>
                <a:cubicBezTo>
                  <a:pt x="3035" y="2068"/>
                  <a:pt x="2782" y="1846"/>
                  <a:pt x="2276" y="1846"/>
                </a:cubicBezTo>
                <a:cubicBezTo>
                  <a:pt x="1518" y="1846"/>
                  <a:pt x="1771" y="2068"/>
                  <a:pt x="1518" y="2737"/>
                </a:cubicBezTo>
                <a:cubicBezTo>
                  <a:pt x="1265" y="3405"/>
                  <a:pt x="758" y="3405"/>
                  <a:pt x="253" y="3405"/>
                </a:cubicBezTo>
                <a:cubicBezTo>
                  <a:pt x="-253" y="3629"/>
                  <a:pt x="253" y="4298"/>
                  <a:pt x="758" y="4743"/>
                </a:cubicBezTo>
                <a:cubicBezTo>
                  <a:pt x="1011" y="5190"/>
                  <a:pt x="758" y="5190"/>
                  <a:pt x="253" y="5636"/>
                </a:cubicBezTo>
                <a:cubicBezTo>
                  <a:pt x="253" y="5636"/>
                  <a:pt x="0" y="5859"/>
                  <a:pt x="0" y="6081"/>
                </a:cubicBezTo>
                <a:lnTo>
                  <a:pt x="253" y="6305"/>
                </a:lnTo>
                <a:cubicBezTo>
                  <a:pt x="992" y="6958"/>
                  <a:pt x="2919" y="8440"/>
                  <a:pt x="4437" y="10000"/>
                </a:cubicBezTo>
                <a:cubicBezTo>
                  <a:pt x="4690" y="9554"/>
                  <a:pt x="5082" y="9817"/>
                  <a:pt x="5311" y="9424"/>
                </a:cubicBezTo>
                <a:cubicBezTo>
                  <a:pt x="5542" y="9032"/>
                  <a:pt x="5535" y="8099"/>
                  <a:pt x="5817" y="7642"/>
                </a:cubicBezTo>
                <a:cubicBezTo>
                  <a:pt x="6099" y="7185"/>
                  <a:pt x="6496" y="6455"/>
                  <a:pt x="7003" y="6679"/>
                </a:cubicBezTo>
                <a:cubicBezTo>
                  <a:pt x="7762" y="6901"/>
                  <a:pt x="7743" y="6775"/>
                  <a:pt x="8093" y="6750"/>
                </a:cubicBezTo>
                <a:cubicBezTo>
                  <a:pt x="8443" y="6725"/>
                  <a:pt x="8852" y="6750"/>
                  <a:pt x="9106" y="6527"/>
                </a:cubicBezTo>
                <a:cubicBezTo>
                  <a:pt x="9106" y="6081"/>
                  <a:pt x="9611" y="5412"/>
                  <a:pt x="9864" y="4966"/>
                </a:cubicBezTo>
                <a:cubicBezTo>
                  <a:pt x="10370" y="4074"/>
                  <a:pt x="9358" y="3852"/>
                  <a:pt x="8599" y="3183"/>
                </a:cubicBezTo>
                <a:close/>
              </a:path>
            </a:pathLst>
          </a:custGeom>
          <a:solidFill>
            <a:schemeClr val="bg2"/>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cxnSp>
        <p:nvCxnSpPr>
          <p:cNvPr id="22" name="Straight Connector 21">
            <a:extLst>
              <a:ext uri="{FF2B5EF4-FFF2-40B4-BE49-F238E27FC236}">
                <a16:creationId xmlns:a16="http://schemas.microsoft.com/office/drawing/2014/main" id="{F508B91C-42C2-19D2-3B15-A72FDB1A9E81}"/>
              </a:ext>
            </a:extLst>
          </p:cNvPr>
          <p:cNvCxnSpPr/>
          <p:nvPr/>
        </p:nvCxnSpPr>
        <p:spPr>
          <a:xfrm flipH="1">
            <a:off x="2326405" y="4723298"/>
            <a:ext cx="1789327" cy="0"/>
          </a:xfrm>
          <a:prstGeom prst="line">
            <a:avLst/>
          </a:prstGeom>
          <a:ln>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18AFD5B-56F9-2D15-953C-6FC86AE2DF9B}"/>
              </a:ext>
            </a:extLst>
          </p:cNvPr>
          <p:cNvSpPr txBox="1"/>
          <p:nvPr/>
        </p:nvSpPr>
        <p:spPr>
          <a:xfrm>
            <a:off x="2672227" y="4532554"/>
            <a:ext cx="1351656" cy="205629"/>
          </a:xfrm>
          <a:prstGeom prst="rect">
            <a:avLst/>
          </a:prstGeom>
          <a:noFill/>
        </p:spPr>
        <p:txBody>
          <a:bodyPr wrap="square" lIns="0" tIns="0" rIns="0" bIns="36000" rtlCol="0">
            <a:spAutoFit/>
          </a:bodyPr>
          <a:lstStyle/>
          <a:p>
            <a:pPr algn="r">
              <a:spcBef>
                <a:spcPts val="600"/>
              </a:spcBef>
              <a:buSzPct val="100000"/>
            </a:pPr>
            <a:r>
              <a:rPr lang="en-US" sz="1100" dirty="0">
                <a:solidFill>
                  <a:srgbClr val="313131"/>
                </a:solidFill>
                <a:latin typeface="Calibri" panose="020F0502020204030204" pitchFamily="34" charset="0"/>
                <a:cs typeface="Calibri" panose="020F0502020204030204" pitchFamily="34" charset="0"/>
              </a:rPr>
              <a:t>Budapest</a:t>
            </a:r>
          </a:p>
        </p:txBody>
      </p:sp>
      <p:sp>
        <p:nvSpPr>
          <p:cNvPr id="32" name="object 11">
            <a:extLst>
              <a:ext uri="{FF2B5EF4-FFF2-40B4-BE49-F238E27FC236}">
                <a16:creationId xmlns:a16="http://schemas.microsoft.com/office/drawing/2014/main" id="{0C492706-71F2-64F0-6B88-ABE652BA029F}"/>
              </a:ext>
            </a:extLst>
          </p:cNvPr>
          <p:cNvSpPr txBox="1"/>
          <p:nvPr/>
        </p:nvSpPr>
        <p:spPr>
          <a:xfrm>
            <a:off x="10630342" y="1510621"/>
            <a:ext cx="844562" cy="396000"/>
          </a:xfrm>
          <a:prstGeom prst="rect">
            <a:avLst/>
          </a:prstGeom>
        </p:spPr>
        <p:txBody>
          <a:bodyPr vert="horz" wrap="square" lIns="0" tIns="0" rIns="0" bIns="0" rtlCol="0" anchor="ctr">
            <a:noAutofit/>
          </a:bodyPr>
          <a:lstStyle/>
          <a:p>
            <a:pPr marL="11516" marR="4607" lvl="0" indent="0" algn="l" defTabSz="914400" eaLnBrk="1" fontAlgn="auto" latinLnBrk="0" hangingPunct="1">
              <a:lnSpc>
                <a:spcPct val="100000"/>
              </a:lnSpc>
              <a:spcBef>
                <a:spcPts val="91"/>
              </a:spcBef>
              <a:spcAft>
                <a:spcPts val="0"/>
              </a:spcAft>
              <a:buClrTx/>
              <a:buSzTx/>
              <a:buFontTx/>
              <a:buNone/>
              <a:tabLst/>
              <a:defRPr/>
            </a:pPr>
            <a:r>
              <a:rPr kumimoji="0" lang="en-US" sz="105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artners in Consulting</a:t>
            </a:r>
          </a:p>
        </p:txBody>
      </p:sp>
      <p:grpSp>
        <p:nvGrpSpPr>
          <p:cNvPr id="33" name="Group 32">
            <a:extLst>
              <a:ext uri="{FF2B5EF4-FFF2-40B4-BE49-F238E27FC236}">
                <a16:creationId xmlns:a16="http://schemas.microsoft.com/office/drawing/2014/main" id="{56E7593C-2124-6CB0-A1F6-7AE9F99E11E0}"/>
              </a:ext>
            </a:extLst>
          </p:cNvPr>
          <p:cNvGrpSpPr/>
          <p:nvPr/>
        </p:nvGrpSpPr>
        <p:grpSpPr>
          <a:xfrm>
            <a:off x="7415698" y="1491802"/>
            <a:ext cx="2011369" cy="433639"/>
            <a:chOff x="3004002" y="1549431"/>
            <a:chExt cx="2011369" cy="433639"/>
          </a:xfrm>
        </p:grpSpPr>
        <p:sp>
          <p:nvSpPr>
            <p:cNvPr id="34" name="object 6">
              <a:extLst>
                <a:ext uri="{FF2B5EF4-FFF2-40B4-BE49-F238E27FC236}">
                  <a16:creationId xmlns:a16="http://schemas.microsoft.com/office/drawing/2014/main" id="{08948291-DF5D-B256-ECEC-BF70381AE6FC}"/>
                </a:ext>
              </a:extLst>
            </p:cNvPr>
            <p:cNvSpPr txBox="1"/>
            <p:nvPr/>
          </p:nvSpPr>
          <p:spPr>
            <a:xfrm>
              <a:off x="4140541" y="1568250"/>
              <a:ext cx="874830" cy="396000"/>
            </a:xfrm>
            <a:prstGeom prst="rect">
              <a:avLst/>
            </a:prstGeom>
          </p:spPr>
          <p:txBody>
            <a:bodyPr vert="horz" wrap="square" lIns="0" tIns="0" rIns="0" bIns="0" rtlCol="0" anchor="ctr">
              <a:noAutofit/>
            </a:bodyPr>
            <a:lstStyle/>
            <a:p>
              <a:pPr marL="11516" marR="0" lvl="0" indent="0" algn="l" defTabSz="914400" eaLnBrk="1" fontAlgn="auto" latinLnBrk="0" hangingPunct="1">
                <a:lnSpc>
                  <a:spcPct val="100000"/>
                </a:lnSpc>
                <a:spcBef>
                  <a:spcPts val="272"/>
                </a:spcBef>
                <a:spcAft>
                  <a:spcPts val="0"/>
                </a:spcAft>
                <a:buClrTx/>
                <a:buSzTx/>
                <a:buFontTx/>
                <a:buNone/>
                <a:tabLst/>
                <a:defRPr/>
              </a:pPr>
              <a:r>
                <a:rPr kumimoji="0" lang="en-US" sz="1050" b="0" i="0" u="none" strike="noStrike" kern="1200" cap="none" spc="-27"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killed </a:t>
              </a:r>
              <a:r>
                <a:rPr kumimoji="0" lang="en-US" sz="1050" b="1" i="0" u="none" strike="noStrike" kern="1200" cap="none" spc="-27"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ulting</a:t>
              </a:r>
              <a:r>
                <a:rPr kumimoji="0" lang="en-US" sz="1050" b="0" i="0" u="none" strike="noStrike" kern="1200" cap="none" spc="-27"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practitioners</a:t>
              </a:r>
            </a:p>
          </p:txBody>
        </p:sp>
        <p:sp>
          <p:nvSpPr>
            <p:cNvPr id="35" name="object 8">
              <a:extLst>
                <a:ext uri="{FF2B5EF4-FFF2-40B4-BE49-F238E27FC236}">
                  <a16:creationId xmlns:a16="http://schemas.microsoft.com/office/drawing/2014/main" id="{389F4792-6798-4699-E71B-30675C623090}"/>
                </a:ext>
              </a:extLst>
            </p:cNvPr>
            <p:cNvSpPr txBox="1"/>
            <p:nvPr/>
          </p:nvSpPr>
          <p:spPr>
            <a:xfrm>
              <a:off x="3004002" y="1549431"/>
              <a:ext cx="1176210"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250</a:t>
              </a:r>
              <a:r>
                <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grpSp>
      <p:sp>
        <p:nvSpPr>
          <p:cNvPr id="36" name="object 8">
            <a:extLst>
              <a:ext uri="{FF2B5EF4-FFF2-40B4-BE49-F238E27FC236}">
                <a16:creationId xmlns:a16="http://schemas.microsoft.com/office/drawing/2014/main" id="{DC3AF5E5-9333-7EEB-6BD8-85353AFD6BB8}"/>
              </a:ext>
            </a:extLst>
          </p:cNvPr>
          <p:cNvSpPr txBox="1"/>
          <p:nvPr/>
        </p:nvSpPr>
        <p:spPr>
          <a:xfrm>
            <a:off x="10030750" y="1491802"/>
            <a:ext cx="844562" cy="433639"/>
          </a:xfrm>
          <a:prstGeom prst="rect">
            <a:avLst/>
          </a:prstGeom>
          <a:noFill/>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6</a:t>
            </a:r>
          </a:p>
        </p:txBody>
      </p:sp>
      <p:sp>
        <p:nvSpPr>
          <p:cNvPr id="39" name="Freeform 87">
            <a:extLst>
              <a:ext uri="{FF2B5EF4-FFF2-40B4-BE49-F238E27FC236}">
                <a16:creationId xmlns:a16="http://schemas.microsoft.com/office/drawing/2014/main" id="{4449EED0-EFB0-7B66-C148-C741105CEA18}"/>
              </a:ext>
            </a:extLst>
          </p:cNvPr>
          <p:cNvSpPr>
            <a:spLocks/>
          </p:cNvSpPr>
          <p:nvPr/>
        </p:nvSpPr>
        <p:spPr bwMode="auto">
          <a:xfrm>
            <a:off x="1051994" y="1690147"/>
            <a:ext cx="33057" cy="36949"/>
          </a:xfrm>
          <a:custGeom>
            <a:avLst/>
            <a:gdLst>
              <a:gd name="T0" fmla="*/ 10 w 12"/>
              <a:gd name="T1" fmla="*/ 7 h 13"/>
              <a:gd name="T2" fmla="*/ 7 w 12"/>
              <a:gd name="T3" fmla="*/ 4 h 13"/>
              <a:gd name="T4" fmla="*/ 7 w 12"/>
              <a:gd name="T5" fmla="*/ 1 h 13"/>
              <a:gd name="T6" fmla="*/ 5 w 12"/>
              <a:gd name="T7" fmla="*/ 4 h 13"/>
              <a:gd name="T8" fmla="*/ 0 w 12"/>
              <a:gd name="T9" fmla="*/ 12 h 13"/>
              <a:gd name="T10" fmla="*/ 5 w 12"/>
              <a:gd name="T11" fmla="*/ 7 h 13"/>
              <a:gd name="T12" fmla="*/ 10 w 12"/>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10" y="7"/>
                </a:moveTo>
                <a:cubicBezTo>
                  <a:pt x="12" y="6"/>
                  <a:pt x="8" y="4"/>
                  <a:pt x="7" y="4"/>
                </a:cubicBezTo>
                <a:cubicBezTo>
                  <a:pt x="10" y="4"/>
                  <a:pt x="11" y="0"/>
                  <a:pt x="7" y="1"/>
                </a:cubicBezTo>
                <a:cubicBezTo>
                  <a:pt x="8" y="2"/>
                  <a:pt x="5" y="4"/>
                  <a:pt x="5" y="4"/>
                </a:cubicBezTo>
                <a:cubicBezTo>
                  <a:pt x="4" y="6"/>
                  <a:pt x="2" y="11"/>
                  <a:pt x="0" y="12"/>
                </a:cubicBezTo>
                <a:cubicBezTo>
                  <a:pt x="2" y="13"/>
                  <a:pt x="11" y="9"/>
                  <a:pt x="5" y="7"/>
                </a:cubicBezTo>
                <a:cubicBezTo>
                  <a:pt x="7" y="6"/>
                  <a:pt x="8" y="8"/>
                  <a:pt x="10" y="7"/>
                </a:cubicBezTo>
                <a:close/>
              </a:path>
            </a:pathLst>
          </a:custGeom>
          <a:solidFill>
            <a:schemeClr val="tx1"/>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40" name="Group 39">
            <a:extLst>
              <a:ext uri="{FF2B5EF4-FFF2-40B4-BE49-F238E27FC236}">
                <a16:creationId xmlns:a16="http://schemas.microsoft.com/office/drawing/2014/main" id="{E21FDA82-98D2-C860-6221-D6E28129B0EB}"/>
              </a:ext>
            </a:extLst>
          </p:cNvPr>
          <p:cNvGrpSpPr/>
          <p:nvPr/>
        </p:nvGrpSpPr>
        <p:grpSpPr>
          <a:xfrm>
            <a:off x="504176" y="1491802"/>
            <a:ext cx="1535509" cy="433639"/>
            <a:chOff x="5718644" y="1549431"/>
            <a:chExt cx="1535509" cy="433639"/>
          </a:xfrm>
        </p:grpSpPr>
        <p:sp>
          <p:nvSpPr>
            <p:cNvPr id="41" name="object 9">
              <a:extLst>
                <a:ext uri="{FF2B5EF4-FFF2-40B4-BE49-F238E27FC236}">
                  <a16:creationId xmlns:a16="http://schemas.microsoft.com/office/drawing/2014/main" id="{07ED6987-380E-37AD-BF33-88641539EEC3}"/>
                </a:ext>
              </a:extLst>
            </p:cNvPr>
            <p:cNvSpPr txBox="1"/>
            <p:nvPr/>
          </p:nvSpPr>
          <p:spPr>
            <a:xfrm>
              <a:off x="6377998" y="1568250"/>
              <a:ext cx="876155" cy="396000"/>
            </a:xfrm>
            <a:prstGeom prst="rect">
              <a:avLst/>
            </a:prstGeom>
          </p:spPr>
          <p:txBody>
            <a:bodyPr vert="horz" wrap="square" lIns="0" tIns="0" rIns="0" bIns="0" rtlCol="0" anchor="ctr">
              <a:noAutofit/>
            </a:bodyPr>
            <a:lstStyle/>
            <a:p>
              <a:pPr marL="11516" marR="0" lvl="0" indent="0" algn="l" defTabSz="914400" eaLnBrk="1" fontAlgn="auto" latinLnBrk="0" hangingPunct="1">
                <a:lnSpc>
                  <a:spcPct val="100000"/>
                </a:lnSpc>
                <a:spcBef>
                  <a:spcPts val="91"/>
                </a:spcBef>
                <a:spcAft>
                  <a:spcPts val="0"/>
                </a:spcAft>
                <a:buClrTx/>
                <a:buSzTx/>
                <a:buFontTx/>
                <a:buNone/>
                <a:tabLst/>
                <a:defRPr/>
              </a:pPr>
              <a:r>
                <a:rPr lang="en-US" sz="1050" dirty="0">
                  <a:solidFill>
                    <a:srgbClr val="000000"/>
                  </a:solidFill>
                  <a:latin typeface="Open Sans" panose="020B0606030504020204" pitchFamily="34" charset="0"/>
                  <a:ea typeface="Open Sans" panose="020B0606030504020204" pitchFamily="34" charset="0"/>
                  <a:cs typeface="Open Sans" panose="020B0606030504020204" pitchFamily="34" charset="0"/>
                </a:rPr>
                <a:t>Offices</a:t>
              </a:r>
              <a:endParaRPr kumimoji="0" lang="en-US" sz="105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object 8">
              <a:extLst>
                <a:ext uri="{FF2B5EF4-FFF2-40B4-BE49-F238E27FC236}">
                  <a16:creationId xmlns:a16="http://schemas.microsoft.com/office/drawing/2014/main" id="{9195FC98-6DDC-C91F-F895-85E2C08C4CC6}"/>
                </a:ext>
              </a:extLst>
            </p:cNvPr>
            <p:cNvSpPr txBox="1"/>
            <p:nvPr/>
          </p:nvSpPr>
          <p:spPr>
            <a:xfrm>
              <a:off x="5718644" y="1549431"/>
              <a:ext cx="985586"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grpSp>
          <p:nvGrpSpPr>
            <p:cNvPr id="43" name="Graphic 4">
              <a:extLst>
                <a:ext uri="{FF2B5EF4-FFF2-40B4-BE49-F238E27FC236}">
                  <a16:creationId xmlns:a16="http://schemas.microsoft.com/office/drawing/2014/main" id="{8B090C60-841D-E7F0-F6E6-6A370401774C}"/>
                </a:ext>
              </a:extLst>
            </p:cNvPr>
            <p:cNvGrpSpPr>
              <a:grpSpLocks noChangeAspect="1"/>
            </p:cNvGrpSpPr>
            <p:nvPr/>
          </p:nvGrpSpPr>
          <p:grpSpPr>
            <a:xfrm>
              <a:off x="5724754" y="1649183"/>
              <a:ext cx="293158" cy="234133"/>
              <a:chOff x="1589177" y="2466933"/>
              <a:chExt cx="213423" cy="170452"/>
            </a:xfrm>
            <a:solidFill>
              <a:srgbClr val="00B0F2"/>
            </a:solidFill>
          </p:grpSpPr>
          <p:sp>
            <p:nvSpPr>
              <p:cNvPr id="44" name="Graphic 4">
                <a:extLst>
                  <a:ext uri="{FF2B5EF4-FFF2-40B4-BE49-F238E27FC236}">
                    <a16:creationId xmlns:a16="http://schemas.microsoft.com/office/drawing/2014/main" id="{E9660165-A3C4-0D74-2BAC-4EB68DD181A6}"/>
                  </a:ext>
                </a:extLst>
              </p:cNvPr>
              <p:cNvSpPr/>
              <p:nvPr/>
            </p:nvSpPr>
            <p:spPr>
              <a:xfrm>
                <a:off x="1589177" y="2466933"/>
                <a:ext cx="213423" cy="170452"/>
              </a:xfrm>
              <a:custGeom>
                <a:avLst/>
                <a:gdLst>
                  <a:gd name="connsiteX0" fmla="*/ 207034 w 213423"/>
                  <a:gd name="connsiteY0" fmla="*/ 14045 h 170452"/>
                  <a:gd name="connsiteX1" fmla="*/ 170611 w 213423"/>
                  <a:gd name="connsiteY1" fmla="*/ 14045 h 170452"/>
                  <a:gd name="connsiteX2" fmla="*/ 170611 w 213423"/>
                  <a:gd name="connsiteY2" fmla="*/ 6384 h 170452"/>
                  <a:gd name="connsiteX3" fmla="*/ 164221 w 213423"/>
                  <a:gd name="connsiteY3" fmla="*/ 0 h 170452"/>
                  <a:gd name="connsiteX4" fmla="*/ 49202 w 213423"/>
                  <a:gd name="connsiteY4" fmla="*/ 0 h 170452"/>
                  <a:gd name="connsiteX5" fmla="*/ 42813 w 213423"/>
                  <a:gd name="connsiteY5" fmla="*/ 6384 h 170452"/>
                  <a:gd name="connsiteX6" fmla="*/ 42813 w 213423"/>
                  <a:gd name="connsiteY6" fmla="*/ 14045 h 170452"/>
                  <a:gd name="connsiteX7" fmla="*/ 6390 w 213423"/>
                  <a:gd name="connsiteY7" fmla="*/ 14045 h 170452"/>
                  <a:gd name="connsiteX8" fmla="*/ 0 w 213423"/>
                  <a:gd name="connsiteY8" fmla="*/ 20429 h 170452"/>
                  <a:gd name="connsiteX9" fmla="*/ 0 w 213423"/>
                  <a:gd name="connsiteY9" fmla="*/ 164068 h 170452"/>
                  <a:gd name="connsiteX10" fmla="*/ 6390 w 213423"/>
                  <a:gd name="connsiteY10" fmla="*/ 170452 h 170452"/>
                  <a:gd name="connsiteX11" fmla="*/ 207034 w 213423"/>
                  <a:gd name="connsiteY11" fmla="*/ 170452 h 170452"/>
                  <a:gd name="connsiteX12" fmla="*/ 213424 w 213423"/>
                  <a:gd name="connsiteY12" fmla="*/ 164068 h 170452"/>
                  <a:gd name="connsiteX13" fmla="*/ 213424 w 213423"/>
                  <a:gd name="connsiteY13" fmla="*/ 20429 h 170452"/>
                  <a:gd name="connsiteX14" fmla="*/ 207034 w 213423"/>
                  <a:gd name="connsiteY14" fmla="*/ 14045 h 170452"/>
                  <a:gd name="connsiteX15" fmla="*/ 98405 w 213423"/>
                  <a:gd name="connsiteY15" fmla="*/ 157684 h 170452"/>
                  <a:gd name="connsiteX16" fmla="*/ 98405 w 213423"/>
                  <a:gd name="connsiteY16" fmla="*/ 112997 h 170452"/>
                  <a:gd name="connsiteX17" fmla="*/ 114380 w 213423"/>
                  <a:gd name="connsiteY17" fmla="*/ 112997 h 170452"/>
                  <a:gd name="connsiteX18" fmla="*/ 114380 w 213423"/>
                  <a:gd name="connsiteY18" fmla="*/ 157684 h 170452"/>
                  <a:gd name="connsiteX19" fmla="*/ 98405 w 213423"/>
                  <a:gd name="connsiteY19" fmla="*/ 157684 h 170452"/>
                  <a:gd name="connsiteX20" fmla="*/ 200644 w 213423"/>
                  <a:gd name="connsiteY20" fmla="*/ 157684 h 170452"/>
                  <a:gd name="connsiteX21" fmla="*/ 127160 w 213423"/>
                  <a:gd name="connsiteY21" fmla="*/ 157684 h 170452"/>
                  <a:gd name="connsiteX22" fmla="*/ 127160 w 213423"/>
                  <a:gd name="connsiteY22" fmla="*/ 106613 h 170452"/>
                  <a:gd name="connsiteX23" fmla="*/ 120770 w 213423"/>
                  <a:gd name="connsiteY23" fmla="*/ 100229 h 170452"/>
                  <a:gd name="connsiteX24" fmla="*/ 92015 w 213423"/>
                  <a:gd name="connsiteY24" fmla="*/ 100229 h 170452"/>
                  <a:gd name="connsiteX25" fmla="*/ 85625 w 213423"/>
                  <a:gd name="connsiteY25" fmla="*/ 106613 h 170452"/>
                  <a:gd name="connsiteX26" fmla="*/ 85625 w 213423"/>
                  <a:gd name="connsiteY26" fmla="*/ 157684 h 170452"/>
                  <a:gd name="connsiteX27" fmla="*/ 12141 w 213423"/>
                  <a:gd name="connsiteY27" fmla="*/ 157684 h 170452"/>
                  <a:gd name="connsiteX28" fmla="*/ 12141 w 213423"/>
                  <a:gd name="connsiteY28" fmla="*/ 26813 h 170452"/>
                  <a:gd name="connsiteX29" fmla="*/ 48563 w 213423"/>
                  <a:gd name="connsiteY29" fmla="*/ 26813 h 170452"/>
                  <a:gd name="connsiteX30" fmla="*/ 54953 w 213423"/>
                  <a:gd name="connsiteY30" fmla="*/ 20429 h 170452"/>
                  <a:gd name="connsiteX31" fmla="*/ 54953 w 213423"/>
                  <a:gd name="connsiteY31" fmla="*/ 12768 h 170452"/>
                  <a:gd name="connsiteX32" fmla="*/ 157192 w 213423"/>
                  <a:gd name="connsiteY32" fmla="*/ 12768 h 170452"/>
                  <a:gd name="connsiteX33" fmla="*/ 157192 w 213423"/>
                  <a:gd name="connsiteY33" fmla="*/ 20429 h 170452"/>
                  <a:gd name="connsiteX34" fmla="*/ 163582 w 213423"/>
                  <a:gd name="connsiteY34" fmla="*/ 26813 h 170452"/>
                  <a:gd name="connsiteX35" fmla="*/ 200005 w 213423"/>
                  <a:gd name="connsiteY35" fmla="*/ 26813 h 170452"/>
                  <a:gd name="connsiteX36" fmla="*/ 200644 w 213423"/>
                  <a:gd name="connsiteY36" fmla="*/ 157684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3423" h="170452">
                    <a:moveTo>
                      <a:pt x="207034" y="14045"/>
                    </a:moveTo>
                    <a:lnTo>
                      <a:pt x="170611" y="14045"/>
                    </a:lnTo>
                    <a:lnTo>
                      <a:pt x="170611" y="6384"/>
                    </a:lnTo>
                    <a:cubicBezTo>
                      <a:pt x="170611" y="2554"/>
                      <a:pt x="168055" y="0"/>
                      <a:pt x="164221" y="0"/>
                    </a:cubicBezTo>
                    <a:lnTo>
                      <a:pt x="49202" y="0"/>
                    </a:lnTo>
                    <a:cubicBezTo>
                      <a:pt x="45369" y="0"/>
                      <a:pt x="42813" y="2554"/>
                      <a:pt x="42813" y="6384"/>
                    </a:cubicBezTo>
                    <a:lnTo>
                      <a:pt x="42813" y="14045"/>
                    </a:lnTo>
                    <a:lnTo>
                      <a:pt x="6390" y="14045"/>
                    </a:lnTo>
                    <a:cubicBezTo>
                      <a:pt x="2556" y="14045"/>
                      <a:pt x="0" y="16598"/>
                      <a:pt x="0" y="20429"/>
                    </a:cubicBezTo>
                    <a:lnTo>
                      <a:pt x="0" y="164068"/>
                    </a:lnTo>
                    <a:cubicBezTo>
                      <a:pt x="0" y="167899"/>
                      <a:pt x="2556" y="170452"/>
                      <a:pt x="6390" y="170452"/>
                    </a:cubicBezTo>
                    <a:lnTo>
                      <a:pt x="207034" y="170452"/>
                    </a:lnTo>
                    <a:cubicBezTo>
                      <a:pt x="210868" y="170452"/>
                      <a:pt x="213424" y="167899"/>
                      <a:pt x="213424" y="164068"/>
                    </a:cubicBezTo>
                    <a:lnTo>
                      <a:pt x="213424" y="20429"/>
                    </a:lnTo>
                    <a:cubicBezTo>
                      <a:pt x="213424" y="17237"/>
                      <a:pt x="210868" y="14045"/>
                      <a:pt x="207034" y="14045"/>
                    </a:cubicBezTo>
                    <a:close/>
                    <a:moveTo>
                      <a:pt x="98405" y="157684"/>
                    </a:moveTo>
                    <a:lnTo>
                      <a:pt x="98405" y="112997"/>
                    </a:lnTo>
                    <a:lnTo>
                      <a:pt x="114380" y="112997"/>
                    </a:lnTo>
                    <a:lnTo>
                      <a:pt x="114380" y="157684"/>
                    </a:lnTo>
                    <a:lnTo>
                      <a:pt x="98405" y="157684"/>
                    </a:lnTo>
                    <a:close/>
                    <a:moveTo>
                      <a:pt x="200644" y="157684"/>
                    </a:moveTo>
                    <a:lnTo>
                      <a:pt x="127160" y="157684"/>
                    </a:lnTo>
                    <a:lnTo>
                      <a:pt x="127160" y="106613"/>
                    </a:lnTo>
                    <a:cubicBezTo>
                      <a:pt x="127160" y="102782"/>
                      <a:pt x="124604" y="100229"/>
                      <a:pt x="120770" y="100229"/>
                    </a:cubicBezTo>
                    <a:lnTo>
                      <a:pt x="92015" y="100229"/>
                    </a:lnTo>
                    <a:cubicBezTo>
                      <a:pt x="88181" y="100229"/>
                      <a:pt x="85625" y="102782"/>
                      <a:pt x="85625" y="106613"/>
                    </a:cubicBezTo>
                    <a:lnTo>
                      <a:pt x="85625" y="157684"/>
                    </a:lnTo>
                    <a:lnTo>
                      <a:pt x="12141" y="157684"/>
                    </a:lnTo>
                    <a:lnTo>
                      <a:pt x="12141" y="26813"/>
                    </a:lnTo>
                    <a:lnTo>
                      <a:pt x="48563" y="26813"/>
                    </a:lnTo>
                    <a:cubicBezTo>
                      <a:pt x="52397" y="26813"/>
                      <a:pt x="54953" y="24259"/>
                      <a:pt x="54953" y="20429"/>
                    </a:cubicBezTo>
                    <a:lnTo>
                      <a:pt x="54953" y="12768"/>
                    </a:lnTo>
                    <a:lnTo>
                      <a:pt x="157192" y="12768"/>
                    </a:lnTo>
                    <a:lnTo>
                      <a:pt x="157192" y="20429"/>
                    </a:lnTo>
                    <a:cubicBezTo>
                      <a:pt x="157192" y="24259"/>
                      <a:pt x="159749" y="26813"/>
                      <a:pt x="163582" y="26813"/>
                    </a:cubicBezTo>
                    <a:lnTo>
                      <a:pt x="200005" y="26813"/>
                    </a:lnTo>
                    <a:lnTo>
                      <a:pt x="200644" y="157684"/>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45" name="Graphic 4">
                <a:extLst>
                  <a:ext uri="{FF2B5EF4-FFF2-40B4-BE49-F238E27FC236}">
                    <a16:creationId xmlns:a16="http://schemas.microsoft.com/office/drawing/2014/main" id="{E6A31FE3-A872-C092-C43B-DDB294D56FCE}"/>
                  </a:ext>
                </a:extLst>
              </p:cNvPr>
              <p:cNvSpPr/>
              <p:nvPr/>
            </p:nvSpPr>
            <p:spPr>
              <a:xfrm>
                <a:off x="1761066" y="2595863"/>
                <a:ext cx="12779" cy="12644"/>
              </a:xfrm>
              <a:custGeom>
                <a:avLst/>
                <a:gdLst>
                  <a:gd name="connsiteX0" fmla="*/ 1917 w 12779"/>
                  <a:gd name="connsiteY0" fmla="*/ 10879 h 12644"/>
                  <a:gd name="connsiteX1" fmla="*/ 3834 w 12779"/>
                  <a:gd name="connsiteY1" fmla="*/ 12155 h 12644"/>
                  <a:gd name="connsiteX2" fmla="*/ 12141 w 12779"/>
                  <a:gd name="connsiteY2" fmla="*/ 8963 h 12644"/>
                  <a:gd name="connsiteX3" fmla="*/ 12780 w 12779"/>
                  <a:gd name="connsiteY3" fmla="*/ 6410 h 12644"/>
                  <a:gd name="connsiteX4" fmla="*/ 12141 w 12779"/>
                  <a:gd name="connsiteY4" fmla="*/ 3856 h 12644"/>
                  <a:gd name="connsiteX5" fmla="*/ 10863 w 12779"/>
                  <a:gd name="connsiteY5" fmla="*/ 1941 h 12644"/>
                  <a:gd name="connsiteX6" fmla="*/ 3834 w 12779"/>
                  <a:gd name="connsiteY6" fmla="*/ 664 h 12644"/>
                  <a:gd name="connsiteX7" fmla="*/ 1917 w 12779"/>
                  <a:gd name="connsiteY7" fmla="*/ 1941 h 12644"/>
                  <a:gd name="connsiteX8" fmla="*/ 639 w 12779"/>
                  <a:gd name="connsiteY8" fmla="*/ 3856 h 12644"/>
                  <a:gd name="connsiteX9" fmla="*/ 0 w 12779"/>
                  <a:gd name="connsiteY9" fmla="*/ 6410 h 12644"/>
                  <a:gd name="connsiteX10" fmla="*/ 1917 w 12779"/>
                  <a:gd name="connsiteY10" fmla="*/ 10879 h 12644"/>
                  <a:gd name="connsiteX11" fmla="*/ 1917 w 12779"/>
                  <a:gd name="connsiteY11" fmla="*/ 10879 h 1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44">
                    <a:moveTo>
                      <a:pt x="1917" y="10879"/>
                    </a:moveTo>
                    <a:cubicBezTo>
                      <a:pt x="2556" y="11517"/>
                      <a:pt x="3195" y="12155"/>
                      <a:pt x="3834" y="12155"/>
                    </a:cubicBezTo>
                    <a:cubicBezTo>
                      <a:pt x="7029" y="13432"/>
                      <a:pt x="10863" y="12155"/>
                      <a:pt x="12141" y="8963"/>
                    </a:cubicBezTo>
                    <a:cubicBezTo>
                      <a:pt x="12780" y="8325"/>
                      <a:pt x="12780" y="7687"/>
                      <a:pt x="12780" y="6410"/>
                    </a:cubicBezTo>
                    <a:cubicBezTo>
                      <a:pt x="12780" y="5771"/>
                      <a:pt x="12780" y="4495"/>
                      <a:pt x="12141" y="3856"/>
                    </a:cubicBezTo>
                    <a:cubicBezTo>
                      <a:pt x="12141" y="3218"/>
                      <a:pt x="11502" y="2579"/>
                      <a:pt x="10863" y="1941"/>
                    </a:cubicBezTo>
                    <a:cubicBezTo>
                      <a:pt x="8946" y="26"/>
                      <a:pt x="6390" y="-613"/>
                      <a:pt x="3834" y="664"/>
                    </a:cubicBezTo>
                    <a:cubicBezTo>
                      <a:pt x="3195" y="1303"/>
                      <a:pt x="2556" y="1303"/>
                      <a:pt x="1917" y="1941"/>
                    </a:cubicBezTo>
                    <a:cubicBezTo>
                      <a:pt x="1278" y="2579"/>
                      <a:pt x="639" y="3218"/>
                      <a:pt x="639" y="3856"/>
                    </a:cubicBezTo>
                    <a:cubicBezTo>
                      <a:pt x="0" y="4495"/>
                      <a:pt x="0" y="5771"/>
                      <a:pt x="0" y="6410"/>
                    </a:cubicBezTo>
                    <a:cubicBezTo>
                      <a:pt x="0" y="8325"/>
                      <a:pt x="639" y="9602"/>
                      <a:pt x="1917" y="10879"/>
                    </a:cubicBezTo>
                    <a:lnTo>
                      <a:pt x="1917" y="10879"/>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46" name="Graphic 4">
                <a:extLst>
                  <a:ext uri="{FF2B5EF4-FFF2-40B4-BE49-F238E27FC236}">
                    <a16:creationId xmlns:a16="http://schemas.microsoft.com/office/drawing/2014/main" id="{4EFF6981-1D76-8603-4538-A8F2AE27A396}"/>
                  </a:ext>
                </a:extLst>
              </p:cNvPr>
              <p:cNvSpPr/>
              <p:nvPr/>
            </p:nvSpPr>
            <p:spPr>
              <a:xfrm>
                <a:off x="1732461" y="2567161"/>
                <a:ext cx="12630" cy="12608"/>
              </a:xfrm>
              <a:custGeom>
                <a:avLst/>
                <a:gdLst>
                  <a:gd name="connsiteX0" fmla="*/ 10075 w 12630"/>
                  <a:gd name="connsiteY0" fmla="*/ 1277 h 12608"/>
                  <a:gd name="connsiteX1" fmla="*/ 8797 w 12630"/>
                  <a:gd name="connsiteY1" fmla="*/ 638 h 12608"/>
                  <a:gd name="connsiteX2" fmla="*/ 7519 w 12630"/>
                  <a:gd name="connsiteY2" fmla="*/ 0 h 12608"/>
                  <a:gd name="connsiteX3" fmla="*/ 3685 w 12630"/>
                  <a:gd name="connsiteY3" fmla="*/ 638 h 12608"/>
                  <a:gd name="connsiteX4" fmla="*/ 2407 w 12630"/>
                  <a:gd name="connsiteY4" fmla="*/ 1277 h 12608"/>
                  <a:gd name="connsiteX5" fmla="*/ 1768 w 12630"/>
                  <a:gd name="connsiteY5" fmla="*/ 1915 h 12608"/>
                  <a:gd name="connsiteX6" fmla="*/ 490 w 12630"/>
                  <a:gd name="connsiteY6" fmla="*/ 3830 h 12608"/>
                  <a:gd name="connsiteX7" fmla="*/ 3685 w 12630"/>
                  <a:gd name="connsiteY7" fmla="*/ 12130 h 12608"/>
                  <a:gd name="connsiteX8" fmla="*/ 8797 w 12630"/>
                  <a:gd name="connsiteY8" fmla="*/ 12130 h 12608"/>
                  <a:gd name="connsiteX9" fmla="*/ 10714 w 12630"/>
                  <a:gd name="connsiteY9" fmla="*/ 10853 h 12608"/>
                  <a:gd name="connsiteX10" fmla="*/ 12631 w 12630"/>
                  <a:gd name="connsiteY10" fmla="*/ 6384 h 12608"/>
                  <a:gd name="connsiteX11" fmla="*/ 10714 w 12630"/>
                  <a:gd name="connsiteY11" fmla="*/ 1915 h 12608"/>
                  <a:gd name="connsiteX12" fmla="*/ 10075 w 12630"/>
                  <a:gd name="connsiteY12" fmla="*/ 1277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 h="12608">
                    <a:moveTo>
                      <a:pt x="10075" y="1277"/>
                    </a:moveTo>
                    <a:lnTo>
                      <a:pt x="8797" y="638"/>
                    </a:lnTo>
                    <a:lnTo>
                      <a:pt x="7519" y="0"/>
                    </a:lnTo>
                    <a:cubicBezTo>
                      <a:pt x="6241" y="0"/>
                      <a:pt x="4963" y="0"/>
                      <a:pt x="3685" y="638"/>
                    </a:cubicBezTo>
                    <a:lnTo>
                      <a:pt x="2407" y="1277"/>
                    </a:lnTo>
                    <a:lnTo>
                      <a:pt x="1768" y="1915"/>
                    </a:lnTo>
                    <a:cubicBezTo>
                      <a:pt x="1129" y="2554"/>
                      <a:pt x="490" y="3192"/>
                      <a:pt x="490" y="3830"/>
                    </a:cubicBezTo>
                    <a:cubicBezTo>
                      <a:pt x="-788" y="7022"/>
                      <a:pt x="490" y="10853"/>
                      <a:pt x="3685" y="12130"/>
                    </a:cubicBezTo>
                    <a:cubicBezTo>
                      <a:pt x="4963" y="12768"/>
                      <a:pt x="6880" y="12768"/>
                      <a:pt x="8797" y="12130"/>
                    </a:cubicBezTo>
                    <a:cubicBezTo>
                      <a:pt x="9436" y="12130"/>
                      <a:pt x="10075" y="11491"/>
                      <a:pt x="10714" y="10853"/>
                    </a:cubicBezTo>
                    <a:cubicBezTo>
                      <a:pt x="11992" y="9576"/>
                      <a:pt x="12631" y="8299"/>
                      <a:pt x="12631" y="6384"/>
                    </a:cubicBezTo>
                    <a:cubicBezTo>
                      <a:pt x="12631" y="4469"/>
                      <a:pt x="11992" y="3192"/>
                      <a:pt x="10714" y="1915"/>
                    </a:cubicBezTo>
                    <a:cubicBezTo>
                      <a:pt x="10714" y="1277"/>
                      <a:pt x="10075" y="1277"/>
                      <a:pt x="10075"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47" name="Graphic 4">
                <a:extLst>
                  <a:ext uri="{FF2B5EF4-FFF2-40B4-BE49-F238E27FC236}">
                    <a16:creationId xmlns:a16="http://schemas.microsoft.com/office/drawing/2014/main" id="{072E1FD8-C534-F31F-C37B-104C57F03A7F}"/>
                  </a:ext>
                </a:extLst>
              </p:cNvPr>
              <p:cNvSpPr/>
              <p:nvPr/>
            </p:nvSpPr>
            <p:spPr>
              <a:xfrm>
                <a:off x="1761066" y="2567161"/>
                <a:ext cx="12779" cy="12768"/>
              </a:xfrm>
              <a:custGeom>
                <a:avLst/>
                <a:gdLst>
                  <a:gd name="connsiteX0" fmla="*/ 6390 w 12779"/>
                  <a:gd name="connsiteY0" fmla="*/ 12768 h 12768"/>
                  <a:gd name="connsiteX1" fmla="*/ 12141 w 12779"/>
                  <a:gd name="connsiteY1" fmla="*/ 8938 h 12768"/>
                  <a:gd name="connsiteX2" fmla="*/ 12780 w 12779"/>
                  <a:gd name="connsiteY2" fmla="*/ 6384 h 12768"/>
                  <a:gd name="connsiteX3" fmla="*/ 10863 w 12779"/>
                  <a:gd name="connsiteY3" fmla="*/ 1915 h 12768"/>
                  <a:gd name="connsiteX4" fmla="*/ 1917 w 12779"/>
                  <a:gd name="connsiteY4" fmla="*/ 1915 h 12768"/>
                  <a:gd name="connsiteX5" fmla="*/ 1917 w 12779"/>
                  <a:gd name="connsiteY5" fmla="*/ 1915 h 12768"/>
                  <a:gd name="connsiteX6" fmla="*/ 0 w 12779"/>
                  <a:gd name="connsiteY6" fmla="*/ 6384 h 12768"/>
                  <a:gd name="connsiteX7" fmla="*/ 6390 w 12779"/>
                  <a:gd name="connsiteY7" fmla="*/ 12768 h 12768"/>
                  <a:gd name="connsiteX8" fmla="*/ 6390 w 12779"/>
                  <a:gd name="connsiteY8"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6390" y="12768"/>
                    </a:moveTo>
                    <a:cubicBezTo>
                      <a:pt x="8946" y="12768"/>
                      <a:pt x="11502" y="11491"/>
                      <a:pt x="12141" y="8938"/>
                    </a:cubicBezTo>
                    <a:cubicBezTo>
                      <a:pt x="12780" y="8299"/>
                      <a:pt x="12780" y="7022"/>
                      <a:pt x="12780" y="6384"/>
                    </a:cubicBezTo>
                    <a:cubicBezTo>
                      <a:pt x="12780" y="4469"/>
                      <a:pt x="12141" y="3192"/>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48" name="Graphic 4">
                <a:extLst>
                  <a:ext uri="{FF2B5EF4-FFF2-40B4-BE49-F238E27FC236}">
                    <a16:creationId xmlns:a16="http://schemas.microsoft.com/office/drawing/2014/main" id="{8C15A493-9653-A7E7-6AB7-9A1E4D23FF12}"/>
                  </a:ext>
                </a:extLst>
              </p:cNvPr>
              <p:cNvSpPr/>
              <p:nvPr/>
            </p:nvSpPr>
            <p:spPr>
              <a:xfrm>
                <a:off x="1732311"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49" name="Graphic 4">
                <a:extLst>
                  <a:ext uri="{FF2B5EF4-FFF2-40B4-BE49-F238E27FC236}">
                    <a16:creationId xmlns:a16="http://schemas.microsoft.com/office/drawing/2014/main" id="{0B7B68FB-1316-6CAF-E30A-B4FFC2794DF7}"/>
                  </a:ext>
                </a:extLst>
              </p:cNvPr>
              <p:cNvSpPr/>
              <p:nvPr/>
            </p:nvSpPr>
            <p:spPr>
              <a:xfrm>
                <a:off x="1617442" y="2567161"/>
                <a:ext cx="12630" cy="12768"/>
              </a:xfrm>
              <a:custGeom>
                <a:avLst/>
                <a:gdLst>
                  <a:gd name="connsiteX0" fmla="*/ 1768 w 12630"/>
                  <a:gd name="connsiteY0" fmla="*/ 1915 h 12768"/>
                  <a:gd name="connsiteX1" fmla="*/ 490 w 12630"/>
                  <a:gd name="connsiteY1" fmla="*/ 3830 h 12768"/>
                  <a:gd name="connsiteX2" fmla="*/ 3685 w 12630"/>
                  <a:gd name="connsiteY2" fmla="*/ 12130 h 12768"/>
                  <a:gd name="connsiteX3" fmla="*/ 6241 w 12630"/>
                  <a:gd name="connsiteY3" fmla="*/ 12768 h 12768"/>
                  <a:gd name="connsiteX4" fmla="*/ 10714 w 12630"/>
                  <a:gd name="connsiteY4" fmla="*/ 10853 h 12768"/>
                  <a:gd name="connsiteX5" fmla="*/ 12631 w 12630"/>
                  <a:gd name="connsiteY5" fmla="*/ 6384 h 12768"/>
                  <a:gd name="connsiteX6" fmla="*/ 10714 w 12630"/>
                  <a:gd name="connsiteY6" fmla="*/ 1915 h 12768"/>
                  <a:gd name="connsiteX7" fmla="*/ 1768 w 12630"/>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8">
                    <a:moveTo>
                      <a:pt x="1768" y="1915"/>
                    </a:moveTo>
                    <a:cubicBezTo>
                      <a:pt x="1129" y="2554"/>
                      <a:pt x="490" y="3192"/>
                      <a:pt x="490" y="3830"/>
                    </a:cubicBezTo>
                    <a:cubicBezTo>
                      <a:pt x="-788" y="7022"/>
                      <a:pt x="490" y="10853"/>
                      <a:pt x="3685" y="12130"/>
                    </a:cubicBezTo>
                    <a:cubicBezTo>
                      <a:pt x="4324" y="12768"/>
                      <a:pt x="5602" y="12768"/>
                      <a:pt x="6241" y="12768"/>
                    </a:cubicBezTo>
                    <a:cubicBezTo>
                      <a:pt x="8158" y="12768"/>
                      <a:pt x="9436" y="12130"/>
                      <a:pt x="10714" y="10853"/>
                    </a:cubicBezTo>
                    <a:cubicBezTo>
                      <a:pt x="11992" y="9576"/>
                      <a:pt x="12631" y="8299"/>
                      <a:pt x="12631" y="6384"/>
                    </a:cubicBezTo>
                    <a:cubicBezTo>
                      <a:pt x="12631" y="4469"/>
                      <a:pt x="11992" y="3192"/>
                      <a:pt x="10714" y="1915"/>
                    </a:cubicBezTo>
                    <a:cubicBezTo>
                      <a:pt x="8797" y="-638"/>
                      <a:pt x="4324" y="-638"/>
                      <a:pt x="1768"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0" name="Graphic 4">
                <a:extLst>
                  <a:ext uri="{FF2B5EF4-FFF2-40B4-BE49-F238E27FC236}">
                    <a16:creationId xmlns:a16="http://schemas.microsoft.com/office/drawing/2014/main" id="{23F77919-8386-9DEE-38EC-9D7D5F3568A4}"/>
                  </a:ext>
                </a:extLst>
              </p:cNvPr>
              <p:cNvSpPr/>
              <p:nvPr/>
            </p:nvSpPr>
            <p:spPr>
              <a:xfrm>
                <a:off x="1646686" y="2595863"/>
                <a:ext cx="12779" cy="12793"/>
              </a:xfrm>
              <a:custGeom>
                <a:avLst/>
                <a:gdLst>
                  <a:gd name="connsiteX0" fmla="*/ 10863 w 12779"/>
                  <a:gd name="connsiteY0" fmla="*/ 1941 h 12793"/>
                  <a:gd name="connsiteX1" fmla="*/ 8946 w 12779"/>
                  <a:gd name="connsiteY1" fmla="*/ 664 h 12793"/>
                  <a:gd name="connsiteX2" fmla="*/ 1917 w 12779"/>
                  <a:gd name="connsiteY2" fmla="*/ 1941 h 12793"/>
                  <a:gd name="connsiteX3" fmla="*/ 639 w 12779"/>
                  <a:gd name="connsiteY3" fmla="*/ 3856 h 12793"/>
                  <a:gd name="connsiteX4" fmla="*/ 0 w 12779"/>
                  <a:gd name="connsiteY4" fmla="*/ 6410 h 12793"/>
                  <a:gd name="connsiteX5" fmla="*/ 6390 w 12779"/>
                  <a:gd name="connsiteY5" fmla="*/ 12794 h 12793"/>
                  <a:gd name="connsiteX6" fmla="*/ 10863 w 12779"/>
                  <a:gd name="connsiteY6" fmla="*/ 10879 h 12793"/>
                  <a:gd name="connsiteX7" fmla="*/ 12141 w 12779"/>
                  <a:gd name="connsiteY7" fmla="*/ 8963 h 12793"/>
                  <a:gd name="connsiteX8" fmla="*/ 12780 w 12779"/>
                  <a:gd name="connsiteY8" fmla="*/ 6410 h 12793"/>
                  <a:gd name="connsiteX9" fmla="*/ 12141 w 12779"/>
                  <a:gd name="connsiteY9" fmla="*/ 3856 h 12793"/>
                  <a:gd name="connsiteX10" fmla="*/ 10863 w 12779"/>
                  <a:gd name="connsiteY10" fmla="*/ 1941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93">
                    <a:moveTo>
                      <a:pt x="10863" y="1941"/>
                    </a:moveTo>
                    <a:cubicBezTo>
                      <a:pt x="10224" y="1303"/>
                      <a:pt x="9585" y="664"/>
                      <a:pt x="8946" y="664"/>
                    </a:cubicBezTo>
                    <a:cubicBezTo>
                      <a:pt x="6390" y="-613"/>
                      <a:pt x="3834" y="26"/>
                      <a:pt x="1917" y="1941"/>
                    </a:cubicBezTo>
                    <a:cubicBezTo>
                      <a:pt x="1278" y="2579"/>
                      <a:pt x="639" y="3218"/>
                      <a:pt x="639" y="3856"/>
                    </a:cubicBezTo>
                    <a:cubicBezTo>
                      <a:pt x="0" y="4495"/>
                      <a:pt x="0" y="5771"/>
                      <a:pt x="0" y="6410"/>
                    </a:cubicBezTo>
                    <a:cubicBezTo>
                      <a:pt x="0" y="10240"/>
                      <a:pt x="3195" y="12794"/>
                      <a:pt x="6390" y="12794"/>
                    </a:cubicBezTo>
                    <a:cubicBezTo>
                      <a:pt x="8307" y="12794"/>
                      <a:pt x="9585" y="12155"/>
                      <a:pt x="10863" y="10879"/>
                    </a:cubicBezTo>
                    <a:cubicBezTo>
                      <a:pt x="11502" y="10240"/>
                      <a:pt x="12141" y="9602"/>
                      <a:pt x="12141" y="8963"/>
                    </a:cubicBezTo>
                    <a:cubicBezTo>
                      <a:pt x="12780" y="8325"/>
                      <a:pt x="12780" y="7687"/>
                      <a:pt x="12780" y="6410"/>
                    </a:cubicBezTo>
                    <a:cubicBezTo>
                      <a:pt x="12780" y="5771"/>
                      <a:pt x="12780" y="4495"/>
                      <a:pt x="12141" y="3856"/>
                    </a:cubicBezTo>
                    <a:cubicBezTo>
                      <a:pt x="11502" y="3218"/>
                      <a:pt x="10863" y="2579"/>
                      <a:pt x="10863" y="1941"/>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1" name="Graphic 4">
                <a:extLst>
                  <a:ext uri="{FF2B5EF4-FFF2-40B4-BE49-F238E27FC236}">
                    <a16:creationId xmlns:a16="http://schemas.microsoft.com/office/drawing/2014/main" id="{54DBA203-BE0A-DEEA-A7EE-C63C15488B63}"/>
                  </a:ext>
                </a:extLst>
              </p:cNvPr>
              <p:cNvSpPr/>
              <p:nvPr/>
            </p:nvSpPr>
            <p:spPr>
              <a:xfrm>
                <a:off x="1617932" y="2595889"/>
                <a:ext cx="12779" cy="12768"/>
              </a:xfrm>
              <a:custGeom>
                <a:avLst/>
                <a:gdLst>
                  <a:gd name="connsiteX0" fmla="*/ 10863 w 12779"/>
                  <a:gd name="connsiteY0" fmla="*/ 1915 h 12768"/>
                  <a:gd name="connsiteX1" fmla="*/ 1917 w 12779"/>
                  <a:gd name="connsiteY1" fmla="*/ 1915 h 12768"/>
                  <a:gd name="connsiteX2" fmla="*/ 639 w 12779"/>
                  <a:gd name="connsiteY2" fmla="*/ 3830 h 12768"/>
                  <a:gd name="connsiteX3" fmla="*/ 0 w 12779"/>
                  <a:gd name="connsiteY3" fmla="*/ 6384 h 12768"/>
                  <a:gd name="connsiteX4" fmla="*/ 639 w 12779"/>
                  <a:gd name="connsiteY4" fmla="*/ 8938 h 12768"/>
                  <a:gd name="connsiteX5" fmla="*/ 1917 w 12779"/>
                  <a:gd name="connsiteY5" fmla="*/ 10853 h 12768"/>
                  <a:gd name="connsiteX6" fmla="*/ 3834 w 12779"/>
                  <a:gd name="connsiteY6" fmla="*/ 12130 h 12768"/>
                  <a:gd name="connsiteX7" fmla="*/ 6390 w 12779"/>
                  <a:gd name="connsiteY7" fmla="*/ 12768 h 12768"/>
                  <a:gd name="connsiteX8" fmla="*/ 10863 w 12779"/>
                  <a:gd name="connsiteY8" fmla="*/ 10853 h 12768"/>
                  <a:gd name="connsiteX9" fmla="*/ 12141 w 12779"/>
                  <a:gd name="connsiteY9" fmla="*/ 8938 h 12768"/>
                  <a:gd name="connsiteX10" fmla="*/ 12780 w 12779"/>
                  <a:gd name="connsiteY10" fmla="*/ 6384 h 12768"/>
                  <a:gd name="connsiteX11" fmla="*/ 12141 w 12779"/>
                  <a:gd name="connsiteY11" fmla="*/ 3830 h 12768"/>
                  <a:gd name="connsiteX12" fmla="*/ 10863 w 12779"/>
                  <a:gd name="connsiteY12"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0863" y="1915"/>
                    </a:moveTo>
                    <a:cubicBezTo>
                      <a:pt x="8307" y="-638"/>
                      <a:pt x="4473" y="-638"/>
                      <a:pt x="1917" y="1915"/>
                    </a:cubicBezTo>
                    <a:cubicBezTo>
                      <a:pt x="1278" y="2554"/>
                      <a:pt x="639" y="3192"/>
                      <a:pt x="639" y="3830"/>
                    </a:cubicBezTo>
                    <a:cubicBezTo>
                      <a:pt x="639" y="4469"/>
                      <a:pt x="0" y="5746"/>
                      <a:pt x="0" y="6384"/>
                    </a:cubicBezTo>
                    <a:cubicBezTo>
                      <a:pt x="0" y="7022"/>
                      <a:pt x="0" y="8299"/>
                      <a:pt x="639" y="8938"/>
                    </a:cubicBezTo>
                    <a:cubicBezTo>
                      <a:pt x="1278" y="9576"/>
                      <a:pt x="1278" y="10214"/>
                      <a:pt x="1917" y="10853"/>
                    </a:cubicBezTo>
                    <a:cubicBezTo>
                      <a:pt x="2556" y="11491"/>
                      <a:pt x="3195" y="12130"/>
                      <a:pt x="3834" y="12130"/>
                    </a:cubicBezTo>
                    <a:cubicBezTo>
                      <a:pt x="4473" y="12130"/>
                      <a:pt x="5751"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cubicBezTo>
                      <a:pt x="11502" y="3192"/>
                      <a:pt x="11502" y="2554"/>
                      <a:pt x="10863"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2" name="Graphic 4">
                <a:extLst>
                  <a:ext uri="{FF2B5EF4-FFF2-40B4-BE49-F238E27FC236}">
                    <a16:creationId xmlns:a16="http://schemas.microsoft.com/office/drawing/2014/main" id="{D068DB0D-3B1E-1C02-84DB-5B38EA543974}"/>
                  </a:ext>
                </a:extLst>
              </p:cNvPr>
              <p:cNvSpPr/>
              <p:nvPr/>
            </p:nvSpPr>
            <p:spPr>
              <a:xfrm>
                <a:off x="1646686" y="2567161"/>
                <a:ext cx="12779" cy="12768"/>
              </a:xfrm>
              <a:custGeom>
                <a:avLst/>
                <a:gdLst>
                  <a:gd name="connsiteX0" fmla="*/ 10863 w 12779"/>
                  <a:gd name="connsiteY0" fmla="*/ 1915 h 12768"/>
                  <a:gd name="connsiteX1" fmla="*/ 1917 w 12779"/>
                  <a:gd name="connsiteY1" fmla="*/ 1915 h 12768"/>
                  <a:gd name="connsiteX2" fmla="*/ 1917 w 12779"/>
                  <a:gd name="connsiteY2" fmla="*/ 1915 h 12768"/>
                  <a:gd name="connsiteX3" fmla="*/ 0 w 12779"/>
                  <a:gd name="connsiteY3" fmla="*/ 6384 h 12768"/>
                  <a:gd name="connsiteX4" fmla="*/ 6390 w 12779"/>
                  <a:gd name="connsiteY4" fmla="*/ 12768 h 12768"/>
                  <a:gd name="connsiteX5" fmla="*/ 12780 w 12779"/>
                  <a:gd name="connsiteY5" fmla="*/ 6384 h 12768"/>
                  <a:gd name="connsiteX6" fmla="*/ 10863 w 12779"/>
                  <a:gd name="connsiteY6" fmla="*/ 1915 h 12768"/>
                  <a:gd name="connsiteX7" fmla="*/ 10863 w 12779"/>
                  <a:gd name="connsiteY7"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8">
                    <a:moveTo>
                      <a:pt x="10863" y="1915"/>
                    </a:moveTo>
                    <a:cubicBezTo>
                      <a:pt x="8307" y="-638"/>
                      <a:pt x="4473" y="-638"/>
                      <a:pt x="1917" y="1915"/>
                    </a:cubicBezTo>
                    <a:cubicBezTo>
                      <a:pt x="1917" y="1915"/>
                      <a:pt x="1917" y="1915"/>
                      <a:pt x="1917" y="1915"/>
                    </a:cubicBezTo>
                    <a:cubicBezTo>
                      <a:pt x="639" y="3192"/>
                      <a:pt x="0" y="4469"/>
                      <a:pt x="0" y="6384"/>
                    </a:cubicBezTo>
                    <a:cubicBezTo>
                      <a:pt x="0" y="10214"/>
                      <a:pt x="2556" y="12768"/>
                      <a:pt x="6390" y="12768"/>
                    </a:cubicBezTo>
                    <a:cubicBezTo>
                      <a:pt x="10224" y="12768"/>
                      <a:pt x="12780" y="10214"/>
                      <a:pt x="12780" y="6384"/>
                    </a:cubicBezTo>
                    <a:cubicBezTo>
                      <a:pt x="12780" y="4469"/>
                      <a:pt x="11502" y="3192"/>
                      <a:pt x="10863" y="1915"/>
                    </a:cubicBezTo>
                    <a:lnTo>
                      <a:pt x="10863" y="1915"/>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3" name="Graphic 4">
                <a:extLst>
                  <a:ext uri="{FF2B5EF4-FFF2-40B4-BE49-F238E27FC236}">
                    <a16:creationId xmlns:a16="http://schemas.microsoft.com/office/drawing/2014/main" id="{8E5AA25B-240B-D5EE-D04C-2E301BAE2E60}"/>
                  </a:ext>
                </a:extLst>
              </p:cNvPr>
              <p:cNvSpPr/>
              <p:nvPr/>
            </p:nvSpPr>
            <p:spPr>
              <a:xfrm>
                <a:off x="1732311" y="2538433"/>
                <a:ext cx="12779" cy="12768"/>
              </a:xfrm>
              <a:custGeom>
                <a:avLst/>
                <a:gdLst>
                  <a:gd name="connsiteX0" fmla="*/ 1917 w 12779"/>
                  <a:gd name="connsiteY0" fmla="*/ 1915 h 12768"/>
                  <a:gd name="connsiteX1" fmla="*/ 0 w 12779"/>
                  <a:gd name="connsiteY1" fmla="*/ 6384 h 12768"/>
                  <a:gd name="connsiteX2" fmla="*/ 639 w 12779"/>
                  <a:gd name="connsiteY2" fmla="*/ 8938 h 12768"/>
                  <a:gd name="connsiteX3" fmla="*/ 1917 w 12779"/>
                  <a:gd name="connsiteY3" fmla="*/ 10853 h 12768"/>
                  <a:gd name="connsiteX4" fmla="*/ 6390 w 12779"/>
                  <a:gd name="connsiteY4" fmla="*/ 12768 h 12768"/>
                  <a:gd name="connsiteX5" fmla="*/ 10863 w 12779"/>
                  <a:gd name="connsiteY5" fmla="*/ 10853 h 12768"/>
                  <a:gd name="connsiteX6" fmla="*/ 12141 w 12779"/>
                  <a:gd name="connsiteY6" fmla="*/ 8938 h 12768"/>
                  <a:gd name="connsiteX7" fmla="*/ 12780 w 12779"/>
                  <a:gd name="connsiteY7" fmla="*/ 6384 h 12768"/>
                  <a:gd name="connsiteX8" fmla="*/ 10863 w 12779"/>
                  <a:gd name="connsiteY8" fmla="*/ 1915 h 12768"/>
                  <a:gd name="connsiteX9" fmla="*/ 1917 w 12779"/>
                  <a:gd name="connsiteY9" fmla="*/ 1915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68">
                    <a:moveTo>
                      <a:pt x="1917" y="1915"/>
                    </a:moveTo>
                    <a:cubicBezTo>
                      <a:pt x="639" y="3192"/>
                      <a:pt x="0" y="4469"/>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4469"/>
                      <a:pt x="12141" y="3192"/>
                      <a:pt x="10863" y="1915"/>
                    </a:cubicBezTo>
                    <a:cubicBezTo>
                      <a:pt x="8307" y="-638"/>
                      <a:pt x="4473" y="-638"/>
                      <a:pt x="1917" y="1915"/>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4" name="Graphic 4">
                <a:extLst>
                  <a:ext uri="{FF2B5EF4-FFF2-40B4-BE49-F238E27FC236}">
                    <a16:creationId xmlns:a16="http://schemas.microsoft.com/office/drawing/2014/main" id="{50154901-1B68-C261-9B11-0EB1FC459CE9}"/>
                  </a:ext>
                </a:extLst>
              </p:cNvPr>
              <p:cNvSpPr/>
              <p:nvPr/>
            </p:nvSpPr>
            <p:spPr>
              <a:xfrm>
                <a:off x="1732461" y="2509865"/>
                <a:ext cx="12630" cy="12608"/>
              </a:xfrm>
              <a:custGeom>
                <a:avLst/>
                <a:gdLst>
                  <a:gd name="connsiteX0" fmla="*/ 11992 w 12630"/>
                  <a:gd name="connsiteY0" fmla="*/ 3671 h 12608"/>
                  <a:gd name="connsiteX1" fmla="*/ 10714 w 12630"/>
                  <a:gd name="connsiteY1" fmla="*/ 1756 h 12608"/>
                  <a:gd name="connsiteX2" fmla="*/ 8797 w 12630"/>
                  <a:gd name="connsiteY2" fmla="*/ 479 h 12608"/>
                  <a:gd name="connsiteX3" fmla="*/ 3685 w 12630"/>
                  <a:gd name="connsiteY3" fmla="*/ 479 h 12608"/>
                  <a:gd name="connsiteX4" fmla="*/ 490 w 12630"/>
                  <a:gd name="connsiteY4" fmla="*/ 8778 h 12608"/>
                  <a:gd name="connsiteX5" fmla="*/ 1768 w 12630"/>
                  <a:gd name="connsiteY5" fmla="*/ 10693 h 12608"/>
                  <a:gd name="connsiteX6" fmla="*/ 3685 w 12630"/>
                  <a:gd name="connsiteY6" fmla="*/ 11970 h 12608"/>
                  <a:gd name="connsiteX7" fmla="*/ 6241 w 12630"/>
                  <a:gd name="connsiteY7" fmla="*/ 12608 h 12608"/>
                  <a:gd name="connsiteX8" fmla="*/ 12631 w 12630"/>
                  <a:gd name="connsiteY8" fmla="*/ 6224 h 12608"/>
                  <a:gd name="connsiteX9" fmla="*/ 12631 w 12630"/>
                  <a:gd name="connsiteY9" fmla="*/ 4947 h 12608"/>
                  <a:gd name="connsiteX10" fmla="*/ 11992 w 12630"/>
                  <a:gd name="connsiteY10" fmla="*/ 3671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30" h="12608">
                    <a:moveTo>
                      <a:pt x="11992" y="3671"/>
                    </a:moveTo>
                    <a:cubicBezTo>
                      <a:pt x="11992" y="3032"/>
                      <a:pt x="11353" y="2394"/>
                      <a:pt x="10714" y="1756"/>
                    </a:cubicBezTo>
                    <a:cubicBezTo>
                      <a:pt x="10075" y="1117"/>
                      <a:pt x="9436" y="479"/>
                      <a:pt x="8797" y="479"/>
                    </a:cubicBezTo>
                    <a:cubicBezTo>
                      <a:pt x="7519" y="-160"/>
                      <a:pt x="5602" y="-160"/>
                      <a:pt x="3685" y="479"/>
                    </a:cubicBezTo>
                    <a:cubicBezTo>
                      <a:pt x="490" y="1756"/>
                      <a:pt x="-788" y="5586"/>
                      <a:pt x="490" y="8778"/>
                    </a:cubicBezTo>
                    <a:cubicBezTo>
                      <a:pt x="1129" y="9416"/>
                      <a:pt x="1129" y="10055"/>
                      <a:pt x="1768" y="10693"/>
                    </a:cubicBezTo>
                    <a:cubicBezTo>
                      <a:pt x="2407" y="11331"/>
                      <a:pt x="3046" y="11970"/>
                      <a:pt x="3685" y="11970"/>
                    </a:cubicBezTo>
                    <a:cubicBezTo>
                      <a:pt x="4324" y="12608"/>
                      <a:pt x="5602" y="12608"/>
                      <a:pt x="6241" y="12608"/>
                    </a:cubicBezTo>
                    <a:cubicBezTo>
                      <a:pt x="10075" y="12608"/>
                      <a:pt x="12631" y="10055"/>
                      <a:pt x="12631" y="6224"/>
                    </a:cubicBezTo>
                    <a:cubicBezTo>
                      <a:pt x="12631" y="5586"/>
                      <a:pt x="12631" y="5586"/>
                      <a:pt x="12631" y="4947"/>
                    </a:cubicBezTo>
                    <a:lnTo>
                      <a:pt x="11992" y="3671"/>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5" name="Graphic 4">
                <a:extLst>
                  <a:ext uri="{FF2B5EF4-FFF2-40B4-BE49-F238E27FC236}">
                    <a16:creationId xmlns:a16="http://schemas.microsoft.com/office/drawing/2014/main" id="{E07565E8-61E3-BB92-1D9B-C85FBD86AAB5}"/>
                  </a:ext>
                </a:extLst>
              </p:cNvPr>
              <p:cNvSpPr/>
              <p:nvPr/>
            </p:nvSpPr>
            <p:spPr>
              <a:xfrm>
                <a:off x="1761066" y="2538433"/>
                <a:ext cx="12779" cy="12768"/>
              </a:xfrm>
              <a:custGeom>
                <a:avLst/>
                <a:gdLst>
                  <a:gd name="connsiteX0" fmla="*/ 1917 w 12779"/>
                  <a:gd name="connsiteY0" fmla="*/ 10853 h 12768"/>
                  <a:gd name="connsiteX1" fmla="*/ 10863 w 12779"/>
                  <a:gd name="connsiteY1" fmla="*/ 10853 h 12768"/>
                  <a:gd name="connsiteX2" fmla="*/ 10863 w 12779"/>
                  <a:gd name="connsiteY2" fmla="*/ 10853 h 12768"/>
                  <a:gd name="connsiteX3" fmla="*/ 12141 w 12779"/>
                  <a:gd name="connsiteY3" fmla="*/ 8938 h 12768"/>
                  <a:gd name="connsiteX4" fmla="*/ 12780 w 12779"/>
                  <a:gd name="connsiteY4" fmla="*/ 6384 h 12768"/>
                  <a:gd name="connsiteX5" fmla="*/ 6390 w 12779"/>
                  <a:gd name="connsiteY5" fmla="*/ 0 h 12768"/>
                  <a:gd name="connsiteX6" fmla="*/ 0 w 12779"/>
                  <a:gd name="connsiteY6" fmla="*/ 6384 h 12768"/>
                  <a:gd name="connsiteX7" fmla="*/ 639 w 12779"/>
                  <a:gd name="connsiteY7" fmla="*/ 8938 h 12768"/>
                  <a:gd name="connsiteX8" fmla="*/ 1917 w 12779"/>
                  <a:gd name="connsiteY8"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768">
                    <a:moveTo>
                      <a:pt x="1917" y="10853"/>
                    </a:moveTo>
                    <a:cubicBezTo>
                      <a:pt x="4473" y="13406"/>
                      <a:pt x="8307" y="13406"/>
                      <a:pt x="10863" y="10853"/>
                    </a:cubicBezTo>
                    <a:cubicBezTo>
                      <a:pt x="10863" y="10853"/>
                      <a:pt x="10863" y="10853"/>
                      <a:pt x="10863" y="10853"/>
                    </a:cubicBezTo>
                    <a:cubicBezTo>
                      <a:pt x="11502" y="10214"/>
                      <a:pt x="12141" y="9576"/>
                      <a:pt x="12141" y="8938"/>
                    </a:cubicBezTo>
                    <a:cubicBezTo>
                      <a:pt x="12780" y="8299"/>
                      <a:pt x="12780" y="7661"/>
                      <a:pt x="12780" y="6384"/>
                    </a:cubicBezTo>
                    <a:cubicBezTo>
                      <a:pt x="12780" y="2554"/>
                      <a:pt x="10224" y="0"/>
                      <a:pt x="6390" y="0"/>
                    </a:cubicBezTo>
                    <a:cubicBezTo>
                      <a:pt x="2556" y="0"/>
                      <a:pt x="0" y="2554"/>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6" name="Graphic 4">
                <a:extLst>
                  <a:ext uri="{FF2B5EF4-FFF2-40B4-BE49-F238E27FC236}">
                    <a16:creationId xmlns:a16="http://schemas.microsoft.com/office/drawing/2014/main" id="{2E6C9516-034D-5644-FCB4-C217DDC8425E}"/>
                  </a:ext>
                </a:extLst>
              </p:cNvPr>
              <p:cNvSpPr/>
              <p:nvPr/>
            </p:nvSpPr>
            <p:spPr>
              <a:xfrm>
                <a:off x="1761066" y="2509706"/>
                <a:ext cx="12779" cy="12608"/>
              </a:xfrm>
              <a:custGeom>
                <a:avLst/>
                <a:gdLst>
                  <a:gd name="connsiteX0" fmla="*/ 1917 w 12779"/>
                  <a:gd name="connsiteY0" fmla="*/ 10853 h 12608"/>
                  <a:gd name="connsiteX1" fmla="*/ 3834 w 12779"/>
                  <a:gd name="connsiteY1" fmla="*/ 12130 h 12608"/>
                  <a:gd name="connsiteX2" fmla="*/ 8946 w 12779"/>
                  <a:gd name="connsiteY2" fmla="*/ 12130 h 12608"/>
                  <a:gd name="connsiteX3" fmla="*/ 12141 w 12779"/>
                  <a:gd name="connsiteY3" fmla="*/ 8938 h 12608"/>
                  <a:gd name="connsiteX4" fmla="*/ 12780 w 12779"/>
                  <a:gd name="connsiteY4" fmla="*/ 6384 h 12608"/>
                  <a:gd name="connsiteX5" fmla="*/ 10863 w 12779"/>
                  <a:gd name="connsiteY5" fmla="*/ 1915 h 12608"/>
                  <a:gd name="connsiteX6" fmla="*/ 5112 w 12779"/>
                  <a:gd name="connsiteY6" fmla="*/ 0 h 12608"/>
                  <a:gd name="connsiteX7" fmla="*/ 3834 w 12779"/>
                  <a:gd name="connsiteY7" fmla="*/ 638 h 12608"/>
                  <a:gd name="connsiteX8" fmla="*/ 2556 w 12779"/>
                  <a:gd name="connsiteY8" fmla="*/ 1277 h 12608"/>
                  <a:gd name="connsiteX9" fmla="*/ 1917 w 12779"/>
                  <a:gd name="connsiteY9" fmla="*/ 1915 h 12608"/>
                  <a:gd name="connsiteX10" fmla="*/ 0 w 12779"/>
                  <a:gd name="connsiteY10" fmla="*/ 6384 h 12608"/>
                  <a:gd name="connsiteX11" fmla="*/ 639 w 12779"/>
                  <a:gd name="connsiteY11" fmla="*/ 8938 h 12608"/>
                  <a:gd name="connsiteX12" fmla="*/ 1917 w 12779"/>
                  <a:gd name="connsiteY12" fmla="*/ 1085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608">
                    <a:moveTo>
                      <a:pt x="1917" y="10853"/>
                    </a:moveTo>
                    <a:cubicBezTo>
                      <a:pt x="2556" y="11491"/>
                      <a:pt x="3195" y="12130"/>
                      <a:pt x="3834" y="12130"/>
                    </a:cubicBezTo>
                    <a:cubicBezTo>
                      <a:pt x="5112" y="12768"/>
                      <a:pt x="7029"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9585" y="638"/>
                      <a:pt x="7029" y="0"/>
                      <a:pt x="5112" y="0"/>
                    </a:cubicBezTo>
                    <a:cubicBezTo>
                      <a:pt x="4473" y="0"/>
                      <a:pt x="4473" y="0"/>
                      <a:pt x="3834" y="638"/>
                    </a:cubicBezTo>
                    <a:cubicBezTo>
                      <a:pt x="3195" y="638"/>
                      <a:pt x="3195" y="1277"/>
                      <a:pt x="2556" y="1277"/>
                    </a:cubicBezTo>
                    <a:lnTo>
                      <a:pt x="1917" y="1915"/>
                    </a:ln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7" name="Graphic 4">
                <a:extLst>
                  <a:ext uri="{FF2B5EF4-FFF2-40B4-BE49-F238E27FC236}">
                    <a16:creationId xmlns:a16="http://schemas.microsoft.com/office/drawing/2014/main" id="{8C8475B1-7EF7-B9F0-8B3A-0048C67218D4}"/>
                  </a:ext>
                </a:extLst>
              </p:cNvPr>
              <p:cNvSpPr/>
              <p:nvPr/>
            </p:nvSpPr>
            <p:spPr>
              <a:xfrm>
                <a:off x="1674802" y="2538433"/>
                <a:ext cx="12779" cy="12767"/>
              </a:xfrm>
              <a:custGeom>
                <a:avLst/>
                <a:gdLst>
                  <a:gd name="connsiteX0" fmla="*/ 12780 w 12779"/>
                  <a:gd name="connsiteY0" fmla="*/ 3830 h 12767"/>
                  <a:gd name="connsiteX1" fmla="*/ 11502 w 12779"/>
                  <a:gd name="connsiteY1" fmla="*/ 1915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0 w 12779"/>
                  <a:gd name="connsiteY6" fmla="*/ 6384 h 12767"/>
                  <a:gd name="connsiteX7" fmla="*/ 639 w 12779"/>
                  <a:gd name="connsiteY7" fmla="*/ 8938 h 12767"/>
                  <a:gd name="connsiteX8" fmla="*/ 1917 w 12779"/>
                  <a:gd name="connsiteY8" fmla="*/ 10853 h 12767"/>
                  <a:gd name="connsiteX9" fmla="*/ 6390 w 12779"/>
                  <a:gd name="connsiteY9" fmla="*/ 12768 h 12767"/>
                  <a:gd name="connsiteX10" fmla="*/ 8946 w 12779"/>
                  <a:gd name="connsiteY10" fmla="*/ 12130 h 12767"/>
                  <a:gd name="connsiteX11" fmla="*/ 10863 w 12779"/>
                  <a:gd name="connsiteY11" fmla="*/ 10853 h 12767"/>
                  <a:gd name="connsiteX12" fmla="*/ 12141 w 12779"/>
                  <a:gd name="connsiteY12" fmla="*/ 8938 h 12767"/>
                  <a:gd name="connsiteX13" fmla="*/ 12780 w 12779"/>
                  <a:gd name="connsiteY13" fmla="*/ 6384 h 12767"/>
                  <a:gd name="connsiteX14" fmla="*/ 12780 w 12779"/>
                  <a:gd name="connsiteY14" fmla="*/ 5107 h 12767"/>
                  <a:gd name="connsiteX15" fmla="*/ 12780 w 12779"/>
                  <a:gd name="connsiteY15" fmla="*/ 383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2780" y="3830"/>
                    </a:moveTo>
                    <a:cubicBezTo>
                      <a:pt x="12141" y="3192"/>
                      <a:pt x="12141" y="2554"/>
                      <a:pt x="11502" y="1915"/>
                    </a:cubicBezTo>
                    <a:cubicBezTo>
                      <a:pt x="10224" y="638"/>
                      <a:pt x="7668" y="0"/>
                      <a:pt x="5751" y="0"/>
                    </a:cubicBezTo>
                    <a:cubicBezTo>
                      <a:pt x="5112" y="0"/>
                      <a:pt x="5112" y="0"/>
                      <a:pt x="4473" y="638"/>
                    </a:cubicBezTo>
                    <a:cubicBezTo>
                      <a:pt x="3834" y="638"/>
                      <a:pt x="3834" y="1277"/>
                      <a:pt x="3195" y="1277"/>
                    </a:cubicBezTo>
                    <a:lnTo>
                      <a:pt x="1917" y="1915"/>
                    </a:lnTo>
                    <a:cubicBezTo>
                      <a:pt x="639" y="3192"/>
                      <a:pt x="0" y="4469"/>
                      <a:pt x="0" y="6384"/>
                    </a:cubicBezTo>
                    <a:cubicBezTo>
                      <a:pt x="0" y="7022"/>
                      <a:pt x="0" y="8299"/>
                      <a:pt x="639" y="8938"/>
                    </a:cubicBezTo>
                    <a:cubicBezTo>
                      <a:pt x="639" y="9576"/>
                      <a:pt x="1278" y="10214"/>
                      <a:pt x="1917" y="10853"/>
                    </a:cubicBezTo>
                    <a:cubicBezTo>
                      <a:pt x="3195" y="12130"/>
                      <a:pt x="4473"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141" y="8299"/>
                      <a:pt x="12780" y="7661"/>
                      <a:pt x="12780" y="6384"/>
                    </a:cubicBezTo>
                    <a:cubicBezTo>
                      <a:pt x="12780" y="5746"/>
                      <a:pt x="12780" y="5746"/>
                      <a:pt x="12780" y="5107"/>
                    </a:cubicBezTo>
                    <a:cubicBezTo>
                      <a:pt x="12780" y="5107"/>
                      <a:pt x="12780" y="4469"/>
                      <a:pt x="12780" y="3830"/>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8" name="Graphic 4">
                <a:extLst>
                  <a:ext uri="{FF2B5EF4-FFF2-40B4-BE49-F238E27FC236}">
                    <a16:creationId xmlns:a16="http://schemas.microsoft.com/office/drawing/2014/main" id="{FEBF3AC0-2C3F-CAEE-A13E-73020EC48E5A}"/>
                  </a:ext>
                </a:extLst>
              </p:cNvPr>
              <p:cNvSpPr/>
              <p:nvPr/>
            </p:nvSpPr>
            <p:spPr>
              <a:xfrm>
                <a:off x="1703557" y="2538832"/>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 w 12779"/>
                  <a:gd name="connsiteY4" fmla="*/ 9177 h 13007"/>
                  <a:gd name="connsiteX5" fmla="*/ 1917 w 12779"/>
                  <a:gd name="connsiteY5" fmla="*/ 11092 h 13007"/>
                  <a:gd name="connsiteX6" fmla="*/ 6390 w 12779"/>
                  <a:gd name="connsiteY6" fmla="*/ 13007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7262"/>
                      <a:pt x="0" y="8539"/>
                      <a:pt x="639" y="9177"/>
                    </a:cubicBezTo>
                    <a:cubicBezTo>
                      <a:pt x="639" y="9815"/>
                      <a:pt x="1278" y="10454"/>
                      <a:pt x="1917" y="11092"/>
                    </a:cubicBezTo>
                    <a:cubicBezTo>
                      <a:pt x="3195" y="12369"/>
                      <a:pt x="4473" y="13007"/>
                      <a:pt x="6390" y="13007"/>
                    </a:cubicBezTo>
                    <a:cubicBezTo>
                      <a:pt x="8307" y="13007"/>
                      <a:pt x="9585" y="12369"/>
                      <a:pt x="10863" y="11092"/>
                    </a:cubicBezTo>
                    <a:cubicBezTo>
                      <a:pt x="11502" y="10454"/>
                      <a:pt x="12141" y="9815"/>
                      <a:pt x="12141" y="9177"/>
                    </a:cubicBezTo>
                    <a:cubicBezTo>
                      <a:pt x="12780" y="8539"/>
                      <a:pt x="12780" y="7900"/>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59" name="Graphic 4">
                <a:extLst>
                  <a:ext uri="{FF2B5EF4-FFF2-40B4-BE49-F238E27FC236}">
                    <a16:creationId xmlns:a16="http://schemas.microsoft.com/office/drawing/2014/main" id="{FBE08957-F1D7-A48C-821D-333E44488C39}"/>
                  </a:ext>
                </a:extLst>
              </p:cNvPr>
              <p:cNvSpPr/>
              <p:nvPr/>
            </p:nvSpPr>
            <p:spPr>
              <a:xfrm>
                <a:off x="1674802" y="2509466"/>
                <a:ext cx="12779" cy="13007"/>
              </a:xfrm>
              <a:custGeom>
                <a:avLst/>
                <a:gdLst>
                  <a:gd name="connsiteX0" fmla="*/ 10224 w 12779"/>
                  <a:gd name="connsiteY0" fmla="*/ 1516 h 13007"/>
                  <a:gd name="connsiteX1" fmla="*/ 8946 w 12779"/>
                  <a:gd name="connsiteY1" fmla="*/ 878 h 13007"/>
                  <a:gd name="connsiteX2" fmla="*/ 7668 w 12779"/>
                  <a:gd name="connsiteY2" fmla="*/ 239 h 13007"/>
                  <a:gd name="connsiteX3" fmla="*/ 1917 w 12779"/>
                  <a:gd name="connsiteY3" fmla="*/ 2155 h 13007"/>
                  <a:gd name="connsiteX4" fmla="*/ 0 w 12779"/>
                  <a:gd name="connsiteY4" fmla="*/ 6623 h 13007"/>
                  <a:gd name="connsiteX5" fmla="*/ 6390 w 12779"/>
                  <a:gd name="connsiteY5" fmla="*/ 13007 h 13007"/>
                  <a:gd name="connsiteX6" fmla="*/ 8946 w 12779"/>
                  <a:gd name="connsiteY6" fmla="*/ 12369 h 13007"/>
                  <a:gd name="connsiteX7" fmla="*/ 10863 w 12779"/>
                  <a:gd name="connsiteY7" fmla="*/ 11092 h 13007"/>
                  <a:gd name="connsiteX8" fmla="*/ 12141 w 12779"/>
                  <a:gd name="connsiteY8" fmla="*/ 9177 h 13007"/>
                  <a:gd name="connsiteX9" fmla="*/ 12780 w 12779"/>
                  <a:gd name="connsiteY9" fmla="*/ 6623 h 13007"/>
                  <a:gd name="connsiteX10" fmla="*/ 10863 w 12779"/>
                  <a:gd name="connsiteY10" fmla="*/ 2155 h 13007"/>
                  <a:gd name="connsiteX11" fmla="*/ 10224 w 12779"/>
                  <a:gd name="connsiteY11" fmla="*/ 1516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10224" y="1516"/>
                    </a:moveTo>
                    <a:cubicBezTo>
                      <a:pt x="9585" y="1516"/>
                      <a:pt x="9585" y="878"/>
                      <a:pt x="8946" y="878"/>
                    </a:cubicBezTo>
                    <a:lnTo>
                      <a:pt x="7668" y="239"/>
                    </a:ln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1502" y="10454"/>
                      <a:pt x="12141" y="9815"/>
                      <a:pt x="12141" y="9177"/>
                    </a:cubicBezTo>
                    <a:cubicBezTo>
                      <a:pt x="12141" y="8539"/>
                      <a:pt x="12780" y="7900"/>
                      <a:pt x="12780" y="6623"/>
                    </a:cubicBezTo>
                    <a:cubicBezTo>
                      <a:pt x="12780" y="4708"/>
                      <a:pt x="12141" y="3431"/>
                      <a:pt x="10863" y="2155"/>
                    </a:cubicBezTo>
                    <a:lnTo>
                      <a:pt x="10224" y="1516"/>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60" name="Graphic 4">
                <a:extLst>
                  <a:ext uri="{FF2B5EF4-FFF2-40B4-BE49-F238E27FC236}">
                    <a16:creationId xmlns:a16="http://schemas.microsoft.com/office/drawing/2014/main" id="{D3BCC0EF-65CF-B23A-B039-17BA48393FE0}"/>
                  </a:ext>
                </a:extLst>
              </p:cNvPr>
              <p:cNvSpPr/>
              <p:nvPr/>
            </p:nvSpPr>
            <p:spPr>
              <a:xfrm>
                <a:off x="1703557" y="2510105"/>
                <a:ext cx="12779" cy="13007"/>
              </a:xfrm>
              <a:custGeom>
                <a:avLst/>
                <a:gdLst>
                  <a:gd name="connsiteX0" fmla="*/ 10224 w 12779"/>
                  <a:gd name="connsiteY0" fmla="*/ 878 h 13007"/>
                  <a:gd name="connsiteX1" fmla="*/ 7668 w 12779"/>
                  <a:gd name="connsiteY1" fmla="*/ 239 h 13007"/>
                  <a:gd name="connsiteX2" fmla="*/ 1917 w 12779"/>
                  <a:gd name="connsiteY2" fmla="*/ 2155 h 13007"/>
                  <a:gd name="connsiteX3" fmla="*/ 0 w 12779"/>
                  <a:gd name="connsiteY3" fmla="*/ 6623 h 13007"/>
                  <a:gd name="connsiteX4" fmla="*/ 6390 w 12779"/>
                  <a:gd name="connsiteY4" fmla="*/ 13007 h 13007"/>
                  <a:gd name="connsiteX5" fmla="*/ 8946 w 12779"/>
                  <a:gd name="connsiteY5" fmla="*/ 12369 h 13007"/>
                  <a:gd name="connsiteX6" fmla="*/ 10863 w 12779"/>
                  <a:gd name="connsiteY6" fmla="*/ 11092 h 13007"/>
                  <a:gd name="connsiteX7" fmla="*/ 12780 w 12779"/>
                  <a:gd name="connsiteY7" fmla="*/ 6623 h 13007"/>
                  <a:gd name="connsiteX8" fmla="*/ 10863 w 12779"/>
                  <a:gd name="connsiteY8" fmla="*/ 2155 h 13007"/>
                  <a:gd name="connsiteX9" fmla="*/ 10224 w 12779"/>
                  <a:gd name="connsiteY9" fmla="*/ 878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3007">
                    <a:moveTo>
                      <a:pt x="10224" y="878"/>
                    </a:moveTo>
                    <a:cubicBezTo>
                      <a:pt x="9585" y="239"/>
                      <a:pt x="8946" y="239"/>
                      <a:pt x="7668" y="239"/>
                    </a:cubicBezTo>
                    <a:cubicBezTo>
                      <a:pt x="5751" y="-399"/>
                      <a:pt x="3195" y="239"/>
                      <a:pt x="1917" y="2155"/>
                    </a:cubicBezTo>
                    <a:cubicBezTo>
                      <a:pt x="639" y="3431"/>
                      <a:pt x="0" y="4708"/>
                      <a:pt x="0" y="6623"/>
                    </a:cubicBezTo>
                    <a:cubicBezTo>
                      <a:pt x="0" y="10454"/>
                      <a:pt x="2556"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4708"/>
                      <a:pt x="12141" y="3431"/>
                      <a:pt x="10863" y="2155"/>
                    </a:cubicBezTo>
                    <a:lnTo>
                      <a:pt x="10224" y="87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61" name="Graphic 4">
                <a:extLst>
                  <a:ext uri="{FF2B5EF4-FFF2-40B4-BE49-F238E27FC236}">
                    <a16:creationId xmlns:a16="http://schemas.microsoft.com/office/drawing/2014/main" id="{A5E3E26A-CE4E-1D7C-EB49-91E31EF15BDD}"/>
                  </a:ext>
                </a:extLst>
              </p:cNvPr>
              <p:cNvSpPr/>
              <p:nvPr/>
            </p:nvSpPr>
            <p:spPr>
              <a:xfrm>
                <a:off x="1617293" y="2538433"/>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5112 w 12779"/>
                  <a:gd name="connsiteY3" fmla="*/ 0 h 12767"/>
                  <a:gd name="connsiteX4" fmla="*/ 3834 w 12779"/>
                  <a:gd name="connsiteY4" fmla="*/ 638 h 12767"/>
                  <a:gd name="connsiteX5" fmla="*/ 2556 w 12779"/>
                  <a:gd name="connsiteY5" fmla="*/ 1277 h 12767"/>
                  <a:gd name="connsiteX6" fmla="*/ 1917 w 12779"/>
                  <a:gd name="connsiteY6" fmla="*/ 1915 h 12767"/>
                  <a:gd name="connsiteX7" fmla="*/ 0 w 12779"/>
                  <a:gd name="connsiteY7" fmla="*/ 5107 h 12767"/>
                  <a:gd name="connsiteX8" fmla="*/ 0 w 12779"/>
                  <a:gd name="connsiteY8" fmla="*/ 6384 h 12767"/>
                  <a:gd name="connsiteX9" fmla="*/ 639 w 12779"/>
                  <a:gd name="connsiteY9" fmla="*/ 8938 h 12767"/>
                  <a:gd name="connsiteX10" fmla="*/ 1917 w 12779"/>
                  <a:gd name="connsiteY10" fmla="*/ 10853 h 12767"/>
                  <a:gd name="connsiteX11" fmla="*/ 3834 w 12779"/>
                  <a:gd name="connsiteY11" fmla="*/ 12130 h 12767"/>
                  <a:gd name="connsiteX12" fmla="*/ 6390 w 12779"/>
                  <a:gd name="connsiteY12" fmla="*/ 12768 h 12767"/>
                  <a:gd name="connsiteX13" fmla="*/ 8946 w 12779"/>
                  <a:gd name="connsiteY13" fmla="*/ 12130 h 12767"/>
                  <a:gd name="connsiteX14" fmla="*/ 10863 w 12779"/>
                  <a:gd name="connsiteY14" fmla="*/ 10853 h 12767"/>
                  <a:gd name="connsiteX15" fmla="*/ 12141 w 12779"/>
                  <a:gd name="connsiteY15" fmla="*/ 8938 h 12767"/>
                  <a:gd name="connsiteX16" fmla="*/ 12780 w 12779"/>
                  <a:gd name="connsiteY16" fmla="*/ 6384 h 12767"/>
                  <a:gd name="connsiteX17" fmla="*/ 10863 w 12779"/>
                  <a:gd name="connsiteY17" fmla="*/ 1915 h 12767"/>
                  <a:gd name="connsiteX18" fmla="*/ 10224 w 12779"/>
                  <a:gd name="connsiteY18"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79" h="12767">
                    <a:moveTo>
                      <a:pt x="10224" y="1277"/>
                    </a:moveTo>
                    <a:cubicBezTo>
                      <a:pt x="9585" y="1277"/>
                      <a:pt x="9585" y="638"/>
                      <a:pt x="8946" y="638"/>
                    </a:cubicBezTo>
                    <a:cubicBezTo>
                      <a:pt x="8307" y="638"/>
                      <a:pt x="8307" y="0"/>
                      <a:pt x="7668" y="0"/>
                    </a:cubicBezTo>
                    <a:cubicBezTo>
                      <a:pt x="7029" y="0"/>
                      <a:pt x="5751" y="0"/>
                      <a:pt x="5112" y="0"/>
                    </a:cubicBezTo>
                    <a:lnTo>
                      <a:pt x="3834" y="638"/>
                    </a:lnTo>
                    <a:lnTo>
                      <a:pt x="2556" y="1277"/>
                    </a:lnTo>
                    <a:lnTo>
                      <a:pt x="1917" y="1915"/>
                    </a:lnTo>
                    <a:cubicBezTo>
                      <a:pt x="1278" y="2554"/>
                      <a:pt x="639" y="3830"/>
                      <a:pt x="0" y="5107"/>
                    </a:cubicBezTo>
                    <a:cubicBezTo>
                      <a:pt x="0" y="5746"/>
                      <a:pt x="0" y="5746"/>
                      <a:pt x="0" y="6384"/>
                    </a:cubicBezTo>
                    <a:cubicBezTo>
                      <a:pt x="0" y="7022"/>
                      <a:pt x="0" y="8299"/>
                      <a:pt x="639" y="8938"/>
                    </a:cubicBezTo>
                    <a:cubicBezTo>
                      <a:pt x="1278" y="9576"/>
                      <a:pt x="1278" y="10214"/>
                      <a:pt x="1917" y="10853"/>
                    </a:cubicBezTo>
                    <a:cubicBezTo>
                      <a:pt x="2556" y="11491"/>
                      <a:pt x="3195" y="12130"/>
                      <a:pt x="3834" y="12130"/>
                    </a:cubicBezTo>
                    <a:cubicBezTo>
                      <a:pt x="4473" y="12768"/>
                      <a:pt x="5751" y="12768"/>
                      <a:pt x="6390" y="12768"/>
                    </a:cubicBezTo>
                    <a:cubicBezTo>
                      <a:pt x="7029" y="12768"/>
                      <a:pt x="8307" y="12768"/>
                      <a:pt x="8946" y="12130"/>
                    </a:cubicBezTo>
                    <a:cubicBezTo>
                      <a:pt x="9585" y="12130"/>
                      <a:pt x="10224" y="11491"/>
                      <a:pt x="10863" y="10853"/>
                    </a:cubicBezTo>
                    <a:cubicBezTo>
                      <a:pt x="11502" y="10214"/>
                      <a:pt x="12141" y="9576"/>
                      <a:pt x="12141" y="8938"/>
                    </a:cubicBezTo>
                    <a:cubicBezTo>
                      <a:pt x="12780" y="8299"/>
                      <a:pt x="12780" y="7661"/>
                      <a:pt x="12780" y="6384"/>
                    </a:cubicBezTo>
                    <a:cubicBezTo>
                      <a:pt x="12780" y="4469"/>
                      <a:pt x="12141" y="3192"/>
                      <a:pt x="10863" y="1915"/>
                    </a:cubicBezTo>
                    <a:lnTo>
                      <a:pt x="10224" y="1277"/>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62" name="Graphic 4">
                <a:extLst>
                  <a:ext uri="{FF2B5EF4-FFF2-40B4-BE49-F238E27FC236}">
                    <a16:creationId xmlns:a16="http://schemas.microsoft.com/office/drawing/2014/main" id="{376D57C2-083A-609D-5F08-23EFBA647F7D}"/>
                  </a:ext>
                </a:extLst>
              </p:cNvPr>
              <p:cNvSpPr/>
              <p:nvPr/>
            </p:nvSpPr>
            <p:spPr>
              <a:xfrm>
                <a:off x="1617293" y="2509585"/>
                <a:ext cx="12779" cy="12739"/>
              </a:xfrm>
              <a:custGeom>
                <a:avLst/>
                <a:gdLst>
                  <a:gd name="connsiteX0" fmla="*/ 10224 w 12779"/>
                  <a:gd name="connsiteY0" fmla="*/ 1398 h 12739"/>
                  <a:gd name="connsiteX1" fmla="*/ 8946 w 12779"/>
                  <a:gd name="connsiteY1" fmla="*/ 759 h 12739"/>
                  <a:gd name="connsiteX2" fmla="*/ 7668 w 12779"/>
                  <a:gd name="connsiteY2" fmla="*/ 121 h 12739"/>
                  <a:gd name="connsiteX3" fmla="*/ 0 w 12779"/>
                  <a:gd name="connsiteY3" fmla="*/ 5228 h 12739"/>
                  <a:gd name="connsiteX4" fmla="*/ 0 w 12779"/>
                  <a:gd name="connsiteY4" fmla="*/ 6505 h 12739"/>
                  <a:gd name="connsiteX5" fmla="*/ 639 w 12779"/>
                  <a:gd name="connsiteY5" fmla="*/ 9059 h 12739"/>
                  <a:gd name="connsiteX6" fmla="*/ 1917 w 12779"/>
                  <a:gd name="connsiteY6" fmla="*/ 10974 h 12739"/>
                  <a:gd name="connsiteX7" fmla="*/ 3834 w 12779"/>
                  <a:gd name="connsiteY7" fmla="*/ 12251 h 12739"/>
                  <a:gd name="connsiteX8" fmla="*/ 12141 w 12779"/>
                  <a:gd name="connsiteY8" fmla="*/ 9059 h 12739"/>
                  <a:gd name="connsiteX9" fmla="*/ 12780 w 12779"/>
                  <a:gd name="connsiteY9" fmla="*/ 6505 h 12739"/>
                  <a:gd name="connsiteX10" fmla="*/ 10863 w 12779"/>
                  <a:gd name="connsiteY10" fmla="*/ 2036 h 12739"/>
                  <a:gd name="connsiteX11" fmla="*/ 10224 w 12779"/>
                  <a:gd name="connsiteY11" fmla="*/ 1398 h 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39">
                    <a:moveTo>
                      <a:pt x="10224" y="1398"/>
                    </a:moveTo>
                    <a:cubicBezTo>
                      <a:pt x="9585" y="1398"/>
                      <a:pt x="9585" y="759"/>
                      <a:pt x="8946" y="759"/>
                    </a:cubicBezTo>
                    <a:cubicBezTo>
                      <a:pt x="8307" y="759"/>
                      <a:pt x="8307" y="121"/>
                      <a:pt x="7668" y="121"/>
                    </a:cubicBezTo>
                    <a:cubicBezTo>
                      <a:pt x="4473" y="-517"/>
                      <a:pt x="639" y="1398"/>
                      <a:pt x="0" y="5228"/>
                    </a:cubicBezTo>
                    <a:cubicBezTo>
                      <a:pt x="0" y="5867"/>
                      <a:pt x="0" y="5867"/>
                      <a:pt x="0" y="6505"/>
                    </a:cubicBezTo>
                    <a:cubicBezTo>
                      <a:pt x="0" y="7143"/>
                      <a:pt x="0" y="8420"/>
                      <a:pt x="639" y="9059"/>
                    </a:cubicBezTo>
                    <a:cubicBezTo>
                      <a:pt x="1278" y="9697"/>
                      <a:pt x="1278" y="10335"/>
                      <a:pt x="1917" y="10974"/>
                    </a:cubicBezTo>
                    <a:cubicBezTo>
                      <a:pt x="2556" y="11612"/>
                      <a:pt x="3195" y="12251"/>
                      <a:pt x="3834" y="12251"/>
                    </a:cubicBezTo>
                    <a:cubicBezTo>
                      <a:pt x="7029" y="13527"/>
                      <a:pt x="10863" y="12251"/>
                      <a:pt x="12141" y="9059"/>
                    </a:cubicBezTo>
                    <a:cubicBezTo>
                      <a:pt x="12141" y="8420"/>
                      <a:pt x="12780" y="7782"/>
                      <a:pt x="12780" y="6505"/>
                    </a:cubicBezTo>
                    <a:cubicBezTo>
                      <a:pt x="12780" y="4590"/>
                      <a:pt x="12141" y="3313"/>
                      <a:pt x="10863" y="2036"/>
                    </a:cubicBezTo>
                    <a:cubicBezTo>
                      <a:pt x="10863" y="2036"/>
                      <a:pt x="10863" y="1398"/>
                      <a:pt x="10224" y="1398"/>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63" name="Graphic 4">
                <a:extLst>
                  <a:ext uri="{FF2B5EF4-FFF2-40B4-BE49-F238E27FC236}">
                    <a16:creationId xmlns:a16="http://schemas.microsoft.com/office/drawing/2014/main" id="{D65A4108-2430-B0E9-45CF-7230D55847DC}"/>
                  </a:ext>
                </a:extLst>
              </p:cNvPr>
              <p:cNvSpPr/>
              <p:nvPr/>
            </p:nvSpPr>
            <p:spPr>
              <a:xfrm>
                <a:off x="1646047" y="2538408"/>
                <a:ext cx="12779" cy="12819"/>
              </a:xfrm>
              <a:custGeom>
                <a:avLst/>
                <a:gdLst>
                  <a:gd name="connsiteX0" fmla="*/ 8946 w 12779"/>
                  <a:gd name="connsiteY0" fmla="*/ 664 h 12819"/>
                  <a:gd name="connsiteX1" fmla="*/ 1917 w 12779"/>
                  <a:gd name="connsiteY1" fmla="*/ 1941 h 12819"/>
                  <a:gd name="connsiteX2" fmla="*/ 639 w 12779"/>
                  <a:gd name="connsiteY2" fmla="*/ 3856 h 12819"/>
                  <a:gd name="connsiteX3" fmla="*/ 0 w 12779"/>
                  <a:gd name="connsiteY3" fmla="*/ 5133 h 12819"/>
                  <a:gd name="connsiteX4" fmla="*/ 0 w 12779"/>
                  <a:gd name="connsiteY4" fmla="*/ 6410 h 12819"/>
                  <a:gd name="connsiteX5" fmla="*/ 639 w 12779"/>
                  <a:gd name="connsiteY5" fmla="*/ 8963 h 12819"/>
                  <a:gd name="connsiteX6" fmla="*/ 1917 w 12779"/>
                  <a:gd name="connsiteY6" fmla="*/ 10879 h 12819"/>
                  <a:gd name="connsiteX7" fmla="*/ 3834 w 12779"/>
                  <a:gd name="connsiteY7" fmla="*/ 12155 h 12819"/>
                  <a:gd name="connsiteX8" fmla="*/ 10863 w 12779"/>
                  <a:gd name="connsiteY8" fmla="*/ 10879 h 12819"/>
                  <a:gd name="connsiteX9" fmla="*/ 12141 w 12779"/>
                  <a:gd name="connsiteY9" fmla="*/ 8963 h 12819"/>
                  <a:gd name="connsiteX10" fmla="*/ 12780 w 12779"/>
                  <a:gd name="connsiteY10" fmla="*/ 6410 h 12819"/>
                  <a:gd name="connsiteX11" fmla="*/ 10863 w 12779"/>
                  <a:gd name="connsiteY11" fmla="*/ 1941 h 12819"/>
                  <a:gd name="connsiteX12" fmla="*/ 8946 w 12779"/>
                  <a:gd name="connsiteY12" fmla="*/ 664 h 1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819">
                    <a:moveTo>
                      <a:pt x="8946" y="664"/>
                    </a:moveTo>
                    <a:cubicBezTo>
                      <a:pt x="6390" y="-613"/>
                      <a:pt x="3834" y="26"/>
                      <a:pt x="1917" y="1941"/>
                    </a:cubicBezTo>
                    <a:cubicBezTo>
                      <a:pt x="1278" y="2579"/>
                      <a:pt x="639" y="3218"/>
                      <a:pt x="639" y="3856"/>
                    </a:cubicBezTo>
                    <a:cubicBezTo>
                      <a:pt x="639" y="4495"/>
                      <a:pt x="0" y="4495"/>
                      <a:pt x="0" y="5133"/>
                    </a:cubicBezTo>
                    <a:cubicBezTo>
                      <a:pt x="0" y="5771"/>
                      <a:pt x="0" y="5771"/>
                      <a:pt x="0" y="6410"/>
                    </a:cubicBezTo>
                    <a:cubicBezTo>
                      <a:pt x="0" y="7048"/>
                      <a:pt x="0" y="8325"/>
                      <a:pt x="639" y="8963"/>
                    </a:cubicBezTo>
                    <a:cubicBezTo>
                      <a:pt x="639" y="9602"/>
                      <a:pt x="1278" y="10240"/>
                      <a:pt x="1917" y="10879"/>
                    </a:cubicBezTo>
                    <a:cubicBezTo>
                      <a:pt x="2556" y="11517"/>
                      <a:pt x="3195" y="12155"/>
                      <a:pt x="3834" y="12155"/>
                    </a:cubicBezTo>
                    <a:cubicBezTo>
                      <a:pt x="6390" y="13432"/>
                      <a:pt x="8946" y="12794"/>
                      <a:pt x="10863" y="10879"/>
                    </a:cubicBezTo>
                    <a:cubicBezTo>
                      <a:pt x="11502" y="10240"/>
                      <a:pt x="12141" y="9602"/>
                      <a:pt x="12141" y="8963"/>
                    </a:cubicBezTo>
                    <a:cubicBezTo>
                      <a:pt x="12780" y="8325"/>
                      <a:pt x="12780" y="7687"/>
                      <a:pt x="12780" y="6410"/>
                    </a:cubicBezTo>
                    <a:cubicBezTo>
                      <a:pt x="12780" y="4495"/>
                      <a:pt x="12141" y="3218"/>
                      <a:pt x="10863" y="1941"/>
                    </a:cubicBezTo>
                    <a:cubicBezTo>
                      <a:pt x="10224" y="1303"/>
                      <a:pt x="9585" y="664"/>
                      <a:pt x="8946" y="664"/>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sp>
            <p:nvSpPr>
              <p:cNvPr id="64" name="Graphic 4">
                <a:extLst>
                  <a:ext uri="{FF2B5EF4-FFF2-40B4-BE49-F238E27FC236}">
                    <a16:creationId xmlns:a16="http://schemas.microsoft.com/office/drawing/2014/main" id="{592A43A5-F5EF-793F-7088-B5AD46C3C300}"/>
                  </a:ext>
                </a:extLst>
              </p:cNvPr>
              <p:cNvSpPr/>
              <p:nvPr/>
            </p:nvSpPr>
            <p:spPr>
              <a:xfrm>
                <a:off x="1646047" y="2509706"/>
                <a:ext cx="12779" cy="12767"/>
              </a:xfrm>
              <a:custGeom>
                <a:avLst/>
                <a:gdLst>
                  <a:gd name="connsiteX0" fmla="*/ 10224 w 12779"/>
                  <a:gd name="connsiteY0" fmla="*/ 1277 h 12767"/>
                  <a:gd name="connsiteX1" fmla="*/ 8946 w 12779"/>
                  <a:gd name="connsiteY1" fmla="*/ 638 h 12767"/>
                  <a:gd name="connsiteX2" fmla="*/ 7668 w 12779"/>
                  <a:gd name="connsiteY2" fmla="*/ 0 h 12767"/>
                  <a:gd name="connsiteX3" fmla="*/ 3834 w 12779"/>
                  <a:gd name="connsiteY3" fmla="*/ 638 h 12767"/>
                  <a:gd name="connsiteX4" fmla="*/ 1917 w 12779"/>
                  <a:gd name="connsiteY4" fmla="*/ 1915 h 12767"/>
                  <a:gd name="connsiteX5" fmla="*/ 639 w 12779"/>
                  <a:gd name="connsiteY5" fmla="*/ 3830 h 12767"/>
                  <a:gd name="connsiteX6" fmla="*/ 0 w 12779"/>
                  <a:gd name="connsiteY6" fmla="*/ 5107 h 12767"/>
                  <a:gd name="connsiteX7" fmla="*/ 0 w 12779"/>
                  <a:gd name="connsiteY7" fmla="*/ 6384 h 12767"/>
                  <a:gd name="connsiteX8" fmla="*/ 6390 w 12779"/>
                  <a:gd name="connsiteY8" fmla="*/ 12768 h 12767"/>
                  <a:gd name="connsiteX9" fmla="*/ 8946 w 12779"/>
                  <a:gd name="connsiteY9" fmla="*/ 12130 h 12767"/>
                  <a:gd name="connsiteX10" fmla="*/ 12141 w 12779"/>
                  <a:gd name="connsiteY10" fmla="*/ 8938 h 12767"/>
                  <a:gd name="connsiteX11" fmla="*/ 12780 w 12779"/>
                  <a:gd name="connsiteY11" fmla="*/ 6384 h 12767"/>
                  <a:gd name="connsiteX12" fmla="*/ 10863 w 12779"/>
                  <a:gd name="connsiteY12" fmla="*/ 1915 h 12767"/>
                  <a:gd name="connsiteX13" fmla="*/ 10224 w 12779"/>
                  <a:gd name="connsiteY13" fmla="*/ 1277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0224" y="1277"/>
                    </a:move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639" y="4469"/>
                      <a:pt x="639" y="4469"/>
                      <a:pt x="0" y="5107"/>
                    </a:cubicBezTo>
                    <a:cubicBezTo>
                      <a:pt x="0" y="5746"/>
                      <a:pt x="0" y="5746"/>
                      <a:pt x="0" y="6384"/>
                    </a:cubicBezTo>
                    <a:cubicBezTo>
                      <a:pt x="0" y="10214"/>
                      <a:pt x="3195" y="12768"/>
                      <a:pt x="6390" y="12768"/>
                    </a:cubicBezTo>
                    <a:cubicBezTo>
                      <a:pt x="7029" y="12768"/>
                      <a:pt x="8307" y="12768"/>
                      <a:pt x="8946" y="12130"/>
                    </a:cubicBezTo>
                    <a:cubicBezTo>
                      <a:pt x="10863" y="11491"/>
                      <a:pt x="11502" y="10214"/>
                      <a:pt x="12141" y="8938"/>
                    </a:cubicBezTo>
                    <a:cubicBezTo>
                      <a:pt x="12780" y="8299"/>
                      <a:pt x="12780" y="7661"/>
                      <a:pt x="12780" y="6384"/>
                    </a:cubicBezTo>
                    <a:cubicBezTo>
                      <a:pt x="12780" y="4469"/>
                      <a:pt x="12141" y="3192"/>
                      <a:pt x="10863" y="1915"/>
                    </a:cubicBezTo>
                    <a:cubicBezTo>
                      <a:pt x="10863" y="1915"/>
                      <a:pt x="10863" y="1277"/>
                      <a:pt x="10224" y="1277"/>
                    </a:cubicBez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B0F2"/>
                  </a:solidFill>
                  <a:effectLst/>
                  <a:uLnTx/>
                  <a:uFillTx/>
                  <a:latin typeface="Calibri"/>
                  <a:ea typeface="+mn-ea"/>
                  <a:cs typeface="+mn-cs"/>
                </a:endParaRPr>
              </a:p>
            </p:txBody>
          </p:sp>
        </p:grpSp>
      </p:grpSp>
      <p:grpSp>
        <p:nvGrpSpPr>
          <p:cNvPr id="66" name="Group 65">
            <a:extLst>
              <a:ext uri="{FF2B5EF4-FFF2-40B4-BE49-F238E27FC236}">
                <a16:creationId xmlns:a16="http://schemas.microsoft.com/office/drawing/2014/main" id="{4FF97736-7E59-6D01-EA2D-7530934E53D5}"/>
              </a:ext>
            </a:extLst>
          </p:cNvPr>
          <p:cNvGrpSpPr/>
          <p:nvPr/>
        </p:nvGrpSpPr>
        <p:grpSpPr>
          <a:xfrm>
            <a:off x="6957173" y="1444583"/>
            <a:ext cx="528077" cy="528077"/>
            <a:chOff x="1984379" y="4874000"/>
            <a:chExt cx="1816041" cy="1816041"/>
          </a:xfrm>
        </p:grpSpPr>
        <p:grpSp>
          <p:nvGrpSpPr>
            <p:cNvPr id="67" name="Group 66">
              <a:extLst>
                <a:ext uri="{FF2B5EF4-FFF2-40B4-BE49-F238E27FC236}">
                  <a16:creationId xmlns:a16="http://schemas.microsoft.com/office/drawing/2014/main" id="{90521880-95E1-5E02-E8CF-20F5580051B8}"/>
                </a:ext>
              </a:extLst>
            </p:cNvPr>
            <p:cNvGrpSpPr/>
            <p:nvPr/>
          </p:nvGrpSpPr>
          <p:grpSpPr>
            <a:xfrm>
              <a:off x="1984379" y="4874000"/>
              <a:ext cx="1816041" cy="1816041"/>
              <a:chOff x="465740" y="2706207"/>
              <a:chExt cx="442310" cy="442310"/>
            </a:xfrm>
          </p:grpSpPr>
          <p:sp>
            <p:nvSpPr>
              <p:cNvPr id="75" name="Oval 74">
                <a:extLst>
                  <a:ext uri="{FF2B5EF4-FFF2-40B4-BE49-F238E27FC236}">
                    <a16:creationId xmlns:a16="http://schemas.microsoft.com/office/drawing/2014/main" id="{8CEAF962-2AFA-89C8-FB94-AE68B247B71C}"/>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76" name="Oval 75">
                <a:extLst>
                  <a:ext uri="{FF2B5EF4-FFF2-40B4-BE49-F238E27FC236}">
                    <a16:creationId xmlns:a16="http://schemas.microsoft.com/office/drawing/2014/main" id="{778B611A-EF7E-4FBC-B988-37B6977E0280}"/>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77" name="Oval 76">
                <a:extLst>
                  <a:ext uri="{FF2B5EF4-FFF2-40B4-BE49-F238E27FC236}">
                    <a16:creationId xmlns:a16="http://schemas.microsoft.com/office/drawing/2014/main" id="{7BE15CAA-60AF-300D-BD96-24CB286879D3}"/>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grpSp>
          <p:nvGrpSpPr>
            <p:cNvPr id="68" name="Graphic 4">
              <a:extLst>
                <a:ext uri="{FF2B5EF4-FFF2-40B4-BE49-F238E27FC236}">
                  <a16:creationId xmlns:a16="http://schemas.microsoft.com/office/drawing/2014/main" id="{309FA8DE-CA89-7DBB-6BA4-F961EDC9D497}"/>
                </a:ext>
              </a:extLst>
            </p:cNvPr>
            <p:cNvGrpSpPr>
              <a:grpSpLocks noChangeAspect="1"/>
            </p:cNvGrpSpPr>
            <p:nvPr/>
          </p:nvGrpSpPr>
          <p:grpSpPr>
            <a:xfrm>
              <a:off x="2535592" y="5425957"/>
              <a:ext cx="713661" cy="712127"/>
              <a:chOff x="4735970" y="2449058"/>
              <a:chExt cx="206646" cy="206202"/>
            </a:xfrm>
            <a:solidFill>
              <a:schemeClr val="bg1"/>
            </a:solidFill>
          </p:grpSpPr>
          <p:sp>
            <p:nvSpPr>
              <p:cNvPr id="69" name="Graphic 4">
                <a:extLst>
                  <a:ext uri="{FF2B5EF4-FFF2-40B4-BE49-F238E27FC236}">
                    <a16:creationId xmlns:a16="http://schemas.microsoft.com/office/drawing/2014/main" id="{06DA5B9A-061E-738C-4AC4-8F5309072B7B}"/>
                  </a:ext>
                </a:extLst>
              </p:cNvPr>
              <p:cNvSpPr/>
              <p:nvPr/>
            </p:nvSpPr>
            <p:spPr>
              <a:xfrm>
                <a:off x="4735970" y="2508429"/>
                <a:ext cx="58649" cy="146831"/>
              </a:xfrm>
              <a:custGeom>
                <a:avLst/>
                <a:gdLst>
                  <a:gd name="connsiteX0" fmla="*/ 36034 w 58649"/>
                  <a:gd name="connsiteY0" fmla="*/ 0 h 146831"/>
                  <a:gd name="connsiteX1" fmla="*/ 21337 w 58649"/>
                  <a:gd name="connsiteY1" fmla="*/ 0 h 146831"/>
                  <a:gd name="connsiteX2" fmla="*/ 14948 w 58649"/>
                  <a:gd name="connsiteY2" fmla="*/ 5107 h 146831"/>
                  <a:gd name="connsiteX3" fmla="*/ 251 w 58649"/>
                  <a:gd name="connsiteY3" fmla="*/ 79800 h 146831"/>
                  <a:gd name="connsiteX4" fmla="*/ 1529 w 58649"/>
                  <a:gd name="connsiteY4" fmla="*/ 84907 h 146831"/>
                  <a:gd name="connsiteX5" fmla="*/ 6641 w 58649"/>
                  <a:gd name="connsiteY5" fmla="*/ 87461 h 146831"/>
                  <a:gd name="connsiteX6" fmla="*/ 7919 w 58649"/>
                  <a:gd name="connsiteY6" fmla="*/ 87461 h 146831"/>
                  <a:gd name="connsiteX7" fmla="*/ 7919 w 58649"/>
                  <a:gd name="connsiteY7" fmla="*/ 140448 h 146831"/>
                  <a:gd name="connsiteX8" fmla="*/ 14309 w 58649"/>
                  <a:gd name="connsiteY8" fmla="*/ 146832 h 146831"/>
                  <a:gd name="connsiteX9" fmla="*/ 20699 w 58649"/>
                  <a:gd name="connsiteY9" fmla="*/ 140448 h 146831"/>
                  <a:gd name="connsiteX10" fmla="*/ 20699 w 58649"/>
                  <a:gd name="connsiteY10" fmla="*/ 87461 h 146831"/>
                  <a:gd name="connsiteX11" fmla="*/ 37951 w 58649"/>
                  <a:gd name="connsiteY11" fmla="*/ 87461 h 146831"/>
                  <a:gd name="connsiteX12" fmla="*/ 37951 w 58649"/>
                  <a:gd name="connsiteY12" fmla="*/ 140448 h 146831"/>
                  <a:gd name="connsiteX13" fmla="*/ 44341 w 58649"/>
                  <a:gd name="connsiteY13" fmla="*/ 146832 h 146831"/>
                  <a:gd name="connsiteX14" fmla="*/ 50731 w 58649"/>
                  <a:gd name="connsiteY14" fmla="*/ 140448 h 146831"/>
                  <a:gd name="connsiteX15" fmla="*/ 50731 w 58649"/>
                  <a:gd name="connsiteY15" fmla="*/ 87461 h 146831"/>
                  <a:gd name="connsiteX16" fmla="*/ 52009 w 58649"/>
                  <a:gd name="connsiteY16" fmla="*/ 87461 h 146831"/>
                  <a:gd name="connsiteX17" fmla="*/ 57121 w 58649"/>
                  <a:gd name="connsiteY17" fmla="*/ 84907 h 146831"/>
                  <a:gd name="connsiteX18" fmla="*/ 58399 w 58649"/>
                  <a:gd name="connsiteY18" fmla="*/ 79800 h 146831"/>
                  <a:gd name="connsiteX19" fmla="*/ 43702 w 58649"/>
                  <a:gd name="connsiteY19" fmla="*/ 5107 h 146831"/>
                  <a:gd name="connsiteX20" fmla="*/ 36034 w 58649"/>
                  <a:gd name="connsiteY20" fmla="*/ 0 h 146831"/>
                  <a:gd name="connsiteX21" fmla="*/ 13669 w 58649"/>
                  <a:gd name="connsiteY21" fmla="*/ 74693 h 146831"/>
                  <a:gd name="connsiteX22" fmla="*/ 25811 w 58649"/>
                  <a:gd name="connsiteY22" fmla="*/ 13406 h 146831"/>
                  <a:gd name="connsiteX23" fmla="*/ 30284 w 58649"/>
                  <a:gd name="connsiteY23" fmla="*/ 13406 h 146831"/>
                  <a:gd name="connsiteX24" fmla="*/ 42424 w 58649"/>
                  <a:gd name="connsiteY24" fmla="*/ 74693 h 146831"/>
                  <a:gd name="connsiteX25" fmla="*/ 13669 w 58649"/>
                  <a:gd name="connsiteY25" fmla="*/ 74693 h 14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649" h="146831">
                    <a:moveTo>
                      <a:pt x="36034" y="0"/>
                    </a:moveTo>
                    <a:lnTo>
                      <a:pt x="21337" y="0"/>
                    </a:lnTo>
                    <a:cubicBezTo>
                      <a:pt x="18143" y="0"/>
                      <a:pt x="15586" y="1915"/>
                      <a:pt x="14948" y="5107"/>
                    </a:cubicBezTo>
                    <a:lnTo>
                      <a:pt x="251" y="79800"/>
                    </a:lnTo>
                    <a:cubicBezTo>
                      <a:pt x="-388" y="81715"/>
                      <a:pt x="251" y="83630"/>
                      <a:pt x="1529" y="84907"/>
                    </a:cubicBezTo>
                    <a:cubicBezTo>
                      <a:pt x="2807" y="86184"/>
                      <a:pt x="4724" y="87461"/>
                      <a:pt x="6641" y="87461"/>
                    </a:cubicBezTo>
                    <a:lnTo>
                      <a:pt x="7919" y="87461"/>
                    </a:lnTo>
                    <a:lnTo>
                      <a:pt x="7919" y="140448"/>
                    </a:lnTo>
                    <a:cubicBezTo>
                      <a:pt x="7919" y="144278"/>
                      <a:pt x="10475" y="146832"/>
                      <a:pt x="14309" y="146832"/>
                    </a:cubicBezTo>
                    <a:cubicBezTo>
                      <a:pt x="18143" y="146832"/>
                      <a:pt x="20699" y="144278"/>
                      <a:pt x="20699" y="140448"/>
                    </a:cubicBezTo>
                    <a:lnTo>
                      <a:pt x="20699" y="87461"/>
                    </a:lnTo>
                    <a:lnTo>
                      <a:pt x="37951" y="87461"/>
                    </a:lnTo>
                    <a:lnTo>
                      <a:pt x="37951" y="140448"/>
                    </a:lnTo>
                    <a:cubicBezTo>
                      <a:pt x="37951" y="144278"/>
                      <a:pt x="40507" y="146832"/>
                      <a:pt x="44341" y="146832"/>
                    </a:cubicBezTo>
                    <a:cubicBezTo>
                      <a:pt x="48175" y="146832"/>
                      <a:pt x="50731" y="144278"/>
                      <a:pt x="50731" y="140448"/>
                    </a:cubicBezTo>
                    <a:lnTo>
                      <a:pt x="50731" y="87461"/>
                    </a:lnTo>
                    <a:lnTo>
                      <a:pt x="52009" y="87461"/>
                    </a:lnTo>
                    <a:cubicBezTo>
                      <a:pt x="53926" y="87461"/>
                      <a:pt x="55843" y="86822"/>
                      <a:pt x="57121" y="84907"/>
                    </a:cubicBezTo>
                    <a:cubicBezTo>
                      <a:pt x="58399" y="83630"/>
                      <a:pt x="59038" y="81715"/>
                      <a:pt x="58399" y="79800"/>
                    </a:cubicBezTo>
                    <a:lnTo>
                      <a:pt x="43702" y="5107"/>
                    </a:lnTo>
                    <a:cubicBezTo>
                      <a:pt x="41146" y="2554"/>
                      <a:pt x="38590" y="0"/>
                      <a:pt x="36034" y="0"/>
                    </a:cubicBezTo>
                    <a:close/>
                    <a:moveTo>
                      <a:pt x="13669" y="74693"/>
                    </a:moveTo>
                    <a:lnTo>
                      <a:pt x="25811" y="13406"/>
                    </a:lnTo>
                    <a:lnTo>
                      <a:pt x="30284" y="13406"/>
                    </a:lnTo>
                    <a:lnTo>
                      <a:pt x="42424" y="74693"/>
                    </a:lnTo>
                    <a:lnTo>
                      <a:pt x="13669"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70" name="Graphic 4">
                <a:extLst>
                  <a:ext uri="{FF2B5EF4-FFF2-40B4-BE49-F238E27FC236}">
                    <a16:creationId xmlns:a16="http://schemas.microsoft.com/office/drawing/2014/main" id="{E690DCC7-2DA1-F7B6-9E4D-76185B5ECCC9}"/>
                  </a:ext>
                </a:extLst>
              </p:cNvPr>
              <p:cNvSpPr/>
              <p:nvPr/>
            </p:nvSpPr>
            <p:spPr>
              <a:xfrm>
                <a:off x="4743250"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ubicBezTo>
                      <a:pt x="21087" y="12768"/>
                      <a:pt x="21087"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71" name="Graphic 4">
                <a:extLst>
                  <a:ext uri="{FF2B5EF4-FFF2-40B4-BE49-F238E27FC236}">
                    <a16:creationId xmlns:a16="http://schemas.microsoft.com/office/drawing/2014/main" id="{A5F3B25E-9DAB-9732-94C9-20EB37268419}"/>
                  </a:ext>
                </a:extLst>
              </p:cNvPr>
              <p:cNvSpPr/>
              <p:nvPr/>
            </p:nvSpPr>
            <p:spPr>
              <a:xfrm>
                <a:off x="4884468"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7 w 58148"/>
                  <a:gd name="connsiteY8" fmla="*/ 139809 h 146193"/>
                  <a:gd name="connsiteX9" fmla="*/ 20447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7" y="143640"/>
                      <a:pt x="20447" y="139809"/>
                    </a:cubicBezTo>
                    <a:lnTo>
                      <a:pt x="20447"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2" y="72139"/>
                      <a:pt x="58148" y="69586"/>
                      <a:pt x="58148" y="65755"/>
                    </a:cubicBezTo>
                    <a:lnTo>
                      <a:pt x="58148" y="6384"/>
                    </a:lnTo>
                    <a:cubicBezTo>
                      <a:pt x="57509" y="3192"/>
                      <a:pt x="54314"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72" name="Graphic 4">
                <a:extLst>
                  <a:ext uri="{FF2B5EF4-FFF2-40B4-BE49-F238E27FC236}">
                    <a16:creationId xmlns:a16="http://schemas.microsoft.com/office/drawing/2014/main" id="{B8E0B5A5-ED33-012B-C31D-32C03E13F1B0}"/>
                  </a:ext>
                </a:extLst>
              </p:cNvPr>
              <p:cNvSpPr/>
              <p:nvPr/>
            </p:nvSpPr>
            <p:spPr>
              <a:xfrm>
                <a:off x="4892135"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73" name="Graphic 4">
                <a:extLst>
                  <a:ext uri="{FF2B5EF4-FFF2-40B4-BE49-F238E27FC236}">
                    <a16:creationId xmlns:a16="http://schemas.microsoft.com/office/drawing/2014/main" id="{F9B404AF-74E8-6CD2-5F9B-778980F1CE40}"/>
                  </a:ext>
                </a:extLst>
              </p:cNvPr>
              <p:cNvSpPr/>
              <p:nvPr/>
            </p:nvSpPr>
            <p:spPr>
              <a:xfrm>
                <a:off x="4809705"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8 w 58148"/>
                  <a:gd name="connsiteY8" fmla="*/ 139809 h 146193"/>
                  <a:gd name="connsiteX9" fmla="*/ 20448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8" y="143640"/>
                      <a:pt x="20448" y="139809"/>
                    </a:cubicBezTo>
                    <a:lnTo>
                      <a:pt x="20448"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3" y="72139"/>
                      <a:pt x="58148" y="69586"/>
                      <a:pt x="58148" y="65755"/>
                    </a:cubicBezTo>
                    <a:lnTo>
                      <a:pt x="58148" y="6384"/>
                    </a:lnTo>
                    <a:cubicBezTo>
                      <a:pt x="57509" y="3192"/>
                      <a:pt x="54953"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74" name="Graphic 4">
                <a:extLst>
                  <a:ext uri="{FF2B5EF4-FFF2-40B4-BE49-F238E27FC236}">
                    <a16:creationId xmlns:a16="http://schemas.microsoft.com/office/drawing/2014/main" id="{79FD87A1-144E-473B-BF2F-B9B679BFA4CE}"/>
                  </a:ext>
                </a:extLst>
              </p:cNvPr>
              <p:cNvSpPr/>
              <p:nvPr/>
            </p:nvSpPr>
            <p:spPr>
              <a:xfrm>
                <a:off x="4817373" y="2449058"/>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grpSp>
      <p:grpSp>
        <p:nvGrpSpPr>
          <p:cNvPr id="85" name="Group 84">
            <a:extLst>
              <a:ext uri="{FF2B5EF4-FFF2-40B4-BE49-F238E27FC236}">
                <a16:creationId xmlns:a16="http://schemas.microsoft.com/office/drawing/2014/main" id="{D78E0DE4-F351-FB90-0E04-C0F2F722FF34}"/>
              </a:ext>
            </a:extLst>
          </p:cNvPr>
          <p:cNvGrpSpPr/>
          <p:nvPr/>
        </p:nvGrpSpPr>
        <p:grpSpPr>
          <a:xfrm>
            <a:off x="9746138" y="1444583"/>
            <a:ext cx="528077" cy="528077"/>
            <a:chOff x="7533011" y="1428012"/>
            <a:chExt cx="528077" cy="528077"/>
          </a:xfrm>
        </p:grpSpPr>
        <p:grpSp>
          <p:nvGrpSpPr>
            <p:cNvPr id="86" name="Group 85">
              <a:extLst>
                <a:ext uri="{FF2B5EF4-FFF2-40B4-BE49-F238E27FC236}">
                  <a16:creationId xmlns:a16="http://schemas.microsoft.com/office/drawing/2014/main" id="{2C470BE6-52B6-DEB5-4A06-C0B7534CEFB1}"/>
                </a:ext>
              </a:extLst>
            </p:cNvPr>
            <p:cNvGrpSpPr/>
            <p:nvPr/>
          </p:nvGrpSpPr>
          <p:grpSpPr>
            <a:xfrm>
              <a:off x="7533011" y="1428012"/>
              <a:ext cx="528077" cy="528077"/>
              <a:chOff x="465740" y="2706207"/>
              <a:chExt cx="442310" cy="442310"/>
            </a:xfrm>
          </p:grpSpPr>
          <p:sp>
            <p:nvSpPr>
              <p:cNvPr id="95" name="Oval 94">
                <a:extLst>
                  <a:ext uri="{FF2B5EF4-FFF2-40B4-BE49-F238E27FC236}">
                    <a16:creationId xmlns:a16="http://schemas.microsoft.com/office/drawing/2014/main" id="{2C9B8092-9096-1D57-82E0-FB4AD0B6BB2A}"/>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96" name="Oval 95">
                <a:extLst>
                  <a:ext uri="{FF2B5EF4-FFF2-40B4-BE49-F238E27FC236}">
                    <a16:creationId xmlns:a16="http://schemas.microsoft.com/office/drawing/2014/main" id="{A66A8290-38CF-50F8-FC28-03C6469D98F3}"/>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grpSp>
          <p:nvGrpSpPr>
            <p:cNvPr id="87" name="Group 86">
              <a:extLst>
                <a:ext uri="{FF2B5EF4-FFF2-40B4-BE49-F238E27FC236}">
                  <a16:creationId xmlns:a16="http://schemas.microsoft.com/office/drawing/2014/main" id="{B6F65B6C-B21E-345C-14EB-58B69C265517}"/>
                </a:ext>
              </a:extLst>
            </p:cNvPr>
            <p:cNvGrpSpPr/>
            <p:nvPr/>
          </p:nvGrpSpPr>
          <p:grpSpPr>
            <a:xfrm>
              <a:off x="7626901" y="1518586"/>
              <a:ext cx="355463" cy="355132"/>
              <a:chOff x="6660243" y="1968080"/>
              <a:chExt cx="362309" cy="361971"/>
            </a:xfrm>
          </p:grpSpPr>
          <p:sp>
            <p:nvSpPr>
              <p:cNvPr id="88" name="Flowchart: Connector 87">
                <a:extLst>
                  <a:ext uri="{FF2B5EF4-FFF2-40B4-BE49-F238E27FC236}">
                    <a16:creationId xmlns:a16="http://schemas.microsoft.com/office/drawing/2014/main" id="{5A06A729-7E80-09EA-1B91-1B706A587574}"/>
                  </a:ext>
                </a:extLst>
              </p:cNvPr>
              <p:cNvSpPr/>
              <p:nvPr/>
            </p:nvSpPr>
            <p:spPr bwMode="gray">
              <a:xfrm>
                <a:off x="6677548" y="1975386"/>
                <a:ext cx="312102" cy="312102"/>
              </a:xfrm>
              <a:prstGeom prst="flowChartConnector">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9" name="Graphic 4">
                <a:extLst>
                  <a:ext uri="{FF2B5EF4-FFF2-40B4-BE49-F238E27FC236}">
                    <a16:creationId xmlns:a16="http://schemas.microsoft.com/office/drawing/2014/main" id="{E85E853D-B239-A3A9-994A-2F5A30EC52E7}"/>
                  </a:ext>
                </a:extLst>
              </p:cNvPr>
              <p:cNvGrpSpPr>
                <a:grpSpLocks noChangeAspect="1"/>
              </p:cNvGrpSpPr>
              <p:nvPr/>
            </p:nvGrpSpPr>
            <p:grpSpPr>
              <a:xfrm>
                <a:off x="6660243" y="1968080"/>
                <a:ext cx="362309" cy="361971"/>
                <a:chOff x="5099169" y="1885988"/>
                <a:chExt cx="362309" cy="361971"/>
              </a:xfrm>
              <a:solidFill>
                <a:srgbClr val="00B0F2"/>
              </a:solidFill>
            </p:grpSpPr>
            <p:sp>
              <p:nvSpPr>
                <p:cNvPr id="90" name="Graphic 4">
                  <a:extLst>
                    <a:ext uri="{FF2B5EF4-FFF2-40B4-BE49-F238E27FC236}">
                      <a16:creationId xmlns:a16="http://schemas.microsoft.com/office/drawing/2014/main" id="{E410FC48-ABE3-D01B-4D04-2BB7E9F844D0}"/>
                    </a:ext>
                  </a:extLst>
                </p:cNvPr>
                <p:cNvSpPr/>
                <p:nvPr/>
              </p:nvSpPr>
              <p:spPr>
                <a:xfrm>
                  <a:off x="5217383" y="1965152"/>
                  <a:ext cx="17891" cy="17875"/>
                </a:xfrm>
                <a:custGeom>
                  <a:avLst/>
                  <a:gdLst>
                    <a:gd name="connsiteX0" fmla="*/ 8946 w 17891"/>
                    <a:gd name="connsiteY0" fmla="*/ 17875 h 17875"/>
                    <a:gd name="connsiteX1" fmla="*/ 17892 w 17891"/>
                    <a:gd name="connsiteY1" fmla="*/ 8938 h 17875"/>
                    <a:gd name="connsiteX2" fmla="*/ 8946 w 17891"/>
                    <a:gd name="connsiteY2" fmla="*/ 0 h 17875"/>
                    <a:gd name="connsiteX3" fmla="*/ 0 w 17891"/>
                    <a:gd name="connsiteY3" fmla="*/ 8938 h 17875"/>
                    <a:gd name="connsiteX4" fmla="*/ 0 w 17891"/>
                    <a:gd name="connsiteY4" fmla="*/ 8938 h 17875"/>
                    <a:gd name="connsiteX5" fmla="*/ 8946 w 17891"/>
                    <a:gd name="connsiteY5" fmla="*/ 1787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8946" y="17875"/>
                      </a:moveTo>
                      <a:cubicBezTo>
                        <a:pt x="14058" y="17875"/>
                        <a:pt x="17892" y="14045"/>
                        <a:pt x="17892" y="8938"/>
                      </a:cubicBezTo>
                      <a:cubicBezTo>
                        <a:pt x="17892" y="3830"/>
                        <a:pt x="14058" y="0"/>
                        <a:pt x="8946" y="0"/>
                      </a:cubicBezTo>
                      <a:cubicBezTo>
                        <a:pt x="3834" y="0"/>
                        <a:pt x="0" y="3830"/>
                        <a:pt x="0" y="8938"/>
                      </a:cubicBezTo>
                      <a:lnTo>
                        <a:pt x="0" y="8938"/>
                      </a:lnTo>
                      <a:cubicBezTo>
                        <a:pt x="0" y="14045"/>
                        <a:pt x="3834" y="17875"/>
                        <a:pt x="8946" y="17875"/>
                      </a:cubicBezTo>
                      <a:close/>
                    </a:path>
                  </a:pathLst>
                </a:custGeom>
                <a:grpFill/>
                <a:ln w="6390" cap="flat">
                  <a:noFill/>
                  <a:prstDash val="solid"/>
                  <a:miter/>
                </a:ln>
              </p:spPr>
              <p:txBody>
                <a:bodyPr rtlCol="0" anchor="ctr"/>
                <a:lstStyle/>
                <a:p>
                  <a:endParaRPr lang="en-US" dirty="0"/>
                </a:p>
              </p:txBody>
            </p:sp>
            <p:sp>
              <p:nvSpPr>
                <p:cNvPr id="91" name="Graphic 4">
                  <a:extLst>
                    <a:ext uri="{FF2B5EF4-FFF2-40B4-BE49-F238E27FC236}">
                      <a16:creationId xmlns:a16="http://schemas.microsoft.com/office/drawing/2014/main" id="{0FEEFBF4-6A16-4C02-5FD6-637610654044}"/>
                    </a:ext>
                  </a:extLst>
                </p:cNvPr>
                <p:cNvSpPr/>
                <p:nvPr/>
              </p:nvSpPr>
              <p:spPr>
                <a:xfrm>
                  <a:off x="5325373" y="1965152"/>
                  <a:ext cx="17891" cy="17875"/>
                </a:xfrm>
                <a:custGeom>
                  <a:avLst/>
                  <a:gdLst>
                    <a:gd name="connsiteX0" fmla="*/ 8946 w 17891"/>
                    <a:gd name="connsiteY0" fmla="*/ 17875 h 17875"/>
                    <a:gd name="connsiteX1" fmla="*/ 17892 w 17891"/>
                    <a:gd name="connsiteY1" fmla="*/ 8938 h 17875"/>
                    <a:gd name="connsiteX2" fmla="*/ 8946 w 17891"/>
                    <a:gd name="connsiteY2" fmla="*/ 0 h 17875"/>
                    <a:gd name="connsiteX3" fmla="*/ 0 w 17891"/>
                    <a:gd name="connsiteY3" fmla="*/ 8938 h 17875"/>
                    <a:gd name="connsiteX4" fmla="*/ 0 w 17891"/>
                    <a:gd name="connsiteY4" fmla="*/ 8938 h 17875"/>
                    <a:gd name="connsiteX5" fmla="*/ 8946 w 17891"/>
                    <a:gd name="connsiteY5" fmla="*/ 1787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8946" y="17875"/>
                      </a:moveTo>
                      <a:cubicBezTo>
                        <a:pt x="14058" y="17875"/>
                        <a:pt x="17892" y="14045"/>
                        <a:pt x="17892" y="8938"/>
                      </a:cubicBezTo>
                      <a:cubicBezTo>
                        <a:pt x="17892" y="3830"/>
                        <a:pt x="14058" y="0"/>
                        <a:pt x="8946" y="0"/>
                      </a:cubicBezTo>
                      <a:cubicBezTo>
                        <a:pt x="3834" y="0"/>
                        <a:pt x="0" y="3830"/>
                        <a:pt x="0" y="8938"/>
                      </a:cubicBezTo>
                      <a:lnTo>
                        <a:pt x="0" y="8938"/>
                      </a:lnTo>
                      <a:cubicBezTo>
                        <a:pt x="0" y="14045"/>
                        <a:pt x="3834" y="17875"/>
                        <a:pt x="8946" y="17875"/>
                      </a:cubicBezTo>
                      <a:close/>
                    </a:path>
                  </a:pathLst>
                </a:custGeom>
                <a:grpFill/>
                <a:ln w="6390" cap="flat">
                  <a:noFill/>
                  <a:prstDash val="solid"/>
                  <a:miter/>
                </a:ln>
              </p:spPr>
              <p:txBody>
                <a:bodyPr rtlCol="0" anchor="ctr"/>
                <a:lstStyle/>
                <a:p>
                  <a:endParaRPr lang="en-US" dirty="0"/>
                </a:p>
              </p:txBody>
            </p:sp>
            <p:sp>
              <p:nvSpPr>
                <p:cNvPr id="92" name="Graphic 4">
                  <a:extLst>
                    <a:ext uri="{FF2B5EF4-FFF2-40B4-BE49-F238E27FC236}">
                      <a16:creationId xmlns:a16="http://schemas.microsoft.com/office/drawing/2014/main" id="{6894D9F8-4D3A-6525-BA26-B6DA098D323F}"/>
                    </a:ext>
                  </a:extLst>
                </p:cNvPr>
                <p:cNvSpPr/>
                <p:nvPr/>
              </p:nvSpPr>
              <p:spPr>
                <a:xfrm>
                  <a:off x="5099169" y="1885988"/>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27160 w 362309"/>
                    <a:gd name="connsiteY7" fmla="*/ 66394 h 361971"/>
                    <a:gd name="connsiteX8" fmla="*/ 148885 w 362309"/>
                    <a:gd name="connsiteY8" fmla="*/ 88099 h 361971"/>
                    <a:gd name="connsiteX9" fmla="*/ 127160 w 362309"/>
                    <a:gd name="connsiteY9" fmla="*/ 109805 h 361971"/>
                    <a:gd name="connsiteX10" fmla="*/ 105434 w 362309"/>
                    <a:gd name="connsiteY10" fmla="*/ 88099 h 361971"/>
                    <a:gd name="connsiteX11" fmla="*/ 105434 w 362309"/>
                    <a:gd name="connsiteY11" fmla="*/ 88099 h 361971"/>
                    <a:gd name="connsiteX12" fmla="*/ 127160 w 362309"/>
                    <a:gd name="connsiteY12" fmla="*/ 66394 h 361971"/>
                    <a:gd name="connsiteX13" fmla="*/ 164221 w 362309"/>
                    <a:gd name="connsiteY13" fmla="*/ 211310 h 361971"/>
                    <a:gd name="connsiteX14" fmla="*/ 157832 w 362309"/>
                    <a:gd name="connsiteY14" fmla="*/ 217694 h 361971"/>
                    <a:gd name="connsiteX15" fmla="*/ 148885 w 362309"/>
                    <a:gd name="connsiteY15" fmla="*/ 217694 h 361971"/>
                    <a:gd name="connsiteX16" fmla="*/ 148885 w 362309"/>
                    <a:gd name="connsiteY16" fmla="*/ 288556 h 361971"/>
                    <a:gd name="connsiteX17" fmla="*/ 142496 w 362309"/>
                    <a:gd name="connsiteY17" fmla="*/ 294940 h 361971"/>
                    <a:gd name="connsiteX18" fmla="*/ 136106 w 362309"/>
                    <a:gd name="connsiteY18" fmla="*/ 288556 h 361971"/>
                    <a:gd name="connsiteX19" fmla="*/ 136106 w 362309"/>
                    <a:gd name="connsiteY19" fmla="*/ 217694 h 361971"/>
                    <a:gd name="connsiteX20" fmla="*/ 118214 w 362309"/>
                    <a:gd name="connsiteY20" fmla="*/ 217694 h 361971"/>
                    <a:gd name="connsiteX21" fmla="*/ 118214 w 362309"/>
                    <a:gd name="connsiteY21" fmla="*/ 288556 h 361971"/>
                    <a:gd name="connsiteX22" fmla="*/ 111824 w 362309"/>
                    <a:gd name="connsiteY22" fmla="*/ 294940 h 361971"/>
                    <a:gd name="connsiteX23" fmla="*/ 105434 w 362309"/>
                    <a:gd name="connsiteY23" fmla="*/ 288556 h 361971"/>
                    <a:gd name="connsiteX24" fmla="*/ 105434 w 362309"/>
                    <a:gd name="connsiteY24" fmla="*/ 217694 h 361971"/>
                    <a:gd name="connsiteX25" fmla="*/ 96488 w 362309"/>
                    <a:gd name="connsiteY25" fmla="*/ 217694 h 361971"/>
                    <a:gd name="connsiteX26" fmla="*/ 90098 w 362309"/>
                    <a:gd name="connsiteY26" fmla="*/ 211310 h 361971"/>
                    <a:gd name="connsiteX27" fmla="*/ 90098 w 362309"/>
                    <a:gd name="connsiteY27" fmla="*/ 134064 h 361971"/>
                    <a:gd name="connsiteX28" fmla="*/ 96488 w 362309"/>
                    <a:gd name="connsiteY28" fmla="*/ 127680 h 361971"/>
                    <a:gd name="connsiteX29" fmla="*/ 158470 w 362309"/>
                    <a:gd name="connsiteY29" fmla="*/ 127680 h 361971"/>
                    <a:gd name="connsiteX30" fmla="*/ 164860 w 362309"/>
                    <a:gd name="connsiteY30" fmla="*/ 134064 h 361971"/>
                    <a:gd name="connsiteX31" fmla="*/ 164860 w 362309"/>
                    <a:gd name="connsiteY31" fmla="*/ 211310 h 361971"/>
                    <a:gd name="connsiteX32" fmla="*/ 235150 w 362309"/>
                    <a:gd name="connsiteY32" fmla="*/ 66394 h 361971"/>
                    <a:gd name="connsiteX33" fmla="*/ 256876 w 362309"/>
                    <a:gd name="connsiteY33" fmla="*/ 88099 h 361971"/>
                    <a:gd name="connsiteX34" fmla="*/ 235150 w 362309"/>
                    <a:gd name="connsiteY34" fmla="*/ 109805 h 361971"/>
                    <a:gd name="connsiteX35" fmla="*/ 213424 w 362309"/>
                    <a:gd name="connsiteY35" fmla="*/ 88099 h 361971"/>
                    <a:gd name="connsiteX36" fmla="*/ 213424 w 362309"/>
                    <a:gd name="connsiteY36" fmla="*/ 88099 h 361971"/>
                    <a:gd name="connsiteX37" fmla="*/ 235150 w 362309"/>
                    <a:gd name="connsiteY37" fmla="*/ 66394 h 361971"/>
                    <a:gd name="connsiteX38" fmla="*/ 270934 w 362309"/>
                    <a:gd name="connsiteY38" fmla="*/ 231100 h 361971"/>
                    <a:gd name="connsiteX39" fmla="*/ 265821 w 362309"/>
                    <a:gd name="connsiteY39" fmla="*/ 233654 h 361971"/>
                    <a:gd name="connsiteX40" fmla="*/ 256876 w 362309"/>
                    <a:gd name="connsiteY40" fmla="*/ 233654 h 361971"/>
                    <a:gd name="connsiteX41" fmla="*/ 256876 w 362309"/>
                    <a:gd name="connsiteY41" fmla="*/ 288556 h 361971"/>
                    <a:gd name="connsiteX42" fmla="*/ 250486 w 362309"/>
                    <a:gd name="connsiteY42" fmla="*/ 294940 h 361971"/>
                    <a:gd name="connsiteX43" fmla="*/ 244096 w 362309"/>
                    <a:gd name="connsiteY43" fmla="*/ 288556 h 361971"/>
                    <a:gd name="connsiteX44" fmla="*/ 244096 w 362309"/>
                    <a:gd name="connsiteY44" fmla="*/ 233015 h 361971"/>
                    <a:gd name="connsiteX45" fmla="*/ 226204 w 362309"/>
                    <a:gd name="connsiteY45" fmla="*/ 233015 h 361971"/>
                    <a:gd name="connsiteX46" fmla="*/ 226204 w 362309"/>
                    <a:gd name="connsiteY46" fmla="*/ 288556 h 361971"/>
                    <a:gd name="connsiteX47" fmla="*/ 219814 w 362309"/>
                    <a:gd name="connsiteY47" fmla="*/ 294940 h 361971"/>
                    <a:gd name="connsiteX48" fmla="*/ 213424 w 362309"/>
                    <a:gd name="connsiteY48" fmla="*/ 288556 h 361971"/>
                    <a:gd name="connsiteX49" fmla="*/ 213424 w 362309"/>
                    <a:gd name="connsiteY49" fmla="*/ 233015 h 361971"/>
                    <a:gd name="connsiteX50" fmla="*/ 204478 w 362309"/>
                    <a:gd name="connsiteY50" fmla="*/ 233015 h 361971"/>
                    <a:gd name="connsiteX51" fmla="*/ 199366 w 362309"/>
                    <a:gd name="connsiteY51" fmla="*/ 230462 h 361971"/>
                    <a:gd name="connsiteX52" fmla="*/ 198088 w 362309"/>
                    <a:gd name="connsiteY52" fmla="*/ 224716 h 361971"/>
                    <a:gd name="connsiteX53" fmla="*/ 221092 w 362309"/>
                    <a:gd name="connsiteY53" fmla="*/ 132149 h 361971"/>
                    <a:gd name="connsiteX54" fmla="*/ 227482 w 362309"/>
                    <a:gd name="connsiteY54" fmla="*/ 127041 h 361971"/>
                    <a:gd name="connsiteX55" fmla="*/ 242179 w 362309"/>
                    <a:gd name="connsiteY55" fmla="*/ 127041 h 361971"/>
                    <a:gd name="connsiteX56" fmla="*/ 248569 w 362309"/>
                    <a:gd name="connsiteY56" fmla="*/ 132149 h 361971"/>
                    <a:gd name="connsiteX57" fmla="*/ 271572 w 362309"/>
                    <a:gd name="connsiteY57" fmla="*/ 224716 h 361971"/>
                    <a:gd name="connsiteX58" fmla="*/ 270934 w 362309"/>
                    <a:gd name="connsiteY58" fmla="*/ 23110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127160" y="66394"/>
                      </a:moveTo>
                      <a:cubicBezTo>
                        <a:pt x="139301" y="66394"/>
                        <a:pt x="148885" y="75970"/>
                        <a:pt x="148885" y="88099"/>
                      </a:cubicBezTo>
                      <a:cubicBezTo>
                        <a:pt x="148885" y="100229"/>
                        <a:pt x="139301" y="109805"/>
                        <a:pt x="127160" y="109805"/>
                      </a:cubicBezTo>
                      <a:cubicBezTo>
                        <a:pt x="115019" y="109805"/>
                        <a:pt x="105434" y="100229"/>
                        <a:pt x="105434" y="88099"/>
                      </a:cubicBezTo>
                      <a:lnTo>
                        <a:pt x="105434" y="88099"/>
                      </a:lnTo>
                      <a:cubicBezTo>
                        <a:pt x="105434" y="75970"/>
                        <a:pt x="115019" y="66394"/>
                        <a:pt x="127160" y="66394"/>
                      </a:cubicBezTo>
                      <a:close/>
                      <a:moveTo>
                        <a:pt x="164221" y="211310"/>
                      </a:moveTo>
                      <a:cubicBezTo>
                        <a:pt x="164221" y="215140"/>
                        <a:pt x="161665" y="217694"/>
                        <a:pt x="157832" y="217694"/>
                      </a:cubicBezTo>
                      <a:lnTo>
                        <a:pt x="148885" y="217694"/>
                      </a:lnTo>
                      <a:lnTo>
                        <a:pt x="148885" y="288556"/>
                      </a:lnTo>
                      <a:cubicBezTo>
                        <a:pt x="148885" y="292387"/>
                        <a:pt x="146330" y="294940"/>
                        <a:pt x="142496" y="294940"/>
                      </a:cubicBezTo>
                      <a:cubicBezTo>
                        <a:pt x="138662" y="294940"/>
                        <a:pt x="136106" y="292387"/>
                        <a:pt x="136106" y="288556"/>
                      </a:cubicBezTo>
                      <a:lnTo>
                        <a:pt x="136106" y="217694"/>
                      </a:lnTo>
                      <a:lnTo>
                        <a:pt x="118214" y="217694"/>
                      </a:lnTo>
                      <a:lnTo>
                        <a:pt x="118214" y="288556"/>
                      </a:lnTo>
                      <a:cubicBezTo>
                        <a:pt x="118214" y="292387"/>
                        <a:pt x="115658" y="294940"/>
                        <a:pt x="111824" y="294940"/>
                      </a:cubicBezTo>
                      <a:cubicBezTo>
                        <a:pt x="107990" y="294940"/>
                        <a:pt x="105434" y="292387"/>
                        <a:pt x="105434" y="288556"/>
                      </a:cubicBezTo>
                      <a:lnTo>
                        <a:pt x="105434" y="217694"/>
                      </a:lnTo>
                      <a:lnTo>
                        <a:pt x="96488" y="217694"/>
                      </a:lnTo>
                      <a:cubicBezTo>
                        <a:pt x="92654" y="217694"/>
                        <a:pt x="90098" y="215140"/>
                        <a:pt x="90098" y="211310"/>
                      </a:cubicBezTo>
                      <a:lnTo>
                        <a:pt x="90098" y="134064"/>
                      </a:lnTo>
                      <a:cubicBezTo>
                        <a:pt x="90098" y="130233"/>
                        <a:pt x="92654" y="127680"/>
                        <a:pt x="96488" y="127680"/>
                      </a:cubicBezTo>
                      <a:lnTo>
                        <a:pt x="158470" y="127680"/>
                      </a:lnTo>
                      <a:cubicBezTo>
                        <a:pt x="162305" y="127680"/>
                        <a:pt x="164860" y="130233"/>
                        <a:pt x="164860" y="134064"/>
                      </a:cubicBezTo>
                      <a:lnTo>
                        <a:pt x="164860" y="211310"/>
                      </a:lnTo>
                      <a:close/>
                      <a:moveTo>
                        <a:pt x="235150" y="66394"/>
                      </a:moveTo>
                      <a:cubicBezTo>
                        <a:pt x="247291" y="66394"/>
                        <a:pt x="256876" y="75970"/>
                        <a:pt x="256876" y="88099"/>
                      </a:cubicBezTo>
                      <a:cubicBezTo>
                        <a:pt x="256876" y="100229"/>
                        <a:pt x="247291" y="109805"/>
                        <a:pt x="235150" y="109805"/>
                      </a:cubicBezTo>
                      <a:cubicBezTo>
                        <a:pt x="223009" y="109805"/>
                        <a:pt x="213424" y="100229"/>
                        <a:pt x="213424" y="88099"/>
                      </a:cubicBezTo>
                      <a:lnTo>
                        <a:pt x="213424" y="88099"/>
                      </a:lnTo>
                      <a:cubicBezTo>
                        <a:pt x="213424" y="75970"/>
                        <a:pt x="223009" y="66394"/>
                        <a:pt x="235150" y="66394"/>
                      </a:cubicBezTo>
                      <a:close/>
                      <a:moveTo>
                        <a:pt x="270934" y="231100"/>
                      </a:moveTo>
                      <a:cubicBezTo>
                        <a:pt x="269655" y="232377"/>
                        <a:pt x="267739" y="233654"/>
                        <a:pt x="265821" y="233654"/>
                      </a:cubicBezTo>
                      <a:lnTo>
                        <a:pt x="256876" y="233654"/>
                      </a:lnTo>
                      <a:lnTo>
                        <a:pt x="256876" y="288556"/>
                      </a:lnTo>
                      <a:cubicBezTo>
                        <a:pt x="256876" y="292387"/>
                        <a:pt x="254319" y="294940"/>
                        <a:pt x="250486" y="294940"/>
                      </a:cubicBezTo>
                      <a:cubicBezTo>
                        <a:pt x="246651" y="294940"/>
                        <a:pt x="244096" y="292387"/>
                        <a:pt x="244096" y="288556"/>
                      </a:cubicBezTo>
                      <a:lnTo>
                        <a:pt x="244096" y="233015"/>
                      </a:lnTo>
                      <a:lnTo>
                        <a:pt x="226204" y="233015"/>
                      </a:lnTo>
                      <a:lnTo>
                        <a:pt x="226204" y="288556"/>
                      </a:lnTo>
                      <a:cubicBezTo>
                        <a:pt x="226204" y="292387"/>
                        <a:pt x="223648" y="294940"/>
                        <a:pt x="219814" y="294940"/>
                      </a:cubicBezTo>
                      <a:cubicBezTo>
                        <a:pt x="215980" y="294940"/>
                        <a:pt x="213424" y="292387"/>
                        <a:pt x="213424" y="288556"/>
                      </a:cubicBezTo>
                      <a:lnTo>
                        <a:pt x="213424" y="233015"/>
                      </a:lnTo>
                      <a:lnTo>
                        <a:pt x="204478" y="233015"/>
                      </a:lnTo>
                      <a:cubicBezTo>
                        <a:pt x="202561" y="233015"/>
                        <a:pt x="200644" y="232377"/>
                        <a:pt x="199366" y="230462"/>
                      </a:cubicBezTo>
                      <a:cubicBezTo>
                        <a:pt x="198088" y="229185"/>
                        <a:pt x="197449" y="226631"/>
                        <a:pt x="198088" y="224716"/>
                      </a:cubicBezTo>
                      <a:lnTo>
                        <a:pt x="221092" y="132149"/>
                      </a:lnTo>
                      <a:cubicBezTo>
                        <a:pt x="221731" y="128957"/>
                        <a:pt x="224287" y="127041"/>
                        <a:pt x="227482" y="127041"/>
                      </a:cubicBezTo>
                      <a:lnTo>
                        <a:pt x="242179" y="127041"/>
                      </a:lnTo>
                      <a:cubicBezTo>
                        <a:pt x="245374" y="127041"/>
                        <a:pt x="247929" y="128957"/>
                        <a:pt x="248569" y="132149"/>
                      </a:cubicBezTo>
                      <a:lnTo>
                        <a:pt x="271572" y="224716"/>
                      </a:lnTo>
                      <a:cubicBezTo>
                        <a:pt x="272850" y="227270"/>
                        <a:pt x="272211" y="229185"/>
                        <a:pt x="270934" y="231100"/>
                      </a:cubicBezTo>
                      <a:close/>
                    </a:path>
                  </a:pathLst>
                </a:custGeom>
                <a:grpFill/>
                <a:ln w="6390" cap="flat">
                  <a:noFill/>
                  <a:prstDash val="solid"/>
                  <a:miter/>
                </a:ln>
              </p:spPr>
              <p:txBody>
                <a:bodyPr rtlCol="0" anchor="ctr"/>
                <a:lstStyle/>
                <a:p>
                  <a:endParaRPr lang="en-US" dirty="0"/>
                </a:p>
              </p:txBody>
            </p:sp>
            <p:sp>
              <p:nvSpPr>
                <p:cNvPr id="93" name="Graphic 4">
                  <a:extLst>
                    <a:ext uri="{FF2B5EF4-FFF2-40B4-BE49-F238E27FC236}">
                      <a16:creationId xmlns:a16="http://schemas.microsoft.com/office/drawing/2014/main" id="{4AE88FC0-5108-5A90-0812-935F31BE5EE8}"/>
                    </a:ext>
                  </a:extLst>
                </p:cNvPr>
                <p:cNvSpPr/>
                <p:nvPr/>
              </p:nvSpPr>
              <p:spPr>
                <a:xfrm>
                  <a:off x="5311954" y="2027076"/>
                  <a:ext cx="45368" cy="79161"/>
                </a:xfrm>
                <a:custGeom>
                  <a:avLst/>
                  <a:gdLst>
                    <a:gd name="connsiteX0" fmla="*/ 19809 w 45368"/>
                    <a:gd name="connsiteY0" fmla="*/ 0 h 79161"/>
                    <a:gd name="connsiteX1" fmla="*/ 0 w 45368"/>
                    <a:gd name="connsiteY1" fmla="*/ 79161 h 79161"/>
                    <a:gd name="connsiteX2" fmla="*/ 45369 w 45368"/>
                    <a:gd name="connsiteY2" fmla="*/ 79161 h 79161"/>
                    <a:gd name="connsiteX3" fmla="*/ 24921 w 45368"/>
                    <a:gd name="connsiteY3" fmla="*/ 0 h 79161"/>
                  </a:gdLst>
                  <a:ahLst/>
                  <a:cxnLst>
                    <a:cxn ang="0">
                      <a:pos x="connsiteX0" y="connsiteY0"/>
                    </a:cxn>
                    <a:cxn ang="0">
                      <a:pos x="connsiteX1" y="connsiteY1"/>
                    </a:cxn>
                    <a:cxn ang="0">
                      <a:pos x="connsiteX2" y="connsiteY2"/>
                    </a:cxn>
                    <a:cxn ang="0">
                      <a:pos x="connsiteX3" y="connsiteY3"/>
                    </a:cxn>
                  </a:cxnLst>
                  <a:rect l="l" t="t" r="r" b="b"/>
                  <a:pathLst>
                    <a:path w="45368" h="79161">
                      <a:moveTo>
                        <a:pt x="19809" y="0"/>
                      </a:moveTo>
                      <a:lnTo>
                        <a:pt x="0" y="79161"/>
                      </a:lnTo>
                      <a:lnTo>
                        <a:pt x="45369" y="79161"/>
                      </a:lnTo>
                      <a:lnTo>
                        <a:pt x="24921" y="0"/>
                      </a:lnTo>
                      <a:close/>
                    </a:path>
                  </a:pathLst>
                </a:custGeom>
                <a:grpFill/>
                <a:ln w="6390" cap="flat">
                  <a:noFill/>
                  <a:prstDash val="solid"/>
                  <a:miter/>
                </a:ln>
              </p:spPr>
              <p:txBody>
                <a:bodyPr rtlCol="0" anchor="ctr"/>
                <a:lstStyle/>
                <a:p>
                  <a:endParaRPr lang="en-US" dirty="0"/>
                </a:p>
              </p:txBody>
            </p:sp>
            <p:sp>
              <p:nvSpPr>
                <p:cNvPr id="94" name="Graphic 4">
                  <a:extLst>
                    <a:ext uri="{FF2B5EF4-FFF2-40B4-BE49-F238E27FC236}">
                      <a16:creationId xmlns:a16="http://schemas.microsoft.com/office/drawing/2014/main" id="{28C19224-D6BD-CA53-47DB-452F6E9F69E5}"/>
                    </a:ext>
                  </a:extLst>
                </p:cNvPr>
                <p:cNvSpPr/>
                <p:nvPr/>
              </p:nvSpPr>
              <p:spPr>
                <a:xfrm>
                  <a:off x="5202047" y="2027076"/>
                  <a:ext cx="49202" cy="64478"/>
                </a:xfrm>
                <a:custGeom>
                  <a:avLst/>
                  <a:gdLst>
                    <a:gd name="connsiteX0" fmla="*/ 0 w 49202"/>
                    <a:gd name="connsiteY0" fmla="*/ 0 h 64478"/>
                    <a:gd name="connsiteX1" fmla="*/ 49202 w 49202"/>
                    <a:gd name="connsiteY1" fmla="*/ 0 h 64478"/>
                    <a:gd name="connsiteX2" fmla="*/ 49202 w 49202"/>
                    <a:gd name="connsiteY2" fmla="*/ 64478 h 64478"/>
                    <a:gd name="connsiteX3" fmla="*/ 0 w 49202"/>
                    <a:gd name="connsiteY3" fmla="*/ 64478 h 64478"/>
                  </a:gdLst>
                  <a:ahLst/>
                  <a:cxnLst>
                    <a:cxn ang="0">
                      <a:pos x="connsiteX0" y="connsiteY0"/>
                    </a:cxn>
                    <a:cxn ang="0">
                      <a:pos x="connsiteX1" y="connsiteY1"/>
                    </a:cxn>
                    <a:cxn ang="0">
                      <a:pos x="connsiteX2" y="connsiteY2"/>
                    </a:cxn>
                    <a:cxn ang="0">
                      <a:pos x="connsiteX3" y="connsiteY3"/>
                    </a:cxn>
                  </a:cxnLst>
                  <a:rect l="l" t="t" r="r" b="b"/>
                  <a:pathLst>
                    <a:path w="49202" h="64478">
                      <a:moveTo>
                        <a:pt x="0" y="0"/>
                      </a:moveTo>
                      <a:lnTo>
                        <a:pt x="49202" y="0"/>
                      </a:lnTo>
                      <a:lnTo>
                        <a:pt x="49202" y="64478"/>
                      </a:lnTo>
                      <a:lnTo>
                        <a:pt x="0" y="64478"/>
                      </a:lnTo>
                      <a:close/>
                    </a:path>
                  </a:pathLst>
                </a:custGeom>
                <a:grpFill/>
                <a:ln w="6390" cap="flat">
                  <a:noFill/>
                  <a:prstDash val="solid"/>
                  <a:miter/>
                </a:ln>
              </p:spPr>
              <p:txBody>
                <a:bodyPr rtlCol="0" anchor="ctr"/>
                <a:lstStyle/>
                <a:p>
                  <a:endParaRPr lang="en-US" dirty="0"/>
                </a:p>
              </p:txBody>
            </p:sp>
          </p:grpSp>
        </p:grpSp>
      </p:grpSp>
      <p:sp>
        <p:nvSpPr>
          <p:cNvPr id="98" name="object 9">
            <a:extLst>
              <a:ext uri="{FF2B5EF4-FFF2-40B4-BE49-F238E27FC236}">
                <a16:creationId xmlns:a16="http://schemas.microsoft.com/office/drawing/2014/main" id="{45BA3376-1780-7948-5027-41E6D6B4BC14}"/>
              </a:ext>
            </a:extLst>
          </p:cNvPr>
          <p:cNvSpPr txBox="1"/>
          <p:nvPr/>
        </p:nvSpPr>
        <p:spPr>
          <a:xfrm>
            <a:off x="2989382" y="1510621"/>
            <a:ext cx="876155" cy="396000"/>
          </a:xfrm>
          <a:prstGeom prst="rect">
            <a:avLst/>
          </a:prstGeom>
        </p:spPr>
        <p:txBody>
          <a:bodyPr vert="horz" wrap="square" lIns="0" tIns="0" rIns="0" bIns="0" rtlCol="0" anchor="ctr">
            <a:noAutofit/>
          </a:bodyPr>
          <a:lstStyle/>
          <a:p>
            <a:pPr marL="11516" marR="0" lvl="0" indent="0" algn="l" defTabSz="914400" eaLnBrk="1" fontAlgn="auto" latinLnBrk="0" hangingPunct="1">
              <a:lnSpc>
                <a:spcPct val="100000"/>
              </a:lnSpc>
              <a:spcBef>
                <a:spcPts val="91"/>
              </a:spcBef>
              <a:spcAft>
                <a:spcPts val="0"/>
              </a:spcAft>
              <a:buClrTx/>
              <a:buSzTx/>
              <a:buFontTx/>
              <a:buNone/>
              <a:tabLst/>
              <a:defRPr/>
            </a:pPr>
            <a:r>
              <a:rPr lang="en-US" sz="1050" dirty="0">
                <a:solidFill>
                  <a:srgbClr val="000000"/>
                </a:solidFill>
                <a:latin typeface="Open Sans" panose="020B0606030504020204" pitchFamily="34" charset="0"/>
                <a:ea typeface="Open Sans" panose="020B0606030504020204" pitchFamily="34" charset="0"/>
                <a:cs typeface="Open Sans" panose="020B0606030504020204" pitchFamily="34" charset="0"/>
              </a:rPr>
              <a:t>Service-lines</a:t>
            </a:r>
            <a:endParaRPr kumimoji="0" lang="en-US" sz="1050" b="0"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object 8">
            <a:extLst>
              <a:ext uri="{FF2B5EF4-FFF2-40B4-BE49-F238E27FC236}">
                <a16:creationId xmlns:a16="http://schemas.microsoft.com/office/drawing/2014/main" id="{3C9690D9-268A-F020-FBD7-C468F2147CB6}"/>
              </a:ext>
            </a:extLst>
          </p:cNvPr>
          <p:cNvSpPr txBox="1"/>
          <p:nvPr/>
        </p:nvSpPr>
        <p:spPr>
          <a:xfrm>
            <a:off x="2187153" y="1491802"/>
            <a:ext cx="985586"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lang="en-US" sz="3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10</a:t>
            </a:r>
            <a:endPar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object 14">
            <a:extLst>
              <a:ext uri="{FF2B5EF4-FFF2-40B4-BE49-F238E27FC236}">
                <a16:creationId xmlns:a16="http://schemas.microsoft.com/office/drawing/2014/main" id="{C67A9E5A-318C-3A57-A005-89B8D53D13A4}"/>
              </a:ext>
            </a:extLst>
          </p:cNvPr>
          <p:cNvSpPr txBox="1"/>
          <p:nvPr/>
        </p:nvSpPr>
        <p:spPr>
          <a:xfrm>
            <a:off x="5244593" y="2696880"/>
            <a:ext cx="5808030" cy="3178979"/>
          </a:xfrm>
          <a:prstGeom prst="rect">
            <a:avLst/>
          </a:prstGeom>
          <a:ln w="28575">
            <a:solidFill>
              <a:srgbClr val="00B0F2"/>
            </a:solidFill>
          </a:ln>
        </p:spPr>
        <p:txBody>
          <a:bodyPr vert="horz" wrap="square" lIns="182880" tIns="182880" rIns="182880" bIns="182880" rtlCol="0" anchor="ctr">
            <a:noAutofit/>
          </a:bodyPr>
          <a:lstStyle/>
          <a:p>
            <a:pPr marL="0" marR="0" lvl="0" indent="0" algn="l" defTabSz="914400" eaLnBrk="1" fontAlgn="auto" latinLnBrk="0" hangingPunct="1">
              <a:lnSpc>
                <a:spcPct val="130000"/>
              </a:lnSpc>
              <a:spcBef>
                <a:spcPts val="1200"/>
              </a:spcBef>
              <a:spcAft>
                <a:spcPts val="0"/>
              </a:spcAft>
              <a:buClr>
                <a:srgbClr val="787878"/>
              </a:buClr>
              <a:buSzTx/>
              <a:buFontTx/>
              <a:buNone/>
              <a:tabLst/>
              <a:defRPr/>
            </a:pPr>
            <a:r>
              <a:rPr kumimoji="0" lang="en-US" sz="1200" b="0" i="0" u="none" strike="noStrike" kern="1200" cap="none" spc="0" normalizeH="0" baseline="0" dirty="0">
                <a:ln>
                  <a:noFill/>
                </a:ln>
                <a:solidFill>
                  <a:srgbClr val="000000"/>
                </a:solidFill>
                <a:effectLst/>
                <a:uLnTx/>
                <a:uFillTx/>
                <a:latin typeface="Open Sans" charset="0"/>
              </a:rPr>
              <a:t>We are a group of </a:t>
            </a:r>
            <a:r>
              <a:rPr kumimoji="0" lang="en-US" sz="1200" b="1" i="0" u="none" strike="noStrike" kern="1200" cap="none" spc="0" normalizeH="0" baseline="0" dirty="0">
                <a:ln>
                  <a:noFill/>
                </a:ln>
                <a:solidFill>
                  <a:srgbClr val="000000"/>
                </a:solidFill>
                <a:effectLst/>
                <a:uLnTx/>
                <a:uFillTx/>
                <a:latin typeface="Open Sans" charset="0"/>
              </a:rPr>
              <a:t>250+ consulting experts </a:t>
            </a:r>
            <a:r>
              <a:rPr kumimoji="0" lang="en-US" sz="1200" b="0" i="0" u="none" strike="noStrike" kern="1200" cap="none" spc="0" normalizeH="0" baseline="0" dirty="0">
                <a:ln>
                  <a:noFill/>
                </a:ln>
                <a:solidFill>
                  <a:srgbClr val="000000"/>
                </a:solidFill>
                <a:effectLst/>
                <a:uLnTx/>
                <a:uFillTx/>
                <a:latin typeface="Open Sans" charset="0"/>
              </a:rPr>
              <a:t>who help clients identify</a:t>
            </a:r>
            <a:r>
              <a:rPr kumimoji="0" lang="hu-HU" sz="1200" b="0" i="0" u="none" strike="noStrike" kern="1200" cap="none" spc="0" normalizeH="0" baseline="0" dirty="0">
                <a:ln>
                  <a:noFill/>
                </a:ln>
                <a:solidFill>
                  <a:srgbClr val="000000"/>
                </a:solidFill>
                <a:effectLst/>
                <a:uLnTx/>
                <a:uFillTx/>
                <a:latin typeface="Open Sans" charset="0"/>
              </a:rPr>
              <a:t> </a:t>
            </a:r>
            <a:r>
              <a:rPr kumimoji="0" lang="en-US" sz="1200" b="0" i="0" u="none" strike="noStrike" kern="1200" cap="none" spc="0" normalizeH="0" baseline="0" dirty="0">
                <a:ln>
                  <a:noFill/>
                </a:ln>
                <a:solidFill>
                  <a:srgbClr val="000000"/>
                </a:solidFill>
                <a:effectLst/>
                <a:uLnTx/>
                <a:uFillTx/>
                <a:latin typeface="Open Sans" charset="0"/>
              </a:rPr>
              <a:t>and solve their most critical challenges: our network</a:t>
            </a:r>
            <a:r>
              <a:rPr lang="en-US" sz="1200" dirty="0">
                <a:solidFill>
                  <a:srgbClr val="000000"/>
                </a:solidFill>
                <a:latin typeface="Open Sans" charset="0"/>
              </a:rPr>
              <a:t> </a:t>
            </a:r>
            <a:r>
              <a:rPr kumimoji="0" lang="en-US" sz="1200" b="0" i="0" u="none" strike="noStrike" kern="1200" cap="none" spc="0" normalizeH="0" baseline="0" dirty="0">
                <a:ln>
                  <a:noFill/>
                </a:ln>
                <a:solidFill>
                  <a:srgbClr val="000000"/>
                </a:solidFill>
                <a:effectLst/>
                <a:uLnTx/>
                <a:uFillTx/>
                <a:latin typeface="Open Sans" charset="0"/>
              </a:rPr>
              <a:t>of practitioners create unmatched market offerings to solve our clients’ technology and business problems, accompanying your </a:t>
            </a:r>
            <a:r>
              <a:rPr kumimoji="0" lang="en-US" sz="1200" i="0" u="none" strike="noStrike" kern="1200" cap="none" spc="0" normalizeH="0" baseline="0" dirty="0">
                <a:ln>
                  <a:noFill/>
                </a:ln>
                <a:solidFill>
                  <a:srgbClr val="000000"/>
                </a:solidFill>
                <a:effectLst/>
                <a:uLnTx/>
                <a:uFillTx/>
                <a:latin typeface="Open Sans" charset="0"/>
              </a:rPr>
              <a:t>transformation journey </a:t>
            </a:r>
            <a:r>
              <a:rPr kumimoji="0" lang="en-US" sz="1200" b="1" i="0" u="none" strike="noStrike" kern="1200" cap="none" spc="0" normalizeH="0" baseline="0" dirty="0">
                <a:ln>
                  <a:noFill/>
                </a:ln>
                <a:solidFill>
                  <a:srgbClr val="000000"/>
                </a:solidFill>
                <a:effectLst/>
                <a:uLnTx/>
                <a:uFillTx/>
                <a:latin typeface="Open Sans" charset="0"/>
              </a:rPr>
              <a:t>from</a:t>
            </a:r>
            <a:r>
              <a:rPr kumimoji="0" lang="en-US" sz="1200" b="0" i="0" u="none" strike="noStrike" kern="1200" cap="none" spc="0" normalizeH="0" baseline="0" dirty="0">
                <a:ln>
                  <a:noFill/>
                </a:ln>
                <a:solidFill>
                  <a:srgbClr val="000000"/>
                </a:solidFill>
                <a:effectLst/>
                <a:uLnTx/>
                <a:uFillTx/>
                <a:latin typeface="Open Sans" charset="0"/>
              </a:rPr>
              <a:t> </a:t>
            </a:r>
            <a:r>
              <a:rPr kumimoji="0" lang="en-US" sz="1200" b="1" i="0" u="none" strike="noStrike" kern="1200" cap="none" spc="0" normalizeH="0" baseline="0" dirty="0">
                <a:ln>
                  <a:noFill/>
                </a:ln>
                <a:solidFill>
                  <a:srgbClr val="000000"/>
                </a:solidFill>
                <a:effectLst/>
                <a:uLnTx/>
                <a:uFillTx/>
                <a:latin typeface="Open Sans" charset="0"/>
              </a:rPr>
              <a:t>strategy</a:t>
            </a:r>
            <a:r>
              <a:rPr kumimoji="0" lang="en-US" sz="1200" b="0" i="0" u="none" strike="noStrike" kern="1200" cap="none" spc="0" normalizeH="0" baseline="0" dirty="0">
                <a:ln>
                  <a:noFill/>
                </a:ln>
                <a:solidFill>
                  <a:srgbClr val="000000"/>
                </a:solidFill>
                <a:effectLst/>
                <a:uLnTx/>
                <a:uFillTx/>
                <a:latin typeface="Open Sans" charset="0"/>
              </a:rPr>
              <a:t> </a:t>
            </a:r>
            <a:r>
              <a:rPr kumimoji="0" lang="en-US" sz="1200" b="1" u="none" strike="noStrike" kern="1200" cap="none" spc="0" normalizeH="0" baseline="0" dirty="0">
                <a:ln>
                  <a:noFill/>
                </a:ln>
                <a:solidFill>
                  <a:srgbClr val="000000"/>
                </a:solidFill>
                <a:effectLst/>
                <a:uLnTx/>
                <a:uFillTx/>
                <a:latin typeface="Open Sans" charset="0"/>
              </a:rPr>
              <a:t>to </a:t>
            </a:r>
            <a:r>
              <a:rPr kumimoji="0" lang="en-US" sz="1200" b="1" i="0" u="none" strike="noStrike" kern="1200" cap="none" spc="0" normalizeH="0" baseline="0" dirty="0">
                <a:ln>
                  <a:noFill/>
                </a:ln>
                <a:solidFill>
                  <a:srgbClr val="000000"/>
                </a:solidFill>
                <a:effectLst/>
                <a:uLnTx/>
                <a:uFillTx/>
                <a:latin typeface="Open Sans" charset="0"/>
              </a:rPr>
              <a:t>implementation</a:t>
            </a:r>
            <a:r>
              <a:rPr kumimoji="0" lang="en-US" sz="1200" b="0" i="0" u="none" strike="noStrike" kern="1200" cap="none" spc="0" normalizeH="0" baseline="0" dirty="0">
                <a:ln>
                  <a:noFill/>
                </a:ln>
                <a:solidFill>
                  <a:srgbClr val="000000"/>
                </a:solidFill>
                <a:effectLst/>
                <a:uLnTx/>
                <a:uFillTx/>
                <a:latin typeface="Open Sans" charset="0"/>
              </a:rPr>
              <a:t>. </a:t>
            </a:r>
          </a:p>
          <a:p>
            <a:pPr marL="0" marR="0" lvl="0" indent="0" algn="l" defTabSz="914400" eaLnBrk="1" fontAlgn="auto" latinLnBrk="0" hangingPunct="1">
              <a:lnSpc>
                <a:spcPct val="130000"/>
              </a:lnSpc>
              <a:spcBef>
                <a:spcPts val="1200"/>
              </a:spcBef>
              <a:spcAft>
                <a:spcPts val="0"/>
              </a:spcAft>
              <a:buClr>
                <a:srgbClr val="787878"/>
              </a:buClr>
              <a:buSzTx/>
              <a:buFontTx/>
              <a:buNone/>
              <a:tabLst/>
              <a:defRPr/>
            </a:pPr>
            <a:r>
              <a:rPr kumimoji="0" lang="en-US" sz="1200" b="0" i="0" u="none" strike="noStrike" kern="1200" cap="none" spc="0" normalizeH="0" baseline="0" dirty="0">
                <a:ln>
                  <a:noFill/>
                </a:ln>
                <a:solidFill>
                  <a:srgbClr val="000000"/>
                </a:solidFill>
                <a:effectLst/>
                <a:uLnTx/>
                <a:uFillTx/>
                <a:latin typeface="Open Sans" charset="0"/>
              </a:rPr>
              <a:t>We serve our clients both </a:t>
            </a:r>
            <a:r>
              <a:rPr kumimoji="0" lang="en-US" sz="1200" b="1" i="0" u="none" strike="noStrike" kern="1200" cap="none" spc="0" normalizeH="0" baseline="0" dirty="0">
                <a:ln>
                  <a:noFill/>
                </a:ln>
                <a:solidFill>
                  <a:srgbClr val="000000"/>
                </a:solidFill>
                <a:effectLst/>
                <a:uLnTx/>
                <a:uFillTx/>
                <a:latin typeface="Open Sans" charset="0"/>
              </a:rPr>
              <a:t>locally</a:t>
            </a:r>
            <a:r>
              <a:rPr kumimoji="0" lang="en-US" sz="1200" b="0" i="0" u="none" strike="noStrike" kern="1200" cap="none" spc="0" normalizeH="0" baseline="0" dirty="0">
                <a:ln>
                  <a:noFill/>
                </a:ln>
                <a:solidFill>
                  <a:srgbClr val="000000"/>
                </a:solidFill>
                <a:effectLst/>
                <a:uLnTx/>
                <a:uFillTx/>
                <a:latin typeface="Open Sans" charset="0"/>
              </a:rPr>
              <a:t> and </a:t>
            </a:r>
            <a:r>
              <a:rPr kumimoji="0" lang="en-US" sz="1200" b="1" i="0" u="none" strike="noStrike" kern="1200" cap="none" spc="0" normalizeH="0" baseline="0" dirty="0">
                <a:ln>
                  <a:noFill/>
                </a:ln>
                <a:solidFill>
                  <a:srgbClr val="000000"/>
                </a:solidFill>
                <a:effectLst/>
                <a:uLnTx/>
                <a:uFillTx/>
                <a:latin typeface="Open Sans" charset="0"/>
              </a:rPr>
              <a:t>internationally</a:t>
            </a:r>
            <a:r>
              <a:rPr kumimoji="0" lang="en-US" sz="1200" b="0" i="0" u="none" strike="noStrike" kern="1200" cap="none" spc="0" normalizeH="0" baseline="0" dirty="0">
                <a:ln>
                  <a:noFill/>
                </a:ln>
                <a:solidFill>
                  <a:srgbClr val="000000"/>
                </a:solidFill>
                <a:effectLst/>
                <a:uLnTx/>
                <a:uFillTx/>
                <a:latin typeface="Open Sans" charset="0"/>
              </a:rPr>
              <a:t>, in the first-place building on our </a:t>
            </a:r>
            <a:r>
              <a:rPr kumimoji="0" lang="en-US" sz="1200" b="1" i="0" u="none" strike="noStrike" kern="1200" cap="none" spc="0" normalizeH="0" baseline="0" dirty="0">
                <a:ln>
                  <a:noFill/>
                </a:ln>
                <a:solidFill>
                  <a:srgbClr val="000000"/>
                </a:solidFill>
                <a:effectLst/>
                <a:uLnTx/>
                <a:uFillTx/>
                <a:latin typeface="Open Sans" charset="0"/>
              </a:rPr>
              <a:t>strong local knowledge base</a:t>
            </a:r>
            <a:r>
              <a:rPr lang="en-US" sz="1200" dirty="0">
                <a:solidFill>
                  <a:srgbClr val="000000"/>
                </a:solidFill>
                <a:latin typeface="Open Sans" charset="0"/>
              </a:rPr>
              <a:t>, but also </a:t>
            </a:r>
            <a:r>
              <a:rPr kumimoji="0" lang="en-US" sz="1200" b="0" i="0" u="none" strike="noStrike" kern="1200" cap="none" spc="0" normalizeH="0" baseline="0" dirty="0">
                <a:ln>
                  <a:noFill/>
                </a:ln>
                <a:solidFill>
                  <a:srgbClr val="000000"/>
                </a:solidFill>
                <a:effectLst/>
                <a:uLnTx/>
                <a:uFillTx/>
                <a:latin typeface="Open Sans" charset="0"/>
              </a:rPr>
              <a:t>drawing upon the firm’s considerable </a:t>
            </a:r>
            <a:r>
              <a:rPr kumimoji="0" lang="en-US" sz="1200" i="0" u="none" strike="noStrike" kern="1200" cap="none" spc="0" normalizeH="0" baseline="0" dirty="0">
                <a:ln>
                  <a:noFill/>
                </a:ln>
                <a:solidFill>
                  <a:srgbClr val="000000"/>
                </a:solidFill>
                <a:effectLst/>
                <a:uLnTx/>
                <a:uFillTx/>
                <a:latin typeface="Open Sans" charset="0"/>
              </a:rPr>
              <a:t>regional resources </a:t>
            </a:r>
            <a:r>
              <a:rPr kumimoji="0" lang="en-US" sz="1200" b="0" i="0" u="none" strike="noStrike" kern="1200" cap="none" spc="0" normalizeH="0" baseline="0" dirty="0">
                <a:ln>
                  <a:noFill/>
                </a:ln>
                <a:solidFill>
                  <a:srgbClr val="000000"/>
                </a:solidFill>
                <a:effectLst/>
                <a:uLnTx/>
                <a:uFillTx/>
                <a:latin typeface="Open Sans" charset="0"/>
              </a:rPr>
              <a:t>and industry expertise.</a:t>
            </a:r>
          </a:p>
        </p:txBody>
      </p:sp>
      <p:sp>
        <p:nvSpPr>
          <p:cNvPr id="124" name="Title 1">
            <a:extLst>
              <a:ext uri="{FF2B5EF4-FFF2-40B4-BE49-F238E27FC236}">
                <a16:creationId xmlns:a16="http://schemas.microsoft.com/office/drawing/2014/main" id="{C90DE8F1-CDC3-ADF6-75F9-A572BBEB7A6F}"/>
              </a:ext>
            </a:extLst>
          </p:cNvPr>
          <p:cNvSpPr txBox="1">
            <a:spLocks/>
          </p:cNvSpPr>
          <p:nvPr/>
        </p:nvSpPr>
        <p:spPr bwMode="gray">
          <a:xfrm>
            <a:off x="463295" y="417911"/>
            <a:ext cx="11277600" cy="586123"/>
          </a:xfrm>
          <a:prstGeom prst="rect">
            <a:avLst/>
          </a:prstGeom>
        </p:spPr>
        <p:txBody>
          <a:bodyPr vert="horz" lIns="0" tIns="0" rIns="0" bIns="0" rtlCol="0" anchor="t" anchorCtr="0">
            <a:noAutofit/>
          </a:bodyPr>
          <a:lstStyle>
            <a:lvl1pPr algn="l" defTabSz="685800" rtl="0" eaLnBrk="1" latinLnBrk="0" hangingPunct="1">
              <a:spcBef>
                <a:spcPct val="0"/>
              </a:spcBef>
              <a:buNone/>
              <a:defRPr sz="2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2000" dirty="0"/>
              <a:t>At Deloitte Hungary over 250 Consulting practitioners can cover a wide range of services with local resources</a:t>
            </a:r>
            <a:endParaRPr lang="hu-HU" sz="2000" dirty="0"/>
          </a:p>
        </p:txBody>
      </p:sp>
      <p:grpSp>
        <p:nvGrpSpPr>
          <p:cNvPr id="127" name="Group 126">
            <a:extLst>
              <a:ext uri="{FF2B5EF4-FFF2-40B4-BE49-F238E27FC236}">
                <a16:creationId xmlns:a16="http://schemas.microsoft.com/office/drawing/2014/main" id="{876514BA-12BB-7BD3-ABBC-8F2EBBE26B9A}"/>
              </a:ext>
            </a:extLst>
          </p:cNvPr>
          <p:cNvGrpSpPr/>
          <p:nvPr/>
        </p:nvGrpSpPr>
        <p:grpSpPr>
          <a:xfrm>
            <a:off x="4398049" y="1491802"/>
            <a:ext cx="2560545" cy="433639"/>
            <a:chOff x="3004002" y="1549431"/>
            <a:chExt cx="2560545" cy="433639"/>
          </a:xfrm>
        </p:grpSpPr>
        <p:sp>
          <p:nvSpPr>
            <p:cNvPr id="128" name="object 6">
              <a:extLst>
                <a:ext uri="{FF2B5EF4-FFF2-40B4-BE49-F238E27FC236}">
                  <a16:creationId xmlns:a16="http://schemas.microsoft.com/office/drawing/2014/main" id="{A4110D46-F515-91EF-3C58-F9F1BE7F5F91}"/>
                </a:ext>
              </a:extLst>
            </p:cNvPr>
            <p:cNvSpPr txBox="1"/>
            <p:nvPr/>
          </p:nvSpPr>
          <p:spPr>
            <a:xfrm>
              <a:off x="4140541" y="1568250"/>
              <a:ext cx="1424006" cy="396000"/>
            </a:xfrm>
            <a:prstGeom prst="rect">
              <a:avLst/>
            </a:prstGeom>
          </p:spPr>
          <p:txBody>
            <a:bodyPr vert="horz" wrap="square" lIns="0" tIns="0" rIns="0" bIns="0" rtlCol="0" anchor="ctr">
              <a:noAutofit/>
            </a:bodyPr>
            <a:lstStyle/>
            <a:p>
              <a:pPr marL="11516" marR="0" lvl="0" indent="0" algn="l" defTabSz="914400" eaLnBrk="1" fontAlgn="auto" latinLnBrk="0" hangingPunct="1">
                <a:lnSpc>
                  <a:spcPct val="100000"/>
                </a:lnSpc>
                <a:spcBef>
                  <a:spcPts val="272"/>
                </a:spcBef>
                <a:spcAft>
                  <a:spcPts val="0"/>
                </a:spcAft>
                <a:buClrTx/>
                <a:buSzTx/>
                <a:buFontTx/>
                <a:buNone/>
                <a:tabLst/>
                <a:defRPr/>
              </a:pPr>
              <a:r>
                <a:rPr lang="en-US" sz="1050" spc="-27" dirty="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kumimoji="0" lang="en-US" sz="1050" b="0" i="0" u="none" strike="noStrike" kern="1200" cap="none" spc="-27"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ofessionals </a:t>
              </a:r>
              <a:r>
                <a:rPr lang="en-US" sz="1050" spc="-27" dirty="0">
                  <a:solidFill>
                    <a:srgbClr val="000000"/>
                  </a:solidFill>
                  <a:latin typeface="Open Sans" panose="020B0606030504020204" pitchFamily="34" charset="0"/>
                  <a:ea typeface="Open Sans" panose="020B0606030504020204" pitchFamily="34" charset="0"/>
                  <a:cs typeface="Open Sans" panose="020B0606030504020204" pitchFamily="34" charset="0"/>
                </a:rPr>
                <a:t>i</a:t>
              </a:r>
              <a:r>
                <a:rPr kumimoji="0" lang="en-US" sz="1050" b="0" i="0" u="none" strike="noStrike" kern="1200" cap="none" spc="-27"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 Hungary</a:t>
              </a:r>
            </a:p>
          </p:txBody>
        </p:sp>
        <p:sp>
          <p:nvSpPr>
            <p:cNvPr id="129" name="object 8">
              <a:extLst>
                <a:ext uri="{FF2B5EF4-FFF2-40B4-BE49-F238E27FC236}">
                  <a16:creationId xmlns:a16="http://schemas.microsoft.com/office/drawing/2014/main" id="{CFE99A0D-C2A6-1A75-84FD-E9ECC32A1B49}"/>
                </a:ext>
              </a:extLst>
            </p:cNvPr>
            <p:cNvSpPr txBox="1"/>
            <p:nvPr/>
          </p:nvSpPr>
          <p:spPr>
            <a:xfrm>
              <a:off x="3004002" y="1549431"/>
              <a:ext cx="1176210" cy="433639"/>
            </a:xfrm>
            <a:prstGeom prst="rect">
              <a:avLst/>
            </a:prstGeom>
          </p:spPr>
          <p:txBody>
            <a:bodyPr vert="horz" wrap="square" lIns="0" tIns="0" rIns="0" bIns="0" rtlCol="0" anchor="ctr">
              <a:noAutofit/>
            </a:bodyPr>
            <a:lstStyle/>
            <a:p>
              <a:pPr marL="11516" marR="0" lvl="0" indent="0" algn="ctr" defTabSz="914400" eaLnBrk="1" fontAlgn="auto" latinLnBrk="0" hangingPunct="1">
                <a:lnSpc>
                  <a:spcPct val="100000"/>
                </a:lnSpc>
                <a:spcBef>
                  <a:spcPts val="122"/>
                </a:spcBef>
                <a:spcAft>
                  <a:spcPts val="0"/>
                </a:spcAft>
                <a:buClrTx/>
                <a:buSzTx/>
                <a:buFontTx/>
                <a:buNone/>
                <a:tabLst>
                  <a:tab pos="2013636" algn="l"/>
                  <a:tab pos="3694448" algn="l"/>
                </a:tabLst>
                <a:defRPr/>
              </a:pPr>
              <a:r>
                <a:rPr kumimoji="0" lang="en-US" sz="3200" b="1" i="0" u="none" strike="noStrike" kern="120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900+</a:t>
              </a:r>
            </a:p>
          </p:txBody>
        </p:sp>
      </p:grpSp>
      <p:grpSp>
        <p:nvGrpSpPr>
          <p:cNvPr id="130" name="Group 129">
            <a:extLst>
              <a:ext uri="{FF2B5EF4-FFF2-40B4-BE49-F238E27FC236}">
                <a16:creationId xmlns:a16="http://schemas.microsoft.com/office/drawing/2014/main" id="{C12BC8BB-CB23-979F-03C7-9855B792F9A9}"/>
              </a:ext>
            </a:extLst>
          </p:cNvPr>
          <p:cNvGrpSpPr/>
          <p:nvPr/>
        </p:nvGrpSpPr>
        <p:grpSpPr>
          <a:xfrm>
            <a:off x="3939524" y="1444583"/>
            <a:ext cx="528077" cy="528077"/>
            <a:chOff x="1984379" y="4874000"/>
            <a:chExt cx="1816041" cy="1816041"/>
          </a:xfrm>
        </p:grpSpPr>
        <p:grpSp>
          <p:nvGrpSpPr>
            <p:cNvPr id="131" name="Group 130">
              <a:extLst>
                <a:ext uri="{FF2B5EF4-FFF2-40B4-BE49-F238E27FC236}">
                  <a16:creationId xmlns:a16="http://schemas.microsoft.com/office/drawing/2014/main" id="{E55EDFC0-BFE4-F16A-7393-C13A316D08FF}"/>
                </a:ext>
              </a:extLst>
            </p:cNvPr>
            <p:cNvGrpSpPr/>
            <p:nvPr/>
          </p:nvGrpSpPr>
          <p:grpSpPr>
            <a:xfrm>
              <a:off x="1984379" y="4874000"/>
              <a:ext cx="1816041" cy="1816041"/>
              <a:chOff x="465740" y="2706207"/>
              <a:chExt cx="442310" cy="442310"/>
            </a:xfrm>
          </p:grpSpPr>
          <p:sp>
            <p:nvSpPr>
              <p:cNvPr id="139" name="Oval 138">
                <a:extLst>
                  <a:ext uri="{FF2B5EF4-FFF2-40B4-BE49-F238E27FC236}">
                    <a16:creationId xmlns:a16="http://schemas.microsoft.com/office/drawing/2014/main" id="{ADBED1A0-44B5-4B22-73A7-CD8643A00E6D}"/>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227655D5-F11B-D186-5A5E-317BAF163D58}"/>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141" name="Oval 140">
                <a:extLst>
                  <a:ext uri="{FF2B5EF4-FFF2-40B4-BE49-F238E27FC236}">
                    <a16:creationId xmlns:a16="http://schemas.microsoft.com/office/drawing/2014/main" id="{59A01373-614B-91D3-0F46-47D71B5C7AA6}"/>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grpSp>
          <p:nvGrpSpPr>
            <p:cNvPr id="132" name="Graphic 4">
              <a:extLst>
                <a:ext uri="{FF2B5EF4-FFF2-40B4-BE49-F238E27FC236}">
                  <a16:creationId xmlns:a16="http://schemas.microsoft.com/office/drawing/2014/main" id="{2BFF59BD-073C-9323-5F99-BEB7DA2BFF4A}"/>
                </a:ext>
              </a:extLst>
            </p:cNvPr>
            <p:cNvGrpSpPr>
              <a:grpSpLocks noChangeAspect="1"/>
            </p:cNvGrpSpPr>
            <p:nvPr/>
          </p:nvGrpSpPr>
          <p:grpSpPr>
            <a:xfrm>
              <a:off x="2535592" y="5425957"/>
              <a:ext cx="713661" cy="712127"/>
              <a:chOff x="4735970" y="2449058"/>
              <a:chExt cx="206646" cy="206202"/>
            </a:xfrm>
            <a:solidFill>
              <a:schemeClr val="bg1"/>
            </a:solidFill>
          </p:grpSpPr>
          <p:sp>
            <p:nvSpPr>
              <p:cNvPr id="133" name="Graphic 4">
                <a:extLst>
                  <a:ext uri="{FF2B5EF4-FFF2-40B4-BE49-F238E27FC236}">
                    <a16:creationId xmlns:a16="http://schemas.microsoft.com/office/drawing/2014/main" id="{5E9BB98F-21C9-12F1-5165-245D04CF6756}"/>
                  </a:ext>
                </a:extLst>
              </p:cNvPr>
              <p:cNvSpPr/>
              <p:nvPr/>
            </p:nvSpPr>
            <p:spPr>
              <a:xfrm>
                <a:off x="4735970" y="2508429"/>
                <a:ext cx="58649" cy="146831"/>
              </a:xfrm>
              <a:custGeom>
                <a:avLst/>
                <a:gdLst>
                  <a:gd name="connsiteX0" fmla="*/ 36034 w 58649"/>
                  <a:gd name="connsiteY0" fmla="*/ 0 h 146831"/>
                  <a:gd name="connsiteX1" fmla="*/ 21337 w 58649"/>
                  <a:gd name="connsiteY1" fmla="*/ 0 h 146831"/>
                  <a:gd name="connsiteX2" fmla="*/ 14948 w 58649"/>
                  <a:gd name="connsiteY2" fmla="*/ 5107 h 146831"/>
                  <a:gd name="connsiteX3" fmla="*/ 251 w 58649"/>
                  <a:gd name="connsiteY3" fmla="*/ 79800 h 146831"/>
                  <a:gd name="connsiteX4" fmla="*/ 1529 w 58649"/>
                  <a:gd name="connsiteY4" fmla="*/ 84907 h 146831"/>
                  <a:gd name="connsiteX5" fmla="*/ 6641 w 58649"/>
                  <a:gd name="connsiteY5" fmla="*/ 87461 h 146831"/>
                  <a:gd name="connsiteX6" fmla="*/ 7919 w 58649"/>
                  <a:gd name="connsiteY6" fmla="*/ 87461 h 146831"/>
                  <a:gd name="connsiteX7" fmla="*/ 7919 w 58649"/>
                  <a:gd name="connsiteY7" fmla="*/ 140448 h 146831"/>
                  <a:gd name="connsiteX8" fmla="*/ 14309 w 58649"/>
                  <a:gd name="connsiteY8" fmla="*/ 146832 h 146831"/>
                  <a:gd name="connsiteX9" fmla="*/ 20699 w 58649"/>
                  <a:gd name="connsiteY9" fmla="*/ 140448 h 146831"/>
                  <a:gd name="connsiteX10" fmla="*/ 20699 w 58649"/>
                  <a:gd name="connsiteY10" fmla="*/ 87461 h 146831"/>
                  <a:gd name="connsiteX11" fmla="*/ 37951 w 58649"/>
                  <a:gd name="connsiteY11" fmla="*/ 87461 h 146831"/>
                  <a:gd name="connsiteX12" fmla="*/ 37951 w 58649"/>
                  <a:gd name="connsiteY12" fmla="*/ 140448 h 146831"/>
                  <a:gd name="connsiteX13" fmla="*/ 44341 w 58649"/>
                  <a:gd name="connsiteY13" fmla="*/ 146832 h 146831"/>
                  <a:gd name="connsiteX14" fmla="*/ 50731 w 58649"/>
                  <a:gd name="connsiteY14" fmla="*/ 140448 h 146831"/>
                  <a:gd name="connsiteX15" fmla="*/ 50731 w 58649"/>
                  <a:gd name="connsiteY15" fmla="*/ 87461 h 146831"/>
                  <a:gd name="connsiteX16" fmla="*/ 52009 w 58649"/>
                  <a:gd name="connsiteY16" fmla="*/ 87461 h 146831"/>
                  <a:gd name="connsiteX17" fmla="*/ 57121 w 58649"/>
                  <a:gd name="connsiteY17" fmla="*/ 84907 h 146831"/>
                  <a:gd name="connsiteX18" fmla="*/ 58399 w 58649"/>
                  <a:gd name="connsiteY18" fmla="*/ 79800 h 146831"/>
                  <a:gd name="connsiteX19" fmla="*/ 43702 w 58649"/>
                  <a:gd name="connsiteY19" fmla="*/ 5107 h 146831"/>
                  <a:gd name="connsiteX20" fmla="*/ 36034 w 58649"/>
                  <a:gd name="connsiteY20" fmla="*/ 0 h 146831"/>
                  <a:gd name="connsiteX21" fmla="*/ 13669 w 58649"/>
                  <a:gd name="connsiteY21" fmla="*/ 74693 h 146831"/>
                  <a:gd name="connsiteX22" fmla="*/ 25811 w 58649"/>
                  <a:gd name="connsiteY22" fmla="*/ 13406 h 146831"/>
                  <a:gd name="connsiteX23" fmla="*/ 30284 w 58649"/>
                  <a:gd name="connsiteY23" fmla="*/ 13406 h 146831"/>
                  <a:gd name="connsiteX24" fmla="*/ 42424 w 58649"/>
                  <a:gd name="connsiteY24" fmla="*/ 74693 h 146831"/>
                  <a:gd name="connsiteX25" fmla="*/ 13669 w 58649"/>
                  <a:gd name="connsiteY25" fmla="*/ 74693 h 14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649" h="146831">
                    <a:moveTo>
                      <a:pt x="36034" y="0"/>
                    </a:moveTo>
                    <a:lnTo>
                      <a:pt x="21337" y="0"/>
                    </a:lnTo>
                    <a:cubicBezTo>
                      <a:pt x="18143" y="0"/>
                      <a:pt x="15586" y="1915"/>
                      <a:pt x="14948" y="5107"/>
                    </a:cubicBezTo>
                    <a:lnTo>
                      <a:pt x="251" y="79800"/>
                    </a:lnTo>
                    <a:cubicBezTo>
                      <a:pt x="-388" y="81715"/>
                      <a:pt x="251" y="83630"/>
                      <a:pt x="1529" y="84907"/>
                    </a:cubicBezTo>
                    <a:cubicBezTo>
                      <a:pt x="2807" y="86184"/>
                      <a:pt x="4724" y="87461"/>
                      <a:pt x="6641" y="87461"/>
                    </a:cubicBezTo>
                    <a:lnTo>
                      <a:pt x="7919" y="87461"/>
                    </a:lnTo>
                    <a:lnTo>
                      <a:pt x="7919" y="140448"/>
                    </a:lnTo>
                    <a:cubicBezTo>
                      <a:pt x="7919" y="144278"/>
                      <a:pt x="10475" y="146832"/>
                      <a:pt x="14309" y="146832"/>
                    </a:cubicBezTo>
                    <a:cubicBezTo>
                      <a:pt x="18143" y="146832"/>
                      <a:pt x="20699" y="144278"/>
                      <a:pt x="20699" y="140448"/>
                    </a:cubicBezTo>
                    <a:lnTo>
                      <a:pt x="20699" y="87461"/>
                    </a:lnTo>
                    <a:lnTo>
                      <a:pt x="37951" y="87461"/>
                    </a:lnTo>
                    <a:lnTo>
                      <a:pt x="37951" y="140448"/>
                    </a:lnTo>
                    <a:cubicBezTo>
                      <a:pt x="37951" y="144278"/>
                      <a:pt x="40507" y="146832"/>
                      <a:pt x="44341" y="146832"/>
                    </a:cubicBezTo>
                    <a:cubicBezTo>
                      <a:pt x="48175" y="146832"/>
                      <a:pt x="50731" y="144278"/>
                      <a:pt x="50731" y="140448"/>
                    </a:cubicBezTo>
                    <a:lnTo>
                      <a:pt x="50731" y="87461"/>
                    </a:lnTo>
                    <a:lnTo>
                      <a:pt x="52009" y="87461"/>
                    </a:lnTo>
                    <a:cubicBezTo>
                      <a:pt x="53926" y="87461"/>
                      <a:pt x="55843" y="86822"/>
                      <a:pt x="57121" y="84907"/>
                    </a:cubicBezTo>
                    <a:cubicBezTo>
                      <a:pt x="58399" y="83630"/>
                      <a:pt x="59038" y="81715"/>
                      <a:pt x="58399" y="79800"/>
                    </a:cubicBezTo>
                    <a:lnTo>
                      <a:pt x="43702" y="5107"/>
                    </a:lnTo>
                    <a:cubicBezTo>
                      <a:pt x="41146" y="2554"/>
                      <a:pt x="38590" y="0"/>
                      <a:pt x="36034" y="0"/>
                    </a:cubicBezTo>
                    <a:close/>
                    <a:moveTo>
                      <a:pt x="13669" y="74693"/>
                    </a:moveTo>
                    <a:lnTo>
                      <a:pt x="25811" y="13406"/>
                    </a:lnTo>
                    <a:lnTo>
                      <a:pt x="30284" y="13406"/>
                    </a:lnTo>
                    <a:lnTo>
                      <a:pt x="42424" y="74693"/>
                    </a:lnTo>
                    <a:lnTo>
                      <a:pt x="13669" y="74693"/>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4" name="Graphic 4">
                <a:extLst>
                  <a:ext uri="{FF2B5EF4-FFF2-40B4-BE49-F238E27FC236}">
                    <a16:creationId xmlns:a16="http://schemas.microsoft.com/office/drawing/2014/main" id="{AEDFDDC8-4864-4E4F-D516-39136D6F2726}"/>
                  </a:ext>
                </a:extLst>
              </p:cNvPr>
              <p:cNvSpPr/>
              <p:nvPr/>
            </p:nvSpPr>
            <p:spPr>
              <a:xfrm>
                <a:off x="4743250"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ubicBezTo>
                      <a:pt x="21087" y="12768"/>
                      <a:pt x="21087"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5" name="Graphic 4">
                <a:extLst>
                  <a:ext uri="{FF2B5EF4-FFF2-40B4-BE49-F238E27FC236}">
                    <a16:creationId xmlns:a16="http://schemas.microsoft.com/office/drawing/2014/main" id="{24BC535C-8062-3F15-9BE8-D32A0BD7AFD8}"/>
                  </a:ext>
                </a:extLst>
              </p:cNvPr>
              <p:cNvSpPr/>
              <p:nvPr/>
            </p:nvSpPr>
            <p:spPr>
              <a:xfrm>
                <a:off x="4884468"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7 w 58148"/>
                  <a:gd name="connsiteY8" fmla="*/ 139809 h 146193"/>
                  <a:gd name="connsiteX9" fmla="*/ 20447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7" y="143640"/>
                      <a:pt x="20447" y="139809"/>
                    </a:cubicBezTo>
                    <a:lnTo>
                      <a:pt x="20447"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2" y="72139"/>
                      <a:pt x="58148" y="69586"/>
                      <a:pt x="58148" y="65755"/>
                    </a:cubicBezTo>
                    <a:lnTo>
                      <a:pt x="58148" y="6384"/>
                    </a:lnTo>
                    <a:cubicBezTo>
                      <a:pt x="57509" y="3192"/>
                      <a:pt x="54314"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6" name="Graphic 4">
                <a:extLst>
                  <a:ext uri="{FF2B5EF4-FFF2-40B4-BE49-F238E27FC236}">
                    <a16:creationId xmlns:a16="http://schemas.microsoft.com/office/drawing/2014/main" id="{254735D9-7262-B60D-C1B0-C85E9FEE1C7D}"/>
                  </a:ext>
                </a:extLst>
              </p:cNvPr>
              <p:cNvSpPr/>
              <p:nvPr/>
            </p:nvSpPr>
            <p:spPr>
              <a:xfrm>
                <a:off x="4892135" y="2449058"/>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7" name="Graphic 4">
                <a:extLst>
                  <a:ext uri="{FF2B5EF4-FFF2-40B4-BE49-F238E27FC236}">
                    <a16:creationId xmlns:a16="http://schemas.microsoft.com/office/drawing/2014/main" id="{E69D7648-496B-B471-D2FE-CE1C3BF61CAE}"/>
                  </a:ext>
                </a:extLst>
              </p:cNvPr>
              <p:cNvSpPr/>
              <p:nvPr/>
            </p:nvSpPr>
            <p:spPr>
              <a:xfrm>
                <a:off x="4809705" y="2508429"/>
                <a:ext cx="58148" cy="146193"/>
              </a:xfrm>
              <a:custGeom>
                <a:avLst/>
                <a:gdLst>
                  <a:gd name="connsiteX0" fmla="*/ 51119 w 58148"/>
                  <a:gd name="connsiteY0" fmla="*/ 0 h 146193"/>
                  <a:gd name="connsiteX1" fmla="*/ 6390 w 58148"/>
                  <a:gd name="connsiteY1" fmla="*/ 0 h 146193"/>
                  <a:gd name="connsiteX2" fmla="*/ 0 w 58148"/>
                  <a:gd name="connsiteY2" fmla="*/ 6384 h 146193"/>
                  <a:gd name="connsiteX3" fmla="*/ 0 w 58148"/>
                  <a:gd name="connsiteY3" fmla="*/ 65755 h 146193"/>
                  <a:gd name="connsiteX4" fmla="*/ 6390 w 58148"/>
                  <a:gd name="connsiteY4" fmla="*/ 72139 h 146193"/>
                  <a:gd name="connsiteX5" fmla="*/ 7668 w 58148"/>
                  <a:gd name="connsiteY5" fmla="*/ 72139 h 146193"/>
                  <a:gd name="connsiteX6" fmla="*/ 7668 w 58148"/>
                  <a:gd name="connsiteY6" fmla="*/ 139809 h 146193"/>
                  <a:gd name="connsiteX7" fmla="*/ 14058 w 58148"/>
                  <a:gd name="connsiteY7" fmla="*/ 146193 h 146193"/>
                  <a:gd name="connsiteX8" fmla="*/ 20448 w 58148"/>
                  <a:gd name="connsiteY8" fmla="*/ 139809 h 146193"/>
                  <a:gd name="connsiteX9" fmla="*/ 20448 w 58148"/>
                  <a:gd name="connsiteY9" fmla="*/ 72139 h 146193"/>
                  <a:gd name="connsiteX10" fmla="*/ 37700 w 58148"/>
                  <a:gd name="connsiteY10" fmla="*/ 72139 h 146193"/>
                  <a:gd name="connsiteX11" fmla="*/ 37700 w 58148"/>
                  <a:gd name="connsiteY11" fmla="*/ 139809 h 146193"/>
                  <a:gd name="connsiteX12" fmla="*/ 44090 w 58148"/>
                  <a:gd name="connsiteY12" fmla="*/ 146193 h 146193"/>
                  <a:gd name="connsiteX13" fmla="*/ 50480 w 58148"/>
                  <a:gd name="connsiteY13" fmla="*/ 139809 h 146193"/>
                  <a:gd name="connsiteX14" fmla="*/ 50480 w 58148"/>
                  <a:gd name="connsiteY14" fmla="*/ 72139 h 146193"/>
                  <a:gd name="connsiteX15" fmla="*/ 51758 w 58148"/>
                  <a:gd name="connsiteY15" fmla="*/ 72139 h 146193"/>
                  <a:gd name="connsiteX16" fmla="*/ 58148 w 58148"/>
                  <a:gd name="connsiteY16" fmla="*/ 65755 h 146193"/>
                  <a:gd name="connsiteX17" fmla="*/ 58148 w 58148"/>
                  <a:gd name="connsiteY17" fmla="*/ 6384 h 146193"/>
                  <a:gd name="connsiteX18" fmla="*/ 51119 w 58148"/>
                  <a:gd name="connsiteY18" fmla="*/ 0 h 146193"/>
                  <a:gd name="connsiteX19" fmla="*/ 12780 w 58148"/>
                  <a:gd name="connsiteY19" fmla="*/ 12768 h 146193"/>
                  <a:gd name="connsiteX20" fmla="*/ 44730 w 58148"/>
                  <a:gd name="connsiteY20" fmla="*/ 12768 h 146193"/>
                  <a:gd name="connsiteX21" fmla="*/ 44730 w 58148"/>
                  <a:gd name="connsiteY21" fmla="*/ 59371 h 146193"/>
                  <a:gd name="connsiteX22" fmla="*/ 12780 w 58148"/>
                  <a:gd name="connsiteY22" fmla="*/ 59371 h 146193"/>
                  <a:gd name="connsiteX23" fmla="*/ 12780 w 58148"/>
                  <a:gd name="connsiteY23" fmla="*/ 12768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148" h="146193">
                    <a:moveTo>
                      <a:pt x="51119" y="0"/>
                    </a:moveTo>
                    <a:lnTo>
                      <a:pt x="6390" y="0"/>
                    </a:lnTo>
                    <a:cubicBezTo>
                      <a:pt x="2556" y="0"/>
                      <a:pt x="0" y="2554"/>
                      <a:pt x="0" y="6384"/>
                    </a:cubicBezTo>
                    <a:lnTo>
                      <a:pt x="0" y="65755"/>
                    </a:lnTo>
                    <a:cubicBezTo>
                      <a:pt x="0" y="69586"/>
                      <a:pt x="2556" y="72139"/>
                      <a:pt x="6390" y="72139"/>
                    </a:cubicBezTo>
                    <a:lnTo>
                      <a:pt x="7668" y="72139"/>
                    </a:lnTo>
                    <a:lnTo>
                      <a:pt x="7668" y="139809"/>
                    </a:lnTo>
                    <a:cubicBezTo>
                      <a:pt x="7668" y="143640"/>
                      <a:pt x="10224" y="146193"/>
                      <a:pt x="14058" y="146193"/>
                    </a:cubicBezTo>
                    <a:cubicBezTo>
                      <a:pt x="17892" y="146193"/>
                      <a:pt x="20448" y="143640"/>
                      <a:pt x="20448" y="139809"/>
                    </a:cubicBezTo>
                    <a:lnTo>
                      <a:pt x="20448" y="72139"/>
                    </a:lnTo>
                    <a:lnTo>
                      <a:pt x="37700" y="72139"/>
                    </a:lnTo>
                    <a:lnTo>
                      <a:pt x="37700" y="139809"/>
                    </a:lnTo>
                    <a:cubicBezTo>
                      <a:pt x="37700" y="143640"/>
                      <a:pt x="40257" y="146193"/>
                      <a:pt x="44090" y="146193"/>
                    </a:cubicBezTo>
                    <a:cubicBezTo>
                      <a:pt x="47925" y="146193"/>
                      <a:pt x="50480" y="143640"/>
                      <a:pt x="50480" y="139809"/>
                    </a:cubicBezTo>
                    <a:lnTo>
                      <a:pt x="50480" y="72139"/>
                    </a:lnTo>
                    <a:lnTo>
                      <a:pt x="51758" y="72139"/>
                    </a:lnTo>
                    <a:cubicBezTo>
                      <a:pt x="55593" y="72139"/>
                      <a:pt x="58148" y="69586"/>
                      <a:pt x="58148" y="65755"/>
                    </a:cubicBezTo>
                    <a:lnTo>
                      <a:pt x="58148" y="6384"/>
                    </a:lnTo>
                    <a:cubicBezTo>
                      <a:pt x="57509" y="3192"/>
                      <a:pt x="54953" y="0"/>
                      <a:pt x="51119" y="0"/>
                    </a:cubicBezTo>
                    <a:close/>
                    <a:moveTo>
                      <a:pt x="12780" y="12768"/>
                    </a:moveTo>
                    <a:lnTo>
                      <a:pt x="44730" y="12768"/>
                    </a:lnTo>
                    <a:lnTo>
                      <a:pt x="44730" y="59371"/>
                    </a:lnTo>
                    <a:lnTo>
                      <a:pt x="12780" y="59371"/>
                    </a:lnTo>
                    <a:lnTo>
                      <a:pt x="12780"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sp>
            <p:nvSpPr>
              <p:cNvPr id="138" name="Graphic 4">
                <a:extLst>
                  <a:ext uri="{FF2B5EF4-FFF2-40B4-BE49-F238E27FC236}">
                    <a16:creationId xmlns:a16="http://schemas.microsoft.com/office/drawing/2014/main" id="{D7388B27-68E6-3225-0742-96205816A0D2}"/>
                  </a:ext>
                </a:extLst>
              </p:cNvPr>
              <p:cNvSpPr/>
              <p:nvPr/>
            </p:nvSpPr>
            <p:spPr>
              <a:xfrm>
                <a:off x="4817373" y="2449058"/>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12768 h 42134"/>
                  <a:gd name="connsiteX6" fmla="*/ 29394 w 42173"/>
                  <a:gd name="connsiteY6" fmla="*/ 21067 h 42134"/>
                  <a:gd name="connsiteX7" fmla="*/ 21087 w 42173"/>
                  <a:gd name="connsiteY7" fmla="*/ 29366 h 42134"/>
                  <a:gd name="connsiteX8" fmla="*/ 12780 w 42173"/>
                  <a:gd name="connsiteY8" fmla="*/ 21067 h 42134"/>
                  <a:gd name="connsiteX9" fmla="*/ 21087 w 42173"/>
                  <a:gd name="connsiteY9" fmla="*/ 12768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3197"/>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lnTo>
                      <a:pt x="21087" y="12768"/>
                    </a:lnTo>
                    <a:close/>
                  </a:path>
                </a:pathLst>
              </a:custGeom>
              <a:grpFill/>
              <a:ln w="63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Calibri"/>
                  <a:ea typeface="+mn-ea"/>
                  <a:cs typeface="+mn-cs"/>
                </a:endParaRPr>
              </a:p>
            </p:txBody>
          </p:sp>
        </p:grpSp>
      </p:grpSp>
      <p:grpSp>
        <p:nvGrpSpPr>
          <p:cNvPr id="97" name="Group 96">
            <a:extLst>
              <a:ext uri="{FF2B5EF4-FFF2-40B4-BE49-F238E27FC236}">
                <a16:creationId xmlns:a16="http://schemas.microsoft.com/office/drawing/2014/main" id="{A114CAF2-467B-664C-4903-E643B46F4C61}"/>
              </a:ext>
            </a:extLst>
          </p:cNvPr>
          <p:cNvGrpSpPr/>
          <p:nvPr/>
        </p:nvGrpSpPr>
        <p:grpSpPr>
          <a:xfrm>
            <a:off x="1894452" y="1444583"/>
            <a:ext cx="528077" cy="528077"/>
            <a:chOff x="1656414" y="1994415"/>
            <a:chExt cx="528077" cy="528077"/>
          </a:xfrm>
        </p:grpSpPr>
        <p:grpSp>
          <p:nvGrpSpPr>
            <p:cNvPr id="30" name="Group 29">
              <a:extLst>
                <a:ext uri="{FF2B5EF4-FFF2-40B4-BE49-F238E27FC236}">
                  <a16:creationId xmlns:a16="http://schemas.microsoft.com/office/drawing/2014/main" id="{0323BF60-2E5E-0150-8EA2-18DD4770CB72}"/>
                </a:ext>
              </a:extLst>
            </p:cNvPr>
            <p:cNvGrpSpPr/>
            <p:nvPr/>
          </p:nvGrpSpPr>
          <p:grpSpPr>
            <a:xfrm>
              <a:off x="1656414" y="1994415"/>
              <a:ext cx="528077" cy="528077"/>
              <a:chOff x="465740" y="2706207"/>
              <a:chExt cx="442310" cy="442310"/>
            </a:xfrm>
          </p:grpSpPr>
          <p:sp>
            <p:nvSpPr>
              <p:cNvPr id="81" name="Oval 80">
                <a:extLst>
                  <a:ext uri="{FF2B5EF4-FFF2-40B4-BE49-F238E27FC236}">
                    <a16:creationId xmlns:a16="http://schemas.microsoft.com/office/drawing/2014/main" id="{06A70551-B2C5-EE7A-9ECE-0CFD40F549AA}"/>
                  </a:ext>
                </a:extLst>
              </p:cNvPr>
              <p:cNvSpPr/>
              <p:nvPr/>
            </p:nvSpPr>
            <p:spPr bwMode="gray">
              <a:xfrm>
                <a:off x="465740" y="2706207"/>
                <a:ext cx="442310" cy="442310"/>
              </a:xfrm>
              <a:prstGeom prst="ellipse">
                <a:avLst/>
              </a:prstGeom>
              <a:solidFill>
                <a:srgbClr val="00B0F2">
                  <a:alpha val="22959"/>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82" name="Oval 81">
                <a:extLst>
                  <a:ext uri="{FF2B5EF4-FFF2-40B4-BE49-F238E27FC236}">
                    <a16:creationId xmlns:a16="http://schemas.microsoft.com/office/drawing/2014/main" id="{D99F1827-8165-E609-06DB-23998A3EF936}"/>
                  </a:ext>
                </a:extLst>
              </p:cNvPr>
              <p:cNvSpPr/>
              <p:nvPr/>
            </p:nvSpPr>
            <p:spPr bwMode="gray">
              <a:xfrm>
                <a:off x="507078" y="2747545"/>
                <a:ext cx="359635" cy="359635"/>
              </a:xfrm>
              <a:prstGeom prst="ellipse">
                <a:avLst/>
              </a:prstGeom>
              <a:solidFill>
                <a:srgbClr val="00B0F2">
                  <a:alpha val="46624"/>
                </a:srgb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sp>
            <p:nvSpPr>
              <p:cNvPr id="83" name="Oval 82">
                <a:extLst>
                  <a:ext uri="{FF2B5EF4-FFF2-40B4-BE49-F238E27FC236}">
                    <a16:creationId xmlns:a16="http://schemas.microsoft.com/office/drawing/2014/main" id="{D96DA35D-3C7B-548A-5F0A-54E751476593}"/>
                  </a:ext>
                </a:extLst>
              </p:cNvPr>
              <p:cNvSpPr>
                <a:spLocks noChangeAspect="1"/>
              </p:cNvSpPr>
              <p:nvPr/>
            </p:nvSpPr>
            <p:spPr bwMode="gray">
              <a:xfrm>
                <a:off x="542895" y="2783362"/>
                <a:ext cx="288000" cy="288000"/>
              </a:xfrm>
              <a:prstGeom prst="ellipse">
                <a:avLst/>
              </a:prstGeom>
              <a:solidFill>
                <a:srgbClr val="00B0F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dirty="0">
                  <a:ln>
                    <a:noFill/>
                  </a:ln>
                  <a:solidFill>
                    <a:srgbClr val="FFFFFF"/>
                  </a:solidFill>
                  <a:effectLst/>
                  <a:uLnTx/>
                  <a:uFillTx/>
                  <a:latin typeface="Calibri"/>
                  <a:ea typeface="+mn-ea"/>
                  <a:cs typeface="+mn-cs"/>
                </a:endParaRPr>
              </a:p>
            </p:txBody>
          </p:sp>
        </p:grpSp>
        <p:sp>
          <p:nvSpPr>
            <p:cNvPr id="84" name="Flowchart: Connector 83">
              <a:extLst>
                <a:ext uri="{FF2B5EF4-FFF2-40B4-BE49-F238E27FC236}">
                  <a16:creationId xmlns:a16="http://schemas.microsoft.com/office/drawing/2014/main" id="{CD4F65A3-27FC-7296-017F-5AA11993A19C}"/>
                </a:ext>
              </a:extLst>
            </p:cNvPr>
            <p:cNvSpPr/>
            <p:nvPr/>
          </p:nvSpPr>
          <p:spPr bwMode="gray">
            <a:xfrm>
              <a:off x="1761403" y="2105541"/>
              <a:ext cx="318097" cy="318097"/>
            </a:xfrm>
            <a:prstGeom prst="flowChartConnector">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Freeform 732">
              <a:extLst>
                <a:ext uri="{FF2B5EF4-FFF2-40B4-BE49-F238E27FC236}">
                  <a16:creationId xmlns:a16="http://schemas.microsoft.com/office/drawing/2014/main" id="{11F21B08-5B80-5D1E-B8FA-EB9223BC23C9}"/>
                </a:ext>
              </a:extLst>
            </p:cNvPr>
            <p:cNvSpPr>
              <a:spLocks noChangeAspect="1" noEditPoints="1"/>
            </p:cNvSpPr>
            <p:nvPr/>
          </p:nvSpPr>
          <p:spPr bwMode="auto">
            <a:xfrm>
              <a:off x="1748528" y="2083142"/>
              <a:ext cx="343845" cy="34384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128 w 512"/>
                <a:gd name="T13" fmla="*/ 352 h 512"/>
                <a:gd name="T14" fmla="*/ 117 w 512"/>
                <a:gd name="T15" fmla="*/ 341 h 512"/>
                <a:gd name="T16" fmla="*/ 128 w 512"/>
                <a:gd name="T17" fmla="*/ 330 h 512"/>
                <a:gd name="T18" fmla="*/ 384 w 512"/>
                <a:gd name="T19" fmla="*/ 330 h 512"/>
                <a:gd name="T20" fmla="*/ 394 w 512"/>
                <a:gd name="T21" fmla="*/ 341 h 512"/>
                <a:gd name="T22" fmla="*/ 384 w 512"/>
                <a:gd name="T23" fmla="*/ 352 h 512"/>
                <a:gd name="T24" fmla="*/ 384 w 512"/>
                <a:gd name="T25" fmla="*/ 266 h 512"/>
                <a:gd name="T26" fmla="*/ 128 w 512"/>
                <a:gd name="T27" fmla="*/ 266 h 512"/>
                <a:gd name="T28" fmla="*/ 117 w 512"/>
                <a:gd name="T29" fmla="*/ 256 h 512"/>
                <a:gd name="T30" fmla="*/ 128 w 512"/>
                <a:gd name="T31" fmla="*/ 245 h 512"/>
                <a:gd name="T32" fmla="*/ 384 w 512"/>
                <a:gd name="T33" fmla="*/ 245 h 512"/>
                <a:gd name="T34" fmla="*/ 394 w 512"/>
                <a:gd name="T35" fmla="*/ 256 h 512"/>
                <a:gd name="T36" fmla="*/ 384 w 512"/>
                <a:gd name="T37" fmla="*/ 266 h 512"/>
                <a:gd name="T38" fmla="*/ 384 w 512"/>
                <a:gd name="T39" fmla="*/ 181 h 512"/>
                <a:gd name="T40" fmla="*/ 128 w 512"/>
                <a:gd name="T41" fmla="*/ 181 h 512"/>
                <a:gd name="T42" fmla="*/ 117 w 512"/>
                <a:gd name="T43" fmla="*/ 170 h 512"/>
                <a:gd name="T44" fmla="*/ 128 w 512"/>
                <a:gd name="T45" fmla="*/ 160 h 512"/>
                <a:gd name="T46" fmla="*/ 384 w 512"/>
                <a:gd name="T47" fmla="*/ 160 h 512"/>
                <a:gd name="T48" fmla="*/ 394 w 512"/>
                <a:gd name="T49" fmla="*/ 170 h 512"/>
                <a:gd name="T50" fmla="*/ 384 w 512"/>
                <a:gd name="T5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128" y="352"/>
                    <a:pt x="128" y="352"/>
                    <a:pt x="128" y="352"/>
                  </a:cubicBezTo>
                  <a:cubicBezTo>
                    <a:pt x="122" y="352"/>
                    <a:pt x="117" y="347"/>
                    <a:pt x="117" y="341"/>
                  </a:cubicBezTo>
                  <a:cubicBezTo>
                    <a:pt x="117" y="335"/>
                    <a:pt x="122" y="330"/>
                    <a:pt x="128" y="330"/>
                  </a:cubicBezTo>
                  <a:cubicBezTo>
                    <a:pt x="384" y="330"/>
                    <a:pt x="384" y="330"/>
                    <a:pt x="384" y="330"/>
                  </a:cubicBezTo>
                  <a:cubicBezTo>
                    <a:pt x="390" y="330"/>
                    <a:pt x="394" y="335"/>
                    <a:pt x="394" y="341"/>
                  </a:cubicBezTo>
                  <a:cubicBezTo>
                    <a:pt x="394" y="347"/>
                    <a:pt x="390" y="352"/>
                    <a:pt x="384" y="352"/>
                  </a:cubicBezTo>
                  <a:close/>
                  <a:moveTo>
                    <a:pt x="384" y="266"/>
                  </a:moveTo>
                  <a:cubicBezTo>
                    <a:pt x="128" y="266"/>
                    <a:pt x="128" y="266"/>
                    <a:pt x="128" y="266"/>
                  </a:cubicBezTo>
                  <a:cubicBezTo>
                    <a:pt x="122" y="266"/>
                    <a:pt x="117" y="262"/>
                    <a:pt x="117" y="256"/>
                  </a:cubicBezTo>
                  <a:cubicBezTo>
                    <a:pt x="117" y="250"/>
                    <a:pt x="122" y="245"/>
                    <a:pt x="128" y="245"/>
                  </a:cubicBezTo>
                  <a:cubicBezTo>
                    <a:pt x="384" y="245"/>
                    <a:pt x="384" y="245"/>
                    <a:pt x="384" y="245"/>
                  </a:cubicBezTo>
                  <a:cubicBezTo>
                    <a:pt x="390" y="245"/>
                    <a:pt x="394" y="250"/>
                    <a:pt x="394" y="256"/>
                  </a:cubicBezTo>
                  <a:cubicBezTo>
                    <a:pt x="394" y="262"/>
                    <a:pt x="390" y="266"/>
                    <a:pt x="384" y="266"/>
                  </a:cubicBezTo>
                  <a:close/>
                  <a:moveTo>
                    <a:pt x="384" y="181"/>
                  </a:moveTo>
                  <a:cubicBezTo>
                    <a:pt x="128" y="181"/>
                    <a:pt x="128" y="181"/>
                    <a:pt x="128" y="181"/>
                  </a:cubicBezTo>
                  <a:cubicBezTo>
                    <a:pt x="122" y="181"/>
                    <a:pt x="117" y="176"/>
                    <a:pt x="117" y="170"/>
                  </a:cubicBezTo>
                  <a:cubicBezTo>
                    <a:pt x="117" y="164"/>
                    <a:pt x="122" y="160"/>
                    <a:pt x="128" y="160"/>
                  </a:cubicBezTo>
                  <a:cubicBezTo>
                    <a:pt x="384" y="160"/>
                    <a:pt x="384" y="160"/>
                    <a:pt x="384" y="160"/>
                  </a:cubicBezTo>
                  <a:cubicBezTo>
                    <a:pt x="390" y="160"/>
                    <a:pt x="394" y="164"/>
                    <a:pt x="394" y="170"/>
                  </a:cubicBezTo>
                  <a:cubicBezTo>
                    <a:pt x="394" y="176"/>
                    <a:pt x="390" y="181"/>
                    <a:pt x="384" y="181"/>
                  </a:cubicBezTo>
                  <a:close/>
                </a:path>
              </a:pathLst>
            </a:custGeom>
            <a:solidFill>
              <a:srgbClr val="00B0F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5173525"/>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5489B1-C783-C0E1-1790-E6335C426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795489B1-C783-C0E1-1790-E6335C4269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11D4B98F-6CAD-C3D3-E9F6-7E2567DE2B15}"/>
              </a:ext>
            </a:extLst>
          </p:cNvPr>
          <p:cNvGrpSpPr/>
          <p:nvPr/>
        </p:nvGrpSpPr>
        <p:grpSpPr>
          <a:xfrm>
            <a:off x="0" y="2997200"/>
            <a:ext cx="7477760" cy="863600"/>
            <a:chOff x="0" y="2997200"/>
            <a:chExt cx="7477760" cy="863600"/>
          </a:xfrm>
          <a:solidFill>
            <a:srgbClr val="62B5E5"/>
          </a:solidFill>
          <a:effectLst>
            <a:outerShdw blurRad="50800" dist="38100" dir="5400000" algn="t" rotWithShape="0">
              <a:prstClr val="black">
                <a:alpha val="40000"/>
              </a:prstClr>
            </a:outerShdw>
          </a:effectLst>
        </p:grpSpPr>
        <p:sp>
          <p:nvSpPr>
            <p:cNvPr id="6" name="Rectangle 5">
              <a:extLst>
                <a:ext uri="{FF2B5EF4-FFF2-40B4-BE49-F238E27FC236}">
                  <a16:creationId xmlns:a16="http://schemas.microsoft.com/office/drawing/2014/main" id="{3D401599-9D06-8EE4-4868-D91498BE40B4}"/>
                </a:ext>
              </a:extLst>
            </p:cNvPr>
            <p:cNvSpPr/>
            <p:nvPr/>
          </p:nvSpPr>
          <p:spPr bwMode="gray">
            <a:xfrm>
              <a:off x="0" y="2997200"/>
              <a:ext cx="6695440" cy="863600"/>
            </a:xfrm>
            <a:prstGeom prst="rect">
              <a:avLst/>
            </a:prstGeom>
            <a:grp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 Process Reengineering (BPR)</a:t>
              </a:r>
            </a:p>
          </p:txBody>
        </p:sp>
        <p:sp>
          <p:nvSpPr>
            <p:cNvPr id="8" name="Flowchart: Delay 7">
              <a:extLst>
                <a:ext uri="{FF2B5EF4-FFF2-40B4-BE49-F238E27FC236}">
                  <a16:creationId xmlns:a16="http://schemas.microsoft.com/office/drawing/2014/main" id="{00B354CB-D242-A99D-81B7-C0C58C0E0765}"/>
                </a:ext>
              </a:extLst>
            </p:cNvPr>
            <p:cNvSpPr/>
            <p:nvPr/>
          </p:nvSpPr>
          <p:spPr bwMode="gray">
            <a:xfrm>
              <a:off x="6695440" y="2997200"/>
              <a:ext cx="782320" cy="863600"/>
            </a:xfrm>
            <a:prstGeom prst="flowChartDelay">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14274765"/>
      </p:ext>
    </p:extLst>
  </p:cSld>
  <p:clrMapOvr>
    <a:masterClrMapping/>
  </p:clrMapOvr>
  <p:extLst>
    <p:ext uri="{6950BFC3-D8DA-4A85-94F7-54DA5524770B}">
      <p188:commentRel xmlns:p188="http://schemas.microsoft.com/office/powerpoint/2018/8/main" r:id="rId3"/>
    </p:ext>
  </p:extLs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4DCA084-C5BD-A062-8CA4-7084AEC9F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0" name="think-cell data - do not delete" hidden="1">
                        <a:extLst>
                          <a:ext uri="{FF2B5EF4-FFF2-40B4-BE49-F238E27FC236}">
                            <a16:creationId xmlns:a16="http://schemas.microsoft.com/office/drawing/2014/main" id="{E4DCA084-C5BD-A062-8CA4-7084AEC9F5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93C3D1B-5833-DAEF-81B1-22C935CE0F9E}"/>
              </a:ext>
            </a:extLst>
          </p:cNvPr>
          <p:cNvSpPr>
            <a:spLocks noGrp="1"/>
          </p:cNvSpPr>
          <p:nvPr>
            <p:ph type="body" sz="quarter" idx="22"/>
          </p:nvPr>
        </p:nvSpPr>
        <p:spPr/>
        <p:txBody>
          <a:bodyPr/>
          <a:lstStyle/>
          <a:p>
            <a:r>
              <a:rPr lang="en-US" dirty="0"/>
              <a:t>Process improvement projects can be divided into 5 phases, which act as building blocks to rethink and optimize processes</a:t>
            </a:r>
          </a:p>
        </p:txBody>
      </p:sp>
      <p:sp>
        <p:nvSpPr>
          <p:cNvPr id="3" name="Title 2">
            <a:extLst>
              <a:ext uri="{FF2B5EF4-FFF2-40B4-BE49-F238E27FC236}">
                <a16:creationId xmlns:a16="http://schemas.microsoft.com/office/drawing/2014/main" id="{0BFDFE43-513E-30F3-DFB9-E1EDC8DE3070}"/>
              </a:ext>
            </a:extLst>
          </p:cNvPr>
          <p:cNvSpPr>
            <a:spLocks noGrp="1"/>
          </p:cNvSpPr>
          <p:nvPr>
            <p:ph type="title"/>
          </p:nvPr>
        </p:nvSpPr>
        <p:spPr/>
        <p:txBody>
          <a:bodyPr vert="horz"/>
          <a:lstStyle/>
          <a:p>
            <a:r>
              <a:rPr lang="hu-HU" dirty="0"/>
              <a:t>Deloitte process improvement </a:t>
            </a:r>
            <a:r>
              <a:rPr lang="hu-HU" dirty="0" err="1"/>
              <a:t>methodology</a:t>
            </a:r>
            <a:endParaRPr lang="en-US" dirty="0"/>
          </a:p>
        </p:txBody>
      </p:sp>
      <p:grpSp>
        <p:nvGrpSpPr>
          <p:cNvPr id="4" name="Group 3">
            <a:extLst>
              <a:ext uri="{FF2B5EF4-FFF2-40B4-BE49-F238E27FC236}">
                <a16:creationId xmlns:a16="http://schemas.microsoft.com/office/drawing/2014/main" id="{182D48C3-9C41-D92D-37C3-025496363822}"/>
              </a:ext>
            </a:extLst>
          </p:cNvPr>
          <p:cNvGrpSpPr/>
          <p:nvPr/>
        </p:nvGrpSpPr>
        <p:grpSpPr>
          <a:xfrm>
            <a:off x="2687102" y="2477252"/>
            <a:ext cx="95005" cy="484238"/>
            <a:chOff x="221695" y="2655583"/>
            <a:chExt cx="95005" cy="484238"/>
          </a:xfrm>
        </p:grpSpPr>
        <p:sp>
          <p:nvSpPr>
            <p:cNvPr id="5" name="Freeform 95">
              <a:extLst>
                <a:ext uri="{FF2B5EF4-FFF2-40B4-BE49-F238E27FC236}">
                  <a16:creationId xmlns:a16="http://schemas.microsoft.com/office/drawing/2014/main" id="{BEAA533D-68D8-8453-0ADE-3E5D049E88E5}"/>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Isosceles Triangle 5">
              <a:extLst>
                <a:ext uri="{FF2B5EF4-FFF2-40B4-BE49-F238E27FC236}">
                  <a16:creationId xmlns:a16="http://schemas.microsoft.com/office/drawing/2014/main" id="{048E8220-1D9F-1BBD-EFEB-A364F459BEF0}"/>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7" name="Group 6">
            <a:extLst>
              <a:ext uri="{FF2B5EF4-FFF2-40B4-BE49-F238E27FC236}">
                <a16:creationId xmlns:a16="http://schemas.microsoft.com/office/drawing/2014/main" id="{9DFC28F1-4788-E695-7685-C43D5C9808B3}"/>
              </a:ext>
            </a:extLst>
          </p:cNvPr>
          <p:cNvGrpSpPr/>
          <p:nvPr/>
        </p:nvGrpSpPr>
        <p:grpSpPr>
          <a:xfrm>
            <a:off x="4934311" y="2477252"/>
            <a:ext cx="95005" cy="484238"/>
            <a:chOff x="221695" y="2655583"/>
            <a:chExt cx="95005" cy="484238"/>
          </a:xfrm>
        </p:grpSpPr>
        <p:sp>
          <p:nvSpPr>
            <p:cNvPr id="8" name="Freeform 98">
              <a:extLst>
                <a:ext uri="{FF2B5EF4-FFF2-40B4-BE49-F238E27FC236}">
                  <a16:creationId xmlns:a16="http://schemas.microsoft.com/office/drawing/2014/main" id="{569225A7-4B9E-5EF3-8E76-EA3BD98376ED}"/>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Isosceles Triangle 8">
              <a:extLst>
                <a:ext uri="{FF2B5EF4-FFF2-40B4-BE49-F238E27FC236}">
                  <a16:creationId xmlns:a16="http://schemas.microsoft.com/office/drawing/2014/main" id="{C1831564-751B-1B5E-C703-B9ED1D26B60F}"/>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0" name="Group 9">
            <a:extLst>
              <a:ext uri="{FF2B5EF4-FFF2-40B4-BE49-F238E27FC236}">
                <a16:creationId xmlns:a16="http://schemas.microsoft.com/office/drawing/2014/main" id="{1C2073BB-BE9D-2512-BE06-E71E55DE4B5B}"/>
              </a:ext>
            </a:extLst>
          </p:cNvPr>
          <p:cNvGrpSpPr/>
          <p:nvPr/>
        </p:nvGrpSpPr>
        <p:grpSpPr>
          <a:xfrm>
            <a:off x="7165835" y="2477252"/>
            <a:ext cx="95005" cy="484238"/>
            <a:chOff x="221695" y="2655583"/>
            <a:chExt cx="95005" cy="484238"/>
          </a:xfrm>
        </p:grpSpPr>
        <p:sp>
          <p:nvSpPr>
            <p:cNvPr id="11" name="Freeform 101">
              <a:extLst>
                <a:ext uri="{FF2B5EF4-FFF2-40B4-BE49-F238E27FC236}">
                  <a16:creationId xmlns:a16="http://schemas.microsoft.com/office/drawing/2014/main" id="{185FC53D-788A-5C3D-055E-C21B3875F775}"/>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Isosceles Triangle 11">
              <a:extLst>
                <a:ext uri="{FF2B5EF4-FFF2-40B4-BE49-F238E27FC236}">
                  <a16:creationId xmlns:a16="http://schemas.microsoft.com/office/drawing/2014/main" id="{708E11AF-37B4-F75D-6F59-E845D2A623A8}"/>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3" name="Group 12">
            <a:extLst>
              <a:ext uri="{FF2B5EF4-FFF2-40B4-BE49-F238E27FC236}">
                <a16:creationId xmlns:a16="http://schemas.microsoft.com/office/drawing/2014/main" id="{167CE9D3-74D0-A739-7DEA-7FDE9D52A9F8}"/>
              </a:ext>
            </a:extLst>
          </p:cNvPr>
          <p:cNvGrpSpPr/>
          <p:nvPr/>
        </p:nvGrpSpPr>
        <p:grpSpPr>
          <a:xfrm>
            <a:off x="9403180" y="2468181"/>
            <a:ext cx="95005" cy="484238"/>
            <a:chOff x="221695" y="2655583"/>
            <a:chExt cx="95005" cy="484238"/>
          </a:xfrm>
        </p:grpSpPr>
        <p:sp>
          <p:nvSpPr>
            <p:cNvPr id="14" name="Freeform 104">
              <a:extLst>
                <a:ext uri="{FF2B5EF4-FFF2-40B4-BE49-F238E27FC236}">
                  <a16:creationId xmlns:a16="http://schemas.microsoft.com/office/drawing/2014/main" id="{A07397F2-3E05-69A5-02C0-0850AAC59A73}"/>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Isosceles Triangle 14">
              <a:extLst>
                <a:ext uri="{FF2B5EF4-FFF2-40B4-BE49-F238E27FC236}">
                  <a16:creationId xmlns:a16="http://schemas.microsoft.com/office/drawing/2014/main" id="{C371EE35-1BD1-08EF-989F-F33ED149D418}"/>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6" name="Group 15">
            <a:extLst>
              <a:ext uri="{FF2B5EF4-FFF2-40B4-BE49-F238E27FC236}">
                <a16:creationId xmlns:a16="http://schemas.microsoft.com/office/drawing/2014/main" id="{5FB1E5A2-5738-4F5D-AF67-08523B598448}"/>
              </a:ext>
            </a:extLst>
          </p:cNvPr>
          <p:cNvGrpSpPr/>
          <p:nvPr/>
        </p:nvGrpSpPr>
        <p:grpSpPr>
          <a:xfrm>
            <a:off x="452163" y="2469057"/>
            <a:ext cx="95005" cy="484238"/>
            <a:chOff x="221695" y="2655583"/>
            <a:chExt cx="95005" cy="484238"/>
          </a:xfrm>
        </p:grpSpPr>
        <p:sp>
          <p:nvSpPr>
            <p:cNvPr id="17" name="Freeform 89">
              <a:extLst>
                <a:ext uri="{FF2B5EF4-FFF2-40B4-BE49-F238E27FC236}">
                  <a16:creationId xmlns:a16="http://schemas.microsoft.com/office/drawing/2014/main" id="{6C3EE91F-B842-9FA7-857F-EA867DA4D1FA}"/>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Isosceles Triangle 17">
              <a:extLst>
                <a:ext uri="{FF2B5EF4-FFF2-40B4-BE49-F238E27FC236}">
                  <a16:creationId xmlns:a16="http://schemas.microsoft.com/office/drawing/2014/main" id="{878A4B42-0AB0-AD07-80F6-9D4FF490C294}"/>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9" name="Rectangle 18">
            <a:extLst>
              <a:ext uri="{FF2B5EF4-FFF2-40B4-BE49-F238E27FC236}">
                <a16:creationId xmlns:a16="http://schemas.microsoft.com/office/drawing/2014/main" id="{7CD53F10-BFB7-9120-DB22-468F119A464C}"/>
              </a:ext>
            </a:extLst>
          </p:cNvPr>
          <p:cNvSpPr/>
          <p:nvPr/>
        </p:nvSpPr>
        <p:spPr bwMode="gray">
          <a:xfrm>
            <a:off x="543417" y="1766084"/>
            <a:ext cx="1958738" cy="4120872"/>
          </a:xfrm>
          <a:prstGeom prst="rect">
            <a:avLst/>
          </a:prstGeom>
          <a:solidFill>
            <a:srgbClr val="F7F7F7"/>
          </a:solidFill>
          <a:ln w="19050" algn="ctr">
            <a:noFill/>
            <a:prstDash val="solid"/>
            <a:miter lim="800000"/>
            <a:headEnd/>
            <a:tailEnd/>
          </a:ln>
        </p:spPr>
        <p:txBody>
          <a:bodyPr wrap="square" lIns="45720" tIns="88900" rIns="0" bIns="88900" rtlCol="0" anchor="ctr"/>
          <a:lstStyle/>
          <a:p>
            <a:pPr>
              <a:spcAft>
                <a:spcPts val="300"/>
              </a:spcAft>
            </a:pPr>
            <a:endParaRPr lang="en-US" sz="1200" i="1" dirty="0"/>
          </a:p>
        </p:txBody>
      </p:sp>
      <p:grpSp>
        <p:nvGrpSpPr>
          <p:cNvPr id="20" name="Group 19">
            <a:extLst>
              <a:ext uri="{FF2B5EF4-FFF2-40B4-BE49-F238E27FC236}">
                <a16:creationId xmlns:a16="http://schemas.microsoft.com/office/drawing/2014/main" id="{DDC7AD81-2817-7E9E-5065-F07F08475ACD}"/>
              </a:ext>
            </a:extLst>
          </p:cNvPr>
          <p:cNvGrpSpPr/>
          <p:nvPr/>
        </p:nvGrpSpPr>
        <p:grpSpPr>
          <a:xfrm>
            <a:off x="451105" y="1953663"/>
            <a:ext cx="96063" cy="488302"/>
            <a:chOff x="501650" y="1759184"/>
            <a:chExt cx="96063" cy="488302"/>
          </a:xfrm>
          <a:solidFill>
            <a:schemeClr val="accent3"/>
          </a:solidFill>
        </p:grpSpPr>
        <p:sp>
          <p:nvSpPr>
            <p:cNvPr id="21" name="Freeform 6">
              <a:extLst>
                <a:ext uri="{FF2B5EF4-FFF2-40B4-BE49-F238E27FC236}">
                  <a16:creationId xmlns:a16="http://schemas.microsoft.com/office/drawing/2014/main" id="{17870F47-6383-A3AE-D9E0-25C1B4F7A84F}"/>
                </a:ext>
              </a:extLst>
            </p:cNvPr>
            <p:cNvSpPr/>
            <p:nvPr/>
          </p:nvSpPr>
          <p:spPr bwMode="gray">
            <a:xfrm rot="16200000">
              <a:off x="346146"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Isosceles Triangle 21">
              <a:extLst>
                <a:ext uri="{FF2B5EF4-FFF2-40B4-BE49-F238E27FC236}">
                  <a16:creationId xmlns:a16="http://schemas.microsoft.com/office/drawing/2014/main" id="{60558BD2-5A62-4E12-EA1E-4DB49B9C7B9D}"/>
                </a:ext>
              </a:extLst>
            </p:cNvPr>
            <p:cNvSpPr/>
            <p:nvPr/>
          </p:nvSpPr>
          <p:spPr bwMode="gray">
            <a:xfrm rot="10800000" flipV="1">
              <a:off x="502708"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 name="Rectangle 22">
            <a:extLst>
              <a:ext uri="{FF2B5EF4-FFF2-40B4-BE49-F238E27FC236}">
                <a16:creationId xmlns:a16="http://schemas.microsoft.com/office/drawing/2014/main" id="{C57BA07A-0449-8646-7AAB-65D7B0AD68F3}"/>
              </a:ext>
            </a:extLst>
          </p:cNvPr>
          <p:cNvSpPr/>
          <p:nvPr/>
        </p:nvSpPr>
        <p:spPr bwMode="gray">
          <a:xfrm>
            <a:off x="2782109" y="1766083"/>
            <a:ext cx="1958738" cy="4120873"/>
          </a:xfrm>
          <a:prstGeom prst="rect">
            <a:avLst/>
          </a:prstGeom>
          <a:solidFill>
            <a:srgbClr val="F7F7F7"/>
          </a:solidFill>
          <a:ln w="19050" algn="ctr">
            <a:noFill/>
            <a:prstDash val="solid"/>
            <a:miter lim="800000"/>
            <a:headEnd/>
            <a:tailEnd/>
          </a:ln>
        </p:spPr>
        <p:txBody>
          <a:bodyPr wrap="square" lIns="45720" tIns="88900" rIns="0" bIns="88900" rtlCol="0" anchor="ctr"/>
          <a:lstStyle/>
          <a:p>
            <a:pPr>
              <a:spcAft>
                <a:spcPts val="300"/>
              </a:spcAft>
            </a:pPr>
            <a:endParaRPr lang="en-US" sz="1200" i="1" dirty="0"/>
          </a:p>
        </p:txBody>
      </p:sp>
      <p:grpSp>
        <p:nvGrpSpPr>
          <p:cNvPr id="24" name="Group 23">
            <a:extLst>
              <a:ext uri="{FF2B5EF4-FFF2-40B4-BE49-F238E27FC236}">
                <a16:creationId xmlns:a16="http://schemas.microsoft.com/office/drawing/2014/main" id="{E8CA241F-EB54-8E70-F541-FF68FCA24E24}"/>
              </a:ext>
            </a:extLst>
          </p:cNvPr>
          <p:cNvGrpSpPr/>
          <p:nvPr/>
        </p:nvGrpSpPr>
        <p:grpSpPr>
          <a:xfrm>
            <a:off x="2689797" y="1953663"/>
            <a:ext cx="96063" cy="488302"/>
            <a:chOff x="2740342" y="1759184"/>
            <a:chExt cx="96063" cy="488302"/>
          </a:xfrm>
          <a:solidFill>
            <a:schemeClr val="accent3"/>
          </a:solidFill>
        </p:grpSpPr>
        <p:sp>
          <p:nvSpPr>
            <p:cNvPr id="25" name="Freeform 43">
              <a:extLst>
                <a:ext uri="{FF2B5EF4-FFF2-40B4-BE49-F238E27FC236}">
                  <a16:creationId xmlns:a16="http://schemas.microsoft.com/office/drawing/2014/main" id="{0E99B70A-AFC6-03C9-19E5-7B4485B8BDC2}"/>
                </a:ext>
              </a:extLst>
            </p:cNvPr>
            <p:cNvSpPr/>
            <p:nvPr/>
          </p:nvSpPr>
          <p:spPr bwMode="gray">
            <a:xfrm rot="16200000">
              <a:off x="2584838"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Isosceles Triangle 25">
              <a:extLst>
                <a:ext uri="{FF2B5EF4-FFF2-40B4-BE49-F238E27FC236}">
                  <a16:creationId xmlns:a16="http://schemas.microsoft.com/office/drawing/2014/main" id="{D4FE3E0E-81A7-D55A-6C6F-C06E16B90897}"/>
                </a:ext>
              </a:extLst>
            </p:cNvPr>
            <p:cNvSpPr/>
            <p:nvPr/>
          </p:nvSpPr>
          <p:spPr bwMode="gray">
            <a:xfrm rot="10800000" flipV="1">
              <a:off x="2741400"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7" name="Rectangle 26">
            <a:extLst>
              <a:ext uri="{FF2B5EF4-FFF2-40B4-BE49-F238E27FC236}">
                <a16:creationId xmlns:a16="http://schemas.microsoft.com/office/drawing/2014/main" id="{04E2D17A-5BD9-8C15-8EB9-E7D67552C4DD}"/>
              </a:ext>
            </a:extLst>
          </p:cNvPr>
          <p:cNvSpPr/>
          <p:nvPr/>
        </p:nvSpPr>
        <p:spPr bwMode="gray">
          <a:xfrm>
            <a:off x="5020801" y="1766083"/>
            <a:ext cx="1958738" cy="4120873"/>
          </a:xfrm>
          <a:prstGeom prst="rect">
            <a:avLst/>
          </a:prstGeom>
          <a:solidFill>
            <a:srgbClr val="F7F7F7"/>
          </a:solidFill>
          <a:ln w="19050" algn="ctr">
            <a:noFill/>
            <a:prstDash val="solid"/>
            <a:miter lim="800000"/>
            <a:headEnd/>
            <a:tailEnd/>
          </a:ln>
        </p:spPr>
        <p:txBody>
          <a:bodyPr wrap="square" lIns="45720" tIns="88900" rIns="0" bIns="88900" rtlCol="0" anchor="ctr"/>
          <a:lstStyle/>
          <a:p>
            <a:pPr>
              <a:spcAft>
                <a:spcPts val="300"/>
              </a:spcAft>
            </a:pPr>
            <a:endParaRPr lang="en-US" sz="1200" i="1" dirty="0"/>
          </a:p>
        </p:txBody>
      </p:sp>
      <p:grpSp>
        <p:nvGrpSpPr>
          <p:cNvPr id="28" name="Group 27">
            <a:extLst>
              <a:ext uri="{FF2B5EF4-FFF2-40B4-BE49-F238E27FC236}">
                <a16:creationId xmlns:a16="http://schemas.microsoft.com/office/drawing/2014/main" id="{615357D6-521D-789F-3B5B-85355F1DBD8B}"/>
              </a:ext>
            </a:extLst>
          </p:cNvPr>
          <p:cNvGrpSpPr/>
          <p:nvPr/>
        </p:nvGrpSpPr>
        <p:grpSpPr>
          <a:xfrm>
            <a:off x="4928489" y="1953663"/>
            <a:ext cx="96063" cy="488302"/>
            <a:chOff x="4979034" y="1759184"/>
            <a:chExt cx="96063" cy="488302"/>
          </a:xfrm>
          <a:solidFill>
            <a:schemeClr val="accent4">
              <a:lumMod val="50000"/>
            </a:schemeClr>
          </a:solidFill>
        </p:grpSpPr>
        <p:sp>
          <p:nvSpPr>
            <p:cNvPr id="29" name="Freeform 49">
              <a:extLst>
                <a:ext uri="{FF2B5EF4-FFF2-40B4-BE49-F238E27FC236}">
                  <a16:creationId xmlns:a16="http://schemas.microsoft.com/office/drawing/2014/main" id="{7D8B1A68-7E86-0503-B8F9-4EAB9EB3D110}"/>
                </a:ext>
              </a:extLst>
            </p:cNvPr>
            <p:cNvSpPr/>
            <p:nvPr/>
          </p:nvSpPr>
          <p:spPr bwMode="gray">
            <a:xfrm rot="16200000">
              <a:off x="4823530"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Isosceles Triangle 29">
              <a:extLst>
                <a:ext uri="{FF2B5EF4-FFF2-40B4-BE49-F238E27FC236}">
                  <a16:creationId xmlns:a16="http://schemas.microsoft.com/office/drawing/2014/main" id="{F13EB545-A7CF-9CB0-DAF1-39AB65507227}"/>
                </a:ext>
              </a:extLst>
            </p:cNvPr>
            <p:cNvSpPr/>
            <p:nvPr/>
          </p:nvSpPr>
          <p:spPr bwMode="gray">
            <a:xfrm rot="10800000" flipV="1">
              <a:off x="4980092"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31" name="Rectangle 30">
            <a:extLst>
              <a:ext uri="{FF2B5EF4-FFF2-40B4-BE49-F238E27FC236}">
                <a16:creationId xmlns:a16="http://schemas.microsoft.com/office/drawing/2014/main" id="{018C16C7-C738-BF77-8819-30BC4F11C96E}"/>
              </a:ext>
            </a:extLst>
          </p:cNvPr>
          <p:cNvSpPr/>
          <p:nvPr/>
        </p:nvSpPr>
        <p:spPr bwMode="gray">
          <a:xfrm>
            <a:off x="7259493" y="1766083"/>
            <a:ext cx="1958738" cy="4120873"/>
          </a:xfrm>
          <a:prstGeom prst="rect">
            <a:avLst/>
          </a:prstGeom>
          <a:solidFill>
            <a:srgbClr val="F7F7F7"/>
          </a:solidFill>
          <a:ln w="19050" algn="ctr">
            <a:noFill/>
            <a:prstDash val="solid"/>
            <a:miter lim="800000"/>
            <a:headEnd/>
            <a:tailEnd/>
          </a:ln>
        </p:spPr>
        <p:txBody>
          <a:bodyPr wrap="square" lIns="45720" tIns="88900" rIns="0" bIns="88900" rtlCol="0" anchor="ctr"/>
          <a:lstStyle/>
          <a:p>
            <a:pPr>
              <a:spcAft>
                <a:spcPts val="300"/>
              </a:spcAft>
            </a:pPr>
            <a:endParaRPr lang="en-US" sz="1200" i="1" dirty="0"/>
          </a:p>
        </p:txBody>
      </p:sp>
      <p:grpSp>
        <p:nvGrpSpPr>
          <p:cNvPr id="32" name="Group 31">
            <a:extLst>
              <a:ext uri="{FF2B5EF4-FFF2-40B4-BE49-F238E27FC236}">
                <a16:creationId xmlns:a16="http://schemas.microsoft.com/office/drawing/2014/main" id="{5D7FE450-1B6D-CAF2-78CF-F672FF7DD238}"/>
              </a:ext>
            </a:extLst>
          </p:cNvPr>
          <p:cNvGrpSpPr/>
          <p:nvPr/>
        </p:nvGrpSpPr>
        <p:grpSpPr>
          <a:xfrm>
            <a:off x="7167181" y="1953663"/>
            <a:ext cx="96063" cy="488302"/>
            <a:chOff x="7217726" y="1759184"/>
            <a:chExt cx="96063" cy="488302"/>
          </a:xfrm>
          <a:solidFill>
            <a:schemeClr val="accent4">
              <a:lumMod val="50000"/>
            </a:schemeClr>
          </a:solidFill>
        </p:grpSpPr>
        <p:sp>
          <p:nvSpPr>
            <p:cNvPr id="33" name="Freeform 55">
              <a:extLst>
                <a:ext uri="{FF2B5EF4-FFF2-40B4-BE49-F238E27FC236}">
                  <a16:creationId xmlns:a16="http://schemas.microsoft.com/office/drawing/2014/main" id="{742B56F1-8BB6-7981-56D9-C9AF68798D20}"/>
                </a:ext>
              </a:extLst>
            </p:cNvPr>
            <p:cNvSpPr/>
            <p:nvPr/>
          </p:nvSpPr>
          <p:spPr bwMode="gray">
            <a:xfrm rot="16200000">
              <a:off x="7062222"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Isosceles Triangle 33">
              <a:extLst>
                <a:ext uri="{FF2B5EF4-FFF2-40B4-BE49-F238E27FC236}">
                  <a16:creationId xmlns:a16="http://schemas.microsoft.com/office/drawing/2014/main" id="{C33D6DAB-617F-65C2-79DA-BE88EAA5924A}"/>
                </a:ext>
              </a:extLst>
            </p:cNvPr>
            <p:cNvSpPr/>
            <p:nvPr/>
          </p:nvSpPr>
          <p:spPr bwMode="gray">
            <a:xfrm rot="10800000" flipV="1">
              <a:off x="7218784"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35" name="Rectangle 34">
            <a:extLst>
              <a:ext uri="{FF2B5EF4-FFF2-40B4-BE49-F238E27FC236}">
                <a16:creationId xmlns:a16="http://schemas.microsoft.com/office/drawing/2014/main" id="{6795CAE3-DC7A-BE6F-29F3-42CAD80162DC}"/>
              </a:ext>
            </a:extLst>
          </p:cNvPr>
          <p:cNvSpPr/>
          <p:nvPr/>
        </p:nvSpPr>
        <p:spPr bwMode="gray">
          <a:xfrm>
            <a:off x="9498187" y="1766083"/>
            <a:ext cx="1958738" cy="4120873"/>
          </a:xfrm>
          <a:prstGeom prst="rect">
            <a:avLst/>
          </a:prstGeom>
          <a:solidFill>
            <a:srgbClr val="F7F7F7"/>
          </a:solidFill>
          <a:ln w="19050" algn="ctr">
            <a:noFill/>
            <a:prstDash val="solid"/>
            <a:miter lim="800000"/>
            <a:headEnd/>
            <a:tailEnd/>
          </a:ln>
        </p:spPr>
        <p:txBody>
          <a:bodyPr wrap="square" lIns="45720" tIns="88900" rIns="0" bIns="88900" rtlCol="0" anchor="ctr"/>
          <a:lstStyle/>
          <a:p>
            <a:pPr>
              <a:spcAft>
                <a:spcPts val="300"/>
              </a:spcAft>
            </a:pPr>
            <a:endParaRPr lang="en-US" sz="1200" i="1" dirty="0"/>
          </a:p>
        </p:txBody>
      </p:sp>
      <p:grpSp>
        <p:nvGrpSpPr>
          <p:cNvPr id="36" name="Group 35">
            <a:extLst>
              <a:ext uri="{FF2B5EF4-FFF2-40B4-BE49-F238E27FC236}">
                <a16:creationId xmlns:a16="http://schemas.microsoft.com/office/drawing/2014/main" id="{3263F151-55C2-7C78-8B4D-E915E5C465B8}"/>
              </a:ext>
            </a:extLst>
          </p:cNvPr>
          <p:cNvGrpSpPr/>
          <p:nvPr/>
        </p:nvGrpSpPr>
        <p:grpSpPr>
          <a:xfrm>
            <a:off x="9405875" y="1953663"/>
            <a:ext cx="96063" cy="488302"/>
            <a:chOff x="9456420" y="1759184"/>
            <a:chExt cx="96063" cy="488302"/>
          </a:xfrm>
          <a:solidFill>
            <a:schemeClr val="accent2">
              <a:lumMod val="25000"/>
            </a:schemeClr>
          </a:solidFill>
        </p:grpSpPr>
        <p:sp>
          <p:nvSpPr>
            <p:cNvPr id="37" name="Freeform 61">
              <a:extLst>
                <a:ext uri="{FF2B5EF4-FFF2-40B4-BE49-F238E27FC236}">
                  <a16:creationId xmlns:a16="http://schemas.microsoft.com/office/drawing/2014/main" id="{7B405B6F-B3B3-CD23-409F-D22B81ED103D}"/>
                </a:ext>
              </a:extLst>
            </p:cNvPr>
            <p:cNvSpPr/>
            <p:nvPr/>
          </p:nvSpPr>
          <p:spPr bwMode="gray">
            <a:xfrm rot="16200000">
              <a:off x="9300916"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8" name="Isosceles Triangle 37">
              <a:extLst>
                <a:ext uri="{FF2B5EF4-FFF2-40B4-BE49-F238E27FC236}">
                  <a16:creationId xmlns:a16="http://schemas.microsoft.com/office/drawing/2014/main" id="{0F6B3D37-83D1-C677-FC0C-03F32736915E}"/>
                </a:ext>
              </a:extLst>
            </p:cNvPr>
            <p:cNvSpPr/>
            <p:nvPr/>
          </p:nvSpPr>
          <p:spPr bwMode="gray">
            <a:xfrm rot="10800000" flipV="1">
              <a:off x="9457478"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9" name="Group 38">
            <a:extLst>
              <a:ext uri="{FF2B5EF4-FFF2-40B4-BE49-F238E27FC236}">
                <a16:creationId xmlns:a16="http://schemas.microsoft.com/office/drawing/2014/main" id="{7DA15A17-A34D-F711-CDC8-8AE65EC8C5E1}"/>
              </a:ext>
            </a:extLst>
          </p:cNvPr>
          <p:cNvGrpSpPr/>
          <p:nvPr/>
        </p:nvGrpSpPr>
        <p:grpSpPr>
          <a:xfrm>
            <a:off x="2690856" y="2034786"/>
            <a:ext cx="2055811" cy="406789"/>
            <a:chOff x="2741401" y="1840308"/>
            <a:chExt cx="2055811" cy="406789"/>
          </a:xfrm>
        </p:grpSpPr>
        <p:sp>
          <p:nvSpPr>
            <p:cNvPr id="40" name="Pentagon 44">
              <a:extLst>
                <a:ext uri="{FF2B5EF4-FFF2-40B4-BE49-F238E27FC236}">
                  <a16:creationId xmlns:a16="http://schemas.microsoft.com/office/drawing/2014/main" id="{E2049B8D-5AE8-6F84-D3D3-A068E6221F9C}"/>
                </a:ext>
              </a:extLst>
            </p:cNvPr>
            <p:cNvSpPr/>
            <p:nvPr/>
          </p:nvSpPr>
          <p:spPr bwMode="gray">
            <a:xfrm>
              <a:off x="2741401" y="1840697"/>
              <a:ext cx="2055811" cy="406400"/>
            </a:xfrm>
            <a:prstGeom prst="homePlate">
              <a:avLst/>
            </a:prstGeom>
            <a:solidFill>
              <a:srgbClr val="1CABE3">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Rectangle 40">
              <a:extLst>
                <a:ext uri="{FF2B5EF4-FFF2-40B4-BE49-F238E27FC236}">
                  <a16:creationId xmlns:a16="http://schemas.microsoft.com/office/drawing/2014/main" id="{492B326D-67E8-54B7-2EB1-D62B0868CF39}"/>
                </a:ext>
              </a:extLst>
            </p:cNvPr>
            <p:cNvSpPr/>
            <p:nvPr/>
          </p:nvSpPr>
          <p:spPr bwMode="gray">
            <a:xfrm>
              <a:off x="2832654" y="1840308"/>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cap="all" dirty="0">
                  <a:solidFill>
                    <a:schemeClr val="bg1"/>
                  </a:solidFill>
                </a:rPr>
                <a:t>As-IS Analysis</a:t>
              </a:r>
            </a:p>
          </p:txBody>
        </p:sp>
        <p:sp>
          <p:nvSpPr>
            <p:cNvPr id="42" name="Oval 41">
              <a:extLst>
                <a:ext uri="{FF2B5EF4-FFF2-40B4-BE49-F238E27FC236}">
                  <a16:creationId xmlns:a16="http://schemas.microsoft.com/office/drawing/2014/main" id="{72491946-DA72-3B72-DFC7-FDE63C6CA65A}"/>
                </a:ext>
              </a:extLst>
            </p:cNvPr>
            <p:cNvSpPr/>
            <p:nvPr/>
          </p:nvSpPr>
          <p:spPr bwMode="gray">
            <a:xfrm>
              <a:off x="2933893" y="1922283"/>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2</a:t>
              </a:r>
            </a:p>
          </p:txBody>
        </p:sp>
      </p:grpSp>
      <p:grpSp>
        <p:nvGrpSpPr>
          <p:cNvPr id="43" name="Group 42">
            <a:extLst>
              <a:ext uri="{FF2B5EF4-FFF2-40B4-BE49-F238E27FC236}">
                <a16:creationId xmlns:a16="http://schemas.microsoft.com/office/drawing/2014/main" id="{9D6CF767-4C4E-8814-8E2A-E75AA51FCEA0}"/>
              </a:ext>
            </a:extLst>
          </p:cNvPr>
          <p:cNvGrpSpPr/>
          <p:nvPr/>
        </p:nvGrpSpPr>
        <p:grpSpPr>
          <a:xfrm>
            <a:off x="4929549" y="2034785"/>
            <a:ext cx="2048930" cy="406790"/>
            <a:chOff x="4980094" y="1840307"/>
            <a:chExt cx="2048930" cy="406790"/>
          </a:xfrm>
        </p:grpSpPr>
        <p:sp>
          <p:nvSpPr>
            <p:cNvPr id="44" name="Pentagon 50">
              <a:extLst>
                <a:ext uri="{FF2B5EF4-FFF2-40B4-BE49-F238E27FC236}">
                  <a16:creationId xmlns:a16="http://schemas.microsoft.com/office/drawing/2014/main" id="{F7BECDF1-0901-74E4-9DD2-168F38C6269B}"/>
                </a:ext>
              </a:extLst>
            </p:cNvPr>
            <p:cNvSpPr/>
            <p:nvPr/>
          </p:nvSpPr>
          <p:spPr bwMode="gray">
            <a:xfrm>
              <a:off x="4980094" y="1840697"/>
              <a:ext cx="2048930" cy="406400"/>
            </a:xfrm>
            <a:prstGeom prst="homePlate">
              <a:avLst/>
            </a:prstGeom>
            <a:solidFill>
              <a:schemeClr val="accent1">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Rectangle 44">
              <a:extLst>
                <a:ext uri="{FF2B5EF4-FFF2-40B4-BE49-F238E27FC236}">
                  <a16:creationId xmlns:a16="http://schemas.microsoft.com/office/drawing/2014/main" id="{3AD19A7B-2043-5667-C1FD-BFC88FAE9ACA}"/>
                </a:ext>
              </a:extLst>
            </p:cNvPr>
            <p:cNvSpPr/>
            <p:nvPr/>
          </p:nvSpPr>
          <p:spPr bwMode="gray">
            <a:xfrm>
              <a:off x="5071344" y="1840307"/>
              <a:ext cx="1957679"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cap="all" dirty="0">
                  <a:solidFill>
                    <a:schemeClr val="bg1"/>
                  </a:solidFill>
                </a:rPr>
                <a:t>IMPROVEMENTS</a:t>
              </a:r>
            </a:p>
          </p:txBody>
        </p:sp>
        <p:sp>
          <p:nvSpPr>
            <p:cNvPr id="46" name="Oval 45">
              <a:extLst>
                <a:ext uri="{FF2B5EF4-FFF2-40B4-BE49-F238E27FC236}">
                  <a16:creationId xmlns:a16="http://schemas.microsoft.com/office/drawing/2014/main" id="{79144BC3-E844-364B-A1D9-97AE3BF50951}"/>
                </a:ext>
              </a:extLst>
            </p:cNvPr>
            <p:cNvSpPr/>
            <p:nvPr/>
          </p:nvSpPr>
          <p:spPr bwMode="gray">
            <a:xfrm>
              <a:off x="5166352" y="1922282"/>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3</a:t>
              </a:r>
            </a:p>
          </p:txBody>
        </p:sp>
      </p:grpSp>
      <p:grpSp>
        <p:nvGrpSpPr>
          <p:cNvPr id="47" name="Group 46">
            <a:extLst>
              <a:ext uri="{FF2B5EF4-FFF2-40B4-BE49-F238E27FC236}">
                <a16:creationId xmlns:a16="http://schemas.microsoft.com/office/drawing/2014/main" id="{4820BF7C-F45D-D7C2-67C1-655E8D85A074}"/>
              </a:ext>
            </a:extLst>
          </p:cNvPr>
          <p:cNvGrpSpPr/>
          <p:nvPr/>
        </p:nvGrpSpPr>
        <p:grpSpPr>
          <a:xfrm>
            <a:off x="7168240" y="2034980"/>
            <a:ext cx="2049992" cy="406400"/>
            <a:chOff x="7218785" y="1840501"/>
            <a:chExt cx="2049992" cy="406400"/>
          </a:xfrm>
        </p:grpSpPr>
        <p:sp>
          <p:nvSpPr>
            <p:cNvPr id="48" name="Pentagon 56">
              <a:extLst>
                <a:ext uri="{FF2B5EF4-FFF2-40B4-BE49-F238E27FC236}">
                  <a16:creationId xmlns:a16="http://schemas.microsoft.com/office/drawing/2014/main" id="{AAF37581-4117-DCB3-F1C6-FCFF5AE3A5ED}"/>
                </a:ext>
              </a:extLst>
            </p:cNvPr>
            <p:cNvSpPr/>
            <p:nvPr/>
          </p:nvSpPr>
          <p:spPr bwMode="gray">
            <a:xfrm>
              <a:off x="7218785" y="1840501"/>
              <a:ext cx="2049991" cy="406400"/>
            </a:xfrm>
            <a:prstGeom prst="homePlate">
              <a:avLst/>
            </a:prstGeom>
            <a:solidFill>
              <a:schemeClr val="accent2">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Rectangle 48">
              <a:extLst>
                <a:ext uri="{FF2B5EF4-FFF2-40B4-BE49-F238E27FC236}">
                  <a16:creationId xmlns:a16="http://schemas.microsoft.com/office/drawing/2014/main" id="{C2D752EB-B6F3-BE0D-5855-92C86C98958D}"/>
                </a:ext>
              </a:extLst>
            </p:cNvPr>
            <p:cNvSpPr/>
            <p:nvPr/>
          </p:nvSpPr>
          <p:spPr bwMode="gray">
            <a:xfrm>
              <a:off x="7310039" y="1844919"/>
              <a:ext cx="195873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cap="all" dirty="0">
                  <a:solidFill>
                    <a:schemeClr val="bg1"/>
                  </a:solidFill>
                </a:rPr>
                <a:t>     IMPLEMENTATION</a:t>
              </a:r>
            </a:p>
          </p:txBody>
        </p:sp>
        <p:sp>
          <p:nvSpPr>
            <p:cNvPr id="50" name="Oval 49">
              <a:extLst>
                <a:ext uri="{FF2B5EF4-FFF2-40B4-BE49-F238E27FC236}">
                  <a16:creationId xmlns:a16="http://schemas.microsoft.com/office/drawing/2014/main" id="{A2CECFB4-DB46-00CD-7554-96D54D7116CD}"/>
                </a:ext>
              </a:extLst>
            </p:cNvPr>
            <p:cNvSpPr/>
            <p:nvPr/>
          </p:nvSpPr>
          <p:spPr bwMode="gray">
            <a:xfrm>
              <a:off x="7400167" y="1926894"/>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4</a:t>
              </a:r>
            </a:p>
          </p:txBody>
        </p:sp>
      </p:grpSp>
      <p:grpSp>
        <p:nvGrpSpPr>
          <p:cNvPr id="51" name="Group 50">
            <a:extLst>
              <a:ext uri="{FF2B5EF4-FFF2-40B4-BE49-F238E27FC236}">
                <a16:creationId xmlns:a16="http://schemas.microsoft.com/office/drawing/2014/main" id="{8CFAEA9A-3CAC-D294-9714-302C0CAAA0BA}"/>
              </a:ext>
            </a:extLst>
          </p:cNvPr>
          <p:cNvGrpSpPr/>
          <p:nvPr/>
        </p:nvGrpSpPr>
        <p:grpSpPr>
          <a:xfrm>
            <a:off x="9406934" y="2034980"/>
            <a:ext cx="2049991" cy="406400"/>
            <a:chOff x="9457479" y="1840697"/>
            <a:chExt cx="2049991" cy="406400"/>
          </a:xfrm>
        </p:grpSpPr>
        <p:sp>
          <p:nvSpPr>
            <p:cNvPr id="52" name="Pentagon 62">
              <a:extLst>
                <a:ext uri="{FF2B5EF4-FFF2-40B4-BE49-F238E27FC236}">
                  <a16:creationId xmlns:a16="http://schemas.microsoft.com/office/drawing/2014/main" id="{6B4BC2F4-D64C-C871-4DBF-E5069C1659EC}"/>
                </a:ext>
              </a:extLst>
            </p:cNvPr>
            <p:cNvSpPr/>
            <p:nvPr/>
          </p:nvSpPr>
          <p:spPr bwMode="gray">
            <a:xfrm>
              <a:off x="9457479" y="1840697"/>
              <a:ext cx="2049991" cy="406400"/>
            </a:xfrm>
            <a:prstGeom prst="homePlate">
              <a:avLst/>
            </a:prstGeom>
            <a:solidFill>
              <a:schemeClr val="accent2">
                <a:lumMod val="75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52">
              <a:extLst>
                <a:ext uri="{FF2B5EF4-FFF2-40B4-BE49-F238E27FC236}">
                  <a16:creationId xmlns:a16="http://schemas.microsoft.com/office/drawing/2014/main" id="{CC95562A-8DF8-DBDB-718D-2637096E1FE1}"/>
                </a:ext>
              </a:extLst>
            </p:cNvPr>
            <p:cNvSpPr/>
            <p:nvPr/>
          </p:nvSpPr>
          <p:spPr bwMode="gray">
            <a:xfrm>
              <a:off x="9548730" y="1849531"/>
              <a:ext cx="1942142"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cap="all" dirty="0">
                  <a:solidFill>
                    <a:schemeClr val="bg1"/>
                  </a:solidFill>
                </a:rPr>
                <a:t>MONITORING</a:t>
              </a:r>
            </a:p>
          </p:txBody>
        </p:sp>
        <p:sp>
          <p:nvSpPr>
            <p:cNvPr id="54" name="Oval 53">
              <a:extLst>
                <a:ext uri="{FF2B5EF4-FFF2-40B4-BE49-F238E27FC236}">
                  <a16:creationId xmlns:a16="http://schemas.microsoft.com/office/drawing/2014/main" id="{1B5E3AA2-97D2-2198-0EA5-CAB0E2A21056}"/>
                </a:ext>
              </a:extLst>
            </p:cNvPr>
            <p:cNvSpPr/>
            <p:nvPr/>
          </p:nvSpPr>
          <p:spPr bwMode="gray">
            <a:xfrm>
              <a:off x="9642677" y="1931506"/>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5</a:t>
              </a:r>
            </a:p>
          </p:txBody>
        </p:sp>
      </p:grpSp>
      <p:grpSp>
        <p:nvGrpSpPr>
          <p:cNvPr id="55" name="Group 54">
            <a:extLst>
              <a:ext uri="{FF2B5EF4-FFF2-40B4-BE49-F238E27FC236}">
                <a16:creationId xmlns:a16="http://schemas.microsoft.com/office/drawing/2014/main" id="{C456EA45-E725-8C3B-A40C-86449A82EC78}"/>
              </a:ext>
            </a:extLst>
          </p:cNvPr>
          <p:cNvGrpSpPr/>
          <p:nvPr/>
        </p:nvGrpSpPr>
        <p:grpSpPr>
          <a:xfrm>
            <a:off x="452165" y="2034980"/>
            <a:ext cx="2055810" cy="406400"/>
            <a:chOff x="502710" y="1840697"/>
            <a:chExt cx="2055810" cy="406400"/>
          </a:xfrm>
        </p:grpSpPr>
        <p:sp>
          <p:nvSpPr>
            <p:cNvPr id="56" name="Pentagon 7">
              <a:extLst>
                <a:ext uri="{FF2B5EF4-FFF2-40B4-BE49-F238E27FC236}">
                  <a16:creationId xmlns:a16="http://schemas.microsoft.com/office/drawing/2014/main" id="{D3F853E6-2CB3-27D5-E1C2-D363AFF21CCF}"/>
                </a:ext>
              </a:extLst>
            </p:cNvPr>
            <p:cNvSpPr/>
            <p:nvPr/>
          </p:nvSpPr>
          <p:spPr bwMode="gray">
            <a:xfrm>
              <a:off x="502710" y="1840697"/>
              <a:ext cx="2055810" cy="406400"/>
            </a:xfrm>
            <a:prstGeom prst="homePlate">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Oval 56">
              <a:extLst>
                <a:ext uri="{FF2B5EF4-FFF2-40B4-BE49-F238E27FC236}">
                  <a16:creationId xmlns:a16="http://schemas.microsoft.com/office/drawing/2014/main" id="{D04A9E66-5D35-7769-3E0A-46DE74D81B05}"/>
                </a:ext>
              </a:extLst>
            </p:cNvPr>
            <p:cNvSpPr/>
            <p:nvPr/>
          </p:nvSpPr>
          <p:spPr bwMode="gray">
            <a:xfrm>
              <a:off x="701128" y="1927090"/>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1</a:t>
              </a:r>
            </a:p>
          </p:txBody>
        </p:sp>
        <p:sp>
          <p:nvSpPr>
            <p:cNvPr id="58" name="Rectangle 57">
              <a:extLst>
                <a:ext uri="{FF2B5EF4-FFF2-40B4-BE49-F238E27FC236}">
                  <a16:creationId xmlns:a16="http://schemas.microsoft.com/office/drawing/2014/main" id="{5FD9C94D-B194-7DA7-7A8E-997E52CF0365}"/>
                </a:ext>
              </a:extLst>
            </p:cNvPr>
            <p:cNvSpPr/>
            <p:nvPr/>
          </p:nvSpPr>
          <p:spPr bwMode="gray">
            <a:xfrm>
              <a:off x="593962" y="1845115"/>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cap="all" dirty="0">
                  <a:solidFill>
                    <a:schemeClr val="bg1"/>
                  </a:solidFill>
                </a:rPr>
                <a:t>Preparation</a:t>
              </a:r>
            </a:p>
          </p:txBody>
        </p:sp>
      </p:grpSp>
      <p:sp>
        <p:nvSpPr>
          <p:cNvPr id="59" name="Rectangle 58">
            <a:extLst>
              <a:ext uri="{FF2B5EF4-FFF2-40B4-BE49-F238E27FC236}">
                <a16:creationId xmlns:a16="http://schemas.microsoft.com/office/drawing/2014/main" id="{F6E39583-219C-6613-26A5-EA5280DAC87C}"/>
              </a:ext>
            </a:extLst>
          </p:cNvPr>
          <p:cNvSpPr/>
          <p:nvPr/>
        </p:nvSpPr>
        <p:spPr bwMode="gray">
          <a:xfrm>
            <a:off x="2690855" y="2556365"/>
            <a:ext cx="2055812"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dirty="0">
                <a:solidFill>
                  <a:schemeClr val="bg1"/>
                </a:solidFill>
              </a:rPr>
              <a:t>Review of the current processes, analysis</a:t>
            </a:r>
          </a:p>
        </p:txBody>
      </p:sp>
      <p:sp>
        <p:nvSpPr>
          <p:cNvPr id="60" name="Rectangle 59">
            <a:extLst>
              <a:ext uri="{FF2B5EF4-FFF2-40B4-BE49-F238E27FC236}">
                <a16:creationId xmlns:a16="http://schemas.microsoft.com/office/drawing/2014/main" id="{14658BF8-4C37-DD68-830C-9F29318BEF1C}"/>
              </a:ext>
            </a:extLst>
          </p:cNvPr>
          <p:cNvSpPr/>
          <p:nvPr/>
        </p:nvSpPr>
        <p:spPr bwMode="gray">
          <a:xfrm>
            <a:off x="4935367" y="2556364"/>
            <a:ext cx="2038350"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dirty="0">
                <a:solidFill>
                  <a:schemeClr val="bg1"/>
                </a:solidFill>
              </a:rPr>
              <a:t>Define improvements and target processes</a:t>
            </a:r>
          </a:p>
        </p:txBody>
      </p:sp>
      <p:sp>
        <p:nvSpPr>
          <p:cNvPr id="61" name="Rectangle 60">
            <a:extLst>
              <a:ext uri="{FF2B5EF4-FFF2-40B4-BE49-F238E27FC236}">
                <a16:creationId xmlns:a16="http://schemas.microsoft.com/office/drawing/2014/main" id="{F3B3BE6C-69EA-349F-C870-E9F6CDEA5A8E}"/>
              </a:ext>
            </a:extLst>
          </p:cNvPr>
          <p:cNvSpPr/>
          <p:nvPr/>
        </p:nvSpPr>
        <p:spPr bwMode="gray">
          <a:xfrm>
            <a:off x="7168237" y="2556363"/>
            <a:ext cx="2049994"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dirty="0">
                <a:solidFill>
                  <a:schemeClr val="bg1"/>
                </a:solidFill>
              </a:rPr>
              <a:t>Implement improvements</a:t>
            </a:r>
          </a:p>
        </p:txBody>
      </p:sp>
      <p:sp>
        <p:nvSpPr>
          <p:cNvPr id="62" name="Rectangle 61">
            <a:extLst>
              <a:ext uri="{FF2B5EF4-FFF2-40B4-BE49-F238E27FC236}">
                <a16:creationId xmlns:a16="http://schemas.microsoft.com/office/drawing/2014/main" id="{D0A4EEDD-3047-14DA-DF41-A8594684D7D3}"/>
              </a:ext>
            </a:extLst>
          </p:cNvPr>
          <p:cNvSpPr/>
          <p:nvPr/>
        </p:nvSpPr>
        <p:spPr bwMode="gray">
          <a:xfrm>
            <a:off x="9405875" y="2550959"/>
            <a:ext cx="2051050"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dirty="0">
                <a:solidFill>
                  <a:schemeClr val="bg1"/>
                </a:solidFill>
              </a:rPr>
              <a:t>Measure results</a:t>
            </a:r>
          </a:p>
        </p:txBody>
      </p:sp>
      <p:sp>
        <p:nvSpPr>
          <p:cNvPr id="63" name="Rectangle 62">
            <a:extLst>
              <a:ext uri="{FF2B5EF4-FFF2-40B4-BE49-F238E27FC236}">
                <a16:creationId xmlns:a16="http://schemas.microsoft.com/office/drawing/2014/main" id="{05A619C8-B666-7F87-5637-785B8CBED8D2}"/>
              </a:ext>
            </a:extLst>
          </p:cNvPr>
          <p:cNvSpPr/>
          <p:nvPr/>
        </p:nvSpPr>
        <p:spPr bwMode="gray">
          <a:xfrm>
            <a:off x="451105" y="2556363"/>
            <a:ext cx="2045229"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dirty="0">
                <a:solidFill>
                  <a:schemeClr val="bg1"/>
                </a:solidFill>
              </a:rPr>
              <a:t>Define project objectives and drawing up a project plan</a:t>
            </a:r>
          </a:p>
        </p:txBody>
      </p:sp>
      <p:sp>
        <p:nvSpPr>
          <p:cNvPr id="64" name="Rectangle 63">
            <a:extLst>
              <a:ext uri="{FF2B5EF4-FFF2-40B4-BE49-F238E27FC236}">
                <a16:creationId xmlns:a16="http://schemas.microsoft.com/office/drawing/2014/main" id="{57C8D5A5-1678-F322-F5E7-19840B5E8619}"/>
              </a:ext>
            </a:extLst>
          </p:cNvPr>
          <p:cNvSpPr/>
          <p:nvPr/>
        </p:nvSpPr>
        <p:spPr bwMode="gray">
          <a:xfrm>
            <a:off x="543417" y="2982772"/>
            <a:ext cx="1958738" cy="3081080"/>
          </a:xfrm>
          <a:prstGeom prst="rect">
            <a:avLst/>
          </a:prstGeom>
          <a:noFill/>
          <a:ln w="19050" algn="ctr">
            <a:noFill/>
            <a:prstDash val="solid"/>
            <a:miter lim="800000"/>
            <a:headEnd/>
            <a:tailEnd/>
          </a:ln>
        </p:spPr>
        <p:txBody>
          <a:bodyPr wrap="square" lIns="45720" tIns="88900" rIns="0" bIns="88900" rtlCol="0" anchor="t"/>
          <a:lstStyle/>
          <a:p>
            <a:pPr marL="171450" indent="-171450">
              <a:spcAft>
                <a:spcPts val="300"/>
              </a:spcAft>
              <a:buFont typeface="Arial" panose="020B0604020202020204" pitchFamily="34" charset="0"/>
              <a:buChar char="•"/>
            </a:pPr>
            <a:r>
              <a:rPr lang="en-US" sz="1050" dirty="0"/>
              <a:t>Specification of project objectives</a:t>
            </a:r>
          </a:p>
          <a:p>
            <a:pPr marL="171450" indent="-171450">
              <a:spcAft>
                <a:spcPts val="300"/>
              </a:spcAft>
              <a:buFont typeface="Arial" panose="020B0604020202020204" pitchFamily="34" charset="0"/>
              <a:buChar char="•"/>
            </a:pPr>
            <a:r>
              <a:rPr lang="en-US" sz="1050" dirty="0"/>
              <a:t>Defining project objectives and gathering management ambitions</a:t>
            </a:r>
          </a:p>
          <a:p>
            <a:pPr marL="171450" indent="-171450">
              <a:spcAft>
                <a:spcPts val="300"/>
              </a:spcAft>
              <a:buFont typeface="Arial" panose="020B0604020202020204" pitchFamily="34" charset="0"/>
              <a:buChar char="•"/>
            </a:pPr>
            <a:r>
              <a:rPr lang="en-US" sz="1050" dirty="0"/>
              <a:t>Selecting the processes to be assessed</a:t>
            </a:r>
          </a:p>
          <a:p>
            <a:pPr marL="171450" indent="-171450">
              <a:spcAft>
                <a:spcPts val="300"/>
              </a:spcAft>
              <a:buFont typeface="Arial" panose="020B0604020202020204" pitchFamily="34" charset="0"/>
              <a:buChar char="•"/>
            </a:pPr>
            <a:r>
              <a:rPr lang="en-US" sz="1050" dirty="0"/>
              <a:t>Assigning participants</a:t>
            </a:r>
          </a:p>
          <a:p>
            <a:pPr marL="171450" indent="-171450">
              <a:spcAft>
                <a:spcPts val="300"/>
              </a:spcAft>
              <a:buFont typeface="Arial" panose="020B0604020202020204" pitchFamily="34" charset="0"/>
              <a:buChar char="•"/>
            </a:pPr>
            <a:r>
              <a:rPr lang="en-US" sz="1050" dirty="0"/>
              <a:t>Creating a project plan</a:t>
            </a:r>
          </a:p>
          <a:p>
            <a:pPr marL="171450" indent="-171450">
              <a:spcAft>
                <a:spcPts val="300"/>
              </a:spcAft>
              <a:buFont typeface="Arial" panose="020B0604020202020204" pitchFamily="34" charset="0"/>
              <a:buChar char="•"/>
            </a:pPr>
            <a:r>
              <a:rPr lang="en-US" sz="1050" dirty="0"/>
              <a:t>Compiling data request</a:t>
            </a:r>
          </a:p>
          <a:p>
            <a:pPr marL="171450" indent="-171450">
              <a:spcAft>
                <a:spcPts val="300"/>
              </a:spcAft>
              <a:buFont typeface="Arial" panose="020B0604020202020204" pitchFamily="34" charset="0"/>
              <a:buChar char="•"/>
            </a:pPr>
            <a:r>
              <a:rPr lang="en-US" sz="1050" dirty="0"/>
              <a:t>Voice of Customer (VOC) is used to gather customer insights and identify critical quality parameters</a:t>
            </a:r>
          </a:p>
          <a:p>
            <a:pPr marL="171450" indent="-171450">
              <a:spcAft>
                <a:spcPts val="300"/>
              </a:spcAft>
              <a:buFont typeface="Arial" panose="020B0604020202020204" pitchFamily="34" charset="0"/>
              <a:buChar char="•"/>
            </a:pPr>
            <a:r>
              <a:rPr lang="en-US" sz="1050" dirty="0"/>
              <a:t>Development of templates</a:t>
            </a:r>
            <a:br>
              <a:rPr lang="en-US" sz="1050" i="1" dirty="0"/>
            </a:br>
            <a:endParaRPr lang="en-US" sz="1050" i="1" dirty="0"/>
          </a:p>
        </p:txBody>
      </p:sp>
      <p:sp>
        <p:nvSpPr>
          <p:cNvPr id="65" name="Rectangle 64">
            <a:extLst>
              <a:ext uri="{FF2B5EF4-FFF2-40B4-BE49-F238E27FC236}">
                <a16:creationId xmlns:a16="http://schemas.microsoft.com/office/drawing/2014/main" id="{3E6D69E3-A90F-429C-E6D7-14EDF9E0024E}"/>
              </a:ext>
            </a:extLst>
          </p:cNvPr>
          <p:cNvSpPr/>
          <p:nvPr/>
        </p:nvSpPr>
        <p:spPr bwMode="gray">
          <a:xfrm>
            <a:off x="2782109" y="2982772"/>
            <a:ext cx="1958738" cy="3081080"/>
          </a:xfrm>
          <a:prstGeom prst="rect">
            <a:avLst/>
          </a:prstGeom>
          <a:noFill/>
          <a:ln w="19050" algn="ctr">
            <a:noFill/>
            <a:prstDash val="solid"/>
            <a:miter lim="800000"/>
            <a:headEnd/>
            <a:tailEnd/>
          </a:ln>
        </p:spPr>
        <p:txBody>
          <a:bodyPr wrap="square" lIns="45720" tIns="88900" rIns="0" bIns="88900" rtlCol="0" anchor="t"/>
          <a:lstStyle/>
          <a:p>
            <a:pPr marL="171450" indent="-171450">
              <a:lnSpc>
                <a:spcPct val="106000"/>
              </a:lnSpc>
              <a:spcAft>
                <a:spcPts val="600"/>
              </a:spcAft>
              <a:buFont typeface="Arial" panose="020B0604020202020204" pitchFamily="34" charset="0"/>
              <a:buChar char="•"/>
            </a:pPr>
            <a:r>
              <a:rPr lang="en-US" sz="1000" dirty="0"/>
              <a:t>Mapping the As-Is process</a:t>
            </a:r>
          </a:p>
          <a:p>
            <a:pPr marL="171450" indent="-171450">
              <a:lnSpc>
                <a:spcPct val="106000"/>
              </a:lnSpc>
              <a:spcAft>
                <a:spcPts val="600"/>
              </a:spcAft>
              <a:buFont typeface="Arial" panose="020B0604020202020204" pitchFamily="34" charset="0"/>
              <a:buChar char="•"/>
            </a:pPr>
            <a:r>
              <a:rPr lang="en-US" sz="1000" dirty="0"/>
              <a:t>Creating Value Stream Maps to support the identification of improvement recommendations</a:t>
            </a:r>
          </a:p>
          <a:p>
            <a:pPr marL="171450" indent="-171450">
              <a:lnSpc>
                <a:spcPct val="106000"/>
              </a:lnSpc>
              <a:spcAft>
                <a:spcPts val="600"/>
              </a:spcAft>
              <a:buFont typeface="Arial" panose="020B0604020202020204" pitchFamily="34" charset="0"/>
              <a:buChar char="•"/>
            </a:pPr>
            <a:r>
              <a:rPr lang="en-US" sz="1000" dirty="0"/>
              <a:t>Carrying out a baseline measurement</a:t>
            </a:r>
          </a:p>
          <a:p>
            <a:pPr marL="171450" indent="-171450">
              <a:lnSpc>
                <a:spcPct val="106000"/>
              </a:lnSpc>
              <a:spcAft>
                <a:spcPts val="600"/>
              </a:spcAft>
              <a:buFont typeface="Arial" panose="020B0604020202020204" pitchFamily="34" charset="0"/>
              <a:buChar char="•"/>
            </a:pPr>
            <a:r>
              <a:rPr lang="en-US" sz="1000" dirty="0"/>
              <a:t>Compiling and sending out a staff questionnaire</a:t>
            </a:r>
          </a:p>
          <a:p>
            <a:pPr marL="171450" indent="-171450">
              <a:lnSpc>
                <a:spcPct val="106000"/>
              </a:lnSpc>
              <a:spcAft>
                <a:spcPts val="600"/>
              </a:spcAft>
              <a:buFont typeface="Arial" panose="020B0604020202020204" pitchFamily="34" charset="0"/>
              <a:buChar char="•"/>
            </a:pPr>
            <a:r>
              <a:rPr lang="en-US" sz="1000" dirty="0"/>
              <a:t>Identification of losses and root causes using fishbone analysis or 5 Whys</a:t>
            </a:r>
          </a:p>
          <a:p>
            <a:pPr marL="171450" indent="-171450">
              <a:lnSpc>
                <a:spcPct val="106000"/>
              </a:lnSpc>
              <a:spcAft>
                <a:spcPts val="600"/>
              </a:spcAft>
              <a:buFont typeface="Arial" panose="020B0604020202020204" pitchFamily="34" charset="0"/>
              <a:buChar char="•"/>
            </a:pPr>
            <a:endParaRPr lang="en-US" sz="1000" dirty="0"/>
          </a:p>
          <a:p>
            <a:pPr marL="171450" indent="-171450">
              <a:lnSpc>
                <a:spcPct val="106000"/>
              </a:lnSpc>
              <a:spcAft>
                <a:spcPts val="600"/>
              </a:spcAft>
              <a:buFont typeface="Arial" panose="020B0604020202020204" pitchFamily="34" charset="0"/>
              <a:buChar char="•"/>
            </a:pPr>
            <a:endParaRPr lang="en-US" sz="1000" dirty="0"/>
          </a:p>
        </p:txBody>
      </p:sp>
      <p:sp>
        <p:nvSpPr>
          <p:cNvPr id="66" name="Rectangle 65">
            <a:extLst>
              <a:ext uri="{FF2B5EF4-FFF2-40B4-BE49-F238E27FC236}">
                <a16:creationId xmlns:a16="http://schemas.microsoft.com/office/drawing/2014/main" id="{795AFDBA-8FE3-2429-4F45-3EAC68711EE6}"/>
              </a:ext>
            </a:extLst>
          </p:cNvPr>
          <p:cNvSpPr/>
          <p:nvPr/>
        </p:nvSpPr>
        <p:spPr bwMode="gray">
          <a:xfrm>
            <a:off x="5020801" y="2982772"/>
            <a:ext cx="1958738" cy="3081080"/>
          </a:xfrm>
          <a:prstGeom prst="rect">
            <a:avLst/>
          </a:prstGeom>
          <a:noFill/>
          <a:ln w="19050" algn="ctr">
            <a:noFill/>
            <a:prstDash val="solid"/>
            <a:miter lim="800000"/>
            <a:headEnd/>
            <a:tailEnd/>
          </a:ln>
        </p:spPr>
        <p:txBody>
          <a:bodyPr wrap="square" lIns="45720" tIns="88900" rIns="0" bIns="88900" rtlCol="0" anchor="t"/>
          <a:lstStyle/>
          <a:p>
            <a:pPr marL="171450" indent="-171450">
              <a:lnSpc>
                <a:spcPct val="106000"/>
              </a:lnSpc>
              <a:spcAft>
                <a:spcPts val="100"/>
              </a:spcAft>
              <a:buFont typeface="Arial" panose="020B0604020202020204" pitchFamily="34" charset="0"/>
              <a:buChar char="•"/>
            </a:pPr>
            <a:r>
              <a:rPr lang="en-US" sz="1000" dirty="0"/>
              <a:t>Aligning improvement recommendations and decision points</a:t>
            </a:r>
          </a:p>
          <a:p>
            <a:pPr marL="177800" indent="-171450">
              <a:lnSpc>
                <a:spcPct val="106000"/>
              </a:lnSpc>
              <a:spcAft>
                <a:spcPts val="100"/>
              </a:spcAft>
              <a:buFont typeface="Arial" panose="020B0604020202020204" pitchFamily="34" charset="0"/>
              <a:buChar char="•"/>
            </a:pPr>
            <a:r>
              <a:rPr lang="en-US" sz="1000" dirty="0"/>
              <a:t>Collecting business and IT requirements</a:t>
            </a:r>
          </a:p>
          <a:p>
            <a:pPr marL="177800" indent="-171450">
              <a:lnSpc>
                <a:spcPct val="106000"/>
              </a:lnSpc>
              <a:spcAft>
                <a:spcPts val="100"/>
              </a:spcAft>
              <a:buFont typeface="Arial" panose="020B0604020202020204" pitchFamily="34" charset="0"/>
              <a:buChar char="•"/>
            </a:pPr>
            <a:r>
              <a:rPr lang="en-US" sz="1000" dirty="0"/>
              <a:t>Prioritisation of developments</a:t>
            </a:r>
          </a:p>
          <a:p>
            <a:pPr marL="177800" indent="-171450">
              <a:lnSpc>
                <a:spcPct val="106000"/>
              </a:lnSpc>
              <a:spcAft>
                <a:spcPts val="100"/>
              </a:spcAft>
              <a:buFont typeface="Arial" panose="020B0604020202020204" pitchFamily="34" charset="0"/>
              <a:buChar char="•"/>
            </a:pPr>
            <a:r>
              <a:rPr lang="en-US" sz="1000" dirty="0"/>
              <a:t>Design and document To-Be processes (KPIs)</a:t>
            </a:r>
          </a:p>
          <a:p>
            <a:pPr marL="177800" indent="-171450">
              <a:lnSpc>
                <a:spcPct val="106000"/>
              </a:lnSpc>
              <a:spcAft>
                <a:spcPts val="100"/>
              </a:spcAft>
              <a:buFont typeface="Arial" panose="020B0604020202020204" pitchFamily="34" charset="0"/>
              <a:buChar char="•"/>
            </a:pPr>
            <a:r>
              <a:rPr lang="en-US" sz="1000" dirty="0"/>
              <a:t>Defining process times</a:t>
            </a:r>
          </a:p>
          <a:p>
            <a:pPr marL="177800" indent="-171450">
              <a:lnSpc>
                <a:spcPct val="106000"/>
              </a:lnSpc>
              <a:spcAft>
                <a:spcPts val="100"/>
              </a:spcAft>
              <a:buFont typeface="Arial" panose="020B0604020202020204" pitchFamily="34" charset="0"/>
              <a:buChar char="•"/>
            </a:pPr>
            <a:r>
              <a:rPr lang="en-US" sz="1000" dirty="0"/>
              <a:t>Calculating savings</a:t>
            </a:r>
          </a:p>
          <a:p>
            <a:pPr marL="177800" indent="-171450">
              <a:lnSpc>
                <a:spcPct val="106000"/>
              </a:lnSpc>
              <a:spcAft>
                <a:spcPts val="100"/>
              </a:spcAft>
              <a:buFont typeface="Arial" panose="020B0604020202020204" pitchFamily="34" charset="0"/>
              <a:buChar char="•"/>
            </a:pPr>
            <a:r>
              <a:rPr lang="en-US" sz="1000" dirty="0"/>
              <a:t>Creating high level roadmap</a:t>
            </a:r>
          </a:p>
          <a:p>
            <a:pPr marL="177800" indent="-171450">
              <a:lnSpc>
                <a:spcPct val="106000"/>
              </a:lnSpc>
              <a:spcAft>
                <a:spcPts val="100"/>
              </a:spcAft>
              <a:buFont typeface="Arial" panose="020B0604020202020204" pitchFamily="34" charset="0"/>
              <a:buChar char="•"/>
            </a:pPr>
            <a:r>
              <a:rPr lang="en-US" sz="1000" dirty="0"/>
              <a:t>Performing SIPOC (Supplier, Input, Process, Output and Customer)</a:t>
            </a:r>
          </a:p>
        </p:txBody>
      </p:sp>
      <p:sp>
        <p:nvSpPr>
          <p:cNvPr id="67" name="Rectangle 66">
            <a:extLst>
              <a:ext uri="{FF2B5EF4-FFF2-40B4-BE49-F238E27FC236}">
                <a16:creationId xmlns:a16="http://schemas.microsoft.com/office/drawing/2014/main" id="{06D058B2-7653-F0C7-F1D0-F1911F03F5D9}"/>
              </a:ext>
            </a:extLst>
          </p:cNvPr>
          <p:cNvSpPr/>
          <p:nvPr/>
        </p:nvSpPr>
        <p:spPr bwMode="gray">
          <a:xfrm>
            <a:off x="7259493" y="2982772"/>
            <a:ext cx="1958738" cy="3081080"/>
          </a:xfrm>
          <a:prstGeom prst="rect">
            <a:avLst/>
          </a:prstGeom>
          <a:noFill/>
          <a:ln w="19050" algn="ctr">
            <a:noFill/>
            <a:prstDash val="solid"/>
            <a:miter lim="800000"/>
            <a:headEnd/>
            <a:tailEnd/>
          </a:ln>
        </p:spPr>
        <p:txBody>
          <a:bodyPr wrap="square" lIns="45720" tIns="88900" rIns="0" bIns="88900" rtlCol="0" anchor="t"/>
          <a:lstStyle/>
          <a:p>
            <a:pPr marL="171450" indent="-171450">
              <a:lnSpc>
                <a:spcPct val="106000"/>
              </a:lnSpc>
              <a:spcAft>
                <a:spcPts val="100"/>
              </a:spcAft>
              <a:buFont typeface="Arial" panose="020B0604020202020204" pitchFamily="34" charset="0"/>
              <a:buChar char="•"/>
            </a:pPr>
            <a:r>
              <a:rPr lang="en-US" sz="1000" dirty="0"/>
              <a:t>Detailed implementation planning</a:t>
            </a:r>
          </a:p>
          <a:p>
            <a:pPr marL="171450" indent="-171450">
              <a:lnSpc>
                <a:spcPct val="106000"/>
              </a:lnSpc>
              <a:spcAft>
                <a:spcPts val="100"/>
              </a:spcAft>
              <a:buFont typeface="Arial" panose="020B0604020202020204" pitchFamily="34" charset="0"/>
              <a:buChar char="•"/>
            </a:pPr>
            <a:r>
              <a:rPr lang="en-US" sz="1000" dirty="0"/>
              <a:t>Execution of improvements</a:t>
            </a:r>
          </a:p>
        </p:txBody>
      </p:sp>
      <p:sp>
        <p:nvSpPr>
          <p:cNvPr id="68" name="Rectangle 67">
            <a:extLst>
              <a:ext uri="{FF2B5EF4-FFF2-40B4-BE49-F238E27FC236}">
                <a16:creationId xmlns:a16="http://schemas.microsoft.com/office/drawing/2014/main" id="{18A79124-D6E7-F5FC-394D-3F7E82BD08FF}"/>
              </a:ext>
            </a:extLst>
          </p:cNvPr>
          <p:cNvSpPr/>
          <p:nvPr/>
        </p:nvSpPr>
        <p:spPr bwMode="gray">
          <a:xfrm>
            <a:off x="9498187" y="2982772"/>
            <a:ext cx="1958738" cy="3081080"/>
          </a:xfrm>
          <a:prstGeom prst="rect">
            <a:avLst/>
          </a:prstGeom>
          <a:noFill/>
          <a:ln w="19050" algn="ctr">
            <a:noFill/>
            <a:prstDash val="solid"/>
            <a:miter lim="800000"/>
            <a:headEnd/>
            <a:tailEnd/>
          </a:ln>
        </p:spPr>
        <p:txBody>
          <a:bodyPr wrap="square" lIns="45720" tIns="88900" rIns="0" bIns="88900" rtlCol="0" anchor="t"/>
          <a:lstStyle/>
          <a:p>
            <a:pPr marL="171450" indent="-171450">
              <a:lnSpc>
                <a:spcPct val="106000"/>
              </a:lnSpc>
              <a:spcAft>
                <a:spcPts val="100"/>
              </a:spcAft>
              <a:buFont typeface="Arial" panose="020B0604020202020204" pitchFamily="34" charset="0"/>
              <a:buChar char="•"/>
            </a:pPr>
            <a:r>
              <a:rPr lang="en-US" sz="1000" dirty="0"/>
              <a:t>Organization and execution of monitoring</a:t>
            </a:r>
          </a:p>
          <a:p>
            <a:pPr marL="171450" indent="-171450">
              <a:lnSpc>
                <a:spcPct val="106000"/>
              </a:lnSpc>
              <a:spcAft>
                <a:spcPts val="100"/>
              </a:spcAft>
              <a:buFont typeface="Arial" panose="020B0604020202020204" pitchFamily="34" charset="0"/>
              <a:buChar char="•"/>
            </a:pPr>
            <a:r>
              <a:rPr lang="en-US" sz="1000" dirty="0"/>
              <a:t>Measuring benefits along different aspects:</a:t>
            </a:r>
          </a:p>
          <a:p>
            <a:pPr marL="447675" lvl="1" indent="-171450">
              <a:lnSpc>
                <a:spcPct val="106000"/>
              </a:lnSpc>
              <a:spcAft>
                <a:spcPts val="100"/>
              </a:spcAft>
              <a:buFont typeface="Arial" panose="020B0604020202020204" pitchFamily="34" charset="0"/>
              <a:buChar char="•"/>
            </a:pPr>
            <a:r>
              <a:rPr lang="en-US" sz="1000" dirty="0"/>
              <a:t>Cost saving</a:t>
            </a:r>
          </a:p>
          <a:p>
            <a:pPr marL="447675" lvl="1" indent="-171450">
              <a:lnSpc>
                <a:spcPct val="106000"/>
              </a:lnSpc>
              <a:spcAft>
                <a:spcPts val="100"/>
              </a:spcAft>
              <a:buFont typeface="Arial" panose="020B0604020202020204" pitchFamily="34" charset="0"/>
              <a:buChar char="•"/>
            </a:pPr>
            <a:r>
              <a:rPr lang="en-US" sz="1000" dirty="0"/>
              <a:t>More efficient operation</a:t>
            </a:r>
          </a:p>
          <a:p>
            <a:pPr marL="447675" lvl="1" indent="-171450">
              <a:lnSpc>
                <a:spcPct val="106000"/>
              </a:lnSpc>
              <a:spcAft>
                <a:spcPts val="100"/>
              </a:spcAft>
              <a:buFont typeface="Arial" panose="020B0604020202020204" pitchFamily="34" charset="0"/>
              <a:buChar char="•"/>
            </a:pPr>
            <a:r>
              <a:rPr lang="en-US" sz="1000" dirty="0"/>
              <a:t>Quality improvement</a:t>
            </a:r>
          </a:p>
          <a:p>
            <a:pPr marL="447675" lvl="1" indent="-171450">
              <a:lnSpc>
                <a:spcPct val="106000"/>
              </a:lnSpc>
              <a:spcAft>
                <a:spcPts val="100"/>
              </a:spcAft>
              <a:buFont typeface="Arial" panose="020B0604020202020204" pitchFamily="34" charset="0"/>
              <a:buChar char="•"/>
            </a:pPr>
            <a:r>
              <a:rPr lang="en-US" sz="1000" dirty="0"/>
              <a:t>Customer experience improvement</a:t>
            </a:r>
          </a:p>
          <a:p>
            <a:pPr marL="447675" lvl="1" indent="-171450">
              <a:lnSpc>
                <a:spcPct val="106000"/>
              </a:lnSpc>
              <a:spcAft>
                <a:spcPts val="100"/>
              </a:spcAft>
              <a:buFont typeface="Arial" panose="020B0604020202020204" pitchFamily="34" charset="0"/>
              <a:buChar char="•"/>
            </a:pPr>
            <a:r>
              <a:rPr lang="en-US" sz="1000" dirty="0"/>
              <a:t>Decreased FTE</a:t>
            </a:r>
          </a:p>
          <a:p>
            <a:pPr marL="171450" indent="-171450">
              <a:lnSpc>
                <a:spcPct val="106000"/>
              </a:lnSpc>
              <a:spcAft>
                <a:spcPts val="100"/>
              </a:spcAft>
              <a:buFont typeface="Arial" panose="020B0604020202020204" pitchFamily="34" charset="0"/>
              <a:buChar char="•"/>
            </a:pPr>
            <a:r>
              <a:rPr lang="en-US" sz="1000" dirty="0"/>
              <a:t>Implementing ideas based on remeasurements</a:t>
            </a:r>
          </a:p>
        </p:txBody>
      </p:sp>
      <p:sp>
        <p:nvSpPr>
          <p:cNvPr id="72" name="Pentagon 7">
            <a:extLst>
              <a:ext uri="{FF2B5EF4-FFF2-40B4-BE49-F238E27FC236}">
                <a16:creationId xmlns:a16="http://schemas.microsoft.com/office/drawing/2014/main" id="{793715D7-6E6B-9234-9146-FE3764B718C3}"/>
              </a:ext>
            </a:extLst>
          </p:cNvPr>
          <p:cNvSpPr/>
          <p:nvPr/>
        </p:nvSpPr>
        <p:spPr bwMode="gray">
          <a:xfrm>
            <a:off x="9378489" y="270142"/>
            <a:ext cx="579899" cy="406400"/>
          </a:xfrm>
          <a:prstGeom prst="homePlate">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4" name="Rectangle 73">
            <a:extLst>
              <a:ext uri="{FF2B5EF4-FFF2-40B4-BE49-F238E27FC236}">
                <a16:creationId xmlns:a16="http://schemas.microsoft.com/office/drawing/2014/main" id="{5226C469-EACD-7107-0E0D-F229E336A0BA}"/>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75" name="Arrow: Chevron 74">
            <a:extLst>
              <a:ext uri="{FF2B5EF4-FFF2-40B4-BE49-F238E27FC236}">
                <a16:creationId xmlns:a16="http://schemas.microsoft.com/office/drawing/2014/main" id="{C350FB2E-6CF5-2867-8B26-68A5FBA00390}"/>
              </a:ext>
            </a:extLst>
          </p:cNvPr>
          <p:cNvSpPr/>
          <p:nvPr/>
        </p:nvSpPr>
        <p:spPr bwMode="gray">
          <a:xfrm>
            <a:off x="9824615" y="270142"/>
            <a:ext cx="579899" cy="406400"/>
          </a:xfrm>
          <a:prstGeom prst="chevron">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Arrow: Chevron 75">
            <a:extLst>
              <a:ext uri="{FF2B5EF4-FFF2-40B4-BE49-F238E27FC236}">
                <a16:creationId xmlns:a16="http://schemas.microsoft.com/office/drawing/2014/main" id="{2BF17FCE-3DC8-D592-85D0-CDA117B4BED5}"/>
              </a:ext>
            </a:extLst>
          </p:cNvPr>
          <p:cNvSpPr/>
          <p:nvPr/>
        </p:nvSpPr>
        <p:spPr bwMode="gray">
          <a:xfrm>
            <a:off x="10270741" y="265725"/>
            <a:ext cx="579899" cy="406400"/>
          </a:xfrm>
          <a:prstGeom prst="chevron">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Arrow: Chevron 76">
            <a:extLst>
              <a:ext uri="{FF2B5EF4-FFF2-40B4-BE49-F238E27FC236}">
                <a16:creationId xmlns:a16="http://schemas.microsoft.com/office/drawing/2014/main" id="{2D39CA6F-ADF6-E331-451B-389FB8E25CC9}"/>
              </a:ext>
            </a:extLst>
          </p:cNvPr>
          <p:cNvSpPr/>
          <p:nvPr/>
        </p:nvSpPr>
        <p:spPr bwMode="gray">
          <a:xfrm>
            <a:off x="10716867" y="265725"/>
            <a:ext cx="579899" cy="406400"/>
          </a:xfrm>
          <a:prstGeom prst="chevron">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8" name="Arrow: Chevron 77">
            <a:extLst>
              <a:ext uri="{FF2B5EF4-FFF2-40B4-BE49-F238E27FC236}">
                <a16:creationId xmlns:a16="http://schemas.microsoft.com/office/drawing/2014/main" id="{D06B268C-6CC0-B31B-EBE4-4A8ED6546CBE}"/>
              </a:ext>
            </a:extLst>
          </p:cNvPr>
          <p:cNvSpPr/>
          <p:nvPr/>
        </p:nvSpPr>
        <p:spPr bwMode="gray">
          <a:xfrm>
            <a:off x="11162992" y="265140"/>
            <a:ext cx="579899" cy="406400"/>
          </a:xfrm>
          <a:prstGeom prst="chevron">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182200231"/>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 name="think-cell data - do not delete" hidden="1">
            <a:extLst>
              <a:ext uri="{FF2B5EF4-FFF2-40B4-BE49-F238E27FC236}">
                <a16:creationId xmlns:a16="http://schemas.microsoft.com/office/drawing/2014/main" id="{C6DF2AC2-79E8-BD0F-3E13-50E652C672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123" name="think-cell data - do not delete" hidden="1">
                        <a:extLst>
                          <a:ext uri="{FF2B5EF4-FFF2-40B4-BE49-F238E27FC236}">
                            <a16:creationId xmlns:a16="http://schemas.microsoft.com/office/drawing/2014/main" id="{C6DF2AC2-79E8-BD0F-3E13-50E652C6727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649FBFB-1736-5E4D-774E-7A6564F90F17}"/>
              </a:ext>
            </a:extLst>
          </p:cNvPr>
          <p:cNvSpPr>
            <a:spLocks noGrp="1"/>
          </p:cNvSpPr>
          <p:nvPr>
            <p:ph type="body" sz="quarter" idx="22"/>
          </p:nvPr>
        </p:nvSpPr>
        <p:spPr/>
        <p:txBody>
          <a:bodyPr/>
          <a:lstStyle/>
          <a:p>
            <a:r>
              <a:rPr lang="en-US" dirty="0"/>
              <a:t>One of the success factors of process improvement projects is careful project scheduling, which makes capacity needs and their timing transparent</a:t>
            </a:r>
          </a:p>
        </p:txBody>
      </p:sp>
      <p:sp>
        <p:nvSpPr>
          <p:cNvPr id="3" name="Title 2">
            <a:extLst>
              <a:ext uri="{FF2B5EF4-FFF2-40B4-BE49-F238E27FC236}">
                <a16:creationId xmlns:a16="http://schemas.microsoft.com/office/drawing/2014/main" id="{75E1A9FB-63B0-DA68-E0D1-37D07F2944D6}"/>
              </a:ext>
            </a:extLst>
          </p:cNvPr>
          <p:cNvSpPr>
            <a:spLocks noGrp="1"/>
          </p:cNvSpPr>
          <p:nvPr>
            <p:ph type="title"/>
          </p:nvPr>
        </p:nvSpPr>
        <p:spPr/>
        <p:txBody>
          <a:bodyPr vert="horz"/>
          <a:lstStyle/>
          <a:p>
            <a:r>
              <a:rPr lang="en-US" dirty="0"/>
              <a:t>Preparation - Planning a project</a:t>
            </a:r>
          </a:p>
        </p:txBody>
      </p:sp>
      <p:sp>
        <p:nvSpPr>
          <p:cNvPr id="4" name="Rectangle 3">
            <a:extLst>
              <a:ext uri="{FF2B5EF4-FFF2-40B4-BE49-F238E27FC236}">
                <a16:creationId xmlns:a16="http://schemas.microsoft.com/office/drawing/2014/main" id="{ECE1A213-9DA9-0D4F-84B2-B663902ED863}"/>
              </a:ext>
            </a:extLst>
          </p:cNvPr>
          <p:cNvSpPr/>
          <p:nvPr/>
        </p:nvSpPr>
        <p:spPr bwMode="gray">
          <a:xfrm>
            <a:off x="687644" y="2243192"/>
            <a:ext cx="1958738" cy="3730888"/>
          </a:xfrm>
          <a:prstGeom prst="rect">
            <a:avLst/>
          </a:prstGeom>
          <a:solidFill>
            <a:srgbClr val="F7F7F7"/>
          </a:solidFill>
          <a:ln w="19050" algn="ctr">
            <a:noFill/>
            <a:prstDash val="solid"/>
            <a:miter lim="800000"/>
            <a:headEnd/>
            <a:tailEnd/>
          </a:ln>
        </p:spPr>
        <p:txBody>
          <a:bodyPr wrap="square" lIns="45720" tIns="88900" rIns="0" bIns="88900" rtlCol="0" anchor="ctr"/>
          <a:lstStyle/>
          <a:p>
            <a:pPr marL="171450" indent="-171450">
              <a:spcAft>
                <a:spcPts val="300"/>
              </a:spcAft>
              <a:buFont typeface="Arial" panose="020B0604020202020204" pitchFamily="34" charset="0"/>
              <a:buChar char="•"/>
            </a:pPr>
            <a:endParaRPr lang="en-US" sz="1200" dirty="0">
              <a:solidFill>
                <a:schemeClr val="tx2"/>
              </a:solidFill>
              <a:ea typeface="Ubuntu" charset="0"/>
              <a:cs typeface="Ubuntu" charset="0"/>
            </a:endParaRPr>
          </a:p>
        </p:txBody>
      </p:sp>
      <p:sp>
        <p:nvSpPr>
          <p:cNvPr id="5" name="Rectangle 4">
            <a:extLst>
              <a:ext uri="{FF2B5EF4-FFF2-40B4-BE49-F238E27FC236}">
                <a16:creationId xmlns:a16="http://schemas.microsoft.com/office/drawing/2014/main" id="{357503B9-C1A8-188A-0A1E-B9F0B430BB7E}"/>
              </a:ext>
            </a:extLst>
          </p:cNvPr>
          <p:cNvSpPr/>
          <p:nvPr/>
        </p:nvSpPr>
        <p:spPr bwMode="gray">
          <a:xfrm>
            <a:off x="2905322" y="2239790"/>
            <a:ext cx="1958738" cy="3734290"/>
          </a:xfrm>
          <a:prstGeom prst="rect">
            <a:avLst/>
          </a:prstGeom>
          <a:solidFill>
            <a:srgbClr val="F7F7F7"/>
          </a:solidFill>
          <a:ln w="19050" algn="ctr">
            <a:noFill/>
            <a:prstDash val="solid"/>
            <a:miter lim="800000"/>
            <a:headEnd/>
            <a:tailEnd/>
          </a:ln>
        </p:spPr>
        <p:txBody>
          <a:bodyPr wrap="square" lIns="45720" tIns="1371600" rIns="0" bIns="0" rtlCol="0" anchor="ctr"/>
          <a:lstStyle/>
          <a:p>
            <a:pPr marL="171450" indent="-171450">
              <a:spcAft>
                <a:spcPts val="300"/>
              </a:spcAft>
              <a:buFont typeface="Arial" panose="020B0604020202020204" pitchFamily="34" charset="0"/>
              <a:buChar char="•"/>
            </a:pPr>
            <a:endParaRPr lang="en-US" sz="1200" dirty="0">
              <a:solidFill>
                <a:schemeClr val="tx2"/>
              </a:solidFill>
              <a:ea typeface="Ubuntu" charset="0"/>
              <a:cs typeface="Ubuntu" charset="0"/>
            </a:endParaRPr>
          </a:p>
        </p:txBody>
      </p:sp>
      <p:sp>
        <p:nvSpPr>
          <p:cNvPr id="6" name="Rectangle 5">
            <a:extLst>
              <a:ext uri="{FF2B5EF4-FFF2-40B4-BE49-F238E27FC236}">
                <a16:creationId xmlns:a16="http://schemas.microsoft.com/office/drawing/2014/main" id="{D51122A9-5D74-DDD2-A1F3-B65BB0657E00}"/>
              </a:ext>
            </a:extLst>
          </p:cNvPr>
          <p:cNvSpPr/>
          <p:nvPr/>
        </p:nvSpPr>
        <p:spPr bwMode="gray">
          <a:xfrm>
            <a:off x="5123000" y="2239790"/>
            <a:ext cx="1958738" cy="3734290"/>
          </a:xfrm>
          <a:prstGeom prst="rect">
            <a:avLst/>
          </a:prstGeom>
          <a:solidFill>
            <a:srgbClr val="F7F7F7"/>
          </a:solidFill>
          <a:ln w="19050" algn="ctr">
            <a:noFill/>
            <a:prstDash val="solid"/>
            <a:miter lim="800000"/>
            <a:headEnd/>
            <a:tailEnd/>
          </a:ln>
        </p:spPr>
        <p:txBody>
          <a:bodyPr wrap="square" lIns="45720" tIns="822960" rIns="0" bIns="88900" rtlCol="0" anchor="ctr"/>
          <a:lstStyle/>
          <a:p>
            <a:pPr marL="171450" indent="-171450">
              <a:spcAft>
                <a:spcPts val="300"/>
              </a:spcAft>
              <a:buFont typeface="Arial" panose="020B0604020202020204" pitchFamily="34" charset="0"/>
              <a:buChar char="•"/>
            </a:pPr>
            <a:endParaRPr lang="en-US" sz="1200" dirty="0">
              <a:solidFill>
                <a:schemeClr val="tx2"/>
              </a:solidFill>
              <a:ea typeface="Ubuntu" charset="0"/>
              <a:cs typeface="Ubuntu" charset="0"/>
            </a:endParaRPr>
          </a:p>
        </p:txBody>
      </p:sp>
      <p:sp>
        <p:nvSpPr>
          <p:cNvPr id="7" name="Rectangle 6">
            <a:extLst>
              <a:ext uri="{FF2B5EF4-FFF2-40B4-BE49-F238E27FC236}">
                <a16:creationId xmlns:a16="http://schemas.microsoft.com/office/drawing/2014/main" id="{06147D46-264F-BA09-9E31-A1424EAB9F79}"/>
              </a:ext>
            </a:extLst>
          </p:cNvPr>
          <p:cNvSpPr/>
          <p:nvPr/>
        </p:nvSpPr>
        <p:spPr bwMode="gray">
          <a:xfrm>
            <a:off x="7340678" y="2239790"/>
            <a:ext cx="1958738" cy="3734290"/>
          </a:xfrm>
          <a:prstGeom prst="rect">
            <a:avLst/>
          </a:prstGeom>
          <a:solidFill>
            <a:srgbClr val="F7F7F7"/>
          </a:solidFill>
          <a:ln w="19050" algn="ctr">
            <a:noFill/>
            <a:prstDash val="solid"/>
            <a:miter lim="800000"/>
            <a:headEnd/>
            <a:tailEnd/>
          </a:ln>
        </p:spPr>
        <p:txBody>
          <a:bodyPr wrap="square" lIns="45720" tIns="1188720" rIns="0" bIns="88900" rtlCol="0" anchor="ctr"/>
          <a:lstStyle/>
          <a:p>
            <a:pPr marL="171450" indent="-171450">
              <a:spcAft>
                <a:spcPts val="300"/>
              </a:spcAft>
              <a:buFont typeface="Arial" panose="020B0604020202020204" pitchFamily="34" charset="0"/>
              <a:buChar char="•"/>
            </a:pPr>
            <a:endParaRPr lang="en-US" sz="1200" dirty="0">
              <a:solidFill>
                <a:schemeClr val="tx2"/>
              </a:solidFill>
              <a:ea typeface="Ubuntu" charset="0"/>
              <a:cs typeface="Ubuntu" charset="0"/>
            </a:endParaRPr>
          </a:p>
        </p:txBody>
      </p:sp>
      <p:sp>
        <p:nvSpPr>
          <p:cNvPr id="8" name="Rectangle 7">
            <a:extLst>
              <a:ext uri="{FF2B5EF4-FFF2-40B4-BE49-F238E27FC236}">
                <a16:creationId xmlns:a16="http://schemas.microsoft.com/office/drawing/2014/main" id="{AF059226-52CB-DF33-7D40-C152165551A4}"/>
              </a:ext>
            </a:extLst>
          </p:cNvPr>
          <p:cNvSpPr/>
          <p:nvPr/>
        </p:nvSpPr>
        <p:spPr bwMode="gray">
          <a:xfrm>
            <a:off x="9558357" y="2239790"/>
            <a:ext cx="1958738" cy="3734290"/>
          </a:xfrm>
          <a:prstGeom prst="rect">
            <a:avLst/>
          </a:prstGeom>
          <a:solidFill>
            <a:srgbClr val="F7F7F7"/>
          </a:solidFill>
          <a:ln w="19050" algn="ctr">
            <a:noFill/>
            <a:prstDash val="solid"/>
            <a:miter lim="800000"/>
            <a:headEnd/>
            <a:tailEnd/>
          </a:ln>
        </p:spPr>
        <p:txBody>
          <a:bodyPr wrap="square" lIns="45720" tIns="1097280" rIns="0" bIns="88900" rtlCol="0" anchor="ctr"/>
          <a:lstStyle/>
          <a:p>
            <a:pPr marL="171450" indent="-171450">
              <a:spcBef>
                <a:spcPts val="600"/>
              </a:spcBef>
              <a:buFont typeface="Arial" panose="020B0604020202020204" pitchFamily="34" charset="0"/>
              <a:buChar char="•"/>
            </a:pPr>
            <a:endParaRPr lang="en-US" sz="1200" b="1" dirty="0">
              <a:solidFill>
                <a:schemeClr val="tx2"/>
              </a:solidFill>
              <a:ea typeface="Ubuntu" charset="0"/>
              <a:cs typeface="Ubuntu" charset="0"/>
            </a:endParaRPr>
          </a:p>
        </p:txBody>
      </p:sp>
      <p:grpSp>
        <p:nvGrpSpPr>
          <p:cNvPr id="9" name="Group 8">
            <a:extLst>
              <a:ext uri="{FF2B5EF4-FFF2-40B4-BE49-F238E27FC236}">
                <a16:creationId xmlns:a16="http://schemas.microsoft.com/office/drawing/2014/main" id="{F33038DD-357A-F084-5B01-071CE4FED1F7}"/>
              </a:ext>
            </a:extLst>
          </p:cNvPr>
          <p:cNvGrpSpPr/>
          <p:nvPr/>
        </p:nvGrpSpPr>
        <p:grpSpPr>
          <a:xfrm>
            <a:off x="9457499" y="2963515"/>
            <a:ext cx="95005" cy="484238"/>
            <a:chOff x="221695" y="2655583"/>
            <a:chExt cx="95005" cy="484238"/>
          </a:xfrm>
        </p:grpSpPr>
        <p:sp>
          <p:nvSpPr>
            <p:cNvPr id="10" name="Freeform 245">
              <a:extLst>
                <a:ext uri="{FF2B5EF4-FFF2-40B4-BE49-F238E27FC236}">
                  <a16:creationId xmlns:a16="http://schemas.microsoft.com/office/drawing/2014/main" id="{4EE2D268-6FA1-1534-B638-F7BE2AFFB14C}"/>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Isosceles Triangle 10">
              <a:extLst>
                <a:ext uri="{FF2B5EF4-FFF2-40B4-BE49-F238E27FC236}">
                  <a16:creationId xmlns:a16="http://schemas.microsoft.com/office/drawing/2014/main" id="{C311F6C3-01FC-4A9E-07EB-432BD4A76F6E}"/>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2" name="Group 11">
            <a:extLst>
              <a:ext uri="{FF2B5EF4-FFF2-40B4-BE49-F238E27FC236}">
                <a16:creationId xmlns:a16="http://schemas.microsoft.com/office/drawing/2014/main" id="{8F41E770-595E-CDBC-416C-6786F3FF04C5}"/>
              </a:ext>
            </a:extLst>
          </p:cNvPr>
          <p:cNvGrpSpPr/>
          <p:nvPr/>
        </p:nvGrpSpPr>
        <p:grpSpPr>
          <a:xfrm>
            <a:off x="9456441" y="2448121"/>
            <a:ext cx="96063" cy="488302"/>
            <a:chOff x="501650" y="1759184"/>
            <a:chExt cx="96063" cy="488302"/>
          </a:xfrm>
          <a:solidFill>
            <a:schemeClr val="accent3"/>
          </a:solidFill>
        </p:grpSpPr>
        <p:sp>
          <p:nvSpPr>
            <p:cNvPr id="13" name="Freeform 248">
              <a:extLst>
                <a:ext uri="{FF2B5EF4-FFF2-40B4-BE49-F238E27FC236}">
                  <a16:creationId xmlns:a16="http://schemas.microsoft.com/office/drawing/2014/main" id="{E8F7F0FD-AFF8-FCE9-4ADE-7E914A0E80D3}"/>
                </a:ext>
              </a:extLst>
            </p:cNvPr>
            <p:cNvSpPr/>
            <p:nvPr/>
          </p:nvSpPr>
          <p:spPr bwMode="gray">
            <a:xfrm rot="16200000">
              <a:off x="346146"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Isosceles Triangle 13">
              <a:extLst>
                <a:ext uri="{FF2B5EF4-FFF2-40B4-BE49-F238E27FC236}">
                  <a16:creationId xmlns:a16="http://schemas.microsoft.com/office/drawing/2014/main" id="{C011906D-7E1D-A40D-8613-FD983028F100}"/>
                </a:ext>
              </a:extLst>
            </p:cNvPr>
            <p:cNvSpPr/>
            <p:nvPr/>
          </p:nvSpPr>
          <p:spPr bwMode="gray">
            <a:xfrm rot="10800000" flipV="1">
              <a:off x="502708"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5" name="Group 14">
            <a:extLst>
              <a:ext uri="{FF2B5EF4-FFF2-40B4-BE49-F238E27FC236}">
                <a16:creationId xmlns:a16="http://schemas.microsoft.com/office/drawing/2014/main" id="{9FE07622-62CA-AD2A-24B5-3B62562E76E0}"/>
              </a:ext>
            </a:extLst>
          </p:cNvPr>
          <p:cNvGrpSpPr/>
          <p:nvPr/>
        </p:nvGrpSpPr>
        <p:grpSpPr>
          <a:xfrm>
            <a:off x="7245076" y="2958259"/>
            <a:ext cx="95005" cy="484238"/>
            <a:chOff x="221695" y="2655583"/>
            <a:chExt cx="95005" cy="484238"/>
          </a:xfrm>
        </p:grpSpPr>
        <p:sp>
          <p:nvSpPr>
            <p:cNvPr id="16" name="Freeform 239">
              <a:extLst>
                <a:ext uri="{FF2B5EF4-FFF2-40B4-BE49-F238E27FC236}">
                  <a16:creationId xmlns:a16="http://schemas.microsoft.com/office/drawing/2014/main" id="{4FF70A38-CEDE-5C47-FA89-11D930D92F25}"/>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Isosceles Triangle 16">
              <a:extLst>
                <a:ext uri="{FF2B5EF4-FFF2-40B4-BE49-F238E27FC236}">
                  <a16:creationId xmlns:a16="http://schemas.microsoft.com/office/drawing/2014/main" id="{1344FF4F-5CE3-C12F-33E7-F973CC8B8DC5}"/>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8" name="Group 17">
            <a:extLst>
              <a:ext uri="{FF2B5EF4-FFF2-40B4-BE49-F238E27FC236}">
                <a16:creationId xmlns:a16="http://schemas.microsoft.com/office/drawing/2014/main" id="{3D98E932-9A61-F4FD-9DDB-DCAD2CC64DB0}"/>
              </a:ext>
            </a:extLst>
          </p:cNvPr>
          <p:cNvGrpSpPr/>
          <p:nvPr/>
        </p:nvGrpSpPr>
        <p:grpSpPr>
          <a:xfrm>
            <a:off x="7244018" y="2442865"/>
            <a:ext cx="96063" cy="488302"/>
            <a:chOff x="501650" y="1759184"/>
            <a:chExt cx="96063" cy="488302"/>
          </a:xfrm>
          <a:solidFill>
            <a:schemeClr val="accent3"/>
          </a:solidFill>
        </p:grpSpPr>
        <p:sp>
          <p:nvSpPr>
            <p:cNvPr id="19" name="Freeform 242">
              <a:extLst>
                <a:ext uri="{FF2B5EF4-FFF2-40B4-BE49-F238E27FC236}">
                  <a16:creationId xmlns:a16="http://schemas.microsoft.com/office/drawing/2014/main" id="{7BCA1BCD-3176-4DFE-CEEE-A00E1B5D61A0}"/>
                </a:ext>
              </a:extLst>
            </p:cNvPr>
            <p:cNvSpPr/>
            <p:nvPr/>
          </p:nvSpPr>
          <p:spPr bwMode="gray">
            <a:xfrm rot="16200000">
              <a:off x="346146"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Isosceles Triangle 19">
              <a:extLst>
                <a:ext uri="{FF2B5EF4-FFF2-40B4-BE49-F238E27FC236}">
                  <a16:creationId xmlns:a16="http://schemas.microsoft.com/office/drawing/2014/main" id="{9F95F18F-2D9A-9BBF-8FE2-FBDB44EA8C61}"/>
                </a:ext>
              </a:extLst>
            </p:cNvPr>
            <p:cNvSpPr/>
            <p:nvPr/>
          </p:nvSpPr>
          <p:spPr bwMode="gray">
            <a:xfrm rot="10800000" flipV="1">
              <a:off x="502708"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1" name="Group 20">
            <a:extLst>
              <a:ext uri="{FF2B5EF4-FFF2-40B4-BE49-F238E27FC236}">
                <a16:creationId xmlns:a16="http://schemas.microsoft.com/office/drawing/2014/main" id="{88AE9C2B-3242-03B0-CC73-62AFFDD0B4EB}"/>
              </a:ext>
            </a:extLst>
          </p:cNvPr>
          <p:cNvGrpSpPr/>
          <p:nvPr/>
        </p:nvGrpSpPr>
        <p:grpSpPr>
          <a:xfrm>
            <a:off x="5022143" y="2953004"/>
            <a:ext cx="95005" cy="484238"/>
            <a:chOff x="221695" y="2655583"/>
            <a:chExt cx="95005" cy="484238"/>
          </a:xfrm>
        </p:grpSpPr>
        <p:sp>
          <p:nvSpPr>
            <p:cNvPr id="22" name="Freeform 233">
              <a:extLst>
                <a:ext uri="{FF2B5EF4-FFF2-40B4-BE49-F238E27FC236}">
                  <a16:creationId xmlns:a16="http://schemas.microsoft.com/office/drawing/2014/main" id="{FBEC4C7B-3A64-DC7B-3860-9A805631276D}"/>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Isosceles Triangle 22">
              <a:extLst>
                <a:ext uri="{FF2B5EF4-FFF2-40B4-BE49-F238E27FC236}">
                  <a16:creationId xmlns:a16="http://schemas.microsoft.com/office/drawing/2014/main" id="{E4F5AB99-9EAF-8E9A-CB59-2220A405FEB2}"/>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4" name="Group 23">
            <a:extLst>
              <a:ext uri="{FF2B5EF4-FFF2-40B4-BE49-F238E27FC236}">
                <a16:creationId xmlns:a16="http://schemas.microsoft.com/office/drawing/2014/main" id="{105B2D49-9FFC-EF32-0942-EB8E3AFB9226}"/>
              </a:ext>
            </a:extLst>
          </p:cNvPr>
          <p:cNvGrpSpPr/>
          <p:nvPr/>
        </p:nvGrpSpPr>
        <p:grpSpPr>
          <a:xfrm>
            <a:off x="5021085" y="2437610"/>
            <a:ext cx="96063" cy="488302"/>
            <a:chOff x="501650" y="1759184"/>
            <a:chExt cx="96063" cy="488302"/>
          </a:xfrm>
          <a:solidFill>
            <a:schemeClr val="accent3"/>
          </a:solidFill>
        </p:grpSpPr>
        <p:sp>
          <p:nvSpPr>
            <p:cNvPr id="25" name="Freeform 236">
              <a:extLst>
                <a:ext uri="{FF2B5EF4-FFF2-40B4-BE49-F238E27FC236}">
                  <a16:creationId xmlns:a16="http://schemas.microsoft.com/office/drawing/2014/main" id="{E6C5148A-5332-9C1A-C03C-3125D8F0A782}"/>
                </a:ext>
              </a:extLst>
            </p:cNvPr>
            <p:cNvSpPr/>
            <p:nvPr/>
          </p:nvSpPr>
          <p:spPr bwMode="gray">
            <a:xfrm rot="16200000">
              <a:off x="346146"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Isosceles Triangle 25">
              <a:extLst>
                <a:ext uri="{FF2B5EF4-FFF2-40B4-BE49-F238E27FC236}">
                  <a16:creationId xmlns:a16="http://schemas.microsoft.com/office/drawing/2014/main" id="{6D39F65F-E05E-ECA6-F149-4FC936A91E1E}"/>
                </a:ext>
              </a:extLst>
            </p:cNvPr>
            <p:cNvSpPr/>
            <p:nvPr/>
          </p:nvSpPr>
          <p:spPr bwMode="gray">
            <a:xfrm rot="10800000" flipV="1">
              <a:off x="502708"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7" name="Group 26">
            <a:extLst>
              <a:ext uri="{FF2B5EF4-FFF2-40B4-BE49-F238E27FC236}">
                <a16:creationId xmlns:a16="http://schemas.microsoft.com/office/drawing/2014/main" id="{0EEBBE83-5D4A-CBB7-5A2D-2D42DA8C06E4}"/>
              </a:ext>
            </a:extLst>
          </p:cNvPr>
          <p:cNvGrpSpPr/>
          <p:nvPr/>
        </p:nvGrpSpPr>
        <p:grpSpPr>
          <a:xfrm>
            <a:off x="2809721" y="2958259"/>
            <a:ext cx="95005" cy="484238"/>
            <a:chOff x="221695" y="2655583"/>
            <a:chExt cx="95005" cy="484238"/>
          </a:xfrm>
        </p:grpSpPr>
        <p:sp>
          <p:nvSpPr>
            <p:cNvPr id="28" name="Freeform 227">
              <a:extLst>
                <a:ext uri="{FF2B5EF4-FFF2-40B4-BE49-F238E27FC236}">
                  <a16:creationId xmlns:a16="http://schemas.microsoft.com/office/drawing/2014/main" id="{91C4CC1A-9AE2-F27E-EF22-D60D1DCDD088}"/>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Isosceles Triangle 28">
              <a:extLst>
                <a:ext uri="{FF2B5EF4-FFF2-40B4-BE49-F238E27FC236}">
                  <a16:creationId xmlns:a16="http://schemas.microsoft.com/office/drawing/2014/main" id="{74F5EB68-B4EB-F0E9-C5A6-175B3ED0FE4D}"/>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0" name="Group 29">
            <a:extLst>
              <a:ext uri="{FF2B5EF4-FFF2-40B4-BE49-F238E27FC236}">
                <a16:creationId xmlns:a16="http://schemas.microsoft.com/office/drawing/2014/main" id="{DFC4DCEA-4448-B175-9103-FA95F81C5688}"/>
              </a:ext>
            </a:extLst>
          </p:cNvPr>
          <p:cNvGrpSpPr/>
          <p:nvPr/>
        </p:nvGrpSpPr>
        <p:grpSpPr>
          <a:xfrm>
            <a:off x="2808663" y="2442865"/>
            <a:ext cx="96063" cy="488302"/>
            <a:chOff x="501650" y="1759184"/>
            <a:chExt cx="96063" cy="488302"/>
          </a:xfrm>
          <a:solidFill>
            <a:schemeClr val="accent3"/>
          </a:solidFill>
        </p:grpSpPr>
        <p:sp>
          <p:nvSpPr>
            <p:cNvPr id="31" name="Freeform 230">
              <a:extLst>
                <a:ext uri="{FF2B5EF4-FFF2-40B4-BE49-F238E27FC236}">
                  <a16:creationId xmlns:a16="http://schemas.microsoft.com/office/drawing/2014/main" id="{5EEE8515-B8F0-E580-0674-C3E7A0C36C3C}"/>
                </a:ext>
              </a:extLst>
            </p:cNvPr>
            <p:cNvSpPr/>
            <p:nvPr/>
          </p:nvSpPr>
          <p:spPr bwMode="gray">
            <a:xfrm rot="16200000">
              <a:off x="346146"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Isosceles Triangle 31">
              <a:extLst>
                <a:ext uri="{FF2B5EF4-FFF2-40B4-BE49-F238E27FC236}">
                  <a16:creationId xmlns:a16="http://schemas.microsoft.com/office/drawing/2014/main" id="{21B28731-33BB-D286-FFFC-2132BBCCD7DA}"/>
                </a:ext>
              </a:extLst>
            </p:cNvPr>
            <p:cNvSpPr/>
            <p:nvPr/>
          </p:nvSpPr>
          <p:spPr bwMode="gray">
            <a:xfrm rot="10800000" flipV="1">
              <a:off x="502708"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3" name="Group 32">
            <a:extLst>
              <a:ext uri="{FF2B5EF4-FFF2-40B4-BE49-F238E27FC236}">
                <a16:creationId xmlns:a16="http://schemas.microsoft.com/office/drawing/2014/main" id="{B5889F5C-371C-DE72-40A4-23812C45BA3E}"/>
              </a:ext>
            </a:extLst>
          </p:cNvPr>
          <p:cNvGrpSpPr/>
          <p:nvPr/>
        </p:nvGrpSpPr>
        <p:grpSpPr>
          <a:xfrm>
            <a:off x="586788" y="2963515"/>
            <a:ext cx="95005" cy="484238"/>
            <a:chOff x="221695" y="2655583"/>
            <a:chExt cx="95005" cy="484238"/>
          </a:xfrm>
        </p:grpSpPr>
        <p:sp>
          <p:nvSpPr>
            <p:cNvPr id="34" name="Freeform 221">
              <a:extLst>
                <a:ext uri="{FF2B5EF4-FFF2-40B4-BE49-F238E27FC236}">
                  <a16:creationId xmlns:a16="http://schemas.microsoft.com/office/drawing/2014/main" id="{C5BCB7D2-06E2-39FE-87A6-F5538F83C29B}"/>
                </a:ext>
              </a:extLst>
            </p:cNvPr>
            <p:cNvSpPr/>
            <p:nvPr/>
          </p:nvSpPr>
          <p:spPr bwMode="gray">
            <a:xfrm rot="16200000">
              <a:off x="68030" y="2891150"/>
              <a:ext cx="402336"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Isosceles Triangle 34">
              <a:extLst>
                <a:ext uri="{FF2B5EF4-FFF2-40B4-BE49-F238E27FC236}">
                  <a16:creationId xmlns:a16="http://schemas.microsoft.com/office/drawing/2014/main" id="{A61DDDD6-EB2E-9CC8-2EE1-E8B5891E71F7}"/>
                </a:ext>
              </a:extLst>
            </p:cNvPr>
            <p:cNvSpPr/>
            <p:nvPr/>
          </p:nvSpPr>
          <p:spPr bwMode="gray">
            <a:xfrm rot="10800000" flipV="1">
              <a:off x="221695" y="2655583"/>
              <a:ext cx="95005" cy="81901"/>
            </a:xfrm>
            <a:prstGeom prst="triangle">
              <a:avLst>
                <a:gd name="adj" fmla="val 0"/>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6" name="Group 35">
            <a:extLst>
              <a:ext uri="{FF2B5EF4-FFF2-40B4-BE49-F238E27FC236}">
                <a16:creationId xmlns:a16="http://schemas.microsoft.com/office/drawing/2014/main" id="{57C736F7-AA2E-DBFC-B775-183CECC974FD}"/>
              </a:ext>
            </a:extLst>
          </p:cNvPr>
          <p:cNvGrpSpPr/>
          <p:nvPr/>
        </p:nvGrpSpPr>
        <p:grpSpPr>
          <a:xfrm>
            <a:off x="585730" y="2448121"/>
            <a:ext cx="96063" cy="488302"/>
            <a:chOff x="501650" y="1759184"/>
            <a:chExt cx="96063" cy="488302"/>
          </a:xfrm>
          <a:solidFill>
            <a:schemeClr val="accent3"/>
          </a:solidFill>
        </p:grpSpPr>
        <p:sp>
          <p:nvSpPr>
            <p:cNvPr id="37" name="Freeform 224">
              <a:extLst>
                <a:ext uri="{FF2B5EF4-FFF2-40B4-BE49-F238E27FC236}">
                  <a16:creationId xmlns:a16="http://schemas.microsoft.com/office/drawing/2014/main" id="{DE36EBCD-01D5-39D5-967F-9227A1FDE5F9}"/>
                </a:ext>
              </a:extLst>
            </p:cNvPr>
            <p:cNvSpPr/>
            <p:nvPr/>
          </p:nvSpPr>
          <p:spPr bwMode="gray">
            <a:xfrm rot="16200000">
              <a:off x="346146" y="1996976"/>
              <a:ext cx="406014" cy="95005"/>
            </a:xfrm>
            <a:custGeom>
              <a:avLst/>
              <a:gdLst>
                <a:gd name="connsiteX0" fmla="*/ 0 w 406014"/>
                <a:gd name="connsiteY0" fmla="*/ 0 h 95005"/>
                <a:gd name="connsiteX1" fmla="*/ 406014 w 406014"/>
                <a:gd name="connsiteY1" fmla="*/ 0 h 95005"/>
                <a:gd name="connsiteX2" fmla="*/ 406014 w 406014"/>
                <a:gd name="connsiteY2" fmla="*/ 95005 h 95005"/>
                <a:gd name="connsiteX3" fmla="*/ 81901 w 406014"/>
                <a:gd name="connsiteY3" fmla="*/ 95005 h 95005"/>
                <a:gd name="connsiteX4" fmla="*/ 0 w 406014"/>
                <a:gd name="connsiteY4" fmla="*/ 0 h 9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014" h="95005">
                  <a:moveTo>
                    <a:pt x="0" y="0"/>
                  </a:moveTo>
                  <a:lnTo>
                    <a:pt x="406014" y="0"/>
                  </a:lnTo>
                  <a:lnTo>
                    <a:pt x="406014" y="95005"/>
                  </a:lnTo>
                  <a:lnTo>
                    <a:pt x="81901" y="95005"/>
                  </a:lnTo>
                  <a:lnTo>
                    <a:pt x="0"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8" name="Isosceles Triangle 37">
              <a:extLst>
                <a:ext uri="{FF2B5EF4-FFF2-40B4-BE49-F238E27FC236}">
                  <a16:creationId xmlns:a16="http://schemas.microsoft.com/office/drawing/2014/main" id="{C612301D-4BA3-EDFB-736C-F282F1EED7B6}"/>
                </a:ext>
              </a:extLst>
            </p:cNvPr>
            <p:cNvSpPr/>
            <p:nvPr/>
          </p:nvSpPr>
          <p:spPr bwMode="gray">
            <a:xfrm rot="10800000" flipV="1">
              <a:off x="502708" y="1759184"/>
              <a:ext cx="95005" cy="81901"/>
            </a:xfrm>
            <a:prstGeom prst="triangle">
              <a:avLst>
                <a:gd name="adj" fmla="val 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9" name="Group 38">
            <a:extLst>
              <a:ext uri="{FF2B5EF4-FFF2-40B4-BE49-F238E27FC236}">
                <a16:creationId xmlns:a16="http://schemas.microsoft.com/office/drawing/2014/main" id="{54658040-1534-0D47-59F8-0E204CDA67A2}"/>
              </a:ext>
            </a:extLst>
          </p:cNvPr>
          <p:cNvGrpSpPr/>
          <p:nvPr/>
        </p:nvGrpSpPr>
        <p:grpSpPr>
          <a:xfrm>
            <a:off x="596392" y="2512285"/>
            <a:ext cx="2055810" cy="406400"/>
            <a:chOff x="502710" y="1840697"/>
            <a:chExt cx="2055810" cy="406400"/>
          </a:xfrm>
        </p:grpSpPr>
        <p:sp>
          <p:nvSpPr>
            <p:cNvPr id="40" name="Pentagon 112">
              <a:extLst>
                <a:ext uri="{FF2B5EF4-FFF2-40B4-BE49-F238E27FC236}">
                  <a16:creationId xmlns:a16="http://schemas.microsoft.com/office/drawing/2014/main" id="{54F90611-C024-28C0-54F5-5CD638AED8DC}"/>
                </a:ext>
              </a:extLst>
            </p:cNvPr>
            <p:cNvSpPr/>
            <p:nvPr/>
          </p:nvSpPr>
          <p:spPr bwMode="gray">
            <a:xfrm>
              <a:off x="502710" y="1840697"/>
              <a:ext cx="2055810" cy="406400"/>
            </a:xfrm>
            <a:prstGeom prst="homePlate">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Oval 40">
              <a:extLst>
                <a:ext uri="{FF2B5EF4-FFF2-40B4-BE49-F238E27FC236}">
                  <a16:creationId xmlns:a16="http://schemas.microsoft.com/office/drawing/2014/main" id="{85C02C9D-3D76-4DCC-1FED-A7D25000DE28}"/>
                </a:ext>
              </a:extLst>
            </p:cNvPr>
            <p:cNvSpPr/>
            <p:nvPr/>
          </p:nvSpPr>
          <p:spPr bwMode="gray">
            <a:xfrm>
              <a:off x="678306" y="1931507"/>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1</a:t>
              </a:r>
            </a:p>
          </p:txBody>
        </p:sp>
        <p:sp>
          <p:nvSpPr>
            <p:cNvPr id="42" name="Rectangle 41">
              <a:extLst>
                <a:ext uri="{FF2B5EF4-FFF2-40B4-BE49-F238E27FC236}">
                  <a16:creationId xmlns:a16="http://schemas.microsoft.com/office/drawing/2014/main" id="{84F54842-8A8E-F82D-6369-22E520593962}"/>
                </a:ext>
              </a:extLst>
            </p:cNvPr>
            <p:cNvSpPr/>
            <p:nvPr/>
          </p:nvSpPr>
          <p:spPr bwMode="gray">
            <a:xfrm>
              <a:off x="593962" y="1849532"/>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cap="all" dirty="0">
                  <a:solidFill>
                    <a:schemeClr val="bg1"/>
                  </a:solidFill>
                </a:rPr>
                <a:t>Management</a:t>
              </a:r>
              <a:br>
                <a:rPr lang="en-US" sz="1100" b="1" cap="all" dirty="0">
                  <a:solidFill>
                    <a:schemeClr val="bg1"/>
                  </a:solidFill>
                </a:rPr>
              </a:br>
              <a:r>
                <a:rPr lang="en-US" sz="1100" b="1" cap="all" dirty="0">
                  <a:solidFill>
                    <a:schemeClr val="bg1"/>
                  </a:solidFill>
                </a:rPr>
                <a:t>interviews</a:t>
              </a:r>
            </a:p>
          </p:txBody>
        </p:sp>
      </p:grpSp>
      <p:sp>
        <p:nvSpPr>
          <p:cNvPr id="43" name="Rectangle 42">
            <a:extLst>
              <a:ext uri="{FF2B5EF4-FFF2-40B4-BE49-F238E27FC236}">
                <a16:creationId xmlns:a16="http://schemas.microsoft.com/office/drawing/2014/main" id="{C3ADE623-8C29-F82E-D612-993C62EB8C91}"/>
              </a:ext>
            </a:extLst>
          </p:cNvPr>
          <p:cNvSpPr/>
          <p:nvPr/>
        </p:nvSpPr>
        <p:spPr bwMode="gray">
          <a:xfrm>
            <a:off x="595332" y="3033472"/>
            <a:ext cx="2045229"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dirty="0">
                <a:solidFill>
                  <a:schemeClr val="bg1"/>
                </a:solidFill>
              </a:rPr>
              <a:t>Assessment of management expectations</a:t>
            </a:r>
          </a:p>
        </p:txBody>
      </p:sp>
      <p:grpSp>
        <p:nvGrpSpPr>
          <p:cNvPr id="44" name="Group 43">
            <a:extLst>
              <a:ext uri="{FF2B5EF4-FFF2-40B4-BE49-F238E27FC236}">
                <a16:creationId xmlns:a16="http://schemas.microsoft.com/office/drawing/2014/main" id="{A281966E-3697-E773-B90A-C771902A0B6A}"/>
              </a:ext>
            </a:extLst>
          </p:cNvPr>
          <p:cNvGrpSpPr/>
          <p:nvPr/>
        </p:nvGrpSpPr>
        <p:grpSpPr>
          <a:xfrm>
            <a:off x="2814070" y="2508883"/>
            <a:ext cx="2055810" cy="406400"/>
            <a:chOff x="502710" y="1840697"/>
            <a:chExt cx="2055810" cy="406400"/>
          </a:xfrm>
        </p:grpSpPr>
        <p:sp>
          <p:nvSpPr>
            <p:cNvPr id="45" name="Pentagon 144">
              <a:extLst>
                <a:ext uri="{FF2B5EF4-FFF2-40B4-BE49-F238E27FC236}">
                  <a16:creationId xmlns:a16="http://schemas.microsoft.com/office/drawing/2014/main" id="{B1ED017F-7781-D053-6846-003E6EC30A6E}"/>
                </a:ext>
              </a:extLst>
            </p:cNvPr>
            <p:cNvSpPr/>
            <p:nvPr/>
          </p:nvSpPr>
          <p:spPr bwMode="gray">
            <a:xfrm>
              <a:off x="502710" y="1840697"/>
              <a:ext cx="2055810" cy="406400"/>
            </a:xfrm>
            <a:prstGeom prst="homePlate">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46" name="Oval 45">
              <a:extLst>
                <a:ext uri="{FF2B5EF4-FFF2-40B4-BE49-F238E27FC236}">
                  <a16:creationId xmlns:a16="http://schemas.microsoft.com/office/drawing/2014/main" id="{008DE2FD-297F-D02C-A465-72F659B8032D}"/>
                </a:ext>
              </a:extLst>
            </p:cNvPr>
            <p:cNvSpPr/>
            <p:nvPr/>
          </p:nvSpPr>
          <p:spPr bwMode="gray">
            <a:xfrm>
              <a:off x="675698" y="1934909"/>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2</a:t>
              </a:r>
            </a:p>
          </p:txBody>
        </p:sp>
        <p:sp>
          <p:nvSpPr>
            <p:cNvPr id="47" name="Rectangle 46">
              <a:extLst>
                <a:ext uri="{FF2B5EF4-FFF2-40B4-BE49-F238E27FC236}">
                  <a16:creationId xmlns:a16="http://schemas.microsoft.com/office/drawing/2014/main" id="{EAC06044-EED0-8055-9AFD-C4DA529D1FCD}"/>
                </a:ext>
              </a:extLst>
            </p:cNvPr>
            <p:cNvSpPr/>
            <p:nvPr/>
          </p:nvSpPr>
          <p:spPr bwMode="gray">
            <a:xfrm>
              <a:off x="593962" y="1849532"/>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cap="all" dirty="0">
                  <a:solidFill>
                    <a:schemeClr val="bg1"/>
                  </a:solidFill>
                </a:rPr>
                <a:t>PROCESS SCOPE</a:t>
              </a:r>
              <a:br>
                <a:rPr lang="en-US" sz="1100" b="1" cap="all" dirty="0">
                  <a:solidFill>
                    <a:schemeClr val="bg1"/>
                  </a:solidFill>
                </a:rPr>
              </a:br>
              <a:r>
                <a:rPr lang="en-US" sz="1100" b="1" cap="all" dirty="0">
                  <a:solidFill>
                    <a:schemeClr val="bg1"/>
                  </a:solidFill>
                </a:rPr>
                <a:t>definition</a:t>
              </a:r>
            </a:p>
          </p:txBody>
        </p:sp>
      </p:grpSp>
      <p:sp>
        <p:nvSpPr>
          <p:cNvPr id="48" name="Rectangle 47">
            <a:extLst>
              <a:ext uri="{FF2B5EF4-FFF2-40B4-BE49-F238E27FC236}">
                <a16:creationId xmlns:a16="http://schemas.microsoft.com/office/drawing/2014/main" id="{2FDA731C-C490-E583-3B10-422B0FCC8D29}"/>
              </a:ext>
            </a:extLst>
          </p:cNvPr>
          <p:cNvSpPr/>
          <p:nvPr/>
        </p:nvSpPr>
        <p:spPr bwMode="gray">
          <a:xfrm>
            <a:off x="2813010" y="3030070"/>
            <a:ext cx="2045229"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dirty="0">
                <a:solidFill>
                  <a:schemeClr val="bg1"/>
                </a:solidFill>
              </a:rPr>
              <a:t>Selection of critical processes</a:t>
            </a:r>
          </a:p>
        </p:txBody>
      </p:sp>
      <p:grpSp>
        <p:nvGrpSpPr>
          <p:cNvPr id="49" name="Group 48">
            <a:extLst>
              <a:ext uri="{FF2B5EF4-FFF2-40B4-BE49-F238E27FC236}">
                <a16:creationId xmlns:a16="http://schemas.microsoft.com/office/drawing/2014/main" id="{70D64C18-9BBD-D960-D84B-1F727EE757E2}"/>
              </a:ext>
            </a:extLst>
          </p:cNvPr>
          <p:cNvGrpSpPr/>
          <p:nvPr/>
        </p:nvGrpSpPr>
        <p:grpSpPr>
          <a:xfrm>
            <a:off x="5031748" y="2508883"/>
            <a:ext cx="2055810" cy="406400"/>
            <a:chOff x="502710" y="1840697"/>
            <a:chExt cx="2055810" cy="406400"/>
          </a:xfrm>
        </p:grpSpPr>
        <p:sp>
          <p:nvSpPr>
            <p:cNvPr id="50" name="Pentagon 151">
              <a:extLst>
                <a:ext uri="{FF2B5EF4-FFF2-40B4-BE49-F238E27FC236}">
                  <a16:creationId xmlns:a16="http://schemas.microsoft.com/office/drawing/2014/main" id="{172E0B97-BBF0-083E-D490-AD427D4D5EE6}"/>
                </a:ext>
              </a:extLst>
            </p:cNvPr>
            <p:cNvSpPr/>
            <p:nvPr/>
          </p:nvSpPr>
          <p:spPr bwMode="gray">
            <a:xfrm>
              <a:off x="502710" y="1840697"/>
              <a:ext cx="2055810" cy="406400"/>
            </a:xfrm>
            <a:prstGeom prst="homePlate">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Oval 50">
              <a:extLst>
                <a:ext uri="{FF2B5EF4-FFF2-40B4-BE49-F238E27FC236}">
                  <a16:creationId xmlns:a16="http://schemas.microsoft.com/office/drawing/2014/main" id="{837FC83D-362A-BB27-2A03-CFE6C4A0F590}"/>
                </a:ext>
              </a:extLst>
            </p:cNvPr>
            <p:cNvSpPr/>
            <p:nvPr/>
          </p:nvSpPr>
          <p:spPr bwMode="gray">
            <a:xfrm>
              <a:off x="678305" y="1934909"/>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3</a:t>
              </a:r>
            </a:p>
          </p:txBody>
        </p:sp>
        <p:sp>
          <p:nvSpPr>
            <p:cNvPr id="52" name="Rectangle 51">
              <a:extLst>
                <a:ext uri="{FF2B5EF4-FFF2-40B4-BE49-F238E27FC236}">
                  <a16:creationId xmlns:a16="http://schemas.microsoft.com/office/drawing/2014/main" id="{2488E045-0042-F1B5-AD8A-B45946DB10EF}"/>
                </a:ext>
              </a:extLst>
            </p:cNvPr>
            <p:cNvSpPr/>
            <p:nvPr/>
          </p:nvSpPr>
          <p:spPr bwMode="gray">
            <a:xfrm>
              <a:off x="593962" y="1849532"/>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cap="all" dirty="0">
                  <a:solidFill>
                    <a:schemeClr val="bg1"/>
                  </a:solidFill>
                </a:rPr>
                <a:t>Identify Affected </a:t>
              </a:r>
            </a:p>
            <a:p>
              <a:pPr algn="ctr">
                <a:lnSpc>
                  <a:spcPct val="106000"/>
                </a:lnSpc>
                <a:buFont typeface="Wingdings 2" pitchFamily="18" charset="2"/>
                <a:buNone/>
              </a:pPr>
              <a:r>
                <a:rPr lang="en-US" sz="1100" b="1" cap="all" dirty="0">
                  <a:solidFill>
                    <a:schemeClr val="bg1"/>
                  </a:solidFill>
                </a:rPr>
                <a:t>parties</a:t>
              </a:r>
            </a:p>
          </p:txBody>
        </p:sp>
      </p:grpSp>
      <p:sp>
        <p:nvSpPr>
          <p:cNvPr id="53" name="Rectangle 52">
            <a:extLst>
              <a:ext uri="{FF2B5EF4-FFF2-40B4-BE49-F238E27FC236}">
                <a16:creationId xmlns:a16="http://schemas.microsoft.com/office/drawing/2014/main" id="{44157EF7-3735-0098-6C26-F038AD715F66}"/>
              </a:ext>
            </a:extLst>
          </p:cNvPr>
          <p:cNvSpPr/>
          <p:nvPr/>
        </p:nvSpPr>
        <p:spPr bwMode="gray">
          <a:xfrm>
            <a:off x="5030688" y="3030070"/>
            <a:ext cx="2045229"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dirty="0">
                <a:solidFill>
                  <a:schemeClr val="bg1"/>
                </a:solidFill>
              </a:rPr>
              <a:t>Select the participants of the processes</a:t>
            </a:r>
          </a:p>
        </p:txBody>
      </p:sp>
      <p:grpSp>
        <p:nvGrpSpPr>
          <p:cNvPr id="54" name="Group 53">
            <a:extLst>
              <a:ext uri="{FF2B5EF4-FFF2-40B4-BE49-F238E27FC236}">
                <a16:creationId xmlns:a16="http://schemas.microsoft.com/office/drawing/2014/main" id="{D141B574-1FDE-1572-0ED1-01198ABC5FD6}"/>
              </a:ext>
            </a:extLst>
          </p:cNvPr>
          <p:cNvGrpSpPr/>
          <p:nvPr/>
        </p:nvGrpSpPr>
        <p:grpSpPr>
          <a:xfrm>
            <a:off x="7249426" y="2508883"/>
            <a:ext cx="2055810" cy="406400"/>
            <a:chOff x="502710" y="1840697"/>
            <a:chExt cx="2055810" cy="406400"/>
          </a:xfrm>
          <a:solidFill>
            <a:srgbClr val="6FC9EB">
              <a:alpha val="81000"/>
            </a:srgbClr>
          </a:solidFill>
        </p:grpSpPr>
        <p:sp>
          <p:nvSpPr>
            <p:cNvPr id="55" name="Pentagon 158">
              <a:extLst>
                <a:ext uri="{FF2B5EF4-FFF2-40B4-BE49-F238E27FC236}">
                  <a16:creationId xmlns:a16="http://schemas.microsoft.com/office/drawing/2014/main" id="{DF95F364-0838-156E-E042-F96ADE47E93D}"/>
                </a:ext>
              </a:extLst>
            </p:cNvPr>
            <p:cNvSpPr/>
            <p:nvPr/>
          </p:nvSpPr>
          <p:spPr bwMode="gray">
            <a:xfrm>
              <a:off x="502710" y="1840697"/>
              <a:ext cx="2055810" cy="4064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6" name="Oval 55">
              <a:extLst>
                <a:ext uri="{FF2B5EF4-FFF2-40B4-BE49-F238E27FC236}">
                  <a16:creationId xmlns:a16="http://schemas.microsoft.com/office/drawing/2014/main" id="{7E41926B-42A5-9F4C-2CAE-3E379713E213}"/>
                </a:ext>
              </a:extLst>
            </p:cNvPr>
            <p:cNvSpPr/>
            <p:nvPr/>
          </p:nvSpPr>
          <p:spPr bwMode="gray">
            <a:xfrm>
              <a:off x="683560" y="1927651"/>
              <a:ext cx="233614" cy="233614"/>
            </a:xfrm>
            <a:prstGeom prst="ellipse">
              <a:avLst/>
            </a:prstGeom>
            <a:grp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4</a:t>
              </a:r>
            </a:p>
          </p:txBody>
        </p:sp>
        <p:sp>
          <p:nvSpPr>
            <p:cNvPr id="57" name="Rectangle 56">
              <a:extLst>
                <a:ext uri="{FF2B5EF4-FFF2-40B4-BE49-F238E27FC236}">
                  <a16:creationId xmlns:a16="http://schemas.microsoft.com/office/drawing/2014/main" id="{B90A5A44-66F0-A3CD-FE22-4A4BB38F5AD0}"/>
                </a:ext>
              </a:extLst>
            </p:cNvPr>
            <p:cNvSpPr/>
            <p:nvPr/>
          </p:nvSpPr>
          <p:spPr bwMode="gray">
            <a:xfrm>
              <a:off x="593962" y="1849532"/>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cap="all" dirty="0">
                  <a:solidFill>
                    <a:schemeClr val="bg1"/>
                  </a:solidFill>
                </a:rPr>
                <a:t>Create workshop</a:t>
              </a:r>
              <a:br>
                <a:rPr lang="en-US" sz="1100" b="1" cap="all" dirty="0">
                  <a:solidFill>
                    <a:schemeClr val="bg1"/>
                  </a:solidFill>
                </a:rPr>
              </a:br>
              <a:r>
                <a:rPr lang="en-US" sz="1100" b="1" cap="all" dirty="0">
                  <a:solidFill>
                    <a:schemeClr val="bg1"/>
                  </a:solidFill>
                </a:rPr>
                <a:t>agenda</a:t>
              </a:r>
            </a:p>
          </p:txBody>
        </p:sp>
      </p:grpSp>
      <p:sp>
        <p:nvSpPr>
          <p:cNvPr id="58" name="Rectangle 57">
            <a:extLst>
              <a:ext uri="{FF2B5EF4-FFF2-40B4-BE49-F238E27FC236}">
                <a16:creationId xmlns:a16="http://schemas.microsoft.com/office/drawing/2014/main" id="{01A14284-CC64-51F9-1C2F-BA749DA74195}"/>
              </a:ext>
            </a:extLst>
          </p:cNvPr>
          <p:cNvSpPr/>
          <p:nvPr/>
        </p:nvSpPr>
        <p:spPr bwMode="gray">
          <a:xfrm>
            <a:off x="7248366" y="3030070"/>
            <a:ext cx="2045229"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dirty="0">
                <a:solidFill>
                  <a:schemeClr val="bg1"/>
                </a:solidFill>
              </a:rPr>
              <a:t>Detailed workshop planning</a:t>
            </a:r>
          </a:p>
        </p:txBody>
      </p:sp>
      <p:grpSp>
        <p:nvGrpSpPr>
          <p:cNvPr id="59" name="Group 58">
            <a:extLst>
              <a:ext uri="{FF2B5EF4-FFF2-40B4-BE49-F238E27FC236}">
                <a16:creationId xmlns:a16="http://schemas.microsoft.com/office/drawing/2014/main" id="{BEEBD18C-C8CA-FA59-D665-28DF735A0DDF}"/>
              </a:ext>
            </a:extLst>
          </p:cNvPr>
          <p:cNvGrpSpPr/>
          <p:nvPr/>
        </p:nvGrpSpPr>
        <p:grpSpPr>
          <a:xfrm>
            <a:off x="9467105" y="2508883"/>
            <a:ext cx="2055810" cy="406400"/>
            <a:chOff x="502710" y="1840697"/>
            <a:chExt cx="2055810" cy="406400"/>
          </a:xfrm>
        </p:grpSpPr>
        <p:sp>
          <p:nvSpPr>
            <p:cNvPr id="60" name="Pentagon 165">
              <a:extLst>
                <a:ext uri="{FF2B5EF4-FFF2-40B4-BE49-F238E27FC236}">
                  <a16:creationId xmlns:a16="http://schemas.microsoft.com/office/drawing/2014/main" id="{B99E7DD6-1FC9-49C8-354F-F2FFCAF71559}"/>
                </a:ext>
              </a:extLst>
            </p:cNvPr>
            <p:cNvSpPr/>
            <p:nvPr/>
          </p:nvSpPr>
          <p:spPr bwMode="gray">
            <a:xfrm>
              <a:off x="502710" y="1840697"/>
              <a:ext cx="2055810" cy="406400"/>
            </a:xfrm>
            <a:prstGeom prst="homePlate">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Oval 60">
              <a:extLst>
                <a:ext uri="{FF2B5EF4-FFF2-40B4-BE49-F238E27FC236}">
                  <a16:creationId xmlns:a16="http://schemas.microsoft.com/office/drawing/2014/main" id="{FD216A91-1E7B-DAF5-6064-9B5529AD2E9F}"/>
                </a:ext>
              </a:extLst>
            </p:cNvPr>
            <p:cNvSpPr/>
            <p:nvPr/>
          </p:nvSpPr>
          <p:spPr bwMode="gray">
            <a:xfrm>
              <a:off x="678304" y="1927090"/>
              <a:ext cx="233614" cy="233614"/>
            </a:xfrm>
            <a:prstGeom prst="ellipse">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5</a:t>
              </a:r>
            </a:p>
          </p:txBody>
        </p:sp>
        <p:sp>
          <p:nvSpPr>
            <p:cNvPr id="62" name="Rectangle 61">
              <a:extLst>
                <a:ext uri="{FF2B5EF4-FFF2-40B4-BE49-F238E27FC236}">
                  <a16:creationId xmlns:a16="http://schemas.microsoft.com/office/drawing/2014/main" id="{9A4215BA-FD61-9492-AB0F-23DA6B38F20A}"/>
                </a:ext>
              </a:extLst>
            </p:cNvPr>
            <p:cNvSpPr/>
            <p:nvPr/>
          </p:nvSpPr>
          <p:spPr bwMode="gray">
            <a:xfrm>
              <a:off x="593962" y="1849532"/>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cap="all" dirty="0">
                  <a:solidFill>
                    <a:schemeClr val="bg1"/>
                  </a:solidFill>
                </a:rPr>
                <a:t>Resource</a:t>
              </a:r>
              <a:br>
                <a:rPr lang="en-US" sz="1100" b="1" cap="all" dirty="0">
                  <a:solidFill>
                    <a:schemeClr val="bg1"/>
                  </a:solidFill>
                </a:rPr>
              </a:br>
              <a:r>
                <a:rPr lang="en-US" sz="1100" b="1" cap="all" dirty="0">
                  <a:solidFill>
                    <a:schemeClr val="bg1"/>
                  </a:solidFill>
                </a:rPr>
                <a:t>planning</a:t>
              </a:r>
            </a:p>
          </p:txBody>
        </p:sp>
      </p:grpSp>
      <p:sp>
        <p:nvSpPr>
          <p:cNvPr id="63" name="Rectangle 62">
            <a:extLst>
              <a:ext uri="{FF2B5EF4-FFF2-40B4-BE49-F238E27FC236}">
                <a16:creationId xmlns:a16="http://schemas.microsoft.com/office/drawing/2014/main" id="{715E449F-AFE7-D455-2791-6D144E1125B9}"/>
              </a:ext>
            </a:extLst>
          </p:cNvPr>
          <p:cNvSpPr/>
          <p:nvPr/>
        </p:nvSpPr>
        <p:spPr bwMode="gray">
          <a:xfrm>
            <a:off x="9466045" y="3030070"/>
            <a:ext cx="2045229" cy="402336"/>
          </a:xfrm>
          <a:prstGeom prst="rect">
            <a:avLst/>
          </a:prstGeom>
          <a:solidFill>
            <a:schemeClr val="bg1">
              <a:lumMod val="50000"/>
              <a:alpha val="81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dirty="0">
                <a:solidFill>
                  <a:schemeClr val="bg1"/>
                </a:solidFill>
              </a:rPr>
              <a:t>Who to involve at what capacity allocation?</a:t>
            </a:r>
          </a:p>
        </p:txBody>
      </p:sp>
      <p:grpSp>
        <p:nvGrpSpPr>
          <p:cNvPr id="64" name="Group 63">
            <a:extLst>
              <a:ext uri="{FF2B5EF4-FFF2-40B4-BE49-F238E27FC236}">
                <a16:creationId xmlns:a16="http://schemas.microsoft.com/office/drawing/2014/main" id="{1AA22950-9C63-FC72-57C9-FB3B4D9CB030}"/>
              </a:ext>
            </a:extLst>
          </p:cNvPr>
          <p:cNvGrpSpPr/>
          <p:nvPr/>
        </p:nvGrpSpPr>
        <p:grpSpPr>
          <a:xfrm>
            <a:off x="1205299" y="1584390"/>
            <a:ext cx="841311" cy="841311"/>
            <a:chOff x="1205299" y="1460583"/>
            <a:chExt cx="841311" cy="841311"/>
          </a:xfrm>
        </p:grpSpPr>
        <p:sp>
          <p:nvSpPr>
            <p:cNvPr id="65" name="Oval 64">
              <a:extLst>
                <a:ext uri="{FF2B5EF4-FFF2-40B4-BE49-F238E27FC236}">
                  <a16:creationId xmlns:a16="http://schemas.microsoft.com/office/drawing/2014/main" id="{5BAC2F61-4E70-EF19-6B64-9B9355D94FED}"/>
                </a:ext>
              </a:extLst>
            </p:cNvPr>
            <p:cNvSpPr/>
            <p:nvPr/>
          </p:nvSpPr>
          <p:spPr bwMode="gray">
            <a:xfrm>
              <a:off x="1205299" y="1460583"/>
              <a:ext cx="841311" cy="841311"/>
            </a:xfrm>
            <a:prstGeom prst="ellipse">
              <a:avLst/>
            </a:prstGeom>
            <a:solidFill>
              <a:schemeClr val="bg1"/>
            </a:solidFill>
            <a:ln w="38100" algn="ctr">
              <a:solidFill>
                <a:srgbClr val="6FC9E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6" name="Conversation4" descr="{&quot;Key&quot;:&quot;POWER_USER_SHAPE_ICON&quot;,&quot;Value&quot;:&quot;POWER_USER_SHAPE_ICON_STYLE_1&quot;}">
              <a:extLst>
                <a:ext uri="{FF2B5EF4-FFF2-40B4-BE49-F238E27FC236}">
                  <a16:creationId xmlns:a16="http://schemas.microsoft.com/office/drawing/2014/main" id="{8A8B8F57-40AE-2F0A-1A90-D60E4AFBC940}"/>
                </a:ext>
              </a:extLst>
            </p:cNvPr>
            <p:cNvGrpSpPr>
              <a:grpSpLocks noChangeAspect="1"/>
            </p:cNvGrpSpPr>
            <p:nvPr>
              <p:custDataLst>
                <p:tags r:id="rId7"/>
              </p:custDataLst>
            </p:nvPr>
          </p:nvGrpSpPr>
          <p:grpSpPr>
            <a:xfrm>
              <a:off x="1326896" y="1544900"/>
              <a:ext cx="623009" cy="542925"/>
              <a:chOff x="5662613" y="1677988"/>
              <a:chExt cx="839788" cy="731838"/>
            </a:xfrm>
            <a:solidFill>
              <a:srgbClr val="464747"/>
            </a:solidFill>
          </p:grpSpPr>
          <p:sp>
            <p:nvSpPr>
              <p:cNvPr id="67" name="Freeform 46">
                <a:extLst>
                  <a:ext uri="{FF2B5EF4-FFF2-40B4-BE49-F238E27FC236}">
                    <a16:creationId xmlns:a16="http://schemas.microsoft.com/office/drawing/2014/main" id="{A9A03818-AF67-CF5C-11D5-43A311896E7D}"/>
                  </a:ext>
                </a:extLst>
              </p:cNvPr>
              <p:cNvSpPr>
                <a:spLocks/>
              </p:cNvSpPr>
              <p:nvPr/>
            </p:nvSpPr>
            <p:spPr bwMode="auto">
              <a:xfrm>
                <a:off x="6046788" y="1919288"/>
                <a:ext cx="290513" cy="233363"/>
              </a:xfrm>
              <a:custGeom>
                <a:avLst/>
                <a:gdLst>
                  <a:gd name="T0" fmla="*/ 258 w 410"/>
                  <a:gd name="T1" fmla="*/ 328 h 328"/>
                  <a:gd name="T2" fmla="*/ 270 w 410"/>
                  <a:gd name="T3" fmla="*/ 322 h 328"/>
                  <a:gd name="T4" fmla="*/ 268 w 410"/>
                  <a:gd name="T5" fmla="*/ 309 h 328"/>
                  <a:gd name="T6" fmla="*/ 253 w 410"/>
                  <a:gd name="T7" fmla="*/ 270 h 328"/>
                  <a:gd name="T8" fmla="*/ 330 w 410"/>
                  <a:gd name="T9" fmla="*/ 226 h 328"/>
                  <a:gd name="T10" fmla="*/ 410 w 410"/>
                  <a:gd name="T11" fmla="*/ 131 h 328"/>
                  <a:gd name="T12" fmla="*/ 301 w 410"/>
                  <a:gd name="T13" fmla="*/ 0 h 328"/>
                  <a:gd name="T14" fmla="*/ 0 w 410"/>
                  <a:gd name="T15" fmla="*/ 184 h 328"/>
                  <a:gd name="T16" fmla="*/ 258 w 410"/>
                  <a:gd name="T1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328">
                    <a:moveTo>
                      <a:pt x="258" y="328"/>
                    </a:moveTo>
                    <a:cubicBezTo>
                      <a:pt x="261" y="328"/>
                      <a:pt x="268" y="328"/>
                      <a:pt x="270" y="322"/>
                    </a:cubicBezTo>
                    <a:cubicBezTo>
                      <a:pt x="273" y="318"/>
                      <a:pt x="272" y="312"/>
                      <a:pt x="268" y="309"/>
                    </a:cubicBezTo>
                    <a:cubicBezTo>
                      <a:pt x="268" y="309"/>
                      <a:pt x="248" y="289"/>
                      <a:pt x="253" y="270"/>
                    </a:cubicBezTo>
                    <a:cubicBezTo>
                      <a:pt x="257" y="257"/>
                      <a:pt x="273" y="239"/>
                      <a:pt x="330" y="226"/>
                    </a:cubicBezTo>
                    <a:cubicBezTo>
                      <a:pt x="402" y="209"/>
                      <a:pt x="410" y="154"/>
                      <a:pt x="410" y="131"/>
                    </a:cubicBezTo>
                    <a:cubicBezTo>
                      <a:pt x="410" y="75"/>
                      <a:pt x="366" y="25"/>
                      <a:pt x="301" y="0"/>
                    </a:cubicBezTo>
                    <a:cubicBezTo>
                      <a:pt x="233" y="99"/>
                      <a:pt x="90" y="156"/>
                      <a:pt x="0" y="184"/>
                    </a:cubicBezTo>
                    <a:cubicBezTo>
                      <a:pt x="55" y="282"/>
                      <a:pt x="249" y="326"/>
                      <a:pt x="258" y="3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47">
                <a:extLst>
                  <a:ext uri="{FF2B5EF4-FFF2-40B4-BE49-F238E27FC236}">
                    <a16:creationId xmlns:a16="http://schemas.microsoft.com/office/drawing/2014/main" id="{5731D7F0-C85E-7309-2FF4-F45F54FB1F5D}"/>
                  </a:ext>
                </a:extLst>
              </p:cNvPr>
              <p:cNvSpPr>
                <a:spLocks noEditPoints="1"/>
              </p:cNvSpPr>
              <p:nvPr/>
            </p:nvSpPr>
            <p:spPr bwMode="auto">
              <a:xfrm>
                <a:off x="5827713" y="1677988"/>
                <a:ext cx="430213" cy="358775"/>
              </a:xfrm>
              <a:custGeom>
                <a:avLst/>
                <a:gdLst>
                  <a:gd name="T0" fmla="*/ 136 w 606"/>
                  <a:gd name="T1" fmla="*/ 321 h 506"/>
                  <a:gd name="T2" fmla="*/ 50 w 606"/>
                  <a:gd name="T3" fmla="*/ 222 h 506"/>
                  <a:gd name="T4" fmla="*/ 303 w 606"/>
                  <a:gd name="T5" fmla="*/ 50 h 506"/>
                  <a:gd name="T6" fmla="*/ 513 w 606"/>
                  <a:gd name="T7" fmla="*/ 126 h 506"/>
                  <a:gd name="T8" fmla="*/ 555 w 606"/>
                  <a:gd name="T9" fmla="*/ 222 h 506"/>
                  <a:gd name="T10" fmla="*/ 247 w 606"/>
                  <a:gd name="T11" fmla="*/ 447 h 506"/>
                  <a:gd name="T12" fmla="*/ 255 w 606"/>
                  <a:gd name="T13" fmla="*/ 396 h 506"/>
                  <a:gd name="T14" fmla="*/ 136 w 606"/>
                  <a:gd name="T15" fmla="*/ 321 h 506"/>
                  <a:gd name="T16" fmla="*/ 229 w 606"/>
                  <a:gd name="T17" fmla="*/ 503 h 506"/>
                  <a:gd name="T18" fmla="*/ 605 w 606"/>
                  <a:gd name="T19" fmla="*/ 222 h 506"/>
                  <a:gd name="T20" fmla="*/ 549 w 606"/>
                  <a:gd name="T21" fmla="*/ 91 h 506"/>
                  <a:gd name="T22" fmla="*/ 303 w 606"/>
                  <a:gd name="T23" fmla="*/ 0 h 506"/>
                  <a:gd name="T24" fmla="*/ 0 w 606"/>
                  <a:gd name="T25" fmla="*/ 222 h 506"/>
                  <a:gd name="T26" fmla="*/ 125 w 606"/>
                  <a:gd name="T27" fmla="*/ 370 h 506"/>
                  <a:gd name="T28" fmla="*/ 207 w 606"/>
                  <a:gd name="T29" fmla="*/ 409 h 506"/>
                  <a:gd name="T30" fmla="*/ 194 w 606"/>
                  <a:gd name="T31" fmla="*/ 435 h 506"/>
                  <a:gd name="T32" fmla="*/ 186 w 606"/>
                  <a:gd name="T33" fmla="*/ 482 h 506"/>
                  <a:gd name="T34" fmla="*/ 229 w 606"/>
                  <a:gd name="T35" fmla="*/ 50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6" h="506">
                    <a:moveTo>
                      <a:pt x="136" y="321"/>
                    </a:moveTo>
                    <a:cubicBezTo>
                      <a:pt x="61" y="304"/>
                      <a:pt x="50" y="251"/>
                      <a:pt x="50" y="222"/>
                    </a:cubicBezTo>
                    <a:cubicBezTo>
                      <a:pt x="50" y="127"/>
                      <a:pt x="164" y="50"/>
                      <a:pt x="303" y="50"/>
                    </a:cubicBezTo>
                    <a:cubicBezTo>
                      <a:pt x="387" y="50"/>
                      <a:pt x="466" y="79"/>
                      <a:pt x="513" y="126"/>
                    </a:cubicBezTo>
                    <a:cubicBezTo>
                      <a:pt x="541" y="155"/>
                      <a:pt x="556" y="188"/>
                      <a:pt x="555" y="222"/>
                    </a:cubicBezTo>
                    <a:cubicBezTo>
                      <a:pt x="554" y="352"/>
                      <a:pt x="329" y="425"/>
                      <a:pt x="247" y="447"/>
                    </a:cubicBezTo>
                    <a:cubicBezTo>
                      <a:pt x="254" y="433"/>
                      <a:pt x="260" y="415"/>
                      <a:pt x="255" y="396"/>
                    </a:cubicBezTo>
                    <a:cubicBezTo>
                      <a:pt x="246" y="362"/>
                      <a:pt x="207" y="337"/>
                      <a:pt x="136" y="321"/>
                    </a:cubicBezTo>
                    <a:close/>
                    <a:moveTo>
                      <a:pt x="229" y="503"/>
                    </a:moveTo>
                    <a:cubicBezTo>
                      <a:pt x="268" y="494"/>
                      <a:pt x="603" y="414"/>
                      <a:pt x="605" y="222"/>
                    </a:cubicBezTo>
                    <a:cubicBezTo>
                      <a:pt x="606" y="175"/>
                      <a:pt x="586" y="129"/>
                      <a:pt x="549" y="91"/>
                    </a:cubicBezTo>
                    <a:cubicBezTo>
                      <a:pt x="492" y="34"/>
                      <a:pt x="400" y="0"/>
                      <a:pt x="303" y="0"/>
                    </a:cubicBezTo>
                    <a:cubicBezTo>
                      <a:pt x="136" y="0"/>
                      <a:pt x="0" y="100"/>
                      <a:pt x="0" y="222"/>
                    </a:cubicBezTo>
                    <a:cubicBezTo>
                      <a:pt x="0" y="250"/>
                      <a:pt x="9" y="343"/>
                      <a:pt x="125" y="370"/>
                    </a:cubicBezTo>
                    <a:cubicBezTo>
                      <a:pt x="185" y="383"/>
                      <a:pt x="204" y="401"/>
                      <a:pt x="207" y="409"/>
                    </a:cubicBezTo>
                    <a:cubicBezTo>
                      <a:pt x="208" y="416"/>
                      <a:pt x="200" y="429"/>
                      <a:pt x="194" y="435"/>
                    </a:cubicBezTo>
                    <a:cubicBezTo>
                      <a:pt x="181" y="447"/>
                      <a:pt x="178" y="466"/>
                      <a:pt x="186" y="482"/>
                    </a:cubicBezTo>
                    <a:cubicBezTo>
                      <a:pt x="195" y="501"/>
                      <a:pt x="216" y="506"/>
                      <a:pt x="229" y="5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48">
                <a:extLst>
                  <a:ext uri="{FF2B5EF4-FFF2-40B4-BE49-F238E27FC236}">
                    <a16:creationId xmlns:a16="http://schemas.microsoft.com/office/drawing/2014/main" id="{E7E0DB07-9942-A7AD-043F-C32E02037C78}"/>
                  </a:ext>
                </a:extLst>
              </p:cNvPr>
              <p:cNvSpPr>
                <a:spLocks/>
              </p:cNvSpPr>
              <p:nvPr/>
            </p:nvSpPr>
            <p:spPr bwMode="auto">
              <a:xfrm>
                <a:off x="5662613" y="2246313"/>
                <a:ext cx="381000" cy="163513"/>
              </a:xfrm>
              <a:custGeom>
                <a:avLst/>
                <a:gdLst>
                  <a:gd name="T0" fmla="*/ 537 w 537"/>
                  <a:gd name="T1" fmla="*/ 198 h 231"/>
                  <a:gd name="T2" fmla="*/ 268 w 537"/>
                  <a:gd name="T3" fmla="*/ 0 h 231"/>
                  <a:gd name="T4" fmla="*/ 0 w 537"/>
                  <a:gd name="T5" fmla="*/ 198 h 231"/>
                  <a:gd name="T6" fmla="*/ 0 w 537"/>
                  <a:gd name="T7" fmla="*/ 231 h 231"/>
                  <a:gd name="T8" fmla="*/ 537 w 537"/>
                  <a:gd name="T9" fmla="*/ 231 h 231"/>
                  <a:gd name="T10" fmla="*/ 537 w 537"/>
                  <a:gd name="T11" fmla="*/ 198 h 231"/>
                </a:gdLst>
                <a:ahLst/>
                <a:cxnLst>
                  <a:cxn ang="0">
                    <a:pos x="T0" y="T1"/>
                  </a:cxn>
                  <a:cxn ang="0">
                    <a:pos x="T2" y="T3"/>
                  </a:cxn>
                  <a:cxn ang="0">
                    <a:pos x="T4" y="T5"/>
                  </a:cxn>
                  <a:cxn ang="0">
                    <a:pos x="T6" y="T7"/>
                  </a:cxn>
                  <a:cxn ang="0">
                    <a:pos x="T8" y="T9"/>
                  </a:cxn>
                  <a:cxn ang="0">
                    <a:pos x="T10" y="T11"/>
                  </a:cxn>
                </a:cxnLst>
                <a:rect l="0" t="0" r="r" b="b"/>
                <a:pathLst>
                  <a:path w="537" h="231">
                    <a:moveTo>
                      <a:pt x="537" y="198"/>
                    </a:moveTo>
                    <a:cubicBezTo>
                      <a:pt x="537" y="72"/>
                      <a:pt x="416" y="0"/>
                      <a:pt x="268" y="0"/>
                    </a:cubicBezTo>
                    <a:cubicBezTo>
                      <a:pt x="120" y="0"/>
                      <a:pt x="0" y="72"/>
                      <a:pt x="0" y="198"/>
                    </a:cubicBezTo>
                    <a:lnTo>
                      <a:pt x="0" y="231"/>
                    </a:lnTo>
                    <a:lnTo>
                      <a:pt x="537" y="231"/>
                    </a:lnTo>
                    <a:lnTo>
                      <a:pt x="537" y="1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val 49">
                <a:extLst>
                  <a:ext uri="{FF2B5EF4-FFF2-40B4-BE49-F238E27FC236}">
                    <a16:creationId xmlns:a16="http://schemas.microsoft.com/office/drawing/2014/main" id="{3A0A6752-337C-C86C-B233-0EE041AD970F}"/>
                  </a:ext>
                </a:extLst>
              </p:cNvPr>
              <p:cNvSpPr>
                <a:spLocks noChangeArrowheads="1"/>
              </p:cNvSpPr>
              <p:nvPr/>
            </p:nvSpPr>
            <p:spPr bwMode="auto">
              <a:xfrm>
                <a:off x="6276975" y="2097088"/>
                <a:ext cx="166688" cy="166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50">
                <a:extLst>
                  <a:ext uri="{FF2B5EF4-FFF2-40B4-BE49-F238E27FC236}">
                    <a16:creationId xmlns:a16="http://schemas.microsoft.com/office/drawing/2014/main" id="{0B8CC63D-C9BA-94BA-1FCB-B88816E4AB12}"/>
                  </a:ext>
                </a:extLst>
              </p:cNvPr>
              <p:cNvSpPr>
                <a:spLocks/>
              </p:cNvSpPr>
              <p:nvPr/>
            </p:nvSpPr>
            <p:spPr bwMode="auto">
              <a:xfrm>
                <a:off x="6218238" y="2287588"/>
                <a:ext cx="284163" cy="122238"/>
              </a:xfrm>
              <a:custGeom>
                <a:avLst/>
                <a:gdLst>
                  <a:gd name="T0" fmla="*/ 0 w 401"/>
                  <a:gd name="T1" fmla="*/ 148 h 173"/>
                  <a:gd name="T2" fmla="*/ 0 w 401"/>
                  <a:gd name="T3" fmla="*/ 173 h 173"/>
                  <a:gd name="T4" fmla="*/ 401 w 401"/>
                  <a:gd name="T5" fmla="*/ 173 h 173"/>
                  <a:gd name="T6" fmla="*/ 401 w 401"/>
                  <a:gd name="T7" fmla="*/ 148 h 173"/>
                  <a:gd name="T8" fmla="*/ 200 w 401"/>
                  <a:gd name="T9" fmla="*/ 0 h 173"/>
                  <a:gd name="T10" fmla="*/ 0 w 401"/>
                  <a:gd name="T11" fmla="*/ 148 h 173"/>
                </a:gdLst>
                <a:ahLst/>
                <a:cxnLst>
                  <a:cxn ang="0">
                    <a:pos x="T0" y="T1"/>
                  </a:cxn>
                  <a:cxn ang="0">
                    <a:pos x="T2" y="T3"/>
                  </a:cxn>
                  <a:cxn ang="0">
                    <a:pos x="T4" y="T5"/>
                  </a:cxn>
                  <a:cxn ang="0">
                    <a:pos x="T6" y="T7"/>
                  </a:cxn>
                  <a:cxn ang="0">
                    <a:pos x="T8" y="T9"/>
                  </a:cxn>
                  <a:cxn ang="0">
                    <a:pos x="T10" y="T11"/>
                  </a:cxn>
                </a:cxnLst>
                <a:rect l="0" t="0" r="r" b="b"/>
                <a:pathLst>
                  <a:path w="401" h="173">
                    <a:moveTo>
                      <a:pt x="0" y="148"/>
                    </a:moveTo>
                    <a:lnTo>
                      <a:pt x="0" y="173"/>
                    </a:lnTo>
                    <a:lnTo>
                      <a:pt x="401" y="173"/>
                    </a:lnTo>
                    <a:lnTo>
                      <a:pt x="401" y="148"/>
                    </a:lnTo>
                    <a:cubicBezTo>
                      <a:pt x="401" y="54"/>
                      <a:pt x="311" y="0"/>
                      <a:pt x="200" y="0"/>
                    </a:cubicBezTo>
                    <a:cubicBezTo>
                      <a:pt x="90" y="0"/>
                      <a:pt x="0" y="54"/>
                      <a:pt x="0" y="1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Rectangle 51">
                <a:extLst>
                  <a:ext uri="{FF2B5EF4-FFF2-40B4-BE49-F238E27FC236}">
                    <a16:creationId xmlns:a16="http://schemas.microsoft.com/office/drawing/2014/main" id="{9D676B16-4268-CBA7-D9B9-3B51F9EBA133}"/>
                  </a:ext>
                </a:extLst>
              </p:cNvPr>
              <p:cNvSpPr>
                <a:spLocks noChangeArrowheads="1"/>
              </p:cNvSpPr>
              <p:nvPr/>
            </p:nvSpPr>
            <p:spPr bwMode="auto">
              <a:xfrm>
                <a:off x="5937250" y="1776413"/>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Rectangle 52">
                <a:extLst>
                  <a:ext uri="{FF2B5EF4-FFF2-40B4-BE49-F238E27FC236}">
                    <a16:creationId xmlns:a16="http://schemas.microsoft.com/office/drawing/2014/main" id="{20C3396F-A2A1-9AF9-8DCC-BD739E081F14}"/>
                  </a:ext>
                </a:extLst>
              </p:cNvPr>
              <p:cNvSpPr>
                <a:spLocks noChangeArrowheads="1"/>
              </p:cNvSpPr>
              <p:nvPr/>
            </p:nvSpPr>
            <p:spPr bwMode="auto">
              <a:xfrm>
                <a:off x="5937250" y="1847850"/>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val 53">
                <a:extLst>
                  <a:ext uri="{FF2B5EF4-FFF2-40B4-BE49-F238E27FC236}">
                    <a16:creationId xmlns:a16="http://schemas.microsoft.com/office/drawing/2014/main" id="{29AFF024-C132-68E5-9945-3BDC29419E08}"/>
                  </a:ext>
                </a:extLst>
              </p:cNvPr>
              <p:cNvSpPr>
                <a:spLocks noChangeArrowheads="1"/>
              </p:cNvSpPr>
              <p:nvPr/>
            </p:nvSpPr>
            <p:spPr bwMode="auto">
              <a:xfrm>
                <a:off x="5741988" y="1992313"/>
                <a:ext cx="222250" cy="2222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75" name="Group 74">
            <a:extLst>
              <a:ext uri="{FF2B5EF4-FFF2-40B4-BE49-F238E27FC236}">
                <a16:creationId xmlns:a16="http://schemas.microsoft.com/office/drawing/2014/main" id="{24F52E23-EFA5-07B2-BA8E-43AD00214140}"/>
              </a:ext>
            </a:extLst>
          </p:cNvPr>
          <p:cNvGrpSpPr/>
          <p:nvPr/>
        </p:nvGrpSpPr>
        <p:grpSpPr>
          <a:xfrm>
            <a:off x="3420790" y="1584390"/>
            <a:ext cx="841311" cy="841311"/>
            <a:chOff x="3420790" y="1463010"/>
            <a:chExt cx="841311" cy="841311"/>
          </a:xfrm>
        </p:grpSpPr>
        <p:sp>
          <p:nvSpPr>
            <p:cNvPr id="76" name="Oval 75">
              <a:extLst>
                <a:ext uri="{FF2B5EF4-FFF2-40B4-BE49-F238E27FC236}">
                  <a16:creationId xmlns:a16="http://schemas.microsoft.com/office/drawing/2014/main" id="{9F19B652-36CD-1ADB-8359-665FF460C078}"/>
                </a:ext>
              </a:extLst>
            </p:cNvPr>
            <p:cNvSpPr/>
            <p:nvPr/>
          </p:nvSpPr>
          <p:spPr bwMode="gray">
            <a:xfrm>
              <a:off x="3420790" y="1463010"/>
              <a:ext cx="841311" cy="841311"/>
            </a:xfrm>
            <a:prstGeom prst="ellipse">
              <a:avLst/>
            </a:prstGeom>
            <a:solidFill>
              <a:schemeClr val="bg1"/>
            </a:solidFill>
            <a:ln w="38100" algn="ctr">
              <a:solidFill>
                <a:srgbClr val="6FC9E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77" name="Process_automation" descr="{&quot;Key&quot;:&quot;POWER_USER_SHAPE_ICON&quot;,&quot;Value&quot;:&quot;POWER_USER_SHAPE_ICON_STYLE_1&quot;}">
              <a:extLst>
                <a:ext uri="{FF2B5EF4-FFF2-40B4-BE49-F238E27FC236}">
                  <a16:creationId xmlns:a16="http://schemas.microsoft.com/office/drawing/2014/main" id="{695BE22C-5E32-4B9C-14DF-C1F43F7402C2}"/>
                </a:ext>
              </a:extLst>
            </p:cNvPr>
            <p:cNvGrpSpPr>
              <a:grpSpLocks noChangeAspect="1"/>
            </p:cNvGrpSpPr>
            <p:nvPr>
              <p:custDataLst>
                <p:tags r:id="rId3"/>
              </p:custDataLst>
            </p:nvPr>
          </p:nvGrpSpPr>
          <p:grpSpPr>
            <a:xfrm>
              <a:off x="3569068" y="1612203"/>
              <a:ext cx="544733" cy="542925"/>
              <a:chOff x="7174560" y="3191054"/>
              <a:chExt cx="656152" cy="653975"/>
            </a:xfrm>
            <a:solidFill>
              <a:srgbClr val="464747"/>
            </a:solidFill>
          </p:grpSpPr>
          <p:grpSp>
            <p:nvGrpSpPr>
              <p:cNvPr id="78" name="Resource_allocation">
                <a:extLst>
                  <a:ext uri="{FF2B5EF4-FFF2-40B4-BE49-F238E27FC236}">
                    <a16:creationId xmlns:a16="http://schemas.microsoft.com/office/drawing/2014/main" id="{577B5923-B329-A1CB-0849-E509A4548030}"/>
                  </a:ext>
                </a:extLst>
              </p:cNvPr>
              <p:cNvGrpSpPr>
                <a:grpSpLocks noChangeAspect="1"/>
              </p:cNvGrpSpPr>
              <p:nvPr>
                <p:custDataLst>
                  <p:tags r:id="rId4"/>
                </p:custDataLst>
              </p:nvPr>
            </p:nvGrpSpPr>
            <p:grpSpPr>
              <a:xfrm>
                <a:off x="7174560" y="3362978"/>
                <a:ext cx="656152" cy="309690"/>
                <a:chOff x="6249988" y="3989388"/>
                <a:chExt cx="1076325" cy="508000"/>
              </a:xfrm>
              <a:grpFill/>
            </p:grpSpPr>
            <p:sp>
              <p:nvSpPr>
                <p:cNvPr id="81" name="Freeform 90">
                  <a:extLst>
                    <a:ext uri="{FF2B5EF4-FFF2-40B4-BE49-F238E27FC236}">
                      <a16:creationId xmlns:a16="http://schemas.microsoft.com/office/drawing/2014/main" id="{D39575F6-793F-45F6-B483-EFC86F715A61}"/>
                    </a:ext>
                  </a:extLst>
                </p:cNvPr>
                <p:cNvSpPr>
                  <a:spLocks noEditPoints="1"/>
                </p:cNvSpPr>
                <p:nvPr/>
              </p:nvSpPr>
              <p:spPr bwMode="auto">
                <a:xfrm>
                  <a:off x="6475413" y="4159250"/>
                  <a:ext cx="338138" cy="338138"/>
                </a:xfrm>
                <a:custGeom>
                  <a:avLst/>
                  <a:gdLst>
                    <a:gd name="T0" fmla="*/ 274 w 560"/>
                    <a:gd name="T1" fmla="*/ 395 h 560"/>
                    <a:gd name="T2" fmla="*/ 175 w 560"/>
                    <a:gd name="T3" fmla="*/ 328 h 560"/>
                    <a:gd name="T4" fmla="*/ 365 w 560"/>
                    <a:gd name="T5" fmla="*/ 204 h 560"/>
                    <a:gd name="T6" fmla="*/ 357 w 560"/>
                    <a:gd name="T7" fmla="*/ 366 h 560"/>
                    <a:gd name="T8" fmla="*/ 510 w 560"/>
                    <a:gd name="T9" fmla="*/ 237 h 560"/>
                    <a:gd name="T10" fmla="*/ 483 w 560"/>
                    <a:gd name="T11" fmla="*/ 191 h 560"/>
                    <a:gd name="T12" fmla="*/ 486 w 560"/>
                    <a:gd name="T13" fmla="*/ 169 h 560"/>
                    <a:gd name="T14" fmla="*/ 504 w 560"/>
                    <a:gd name="T15" fmla="*/ 113 h 560"/>
                    <a:gd name="T16" fmla="*/ 469 w 560"/>
                    <a:gd name="T17" fmla="*/ 74 h 560"/>
                    <a:gd name="T18" fmla="*/ 411 w 560"/>
                    <a:gd name="T19" fmla="*/ 87 h 560"/>
                    <a:gd name="T20" fmla="*/ 364 w 560"/>
                    <a:gd name="T21" fmla="*/ 76 h 560"/>
                    <a:gd name="T22" fmla="*/ 338 w 560"/>
                    <a:gd name="T23" fmla="*/ 20 h 560"/>
                    <a:gd name="T24" fmla="*/ 293 w 560"/>
                    <a:gd name="T25" fmla="*/ 1 h 560"/>
                    <a:gd name="T26" fmla="*/ 248 w 560"/>
                    <a:gd name="T27" fmla="*/ 15 h 560"/>
                    <a:gd name="T28" fmla="*/ 217 w 560"/>
                    <a:gd name="T29" fmla="*/ 68 h 560"/>
                    <a:gd name="T30" fmla="*/ 169 w 560"/>
                    <a:gd name="T31" fmla="*/ 74 h 560"/>
                    <a:gd name="T32" fmla="*/ 113 w 560"/>
                    <a:gd name="T33" fmla="*/ 56 h 560"/>
                    <a:gd name="T34" fmla="*/ 74 w 560"/>
                    <a:gd name="T35" fmla="*/ 91 h 560"/>
                    <a:gd name="T36" fmla="*/ 86 w 560"/>
                    <a:gd name="T37" fmla="*/ 148 h 560"/>
                    <a:gd name="T38" fmla="*/ 75 w 560"/>
                    <a:gd name="T39" fmla="*/ 196 h 560"/>
                    <a:gd name="T40" fmla="*/ 20 w 560"/>
                    <a:gd name="T41" fmla="*/ 222 h 560"/>
                    <a:gd name="T42" fmla="*/ 6 w 560"/>
                    <a:gd name="T43" fmla="*/ 232 h 560"/>
                    <a:gd name="T44" fmla="*/ 5 w 560"/>
                    <a:gd name="T45" fmla="*/ 235 h 560"/>
                    <a:gd name="T46" fmla="*/ 3 w 560"/>
                    <a:gd name="T47" fmla="*/ 240 h 560"/>
                    <a:gd name="T48" fmla="*/ 1 w 560"/>
                    <a:gd name="T49" fmla="*/ 292 h 560"/>
                    <a:gd name="T50" fmla="*/ 49 w 560"/>
                    <a:gd name="T51" fmla="*/ 324 h 560"/>
                    <a:gd name="T52" fmla="*/ 77 w 560"/>
                    <a:gd name="T53" fmla="*/ 371 h 560"/>
                    <a:gd name="T54" fmla="*/ 73 w 560"/>
                    <a:gd name="T55" fmla="*/ 392 h 560"/>
                    <a:gd name="T56" fmla="*/ 56 w 560"/>
                    <a:gd name="T57" fmla="*/ 447 h 560"/>
                    <a:gd name="T58" fmla="*/ 91 w 560"/>
                    <a:gd name="T59" fmla="*/ 486 h 560"/>
                    <a:gd name="T60" fmla="*/ 147 w 560"/>
                    <a:gd name="T61" fmla="*/ 474 h 560"/>
                    <a:gd name="T62" fmla="*/ 196 w 560"/>
                    <a:gd name="T63" fmla="*/ 487 h 560"/>
                    <a:gd name="T64" fmla="*/ 222 w 560"/>
                    <a:gd name="T65" fmla="*/ 540 h 560"/>
                    <a:gd name="T66" fmla="*/ 265 w 560"/>
                    <a:gd name="T67" fmla="*/ 559 h 560"/>
                    <a:gd name="T68" fmla="*/ 312 w 560"/>
                    <a:gd name="T69" fmla="*/ 544 h 560"/>
                    <a:gd name="T70" fmla="*/ 342 w 560"/>
                    <a:gd name="T71" fmla="*/ 494 h 560"/>
                    <a:gd name="T72" fmla="*/ 393 w 560"/>
                    <a:gd name="T73" fmla="*/ 487 h 560"/>
                    <a:gd name="T74" fmla="*/ 447 w 560"/>
                    <a:gd name="T75" fmla="*/ 504 h 560"/>
                    <a:gd name="T76" fmla="*/ 486 w 560"/>
                    <a:gd name="T77" fmla="*/ 469 h 560"/>
                    <a:gd name="T78" fmla="*/ 474 w 560"/>
                    <a:gd name="T79" fmla="*/ 413 h 560"/>
                    <a:gd name="T80" fmla="*/ 486 w 560"/>
                    <a:gd name="T81" fmla="*/ 364 h 560"/>
                    <a:gd name="T82" fmla="*/ 539 w 560"/>
                    <a:gd name="T83" fmla="*/ 338 h 560"/>
                    <a:gd name="T84" fmla="*/ 555 w 560"/>
                    <a:gd name="T85" fmla="*/ 326 h 560"/>
                    <a:gd name="T86" fmla="*/ 556 w 560"/>
                    <a:gd name="T87" fmla="*/ 320 h 560"/>
                    <a:gd name="T88" fmla="*/ 559 w 560"/>
                    <a:gd name="T89" fmla="*/ 293 h 560"/>
                    <a:gd name="T90" fmla="*/ 544 w 560"/>
                    <a:gd name="T91" fmla="*/ 24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0" h="560">
                      <a:moveTo>
                        <a:pt x="357" y="366"/>
                      </a:moveTo>
                      <a:cubicBezTo>
                        <a:pt x="334" y="386"/>
                        <a:pt x="305" y="397"/>
                        <a:pt x="274" y="395"/>
                      </a:cubicBezTo>
                      <a:cubicBezTo>
                        <a:pt x="244" y="394"/>
                        <a:pt x="216" y="380"/>
                        <a:pt x="195" y="358"/>
                      </a:cubicBezTo>
                      <a:cubicBezTo>
                        <a:pt x="187" y="349"/>
                        <a:pt x="180" y="338"/>
                        <a:pt x="175" y="328"/>
                      </a:cubicBezTo>
                      <a:cubicBezTo>
                        <a:pt x="155" y="282"/>
                        <a:pt x="167" y="229"/>
                        <a:pt x="203" y="196"/>
                      </a:cubicBezTo>
                      <a:cubicBezTo>
                        <a:pt x="250" y="154"/>
                        <a:pt x="323" y="158"/>
                        <a:pt x="365" y="204"/>
                      </a:cubicBezTo>
                      <a:cubicBezTo>
                        <a:pt x="373" y="213"/>
                        <a:pt x="380" y="224"/>
                        <a:pt x="384" y="234"/>
                      </a:cubicBezTo>
                      <a:cubicBezTo>
                        <a:pt x="405" y="280"/>
                        <a:pt x="393" y="333"/>
                        <a:pt x="357" y="366"/>
                      </a:cubicBezTo>
                      <a:close/>
                      <a:moveTo>
                        <a:pt x="544" y="248"/>
                      </a:moveTo>
                      <a:lnTo>
                        <a:pt x="510" y="237"/>
                      </a:lnTo>
                      <a:cubicBezTo>
                        <a:pt x="503" y="234"/>
                        <a:pt x="495" y="225"/>
                        <a:pt x="493" y="217"/>
                      </a:cubicBezTo>
                      <a:cubicBezTo>
                        <a:pt x="490" y="208"/>
                        <a:pt x="487" y="199"/>
                        <a:pt x="483" y="191"/>
                      </a:cubicBezTo>
                      <a:cubicBezTo>
                        <a:pt x="482" y="189"/>
                        <a:pt x="481" y="187"/>
                        <a:pt x="481" y="186"/>
                      </a:cubicBezTo>
                      <a:cubicBezTo>
                        <a:pt x="479" y="183"/>
                        <a:pt x="482" y="175"/>
                        <a:pt x="486" y="169"/>
                      </a:cubicBezTo>
                      <a:lnTo>
                        <a:pt x="505" y="138"/>
                      </a:lnTo>
                      <a:cubicBezTo>
                        <a:pt x="509" y="131"/>
                        <a:pt x="509" y="119"/>
                        <a:pt x="504" y="113"/>
                      </a:cubicBezTo>
                      <a:cubicBezTo>
                        <a:pt x="499" y="106"/>
                        <a:pt x="494" y="100"/>
                        <a:pt x="488" y="93"/>
                      </a:cubicBezTo>
                      <a:cubicBezTo>
                        <a:pt x="482" y="86"/>
                        <a:pt x="475" y="80"/>
                        <a:pt x="469" y="74"/>
                      </a:cubicBezTo>
                      <a:cubicBezTo>
                        <a:pt x="463" y="69"/>
                        <a:pt x="452" y="67"/>
                        <a:pt x="444" y="71"/>
                      </a:cubicBezTo>
                      <a:lnTo>
                        <a:pt x="411" y="87"/>
                      </a:lnTo>
                      <a:cubicBezTo>
                        <a:pt x="404" y="90"/>
                        <a:pt x="393" y="89"/>
                        <a:pt x="385" y="86"/>
                      </a:cubicBezTo>
                      <a:cubicBezTo>
                        <a:pt x="378" y="82"/>
                        <a:pt x="371" y="79"/>
                        <a:pt x="364" y="76"/>
                      </a:cubicBezTo>
                      <a:cubicBezTo>
                        <a:pt x="357" y="72"/>
                        <a:pt x="349" y="64"/>
                        <a:pt x="347" y="56"/>
                      </a:cubicBezTo>
                      <a:lnTo>
                        <a:pt x="338" y="20"/>
                      </a:lnTo>
                      <a:cubicBezTo>
                        <a:pt x="336" y="13"/>
                        <a:pt x="328" y="5"/>
                        <a:pt x="320" y="3"/>
                      </a:cubicBezTo>
                      <a:cubicBezTo>
                        <a:pt x="312" y="2"/>
                        <a:pt x="302" y="1"/>
                        <a:pt x="293" y="1"/>
                      </a:cubicBezTo>
                      <a:cubicBezTo>
                        <a:pt x="285" y="0"/>
                        <a:pt x="276" y="0"/>
                        <a:pt x="268" y="0"/>
                      </a:cubicBezTo>
                      <a:cubicBezTo>
                        <a:pt x="260" y="1"/>
                        <a:pt x="251" y="8"/>
                        <a:pt x="248" y="15"/>
                      </a:cubicBezTo>
                      <a:lnTo>
                        <a:pt x="236" y="51"/>
                      </a:lnTo>
                      <a:cubicBezTo>
                        <a:pt x="233" y="58"/>
                        <a:pt x="225" y="66"/>
                        <a:pt x="217" y="68"/>
                      </a:cubicBezTo>
                      <a:cubicBezTo>
                        <a:pt x="209" y="70"/>
                        <a:pt x="202" y="73"/>
                        <a:pt x="195" y="76"/>
                      </a:cubicBezTo>
                      <a:cubicBezTo>
                        <a:pt x="187" y="79"/>
                        <a:pt x="176" y="79"/>
                        <a:pt x="169" y="74"/>
                      </a:cubicBezTo>
                      <a:lnTo>
                        <a:pt x="137" y="55"/>
                      </a:lnTo>
                      <a:cubicBezTo>
                        <a:pt x="130" y="51"/>
                        <a:pt x="119" y="51"/>
                        <a:pt x="113" y="56"/>
                      </a:cubicBezTo>
                      <a:cubicBezTo>
                        <a:pt x="106" y="61"/>
                        <a:pt x="99" y="66"/>
                        <a:pt x="93" y="72"/>
                      </a:cubicBezTo>
                      <a:cubicBezTo>
                        <a:pt x="86" y="78"/>
                        <a:pt x="80" y="84"/>
                        <a:pt x="74" y="91"/>
                      </a:cubicBezTo>
                      <a:cubicBezTo>
                        <a:pt x="68" y="97"/>
                        <a:pt x="67" y="108"/>
                        <a:pt x="71" y="116"/>
                      </a:cubicBezTo>
                      <a:lnTo>
                        <a:pt x="86" y="148"/>
                      </a:lnTo>
                      <a:cubicBezTo>
                        <a:pt x="90" y="156"/>
                        <a:pt x="89" y="167"/>
                        <a:pt x="85" y="174"/>
                      </a:cubicBezTo>
                      <a:cubicBezTo>
                        <a:pt x="81" y="181"/>
                        <a:pt x="78" y="189"/>
                        <a:pt x="75" y="196"/>
                      </a:cubicBezTo>
                      <a:cubicBezTo>
                        <a:pt x="72" y="203"/>
                        <a:pt x="63" y="211"/>
                        <a:pt x="55" y="213"/>
                      </a:cubicBezTo>
                      <a:lnTo>
                        <a:pt x="20" y="222"/>
                      </a:lnTo>
                      <a:cubicBezTo>
                        <a:pt x="15" y="223"/>
                        <a:pt x="10" y="227"/>
                        <a:pt x="6" y="232"/>
                      </a:cubicBezTo>
                      <a:lnTo>
                        <a:pt x="6" y="232"/>
                      </a:lnTo>
                      <a:cubicBezTo>
                        <a:pt x="6" y="232"/>
                        <a:pt x="5" y="233"/>
                        <a:pt x="5" y="234"/>
                      </a:cubicBezTo>
                      <a:cubicBezTo>
                        <a:pt x="5" y="234"/>
                        <a:pt x="5" y="235"/>
                        <a:pt x="5" y="235"/>
                      </a:cubicBezTo>
                      <a:cubicBezTo>
                        <a:pt x="4" y="236"/>
                        <a:pt x="4" y="236"/>
                        <a:pt x="4" y="237"/>
                      </a:cubicBezTo>
                      <a:cubicBezTo>
                        <a:pt x="3" y="238"/>
                        <a:pt x="3" y="239"/>
                        <a:pt x="3" y="240"/>
                      </a:cubicBezTo>
                      <a:cubicBezTo>
                        <a:pt x="2" y="248"/>
                        <a:pt x="1" y="256"/>
                        <a:pt x="0" y="265"/>
                      </a:cubicBezTo>
                      <a:cubicBezTo>
                        <a:pt x="0" y="274"/>
                        <a:pt x="0" y="283"/>
                        <a:pt x="1" y="292"/>
                      </a:cubicBezTo>
                      <a:cubicBezTo>
                        <a:pt x="1" y="300"/>
                        <a:pt x="8" y="309"/>
                        <a:pt x="16" y="312"/>
                      </a:cubicBezTo>
                      <a:lnTo>
                        <a:pt x="49" y="324"/>
                      </a:lnTo>
                      <a:cubicBezTo>
                        <a:pt x="57" y="326"/>
                        <a:pt x="64" y="335"/>
                        <a:pt x="67" y="343"/>
                      </a:cubicBezTo>
                      <a:cubicBezTo>
                        <a:pt x="69" y="352"/>
                        <a:pt x="73" y="362"/>
                        <a:pt x="77" y="371"/>
                      </a:cubicBezTo>
                      <a:cubicBezTo>
                        <a:pt x="78" y="373"/>
                        <a:pt x="78" y="374"/>
                        <a:pt x="79" y="376"/>
                      </a:cubicBezTo>
                      <a:cubicBezTo>
                        <a:pt x="80" y="378"/>
                        <a:pt x="78" y="385"/>
                        <a:pt x="73" y="392"/>
                      </a:cubicBezTo>
                      <a:lnTo>
                        <a:pt x="55" y="422"/>
                      </a:lnTo>
                      <a:cubicBezTo>
                        <a:pt x="51" y="429"/>
                        <a:pt x="51" y="440"/>
                        <a:pt x="56" y="447"/>
                      </a:cubicBezTo>
                      <a:cubicBezTo>
                        <a:pt x="61" y="454"/>
                        <a:pt x="67" y="461"/>
                        <a:pt x="73" y="468"/>
                      </a:cubicBezTo>
                      <a:cubicBezTo>
                        <a:pt x="78" y="475"/>
                        <a:pt x="84" y="481"/>
                        <a:pt x="91" y="486"/>
                      </a:cubicBezTo>
                      <a:cubicBezTo>
                        <a:pt x="97" y="492"/>
                        <a:pt x="108" y="493"/>
                        <a:pt x="115" y="489"/>
                      </a:cubicBezTo>
                      <a:lnTo>
                        <a:pt x="147" y="474"/>
                      </a:lnTo>
                      <a:cubicBezTo>
                        <a:pt x="154" y="471"/>
                        <a:pt x="165" y="472"/>
                        <a:pt x="173" y="475"/>
                      </a:cubicBezTo>
                      <a:cubicBezTo>
                        <a:pt x="180" y="480"/>
                        <a:pt x="188" y="483"/>
                        <a:pt x="196" y="487"/>
                      </a:cubicBezTo>
                      <a:cubicBezTo>
                        <a:pt x="204" y="490"/>
                        <a:pt x="212" y="498"/>
                        <a:pt x="213" y="506"/>
                      </a:cubicBezTo>
                      <a:lnTo>
                        <a:pt x="222" y="540"/>
                      </a:lnTo>
                      <a:cubicBezTo>
                        <a:pt x="224" y="548"/>
                        <a:pt x="232" y="556"/>
                        <a:pt x="240" y="557"/>
                      </a:cubicBezTo>
                      <a:cubicBezTo>
                        <a:pt x="248" y="558"/>
                        <a:pt x="256" y="559"/>
                        <a:pt x="265" y="559"/>
                      </a:cubicBezTo>
                      <a:cubicBezTo>
                        <a:pt x="274" y="560"/>
                        <a:pt x="283" y="560"/>
                        <a:pt x="292" y="559"/>
                      </a:cubicBezTo>
                      <a:cubicBezTo>
                        <a:pt x="300" y="559"/>
                        <a:pt x="309" y="552"/>
                        <a:pt x="312" y="544"/>
                      </a:cubicBezTo>
                      <a:lnTo>
                        <a:pt x="323" y="512"/>
                      </a:lnTo>
                      <a:cubicBezTo>
                        <a:pt x="326" y="504"/>
                        <a:pt x="334" y="497"/>
                        <a:pt x="342" y="494"/>
                      </a:cubicBezTo>
                      <a:cubicBezTo>
                        <a:pt x="351" y="492"/>
                        <a:pt x="359" y="489"/>
                        <a:pt x="367" y="486"/>
                      </a:cubicBezTo>
                      <a:cubicBezTo>
                        <a:pt x="374" y="482"/>
                        <a:pt x="386" y="483"/>
                        <a:pt x="393" y="487"/>
                      </a:cubicBezTo>
                      <a:lnTo>
                        <a:pt x="422" y="505"/>
                      </a:lnTo>
                      <a:cubicBezTo>
                        <a:pt x="429" y="509"/>
                        <a:pt x="440" y="509"/>
                        <a:pt x="447" y="504"/>
                      </a:cubicBezTo>
                      <a:cubicBezTo>
                        <a:pt x="454" y="499"/>
                        <a:pt x="461" y="493"/>
                        <a:pt x="468" y="487"/>
                      </a:cubicBezTo>
                      <a:cubicBezTo>
                        <a:pt x="474" y="481"/>
                        <a:pt x="480" y="475"/>
                        <a:pt x="486" y="469"/>
                      </a:cubicBezTo>
                      <a:cubicBezTo>
                        <a:pt x="491" y="463"/>
                        <a:pt x="493" y="452"/>
                        <a:pt x="489" y="445"/>
                      </a:cubicBezTo>
                      <a:lnTo>
                        <a:pt x="474" y="413"/>
                      </a:lnTo>
                      <a:cubicBezTo>
                        <a:pt x="470" y="406"/>
                        <a:pt x="471" y="394"/>
                        <a:pt x="475" y="387"/>
                      </a:cubicBezTo>
                      <a:cubicBezTo>
                        <a:pt x="479" y="380"/>
                        <a:pt x="483" y="372"/>
                        <a:pt x="486" y="364"/>
                      </a:cubicBezTo>
                      <a:cubicBezTo>
                        <a:pt x="489" y="356"/>
                        <a:pt x="497" y="349"/>
                        <a:pt x="505" y="347"/>
                      </a:cubicBezTo>
                      <a:lnTo>
                        <a:pt x="539" y="338"/>
                      </a:lnTo>
                      <a:cubicBezTo>
                        <a:pt x="545" y="337"/>
                        <a:pt x="551" y="332"/>
                        <a:pt x="554" y="326"/>
                      </a:cubicBezTo>
                      <a:cubicBezTo>
                        <a:pt x="554" y="326"/>
                        <a:pt x="555" y="326"/>
                        <a:pt x="555" y="326"/>
                      </a:cubicBezTo>
                      <a:cubicBezTo>
                        <a:pt x="555" y="325"/>
                        <a:pt x="555" y="324"/>
                        <a:pt x="556" y="323"/>
                      </a:cubicBezTo>
                      <a:cubicBezTo>
                        <a:pt x="556" y="323"/>
                        <a:pt x="556" y="321"/>
                        <a:pt x="556" y="320"/>
                      </a:cubicBezTo>
                      <a:cubicBezTo>
                        <a:pt x="557" y="318"/>
                        <a:pt x="557" y="316"/>
                        <a:pt x="557" y="314"/>
                      </a:cubicBezTo>
                      <a:cubicBezTo>
                        <a:pt x="558" y="307"/>
                        <a:pt x="559" y="300"/>
                        <a:pt x="559" y="293"/>
                      </a:cubicBezTo>
                      <a:cubicBezTo>
                        <a:pt x="560" y="285"/>
                        <a:pt x="560" y="276"/>
                        <a:pt x="559" y="268"/>
                      </a:cubicBezTo>
                      <a:cubicBezTo>
                        <a:pt x="559" y="260"/>
                        <a:pt x="552" y="251"/>
                        <a:pt x="544" y="2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82" name="Freeform 91">
                  <a:extLst>
                    <a:ext uri="{FF2B5EF4-FFF2-40B4-BE49-F238E27FC236}">
                      <a16:creationId xmlns:a16="http://schemas.microsoft.com/office/drawing/2014/main" id="{37D2E5BB-E605-0AB2-47A0-D6AD473B67E2}"/>
                    </a:ext>
                  </a:extLst>
                </p:cNvPr>
                <p:cNvSpPr>
                  <a:spLocks noEditPoints="1"/>
                </p:cNvSpPr>
                <p:nvPr/>
              </p:nvSpPr>
              <p:spPr bwMode="auto">
                <a:xfrm>
                  <a:off x="6249988" y="4084638"/>
                  <a:ext cx="244475" cy="247650"/>
                </a:xfrm>
                <a:custGeom>
                  <a:avLst/>
                  <a:gdLst>
                    <a:gd name="T0" fmla="*/ 148 w 405"/>
                    <a:gd name="T1" fmla="*/ 254 h 410"/>
                    <a:gd name="T2" fmla="*/ 154 w 405"/>
                    <a:gd name="T3" fmla="*/ 149 h 410"/>
                    <a:gd name="T4" fmla="*/ 259 w 405"/>
                    <a:gd name="T5" fmla="*/ 155 h 410"/>
                    <a:gd name="T6" fmla="*/ 253 w 405"/>
                    <a:gd name="T7" fmla="*/ 260 h 410"/>
                    <a:gd name="T8" fmla="*/ 383 w 405"/>
                    <a:gd name="T9" fmla="*/ 300 h 410"/>
                    <a:gd name="T10" fmla="*/ 385 w 405"/>
                    <a:gd name="T11" fmla="*/ 297 h 410"/>
                    <a:gd name="T12" fmla="*/ 388 w 405"/>
                    <a:gd name="T13" fmla="*/ 293 h 410"/>
                    <a:gd name="T14" fmla="*/ 404 w 405"/>
                    <a:gd name="T15" fmla="*/ 243 h 410"/>
                    <a:gd name="T16" fmla="*/ 404 w 405"/>
                    <a:gd name="T17" fmla="*/ 239 h 410"/>
                    <a:gd name="T18" fmla="*/ 404 w 405"/>
                    <a:gd name="T19" fmla="*/ 235 h 410"/>
                    <a:gd name="T20" fmla="*/ 403 w 405"/>
                    <a:gd name="T21" fmla="*/ 232 h 410"/>
                    <a:gd name="T22" fmla="*/ 373 w 405"/>
                    <a:gd name="T23" fmla="*/ 205 h 410"/>
                    <a:gd name="T24" fmla="*/ 355 w 405"/>
                    <a:gd name="T25" fmla="*/ 162 h 410"/>
                    <a:gd name="T26" fmla="*/ 372 w 405"/>
                    <a:gd name="T27" fmla="*/ 113 h 410"/>
                    <a:gd name="T28" fmla="*/ 355 w 405"/>
                    <a:gd name="T29" fmla="*/ 69 h 410"/>
                    <a:gd name="T30" fmla="*/ 311 w 405"/>
                    <a:gd name="T31" fmla="*/ 47 h 410"/>
                    <a:gd name="T32" fmla="*/ 261 w 405"/>
                    <a:gd name="T33" fmla="*/ 58 h 410"/>
                    <a:gd name="T34" fmla="*/ 220 w 405"/>
                    <a:gd name="T35" fmla="*/ 36 h 410"/>
                    <a:gd name="T36" fmla="*/ 186 w 405"/>
                    <a:gd name="T37" fmla="*/ 1 h 410"/>
                    <a:gd name="T38" fmla="*/ 134 w 405"/>
                    <a:gd name="T39" fmla="*/ 12 h 410"/>
                    <a:gd name="T40" fmla="*/ 117 w 405"/>
                    <a:gd name="T41" fmla="*/ 59 h 410"/>
                    <a:gd name="T42" fmla="*/ 98 w 405"/>
                    <a:gd name="T43" fmla="*/ 88 h 410"/>
                    <a:gd name="T44" fmla="*/ 66 w 405"/>
                    <a:gd name="T45" fmla="*/ 106 h 410"/>
                    <a:gd name="T46" fmla="*/ 22 w 405"/>
                    <a:gd name="T47" fmla="*/ 111 h 410"/>
                    <a:gd name="T48" fmla="*/ 20 w 405"/>
                    <a:gd name="T49" fmla="*/ 113 h 410"/>
                    <a:gd name="T50" fmla="*/ 19 w 405"/>
                    <a:gd name="T51" fmla="*/ 116 h 410"/>
                    <a:gd name="T52" fmla="*/ 8 w 405"/>
                    <a:gd name="T53" fmla="*/ 142 h 410"/>
                    <a:gd name="T54" fmla="*/ 11 w 405"/>
                    <a:gd name="T55" fmla="*/ 191 h 410"/>
                    <a:gd name="T56" fmla="*/ 48 w 405"/>
                    <a:gd name="T57" fmla="*/ 230 h 410"/>
                    <a:gd name="T58" fmla="*/ 48 w 405"/>
                    <a:gd name="T59" fmla="*/ 273 h 410"/>
                    <a:gd name="T60" fmla="*/ 34 w 405"/>
                    <a:gd name="T61" fmla="*/ 322 h 410"/>
                    <a:gd name="T62" fmla="*/ 69 w 405"/>
                    <a:gd name="T63" fmla="*/ 361 h 410"/>
                    <a:gd name="T64" fmla="*/ 120 w 405"/>
                    <a:gd name="T65" fmla="*/ 352 h 410"/>
                    <a:gd name="T66" fmla="*/ 163 w 405"/>
                    <a:gd name="T67" fmla="*/ 357 h 410"/>
                    <a:gd name="T68" fmla="*/ 198 w 405"/>
                    <a:gd name="T69" fmla="*/ 398 h 410"/>
                    <a:gd name="T70" fmla="*/ 246 w 405"/>
                    <a:gd name="T71" fmla="*/ 405 h 410"/>
                    <a:gd name="T72" fmla="*/ 286 w 405"/>
                    <a:gd name="T73" fmla="*/ 379 h 410"/>
                    <a:gd name="T74" fmla="*/ 299 w 405"/>
                    <a:gd name="T75" fmla="*/ 330 h 410"/>
                    <a:gd name="T76" fmla="*/ 317 w 405"/>
                    <a:gd name="T77" fmla="*/ 314 h 410"/>
                    <a:gd name="T78" fmla="*/ 367 w 405"/>
                    <a:gd name="T79" fmla="*/ 306 h 410"/>
                    <a:gd name="T80" fmla="*/ 376 w 405"/>
                    <a:gd name="T81" fmla="*/ 304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5" h="410">
                      <a:moveTo>
                        <a:pt x="253" y="260"/>
                      </a:moveTo>
                      <a:cubicBezTo>
                        <a:pt x="223" y="287"/>
                        <a:pt x="176" y="285"/>
                        <a:pt x="148" y="254"/>
                      </a:cubicBezTo>
                      <a:cubicBezTo>
                        <a:pt x="143" y="249"/>
                        <a:pt x="139" y="242"/>
                        <a:pt x="136" y="235"/>
                      </a:cubicBezTo>
                      <a:cubicBezTo>
                        <a:pt x="122" y="205"/>
                        <a:pt x="130" y="171"/>
                        <a:pt x="154" y="149"/>
                      </a:cubicBezTo>
                      <a:cubicBezTo>
                        <a:pt x="168" y="136"/>
                        <a:pt x="187" y="129"/>
                        <a:pt x="207" y="130"/>
                      </a:cubicBezTo>
                      <a:cubicBezTo>
                        <a:pt x="227" y="131"/>
                        <a:pt x="245" y="140"/>
                        <a:pt x="259" y="155"/>
                      </a:cubicBezTo>
                      <a:cubicBezTo>
                        <a:pt x="264" y="161"/>
                        <a:pt x="268" y="167"/>
                        <a:pt x="271" y="174"/>
                      </a:cubicBezTo>
                      <a:cubicBezTo>
                        <a:pt x="284" y="204"/>
                        <a:pt x="277" y="238"/>
                        <a:pt x="253" y="260"/>
                      </a:cubicBezTo>
                      <a:close/>
                      <a:moveTo>
                        <a:pt x="376" y="304"/>
                      </a:moveTo>
                      <a:cubicBezTo>
                        <a:pt x="378" y="303"/>
                        <a:pt x="380" y="302"/>
                        <a:pt x="383" y="300"/>
                      </a:cubicBezTo>
                      <a:cubicBezTo>
                        <a:pt x="383" y="300"/>
                        <a:pt x="383" y="299"/>
                        <a:pt x="383" y="299"/>
                      </a:cubicBezTo>
                      <a:cubicBezTo>
                        <a:pt x="384" y="299"/>
                        <a:pt x="385" y="298"/>
                        <a:pt x="385" y="297"/>
                      </a:cubicBezTo>
                      <a:cubicBezTo>
                        <a:pt x="386" y="297"/>
                        <a:pt x="386" y="297"/>
                        <a:pt x="386" y="296"/>
                      </a:cubicBezTo>
                      <a:cubicBezTo>
                        <a:pt x="387" y="295"/>
                        <a:pt x="387" y="294"/>
                        <a:pt x="388" y="293"/>
                      </a:cubicBezTo>
                      <a:cubicBezTo>
                        <a:pt x="392" y="285"/>
                        <a:pt x="395" y="276"/>
                        <a:pt x="398" y="268"/>
                      </a:cubicBezTo>
                      <a:cubicBezTo>
                        <a:pt x="400" y="260"/>
                        <a:pt x="402" y="251"/>
                        <a:pt x="404" y="243"/>
                      </a:cubicBezTo>
                      <a:cubicBezTo>
                        <a:pt x="404" y="242"/>
                        <a:pt x="404" y="241"/>
                        <a:pt x="405" y="240"/>
                      </a:cubicBezTo>
                      <a:cubicBezTo>
                        <a:pt x="405" y="240"/>
                        <a:pt x="405" y="239"/>
                        <a:pt x="404" y="239"/>
                      </a:cubicBezTo>
                      <a:cubicBezTo>
                        <a:pt x="404" y="238"/>
                        <a:pt x="404" y="238"/>
                        <a:pt x="404" y="237"/>
                      </a:cubicBezTo>
                      <a:cubicBezTo>
                        <a:pt x="404" y="237"/>
                        <a:pt x="404" y="236"/>
                        <a:pt x="404" y="235"/>
                      </a:cubicBezTo>
                      <a:cubicBezTo>
                        <a:pt x="404" y="235"/>
                        <a:pt x="404" y="235"/>
                        <a:pt x="404" y="235"/>
                      </a:cubicBezTo>
                      <a:cubicBezTo>
                        <a:pt x="404" y="234"/>
                        <a:pt x="403" y="233"/>
                        <a:pt x="403" y="232"/>
                      </a:cubicBezTo>
                      <a:cubicBezTo>
                        <a:pt x="401" y="227"/>
                        <a:pt x="398" y="223"/>
                        <a:pt x="395" y="220"/>
                      </a:cubicBezTo>
                      <a:lnTo>
                        <a:pt x="373" y="205"/>
                      </a:lnTo>
                      <a:cubicBezTo>
                        <a:pt x="366" y="201"/>
                        <a:pt x="361" y="190"/>
                        <a:pt x="359" y="182"/>
                      </a:cubicBezTo>
                      <a:cubicBezTo>
                        <a:pt x="358" y="176"/>
                        <a:pt x="357" y="169"/>
                        <a:pt x="355" y="162"/>
                      </a:cubicBezTo>
                      <a:cubicBezTo>
                        <a:pt x="353" y="154"/>
                        <a:pt x="354" y="143"/>
                        <a:pt x="358" y="136"/>
                      </a:cubicBezTo>
                      <a:lnTo>
                        <a:pt x="372" y="113"/>
                      </a:lnTo>
                      <a:cubicBezTo>
                        <a:pt x="376" y="106"/>
                        <a:pt x="376" y="95"/>
                        <a:pt x="371" y="89"/>
                      </a:cubicBezTo>
                      <a:cubicBezTo>
                        <a:pt x="366" y="82"/>
                        <a:pt x="361" y="75"/>
                        <a:pt x="355" y="69"/>
                      </a:cubicBezTo>
                      <a:cubicBezTo>
                        <a:pt x="349" y="62"/>
                        <a:pt x="342" y="56"/>
                        <a:pt x="336" y="50"/>
                      </a:cubicBezTo>
                      <a:cubicBezTo>
                        <a:pt x="330" y="44"/>
                        <a:pt x="319" y="43"/>
                        <a:pt x="311" y="47"/>
                      </a:cubicBezTo>
                      <a:lnTo>
                        <a:pt x="288" y="58"/>
                      </a:lnTo>
                      <a:cubicBezTo>
                        <a:pt x="281" y="61"/>
                        <a:pt x="269" y="61"/>
                        <a:pt x="261" y="58"/>
                      </a:cubicBezTo>
                      <a:cubicBezTo>
                        <a:pt x="255" y="55"/>
                        <a:pt x="248" y="53"/>
                        <a:pt x="241" y="52"/>
                      </a:cubicBezTo>
                      <a:cubicBezTo>
                        <a:pt x="234" y="50"/>
                        <a:pt x="224" y="43"/>
                        <a:pt x="220" y="36"/>
                      </a:cubicBezTo>
                      <a:lnTo>
                        <a:pt x="207" y="13"/>
                      </a:lnTo>
                      <a:cubicBezTo>
                        <a:pt x="203" y="6"/>
                        <a:pt x="194" y="0"/>
                        <a:pt x="186" y="1"/>
                      </a:cubicBezTo>
                      <a:cubicBezTo>
                        <a:pt x="177" y="2"/>
                        <a:pt x="169" y="3"/>
                        <a:pt x="161" y="5"/>
                      </a:cubicBezTo>
                      <a:cubicBezTo>
                        <a:pt x="152" y="7"/>
                        <a:pt x="143" y="9"/>
                        <a:pt x="134" y="12"/>
                      </a:cubicBezTo>
                      <a:cubicBezTo>
                        <a:pt x="127" y="15"/>
                        <a:pt x="120" y="24"/>
                        <a:pt x="119" y="32"/>
                      </a:cubicBezTo>
                      <a:lnTo>
                        <a:pt x="117" y="59"/>
                      </a:lnTo>
                      <a:cubicBezTo>
                        <a:pt x="117" y="67"/>
                        <a:pt x="112" y="76"/>
                        <a:pt x="107" y="80"/>
                      </a:cubicBezTo>
                      <a:cubicBezTo>
                        <a:pt x="104" y="83"/>
                        <a:pt x="101" y="85"/>
                        <a:pt x="98" y="88"/>
                      </a:cubicBezTo>
                      <a:cubicBezTo>
                        <a:pt x="95" y="90"/>
                        <a:pt x="92" y="93"/>
                        <a:pt x="89" y="96"/>
                      </a:cubicBezTo>
                      <a:cubicBezTo>
                        <a:pt x="84" y="102"/>
                        <a:pt x="74" y="106"/>
                        <a:pt x="66" y="106"/>
                      </a:cubicBezTo>
                      <a:lnTo>
                        <a:pt x="38" y="105"/>
                      </a:lnTo>
                      <a:cubicBezTo>
                        <a:pt x="33" y="105"/>
                        <a:pt x="27" y="107"/>
                        <a:pt x="22" y="111"/>
                      </a:cubicBezTo>
                      <a:cubicBezTo>
                        <a:pt x="22" y="112"/>
                        <a:pt x="22" y="112"/>
                        <a:pt x="21" y="112"/>
                      </a:cubicBezTo>
                      <a:cubicBezTo>
                        <a:pt x="21" y="113"/>
                        <a:pt x="21" y="113"/>
                        <a:pt x="20" y="113"/>
                      </a:cubicBezTo>
                      <a:cubicBezTo>
                        <a:pt x="20" y="114"/>
                        <a:pt x="20" y="114"/>
                        <a:pt x="19" y="115"/>
                      </a:cubicBezTo>
                      <a:cubicBezTo>
                        <a:pt x="19" y="115"/>
                        <a:pt x="19" y="115"/>
                        <a:pt x="19" y="116"/>
                      </a:cubicBezTo>
                      <a:cubicBezTo>
                        <a:pt x="18" y="116"/>
                        <a:pt x="18" y="117"/>
                        <a:pt x="17" y="118"/>
                      </a:cubicBezTo>
                      <a:cubicBezTo>
                        <a:pt x="14" y="126"/>
                        <a:pt x="11" y="134"/>
                        <a:pt x="8" y="142"/>
                      </a:cubicBezTo>
                      <a:cubicBezTo>
                        <a:pt x="5" y="150"/>
                        <a:pt x="3" y="159"/>
                        <a:pt x="1" y="168"/>
                      </a:cubicBezTo>
                      <a:cubicBezTo>
                        <a:pt x="0" y="176"/>
                        <a:pt x="4" y="186"/>
                        <a:pt x="11" y="191"/>
                      </a:cubicBezTo>
                      <a:lnTo>
                        <a:pt x="34" y="207"/>
                      </a:lnTo>
                      <a:cubicBezTo>
                        <a:pt x="41" y="211"/>
                        <a:pt x="47" y="222"/>
                        <a:pt x="48" y="230"/>
                      </a:cubicBezTo>
                      <a:cubicBezTo>
                        <a:pt x="49" y="235"/>
                        <a:pt x="50" y="241"/>
                        <a:pt x="51" y="246"/>
                      </a:cubicBezTo>
                      <a:cubicBezTo>
                        <a:pt x="54" y="254"/>
                        <a:pt x="53" y="266"/>
                        <a:pt x="48" y="273"/>
                      </a:cubicBezTo>
                      <a:lnTo>
                        <a:pt x="34" y="297"/>
                      </a:lnTo>
                      <a:cubicBezTo>
                        <a:pt x="29" y="304"/>
                        <a:pt x="29" y="315"/>
                        <a:pt x="34" y="322"/>
                      </a:cubicBezTo>
                      <a:cubicBezTo>
                        <a:pt x="39" y="329"/>
                        <a:pt x="45" y="336"/>
                        <a:pt x="51" y="343"/>
                      </a:cubicBezTo>
                      <a:cubicBezTo>
                        <a:pt x="57" y="349"/>
                        <a:pt x="63" y="355"/>
                        <a:pt x="69" y="361"/>
                      </a:cubicBezTo>
                      <a:cubicBezTo>
                        <a:pt x="75" y="367"/>
                        <a:pt x="86" y="368"/>
                        <a:pt x="94" y="364"/>
                      </a:cubicBezTo>
                      <a:lnTo>
                        <a:pt x="120" y="352"/>
                      </a:lnTo>
                      <a:cubicBezTo>
                        <a:pt x="127" y="348"/>
                        <a:pt x="139" y="349"/>
                        <a:pt x="146" y="352"/>
                      </a:cubicBezTo>
                      <a:cubicBezTo>
                        <a:pt x="152" y="354"/>
                        <a:pt x="157" y="355"/>
                        <a:pt x="163" y="357"/>
                      </a:cubicBezTo>
                      <a:cubicBezTo>
                        <a:pt x="170" y="359"/>
                        <a:pt x="180" y="366"/>
                        <a:pt x="184" y="373"/>
                      </a:cubicBezTo>
                      <a:lnTo>
                        <a:pt x="198" y="398"/>
                      </a:lnTo>
                      <a:cubicBezTo>
                        <a:pt x="202" y="405"/>
                        <a:pt x="211" y="410"/>
                        <a:pt x="219" y="410"/>
                      </a:cubicBezTo>
                      <a:cubicBezTo>
                        <a:pt x="228" y="409"/>
                        <a:pt x="237" y="407"/>
                        <a:pt x="246" y="405"/>
                      </a:cubicBezTo>
                      <a:cubicBezTo>
                        <a:pt x="255" y="404"/>
                        <a:pt x="263" y="401"/>
                        <a:pt x="271" y="399"/>
                      </a:cubicBezTo>
                      <a:cubicBezTo>
                        <a:pt x="279" y="396"/>
                        <a:pt x="285" y="387"/>
                        <a:pt x="286" y="379"/>
                      </a:cubicBezTo>
                      <a:lnTo>
                        <a:pt x="288" y="352"/>
                      </a:lnTo>
                      <a:cubicBezTo>
                        <a:pt x="289" y="343"/>
                        <a:pt x="294" y="334"/>
                        <a:pt x="299" y="330"/>
                      </a:cubicBezTo>
                      <a:cubicBezTo>
                        <a:pt x="303" y="327"/>
                        <a:pt x="306" y="324"/>
                        <a:pt x="309" y="322"/>
                      </a:cubicBezTo>
                      <a:cubicBezTo>
                        <a:pt x="312" y="319"/>
                        <a:pt x="315" y="316"/>
                        <a:pt x="317" y="314"/>
                      </a:cubicBezTo>
                      <a:cubicBezTo>
                        <a:pt x="322" y="309"/>
                        <a:pt x="331" y="305"/>
                        <a:pt x="340" y="305"/>
                      </a:cubicBezTo>
                      <a:lnTo>
                        <a:pt x="367" y="306"/>
                      </a:lnTo>
                      <a:cubicBezTo>
                        <a:pt x="370" y="306"/>
                        <a:pt x="373" y="305"/>
                        <a:pt x="375" y="304"/>
                      </a:cubicBezTo>
                      <a:lnTo>
                        <a:pt x="376" y="3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83" name="Freeform 92">
                  <a:extLst>
                    <a:ext uri="{FF2B5EF4-FFF2-40B4-BE49-F238E27FC236}">
                      <a16:creationId xmlns:a16="http://schemas.microsoft.com/office/drawing/2014/main" id="{B3D11880-09B5-28C0-8213-871ADA19C73F}"/>
                    </a:ext>
                  </a:extLst>
                </p:cNvPr>
                <p:cNvSpPr>
                  <a:spLocks noEditPoints="1"/>
                </p:cNvSpPr>
                <p:nvPr/>
              </p:nvSpPr>
              <p:spPr bwMode="auto">
                <a:xfrm>
                  <a:off x="6764338" y="3989388"/>
                  <a:ext cx="336550" cy="336550"/>
                </a:xfrm>
                <a:custGeom>
                  <a:avLst/>
                  <a:gdLst>
                    <a:gd name="T0" fmla="*/ 195 w 560"/>
                    <a:gd name="T1" fmla="*/ 355 h 560"/>
                    <a:gd name="T2" fmla="*/ 203 w 560"/>
                    <a:gd name="T3" fmla="*/ 194 h 560"/>
                    <a:gd name="T4" fmla="*/ 364 w 560"/>
                    <a:gd name="T5" fmla="*/ 202 h 560"/>
                    <a:gd name="T6" fmla="*/ 356 w 560"/>
                    <a:gd name="T7" fmla="*/ 364 h 560"/>
                    <a:gd name="T8" fmla="*/ 553 w 560"/>
                    <a:gd name="T9" fmla="*/ 328 h 560"/>
                    <a:gd name="T10" fmla="*/ 555 w 560"/>
                    <a:gd name="T11" fmla="*/ 325 h 560"/>
                    <a:gd name="T12" fmla="*/ 557 w 560"/>
                    <a:gd name="T13" fmla="*/ 320 h 560"/>
                    <a:gd name="T14" fmla="*/ 559 w 560"/>
                    <a:gd name="T15" fmla="*/ 267 h 560"/>
                    <a:gd name="T16" fmla="*/ 510 w 560"/>
                    <a:gd name="T17" fmla="*/ 236 h 560"/>
                    <a:gd name="T18" fmla="*/ 482 w 560"/>
                    <a:gd name="T19" fmla="*/ 188 h 560"/>
                    <a:gd name="T20" fmla="*/ 486 w 560"/>
                    <a:gd name="T21" fmla="*/ 167 h 560"/>
                    <a:gd name="T22" fmla="*/ 504 w 560"/>
                    <a:gd name="T23" fmla="*/ 113 h 560"/>
                    <a:gd name="T24" fmla="*/ 469 w 560"/>
                    <a:gd name="T25" fmla="*/ 73 h 560"/>
                    <a:gd name="T26" fmla="*/ 413 w 560"/>
                    <a:gd name="T27" fmla="*/ 85 h 560"/>
                    <a:gd name="T28" fmla="*/ 363 w 560"/>
                    <a:gd name="T29" fmla="*/ 73 h 560"/>
                    <a:gd name="T30" fmla="*/ 338 w 560"/>
                    <a:gd name="T31" fmla="*/ 20 h 560"/>
                    <a:gd name="T32" fmla="*/ 295 w 560"/>
                    <a:gd name="T33" fmla="*/ 0 h 560"/>
                    <a:gd name="T34" fmla="*/ 248 w 560"/>
                    <a:gd name="T35" fmla="*/ 16 h 560"/>
                    <a:gd name="T36" fmla="*/ 217 w 560"/>
                    <a:gd name="T37" fmla="*/ 65 h 560"/>
                    <a:gd name="T38" fmla="*/ 167 w 560"/>
                    <a:gd name="T39" fmla="*/ 73 h 560"/>
                    <a:gd name="T40" fmla="*/ 113 w 560"/>
                    <a:gd name="T41" fmla="*/ 55 h 560"/>
                    <a:gd name="T42" fmla="*/ 74 w 560"/>
                    <a:gd name="T43" fmla="*/ 90 h 560"/>
                    <a:gd name="T44" fmla="*/ 86 w 560"/>
                    <a:gd name="T45" fmla="*/ 147 h 560"/>
                    <a:gd name="T46" fmla="*/ 74 w 560"/>
                    <a:gd name="T47" fmla="*/ 196 h 560"/>
                    <a:gd name="T48" fmla="*/ 20 w 560"/>
                    <a:gd name="T49" fmla="*/ 221 h 560"/>
                    <a:gd name="T50" fmla="*/ 5 w 560"/>
                    <a:gd name="T51" fmla="*/ 234 h 560"/>
                    <a:gd name="T52" fmla="*/ 3 w 560"/>
                    <a:gd name="T53" fmla="*/ 239 h 560"/>
                    <a:gd name="T54" fmla="*/ 0 w 560"/>
                    <a:gd name="T55" fmla="*/ 266 h 560"/>
                    <a:gd name="T56" fmla="*/ 15 w 560"/>
                    <a:gd name="T57" fmla="*/ 311 h 560"/>
                    <a:gd name="T58" fmla="*/ 67 w 560"/>
                    <a:gd name="T59" fmla="*/ 342 h 560"/>
                    <a:gd name="T60" fmla="*/ 79 w 560"/>
                    <a:gd name="T61" fmla="*/ 374 h 560"/>
                    <a:gd name="T62" fmla="*/ 55 w 560"/>
                    <a:gd name="T63" fmla="*/ 422 h 560"/>
                    <a:gd name="T64" fmla="*/ 71 w 560"/>
                    <a:gd name="T65" fmla="*/ 466 h 560"/>
                    <a:gd name="T66" fmla="*/ 115 w 560"/>
                    <a:gd name="T67" fmla="*/ 489 h 560"/>
                    <a:gd name="T68" fmla="*/ 174 w 560"/>
                    <a:gd name="T69" fmla="*/ 474 h 560"/>
                    <a:gd name="T70" fmla="*/ 213 w 560"/>
                    <a:gd name="T71" fmla="*/ 503 h 560"/>
                    <a:gd name="T72" fmla="*/ 239 w 560"/>
                    <a:gd name="T73" fmla="*/ 556 h 560"/>
                    <a:gd name="T74" fmla="*/ 292 w 560"/>
                    <a:gd name="T75" fmla="*/ 559 h 560"/>
                    <a:gd name="T76" fmla="*/ 323 w 560"/>
                    <a:gd name="T77" fmla="*/ 509 h 560"/>
                    <a:gd name="T78" fmla="*/ 365 w 560"/>
                    <a:gd name="T79" fmla="*/ 484 h 560"/>
                    <a:gd name="T80" fmla="*/ 422 w 560"/>
                    <a:gd name="T81" fmla="*/ 505 h 560"/>
                    <a:gd name="T82" fmla="*/ 467 w 560"/>
                    <a:gd name="T83" fmla="*/ 488 h 560"/>
                    <a:gd name="T84" fmla="*/ 489 w 560"/>
                    <a:gd name="T85" fmla="*/ 444 h 560"/>
                    <a:gd name="T86" fmla="*/ 474 w 560"/>
                    <a:gd name="T87" fmla="*/ 385 h 560"/>
                    <a:gd name="T88" fmla="*/ 504 w 560"/>
                    <a:gd name="T89" fmla="*/ 346 h 560"/>
                    <a:gd name="T90" fmla="*/ 553 w 560"/>
                    <a:gd name="T91" fmla="*/ 32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0" h="560">
                      <a:moveTo>
                        <a:pt x="356" y="364"/>
                      </a:moveTo>
                      <a:cubicBezTo>
                        <a:pt x="309" y="406"/>
                        <a:pt x="237" y="402"/>
                        <a:pt x="195" y="355"/>
                      </a:cubicBezTo>
                      <a:cubicBezTo>
                        <a:pt x="186" y="346"/>
                        <a:pt x="180" y="336"/>
                        <a:pt x="175" y="325"/>
                      </a:cubicBezTo>
                      <a:cubicBezTo>
                        <a:pt x="155" y="280"/>
                        <a:pt x="166" y="227"/>
                        <a:pt x="203" y="194"/>
                      </a:cubicBezTo>
                      <a:cubicBezTo>
                        <a:pt x="226" y="173"/>
                        <a:pt x="255" y="163"/>
                        <a:pt x="285" y="164"/>
                      </a:cubicBezTo>
                      <a:cubicBezTo>
                        <a:pt x="316" y="166"/>
                        <a:pt x="344" y="179"/>
                        <a:pt x="364" y="202"/>
                      </a:cubicBezTo>
                      <a:cubicBezTo>
                        <a:pt x="372" y="211"/>
                        <a:pt x="379" y="221"/>
                        <a:pt x="384" y="232"/>
                      </a:cubicBezTo>
                      <a:cubicBezTo>
                        <a:pt x="404" y="277"/>
                        <a:pt x="393" y="330"/>
                        <a:pt x="356" y="364"/>
                      </a:cubicBezTo>
                      <a:close/>
                      <a:moveTo>
                        <a:pt x="553" y="328"/>
                      </a:moveTo>
                      <a:lnTo>
                        <a:pt x="553" y="328"/>
                      </a:lnTo>
                      <a:cubicBezTo>
                        <a:pt x="554" y="327"/>
                        <a:pt x="554" y="326"/>
                        <a:pt x="555" y="326"/>
                      </a:cubicBezTo>
                      <a:cubicBezTo>
                        <a:pt x="555" y="325"/>
                        <a:pt x="555" y="325"/>
                        <a:pt x="555" y="325"/>
                      </a:cubicBezTo>
                      <a:cubicBezTo>
                        <a:pt x="555" y="324"/>
                        <a:pt x="556" y="323"/>
                        <a:pt x="556" y="323"/>
                      </a:cubicBezTo>
                      <a:cubicBezTo>
                        <a:pt x="556" y="322"/>
                        <a:pt x="556" y="321"/>
                        <a:pt x="557" y="320"/>
                      </a:cubicBezTo>
                      <a:cubicBezTo>
                        <a:pt x="558" y="312"/>
                        <a:pt x="559" y="303"/>
                        <a:pt x="559" y="295"/>
                      </a:cubicBezTo>
                      <a:cubicBezTo>
                        <a:pt x="560" y="286"/>
                        <a:pt x="559" y="276"/>
                        <a:pt x="559" y="267"/>
                      </a:cubicBezTo>
                      <a:cubicBezTo>
                        <a:pt x="559" y="259"/>
                        <a:pt x="552" y="251"/>
                        <a:pt x="544" y="248"/>
                      </a:cubicBezTo>
                      <a:lnTo>
                        <a:pt x="510" y="236"/>
                      </a:lnTo>
                      <a:cubicBezTo>
                        <a:pt x="503" y="233"/>
                        <a:pt x="495" y="225"/>
                        <a:pt x="493" y="217"/>
                      </a:cubicBezTo>
                      <a:cubicBezTo>
                        <a:pt x="490" y="207"/>
                        <a:pt x="487" y="198"/>
                        <a:pt x="482" y="188"/>
                      </a:cubicBezTo>
                      <a:cubicBezTo>
                        <a:pt x="482" y="187"/>
                        <a:pt x="481" y="185"/>
                        <a:pt x="480" y="184"/>
                      </a:cubicBezTo>
                      <a:cubicBezTo>
                        <a:pt x="479" y="182"/>
                        <a:pt x="482" y="174"/>
                        <a:pt x="486" y="167"/>
                      </a:cubicBezTo>
                      <a:lnTo>
                        <a:pt x="504" y="137"/>
                      </a:lnTo>
                      <a:cubicBezTo>
                        <a:pt x="509" y="130"/>
                        <a:pt x="509" y="119"/>
                        <a:pt x="504" y="113"/>
                      </a:cubicBezTo>
                      <a:cubicBezTo>
                        <a:pt x="499" y="105"/>
                        <a:pt x="493" y="98"/>
                        <a:pt x="487" y="91"/>
                      </a:cubicBezTo>
                      <a:cubicBezTo>
                        <a:pt x="481" y="85"/>
                        <a:pt x="475" y="79"/>
                        <a:pt x="469" y="73"/>
                      </a:cubicBezTo>
                      <a:cubicBezTo>
                        <a:pt x="463" y="68"/>
                        <a:pt x="452" y="67"/>
                        <a:pt x="444" y="70"/>
                      </a:cubicBezTo>
                      <a:lnTo>
                        <a:pt x="413" y="85"/>
                      </a:lnTo>
                      <a:cubicBezTo>
                        <a:pt x="406" y="89"/>
                        <a:pt x="394" y="88"/>
                        <a:pt x="387" y="84"/>
                      </a:cubicBezTo>
                      <a:cubicBezTo>
                        <a:pt x="379" y="80"/>
                        <a:pt x="371" y="76"/>
                        <a:pt x="363" y="73"/>
                      </a:cubicBezTo>
                      <a:cubicBezTo>
                        <a:pt x="356" y="70"/>
                        <a:pt x="348" y="61"/>
                        <a:pt x="346" y="53"/>
                      </a:cubicBezTo>
                      <a:lnTo>
                        <a:pt x="338" y="20"/>
                      </a:lnTo>
                      <a:cubicBezTo>
                        <a:pt x="336" y="12"/>
                        <a:pt x="328" y="4"/>
                        <a:pt x="320" y="3"/>
                      </a:cubicBezTo>
                      <a:cubicBezTo>
                        <a:pt x="312" y="2"/>
                        <a:pt x="303" y="1"/>
                        <a:pt x="295" y="0"/>
                      </a:cubicBezTo>
                      <a:cubicBezTo>
                        <a:pt x="285" y="0"/>
                        <a:pt x="276" y="0"/>
                        <a:pt x="267" y="0"/>
                      </a:cubicBezTo>
                      <a:cubicBezTo>
                        <a:pt x="259" y="1"/>
                        <a:pt x="251" y="8"/>
                        <a:pt x="248" y="16"/>
                      </a:cubicBezTo>
                      <a:lnTo>
                        <a:pt x="236" y="48"/>
                      </a:lnTo>
                      <a:cubicBezTo>
                        <a:pt x="234" y="55"/>
                        <a:pt x="225" y="63"/>
                        <a:pt x="217" y="65"/>
                      </a:cubicBezTo>
                      <a:cubicBezTo>
                        <a:pt x="209" y="68"/>
                        <a:pt x="201" y="71"/>
                        <a:pt x="193" y="74"/>
                      </a:cubicBezTo>
                      <a:cubicBezTo>
                        <a:pt x="185" y="77"/>
                        <a:pt x="174" y="77"/>
                        <a:pt x="167" y="73"/>
                      </a:cubicBezTo>
                      <a:lnTo>
                        <a:pt x="137" y="55"/>
                      </a:lnTo>
                      <a:cubicBezTo>
                        <a:pt x="130" y="50"/>
                        <a:pt x="119" y="51"/>
                        <a:pt x="113" y="55"/>
                      </a:cubicBezTo>
                      <a:cubicBezTo>
                        <a:pt x="105" y="61"/>
                        <a:pt x="98" y="66"/>
                        <a:pt x="92" y="72"/>
                      </a:cubicBezTo>
                      <a:cubicBezTo>
                        <a:pt x="85" y="78"/>
                        <a:pt x="79" y="84"/>
                        <a:pt x="74" y="90"/>
                      </a:cubicBezTo>
                      <a:cubicBezTo>
                        <a:pt x="68" y="96"/>
                        <a:pt x="67" y="108"/>
                        <a:pt x="70" y="115"/>
                      </a:cubicBezTo>
                      <a:lnTo>
                        <a:pt x="86" y="147"/>
                      </a:lnTo>
                      <a:cubicBezTo>
                        <a:pt x="89" y="154"/>
                        <a:pt x="88" y="165"/>
                        <a:pt x="84" y="173"/>
                      </a:cubicBezTo>
                      <a:cubicBezTo>
                        <a:pt x="80" y="180"/>
                        <a:pt x="77" y="188"/>
                        <a:pt x="74" y="196"/>
                      </a:cubicBezTo>
                      <a:cubicBezTo>
                        <a:pt x="70" y="203"/>
                        <a:pt x="62" y="211"/>
                        <a:pt x="54" y="213"/>
                      </a:cubicBezTo>
                      <a:lnTo>
                        <a:pt x="20" y="221"/>
                      </a:lnTo>
                      <a:cubicBezTo>
                        <a:pt x="14" y="223"/>
                        <a:pt x="8" y="228"/>
                        <a:pt x="5" y="233"/>
                      </a:cubicBezTo>
                      <a:cubicBezTo>
                        <a:pt x="5" y="234"/>
                        <a:pt x="5" y="234"/>
                        <a:pt x="5" y="234"/>
                      </a:cubicBezTo>
                      <a:cubicBezTo>
                        <a:pt x="4" y="235"/>
                        <a:pt x="4" y="235"/>
                        <a:pt x="4" y="236"/>
                      </a:cubicBezTo>
                      <a:cubicBezTo>
                        <a:pt x="3" y="237"/>
                        <a:pt x="3" y="238"/>
                        <a:pt x="3" y="239"/>
                      </a:cubicBezTo>
                      <a:cubicBezTo>
                        <a:pt x="3" y="241"/>
                        <a:pt x="2" y="243"/>
                        <a:pt x="2" y="245"/>
                      </a:cubicBezTo>
                      <a:cubicBezTo>
                        <a:pt x="1" y="252"/>
                        <a:pt x="1" y="259"/>
                        <a:pt x="0" y="266"/>
                      </a:cubicBezTo>
                      <a:cubicBezTo>
                        <a:pt x="0" y="275"/>
                        <a:pt x="0" y="283"/>
                        <a:pt x="0" y="292"/>
                      </a:cubicBezTo>
                      <a:cubicBezTo>
                        <a:pt x="1" y="300"/>
                        <a:pt x="8" y="308"/>
                        <a:pt x="15" y="311"/>
                      </a:cubicBezTo>
                      <a:lnTo>
                        <a:pt x="49" y="323"/>
                      </a:lnTo>
                      <a:cubicBezTo>
                        <a:pt x="57" y="326"/>
                        <a:pt x="64" y="334"/>
                        <a:pt x="67" y="342"/>
                      </a:cubicBezTo>
                      <a:cubicBezTo>
                        <a:pt x="69" y="351"/>
                        <a:pt x="73" y="360"/>
                        <a:pt x="77" y="369"/>
                      </a:cubicBezTo>
                      <a:cubicBezTo>
                        <a:pt x="77" y="371"/>
                        <a:pt x="78" y="372"/>
                        <a:pt x="79" y="374"/>
                      </a:cubicBezTo>
                      <a:cubicBezTo>
                        <a:pt x="80" y="376"/>
                        <a:pt x="78" y="384"/>
                        <a:pt x="74" y="391"/>
                      </a:cubicBezTo>
                      <a:lnTo>
                        <a:pt x="55" y="422"/>
                      </a:lnTo>
                      <a:cubicBezTo>
                        <a:pt x="50" y="429"/>
                        <a:pt x="51" y="440"/>
                        <a:pt x="55" y="447"/>
                      </a:cubicBezTo>
                      <a:cubicBezTo>
                        <a:pt x="60" y="453"/>
                        <a:pt x="66" y="460"/>
                        <a:pt x="71" y="466"/>
                      </a:cubicBezTo>
                      <a:cubicBezTo>
                        <a:pt x="78" y="473"/>
                        <a:pt x="84" y="480"/>
                        <a:pt x="91" y="486"/>
                      </a:cubicBezTo>
                      <a:cubicBezTo>
                        <a:pt x="97" y="491"/>
                        <a:pt x="108" y="492"/>
                        <a:pt x="115" y="489"/>
                      </a:cubicBezTo>
                      <a:lnTo>
                        <a:pt x="148" y="473"/>
                      </a:lnTo>
                      <a:cubicBezTo>
                        <a:pt x="155" y="469"/>
                        <a:pt x="167" y="470"/>
                        <a:pt x="174" y="474"/>
                      </a:cubicBezTo>
                      <a:cubicBezTo>
                        <a:pt x="181" y="478"/>
                        <a:pt x="188" y="481"/>
                        <a:pt x="195" y="484"/>
                      </a:cubicBezTo>
                      <a:cubicBezTo>
                        <a:pt x="203" y="487"/>
                        <a:pt x="211" y="496"/>
                        <a:pt x="213" y="503"/>
                      </a:cubicBezTo>
                      <a:lnTo>
                        <a:pt x="221" y="539"/>
                      </a:lnTo>
                      <a:cubicBezTo>
                        <a:pt x="223" y="547"/>
                        <a:pt x="231" y="555"/>
                        <a:pt x="239" y="556"/>
                      </a:cubicBezTo>
                      <a:cubicBezTo>
                        <a:pt x="248" y="558"/>
                        <a:pt x="257" y="559"/>
                        <a:pt x="266" y="559"/>
                      </a:cubicBezTo>
                      <a:cubicBezTo>
                        <a:pt x="275" y="560"/>
                        <a:pt x="283" y="560"/>
                        <a:pt x="292" y="559"/>
                      </a:cubicBezTo>
                      <a:cubicBezTo>
                        <a:pt x="300" y="559"/>
                        <a:pt x="308" y="552"/>
                        <a:pt x="311" y="544"/>
                      </a:cubicBezTo>
                      <a:lnTo>
                        <a:pt x="323" y="509"/>
                      </a:lnTo>
                      <a:cubicBezTo>
                        <a:pt x="326" y="501"/>
                        <a:pt x="335" y="494"/>
                        <a:pt x="343" y="492"/>
                      </a:cubicBezTo>
                      <a:cubicBezTo>
                        <a:pt x="350" y="489"/>
                        <a:pt x="357" y="487"/>
                        <a:pt x="365" y="484"/>
                      </a:cubicBezTo>
                      <a:cubicBezTo>
                        <a:pt x="372" y="481"/>
                        <a:pt x="384" y="481"/>
                        <a:pt x="391" y="485"/>
                      </a:cubicBezTo>
                      <a:lnTo>
                        <a:pt x="422" y="505"/>
                      </a:lnTo>
                      <a:cubicBezTo>
                        <a:pt x="429" y="509"/>
                        <a:pt x="440" y="509"/>
                        <a:pt x="447" y="504"/>
                      </a:cubicBezTo>
                      <a:cubicBezTo>
                        <a:pt x="454" y="499"/>
                        <a:pt x="460" y="494"/>
                        <a:pt x="467" y="488"/>
                      </a:cubicBezTo>
                      <a:cubicBezTo>
                        <a:pt x="473" y="482"/>
                        <a:pt x="480" y="475"/>
                        <a:pt x="486" y="468"/>
                      </a:cubicBezTo>
                      <a:cubicBezTo>
                        <a:pt x="491" y="462"/>
                        <a:pt x="492" y="451"/>
                        <a:pt x="489" y="444"/>
                      </a:cubicBezTo>
                      <a:lnTo>
                        <a:pt x="473" y="411"/>
                      </a:lnTo>
                      <a:cubicBezTo>
                        <a:pt x="470" y="404"/>
                        <a:pt x="470" y="392"/>
                        <a:pt x="474" y="385"/>
                      </a:cubicBezTo>
                      <a:cubicBezTo>
                        <a:pt x="478" y="378"/>
                        <a:pt x="482" y="371"/>
                        <a:pt x="485" y="364"/>
                      </a:cubicBezTo>
                      <a:cubicBezTo>
                        <a:pt x="488" y="356"/>
                        <a:pt x="496" y="348"/>
                        <a:pt x="504" y="346"/>
                      </a:cubicBezTo>
                      <a:lnTo>
                        <a:pt x="540" y="338"/>
                      </a:lnTo>
                      <a:cubicBezTo>
                        <a:pt x="545" y="337"/>
                        <a:pt x="550" y="333"/>
                        <a:pt x="553" y="3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84" name="Freeform 93">
                  <a:extLst>
                    <a:ext uri="{FF2B5EF4-FFF2-40B4-BE49-F238E27FC236}">
                      <a16:creationId xmlns:a16="http://schemas.microsoft.com/office/drawing/2014/main" id="{66F9C3E0-A1CA-261F-7A79-498BA444959B}"/>
                    </a:ext>
                  </a:extLst>
                </p:cNvPr>
                <p:cNvSpPr>
                  <a:spLocks noEditPoints="1"/>
                </p:cNvSpPr>
                <p:nvPr/>
              </p:nvSpPr>
              <p:spPr bwMode="auto">
                <a:xfrm>
                  <a:off x="7083425" y="4152900"/>
                  <a:ext cx="242888" cy="246063"/>
                </a:xfrm>
                <a:custGeom>
                  <a:avLst/>
                  <a:gdLst>
                    <a:gd name="T0" fmla="*/ 197 w 405"/>
                    <a:gd name="T1" fmla="*/ 280 h 410"/>
                    <a:gd name="T2" fmla="*/ 133 w 405"/>
                    <a:gd name="T3" fmla="*/ 236 h 410"/>
                    <a:gd name="T4" fmla="*/ 256 w 405"/>
                    <a:gd name="T5" fmla="*/ 156 h 410"/>
                    <a:gd name="T6" fmla="*/ 251 w 405"/>
                    <a:gd name="T7" fmla="*/ 261 h 410"/>
                    <a:gd name="T8" fmla="*/ 370 w 405"/>
                    <a:gd name="T9" fmla="*/ 204 h 410"/>
                    <a:gd name="T10" fmla="*/ 353 w 405"/>
                    <a:gd name="T11" fmla="*/ 164 h 410"/>
                    <a:gd name="T12" fmla="*/ 371 w 405"/>
                    <a:gd name="T13" fmla="*/ 113 h 410"/>
                    <a:gd name="T14" fmla="*/ 353 w 405"/>
                    <a:gd name="T15" fmla="*/ 67 h 410"/>
                    <a:gd name="T16" fmla="*/ 311 w 405"/>
                    <a:gd name="T17" fmla="*/ 46 h 410"/>
                    <a:gd name="T18" fmla="*/ 258 w 405"/>
                    <a:gd name="T19" fmla="*/ 59 h 410"/>
                    <a:gd name="T20" fmla="*/ 220 w 405"/>
                    <a:gd name="T21" fmla="*/ 38 h 410"/>
                    <a:gd name="T22" fmla="*/ 185 w 405"/>
                    <a:gd name="T23" fmla="*/ 1 h 410"/>
                    <a:gd name="T24" fmla="*/ 134 w 405"/>
                    <a:gd name="T25" fmla="*/ 12 h 410"/>
                    <a:gd name="T26" fmla="*/ 117 w 405"/>
                    <a:gd name="T27" fmla="*/ 59 h 410"/>
                    <a:gd name="T28" fmla="*/ 95 w 405"/>
                    <a:gd name="T29" fmla="*/ 89 h 410"/>
                    <a:gd name="T30" fmla="*/ 65 w 405"/>
                    <a:gd name="T31" fmla="*/ 105 h 410"/>
                    <a:gd name="T32" fmla="*/ 29 w 405"/>
                    <a:gd name="T33" fmla="*/ 106 h 410"/>
                    <a:gd name="T34" fmla="*/ 22 w 405"/>
                    <a:gd name="T35" fmla="*/ 111 h 410"/>
                    <a:gd name="T36" fmla="*/ 19 w 405"/>
                    <a:gd name="T37" fmla="*/ 114 h 410"/>
                    <a:gd name="T38" fmla="*/ 17 w 405"/>
                    <a:gd name="T39" fmla="*/ 118 h 410"/>
                    <a:gd name="T40" fmla="*/ 0 w 405"/>
                    <a:gd name="T41" fmla="*/ 167 h 410"/>
                    <a:gd name="T42" fmla="*/ 0 w 405"/>
                    <a:gd name="T43" fmla="*/ 172 h 410"/>
                    <a:gd name="T44" fmla="*/ 0 w 405"/>
                    <a:gd name="T45" fmla="*/ 176 h 410"/>
                    <a:gd name="T46" fmla="*/ 1 w 405"/>
                    <a:gd name="T47" fmla="*/ 179 h 410"/>
                    <a:gd name="T48" fmla="*/ 31 w 405"/>
                    <a:gd name="T49" fmla="*/ 205 h 410"/>
                    <a:gd name="T50" fmla="*/ 49 w 405"/>
                    <a:gd name="T51" fmla="*/ 249 h 410"/>
                    <a:gd name="T52" fmla="*/ 33 w 405"/>
                    <a:gd name="T53" fmla="*/ 297 h 410"/>
                    <a:gd name="T54" fmla="*/ 49 w 405"/>
                    <a:gd name="T55" fmla="*/ 342 h 410"/>
                    <a:gd name="T56" fmla="*/ 93 w 405"/>
                    <a:gd name="T57" fmla="*/ 364 h 410"/>
                    <a:gd name="T58" fmla="*/ 143 w 405"/>
                    <a:gd name="T59" fmla="*/ 353 h 410"/>
                    <a:gd name="T60" fmla="*/ 185 w 405"/>
                    <a:gd name="T61" fmla="*/ 375 h 410"/>
                    <a:gd name="T62" fmla="*/ 219 w 405"/>
                    <a:gd name="T63" fmla="*/ 410 h 410"/>
                    <a:gd name="T64" fmla="*/ 270 w 405"/>
                    <a:gd name="T65" fmla="*/ 398 h 410"/>
                    <a:gd name="T66" fmla="*/ 287 w 405"/>
                    <a:gd name="T67" fmla="*/ 352 h 410"/>
                    <a:gd name="T68" fmla="*/ 307 w 405"/>
                    <a:gd name="T69" fmla="*/ 323 h 410"/>
                    <a:gd name="T70" fmla="*/ 339 w 405"/>
                    <a:gd name="T71" fmla="*/ 305 h 410"/>
                    <a:gd name="T72" fmla="*/ 382 w 405"/>
                    <a:gd name="T73" fmla="*/ 299 h 410"/>
                    <a:gd name="T74" fmla="*/ 384 w 405"/>
                    <a:gd name="T75" fmla="*/ 297 h 410"/>
                    <a:gd name="T76" fmla="*/ 386 w 405"/>
                    <a:gd name="T77" fmla="*/ 295 h 410"/>
                    <a:gd name="T78" fmla="*/ 396 w 405"/>
                    <a:gd name="T79" fmla="*/ 269 h 410"/>
                    <a:gd name="T80" fmla="*/ 394 w 405"/>
                    <a:gd name="T81" fmla="*/ 22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5" h="410">
                      <a:moveTo>
                        <a:pt x="251" y="261"/>
                      </a:moveTo>
                      <a:cubicBezTo>
                        <a:pt x="236" y="274"/>
                        <a:pt x="217" y="281"/>
                        <a:pt x="197" y="280"/>
                      </a:cubicBezTo>
                      <a:cubicBezTo>
                        <a:pt x="177" y="279"/>
                        <a:pt x="159" y="271"/>
                        <a:pt x="146" y="256"/>
                      </a:cubicBezTo>
                      <a:cubicBezTo>
                        <a:pt x="141" y="250"/>
                        <a:pt x="136" y="243"/>
                        <a:pt x="133" y="236"/>
                      </a:cubicBezTo>
                      <a:cubicBezTo>
                        <a:pt x="120" y="207"/>
                        <a:pt x="127" y="172"/>
                        <a:pt x="151" y="151"/>
                      </a:cubicBezTo>
                      <a:cubicBezTo>
                        <a:pt x="182" y="123"/>
                        <a:pt x="229" y="126"/>
                        <a:pt x="256" y="156"/>
                      </a:cubicBezTo>
                      <a:cubicBezTo>
                        <a:pt x="261" y="162"/>
                        <a:pt x="266" y="169"/>
                        <a:pt x="269" y="176"/>
                      </a:cubicBezTo>
                      <a:cubicBezTo>
                        <a:pt x="282" y="205"/>
                        <a:pt x="275" y="240"/>
                        <a:pt x="251" y="261"/>
                      </a:cubicBezTo>
                      <a:close/>
                      <a:moveTo>
                        <a:pt x="394" y="220"/>
                      </a:moveTo>
                      <a:lnTo>
                        <a:pt x="370" y="204"/>
                      </a:lnTo>
                      <a:cubicBezTo>
                        <a:pt x="364" y="199"/>
                        <a:pt x="358" y="189"/>
                        <a:pt x="357" y="181"/>
                      </a:cubicBezTo>
                      <a:cubicBezTo>
                        <a:pt x="356" y="175"/>
                        <a:pt x="355" y="170"/>
                        <a:pt x="353" y="164"/>
                      </a:cubicBezTo>
                      <a:cubicBezTo>
                        <a:pt x="351" y="156"/>
                        <a:pt x="352" y="145"/>
                        <a:pt x="356" y="138"/>
                      </a:cubicBezTo>
                      <a:lnTo>
                        <a:pt x="371" y="113"/>
                      </a:lnTo>
                      <a:cubicBezTo>
                        <a:pt x="375" y="106"/>
                        <a:pt x="375" y="95"/>
                        <a:pt x="370" y="89"/>
                      </a:cubicBezTo>
                      <a:cubicBezTo>
                        <a:pt x="365" y="81"/>
                        <a:pt x="359" y="74"/>
                        <a:pt x="353" y="67"/>
                      </a:cubicBezTo>
                      <a:cubicBezTo>
                        <a:pt x="347" y="61"/>
                        <a:pt x="341" y="55"/>
                        <a:pt x="335" y="49"/>
                      </a:cubicBezTo>
                      <a:cubicBezTo>
                        <a:pt x="329" y="44"/>
                        <a:pt x="318" y="43"/>
                        <a:pt x="311" y="46"/>
                      </a:cubicBezTo>
                      <a:lnTo>
                        <a:pt x="285" y="59"/>
                      </a:lnTo>
                      <a:cubicBezTo>
                        <a:pt x="277" y="62"/>
                        <a:pt x="266" y="62"/>
                        <a:pt x="258" y="59"/>
                      </a:cubicBezTo>
                      <a:cubicBezTo>
                        <a:pt x="253" y="57"/>
                        <a:pt x="247" y="55"/>
                        <a:pt x="242" y="54"/>
                      </a:cubicBezTo>
                      <a:cubicBezTo>
                        <a:pt x="234" y="52"/>
                        <a:pt x="224" y="45"/>
                        <a:pt x="220" y="38"/>
                      </a:cubicBezTo>
                      <a:lnTo>
                        <a:pt x="207" y="13"/>
                      </a:lnTo>
                      <a:cubicBezTo>
                        <a:pt x="203" y="6"/>
                        <a:pt x="193" y="0"/>
                        <a:pt x="185" y="1"/>
                      </a:cubicBezTo>
                      <a:cubicBezTo>
                        <a:pt x="176" y="2"/>
                        <a:pt x="167" y="3"/>
                        <a:pt x="158" y="5"/>
                      </a:cubicBezTo>
                      <a:cubicBezTo>
                        <a:pt x="150" y="7"/>
                        <a:pt x="142" y="9"/>
                        <a:pt x="134" y="12"/>
                      </a:cubicBezTo>
                      <a:cubicBezTo>
                        <a:pt x="126" y="14"/>
                        <a:pt x="119" y="23"/>
                        <a:pt x="119" y="31"/>
                      </a:cubicBezTo>
                      <a:lnTo>
                        <a:pt x="117" y="59"/>
                      </a:lnTo>
                      <a:cubicBezTo>
                        <a:pt x="116" y="67"/>
                        <a:pt x="111" y="77"/>
                        <a:pt x="105" y="81"/>
                      </a:cubicBezTo>
                      <a:cubicBezTo>
                        <a:pt x="102" y="83"/>
                        <a:pt x="99" y="86"/>
                        <a:pt x="95" y="89"/>
                      </a:cubicBezTo>
                      <a:cubicBezTo>
                        <a:pt x="93" y="92"/>
                        <a:pt x="90" y="94"/>
                        <a:pt x="87" y="97"/>
                      </a:cubicBezTo>
                      <a:cubicBezTo>
                        <a:pt x="83" y="102"/>
                        <a:pt x="73" y="105"/>
                        <a:pt x="65" y="105"/>
                      </a:cubicBezTo>
                      <a:lnTo>
                        <a:pt x="38" y="105"/>
                      </a:lnTo>
                      <a:cubicBezTo>
                        <a:pt x="35" y="105"/>
                        <a:pt x="32" y="105"/>
                        <a:pt x="29" y="106"/>
                      </a:cubicBezTo>
                      <a:lnTo>
                        <a:pt x="29" y="106"/>
                      </a:lnTo>
                      <a:cubicBezTo>
                        <a:pt x="26" y="107"/>
                        <a:pt x="24" y="109"/>
                        <a:pt x="22" y="111"/>
                      </a:cubicBezTo>
                      <a:cubicBezTo>
                        <a:pt x="22" y="111"/>
                        <a:pt x="22" y="111"/>
                        <a:pt x="21" y="111"/>
                      </a:cubicBezTo>
                      <a:cubicBezTo>
                        <a:pt x="21" y="112"/>
                        <a:pt x="20" y="113"/>
                        <a:pt x="19" y="114"/>
                      </a:cubicBezTo>
                      <a:cubicBezTo>
                        <a:pt x="19" y="114"/>
                        <a:pt x="19" y="114"/>
                        <a:pt x="19" y="114"/>
                      </a:cubicBezTo>
                      <a:cubicBezTo>
                        <a:pt x="18" y="115"/>
                        <a:pt x="17" y="116"/>
                        <a:pt x="17" y="118"/>
                      </a:cubicBezTo>
                      <a:cubicBezTo>
                        <a:pt x="13" y="126"/>
                        <a:pt x="10" y="134"/>
                        <a:pt x="7" y="143"/>
                      </a:cubicBezTo>
                      <a:cubicBezTo>
                        <a:pt x="4" y="151"/>
                        <a:pt x="2" y="159"/>
                        <a:pt x="0" y="167"/>
                      </a:cubicBezTo>
                      <a:cubicBezTo>
                        <a:pt x="0" y="168"/>
                        <a:pt x="0" y="169"/>
                        <a:pt x="0" y="170"/>
                      </a:cubicBezTo>
                      <a:cubicBezTo>
                        <a:pt x="0" y="171"/>
                        <a:pt x="0" y="171"/>
                        <a:pt x="0" y="172"/>
                      </a:cubicBezTo>
                      <a:cubicBezTo>
                        <a:pt x="0" y="172"/>
                        <a:pt x="0" y="173"/>
                        <a:pt x="0" y="173"/>
                      </a:cubicBezTo>
                      <a:cubicBezTo>
                        <a:pt x="0" y="174"/>
                        <a:pt x="0" y="175"/>
                        <a:pt x="0" y="176"/>
                      </a:cubicBezTo>
                      <a:cubicBezTo>
                        <a:pt x="0" y="176"/>
                        <a:pt x="0" y="176"/>
                        <a:pt x="0" y="176"/>
                      </a:cubicBezTo>
                      <a:cubicBezTo>
                        <a:pt x="1" y="177"/>
                        <a:pt x="1" y="178"/>
                        <a:pt x="1" y="179"/>
                      </a:cubicBezTo>
                      <a:cubicBezTo>
                        <a:pt x="3" y="183"/>
                        <a:pt x="6" y="188"/>
                        <a:pt x="10" y="190"/>
                      </a:cubicBezTo>
                      <a:lnTo>
                        <a:pt x="31" y="205"/>
                      </a:lnTo>
                      <a:cubicBezTo>
                        <a:pt x="38" y="210"/>
                        <a:pt x="44" y="220"/>
                        <a:pt x="45" y="228"/>
                      </a:cubicBezTo>
                      <a:cubicBezTo>
                        <a:pt x="46" y="235"/>
                        <a:pt x="47" y="242"/>
                        <a:pt x="49" y="249"/>
                      </a:cubicBezTo>
                      <a:cubicBezTo>
                        <a:pt x="52" y="256"/>
                        <a:pt x="51" y="268"/>
                        <a:pt x="46" y="275"/>
                      </a:cubicBezTo>
                      <a:lnTo>
                        <a:pt x="33" y="297"/>
                      </a:lnTo>
                      <a:cubicBezTo>
                        <a:pt x="28" y="304"/>
                        <a:pt x="29" y="316"/>
                        <a:pt x="33" y="322"/>
                      </a:cubicBezTo>
                      <a:cubicBezTo>
                        <a:pt x="38" y="329"/>
                        <a:pt x="44" y="335"/>
                        <a:pt x="49" y="342"/>
                      </a:cubicBezTo>
                      <a:cubicBezTo>
                        <a:pt x="56" y="349"/>
                        <a:pt x="62" y="355"/>
                        <a:pt x="69" y="361"/>
                      </a:cubicBezTo>
                      <a:cubicBezTo>
                        <a:pt x="75" y="366"/>
                        <a:pt x="86" y="368"/>
                        <a:pt x="93" y="364"/>
                      </a:cubicBezTo>
                      <a:lnTo>
                        <a:pt x="117" y="353"/>
                      </a:lnTo>
                      <a:cubicBezTo>
                        <a:pt x="124" y="349"/>
                        <a:pt x="136" y="350"/>
                        <a:pt x="143" y="353"/>
                      </a:cubicBezTo>
                      <a:cubicBezTo>
                        <a:pt x="150" y="355"/>
                        <a:pt x="156" y="357"/>
                        <a:pt x="163" y="359"/>
                      </a:cubicBezTo>
                      <a:cubicBezTo>
                        <a:pt x="171" y="361"/>
                        <a:pt x="181" y="368"/>
                        <a:pt x="185" y="375"/>
                      </a:cubicBezTo>
                      <a:lnTo>
                        <a:pt x="197" y="398"/>
                      </a:lnTo>
                      <a:cubicBezTo>
                        <a:pt x="201" y="405"/>
                        <a:pt x="211" y="410"/>
                        <a:pt x="219" y="410"/>
                      </a:cubicBezTo>
                      <a:cubicBezTo>
                        <a:pt x="227" y="409"/>
                        <a:pt x="235" y="407"/>
                        <a:pt x="244" y="406"/>
                      </a:cubicBezTo>
                      <a:cubicBezTo>
                        <a:pt x="253" y="404"/>
                        <a:pt x="262" y="401"/>
                        <a:pt x="270" y="398"/>
                      </a:cubicBezTo>
                      <a:cubicBezTo>
                        <a:pt x="278" y="396"/>
                        <a:pt x="284" y="387"/>
                        <a:pt x="285" y="379"/>
                      </a:cubicBezTo>
                      <a:lnTo>
                        <a:pt x="287" y="352"/>
                      </a:lnTo>
                      <a:cubicBezTo>
                        <a:pt x="288" y="344"/>
                        <a:pt x="293" y="334"/>
                        <a:pt x="298" y="330"/>
                      </a:cubicBezTo>
                      <a:cubicBezTo>
                        <a:pt x="301" y="328"/>
                        <a:pt x="304" y="326"/>
                        <a:pt x="307" y="323"/>
                      </a:cubicBezTo>
                      <a:cubicBezTo>
                        <a:pt x="310" y="320"/>
                        <a:pt x="313" y="317"/>
                        <a:pt x="316" y="314"/>
                      </a:cubicBezTo>
                      <a:cubicBezTo>
                        <a:pt x="321" y="309"/>
                        <a:pt x="331" y="305"/>
                        <a:pt x="339" y="305"/>
                      </a:cubicBezTo>
                      <a:lnTo>
                        <a:pt x="366" y="306"/>
                      </a:lnTo>
                      <a:cubicBezTo>
                        <a:pt x="372" y="306"/>
                        <a:pt x="378" y="303"/>
                        <a:pt x="382" y="299"/>
                      </a:cubicBezTo>
                      <a:cubicBezTo>
                        <a:pt x="383" y="299"/>
                        <a:pt x="383" y="299"/>
                        <a:pt x="383" y="298"/>
                      </a:cubicBezTo>
                      <a:cubicBezTo>
                        <a:pt x="384" y="298"/>
                        <a:pt x="384" y="298"/>
                        <a:pt x="384" y="297"/>
                      </a:cubicBezTo>
                      <a:cubicBezTo>
                        <a:pt x="385" y="297"/>
                        <a:pt x="385" y="296"/>
                        <a:pt x="385" y="296"/>
                      </a:cubicBezTo>
                      <a:cubicBezTo>
                        <a:pt x="386" y="296"/>
                        <a:pt x="386" y="295"/>
                        <a:pt x="386" y="295"/>
                      </a:cubicBezTo>
                      <a:cubicBezTo>
                        <a:pt x="386" y="294"/>
                        <a:pt x="387" y="293"/>
                        <a:pt x="387" y="293"/>
                      </a:cubicBezTo>
                      <a:cubicBezTo>
                        <a:pt x="391" y="285"/>
                        <a:pt x="394" y="277"/>
                        <a:pt x="396" y="269"/>
                      </a:cubicBezTo>
                      <a:cubicBezTo>
                        <a:pt x="399" y="260"/>
                        <a:pt x="401" y="251"/>
                        <a:pt x="403" y="243"/>
                      </a:cubicBezTo>
                      <a:cubicBezTo>
                        <a:pt x="405" y="235"/>
                        <a:pt x="400" y="224"/>
                        <a:pt x="394" y="2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sp>
            <p:nvSpPr>
              <p:cNvPr id="79" name="Target">
                <a:extLst>
                  <a:ext uri="{FF2B5EF4-FFF2-40B4-BE49-F238E27FC236}">
                    <a16:creationId xmlns:a16="http://schemas.microsoft.com/office/drawing/2014/main" id="{D4E8BD2E-C5CA-2B25-5FA1-4C8E49303B51}"/>
                  </a:ext>
                </a:extLst>
              </p:cNvPr>
              <p:cNvSpPr>
                <a:spLocks noChangeAspect="1"/>
              </p:cNvSpPr>
              <p:nvPr>
                <p:custDataLst>
                  <p:tags r:id="rId5"/>
                </p:custDataLst>
              </p:nvPr>
            </p:nvSpPr>
            <p:spPr bwMode="auto">
              <a:xfrm rot="17488574">
                <a:off x="7480821" y="3161012"/>
                <a:ext cx="258200" cy="318283"/>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80" name="Target">
                <a:extLst>
                  <a:ext uri="{FF2B5EF4-FFF2-40B4-BE49-F238E27FC236}">
                    <a16:creationId xmlns:a16="http://schemas.microsoft.com/office/drawing/2014/main" id="{4109EB82-8A84-80BF-3019-2F8AAD659077}"/>
                  </a:ext>
                </a:extLst>
              </p:cNvPr>
              <p:cNvSpPr>
                <a:spLocks noChangeAspect="1"/>
              </p:cNvSpPr>
              <p:nvPr>
                <p:custDataLst>
                  <p:tags r:id="rId6"/>
                </p:custDataLst>
              </p:nvPr>
            </p:nvSpPr>
            <p:spPr bwMode="auto">
              <a:xfrm rot="14911426" flipH="1">
                <a:off x="7266265" y="3556787"/>
                <a:ext cx="258200" cy="318283"/>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grpSp>
      <p:grpSp>
        <p:nvGrpSpPr>
          <p:cNvPr id="85" name="Group 84">
            <a:extLst>
              <a:ext uri="{FF2B5EF4-FFF2-40B4-BE49-F238E27FC236}">
                <a16:creationId xmlns:a16="http://schemas.microsoft.com/office/drawing/2014/main" id="{F603673F-D833-382E-EB50-19771EE8BB0A}"/>
              </a:ext>
            </a:extLst>
          </p:cNvPr>
          <p:cNvGrpSpPr/>
          <p:nvPr/>
        </p:nvGrpSpPr>
        <p:grpSpPr>
          <a:xfrm>
            <a:off x="5638468" y="1584390"/>
            <a:ext cx="841311" cy="841311"/>
            <a:chOff x="5638468" y="1463010"/>
            <a:chExt cx="841311" cy="841311"/>
          </a:xfrm>
        </p:grpSpPr>
        <p:sp>
          <p:nvSpPr>
            <p:cNvPr id="86" name="Oval 85">
              <a:extLst>
                <a:ext uri="{FF2B5EF4-FFF2-40B4-BE49-F238E27FC236}">
                  <a16:creationId xmlns:a16="http://schemas.microsoft.com/office/drawing/2014/main" id="{90A93C17-4993-CE8B-94BF-EEC10A996846}"/>
                </a:ext>
              </a:extLst>
            </p:cNvPr>
            <p:cNvSpPr/>
            <p:nvPr/>
          </p:nvSpPr>
          <p:spPr bwMode="gray">
            <a:xfrm>
              <a:off x="5638468" y="1463010"/>
              <a:ext cx="841311" cy="841311"/>
            </a:xfrm>
            <a:prstGeom prst="ellipse">
              <a:avLst/>
            </a:prstGeom>
            <a:solidFill>
              <a:schemeClr val="bg1"/>
            </a:solidFill>
            <a:ln w="38100" algn="ctr">
              <a:solidFill>
                <a:srgbClr val="6FC9E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87" name="Picture 86">
              <a:extLst>
                <a:ext uri="{FF2B5EF4-FFF2-40B4-BE49-F238E27FC236}">
                  <a16:creationId xmlns:a16="http://schemas.microsoft.com/office/drawing/2014/main" id="{3DFA50C8-821B-D1F7-EB63-E0212A2FD035}"/>
                </a:ext>
              </a:extLst>
            </p:cNvPr>
            <p:cNvPicPr>
              <a:picLocks noChangeAspect="1"/>
            </p:cNvPicPr>
            <p:nvPr/>
          </p:nvPicPr>
          <p:blipFill>
            <a:blip r:embed="rId1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818820" y="1661655"/>
              <a:ext cx="480606" cy="444020"/>
            </a:xfrm>
            <a:prstGeom prst="rect">
              <a:avLst/>
            </a:prstGeom>
          </p:spPr>
        </p:pic>
      </p:grpSp>
      <p:grpSp>
        <p:nvGrpSpPr>
          <p:cNvPr id="88" name="Group 87">
            <a:extLst>
              <a:ext uri="{FF2B5EF4-FFF2-40B4-BE49-F238E27FC236}">
                <a16:creationId xmlns:a16="http://schemas.microsoft.com/office/drawing/2014/main" id="{E82BB9DE-401D-BB25-D109-EA8EF3FEB9F8}"/>
              </a:ext>
            </a:extLst>
          </p:cNvPr>
          <p:cNvGrpSpPr/>
          <p:nvPr/>
        </p:nvGrpSpPr>
        <p:grpSpPr>
          <a:xfrm>
            <a:off x="10073825" y="1584390"/>
            <a:ext cx="841311" cy="841311"/>
            <a:chOff x="10073825" y="1463010"/>
            <a:chExt cx="841311" cy="841311"/>
          </a:xfrm>
        </p:grpSpPr>
        <p:sp>
          <p:nvSpPr>
            <p:cNvPr id="89" name="Oval 88">
              <a:extLst>
                <a:ext uri="{FF2B5EF4-FFF2-40B4-BE49-F238E27FC236}">
                  <a16:creationId xmlns:a16="http://schemas.microsoft.com/office/drawing/2014/main" id="{F2950CED-10C2-D8E9-EFFA-A25E5B27641F}"/>
                </a:ext>
              </a:extLst>
            </p:cNvPr>
            <p:cNvSpPr/>
            <p:nvPr/>
          </p:nvSpPr>
          <p:spPr bwMode="gray">
            <a:xfrm>
              <a:off x="10073825" y="1463010"/>
              <a:ext cx="841311" cy="841311"/>
            </a:xfrm>
            <a:prstGeom prst="ellipse">
              <a:avLst/>
            </a:prstGeom>
            <a:solidFill>
              <a:schemeClr val="bg1"/>
            </a:solidFill>
            <a:ln w="38100" algn="ctr">
              <a:solidFill>
                <a:srgbClr val="6FC9E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0" name="Resource_allocation" descr="{&quot;Key&quot;:&quot;POWER_USER_SHAPE_ICON&quot;,&quot;Value&quot;:&quot;POWER_USER_SHAPE_ICON_STYLE_1&quot;}">
              <a:extLst>
                <a:ext uri="{FF2B5EF4-FFF2-40B4-BE49-F238E27FC236}">
                  <a16:creationId xmlns:a16="http://schemas.microsoft.com/office/drawing/2014/main" id="{70E6DD2E-8DA0-3F06-1019-AEB3857173D6}"/>
                </a:ext>
              </a:extLst>
            </p:cNvPr>
            <p:cNvGrpSpPr>
              <a:grpSpLocks noChangeAspect="1"/>
            </p:cNvGrpSpPr>
            <p:nvPr>
              <p:custDataLst>
                <p:tags r:id="rId2"/>
              </p:custDataLst>
            </p:nvPr>
          </p:nvGrpSpPr>
          <p:grpSpPr>
            <a:xfrm>
              <a:off x="10165902" y="1612199"/>
              <a:ext cx="657120" cy="542924"/>
              <a:chOff x="6249988" y="3606800"/>
              <a:chExt cx="1077913" cy="890588"/>
            </a:xfrm>
            <a:solidFill>
              <a:srgbClr val="464747"/>
            </a:solidFill>
          </p:grpSpPr>
          <p:sp>
            <p:nvSpPr>
              <p:cNvPr id="91" name="Freeform 90">
                <a:extLst>
                  <a:ext uri="{FF2B5EF4-FFF2-40B4-BE49-F238E27FC236}">
                    <a16:creationId xmlns:a16="http://schemas.microsoft.com/office/drawing/2014/main" id="{DDEC0330-FF8C-6AE7-30FD-0F311050417C}"/>
                  </a:ext>
                </a:extLst>
              </p:cNvPr>
              <p:cNvSpPr>
                <a:spLocks noEditPoints="1"/>
              </p:cNvSpPr>
              <p:nvPr/>
            </p:nvSpPr>
            <p:spPr bwMode="auto">
              <a:xfrm>
                <a:off x="6475413" y="4159250"/>
                <a:ext cx="338138" cy="338138"/>
              </a:xfrm>
              <a:custGeom>
                <a:avLst/>
                <a:gdLst>
                  <a:gd name="T0" fmla="*/ 274 w 560"/>
                  <a:gd name="T1" fmla="*/ 395 h 560"/>
                  <a:gd name="T2" fmla="*/ 175 w 560"/>
                  <a:gd name="T3" fmla="*/ 328 h 560"/>
                  <a:gd name="T4" fmla="*/ 365 w 560"/>
                  <a:gd name="T5" fmla="*/ 204 h 560"/>
                  <a:gd name="T6" fmla="*/ 357 w 560"/>
                  <a:gd name="T7" fmla="*/ 366 h 560"/>
                  <a:gd name="T8" fmla="*/ 510 w 560"/>
                  <a:gd name="T9" fmla="*/ 237 h 560"/>
                  <a:gd name="T10" fmla="*/ 483 w 560"/>
                  <a:gd name="T11" fmla="*/ 191 h 560"/>
                  <a:gd name="T12" fmla="*/ 486 w 560"/>
                  <a:gd name="T13" fmla="*/ 169 h 560"/>
                  <a:gd name="T14" fmla="*/ 504 w 560"/>
                  <a:gd name="T15" fmla="*/ 113 h 560"/>
                  <a:gd name="T16" fmla="*/ 469 w 560"/>
                  <a:gd name="T17" fmla="*/ 74 h 560"/>
                  <a:gd name="T18" fmla="*/ 411 w 560"/>
                  <a:gd name="T19" fmla="*/ 87 h 560"/>
                  <a:gd name="T20" fmla="*/ 364 w 560"/>
                  <a:gd name="T21" fmla="*/ 76 h 560"/>
                  <a:gd name="T22" fmla="*/ 338 w 560"/>
                  <a:gd name="T23" fmla="*/ 20 h 560"/>
                  <a:gd name="T24" fmla="*/ 293 w 560"/>
                  <a:gd name="T25" fmla="*/ 1 h 560"/>
                  <a:gd name="T26" fmla="*/ 248 w 560"/>
                  <a:gd name="T27" fmla="*/ 15 h 560"/>
                  <a:gd name="T28" fmla="*/ 217 w 560"/>
                  <a:gd name="T29" fmla="*/ 68 h 560"/>
                  <a:gd name="T30" fmla="*/ 169 w 560"/>
                  <a:gd name="T31" fmla="*/ 74 h 560"/>
                  <a:gd name="T32" fmla="*/ 113 w 560"/>
                  <a:gd name="T33" fmla="*/ 56 h 560"/>
                  <a:gd name="T34" fmla="*/ 74 w 560"/>
                  <a:gd name="T35" fmla="*/ 91 h 560"/>
                  <a:gd name="T36" fmla="*/ 86 w 560"/>
                  <a:gd name="T37" fmla="*/ 148 h 560"/>
                  <a:gd name="T38" fmla="*/ 75 w 560"/>
                  <a:gd name="T39" fmla="*/ 196 h 560"/>
                  <a:gd name="T40" fmla="*/ 20 w 560"/>
                  <a:gd name="T41" fmla="*/ 222 h 560"/>
                  <a:gd name="T42" fmla="*/ 6 w 560"/>
                  <a:gd name="T43" fmla="*/ 232 h 560"/>
                  <a:gd name="T44" fmla="*/ 5 w 560"/>
                  <a:gd name="T45" fmla="*/ 235 h 560"/>
                  <a:gd name="T46" fmla="*/ 3 w 560"/>
                  <a:gd name="T47" fmla="*/ 240 h 560"/>
                  <a:gd name="T48" fmla="*/ 1 w 560"/>
                  <a:gd name="T49" fmla="*/ 292 h 560"/>
                  <a:gd name="T50" fmla="*/ 49 w 560"/>
                  <a:gd name="T51" fmla="*/ 324 h 560"/>
                  <a:gd name="T52" fmla="*/ 77 w 560"/>
                  <a:gd name="T53" fmla="*/ 371 h 560"/>
                  <a:gd name="T54" fmla="*/ 73 w 560"/>
                  <a:gd name="T55" fmla="*/ 392 h 560"/>
                  <a:gd name="T56" fmla="*/ 56 w 560"/>
                  <a:gd name="T57" fmla="*/ 447 h 560"/>
                  <a:gd name="T58" fmla="*/ 91 w 560"/>
                  <a:gd name="T59" fmla="*/ 486 h 560"/>
                  <a:gd name="T60" fmla="*/ 147 w 560"/>
                  <a:gd name="T61" fmla="*/ 474 h 560"/>
                  <a:gd name="T62" fmla="*/ 196 w 560"/>
                  <a:gd name="T63" fmla="*/ 487 h 560"/>
                  <a:gd name="T64" fmla="*/ 222 w 560"/>
                  <a:gd name="T65" fmla="*/ 540 h 560"/>
                  <a:gd name="T66" fmla="*/ 265 w 560"/>
                  <a:gd name="T67" fmla="*/ 559 h 560"/>
                  <a:gd name="T68" fmla="*/ 312 w 560"/>
                  <a:gd name="T69" fmla="*/ 544 h 560"/>
                  <a:gd name="T70" fmla="*/ 342 w 560"/>
                  <a:gd name="T71" fmla="*/ 494 h 560"/>
                  <a:gd name="T72" fmla="*/ 393 w 560"/>
                  <a:gd name="T73" fmla="*/ 487 h 560"/>
                  <a:gd name="T74" fmla="*/ 447 w 560"/>
                  <a:gd name="T75" fmla="*/ 504 h 560"/>
                  <a:gd name="T76" fmla="*/ 486 w 560"/>
                  <a:gd name="T77" fmla="*/ 469 h 560"/>
                  <a:gd name="T78" fmla="*/ 474 w 560"/>
                  <a:gd name="T79" fmla="*/ 413 h 560"/>
                  <a:gd name="T80" fmla="*/ 486 w 560"/>
                  <a:gd name="T81" fmla="*/ 364 h 560"/>
                  <a:gd name="T82" fmla="*/ 539 w 560"/>
                  <a:gd name="T83" fmla="*/ 338 h 560"/>
                  <a:gd name="T84" fmla="*/ 555 w 560"/>
                  <a:gd name="T85" fmla="*/ 326 h 560"/>
                  <a:gd name="T86" fmla="*/ 556 w 560"/>
                  <a:gd name="T87" fmla="*/ 320 h 560"/>
                  <a:gd name="T88" fmla="*/ 559 w 560"/>
                  <a:gd name="T89" fmla="*/ 293 h 560"/>
                  <a:gd name="T90" fmla="*/ 544 w 560"/>
                  <a:gd name="T91" fmla="*/ 24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0" h="560">
                    <a:moveTo>
                      <a:pt x="357" y="366"/>
                    </a:moveTo>
                    <a:cubicBezTo>
                      <a:pt x="334" y="386"/>
                      <a:pt x="305" y="397"/>
                      <a:pt x="274" y="395"/>
                    </a:cubicBezTo>
                    <a:cubicBezTo>
                      <a:pt x="244" y="394"/>
                      <a:pt x="216" y="380"/>
                      <a:pt x="195" y="358"/>
                    </a:cubicBezTo>
                    <a:cubicBezTo>
                      <a:pt x="187" y="349"/>
                      <a:pt x="180" y="338"/>
                      <a:pt x="175" y="328"/>
                    </a:cubicBezTo>
                    <a:cubicBezTo>
                      <a:pt x="155" y="282"/>
                      <a:pt x="167" y="229"/>
                      <a:pt x="203" y="196"/>
                    </a:cubicBezTo>
                    <a:cubicBezTo>
                      <a:pt x="250" y="154"/>
                      <a:pt x="323" y="158"/>
                      <a:pt x="365" y="204"/>
                    </a:cubicBezTo>
                    <a:cubicBezTo>
                      <a:pt x="373" y="213"/>
                      <a:pt x="380" y="224"/>
                      <a:pt x="384" y="234"/>
                    </a:cubicBezTo>
                    <a:cubicBezTo>
                      <a:pt x="405" y="280"/>
                      <a:pt x="393" y="333"/>
                      <a:pt x="357" y="366"/>
                    </a:cubicBezTo>
                    <a:close/>
                    <a:moveTo>
                      <a:pt x="544" y="248"/>
                    </a:moveTo>
                    <a:lnTo>
                      <a:pt x="510" y="237"/>
                    </a:lnTo>
                    <a:cubicBezTo>
                      <a:pt x="503" y="234"/>
                      <a:pt x="495" y="225"/>
                      <a:pt x="493" y="217"/>
                    </a:cubicBezTo>
                    <a:cubicBezTo>
                      <a:pt x="490" y="208"/>
                      <a:pt x="487" y="199"/>
                      <a:pt x="483" y="191"/>
                    </a:cubicBezTo>
                    <a:cubicBezTo>
                      <a:pt x="482" y="189"/>
                      <a:pt x="481" y="187"/>
                      <a:pt x="481" y="186"/>
                    </a:cubicBezTo>
                    <a:cubicBezTo>
                      <a:pt x="479" y="183"/>
                      <a:pt x="482" y="175"/>
                      <a:pt x="486" y="169"/>
                    </a:cubicBezTo>
                    <a:lnTo>
                      <a:pt x="505" y="138"/>
                    </a:lnTo>
                    <a:cubicBezTo>
                      <a:pt x="509" y="131"/>
                      <a:pt x="509" y="119"/>
                      <a:pt x="504" y="113"/>
                    </a:cubicBezTo>
                    <a:cubicBezTo>
                      <a:pt x="499" y="106"/>
                      <a:pt x="494" y="100"/>
                      <a:pt x="488" y="93"/>
                    </a:cubicBezTo>
                    <a:cubicBezTo>
                      <a:pt x="482" y="86"/>
                      <a:pt x="475" y="80"/>
                      <a:pt x="469" y="74"/>
                    </a:cubicBezTo>
                    <a:cubicBezTo>
                      <a:pt x="463" y="69"/>
                      <a:pt x="452" y="67"/>
                      <a:pt x="444" y="71"/>
                    </a:cubicBezTo>
                    <a:lnTo>
                      <a:pt x="411" y="87"/>
                    </a:lnTo>
                    <a:cubicBezTo>
                      <a:pt x="404" y="90"/>
                      <a:pt x="393" y="89"/>
                      <a:pt x="385" y="86"/>
                    </a:cubicBezTo>
                    <a:cubicBezTo>
                      <a:pt x="378" y="82"/>
                      <a:pt x="371" y="79"/>
                      <a:pt x="364" y="76"/>
                    </a:cubicBezTo>
                    <a:cubicBezTo>
                      <a:pt x="357" y="72"/>
                      <a:pt x="349" y="64"/>
                      <a:pt x="347" y="56"/>
                    </a:cubicBezTo>
                    <a:lnTo>
                      <a:pt x="338" y="20"/>
                    </a:lnTo>
                    <a:cubicBezTo>
                      <a:pt x="336" y="13"/>
                      <a:pt x="328" y="5"/>
                      <a:pt x="320" y="3"/>
                    </a:cubicBezTo>
                    <a:cubicBezTo>
                      <a:pt x="312" y="2"/>
                      <a:pt x="302" y="1"/>
                      <a:pt x="293" y="1"/>
                    </a:cubicBezTo>
                    <a:cubicBezTo>
                      <a:pt x="285" y="0"/>
                      <a:pt x="276" y="0"/>
                      <a:pt x="268" y="0"/>
                    </a:cubicBezTo>
                    <a:cubicBezTo>
                      <a:pt x="260" y="1"/>
                      <a:pt x="251" y="8"/>
                      <a:pt x="248" y="15"/>
                    </a:cubicBezTo>
                    <a:lnTo>
                      <a:pt x="236" y="51"/>
                    </a:lnTo>
                    <a:cubicBezTo>
                      <a:pt x="233" y="58"/>
                      <a:pt x="225" y="66"/>
                      <a:pt x="217" y="68"/>
                    </a:cubicBezTo>
                    <a:cubicBezTo>
                      <a:pt x="209" y="70"/>
                      <a:pt x="202" y="73"/>
                      <a:pt x="195" y="76"/>
                    </a:cubicBezTo>
                    <a:cubicBezTo>
                      <a:pt x="187" y="79"/>
                      <a:pt x="176" y="79"/>
                      <a:pt x="169" y="74"/>
                    </a:cubicBezTo>
                    <a:lnTo>
                      <a:pt x="137" y="55"/>
                    </a:lnTo>
                    <a:cubicBezTo>
                      <a:pt x="130" y="51"/>
                      <a:pt x="119" y="51"/>
                      <a:pt x="113" y="56"/>
                    </a:cubicBezTo>
                    <a:cubicBezTo>
                      <a:pt x="106" y="61"/>
                      <a:pt x="99" y="66"/>
                      <a:pt x="93" y="72"/>
                    </a:cubicBezTo>
                    <a:cubicBezTo>
                      <a:pt x="86" y="78"/>
                      <a:pt x="80" y="84"/>
                      <a:pt x="74" y="91"/>
                    </a:cubicBezTo>
                    <a:cubicBezTo>
                      <a:pt x="68" y="97"/>
                      <a:pt x="67" y="108"/>
                      <a:pt x="71" y="116"/>
                    </a:cubicBezTo>
                    <a:lnTo>
                      <a:pt x="86" y="148"/>
                    </a:lnTo>
                    <a:cubicBezTo>
                      <a:pt x="90" y="156"/>
                      <a:pt x="89" y="167"/>
                      <a:pt x="85" y="174"/>
                    </a:cubicBezTo>
                    <a:cubicBezTo>
                      <a:pt x="81" y="181"/>
                      <a:pt x="78" y="189"/>
                      <a:pt x="75" y="196"/>
                    </a:cubicBezTo>
                    <a:cubicBezTo>
                      <a:pt x="72" y="203"/>
                      <a:pt x="63" y="211"/>
                      <a:pt x="55" y="213"/>
                    </a:cubicBezTo>
                    <a:lnTo>
                      <a:pt x="20" y="222"/>
                    </a:lnTo>
                    <a:cubicBezTo>
                      <a:pt x="15" y="223"/>
                      <a:pt x="10" y="227"/>
                      <a:pt x="6" y="232"/>
                    </a:cubicBezTo>
                    <a:lnTo>
                      <a:pt x="6" y="232"/>
                    </a:lnTo>
                    <a:cubicBezTo>
                      <a:pt x="6" y="232"/>
                      <a:pt x="5" y="233"/>
                      <a:pt x="5" y="234"/>
                    </a:cubicBezTo>
                    <a:cubicBezTo>
                      <a:pt x="5" y="234"/>
                      <a:pt x="5" y="235"/>
                      <a:pt x="5" y="235"/>
                    </a:cubicBezTo>
                    <a:cubicBezTo>
                      <a:pt x="4" y="236"/>
                      <a:pt x="4" y="236"/>
                      <a:pt x="4" y="237"/>
                    </a:cubicBezTo>
                    <a:cubicBezTo>
                      <a:pt x="3" y="238"/>
                      <a:pt x="3" y="239"/>
                      <a:pt x="3" y="240"/>
                    </a:cubicBezTo>
                    <a:cubicBezTo>
                      <a:pt x="2" y="248"/>
                      <a:pt x="1" y="256"/>
                      <a:pt x="0" y="265"/>
                    </a:cubicBezTo>
                    <a:cubicBezTo>
                      <a:pt x="0" y="274"/>
                      <a:pt x="0" y="283"/>
                      <a:pt x="1" y="292"/>
                    </a:cubicBezTo>
                    <a:cubicBezTo>
                      <a:pt x="1" y="300"/>
                      <a:pt x="8" y="309"/>
                      <a:pt x="16" y="312"/>
                    </a:cubicBezTo>
                    <a:lnTo>
                      <a:pt x="49" y="324"/>
                    </a:lnTo>
                    <a:cubicBezTo>
                      <a:pt x="57" y="326"/>
                      <a:pt x="64" y="335"/>
                      <a:pt x="67" y="343"/>
                    </a:cubicBezTo>
                    <a:cubicBezTo>
                      <a:pt x="69" y="352"/>
                      <a:pt x="73" y="362"/>
                      <a:pt x="77" y="371"/>
                    </a:cubicBezTo>
                    <a:cubicBezTo>
                      <a:pt x="78" y="373"/>
                      <a:pt x="78" y="374"/>
                      <a:pt x="79" y="376"/>
                    </a:cubicBezTo>
                    <a:cubicBezTo>
                      <a:pt x="80" y="378"/>
                      <a:pt x="78" y="385"/>
                      <a:pt x="73" y="392"/>
                    </a:cubicBezTo>
                    <a:lnTo>
                      <a:pt x="55" y="422"/>
                    </a:lnTo>
                    <a:cubicBezTo>
                      <a:pt x="51" y="429"/>
                      <a:pt x="51" y="440"/>
                      <a:pt x="56" y="447"/>
                    </a:cubicBezTo>
                    <a:cubicBezTo>
                      <a:pt x="61" y="454"/>
                      <a:pt x="67" y="461"/>
                      <a:pt x="73" y="468"/>
                    </a:cubicBezTo>
                    <a:cubicBezTo>
                      <a:pt x="78" y="475"/>
                      <a:pt x="84" y="481"/>
                      <a:pt x="91" y="486"/>
                    </a:cubicBezTo>
                    <a:cubicBezTo>
                      <a:pt x="97" y="492"/>
                      <a:pt x="108" y="493"/>
                      <a:pt x="115" y="489"/>
                    </a:cubicBezTo>
                    <a:lnTo>
                      <a:pt x="147" y="474"/>
                    </a:lnTo>
                    <a:cubicBezTo>
                      <a:pt x="154" y="471"/>
                      <a:pt x="165" y="472"/>
                      <a:pt x="173" y="475"/>
                    </a:cubicBezTo>
                    <a:cubicBezTo>
                      <a:pt x="180" y="480"/>
                      <a:pt x="188" y="483"/>
                      <a:pt x="196" y="487"/>
                    </a:cubicBezTo>
                    <a:cubicBezTo>
                      <a:pt x="204" y="490"/>
                      <a:pt x="212" y="498"/>
                      <a:pt x="213" y="506"/>
                    </a:cubicBezTo>
                    <a:lnTo>
                      <a:pt x="222" y="540"/>
                    </a:lnTo>
                    <a:cubicBezTo>
                      <a:pt x="224" y="548"/>
                      <a:pt x="232" y="556"/>
                      <a:pt x="240" y="557"/>
                    </a:cubicBezTo>
                    <a:cubicBezTo>
                      <a:pt x="248" y="558"/>
                      <a:pt x="256" y="559"/>
                      <a:pt x="265" y="559"/>
                    </a:cubicBezTo>
                    <a:cubicBezTo>
                      <a:pt x="274" y="560"/>
                      <a:pt x="283" y="560"/>
                      <a:pt x="292" y="559"/>
                    </a:cubicBezTo>
                    <a:cubicBezTo>
                      <a:pt x="300" y="559"/>
                      <a:pt x="309" y="552"/>
                      <a:pt x="312" y="544"/>
                    </a:cubicBezTo>
                    <a:lnTo>
                      <a:pt x="323" y="512"/>
                    </a:lnTo>
                    <a:cubicBezTo>
                      <a:pt x="326" y="504"/>
                      <a:pt x="334" y="497"/>
                      <a:pt x="342" y="494"/>
                    </a:cubicBezTo>
                    <a:cubicBezTo>
                      <a:pt x="351" y="492"/>
                      <a:pt x="359" y="489"/>
                      <a:pt x="367" y="486"/>
                    </a:cubicBezTo>
                    <a:cubicBezTo>
                      <a:pt x="374" y="482"/>
                      <a:pt x="386" y="483"/>
                      <a:pt x="393" y="487"/>
                    </a:cubicBezTo>
                    <a:lnTo>
                      <a:pt x="422" y="505"/>
                    </a:lnTo>
                    <a:cubicBezTo>
                      <a:pt x="429" y="509"/>
                      <a:pt x="440" y="509"/>
                      <a:pt x="447" y="504"/>
                    </a:cubicBezTo>
                    <a:cubicBezTo>
                      <a:pt x="454" y="499"/>
                      <a:pt x="461" y="493"/>
                      <a:pt x="468" y="487"/>
                    </a:cubicBezTo>
                    <a:cubicBezTo>
                      <a:pt x="474" y="481"/>
                      <a:pt x="480" y="475"/>
                      <a:pt x="486" y="469"/>
                    </a:cubicBezTo>
                    <a:cubicBezTo>
                      <a:pt x="491" y="463"/>
                      <a:pt x="493" y="452"/>
                      <a:pt x="489" y="445"/>
                    </a:cubicBezTo>
                    <a:lnTo>
                      <a:pt x="474" y="413"/>
                    </a:lnTo>
                    <a:cubicBezTo>
                      <a:pt x="470" y="406"/>
                      <a:pt x="471" y="394"/>
                      <a:pt x="475" y="387"/>
                    </a:cubicBezTo>
                    <a:cubicBezTo>
                      <a:pt x="479" y="380"/>
                      <a:pt x="483" y="372"/>
                      <a:pt x="486" y="364"/>
                    </a:cubicBezTo>
                    <a:cubicBezTo>
                      <a:pt x="489" y="356"/>
                      <a:pt x="497" y="349"/>
                      <a:pt x="505" y="347"/>
                    </a:cubicBezTo>
                    <a:lnTo>
                      <a:pt x="539" y="338"/>
                    </a:lnTo>
                    <a:cubicBezTo>
                      <a:pt x="545" y="337"/>
                      <a:pt x="551" y="332"/>
                      <a:pt x="554" y="326"/>
                    </a:cubicBezTo>
                    <a:cubicBezTo>
                      <a:pt x="554" y="326"/>
                      <a:pt x="555" y="326"/>
                      <a:pt x="555" y="326"/>
                    </a:cubicBezTo>
                    <a:cubicBezTo>
                      <a:pt x="555" y="325"/>
                      <a:pt x="555" y="324"/>
                      <a:pt x="556" y="323"/>
                    </a:cubicBezTo>
                    <a:cubicBezTo>
                      <a:pt x="556" y="323"/>
                      <a:pt x="556" y="321"/>
                      <a:pt x="556" y="320"/>
                    </a:cubicBezTo>
                    <a:cubicBezTo>
                      <a:pt x="557" y="318"/>
                      <a:pt x="557" y="316"/>
                      <a:pt x="557" y="314"/>
                    </a:cubicBezTo>
                    <a:cubicBezTo>
                      <a:pt x="558" y="307"/>
                      <a:pt x="559" y="300"/>
                      <a:pt x="559" y="293"/>
                    </a:cubicBezTo>
                    <a:cubicBezTo>
                      <a:pt x="560" y="285"/>
                      <a:pt x="560" y="276"/>
                      <a:pt x="559" y="268"/>
                    </a:cubicBezTo>
                    <a:cubicBezTo>
                      <a:pt x="559" y="260"/>
                      <a:pt x="552" y="251"/>
                      <a:pt x="544" y="2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92" name="Freeform 91">
                <a:extLst>
                  <a:ext uri="{FF2B5EF4-FFF2-40B4-BE49-F238E27FC236}">
                    <a16:creationId xmlns:a16="http://schemas.microsoft.com/office/drawing/2014/main" id="{68AEADEA-5030-65A7-116F-3C30E6F22E45}"/>
                  </a:ext>
                </a:extLst>
              </p:cNvPr>
              <p:cNvSpPr>
                <a:spLocks noEditPoints="1"/>
              </p:cNvSpPr>
              <p:nvPr/>
            </p:nvSpPr>
            <p:spPr bwMode="auto">
              <a:xfrm>
                <a:off x="6249988" y="4084638"/>
                <a:ext cx="244475" cy="247650"/>
              </a:xfrm>
              <a:custGeom>
                <a:avLst/>
                <a:gdLst>
                  <a:gd name="T0" fmla="*/ 148 w 405"/>
                  <a:gd name="T1" fmla="*/ 254 h 410"/>
                  <a:gd name="T2" fmla="*/ 154 w 405"/>
                  <a:gd name="T3" fmla="*/ 149 h 410"/>
                  <a:gd name="T4" fmla="*/ 259 w 405"/>
                  <a:gd name="T5" fmla="*/ 155 h 410"/>
                  <a:gd name="T6" fmla="*/ 253 w 405"/>
                  <a:gd name="T7" fmla="*/ 260 h 410"/>
                  <a:gd name="T8" fmla="*/ 383 w 405"/>
                  <a:gd name="T9" fmla="*/ 300 h 410"/>
                  <a:gd name="T10" fmla="*/ 385 w 405"/>
                  <a:gd name="T11" fmla="*/ 297 h 410"/>
                  <a:gd name="T12" fmla="*/ 388 w 405"/>
                  <a:gd name="T13" fmla="*/ 293 h 410"/>
                  <a:gd name="T14" fmla="*/ 404 w 405"/>
                  <a:gd name="T15" fmla="*/ 243 h 410"/>
                  <a:gd name="T16" fmla="*/ 404 w 405"/>
                  <a:gd name="T17" fmla="*/ 239 h 410"/>
                  <a:gd name="T18" fmla="*/ 404 w 405"/>
                  <a:gd name="T19" fmla="*/ 235 h 410"/>
                  <a:gd name="T20" fmla="*/ 403 w 405"/>
                  <a:gd name="T21" fmla="*/ 232 h 410"/>
                  <a:gd name="T22" fmla="*/ 373 w 405"/>
                  <a:gd name="T23" fmla="*/ 205 h 410"/>
                  <a:gd name="T24" fmla="*/ 355 w 405"/>
                  <a:gd name="T25" fmla="*/ 162 h 410"/>
                  <a:gd name="T26" fmla="*/ 372 w 405"/>
                  <a:gd name="T27" fmla="*/ 113 h 410"/>
                  <a:gd name="T28" fmla="*/ 355 w 405"/>
                  <a:gd name="T29" fmla="*/ 69 h 410"/>
                  <a:gd name="T30" fmla="*/ 311 w 405"/>
                  <a:gd name="T31" fmla="*/ 47 h 410"/>
                  <a:gd name="T32" fmla="*/ 261 w 405"/>
                  <a:gd name="T33" fmla="*/ 58 h 410"/>
                  <a:gd name="T34" fmla="*/ 220 w 405"/>
                  <a:gd name="T35" fmla="*/ 36 h 410"/>
                  <a:gd name="T36" fmla="*/ 186 w 405"/>
                  <a:gd name="T37" fmla="*/ 1 h 410"/>
                  <a:gd name="T38" fmla="*/ 134 w 405"/>
                  <a:gd name="T39" fmla="*/ 12 h 410"/>
                  <a:gd name="T40" fmla="*/ 117 w 405"/>
                  <a:gd name="T41" fmla="*/ 59 h 410"/>
                  <a:gd name="T42" fmla="*/ 98 w 405"/>
                  <a:gd name="T43" fmla="*/ 88 h 410"/>
                  <a:gd name="T44" fmla="*/ 66 w 405"/>
                  <a:gd name="T45" fmla="*/ 106 h 410"/>
                  <a:gd name="T46" fmla="*/ 22 w 405"/>
                  <a:gd name="T47" fmla="*/ 111 h 410"/>
                  <a:gd name="T48" fmla="*/ 20 w 405"/>
                  <a:gd name="T49" fmla="*/ 113 h 410"/>
                  <a:gd name="T50" fmla="*/ 19 w 405"/>
                  <a:gd name="T51" fmla="*/ 116 h 410"/>
                  <a:gd name="T52" fmla="*/ 8 w 405"/>
                  <a:gd name="T53" fmla="*/ 142 h 410"/>
                  <a:gd name="T54" fmla="*/ 11 w 405"/>
                  <a:gd name="T55" fmla="*/ 191 h 410"/>
                  <a:gd name="T56" fmla="*/ 48 w 405"/>
                  <a:gd name="T57" fmla="*/ 230 h 410"/>
                  <a:gd name="T58" fmla="*/ 48 w 405"/>
                  <a:gd name="T59" fmla="*/ 273 h 410"/>
                  <a:gd name="T60" fmla="*/ 34 w 405"/>
                  <a:gd name="T61" fmla="*/ 322 h 410"/>
                  <a:gd name="T62" fmla="*/ 69 w 405"/>
                  <a:gd name="T63" fmla="*/ 361 h 410"/>
                  <a:gd name="T64" fmla="*/ 120 w 405"/>
                  <a:gd name="T65" fmla="*/ 352 h 410"/>
                  <a:gd name="T66" fmla="*/ 163 w 405"/>
                  <a:gd name="T67" fmla="*/ 357 h 410"/>
                  <a:gd name="T68" fmla="*/ 198 w 405"/>
                  <a:gd name="T69" fmla="*/ 398 h 410"/>
                  <a:gd name="T70" fmla="*/ 246 w 405"/>
                  <a:gd name="T71" fmla="*/ 405 h 410"/>
                  <a:gd name="T72" fmla="*/ 286 w 405"/>
                  <a:gd name="T73" fmla="*/ 379 h 410"/>
                  <a:gd name="T74" fmla="*/ 299 w 405"/>
                  <a:gd name="T75" fmla="*/ 330 h 410"/>
                  <a:gd name="T76" fmla="*/ 317 w 405"/>
                  <a:gd name="T77" fmla="*/ 314 h 410"/>
                  <a:gd name="T78" fmla="*/ 367 w 405"/>
                  <a:gd name="T79" fmla="*/ 306 h 410"/>
                  <a:gd name="T80" fmla="*/ 376 w 405"/>
                  <a:gd name="T81" fmla="*/ 304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5" h="410">
                    <a:moveTo>
                      <a:pt x="253" y="260"/>
                    </a:moveTo>
                    <a:cubicBezTo>
                      <a:pt x="223" y="287"/>
                      <a:pt x="176" y="285"/>
                      <a:pt x="148" y="254"/>
                    </a:cubicBezTo>
                    <a:cubicBezTo>
                      <a:pt x="143" y="249"/>
                      <a:pt x="139" y="242"/>
                      <a:pt x="136" y="235"/>
                    </a:cubicBezTo>
                    <a:cubicBezTo>
                      <a:pt x="122" y="205"/>
                      <a:pt x="130" y="171"/>
                      <a:pt x="154" y="149"/>
                    </a:cubicBezTo>
                    <a:cubicBezTo>
                      <a:pt x="168" y="136"/>
                      <a:pt x="187" y="129"/>
                      <a:pt x="207" y="130"/>
                    </a:cubicBezTo>
                    <a:cubicBezTo>
                      <a:pt x="227" y="131"/>
                      <a:pt x="245" y="140"/>
                      <a:pt x="259" y="155"/>
                    </a:cubicBezTo>
                    <a:cubicBezTo>
                      <a:pt x="264" y="161"/>
                      <a:pt x="268" y="167"/>
                      <a:pt x="271" y="174"/>
                    </a:cubicBezTo>
                    <a:cubicBezTo>
                      <a:pt x="284" y="204"/>
                      <a:pt x="277" y="238"/>
                      <a:pt x="253" y="260"/>
                    </a:cubicBezTo>
                    <a:close/>
                    <a:moveTo>
                      <a:pt x="376" y="304"/>
                    </a:moveTo>
                    <a:cubicBezTo>
                      <a:pt x="378" y="303"/>
                      <a:pt x="380" y="302"/>
                      <a:pt x="383" y="300"/>
                    </a:cubicBezTo>
                    <a:cubicBezTo>
                      <a:pt x="383" y="300"/>
                      <a:pt x="383" y="299"/>
                      <a:pt x="383" y="299"/>
                    </a:cubicBezTo>
                    <a:cubicBezTo>
                      <a:pt x="384" y="299"/>
                      <a:pt x="385" y="298"/>
                      <a:pt x="385" y="297"/>
                    </a:cubicBezTo>
                    <a:cubicBezTo>
                      <a:pt x="386" y="297"/>
                      <a:pt x="386" y="297"/>
                      <a:pt x="386" y="296"/>
                    </a:cubicBezTo>
                    <a:cubicBezTo>
                      <a:pt x="387" y="295"/>
                      <a:pt x="387" y="294"/>
                      <a:pt x="388" y="293"/>
                    </a:cubicBezTo>
                    <a:cubicBezTo>
                      <a:pt x="392" y="285"/>
                      <a:pt x="395" y="276"/>
                      <a:pt x="398" y="268"/>
                    </a:cubicBezTo>
                    <a:cubicBezTo>
                      <a:pt x="400" y="260"/>
                      <a:pt x="402" y="251"/>
                      <a:pt x="404" y="243"/>
                    </a:cubicBezTo>
                    <a:cubicBezTo>
                      <a:pt x="404" y="242"/>
                      <a:pt x="404" y="241"/>
                      <a:pt x="405" y="240"/>
                    </a:cubicBezTo>
                    <a:cubicBezTo>
                      <a:pt x="405" y="240"/>
                      <a:pt x="405" y="239"/>
                      <a:pt x="404" y="239"/>
                    </a:cubicBezTo>
                    <a:cubicBezTo>
                      <a:pt x="404" y="238"/>
                      <a:pt x="404" y="238"/>
                      <a:pt x="404" y="237"/>
                    </a:cubicBezTo>
                    <a:cubicBezTo>
                      <a:pt x="404" y="237"/>
                      <a:pt x="404" y="236"/>
                      <a:pt x="404" y="235"/>
                    </a:cubicBezTo>
                    <a:cubicBezTo>
                      <a:pt x="404" y="235"/>
                      <a:pt x="404" y="235"/>
                      <a:pt x="404" y="235"/>
                    </a:cubicBezTo>
                    <a:cubicBezTo>
                      <a:pt x="404" y="234"/>
                      <a:pt x="403" y="233"/>
                      <a:pt x="403" y="232"/>
                    </a:cubicBezTo>
                    <a:cubicBezTo>
                      <a:pt x="401" y="227"/>
                      <a:pt x="398" y="223"/>
                      <a:pt x="395" y="220"/>
                    </a:cubicBezTo>
                    <a:lnTo>
                      <a:pt x="373" y="205"/>
                    </a:lnTo>
                    <a:cubicBezTo>
                      <a:pt x="366" y="201"/>
                      <a:pt x="361" y="190"/>
                      <a:pt x="359" y="182"/>
                    </a:cubicBezTo>
                    <a:cubicBezTo>
                      <a:pt x="358" y="176"/>
                      <a:pt x="357" y="169"/>
                      <a:pt x="355" y="162"/>
                    </a:cubicBezTo>
                    <a:cubicBezTo>
                      <a:pt x="353" y="154"/>
                      <a:pt x="354" y="143"/>
                      <a:pt x="358" y="136"/>
                    </a:cubicBezTo>
                    <a:lnTo>
                      <a:pt x="372" y="113"/>
                    </a:lnTo>
                    <a:cubicBezTo>
                      <a:pt x="376" y="106"/>
                      <a:pt x="376" y="95"/>
                      <a:pt x="371" y="89"/>
                    </a:cubicBezTo>
                    <a:cubicBezTo>
                      <a:pt x="366" y="82"/>
                      <a:pt x="361" y="75"/>
                      <a:pt x="355" y="69"/>
                    </a:cubicBezTo>
                    <a:cubicBezTo>
                      <a:pt x="349" y="62"/>
                      <a:pt x="342" y="56"/>
                      <a:pt x="336" y="50"/>
                    </a:cubicBezTo>
                    <a:cubicBezTo>
                      <a:pt x="330" y="44"/>
                      <a:pt x="319" y="43"/>
                      <a:pt x="311" y="47"/>
                    </a:cubicBezTo>
                    <a:lnTo>
                      <a:pt x="288" y="58"/>
                    </a:lnTo>
                    <a:cubicBezTo>
                      <a:pt x="281" y="61"/>
                      <a:pt x="269" y="61"/>
                      <a:pt x="261" y="58"/>
                    </a:cubicBezTo>
                    <a:cubicBezTo>
                      <a:pt x="255" y="55"/>
                      <a:pt x="248" y="53"/>
                      <a:pt x="241" y="52"/>
                    </a:cubicBezTo>
                    <a:cubicBezTo>
                      <a:pt x="234" y="50"/>
                      <a:pt x="224" y="43"/>
                      <a:pt x="220" y="36"/>
                    </a:cubicBezTo>
                    <a:lnTo>
                      <a:pt x="207" y="13"/>
                    </a:lnTo>
                    <a:cubicBezTo>
                      <a:pt x="203" y="6"/>
                      <a:pt x="194" y="0"/>
                      <a:pt x="186" y="1"/>
                    </a:cubicBezTo>
                    <a:cubicBezTo>
                      <a:pt x="177" y="2"/>
                      <a:pt x="169" y="3"/>
                      <a:pt x="161" y="5"/>
                    </a:cubicBezTo>
                    <a:cubicBezTo>
                      <a:pt x="152" y="7"/>
                      <a:pt x="143" y="9"/>
                      <a:pt x="134" y="12"/>
                    </a:cubicBezTo>
                    <a:cubicBezTo>
                      <a:pt x="127" y="15"/>
                      <a:pt x="120" y="24"/>
                      <a:pt x="119" y="32"/>
                    </a:cubicBezTo>
                    <a:lnTo>
                      <a:pt x="117" y="59"/>
                    </a:lnTo>
                    <a:cubicBezTo>
                      <a:pt x="117" y="67"/>
                      <a:pt x="112" y="76"/>
                      <a:pt x="107" y="80"/>
                    </a:cubicBezTo>
                    <a:cubicBezTo>
                      <a:pt x="104" y="83"/>
                      <a:pt x="101" y="85"/>
                      <a:pt x="98" y="88"/>
                    </a:cubicBezTo>
                    <a:cubicBezTo>
                      <a:pt x="95" y="90"/>
                      <a:pt x="92" y="93"/>
                      <a:pt x="89" y="96"/>
                    </a:cubicBezTo>
                    <a:cubicBezTo>
                      <a:pt x="84" y="102"/>
                      <a:pt x="74" y="106"/>
                      <a:pt x="66" y="106"/>
                    </a:cubicBezTo>
                    <a:lnTo>
                      <a:pt x="38" y="105"/>
                    </a:lnTo>
                    <a:cubicBezTo>
                      <a:pt x="33" y="105"/>
                      <a:pt x="27" y="107"/>
                      <a:pt x="22" y="111"/>
                    </a:cubicBezTo>
                    <a:cubicBezTo>
                      <a:pt x="22" y="112"/>
                      <a:pt x="22" y="112"/>
                      <a:pt x="21" y="112"/>
                    </a:cubicBezTo>
                    <a:cubicBezTo>
                      <a:pt x="21" y="113"/>
                      <a:pt x="21" y="113"/>
                      <a:pt x="20" y="113"/>
                    </a:cubicBezTo>
                    <a:cubicBezTo>
                      <a:pt x="20" y="114"/>
                      <a:pt x="20" y="114"/>
                      <a:pt x="19" y="115"/>
                    </a:cubicBezTo>
                    <a:cubicBezTo>
                      <a:pt x="19" y="115"/>
                      <a:pt x="19" y="115"/>
                      <a:pt x="19" y="116"/>
                    </a:cubicBezTo>
                    <a:cubicBezTo>
                      <a:pt x="18" y="116"/>
                      <a:pt x="18" y="117"/>
                      <a:pt x="17" y="118"/>
                    </a:cubicBezTo>
                    <a:cubicBezTo>
                      <a:pt x="14" y="126"/>
                      <a:pt x="11" y="134"/>
                      <a:pt x="8" y="142"/>
                    </a:cubicBezTo>
                    <a:cubicBezTo>
                      <a:pt x="5" y="150"/>
                      <a:pt x="3" y="159"/>
                      <a:pt x="1" y="168"/>
                    </a:cubicBezTo>
                    <a:cubicBezTo>
                      <a:pt x="0" y="176"/>
                      <a:pt x="4" y="186"/>
                      <a:pt x="11" y="191"/>
                    </a:cubicBezTo>
                    <a:lnTo>
                      <a:pt x="34" y="207"/>
                    </a:lnTo>
                    <a:cubicBezTo>
                      <a:pt x="41" y="211"/>
                      <a:pt x="47" y="222"/>
                      <a:pt x="48" y="230"/>
                    </a:cubicBezTo>
                    <a:cubicBezTo>
                      <a:pt x="49" y="235"/>
                      <a:pt x="50" y="241"/>
                      <a:pt x="51" y="246"/>
                    </a:cubicBezTo>
                    <a:cubicBezTo>
                      <a:pt x="54" y="254"/>
                      <a:pt x="53" y="266"/>
                      <a:pt x="48" y="273"/>
                    </a:cubicBezTo>
                    <a:lnTo>
                      <a:pt x="34" y="297"/>
                    </a:lnTo>
                    <a:cubicBezTo>
                      <a:pt x="29" y="304"/>
                      <a:pt x="29" y="315"/>
                      <a:pt x="34" y="322"/>
                    </a:cubicBezTo>
                    <a:cubicBezTo>
                      <a:pt x="39" y="329"/>
                      <a:pt x="45" y="336"/>
                      <a:pt x="51" y="343"/>
                    </a:cubicBezTo>
                    <a:cubicBezTo>
                      <a:pt x="57" y="349"/>
                      <a:pt x="63" y="355"/>
                      <a:pt x="69" y="361"/>
                    </a:cubicBezTo>
                    <a:cubicBezTo>
                      <a:pt x="75" y="367"/>
                      <a:pt x="86" y="368"/>
                      <a:pt x="94" y="364"/>
                    </a:cubicBezTo>
                    <a:lnTo>
                      <a:pt x="120" y="352"/>
                    </a:lnTo>
                    <a:cubicBezTo>
                      <a:pt x="127" y="348"/>
                      <a:pt x="139" y="349"/>
                      <a:pt x="146" y="352"/>
                    </a:cubicBezTo>
                    <a:cubicBezTo>
                      <a:pt x="152" y="354"/>
                      <a:pt x="157" y="355"/>
                      <a:pt x="163" y="357"/>
                    </a:cubicBezTo>
                    <a:cubicBezTo>
                      <a:pt x="170" y="359"/>
                      <a:pt x="180" y="366"/>
                      <a:pt x="184" y="373"/>
                    </a:cubicBezTo>
                    <a:lnTo>
                      <a:pt x="198" y="398"/>
                    </a:lnTo>
                    <a:cubicBezTo>
                      <a:pt x="202" y="405"/>
                      <a:pt x="211" y="410"/>
                      <a:pt x="219" y="410"/>
                    </a:cubicBezTo>
                    <a:cubicBezTo>
                      <a:pt x="228" y="409"/>
                      <a:pt x="237" y="407"/>
                      <a:pt x="246" y="405"/>
                    </a:cubicBezTo>
                    <a:cubicBezTo>
                      <a:pt x="255" y="404"/>
                      <a:pt x="263" y="401"/>
                      <a:pt x="271" y="399"/>
                    </a:cubicBezTo>
                    <a:cubicBezTo>
                      <a:pt x="279" y="396"/>
                      <a:pt x="285" y="387"/>
                      <a:pt x="286" y="379"/>
                    </a:cubicBezTo>
                    <a:lnTo>
                      <a:pt x="288" y="352"/>
                    </a:lnTo>
                    <a:cubicBezTo>
                      <a:pt x="289" y="343"/>
                      <a:pt x="294" y="334"/>
                      <a:pt x="299" y="330"/>
                    </a:cubicBezTo>
                    <a:cubicBezTo>
                      <a:pt x="303" y="327"/>
                      <a:pt x="306" y="324"/>
                      <a:pt x="309" y="322"/>
                    </a:cubicBezTo>
                    <a:cubicBezTo>
                      <a:pt x="312" y="319"/>
                      <a:pt x="315" y="316"/>
                      <a:pt x="317" y="314"/>
                    </a:cubicBezTo>
                    <a:cubicBezTo>
                      <a:pt x="322" y="309"/>
                      <a:pt x="331" y="305"/>
                      <a:pt x="340" y="305"/>
                    </a:cubicBezTo>
                    <a:lnTo>
                      <a:pt x="367" y="306"/>
                    </a:lnTo>
                    <a:cubicBezTo>
                      <a:pt x="370" y="306"/>
                      <a:pt x="373" y="305"/>
                      <a:pt x="375" y="304"/>
                    </a:cubicBezTo>
                    <a:lnTo>
                      <a:pt x="376" y="3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93" name="Freeform 92">
                <a:extLst>
                  <a:ext uri="{FF2B5EF4-FFF2-40B4-BE49-F238E27FC236}">
                    <a16:creationId xmlns:a16="http://schemas.microsoft.com/office/drawing/2014/main" id="{3CEF70F8-65A2-86B5-8BD6-531E7B38CDCF}"/>
                  </a:ext>
                </a:extLst>
              </p:cNvPr>
              <p:cNvSpPr>
                <a:spLocks noEditPoints="1"/>
              </p:cNvSpPr>
              <p:nvPr/>
            </p:nvSpPr>
            <p:spPr bwMode="auto">
              <a:xfrm>
                <a:off x="6764338" y="3989388"/>
                <a:ext cx="336550" cy="336550"/>
              </a:xfrm>
              <a:custGeom>
                <a:avLst/>
                <a:gdLst>
                  <a:gd name="T0" fmla="*/ 195 w 560"/>
                  <a:gd name="T1" fmla="*/ 355 h 560"/>
                  <a:gd name="T2" fmla="*/ 203 w 560"/>
                  <a:gd name="T3" fmla="*/ 194 h 560"/>
                  <a:gd name="T4" fmla="*/ 364 w 560"/>
                  <a:gd name="T5" fmla="*/ 202 h 560"/>
                  <a:gd name="T6" fmla="*/ 356 w 560"/>
                  <a:gd name="T7" fmla="*/ 364 h 560"/>
                  <a:gd name="T8" fmla="*/ 553 w 560"/>
                  <a:gd name="T9" fmla="*/ 328 h 560"/>
                  <a:gd name="T10" fmla="*/ 555 w 560"/>
                  <a:gd name="T11" fmla="*/ 325 h 560"/>
                  <a:gd name="T12" fmla="*/ 557 w 560"/>
                  <a:gd name="T13" fmla="*/ 320 h 560"/>
                  <a:gd name="T14" fmla="*/ 559 w 560"/>
                  <a:gd name="T15" fmla="*/ 267 h 560"/>
                  <a:gd name="T16" fmla="*/ 510 w 560"/>
                  <a:gd name="T17" fmla="*/ 236 h 560"/>
                  <a:gd name="T18" fmla="*/ 482 w 560"/>
                  <a:gd name="T19" fmla="*/ 188 h 560"/>
                  <a:gd name="T20" fmla="*/ 486 w 560"/>
                  <a:gd name="T21" fmla="*/ 167 h 560"/>
                  <a:gd name="T22" fmla="*/ 504 w 560"/>
                  <a:gd name="T23" fmla="*/ 113 h 560"/>
                  <a:gd name="T24" fmla="*/ 469 w 560"/>
                  <a:gd name="T25" fmla="*/ 73 h 560"/>
                  <a:gd name="T26" fmla="*/ 413 w 560"/>
                  <a:gd name="T27" fmla="*/ 85 h 560"/>
                  <a:gd name="T28" fmla="*/ 363 w 560"/>
                  <a:gd name="T29" fmla="*/ 73 h 560"/>
                  <a:gd name="T30" fmla="*/ 338 w 560"/>
                  <a:gd name="T31" fmla="*/ 20 h 560"/>
                  <a:gd name="T32" fmla="*/ 295 w 560"/>
                  <a:gd name="T33" fmla="*/ 0 h 560"/>
                  <a:gd name="T34" fmla="*/ 248 w 560"/>
                  <a:gd name="T35" fmla="*/ 16 h 560"/>
                  <a:gd name="T36" fmla="*/ 217 w 560"/>
                  <a:gd name="T37" fmla="*/ 65 h 560"/>
                  <a:gd name="T38" fmla="*/ 167 w 560"/>
                  <a:gd name="T39" fmla="*/ 73 h 560"/>
                  <a:gd name="T40" fmla="*/ 113 w 560"/>
                  <a:gd name="T41" fmla="*/ 55 h 560"/>
                  <a:gd name="T42" fmla="*/ 74 w 560"/>
                  <a:gd name="T43" fmla="*/ 90 h 560"/>
                  <a:gd name="T44" fmla="*/ 86 w 560"/>
                  <a:gd name="T45" fmla="*/ 147 h 560"/>
                  <a:gd name="T46" fmla="*/ 74 w 560"/>
                  <a:gd name="T47" fmla="*/ 196 h 560"/>
                  <a:gd name="T48" fmla="*/ 20 w 560"/>
                  <a:gd name="T49" fmla="*/ 221 h 560"/>
                  <a:gd name="T50" fmla="*/ 5 w 560"/>
                  <a:gd name="T51" fmla="*/ 234 h 560"/>
                  <a:gd name="T52" fmla="*/ 3 w 560"/>
                  <a:gd name="T53" fmla="*/ 239 h 560"/>
                  <a:gd name="T54" fmla="*/ 0 w 560"/>
                  <a:gd name="T55" fmla="*/ 266 h 560"/>
                  <a:gd name="T56" fmla="*/ 15 w 560"/>
                  <a:gd name="T57" fmla="*/ 311 h 560"/>
                  <a:gd name="T58" fmla="*/ 67 w 560"/>
                  <a:gd name="T59" fmla="*/ 342 h 560"/>
                  <a:gd name="T60" fmla="*/ 79 w 560"/>
                  <a:gd name="T61" fmla="*/ 374 h 560"/>
                  <a:gd name="T62" fmla="*/ 55 w 560"/>
                  <a:gd name="T63" fmla="*/ 422 h 560"/>
                  <a:gd name="T64" fmla="*/ 71 w 560"/>
                  <a:gd name="T65" fmla="*/ 466 h 560"/>
                  <a:gd name="T66" fmla="*/ 115 w 560"/>
                  <a:gd name="T67" fmla="*/ 489 h 560"/>
                  <a:gd name="T68" fmla="*/ 174 w 560"/>
                  <a:gd name="T69" fmla="*/ 474 h 560"/>
                  <a:gd name="T70" fmla="*/ 213 w 560"/>
                  <a:gd name="T71" fmla="*/ 503 h 560"/>
                  <a:gd name="T72" fmla="*/ 239 w 560"/>
                  <a:gd name="T73" fmla="*/ 556 h 560"/>
                  <a:gd name="T74" fmla="*/ 292 w 560"/>
                  <a:gd name="T75" fmla="*/ 559 h 560"/>
                  <a:gd name="T76" fmla="*/ 323 w 560"/>
                  <a:gd name="T77" fmla="*/ 509 h 560"/>
                  <a:gd name="T78" fmla="*/ 365 w 560"/>
                  <a:gd name="T79" fmla="*/ 484 h 560"/>
                  <a:gd name="T80" fmla="*/ 422 w 560"/>
                  <a:gd name="T81" fmla="*/ 505 h 560"/>
                  <a:gd name="T82" fmla="*/ 467 w 560"/>
                  <a:gd name="T83" fmla="*/ 488 h 560"/>
                  <a:gd name="T84" fmla="*/ 489 w 560"/>
                  <a:gd name="T85" fmla="*/ 444 h 560"/>
                  <a:gd name="T86" fmla="*/ 474 w 560"/>
                  <a:gd name="T87" fmla="*/ 385 h 560"/>
                  <a:gd name="T88" fmla="*/ 504 w 560"/>
                  <a:gd name="T89" fmla="*/ 346 h 560"/>
                  <a:gd name="T90" fmla="*/ 553 w 560"/>
                  <a:gd name="T91" fmla="*/ 32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0" h="560">
                    <a:moveTo>
                      <a:pt x="356" y="364"/>
                    </a:moveTo>
                    <a:cubicBezTo>
                      <a:pt x="309" y="406"/>
                      <a:pt x="237" y="402"/>
                      <a:pt x="195" y="355"/>
                    </a:cubicBezTo>
                    <a:cubicBezTo>
                      <a:pt x="186" y="346"/>
                      <a:pt x="180" y="336"/>
                      <a:pt x="175" y="325"/>
                    </a:cubicBezTo>
                    <a:cubicBezTo>
                      <a:pt x="155" y="280"/>
                      <a:pt x="166" y="227"/>
                      <a:pt x="203" y="194"/>
                    </a:cubicBezTo>
                    <a:cubicBezTo>
                      <a:pt x="226" y="173"/>
                      <a:pt x="255" y="163"/>
                      <a:pt x="285" y="164"/>
                    </a:cubicBezTo>
                    <a:cubicBezTo>
                      <a:pt x="316" y="166"/>
                      <a:pt x="344" y="179"/>
                      <a:pt x="364" y="202"/>
                    </a:cubicBezTo>
                    <a:cubicBezTo>
                      <a:pt x="372" y="211"/>
                      <a:pt x="379" y="221"/>
                      <a:pt x="384" y="232"/>
                    </a:cubicBezTo>
                    <a:cubicBezTo>
                      <a:pt x="404" y="277"/>
                      <a:pt x="393" y="330"/>
                      <a:pt x="356" y="364"/>
                    </a:cubicBezTo>
                    <a:close/>
                    <a:moveTo>
                      <a:pt x="553" y="328"/>
                    </a:moveTo>
                    <a:lnTo>
                      <a:pt x="553" y="328"/>
                    </a:lnTo>
                    <a:cubicBezTo>
                      <a:pt x="554" y="327"/>
                      <a:pt x="554" y="326"/>
                      <a:pt x="555" y="326"/>
                    </a:cubicBezTo>
                    <a:cubicBezTo>
                      <a:pt x="555" y="325"/>
                      <a:pt x="555" y="325"/>
                      <a:pt x="555" y="325"/>
                    </a:cubicBezTo>
                    <a:cubicBezTo>
                      <a:pt x="555" y="324"/>
                      <a:pt x="556" y="323"/>
                      <a:pt x="556" y="323"/>
                    </a:cubicBezTo>
                    <a:cubicBezTo>
                      <a:pt x="556" y="322"/>
                      <a:pt x="556" y="321"/>
                      <a:pt x="557" y="320"/>
                    </a:cubicBezTo>
                    <a:cubicBezTo>
                      <a:pt x="558" y="312"/>
                      <a:pt x="559" y="303"/>
                      <a:pt x="559" y="295"/>
                    </a:cubicBezTo>
                    <a:cubicBezTo>
                      <a:pt x="560" y="286"/>
                      <a:pt x="559" y="276"/>
                      <a:pt x="559" y="267"/>
                    </a:cubicBezTo>
                    <a:cubicBezTo>
                      <a:pt x="559" y="259"/>
                      <a:pt x="552" y="251"/>
                      <a:pt x="544" y="248"/>
                    </a:cubicBezTo>
                    <a:lnTo>
                      <a:pt x="510" y="236"/>
                    </a:lnTo>
                    <a:cubicBezTo>
                      <a:pt x="503" y="233"/>
                      <a:pt x="495" y="225"/>
                      <a:pt x="493" y="217"/>
                    </a:cubicBezTo>
                    <a:cubicBezTo>
                      <a:pt x="490" y="207"/>
                      <a:pt x="487" y="198"/>
                      <a:pt x="482" y="188"/>
                    </a:cubicBezTo>
                    <a:cubicBezTo>
                      <a:pt x="482" y="187"/>
                      <a:pt x="481" y="185"/>
                      <a:pt x="480" y="184"/>
                    </a:cubicBezTo>
                    <a:cubicBezTo>
                      <a:pt x="479" y="182"/>
                      <a:pt x="482" y="174"/>
                      <a:pt x="486" y="167"/>
                    </a:cubicBezTo>
                    <a:lnTo>
                      <a:pt x="504" y="137"/>
                    </a:lnTo>
                    <a:cubicBezTo>
                      <a:pt x="509" y="130"/>
                      <a:pt x="509" y="119"/>
                      <a:pt x="504" y="113"/>
                    </a:cubicBezTo>
                    <a:cubicBezTo>
                      <a:pt x="499" y="105"/>
                      <a:pt x="493" y="98"/>
                      <a:pt x="487" y="91"/>
                    </a:cubicBezTo>
                    <a:cubicBezTo>
                      <a:pt x="481" y="85"/>
                      <a:pt x="475" y="79"/>
                      <a:pt x="469" y="73"/>
                    </a:cubicBezTo>
                    <a:cubicBezTo>
                      <a:pt x="463" y="68"/>
                      <a:pt x="452" y="67"/>
                      <a:pt x="444" y="70"/>
                    </a:cubicBezTo>
                    <a:lnTo>
                      <a:pt x="413" y="85"/>
                    </a:lnTo>
                    <a:cubicBezTo>
                      <a:pt x="406" y="89"/>
                      <a:pt x="394" y="88"/>
                      <a:pt x="387" y="84"/>
                    </a:cubicBezTo>
                    <a:cubicBezTo>
                      <a:pt x="379" y="80"/>
                      <a:pt x="371" y="76"/>
                      <a:pt x="363" y="73"/>
                    </a:cubicBezTo>
                    <a:cubicBezTo>
                      <a:pt x="356" y="70"/>
                      <a:pt x="348" y="61"/>
                      <a:pt x="346" y="53"/>
                    </a:cubicBezTo>
                    <a:lnTo>
                      <a:pt x="338" y="20"/>
                    </a:lnTo>
                    <a:cubicBezTo>
                      <a:pt x="336" y="12"/>
                      <a:pt x="328" y="4"/>
                      <a:pt x="320" y="3"/>
                    </a:cubicBezTo>
                    <a:cubicBezTo>
                      <a:pt x="312" y="2"/>
                      <a:pt x="303" y="1"/>
                      <a:pt x="295" y="0"/>
                    </a:cubicBezTo>
                    <a:cubicBezTo>
                      <a:pt x="285" y="0"/>
                      <a:pt x="276" y="0"/>
                      <a:pt x="267" y="0"/>
                    </a:cubicBezTo>
                    <a:cubicBezTo>
                      <a:pt x="259" y="1"/>
                      <a:pt x="251" y="8"/>
                      <a:pt x="248" y="16"/>
                    </a:cubicBezTo>
                    <a:lnTo>
                      <a:pt x="236" y="48"/>
                    </a:lnTo>
                    <a:cubicBezTo>
                      <a:pt x="234" y="55"/>
                      <a:pt x="225" y="63"/>
                      <a:pt x="217" y="65"/>
                    </a:cubicBezTo>
                    <a:cubicBezTo>
                      <a:pt x="209" y="68"/>
                      <a:pt x="201" y="71"/>
                      <a:pt x="193" y="74"/>
                    </a:cubicBezTo>
                    <a:cubicBezTo>
                      <a:pt x="185" y="77"/>
                      <a:pt x="174" y="77"/>
                      <a:pt x="167" y="73"/>
                    </a:cubicBezTo>
                    <a:lnTo>
                      <a:pt x="137" y="55"/>
                    </a:lnTo>
                    <a:cubicBezTo>
                      <a:pt x="130" y="50"/>
                      <a:pt x="119" y="51"/>
                      <a:pt x="113" y="55"/>
                    </a:cubicBezTo>
                    <a:cubicBezTo>
                      <a:pt x="105" y="61"/>
                      <a:pt x="98" y="66"/>
                      <a:pt x="92" y="72"/>
                    </a:cubicBezTo>
                    <a:cubicBezTo>
                      <a:pt x="85" y="78"/>
                      <a:pt x="79" y="84"/>
                      <a:pt x="74" y="90"/>
                    </a:cubicBezTo>
                    <a:cubicBezTo>
                      <a:pt x="68" y="96"/>
                      <a:pt x="67" y="108"/>
                      <a:pt x="70" y="115"/>
                    </a:cubicBezTo>
                    <a:lnTo>
                      <a:pt x="86" y="147"/>
                    </a:lnTo>
                    <a:cubicBezTo>
                      <a:pt x="89" y="154"/>
                      <a:pt x="88" y="165"/>
                      <a:pt x="84" y="173"/>
                    </a:cubicBezTo>
                    <a:cubicBezTo>
                      <a:pt x="80" y="180"/>
                      <a:pt x="77" y="188"/>
                      <a:pt x="74" y="196"/>
                    </a:cubicBezTo>
                    <a:cubicBezTo>
                      <a:pt x="70" y="203"/>
                      <a:pt x="62" y="211"/>
                      <a:pt x="54" y="213"/>
                    </a:cubicBezTo>
                    <a:lnTo>
                      <a:pt x="20" y="221"/>
                    </a:lnTo>
                    <a:cubicBezTo>
                      <a:pt x="14" y="223"/>
                      <a:pt x="8" y="228"/>
                      <a:pt x="5" y="233"/>
                    </a:cubicBezTo>
                    <a:cubicBezTo>
                      <a:pt x="5" y="234"/>
                      <a:pt x="5" y="234"/>
                      <a:pt x="5" y="234"/>
                    </a:cubicBezTo>
                    <a:cubicBezTo>
                      <a:pt x="4" y="235"/>
                      <a:pt x="4" y="235"/>
                      <a:pt x="4" y="236"/>
                    </a:cubicBezTo>
                    <a:cubicBezTo>
                      <a:pt x="3" y="237"/>
                      <a:pt x="3" y="238"/>
                      <a:pt x="3" y="239"/>
                    </a:cubicBezTo>
                    <a:cubicBezTo>
                      <a:pt x="3" y="241"/>
                      <a:pt x="2" y="243"/>
                      <a:pt x="2" y="245"/>
                    </a:cubicBezTo>
                    <a:cubicBezTo>
                      <a:pt x="1" y="252"/>
                      <a:pt x="1" y="259"/>
                      <a:pt x="0" y="266"/>
                    </a:cubicBezTo>
                    <a:cubicBezTo>
                      <a:pt x="0" y="275"/>
                      <a:pt x="0" y="283"/>
                      <a:pt x="0" y="292"/>
                    </a:cubicBezTo>
                    <a:cubicBezTo>
                      <a:pt x="1" y="300"/>
                      <a:pt x="8" y="308"/>
                      <a:pt x="15" y="311"/>
                    </a:cubicBezTo>
                    <a:lnTo>
                      <a:pt x="49" y="323"/>
                    </a:lnTo>
                    <a:cubicBezTo>
                      <a:pt x="57" y="326"/>
                      <a:pt x="64" y="334"/>
                      <a:pt x="67" y="342"/>
                    </a:cubicBezTo>
                    <a:cubicBezTo>
                      <a:pt x="69" y="351"/>
                      <a:pt x="73" y="360"/>
                      <a:pt x="77" y="369"/>
                    </a:cubicBezTo>
                    <a:cubicBezTo>
                      <a:pt x="77" y="371"/>
                      <a:pt x="78" y="372"/>
                      <a:pt x="79" y="374"/>
                    </a:cubicBezTo>
                    <a:cubicBezTo>
                      <a:pt x="80" y="376"/>
                      <a:pt x="78" y="384"/>
                      <a:pt x="74" y="391"/>
                    </a:cubicBezTo>
                    <a:lnTo>
                      <a:pt x="55" y="422"/>
                    </a:lnTo>
                    <a:cubicBezTo>
                      <a:pt x="50" y="429"/>
                      <a:pt x="51" y="440"/>
                      <a:pt x="55" y="447"/>
                    </a:cubicBezTo>
                    <a:cubicBezTo>
                      <a:pt x="60" y="453"/>
                      <a:pt x="66" y="460"/>
                      <a:pt x="71" y="466"/>
                    </a:cubicBezTo>
                    <a:cubicBezTo>
                      <a:pt x="78" y="473"/>
                      <a:pt x="84" y="480"/>
                      <a:pt x="91" y="486"/>
                    </a:cubicBezTo>
                    <a:cubicBezTo>
                      <a:pt x="97" y="491"/>
                      <a:pt x="108" y="492"/>
                      <a:pt x="115" y="489"/>
                    </a:cubicBezTo>
                    <a:lnTo>
                      <a:pt x="148" y="473"/>
                    </a:lnTo>
                    <a:cubicBezTo>
                      <a:pt x="155" y="469"/>
                      <a:pt x="167" y="470"/>
                      <a:pt x="174" y="474"/>
                    </a:cubicBezTo>
                    <a:cubicBezTo>
                      <a:pt x="181" y="478"/>
                      <a:pt x="188" y="481"/>
                      <a:pt x="195" y="484"/>
                    </a:cubicBezTo>
                    <a:cubicBezTo>
                      <a:pt x="203" y="487"/>
                      <a:pt x="211" y="496"/>
                      <a:pt x="213" y="503"/>
                    </a:cubicBezTo>
                    <a:lnTo>
                      <a:pt x="221" y="539"/>
                    </a:lnTo>
                    <a:cubicBezTo>
                      <a:pt x="223" y="547"/>
                      <a:pt x="231" y="555"/>
                      <a:pt x="239" y="556"/>
                    </a:cubicBezTo>
                    <a:cubicBezTo>
                      <a:pt x="248" y="558"/>
                      <a:pt x="257" y="559"/>
                      <a:pt x="266" y="559"/>
                    </a:cubicBezTo>
                    <a:cubicBezTo>
                      <a:pt x="275" y="560"/>
                      <a:pt x="283" y="560"/>
                      <a:pt x="292" y="559"/>
                    </a:cubicBezTo>
                    <a:cubicBezTo>
                      <a:pt x="300" y="559"/>
                      <a:pt x="308" y="552"/>
                      <a:pt x="311" y="544"/>
                    </a:cubicBezTo>
                    <a:lnTo>
                      <a:pt x="323" y="509"/>
                    </a:lnTo>
                    <a:cubicBezTo>
                      <a:pt x="326" y="501"/>
                      <a:pt x="335" y="494"/>
                      <a:pt x="343" y="492"/>
                    </a:cubicBezTo>
                    <a:cubicBezTo>
                      <a:pt x="350" y="489"/>
                      <a:pt x="357" y="487"/>
                      <a:pt x="365" y="484"/>
                    </a:cubicBezTo>
                    <a:cubicBezTo>
                      <a:pt x="372" y="481"/>
                      <a:pt x="384" y="481"/>
                      <a:pt x="391" y="485"/>
                    </a:cubicBezTo>
                    <a:lnTo>
                      <a:pt x="422" y="505"/>
                    </a:lnTo>
                    <a:cubicBezTo>
                      <a:pt x="429" y="509"/>
                      <a:pt x="440" y="509"/>
                      <a:pt x="447" y="504"/>
                    </a:cubicBezTo>
                    <a:cubicBezTo>
                      <a:pt x="454" y="499"/>
                      <a:pt x="460" y="494"/>
                      <a:pt x="467" y="488"/>
                    </a:cubicBezTo>
                    <a:cubicBezTo>
                      <a:pt x="473" y="482"/>
                      <a:pt x="480" y="475"/>
                      <a:pt x="486" y="468"/>
                    </a:cubicBezTo>
                    <a:cubicBezTo>
                      <a:pt x="491" y="462"/>
                      <a:pt x="492" y="451"/>
                      <a:pt x="489" y="444"/>
                    </a:cubicBezTo>
                    <a:lnTo>
                      <a:pt x="473" y="411"/>
                    </a:lnTo>
                    <a:cubicBezTo>
                      <a:pt x="470" y="404"/>
                      <a:pt x="470" y="392"/>
                      <a:pt x="474" y="385"/>
                    </a:cubicBezTo>
                    <a:cubicBezTo>
                      <a:pt x="478" y="378"/>
                      <a:pt x="482" y="371"/>
                      <a:pt x="485" y="364"/>
                    </a:cubicBezTo>
                    <a:cubicBezTo>
                      <a:pt x="488" y="356"/>
                      <a:pt x="496" y="348"/>
                      <a:pt x="504" y="346"/>
                    </a:cubicBezTo>
                    <a:lnTo>
                      <a:pt x="540" y="338"/>
                    </a:lnTo>
                    <a:cubicBezTo>
                      <a:pt x="545" y="337"/>
                      <a:pt x="550" y="333"/>
                      <a:pt x="553" y="3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94" name="Freeform 93">
                <a:extLst>
                  <a:ext uri="{FF2B5EF4-FFF2-40B4-BE49-F238E27FC236}">
                    <a16:creationId xmlns:a16="http://schemas.microsoft.com/office/drawing/2014/main" id="{F1396B4F-9F1E-C219-4753-57AE9037F026}"/>
                  </a:ext>
                </a:extLst>
              </p:cNvPr>
              <p:cNvSpPr>
                <a:spLocks noEditPoints="1"/>
              </p:cNvSpPr>
              <p:nvPr/>
            </p:nvSpPr>
            <p:spPr bwMode="auto">
              <a:xfrm>
                <a:off x="7083425" y="4152900"/>
                <a:ext cx="242888" cy="246063"/>
              </a:xfrm>
              <a:custGeom>
                <a:avLst/>
                <a:gdLst>
                  <a:gd name="T0" fmla="*/ 197 w 405"/>
                  <a:gd name="T1" fmla="*/ 280 h 410"/>
                  <a:gd name="T2" fmla="*/ 133 w 405"/>
                  <a:gd name="T3" fmla="*/ 236 h 410"/>
                  <a:gd name="T4" fmla="*/ 256 w 405"/>
                  <a:gd name="T5" fmla="*/ 156 h 410"/>
                  <a:gd name="T6" fmla="*/ 251 w 405"/>
                  <a:gd name="T7" fmla="*/ 261 h 410"/>
                  <a:gd name="T8" fmla="*/ 370 w 405"/>
                  <a:gd name="T9" fmla="*/ 204 h 410"/>
                  <a:gd name="T10" fmla="*/ 353 w 405"/>
                  <a:gd name="T11" fmla="*/ 164 h 410"/>
                  <a:gd name="T12" fmla="*/ 371 w 405"/>
                  <a:gd name="T13" fmla="*/ 113 h 410"/>
                  <a:gd name="T14" fmla="*/ 353 w 405"/>
                  <a:gd name="T15" fmla="*/ 67 h 410"/>
                  <a:gd name="T16" fmla="*/ 311 w 405"/>
                  <a:gd name="T17" fmla="*/ 46 h 410"/>
                  <a:gd name="T18" fmla="*/ 258 w 405"/>
                  <a:gd name="T19" fmla="*/ 59 h 410"/>
                  <a:gd name="T20" fmla="*/ 220 w 405"/>
                  <a:gd name="T21" fmla="*/ 38 h 410"/>
                  <a:gd name="T22" fmla="*/ 185 w 405"/>
                  <a:gd name="T23" fmla="*/ 1 h 410"/>
                  <a:gd name="T24" fmla="*/ 134 w 405"/>
                  <a:gd name="T25" fmla="*/ 12 h 410"/>
                  <a:gd name="T26" fmla="*/ 117 w 405"/>
                  <a:gd name="T27" fmla="*/ 59 h 410"/>
                  <a:gd name="T28" fmla="*/ 95 w 405"/>
                  <a:gd name="T29" fmla="*/ 89 h 410"/>
                  <a:gd name="T30" fmla="*/ 65 w 405"/>
                  <a:gd name="T31" fmla="*/ 105 h 410"/>
                  <a:gd name="T32" fmla="*/ 29 w 405"/>
                  <a:gd name="T33" fmla="*/ 106 h 410"/>
                  <a:gd name="T34" fmla="*/ 22 w 405"/>
                  <a:gd name="T35" fmla="*/ 111 h 410"/>
                  <a:gd name="T36" fmla="*/ 19 w 405"/>
                  <a:gd name="T37" fmla="*/ 114 h 410"/>
                  <a:gd name="T38" fmla="*/ 17 w 405"/>
                  <a:gd name="T39" fmla="*/ 118 h 410"/>
                  <a:gd name="T40" fmla="*/ 0 w 405"/>
                  <a:gd name="T41" fmla="*/ 167 h 410"/>
                  <a:gd name="T42" fmla="*/ 0 w 405"/>
                  <a:gd name="T43" fmla="*/ 172 h 410"/>
                  <a:gd name="T44" fmla="*/ 0 w 405"/>
                  <a:gd name="T45" fmla="*/ 176 h 410"/>
                  <a:gd name="T46" fmla="*/ 1 w 405"/>
                  <a:gd name="T47" fmla="*/ 179 h 410"/>
                  <a:gd name="T48" fmla="*/ 31 w 405"/>
                  <a:gd name="T49" fmla="*/ 205 h 410"/>
                  <a:gd name="T50" fmla="*/ 49 w 405"/>
                  <a:gd name="T51" fmla="*/ 249 h 410"/>
                  <a:gd name="T52" fmla="*/ 33 w 405"/>
                  <a:gd name="T53" fmla="*/ 297 h 410"/>
                  <a:gd name="T54" fmla="*/ 49 w 405"/>
                  <a:gd name="T55" fmla="*/ 342 h 410"/>
                  <a:gd name="T56" fmla="*/ 93 w 405"/>
                  <a:gd name="T57" fmla="*/ 364 h 410"/>
                  <a:gd name="T58" fmla="*/ 143 w 405"/>
                  <a:gd name="T59" fmla="*/ 353 h 410"/>
                  <a:gd name="T60" fmla="*/ 185 w 405"/>
                  <a:gd name="T61" fmla="*/ 375 h 410"/>
                  <a:gd name="T62" fmla="*/ 219 w 405"/>
                  <a:gd name="T63" fmla="*/ 410 h 410"/>
                  <a:gd name="T64" fmla="*/ 270 w 405"/>
                  <a:gd name="T65" fmla="*/ 398 h 410"/>
                  <a:gd name="T66" fmla="*/ 287 w 405"/>
                  <a:gd name="T67" fmla="*/ 352 h 410"/>
                  <a:gd name="T68" fmla="*/ 307 w 405"/>
                  <a:gd name="T69" fmla="*/ 323 h 410"/>
                  <a:gd name="T70" fmla="*/ 339 w 405"/>
                  <a:gd name="T71" fmla="*/ 305 h 410"/>
                  <a:gd name="T72" fmla="*/ 382 w 405"/>
                  <a:gd name="T73" fmla="*/ 299 h 410"/>
                  <a:gd name="T74" fmla="*/ 384 w 405"/>
                  <a:gd name="T75" fmla="*/ 297 h 410"/>
                  <a:gd name="T76" fmla="*/ 386 w 405"/>
                  <a:gd name="T77" fmla="*/ 295 h 410"/>
                  <a:gd name="T78" fmla="*/ 396 w 405"/>
                  <a:gd name="T79" fmla="*/ 269 h 410"/>
                  <a:gd name="T80" fmla="*/ 394 w 405"/>
                  <a:gd name="T81" fmla="*/ 22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5" h="410">
                    <a:moveTo>
                      <a:pt x="251" y="261"/>
                    </a:moveTo>
                    <a:cubicBezTo>
                      <a:pt x="236" y="274"/>
                      <a:pt x="217" y="281"/>
                      <a:pt x="197" y="280"/>
                    </a:cubicBezTo>
                    <a:cubicBezTo>
                      <a:pt x="177" y="279"/>
                      <a:pt x="159" y="271"/>
                      <a:pt x="146" y="256"/>
                    </a:cubicBezTo>
                    <a:cubicBezTo>
                      <a:pt x="141" y="250"/>
                      <a:pt x="136" y="243"/>
                      <a:pt x="133" y="236"/>
                    </a:cubicBezTo>
                    <a:cubicBezTo>
                      <a:pt x="120" y="207"/>
                      <a:pt x="127" y="172"/>
                      <a:pt x="151" y="151"/>
                    </a:cubicBezTo>
                    <a:cubicBezTo>
                      <a:pt x="182" y="123"/>
                      <a:pt x="229" y="126"/>
                      <a:pt x="256" y="156"/>
                    </a:cubicBezTo>
                    <a:cubicBezTo>
                      <a:pt x="261" y="162"/>
                      <a:pt x="266" y="169"/>
                      <a:pt x="269" y="176"/>
                    </a:cubicBezTo>
                    <a:cubicBezTo>
                      <a:pt x="282" y="205"/>
                      <a:pt x="275" y="240"/>
                      <a:pt x="251" y="261"/>
                    </a:cubicBezTo>
                    <a:close/>
                    <a:moveTo>
                      <a:pt x="394" y="220"/>
                    </a:moveTo>
                    <a:lnTo>
                      <a:pt x="370" y="204"/>
                    </a:lnTo>
                    <a:cubicBezTo>
                      <a:pt x="364" y="199"/>
                      <a:pt x="358" y="189"/>
                      <a:pt x="357" y="181"/>
                    </a:cubicBezTo>
                    <a:cubicBezTo>
                      <a:pt x="356" y="175"/>
                      <a:pt x="355" y="170"/>
                      <a:pt x="353" y="164"/>
                    </a:cubicBezTo>
                    <a:cubicBezTo>
                      <a:pt x="351" y="156"/>
                      <a:pt x="352" y="145"/>
                      <a:pt x="356" y="138"/>
                    </a:cubicBezTo>
                    <a:lnTo>
                      <a:pt x="371" y="113"/>
                    </a:lnTo>
                    <a:cubicBezTo>
                      <a:pt x="375" y="106"/>
                      <a:pt x="375" y="95"/>
                      <a:pt x="370" y="89"/>
                    </a:cubicBezTo>
                    <a:cubicBezTo>
                      <a:pt x="365" y="81"/>
                      <a:pt x="359" y="74"/>
                      <a:pt x="353" y="67"/>
                    </a:cubicBezTo>
                    <a:cubicBezTo>
                      <a:pt x="347" y="61"/>
                      <a:pt x="341" y="55"/>
                      <a:pt x="335" y="49"/>
                    </a:cubicBezTo>
                    <a:cubicBezTo>
                      <a:pt x="329" y="44"/>
                      <a:pt x="318" y="43"/>
                      <a:pt x="311" y="46"/>
                    </a:cubicBezTo>
                    <a:lnTo>
                      <a:pt x="285" y="59"/>
                    </a:lnTo>
                    <a:cubicBezTo>
                      <a:pt x="277" y="62"/>
                      <a:pt x="266" y="62"/>
                      <a:pt x="258" y="59"/>
                    </a:cubicBezTo>
                    <a:cubicBezTo>
                      <a:pt x="253" y="57"/>
                      <a:pt x="247" y="55"/>
                      <a:pt x="242" y="54"/>
                    </a:cubicBezTo>
                    <a:cubicBezTo>
                      <a:pt x="234" y="52"/>
                      <a:pt x="224" y="45"/>
                      <a:pt x="220" y="38"/>
                    </a:cubicBezTo>
                    <a:lnTo>
                      <a:pt x="207" y="13"/>
                    </a:lnTo>
                    <a:cubicBezTo>
                      <a:pt x="203" y="6"/>
                      <a:pt x="193" y="0"/>
                      <a:pt x="185" y="1"/>
                    </a:cubicBezTo>
                    <a:cubicBezTo>
                      <a:pt x="176" y="2"/>
                      <a:pt x="167" y="3"/>
                      <a:pt x="158" y="5"/>
                    </a:cubicBezTo>
                    <a:cubicBezTo>
                      <a:pt x="150" y="7"/>
                      <a:pt x="142" y="9"/>
                      <a:pt x="134" y="12"/>
                    </a:cubicBezTo>
                    <a:cubicBezTo>
                      <a:pt x="126" y="14"/>
                      <a:pt x="119" y="23"/>
                      <a:pt x="119" y="31"/>
                    </a:cubicBezTo>
                    <a:lnTo>
                      <a:pt x="117" y="59"/>
                    </a:lnTo>
                    <a:cubicBezTo>
                      <a:pt x="116" y="67"/>
                      <a:pt x="111" y="77"/>
                      <a:pt x="105" y="81"/>
                    </a:cubicBezTo>
                    <a:cubicBezTo>
                      <a:pt x="102" y="83"/>
                      <a:pt x="99" y="86"/>
                      <a:pt x="95" y="89"/>
                    </a:cubicBezTo>
                    <a:cubicBezTo>
                      <a:pt x="93" y="92"/>
                      <a:pt x="90" y="94"/>
                      <a:pt x="87" y="97"/>
                    </a:cubicBezTo>
                    <a:cubicBezTo>
                      <a:pt x="83" y="102"/>
                      <a:pt x="73" y="105"/>
                      <a:pt x="65" y="105"/>
                    </a:cubicBezTo>
                    <a:lnTo>
                      <a:pt x="38" y="105"/>
                    </a:lnTo>
                    <a:cubicBezTo>
                      <a:pt x="35" y="105"/>
                      <a:pt x="32" y="105"/>
                      <a:pt x="29" y="106"/>
                    </a:cubicBezTo>
                    <a:lnTo>
                      <a:pt x="29" y="106"/>
                    </a:lnTo>
                    <a:cubicBezTo>
                      <a:pt x="26" y="107"/>
                      <a:pt x="24" y="109"/>
                      <a:pt x="22" y="111"/>
                    </a:cubicBezTo>
                    <a:cubicBezTo>
                      <a:pt x="22" y="111"/>
                      <a:pt x="22" y="111"/>
                      <a:pt x="21" y="111"/>
                    </a:cubicBezTo>
                    <a:cubicBezTo>
                      <a:pt x="21" y="112"/>
                      <a:pt x="20" y="113"/>
                      <a:pt x="19" y="114"/>
                    </a:cubicBezTo>
                    <a:cubicBezTo>
                      <a:pt x="19" y="114"/>
                      <a:pt x="19" y="114"/>
                      <a:pt x="19" y="114"/>
                    </a:cubicBezTo>
                    <a:cubicBezTo>
                      <a:pt x="18" y="115"/>
                      <a:pt x="17" y="116"/>
                      <a:pt x="17" y="118"/>
                    </a:cubicBezTo>
                    <a:cubicBezTo>
                      <a:pt x="13" y="126"/>
                      <a:pt x="10" y="134"/>
                      <a:pt x="7" y="143"/>
                    </a:cubicBezTo>
                    <a:cubicBezTo>
                      <a:pt x="4" y="151"/>
                      <a:pt x="2" y="159"/>
                      <a:pt x="0" y="167"/>
                    </a:cubicBezTo>
                    <a:cubicBezTo>
                      <a:pt x="0" y="168"/>
                      <a:pt x="0" y="169"/>
                      <a:pt x="0" y="170"/>
                    </a:cubicBezTo>
                    <a:cubicBezTo>
                      <a:pt x="0" y="171"/>
                      <a:pt x="0" y="171"/>
                      <a:pt x="0" y="172"/>
                    </a:cubicBezTo>
                    <a:cubicBezTo>
                      <a:pt x="0" y="172"/>
                      <a:pt x="0" y="173"/>
                      <a:pt x="0" y="173"/>
                    </a:cubicBezTo>
                    <a:cubicBezTo>
                      <a:pt x="0" y="174"/>
                      <a:pt x="0" y="175"/>
                      <a:pt x="0" y="176"/>
                    </a:cubicBezTo>
                    <a:cubicBezTo>
                      <a:pt x="0" y="176"/>
                      <a:pt x="0" y="176"/>
                      <a:pt x="0" y="176"/>
                    </a:cubicBezTo>
                    <a:cubicBezTo>
                      <a:pt x="1" y="177"/>
                      <a:pt x="1" y="178"/>
                      <a:pt x="1" y="179"/>
                    </a:cubicBezTo>
                    <a:cubicBezTo>
                      <a:pt x="3" y="183"/>
                      <a:pt x="6" y="188"/>
                      <a:pt x="10" y="190"/>
                    </a:cubicBezTo>
                    <a:lnTo>
                      <a:pt x="31" y="205"/>
                    </a:lnTo>
                    <a:cubicBezTo>
                      <a:pt x="38" y="210"/>
                      <a:pt x="44" y="220"/>
                      <a:pt x="45" y="228"/>
                    </a:cubicBezTo>
                    <a:cubicBezTo>
                      <a:pt x="46" y="235"/>
                      <a:pt x="47" y="242"/>
                      <a:pt x="49" y="249"/>
                    </a:cubicBezTo>
                    <a:cubicBezTo>
                      <a:pt x="52" y="256"/>
                      <a:pt x="51" y="268"/>
                      <a:pt x="46" y="275"/>
                    </a:cubicBezTo>
                    <a:lnTo>
                      <a:pt x="33" y="297"/>
                    </a:lnTo>
                    <a:cubicBezTo>
                      <a:pt x="28" y="304"/>
                      <a:pt x="29" y="316"/>
                      <a:pt x="33" y="322"/>
                    </a:cubicBezTo>
                    <a:cubicBezTo>
                      <a:pt x="38" y="329"/>
                      <a:pt x="44" y="335"/>
                      <a:pt x="49" y="342"/>
                    </a:cubicBezTo>
                    <a:cubicBezTo>
                      <a:pt x="56" y="349"/>
                      <a:pt x="62" y="355"/>
                      <a:pt x="69" y="361"/>
                    </a:cubicBezTo>
                    <a:cubicBezTo>
                      <a:pt x="75" y="366"/>
                      <a:pt x="86" y="368"/>
                      <a:pt x="93" y="364"/>
                    </a:cubicBezTo>
                    <a:lnTo>
                      <a:pt x="117" y="353"/>
                    </a:lnTo>
                    <a:cubicBezTo>
                      <a:pt x="124" y="349"/>
                      <a:pt x="136" y="350"/>
                      <a:pt x="143" y="353"/>
                    </a:cubicBezTo>
                    <a:cubicBezTo>
                      <a:pt x="150" y="355"/>
                      <a:pt x="156" y="357"/>
                      <a:pt x="163" y="359"/>
                    </a:cubicBezTo>
                    <a:cubicBezTo>
                      <a:pt x="171" y="361"/>
                      <a:pt x="181" y="368"/>
                      <a:pt x="185" y="375"/>
                    </a:cubicBezTo>
                    <a:lnTo>
                      <a:pt x="197" y="398"/>
                    </a:lnTo>
                    <a:cubicBezTo>
                      <a:pt x="201" y="405"/>
                      <a:pt x="211" y="410"/>
                      <a:pt x="219" y="410"/>
                    </a:cubicBezTo>
                    <a:cubicBezTo>
                      <a:pt x="227" y="409"/>
                      <a:pt x="235" y="407"/>
                      <a:pt x="244" y="406"/>
                    </a:cubicBezTo>
                    <a:cubicBezTo>
                      <a:pt x="253" y="404"/>
                      <a:pt x="262" y="401"/>
                      <a:pt x="270" y="398"/>
                    </a:cubicBezTo>
                    <a:cubicBezTo>
                      <a:pt x="278" y="396"/>
                      <a:pt x="284" y="387"/>
                      <a:pt x="285" y="379"/>
                    </a:cubicBezTo>
                    <a:lnTo>
                      <a:pt x="287" y="352"/>
                    </a:lnTo>
                    <a:cubicBezTo>
                      <a:pt x="288" y="344"/>
                      <a:pt x="293" y="334"/>
                      <a:pt x="298" y="330"/>
                    </a:cubicBezTo>
                    <a:cubicBezTo>
                      <a:pt x="301" y="328"/>
                      <a:pt x="304" y="326"/>
                      <a:pt x="307" y="323"/>
                    </a:cubicBezTo>
                    <a:cubicBezTo>
                      <a:pt x="310" y="320"/>
                      <a:pt x="313" y="317"/>
                      <a:pt x="316" y="314"/>
                    </a:cubicBezTo>
                    <a:cubicBezTo>
                      <a:pt x="321" y="309"/>
                      <a:pt x="331" y="305"/>
                      <a:pt x="339" y="305"/>
                    </a:cubicBezTo>
                    <a:lnTo>
                      <a:pt x="366" y="306"/>
                    </a:lnTo>
                    <a:cubicBezTo>
                      <a:pt x="372" y="306"/>
                      <a:pt x="378" y="303"/>
                      <a:pt x="382" y="299"/>
                    </a:cubicBezTo>
                    <a:cubicBezTo>
                      <a:pt x="383" y="299"/>
                      <a:pt x="383" y="299"/>
                      <a:pt x="383" y="298"/>
                    </a:cubicBezTo>
                    <a:cubicBezTo>
                      <a:pt x="384" y="298"/>
                      <a:pt x="384" y="298"/>
                      <a:pt x="384" y="297"/>
                    </a:cubicBezTo>
                    <a:cubicBezTo>
                      <a:pt x="385" y="297"/>
                      <a:pt x="385" y="296"/>
                      <a:pt x="385" y="296"/>
                    </a:cubicBezTo>
                    <a:cubicBezTo>
                      <a:pt x="386" y="296"/>
                      <a:pt x="386" y="295"/>
                      <a:pt x="386" y="295"/>
                    </a:cubicBezTo>
                    <a:cubicBezTo>
                      <a:pt x="386" y="294"/>
                      <a:pt x="387" y="293"/>
                      <a:pt x="387" y="293"/>
                    </a:cubicBezTo>
                    <a:cubicBezTo>
                      <a:pt x="391" y="285"/>
                      <a:pt x="394" y="277"/>
                      <a:pt x="396" y="269"/>
                    </a:cubicBezTo>
                    <a:cubicBezTo>
                      <a:pt x="399" y="260"/>
                      <a:pt x="401" y="251"/>
                      <a:pt x="403" y="243"/>
                    </a:cubicBezTo>
                    <a:cubicBezTo>
                      <a:pt x="405" y="235"/>
                      <a:pt x="400" y="224"/>
                      <a:pt x="394" y="2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5FD33E5C-5552-3D50-23F4-340961DA9CE5}"/>
                  </a:ext>
                </a:extLst>
              </p:cNvPr>
              <p:cNvSpPr>
                <a:spLocks/>
              </p:cNvSpPr>
              <p:nvPr/>
            </p:nvSpPr>
            <p:spPr bwMode="auto">
              <a:xfrm>
                <a:off x="6835775" y="3606800"/>
                <a:ext cx="261938" cy="368300"/>
              </a:xfrm>
              <a:custGeom>
                <a:avLst/>
                <a:gdLst>
                  <a:gd name="T0" fmla="*/ 24 w 437"/>
                  <a:gd name="T1" fmla="*/ 609 h 613"/>
                  <a:gd name="T2" fmla="*/ 58 w 437"/>
                  <a:gd name="T3" fmla="*/ 602 h 613"/>
                  <a:gd name="T4" fmla="*/ 139 w 437"/>
                  <a:gd name="T5" fmla="*/ 517 h 613"/>
                  <a:gd name="T6" fmla="*/ 148 w 437"/>
                  <a:gd name="T7" fmla="*/ 501 h 613"/>
                  <a:gd name="T8" fmla="*/ 163 w 437"/>
                  <a:gd name="T9" fmla="*/ 417 h 613"/>
                  <a:gd name="T10" fmla="*/ 163 w 437"/>
                  <a:gd name="T11" fmla="*/ 417 h 613"/>
                  <a:gd name="T12" fmla="*/ 218 w 437"/>
                  <a:gd name="T13" fmla="*/ 452 h 613"/>
                  <a:gd name="T14" fmla="*/ 221 w 437"/>
                  <a:gd name="T15" fmla="*/ 454 h 613"/>
                  <a:gd name="T16" fmla="*/ 243 w 437"/>
                  <a:gd name="T17" fmla="*/ 551 h 613"/>
                  <a:gd name="T18" fmla="*/ 244 w 437"/>
                  <a:gd name="T19" fmla="*/ 552 h 613"/>
                  <a:gd name="T20" fmla="*/ 282 w 437"/>
                  <a:gd name="T21" fmla="*/ 577 h 613"/>
                  <a:gd name="T22" fmla="*/ 306 w 437"/>
                  <a:gd name="T23" fmla="*/ 542 h 613"/>
                  <a:gd name="T24" fmla="*/ 306 w 437"/>
                  <a:gd name="T25" fmla="*/ 538 h 613"/>
                  <a:gd name="T26" fmla="*/ 280 w 437"/>
                  <a:gd name="T27" fmla="*/ 427 h 613"/>
                  <a:gd name="T28" fmla="*/ 266 w 437"/>
                  <a:gd name="T29" fmla="*/ 407 h 613"/>
                  <a:gd name="T30" fmla="*/ 207 w 437"/>
                  <a:gd name="T31" fmla="*/ 369 h 613"/>
                  <a:gd name="T32" fmla="*/ 194 w 437"/>
                  <a:gd name="T33" fmla="*/ 361 h 613"/>
                  <a:gd name="T34" fmla="*/ 201 w 437"/>
                  <a:gd name="T35" fmla="*/ 327 h 613"/>
                  <a:gd name="T36" fmla="*/ 221 w 437"/>
                  <a:gd name="T37" fmla="*/ 220 h 613"/>
                  <a:gd name="T38" fmla="*/ 314 w 437"/>
                  <a:gd name="T39" fmla="*/ 247 h 613"/>
                  <a:gd name="T40" fmla="*/ 414 w 437"/>
                  <a:gd name="T41" fmla="*/ 213 h 613"/>
                  <a:gd name="T42" fmla="*/ 416 w 437"/>
                  <a:gd name="T43" fmla="*/ 212 h 613"/>
                  <a:gd name="T44" fmla="*/ 432 w 437"/>
                  <a:gd name="T45" fmla="*/ 176 h 613"/>
                  <a:gd name="T46" fmla="*/ 395 w 437"/>
                  <a:gd name="T47" fmla="*/ 158 h 613"/>
                  <a:gd name="T48" fmla="*/ 313 w 437"/>
                  <a:gd name="T49" fmla="*/ 186 h 613"/>
                  <a:gd name="T50" fmla="*/ 231 w 437"/>
                  <a:gd name="T51" fmla="*/ 162 h 613"/>
                  <a:gd name="T52" fmla="*/ 217 w 437"/>
                  <a:gd name="T53" fmla="*/ 131 h 613"/>
                  <a:gd name="T54" fmla="*/ 264 w 437"/>
                  <a:gd name="T55" fmla="*/ 81 h 613"/>
                  <a:gd name="T56" fmla="*/ 263 w 437"/>
                  <a:gd name="T57" fmla="*/ 54 h 613"/>
                  <a:gd name="T58" fmla="*/ 213 w 437"/>
                  <a:gd name="T59" fmla="*/ 7 h 613"/>
                  <a:gd name="T60" fmla="*/ 138 w 437"/>
                  <a:gd name="T61" fmla="*/ 57 h 613"/>
                  <a:gd name="T62" fmla="*/ 159 w 437"/>
                  <a:gd name="T63" fmla="*/ 117 h 613"/>
                  <a:gd name="T64" fmla="*/ 127 w 437"/>
                  <a:gd name="T65" fmla="*/ 156 h 613"/>
                  <a:gd name="T66" fmla="*/ 127 w 437"/>
                  <a:gd name="T67" fmla="*/ 157 h 613"/>
                  <a:gd name="T68" fmla="*/ 35 w 437"/>
                  <a:gd name="T69" fmla="*/ 213 h 613"/>
                  <a:gd name="T70" fmla="*/ 15 w 437"/>
                  <a:gd name="T71" fmla="*/ 317 h 613"/>
                  <a:gd name="T72" fmla="*/ 34 w 437"/>
                  <a:gd name="T73" fmla="*/ 349 h 613"/>
                  <a:gd name="T74" fmla="*/ 38 w 437"/>
                  <a:gd name="T75" fmla="*/ 351 h 613"/>
                  <a:gd name="T76" fmla="*/ 72 w 437"/>
                  <a:gd name="T77" fmla="*/ 328 h 613"/>
                  <a:gd name="T78" fmla="*/ 87 w 437"/>
                  <a:gd name="T79" fmla="*/ 249 h 613"/>
                  <a:gd name="T80" fmla="*/ 112 w 437"/>
                  <a:gd name="T81" fmla="*/ 234 h 613"/>
                  <a:gd name="T82" fmla="*/ 88 w 437"/>
                  <a:gd name="T83" fmla="*/ 361 h 613"/>
                  <a:gd name="T84" fmla="*/ 100 w 437"/>
                  <a:gd name="T85" fmla="*/ 406 h 613"/>
                  <a:gd name="T86" fmla="*/ 87 w 437"/>
                  <a:gd name="T87" fmla="*/ 480 h 613"/>
                  <a:gd name="T88" fmla="*/ 12 w 437"/>
                  <a:gd name="T89" fmla="*/ 557 h 613"/>
                  <a:gd name="T90" fmla="*/ 13 w 437"/>
                  <a:gd name="T91" fmla="*/ 602 h 613"/>
                  <a:gd name="T92" fmla="*/ 24 w 437"/>
                  <a:gd name="T93" fmla="*/ 60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7" h="613">
                    <a:moveTo>
                      <a:pt x="24" y="609"/>
                    </a:moveTo>
                    <a:cubicBezTo>
                      <a:pt x="35" y="613"/>
                      <a:pt x="49" y="611"/>
                      <a:pt x="58" y="602"/>
                    </a:cubicBezTo>
                    <a:lnTo>
                      <a:pt x="139" y="517"/>
                    </a:lnTo>
                    <a:cubicBezTo>
                      <a:pt x="144" y="513"/>
                      <a:pt x="147" y="507"/>
                      <a:pt x="148" y="501"/>
                    </a:cubicBezTo>
                    <a:lnTo>
                      <a:pt x="163" y="417"/>
                    </a:lnTo>
                    <a:cubicBezTo>
                      <a:pt x="163" y="417"/>
                      <a:pt x="163" y="417"/>
                      <a:pt x="163" y="417"/>
                    </a:cubicBezTo>
                    <a:lnTo>
                      <a:pt x="218" y="452"/>
                    </a:lnTo>
                    <a:lnTo>
                      <a:pt x="221" y="454"/>
                    </a:lnTo>
                    <a:lnTo>
                      <a:pt x="243" y="551"/>
                    </a:lnTo>
                    <a:lnTo>
                      <a:pt x="244" y="552"/>
                    </a:lnTo>
                    <a:cubicBezTo>
                      <a:pt x="248" y="570"/>
                      <a:pt x="265" y="580"/>
                      <a:pt x="282" y="577"/>
                    </a:cubicBezTo>
                    <a:cubicBezTo>
                      <a:pt x="298" y="573"/>
                      <a:pt x="308" y="558"/>
                      <a:pt x="306" y="542"/>
                    </a:cubicBezTo>
                    <a:cubicBezTo>
                      <a:pt x="306" y="541"/>
                      <a:pt x="306" y="539"/>
                      <a:pt x="306" y="538"/>
                    </a:cubicBezTo>
                    <a:lnTo>
                      <a:pt x="280" y="427"/>
                    </a:lnTo>
                    <a:cubicBezTo>
                      <a:pt x="279" y="419"/>
                      <a:pt x="274" y="412"/>
                      <a:pt x="266" y="407"/>
                    </a:cubicBezTo>
                    <a:lnTo>
                      <a:pt x="207" y="369"/>
                    </a:lnTo>
                    <a:lnTo>
                      <a:pt x="194" y="361"/>
                    </a:lnTo>
                    <a:lnTo>
                      <a:pt x="201" y="327"/>
                    </a:lnTo>
                    <a:lnTo>
                      <a:pt x="221" y="220"/>
                    </a:lnTo>
                    <a:lnTo>
                      <a:pt x="314" y="247"/>
                    </a:lnTo>
                    <a:lnTo>
                      <a:pt x="414" y="213"/>
                    </a:lnTo>
                    <a:cubicBezTo>
                      <a:pt x="415" y="213"/>
                      <a:pt x="415" y="213"/>
                      <a:pt x="416" y="212"/>
                    </a:cubicBezTo>
                    <a:cubicBezTo>
                      <a:pt x="430" y="206"/>
                      <a:pt x="437" y="191"/>
                      <a:pt x="432" y="176"/>
                    </a:cubicBezTo>
                    <a:cubicBezTo>
                      <a:pt x="427" y="161"/>
                      <a:pt x="411" y="153"/>
                      <a:pt x="395" y="158"/>
                    </a:cubicBezTo>
                    <a:lnTo>
                      <a:pt x="313" y="186"/>
                    </a:lnTo>
                    <a:lnTo>
                      <a:pt x="231" y="162"/>
                    </a:lnTo>
                    <a:cubicBezTo>
                      <a:pt x="230" y="150"/>
                      <a:pt x="225" y="139"/>
                      <a:pt x="217" y="131"/>
                    </a:cubicBezTo>
                    <a:cubicBezTo>
                      <a:pt x="240" y="125"/>
                      <a:pt x="259" y="106"/>
                      <a:pt x="264" y="81"/>
                    </a:cubicBezTo>
                    <a:cubicBezTo>
                      <a:pt x="265" y="72"/>
                      <a:pt x="265" y="63"/>
                      <a:pt x="263" y="54"/>
                    </a:cubicBezTo>
                    <a:cubicBezTo>
                      <a:pt x="257" y="31"/>
                      <a:pt x="238" y="11"/>
                      <a:pt x="213" y="7"/>
                    </a:cubicBezTo>
                    <a:cubicBezTo>
                      <a:pt x="178" y="0"/>
                      <a:pt x="145" y="22"/>
                      <a:pt x="138" y="57"/>
                    </a:cubicBezTo>
                    <a:cubicBezTo>
                      <a:pt x="134" y="80"/>
                      <a:pt x="143" y="103"/>
                      <a:pt x="159" y="117"/>
                    </a:cubicBezTo>
                    <a:cubicBezTo>
                      <a:pt x="143" y="124"/>
                      <a:pt x="131" y="138"/>
                      <a:pt x="127" y="156"/>
                    </a:cubicBezTo>
                    <a:lnTo>
                      <a:pt x="127" y="157"/>
                    </a:lnTo>
                    <a:lnTo>
                      <a:pt x="35" y="213"/>
                    </a:lnTo>
                    <a:lnTo>
                      <a:pt x="15" y="317"/>
                    </a:lnTo>
                    <a:cubicBezTo>
                      <a:pt x="12" y="331"/>
                      <a:pt x="20" y="345"/>
                      <a:pt x="34" y="349"/>
                    </a:cubicBezTo>
                    <a:cubicBezTo>
                      <a:pt x="35" y="350"/>
                      <a:pt x="37" y="350"/>
                      <a:pt x="38" y="351"/>
                    </a:cubicBezTo>
                    <a:cubicBezTo>
                      <a:pt x="54" y="354"/>
                      <a:pt x="69" y="343"/>
                      <a:pt x="72" y="328"/>
                    </a:cubicBezTo>
                    <a:lnTo>
                      <a:pt x="87" y="249"/>
                    </a:lnTo>
                    <a:lnTo>
                      <a:pt x="112" y="234"/>
                    </a:lnTo>
                    <a:lnTo>
                      <a:pt x="88" y="361"/>
                    </a:lnTo>
                    <a:cubicBezTo>
                      <a:pt x="85" y="378"/>
                      <a:pt x="90" y="394"/>
                      <a:pt x="100" y="406"/>
                    </a:cubicBezTo>
                    <a:lnTo>
                      <a:pt x="87" y="480"/>
                    </a:lnTo>
                    <a:lnTo>
                      <a:pt x="12" y="557"/>
                    </a:lnTo>
                    <a:cubicBezTo>
                      <a:pt x="0" y="570"/>
                      <a:pt x="0" y="590"/>
                      <a:pt x="13" y="602"/>
                    </a:cubicBezTo>
                    <a:cubicBezTo>
                      <a:pt x="16" y="605"/>
                      <a:pt x="20" y="608"/>
                      <a:pt x="24" y="6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96" name="Freeform 95">
                <a:extLst>
                  <a:ext uri="{FF2B5EF4-FFF2-40B4-BE49-F238E27FC236}">
                    <a16:creationId xmlns:a16="http://schemas.microsoft.com/office/drawing/2014/main" id="{AEA27698-9223-82E1-0CF3-1B4DD280C2DF}"/>
                  </a:ext>
                </a:extLst>
              </p:cNvPr>
              <p:cNvSpPr>
                <a:spLocks/>
              </p:cNvSpPr>
              <p:nvPr/>
            </p:nvSpPr>
            <p:spPr bwMode="auto">
              <a:xfrm>
                <a:off x="6535738" y="3784600"/>
                <a:ext cx="261938" cy="369888"/>
              </a:xfrm>
              <a:custGeom>
                <a:avLst/>
                <a:gdLst>
                  <a:gd name="T0" fmla="*/ 24 w 437"/>
                  <a:gd name="T1" fmla="*/ 609 h 614"/>
                  <a:gd name="T2" fmla="*/ 58 w 437"/>
                  <a:gd name="T3" fmla="*/ 602 h 614"/>
                  <a:gd name="T4" fmla="*/ 139 w 437"/>
                  <a:gd name="T5" fmla="*/ 518 h 614"/>
                  <a:gd name="T6" fmla="*/ 148 w 437"/>
                  <a:gd name="T7" fmla="*/ 501 h 614"/>
                  <a:gd name="T8" fmla="*/ 163 w 437"/>
                  <a:gd name="T9" fmla="*/ 418 h 614"/>
                  <a:gd name="T10" fmla="*/ 163 w 437"/>
                  <a:gd name="T11" fmla="*/ 417 h 614"/>
                  <a:gd name="T12" fmla="*/ 218 w 437"/>
                  <a:gd name="T13" fmla="*/ 452 h 614"/>
                  <a:gd name="T14" fmla="*/ 221 w 437"/>
                  <a:gd name="T15" fmla="*/ 454 h 614"/>
                  <a:gd name="T16" fmla="*/ 243 w 437"/>
                  <a:gd name="T17" fmla="*/ 551 h 614"/>
                  <a:gd name="T18" fmla="*/ 244 w 437"/>
                  <a:gd name="T19" fmla="*/ 553 h 614"/>
                  <a:gd name="T20" fmla="*/ 282 w 437"/>
                  <a:gd name="T21" fmla="*/ 577 h 614"/>
                  <a:gd name="T22" fmla="*/ 306 w 437"/>
                  <a:gd name="T23" fmla="*/ 542 h 614"/>
                  <a:gd name="T24" fmla="*/ 306 w 437"/>
                  <a:gd name="T25" fmla="*/ 538 h 614"/>
                  <a:gd name="T26" fmla="*/ 280 w 437"/>
                  <a:gd name="T27" fmla="*/ 427 h 614"/>
                  <a:gd name="T28" fmla="*/ 266 w 437"/>
                  <a:gd name="T29" fmla="*/ 407 h 614"/>
                  <a:gd name="T30" fmla="*/ 206 w 437"/>
                  <a:gd name="T31" fmla="*/ 369 h 614"/>
                  <a:gd name="T32" fmla="*/ 194 w 437"/>
                  <a:gd name="T33" fmla="*/ 361 h 614"/>
                  <a:gd name="T34" fmla="*/ 201 w 437"/>
                  <a:gd name="T35" fmla="*/ 328 h 614"/>
                  <a:gd name="T36" fmla="*/ 221 w 437"/>
                  <a:gd name="T37" fmla="*/ 220 h 614"/>
                  <a:gd name="T38" fmla="*/ 314 w 437"/>
                  <a:gd name="T39" fmla="*/ 247 h 614"/>
                  <a:gd name="T40" fmla="*/ 414 w 437"/>
                  <a:gd name="T41" fmla="*/ 213 h 614"/>
                  <a:gd name="T42" fmla="*/ 416 w 437"/>
                  <a:gd name="T43" fmla="*/ 213 h 614"/>
                  <a:gd name="T44" fmla="*/ 432 w 437"/>
                  <a:gd name="T45" fmla="*/ 177 h 614"/>
                  <a:gd name="T46" fmla="*/ 395 w 437"/>
                  <a:gd name="T47" fmla="*/ 158 h 614"/>
                  <a:gd name="T48" fmla="*/ 313 w 437"/>
                  <a:gd name="T49" fmla="*/ 186 h 614"/>
                  <a:gd name="T50" fmla="*/ 231 w 437"/>
                  <a:gd name="T51" fmla="*/ 162 h 614"/>
                  <a:gd name="T52" fmla="*/ 217 w 437"/>
                  <a:gd name="T53" fmla="*/ 131 h 614"/>
                  <a:gd name="T54" fmla="*/ 263 w 437"/>
                  <a:gd name="T55" fmla="*/ 81 h 614"/>
                  <a:gd name="T56" fmla="*/ 263 w 437"/>
                  <a:gd name="T57" fmla="*/ 54 h 614"/>
                  <a:gd name="T58" fmla="*/ 213 w 437"/>
                  <a:gd name="T59" fmla="*/ 7 h 614"/>
                  <a:gd name="T60" fmla="*/ 138 w 437"/>
                  <a:gd name="T61" fmla="*/ 57 h 614"/>
                  <a:gd name="T62" fmla="*/ 159 w 437"/>
                  <a:gd name="T63" fmla="*/ 118 h 614"/>
                  <a:gd name="T64" fmla="*/ 127 w 437"/>
                  <a:gd name="T65" fmla="*/ 156 h 614"/>
                  <a:gd name="T66" fmla="*/ 127 w 437"/>
                  <a:gd name="T67" fmla="*/ 157 h 614"/>
                  <a:gd name="T68" fmla="*/ 35 w 437"/>
                  <a:gd name="T69" fmla="*/ 213 h 614"/>
                  <a:gd name="T70" fmla="*/ 15 w 437"/>
                  <a:gd name="T71" fmla="*/ 317 h 614"/>
                  <a:gd name="T72" fmla="*/ 33 w 437"/>
                  <a:gd name="T73" fmla="*/ 350 h 614"/>
                  <a:gd name="T74" fmla="*/ 38 w 437"/>
                  <a:gd name="T75" fmla="*/ 351 h 614"/>
                  <a:gd name="T76" fmla="*/ 72 w 437"/>
                  <a:gd name="T77" fmla="*/ 328 h 614"/>
                  <a:gd name="T78" fmla="*/ 87 w 437"/>
                  <a:gd name="T79" fmla="*/ 249 h 614"/>
                  <a:gd name="T80" fmla="*/ 112 w 437"/>
                  <a:gd name="T81" fmla="*/ 234 h 614"/>
                  <a:gd name="T82" fmla="*/ 88 w 437"/>
                  <a:gd name="T83" fmla="*/ 361 h 614"/>
                  <a:gd name="T84" fmla="*/ 100 w 437"/>
                  <a:gd name="T85" fmla="*/ 406 h 614"/>
                  <a:gd name="T86" fmla="*/ 87 w 437"/>
                  <a:gd name="T87" fmla="*/ 480 h 614"/>
                  <a:gd name="T88" fmla="*/ 12 w 437"/>
                  <a:gd name="T89" fmla="*/ 557 h 614"/>
                  <a:gd name="T90" fmla="*/ 12 w 437"/>
                  <a:gd name="T91" fmla="*/ 602 h 614"/>
                  <a:gd name="T92" fmla="*/ 24 w 437"/>
                  <a:gd name="T93" fmla="*/ 609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7" h="614">
                    <a:moveTo>
                      <a:pt x="24" y="609"/>
                    </a:moveTo>
                    <a:cubicBezTo>
                      <a:pt x="35" y="614"/>
                      <a:pt x="49" y="611"/>
                      <a:pt x="58" y="602"/>
                    </a:cubicBezTo>
                    <a:lnTo>
                      <a:pt x="139" y="518"/>
                    </a:lnTo>
                    <a:cubicBezTo>
                      <a:pt x="144" y="513"/>
                      <a:pt x="147" y="507"/>
                      <a:pt x="148" y="501"/>
                    </a:cubicBezTo>
                    <a:lnTo>
                      <a:pt x="163" y="418"/>
                    </a:lnTo>
                    <a:cubicBezTo>
                      <a:pt x="163" y="418"/>
                      <a:pt x="163" y="417"/>
                      <a:pt x="163" y="417"/>
                    </a:cubicBezTo>
                    <a:lnTo>
                      <a:pt x="218" y="452"/>
                    </a:lnTo>
                    <a:lnTo>
                      <a:pt x="221" y="454"/>
                    </a:lnTo>
                    <a:lnTo>
                      <a:pt x="243" y="551"/>
                    </a:lnTo>
                    <a:lnTo>
                      <a:pt x="244" y="553"/>
                    </a:lnTo>
                    <a:cubicBezTo>
                      <a:pt x="247" y="570"/>
                      <a:pt x="265" y="581"/>
                      <a:pt x="282" y="577"/>
                    </a:cubicBezTo>
                    <a:cubicBezTo>
                      <a:pt x="298" y="573"/>
                      <a:pt x="308" y="558"/>
                      <a:pt x="306" y="542"/>
                    </a:cubicBezTo>
                    <a:cubicBezTo>
                      <a:pt x="306" y="541"/>
                      <a:pt x="306" y="540"/>
                      <a:pt x="306" y="538"/>
                    </a:cubicBezTo>
                    <a:lnTo>
                      <a:pt x="280" y="427"/>
                    </a:lnTo>
                    <a:cubicBezTo>
                      <a:pt x="278" y="419"/>
                      <a:pt x="273" y="412"/>
                      <a:pt x="266" y="407"/>
                    </a:cubicBezTo>
                    <a:lnTo>
                      <a:pt x="206" y="369"/>
                    </a:lnTo>
                    <a:lnTo>
                      <a:pt x="194" y="361"/>
                    </a:lnTo>
                    <a:lnTo>
                      <a:pt x="201" y="328"/>
                    </a:lnTo>
                    <a:lnTo>
                      <a:pt x="221" y="220"/>
                    </a:lnTo>
                    <a:lnTo>
                      <a:pt x="314" y="247"/>
                    </a:lnTo>
                    <a:lnTo>
                      <a:pt x="414" y="213"/>
                    </a:lnTo>
                    <a:cubicBezTo>
                      <a:pt x="415" y="213"/>
                      <a:pt x="415" y="213"/>
                      <a:pt x="416" y="213"/>
                    </a:cubicBezTo>
                    <a:cubicBezTo>
                      <a:pt x="430" y="207"/>
                      <a:pt x="437" y="191"/>
                      <a:pt x="432" y="177"/>
                    </a:cubicBezTo>
                    <a:cubicBezTo>
                      <a:pt x="427" y="161"/>
                      <a:pt x="411" y="153"/>
                      <a:pt x="395" y="158"/>
                    </a:cubicBezTo>
                    <a:lnTo>
                      <a:pt x="313" y="186"/>
                    </a:lnTo>
                    <a:lnTo>
                      <a:pt x="231" y="162"/>
                    </a:lnTo>
                    <a:cubicBezTo>
                      <a:pt x="230" y="151"/>
                      <a:pt x="225" y="140"/>
                      <a:pt x="217" y="131"/>
                    </a:cubicBezTo>
                    <a:cubicBezTo>
                      <a:pt x="240" y="125"/>
                      <a:pt x="259" y="106"/>
                      <a:pt x="263" y="81"/>
                    </a:cubicBezTo>
                    <a:cubicBezTo>
                      <a:pt x="265" y="72"/>
                      <a:pt x="265" y="63"/>
                      <a:pt x="263" y="54"/>
                    </a:cubicBezTo>
                    <a:cubicBezTo>
                      <a:pt x="257" y="31"/>
                      <a:pt x="238" y="12"/>
                      <a:pt x="213" y="7"/>
                    </a:cubicBezTo>
                    <a:cubicBezTo>
                      <a:pt x="178" y="0"/>
                      <a:pt x="145" y="23"/>
                      <a:pt x="138" y="57"/>
                    </a:cubicBezTo>
                    <a:cubicBezTo>
                      <a:pt x="134" y="81"/>
                      <a:pt x="143" y="103"/>
                      <a:pt x="159" y="118"/>
                    </a:cubicBezTo>
                    <a:cubicBezTo>
                      <a:pt x="143" y="124"/>
                      <a:pt x="131" y="138"/>
                      <a:pt x="127" y="156"/>
                    </a:cubicBezTo>
                    <a:lnTo>
                      <a:pt x="127" y="157"/>
                    </a:lnTo>
                    <a:lnTo>
                      <a:pt x="35" y="213"/>
                    </a:lnTo>
                    <a:lnTo>
                      <a:pt x="15" y="317"/>
                    </a:lnTo>
                    <a:cubicBezTo>
                      <a:pt x="12" y="331"/>
                      <a:pt x="20" y="345"/>
                      <a:pt x="33" y="350"/>
                    </a:cubicBezTo>
                    <a:cubicBezTo>
                      <a:pt x="35" y="350"/>
                      <a:pt x="36" y="350"/>
                      <a:pt x="38" y="351"/>
                    </a:cubicBezTo>
                    <a:cubicBezTo>
                      <a:pt x="54" y="354"/>
                      <a:pt x="69" y="343"/>
                      <a:pt x="72" y="328"/>
                    </a:cubicBezTo>
                    <a:lnTo>
                      <a:pt x="87" y="249"/>
                    </a:lnTo>
                    <a:lnTo>
                      <a:pt x="112" y="234"/>
                    </a:lnTo>
                    <a:lnTo>
                      <a:pt x="88" y="361"/>
                    </a:lnTo>
                    <a:cubicBezTo>
                      <a:pt x="85" y="378"/>
                      <a:pt x="90" y="394"/>
                      <a:pt x="100" y="406"/>
                    </a:cubicBezTo>
                    <a:lnTo>
                      <a:pt x="87" y="480"/>
                    </a:lnTo>
                    <a:lnTo>
                      <a:pt x="12" y="557"/>
                    </a:lnTo>
                    <a:cubicBezTo>
                      <a:pt x="0" y="570"/>
                      <a:pt x="0" y="590"/>
                      <a:pt x="12" y="602"/>
                    </a:cubicBezTo>
                    <a:cubicBezTo>
                      <a:pt x="16" y="606"/>
                      <a:pt x="20" y="608"/>
                      <a:pt x="24" y="6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97" name="Freeform 96">
                <a:extLst>
                  <a:ext uri="{FF2B5EF4-FFF2-40B4-BE49-F238E27FC236}">
                    <a16:creationId xmlns:a16="http://schemas.microsoft.com/office/drawing/2014/main" id="{0CD5BB55-7A65-22F9-1AE0-DD4C04B861B1}"/>
                  </a:ext>
                </a:extLst>
              </p:cNvPr>
              <p:cNvSpPr>
                <a:spLocks/>
              </p:cNvSpPr>
              <p:nvPr/>
            </p:nvSpPr>
            <p:spPr bwMode="auto">
              <a:xfrm>
                <a:off x="6296025" y="3776663"/>
                <a:ext cx="204788" cy="287338"/>
              </a:xfrm>
              <a:custGeom>
                <a:avLst/>
                <a:gdLst>
                  <a:gd name="T0" fmla="*/ 19 w 340"/>
                  <a:gd name="T1" fmla="*/ 474 h 477"/>
                  <a:gd name="T2" fmla="*/ 45 w 340"/>
                  <a:gd name="T3" fmla="*/ 468 h 477"/>
                  <a:gd name="T4" fmla="*/ 108 w 340"/>
                  <a:gd name="T5" fmla="*/ 402 h 477"/>
                  <a:gd name="T6" fmla="*/ 115 w 340"/>
                  <a:gd name="T7" fmla="*/ 390 h 477"/>
                  <a:gd name="T8" fmla="*/ 127 w 340"/>
                  <a:gd name="T9" fmla="*/ 325 h 477"/>
                  <a:gd name="T10" fmla="*/ 127 w 340"/>
                  <a:gd name="T11" fmla="*/ 324 h 477"/>
                  <a:gd name="T12" fmla="*/ 170 w 340"/>
                  <a:gd name="T13" fmla="*/ 352 h 477"/>
                  <a:gd name="T14" fmla="*/ 172 w 340"/>
                  <a:gd name="T15" fmla="*/ 353 h 477"/>
                  <a:gd name="T16" fmla="*/ 189 w 340"/>
                  <a:gd name="T17" fmla="*/ 428 h 477"/>
                  <a:gd name="T18" fmla="*/ 190 w 340"/>
                  <a:gd name="T19" fmla="*/ 430 h 477"/>
                  <a:gd name="T20" fmla="*/ 219 w 340"/>
                  <a:gd name="T21" fmla="*/ 448 h 477"/>
                  <a:gd name="T22" fmla="*/ 238 w 340"/>
                  <a:gd name="T23" fmla="*/ 421 h 477"/>
                  <a:gd name="T24" fmla="*/ 238 w 340"/>
                  <a:gd name="T25" fmla="*/ 419 h 477"/>
                  <a:gd name="T26" fmla="*/ 218 w 340"/>
                  <a:gd name="T27" fmla="*/ 332 h 477"/>
                  <a:gd name="T28" fmla="*/ 207 w 340"/>
                  <a:gd name="T29" fmla="*/ 317 h 477"/>
                  <a:gd name="T30" fmla="*/ 161 w 340"/>
                  <a:gd name="T31" fmla="*/ 287 h 477"/>
                  <a:gd name="T32" fmla="*/ 151 w 340"/>
                  <a:gd name="T33" fmla="*/ 281 h 477"/>
                  <a:gd name="T34" fmla="*/ 156 w 340"/>
                  <a:gd name="T35" fmla="*/ 255 h 477"/>
                  <a:gd name="T36" fmla="*/ 172 w 340"/>
                  <a:gd name="T37" fmla="*/ 171 h 477"/>
                  <a:gd name="T38" fmla="*/ 244 w 340"/>
                  <a:gd name="T39" fmla="*/ 192 h 477"/>
                  <a:gd name="T40" fmla="*/ 322 w 340"/>
                  <a:gd name="T41" fmla="*/ 166 h 477"/>
                  <a:gd name="T42" fmla="*/ 324 w 340"/>
                  <a:gd name="T43" fmla="*/ 165 h 477"/>
                  <a:gd name="T44" fmla="*/ 336 w 340"/>
                  <a:gd name="T45" fmla="*/ 137 h 477"/>
                  <a:gd name="T46" fmla="*/ 308 w 340"/>
                  <a:gd name="T47" fmla="*/ 123 h 477"/>
                  <a:gd name="T48" fmla="*/ 243 w 340"/>
                  <a:gd name="T49" fmla="*/ 145 h 477"/>
                  <a:gd name="T50" fmla="*/ 180 w 340"/>
                  <a:gd name="T51" fmla="*/ 126 h 477"/>
                  <a:gd name="T52" fmla="*/ 169 w 340"/>
                  <a:gd name="T53" fmla="*/ 102 h 477"/>
                  <a:gd name="T54" fmla="*/ 205 w 340"/>
                  <a:gd name="T55" fmla="*/ 63 h 477"/>
                  <a:gd name="T56" fmla="*/ 205 w 340"/>
                  <a:gd name="T57" fmla="*/ 42 h 477"/>
                  <a:gd name="T58" fmla="*/ 166 w 340"/>
                  <a:gd name="T59" fmla="*/ 5 h 477"/>
                  <a:gd name="T60" fmla="*/ 108 w 340"/>
                  <a:gd name="T61" fmla="*/ 44 h 477"/>
                  <a:gd name="T62" fmla="*/ 124 w 340"/>
                  <a:gd name="T63" fmla="*/ 91 h 477"/>
                  <a:gd name="T64" fmla="*/ 99 w 340"/>
                  <a:gd name="T65" fmla="*/ 121 h 477"/>
                  <a:gd name="T66" fmla="*/ 99 w 340"/>
                  <a:gd name="T67" fmla="*/ 122 h 477"/>
                  <a:gd name="T68" fmla="*/ 27 w 340"/>
                  <a:gd name="T69" fmla="*/ 165 h 477"/>
                  <a:gd name="T70" fmla="*/ 12 w 340"/>
                  <a:gd name="T71" fmla="*/ 246 h 477"/>
                  <a:gd name="T72" fmla="*/ 26 w 340"/>
                  <a:gd name="T73" fmla="*/ 272 h 477"/>
                  <a:gd name="T74" fmla="*/ 30 w 340"/>
                  <a:gd name="T75" fmla="*/ 273 h 477"/>
                  <a:gd name="T76" fmla="*/ 56 w 340"/>
                  <a:gd name="T77" fmla="*/ 255 h 477"/>
                  <a:gd name="T78" fmla="*/ 68 w 340"/>
                  <a:gd name="T79" fmla="*/ 193 h 477"/>
                  <a:gd name="T80" fmla="*/ 88 w 340"/>
                  <a:gd name="T81" fmla="*/ 182 h 477"/>
                  <a:gd name="T82" fmla="*/ 68 w 340"/>
                  <a:gd name="T83" fmla="*/ 281 h 477"/>
                  <a:gd name="T84" fmla="*/ 78 w 340"/>
                  <a:gd name="T85" fmla="*/ 315 h 477"/>
                  <a:gd name="T86" fmla="*/ 68 w 340"/>
                  <a:gd name="T87" fmla="*/ 373 h 477"/>
                  <a:gd name="T88" fmla="*/ 9 w 340"/>
                  <a:gd name="T89" fmla="*/ 433 h 477"/>
                  <a:gd name="T90" fmla="*/ 10 w 340"/>
                  <a:gd name="T91" fmla="*/ 468 h 477"/>
                  <a:gd name="T92" fmla="*/ 19 w 340"/>
                  <a:gd name="T93" fmla="*/ 474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477">
                    <a:moveTo>
                      <a:pt x="19" y="474"/>
                    </a:moveTo>
                    <a:cubicBezTo>
                      <a:pt x="28" y="477"/>
                      <a:pt x="38" y="475"/>
                      <a:pt x="45" y="468"/>
                    </a:cubicBezTo>
                    <a:lnTo>
                      <a:pt x="108" y="402"/>
                    </a:lnTo>
                    <a:cubicBezTo>
                      <a:pt x="112" y="399"/>
                      <a:pt x="114" y="394"/>
                      <a:pt x="115" y="390"/>
                    </a:cubicBezTo>
                    <a:lnTo>
                      <a:pt x="127" y="325"/>
                    </a:lnTo>
                    <a:cubicBezTo>
                      <a:pt x="127" y="324"/>
                      <a:pt x="127" y="324"/>
                      <a:pt x="127" y="324"/>
                    </a:cubicBezTo>
                    <a:lnTo>
                      <a:pt x="170" y="352"/>
                    </a:lnTo>
                    <a:lnTo>
                      <a:pt x="172" y="353"/>
                    </a:lnTo>
                    <a:lnTo>
                      <a:pt x="189" y="428"/>
                    </a:lnTo>
                    <a:lnTo>
                      <a:pt x="190" y="430"/>
                    </a:lnTo>
                    <a:cubicBezTo>
                      <a:pt x="193" y="443"/>
                      <a:pt x="206" y="451"/>
                      <a:pt x="219" y="448"/>
                    </a:cubicBezTo>
                    <a:cubicBezTo>
                      <a:pt x="232" y="445"/>
                      <a:pt x="240" y="434"/>
                      <a:pt x="238" y="421"/>
                    </a:cubicBezTo>
                    <a:cubicBezTo>
                      <a:pt x="238" y="420"/>
                      <a:pt x="238" y="419"/>
                      <a:pt x="238" y="419"/>
                    </a:cubicBezTo>
                    <a:lnTo>
                      <a:pt x="218" y="332"/>
                    </a:lnTo>
                    <a:cubicBezTo>
                      <a:pt x="217" y="326"/>
                      <a:pt x="213" y="320"/>
                      <a:pt x="207" y="317"/>
                    </a:cubicBezTo>
                    <a:lnTo>
                      <a:pt x="161" y="287"/>
                    </a:lnTo>
                    <a:lnTo>
                      <a:pt x="151" y="281"/>
                    </a:lnTo>
                    <a:lnTo>
                      <a:pt x="156" y="255"/>
                    </a:lnTo>
                    <a:lnTo>
                      <a:pt x="172" y="171"/>
                    </a:lnTo>
                    <a:lnTo>
                      <a:pt x="244" y="192"/>
                    </a:lnTo>
                    <a:lnTo>
                      <a:pt x="322" y="166"/>
                    </a:lnTo>
                    <a:cubicBezTo>
                      <a:pt x="323" y="166"/>
                      <a:pt x="323" y="165"/>
                      <a:pt x="324" y="165"/>
                    </a:cubicBezTo>
                    <a:cubicBezTo>
                      <a:pt x="335" y="161"/>
                      <a:pt x="340" y="148"/>
                      <a:pt x="336" y="137"/>
                    </a:cubicBezTo>
                    <a:cubicBezTo>
                      <a:pt x="332" y="125"/>
                      <a:pt x="319" y="119"/>
                      <a:pt x="308" y="123"/>
                    </a:cubicBezTo>
                    <a:lnTo>
                      <a:pt x="243" y="145"/>
                    </a:lnTo>
                    <a:lnTo>
                      <a:pt x="180" y="126"/>
                    </a:lnTo>
                    <a:cubicBezTo>
                      <a:pt x="179" y="117"/>
                      <a:pt x="175" y="108"/>
                      <a:pt x="169" y="102"/>
                    </a:cubicBezTo>
                    <a:cubicBezTo>
                      <a:pt x="187" y="97"/>
                      <a:pt x="201" y="82"/>
                      <a:pt x="205" y="63"/>
                    </a:cubicBezTo>
                    <a:cubicBezTo>
                      <a:pt x="207" y="56"/>
                      <a:pt x="206" y="49"/>
                      <a:pt x="205" y="42"/>
                    </a:cubicBezTo>
                    <a:cubicBezTo>
                      <a:pt x="200" y="24"/>
                      <a:pt x="186" y="9"/>
                      <a:pt x="166" y="5"/>
                    </a:cubicBezTo>
                    <a:cubicBezTo>
                      <a:pt x="139" y="0"/>
                      <a:pt x="113" y="17"/>
                      <a:pt x="108" y="44"/>
                    </a:cubicBezTo>
                    <a:cubicBezTo>
                      <a:pt x="104" y="62"/>
                      <a:pt x="111" y="80"/>
                      <a:pt x="124" y="91"/>
                    </a:cubicBezTo>
                    <a:cubicBezTo>
                      <a:pt x="112" y="96"/>
                      <a:pt x="102" y="107"/>
                      <a:pt x="99" y="121"/>
                    </a:cubicBezTo>
                    <a:lnTo>
                      <a:pt x="99" y="122"/>
                    </a:lnTo>
                    <a:lnTo>
                      <a:pt x="27" y="165"/>
                    </a:lnTo>
                    <a:lnTo>
                      <a:pt x="12" y="246"/>
                    </a:lnTo>
                    <a:cubicBezTo>
                      <a:pt x="10" y="257"/>
                      <a:pt x="16" y="268"/>
                      <a:pt x="26" y="272"/>
                    </a:cubicBezTo>
                    <a:cubicBezTo>
                      <a:pt x="27" y="272"/>
                      <a:pt x="29" y="272"/>
                      <a:pt x="30" y="273"/>
                    </a:cubicBezTo>
                    <a:cubicBezTo>
                      <a:pt x="42" y="275"/>
                      <a:pt x="54" y="267"/>
                      <a:pt x="56" y="255"/>
                    </a:cubicBezTo>
                    <a:lnTo>
                      <a:pt x="68" y="193"/>
                    </a:lnTo>
                    <a:lnTo>
                      <a:pt x="88" y="182"/>
                    </a:lnTo>
                    <a:lnTo>
                      <a:pt x="68" y="281"/>
                    </a:lnTo>
                    <a:cubicBezTo>
                      <a:pt x="66" y="294"/>
                      <a:pt x="70" y="306"/>
                      <a:pt x="78" y="315"/>
                    </a:cubicBezTo>
                    <a:lnTo>
                      <a:pt x="68" y="373"/>
                    </a:lnTo>
                    <a:lnTo>
                      <a:pt x="9" y="433"/>
                    </a:lnTo>
                    <a:cubicBezTo>
                      <a:pt x="0" y="443"/>
                      <a:pt x="0" y="459"/>
                      <a:pt x="10" y="468"/>
                    </a:cubicBezTo>
                    <a:cubicBezTo>
                      <a:pt x="13" y="471"/>
                      <a:pt x="16" y="473"/>
                      <a:pt x="19" y="4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98" name="Freeform 97">
                <a:extLst>
                  <a:ext uri="{FF2B5EF4-FFF2-40B4-BE49-F238E27FC236}">
                    <a16:creationId xmlns:a16="http://schemas.microsoft.com/office/drawing/2014/main" id="{E69AB702-ABD5-ADCC-22A9-44CE959C1753}"/>
                  </a:ext>
                </a:extLst>
              </p:cNvPr>
              <p:cNvSpPr>
                <a:spLocks/>
              </p:cNvSpPr>
              <p:nvPr/>
            </p:nvSpPr>
            <p:spPr bwMode="auto">
              <a:xfrm>
                <a:off x="7123113" y="3857625"/>
                <a:ext cx="204788" cy="288925"/>
              </a:xfrm>
              <a:custGeom>
                <a:avLst/>
                <a:gdLst>
                  <a:gd name="T0" fmla="*/ 19 w 340"/>
                  <a:gd name="T1" fmla="*/ 474 h 478"/>
                  <a:gd name="T2" fmla="*/ 45 w 340"/>
                  <a:gd name="T3" fmla="*/ 468 h 478"/>
                  <a:gd name="T4" fmla="*/ 109 w 340"/>
                  <a:gd name="T5" fmla="*/ 403 h 478"/>
                  <a:gd name="T6" fmla="*/ 115 w 340"/>
                  <a:gd name="T7" fmla="*/ 390 h 478"/>
                  <a:gd name="T8" fmla="*/ 127 w 340"/>
                  <a:gd name="T9" fmla="*/ 325 h 478"/>
                  <a:gd name="T10" fmla="*/ 127 w 340"/>
                  <a:gd name="T11" fmla="*/ 325 h 478"/>
                  <a:gd name="T12" fmla="*/ 170 w 340"/>
                  <a:gd name="T13" fmla="*/ 352 h 478"/>
                  <a:gd name="T14" fmla="*/ 172 w 340"/>
                  <a:gd name="T15" fmla="*/ 354 h 478"/>
                  <a:gd name="T16" fmla="*/ 190 w 340"/>
                  <a:gd name="T17" fmla="*/ 429 h 478"/>
                  <a:gd name="T18" fmla="*/ 190 w 340"/>
                  <a:gd name="T19" fmla="*/ 430 h 478"/>
                  <a:gd name="T20" fmla="*/ 220 w 340"/>
                  <a:gd name="T21" fmla="*/ 449 h 478"/>
                  <a:gd name="T22" fmla="*/ 239 w 340"/>
                  <a:gd name="T23" fmla="*/ 422 h 478"/>
                  <a:gd name="T24" fmla="*/ 238 w 340"/>
                  <a:gd name="T25" fmla="*/ 419 h 478"/>
                  <a:gd name="T26" fmla="*/ 218 w 340"/>
                  <a:gd name="T27" fmla="*/ 333 h 478"/>
                  <a:gd name="T28" fmla="*/ 208 w 340"/>
                  <a:gd name="T29" fmla="*/ 317 h 478"/>
                  <a:gd name="T30" fmla="*/ 161 w 340"/>
                  <a:gd name="T31" fmla="*/ 288 h 478"/>
                  <a:gd name="T32" fmla="*/ 151 w 340"/>
                  <a:gd name="T33" fmla="*/ 281 h 478"/>
                  <a:gd name="T34" fmla="*/ 156 w 340"/>
                  <a:gd name="T35" fmla="*/ 255 h 478"/>
                  <a:gd name="T36" fmla="*/ 173 w 340"/>
                  <a:gd name="T37" fmla="*/ 172 h 478"/>
                  <a:gd name="T38" fmla="*/ 244 w 340"/>
                  <a:gd name="T39" fmla="*/ 193 h 478"/>
                  <a:gd name="T40" fmla="*/ 322 w 340"/>
                  <a:gd name="T41" fmla="*/ 166 h 478"/>
                  <a:gd name="T42" fmla="*/ 324 w 340"/>
                  <a:gd name="T43" fmla="*/ 166 h 478"/>
                  <a:gd name="T44" fmla="*/ 336 w 340"/>
                  <a:gd name="T45" fmla="*/ 138 h 478"/>
                  <a:gd name="T46" fmla="*/ 308 w 340"/>
                  <a:gd name="T47" fmla="*/ 124 h 478"/>
                  <a:gd name="T48" fmla="*/ 243 w 340"/>
                  <a:gd name="T49" fmla="*/ 145 h 478"/>
                  <a:gd name="T50" fmla="*/ 180 w 340"/>
                  <a:gd name="T51" fmla="*/ 127 h 478"/>
                  <a:gd name="T52" fmla="*/ 169 w 340"/>
                  <a:gd name="T53" fmla="*/ 102 h 478"/>
                  <a:gd name="T54" fmla="*/ 205 w 340"/>
                  <a:gd name="T55" fmla="*/ 64 h 478"/>
                  <a:gd name="T56" fmla="*/ 205 w 340"/>
                  <a:gd name="T57" fmla="*/ 43 h 478"/>
                  <a:gd name="T58" fmla="*/ 166 w 340"/>
                  <a:gd name="T59" fmla="*/ 6 h 478"/>
                  <a:gd name="T60" fmla="*/ 108 w 340"/>
                  <a:gd name="T61" fmla="*/ 45 h 478"/>
                  <a:gd name="T62" fmla="*/ 124 w 340"/>
                  <a:gd name="T63" fmla="*/ 92 h 478"/>
                  <a:gd name="T64" fmla="*/ 99 w 340"/>
                  <a:gd name="T65" fmla="*/ 122 h 478"/>
                  <a:gd name="T66" fmla="*/ 99 w 340"/>
                  <a:gd name="T67" fmla="*/ 122 h 478"/>
                  <a:gd name="T68" fmla="*/ 28 w 340"/>
                  <a:gd name="T69" fmla="*/ 166 h 478"/>
                  <a:gd name="T70" fmla="*/ 12 w 340"/>
                  <a:gd name="T71" fmla="*/ 247 h 478"/>
                  <a:gd name="T72" fmla="*/ 26 w 340"/>
                  <a:gd name="T73" fmla="*/ 272 h 478"/>
                  <a:gd name="T74" fmla="*/ 30 w 340"/>
                  <a:gd name="T75" fmla="*/ 273 h 478"/>
                  <a:gd name="T76" fmla="*/ 56 w 340"/>
                  <a:gd name="T77" fmla="*/ 255 h 478"/>
                  <a:gd name="T78" fmla="*/ 68 w 340"/>
                  <a:gd name="T79" fmla="*/ 194 h 478"/>
                  <a:gd name="T80" fmla="*/ 88 w 340"/>
                  <a:gd name="T81" fmla="*/ 182 h 478"/>
                  <a:gd name="T82" fmla="*/ 69 w 340"/>
                  <a:gd name="T83" fmla="*/ 281 h 478"/>
                  <a:gd name="T84" fmla="*/ 78 w 340"/>
                  <a:gd name="T85" fmla="*/ 316 h 478"/>
                  <a:gd name="T86" fmla="*/ 68 w 340"/>
                  <a:gd name="T87" fmla="*/ 374 h 478"/>
                  <a:gd name="T88" fmla="*/ 10 w 340"/>
                  <a:gd name="T89" fmla="*/ 434 h 478"/>
                  <a:gd name="T90" fmla="*/ 10 w 340"/>
                  <a:gd name="T91" fmla="*/ 469 h 478"/>
                  <a:gd name="T92" fmla="*/ 19 w 340"/>
                  <a:gd name="T93" fmla="*/ 4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478">
                    <a:moveTo>
                      <a:pt x="19" y="474"/>
                    </a:moveTo>
                    <a:cubicBezTo>
                      <a:pt x="28" y="478"/>
                      <a:pt x="38" y="476"/>
                      <a:pt x="45" y="468"/>
                    </a:cubicBezTo>
                    <a:lnTo>
                      <a:pt x="109" y="403"/>
                    </a:lnTo>
                    <a:cubicBezTo>
                      <a:pt x="112" y="399"/>
                      <a:pt x="114" y="395"/>
                      <a:pt x="115" y="390"/>
                    </a:cubicBezTo>
                    <a:lnTo>
                      <a:pt x="127" y="325"/>
                    </a:lnTo>
                    <a:cubicBezTo>
                      <a:pt x="127" y="325"/>
                      <a:pt x="127" y="325"/>
                      <a:pt x="127" y="325"/>
                    </a:cubicBezTo>
                    <a:lnTo>
                      <a:pt x="170" y="352"/>
                    </a:lnTo>
                    <a:lnTo>
                      <a:pt x="172" y="354"/>
                    </a:lnTo>
                    <a:lnTo>
                      <a:pt x="190" y="429"/>
                    </a:lnTo>
                    <a:lnTo>
                      <a:pt x="190" y="430"/>
                    </a:lnTo>
                    <a:cubicBezTo>
                      <a:pt x="193" y="444"/>
                      <a:pt x="206" y="452"/>
                      <a:pt x="220" y="449"/>
                    </a:cubicBezTo>
                    <a:cubicBezTo>
                      <a:pt x="232" y="446"/>
                      <a:pt x="240" y="434"/>
                      <a:pt x="239" y="422"/>
                    </a:cubicBezTo>
                    <a:cubicBezTo>
                      <a:pt x="238" y="421"/>
                      <a:pt x="238" y="420"/>
                      <a:pt x="238" y="419"/>
                    </a:cubicBezTo>
                    <a:lnTo>
                      <a:pt x="218" y="333"/>
                    </a:lnTo>
                    <a:cubicBezTo>
                      <a:pt x="217" y="326"/>
                      <a:pt x="213" y="321"/>
                      <a:pt x="208" y="317"/>
                    </a:cubicBezTo>
                    <a:lnTo>
                      <a:pt x="161" y="288"/>
                    </a:lnTo>
                    <a:lnTo>
                      <a:pt x="151" y="281"/>
                    </a:lnTo>
                    <a:lnTo>
                      <a:pt x="156" y="255"/>
                    </a:lnTo>
                    <a:lnTo>
                      <a:pt x="173" y="172"/>
                    </a:lnTo>
                    <a:lnTo>
                      <a:pt x="244" y="193"/>
                    </a:lnTo>
                    <a:lnTo>
                      <a:pt x="322" y="166"/>
                    </a:lnTo>
                    <a:cubicBezTo>
                      <a:pt x="323" y="166"/>
                      <a:pt x="323" y="166"/>
                      <a:pt x="324" y="166"/>
                    </a:cubicBezTo>
                    <a:cubicBezTo>
                      <a:pt x="335" y="161"/>
                      <a:pt x="340" y="149"/>
                      <a:pt x="336" y="138"/>
                    </a:cubicBezTo>
                    <a:cubicBezTo>
                      <a:pt x="332" y="126"/>
                      <a:pt x="320" y="120"/>
                      <a:pt x="308" y="124"/>
                    </a:cubicBezTo>
                    <a:lnTo>
                      <a:pt x="243" y="145"/>
                    </a:lnTo>
                    <a:lnTo>
                      <a:pt x="180" y="127"/>
                    </a:lnTo>
                    <a:cubicBezTo>
                      <a:pt x="179" y="117"/>
                      <a:pt x="175" y="109"/>
                      <a:pt x="169" y="102"/>
                    </a:cubicBezTo>
                    <a:cubicBezTo>
                      <a:pt x="187" y="98"/>
                      <a:pt x="202" y="83"/>
                      <a:pt x="205" y="64"/>
                    </a:cubicBezTo>
                    <a:cubicBezTo>
                      <a:pt x="207" y="57"/>
                      <a:pt x="206" y="49"/>
                      <a:pt x="205" y="43"/>
                    </a:cubicBezTo>
                    <a:cubicBezTo>
                      <a:pt x="200" y="24"/>
                      <a:pt x="186" y="9"/>
                      <a:pt x="166" y="6"/>
                    </a:cubicBezTo>
                    <a:cubicBezTo>
                      <a:pt x="139" y="0"/>
                      <a:pt x="113" y="18"/>
                      <a:pt x="108" y="45"/>
                    </a:cubicBezTo>
                    <a:cubicBezTo>
                      <a:pt x="104" y="63"/>
                      <a:pt x="111" y="81"/>
                      <a:pt x="124" y="92"/>
                    </a:cubicBezTo>
                    <a:cubicBezTo>
                      <a:pt x="112" y="97"/>
                      <a:pt x="102" y="108"/>
                      <a:pt x="99" y="122"/>
                    </a:cubicBezTo>
                    <a:lnTo>
                      <a:pt x="99" y="122"/>
                    </a:lnTo>
                    <a:lnTo>
                      <a:pt x="28" y="166"/>
                    </a:lnTo>
                    <a:lnTo>
                      <a:pt x="12" y="247"/>
                    </a:lnTo>
                    <a:cubicBezTo>
                      <a:pt x="10" y="258"/>
                      <a:pt x="16" y="269"/>
                      <a:pt x="26" y="272"/>
                    </a:cubicBezTo>
                    <a:cubicBezTo>
                      <a:pt x="28" y="273"/>
                      <a:pt x="29" y="273"/>
                      <a:pt x="30" y="273"/>
                    </a:cubicBezTo>
                    <a:cubicBezTo>
                      <a:pt x="42" y="276"/>
                      <a:pt x="54" y="268"/>
                      <a:pt x="56" y="255"/>
                    </a:cubicBezTo>
                    <a:lnTo>
                      <a:pt x="68" y="194"/>
                    </a:lnTo>
                    <a:lnTo>
                      <a:pt x="88" y="182"/>
                    </a:lnTo>
                    <a:lnTo>
                      <a:pt x="69" y="281"/>
                    </a:lnTo>
                    <a:cubicBezTo>
                      <a:pt x="66" y="294"/>
                      <a:pt x="70" y="307"/>
                      <a:pt x="78" y="316"/>
                    </a:cubicBezTo>
                    <a:lnTo>
                      <a:pt x="68" y="374"/>
                    </a:lnTo>
                    <a:lnTo>
                      <a:pt x="10" y="434"/>
                    </a:lnTo>
                    <a:cubicBezTo>
                      <a:pt x="0" y="444"/>
                      <a:pt x="0" y="459"/>
                      <a:pt x="10" y="469"/>
                    </a:cubicBezTo>
                    <a:cubicBezTo>
                      <a:pt x="13" y="471"/>
                      <a:pt x="16" y="473"/>
                      <a:pt x="19" y="4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grpSp>
      <p:grpSp>
        <p:nvGrpSpPr>
          <p:cNvPr id="99" name="Group 98">
            <a:extLst>
              <a:ext uri="{FF2B5EF4-FFF2-40B4-BE49-F238E27FC236}">
                <a16:creationId xmlns:a16="http://schemas.microsoft.com/office/drawing/2014/main" id="{9BD17713-1AA2-48A7-1DCF-24BBA3849377}"/>
              </a:ext>
            </a:extLst>
          </p:cNvPr>
          <p:cNvGrpSpPr/>
          <p:nvPr/>
        </p:nvGrpSpPr>
        <p:grpSpPr>
          <a:xfrm>
            <a:off x="7856146" y="1584390"/>
            <a:ext cx="841311" cy="841311"/>
            <a:chOff x="7856146" y="1463010"/>
            <a:chExt cx="841311" cy="841311"/>
          </a:xfrm>
        </p:grpSpPr>
        <p:sp>
          <p:nvSpPr>
            <p:cNvPr id="100" name="Oval 99">
              <a:extLst>
                <a:ext uri="{FF2B5EF4-FFF2-40B4-BE49-F238E27FC236}">
                  <a16:creationId xmlns:a16="http://schemas.microsoft.com/office/drawing/2014/main" id="{66AA71B0-6BF2-C8E9-A4F2-6EDC22A84614}"/>
                </a:ext>
              </a:extLst>
            </p:cNvPr>
            <p:cNvSpPr/>
            <p:nvPr/>
          </p:nvSpPr>
          <p:spPr bwMode="gray">
            <a:xfrm>
              <a:off x="7856146" y="1463010"/>
              <a:ext cx="841311" cy="841311"/>
            </a:xfrm>
            <a:prstGeom prst="ellipse">
              <a:avLst/>
            </a:prstGeom>
            <a:solidFill>
              <a:schemeClr val="bg1"/>
            </a:solidFill>
            <a:ln w="38100" algn="ctr">
              <a:solidFill>
                <a:srgbClr val="6FC9E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01" name="Calendar6" descr="{&quot;Key&quot;:&quot;POWER_USER_SHAPE_ICON&quot;,&quot;Value&quot;:&quot;POWER_USER_SHAPE_ICON_STYLE_1&quot;}">
              <a:extLst>
                <a:ext uri="{FF2B5EF4-FFF2-40B4-BE49-F238E27FC236}">
                  <a16:creationId xmlns:a16="http://schemas.microsoft.com/office/drawing/2014/main" id="{B3F4F3F0-F36E-5F14-FBD5-319303F3444E}"/>
                </a:ext>
              </a:extLst>
            </p:cNvPr>
            <p:cNvGrpSpPr>
              <a:grpSpLocks noChangeAspect="1"/>
            </p:cNvGrpSpPr>
            <p:nvPr/>
          </p:nvGrpSpPr>
          <p:grpSpPr>
            <a:xfrm>
              <a:off x="8056092" y="1651830"/>
              <a:ext cx="441419" cy="463671"/>
              <a:chOff x="367726" y="4777796"/>
              <a:chExt cx="3908034" cy="4105040"/>
            </a:xfrm>
            <a:solidFill>
              <a:srgbClr val="464747"/>
            </a:solidFill>
          </p:grpSpPr>
          <p:sp>
            <p:nvSpPr>
              <p:cNvPr id="102" name="Freeform: Shape 221">
                <a:extLst>
                  <a:ext uri="{FF2B5EF4-FFF2-40B4-BE49-F238E27FC236}">
                    <a16:creationId xmlns:a16="http://schemas.microsoft.com/office/drawing/2014/main" id="{CADC7C92-6935-195A-7C92-500E3082C395}"/>
                  </a:ext>
                </a:extLst>
              </p:cNvPr>
              <p:cNvSpPr/>
              <p:nvPr/>
            </p:nvSpPr>
            <p:spPr>
              <a:xfrm>
                <a:off x="367726" y="5085402"/>
                <a:ext cx="3908034" cy="3797434"/>
              </a:xfrm>
              <a:custGeom>
                <a:avLst/>
                <a:gdLst>
                  <a:gd name="connsiteX0" fmla="*/ 177638 w 3908034"/>
                  <a:gd name="connsiteY0" fmla="*/ 901697 h 3797434"/>
                  <a:gd name="connsiteX1" fmla="*/ 177638 w 3908034"/>
                  <a:gd name="connsiteY1" fmla="*/ 3659542 h 3797434"/>
                  <a:gd name="connsiteX2" fmla="*/ 3730396 w 3908034"/>
                  <a:gd name="connsiteY2" fmla="*/ 3659542 h 3797434"/>
                  <a:gd name="connsiteX3" fmla="*/ 3730396 w 3908034"/>
                  <a:gd name="connsiteY3" fmla="*/ 901697 h 3797434"/>
                  <a:gd name="connsiteX4" fmla="*/ 0 w 3908034"/>
                  <a:gd name="connsiteY4" fmla="*/ 0 h 3797434"/>
                  <a:gd name="connsiteX5" fmla="*/ 818891 w 3908034"/>
                  <a:gd name="connsiteY5" fmla="*/ 0 h 3797434"/>
                  <a:gd name="connsiteX6" fmla="*/ 818891 w 3908034"/>
                  <a:gd name="connsiteY6" fmla="*/ 444422 h 3797434"/>
                  <a:gd name="connsiteX7" fmla="*/ 1417025 w 3908034"/>
                  <a:gd name="connsiteY7" fmla="*/ 444422 h 3797434"/>
                  <a:gd name="connsiteX8" fmla="*/ 1417025 w 3908034"/>
                  <a:gd name="connsiteY8" fmla="*/ 0 h 3797434"/>
                  <a:gd name="connsiteX9" fmla="*/ 2491009 w 3908034"/>
                  <a:gd name="connsiteY9" fmla="*/ 0 h 3797434"/>
                  <a:gd name="connsiteX10" fmla="*/ 2491009 w 3908034"/>
                  <a:gd name="connsiteY10" fmla="*/ 411626 h 3797434"/>
                  <a:gd name="connsiteX11" fmla="*/ 3089143 w 3908034"/>
                  <a:gd name="connsiteY11" fmla="*/ 411626 h 3797434"/>
                  <a:gd name="connsiteX12" fmla="*/ 3089143 w 3908034"/>
                  <a:gd name="connsiteY12" fmla="*/ 0 h 3797434"/>
                  <a:gd name="connsiteX13" fmla="*/ 3908034 w 3908034"/>
                  <a:gd name="connsiteY13" fmla="*/ 0 h 3797434"/>
                  <a:gd name="connsiteX14" fmla="*/ 3908034 w 3908034"/>
                  <a:gd name="connsiteY14" fmla="*/ 3797434 h 3797434"/>
                  <a:gd name="connsiteX15" fmla="*/ 0 w 3908034"/>
                  <a:gd name="connsiteY15" fmla="*/ 3797434 h 379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08034" h="3797434">
                    <a:moveTo>
                      <a:pt x="177638" y="901697"/>
                    </a:moveTo>
                    <a:lnTo>
                      <a:pt x="177638" y="3659542"/>
                    </a:lnTo>
                    <a:lnTo>
                      <a:pt x="3730396" y="3659542"/>
                    </a:lnTo>
                    <a:lnTo>
                      <a:pt x="3730396" y="901697"/>
                    </a:lnTo>
                    <a:close/>
                    <a:moveTo>
                      <a:pt x="0" y="0"/>
                    </a:moveTo>
                    <a:lnTo>
                      <a:pt x="818891" y="0"/>
                    </a:lnTo>
                    <a:lnTo>
                      <a:pt x="818891" y="444422"/>
                    </a:lnTo>
                    <a:lnTo>
                      <a:pt x="1417025" y="444422"/>
                    </a:lnTo>
                    <a:lnTo>
                      <a:pt x="1417025" y="0"/>
                    </a:lnTo>
                    <a:lnTo>
                      <a:pt x="2491009" y="0"/>
                    </a:lnTo>
                    <a:lnTo>
                      <a:pt x="2491009" y="411626"/>
                    </a:lnTo>
                    <a:lnTo>
                      <a:pt x="3089143" y="411626"/>
                    </a:lnTo>
                    <a:lnTo>
                      <a:pt x="3089143" y="0"/>
                    </a:lnTo>
                    <a:lnTo>
                      <a:pt x="3908034" y="0"/>
                    </a:lnTo>
                    <a:lnTo>
                      <a:pt x="3908034" y="3797434"/>
                    </a:lnTo>
                    <a:lnTo>
                      <a:pt x="0" y="379743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C88425E7-0444-4B3E-4B8D-A29CFE449C00}"/>
                  </a:ext>
                </a:extLst>
              </p:cNvPr>
              <p:cNvSpPr/>
              <p:nvPr/>
            </p:nvSpPr>
            <p:spPr>
              <a:xfrm>
                <a:off x="823350" y="6234966"/>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id="{3051AA8D-64E5-F3F6-2648-2F6522F60D00}"/>
                  </a:ext>
                </a:extLst>
              </p:cNvPr>
              <p:cNvSpPr/>
              <p:nvPr/>
            </p:nvSpPr>
            <p:spPr>
              <a:xfrm>
                <a:off x="1653083" y="6234966"/>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05" name="Rectangle 104">
                <a:extLst>
                  <a:ext uri="{FF2B5EF4-FFF2-40B4-BE49-F238E27FC236}">
                    <a16:creationId xmlns:a16="http://schemas.microsoft.com/office/drawing/2014/main" id="{99DA53FE-14A7-F1C2-B3D4-2815DF1B9D3D}"/>
                  </a:ext>
                </a:extLst>
              </p:cNvPr>
              <p:cNvSpPr/>
              <p:nvPr/>
            </p:nvSpPr>
            <p:spPr>
              <a:xfrm>
                <a:off x="2482816" y="6234966"/>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3A98CC28-0352-FDE9-5E2C-4F08EFE8D05F}"/>
                  </a:ext>
                </a:extLst>
              </p:cNvPr>
              <p:cNvSpPr/>
              <p:nvPr/>
            </p:nvSpPr>
            <p:spPr>
              <a:xfrm>
                <a:off x="3312550" y="6234966"/>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07" name="Rectangle 106">
                <a:extLst>
                  <a:ext uri="{FF2B5EF4-FFF2-40B4-BE49-F238E27FC236}">
                    <a16:creationId xmlns:a16="http://schemas.microsoft.com/office/drawing/2014/main" id="{A057263D-D16E-366C-DFA3-C136C21B8296}"/>
                  </a:ext>
                </a:extLst>
              </p:cNvPr>
              <p:cNvSpPr/>
              <p:nvPr/>
            </p:nvSpPr>
            <p:spPr>
              <a:xfrm>
                <a:off x="823350" y="7067709"/>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id="{DB5F6B16-6B52-0561-680D-2CADBFDAD9C3}"/>
                  </a:ext>
                </a:extLst>
              </p:cNvPr>
              <p:cNvSpPr/>
              <p:nvPr/>
            </p:nvSpPr>
            <p:spPr>
              <a:xfrm>
                <a:off x="1653083" y="7067709"/>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0EB87722-34C3-A9CB-17C3-456499B71C97}"/>
                  </a:ext>
                </a:extLst>
              </p:cNvPr>
              <p:cNvSpPr/>
              <p:nvPr/>
            </p:nvSpPr>
            <p:spPr>
              <a:xfrm>
                <a:off x="2482816" y="7067709"/>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10" name="Rectangle 109">
                <a:extLst>
                  <a:ext uri="{FF2B5EF4-FFF2-40B4-BE49-F238E27FC236}">
                    <a16:creationId xmlns:a16="http://schemas.microsoft.com/office/drawing/2014/main" id="{743DAAD4-BB72-9809-969D-9F599D30CDB6}"/>
                  </a:ext>
                </a:extLst>
              </p:cNvPr>
              <p:cNvSpPr/>
              <p:nvPr/>
            </p:nvSpPr>
            <p:spPr>
              <a:xfrm>
                <a:off x="3312550" y="7067709"/>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6A9A258B-8B94-B50B-807C-5502445D8CA7}"/>
                  </a:ext>
                </a:extLst>
              </p:cNvPr>
              <p:cNvSpPr/>
              <p:nvPr/>
            </p:nvSpPr>
            <p:spPr>
              <a:xfrm>
                <a:off x="823350" y="7900452"/>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90849200-8979-B4C0-F3E1-02F039E4EAB9}"/>
                  </a:ext>
                </a:extLst>
              </p:cNvPr>
              <p:cNvSpPr/>
              <p:nvPr/>
            </p:nvSpPr>
            <p:spPr>
              <a:xfrm>
                <a:off x="1653083" y="7900452"/>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B6087B7D-2A5F-1F23-C4BB-6EA4F673DA79}"/>
                  </a:ext>
                </a:extLst>
              </p:cNvPr>
              <p:cNvSpPr/>
              <p:nvPr/>
            </p:nvSpPr>
            <p:spPr>
              <a:xfrm>
                <a:off x="2482816" y="7900452"/>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6E2EB9F8-7E45-87DB-5482-4B76B0991F7B}"/>
                  </a:ext>
                </a:extLst>
              </p:cNvPr>
              <p:cNvSpPr/>
              <p:nvPr/>
            </p:nvSpPr>
            <p:spPr>
              <a:xfrm>
                <a:off x="3312550" y="7900452"/>
                <a:ext cx="568703" cy="620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15" name="Rectangle 114">
                <a:extLst>
                  <a:ext uri="{FF2B5EF4-FFF2-40B4-BE49-F238E27FC236}">
                    <a16:creationId xmlns:a16="http://schemas.microsoft.com/office/drawing/2014/main" id="{49921A18-444D-20A7-2F5A-93D257B49E26}"/>
                  </a:ext>
                </a:extLst>
              </p:cNvPr>
              <p:cNvSpPr/>
              <p:nvPr/>
            </p:nvSpPr>
            <p:spPr>
              <a:xfrm>
                <a:off x="2933109" y="4777796"/>
                <a:ext cx="449386" cy="6508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116" name="Rectangle 115">
                <a:extLst>
                  <a:ext uri="{FF2B5EF4-FFF2-40B4-BE49-F238E27FC236}">
                    <a16:creationId xmlns:a16="http://schemas.microsoft.com/office/drawing/2014/main" id="{847B316A-B91E-514A-73F3-8D7C21340F2A}"/>
                  </a:ext>
                </a:extLst>
              </p:cNvPr>
              <p:cNvSpPr/>
              <p:nvPr/>
            </p:nvSpPr>
            <p:spPr>
              <a:xfrm>
                <a:off x="1260991" y="4810592"/>
                <a:ext cx="449386" cy="6508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white"/>
                  </a:solidFill>
                  <a:effectLst/>
                  <a:uLnTx/>
                  <a:uFillTx/>
                  <a:latin typeface="Calibri" panose="020F0502020204030204"/>
                  <a:ea typeface="+mn-ea"/>
                  <a:cs typeface="+mn-cs"/>
                </a:endParaRPr>
              </a:p>
            </p:txBody>
          </p:sp>
        </p:grpSp>
      </p:grpSp>
      <p:sp>
        <p:nvSpPr>
          <p:cNvPr id="117" name="TextBox 116">
            <a:extLst>
              <a:ext uri="{FF2B5EF4-FFF2-40B4-BE49-F238E27FC236}">
                <a16:creationId xmlns:a16="http://schemas.microsoft.com/office/drawing/2014/main" id="{1B393854-2E71-6E44-B881-0235815E87CD}"/>
              </a:ext>
            </a:extLst>
          </p:cNvPr>
          <p:cNvSpPr txBox="1"/>
          <p:nvPr/>
        </p:nvSpPr>
        <p:spPr>
          <a:xfrm>
            <a:off x="703412" y="3570683"/>
            <a:ext cx="1923143" cy="1692771"/>
          </a:xfrm>
          <a:prstGeom prst="rect">
            <a:avLst/>
          </a:prstGeom>
          <a:noFill/>
        </p:spPr>
        <p:txBody>
          <a:bodyPr wrap="square" lIns="0" tIns="0" rIns="0" bIns="0" rtlCol="0">
            <a:spAutoFit/>
          </a:bodyPr>
          <a:lstStyle/>
          <a:p>
            <a:pPr marL="171450" indent="-171450">
              <a:spcAft>
                <a:spcPts val="300"/>
              </a:spcAft>
              <a:buFont typeface="Arial" panose="020B0604020202020204" pitchFamily="34" charset="0"/>
              <a:buChar char="•"/>
            </a:pPr>
            <a:r>
              <a:rPr lang="en-US" sz="1050" dirty="0">
                <a:ea typeface="Ubuntu" charset="0"/>
                <a:cs typeface="Ubuntu" charset="0"/>
              </a:rPr>
              <a:t>Management interviews should assess what strategic goals the company wants to achieve to make its processes more efficient</a:t>
            </a:r>
          </a:p>
          <a:p>
            <a:pPr marL="171450" indent="-171450">
              <a:spcAft>
                <a:spcPts val="300"/>
              </a:spcAft>
              <a:buFont typeface="Arial" panose="020B0604020202020204" pitchFamily="34" charset="0"/>
              <a:buChar char="•"/>
            </a:pPr>
            <a:r>
              <a:rPr lang="en-US" sz="1050" b="1" dirty="0">
                <a:ea typeface="Ubuntu" charset="0"/>
                <a:cs typeface="Ubuntu" charset="0"/>
              </a:rPr>
              <a:t>Gathering management ambitions along the lines of each area of expertise</a:t>
            </a:r>
            <a:endParaRPr lang="en-US" sz="1050" dirty="0">
              <a:ea typeface="Ubuntu" charset="0"/>
              <a:cs typeface="Ubuntu" charset="0"/>
            </a:endParaRPr>
          </a:p>
          <a:p>
            <a:pPr marL="171450" indent="-171450">
              <a:spcAft>
                <a:spcPts val="300"/>
              </a:spcAft>
              <a:buFont typeface="Arial" panose="020B0604020202020204" pitchFamily="34" charset="0"/>
              <a:buChar char="•"/>
            </a:pPr>
            <a:r>
              <a:rPr lang="en-US" sz="1050" dirty="0">
                <a:ea typeface="Ubuntu" charset="0"/>
                <a:cs typeface="Ubuntu" charset="0"/>
              </a:rPr>
              <a:t>Assessing management commitment</a:t>
            </a:r>
          </a:p>
        </p:txBody>
      </p:sp>
      <p:sp>
        <p:nvSpPr>
          <p:cNvPr id="118" name="TextBox 117">
            <a:extLst>
              <a:ext uri="{FF2B5EF4-FFF2-40B4-BE49-F238E27FC236}">
                <a16:creationId xmlns:a16="http://schemas.microsoft.com/office/drawing/2014/main" id="{F326DD03-743C-2F53-B3A1-78154A951317}"/>
              </a:ext>
            </a:extLst>
          </p:cNvPr>
          <p:cNvSpPr txBox="1"/>
          <p:nvPr/>
        </p:nvSpPr>
        <p:spPr>
          <a:xfrm>
            <a:off x="2936227" y="3570683"/>
            <a:ext cx="1923143" cy="2292935"/>
          </a:xfrm>
          <a:prstGeom prst="rect">
            <a:avLst/>
          </a:prstGeom>
          <a:noFill/>
        </p:spPr>
        <p:txBody>
          <a:bodyPr wrap="square" lIns="0" tIns="0" rIns="0" bIns="0" rtlCol="0">
            <a:spAutoFit/>
          </a:bodyPr>
          <a:lstStyle/>
          <a:p>
            <a:pPr marL="171450" indent="-171450">
              <a:spcAft>
                <a:spcPts val="300"/>
              </a:spcAft>
              <a:buFont typeface="Arial" panose="020B0604020202020204" pitchFamily="34" charset="0"/>
              <a:buChar char="•"/>
            </a:pPr>
            <a:r>
              <a:rPr lang="en-US" sz="1050" b="1" dirty="0">
                <a:ea typeface="Ubuntu" charset="0"/>
                <a:cs typeface="Ubuntu" charset="0"/>
              </a:rPr>
              <a:t>Finalise the Scope of the Process:</a:t>
            </a:r>
            <a:endParaRPr lang="en-US" sz="1050" dirty="0">
              <a:ea typeface="Ubuntu" charset="0"/>
              <a:cs typeface="Ubuntu" charset="0"/>
            </a:endParaRPr>
          </a:p>
          <a:p>
            <a:pPr marL="231775" lvl="1">
              <a:spcAft>
                <a:spcPts val="300"/>
              </a:spcAft>
            </a:pPr>
            <a:r>
              <a:rPr lang="en-US" sz="1050" b="1" dirty="0">
                <a:ea typeface="Ubuntu" charset="0"/>
                <a:cs typeface="Ubuntu" charset="0"/>
              </a:rPr>
              <a:t>Step 1: </a:t>
            </a:r>
            <a:r>
              <a:rPr lang="en-US" sz="1050" dirty="0">
                <a:ea typeface="Ubuntu" charset="0"/>
                <a:cs typeface="Ubuntu" charset="0"/>
              </a:rPr>
              <a:t>Set up a process catalogue </a:t>
            </a:r>
          </a:p>
          <a:p>
            <a:pPr marL="231775" lvl="1">
              <a:spcAft>
                <a:spcPts val="300"/>
              </a:spcAft>
            </a:pPr>
            <a:r>
              <a:rPr lang="en-US" sz="1050" b="1" dirty="0">
                <a:ea typeface="Ubuntu" charset="0"/>
                <a:cs typeface="Ubuntu" charset="0"/>
              </a:rPr>
              <a:t>Step 2:  </a:t>
            </a:r>
            <a:r>
              <a:rPr lang="en-US" sz="1050" dirty="0">
                <a:ea typeface="Ubuntu" charset="0"/>
                <a:cs typeface="Ubuntu" charset="0"/>
              </a:rPr>
              <a:t>Set up selection criteria</a:t>
            </a:r>
          </a:p>
          <a:p>
            <a:pPr marL="231775" lvl="1">
              <a:spcAft>
                <a:spcPts val="300"/>
              </a:spcAft>
            </a:pPr>
            <a:r>
              <a:rPr lang="en-US" sz="1050" b="1" dirty="0">
                <a:ea typeface="Ubuntu" charset="0"/>
                <a:cs typeface="Ubuntu" charset="0"/>
              </a:rPr>
              <a:t>Step 3: </a:t>
            </a:r>
            <a:r>
              <a:rPr lang="en-US" sz="1050" dirty="0">
                <a:ea typeface="Ubuntu" charset="0"/>
                <a:cs typeface="Ubuntu" charset="0"/>
              </a:rPr>
              <a:t>Process selection-depending on the project objective</a:t>
            </a:r>
          </a:p>
          <a:p>
            <a:pPr indent="-225425">
              <a:spcAft>
                <a:spcPts val="300"/>
              </a:spcAft>
              <a:buFont typeface="Arial" panose="020B0604020202020204" pitchFamily="34" charset="0"/>
              <a:buChar char="•"/>
            </a:pPr>
            <a:r>
              <a:rPr lang="en-US" sz="1050" dirty="0">
                <a:ea typeface="Ubuntu" charset="0"/>
                <a:cs typeface="Ubuntu" charset="0"/>
              </a:rPr>
              <a:t>E2E Process Catalogue Development</a:t>
            </a:r>
          </a:p>
          <a:p>
            <a:pPr indent="-225425">
              <a:spcAft>
                <a:spcPts val="300"/>
              </a:spcAft>
              <a:buFont typeface="Arial" panose="020B0604020202020204" pitchFamily="34" charset="0"/>
              <a:buChar char="•"/>
            </a:pPr>
            <a:r>
              <a:rPr lang="en-US" sz="1050" dirty="0">
                <a:ea typeface="Ubuntu" charset="0"/>
                <a:cs typeface="Ubuntu" charset="0"/>
              </a:rPr>
              <a:t>Process Analysis Depth Clarification</a:t>
            </a:r>
          </a:p>
        </p:txBody>
      </p:sp>
      <p:sp>
        <p:nvSpPr>
          <p:cNvPr id="119" name="TextBox 118">
            <a:extLst>
              <a:ext uri="{FF2B5EF4-FFF2-40B4-BE49-F238E27FC236}">
                <a16:creationId xmlns:a16="http://schemas.microsoft.com/office/drawing/2014/main" id="{EF6FF424-FA2E-9194-FAC7-3EB766B3DCD2}"/>
              </a:ext>
            </a:extLst>
          </p:cNvPr>
          <p:cNvSpPr txBox="1"/>
          <p:nvPr/>
        </p:nvSpPr>
        <p:spPr>
          <a:xfrm>
            <a:off x="5144737" y="3570683"/>
            <a:ext cx="1923143" cy="1854354"/>
          </a:xfrm>
          <a:prstGeom prst="rect">
            <a:avLst/>
          </a:prstGeom>
          <a:noFill/>
        </p:spPr>
        <p:txBody>
          <a:bodyPr wrap="square" lIns="0" tIns="0" rIns="0" bIns="0" rtlCol="0">
            <a:spAutoFit/>
          </a:bodyPr>
          <a:lstStyle/>
          <a:p>
            <a:pPr marL="171450" indent="-171450">
              <a:spcAft>
                <a:spcPts val="300"/>
              </a:spcAft>
              <a:buFont typeface="Arial" panose="020B0604020202020204" pitchFamily="34" charset="0"/>
              <a:buChar char="•"/>
            </a:pPr>
            <a:r>
              <a:rPr lang="en-US" sz="1050" dirty="0">
                <a:ea typeface="Ubuntu" charset="0"/>
                <a:cs typeface="Ubuntu" charset="0"/>
              </a:rPr>
              <a:t>There should not be too many organizational differences between participants</a:t>
            </a:r>
          </a:p>
          <a:p>
            <a:pPr marL="171450" indent="-171450">
              <a:spcAft>
                <a:spcPts val="300"/>
              </a:spcAft>
              <a:buFont typeface="Arial" panose="020B0604020202020204" pitchFamily="34" charset="0"/>
              <a:buChar char="•"/>
            </a:pPr>
            <a:r>
              <a:rPr lang="en-US" sz="1050" dirty="0">
                <a:ea typeface="Ubuntu" charset="0"/>
                <a:cs typeface="Ubuntu" charset="0"/>
              </a:rPr>
              <a:t>For the Workshops: experts, with particular attention to ensuring that all disciplines involved in the process are represented</a:t>
            </a:r>
          </a:p>
          <a:p>
            <a:pPr marL="171450" indent="-171450">
              <a:spcAft>
                <a:spcPts val="300"/>
              </a:spcAft>
              <a:buFont typeface="Arial" panose="020B0604020202020204" pitchFamily="34" charset="0"/>
              <a:buChar char="•"/>
            </a:pPr>
            <a:r>
              <a:rPr lang="en-US" sz="1050" dirty="0">
                <a:ea typeface="Ubuntu" charset="0"/>
                <a:cs typeface="Ubuntu" charset="0"/>
              </a:rPr>
              <a:t>For validation workshops: colleagues with decision-making power</a:t>
            </a:r>
          </a:p>
        </p:txBody>
      </p:sp>
      <p:sp>
        <p:nvSpPr>
          <p:cNvPr id="120" name="TextBox 119">
            <a:extLst>
              <a:ext uri="{FF2B5EF4-FFF2-40B4-BE49-F238E27FC236}">
                <a16:creationId xmlns:a16="http://schemas.microsoft.com/office/drawing/2014/main" id="{3A0475E3-0C10-E6B5-EAF0-4F1891656026}"/>
              </a:ext>
            </a:extLst>
          </p:cNvPr>
          <p:cNvSpPr txBox="1"/>
          <p:nvPr/>
        </p:nvSpPr>
        <p:spPr>
          <a:xfrm>
            <a:off x="7357113" y="3570683"/>
            <a:ext cx="1923143" cy="2092881"/>
          </a:xfrm>
          <a:prstGeom prst="rect">
            <a:avLst/>
          </a:prstGeom>
          <a:noFill/>
        </p:spPr>
        <p:txBody>
          <a:bodyPr wrap="square" lIns="0" tIns="0" rIns="0" bIns="0" rtlCol="0">
            <a:spAutoFit/>
          </a:bodyPr>
          <a:lstStyle/>
          <a:p>
            <a:pPr marL="171450" indent="-171450">
              <a:spcAft>
                <a:spcPts val="300"/>
              </a:spcAft>
              <a:buFont typeface="Arial" panose="020B0604020202020204" pitchFamily="34" charset="0"/>
              <a:buChar char="•"/>
            </a:pPr>
            <a:r>
              <a:rPr lang="en-US" sz="1050" dirty="0">
                <a:ea typeface="Ubuntu" charset="0"/>
                <a:cs typeface="Ubuntu" charset="0"/>
              </a:rPr>
              <a:t>The following aspects should be taken into account when developing a workshop plan:</a:t>
            </a:r>
          </a:p>
          <a:p>
            <a:pPr marL="447675" lvl="1" indent="-171450">
              <a:spcAft>
                <a:spcPts val="300"/>
              </a:spcAft>
              <a:buFont typeface="Courier New" panose="02070309020205020404" pitchFamily="49" charset="0"/>
              <a:buChar char="o"/>
            </a:pPr>
            <a:r>
              <a:rPr lang="en-US" sz="1050" dirty="0">
                <a:ea typeface="Ubuntu" charset="0"/>
                <a:cs typeface="Ubuntu" charset="0"/>
              </a:rPr>
              <a:t>The sequencing of workshops</a:t>
            </a:r>
          </a:p>
          <a:p>
            <a:pPr marL="447675" lvl="1" indent="-171450">
              <a:spcAft>
                <a:spcPts val="300"/>
              </a:spcAft>
              <a:buFont typeface="Courier New" panose="02070309020205020404" pitchFamily="49" charset="0"/>
              <a:buChar char="o"/>
            </a:pPr>
            <a:r>
              <a:rPr lang="en-US" sz="1050" dirty="0">
                <a:ea typeface="Ubuntu" charset="0"/>
                <a:cs typeface="Ubuntu" charset="0"/>
              </a:rPr>
              <a:t>Complexity of the process</a:t>
            </a:r>
          </a:p>
          <a:p>
            <a:pPr marL="447675" lvl="1" indent="-171450">
              <a:spcAft>
                <a:spcPts val="300"/>
              </a:spcAft>
              <a:buFont typeface="Courier New" panose="02070309020205020404" pitchFamily="49" charset="0"/>
              <a:buChar char="o"/>
            </a:pPr>
            <a:r>
              <a:rPr lang="en-US" sz="1050" dirty="0">
                <a:ea typeface="Ubuntu" charset="0"/>
                <a:cs typeface="Ubuntu" charset="0"/>
              </a:rPr>
              <a:t>Process level</a:t>
            </a:r>
            <a:br>
              <a:rPr lang="en-US" sz="1050" dirty="0">
                <a:ea typeface="Ubuntu" charset="0"/>
                <a:cs typeface="Ubuntu" charset="0"/>
              </a:rPr>
            </a:br>
            <a:r>
              <a:rPr lang="en-US" sz="1050" dirty="0">
                <a:ea typeface="Ubuntu" charset="0"/>
                <a:cs typeface="Ubuntu" charset="0"/>
              </a:rPr>
              <a:t>(L3 &gt; L4 &gt; L5)</a:t>
            </a:r>
          </a:p>
          <a:p>
            <a:pPr marL="447675" lvl="1" indent="-171450">
              <a:spcAft>
                <a:spcPts val="300"/>
              </a:spcAft>
              <a:buFont typeface="Courier New" panose="02070309020205020404" pitchFamily="49" charset="0"/>
              <a:buChar char="o"/>
            </a:pPr>
            <a:r>
              <a:rPr lang="en-US" sz="1050" dirty="0">
                <a:ea typeface="Ubuntu" charset="0"/>
                <a:cs typeface="Ubuntu" charset="0"/>
              </a:rPr>
              <a:t>Availability of colleagues to be involved, e.g.: holidays, end-of-term closure</a:t>
            </a:r>
          </a:p>
        </p:txBody>
      </p:sp>
      <p:sp>
        <p:nvSpPr>
          <p:cNvPr id="121" name="TextBox 120">
            <a:extLst>
              <a:ext uri="{FF2B5EF4-FFF2-40B4-BE49-F238E27FC236}">
                <a16:creationId xmlns:a16="http://schemas.microsoft.com/office/drawing/2014/main" id="{314A75CA-3F97-6168-0CD0-B5D5013C2C4A}"/>
              </a:ext>
            </a:extLst>
          </p:cNvPr>
          <p:cNvSpPr txBox="1"/>
          <p:nvPr/>
        </p:nvSpPr>
        <p:spPr>
          <a:xfrm>
            <a:off x="9589262" y="3570683"/>
            <a:ext cx="1923143" cy="1931298"/>
          </a:xfrm>
          <a:prstGeom prst="rect">
            <a:avLst/>
          </a:prstGeom>
          <a:noFill/>
        </p:spPr>
        <p:txBody>
          <a:bodyPr wrap="square" lIns="0" tIns="0" rIns="0" bIns="0" rtlCol="0">
            <a:spAutoFit/>
          </a:bodyPr>
          <a:lstStyle/>
          <a:p>
            <a:pPr marL="171450" indent="-171450">
              <a:spcBef>
                <a:spcPts val="600"/>
              </a:spcBef>
              <a:buFont typeface="Arial" panose="020B0604020202020204" pitchFamily="34" charset="0"/>
              <a:buChar char="•"/>
            </a:pPr>
            <a:r>
              <a:rPr lang="en-US" sz="1050" dirty="0">
                <a:ea typeface="Ubuntu" charset="0"/>
                <a:cs typeface="Ubuntu" charset="0"/>
              </a:rPr>
              <a:t>The colleagues involved should not be overburdened, attention should also be paid to the timing of (risky) BAU tasks (e.g.: monthly, annual reporting deadlines, planning period, etc.)</a:t>
            </a:r>
          </a:p>
          <a:p>
            <a:pPr marL="171450" indent="-171450">
              <a:spcBef>
                <a:spcPts val="600"/>
              </a:spcBef>
              <a:buFont typeface="Arial" panose="020B0604020202020204" pitchFamily="34" charset="0"/>
              <a:buChar char="•"/>
            </a:pPr>
            <a:r>
              <a:rPr lang="en-US" sz="1050" b="1" dirty="0">
                <a:ea typeface="Ubuntu" charset="0"/>
                <a:cs typeface="Ubuntu" charset="0"/>
              </a:rPr>
              <a:t>Phase-based rolling planning is recommended</a:t>
            </a:r>
          </a:p>
          <a:p>
            <a:pPr marL="171450" indent="-171450">
              <a:spcBef>
                <a:spcPts val="600"/>
              </a:spcBef>
              <a:buFont typeface="Arial" panose="020B0604020202020204" pitchFamily="34" charset="0"/>
              <a:buChar char="•"/>
            </a:pPr>
            <a:r>
              <a:rPr lang="en-US" sz="1050" b="1" dirty="0">
                <a:ea typeface="Ubuntu" charset="0"/>
                <a:cs typeface="Ubuntu" charset="0"/>
              </a:rPr>
              <a:t>Resource allocation should be supported from the management side</a:t>
            </a:r>
          </a:p>
        </p:txBody>
      </p:sp>
      <p:grpSp>
        <p:nvGrpSpPr>
          <p:cNvPr id="122" name="Group 121">
            <a:extLst>
              <a:ext uri="{FF2B5EF4-FFF2-40B4-BE49-F238E27FC236}">
                <a16:creationId xmlns:a16="http://schemas.microsoft.com/office/drawing/2014/main" id="{0937F4FA-2799-037D-2E31-825C588768B9}"/>
              </a:ext>
            </a:extLst>
          </p:cNvPr>
          <p:cNvGrpSpPr/>
          <p:nvPr/>
        </p:nvGrpSpPr>
        <p:grpSpPr>
          <a:xfrm>
            <a:off x="9082797" y="263000"/>
            <a:ext cx="2660094" cy="413542"/>
            <a:chOff x="9082797" y="263000"/>
            <a:chExt cx="2660094" cy="413542"/>
          </a:xfrm>
        </p:grpSpPr>
        <p:sp>
          <p:nvSpPr>
            <p:cNvPr id="133" name="Pentagon 7">
              <a:extLst>
                <a:ext uri="{FF2B5EF4-FFF2-40B4-BE49-F238E27FC236}">
                  <a16:creationId xmlns:a16="http://schemas.microsoft.com/office/drawing/2014/main" id="{2A65F5BE-ABC7-9FC0-9EB2-4951CD138BCD}"/>
                </a:ext>
              </a:extLst>
            </p:cNvPr>
            <p:cNvSpPr/>
            <p:nvPr/>
          </p:nvSpPr>
          <p:spPr bwMode="gray">
            <a:xfrm>
              <a:off x="9378489" y="270142"/>
              <a:ext cx="1405771" cy="406400"/>
            </a:xfrm>
            <a:prstGeom prst="homePlate">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6" name="Rectangle 125">
              <a:extLst>
                <a:ext uri="{FF2B5EF4-FFF2-40B4-BE49-F238E27FC236}">
                  <a16:creationId xmlns:a16="http://schemas.microsoft.com/office/drawing/2014/main" id="{2A864F08-16EE-7F28-2DB7-40F7A69F2CA7}"/>
                </a:ext>
              </a:extLst>
            </p:cNvPr>
            <p:cNvSpPr/>
            <p:nvPr/>
          </p:nvSpPr>
          <p:spPr bwMode="gray">
            <a:xfrm>
              <a:off x="9082797" y="26300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Preparation</a:t>
              </a:r>
            </a:p>
          </p:txBody>
        </p:sp>
        <p:sp>
          <p:nvSpPr>
            <p:cNvPr id="134" name="Rectangle 133">
              <a:extLst>
                <a:ext uri="{FF2B5EF4-FFF2-40B4-BE49-F238E27FC236}">
                  <a16:creationId xmlns:a16="http://schemas.microsoft.com/office/drawing/2014/main" id="{68E33D81-F11A-63DB-8E93-64A6F2978013}"/>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135" name="Arrow: Chevron 134">
              <a:extLst>
                <a:ext uri="{FF2B5EF4-FFF2-40B4-BE49-F238E27FC236}">
                  <a16:creationId xmlns:a16="http://schemas.microsoft.com/office/drawing/2014/main" id="{BDA601C6-6FB7-7E19-85D5-4EB00F30240C}"/>
                </a:ext>
              </a:extLst>
            </p:cNvPr>
            <p:cNvSpPr/>
            <p:nvPr/>
          </p:nvSpPr>
          <p:spPr bwMode="gray">
            <a:xfrm>
              <a:off x="10618273" y="270142"/>
              <a:ext cx="411480" cy="406400"/>
            </a:xfrm>
            <a:prstGeom prst="chevron">
              <a:avLst>
                <a:gd name="adj" fmla="val 51021"/>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6" name="Arrow: Chevron 135">
              <a:extLst>
                <a:ext uri="{FF2B5EF4-FFF2-40B4-BE49-F238E27FC236}">
                  <a16:creationId xmlns:a16="http://schemas.microsoft.com/office/drawing/2014/main" id="{D81DD01A-24BE-F1DA-2E47-575B059F7045}"/>
                </a:ext>
              </a:extLst>
            </p:cNvPr>
            <p:cNvSpPr/>
            <p:nvPr/>
          </p:nvSpPr>
          <p:spPr bwMode="gray">
            <a:xfrm>
              <a:off x="10857571" y="265725"/>
              <a:ext cx="411480" cy="406400"/>
            </a:xfrm>
            <a:prstGeom prst="chevron">
              <a:avLst>
                <a:gd name="adj" fmla="val 5202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7" name="Arrow: Chevron 136">
              <a:extLst>
                <a:ext uri="{FF2B5EF4-FFF2-40B4-BE49-F238E27FC236}">
                  <a16:creationId xmlns:a16="http://schemas.microsoft.com/office/drawing/2014/main" id="{24E1A61B-59BF-9EB5-ED58-68FC27174F21}"/>
                </a:ext>
              </a:extLst>
            </p:cNvPr>
            <p:cNvSpPr/>
            <p:nvPr/>
          </p:nvSpPr>
          <p:spPr bwMode="gray">
            <a:xfrm>
              <a:off x="11096869" y="265725"/>
              <a:ext cx="411480"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8" name="Arrow: Chevron 137">
              <a:extLst>
                <a:ext uri="{FF2B5EF4-FFF2-40B4-BE49-F238E27FC236}">
                  <a16:creationId xmlns:a16="http://schemas.microsoft.com/office/drawing/2014/main" id="{526D9044-66E1-70E5-4710-C3F217918F3C}"/>
                </a:ext>
              </a:extLst>
            </p:cNvPr>
            <p:cNvSpPr/>
            <p:nvPr/>
          </p:nvSpPr>
          <p:spPr bwMode="gray">
            <a:xfrm>
              <a:off x="11336166" y="265140"/>
              <a:ext cx="406725"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315950354"/>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think-cell data - do not delete" hidden="1">
            <a:extLst>
              <a:ext uri="{FF2B5EF4-FFF2-40B4-BE49-F238E27FC236}">
                <a16:creationId xmlns:a16="http://schemas.microsoft.com/office/drawing/2014/main" id="{6518F103-15BC-AAF9-2B92-EE8F5C0E7DD6}"/>
              </a:ext>
            </a:extLst>
          </p:cNvPr>
          <p:cNvGraphicFramePr>
            <a:graphicFrameLocks noChangeAspect="1"/>
          </p:cNvGraphicFramePr>
          <p:nvPr>
            <p:custDataLst>
              <p:tags r:id="rId1"/>
            </p:custDataLst>
            <p:extLst>
              <p:ext uri="{D42A27DB-BD31-4B8C-83A1-F6EECF244321}">
                <p14:modId xmlns:p14="http://schemas.microsoft.com/office/powerpoint/2010/main" val="138426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8" name="think-cell data - do not delete" hidden="1">
                        <a:extLst>
                          <a:ext uri="{FF2B5EF4-FFF2-40B4-BE49-F238E27FC236}">
                            <a16:creationId xmlns:a16="http://schemas.microsoft.com/office/drawing/2014/main" id="{6518F103-15BC-AAF9-2B92-EE8F5C0E7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EF6E8A5-B03A-CA09-4B7A-F348D220DD9B}"/>
              </a:ext>
            </a:extLst>
          </p:cNvPr>
          <p:cNvSpPr>
            <a:spLocks noGrp="1"/>
          </p:cNvSpPr>
          <p:nvPr>
            <p:ph type="body" sz="quarter" idx="22"/>
          </p:nvPr>
        </p:nvSpPr>
        <p:spPr/>
        <p:txBody>
          <a:bodyPr/>
          <a:lstStyle/>
          <a:p>
            <a:r>
              <a:rPr lang="en-US" dirty="0"/>
              <a:t>Following the selection of the processes, the As-is analysis aims at a complete mapping of the current operations and the identification of gaps, which will help to develop improvement guidelines</a:t>
            </a:r>
          </a:p>
        </p:txBody>
      </p:sp>
      <p:sp>
        <p:nvSpPr>
          <p:cNvPr id="3" name="Title 2">
            <a:extLst>
              <a:ext uri="{FF2B5EF4-FFF2-40B4-BE49-F238E27FC236}">
                <a16:creationId xmlns:a16="http://schemas.microsoft.com/office/drawing/2014/main" id="{5E20F11E-3B58-3035-A97D-ABD0EAB1D248}"/>
              </a:ext>
            </a:extLst>
          </p:cNvPr>
          <p:cNvSpPr>
            <a:spLocks noGrp="1"/>
          </p:cNvSpPr>
          <p:nvPr>
            <p:ph type="title"/>
          </p:nvPr>
        </p:nvSpPr>
        <p:spPr/>
        <p:txBody>
          <a:bodyPr vert="horz"/>
          <a:lstStyle/>
          <a:p>
            <a:r>
              <a:rPr lang="en-US" dirty="0"/>
              <a:t>As-Is analysis approach</a:t>
            </a:r>
          </a:p>
        </p:txBody>
      </p:sp>
      <p:sp>
        <p:nvSpPr>
          <p:cNvPr id="4" name="Rectangle 3">
            <a:extLst>
              <a:ext uri="{FF2B5EF4-FFF2-40B4-BE49-F238E27FC236}">
                <a16:creationId xmlns:a16="http://schemas.microsoft.com/office/drawing/2014/main" id="{5EAFF266-7CCB-9AA3-A31A-1764524A2D9D}"/>
              </a:ext>
            </a:extLst>
          </p:cNvPr>
          <p:cNvSpPr/>
          <p:nvPr/>
        </p:nvSpPr>
        <p:spPr bwMode="gray">
          <a:xfrm>
            <a:off x="0" y="1739033"/>
            <a:ext cx="12192000" cy="368322"/>
          </a:xfrm>
          <a:prstGeom prst="rect">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4">
            <a:extLst>
              <a:ext uri="{FF2B5EF4-FFF2-40B4-BE49-F238E27FC236}">
                <a16:creationId xmlns:a16="http://schemas.microsoft.com/office/drawing/2014/main" id="{337E865C-2F4E-591B-B5BC-E2EAD4C1F17C}"/>
              </a:ext>
            </a:extLst>
          </p:cNvPr>
          <p:cNvSpPr/>
          <p:nvPr/>
        </p:nvSpPr>
        <p:spPr bwMode="gray">
          <a:xfrm>
            <a:off x="2137540" y="1666234"/>
            <a:ext cx="9552810" cy="53751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dirty="0">
                <a:solidFill>
                  <a:srgbClr val="1CABE3"/>
                </a:solidFill>
              </a:rPr>
              <a:t>Complete mapping of the current process losses</a:t>
            </a:r>
          </a:p>
        </p:txBody>
      </p:sp>
      <p:sp>
        <p:nvSpPr>
          <p:cNvPr id="6" name="Oval 5">
            <a:extLst>
              <a:ext uri="{FF2B5EF4-FFF2-40B4-BE49-F238E27FC236}">
                <a16:creationId xmlns:a16="http://schemas.microsoft.com/office/drawing/2014/main" id="{DABCA023-648E-609A-0232-044DC4E828DA}"/>
              </a:ext>
            </a:extLst>
          </p:cNvPr>
          <p:cNvSpPr>
            <a:spLocks noChangeAspect="1"/>
          </p:cNvSpPr>
          <p:nvPr/>
        </p:nvSpPr>
        <p:spPr bwMode="gray">
          <a:xfrm>
            <a:off x="2001338" y="1885893"/>
            <a:ext cx="90352" cy="90352"/>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7" name="Straight Connector 6">
            <a:extLst>
              <a:ext uri="{FF2B5EF4-FFF2-40B4-BE49-F238E27FC236}">
                <a16:creationId xmlns:a16="http://schemas.microsoft.com/office/drawing/2014/main" id="{D93986CC-D6A1-E97F-4450-A7F3B3A9F9F8}"/>
              </a:ext>
            </a:extLst>
          </p:cNvPr>
          <p:cNvCxnSpPr>
            <a:cxnSpLocks/>
            <a:endCxn id="6" idx="2"/>
          </p:cNvCxnSpPr>
          <p:nvPr/>
        </p:nvCxnSpPr>
        <p:spPr>
          <a:xfrm>
            <a:off x="1153885" y="1930867"/>
            <a:ext cx="847453" cy="202"/>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842BB01B-445F-A785-74AD-6FB5A2CB43EA}"/>
              </a:ext>
            </a:extLst>
          </p:cNvPr>
          <p:cNvGrpSpPr/>
          <p:nvPr/>
        </p:nvGrpSpPr>
        <p:grpSpPr>
          <a:xfrm>
            <a:off x="501649" y="1604749"/>
            <a:ext cx="653634" cy="652236"/>
            <a:chOff x="501649" y="1468118"/>
            <a:chExt cx="653634" cy="652236"/>
          </a:xfrm>
        </p:grpSpPr>
        <p:sp>
          <p:nvSpPr>
            <p:cNvPr id="9" name="Oval 8">
              <a:extLst>
                <a:ext uri="{FF2B5EF4-FFF2-40B4-BE49-F238E27FC236}">
                  <a16:creationId xmlns:a16="http://schemas.microsoft.com/office/drawing/2014/main" id="{697A6450-D356-77DC-517B-7B6996BDCE27}"/>
                </a:ext>
              </a:extLst>
            </p:cNvPr>
            <p:cNvSpPr/>
            <p:nvPr/>
          </p:nvSpPr>
          <p:spPr bwMode="gray">
            <a:xfrm>
              <a:off x="506059" y="1469571"/>
              <a:ext cx="649224" cy="64922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Freeform 727">
              <a:extLst>
                <a:ext uri="{FF2B5EF4-FFF2-40B4-BE49-F238E27FC236}">
                  <a16:creationId xmlns:a16="http://schemas.microsoft.com/office/drawing/2014/main" id="{AB3A0D23-1011-EC8D-FAC7-9284080F5032}"/>
                </a:ext>
              </a:extLst>
            </p:cNvPr>
            <p:cNvSpPr>
              <a:spLocks noEditPoints="1"/>
            </p:cNvSpPr>
            <p:nvPr/>
          </p:nvSpPr>
          <p:spPr bwMode="auto">
            <a:xfrm>
              <a:off x="501649" y="1468118"/>
              <a:ext cx="652236" cy="6522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1CABE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728">
              <a:extLst>
                <a:ext uri="{FF2B5EF4-FFF2-40B4-BE49-F238E27FC236}">
                  <a16:creationId xmlns:a16="http://schemas.microsoft.com/office/drawing/2014/main" id="{384644FE-EBFD-38D6-CB53-538F5C433395}"/>
                </a:ext>
              </a:extLst>
            </p:cNvPr>
            <p:cNvSpPr>
              <a:spLocks noEditPoints="1"/>
            </p:cNvSpPr>
            <p:nvPr/>
          </p:nvSpPr>
          <p:spPr bwMode="auto">
            <a:xfrm>
              <a:off x="651280" y="1602402"/>
              <a:ext cx="366403" cy="36832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rgbClr val="1CABE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Oval 11">
            <a:extLst>
              <a:ext uri="{FF2B5EF4-FFF2-40B4-BE49-F238E27FC236}">
                <a16:creationId xmlns:a16="http://schemas.microsoft.com/office/drawing/2014/main" id="{3DE6A708-11F8-1A4C-282B-7A80870E0F84}"/>
              </a:ext>
            </a:extLst>
          </p:cNvPr>
          <p:cNvSpPr>
            <a:spLocks noChangeAspect="1"/>
          </p:cNvSpPr>
          <p:nvPr/>
        </p:nvSpPr>
        <p:spPr bwMode="gray">
          <a:xfrm>
            <a:off x="648466" y="2858250"/>
            <a:ext cx="360000" cy="360000"/>
          </a:xfrm>
          <a:prstGeom prst="ellipse">
            <a:avLst/>
          </a:prstGeom>
          <a:solidFill>
            <a:schemeClr val="bg1"/>
          </a:solidFill>
          <a:ln w="28575" algn="ctr">
            <a:solidFill>
              <a:srgbClr val="1CABE3"/>
            </a:solidFill>
            <a:miter lim="800000"/>
            <a:headEnd/>
            <a:tailEnd/>
          </a:ln>
        </p:spPr>
        <p:txBody>
          <a:bodyPr wrap="square" lIns="0" tIns="88900" rIns="0" bIns="88900" rtlCol="0" anchor="ctr"/>
          <a:lstStyle/>
          <a:p>
            <a:pPr algn="ctr">
              <a:lnSpc>
                <a:spcPct val="106000"/>
              </a:lnSpc>
              <a:buFont typeface="Wingdings 2" pitchFamily="18" charset="2"/>
              <a:buNone/>
            </a:pPr>
            <a:r>
              <a:rPr lang="en-US" sz="1400" b="1" dirty="0"/>
              <a:t>1</a:t>
            </a:r>
          </a:p>
        </p:txBody>
      </p:sp>
      <p:grpSp>
        <p:nvGrpSpPr>
          <p:cNvPr id="13" name="Group 12">
            <a:extLst>
              <a:ext uri="{FF2B5EF4-FFF2-40B4-BE49-F238E27FC236}">
                <a16:creationId xmlns:a16="http://schemas.microsoft.com/office/drawing/2014/main" id="{B6982520-480B-DBD7-EE80-2191CBAFBFD4}"/>
              </a:ext>
            </a:extLst>
          </p:cNvPr>
          <p:cNvGrpSpPr/>
          <p:nvPr/>
        </p:nvGrpSpPr>
        <p:grpSpPr>
          <a:xfrm>
            <a:off x="1136362" y="3863475"/>
            <a:ext cx="3348000" cy="918830"/>
            <a:chOff x="1669890" y="3350328"/>
            <a:chExt cx="3348000" cy="918830"/>
          </a:xfrm>
        </p:grpSpPr>
        <p:sp>
          <p:nvSpPr>
            <p:cNvPr id="14" name="Rounded Rectangle 22">
              <a:extLst>
                <a:ext uri="{FF2B5EF4-FFF2-40B4-BE49-F238E27FC236}">
                  <a16:creationId xmlns:a16="http://schemas.microsoft.com/office/drawing/2014/main" id="{9D0C61BB-F2B0-C3F8-04D3-9E2C62464D3B}"/>
                </a:ext>
              </a:extLst>
            </p:cNvPr>
            <p:cNvSpPr/>
            <p:nvPr/>
          </p:nvSpPr>
          <p:spPr bwMode="gray">
            <a:xfrm>
              <a:off x="1669890" y="3350329"/>
              <a:ext cx="3348000" cy="918829"/>
            </a:xfrm>
            <a:prstGeom prst="roundRect">
              <a:avLst>
                <a:gd name="adj" fmla="val 6162"/>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r>
                <a:rPr lang="en-US" sz="1100" b="1" dirty="0"/>
                <a:t>As-Is workshop</a:t>
              </a:r>
            </a:p>
            <a:p>
              <a:pPr marL="268288" indent="-180975">
                <a:lnSpc>
                  <a:spcPct val="106000"/>
                </a:lnSpc>
                <a:buFont typeface="Arial" panose="020B0604020202020204" pitchFamily="34" charset="0"/>
                <a:buChar char="•"/>
              </a:pPr>
              <a:r>
                <a:rPr lang="en-US" sz="1000" dirty="0"/>
                <a:t>Mapping and documenting the detailed As-Is process flow with the involvement of subject matter experts, who know the business processes inside out</a:t>
              </a:r>
            </a:p>
            <a:p>
              <a:pPr>
                <a:lnSpc>
                  <a:spcPct val="106000"/>
                </a:lnSpc>
              </a:pPr>
              <a:endParaRPr lang="en-US" sz="1200" dirty="0"/>
            </a:p>
            <a:p>
              <a:pPr marL="171450" indent="-171450">
                <a:lnSpc>
                  <a:spcPct val="106000"/>
                </a:lnSpc>
                <a:buFont typeface="Arial" panose="020B0604020202020204" pitchFamily="34" charset="0"/>
                <a:buChar char="•"/>
              </a:pPr>
              <a:endParaRPr lang="en-US" sz="1200" b="1" dirty="0"/>
            </a:p>
          </p:txBody>
        </p:sp>
        <p:sp>
          <p:nvSpPr>
            <p:cNvPr id="15" name="Round Same Side Corner Rectangle 24">
              <a:extLst>
                <a:ext uri="{FF2B5EF4-FFF2-40B4-BE49-F238E27FC236}">
                  <a16:creationId xmlns:a16="http://schemas.microsoft.com/office/drawing/2014/main" id="{A6BC2E42-272C-E78D-CC36-1422F699A8A0}"/>
                </a:ext>
              </a:extLst>
            </p:cNvPr>
            <p:cNvSpPr/>
            <p:nvPr/>
          </p:nvSpPr>
          <p:spPr bwMode="gray">
            <a:xfrm rot="16200000">
              <a:off x="1267072" y="3753148"/>
              <a:ext cx="918829" cy="113189"/>
            </a:xfrm>
            <a:prstGeom prst="round2SameRect">
              <a:avLst>
                <a:gd name="adj1" fmla="val 50000"/>
                <a:gd name="adj2" fmla="val 0"/>
              </a:avLst>
            </a:prstGeom>
            <a:solidFill>
              <a:srgbClr val="1CABE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6" name="Group 15">
            <a:extLst>
              <a:ext uri="{FF2B5EF4-FFF2-40B4-BE49-F238E27FC236}">
                <a16:creationId xmlns:a16="http://schemas.microsoft.com/office/drawing/2014/main" id="{EAA7916F-BE21-0409-F978-ABD5106589EF}"/>
              </a:ext>
            </a:extLst>
          </p:cNvPr>
          <p:cNvGrpSpPr/>
          <p:nvPr/>
        </p:nvGrpSpPr>
        <p:grpSpPr>
          <a:xfrm>
            <a:off x="1153885" y="2575608"/>
            <a:ext cx="3348000" cy="918830"/>
            <a:chOff x="1669890" y="2359657"/>
            <a:chExt cx="3348000" cy="918830"/>
          </a:xfrm>
        </p:grpSpPr>
        <p:sp>
          <p:nvSpPr>
            <p:cNvPr id="17" name="Rounded Rectangle 21">
              <a:extLst>
                <a:ext uri="{FF2B5EF4-FFF2-40B4-BE49-F238E27FC236}">
                  <a16:creationId xmlns:a16="http://schemas.microsoft.com/office/drawing/2014/main" id="{FC07ED99-B79B-283B-1559-5D23A7AFA07A}"/>
                </a:ext>
              </a:extLst>
            </p:cNvPr>
            <p:cNvSpPr/>
            <p:nvPr/>
          </p:nvSpPr>
          <p:spPr bwMode="gray">
            <a:xfrm>
              <a:off x="1669890" y="2359658"/>
              <a:ext cx="3348000" cy="918829"/>
            </a:xfrm>
            <a:prstGeom prst="roundRect">
              <a:avLst>
                <a:gd name="adj" fmla="val 6715"/>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r>
                <a:rPr lang="en-US" sz="1100" b="1" dirty="0"/>
                <a:t>Preparation</a:t>
              </a:r>
            </a:p>
            <a:p>
              <a:pPr marL="268288" indent="-180975">
                <a:lnSpc>
                  <a:spcPct val="106000"/>
                </a:lnSpc>
                <a:buFont typeface="Arial" panose="020B0604020202020204" pitchFamily="34" charset="0"/>
                <a:buChar char="•"/>
              </a:pPr>
              <a:r>
                <a:rPr lang="en-US" sz="1000" dirty="0"/>
                <a:t>Preparation for As-is workshop by reviewing available documents, sending out and analyzing surveys</a:t>
              </a:r>
            </a:p>
          </p:txBody>
        </p:sp>
        <p:sp>
          <p:nvSpPr>
            <p:cNvPr id="18" name="Round Same Side Corner Rectangle 25">
              <a:extLst>
                <a:ext uri="{FF2B5EF4-FFF2-40B4-BE49-F238E27FC236}">
                  <a16:creationId xmlns:a16="http://schemas.microsoft.com/office/drawing/2014/main" id="{F0E81A34-D7CF-783D-5730-F85CB3CEA5E5}"/>
                </a:ext>
              </a:extLst>
            </p:cNvPr>
            <p:cNvSpPr/>
            <p:nvPr/>
          </p:nvSpPr>
          <p:spPr bwMode="gray">
            <a:xfrm rot="16200000">
              <a:off x="1267072" y="2762477"/>
              <a:ext cx="918829" cy="113189"/>
            </a:xfrm>
            <a:prstGeom prst="round2SameRect">
              <a:avLst>
                <a:gd name="adj1" fmla="val 50000"/>
                <a:gd name="adj2" fmla="val 0"/>
              </a:avLst>
            </a:prstGeom>
            <a:solidFill>
              <a:srgbClr val="1CABE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9" name="Group 18">
            <a:extLst>
              <a:ext uri="{FF2B5EF4-FFF2-40B4-BE49-F238E27FC236}">
                <a16:creationId xmlns:a16="http://schemas.microsoft.com/office/drawing/2014/main" id="{05B269A8-2DEC-7DD4-0F00-265C16FDF046}"/>
              </a:ext>
            </a:extLst>
          </p:cNvPr>
          <p:cNvGrpSpPr/>
          <p:nvPr/>
        </p:nvGrpSpPr>
        <p:grpSpPr>
          <a:xfrm>
            <a:off x="1153885" y="5151342"/>
            <a:ext cx="3348000" cy="918830"/>
            <a:chOff x="1669890" y="4659010"/>
            <a:chExt cx="3348000" cy="918830"/>
          </a:xfrm>
        </p:grpSpPr>
        <p:sp>
          <p:nvSpPr>
            <p:cNvPr id="20" name="Rounded Rectangle 23">
              <a:extLst>
                <a:ext uri="{FF2B5EF4-FFF2-40B4-BE49-F238E27FC236}">
                  <a16:creationId xmlns:a16="http://schemas.microsoft.com/office/drawing/2014/main" id="{18C90C73-9BB7-ADE7-60FE-3C914BDEA213}"/>
                </a:ext>
              </a:extLst>
            </p:cNvPr>
            <p:cNvSpPr/>
            <p:nvPr/>
          </p:nvSpPr>
          <p:spPr bwMode="gray">
            <a:xfrm>
              <a:off x="1669890" y="4659011"/>
              <a:ext cx="3348000" cy="918829"/>
            </a:xfrm>
            <a:prstGeom prst="roundRect">
              <a:avLst>
                <a:gd name="adj" fmla="val 5057"/>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r>
                <a:rPr lang="en-US" sz="1100" b="1" dirty="0"/>
                <a:t>Identifying losses, root causes</a:t>
              </a:r>
            </a:p>
            <a:p>
              <a:pPr marL="268288" indent="-180975">
                <a:lnSpc>
                  <a:spcPct val="106000"/>
                </a:lnSpc>
                <a:buFont typeface="Arial" panose="020B0604020202020204" pitchFamily="34" charset="0"/>
                <a:buChar char="•"/>
              </a:pPr>
              <a:r>
                <a:rPr lang="en-US" sz="1000" dirty="0"/>
                <a:t>Identification of process failures, losses and root causes during a workshop, personal measurement or questionnaire survey</a:t>
              </a:r>
            </a:p>
          </p:txBody>
        </p:sp>
        <p:sp>
          <p:nvSpPr>
            <p:cNvPr id="21" name="Round Same Side Corner Rectangle 26">
              <a:extLst>
                <a:ext uri="{FF2B5EF4-FFF2-40B4-BE49-F238E27FC236}">
                  <a16:creationId xmlns:a16="http://schemas.microsoft.com/office/drawing/2014/main" id="{EE0A5A3C-9E84-81A5-8732-F105FB46A458}"/>
                </a:ext>
              </a:extLst>
            </p:cNvPr>
            <p:cNvSpPr/>
            <p:nvPr/>
          </p:nvSpPr>
          <p:spPr bwMode="gray">
            <a:xfrm rot="16200000">
              <a:off x="1267072" y="5061830"/>
              <a:ext cx="918829" cy="113189"/>
            </a:xfrm>
            <a:prstGeom prst="round2SameRect">
              <a:avLst>
                <a:gd name="adj1" fmla="val 50000"/>
                <a:gd name="adj2" fmla="val 0"/>
              </a:avLst>
            </a:prstGeom>
            <a:solidFill>
              <a:srgbClr val="1CABE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22" name="Straight Connector 21">
            <a:extLst>
              <a:ext uri="{FF2B5EF4-FFF2-40B4-BE49-F238E27FC236}">
                <a16:creationId xmlns:a16="http://schemas.microsoft.com/office/drawing/2014/main" id="{95C06FB2-E60C-2203-AE79-69F4A793CBEC}"/>
              </a:ext>
            </a:extLst>
          </p:cNvPr>
          <p:cNvCxnSpPr>
            <a:cxnSpLocks/>
          </p:cNvCxnSpPr>
          <p:nvPr/>
        </p:nvCxnSpPr>
        <p:spPr>
          <a:xfrm>
            <a:off x="825109" y="2256985"/>
            <a:ext cx="6714" cy="60126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34D28705-8BE9-34CC-C8FF-3F948EF168F6}"/>
              </a:ext>
            </a:extLst>
          </p:cNvPr>
          <p:cNvSpPr>
            <a:spLocks noChangeAspect="1"/>
          </p:cNvSpPr>
          <p:nvPr/>
        </p:nvSpPr>
        <p:spPr bwMode="gray">
          <a:xfrm>
            <a:off x="648466" y="4148943"/>
            <a:ext cx="360000" cy="360000"/>
          </a:xfrm>
          <a:prstGeom prst="ellipse">
            <a:avLst/>
          </a:prstGeom>
          <a:solidFill>
            <a:schemeClr val="bg1"/>
          </a:solidFill>
          <a:ln w="28575" algn="ctr">
            <a:solidFill>
              <a:srgbClr val="1CABE3"/>
            </a:solidFill>
            <a:miter lim="800000"/>
            <a:headEnd/>
            <a:tailEnd/>
          </a:ln>
        </p:spPr>
        <p:txBody>
          <a:bodyPr wrap="square" lIns="0" tIns="88900" rIns="0" bIns="88900" rtlCol="0" anchor="ctr"/>
          <a:lstStyle/>
          <a:p>
            <a:pPr algn="ctr">
              <a:lnSpc>
                <a:spcPct val="106000"/>
              </a:lnSpc>
              <a:buFont typeface="Wingdings 2" pitchFamily="18" charset="2"/>
              <a:buNone/>
            </a:pPr>
            <a:r>
              <a:rPr lang="en-US" sz="1400" b="1" dirty="0"/>
              <a:t>2</a:t>
            </a:r>
          </a:p>
        </p:txBody>
      </p:sp>
      <p:sp>
        <p:nvSpPr>
          <p:cNvPr id="24" name="Oval 23">
            <a:extLst>
              <a:ext uri="{FF2B5EF4-FFF2-40B4-BE49-F238E27FC236}">
                <a16:creationId xmlns:a16="http://schemas.microsoft.com/office/drawing/2014/main" id="{99B0A081-FFB5-740E-CDBB-59782802CC19}"/>
              </a:ext>
            </a:extLst>
          </p:cNvPr>
          <p:cNvSpPr>
            <a:spLocks noChangeAspect="1"/>
          </p:cNvSpPr>
          <p:nvPr/>
        </p:nvSpPr>
        <p:spPr bwMode="gray">
          <a:xfrm>
            <a:off x="648466" y="5433984"/>
            <a:ext cx="360000" cy="360000"/>
          </a:xfrm>
          <a:prstGeom prst="ellipse">
            <a:avLst/>
          </a:prstGeom>
          <a:solidFill>
            <a:schemeClr val="bg1"/>
          </a:solidFill>
          <a:ln w="28575" algn="ctr">
            <a:solidFill>
              <a:srgbClr val="1CABE3"/>
            </a:solidFill>
            <a:miter lim="800000"/>
            <a:headEnd/>
            <a:tailEnd/>
          </a:ln>
        </p:spPr>
        <p:txBody>
          <a:bodyPr wrap="square" lIns="0" tIns="88900" rIns="0" bIns="88900" rtlCol="0" anchor="ctr"/>
          <a:lstStyle/>
          <a:p>
            <a:pPr algn="ctr">
              <a:lnSpc>
                <a:spcPct val="106000"/>
              </a:lnSpc>
              <a:buFont typeface="Wingdings 2" pitchFamily="18" charset="2"/>
              <a:buNone/>
            </a:pPr>
            <a:r>
              <a:rPr lang="en-US" sz="1400" b="1" dirty="0"/>
              <a:t>3</a:t>
            </a:r>
          </a:p>
        </p:txBody>
      </p:sp>
      <p:cxnSp>
        <p:nvCxnSpPr>
          <p:cNvPr id="25" name="Straight Connector 24">
            <a:extLst>
              <a:ext uri="{FF2B5EF4-FFF2-40B4-BE49-F238E27FC236}">
                <a16:creationId xmlns:a16="http://schemas.microsoft.com/office/drawing/2014/main" id="{5B83B8CC-2F0C-44AB-5ED4-6A28F261C448}"/>
              </a:ext>
            </a:extLst>
          </p:cNvPr>
          <p:cNvCxnSpPr>
            <a:cxnSpLocks/>
          </p:cNvCxnSpPr>
          <p:nvPr/>
        </p:nvCxnSpPr>
        <p:spPr>
          <a:xfrm flipH="1">
            <a:off x="824086" y="3211794"/>
            <a:ext cx="8761" cy="93714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9C803C6-A555-9FE3-A7A4-D84A8D1B920B}"/>
              </a:ext>
            </a:extLst>
          </p:cNvPr>
          <p:cNvCxnSpPr>
            <a:cxnSpLocks/>
          </p:cNvCxnSpPr>
          <p:nvPr/>
        </p:nvCxnSpPr>
        <p:spPr>
          <a:xfrm flipH="1">
            <a:off x="824086" y="4502487"/>
            <a:ext cx="8761" cy="93149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Isosceles Triangle 26">
            <a:extLst>
              <a:ext uri="{FF2B5EF4-FFF2-40B4-BE49-F238E27FC236}">
                <a16:creationId xmlns:a16="http://schemas.microsoft.com/office/drawing/2014/main" id="{BADD66E9-EDEA-1873-0961-ED9CB98D96AF}"/>
              </a:ext>
            </a:extLst>
          </p:cNvPr>
          <p:cNvSpPr/>
          <p:nvPr/>
        </p:nvSpPr>
        <p:spPr bwMode="gray">
          <a:xfrm rot="5400000">
            <a:off x="2962652" y="4210158"/>
            <a:ext cx="3499966" cy="220060"/>
          </a:xfrm>
          <a:prstGeom prst="triangle">
            <a:avLst/>
          </a:prstGeom>
          <a:solidFill>
            <a:srgbClr val="1CABE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8" name="Group 27">
            <a:extLst>
              <a:ext uri="{FF2B5EF4-FFF2-40B4-BE49-F238E27FC236}">
                <a16:creationId xmlns:a16="http://schemas.microsoft.com/office/drawing/2014/main" id="{518A31E0-9689-2FF6-75D2-9A3D8495F46C}"/>
              </a:ext>
            </a:extLst>
          </p:cNvPr>
          <p:cNvGrpSpPr/>
          <p:nvPr/>
        </p:nvGrpSpPr>
        <p:grpSpPr>
          <a:xfrm>
            <a:off x="5211433" y="2582805"/>
            <a:ext cx="1625618" cy="1265526"/>
            <a:chOff x="5692140" y="2435473"/>
            <a:chExt cx="1833424" cy="1733670"/>
          </a:xfrm>
        </p:grpSpPr>
        <p:pic>
          <p:nvPicPr>
            <p:cNvPr id="29" name="Picture 28">
              <a:extLst>
                <a:ext uri="{FF2B5EF4-FFF2-40B4-BE49-F238E27FC236}">
                  <a16:creationId xmlns:a16="http://schemas.microsoft.com/office/drawing/2014/main" id="{66B00349-3127-6286-2D7C-0C9DD440C0CB}"/>
                </a:ext>
              </a:extLst>
            </p:cNvPr>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5692140" y="2435473"/>
              <a:ext cx="1833424" cy="1221765"/>
            </a:xfrm>
            <a:prstGeom prst="rect">
              <a:avLst/>
            </a:prstGeom>
            <a:ln>
              <a:solidFill>
                <a:schemeClr val="bg1">
                  <a:lumMod val="95000"/>
                </a:schemeClr>
              </a:solidFill>
            </a:ln>
          </p:spPr>
        </p:pic>
        <p:grpSp>
          <p:nvGrpSpPr>
            <p:cNvPr id="30" name="Group 29">
              <a:extLst>
                <a:ext uri="{FF2B5EF4-FFF2-40B4-BE49-F238E27FC236}">
                  <a16:creationId xmlns:a16="http://schemas.microsoft.com/office/drawing/2014/main" id="{5C75ADA6-177B-45DE-7F91-22CCEFD732F1}"/>
                </a:ext>
              </a:extLst>
            </p:cNvPr>
            <p:cNvGrpSpPr/>
            <p:nvPr/>
          </p:nvGrpSpPr>
          <p:grpSpPr>
            <a:xfrm>
              <a:off x="5692140" y="3356387"/>
              <a:ext cx="1833424" cy="812756"/>
              <a:chOff x="5692140" y="3356387"/>
              <a:chExt cx="1833424" cy="812756"/>
            </a:xfrm>
          </p:grpSpPr>
          <p:sp>
            <p:nvSpPr>
              <p:cNvPr id="31" name="Rectangle 30">
                <a:extLst>
                  <a:ext uri="{FF2B5EF4-FFF2-40B4-BE49-F238E27FC236}">
                    <a16:creationId xmlns:a16="http://schemas.microsoft.com/office/drawing/2014/main" id="{5E0D5E62-18B8-2D41-356A-A8AA3615491B}"/>
                  </a:ext>
                </a:extLst>
              </p:cNvPr>
              <p:cNvSpPr/>
              <p:nvPr/>
            </p:nvSpPr>
            <p:spPr bwMode="gray">
              <a:xfrm>
                <a:off x="5692140" y="3643765"/>
                <a:ext cx="1833424" cy="525378"/>
              </a:xfrm>
              <a:prstGeom prst="rect">
                <a:avLst/>
              </a:prstGeom>
              <a:solidFill>
                <a:srgbClr val="F7F7F7"/>
              </a:solidFill>
              <a:ln w="19050" algn="ctr">
                <a:solidFill>
                  <a:schemeClr val="bg1">
                    <a:lumMod val="95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n-US" sz="1000" b="1" dirty="0"/>
                  <a:t>Working Group Leader</a:t>
                </a:r>
              </a:p>
            </p:txBody>
          </p:sp>
          <p:sp>
            <p:nvSpPr>
              <p:cNvPr id="32" name="Right Triangle 31">
                <a:extLst>
                  <a:ext uri="{FF2B5EF4-FFF2-40B4-BE49-F238E27FC236}">
                    <a16:creationId xmlns:a16="http://schemas.microsoft.com/office/drawing/2014/main" id="{93176F29-3828-68A0-59E6-CAC12589B8DC}"/>
                  </a:ext>
                </a:extLst>
              </p:cNvPr>
              <p:cNvSpPr/>
              <p:nvPr/>
            </p:nvSpPr>
            <p:spPr bwMode="gray">
              <a:xfrm>
                <a:off x="5692140" y="3356387"/>
                <a:ext cx="476250" cy="285957"/>
              </a:xfrm>
              <a:prstGeom prst="rtTriangle">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nvGrpSpPr>
          <p:cNvPr id="33" name="Group 32">
            <a:extLst>
              <a:ext uri="{FF2B5EF4-FFF2-40B4-BE49-F238E27FC236}">
                <a16:creationId xmlns:a16="http://schemas.microsoft.com/office/drawing/2014/main" id="{69D23250-F17B-D7E2-49BB-97E9B48ACAB3}"/>
              </a:ext>
            </a:extLst>
          </p:cNvPr>
          <p:cNvGrpSpPr/>
          <p:nvPr/>
        </p:nvGrpSpPr>
        <p:grpSpPr>
          <a:xfrm>
            <a:off x="7243563" y="2579265"/>
            <a:ext cx="1627200" cy="1268548"/>
            <a:chOff x="7707695" y="2433574"/>
            <a:chExt cx="1834209" cy="1737199"/>
          </a:xfrm>
        </p:grpSpPr>
        <p:pic>
          <p:nvPicPr>
            <p:cNvPr id="34" name="Picture 33">
              <a:extLst>
                <a:ext uri="{FF2B5EF4-FFF2-40B4-BE49-F238E27FC236}">
                  <a16:creationId xmlns:a16="http://schemas.microsoft.com/office/drawing/2014/main" id="{113CE846-22D4-4D97-2F1F-BCE1947E2226}"/>
                </a:ext>
              </a:extLst>
            </p:cNvPr>
            <p:cNvPicPr>
              <a:picLocks noChangeAspect="1"/>
            </p:cNvPicPr>
            <p:nvPr/>
          </p:nvPicPr>
          <p:blipFill>
            <a:blip r:embed="rId7" cstate="email">
              <a:grayscl/>
              <a:extLst>
                <a:ext uri="{28A0092B-C50C-407E-A947-70E740481C1C}">
                  <a14:useLocalDpi xmlns:a14="http://schemas.microsoft.com/office/drawing/2010/main"/>
                </a:ext>
              </a:extLst>
            </a:blip>
            <a:stretch>
              <a:fillRect/>
            </a:stretch>
          </p:blipFill>
          <p:spPr>
            <a:xfrm>
              <a:off x="7708480" y="2433574"/>
              <a:ext cx="1833424" cy="1221765"/>
            </a:xfrm>
            <a:prstGeom prst="rect">
              <a:avLst/>
            </a:prstGeom>
            <a:ln>
              <a:solidFill>
                <a:schemeClr val="bg1">
                  <a:lumMod val="95000"/>
                </a:schemeClr>
              </a:solidFill>
            </a:ln>
          </p:spPr>
        </p:pic>
        <p:grpSp>
          <p:nvGrpSpPr>
            <p:cNvPr id="35" name="Group 34">
              <a:extLst>
                <a:ext uri="{FF2B5EF4-FFF2-40B4-BE49-F238E27FC236}">
                  <a16:creationId xmlns:a16="http://schemas.microsoft.com/office/drawing/2014/main" id="{C72FE9ED-F886-4E27-7B79-A400AECC3B48}"/>
                </a:ext>
              </a:extLst>
            </p:cNvPr>
            <p:cNvGrpSpPr/>
            <p:nvPr/>
          </p:nvGrpSpPr>
          <p:grpSpPr>
            <a:xfrm>
              <a:off x="7707695" y="3356387"/>
              <a:ext cx="1834209" cy="814386"/>
              <a:chOff x="7707695" y="3356387"/>
              <a:chExt cx="1834209" cy="814386"/>
            </a:xfrm>
          </p:grpSpPr>
          <p:sp>
            <p:nvSpPr>
              <p:cNvPr id="36" name="Rectangle 35">
                <a:extLst>
                  <a:ext uri="{FF2B5EF4-FFF2-40B4-BE49-F238E27FC236}">
                    <a16:creationId xmlns:a16="http://schemas.microsoft.com/office/drawing/2014/main" id="{AF69F957-FE28-6968-208A-0FE12D32FD81}"/>
                  </a:ext>
                </a:extLst>
              </p:cNvPr>
              <p:cNvSpPr/>
              <p:nvPr/>
            </p:nvSpPr>
            <p:spPr bwMode="gray">
              <a:xfrm>
                <a:off x="7708480" y="3643764"/>
                <a:ext cx="1833424" cy="527009"/>
              </a:xfrm>
              <a:prstGeom prst="rect">
                <a:avLst/>
              </a:prstGeom>
              <a:solidFill>
                <a:srgbClr val="F7F7F7"/>
              </a:solidFill>
              <a:ln w="19050" algn="ctr">
                <a:solidFill>
                  <a:schemeClr val="bg1">
                    <a:lumMod val="95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n-US" sz="1000" b="1" dirty="0"/>
                  <a:t>Subject matter experts</a:t>
                </a:r>
              </a:p>
            </p:txBody>
          </p:sp>
          <p:sp>
            <p:nvSpPr>
              <p:cNvPr id="37" name="Right Triangle 36">
                <a:extLst>
                  <a:ext uri="{FF2B5EF4-FFF2-40B4-BE49-F238E27FC236}">
                    <a16:creationId xmlns:a16="http://schemas.microsoft.com/office/drawing/2014/main" id="{86C6C72F-982E-011E-F5F4-93EA9A5C2826}"/>
                  </a:ext>
                </a:extLst>
              </p:cNvPr>
              <p:cNvSpPr/>
              <p:nvPr/>
            </p:nvSpPr>
            <p:spPr bwMode="gray">
              <a:xfrm>
                <a:off x="7707695" y="3356387"/>
                <a:ext cx="476250" cy="285957"/>
              </a:xfrm>
              <a:prstGeom prst="rtTriangle">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nvGrpSpPr>
          <p:cNvPr id="38" name="Group 37">
            <a:extLst>
              <a:ext uri="{FF2B5EF4-FFF2-40B4-BE49-F238E27FC236}">
                <a16:creationId xmlns:a16="http://schemas.microsoft.com/office/drawing/2014/main" id="{3786FAD9-3FA2-DEEF-2784-94D50A0C70D8}"/>
              </a:ext>
            </a:extLst>
          </p:cNvPr>
          <p:cNvGrpSpPr/>
          <p:nvPr/>
        </p:nvGrpSpPr>
        <p:grpSpPr>
          <a:xfrm>
            <a:off x="9277274" y="2574301"/>
            <a:ext cx="1627200" cy="1263898"/>
            <a:chOff x="9724035" y="2433574"/>
            <a:chExt cx="1834209" cy="1740884"/>
          </a:xfrm>
        </p:grpSpPr>
        <p:pic>
          <p:nvPicPr>
            <p:cNvPr id="39" name="Picture 38">
              <a:extLst>
                <a:ext uri="{FF2B5EF4-FFF2-40B4-BE49-F238E27FC236}">
                  <a16:creationId xmlns:a16="http://schemas.microsoft.com/office/drawing/2014/main" id="{51E93830-0189-9459-F8DA-5FA5562CC12E}"/>
                </a:ext>
              </a:extLst>
            </p:cNvPr>
            <p:cNvPicPr>
              <a:picLocks noChangeAspect="1"/>
            </p:cNvPicPr>
            <p:nvPr/>
          </p:nvPicPr>
          <p:blipFill>
            <a:blip r:embed="rId8" cstate="email">
              <a:grayscl/>
              <a:extLst>
                <a:ext uri="{28A0092B-C50C-407E-A947-70E740481C1C}">
                  <a14:useLocalDpi xmlns:a14="http://schemas.microsoft.com/office/drawing/2010/main"/>
                </a:ext>
              </a:extLst>
            </a:blip>
            <a:stretch>
              <a:fillRect/>
            </a:stretch>
          </p:blipFill>
          <p:spPr>
            <a:xfrm>
              <a:off x="9724820" y="2433574"/>
              <a:ext cx="1833424" cy="1221765"/>
            </a:xfrm>
            <a:prstGeom prst="rect">
              <a:avLst/>
            </a:prstGeom>
            <a:ln>
              <a:solidFill>
                <a:schemeClr val="bg1">
                  <a:lumMod val="95000"/>
                </a:schemeClr>
              </a:solidFill>
            </a:ln>
          </p:spPr>
        </p:pic>
        <p:grpSp>
          <p:nvGrpSpPr>
            <p:cNvPr id="40" name="Group 39">
              <a:extLst>
                <a:ext uri="{FF2B5EF4-FFF2-40B4-BE49-F238E27FC236}">
                  <a16:creationId xmlns:a16="http://schemas.microsoft.com/office/drawing/2014/main" id="{5A0D6FF1-0458-D6F8-EF1E-303CE9176F2C}"/>
                </a:ext>
              </a:extLst>
            </p:cNvPr>
            <p:cNvGrpSpPr/>
            <p:nvPr/>
          </p:nvGrpSpPr>
          <p:grpSpPr>
            <a:xfrm>
              <a:off x="9724035" y="3359671"/>
              <a:ext cx="1834209" cy="814787"/>
              <a:chOff x="9724035" y="3359671"/>
              <a:chExt cx="1834209" cy="814787"/>
            </a:xfrm>
          </p:grpSpPr>
          <p:sp>
            <p:nvSpPr>
              <p:cNvPr id="41" name="Rectangle 40">
                <a:extLst>
                  <a:ext uri="{FF2B5EF4-FFF2-40B4-BE49-F238E27FC236}">
                    <a16:creationId xmlns:a16="http://schemas.microsoft.com/office/drawing/2014/main" id="{1965C964-697E-32B4-3CCD-18BA0D617FF3}"/>
                  </a:ext>
                </a:extLst>
              </p:cNvPr>
              <p:cNvSpPr/>
              <p:nvPr/>
            </p:nvSpPr>
            <p:spPr bwMode="gray">
              <a:xfrm>
                <a:off x="9724820" y="3655338"/>
                <a:ext cx="1833424" cy="519120"/>
              </a:xfrm>
              <a:prstGeom prst="rect">
                <a:avLst/>
              </a:prstGeom>
              <a:solidFill>
                <a:srgbClr val="F7F7F7"/>
              </a:solidFill>
              <a:ln w="19050" algn="ctr">
                <a:solidFill>
                  <a:schemeClr val="bg1">
                    <a:lumMod val="95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n-US" sz="1000" b="1" dirty="0"/>
                  <a:t>Process management colleagues</a:t>
                </a:r>
              </a:p>
            </p:txBody>
          </p:sp>
          <p:sp>
            <p:nvSpPr>
              <p:cNvPr id="42" name="Right Triangle 41">
                <a:extLst>
                  <a:ext uri="{FF2B5EF4-FFF2-40B4-BE49-F238E27FC236}">
                    <a16:creationId xmlns:a16="http://schemas.microsoft.com/office/drawing/2014/main" id="{24DE65CC-D61D-4C69-B8BD-B529A6585E29}"/>
                  </a:ext>
                </a:extLst>
              </p:cNvPr>
              <p:cNvSpPr/>
              <p:nvPr/>
            </p:nvSpPr>
            <p:spPr bwMode="gray">
              <a:xfrm>
                <a:off x="9724035" y="3359671"/>
                <a:ext cx="476250" cy="289172"/>
              </a:xfrm>
              <a:prstGeom prst="rtTriangle">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sp>
        <p:nvSpPr>
          <p:cNvPr id="43" name="Rectangle 42">
            <a:extLst>
              <a:ext uri="{FF2B5EF4-FFF2-40B4-BE49-F238E27FC236}">
                <a16:creationId xmlns:a16="http://schemas.microsoft.com/office/drawing/2014/main" id="{4096FB92-94B5-D9C6-79DE-B6EFF3007AEC}"/>
              </a:ext>
            </a:extLst>
          </p:cNvPr>
          <p:cNvSpPr/>
          <p:nvPr/>
        </p:nvSpPr>
        <p:spPr bwMode="gray">
          <a:xfrm>
            <a:off x="941614" y="2115519"/>
            <a:ext cx="9643836" cy="53751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dirty="0">
                <a:solidFill>
                  <a:srgbClr val="1CABE3"/>
                </a:solidFill>
              </a:rPr>
              <a:t>Tasks</a:t>
            </a:r>
          </a:p>
        </p:txBody>
      </p:sp>
      <p:sp>
        <p:nvSpPr>
          <p:cNvPr id="44" name="Rectangle 43">
            <a:extLst>
              <a:ext uri="{FF2B5EF4-FFF2-40B4-BE49-F238E27FC236}">
                <a16:creationId xmlns:a16="http://schemas.microsoft.com/office/drawing/2014/main" id="{D5ADD9F1-FB11-564F-C87B-2667D038F30C}"/>
              </a:ext>
            </a:extLst>
          </p:cNvPr>
          <p:cNvSpPr/>
          <p:nvPr/>
        </p:nvSpPr>
        <p:spPr bwMode="gray">
          <a:xfrm>
            <a:off x="4903119" y="2115519"/>
            <a:ext cx="6218271" cy="53751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dirty="0">
                <a:solidFill>
                  <a:srgbClr val="1CABE3"/>
                </a:solidFill>
              </a:rPr>
              <a:t>Key players</a:t>
            </a:r>
          </a:p>
        </p:txBody>
      </p:sp>
      <p:sp>
        <p:nvSpPr>
          <p:cNvPr id="45" name="Rectangle 44">
            <a:extLst>
              <a:ext uri="{FF2B5EF4-FFF2-40B4-BE49-F238E27FC236}">
                <a16:creationId xmlns:a16="http://schemas.microsoft.com/office/drawing/2014/main" id="{9B5CBAD2-72C8-0C5D-A7CA-1A8DD806F8F3}"/>
              </a:ext>
            </a:extLst>
          </p:cNvPr>
          <p:cNvSpPr/>
          <p:nvPr/>
        </p:nvSpPr>
        <p:spPr bwMode="gray">
          <a:xfrm>
            <a:off x="4903119" y="3827547"/>
            <a:ext cx="6218271" cy="53751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dirty="0">
                <a:solidFill>
                  <a:srgbClr val="1CABE3"/>
                </a:solidFill>
              </a:rPr>
              <a:t>Deliverables</a:t>
            </a:r>
          </a:p>
        </p:txBody>
      </p:sp>
      <p:grpSp>
        <p:nvGrpSpPr>
          <p:cNvPr id="46" name="Group 45">
            <a:extLst>
              <a:ext uri="{FF2B5EF4-FFF2-40B4-BE49-F238E27FC236}">
                <a16:creationId xmlns:a16="http://schemas.microsoft.com/office/drawing/2014/main" id="{03079ACA-7814-6C65-9E3E-FCDBEFF9FCDB}"/>
              </a:ext>
            </a:extLst>
          </p:cNvPr>
          <p:cNvGrpSpPr/>
          <p:nvPr/>
        </p:nvGrpSpPr>
        <p:grpSpPr>
          <a:xfrm>
            <a:off x="5123180" y="4471182"/>
            <a:ext cx="6021024" cy="1499198"/>
            <a:chOff x="5692140" y="4840105"/>
            <a:chExt cx="6021024" cy="1499198"/>
          </a:xfrm>
        </p:grpSpPr>
        <p:grpSp>
          <p:nvGrpSpPr>
            <p:cNvPr id="47" name="Group 46">
              <a:extLst>
                <a:ext uri="{FF2B5EF4-FFF2-40B4-BE49-F238E27FC236}">
                  <a16:creationId xmlns:a16="http://schemas.microsoft.com/office/drawing/2014/main" id="{BDA9E4BC-CB66-99FB-2D10-27AF7B371BE1}"/>
                </a:ext>
              </a:extLst>
            </p:cNvPr>
            <p:cNvGrpSpPr/>
            <p:nvPr/>
          </p:nvGrpSpPr>
          <p:grpSpPr>
            <a:xfrm>
              <a:off x="5692140" y="4840105"/>
              <a:ext cx="6021024" cy="1499198"/>
              <a:chOff x="5692140" y="4840105"/>
              <a:chExt cx="6021024" cy="1499198"/>
            </a:xfrm>
          </p:grpSpPr>
          <p:grpSp>
            <p:nvGrpSpPr>
              <p:cNvPr id="49" name="Group 48">
                <a:extLst>
                  <a:ext uri="{FF2B5EF4-FFF2-40B4-BE49-F238E27FC236}">
                    <a16:creationId xmlns:a16="http://schemas.microsoft.com/office/drawing/2014/main" id="{564C7F95-A99A-D9A4-DC95-CD9D24FF1798}"/>
                  </a:ext>
                </a:extLst>
              </p:cNvPr>
              <p:cNvGrpSpPr/>
              <p:nvPr/>
            </p:nvGrpSpPr>
            <p:grpSpPr>
              <a:xfrm>
                <a:off x="5692140" y="4848553"/>
                <a:ext cx="5866104" cy="1490750"/>
                <a:chOff x="1669890" y="4659009"/>
                <a:chExt cx="3749398" cy="918831"/>
              </a:xfrm>
            </p:grpSpPr>
            <p:sp>
              <p:nvSpPr>
                <p:cNvPr id="58" name="Rounded Rectangle 88">
                  <a:extLst>
                    <a:ext uri="{FF2B5EF4-FFF2-40B4-BE49-F238E27FC236}">
                      <a16:creationId xmlns:a16="http://schemas.microsoft.com/office/drawing/2014/main" id="{2E9B000A-A4BD-1B61-FFC8-674AF56F0BB0}"/>
                    </a:ext>
                  </a:extLst>
                </p:cNvPr>
                <p:cNvSpPr/>
                <p:nvPr/>
              </p:nvSpPr>
              <p:spPr bwMode="gray">
                <a:xfrm>
                  <a:off x="1669890" y="4659011"/>
                  <a:ext cx="3749398" cy="918829"/>
                </a:xfrm>
                <a:prstGeom prst="roundRect">
                  <a:avLst>
                    <a:gd name="adj" fmla="val 5057"/>
                  </a:avLst>
                </a:prstGeom>
                <a:solidFill>
                  <a:schemeClr val="bg1">
                    <a:lumMod val="95000"/>
                  </a:schemeClr>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endParaRPr lang="en-US" sz="1200" dirty="0"/>
                </a:p>
              </p:txBody>
            </p:sp>
            <p:sp>
              <p:nvSpPr>
                <p:cNvPr id="59" name="Round Same Side Corner Rectangle 89">
                  <a:extLst>
                    <a:ext uri="{FF2B5EF4-FFF2-40B4-BE49-F238E27FC236}">
                      <a16:creationId xmlns:a16="http://schemas.microsoft.com/office/drawing/2014/main" id="{5BF6DAF7-D049-7A06-91A9-59BAA22612F3}"/>
                    </a:ext>
                  </a:extLst>
                </p:cNvPr>
                <p:cNvSpPr/>
                <p:nvPr/>
              </p:nvSpPr>
              <p:spPr bwMode="gray">
                <a:xfrm rot="16200000">
                  <a:off x="1245545" y="5083357"/>
                  <a:ext cx="918829" cy="70134"/>
                </a:xfrm>
                <a:prstGeom prst="round2SameRect">
                  <a:avLst>
                    <a:gd name="adj1" fmla="val 50000"/>
                    <a:gd name="adj2" fmla="val 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0" name="Group 49">
                <a:extLst>
                  <a:ext uri="{FF2B5EF4-FFF2-40B4-BE49-F238E27FC236}">
                    <a16:creationId xmlns:a16="http://schemas.microsoft.com/office/drawing/2014/main" id="{F48DD0C5-387D-A083-F5F5-FC47032EB103}"/>
                  </a:ext>
                </a:extLst>
              </p:cNvPr>
              <p:cNvGrpSpPr/>
              <p:nvPr/>
            </p:nvGrpSpPr>
            <p:grpSpPr>
              <a:xfrm>
                <a:off x="5856485" y="5498860"/>
                <a:ext cx="1338625" cy="669945"/>
                <a:chOff x="9414735" y="3389147"/>
                <a:chExt cx="4378648" cy="1230760"/>
              </a:xfrm>
              <a:effectLst>
                <a:outerShdw blurRad="50800" dist="38100" dir="2700000" algn="tl" rotWithShape="0">
                  <a:prstClr val="black">
                    <a:alpha val="40000"/>
                  </a:prstClr>
                </a:outerShdw>
              </a:effectLst>
            </p:grpSpPr>
            <p:sp>
              <p:nvSpPr>
                <p:cNvPr id="56" name="Rectangle 55">
                  <a:extLst>
                    <a:ext uri="{FF2B5EF4-FFF2-40B4-BE49-F238E27FC236}">
                      <a16:creationId xmlns:a16="http://schemas.microsoft.com/office/drawing/2014/main" id="{E41D32E6-6521-5CF2-BB38-C8CF15B24390}"/>
                    </a:ext>
                  </a:extLst>
                </p:cNvPr>
                <p:cNvSpPr/>
                <p:nvPr/>
              </p:nvSpPr>
              <p:spPr>
                <a:xfrm>
                  <a:off x="9414735" y="3389147"/>
                  <a:ext cx="4378648" cy="1230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 name="Picture 56">
                  <a:extLst>
                    <a:ext uri="{FF2B5EF4-FFF2-40B4-BE49-F238E27FC236}">
                      <a16:creationId xmlns:a16="http://schemas.microsoft.com/office/drawing/2014/main" id="{C1E30456-3AD2-7C0E-4C8B-A58023F3B8C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56050" y="3401798"/>
                  <a:ext cx="4337333" cy="1218109"/>
                </a:xfrm>
                <a:prstGeom prst="rect">
                  <a:avLst/>
                </a:prstGeom>
                <a:ln>
                  <a:solidFill>
                    <a:schemeClr val="bg1">
                      <a:lumMod val="95000"/>
                    </a:schemeClr>
                  </a:solidFill>
                </a:ln>
                <a:effectLst>
                  <a:outerShdw blurRad="50800" dist="38100" dir="2700000" algn="tl" rotWithShape="0">
                    <a:prstClr val="black">
                      <a:alpha val="40000"/>
                    </a:prstClr>
                  </a:outerShdw>
                </a:effectLst>
              </p:spPr>
            </p:pic>
          </p:grpSp>
          <p:pic>
            <p:nvPicPr>
              <p:cNvPr id="51" name="Picture 50">
                <a:extLst>
                  <a:ext uri="{FF2B5EF4-FFF2-40B4-BE49-F238E27FC236}">
                    <a16:creationId xmlns:a16="http://schemas.microsoft.com/office/drawing/2014/main" id="{38F4C681-B8CF-74C9-7AAA-6C89615DD6E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17758" y="5498860"/>
                <a:ext cx="1454647" cy="66994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52" name="Picture 9" descr="Medical Practice Survey Form | Medical Forms | Questionnaire template, Survey  template, Survey form">
                <a:extLst>
                  <a:ext uri="{FF2B5EF4-FFF2-40B4-BE49-F238E27FC236}">
                    <a16:creationId xmlns:a16="http://schemas.microsoft.com/office/drawing/2014/main" id="{1AA2B128-C476-79D6-9FAD-0B088495ECF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585307" y="5250414"/>
                <a:ext cx="850432" cy="907098"/>
              </a:xfrm>
              <a:prstGeom prst="rect">
                <a:avLst/>
              </a:prstGeom>
              <a:ln>
                <a:solidFill>
                  <a:schemeClr val="bg1">
                    <a:lumMod val="9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83EB523A-C9DD-0707-96A5-0B38D2A9A957}"/>
                  </a:ext>
                </a:extLst>
              </p:cNvPr>
              <p:cNvSpPr/>
              <p:nvPr/>
            </p:nvSpPr>
            <p:spPr>
              <a:xfrm>
                <a:off x="5845007" y="4840105"/>
                <a:ext cx="1350103" cy="475579"/>
              </a:xfrm>
              <a:prstGeom prst="rect">
                <a:avLst/>
              </a:prstGeom>
            </p:spPr>
            <p:txBody>
              <a:bodyPr wrap="square">
                <a:spAutoFit/>
              </a:bodyPr>
              <a:lstStyle/>
              <a:p>
                <a:pPr algn="ctr">
                  <a:lnSpc>
                    <a:spcPct val="106000"/>
                  </a:lnSpc>
                  <a:buFont typeface="Wingdings 2" pitchFamily="18" charset="2"/>
                  <a:buNone/>
                </a:pPr>
                <a:r>
                  <a:rPr lang="en-US" sz="1200" b="1" dirty="0"/>
                  <a:t>As-Is process documentation</a:t>
                </a:r>
              </a:p>
            </p:txBody>
          </p:sp>
          <p:sp>
            <p:nvSpPr>
              <p:cNvPr id="54" name="Rectangle 53">
                <a:extLst>
                  <a:ext uri="{FF2B5EF4-FFF2-40B4-BE49-F238E27FC236}">
                    <a16:creationId xmlns:a16="http://schemas.microsoft.com/office/drawing/2014/main" id="{EA0CA2FC-E70D-5E0F-5D9B-3A830DE706B2}"/>
                  </a:ext>
                </a:extLst>
              </p:cNvPr>
              <p:cNvSpPr/>
              <p:nvPr/>
            </p:nvSpPr>
            <p:spPr>
              <a:xfrm>
                <a:off x="8123167" y="4865936"/>
                <a:ext cx="1350103" cy="475579"/>
              </a:xfrm>
              <a:prstGeom prst="rect">
                <a:avLst/>
              </a:prstGeom>
            </p:spPr>
            <p:txBody>
              <a:bodyPr wrap="square">
                <a:spAutoFit/>
              </a:bodyPr>
              <a:lstStyle/>
              <a:p>
                <a:pPr algn="ctr">
                  <a:lnSpc>
                    <a:spcPct val="106000"/>
                  </a:lnSpc>
                  <a:buFont typeface="Wingdings 2" pitchFamily="18" charset="2"/>
                  <a:buNone/>
                </a:pPr>
                <a:r>
                  <a:rPr lang="en-US" sz="1200" b="1" dirty="0"/>
                  <a:t>Measurement documentations</a:t>
                </a:r>
              </a:p>
            </p:txBody>
          </p:sp>
          <p:sp>
            <p:nvSpPr>
              <p:cNvPr id="55" name="Rectangle 54">
                <a:extLst>
                  <a:ext uri="{FF2B5EF4-FFF2-40B4-BE49-F238E27FC236}">
                    <a16:creationId xmlns:a16="http://schemas.microsoft.com/office/drawing/2014/main" id="{3E9EB20E-EC29-6641-4264-B722A6A4C726}"/>
                  </a:ext>
                </a:extLst>
              </p:cNvPr>
              <p:cNvSpPr/>
              <p:nvPr/>
            </p:nvSpPr>
            <p:spPr>
              <a:xfrm>
                <a:off x="10363061" y="4840105"/>
                <a:ext cx="1350103" cy="279820"/>
              </a:xfrm>
              <a:prstGeom prst="rect">
                <a:avLst/>
              </a:prstGeom>
            </p:spPr>
            <p:txBody>
              <a:bodyPr wrap="square">
                <a:spAutoFit/>
              </a:bodyPr>
              <a:lstStyle/>
              <a:p>
                <a:pPr algn="ctr">
                  <a:lnSpc>
                    <a:spcPct val="106000"/>
                  </a:lnSpc>
                  <a:buFont typeface="Wingdings 2" pitchFamily="18" charset="2"/>
                  <a:buNone/>
                </a:pPr>
                <a:r>
                  <a:rPr lang="en-US" sz="1200" b="1" dirty="0"/>
                  <a:t>Surveys</a:t>
                </a:r>
              </a:p>
            </p:txBody>
          </p:sp>
        </p:grpSp>
        <p:pic>
          <p:nvPicPr>
            <p:cNvPr id="48" name="Picture 47">
              <a:extLst>
                <a:ext uri="{FF2B5EF4-FFF2-40B4-BE49-F238E27FC236}">
                  <a16:creationId xmlns:a16="http://schemas.microsoft.com/office/drawing/2014/main" id="{A954DB79-6F49-7CE7-A559-CA804087014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926141" y="5603745"/>
              <a:ext cx="1337462" cy="638647"/>
            </a:xfrm>
            <a:prstGeom prst="rect">
              <a:avLst/>
            </a:prstGeom>
            <a:ln>
              <a:solidFill>
                <a:schemeClr val="bg1">
                  <a:lumMod val="95000"/>
                </a:schemeClr>
              </a:solidFill>
            </a:ln>
            <a:effectLst>
              <a:outerShdw blurRad="50800" dist="38100" dir="2700000" algn="tl" rotWithShape="0">
                <a:prstClr val="black">
                  <a:alpha val="40000"/>
                </a:prstClr>
              </a:outerShdw>
            </a:effectLst>
          </p:spPr>
        </p:pic>
      </p:grpSp>
      <p:grpSp>
        <p:nvGrpSpPr>
          <p:cNvPr id="60" name="Group 87">
            <a:extLst>
              <a:ext uri="{FF2B5EF4-FFF2-40B4-BE49-F238E27FC236}">
                <a16:creationId xmlns:a16="http://schemas.microsoft.com/office/drawing/2014/main" id="{3128F12C-9870-03AE-4293-29C39B9EDA38}"/>
              </a:ext>
            </a:extLst>
          </p:cNvPr>
          <p:cNvGrpSpPr/>
          <p:nvPr/>
        </p:nvGrpSpPr>
        <p:grpSpPr>
          <a:xfrm>
            <a:off x="5123180" y="4211057"/>
            <a:ext cx="5866104" cy="1859114"/>
            <a:chOff x="1669890" y="4659009"/>
            <a:chExt cx="3749398" cy="918831"/>
          </a:xfrm>
        </p:grpSpPr>
        <p:sp>
          <p:nvSpPr>
            <p:cNvPr id="61" name="Rounded Rectangle 88">
              <a:extLst>
                <a:ext uri="{FF2B5EF4-FFF2-40B4-BE49-F238E27FC236}">
                  <a16:creationId xmlns:a16="http://schemas.microsoft.com/office/drawing/2014/main" id="{0E5D54B9-E489-357E-E832-BD801E035E32}"/>
                </a:ext>
              </a:extLst>
            </p:cNvPr>
            <p:cNvSpPr/>
            <p:nvPr/>
          </p:nvSpPr>
          <p:spPr bwMode="gray">
            <a:xfrm>
              <a:off x="1669890" y="4659011"/>
              <a:ext cx="3749398" cy="918829"/>
            </a:xfrm>
            <a:prstGeom prst="roundRect">
              <a:avLst>
                <a:gd name="adj" fmla="val 5057"/>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endParaRPr lang="en-US" sz="1200" dirty="0"/>
            </a:p>
          </p:txBody>
        </p:sp>
        <p:sp>
          <p:nvSpPr>
            <p:cNvPr id="62" name="Round Same Side Corner Rectangle 89">
              <a:extLst>
                <a:ext uri="{FF2B5EF4-FFF2-40B4-BE49-F238E27FC236}">
                  <a16:creationId xmlns:a16="http://schemas.microsoft.com/office/drawing/2014/main" id="{EA3EAAA5-3841-F129-1741-019CB6E4629C}"/>
                </a:ext>
              </a:extLst>
            </p:cNvPr>
            <p:cNvSpPr/>
            <p:nvPr/>
          </p:nvSpPr>
          <p:spPr bwMode="gray">
            <a:xfrm rot="16200000">
              <a:off x="1245545" y="5083357"/>
              <a:ext cx="918829" cy="70134"/>
            </a:xfrm>
            <a:prstGeom prst="round2SameRect">
              <a:avLst>
                <a:gd name="adj1" fmla="val 50000"/>
                <a:gd name="adj2" fmla="val 0"/>
              </a:avLst>
            </a:prstGeom>
            <a:solidFill>
              <a:srgbClr val="1CABE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pic>
        <p:nvPicPr>
          <p:cNvPr id="66" name="Picture 93">
            <a:extLst>
              <a:ext uri="{FF2B5EF4-FFF2-40B4-BE49-F238E27FC236}">
                <a16:creationId xmlns:a16="http://schemas.microsoft.com/office/drawing/2014/main" id="{DBC10AE4-8DD3-614B-E220-85550AD280D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363551" y="5123309"/>
            <a:ext cx="1454647" cy="66994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67" name="Picture 9" descr="Medical Practice Survey Form | Medical Forms | Questionnaire template, Survey  template, Survey form">
            <a:extLst>
              <a:ext uri="{FF2B5EF4-FFF2-40B4-BE49-F238E27FC236}">
                <a16:creationId xmlns:a16="http://schemas.microsoft.com/office/drawing/2014/main" id="{0CCF794B-ECA2-6159-DCD7-F433D9350DB7}"/>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599026" y="5051982"/>
            <a:ext cx="850432" cy="907098"/>
          </a:xfrm>
          <a:prstGeom prst="rect">
            <a:avLst/>
          </a:prstGeom>
          <a:ln>
            <a:solidFill>
              <a:schemeClr val="bg1">
                <a:lumMod val="9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8" name="Rectangle 96">
            <a:extLst>
              <a:ext uri="{FF2B5EF4-FFF2-40B4-BE49-F238E27FC236}">
                <a16:creationId xmlns:a16="http://schemas.microsoft.com/office/drawing/2014/main" id="{1BF3A2C6-2D03-A1DD-5713-51E147A269A9}"/>
              </a:ext>
            </a:extLst>
          </p:cNvPr>
          <p:cNvSpPr/>
          <p:nvPr/>
        </p:nvSpPr>
        <p:spPr>
          <a:xfrm>
            <a:off x="7347865" y="4254449"/>
            <a:ext cx="1418596" cy="410882"/>
          </a:xfrm>
          <a:prstGeom prst="rect">
            <a:avLst/>
          </a:prstGeom>
        </p:spPr>
        <p:txBody>
          <a:bodyPr wrap="square">
            <a:spAutoFit/>
          </a:bodyPr>
          <a:lstStyle/>
          <a:p>
            <a:pPr algn="ctr">
              <a:lnSpc>
                <a:spcPct val="106000"/>
              </a:lnSpc>
              <a:buFont typeface="Wingdings 2" pitchFamily="18" charset="2"/>
              <a:buNone/>
            </a:pPr>
            <a:r>
              <a:rPr lang="en-US" sz="1000" b="1" dirty="0"/>
              <a:t>As-Is process documentation</a:t>
            </a:r>
          </a:p>
        </p:txBody>
      </p:sp>
      <p:sp>
        <p:nvSpPr>
          <p:cNvPr id="69" name="Rectangle 98">
            <a:extLst>
              <a:ext uri="{FF2B5EF4-FFF2-40B4-BE49-F238E27FC236}">
                <a16:creationId xmlns:a16="http://schemas.microsoft.com/office/drawing/2014/main" id="{3F7B5C90-056F-AF80-FA84-7ADA7551BC9F}"/>
              </a:ext>
            </a:extLst>
          </p:cNvPr>
          <p:cNvSpPr/>
          <p:nvPr/>
        </p:nvSpPr>
        <p:spPr>
          <a:xfrm>
            <a:off x="9363551" y="4254449"/>
            <a:ext cx="1454647" cy="410882"/>
          </a:xfrm>
          <a:prstGeom prst="rect">
            <a:avLst/>
          </a:prstGeom>
        </p:spPr>
        <p:txBody>
          <a:bodyPr wrap="square">
            <a:spAutoFit/>
          </a:bodyPr>
          <a:lstStyle/>
          <a:p>
            <a:pPr algn="ctr">
              <a:lnSpc>
                <a:spcPct val="106000"/>
              </a:lnSpc>
              <a:buFont typeface="Wingdings 2" pitchFamily="18" charset="2"/>
              <a:buNone/>
            </a:pPr>
            <a:r>
              <a:rPr lang="en-US" sz="1000" b="1" dirty="0"/>
              <a:t>Measurement documentations</a:t>
            </a:r>
          </a:p>
        </p:txBody>
      </p:sp>
      <p:sp>
        <p:nvSpPr>
          <p:cNvPr id="70" name="Rectangle 100">
            <a:extLst>
              <a:ext uri="{FF2B5EF4-FFF2-40B4-BE49-F238E27FC236}">
                <a16:creationId xmlns:a16="http://schemas.microsoft.com/office/drawing/2014/main" id="{ECB2A273-2CDC-9F89-E521-E58B106ACA3C}"/>
              </a:ext>
            </a:extLst>
          </p:cNvPr>
          <p:cNvSpPr/>
          <p:nvPr/>
        </p:nvSpPr>
        <p:spPr>
          <a:xfrm>
            <a:off x="5349191" y="4320188"/>
            <a:ext cx="1350103" cy="247760"/>
          </a:xfrm>
          <a:prstGeom prst="rect">
            <a:avLst/>
          </a:prstGeom>
        </p:spPr>
        <p:txBody>
          <a:bodyPr wrap="square">
            <a:spAutoFit/>
          </a:bodyPr>
          <a:lstStyle/>
          <a:p>
            <a:pPr algn="ctr">
              <a:lnSpc>
                <a:spcPct val="106000"/>
              </a:lnSpc>
              <a:buFont typeface="Wingdings 2" pitchFamily="18" charset="2"/>
              <a:buNone/>
            </a:pPr>
            <a:r>
              <a:rPr lang="en-US" sz="1000" b="1" dirty="0"/>
              <a:t>Surveys</a:t>
            </a:r>
          </a:p>
        </p:txBody>
      </p:sp>
      <p:grpSp>
        <p:nvGrpSpPr>
          <p:cNvPr id="72" name="Group 71">
            <a:extLst>
              <a:ext uri="{FF2B5EF4-FFF2-40B4-BE49-F238E27FC236}">
                <a16:creationId xmlns:a16="http://schemas.microsoft.com/office/drawing/2014/main" id="{80D63E8B-6552-CDA2-16C6-742FAF4652CC}"/>
              </a:ext>
            </a:extLst>
          </p:cNvPr>
          <p:cNvGrpSpPr/>
          <p:nvPr/>
        </p:nvGrpSpPr>
        <p:grpSpPr>
          <a:xfrm>
            <a:off x="7319788" y="5057256"/>
            <a:ext cx="1474751" cy="873674"/>
            <a:chOff x="7329398" y="5057256"/>
            <a:chExt cx="1474751" cy="873674"/>
          </a:xfrm>
        </p:grpSpPr>
        <p:grpSp>
          <p:nvGrpSpPr>
            <p:cNvPr id="63" name="Group 90">
              <a:extLst>
                <a:ext uri="{FF2B5EF4-FFF2-40B4-BE49-F238E27FC236}">
                  <a16:creationId xmlns:a16="http://schemas.microsoft.com/office/drawing/2014/main" id="{50790997-BD36-CC84-1910-EFF9B7BF9C1D}"/>
                </a:ext>
              </a:extLst>
            </p:cNvPr>
            <p:cNvGrpSpPr/>
            <p:nvPr/>
          </p:nvGrpSpPr>
          <p:grpSpPr>
            <a:xfrm>
              <a:off x="7329398" y="5057256"/>
              <a:ext cx="1338625" cy="669945"/>
              <a:chOff x="9414735" y="3389147"/>
              <a:chExt cx="4378648" cy="1230760"/>
            </a:xfrm>
            <a:effectLst>
              <a:outerShdw blurRad="50800" dist="38100" dir="2700000" algn="tl" rotWithShape="0">
                <a:prstClr val="black">
                  <a:alpha val="40000"/>
                </a:prstClr>
              </a:outerShdw>
            </a:effectLst>
          </p:grpSpPr>
          <p:sp>
            <p:nvSpPr>
              <p:cNvPr id="64" name="Rectangle 91">
                <a:extLst>
                  <a:ext uri="{FF2B5EF4-FFF2-40B4-BE49-F238E27FC236}">
                    <a16:creationId xmlns:a16="http://schemas.microsoft.com/office/drawing/2014/main" id="{9BC14C2E-FC00-EE69-F88F-4310B94187A9}"/>
                  </a:ext>
                </a:extLst>
              </p:cNvPr>
              <p:cNvSpPr/>
              <p:nvPr/>
            </p:nvSpPr>
            <p:spPr>
              <a:xfrm>
                <a:off x="9414735" y="3389147"/>
                <a:ext cx="4378648" cy="1230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Picture 92">
                <a:extLst>
                  <a:ext uri="{FF2B5EF4-FFF2-40B4-BE49-F238E27FC236}">
                    <a16:creationId xmlns:a16="http://schemas.microsoft.com/office/drawing/2014/main" id="{80CA4B9C-DD52-77D9-9D03-0BA0D7E98DF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56050" y="3401798"/>
                <a:ext cx="4337333" cy="1218109"/>
              </a:xfrm>
              <a:prstGeom prst="rect">
                <a:avLst/>
              </a:prstGeom>
              <a:ln>
                <a:solidFill>
                  <a:schemeClr val="bg1">
                    <a:lumMod val="95000"/>
                  </a:schemeClr>
                </a:solidFill>
              </a:ln>
              <a:effectLst>
                <a:outerShdw blurRad="50800" dist="38100" dir="2700000" algn="tl" rotWithShape="0">
                  <a:prstClr val="black">
                    <a:alpha val="40000"/>
                  </a:prstClr>
                </a:outerShdw>
              </a:effectLst>
            </p:spPr>
          </p:pic>
        </p:grpSp>
        <p:pic>
          <p:nvPicPr>
            <p:cNvPr id="71" name="Picture 13">
              <a:extLst>
                <a:ext uri="{FF2B5EF4-FFF2-40B4-BE49-F238E27FC236}">
                  <a16:creationId xmlns:a16="http://schemas.microsoft.com/office/drawing/2014/main" id="{C6BD27BA-4F9B-6224-8FDE-C32C7FC50FB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466687" y="5292283"/>
              <a:ext cx="1337462" cy="638647"/>
            </a:xfrm>
            <a:prstGeom prst="rect">
              <a:avLst/>
            </a:prstGeom>
            <a:ln>
              <a:solidFill>
                <a:schemeClr val="bg1">
                  <a:lumMod val="95000"/>
                </a:schemeClr>
              </a:solidFill>
            </a:ln>
            <a:effectLst>
              <a:outerShdw blurRad="50800" dist="38100" dir="2700000" algn="tl" rotWithShape="0">
                <a:prstClr val="black">
                  <a:alpha val="40000"/>
                </a:prstClr>
              </a:outerShdw>
            </a:effectLst>
          </p:spPr>
        </p:pic>
      </p:grpSp>
      <p:sp>
        <p:nvSpPr>
          <p:cNvPr id="74" name="TextBox 73">
            <a:extLst>
              <a:ext uri="{FF2B5EF4-FFF2-40B4-BE49-F238E27FC236}">
                <a16:creationId xmlns:a16="http://schemas.microsoft.com/office/drawing/2014/main" id="{2DED1063-DA38-0416-481B-37386B5D4D2A}"/>
              </a:ext>
            </a:extLst>
          </p:cNvPr>
          <p:cNvSpPr txBox="1"/>
          <p:nvPr/>
        </p:nvSpPr>
        <p:spPr>
          <a:xfrm>
            <a:off x="5325941" y="4651214"/>
            <a:ext cx="1730759" cy="276999"/>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Gathering data from participants using questionnaires</a:t>
            </a:r>
          </a:p>
        </p:txBody>
      </p:sp>
      <p:sp>
        <p:nvSpPr>
          <p:cNvPr id="75" name="TextBox 74">
            <a:extLst>
              <a:ext uri="{FF2B5EF4-FFF2-40B4-BE49-F238E27FC236}">
                <a16:creationId xmlns:a16="http://schemas.microsoft.com/office/drawing/2014/main" id="{8F86FBE6-B595-54BE-F462-54BD6414DDE5}"/>
              </a:ext>
            </a:extLst>
          </p:cNvPr>
          <p:cNvSpPr txBox="1"/>
          <p:nvPr/>
        </p:nvSpPr>
        <p:spPr>
          <a:xfrm>
            <a:off x="7260428" y="4655463"/>
            <a:ext cx="1730759" cy="276999"/>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Recording and analyzing of the current state of processes</a:t>
            </a:r>
          </a:p>
        </p:txBody>
      </p:sp>
      <p:sp>
        <p:nvSpPr>
          <p:cNvPr id="76" name="TextBox 75">
            <a:extLst>
              <a:ext uri="{FF2B5EF4-FFF2-40B4-BE49-F238E27FC236}">
                <a16:creationId xmlns:a16="http://schemas.microsoft.com/office/drawing/2014/main" id="{C0D81079-C404-652C-1394-802D65B918F0}"/>
              </a:ext>
            </a:extLst>
          </p:cNvPr>
          <p:cNvSpPr txBox="1"/>
          <p:nvPr/>
        </p:nvSpPr>
        <p:spPr>
          <a:xfrm>
            <a:off x="9277274" y="4652400"/>
            <a:ext cx="1782697" cy="276999"/>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Capturing data related to key indicators, performance metrics</a:t>
            </a:r>
          </a:p>
        </p:txBody>
      </p:sp>
      <p:grpSp>
        <p:nvGrpSpPr>
          <p:cNvPr id="73" name="Group 72">
            <a:extLst>
              <a:ext uri="{FF2B5EF4-FFF2-40B4-BE49-F238E27FC236}">
                <a16:creationId xmlns:a16="http://schemas.microsoft.com/office/drawing/2014/main" id="{DAB6985C-A246-6762-C44E-C6B167547027}"/>
              </a:ext>
            </a:extLst>
          </p:cNvPr>
          <p:cNvGrpSpPr/>
          <p:nvPr/>
        </p:nvGrpSpPr>
        <p:grpSpPr>
          <a:xfrm>
            <a:off x="9283071" y="265140"/>
            <a:ext cx="2459820" cy="411402"/>
            <a:chOff x="9283071" y="265140"/>
            <a:chExt cx="2459820" cy="411402"/>
          </a:xfrm>
        </p:grpSpPr>
        <p:sp>
          <p:nvSpPr>
            <p:cNvPr id="79" name="Arrow: Chevron 78">
              <a:extLst>
                <a:ext uri="{FF2B5EF4-FFF2-40B4-BE49-F238E27FC236}">
                  <a16:creationId xmlns:a16="http://schemas.microsoft.com/office/drawing/2014/main" id="{5B51BAC7-416D-A399-6C6D-0925EC7EE020}"/>
                </a:ext>
              </a:extLst>
            </p:cNvPr>
            <p:cNvSpPr/>
            <p:nvPr/>
          </p:nvSpPr>
          <p:spPr bwMode="gray">
            <a:xfrm>
              <a:off x="9413117" y="269048"/>
              <a:ext cx="1646853" cy="406400"/>
            </a:xfrm>
            <a:prstGeom prst="chevron">
              <a:avLst>
                <a:gd name="adj" fmla="val 56646"/>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0" name="Rectangle 79">
              <a:extLst>
                <a:ext uri="{FF2B5EF4-FFF2-40B4-BE49-F238E27FC236}">
                  <a16:creationId xmlns:a16="http://schemas.microsoft.com/office/drawing/2014/main" id="{D6857331-4FC2-71E4-94E9-482FB57288C9}"/>
                </a:ext>
              </a:extLst>
            </p:cNvPr>
            <p:cNvSpPr/>
            <p:nvPr/>
          </p:nvSpPr>
          <p:spPr bwMode="gray">
            <a:xfrm>
              <a:off x="9283071" y="273466"/>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As-IS Analysis</a:t>
              </a:r>
            </a:p>
          </p:txBody>
        </p:sp>
        <p:sp>
          <p:nvSpPr>
            <p:cNvPr id="83" name="Pentagon 7">
              <a:extLst>
                <a:ext uri="{FF2B5EF4-FFF2-40B4-BE49-F238E27FC236}">
                  <a16:creationId xmlns:a16="http://schemas.microsoft.com/office/drawing/2014/main" id="{EA9BFD3F-64F8-BDD5-BB6D-4374A59087E4}"/>
                </a:ext>
              </a:extLst>
            </p:cNvPr>
            <p:cNvSpPr/>
            <p:nvPr/>
          </p:nvSpPr>
          <p:spPr bwMode="gray">
            <a:xfrm>
              <a:off x="9378489" y="270142"/>
              <a:ext cx="228097" cy="406400"/>
            </a:xfrm>
            <a:prstGeom prst="homePlate">
              <a:avLst>
                <a:gd name="adj" fmla="val 100000"/>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Rectangle 83">
              <a:extLst>
                <a:ext uri="{FF2B5EF4-FFF2-40B4-BE49-F238E27FC236}">
                  <a16:creationId xmlns:a16="http://schemas.microsoft.com/office/drawing/2014/main" id="{56769E95-77C8-71D6-618A-4715A3BB561B}"/>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90" name="Arrow: Chevron 89">
              <a:extLst>
                <a:ext uri="{FF2B5EF4-FFF2-40B4-BE49-F238E27FC236}">
                  <a16:creationId xmlns:a16="http://schemas.microsoft.com/office/drawing/2014/main" id="{670F8E6A-B95B-B81C-45E8-448C5FB2ACBE}"/>
                </a:ext>
              </a:extLst>
            </p:cNvPr>
            <p:cNvSpPr/>
            <p:nvPr/>
          </p:nvSpPr>
          <p:spPr bwMode="gray">
            <a:xfrm>
              <a:off x="10872811" y="265725"/>
              <a:ext cx="411480" cy="406400"/>
            </a:xfrm>
            <a:prstGeom prst="chevron">
              <a:avLst>
                <a:gd name="adj" fmla="val 5577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Arrow: Chevron 90">
              <a:extLst>
                <a:ext uri="{FF2B5EF4-FFF2-40B4-BE49-F238E27FC236}">
                  <a16:creationId xmlns:a16="http://schemas.microsoft.com/office/drawing/2014/main" id="{CDD15179-DDF6-8945-FA84-07F833970EED}"/>
                </a:ext>
              </a:extLst>
            </p:cNvPr>
            <p:cNvSpPr/>
            <p:nvPr/>
          </p:nvSpPr>
          <p:spPr bwMode="gray">
            <a:xfrm>
              <a:off x="11104489" y="265725"/>
              <a:ext cx="411480"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Arrow: Chevron 91">
              <a:extLst>
                <a:ext uri="{FF2B5EF4-FFF2-40B4-BE49-F238E27FC236}">
                  <a16:creationId xmlns:a16="http://schemas.microsoft.com/office/drawing/2014/main" id="{88C6E809-015E-343F-5B0C-FC8960797366}"/>
                </a:ext>
              </a:extLst>
            </p:cNvPr>
            <p:cNvSpPr/>
            <p:nvPr/>
          </p:nvSpPr>
          <p:spPr bwMode="gray">
            <a:xfrm>
              <a:off x="11336166" y="265140"/>
              <a:ext cx="406725"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55023759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think-cell data - do not delete" hidden="1">
            <a:extLst>
              <a:ext uri="{FF2B5EF4-FFF2-40B4-BE49-F238E27FC236}">
                <a16:creationId xmlns:a16="http://schemas.microsoft.com/office/drawing/2014/main" id="{6518F103-15BC-AAF9-2B92-EE8F5C0E7DD6}"/>
              </a:ext>
            </a:extLst>
          </p:cNvPr>
          <p:cNvGraphicFramePr>
            <a:graphicFrameLocks noChangeAspect="1"/>
          </p:cNvGraphicFramePr>
          <p:nvPr>
            <p:custDataLst>
              <p:tags r:id="rId1"/>
            </p:custDataLst>
            <p:extLst>
              <p:ext uri="{D42A27DB-BD31-4B8C-83A1-F6EECF244321}">
                <p14:modId xmlns:p14="http://schemas.microsoft.com/office/powerpoint/2010/main" val="101516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8" name="think-cell data - do not delete" hidden="1">
                        <a:extLst>
                          <a:ext uri="{FF2B5EF4-FFF2-40B4-BE49-F238E27FC236}">
                            <a16:creationId xmlns:a16="http://schemas.microsoft.com/office/drawing/2014/main" id="{6518F103-15BC-AAF9-2B92-EE8F5C0E7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EF6E8A5-B03A-CA09-4B7A-F348D220DD9B}"/>
              </a:ext>
            </a:extLst>
          </p:cNvPr>
          <p:cNvSpPr>
            <a:spLocks noGrp="1"/>
          </p:cNvSpPr>
          <p:nvPr>
            <p:ph type="body" sz="quarter" idx="22"/>
          </p:nvPr>
        </p:nvSpPr>
        <p:spPr/>
        <p:txBody>
          <a:bodyPr/>
          <a:lstStyle/>
          <a:p>
            <a:r>
              <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rPr>
              <a:t>The losses identified during the assessment can typically be grouped into four main categories</a:t>
            </a:r>
          </a:p>
        </p:txBody>
      </p:sp>
      <p:sp>
        <p:nvSpPr>
          <p:cNvPr id="3" name="Title 2">
            <a:extLst>
              <a:ext uri="{FF2B5EF4-FFF2-40B4-BE49-F238E27FC236}">
                <a16:creationId xmlns:a16="http://schemas.microsoft.com/office/drawing/2014/main" id="{5E20F11E-3B58-3035-A97D-ABD0EAB1D248}"/>
              </a:ext>
            </a:extLst>
          </p:cNvPr>
          <p:cNvSpPr>
            <a:spLocks noGrp="1"/>
          </p:cNvSpPr>
          <p:nvPr>
            <p:ph type="title"/>
          </p:nvPr>
        </p:nvSpPr>
        <p:spPr/>
        <p:txBody>
          <a:bodyPr vert="horz"/>
          <a:lstStyle/>
          <a:p>
            <a:r>
              <a:rPr lang="en-US" dirty="0">
                <a:latin typeface="Open Sans Light" panose="020B0306030504020204" pitchFamily="34" charset="0"/>
              </a:rPr>
              <a:t>Typical process issues</a:t>
            </a:r>
            <a:endParaRPr lang="en-US" dirty="0"/>
          </a:p>
        </p:txBody>
      </p:sp>
      <p:sp>
        <p:nvSpPr>
          <p:cNvPr id="73" name="Rounded Rectangle 55">
            <a:extLst>
              <a:ext uri="{FF2B5EF4-FFF2-40B4-BE49-F238E27FC236}">
                <a16:creationId xmlns:a16="http://schemas.microsoft.com/office/drawing/2014/main" id="{68D513D9-7FEB-309D-2549-456CE45D269D}"/>
              </a:ext>
            </a:extLst>
          </p:cNvPr>
          <p:cNvSpPr/>
          <p:nvPr/>
        </p:nvSpPr>
        <p:spPr bwMode="gray">
          <a:xfrm>
            <a:off x="3325632" y="1361897"/>
            <a:ext cx="2759710" cy="2735373"/>
          </a:xfrm>
          <a:prstGeom prst="roundRect">
            <a:avLst>
              <a:gd name="adj" fmla="val 508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Rounded Rectangle 62">
            <a:extLst>
              <a:ext uri="{FF2B5EF4-FFF2-40B4-BE49-F238E27FC236}">
                <a16:creationId xmlns:a16="http://schemas.microsoft.com/office/drawing/2014/main" id="{FB7D0521-4245-BE33-5594-7FCE25CC5B09}"/>
              </a:ext>
            </a:extLst>
          </p:cNvPr>
          <p:cNvSpPr/>
          <p:nvPr/>
        </p:nvSpPr>
        <p:spPr bwMode="gray">
          <a:xfrm>
            <a:off x="6164160" y="1363155"/>
            <a:ext cx="2759710" cy="2735373"/>
          </a:xfrm>
          <a:prstGeom prst="roundRect">
            <a:avLst>
              <a:gd name="adj" fmla="val 508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Rounded Rectangle 48">
            <a:extLst>
              <a:ext uri="{FF2B5EF4-FFF2-40B4-BE49-F238E27FC236}">
                <a16:creationId xmlns:a16="http://schemas.microsoft.com/office/drawing/2014/main" id="{1D6D1FF4-D987-1B34-1547-FA031939AA2A}"/>
              </a:ext>
            </a:extLst>
          </p:cNvPr>
          <p:cNvSpPr/>
          <p:nvPr/>
        </p:nvSpPr>
        <p:spPr bwMode="gray">
          <a:xfrm>
            <a:off x="501650" y="1361897"/>
            <a:ext cx="2759710" cy="2735373"/>
          </a:xfrm>
          <a:prstGeom prst="roundRect">
            <a:avLst>
              <a:gd name="adj" fmla="val 508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Rectangle 82">
            <a:extLst>
              <a:ext uri="{FF2B5EF4-FFF2-40B4-BE49-F238E27FC236}">
                <a16:creationId xmlns:a16="http://schemas.microsoft.com/office/drawing/2014/main" id="{DFFCAEC0-A2ED-A3C7-ACD7-9C9F669697C8}"/>
              </a:ext>
            </a:extLst>
          </p:cNvPr>
          <p:cNvSpPr/>
          <p:nvPr/>
        </p:nvSpPr>
        <p:spPr>
          <a:xfrm>
            <a:off x="1305404" y="1435811"/>
            <a:ext cx="1952385" cy="6084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Waiting time loss</a:t>
            </a:r>
          </a:p>
        </p:txBody>
      </p:sp>
      <p:grpSp>
        <p:nvGrpSpPr>
          <p:cNvPr id="84" name="Group 325">
            <a:extLst>
              <a:ext uri="{FF2B5EF4-FFF2-40B4-BE49-F238E27FC236}">
                <a16:creationId xmlns:a16="http://schemas.microsoft.com/office/drawing/2014/main" id="{CBFCC5FA-C9B5-8518-BD80-2B6136589116}"/>
              </a:ext>
            </a:extLst>
          </p:cNvPr>
          <p:cNvGrpSpPr>
            <a:grpSpLocks noChangeAspect="1"/>
          </p:cNvGrpSpPr>
          <p:nvPr/>
        </p:nvGrpSpPr>
        <p:grpSpPr bwMode="auto">
          <a:xfrm>
            <a:off x="594253" y="1442844"/>
            <a:ext cx="548640" cy="550254"/>
            <a:chOff x="5044" y="1157"/>
            <a:chExt cx="340" cy="341"/>
          </a:xfrm>
          <a:solidFill>
            <a:schemeClr val="accent3"/>
          </a:solidFill>
        </p:grpSpPr>
        <p:sp>
          <p:nvSpPr>
            <p:cNvPr id="90" name="Freeform 326">
              <a:extLst>
                <a:ext uri="{FF2B5EF4-FFF2-40B4-BE49-F238E27FC236}">
                  <a16:creationId xmlns:a16="http://schemas.microsoft.com/office/drawing/2014/main" id="{0C2F7ADD-26A5-9972-EADB-63E72D0E195D}"/>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327">
              <a:extLst>
                <a:ext uri="{FF2B5EF4-FFF2-40B4-BE49-F238E27FC236}">
                  <a16:creationId xmlns:a16="http://schemas.microsoft.com/office/drawing/2014/main" id="{04375017-2B86-A9BE-E978-A233A5B8E7F6}"/>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2" name="Rectangle 91">
            <a:extLst>
              <a:ext uri="{FF2B5EF4-FFF2-40B4-BE49-F238E27FC236}">
                <a16:creationId xmlns:a16="http://schemas.microsoft.com/office/drawing/2014/main" id="{0B59E976-2142-50EE-72C6-1E9E8B985865}"/>
              </a:ext>
            </a:extLst>
          </p:cNvPr>
          <p:cNvSpPr/>
          <p:nvPr/>
        </p:nvSpPr>
        <p:spPr>
          <a:xfrm>
            <a:off x="503436" y="2035672"/>
            <a:ext cx="2756139" cy="895715"/>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spcBef>
                <a:spcPts val="600"/>
              </a:spcBef>
              <a:buClrTx/>
              <a:buSzTx/>
              <a:buFontTx/>
              <a:buNone/>
              <a:tabLst/>
              <a:defRPr/>
            </a:pPr>
            <a:r>
              <a:rPr kumimoji="0" lang="en-US" sz="100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is type of loss occurs when we do not spend time working effectively at each step of the process, but </a:t>
            </a:r>
            <a:r>
              <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cause of  a lack of information, lack of authorization or a shortcoming in the IT system, the process does not progress, and dead time is created. </a:t>
            </a:r>
          </a:p>
        </p:txBody>
      </p:sp>
      <p:sp>
        <p:nvSpPr>
          <p:cNvPr id="93" name="Rectangle: Rounded Corners 92">
            <a:extLst>
              <a:ext uri="{FF2B5EF4-FFF2-40B4-BE49-F238E27FC236}">
                <a16:creationId xmlns:a16="http://schemas.microsoft.com/office/drawing/2014/main" id="{3F5A0DF5-9247-F218-90CD-2ABC449AC999}"/>
              </a:ext>
            </a:extLst>
          </p:cNvPr>
          <p:cNvSpPr/>
          <p:nvPr/>
        </p:nvSpPr>
        <p:spPr bwMode="gray">
          <a:xfrm>
            <a:off x="534948" y="3221544"/>
            <a:ext cx="2693115" cy="876984"/>
          </a:xfrm>
          <a:prstGeom prst="roundRect">
            <a:avLst/>
          </a:prstGeom>
          <a:solidFill>
            <a:srgbClr val="D0D0CE"/>
          </a:solidFill>
          <a:ln w="19050" algn="ctr">
            <a:noFill/>
            <a:miter lim="800000"/>
            <a:headEnd/>
            <a:tailEnd/>
          </a:ln>
        </p:spPr>
        <p:txBody>
          <a:bodyPr wrap="square" lIns="88900" tIns="0" rIns="88900" bIns="0" rtlCol="0" anchor="t"/>
          <a:lstStyle/>
          <a:p>
            <a:pPr marL="0" marR="0" lvl="0" indent="0" algn="l" defTabSz="914400" eaLnBrk="1" fontAlgn="auto" latinLnBrk="0" hangingPunct="1">
              <a:lnSpc>
                <a:spcPct val="150000"/>
              </a:lnSpc>
              <a:spcBef>
                <a:spcPts val="600"/>
              </a:spcBef>
              <a:spcAft>
                <a:spcPts val="0"/>
              </a:spcAft>
              <a:buClrTx/>
              <a:buSzTx/>
              <a:buFontTx/>
              <a:buNone/>
              <a:tabLst/>
              <a:defRPr/>
            </a:pPr>
            <a:r>
              <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ample:</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ue to the slow IT system, documents take a long time to load</a:t>
            </a:r>
          </a:p>
        </p:txBody>
      </p:sp>
      <p:sp>
        <p:nvSpPr>
          <p:cNvPr id="94" name="Rectangle 93">
            <a:extLst>
              <a:ext uri="{FF2B5EF4-FFF2-40B4-BE49-F238E27FC236}">
                <a16:creationId xmlns:a16="http://schemas.microsoft.com/office/drawing/2014/main" id="{3A5ADF7A-2549-205B-E78B-FF95943C966A}"/>
              </a:ext>
            </a:extLst>
          </p:cNvPr>
          <p:cNvSpPr/>
          <p:nvPr/>
        </p:nvSpPr>
        <p:spPr>
          <a:xfrm>
            <a:off x="4147693" y="1450181"/>
            <a:ext cx="1952385" cy="5870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ses due to failures</a:t>
            </a:r>
          </a:p>
        </p:txBody>
      </p:sp>
      <p:grpSp>
        <p:nvGrpSpPr>
          <p:cNvPr id="95" name="Group 503">
            <a:extLst>
              <a:ext uri="{FF2B5EF4-FFF2-40B4-BE49-F238E27FC236}">
                <a16:creationId xmlns:a16="http://schemas.microsoft.com/office/drawing/2014/main" id="{C1787C82-6CAC-6C11-FCA8-6FB03F486D28}"/>
              </a:ext>
            </a:extLst>
          </p:cNvPr>
          <p:cNvGrpSpPr>
            <a:grpSpLocks noChangeAspect="1"/>
          </p:cNvGrpSpPr>
          <p:nvPr/>
        </p:nvGrpSpPr>
        <p:grpSpPr bwMode="auto">
          <a:xfrm>
            <a:off x="3435670" y="1449878"/>
            <a:ext cx="548640" cy="548640"/>
            <a:chOff x="1920" y="2027"/>
            <a:chExt cx="340" cy="340"/>
          </a:xfrm>
          <a:solidFill>
            <a:schemeClr val="accent3"/>
          </a:solidFill>
        </p:grpSpPr>
        <p:sp>
          <p:nvSpPr>
            <p:cNvPr id="96" name="Freeform 504">
              <a:extLst>
                <a:ext uri="{FF2B5EF4-FFF2-40B4-BE49-F238E27FC236}">
                  <a16:creationId xmlns:a16="http://schemas.microsoft.com/office/drawing/2014/main" id="{C0A6657B-823D-098E-68FB-D9D58101CAB3}"/>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505">
              <a:extLst>
                <a:ext uri="{FF2B5EF4-FFF2-40B4-BE49-F238E27FC236}">
                  <a16:creationId xmlns:a16="http://schemas.microsoft.com/office/drawing/2014/main" id="{8CF04606-2C9D-3A23-3122-AEA628156665}"/>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8" name="Rectangle 97">
            <a:extLst>
              <a:ext uri="{FF2B5EF4-FFF2-40B4-BE49-F238E27FC236}">
                <a16:creationId xmlns:a16="http://schemas.microsoft.com/office/drawing/2014/main" id="{6D151882-A905-6E38-DC2E-4142D0C30C85}"/>
              </a:ext>
            </a:extLst>
          </p:cNvPr>
          <p:cNvSpPr/>
          <p:nvPr/>
        </p:nvSpPr>
        <p:spPr>
          <a:xfrm>
            <a:off x="3325442" y="2035672"/>
            <a:ext cx="2760090" cy="8001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spcBef>
                <a:spcPts val="600"/>
              </a:spcBef>
              <a:spcAft>
                <a:spcPts val="0"/>
              </a:spcAft>
              <a:buClrTx/>
              <a:buSzTx/>
              <a:buFontTx/>
              <a:buNone/>
              <a:tabLst/>
              <a:defRPr/>
            </a:pPr>
            <a:r>
              <a:rPr kumimoji="0" lang="en-US" sz="100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particular, </a:t>
            </a:r>
            <a:r>
              <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oss due to almost inevitable errors originating from manual work</a:t>
            </a:r>
            <a:r>
              <a:rPr kumimoji="0" lang="en-US" sz="100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 such cases, we should strive for accuracy, and it is worthwhile to carry out inspections.</a:t>
            </a:r>
          </a:p>
        </p:txBody>
      </p:sp>
      <p:sp>
        <p:nvSpPr>
          <p:cNvPr id="99" name="Rectangle: Rounded Corners 98">
            <a:extLst>
              <a:ext uri="{FF2B5EF4-FFF2-40B4-BE49-F238E27FC236}">
                <a16:creationId xmlns:a16="http://schemas.microsoft.com/office/drawing/2014/main" id="{1B71B2A2-27D1-610C-B651-E08FAC4FC50B}"/>
              </a:ext>
            </a:extLst>
          </p:cNvPr>
          <p:cNvSpPr/>
          <p:nvPr/>
        </p:nvSpPr>
        <p:spPr bwMode="gray">
          <a:xfrm>
            <a:off x="3358930" y="3221544"/>
            <a:ext cx="2693115" cy="876984"/>
          </a:xfrm>
          <a:prstGeom prst="roundRect">
            <a:avLst/>
          </a:prstGeom>
          <a:solidFill>
            <a:srgbClr val="D0D0CE"/>
          </a:solidFill>
          <a:ln w="19050" algn="ctr">
            <a:noFill/>
            <a:miter lim="800000"/>
            <a:headEnd/>
            <a:tailEnd/>
          </a:ln>
        </p:spPr>
        <p:txBody>
          <a:bodyPr wrap="square" lIns="88900" tIns="0" rIns="88900" bIns="0" rtlCol="0" anchor="t"/>
          <a:lstStyle/>
          <a:p>
            <a:pPr marL="0" marR="0" lvl="0" indent="0" algn="l" defTabSz="914400" eaLnBrk="1" fontAlgn="auto" latinLnBrk="0" hangingPunct="1">
              <a:lnSpc>
                <a:spcPct val="150000"/>
              </a:lnSpc>
              <a:spcBef>
                <a:spcPts val="600"/>
              </a:spcBef>
              <a:spcAft>
                <a:spcPts val="0"/>
              </a:spcAft>
              <a:buClrTx/>
              <a:buSzTx/>
              <a:buFontTx/>
              <a:buNone/>
              <a:tabLst/>
              <a:defRPr/>
            </a:pPr>
            <a:r>
              <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ample:</a:t>
            </a:r>
          </a:p>
          <a:p>
            <a:pPr marL="171450" lvl="0" indent="-171450">
              <a:buFont typeface="Arial" panose="020B0604020202020204" pitchFamily="34" charset="0"/>
              <a:buChar char="•"/>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In the case of manual recording, incorrect recording will lead to additional work, e.g. error correction</a:t>
            </a:r>
            <a:endParaRPr kumimoji="0" lang="en-US" sz="100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Rectangle 99">
            <a:extLst>
              <a:ext uri="{FF2B5EF4-FFF2-40B4-BE49-F238E27FC236}">
                <a16:creationId xmlns:a16="http://schemas.microsoft.com/office/drawing/2014/main" id="{1E3DD391-A383-CB97-D518-DDFF0A9E2C18}"/>
              </a:ext>
            </a:extLst>
          </p:cNvPr>
          <p:cNvSpPr/>
          <p:nvPr/>
        </p:nvSpPr>
        <p:spPr>
          <a:xfrm>
            <a:off x="6968734" y="1435808"/>
            <a:ext cx="1952385" cy="608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ovement loss</a:t>
            </a:r>
          </a:p>
        </p:txBody>
      </p:sp>
      <p:grpSp>
        <p:nvGrpSpPr>
          <p:cNvPr id="101" name="Group 890">
            <a:extLst>
              <a:ext uri="{FF2B5EF4-FFF2-40B4-BE49-F238E27FC236}">
                <a16:creationId xmlns:a16="http://schemas.microsoft.com/office/drawing/2014/main" id="{789523C4-E8A1-BCC9-5DFB-EFD256A416F7}"/>
              </a:ext>
            </a:extLst>
          </p:cNvPr>
          <p:cNvGrpSpPr>
            <a:grpSpLocks noChangeAspect="1"/>
          </p:cNvGrpSpPr>
          <p:nvPr/>
        </p:nvGrpSpPr>
        <p:grpSpPr bwMode="auto">
          <a:xfrm>
            <a:off x="6281173" y="1443550"/>
            <a:ext cx="548640" cy="547028"/>
            <a:chOff x="1153" y="3104"/>
            <a:chExt cx="341" cy="340"/>
          </a:xfrm>
          <a:solidFill>
            <a:schemeClr val="accent3"/>
          </a:solidFill>
        </p:grpSpPr>
        <p:sp>
          <p:nvSpPr>
            <p:cNvPr id="102" name="Freeform 891">
              <a:extLst>
                <a:ext uri="{FF2B5EF4-FFF2-40B4-BE49-F238E27FC236}">
                  <a16:creationId xmlns:a16="http://schemas.microsoft.com/office/drawing/2014/main" id="{952927C8-AC38-7DE9-B2F6-95C037420E07}"/>
                </a:ext>
              </a:extLst>
            </p:cNvPr>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892">
              <a:extLst>
                <a:ext uri="{FF2B5EF4-FFF2-40B4-BE49-F238E27FC236}">
                  <a16:creationId xmlns:a16="http://schemas.microsoft.com/office/drawing/2014/main" id="{40F2B9B8-2340-795A-A7BF-59A44B913DEB}"/>
                </a:ext>
              </a:extLst>
            </p:cNvPr>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893">
              <a:extLst>
                <a:ext uri="{FF2B5EF4-FFF2-40B4-BE49-F238E27FC236}">
                  <a16:creationId xmlns:a16="http://schemas.microsoft.com/office/drawing/2014/main" id="{50614997-A9DA-168E-28B9-808833083889}"/>
                </a:ext>
              </a:extLst>
            </p:cNvPr>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894">
              <a:extLst>
                <a:ext uri="{FF2B5EF4-FFF2-40B4-BE49-F238E27FC236}">
                  <a16:creationId xmlns:a16="http://schemas.microsoft.com/office/drawing/2014/main" id="{BD1C0903-7C18-DEA7-1B95-187652678B8A}"/>
                </a:ext>
              </a:extLst>
            </p:cNvPr>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895">
              <a:extLst>
                <a:ext uri="{FF2B5EF4-FFF2-40B4-BE49-F238E27FC236}">
                  <a16:creationId xmlns:a16="http://schemas.microsoft.com/office/drawing/2014/main" id="{155BE6CE-7980-C8A8-E1DB-FE49A23CCD83}"/>
                </a:ext>
              </a:extLst>
            </p:cNvPr>
            <p:cNvSpPr>
              <a:spLocks noEditPoints="1"/>
            </p:cNvSpPr>
            <p:nvPr/>
          </p:nvSpPr>
          <p:spPr bwMode="auto">
            <a:xfrm>
              <a:off x="1153" y="31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07" name="Rectangle 106">
            <a:extLst>
              <a:ext uri="{FF2B5EF4-FFF2-40B4-BE49-F238E27FC236}">
                <a16:creationId xmlns:a16="http://schemas.microsoft.com/office/drawing/2014/main" id="{C57B3284-B263-FCC6-AFB3-402AAD5C469F}"/>
              </a:ext>
            </a:extLst>
          </p:cNvPr>
          <p:cNvSpPr/>
          <p:nvPr/>
        </p:nvSpPr>
        <p:spPr>
          <a:xfrm>
            <a:off x="6165756" y="2035672"/>
            <a:ext cx="2756519" cy="87698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spcBef>
                <a:spcPts val="600"/>
              </a:spcBef>
              <a:spcAft>
                <a:spcPts val="0"/>
              </a:spcAft>
              <a:buClrTx/>
              <a:buSzTx/>
              <a:buFontTx/>
              <a:buNone/>
              <a:tabLst/>
              <a:defRPr/>
            </a:pPr>
            <a:r>
              <a:rPr kumimoji="0" lang="en-US" sz="100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vement loss refers to all </a:t>
            </a:r>
            <a:r>
              <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necessary motion activities that increase the task performance and its cycle time and are not considered value add regarding th</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e process</a:t>
            </a:r>
            <a:endParaRPr kumimoji="0" lang="en-US" sz="100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Rectangle: Rounded Corners 107">
            <a:extLst>
              <a:ext uri="{FF2B5EF4-FFF2-40B4-BE49-F238E27FC236}">
                <a16:creationId xmlns:a16="http://schemas.microsoft.com/office/drawing/2014/main" id="{74054237-DB1F-185C-109F-61D68B88440B}"/>
              </a:ext>
            </a:extLst>
          </p:cNvPr>
          <p:cNvSpPr/>
          <p:nvPr/>
        </p:nvSpPr>
        <p:spPr bwMode="gray">
          <a:xfrm>
            <a:off x="6197458" y="3221544"/>
            <a:ext cx="2693115" cy="876984"/>
          </a:xfrm>
          <a:prstGeom prst="roundRect">
            <a:avLst/>
          </a:prstGeom>
          <a:solidFill>
            <a:srgbClr val="D0D0CE"/>
          </a:solidFill>
          <a:ln w="19050" algn="ctr">
            <a:noFill/>
            <a:miter lim="800000"/>
            <a:headEnd/>
            <a:tailEnd/>
          </a:ln>
        </p:spPr>
        <p:txBody>
          <a:bodyPr wrap="square" lIns="88900" tIns="0" rIns="88900" bIns="0" rtlCol="0" anchor="t"/>
          <a:lstStyle/>
          <a:p>
            <a:pPr marL="0" marR="0" lvl="0" indent="0" algn="l" defTabSz="914400" eaLnBrk="1" fontAlgn="auto" latinLnBrk="0" hangingPunct="1">
              <a:lnSpc>
                <a:spcPct val="150000"/>
              </a:lnSpc>
              <a:spcBef>
                <a:spcPts val="600"/>
              </a:spcBef>
              <a:spcAft>
                <a:spcPts val="0"/>
              </a:spcAft>
              <a:buClrTx/>
              <a:buSzTx/>
              <a:buFontTx/>
              <a:buNone/>
              <a:tabLst/>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Example:</a:t>
            </a:r>
          </a:p>
          <a:p>
            <a:pPr marL="171450" lvl="0" indent="-171450">
              <a:buFont typeface="Arial" panose="020B0604020202020204" pitchFamily="34" charset="0"/>
              <a:buChar char="•"/>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Scanning and sorting of some documents</a:t>
            </a:r>
            <a:endParaRPr kumimoji="0" lang="en-US" sz="100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Rounded Rectangle 72">
            <a:extLst>
              <a:ext uri="{FF2B5EF4-FFF2-40B4-BE49-F238E27FC236}">
                <a16:creationId xmlns:a16="http://schemas.microsoft.com/office/drawing/2014/main" id="{1D360EB2-B561-A7A5-6FD7-CFAB9C201A1E}"/>
              </a:ext>
            </a:extLst>
          </p:cNvPr>
          <p:cNvSpPr/>
          <p:nvPr/>
        </p:nvSpPr>
        <p:spPr bwMode="gray">
          <a:xfrm>
            <a:off x="8987953" y="1361897"/>
            <a:ext cx="2759710" cy="2735373"/>
          </a:xfrm>
          <a:prstGeom prst="roundRect">
            <a:avLst>
              <a:gd name="adj" fmla="val 508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Rectangle 109">
            <a:extLst>
              <a:ext uri="{FF2B5EF4-FFF2-40B4-BE49-F238E27FC236}">
                <a16:creationId xmlns:a16="http://schemas.microsoft.com/office/drawing/2014/main" id="{2480135F-22B7-DB8B-E797-0048FD55430C}"/>
              </a:ext>
            </a:extLst>
          </p:cNvPr>
          <p:cNvSpPr/>
          <p:nvPr/>
        </p:nvSpPr>
        <p:spPr>
          <a:xfrm>
            <a:off x="9797558" y="1449877"/>
            <a:ext cx="1952385" cy="594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rocess losses</a:t>
            </a:r>
          </a:p>
        </p:txBody>
      </p:sp>
      <p:grpSp>
        <p:nvGrpSpPr>
          <p:cNvPr id="111" name="Group 39">
            <a:extLst>
              <a:ext uri="{FF2B5EF4-FFF2-40B4-BE49-F238E27FC236}">
                <a16:creationId xmlns:a16="http://schemas.microsoft.com/office/drawing/2014/main" id="{42EE9C49-C9F6-F56B-4182-8252323DDC0C}"/>
              </a:ext>
            </a:extLst>
          </p:cNvPr>
          <p:cNvGrpSpPr>
            <a:grpSpLocks noChangeAspect="1"/>
          </p:cNvGrpSpPr>
          <p:nvPr/>
        </p:nvGrpSpPr>
        <p:grpSpPr bwMode="auto">
          <a:xfrm>
            <a:off x="9133348" y="1449877"/>
            <a:ext cx="548640" cy="548640"/>
            <a:chOff x="3987" y="1509"/>
            <a:chExt cx="340" cy="340"/>
          </a:xfrm>
          <a:solidFill>
            <a:schemeClr val="accent3"/>
          </a:solidFill>
        </p:grpSpPr>
        <p:sp>
          <p:nvSpPr>
            <p:cNvPr id="112" name="Freeform 40">
              <a:extLst>
                <a:ext uri="{FF2B5EF4-FFF2-40B4-BE49-F238E27FC236}">
                  <a16:creationId xmlns:a16="http://schemas.microsoft.com/office/drawing/2014/main" id="{006FA262-E875-B738-D0C0-CD60BFE5246B}"/>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1">
              <a:extLst>
                <a:ext uri="{FF2B5EF4-FFF2-40B4-BE49-F238E27FC236}">
                  <a16:creationId xmlns:a16="http://schemas.microsoft.com/office/drawing/2014/main" id="{AB916822-113F-49B7-D038-F0FDFA5AF529}"/>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R="0" lvl="0" indent="0" algn="l" defTabSz="91440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14" name="Rectangle 113">
            <a:extLst>
              <a:ext uri="{FF2B5EF4-FFF2-40B4-BE49-F238E27FC236}">
                <a16:creationId xmlns:a16="http://schemas.microsoft.com/office/drawing/2014/main" id="{CA2493BE-71F0-B539-6E73-5307140BC93E}"/>
              </a:ext>
            </a:extLst>
          </p:cNvPr>
          <p:cNvSpPr/>
          <p:nvPr/>
        </p:nvSpPr>
        <p:spPr>
          <a:xfrm>
            <a:off x="8987953" y="2035672"/>
            <a:ext cx="2759710" cy="151995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spcBef>
                <a:spcPts val="600"/>
              </a:spcBef>
              <a:spcAft>
                <a:spcPts val="0"/>
              </a:spcAft>
              <a:buClrTx/>
              <a:buSzTx/>
              <a:buFontTx/>
              <a:buNone/>
              <a:tabLst/>
              <a:defRPr/>
            </a:pPr>
            <a:r>
              <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ss due to the  lack of the process standardization</a:t>
            </a:r>
            <a:r>
              <a:rPr kumimoji="0" lang="en-US" sz="100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ich can result in duplication of process steps and multiple iterations of steps.</a:t>
            </a:r>
            <a:endPar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Rectangle: Rounded Corners 114">
            <a:extLst>
              <a:ext uri="{FF2B5EF4-FFF2-40B4-BE49-F238E27FC236}">
                <a16:creationId xmlns:a16="http://schemas.microsoft.com/office/drawing/2014/main" id="{91D4F770-98C1-EEBE-6782-836F1197817E}"/>
              </a:ext>
            </a:extLst>
          </p:cNvPr>
          <p:cNvSpPr/>
          <p:nvPr/>
        </p:nvSpPr>
        <p:spPr bwMode="gray">
          <a:xfrm>
            <a:off x="9021251" y="3221544"/>
            <a:ext cx="2693115" cy="876984"/>
          </a:xfrm>
          <a:prstGeom prst="roundRect">
            <a:avLst/>
          </a:prstGeom>
          <a:solidFill>
            <a:srgbClr val="D0D0CE"/>
          </a:solidFill>
          <a:ln w="19050" algn="ctr">
            <a:noFill/>
            <a:miter lim="800000"/>
            <a:headEnd/>
            <a:tailEnd/>
          </a:ln>
        </p:spPr>
        <p:txBody>
          <a:bodyPr wrap="square" lIns="88900" tIns="0" rIns="88900" bIns="0" rtlCol="0" anchor="t"/>
          <a:lstStyle/>
          <a:p>
            <a:pPr marL="0" marR="0" lvl="0" indent="0" algn="l" defTabSz="914400" eaLnBrk="1" fontAlgn="auto" latinLnBrk="0" hangingPunct="1">
              <a:lnSpc>
                <a:spcPct val="150000"/>
              </a:lnSpc>
              <a:spcBef>
                <a:spcPts val="600"/>
              </a:spcBef>
              <a:spcAft>
                <a:spcPts val="0"/>
              </a:spcAft>
              <a:buClrTx/>
              <a:buSzTx/>
              <a:buFontTx/>
              <a:buNone/>
              <a:tabLst/>
              <a:defRPr/>
            </a:pPr>
            <a:r>
              <a:rPr kumimoji="0" lang="en-US" sz="10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ample:</a:t>
            </a:r>
          </a:p>
          <a:p>
            <a:pPr marL="171450" lvl="0" indent="-171450">
              <a:buFont typeface="Arial" panose="020B0604020202020204" pitchFamily="34" charset="0"/>
              <a:buChar char="•"/>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pproval from senior management is required at several points in the process</a:t>
            </a:r>
            <a:endParaRPr kumimoji="0" lang="en-US" sz="1000" b="0"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Rectangle: Top Corners Rounded 115">
            <a:extLst>
              <a:ext uri="{FF2B5EF4-FFF2-40B4-BE49-F238E27FC236}">
                <a16:creationId xmlns:a16="http://schemas.microsoft.com/office/drawing/2014/main" id="{8DB056C0-1BEC-6C00-1C3E-EC3CF3C6C329}"/>
              </a:ext>
            </a:extLst>
          </p:cNvPr>
          <p:cNvSpPr/>
          <p:nvPr/>
        </p:nvSpPr>
        <p:spPr bwMode="gray">
          <a:xfrm>
            <a:off x="501650" y="4206885"/>
            <a:ext cx="11248293" cy="2295674"/>
          </a:xfrm>
          <a:prstGeom prst="round2SameRect">
            <a:avLst>
              <a:gd name="adj1" fmla="val 9405"/>
              <a:gd name="adj2" fmla="val 6712"/>
            </a:avLst>
          </a:prstGeom>
          <a:solidFill>
            <a:schemeClr val="bg1">
              <a:lumMod val="95000"/>
            </a:schemeClr>
          </a:solidFill>
          <a:ln w="19050" algn="ctr">
            <a:noFill/>
            <a:miter lim="800000"/>
            <a:headEnd/>
            <a:tailEnd/>
          </a:ln>
        </p:spPr>
        <p:txBody>
          <a:bodyPr wrap="square" lIns="88900" tIns="88900" rIns="88900" bIns="88900" rtlCol="0" anchor="t"/>
          <a:lstStyle/>
          <a:p>
            <a:pPr>
              <a:lnSpc>
                <a:spcPct val="106000"/>
              </a:lnSpc>
            </a:pPr>
            <a:r>
              <a:rPr lang="en-US" sz="1200" dirty="0">
                <a:latin typeface="Open Sans" panose="020B0606030504020204" pitchFamily="34" charset="0"/>
                <a:ea typeface="Open Sans" panose="020B0606030504020204" pitchFamily="34" charset="0"/>
                <a:cs typeface="Open Sans" panose="020B0606030504020204" pitchFamily="34" charset="0"/>
              </a:rPr>
              <a:t>            From the Lean toolset we recommend using value stream mapping and root cause analysis for analyzing processes</a:t>
            </a:r>
          </a:p>
        </p:txBody>
      </p:sp>
      <p:sp>
        <p:nvSpPr>
          <p:cNvPr id="117" name="Rectangle 116">
            <a:extLst>
              <a:ext uri="{FF2B5EF4-FFF2-40B4-BE49-F238E27FC236}">
                <a16:creationId xmlns:a16="http://schemas.microsoft.com/office/drawing/2014/main" id="{35FD1385-357C-6552-737E-380B42094A1D}"/>
              </a:ext>
            </a:extLst>
          </p:cNvPr>
          <p:cNvSpPr/>
          <p:nvPr/>
        </p:nvSpPr>
        <p:spPr>
          <a:xfrm>
            <a:off x="5869165" y="4555044"/>
            <a:ext cx="4532136" cy="242874"/>
          </a:xfrm>
          <a:prstGeom prst="rect">
            <a:avLst/>
          </a:prstGeom>
          <a:solidFill>
            <a:schemeClr val="accent3"/>
          </a:solidFill>
        </p:spPr>
        <p:txBody>
          <a:bodyPr wrap="square" anchor="ctr">
            <a:noAutofit/>
          </a:bodyPr>
          <a:lstStyle/>
          <a:p>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ethodologies used for root cause analysis</a:t>
            </a:r>
          </a:p>
        </p:txBody>
      </p:sp>
      <p:sp>
        <p:nvSpPr>
          <p:cNvPr id="118" name="Rectangle 117">
            <a:extLst>
              <a:ext uri="{FF2B5EF4-FFF2-40B4-BE49-F238E27FC236}">
                <a16:creationId xmlns:a16="http://schemas.microsoft.com/office/drawing/2014/main" id="{6C7DDECE-2C0C-A3BF-0B4F-CD27A0B840C3}"/>
              </a:ext>
            </a:extLst>
          </p:cNvPr>
          <p:cNvSpPr/>
          <p:nvPr/>
        </p:nvSpPr>
        <p:spPr>
          <a:xfrm>
            <a:off x="887243" y="4574542"/>
            <a:ext cx="4536087" cy="242874"/>
          </a:xfrm>
          <a:prstGeom prst="rect">
            <a:avLst/>
          </a:prstGeom>
          <a:solidFill>
            <a:schemeClr val="accent3"/>
          </a:solidFill>
        </p:spPr>
        <p:txBody>
          <a:bodyPr wrap="square" anchor="ctr">
            <a:noAutofit/>
          </a:bodyPr>
          <a:lstStyle/>
          <a:p>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Value stream mapping methodology</a:t>
            </a:r>
          </a:p>
        </p:txBody>
      </p:sp>
      <p:pic>
        <p:nvPicPr>
          <p:cNvPr id="119" name="Picture 118">
            <a:extLst>
              <a:ext uri="{FF2B5EF4-FFF2-40B4-BE49-F238E27FC236}">
                <a16:creationId xmlns:a16="http://schemas.microsoft.com/office/drawing/2014/main" id="{10103F00-4CCF-9CDD-35F4-18105160295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670" r="1670"/>
          <a:stretch/>
        </p:blipFill>
        <p:spPr>
          <a:xfrm>
            <a:off x="10540232" y="4463325"/>
            <a:ext cx="764525" cy="539213"/>
          </a:xfrm>
          <a:prstGeom prst="rect">
            <a:avLst/>
          </a:prstGeom>
          <a:solidFill>
            <a:srgbClr val="FFF9E1"/>
          </a:solidFill>
          <a:ln>
            <a:solidFill>
              <a:srgbClr val="FFF9E1"/>
            </a:solidFill>
          </a:ln>
        </p:spPr>
      </p:pic>
      <p:pic>
        <p:nvPicPr>
          <p:cNvPr id="120" name="Picture 119">
            <a:extLst>
              <a:ext uri="{FF2B5EF4-FFF2-40B4-BE49-F238E27FC236}">
                <a16:creationId xmlns:a16="http://schemas.microsoft.com/office/drawing/2014/main" id="{56C666AA-7BD1-DD81-5751-9F016C89836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538999" y="5691867"/>
            <a:ext cx="571068" cy="769779"/>
          </a:xfrm>
          <a:prstGeom prst="rect">
            <a:avLst/>
          </a:prstGeom>
        </p:spPr>
      </p:pic>
      <p:pic>
        <p:nvPicPr>
          <p:cNvPr id="121" name="Picture 120">
            <a:extLst>
              <a:ext uri="{FF2B5EF4-FFF2-40B4-BE49-F238E27FC236}">
                <a16:creationId xmlns:a16="http://schemas.microsoft.com/office/drawing/2014/main" id="{56D7252E-2EB6-8817-6D8B-DFC8143D147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34876" y="5104044"/>
            <a:ext cx="1161727" cy="532089"/>
          </a:xfrm>
          <a:prstGeom prst="rect">
            <a:avLst/>
          </a:prstGeom>
          <a:ln>
            <a:solidFill>
              <a:schemeClr val="tx1"/>
            </a:solidFill>
          </a:ln>
        </p:spPr>
      </p:pic>
      <p:sp>
        <p:nvSpPr>
          <p:cNvPr id="122" name="TextBox 121">
            <a:extLst>
              <a:ext uri="{FF2B5EF4-FFF2-40B4-BE49-F238E27FC236}">
                <a16:creationId xmlns:a16="http://schemas.microsoft.com/office/drawing/2014/main" id="{C8AE7D01-0E67-9BA1-A419-800145A9B84F}"/>
              </a:ext>
            </a:extLst>
          </p:cNvPr>
          <p:cNvSpPr txBox="1"/>
          <p:nvPr/>
        </p:nvSpPr>
        <p:spPr>
          <a:xfrm>
            <a:off x="6164633" y="4922604"/>
            <a:ext cx="4236668" cy="307777"/>
          </a:xfrm>
          <a:prstGeom prst="rect">
            <a:avLst/>
          </a:prstGeom>
          <a:solidFill>
            <a:schemeClr val="bg1"/>
          </a:solidFill>
        </p:spPr>
        <p:txBody>
          <a:bodyPr wrap="square" lIns="182880" tIns="0" rIns="0" bIns="0" rtlCol="0">
            <a:spAutoFit/>
          </a:bodyPr>
          <a:lstStyle/>
          <a:p>
            <a:pPr>
              <a:spcBef>
                <a:spcPts val="600"/>
              </a:spcBef>
              <a:buSzPct val="100000"/>
            </a:pPr>
            <a:r>
              <a:rPr lang="en-US" sz="1000" dirty="0"/>
              <a:t>With at most 5 ‘ why’ questions we identify the key reasons behind the problems and </a:t>
            </a:r>
            <a:r>
              <a:rPr lang="en-US" sz="1000" b="1" dirty="0"/>
              <a:t>pain points </a:t>
            </a:r>
            <a:r>
              <a:rPr lang="en-US" sz="1000" dirty="0"/>
              <a:t>identified with value stream mapping.</a:t>
            </a:r>
          </a:p>
        </p:txBody>
      </p:sp>
      <p:sp>
        <p:nvSpPr>
          <p:cNvPr id="123" name="TextBox 122">
            <a:extLst>
              <a:ext uri="{FF2B5EF4-FFF2-40B4-BE49-F238E27FC236}">
                <a16:creationId xmlns:a16="http://schemas.microsoft.com/office/drawing/2014/main" id="{69B2735D-254D-5326-8A3A-64CC5B098E17}"/>
              </a:ext>
            </a:extLst>
          </p:cNvPr>
          <p:cNvSpPr txBox="1"/>
          <p:nvPr/>
        </p:nvSpPr>
        <p:spPr>
          <a:xfrm>
            <a:off x="6164633" y="5372218"/>
            <a:ext cx="4236668" cy="307777"/>
          </a:xfrm>
          <a:prstGeom prst="rect">
            <a:avLst/>
          </a:prstGeom>
          <a:solidFill>
            <a:schemeClr val="bg1"/>
          </a:solidFill>
        </p:spPr>
        <p:txBody>
          <a:bodyPr wrap="square" lIns="182880" tIns="0" rIns="0" bIns="0" rtlCol="0">
            <a:spAutoFit/>
          </a:bodyPr>
          <a:lstStyle/>
          <a:p>
            <a:pPr>
              <a:spcBef>
                <a:spcPts val="600"/>
              </a:spcBef>
              <a:buSzPct val="100000"/>
            </a:pPr>
            <a:r>
              <a:rPr lang="en-US" sz="1000" dirty="0"/>
              <a:t>The connection between the identified causes are presented on a </a:t>
            </a:r>
            <a:r>
              <a:rPr lang="en-US" sz="1000" b="1" dirty="0"/>
              <a:t>fishbone diagram</a:t>
            </a:r>
            <a:r>
              <a:rPr lang="en-US" sz="1000" dirty="0"/>
              <a:t> in order to identify the cause-and-effect relationships.</a:t>
            </a:r>
          </a:p>
        </p:txBody>
      </p:sp>
      <p:sp>
        <p:nvSpPr>
          <p:cNvPr id="124" name="TextBox 123">
            <a:extLst>
              <a:ext uri="{FF2B5EF4-FFF2-40B4-BE49-F238E27FC236}">
                <a16:creationId xmlns:a16="http://schemas.microsoft.com/office/drawing/2014/main" id="{123C1830-E36B-AB57-2997-0D66BBAD3E78}"/>
              </a:ext>
            </a:extLst>
          </p:cNvPr>
          <p:cNvSpPr txBox="1"/>
          <p:nvPr/>
        </p:nvSpPr>
        <p:spPr>
          <a:xfrm>
            <a:off x="6164633" y="5799164"/>
            <a:ext cx="4236668" cy="461665"/>
          </a:xfrm>
          <a:prstGeom prst="rect">
            <a:avLst/>
          </a:prstGeom>
          <a:solidFill>
            <a:schemeClr val="bg1"/>
          </a:solidFill>
        </p:spPr>
        <p:txBody>
          <a:bodyPr wrap="square" lIns="182880" tIns="0" rIns="0" bIns="0" rtlCol="0">
            <a:spAutoFit/>
          </a:bodyPr>
          <a:lstStyle/>
          <a:p>
            <a:r>
              <a:rPr lang="en-US" sz="1000" dirty="0"/>
              <a:t>Once the diagram has been created, the identified problems will be </a:t>
            </a:r>
            <a:r>
              <a:rPr lang="en-US" sz="1000" dirty="0" err="1"/>
              <a:t>priorized</a:t>
            </a:r>
            <a:r>
              <a:rPr lang="en-US" sz="1000" dirty="0"/>
              <a:t>. It is recommended to re-examine the selected causes. If we are convinced of their significance, development opportunities are created thereby.</a:t>
            </a:r>
            <a:endParaRPr lang="en-US" sz="1000" strike="sngStrike" dirty="0"/>
          </a:p>
        </p:txBody>
      </p:sp>
      <p:sp>
        <p:nvSpPr>
          <p:cNvPr id="125" name="Oval 124">
            <a:extLst>
              <a:ext uri="{FF2B5EF4-FFF2-40B4-BE49-F238E27FC236}">
                <a16:creationId xmlns:a16="http://schemas.microsoft.com/office/drawing/2014/main" id="{E73702BA-7890-0AEB-8E71-E24676729BCA}"/>
              </a:ext>
            </a:extLst>
          </p:cNvPr>
          <p:cNvSpPr/>
          <p:nvPr/>
        </p:nvSpPr>
        <p:spPr bwMode="gray">
          <a:xfrm>
            <a:off x="5899645" y="4893612"/>
            <a:ext cx="365760" cy="365760"/>
          </a:xfrm>
          <a:prstGeom prst="ellipse">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600" b="1" dirty="0"/>
              <a:t>1</a:t>
            </a:r>
          </a:p>
        </p:txBody>
      </p:sp>
      <p:sp>
        <p:nvSpPr>
          <p:cNvPr id="126" name="Oval 125">
            <a:extLst>
              <a:ext uri="{FF2B5EF4-FFF2-40B4-BE49-F238E27FC236}">
                <a16:creationId xmlns:a16="http://schemas.microsoft.com/office/drawing/2014/main" id="{88CE48EC-58D7-F9E1-906A-ACB4FFF5A04B}"/>
              </a:ext>
            </a:extLst>
          </p:cNvPr>
          <p:cNvSpPr/>
          <p:nvPr/>
        </p:nvSpPr>
        <p:spPr bwMode="gray">
          <a:xfrm>
            <a:off x="5899645" y="5343226"/>
            <a:ext cx="365760" cy="365760"/>
          </a:xfrm>
          <a:prstGeom prst="ellipse">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600" b="1" dirty="0"/>
              <a:t>2</a:t>
            </a:r>
          </a:p>
        </p:txBody>
      </p:sp>
      <p:sp>
        <p:nvSpPr>
          <p:cNvPr id="127" name="Oval 126">
            <a:extLst>
              <a:ext uri="{FF2B5EF4-FFF2-40B4-BE49-F238E27FC236}">
                <a16:creationId xmlns:a16="http://schemas.microsoft.com/office/drawing/2014/main" id="{56FB0070-1FBA-756E-CD0B-85C1C3271C3F}"/>
              </a:ext>
            </a:extLst>
          </p:cNvPr>
          <p:cNvSpPr/>
          <p:nvPr/>
        </p:nvSpPr>
        <p:spPr bwMode="gray">
          <a:xfrm>
            <a:off x="5899645" y="5847116"/>
            <a:ext cx="365760" cy="365760"/>
          </a:xfrm>
          <a:prstGeom prst="ellipse">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600" b="1" dirty="0"/>
              <a:t>3</a:t>
            </a:r>
          </a:p>
        </p:txBody>
      </p:sp>
      <p:sp>
        <p:nvSpPr>
          <p:cNvPr id="128" name="TextBox 127">
            <a:extLst>
              <a:ext uri="{FF2B5EF4-FFF2-40B4-BE49-F238E27FC236}">
                <a16:creationId xmlns:a16="http://schemas.microsoft.com/office/drawing/2014/main" id="{CABA0C45-7307-C23E-49AB-3A37DAAF0B02}"/>
              </a:ext>
            </a:extLst>
          </p:cNvPr>
          <p:cNvSpPr txBox="1"/>
          <p:nvPr/>
        </p:nvSpPr>
        <p:spPr>
          <a:xfrm>
            <a:off x="721592" y="4922604"/>
            <a:ext cx="4693124" cy="1384995"/>
          </a:xfrm>
          <a:prstGeom prst="rect">
            <a:avLst/>
          </a:prstGeom>
          <a:solidFill>
            <a:schemeClr val="bg1">
              <a:lumMod val="95000"/>
            </a:schemeClr>
          </a:solidFill>
        </p:spPr>
        <p:txBody>
          <a:bodyPr wrap="square" lIns="182880" tIns="0" rIns="0" bIns="0" rtlCol="0">
            <a:spAutoFit/>
          </a:bodyPr>
          <a:lstStyle/>
          <a:p>
            <a:r>
              <a:rPr lang="en-US" sz="1000" dirty="0"/>
              <a:t>During </a:t>
            </a:r>
            <a:r>
              <a:rPr lang="en-US" sz="1000" b="1" dirty="0"/>
              <a:t>value stream mapping</a:t>
            </a:r>
            <a:r>
              <a:rPr lang="en-US" sz="1000" dirty="0"/>
              <a:t>, the processes are mapped in detail, steps by step. </a:t>
            </a:r>
          </a:p>
          <a:p>
            <a:endParaRPr lang="en-US" sz="1000" dirty="0"/>
          </a:p>
          <a:p>
            <a:r>
              <a:rPr lang="en-US" sz="1000" dirty="0"/>
              <a:t>In order to identify wastes, the activities are classified into 3 categories:</a:t>
            </a:r>
          </a:p>
          <a:p>
            <a:pPr marL="171450" indent="-171450">
              <a:buFont typeface="Arial" panose="020B0604020202020204" pitchFamily="34" charset="0"/>
              <a:buChar char="•"/>
            </a:pPr>
            <a:r>
              <a:rPr lang="en-US" sz="1000" dirty="0"/>
              <a:t>Value-added activities; </a:t>
            </a:r>
          </a:p>
          <a:p>
            <a:pPr marL="171450" indent="-171450">
              <a:buFont typeface="Arial" panose="020B0604020202020204" pitchFamily="34" charset="0"/>
              <a:buChar char="•"/>
            </a:pPr>
            <a:r>
              <a:rPr lang="en-US" sz="1000" dirty="0"/>
              <a:t>Necessary, but non-value-added activities;</a:t>
            </a:r>
          </a:p>
          <a:p>
            <a:pPr marL="171450" indent="-171450">
              <a:buFont typeface="Arial" panose="020B0604020202020204" pitchFamily="34" charset="0"/>
              <a:buChar char="•"/>
            </a:pPr>
            <a:r>
              <a:rPr lang="en-US" sz="1000" dirty="0"/>
              <a:t>Activities that do not add value</a:t>
            </a:r>
          </a:p>
          <a:p>
            <a:endParaRPr lang="en-US" sz="1000" dirty="0"/>
          </a:p>
          <a:p>
            <a:r>
              <a:rPr lang="en-US" sz="1000" dirty="0"/>
              <a:t>As a result the examined E2E process and the information </a:t>
            </a:r>
            <a:br>
              <a:rPr lang="en-US" sz="1000" dirty="0"/>
            </a:br>
            <a:r>
              <a:rPr lang="en-US" sz="1000" dirty="0"/>
              <a:t>flow within the process are presented in detail.</a:t>
            </a:r>
          </a:p>
        </p:txBody>
      </p:sp>
      <p:pic>
        <p:nvPicPr>
          <p:cNvPr id="129" name="Picture 128">
            <a:extLst>
              <a:ext uri="{FF2B5EF4-FFF2-40B4-BE49-F238E27FC236}">
                <a16:creationId xmlns:a16="http://schemas.microsoft.com/office/drawing/2014/main" id="{8CE9E9CB-0B9F-4E45-2E8B-5DEDE47F1E4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78084" y="5533135"/>
            <a:ext cx="1449843" cy="733817"/>
          </a:xfrm>
          <a:prstGeom prst="rect">
            <a:avLst/>
          </a:prstGeom>
          <a:ln>
            <a:solidFill>
              <a:schemeClr val="tx1"/>
            </a:solidFill>
          </a:ln>
        </p:spPr>
      </p:pic>
      <p:grpSp>
        <p:nvGrpSpPr>
          <p:cNvPr id="130" name="Group 129">
            <a:extLst>
              <a:ext uri="{FF2B5EF4-FFF2-40B4-BE49-F238E27FC236}">
                <a16:creationId xmlns:a16="http://schemas.microsoft.com/office/drawing/2014/main" id="{132625A3-556F-BFDC-207D-50B10EA0085D}"/>
              </a:ext>
            </a:extLst>
          </p:cNvPr>
          <p:cNvGrpSpPr/>
          <p:nvPr/>
        </p:nvGrpSpPr>
        <p:grpSpPr>
          <a:xfrm>
            <a:off x="543458" y="4256922"/>
            <a:ext cx="548640" cy="548640"/>
            <a:chOff x="-1301598" y="4819658"/>
            <a:chExt cx="548640" cy="548640"/>
          </a:xfrm>
        </p:grpSpPr>
        <p:sp>
          <p:nvSpPr>
            <p:cNvPr id="131" name="Oval 130">
              <a:extLst>
                <a:ext uri="{FF2B5EF4-FFF2-40B4-BE49-F238E27FC236}">
                  <a16:creationId xmlns:a16="http://schemas.microsoft.com/office/drawing/2014/main" id="{1E75065A-3792-085B-0F62-70FE71472329}"/>
                </a:ext>
              </a:extLst>
            </p:cNvPr>
            <p:cNvSpPr/>
            <p:nvPr/>
          </p:nvSpPr>
          <p:spPr bwMode="gray">
            <a:xfrm>
              <a:off x="-1301598" y="4819658"/>
              <a:ext cx="548640" cy="548640"/>
            </a:xfrm>
            <a:prstGeom prst="ellipse">
              <a:avLst/>
            </a:prstGeom>
            <a:solidFill>
              <a:schemeClr val="bg1"/>
            </a:solidFill>
            <a:ln w="19050" algn="ctr">
              <a:solidFill>
                <a:srgbClr val="041E42"/>
              </a:solid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p>
          </p:txBody>
        </p:sp>
        <p:pic>
          <p:nvPicPr>
            <p:cNvPr id="132" name="Graphic 131" descr="List with solid fill">
              <a:extLst>
                <a:ext uri="{FF2B5EF4-FFF2-40B4-BE49-F238E27FC236}">
                  <a16:creationId xmlns:a16="http://schemas.microsoft.com/office/drawing/2014/main" id="{62E58332-4DFE-3BE9-20A6-B76A5A0A921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210158" y="4911098"/>
              <a:ext cx="365760" cy="365760"/>
            </a:xfrm>
            <a:prstGeom prst="rect">
              <a:avLst/>
            </a:prstGeom>
          </p:spPr>
        </p:pic>
      </p:grpSp>
      <p:grpSp>
        <p:nvGrpSpPr>
          <p:cNvPr id="134" name="Group 133">
            <a:extLst>
              <a:ext uri="{FF2B5EF4-FFF2-40B4-BE49-F238E27FC236}">
                <a16:creationId xmlns:a16="http://schemas.microsoft.com/office/drawing/2014/main" id="{DE323418-6927-6DB8-B08E-36087CCC15FC}"/>
              </a:ext>
            </a:extLst>
          </p:cNvPr>
          <p:cNvGrpSpPr/>
          <p:nvPr/>
        </p:nvGrpSpPr>
        <p:grpSpPr>
          <a:xfrm>
            <a:off x="9283071" y="265140"/>
            <a:ext cx="2459820" cy="411402"/>
            <a:chOff x="9283071" y="265140"/>
            <a:chExt cx="2459820" cy="411402"/>
          </a:xfrm>
        </p:grpSpPr>
        <p:sp>
          <p:nvSpPr>
            <p:cNvPr id="135" name="Arrow: Chevron 134">
              <a:extLst>
                <a:ext uri="{FF2B5EF4-FFF2-40B4-BE49-F238E27FC236}">
                  <a16:creationId xmlns:a16="http://schemas.microsoft.com/office/drawing/2014/main" id="{185DFDB0-6648-B253-2461-E4FB287D18FD}"/>
                </a:ext>
              </a:extLst>
            </p:cNvPr>
            <p:cNvSpPr/>
            <p:nvPr/>
          </p:nvSpPr>
          <p:spPr bwMode="gray">
            <a:xfrm>
              <a:off x="9413117" y="269048"/>
              <a:ext cx="1646853" cy="406400"/>
            </a:xfrm>
            <a:prstGeom prst="chevron">
              <a:avLst>
                <a:gd name="adj" fmla="val 56646"/>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6" name="Rectangle 135">
              <a:extLst>
                <a:ext uri="{FF2B5EF4-FFF2-40B4-BE49-F238E27FC236}">
                  <a16:creationId xmlns:a16="http://schemas.microsoft.com/office/drawing/2014/main" id="{F826BA9B-1050-4D04-82FE-4C736BF18A37}"/>
                </a:ext>
              </a:extLst>
            </p:cNvPr>
            <p:cNvSpPr/>
            <p:nvPr/>
          </p:nvSpPr>
          <p:spPr bwMode="gray">
            <a:xfrm>
              <a:off x="9283071" y="273466"/>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As-IS Analysis</a:t>
              </a:r>
            </a:p>
          </p:txBody>
        </p:sp>
        <p:sp>
          <p:nvSpPr>
            <p:cNvPr id="137" name="Pentagon 7">
              <a:extLst>
                <a:ext uri="{FF2B5EF4-FFF2-40B4-BE49-F238E27FC236}">
                  <a16:creationId xmlns:a16="http://schemas.microsoft.com/office/drawing/2014/main" id="{6DBE5567-AB7B-9AA3-2826-F8D2063618D9}"/>
                </a:ext>
              </a:extLst>
            </p:cNvPr>
            <p:cNvSpPr/>
            <p:nvPr/>
          </p:nvSpPr>
          <p:spPr bwMode="gray">
            <a:xfrm>
              <a:off x="9378489" y="270142"/>
              <a:ext cx="228097" cy="406400"/>
            </a:xfrm>
            <a:prstGeom prst="homePlate">
              <a:avLst>
                <a:gd name="adj" fmla="val 100000"/>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8" name="Rectangle 137">
              <a:extLst>
                <a:ext uri="{FF2B5EF4-FFF2-40B4-BE49-F238E27FC236}">
                  <a16:creationId xmlns:a16="http://schemas.microsoft.com/office/drawing/2014/main" id="{BA18CCE0-1845-5B86-56D9-5C75D23E9F5D}"/>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139" name="Arrow: Chevron 138">
              <a:extLst>
                <a:ext uri="{FF2B5EF4-FFF2-40B4-BE49-F238E27FC236}">
                  <a16:creationId xmlns:a16="http://schemas.microsoft.com/office/drawing/2014/main" id="{610EC74C-9457-EE24-A147-E351F1E200BF}"/>
                </a:ext>
              </a:extLst>
            </p:cNvPr>
            <p:cNvSpPr/>
            <p:nvPr/>
          </p:nvSpPr>
          <p:spPr bwMode="gray">
            <a:xfrm>
              <a:off x="10872811" y="265725"/>
              <a:ext cx="411480" cy="406400"/>
            </a:xfrm>
            <a:prstGeom prst="chevron">
              <a:avLst>
                <a:gd name="adj" fmla="val 5577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0" name="Arrow: Chevron 139">
              <a:extLst>
                <a:ext uri="{FF2B5EF4-FFF2-40B4-BE49-F238E27FC236}">
                  <a16:creationId xmlns:a16="http://schemas.microsoft.com/office/drawing/2014/main" id="{88778538-E81A-EE21-7C52-5E342BFB4520}"/>
                </a:ext>
              </a:extLst>
            </p:cNvPr>
            <p:cNvSpPr/>
            <p:nvPr/>
          </p:nvSpPr>
          <p:spPr bwMode="gray">
            <a:xfrm>
              <a:off x="11104489" y="265725"/>
              <a:ext cx="411480"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1" name="Arrow: Chevron 140">
              <a:extLst>
                <a:ext uri="{FF2B5EF4-FFF2-40B4-BE49-F238E27FC236}">
                  <a16:creationId xmlns:a16="http://schemas.microsoft.com/office/drawing/2014/main" id="{2C241720-F1E5-624F-1ABA-ACCEECEB7F59}"/>
                </a:ext>
              </a:extLst>
            </p:cNvPr>
            <p:cNvSpPr/>
            <p:nvPr/>
          </p:nvSpPr>
          <p:spPr bwMode="gray">
            <a:xfrm>
              <a:off x="11336166" y="265140"/>
              <a:ext cx="406725"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910952507"/>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76610442-11A9-DAFD-DAD4-72A00F603406}"/>
              </a:ext>
            </a:extLst>
          </p:cNvPr>
          <p:cNvGraphicFramePr>
            <a:graphicFrameLocks noChangeAspect="1"/>
          </p:cNvGraphicFramePr>
          <p:nvPr>
            <p:custDataLst>
              <p:tags r:id="rId1"/>
            </p:custDataLst>
            <p:extLst>
              <p:ext uri="{D42A27DB-BD31-4B8C-83A1-F6EECF244321}">
                <p14:modId xmlns:p14="http://schemas.microsoft.com/office/powerpoint/2010/main" val="657372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3" name="think-cell data - do not delete" hidden="1">
                        <a:extLst>
                          <a:ext uri="{FF2B5EF4-FFF2-40B4-BE49-F238E27FC236}">
                            <a16:creationId xmlns:a16="http://schemas.microsoft.com/office/drawing/2014/main" id="{76610442-11A9-DAFD-DAD4-72A00F603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3669A9F-FF90-2B3B-EAA8-CB9353F892E6}"/>
              </a:ext>
            </a:extLst>
          </p:cNvPr>
          <p:cNvSpPr>
            <a:spLocks noGrp="1"/>
          </p:cNvSpPr>
          <p:nvPr>
            <p:ph type="body" sz="quarter" idx="22"/>
          </p:nvPr>
        </p:nvSpPr>
        <p:spPr/>
        <p:txBody>
          <a:bodyPr/>
          <a:lstStyle/>
          <a:p>
            <a:r>
              <a:rPr lang="en-US" dirty="0"/>
              <a:t>Based on the identified root causes Deloitte recommends improvement points and prioritize them based on their complexity and expected impact</a:t>
            </a:r>
          </a:p>
        </p:txBody>
      </p:sp>
      <p:sp>
        <p:nvSpPr>
          <p:cNvPr id="3" name="Title 2">
            <a:extLst>
              <a:ext uri="{FF2B5EF4-FFF2-40B4-BE49-F238E27FC236}">
                <a16:creationId xmlns:a16="http://schemas.microsoft.com/office/drawing/2014/main" id="{AED197A0-0850-7588-4A55-631CAB250D86}"/>
              </a:ext>
            </a:extLst>
          </p:cNvPr>
          <p:cNvSpPr>
            <a:spLocks noGrp="1"/>
          </p:cNvSpPr>
          <p:nvPr>
            <p:ph type="title"/>
          </p:nvPr>
        </p:nvSpPr>
        <p:spPr/>
        <p:txBody>
          <a:bodyPr vert="horz"/>
          <a:lstStyle/>
          <a:p>
            <a:r>
              <a:rPr lang="en-US" dirty="0"/>
              <a:t>Improvement recommendations</a:t>
            </a:r>
          </a:p>
        </p:txBody>
      </p:sp>
      <p:cxnSp>
        <p:nvCxnSpPr>
          <p:cNvPr id="44" name="Straight Arrow Connector 43">
            <a:extLst>
              <a:ext uri="{FF2B5EF4-FFF2-40B4-BE49-F238E27FC236}">
                <a16:creationId xmlns:a16="http://schemas.microsoft.com/office/drawing/2014/main" id="{2B32789B-26A3-9A43-7713-176B02CAB43D}"/>
              </a:ext>
            </a:extLst>
          </p:cNvPr>
          <p:cNvCxnSpPr/>
          <p:nvPr/>
        </p:nvCxnSpPr>
        <p:spPr>
          <a:xfrm flipV="1">
            <a:off x="7488073" y="2197417"/>
            <a:ext cx="0" cy="2376000"/>
          </a:xfrm>
          <a:prstGeom prst="straightConnector1">
            <a:avLst/>
          </a:prstGeom>
          <a:ln w="381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AC7DC20-BD7F-0226-FADD-FA6CBB21DDED}"/>
              </a:ext>
            </a:extLst>
          </p:cNvPr>
          <p:cNvSpPr txBox="1"/>
          <p:nvPr/>
        </p:nvSpPr>
        <p:spPr>
          <a:xfrm rot="16200000">
            <a:off x="7100718" y="3352507"/>
            <a:ext cx="537006" cy="169277"/>
          </a:xfrm>
          <a:prstGeom prst="rect">
            <a:avLst/>
          </a:prstGeom>
          <a:noFill/>
        </p:spPr>
        <p:txBody>
          <a:bodyPr wrap="none" lIns="0" tIns="0" rIns="0" bIns="0" rtlCol="0">
            <a:spAutoFit/>
          </a:bodyPr>
          <a:lstStyle/>
          <a:p>
            <a:pPr>
              <a:spcBef>
                <a:spcPts val="600"/>
              </a:spcBef>
              <a:buSzPct val="100000"/>
            </a:pPr>
            <a:r>
              <a:rPr lang="en-US" sz="1100" b="1" dirty="0">
                <a:latin typeface="Open Sans" panose="020B0606030504020204" pitchFamily="34" charset="0"/>
                <a:ea typeface="Open Sans" panose="020B0606030504020204" pitchFamily="34" charset="0"/>
                <a:cs typeface="Open Sans" panose="020B0606030504020204" pitchFamily="34" charset="0"/>
              </a:rPr>
              <a:t>IMPACT</a:t>
            </a:r>
          </a:p>
        </p:txBody>
      </p:sp>
      <p:sp>
        <p:nvSpPr>
          <p:cNvPr id="46" name="TextBox 45">
            <a:extLst>
              <a:ext uri="{FF2B5EF4-FFF2-40B4-BE49-F238E27FC236}">
                <a16:creationId xmlns:a16="http://schemas.microsoft.com/office/drawing/2014/main" id="{442F076A-558D-CAC0-33D9-3FD5BB8BCEF5}"/>
              </a:ext>
            </a:extLst>
          </p:cNvPr>
          <p:cNvSpPr txBox="1"/>
          <p:nvPr/>
        </p:nvSpPr>
        <p:spPr>
          <a:xfrm>
            <a:off x="8473406" y="4633543"/>
            <a:ext cx="2390860" cy="169277"/>
          </a:xfrm>
          <a:prstGeom prst="rect">
            <a:avLst/>
          </a:prstGeom>
          <a:noFill/>
        </p:spPr>
        <p:txBody>
          <a:bodyPr wrap="square" lIns="0" tIns="0" rIns="0" bIns="0" rtlCol="0">
            <a:spAutoFit/>
          </a:bodyPr>
          <a:lstStyle/>
          <a:p>
            <a:pPr algn="ctr">
              <a:spcBef>
                <a:spcPts val="600"/>
              </a:spcBef>
              <a:buSzPct val="100000"/>
            </a:pPr>
            <a:r>
              <a:rPr lang="en-US" sz="1100" b="1" dirty="0">
                <a:latin typeface="Open Sans" panose="020B0606030504020204" pitchFamily="34" charset="0"/>
                <a:ea typeface="Open Sans" panose="020B0606030504020204" pitchFamily="34" charset="0"/>
                <a:cs typeface="Open Sans" panose="020B0606030504020204" pitchFamily="34" charset="0"/>
              </a:rPr>
              <a:t>COMPLEXITY</a:t>
            </a:r>
          </a:p>
        </p:txBody>
      </p:sp>
      <p:cxnSp>
        <p:nvCxnSpPr>
          <p:cNvPr id="56" name="Straight Arrow Connector 55">
            <a:extLst>
              <a:ext uri="{FF2B5EF4-FFF2-40B4-BE49-F238E27FC236}">
                <a16:creationId xmlns:a16="http://schemas.microsoft.com/office/drawing/2014/main" id="{7CD796A8-DEF0-8BA3-28FA-E9EAC642593C}"/>
              </a:ext>
            </a:extLst>
          </p:cNvPr>
          <p:cNvCxnSpPr>
            <a:cxnSpLocks/>
          </p:cNvCxnSpPr>
          <p:nvPr/>
        </p:nvCxnSpPr>
        <p:spPr>
          <a:xfrm>
            <a:off x="7488073" y="4563169"/>
            <a:ext cx="4252822" cy="0"/>
          </a:xfrm>
          <a:prstGeom prst="straightConnector1">
            <a:avLst/>
          </a:prstGeom>
          <a:ln w="381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3C38C55-F386-FFA0-13EE-4272F045B304}"/>
              </a:ext>
            </a:extLst>
          </p:cNvPr>
          <p:cNvSpPr txBox="1"/>
          <p:nvPr/>
        </p:nvSpPr>
        <p:spPr>
          <a:xfrm>
            <a:off x="7488073" y="1649746"/>
            <a:ext cx="4252822" cy="369332"/>
          </a:xfrm>
          <a:prstGeom prst="rect">
            <a:avLst/>
          </a:prstGeom>
          <a:noFill/>
        </p:spPr>
        <p:txBody>
          <a:bodyPr wrap="square" lIns="0" tIns="0" rIns="0" bIns="0" rtlCol="0">
            <a:spAutoFit/>
          </a:bodyPr>
          <a:lstStyle/>
          <a:p>
            <a:pPr>
              <a:spcBef>
                <a:spcPts val="600"/>
              </a:spcBef>
              <a:buSzPct val="100000"/>
            </a:pPr>
            <a:r>
              <a:rPr lang="en-US" sz="1200" b="1" dirty="0">
                <a:solidFill>
                  <a:srgbClr val="1CABE3"/>
                </a:solidFill>
                <a:latin typeface="Open Sans" panose="020B0606030504020204" pitchFamily="34" charset="0"/>
                <a:ea typeface="Open Sans" panose="020B0606030504020204" pitchFamily="34" charset="0"/>
                <a:cs typeface="Open Sans" panose="020B0606030504020204" pitchFamily="34" charset="0"/>
              </a:rPr>
              <a:t>Prioritize improvement needs according to the management’s objectives:</a:t>
            </a:r>
          </a:p>
        </p:txBody>
      </p:sp>
      <p:sp>
        <p:nvSpPr>
          <p:cNvPr id="58" name="Question_mark">
            <a:extLst>
              <a:ext uri="{FF2B5EF4-FFF2-40B4-BE49-F238E27FC236}">
                <a16:creationId xmlns:a16="http://schemas.microsoft.com/office/drawing/2014/main" id="{36D53EB2-1882-15D7-0FFB-77F91ACB51B8}"/>
              </a:ext>
            </a:extLst>
          </p:cNvPr>
          <p:cNvSpPr>
            <a:spLocks noEditPoints="1"/>
          </p:cNvSpPr>
          <p:nvPr/>
        </p:nvSpPr>
        <p:spPr bwMode="auto">
          <a:xfrm>
            <a:off x="2822159" y="2204703"/>
            <a:ext cx="47677" cy="19578"/>
          </a:xfrm>
          <a:custGeom>
            <a:avLst/>
            <a:gdLst>
              <a:gd name="T0" fmla="*/ 37 w 75"/>
              <a:gd name="T1" fmla="*/ 75 h 75"/>
              <a:gd name="T2" fmla="*/ 0 w 75"/>
              <a:gd name="T3" fmla="*/ 37 h 75"/>
              <a:gd name="T4" fmla="*/ 37 w 75"/>
              <a:gd name="T5" fmla="*/ 0 h 75"/>
              <a:gd name="T6" fmla="*/ 75 w 75"/>
              <a:gd name="T7" fmla="*/ 37 h 75"/>
              <a:gd name="T8" fmla="*/ 37 w 75"/>
              <a:gd name="T9" fmla="*/ 75 h 75"/>
              <a:gd name="T10" fmla="*/ 37 w 75"/>
              <a:gd name="T11" fmla="*/ 25 h 75"/>
              <a:gd name="T12" fmla="*/ 25 w 75"/>
              <a:gd name="T13" fmla="*/ 37 h 75"/>
              <a:gd name="T14" fmla="*/ 37 w 75"/>
              <a:gd name="T15" fmla="*/ 50 h 75"/>
              <a:gd name="T16" fmla="*/ 50 w 75"/>
              <a:gd name="T17" fmla="*/ 37 h 75"/>
              <a:gd name="T18" fmla="*/ 37 w 75"/>
              <a:gd name="T19"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7" y="75"/>
                </a:moveTo>
                <a:cubicBezTo>
                  <a:pt x="16" y="75"/>
                  <a:pt x="0" y="58"/>
                  <a:pt x="0" y="37"/>
                </a:cubicBezTo>
                <a:cubicBezTo>
                  <a:pt x="0" y="16"/>
                  <a:pt x="16" y="0"/>
                  <a:pt x="37" y="0"/>
                </a:cubicBezTo>
                <a:cubicBezTo>
                  <a:pt x="58" y="0"/>
                  <a:pt x="75" y="16"/>
                  <a:pt x="75" y="37"/>
                </a:cubicBezTo>
                <a:cubicBezTo>
                  <a:pt x="75" y="58"/>
                  <a:pt x="58" y="75"/>
                  <a:pt x="37" y="75"/>
                </a:cubicBezTo>
                <a:close/>
                <a:moveTo>
                  <a:pt x="37" y="25"/>
                </a:moveTo>
                <a:cubicBezTo>
                  <a:pt x="30" y="25"/>
                  <a:pt x="25" y="30"/>
                  <a:pt x="25" y="37"/>
                </a:cubicBezTo>
                <a:cubicBezTo>
                  <a:pt x="25" y="45"/>
                  <a:pt x="30" y="50"/>
                  <a:pt x="37" y="50"/>
                </a:cubicBezTo>
                <a:cubicBezTo>
                  <a:pt x="45" y="50"/>
                  <a:pt x="50" y="45"/>
                  <a:pt x="50" y="37"/>
                </a:cubicBezTo>
                <a:cubicBezTo>
                  <a:pt x="50" y="30"/>
                  <a:pt x="45" y="25"/>
                  <a:pt x="37" y="25"/>
                </a:cubicBezTo>
                <a:close/>
              </a:path>
            </a:pathLst>
          </a:custGeom>
          <a:noFill/>
          <a:ln w="0">
            <a:noFill/>
            <a:prstDash val="solid"/>
            <a:round/>
            <a:headEnd/>
            <a:tailEnd/>
          </a:ln>
        </p:spPr>
        <p:txBody>
          <a:bodyPr vert="horz" wrap="square" lIns="0" tIns="45720" rIns="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CA05DEAD-772E-744E-4BFD-CEDD9BDFC291}"/>
              </a:ext>
            </a:extLst>
          </p:cNvPr>
          <p:cNvSpPr/>
          <p:nvPr/>
        </p:nvSpPr>
        <p:spPr bwMode="gray">
          <a:xfrm>
            <a:off x="835148" y="2578926"/>
            <a:ext cx="1035107"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91440" tIns="88900" rIns="9144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utomation</a:t>
            </a:r>
          </a:p>
        </p:txBody>
      </p:sp>
      <p:sp>
        <p:nvSpPr>
          <p:cNvPr id="60" name="Rectangle 59">
            <a:extLst>
              <a:ext uri="{FF2B5EF4-FFF2-40B4-BE49-F238E27FC236}">
                <a16:creationId xmlns:a16="http://schemas.microsoft.com/office/drawing/2014/main" id="{52619E12-628B-591D-BC48-82606BB911DC}"/>
              </a:ext>
            </a:extLst>
          </p:cNvPr>
          <p:cNvSpPr/>
          <p:nvPr/>
        </p:nvSpPr>
        <p:spPr bwMode="gray">
          <a:xfrm>
            <a:off x="1994659" y="2581104"/>
            <a:ext cx="1035107"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91440" tIns="88900" rIns="9144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T development</a:t>
            </a:r>
          </a:p>
        </p:txBody>
      </p:sp>
      <p:sp>
        <p:nvSpPr>
          <p:cNvPr id="61" name="Rectangle 60">
            <a:extLst>
              <a:ext uri="{FF2B5EF4-FFF2-40B4-BE49-F238E27FC236}">
                <a16:creationId xmlns:a16="http://schemas.microsoft.com/office/drawing/2014/main" id="{4739D774-6035-5E3A-DF54-1655E87B7EFA}"/>
              </a:ext>
            </a:extLst>
          </p:cNvPr>
          <p:cNvSpPr/>
          <p:nvPr/>
        </p:nvSpPr>
        <p:spPr bwMode="gray">
          <a:xfrm>
            <a:off x="3154170" y="2578926"/>
            <a:ext cx="1035107"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36000" tIns="88900" rIns="3600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Process improvement</a:t>
            </a:r>
          </a:p>
        </p:txBody>
      </p:sp>
      <p:sp>
        <p:nvSpPr>
          <p:cNvPr id="62" name="Rectangle 61">
            <a:extLst>
              <a:ext uri="{FF2B5EF4-FFF2-40B4-BE49-F238E27FC236}">
                <a16:creationId xmlns:a16="http://schemas.microsoft.com/office/drawing/2014/main" id="{6370FB83-0C4E-FF35-EAC6-DA056255562C}"/>
              </a:ext>
            </a:extLst>
          </p:cNvPr>
          <p:cNvSpPr/>
          <p:nvPr/>
        </p:nvSpPr>
        <p:spPr bwMode="gray">
          <a:xfrm>
            <a:off x="4326140" y="2578926"/>
            <a:ext cx="1035107"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91440" tIns="88900" rIns="9144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rganizational adjustment</a:t>
            </a:r>
          </a:p>
        </p:txBody>
      </p:sp>
      <p:sp>
        <p:nvSpPr>
          <p:cNvPr id="63" name="Rectangle 62">
            <a:extLst>
              <a:ext uri="{FF2B5EF4-FFF2-40B4-BE49-F238E27FC236}">
                <a16:creationId xmlns:a16="http://schemas.microsoft.com/office/drawing/2014/main" id="{03698DB7-80FD-CE74-19C6-325226910BD2}"/>
              </a:ext>
            </a:extLst>
          </p:cNvPr>
          <p:cNvSpPr/>
          <p:nvPr/>
        </p:nvSpPr>
        <p:spPr bwMode="gray">
          <a:xfrm>
            <a:off x="5508202" y="2580271"/>
            <a:ext cx="1035107"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36000" tIns="88900" rIns="3600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nternal regulation</a:t>
            </a:r>
          </a:p>
        </p:txBody>
      </p:sp>
      <p:sp>
        <p:nvSpPr>
          <p:cNvPr id="64" name="TextBox 63">
            <a:extLst>
              <a:ext uri="{FF2B5EF4-FFF2-40B4-BE49-F238E27FC236}">
                <a16:creationId xmlns:a16="http://schemas.microsoft.com/office/drawing/2014/main" id="{1B76ED49-F861-253C-8EDE-BB6F749229C9}"/>
              </a:ext>
            </a:extLst>
          </p:cNvPr>
          <p:cNvSpPr txBox="1"/>
          <p:nvPr/>
        </p:nvSpPr>
        <p:spPr>
          <a:xfrm>
            <a:off x="1618709" y="2274177"/>
            <a:ext cx="4252822" cy="184666"/>
          </a:xfrm>
          <a:prstGeom prst="rect">
            <a:avLst/>
          </a:prstGeom>
          <a:noFill/>
        </p:spPr>
        <p:txBody>
          <a:bodyPr wrap="square" lIns="0" tIns="0" rIns="0" bIns="0" rtlCol="0">
            <a:spAutoFit/>
          </a:bodyPr>
          <a:lstStyle/>
          <a:p>
            <a:pPr algn="ctr">
              <a:spcBef>
                <a:spcPts val="600"/>
              </a:spcBef>
              <a:buSzPct val="100000"/>
            </a:pPr>
            <a:r>
              <a:rPr lang="en-US" sz="1200" dirty="0">
                <a:solidFill>
                  <a:schemeClr val="accent2"/>
                </a:solidFill>
                <a:latin typeface="Open Sans" panose="020B0606030504020204" pitchFamily="34" charset="0"/>
                <a:ea typeface="Open Sans" panose="020B0606030504020204" pitchFamily="34" charset="0"/>
                <a:cs typeface="Open Sans" panose="020B0606030504020204" pitchFamily="34" charset="0"/>
              </a:rPr>
              <a:t>Best practice improvement recommendations</a:t>
            </a:r>
          </a:p>
        </p:txBody>
      </p:sp>
      <p:sp>
        <p:nvSpPr>
          <p:cNvPr id="65" name="TextBox 64">
            <a:extLst>
              <a:ext uri="{FF2B5EF4-FFF2-40B4-BE49-F238E27FC236}">
                <a16:creationId xmlns:a16="http://schemas.microsoft.com/office/drawing/2014/main" id="{5BCA1C99-2121-A1D1-DF9D-9EFF7A9DC807}"/>
              </a:ext>
            </a:extLst>
          </p:cNvPr>
          <p:cNvSpPr txBox="1"/>
          <p:nvPr/>
        </p:nvSpPr>
        <p:spPr>
          <a:xfrm>
            <a:off x="1027759" y="1649746"/>
            <a:ext cx="4252822" cy="369332"/>
          </a:xfrm>
          <a:prstGeom prst="rect">
            <a:avLst/>
          </a:prstGeom>
          <a:noFill/>
        </p:spPr>
        <p:txBody>
          <a:bodyPr wrap="square" lIns="0" tIns="0" rIns="0" bIns="0" rtlCol="0">
            <a:spAutoFit/>
          </a:bodyPr>
          <a:lstStyle/>
          <a:p>
            <a:pPr>
              <a:spcBef>
                <a:spcPts val="600"/>
              </a:spcBef>
              <a:buSzPct val="100000"/>
            </a:pPr>
            <a:r>
              <a:rPr lang="en-US" sz="1200" b="1" dirty="0">
                <a:solidFill>
                  <a:srgbClr val="1CABE3"/>
                </a:solidFill>
                <a:latin typeface="Open Sans" panose="020B0606030504020204" pitchFamily="34" charset="0"/>
                <a:ea typeface="Open Sans" panose="020B0606030504020204" pitchFamily="34" charset="0"/>
                <a:cs typeface="Open Sans" panose="020B0606030504020204" pitchFamily="34" charset="0"/>
              </a:rPr>
              <a:t>Specify the main characteristics of the recommendations and their prioritization criteria:</a:t>
            </a:r>
          </a:p>
        </p:txBody>
      </p:sp>
      <p:sp>
        <p:nvSpPr>
          <p:cNvPr id="66" name="Rectangle 65">
            <a:extLst>
              <a:ext uri="{FF2B5EF4-FFF2-40B4-BE49-F238E27FC236}">
                <a16:creationId xmlns:a16="http://schemas.microsoft.com/office/drawing/2014/main" id="{5B8C1B5E-D0B5-7074-6812-B5E5259D9A02}"/>
              </a:ext>
            </a:extLst>
          </p:cNvPr>
          <p:cNvSpPr/>
          <p:nvPr/>
        </p:nvSpPr>
        <p:spPr bwMode="gray">
          <a:xfrm>
            <a:off x="554416" y="3578894"/>
            <a:ext cx="925413"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36000" tIns="88900" rIns="3600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mplexity of implementation</a:t>
            </a:r>
          </a:p>
        </p:txBody>
      </p:sp>
      <p:sp>
        <p:nvSpPr>
          <p:cNvPr id="67" name="Rectangle 66">
            <a:extLst>
              <a:ext uri="{FF2B5EF4-FFF2-40B4-BE49-F238E27FC236}">
                <a16:creationId xmlns:a16="http://schemas.microsoft.com/office/drawing/2014/main" id="{E28247B9-34C4-2290-A6FA-FD5632F8E1BA}"/>
              </a:ext>
            </a:extLst>
          </p:cNvPr>
          <p:cNvSpPr/>
          <p:nvPr/>
        </p:nvSpPr>
        <p:spPr bwMode="gray">
          <a:xfrm>
            <a:off x="1615117" y="3577660"/>
            <a:ext cx="925200"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36000" tIns="88900" rIns="3600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mpact on customer experience</a:t>
            </a:r>
          </a:p>
        </p:txBody>
      </p:sp>
      <p:sp>
        <p:nvSpPr>
          <p:cNvPr id="68" name="Rectangle 67">
            <a:extLst>
              <a:ext uri="{FF2B5EF4-FFF2-40B4-BE49-F238E27FC236}">
                <a16:creationId xmlns:a16="http://schemas.microsoft.com/office/drawing/2014/main" id="{EB1381B6-A6D8-66DF-FA73-CBBFE940D9B9}"/>
              </a:ext>
            </a:extLst>
          </p:cNvPr>
          <p:cNvSpPr/>
          <p:nvPr/>
        </p:nvSpPr>
        <p:spPr bwMode="gray">
          <a:xfrm>
            <a:off x="2675605" y="3577660"/>
            <a:ext cx="925200"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36000" tIns="88900" rIns="3600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apacity release potential</a:t>
            </a:r>
          </a:p>
        </p:txBody>
      </p:sp>
      <p:sp>
        <p:nvSpPr>
          <p:cNvPr id="69" name="Rectangle 68">
            <a:extLst>
              <a:ext uri="{FF2B5EF4-FFF2-40B4-BE49-F238E27FC236}">
                <a16:creationId xmlns:a16="http://schemas.microsoft.com/office/drawing/2014/main" id="{2A8C2667-3912-B7B1-BBBB-EA2FED515B0F}"/>
              </a:ext>
            </a:extLst>
          </p:cNvPr>
          <p:cNvSpPr/>
          <p:nvPr/>
        </p:nvSpPr>
        <p:spPr bwMode="gray">
          <a:xfrm>
            <a:off x="3736093" y="3577660"/>
            <a:ext cx="925200"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36000" tIns="88900" rIns="3600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st saving potential</a:t>
            </a:r>
          </a:p>
        </p:txBody>
      </p:sp>
      <p:sp>
        <p:nvSpPr>
          <p:cNvPr id="70" name="Rectangle 69">
            <a:extLst>
              <a:ext uri="{FF2B5EF4-FFF2-40B4-BE49-F238E27FC236}">
                <a16:creationId xmlns:a16="http://schemas.microsoft.com/office/drawing/2014/main" id="{E4D5E6FB-9559-D404-EAF6-E1D548F5506B}"/>
              </a:ext>
            </a:extLst>
          </p:cNvPr>
          <p:cNvSpPr/>
          <p:nvPr/>
        </p:nvSpPr>
        <p:spPr bwMode="gray">
          <a:xfrm>
            <a:off x="4796581" y="3577660"/>
            <a:ext cx="925200"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36000" tIns="88900" rIns="3600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Business continuity risk </a:t>
            </a:r>
          </a:p>
        </p:txBody>
      </p:sp>
      <p:sp>
        <p:nvSpPr>
          <p:cNvPr id="71" name="TextBox 70">
            <a:extLst>
              <a:ext uri="{FF2B5EF4-FFF2-40B4-BE49-F238E27FC236}">
                <a16:creationId xmlns:a16="http://schemas.microsoft.com/office/drawing/2014/main" id="{FCFB5268-5859-4E47-3D56-A882295E6B85}"/>
              </a:ext>
            </a:extLst>
          </p:cNvPr>
          <p:cNvSpPr txBox="1"/>
          <p:nvPr/>
        </p:nvSpPr>
        <p:spPr>
          <a:xfrm>
            <a:off x="1382481" y="3274465"/>
            <a:ext cx="4725279" cy="184666"/>
          </a:xfrm>
          <a:prstGeom prst="rect">
            <a:avLst/>
          </a:prstGeom>
          <a:noFill/>
        </p:spPr>
        <p:txBody>
          <a:bodyPr wrap="square" lIns="0" tIns="0" rIns="0" bIns="0" rtlCol="0">
            <a:spAutoFit/>
          </a:bodyPr>
          <a:lstStyle/>
          <a:p>
            <a:pPr algn="ctr">
              <a:spcBef>
                <a:spcPts val="600"/>
              </a:spcBef>
              <a:buSzPct val="100000"/>
            </a:pPr>
            <a:r>
              <a:rPr lang="en-US" sz="1200" dirty="0">
                <a:solidFill>
                  <a:schemeClr val="accent2"/>
                </a:solidFill>
                <a:latin typeface="Open Sans" panose="020B0606030504020204" pitchFamily="34" charset="0"/>
                <a:ea typeface="Open Sans" panose="020B0606030504020204" pitchFamily="34" charset="0"/>
                <a:cs typeface="Open Sans" panose="020B0606030504020204" pitchFamily="34" charset="0"/>
              </a:rPr>
              <a:t>Possible prioritization criteria for improvement recommendations</a:t>
            </a:r>
          </a:p>
        </p:txBody>
      </p:sp>
      <p:sp>
        <p:nvSpPr>
          <p:cNvPr id="72" name="Rectangle 71">
            <a:extLst>
              <a:ext uri="{FF2B5EF4-FFF2-40B4-BE49-F238E27FC236}">
                <a16:creationId xmlns:a16="http://schemas.microsoft.com/office/drawing/2014/main" id="{F652745C-A484-200F-4F95-8CACD16528D0}"/>
              </a:ext>
            </a:extLst>
          </p:cNvPr>
          <p:cNvSpPr/>
          <p:nvPr/>
        </p:nvSpPr>
        <p:spPr bwMode="gray">
          <a:xfrm>
            <a:off x="5857070" y="3577660"/>
            <a:ext cx="925200" cy="482110"/>
          </a:xfrm>
          <a:prstGeom prst="rect">
            <a:avLst/>
          </a:prstGeom>
          <a:solidFill>
            <a:schemeClr val="bg1"/>
          </a:solidFill>
          <a:ln w="19050" algn="ctr">
            <a:solidFill>
              <a:schemeClr val="accent2"/>
            </a:solidFill>
            <a:prstDash val="solid"/>
            <a:miter lim="800000"/>
            <a:headEnd/>
            <a:tailEnd/>
          </a:ln>
          <a:effectLst>
            <a:glow rad="63500">
              <a:schemeClr val="accent2">
                <a:satMod val="175000"/>
                <a:alpha val="40000"/>
              </a:schemeClr>
            </a:glow>
            <a:outerShdw blurRad="63500" sx="102000" sy="102000" algn="ctr" rotWithShape="0">
              <a:prstClr val="black">
                <a:alpha val="40000"/>
              </a:prstClr>
            </a:outerShdw>
          </a:effectLst>
        </p:spPr>
        <p:txBody>
          <a:bodyPr wrap="square" lIns="36000" tIns="88900" rIns="36000" bIns="88900" rtlCol="0" anchor="ctr"/>
          <a:lstStyle/>
          <a:p>
            <a:pPr algn="ctr">
              <a:lnSpc>
                <a:spcPct val="106000"/>
              </a:lnSpc>
            </a:pPr>
            <a:r>
              <a:rPr lang="en-US" sz="9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Legal risk</a:t>
            </a:r>
          </a:p>
        </p:txBody>
      </p:sp>
      <p:sp>
        <p:nvSpPr>
          <p:cNvPr id="73" name="Oval 72">
            <a:extLst>
              <a:ext uri="{FF2B5EF4-FFF2-40B4-BE49-F238E27FC236}">
                <a16:creationId xmlns:a16="http://schemas.microsoft.com/office/drawing/2014/main" id="{14105566-784B-5BD4-E3BA-AF06DD551242}"/>
              </a:ext>
            </a:extLst>
          </p:cNvPr>
          <p:cNvSpPr>
            <a:spLocks noChangeAspect="1"/>
          </p:cNvSpPr>
          <p:nvPr/>
        </p:nvSpPr>
        <p:spPr bwMode="gray">
          <a:xfrm>
            <a:off x="455712" y="1615860"/>
            <a:ext cx="448206" cy="448206"/>
          </a:xfrm>
          <a:prstGeom prst="ellipse">
            <a:avLst/>
          </a:prstGeom>
          <a:solidFill>
            <a:srgbClr val="1CABE3"/>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800" b="1" i="0" u="none" strike="noStrike" kern="1200" cap="none" spc="0" normalizeH="0" baseline="0" dirty="0">
                <a:ln>
                  <a:noFill/>
                </a:ln>
                <a:solidFill>
                  <a:prstClr val="white"/>
                </a:solidFill>
                <a:effectLst/>
                <a:uLnTx/>
                <a:uFillTx/>
                <a:latin typeface="Calibri"/>
                <a:ea typeface="+mn-ea"/>
                <a:cs typeface="+mn-cs"/>
              </a:rPr>
              <a:t>1</a:t>
            </a:r>
          </a:p>
        </p:txBody>
      </p:sp>
      <p:sp>
        <p:nvSpPr>
          <p:cNvPr id="74" name="Oval 73">
            <a:extLst>
              <a:ext uri="{FF2B5EF4-FFF2-40B4-BE49-F238E27FC236}">
                <a16:creationId xmlns:a16="http://schemas.microsoft.com/office/drawing/2014/main" id="{D0F285C1-F34E-80B9-265C-174D320A5A89}"/>
              </a:ext>
            </a:extLst>
          </p:cNvPr>
          <p:cNvSpPr>
            <a:spLocks noChangeAspect="1"/>
          </p:cNvSpPr>
          <p:nvPr/>
        </p:nvSpPr>
        <p:spPr bwMode="gray">
          <a:xfrm>
            <a:off x="6921014" y="1615860"/>
            <a:ext cx="448206" cy="448206"/>
          </a:xfrm>
          <a:prstGeom prst="ellipse">
            <a:avLst/>
          </a:prstGeom>
          <a:solidFill>
            <a:srgbClr val="1CABE3"/>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800" b="1" i="0" u="none" strike="noStrike" kern="1200" cap="none" spc="0" normalizeH="0" baseline="0" dirty="0">
                <a:ln>
                  <a:noFill/>
                </a:ln>
                <a:solidFill>
                  <a:prstClr val="white"/>
                </a:solidFill>
                <a:effectLst/>
                <a:uLnTx/>
                <a:uFillTx/>
                <a:latin typeface="Calibri"/>
                <a:ea typeface="+mn-ea"/>
                <a:cs typeface="+mn-cs"/>
              </a:rPr>
              <a:t>2</a:t>
            </a:r>
          </a:p>
        </p:txBody>
      </p:sp>
      <p:sp>
        <p:nvSpPr>
          <p:cNvPr id="75" name="TextBox 74">
            <a:extLst>
              <a:ext uri="{FF2B5EF4-FFF2-40B4-BE49-F238E27FC236}">
                <a16:creationId xmlns:a16="http://schemas.microsoft.com/office/drawing/2014/main" id="{1F6F917C-88F1-BA5A-2F5F-C5068A912DE0}"/>
              </a:ext>
            </a:extLst>
          </p:cNvPr>
          <p:cNvSpPr txBox="1"/>
          <p:nvPr/>
        </p:nvSpPr>
        <p:spPr>
          <a:xfrm>
            <a:off x="7284582" y="4810226"/>
            <a:ext cx="4607324" cy="1262626"/>
          </a:xfrm>
          <a:prstGeom prst="rect">
            <a:avLst/>
          </a:prstGeom>
          <a:noFill/>
          <a:ln>
            <a:noFill/>
          </a:ln>
        </p:spPr>
        <p:txBody>
          <a:bodyPr wrap="square" rtlCol="0">
            <a:noAutofit/>
          </a:bodyPr>
          <a:lstStyle/>
          <a:p>
            <a:r>
              <a:rPr lang="en-US" sz="900" b="1" dirty="0"/>
              <a:t>Complexity:</a:t>
            </a:r>
            <a:endParaRPr lang="en-US" sz="900" b="1" dirty="0">
              <a:solidFill>
                <a:schemeClr val="tx2"/>
              </a:solidFill>
            </a:endParaRPr>
          </a:p>
          <a:p>
            <a:pPr marL="285750" indent="-285750">
              <a:buFont typeface="Arial" panose="020B0604020202020204" pitchFamily="34" charset="0"/>
              <a:buChar char="•"/>
            </a:pPr>
            <a:r>
              <a:rPr lang="en-US" sz="900" dirty="0">
                <a:solidFill>
                  <a:schemeClr val="tx2"/>
                </a:solidFill>
              </a:rPr>
              <a:t>Number of concerned org units, need for IT development, need for specialist/expert resources, potential legal or industry constraints</a:t>
            </a:r>
          </a:p>
          <a:p>
            <a:r>
              <a:rPr lang="en-US" sz="900" b="1" dirty="0">
                <a:solidFill>
                  <a:schemeClr val="tx2"/>
                </a:solidFill>
              </a:rPr>
              <a:t>Impact: </a:t>
            </a:r>
          </a:p>
          <a:p>
            <a:pPr marL="285750" indent="-285750">
              <a:buFont typeface="Arial" panose="020B0604020202020204" pitchFamily="34" charset="0"/>
              <a:buChar char="•"/>
            </a:pPr>
            <a:r>
              <a:rPr lang="en-US" sz="900" dirty="0">
                <a:solidFill>
                  <a:schemeClr val="tx2"/>
                </a:solidFill>
              </a:rPr>
              <a:t>Efficiency increase potential, cost-reduction impact, standardization potential, customer satisfaction</a:t>
            </a:r>
            <a:r>
              <a:rPr lang="en-US" sz="900" b="1" dirty="0"/>
              <a:t> </a:t>
            </a:r>
          </a:p>
          <a:p>
            <a:pPr marL="285750" indent="-285750">
              <a:buFont typeface="Arial" panose="020B0604020202020204" pitchFamily="34" charset="0"/>
              <a:buChar char="•"/>
            </a:pPr>
            <a:endParaRPr lang="en-US" sz="900" dirty="0"/>
          </a:p>
        </p:txBody>
      </p:sp>
      <p:sp>
        <p:nvSpPr>
          <p:cNvPr id="76" name="Rectangle 75">
            <a:extLst>
              <a:ext uri="{FF2B5EF4-FFF2-40B4-BE49-F238E27FC236}">
                <a16:creationId xmlns:a16="http://schemas.microsoft.com/office/drawing/2014/main" id="{B2884DEB-3040-CDAD-2790-90C355685842}"/>
              </a:ext>
            </a:extLst>
          </p:cNvPr>
          <p:cNvSpPr/>
          <p:nvPr/>
        </p:nvSpPr>
        <p:spPr>
          <a:xfrm>
            <a:off x="7548122" y="2356573"/>
            <a:ext cx="2011680" cy="1058410"/>
          </a:xfrm>
          <a:prstGeom prst="rect">
            <a:avLst/>
          </a:pr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Quick win*</a:t>
            </a:r>
          </a:p>
          <a:p>
            <a:pPr algn="ct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Low Complexity, High Impact</a:t>
            </a:r>
          </a:p>
          <a:p>
            <a:pPr algn="ctr"/>
            <a:endPar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ment ideas that can be </a:t>
            </a:r>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mplemented in the short run</a:t>
            </a:r>
            <a:endPar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Rectangle 76">
            <a:extLst>
              <a:ext uri="{FF2B5EF4-FFF2-40B4-BE49-F238E27FC236}">
                <a16:creationId xmlns:a16="http://schemas.microsoft.com/office/drawing/2014/main" id="{461ECE7A-CC08-E3D2-40BD-7F0945A4BF59}"/>
              </a:ext>
            </a:extLst>
          </p:cNvPr>
          <p:cNvSpPr/>
          <p:nvPr/>
        </p:nvSpPr>
        <p:spPr>
          <a:xfrm>
            <a:off x="7553688" y="3452401"/>
            <a:ext cx="2011680" cy="1058410"/>
          </a:xfrm>
          <a:prstGeom prst="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outine Tasks</a:t>
            </a:r>
          </a:p>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Low Complexity, Low Impact</a:t>
            </a:r>
          </a:p>
          <a:p>
            <a:pPr algn="ctr"/>
            <a:endPar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Improvements that can be immediately integrated into the operation</a:t>
            </a:r>
          </a:p>
        </p:txBody>
      </p:sp>
      <p:sp>
        <p:nvSpPr>
          <p:cNvPr id="78" name="Rectangle 77">
            <a:extLst>
              <a:ext uri="{FF2B5EF4-FFF2-40B4-BE49-F238E27FC236}">
                <a16:creationId xmlns:a16="http://schemas.microsoft.com/office/drawing/2014/main" id="{57B72C5F-FC16-B7FD-191B-3EFD283B067B}"/>
              </a:ext>
            </a:extLst>
          </p:cNvPr>
          <p:cNvSpPr/>
          <p:nvPr/>
        </p:nvSpPr>
        <p:spPr>
          <a:xfrm>
            <a:off x="9592805" y="2356573"/>
            <a:ext cx="2011680" cy="105841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ritical Priorities</a:t>
            </a:r>
          </a:p>
          <a:p>
            <a:pPr algn="ct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High Complexity, High Impact</a:t>
            </a:r>
          </a:p>
          <a:p>
            <a:pPr algn="ctr"/>
            <a:endPar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ments implemented on the long term</a:t>
            </a:r>
          </a:p>
        </p:txBody>
      </p:sp>
      <p:sp>
        <p:nvSpPr>
          <p:cNvPr id="79" name="Rectangle 78">
            <a:extLst>
              <a:ext uri="{FF2B5EF4-FFF2-40B4-BE49-F238E27FC236}">
                <a16:creationId xmlns:a16="http://schemas.microsoft.com/office/drawing/2014/main" id="{36319D8A-CFC3-1E9F-9C3B-48CC492F2A5C}"/>
              </a:ext>
            </a:extLst>
          </p:cNvPr>
          <p:cNvSpPr/>
          <p:nvPr/>
        </p:nvSpPr>
        <p:spPr>
          <a:xfrm>
            <a:off x="9598371" y="3452401"/>
            <a:ext cx="2011680" cy="1058410"/>
          </a:xfrm>
          <a:prstGeom prst="rect">
            <a:avLst/>
          </a:prstGeom>
          <a:solidFill>
            <a:srgbClr val="DDE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rategic challenges</a:t>
            </a:r>
          </a:p>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High Complexity, Low Impact</a:t>
            </a:r>
          </a:p>
          <a:p>
            <a:pPr algn="ctr"/>
            <a:endPar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To be reconsidered if justifiable enough</a:t>
            </a:r>
          </a:p>
        </p:txBody>
      </p:sp>
      <p:sp>
        <p:nvSpPr>
          <p:cNvPr id="80" name="Oval 79">
            <a:extLst>
              <a:ext uri="{FF2B5EF4-FFF2-40B4-BE49-F238E27FC236}">
                <a16:creationId xmlns:a16="http://schemas.microsoft.com/office/drawing/2014/main" id="{532F2613-4BFA-9377-8D67-355C1629BCF1}"/>
              </a:ext>
            </a:extLst>
          </p:cNvPr>
          <p:cNvSpPr/>
          <p:nvPr/>
        </p:nvSpPr>
        <p:spPr>
          <a:xfrm>
            <a:off x="7577151" y="2373654"/>
            <a:ext cx="200374" cy="192438"/>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chemeClr val="tx1"/>
                </a:solidFill>
              </a:rPr>
              <a:t>1.</a:t>
            </a:r>
          </a:p>
        </p:txBody>
      </p:sp>
      <p:sp>
        <p:nvSpPr>
          <p:cNvPr id="81" name="Oval 80">
            <a:extLst>
              <a:ext uri="{FF2B5EF4-FFF2-40B4-BE49-F238E27FC236}">
                <a16:creationId xmlns:a16="http://schemas.microsoft.com/office/drawing/2014/main" id="{CB88FF87-BED2-ABEE-4818-638275CC20D1}"/>
              </a:ext>
            </a:extLst>
          </p:cNvPr>
          <p:cNvSpPr/>
          <p:nvPr/>
        </p:nvSpPr>
        <p:spPr>
          <a:xfrm>
            <a:off x="9614246" y="2373654"/>
            <a:ext cx="200374" cy="192438"/>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chemeClr val="tx1"/>
                </a:solidFill>
              </a:rPr>
              <a:t>2.</a:t>
            </a:r>
          </a:p>
        </p:txBody>
      </p:sp>
      <p:sp>
        <p:nvSpPr>
          <p:cNvPr id="82" name="Oval 81">
            <a:extLst>
              <a:ext uri="{FF2B5EF4-FFF2-40B4-BE49-F238E27FC236}">
                <a16:creationId xmlns:a16="http://schemas.microsoft.com/office/drawing/2014/main" id="{34B6DDC8-FC83-9F8A-425A-948B16746020}"/>
              </a:ext>
            </a:extLst>
          </p:cNvPr>
          <p:cNvSpPr/>
          <p:nvPr/>
        </p:nvSpPr>
        <p:spPr>
          <a:xfrm>
            <a:off x="7577151" y="3461841"/>
            <a:ext cx="200374" cy="192438"/>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chemeClr val="tx1"/>
                </a:solidFill>
              </a:rPr>
              <a:t>3.</a:t>
            </a:r>
          </a:p>
        </p:txBody>
      </p:sp>
      <p:sp>
        <p:nvSpPr>
          <p:cNvPr id="83" name="Oval 82">
            <a:extLst>
              <a:ext uri="{FF2B5EF4-FFF2-40B4-BE49-F238E27FC236}">
                <a16:creationId xmlns:a16="http://schemas.microsoft.com/office/drawing/2014/main" id="{94302678-1EE0-DC9E-8250-495EF878450A}"/>
              </a:ext>
            </a:extLst>
          </p:cNvPr>
          <p:cNvSpPr/>
          <p:nvPr/>
        </p:nvSpPr>
        <p:spPr>
          <a:xfrm>
            <a:off x="9614246" y="3461841"/>
            <a:ext cx="200374" cy="192438"/>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chemeClr val="tx1"/>
                </a:solidFill>
              </a:rPr>
              <a:t>4.</a:t>
            </a:r>
          </a:p>
        </p:txBody>
      </p:sp>
      <p:sp>
        <p:nvSpPr>
          <p:cNvPr id="84" name="TextBox 83">
            <a:extLst>
              <a:ext uri="{FF2B5EF4-FFF2-40B4-BE49-F238E27FC236}">
                <a16:creationId xmlns:a16="http://schemas.microsoft.com/office/drawing/2014/main" id="{18D3DAA6-3050-3DF9-1A64-F6BD1C4D7301}"/>
              </a:ext>
            </a:extLst>
          </p:cNvPr>
          <p:cNvSpPr txBox="1"/>
          <p:nvPr/>
        </p:nvSpPr>
        <p:spPr>
          <a:xfrm>
            <a:off x="1382481" y="4328796"/>
            <a:ext cx="4725279" cy="184666"/>
          </a:xfrm>
          <a:prstGeom prst="rect">
            <a:avLst/>
          </a:prstGeom>
          <a:noFill/>
        </p:spPr>
        <p:txBody>
          <a:bodyPr wrap="square" lIns="0" tIns="0" rIns="0" bIns="0" rtlCol="0">
            <a:spAutoFit/>
          </a:bodyPr>
          <a:lstStyle/>
          <a:p>
            <a:pPr algn="ctr">
              <a:spcBef>
                <a:spcPts val="600"/>
              </a:spcBef>
              <a:buSzPct val="100000"/>
            </a:pPr>
            <a:r>
              <a:rPr lang="en-US" sz="1200" dirty="0">
                <a:solidFill>
                  <a:schemeClr val="accent2"/>
                </a:solidFill>
                <a:latin typeface="Open Sans" panose="020B0606030504020204" pitchFamily="34" charset="0"/>
                <a:ea typeface="Open Sans" panose="020B0606030504020204" pitchFamily="34" charset="0"/>
                <a:cs typeface="Open Sans" panose="020B0606030504020204" pitchFamily="34" charset="0"/>
              </a:rPr>
              <a:t>Possible prioritization criteria for improvement recommendations</a:t>
            </a:r>
          </a:p>
        </p:txBody>
      </p:sp>
      <p:sp>
        <p:nvSpPr>
          <p:cNvPr id="85" name="Text Box 46">
            <a:extLst>
              <a:ext uri="{FF2B5EF4-FFF2-40B4-BE49-F238E27FC236}">
                <a16:creationId xmlns:a16="http://schemas.microsoft.com/office/drawing/2014/main" id="{FFDC6363-D141-2069-F6A8-707B28B1C753}"/>
              </a:ext>
            </a:extLst>
          </p:cNvPr>
          <p:cNvSpPr txBox="1">
            <a:spLocks noChangeArrowheads="1"/>
          </p:cNvSpPr>
          <p:nvPr/>
        </p:nvSpPr>
        <p:spPr bwMode="auto">
          <a:xfrm>
            <a:off x="1799704" y="4725057"/>
            <a:ext cx="1128758" cy="1077218"/>
          </a:xfrm>
          <a:prstGeom prst="rect">
            <a:avLst/>
          </a:prstGeom>
          <a:noFill/>
          <a:ln w="9525">
            <a:noFill/>
            <a:miter lim="800000"/>
            <a:headEnd/>
            <a:tailEnd/>
          </a:ln>
          <a:effectLst/>
        </p:spPr>
        <p:txBody>
          <a:bodyPr wrap="square" lIns="0" tIns="0" rIns="0" bIns="0">
            <a:spAutoFit/>
          </a:bodyPr>
          <a:lstStyle/>
          <a:p>
            <a:pPr marL="230712" indent="-230712">
              <a:spcBef>
                <a:spcPct val="20000"/>
              </a:spcBef>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Cost</a:t>
            </a:r>
          </a:p>
          <a:p>
            <a:pPr marL="230712" indent="-230712">
              <a:spcBef>
                <a:spcPct val="20000"/>
              </a:spcBef>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Defects</a:t>
            </a:r>
          </a:p>
          <a:p>
            <a:pPr marL="230712" indent="-230712">
              <a:spcBef>
                <a:spcPct val="20000"/>
              </a:spcBef>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Lead time</a:t>
            </a:r>
          </a:p>
          <a:p>
            <a:pPr marL="230712" indent="-230712">
              <a:spcBef>
                <a:spcPct val="20000"/>
              </a:spcBef>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Inventory</a:t>
            </a:r>
          </a:p>
          <a:p>
            <a:pPr marL="230712" indent="-230712">
              <a:spcBef>
                <a:spcPct val="20000"/>
              </a:spcBef>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pace</a:t>
            </a:r>
          </a:p>
          <a:p>
            <a:pPr marL="230712" indent="-230712">
              <a:spcBef>
                <a:spcPct val="20000"/>
              </a:spcBef>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Waste</a:t>
            </a:r>
          </a:p>
        </p:txBody>
      </p:sp>
      <p:sp>
        <p:nvSpPr>
          <p:cNvPr id="86" name="Text Box 47">
            <a:extLst>
              <a:ext uri="{FF2B5EF4-FFF2-40B4-BE49-F238E27FC236}">
                <a16:creationId xmlns:a16="http://schemas.microsoft.com/office/drawing/2014/main" id="{839BF8F3-F150-7AED-40CF-04F089FB7E98}"/>
              </a:ext>
            </a:extLst>
          </p:cNvPr>
          <p:cNvSpPr txBox="1">
            <a:spLocks noChangeArrowheads="1"/>
          </p:cNvSpPr>
          <p:nvPr/>
        </p:nvSpPr>
        <p:spPr bwMode="auto">
          <a:xfrm>
            <a:off x="4143745" y="4725057"/>
            <a:ext cx="2013605" cy="1231106"/>
          </a:xfrm>
          <a:prstGeom prst="rect">
            <a:avLst/>
          </a:prstGeom>
          <a:noFill/>
          <a:ln w="9525">
            <a:noFill/>
            <a:miter lim="800000"/>
            <a:headEnd/>
            <a:tailEnd/>
          </a:ln>
          <a:effectLst/>
        </p:spPr>
        <p:txBody>
          <a:bodyPr wrap="square" lIns="0" tIns="0" rIns="0" bIns="0">
            <a:spAutoFit/>
          </a:bodyPr>
          <a:lstStyle/>
          <a:p>
            <a:pPr marL="230712" indent="-230712">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Productivity</a:t>
            </a:r>
          </a:p>
          <a:p>
            <a:pPr marL="230712" indent="-230712">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Customer satisfaction</a:t>
            </a:r>
          </a:p>
          <a:p>
            <a:pPr marL="230712" indent="-230712">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Profit</a:t>
            </a:r>
          </a:p>
          <a:p>
            <a:pPr marL="230712" indent="-230712">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Customer responsiveness</a:t>
            </a:r>
          </a:p>
          <a:p>
            <a:pPr marL="230712" indent="-230712">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Capacity</a:t>
            </a:r>
          </a:p>
          <a:p>
            <a:pPr marL="230712" indent="-230712">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Quality</a:t>
            </a:r>
          </a:p>
          <a:p>
            <a:pPr marL="230712" indent="-230712">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Cash flow</a:t>
            </a:r>
          </a:p>
          <a:p>
            <a:pPr marL="230712" indent="-230712">
              <a:buFont typeface="Wingdings" pitchFamily="2" charset="2"/>
              <a:buChar char="§"/>
              <a:defRPr/>
            </a:pPr>
            <a:r>
              <a:rPr lang="en-US" sz="1000"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On time delivery</a:t>
            </a:r>
          </a:p>
        </p:txBody>
      </p:sp>
      <p:sp>
        <p:nvSpPr>
          <p:cNvPr id="87" name="AutoShape 48">
            <a:extLst>
              <a:ext uri="{FF2B5EF4-FFF2-40B4-BE49-F238E27FC236}">
                <a16:creationId xmlns:a16="http://schemas.microsoft.com/office/drawing/2014/main" id="{43033CF1-C787-1431-66C0-C5015F33A99C}"/>
              </a:ext>
            </a:extLst>
          </p:cNvPr>
          <p:cNvSpPr>
            <a:spLocks noChangeArrowheads="1"/>
          </p:cNvSpPr>
          <p:nvPr/>
        </p:nvSpPr>
        <p:spPr bwMode="auto">
          <a:xfrm rot="5400000" flipV="1">
            <a:off x="2591553" y="5144055"/>
            <a:ext cx="1326637" cy="41607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2"/>
          </a:solidFill>
          <a:ln w="9525">
            <a:noFill/>
            <a:miter lim="800000"/>
            <a:headEnd/>
            <a:tailEnd/>
          </a:ln>
          <a:effectLst/>
        </p:spPr>
        <p:txBody>
          <a:bodyPr wrap="none" anchor="ctr"/>
          <a:lstStyle/>
          <a:p>
            <a:pPr>
              <a:defRPr/>
            </a:pPr>
            <a:endParaRPr lang="en-US" sz="1600" kern="0">
              <a:solidFill>
                <a:sysClr val="windowText" lastClr="000000"/>
              </a:solidFill>
              <a:latin typeface="+mj-lt"/>
            </a:endParaRPr>
          </a:p>
        </p:txBody>
      </p:sp>
      <p:sp>
        <p:nvSpPr>
          <p:cNvPr id="88" name="AutoShape 49">
            <a:extLst>
              <a:ext uri="{FF2B5EF4-FFF2-40B4-BE49-F238E27FC236}">
                <a16:creationId xmlns:a16="http://schemas.microsoft.com/office/drawing/2014/main" id="{A5D69F8F-4BBD-428D-FC06-745DB0A0ED19}"/>
              </a:ext>
            </a:extLst>
          </p:cNvPr>
          <p:cNvSpPr>
            <a:spLocks noChangeArrowheads="1"/>
          </p:cNvSpPr>
          <p:nvPr/>
        </p:nvSpPr>
        <p:spPr bwMode="auto">
          <a:xfrm rot="16200000">
            <a:off x="3135194" y="5061291"/>
            <a:ext cx="1326639" cy="453723"/>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6FC2B4"/>
          </a:solidFill>
          <a:ln w="9525">
            <a:noFill/>
            <a:miter lim="800000"/>
            <a:headEnd/>
            <a:tailEnd/>
          </a:ln>
          <a:effectLst/>
        </p:spPr>
        <p:txBody>
          <a:bodyPr wrap="none" anchor="ctr"/>
          <a:lstStyle/>
          <a:p>
            <a:pPr>
              <a:defRPr/>
            </a:pPr>
            <a:endParaRPr lang="en-US" sz="1600" kern="0">
              <a:solidFill>
                <a:sysClr val="windowText" lastClr="000000"/>
              </a:solidFill>
              <a:latin typeface="+mj-lt"/>
            </a:endParaRPr>
          </a:p>
        </p:txBody>
      </p:sp>
      <p:grpSp>
        <p:nvGrpSpPr>
          <p:cNvPr id="97" name="Group 96">
            <a:extLst>
              <a:ext uri="{FF2B5EF4-FFF2-40B4-BE49-F238E27FC236}">
                <a16:creationId xmlns:a16="http://schemas.microsoft.com/office/drawing/2014/main" id="{613A2EC8-592A-C054-59AC-BA63FEB826BB}"/>
              </a:ext>
            </a:extLst>
          </p:cNvPr>
          <p:cNvGrpSpPr/>
          <p:nvPr/>
        </p:nvGrpSpPr>
        <p:grpSpPr>
          <a:xfrm>
            <a:off x="9378489" y="265140"/>
            <a:ext cx="2364402" cy="411402"/>
            <a:chOff x="9378489" y="265140"/>
            <a:chExt cx="2364402" cy="411402"/>
          </a:xfrm>
        </p:grpSpPr>
        <p:sp>
          <p:nvSpPr>
            <p:cNvPr id="98" name="Arrow: Chevron 97">
              <a:extLst>
                <a:ext uri="{FF2B5EF4-FFF2-40B4-BE49-F238E27FC236}">
                  <a16:creationId xmlns:a16="http://schemas.microsoft.com/office/drawing/2014/main" id="{5953CDA6-4A8B-6484-B7DA-C5D8143CC561}"/>
                </a:ext>
              </a:extLst>
            </p:cNvPr>
            <p:cNvSpPr/>
            <p:nvPr/>
          </p:nvSpPr>
          <p:spPr bwMode="gray">
            <a:xfrm>
              <a:off x="9641214" y="265725"/>
              <a:ext cx="1643077" cy="406400"/>
            </a:xfrm>
            <a:prstGeom prst="chevron">
              <a:avLst>
                <a:gd name="adj" fmla="val 5577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9" name="Arrow: Chevron 98">
              <a:extLst>
                <a:ext uri="{FF2B5EF4-FFF2-40B4-BE49-F238E27FC236}">
                  <a16:creationId xmlns:a16="http://schemas.microsoft.com/office/drawing/2014/main" id="{87F3C0FD-DD74-2AF6-B217-C1E61C97D6D1}"/>
                </a:ext>
              </a:extLst>
            </p:cNvPr>
            <p:cNvSpPr/>
            <p:nvPr/>
          </p:nvSpPr>
          <p:spPr bwMode="gray">
            <a:xfrm>
              <a:off x="9413117" y="269048"/>
              <a:ext cx="411480" cy="406400"/>
            </a:xfrm>
            <a:prstGeom prst="chevron">
              <a:avLst>
                <a:gd name="adj" fmla="val 56646"/>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Rectangle 99">
              <a:extLst>
                <a:ext uri="{FF2B5EF4-FFF2-40B4-BE49-F238E27FC236}">
                  <a16:creationId xmlns:a16="http://schemas.microsoft.com/office/drawing/2014/main" id="{7C187002-550A-5231-FF95-3A95E0F6F5FA}"/>
                </a:ext>
              </a:extLst>
            </p:cNvPr>
            <p:cNvSpPr/>
            <p:nvPr/>
          </p:nvSpPr>
          <p:spPr bwMode="gray">
            <a:xfrm>
              <a:off x="9522064" y="273466"/>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IMPROVEMENTS</a:t>
              </a:r>
            </a:p>
          </p:txBody>
        </p:sp>
        <p:sp>
          <p:nvSpPr>
            <p:cNvPr id="101" name="Pentagon 7">
              <a:extLst>
                <a:ext uri="{FF2B5EF4-FFF2-40B4-BE49-F238E27FC236}">
                  <a16:creationId xmlns:a16="http://schemas.microsoft.com/office/drawing/2014/main" id="{F60CBD7B-E967-C126-A361-D2E23E46FE30}"/>
                </a:ext>
              </a:extLst>
            </p:cNvPr>
            <p:cNvSpPr/>
            <p:nvPr/>
          </p:nvSpPr>
          <p:spPr bwMode="gray">
            <a:xfrm>
              <a:off x="9378489" y="270142"/>
              <a:ext cx="228097" cy="406400"/>
            </a:xfrm>
            <a:prstGeom prst="homePlate">
              <a:avLst>
                <a:gd name="adj" fmla="val 100000"/>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Rectangle 101">
              <a:extLst>
                <a:ext uri="{FF2B5EF4-FFF2-40B4-BE49-F238E27FC236}">
                  <a16:creationId xmlns:a16="http://schemas.microsoft.com/office/drawing/2014/main" id="{EBED176A-A05C-CDA8-C229-772792AEFFBC}"/>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103" name="Arrow: Chevron 102">
              <a:extLst>
                <a:ext uri="{FF2B5EF4-FFF2-40B4-BE49-F238E27FC236}">
                  <a16:creationId xmlns:a16="http://schemas.microsoft.com/office/drawing/2014/main" id="{B75BAC0F-C66C-9726-6297-1F1E9FE6DF23}"/>
                </a:ext>
              </a:extLst>
            </p:cNvPr>
            <p:cNvSpPr/>
            <p:nvPr/>
          </p:nvSpPr>
          <p:spPr bwMode="gray">
            <a:xfrm>
              <a:off x="11104489" y="265725"/>
              <a:ext cx="411480"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4" name="Arrow: Chevron 103">
              <a:extLst>
                <a:ext uri="{FF2B5EF4-FFF2-40B4-BE49-F238E27FC236}">
                  <a16:creationId xmlns:a16="http://schemas.microsoft.com/office/drawing/2014/main" id="{E5D26A26-AC5A-D220-34E8-F1D8DCF687E9}"/>
                </a:ext>
              </a:extLst>
            </p:cNvPr>
            <p:cNvSpPr/>
            <p:nvPr/>
          </p:nvSpPr>
          <p:spPr bwMode="gray">
            <a:xfrm>
              <a:off x="11336166" y="265140"/>
              <a:ext cx="406725"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554077142"/>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think-cell data - do not delete" hidden="1">
            <a:extLst>
              <a:ext uri="{FF2B5EF4-FFF2-40B4-BE49-F238E27FC236}">
                <a16:creationId xmlns:a16="http://schemas.microsoft.com/office/drawing/2014/main" id="{ABB9ED3A-5002-C901-BDD5-37B5BC33F2B7}"/>
              </a:ext>
            </a:extLst>
          </p:cNvPr>
          <p:cNvGraphicFramePr>
            <a:graphicFrameLocks noChangeAspect="1"/>
          </p:cNvGraphicFramePr>
          <p:nvPr>
            <p:custDataLst>
              <p:tags r:id="rId1"/>
            </p:custDataLst>
            <p:extLst>
              <p:ext uri="{D42A27DB-BD31-4B8C-83A1-F6EECF244321}">
                <p14:modId xmlns:p14="http://schemas.microsoft.com/office/powerpoint/2010/main" val="3549106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4" name="think-cell data - do not delete" hidden="1">
                        <a:extLst>
                          <a:ext uri="{FF2B5EF4-FFF2-40B4-BE49-F238E27FC236}">
                            <a16:creationId xmlns:a16="http://schemas.microsoft.com/office/drawing/2014/main" id="{ABB9ED3A-5002-C901-BDD5-37B5BC33F2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93365EC-81FB-4707-7469-5737409BD487}"/>
              </a:ext>
            </a:extLst>
          </p:cNvPr>
          <p:cNvSpPr>
            <a:spLocks noGrp="1"/>
          </p:cNvSpPr>
          <p:nvPr>
            <p:ph type="body" sz="quarter" idx="22"/>
          </p:nvPr>
        </p:nvSpPr>
        <p:spPr/>
        <p:txBody>
          <a:bodyPr/>
          <a:lstStyle/>
          <a:p>
            <a:r>
              <a:rPr lang="en-US" dirty="0"/>
              <a:t>The future process will be developed in workshops with the client, where we will take into account identified process improvement suggestions and market best practices to finalize the future processes</a:t>
            </a:r>
          </a:p>
        </p:txBody>
      </p:sp>
      <p:sp>
        <p:nvSpPr>
          <p:cNvPr id="3" name="Title 2">
            <a:extLst>
              <a:ext uri="{FF2B5EF4-FFF2-40B4-BE49-F238E27FC236}">
                <a16:creationId xmlns:a16="http://schemas.microsoft.com/office/drawing/2014/main" id="{C9FBAD82-77BE-6841-F09A-8D59D0B9927C}"/>
              </a:ext>
            </a:extLst>
          </p:cNvPr>
          <p:cNvSpPr>
            <a:spLocks noGrp="1"/>
          </p:cNvSpPr>
          <p:nvPr>
            <p:ph type="title"/>
          </p:nvPr>
        </p:nvSpPr>
        <p:spPr/>
        <p:txBody>
          <a:bodyPr vert="horz"/>
          <a:lstStyle/>
          <a:p>
            <a:r>
              <a:rPr lang="en-US" dirty="0"/>
              <a:t>Designing a to-be process</a:t>
            </a:r>
          </a:p>
        </p:txBody>
      </p:sp>
      <p:grpSp>
        <p:nvGrpSpPr>
          <p:cNvPr id="79" name="Group 78">
            <a:extLst>
              <a:ext uri="{FF2B5EF4-FFF2-40B4-BE49-F238E27FC236}">
                <a16:creationId xmlns:a16="http://schemas.microsoft.com/office/drawing/2014/main" id="{9C2F3C18-FFE7-6704-9DC4-1C83083A2B82}"/>
              </a:ext>
            </a:extLst>
          </p:cNvPr>
          <p:cNvGrpSpPr/>
          <p:nvPr/>
        </p:nvGrpSpPr>
        <p:grpSpPr>
          <a:xfrm>
            <a:off x="9378489" y="265140"/>
            <a:ext cx="2364402" cy="411402"/>
            <a:chOff x="9378489" y="265140"/>
            <a:chExt cx="2364402" cy="411402"/>
          </a:xfrm>
        </p:grpSpPr>
        <p:sp>
          <p:nvSpPr>
            <p:cNvPr id="80" name="Arrow: Chevron 79">
              <a:extLst>
                <a:ext uri="{FF2B5EF4-FFF2-40B4-BE49-F238E27FC236}">
                  <a16:creationId xmlns:a16="http://schemas.microsoft.com/office/drawing/2014/main" id="{BFF60218-4AEF-7207-D054-3201A9DF8BCA}"/>
                </a:ext>
              </a:extLst>
            </p:cNvPr>
            <p:cNvSpPr/>
            <p:nvPr/>
          </p:nvSpPr>
          <p:spPr bwMode="gray">
            <a:xfrm>
              <a:off x="9641214" y="265725"/>
              <a:ext cx="1643077" cy="406400"/>
            </a:xfrm>
            <a:prstGeom prst="chevron">
              <a:avLst>
                <a:gd name="adj" fmla="val 5577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1" name="Arrow: Chevron 80">
              <a:extLst>
                <a:ext uri="{FF2B5EF4-FFF2-40B4-BE49-F238E27FC236}">
                  <a16:creationId xmlns:a16="http://schemas.microsoft.com/office/drawing/2014/main" id="{79B95777-1B8A-A3E7-CDE7-EA7D69CBBBD5}"/>
                </a:ext>
              </a:extLst>
            </p:cNvPr>
            <p:cNvSpPr/>
            <p:nvPr/>
          </p:nvSpPr>
          <p:spPr bwMode="gray">
            <a:xfrm>
              <a:off x="9413117" y="269048"/>
              <a:ext cx="411480" cy="406400"/>
            </a:xfrm>
            <a:prstGeom prst="chevron">
              <a:avLst>
                <a:gd name="adj" fmla="val 56646"/>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2" name="Rectangle 81">
              <a:extLst>
                <a:ext uri="{FF2B5EF4-FFF2-40B4-BE49-F238E27FC236}">
                  <a16:creationId xmlns:a16="http://schemas.microsoft.com/office/drawing/2014/main" id="{64607E22-5E87-F8FC-5E37-81F29C678B0F}"/>
                </a:ext>
              </a:extLst>
            </p:cNvPr>
            <p:cNvSpPr/>
            <p:nvPr/>
          </p:nvSpPr>
          <p:spPr bwMode="gray">
            <a:xfrm>
              <a:off x="9522064" y="273466"/>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IMPROVEMENTS</a:t>
              </a:r>
            </a:p>
          </p:txBody>
        </p:sp>
        <p:sp>
          <p:nvSpPr>
            <p:cNvPr id="83" name="Pentagon 7">
              <a:extLst>
                <a:ext uri="{FF2B5EF4-FFF2-40B4-BE49-F238E27FC236}">
                  <a16:creationId xmlns:a16="http://schemas.microsoft.com/office/drawing/2014/main" id="{46BDC3E6-AD3C-CAEA-7DDC-4AA05E09C84A}"/>
                </a:ext>
              </a:extLst>
            </p:cNvPr>
            <p:cNvSpPr/>
            <p:nvPr/>
          </p:nvSpPr>
          <p:spPr bwMode="gray">
            <a:xfrm>
              <a:off x="9378489" y="270142"/>
              <a:ext cx="228097" cy="406400"/>
            </a:xfrm>
            <a:prstGeom prst="homePlate">
              <a:avLst>
                <a:gd name="adj" fmla="val 100000"/>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Rectangle 84">
              <a:extLst>
                <a:ext uri="{FF2B5EF4-FFF2-40B4-BE49-F238E27FC236}">
                  <a16:creationId xmlns:a16="http://schemas.microsoft.com/office/drawing/2014/main" id="{2DF85064-25BE-4C08-620E-ACD12F7E968F}"/>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86" name="Arrow: Chevron 85">
              <a:extLst>
                <a:ext uri="{FF2B5EF4-FFF2-40B4-BE49-F238E27FC236}">
                  <a16:creationId xmlns:a16="http://schemas.microsoft.com/office/drawing/2014/main" id="{A5979579-6C1F-53A7-096E-377E23DFEE1E}"/>
                </a:ext>
              </a:extLst>
            </p:cNvPr>
            <p:cNvSpPr/>
            <p:nvPr/>
          </p:nvSpPr>
          <p:spPr bwMode="gray">
            <a:xfrm>
              <a:off x="11104489" y="265725"/>
              <a:ext cx="411480"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Arrow: Chevron 86">
              <a:extLst>
                <a:ext uri="{FF2B5EF4-FFF2-40B4-BE49-F238E27FC236}">
                  <a16:creationId xmlns:a16="http://schemas.microsoft.com/office/drawing/2014/main" id="{59661A45-E375-843E-E87A-4552D59B1EC8}"/>
                </a:ext>
              </a:extLst>
            </p:cNvPr>
            <p:cNvSpPr/>
            <p:nvPr/>
          </p:nvSpPr>
          <p:spPr bwMode="gray">
            <a:xfrm>
              <a:off x="11336166" y="265140"/>
              <a:ext cx="406725"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8" name="Rectangle 87">
            <a:extLst>
              <a:ext uri="{FF2B5EF4-FFF2-40B4-BE49-F238E27FC236}">
                <a16:creationId xmlns:a16="http://schemas.microsoft.com/office/drawing/2014/main" id="{89BA765B-8615-2018-8ECB-5E1281A762E4}"/>
              </a:ext>
            </a:extLst>
          </p:cNvPr>
          <p:cNvSpPr/>
          <p:nvPr/>
        </p:nvSpPr>
        <p:spPr bwMode="gray">
          <a:xfrm>
            <a:off x="0" y="1703188"/>
            <a:ext cx="12192000" cy="368322"/>
          </a:xfrm>
          <a:prstGeom prst="rect">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ectangle 88">
            <a:extLst>
              <a:ext uri="{FF2B5EF4-FFF2-40B4-BE49-F238E27FC236}">
                <a16:creationId xmlns:a16="http://schemas.microsoft.com/office/drawing/2014/main" id="{C3A72185-91EE-91D4-403E-9BA06D02EB3A}"/>
              </a:ext>
            </a:extLst>
          </p:cNvPr>
          <p:cNvSpPr/>
          <p:nvPr/>
        </p:nvSpPr>
        <p:spPr bwMode="gray">
          <a:xfrm>
            <a:off x="2137540" y="1630389"/>
            <a:ext cx="9552810" cy="53751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dirty="0">
                <a:solidFill>
                  <a:schemeClr val="accent1"/>
                </a:solidFill>
              </a:rPr>
              <a:t>Finalization of future process discussions and validation of completed process documents</a:t>
            </a:r>
          </a:p>
        </p:txBody>
      </p:sp>
      <p:sp>
        <p:nvSpPr>
          <p:cNvPr id="90" name="Oval 89">
            <a:extLst>
              <a:ext uri="{FF2B5EF4-FFF2-40B4-BE49-F238E27FC236}">
                <a16:creationId xmlns:a16="http://schemas.microsoft.com/office/drawing/2014/main" id="{FE5FF873-1D70-D846-0B56-B073A240E2B0}"/>
              </a:ext>
            </a:extLst>
          </p:cNvPr>
          <p:cNvSpPr>
            <a:spLocks noChangeAspect="1"/>
          </p:cNvSpPr>
          <p:nvPr/>
        </p:nvSpPr>
        <p:spPr bwMode="gray">
          <a:xfrm>
            <a:off x="2001338" y="1850048"/>
            <a:ext cx="90352" cy="90352"/>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91" name="Straight Connector 90">
            <a:extLst>
              <a:ext uri="{FF2B5EF4-FFF2-40B4-BE49-F238E27FC236}">
                <a16:creationId xmlns:a16="http://schemas.microsoft.com/office/drawing/2014/main" id="{26BBC300-9EC2-BD44-2401-5951453F446F}"/>
              </a:ext>
            </a:extLst>
          </p:cNvPr>
          <p:cNvCxnSpPr>
            <a:cxnSpLocks/>
            <a:endCxn id="90" idx="2"/>
          </p:cNvCxnSpPr>
          <p:nvPr/>
        </p:nvCxnSpPr>
        <p:spPr>
          <a:xfrm>
            <a:off x="1153885" y="1895022"/>
            <a:ext cx="847453" cy="202"/>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FBF7DCF9-5A48-2A97-CE49-20AECBAB3AA4}"/>
              </a:ext>
            </a:extLst>
          </p:cNvPr>
          <p:cNvSpPr/>
          <p:nvPr/>
        </p:nvSpPr>
        <p:spPr bwMode="gray">
          <a:xfrm>
            <a:off x="506059" y="1570357"/>
            <a:ext cx="649224" cy="64922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3" name="Group 726">
            <a:extLst>
              <a:ext uri="{FF2B5EF4-FFF2-40B4-BE49-F238E27FC236}">
                <a16:creationId xmlns:a16="http://schemas.microsoft.com/office/drawing/2014/main" id="{D33B1D33-FD7C-065C-76C9-7E22447EA58B}"/>
              </a:ext>
            </a:extLst>
          </p:cNvPr>
          <p:cNvGrpSpPr>
            <a:grpSpLocks noChangeAspect="1"/>
          </p:cNvGrpSpPr>
          <p:nvPr/>
        </p:nvGrpSpPr>
        <p:grpSpPr bwMode="auto">
          <a:xfrm>
            <a:off x="501649" y="1568904"/>
            <a:ext cx="652236" cy="652236"/>
            <a:chOff x="5022" y="3403"/>
            <a:chExt cx="340" cy="340"/>
          </a:xfrm>
          <a:solidFill>
            <a:schemeClr val="accent4"/>
          </a:solidFill>
        </p:grpSpPr>
        <p:sp>
          <p:nvSpPr>
            <p:cNvPr id="94" name="Freeform 727">
              <a:extLst>
                <a:ext uri="{FF2B5EF4-FFF2-40B4-BE49-F238E27FC236}">
                  <a16:creationId xmlns:a16="http://schemas.microsoft.com/office/drawing/2014/main" id="{70F4A985-CC71-CD52-FCE2-C6FEC334B2DF}"/>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728">
              <a:extLst>
                <a:ext uri="{FF2B5EF4-FFF2-40B4-BE49-F238E27FC236}">
                  <a16:creationId xmlns:a16="http://schemas.microsoft.com/office/drawing/2014/main" id="{FE3C9A63-3E36-FB96-952F-7C5748D9C6B7}"/>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95">
            <a:extLst>
              <a:ext uri="{FF2B5EF4-FFF2-40B4-BE49-F238E27FC236}">
                <a16:creationId xmlns:a16="http://schemas.microsoft.com/office/drawing/2014/main" id="{9B6839ED-4F78-00E9-556A-0A944B11F4F6}"/>
              </a:ext>
            </a:extLst>
          </p:cNvPr>
          <p:cNvGrpSpPr/>
          <p:nvPr/>
        </p:nvGrpSpPr>
        <p:grpSpPr>
          <a:xfrm>
            <a:off x="1106402" y="2539765"/>
            <a:ext cx="3350783" cy="854465"/>
            <a:chOff x="1666801" y="2359658"/>
            <a:chExt cx="3350783" cy="720662"/>
          </a:xfrm>
        </p:grpSpPr>
        <p:sp>
          <p:nvSpPr>
            <p:cNvPr id="97" name="Rounded Rectangle 178">
              <a:extLst>
                <a:ext uri="{FF2B5EF4-FFF2-40B4-BE49-F238E27FC236}">
                  <a16:creationId xmlns:a16="http://schemas.microsoft.com/office/drawing/2014/main" id="{CCB6FB2A-9580-0F38-2DAE-B510B4FD4844}"/>
                </a:ext>
              </a:extLst>
            </p:cNvPr>
            <p:cNvSpPr/>
            <p:nvPr/>
          </p:nvSpPr>
          <p:spPr bwMode="gray">
            <a:xfrm>
              <a:off x="1669890" y="2359658"/>
              <a:ext cx="3347694" cy="720662"/>
            </a:xfrm>
            <a:prstGeom prst="roundRect">
              <a:avLst>
                <a:gd name="adj" fmla="val 6715"/>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r>
                <a:rPr lang="en-US" sz="1100" b="1" dirty="0"/>
                <a:t>Channeling in best practices</a:t>
              </a:r>
            </a:p>
            <a:p>
              <a:pPr marL="268288" indent="-171450">
                <a:lnSpc>
                  <a:spcPct val="106000"/>
                </a:lnSpc>
                <a:buFont typeface="Arial" panose="020B0604020202020204" pitchFamily="34" charset="0"/>
                <a:buChar char="•"/>
              </a:pPr>
              <a:r>
                <a:rPr lang="en-US" sz="1000" dirty="0"/>
                <a:t>Facilitate workshop(s) and present best practices using Deloitte’s Industry Print best practice process repository*</a:t>
              </a:r>
            </a:p>
          </p:txBody>
        </p:sp>
        <p:sp>
          <p:nvSpPr>
            <p:cNvPr id="98" name="Round Same Side Corner Rectangle 179">
              <a:extLst>
                <a:ext uri="{FF2B5EF4-FFF2-40B4-BE49-F238E27FC236}">
                  <a16:creationId xmlns:a16="http://schemas.microsoft.com/office/drawing/2014/main" id="{190505B7-EF79-087E-846B-1801E7ABA31A}"/>
                </a:ext>
              </a:extLst>
            </p:cNvPr>
            <p:cNvSpPr/>
            <p:nvPr/>
          </p:nvSpPr>
          <p:spPr bwMode="gray">
            <a:xfrm rot="16200000">
              <a:off x="1363065" y="2663394"/>
              <a:ext cx="720662" cy="113189"/>
            </a:xfrm>
            <a:prstGeom prst="round2SameRect">
              <a:avLst>
                <a:gd name="adj1" fmla="val 50000"/>
                <a:gd name="adj2" fmla="val 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99" name="Straight Connector 98">
            <a:extLst>
              <a:ext uri="{FF2B5EF4-FFF2-40B4-BE49-F238E27FC236}">
                <a16:creationId xmlns:a16="http://schemas.microsoft.com/office/drawing/2014/main" id="{CBA0858F-EC69-BE70-2A74-1AB904084CC5}"/>
              </a:ext>
            </a:extLst>
          </p:cNvPr>
          <p:cNvCxnSpPr>
            <a:cxnSpLocks/>
          </p:cNvCxnSpPr>
          <p:nvPr/>
        </p:nvCxnSpPr>
        <p:spPr>
          <a:xfrm flipH="1">
            <a:off x="821590" y="2221140"/>
            <a:ext cx="2820" cy="36369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68733A8B-8115-64D0-71B1-86B53D1CF5B2}"/>
              </a:ext>
            </a:extLst>
          </p:cNvPr>
          <p:cNvGrpSpPr/>
          <p:nvPr/>
        </p:nvGrpSpPr>
        <p:grpSpPr>
          <a:xfrm>
            <a:off x="1106402" y="4360607"/>
            <a:ext cx="3347694" cy="855329"/>
            <a:chOff x="1669890" y="3250178"/>
            <a:chExt cx="3347694" cy="722472"/>
          </a:xfrm>
        </p:grpSpPr>
        <p:sp>
          <p:nvSpPr>
            <p:cNvPr id="101" name="Rounded Rectangle 175">
              <a:extLst>
                <a:ext uri="{FF2B5EF4-FFF2-40B4-BE49-F238E27FC236}">
                  <a16:creationId xmlns:a16="http://schemas.microsoft.com/office/drawing/2014/main" id="{93870DE2-5909-8D2A-EE3C-8ECD47E46CE1}"/>
                </a:ext>
              </a:extLst>
            </p:cNvPr>
            <p:cNvSpPr/>
            <p:nvPr/>
          </p:nvSpPr>
          <p:spPr bwMode="gray">
            <a:xfrm>
              <a:off x="1669890" y="3250909"/>
              <a:ext cx="3347694" cy="721741"/>
            </a:xfrm>
            <a:prstGeom prst="roundRect">
              <a:avLst>
                <a:gd name="adj" fmla="val 6162"/>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r>
                <a:rPr lang="en-US" sz="1100" b="1" dirty="0"/>
                <a:t>Preparation of To-Be documentation</a:t>
              </a:r>
            </a:p>
            <a:p>
              <a:pPr marL="268288" indent="-171450">
                <a:lnSpc>
                  <a:spcPct val="106000"/>
                </a:lnSpc>
                <a:buFont typeface="Arial" panose="020B0604020202020204" pitchFamily="34" charset="0"/>
                <a:buChar char="•"/>
              </a:pPr>
              <a:r>
                <a:rPr lang="en-US" sz="1000" dirty="0"/>
                <a:t>Detailed documentation of future process flow on workshops using industry best practice based on improvement opportunities</a:t>
              </a:r>
              <a:endParaRPr lang="en-US" sz="1000" b="1" dirty="0"/>
            </a:p>
          </p:txBody>
        </p:sp>
        <p:sp>
          <p:nvSpPr>
            <p:cNvPr id="102" name="Round Same Side Corner Rectangle 176">
              <a:extLst>
                <a:ext uri="{FF2B5EF4-FFF2-40B4-BE49-F238E27FC236}">
                  <a16:creationId xmlns:a16="http://schemas.microsoft.com/office/drawing/2014/main" id="{4C28F41E-5A7B-3A7E-CF66-D23BC8420C2A}"/>
                </a:ext>
              </a:extLst>
            </p:cNvPr>
            <p:cNvSpPr/>
            <p:nvPr/>
          </p:nvSpPr>
          <p:spPr bwMode="gray">
            <a:xfrm rot="16200000">
              <a:off x="1365615" y="3554454"/>
              <a:ext cx="721741" cy="113189"/>
            </a:xfrm>
            <a:prstGeom prst="round2SameRect">
              <a:avLst>
                <a:gd name="adj1" fmla="val 50000"/>
                <a:gd name="adj2" fmla="val 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03" name="Oval 102">
            <a:extLst>
              <a:ext uri="{FF2B5EF4-FFF2-40B4-BE49-F238E27FC236}">
                <a16:creationId xmlns:a16="http://schemas.microsoft.com/office/drawing/2014/main" id="{25BC83B9-96CC-CA59-268F-5A7F4050B962}"/>
              </a:ext>
            </a:extLst>
          </p:cNvPr>
          <p:cNvSpPr>
            <a:spLocks noChangeAspect="1"/>
          </p:cNvSpPr>
          <p:nvPr/>
        </p:nvSpPr>
        <p:spPr bwMode="gray">
          <a:xfrm>
            <a:off x="644565" y="3727005"/>
            <a:ext cx="360000" cy="360000"/>
          </a:xfrm>
          <a:prstGeom prst="ellipse">
            <a:avLst/>
          </a:prstGeom>
          <a:solidFill>
            <a:schemeClr val="bg1"/>
          </a:solidFill>
          <a:ln w="28575" algn="ctr">
            <a:solidFill>
              <a:schemeClr val="accent1"/>
            </a:solidFill>
            <a:miter lim="800000"/>
            <a:headEnd/>
            <a:tailEnd/>
          </a:ln>
        </p:spPr>
        <p:txBody>
          <a:bodyPr wrap="square" lIns="0" tIns="88900" rIns="0" bIns="88900" rtlCol="0" anchor="ctr"/>
          <a:lstStyle/>
          <a:p>
            <a:pPr algn="ctr">
              <a:lnSpc>
                <a:spcPct val="106000"/>
              </a:lnSpc>
              <a:buFont typeface="Wingdings 2" pitchFamily="18" charset="2"/>
              <a:buNone/>
            </a:pPr>
            <a:r>
              <a:rPr lang="en-US" sz="1400" b="1" dirty="0"/>
              <a:t>2</a:t>
            </a:r>
          </a:p>
        </p:txBody>
      </p:sp>
      <p:grpSp>
        <p:nvGrpSpPr>
          <p:cNvPr id="104" name="Group 103">
            <a:extLst>
              <a:ext uri="{FF2B5EF4-FFF2-40B4-BE49-F238E27FC236}">
                <a16:creationId xmlns:a16="http://schemas.microsoft.com/office/drawing/2014/main" id="{B202673F-C0C1-C051-6918-FBC89FC0C35C}"/>
              </a:ext>
            </a:extLst>
          </p:cNvPr>
          <p:cNvGrpSpPr/>
          <p:nvPr/>
        </p:nvGrpSpPr>
        <p:grpSpPr>
          <a:xfrm>
            <a:off x="1106402" y="5271459"/>
            <a:ext cx="3395177" cy="859178"/>
            <a:chOff x="1669890" y="4463228"/>
            <a:chExt cx="3749398" cy="724635"/>
          </a:xfrm>
        </p:grpSpPr>
        <p:sp>
          <p:nvSpPr>
            <p:cNvPr id="105" name="Rounded Rectangle 181">
              <a:extLst>
                <a:ext uri="{FF2B5EF4-FFF2-40B4-BE49-F238E27FC236}">
                  <a16:creationId xmlns:a16="http://schemas.microsoft.com/office/drawing/2014/main" id="{16A72505-2754-87CF-A750-8FEEABBB7849}"/>
                </a:ext>
              </a:extLst>
            </p:cNvPr>
            <p:cNvSpPr/>
            <p:nvPr/>
          </p:nvSpPr>
          <p:spPr bwMode="gray">
            <a:xfrm>
              <a:off x="1669890" y="4463228"/>
              <a:ext cx="3749398" cy="720662"/>
            </a:xfrm>
            <a:prstGeom prst="roundRect">
              <a:avLst>
                <a:gd name="adj" fmla="val 5057"/>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r>
                <a:rPr lang="en-US" sz="1100" b="1" dirty="0"/>
                <a:t>Finalizing the To-Be documentation</a:t>
              </a:r>
            </a:p>
            <a:p>
              <a:pPr marL="268288" indent="-171450">
                <a:lnSpc>
                  <a:spcPct val="106000"/>
                </a:lnSpc>
                <a:buFont typeface="Arial" panose="020B0604020202020204" pitchFamily="34" charset="0"/>
                <a:buChar char="•"/>
              </a:pPr>
              <a:r>
                <a:rPr lang="en-US" sz="1000" dirty="0"/>
                <a:t>Validation of the final documents prepared by Deloitte in a workshop(s) with the client</a:t>
              </a:r>
            </a:p>
            <a:p>
              <a:pPr marL="268288" indent="-171450">
                <a:lnSpc>
                  <a:spcPct val="106000"/>
                </a:lnSpc>
                <a:buFont typeface="Arial" panose="020B0604020202020204" pitchFamily="34" charset="0"/>
                <a:buChar char="•"/>
              </a:pPr>
              <a:r>
                <a:rPr lang="en-US" sz="1000" dirty="0"/>
                <a:t>Changes requested by the client are incorporated into the final documents and submitted</a:t>
              </a:r>
            </a:p>
          </p:txBody>
        </p:sp>
        <p:sp>
          <p:nvSpPr>
            <p:cNvPr id="106" name="Round Same Side Corner Rectangle 182">
              <a:extLst>
                <a:ext uri="{FF2B5EF4-FFF2-40B4-BE49-F238E27FC236}">
                  <a16:creationId xmlns:a16="http://schemas.microsoft.com/office/drawing/2014/main" id="{EE39D04F-6427-D9B8-90E3-283589A9BE0F}"/>
                </a:ext>
              </a:extLst>
            </p:cNvPr>
            <p:cNvSpPr/>
            <p:nvPr/>
          </p:nvSpPr>
          <p:spPr bwMode="gray">
            <a:xfrm rot="16200000">
              <a:off x="1366155" y="4770937"/>
              <a:ext cx="720662" cy="113189"/>
            </a:xfrm>
            <a:prstGeom prst="round2SameRect">
              <a:avLst>
                <a:gd name="adj1" fmla="val 50000"/>
                <a:gd name="adj2" fmla="val 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07" name="Oval 106">
            <a:extLst>
              <a:ext uri="{FF2B5EF4-FFF2-40B4-BE49-F238E27FC236}">
                <a16:creationId xmlns:a16="http://schemas.microsoft.com/office/drawing/2014/main" id="{6B3785F5-D8F4-4E83-0871-924A2E3EB765}"/>
              </a:ext>
            </a:extLst>
          </p:cNvPr>
          <p:cNvSpPr>
            <a:spLocks noChangeAspect="1"/>
          </p:cNvSpPr>
          <p:nvPr/>
        </p:nvSpPr>
        <p:spPr bwMode="gray">
          <a:xfrm>
            <a:off x="664756" y="5564662"/>
            <a:ext cx="360000" cy="360000"/>
          </a:xfrm>
          <a:prstGeom prst="ellipse">
            <a:avLst/>
          </a:prstGeom>
          <a:solidFill>
            <a:schemeClr val="bg1"/>
          </a:solidFill>
          <a:ln w="28575" algn="ctr">
            <a:solidFill>
              <a:schemeClr val="accent1"/>
            </a:solidFill>
            <a:miter lim="800000"/>
            <a:headEnd/>
            <a:tailEnd/>
          </a:ln>
        </p:spPr>
        <p:txBody>
          <a:bodyPr wrap="square" lIns="0" tIns="88900" rIns="0" bIns="88900" rtlCol="0" anchor="ctr"/>
          <a:lstStyle/>
          <a:p>
            <a:pPr algn="ctr">
              <a:lnSpc>
                <a:spcPct val="106000"/>
              </a:lnSpc>
              <a:buFont typeface="Wingdings 2" pitchFamily="18" charset="2"/>
              <a:buNone/>
            </a:pPr>
            <a:r>
              <a:rPr lang="en-US" sz="1400" b="1" dirty="0"/>
              <a:t>4</a:t>
            </a:r>
          </a:p>
        </p:txBody>
      </p:sp>
      <p:sp>
        <p:nvSpPr>
          <p:cNvPr id="108" name="Isosceles Triangle 107">
            <a:extLst>
              <a:ext uri="{FF2B5EF4-FFF2-40B4-BE49-F238E27FC236}">
                <a16:creationId xmlns:a16="http://schemas.microsoft.com/office/drawing/2014/main" id="{1A99A18A-110E-D27E-9748-0FE33782C452}"/>
              </a:ext>
            </a:extLst>
          </p:cNvPr>
          <p:cNvSpPr/>
          <p:nvPr/>
        </p:nvSpPr>
        <p:spPr bwMode="gray">
          <a:xfrm rot="5400000">
            <a:off x="2960638" y="4176649"/>
            <a:ext cx="3493833" cy="220060"/>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09" name="Group 108">
            <a:extLst>
              <a:ext uri="{FF2B5EF4-FFF2-40B4-BE49-F238E27FC236}">
                <a16:creationId xmlns:a16="http://schemas.microsoft.com/office/drawing/2014/main" id="{0724CEB8-A446-92C5-02F6-43C5A88690A4}"/>
              </a:ext>
            </a:extLst>
          </p:cNvPr>
          <p:cNvGrpSpPr/>
          <p:nvPr/>
        </p:nvGrpSpPr>
        <p:grpSpPr>
          <a:xfrm>
            <a:off x="5172541" y="2538737"/>
            <a:ext cx="1326014" cy="1345273"/>
            <a:chOff x="5172541" y="2538737"/>
            <a:chExt cx="1326014" cy="1345273"/>
          </a:xfrm>
        </p:grpSpPr>
        <p:pic>
          <p:nvPicPr>
            <p:cNvPr id="110" name="Picture 109">
              <a:extLst>
                <a:ext uri="{FF2B5EF4-FFF2-40B4-BE49-F238E27FC236}">
                  <a16:creationId xmlns:a16="http://schemas.microsoft.com/office/drawing/2014/main" id="{1A421724-932A-094F-56A1-919B7200FDFF}"/>
                </a:ext>
              </a:extLst>
            </p:cNvPr>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5172541" y="2538737"/>
              <a:ext cx="1326014" cy="883635"/>
            </a:xfrm>
            <a:prstGeom prst="rect">
              <a:avLst/>
            </a:prstGeom>
            <a:ln>
              <a:solidFill>
                <a:schemeClr val="bg1">
                  <a:lumMod val="95000"/>
                </a:schemeClr>
              </a:solidFill>
            </a:ln>
          </p:spPr>
        </p:pic>
        <p:grpSp>
          <p:nvGrpSpPr>
            <p:cNvPr id="111" name="Group 110">
              <a:extLst>
                <a:ext uri="{FF2B5EF4-FFF2-40B4-BE49-F238E27FC236}">
                  <a16:creationId xmlns:a16="http://schemas.microsoft.com/office/drawing/2014/main" id="{D28FABB6-82B3-8F10-E269-E65BDE0EA939}"/>
                </a:ext>
              </a:extLst>
            </p:cNvPr>
            <p:cNvGrpSpPr/>
            <p:nvPr/>
          </p:nvGrpSpPr>
          <p:grpSpPr>
            <a:xfrm>
              <a:off x="5172541" y="3147632"/>
              <a:ext cx="1326014" cy="736378"/>
              <a:chOff x="5692140" y="3356387"/>
              <a:chExt cx="1833424" cy="763992"/>
            </a:xfrm>
          </p:grpSpPr>
          <p:sp>
            <p:nvSpPr>
              <p:cNvPr id="112" name="Rectangle 111">
                <a:extLst>
                  <a:ext uri="{FF2B5EF4-FFF2-40B4-BE49-F238E27FC236}">
                    <a16:creationId xmlns:a16="http://schemas.microsoft.com/office/drawing/2014/main" id="{4C409877-B345-C1B8-C3D2-0F5D611B4073}"/>
                  </a:ext>
                </a:extLst>
              </p:cNvPr>
              <p:cNvSpPr/>
              <p:nvPr/>
            </p:nvSpPr>
            <p:spPr bwMode="gray">
              <a:xfrm>
                <a:off x="5692140" y="3643763"/>
                <a:ext cx="1833424" cy="476616"/>
              </a:xfrm>
              <a:prstGeom prst="rect">
                <a:avLst/>
              </a:prstGeom>
              <a:solidFill>
                <a:srgbClr val="F7F7F7"/>
              </a:solidFill>
              <a:ln w="19050" algn="ctr">
                <a:solidFill>
                  <a:schemeClr val="bg1">
                    <a:lumMod val="95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n-US" sz="1050" b="1" dirty="0"/>
                  <a:t>Working </a:t>
                </a:r>
                <a:r>
                  <a:rPr lang="en-US" sz="1000" b="1" dirty="0"/>
                  <a:t>Group</a:t>
                </a:r>
                <a:r>
                  <a:rPr lang="en-US" sz="1050" b="1" dirty="0"/>
                  <a:t> Leader</a:t>
                </a:r>
              </a:p>
            </p:txBody>
          </p:sp>
          <p:sp>
            <p:nvSpPr>
              <p:cNvPr id="113" name="Right Triangle 112">
                <a:extLst>
                  <a:ext uri="{FF2B5EF4-FFF2-40B4-BE49-F238E27FC236}">
                    <a16:creationId xmlns:a16="http://schemas.microsoft.com/office/drawing/2014/main" id="{2630388A-4995-55F3-B387-5F5F258E2637}"/>
                  </a:ext>
                </a:extLst>
              </p:cNvPr>
              <p:cNvSpPr/>
              <p:nvPr/>
            </p:nvSpPr>
            <p:spPr bwMode="gray">
              <a:xfrm>
                <a:off x="5692140" y="3356387"/>
                <a:ext cx="476250" cy="285957"/>
              </a:xfrm>
              <a:prstGeom prst="rtTriangle">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nvGrpSpPr>
          <p:cNvPr id="114" name="Group 113">
            <a:extLst>
              <a:ext uri="{FF2B5EF4-FFF2-40B4-BE49-F238E27FC236}">
                <a16:creationId xmlns:a16="http://schemas.microsoft.com/office/drawing/2014/main" id="{D8ED337A-F082-BDD4-DEA4-49C341BD423B}"/>
              </a:ext>
            </a:extLst>
          </p:cNvPr>
          <p:cNvGrpSpPr/>
          <p:nvPr/>
        </p:nvGrpSpPr>
        <p:grpSpPr>
          <a:xfrm>
            <a:off x="6781821" y="2537101"/>
            <a:ext cx="1326582" cy="1349002"/>
            <a:chOff x="6720755" y="2537101"/>
            <a:chExt cx="1326582" cy="1349002"/>
          </a:xfrm>
        </p:grpSpPr>
        <p:pic>
          <p:nvPicPr>
            <p:cNvPr id="115" name="Picture 114">
              <a:extLst>
                <a:ext uri="{FF2B5EF4-FFF2-40B4-BE49-F238E27FC236}">
                  <a16:creationId xmlns:a16="http://schemas.microsoft.com/office/drawing/2014/main" id="{CA54C48A-2F61-1446-3A15-520430959227}"/>
                </a:ext>
              </a:extLst>
            </p:cNvPr>
            <p:cNvPicPr>
              <a:picLocks noChangeAspect="1"/>
            </p:cNvPicPr>
            <p:nvPr/>
          </p:nvPicPr>
          <p:blipFill>
            <a:blip r:embed="rId7" cstate="email">
              <a:grayscl/>
              <a:extLst>
                <a:ext uri="{28A0092B-C50C-407E-A947-70E740481C1C}">
                  <a14:useLocalDpi xmlns:a14="http://schemas.microsoft.com/office/drawing/2010/main"/>
                </a:ext>
              </a:extLst>
            </a:blip>
            <a:stretch>
              <a:fillRect/>
            </a:stretch>
          </p:blipFill>
          <p:spPr>
            <a:xfrm>
              <a:off x="6721323" y="2537101"/>
              <a:ext cx="1326014" cy="883635"/>
            </a:xfrm>
            <a:prstGeom prst="rect">
              <a:avLst/>
            </a:prstGeom>
            <a:ln>
              <a:solidFill>
                <a:schemeClr val="bg1">
                  <a:lumMod val="95000"/>
                </a:schemeClr>
              </a:solidFill>
            </a:ln>
          </p:spPr>
        </p:pic>
        <p:grpSp>
          <p:nvGrpSpPr>
            <p:cNvPr id="116" name="Group 115">
              <a:extLst>
                <a:ext uri="{FF2B5EF4-FFF2-40B4-BE49-F238E27FC236}">
                  <a16:creationId xmlns:a16="http://schemas.microsoft.com/office/drawing/2014/main" id="{B6A07347-6CC5-1A4D-0E87-6F75880A3FDA}"/>
                </a:ext>
              </a:extLst>
            </p:cNvPr>
            <p:cNvGrpSpPr/>
            <p:nvPr/>
          </p:nvGrpSpPr>
          <p:grpSpPr>
            <a:xfrm>
              <a:off x="6720755" y="3147371"/>
              <a:ext cx="1326582" cy="738732"/>
              <a:chOff x="7707695" y="3356387"/>
              <a:chExt cx="1834209" cy="759975"/>
            </a:xfrm>
          </p:grpSpPr>
          <p:sp>
            <p:nvSpPr>
              <p:cNvPr id="117" name="Rectangle 116">
                <a:extLst>
                  <a:ext uri="{FF2B5EF4-FFF2-40B4-BE49-F238E27FC236}">
                    <a16:creationId xmlns:a16="http://schemas.microsoft.com/office/drawing/2014/main" id="{2EF27673-15B0-D6FC-E637-BF5131890368}"/>
                  </a:ext>
                </a:extLst>
              </p:cNvPr>
              <p:cNvSpPr/>
              <p:nvPr/>
            </p:nvSpPr>
            <p:spPr bwMode="gray">
              <a:xfrm>
                <a:off x="7708480" y="3643764"/>
                <a:ext cx="1833424" cy="472598"/>
              </a:xfrm>
              <a:prstGeom prst="rect">
                <a:avLst/>
              </a:prstGeom>
              <a:solidFill>
                <a:srgbClr val="F7F7F7"/>
              </a:solidFill>
              <a:ln w="19050" algn="ctr">
                <a:solidFill>
                  <a:schemeClr val="bg1">
                    <a:lumMod val="95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n-US" sz="1000" b="1" dirty="0"/>
                  <a:t>Specialist staff</a:t>
                </a:r>
              </a:p>
            </p:txBody>
          </p:sp>
          <p:sp>
            <p:nvSpPr>
              <p:cNvPr id="118" name="Right Triangle 117">
                <a:extLst>
                  <a:ext uri="{FF2B5EF4-FFF2-40B4-BE49-F238E27FC236}">
                    <a16:creationId xmlns:a16="http://schemas.microsoft.com/office/drawing/2014/main" id="{BC6883FA-365E-190D-30FA-DFC2720CEAC5}"/>
                  </a:ext>
                </a:extLst>
              </p:cNvPr>
              <p:cNvSpPr/>
              <p:nvPr/>
            </p:nvSpPr>
            <p:spPr bwMode="gray">
              <a:xfrm>
                <a:off x="7707695" y="3356387"/>
                <a:ext cx="476250" cy="285957"/>
              </a:xfrm>
              <a:prstGeom prst="rtTriangle">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nvGrpSpPr>
          <p:cNvPr id="119" name="Group 118">
            <a:extLst>
              <a:ext uri="{FF2B5EF4-FFF2-40B4-BE49-F238E27FC236}">
                <a16:creationId xmlns:a16="http://schemas.microsoft.com/office/drawing/2014/main" id="{A7756D7D-DF6E-AB07-F92D-EAC454E00C9A}"/>
              </a:ext>
            </a:extLst>
          </p:cNvPr>
          <p:cNvGrpSpPr/>
          <p:nvPr/>
        </p:nvGrpSpPr>
        <p:grpSpPr>
          <a:xfrm>
            <a:off x="8391669" y="2538702"/>
            <a:ext cx="1326582" cy="1347400"/>
            <a:chOff x="8348552" y="2538702"/>
            <a:chExt cx="1326582" cy="1347400"/>
          </a:xfrm>
        </p:grpSpPr>
        <p:pic>
          <p:nvPicPr>
            <p:cNvPr id="120" name="Picture 119">
              <a:extLst>
                <a:ext uri="{FF2B5EF4-FFF2-40B4-BE49-F238E27FC236}">
                  <a16:creationId xmlns:a16="http://schemas.microsoft.com/office/drawing/2014/main" id="{5D31401B-18EF-3997-E21A-EFB237A20E64}"/>
                </a:ext>
              </a:extLst>
            </p:cNvPr>
            <p:cNvPicPr>
              <a:picLocks noChangeAspect="1"/>
            </p:cNvPicPr>
            <p:nvPr/>
          </p:nvPicPr>
          <p:blipFill>
            <a:blip r:embed="rId8" cstate="email">
              <a:grayscl/>
              <a:extLst>
                <a:ext uri="{28A0092B-C50C-407E-A947-70E740481C1C}">
                  <a14:useLocalDpi xmlns:a14="http://schemas.microsoft.com/office/drawing/2010/main"/>
                </a:ext>
              </a:extLst>
            </a:blip>
            <a:stretch>
              <a:fillRect/>
            </a:stretch>
          </p:blipFill>
          <p:spPr>
            <a:xfrm>
              <a:off x="8349120" y="2538702"/>
              <a:ext cx="1326014" cy="883636"/>
            </a:xfrm>
            <a:prstGeom prst="rect">
              <a:avLst/>
            </a:prstGeom>
            <a:ln>
              <a:solidFill>
                <a:schemeClr val="bg1">
                  <a:lumMod val="95000"/>
                </a:schemeClr>
              </a:solidFill>
            </a:ln>
          </p:spPr>
        </p:pic>
        <p:grpSp>
          <p:nvGrpSpPr>
            <p:cNvPr id="121" name="Group 120">
              <a:extLst>
                <a:ext uri="{FF2B5EF4-FFF2-40B4-BE49-F238E27FC236}">
                  <a16:creationId xmlns:a16="http://schemas.microsoft.com/office/drawing/2014/main" id="{770DD774-AF22-288F-EFED-E6C0512EA794}"/>
                </a:ext>
              </a:extLst>
            </p:cNvPr>
            <p:cNvGrpSpPr/>
            <p:nvPr/>
          </p:nvGrpSpPr>
          <p:grpSpPr>
            <a:xfrm>
              <a:off x="8348552" y="3151349"/>
              <a:ext cx="1326582" cy="734753"/>
              <a:chOff x="9724035" y="3359671"/>
              <a:chExt cx="1834209" cy="856322"/>
            </a:xfrm>
          </p:grpSpPr>
          <p:sp>
            <p:nvSpPr>
              <p:cNvPr id="122" name="Rectangle 121">
                <a:extLst>
                  <a:ext uri="{FF2B5EF4-FFF2-40B4-BE49-F238E27FC236}">
                    <a16:creationId xmlns:a16="http://schemas.microsoft.com/office/drawing/2014/main" id="{7DB8E028-3F12-1094-B662-6FAE92FF454B}"/>
                  </a:ext>
                </a:extLst>
              </p:cNvPr>
              <p:cNvSpPr/>
              <p:nvPr/>
            </p:nvSpPr>
            <p:spPr bwMode="gray">
              <a:xfrm>
                <a:off x="9724820" y="3655338"/>
                <a:ext cx="1833424" cy="560655"/>
              </a:xfrm>
              <a:prstGeom prst="rect">
                <a:avLst/>
              </a:prstGeom>
              <a:solidFill>
                <a:srgbClr val="F7F7F7"/>
              </a:solidFill>
              <a:ln w="19050" algn="ctr">
                <a:solidFill>
                  <a:schemeClr val="bg1">
                    <a:lumMod val="95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n-US" sz="1000" b="1" dirty="0"/>
                  <a:t>Process Control Associate</a:t>
                </a:r>
              </a:p>
            </p:txBody>
          </p:sp>
          <p:sp>
            <p:nvSpPr>
              <p:cNvPr id="123" name="Right Triangle 122">
                <a:extLst>
                  <a:ext uri="{FF2B5EF4-FFF2-40B4-BE49-F238E27FC236}">
                    <a16:creationId xmlns:a16="http://schemas.microsoft.com/office/drawing/2014/main" id="{5A48548A-4566-D344-4EEC-BE3AEDE550D2}"/>
                  </a:ext>
                </a:extLst>
              </p:cNvPr>
              <p:cNvSpPr/>
              <p:nvPr/>
            </p:nvSpPr>
            <p:spPr bwMode="gray">
              <a:xfrm>
                <a:off x="9724035" y="3359671"/>
                <a:ext cx="476250" cy="289172"/>
              </a:xfrm>
              <a:prstGeom prst="rtTriangle">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sp>
        <p:nvSpPr>
          <p:cNvPr id="124" name="Rectangle 123">
            <a:extLst>
              <a:ext uri="{FF2B5EF4-FFF2-40B4-BE49-F238E27FC236}">
                <a16:creationId xmlns:a16="http://schemas.microsoft.com/office/drawing/2014/main" id="{694B3527-9E1D-4992-75C8-23B01E06204A}"/>
              </a:ext>
            </a:extLst>
          </p:cNvPr>
          <p:cNvSpPr/>
          <p:nvPr/>
        </p:nvSpPr>
        <p:spPr bwMode="gray">
          <a:xfrm>
            <a:off x="941614" y="2079674"/>
            <a:ext cx="9643836" cy="53751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dirty="0">
                <a:solidFill>
                  <a:schemeClr val="accent1"/>
                </a:solidFill>
              </a:rPr>
              <a:t>Tasks</a:t>
            </a:r>
          </a:p>
        </p:txBody>
      </p:sp>
      <p:sp>
        <p:nvSpPr>
          <p:cNvPr id="125" name="Rectangle 124">
            <a:extLst>
              <a:ext uri="{FF2B5EF4-FFF2-40B4-BE49-F238E27FC236}">
                <a16:creationId xmlns:a16="http://schemas.microsoft.com/office/drawing/2014/main" id="{5161FBE5-0F3E-2DF7-ACF1-2FEA194C1BB6}"/>
              </a:ext>
            </a:extLst>
          </p:cNvPr>
          <p:cNvSpPr/>
          <p:nvPr/>
        </p:nvSpPr>
        <p:spPr bwMode="gray">
          <a:xfrm>
            <a:off x="4919896" y="2069886"/>
            <a:ext cx="6218271" cy="53751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dirty="0">
                <a:solidFill>
                  <a:schemeClr val="accent1"/>
                </a:solidFill>
              </a:rPr>
              <a:t>Key players</a:t>
            </a:r>
          </a:p>
        </p:txBody>
      </p:sp>
      <p:sp>
        <p:nvSpPr>
          <p:cNvPr id="126" name="Rectangle 125">
            <a:extLst>
              <a:ext uri="{FF2B5EF4-FFF2-40B4-BE49-F238E27FC236}">
                <a16:creationId xmlns:a16="http://schemas.microsoft.com/office/drawing/2014/main" id="{602CE8D7-E1C5-0D05-E414-4AA40F633DDF}"/>
              </a:ext>
            </a:extLst>
          </p:cNvPr>
          <p:cNvSpPr/>
          <p:nvPr/>
        </p:nvSpPr>
        <p:spPr bwMode="gray">
          <a:xfrm>
            <a:off x="4901828" y="3826800"/>
            <a:ext cx="6218271" cy="537511"/>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dirty="0">
                <a:solidFill>
                  <a:schemeClr val="accent1"/>
                </a:solidFill>
              </a:rPr>
              <a:t>Deliverables</a:t>
            </a:r>
          </a:p>
        </p:txBody>
      </p:sp>
      <p:grpSp>
        <p:nvGrpSpPr>
          <p:cNvPr id="127" name="Group 126">
            <a:extLst>
              <a:ext uri="{FF2B5EF4-FFF2-40B4-BE49-F238E27FC236}">
                <a16:creationId xmlns:a16="http://schemas.microsoft.com/office/drawing/2014/main" id="{B5C56428-07FB-5E90-B57E-6BEE3DB9A9D6}"/>
              </a:ext>
            </a:extLst>
          </p:cNvPr>
          <p:cNvGrpSpPr/>
          <p:nvPr/>
        </p:nvGrpSpPr>
        <p:grpSpPr>
          <a:xfrm>
            <a:off x="5121889" y="4208592"/>
            <a:ext cx="6210744" cy="1825003"/>
            <a:chOff x="1669890" y="4659009"/>
            <a:chExt cx="3749398" cy="918831"/>
          </a:xfrm>
        </p:grpSpPr>
        <p:sp>
          <p:nvSpPr>
            <p:cNvPr id="128" name="Rounded Rectangle 221">
              <a:extLst>
                <a:ext uri="{FF2B5EF4-FFF2-40B4-BE49-F238E27FC236}">
                  <a16:creationId xmlns:a16="http://schemas.microsoft.com/office/drawing/2014/main" id="{9000D872-5B79-57A1-6F11-1AADDF5F0E0C}"/>
                </a:ext>
              </a:extLst>
            </p:cNvPr>
            <p:cNvSpPr/>
            <p:nvPr/>
          </p:nvSpPr>
          <p:spPr bwMode="gray">
            <a:xfrm>
              <a:off x="1669890" y="4659011"/>
              <a:ext cx="3749398" cy="918829"/>
            </a:xfrm>
            <a:prstGeom prst="roundRect">
              <a:avLst>
                <a:gd name="adj" fmla="val 5057"/>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endParaRPr lang="en-US" sz="1000" dirty="0"/>
            </a:p>
          </p:txBody>
        </p:sp>
        <p:sp>
          <p:nvSpPr>
            <p:cNvPr id="129" name="Round Same Side Corner Rectangle 222">
              <a:extLst>
                <a:ext uri="{FF2B5EF4-FFF2-40B4-BE49-F238E27FC236}">
                  <a16:creationId xmlns:a16="http://schemas.microsoft.com/office/drawing/2014/main" id="{640BC2E2-0113-1336-B221-0B4D14CE718D}"/>
                </a:ext>
              </a:extLst>
            </p:cNvPr>
            <p:cNvSpPr/>
            <p:nvPr/>
          </p:nvSpPr>
          <p:spPr bwMode="gray">
            <a:xfrm rot="16200000">
              <a:off x="1245545" y="5083357"/>
              <a:ext cx="918829" cy="70134"/>
            </a:xfrm>
            <a:prstGeom prst="round2SameRect">
              <a:avLst>
                <a:gd name="adj1" fmla="val 50000"/>
                <a:gd name="adj2" fmla="val 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endParaRPr>
            </a:p>
          </p:txBody>
        </p:sp>
      </p:grpSp>
      <p:sp>
        <p:nvSpPr>
          <p:cNvPr id="130" name="Rectangle 129">
            <a:extLst>
              <a:ext uri="{FF2B5EF4-FFF2-40B4-BE49-F238E27FC236}">
                <a16:creationId xmlns:a16="http://schemas.microsoft.com/office/drawing/2014/main" id="{ACC63FCE-07B6-E75D-6608-B2B5CF7FD44C}"/>
              </a:ext>
            </a:extLst>
          </p:cNvPr>
          <p:cNvSpPr/>
          <p:nvPr/>
        </p:nvSpPr>
        <p:spPr>
          <a:xfrm>
            <a:off x="5160497" y="4223455"/>
            <a:ext cx="1350103" cy="574773"/>
          </a:xfrm>
          <a:prstGeom prst="rect">
            <a:avLst/>
          </a:prstGeom>
        </p:spPr>
        <p:txBody>
          <a:bodyPr wrap="square">
            <a:spAutoFit/>
          </a:bodyPr>
          <a:lstStyle/>
          <a:p>
            <a:pPr algn="ctr">
              <a:lnSpc>
                <a:spcPct val="106000"/>
              </a:lnSpc>
              <a:buFont typeface="Wingdings 2" pitchFamily="18" charset="2"/>
              <a:buNone/>
            </a:pPr>
            <a:r>
              <a:rPr lang="en-US" sz="1000" b="1" dirty="0"/>
              <a:t>To-Be process diagram</a:t>
            </a:r>
          </a:p>
          <a:p>
            <a:pPr algn="ctr">
              <a:lnSpc>
                <a:spcPct val="106000"/>
              </a:lnSpc>
              <a:buFont typeface="Wingdings 2" pitchFamily="18" charset="2"/>
              <a:buNone/>
            </a:pPr>
            <a:endParaRPr lang="en-US" sz="1000" b="1" dirty="0"/>
          </a:p>
        </p:txBody>
      </p:sp>
      <p:sp>
        <p:nvSpPr>
          <p:cNvPr id="131" name="Rectangle 130">
            <a:extLst>
              <a:ext uri="{FF2B5EF4-FFF2-40B4-BE49-F238E27FC236}">
                <a16:creationId xmlns:a16="http://schemas.microsoft.com/office/drawing/2014/main" id="{2C058305-EC0B-6788-3A91-A2444F79BD00}"/>
              </a:ext>
            </a:extLst>
          </p:cNvPr>
          <p:cNvSpPr/>
          <p:nvPr/>
        </p:nvSpPr>
        <p:spPr>
          <a:xfrm>
            <a:off x="6367183" y="4320390"/>
            <a:ext cx="1350103" cy="248530"/>
          </a:xfrm>
          <a:prstGeom prst="rect">
            <a:avLst/>
          </a:prstGeom>
        </p:spPr>
        <p:txBody>
          <a:bodyPr wrap="square">
            <a:spAutoFit/>
          </a:bodyPr>
          <a:lstStyle/>
          <a:p>
            <a:pPr algn="ctr">
              <a:lnSpc>
                <a:spcPct val="106000"/>
              </a:lnSpc>
              <a:buFont typeface="Wingdings 2" pitchFamily="18" charset="2"/>
              <a:buNone/>
            </a:pPr>
            <a:r>
              <a:rPr lang="en-US" sz="1000" b="1" dirty="0"/>
              <a:t>SIPOC**</a:t>
            </a:r>
          </a:p>
        </p:txBody>
      </p:sp>
      <p:sp>
        <p:nvSpPr>
          <p:cNvPr id="132" name="Rectangle 131">
            <a:extLst>
              <a:ext uri="{FF2B5EF4-FFF2-40B4-BE49-F238E27FC236}">
                <a16:creationId xmlns:a16="http://schemas.microsoft.com/office/drawing/2014/main" id="{6FCA4C1F-A213-E5A1-5E8A-AC4EFC1FD22E}"/>
              </a:ext>
            </a:extLst>
          </p:cNvPr>
          <p:cNvSpPr/>
          <p:nvPr/>
        </p:nvSpPr>
        <p:spPr>
          <a:xfrm>
            <a:off x="7552209" y="4320390"/>
            <a:ext cx="1350103" cy="248530"/>
          </a:xfrm>
          <a:prstGeom prst="rect">
            <a:avLst/>
          </a:prstGeom>
        </p:spPr>
        <p:txBody>
          <a:bodyPr wrap="square">
            <a:spAutoFit/>
          </a:bodyPr>
          <a:lstStyle/>
          <a:p>
            <a:pPr algn="ctr">
              <a:lnSpc>
                <a:spcPct val="106000"/>
              </a:lnSpc>
              <a:buFont typeface="Wingdings 2" pitchFamily="18" charset="2"/>
              <a:buNone/>
            </a:pPr>
            <a:r>
              <a:rPr lang="en-US" sz="1000" b="1" dirty="0"/>
              <a:t>RACI***</a:t>
            </a:r>
          </a:p>
        </p:txBody>
      </p:sp>
      <p:sp>
        <p:nvSpPr>
          <p:cNvPr id="133" name="Rectangle 132">
            <a:extLst>
              <a:ext uri="{FF2B5EF4-FFF2-40B4-BE49-F238E27FC236}">
                <a16:creationId xmlns:a16="http://schemas.microsoft.com/office/drawing/2014/main" id="{10E1A2DD-4E1D-A1DB-5600-ECB534671A93}"/>
              </a:ext>
            </a:extLst>
          </p:cNvPr>
          <p:cNvSpPr/>
          <p:nvPr/>
        </p:nvSpPr>
        <p:spPr>
          <a:xfrm>
            <a:off x="8788848" y="4320390"/>
            <a:ext cx="1350103" cy="248530"/>
          </a:xfrm>
          <a:prstGeom prst="rect">
            <a:avLst/>
          </a:prstGeom>
        </p:spPr>
        <p:txBody>
          <a:bodyPr wrap="square">
            <a:spAutoFit/>
          </a:bodyPr>
          <a:lstStyle/>
          <a:p>
            <a:pPr algn="ctr">
              <a:lnSpc>
                <a:spcPct val="106000"/>
              </a:lnSpc>
              <a:buFont typeface="Wingdings 2" pitchFamily="18" charset="2"/>
              <a:buNone/>
            </a:pPr>
            <a:r>
              <a:rPr lang="en-US" sz="1000" b="1" dirty="0"/>
              <a:t>KPIs </a:t>
            </a:r>
          </a:p>
        </p:txBody>
      </p:sp>
      <p:sp>
        <p:nvSpPr>
          <p:cNvPr id="134" name="Rectangle 133">
            <a:extLst>
              <a:ext uri="{FF2B5EF4-FFF2-40B4-BE49-F238E27FC236}">
                <a16:creationId xmlns:a16="http://schemas.microsoft.com/office/drawing/2014/main" id="{A2D7B380-C9D5-C271-A4F5-D14DEF17F538}"/>
              </a:ext>
            </a:extLst>
          </p:cNvPr>
          <p:cNvSpPr/>
          <p:nvPr/>
        </p:nvSpPr>
        <p:spPr>
          <a:xfrm>
            <a:off x="9989758" y="4320390"/>
            <a:ext cx="1350103" cy="248530"/>
          </a:xfrm>
          <a:prstGeom prst="rect">
            <a:avLst/>
          </a:prstGeom>
        </p:spPr>
        <p:txBody>
          <a:bodyPr wrap="square">
            <a:spAutoFit/>
          </a:bodyPr>
          <a:lstStyle/>
          <a:p>
            <a:pPr algn="ctr">
              <a:lnSpc>
                <a:spcPct val="106000"/>
              </a:lnSpc>
              <a:buFont typeface="Wingdings 2" pitchFamily="18" charset="2"/>
              <a:buNone/>
            </a:pPr>
            <a:r>
              <a:rPr lang="en-US" sz="1000" b="1" dirty="0"/>
              <a:t>Savings</a:t>
            </a:r>
          </a:p>
        </p:txBody>
      </p:sp>
      <p:pic>
        <p:nvPicPr>
          <p:cNvPr id="135" name="Picture 134">
            <a:extLst>
              <a:ext uri="{FF2B5EF4-FFF2-40B4-BE49-F238E27FC236}">
                <a16:creationId xmlns:a16="http://schemas.microsoft.com/office/drawing/2014/main" id="{B685F5EE-1140-6D85-28A3-07611A9871A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470735" y="5217572"/>
            <a:ext cx="1143000" cy="642938"/>
          </a:xfrm>
          <a:prstGeom prst="rect">
            <a:avLst/>
          </a:prstGeom>
          <a:ln>
            <a:solidFill>
              <a:schemeClr val="accent1"/>
            </a:solidFill>
          </a:ln>
          <a:effectLst>
            <a:outerShdw blurRad="50800" dist="38100" dir="2700000" algn="tl" rotWithShape="0">
              <a:prstClr val="black">
                <a:alpha val="40000"/>
              </a:prstClr>
            </a:outerShdw>
          </a:effectLst>
        </p:spPr>
      </p:pic>
      <p:pic>
        <p:nvPicPr>
          <p:cNvPr id="136" name="Picture 135">
            <a:extLst>
              <a:ext uri="{FF2B5EF4-FFF2-40B4-BE49-F238E27FC236}">
                <a16:creationId xmlns:a16="http://schemas.microsoft.com/office/drawing/2014/main" id="{05491840-BC20-97DE-B37A-B2BB1774E15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678259" y="5216347"/>
            <a:ext cx="1143000" cy="642938"/>
          </a:xfrm>
          <a:prstGeom prst="rect">
            <a:avLst/>
          </a:prstGeom>
          <a:ln>
            <a:solidFill>
              <a:schemeClr val="accent1"/>
            </a:solidFill>
          </a:ln>
          <a:effectLst>
            <a:outerShdw blurRad="50800" dist="38100" dir="2700000" algn="tl" rotWithShape="0">
              <a:prstClr val="black">
                <a:alpha val="40000"/>
              </a:prstClr>
            </a:outerShdw>
          </a:effectLst>
        </p:spPr>
      </p:pic>
      <p:pic>
        <p:nvPicPr>
          <p:cNvPr id="137" name="Picture 136">
            <a:extLst>
              <a:ext uri="{FF2B5EF4-FFF2-40B4-BE49-F238E27FC236}">
                <a16:creationId xmlns:a16="http://schemas.microsoft.com/office/drawing/2014/main" id="{27103DF8-5205-8C06-D4E1-541F103D9C2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885783" y="5216347"/>
            <a:ext cx="1143000" cy="642938"/>
          </a:xfrm>
          <a:prstGeom prst="rect">
            <a:avLst/>
          </a:prstGeom>
          <a:ln>
            <a:solidFill>
              <a:schemeClr val="accent1"/>
            </a:solidFill>
          </a:ln>
          <a:effectLst>
            <a:outerShdw blurRad="50800" dist="38100" dir="2700000" algn="tl" rotWithShape="0">
              <a:prstClr val="black">
                <a:alpha val="40000"/>
              </a:prstClr>
            </a:outerShdw>
          </a:effectLst>
        </p:spPr>
      </p:pic>
      <p:pic>
        <p:nvPicPr>
          <p:cNvPr id="138" name="Picture 137">
            <a:extLst>
              <a:ext uri="{FF2B5EF4-FFF2-40B4-BE49-F238E27FC236}">
                <a16:creationId xmlns:a16="http://schemas.microsoft.com/office/drawing/2014/main" id="{2ABB9697-C595-49FD-3173-C5A940B93F69}"/>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093309" y="5215110"/>
            <a:ext cx="1143000" cy="642938"/>
          </a:xfrm>
          <a:prstGeom prst="rect">
            <a:avLst/>
          </a:prstGeom>
          <a:ln>
            <a:solidFill>
              <a:schemeClr val="accent1"/>
            </a:solidFill>
          </a:ln>
          <a:effectLst>
            <a:outerShdw blurRad="50800" dist="38100" dir="2700000" algn="tl" rotWithShape="0">
              <a:prstClr val="black">
                <a:alpha val="40000"/>
              </a:prstClr>
            </a:outerShdw>
          </a:effectLst>
        </p:spPr>
      </p:pic>
      <p:pic>
        <p:nvPicPr>
          <p:cNvPr id="139" name="Picture 138">
            <a:extLst>
              <a:ext uri="{FF2B5EF4-FFF2-40B4-BE49-F238E27FC236}">
                <a16:creationId xmlns:a16="http://schemas.microsoft.com/office/drawing/2014/main" id="{C17B45B2-4DAA-B70B-F7A6-ED57F6802FF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264886" y="5215198"/>
            <a:ext cx="1141325" cy="672859"/>
          </a:xfrm>
          <a:prstGeom prst="rect">
            <a:avLst/>
          </a:prstGeom>
          <a:ln>
            <a:noFill/>
          </a:ln>
        </p:spPr>
      </p:pic>
      <p:grpSp>
        <p:nvGrpSpPr>
          <p:cNvPr id="140" name="Group 139">
            <a:extLst>
              <a:ext uri="{FF2B5EF4-FFF2-40B4-BE49-F238E27FC236}">
                <a16:creationId xmlns:a16="http://schemas.microsoft.com/office/drawing/2014/main" id="{85EA17CF-EC75-D05C-9FB2-E8A88FA35D91}"/>
              </a:ext>
            </a:extLst>
          </p:cNvPr>
          <p:cNvGrpSpPr/>
          <p:nvPr/>
        </p:nvGrpSpPr>
        <p:grpSpPr>
          <a:xfrm>
            <a:off x="10001518" y="2539781"/>
            <a:ext cx="1326582" cy="1346416"/>
            <a:chOff x="10001518" y="2539781"/>
            <a:chExt cx="1326582" cy="1346416"/>
          </a:xfrm>
        </p:grpSpPr>
        <p:pic>
          <p:nvPicPr>
            <p:cNvPr id="141" name="Picture 140">
              <a:extLst>
                <a:ext uri="{FF2B5EF4-FFF2-40B4-BE49-F238E27FC236}">
                  <a16:creationId xmlns:a16="http://schemas.microsoft.com/office/drawing/2014/main" id="{BDE24576-2A44-96F5-5834-47FEC754872F}"/>
                </a:ext>
              </a:extLst>
            </p:cNvPr>
            <p:cNvPicPr>
              <a:picLocks noChangeAspect="1"/>
            </p:cNvPicPr>
            <p:nvPr/>
          </p:nvPicPr>
          <p:blipFill rotWithShape="1">
            <a:blip r:embed="rId14" cstate="email">
              <a:grayscl/>
              <a:extLst>
                <a:ext uri="{28A0092B-C50C-407E-A947-70E740481C1C}">
                  <a14:useLocalDpi xmlns:a14="http://schemas.microsoft.com/office/drawing/2010/main"/>
                </a:ext>
              </a:extLst>
            </a:blip>
            <a:srcRect/>
            <a:stretch/>
          </p:blipFill>
          <p:spPr>
            <a:xfrm>
              <a:off x="10003063" y="2539781"/>
              <a:ext cx="1323492" cy="882894"/>
            </a:xfrm>
            <a:prstGeom prst="rect">
              <a:avLst/>
            </a:prstGeom>
            <a:ln>
              <a:solidFill>
                <a:schemeClr val="bg1">
                  <a:lumMod val="95000"/>
                </a:schemeClr>
              </a:solidFill>
            </a:ln>
          </p:spPr>
        </p:pic>
        <p:grpSp>
          <p:nvGrpSpPr>
            <p:cNvPr id="142" name="Group 141">
              <a:extLst>
                <a:ext uri="{FF2B5EF4-FFF2-40B4-BE49-F238E27FC236}">
                  <a16:creationId xmlns:a16="http://schemas.microsoft.com/office/drawing/2014/main" id="{F8970244-21C0-16CA-9FC8-4328F51508F7}"/>
                </a:ext>
              </a:extLst>
            </p:cNvPr>
            <p:cNvGrpSpPr/>
            <p:nvPr/>
          </p:nvGrpSpPr>
          <p:grpSpPr>
            <a:xfrm>
              <a:off x="10001518" y="3151444"/>
              <a:ext cx="1326582" cy="734753"/>
              <a:chOff x="9724035" y="3359671"/>
              <a:chExt cx="1834209" cy="856323"/>
            </a:xfrm>
          </p:grpSpPr>
          <p:sp>
            <p:nvSpPr>
              <p:cNvPr id="143" name="Rectangle 142">
                <a:extLst>
                  <a:ext uri="{FF2B5EF4-FFF2-40B4-BE49-F238E27FC236}">
                    <a16:creationId xmlns:a16="http://schemas.microsoft.com/office/drawing/2014/main" id="{CA6667D4-D35C-9FF9-4117-8AE9E94E1133}"/>
                  </a:ext>
                </a:extLst>
              </p:cNvPr>
              <p:cNvSpPr/>
              <p:nvPr/>
            </p:nvSpPr>
            <p:spPr bwMode="gray">
              <a:xfrm>
                <a:off x="9724820" y="3655338"/>
                <a:ext cx="1833424" cy="560656"/>
              </a:xfrm>
              <a:prstGeom prst="rect">
                <a:avLst/>
              </a:prstGeom>
              <a:solidFill>
                <a:srgbClr val="F7F7F7"/>
              </a:solidFill>
              <a:ln w="19050" algn="ctr">
                <a:solidFill>
                  <a:schemeClr val="bg1">
                    <a:lumMod val="95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n-US" sz="1000" b="1" dirty="0"/>
                  <a:t>Decision makers (Operative Committee, Steering Committee)</a:t>
                </a:r>
              </a:p>
            </p:txBody>
          </p:sp>
          <p:sp>
            <p:nvSpPr>
              <p:cNvPr id="144" name="Right Triangle 143">
                <a:extLst>
                  <a:ext uri="{FF2B5EF4-FFF2-40B4-BE49-F238E27FC236}">
                    <a16:creationId xmlns:a16="http://schemas.microsoft.com/office/drawing/2014/main" id="{66B99981-E21A-4943-FF18-5ADF2F69A6AE}"/>
                  </a:ext>
                </a:extLst>
              </p:cNvPr>
              <p:cNvSpPr/>
              <p:nvPr/>
            </p:nvSpPr>
            <p:spPr bwMode="gray">
              <a:xfrm>
                <a:off x="9724035" y="3359671"/>
                <a:ext cx="476250" cy="289172"/>
              </a:xfrm>
              <a:prstGeom prst="rtTriangle">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sp>
        <p:nvSpPr>
          <p:cNvPr id="145" name="TextBox 144">
            <a:extLst>
              <a:ext uri="{FF2B5EF4-FFF2-40B4-BE49-F238E27FC236}">
                <a16:creationId xmlns:a16="http://schemas.microsoft.com/office/drawing/2014/main" id="{7E261A1E-E271-AD85-880D-D2130D6F6B19}"/>
              </a:ext>
            </a:extLst>
          </p:cNvPr>
          <p:cNvSpPr txBox="1"/>
          <p:nvPr/>
        </p:nvSpPr>
        <p:spPr>
          <a:xfrm>
            <a:off x="5303197" y="4651214"/>
            <a:ext cx="1141326" cy="415498"/>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Representing the envisioned future state of processes</a:t>
            </a:r>
          </a:p>
        </p:txBody>
      </p:sp>
      <p:sp>
        <p:nvSpPr>
          <p:cNvPr id="146" name="TextBox 145">
            <a:extLst>
              <a:ext uri="{FF2B5EF4-FFF2-40B4-BE49-F238E27FC236}">
                <a16:creationId xmlns:a16="http://schemas.microsoft.com/office/drawing/2014/main" id="{51BE0F89-712E-AFA7-2DE0-66E01A5C0FD2}"/>
              </a:ext>
            </a:extLst>
          </p:cNvPr>
          <p:cNvSpPr txBox="1"/>
          <p:nvPr/>
        </p:nvSpPr>
        <p:spPr>
          <a:xfrm>
            <a:off x="6466640" y="4654030"/>
            <a:ext cx="1141326" cy="415498"/>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Structured framework to define and map out the key components</a:t>
            </a:r>
          </a:p>
        </p:txBody>
      </p:sp>
      <p:sp>
        <p:nvSpPr>
          <p:cNvPr id="147" name="TextBox 146">
            <a:extLst>
              <a:ext uri="{FF2B5EF4-FFF2-40B4-BE49-F238E27FC236}">
                <a16:creationId xmlns:a16="http://schemas.microsoft.com/office/drawing/2014/main" id="{81A20B8E-5DDF-E0D2-EF1A-0808BA6FC2BA}"/>
              </a:ext>
            </a:extLst>
          </p:cNvPr>
          <p:cNvSpPr txBox="1"/>
          <p:nvPr/>
        </p:nvSpPr>
        <p:spPr>
          <a:xfrm>
            <a:off x="7713529" y="4656757"/>
            <a:ext cx="1101820" cy="415498"/>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Defining the roles and responsibilities for individuals, teams</a:t>
            </a:r>
          </a:p>
        </p:txBody>
      </p:sp>
      <p:sp>
        <p:nvSpPr>
          <p:cNvPr id="148" name="TextBox 147">
            <a:extLst>
              <a:ext uri="{FF2B5EF4-FFF2-40B4-BE49-F238E27FC236}">
                <a16:creationId xmlns:a16="http://schemas.microsoft.com/office/drawing/2014/main" id="{03A7F4AC-BB79-CA6E-E95C-39EE98D9D0A2}"/>
              </a:ext>
            </a:extLst>
          </p:cNvPr>
          <p:cNvSpPr txBox="1"/>
          <p:nvPr/>
        </p:nvSpPr>
        <p:spPr>
          <a:xfrm>
            <a:off x="8884043" y="4672023"/>
            <a:ext cx="1159712" cy="415498"/>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Quantifiable metrics to evaluating the success and performance</a:t>
            </a:r>
          </a:p>
        </p:txBody>
      </p:sp>
      <p:sp>
        <p:nvSpPr>
          <p:cNvPr id="149" name="TextBox 148">
            <a:extLst>
              <a:ext uri="{FF2B5EF4-FFF2-40B4-BE49-F238E27FC236}">
                <a16:creationId xmlns:a16="http://schemas.microsoft.com/office/drawing/2014/main" id="{B91B4780-5130-C736-32EC-37ABDB8DB94B}"/>
              </a:ext>
            </a:extLst>
          </p:cNvPr>
          <p:cNvSpPr txBox="1"/>
          <p:nvPr/>
        </p:nvSpPr>
        <p:spPr>
          <a:xfrm>
            <a:off x="10141449" y="4660062"/>
            <a:ext cx="1141326" cy="415498"/>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Illustrate anticipated reduction in costs or resources</a:t>
            </a:r>
          </a:p>
        </p:txBody>
      </p:sp>
      <p:sp>
        <p:nvSpPr>
          <p:cNvPr id="150" name="TextBox 149">
            <a:extLst>
              <a:ext uri="{FF2B5EF4-FFF2-40B4-BE49-F238E27FC236}">
                <a16:creationId xmlns:a16="http://schemas.microsoft.com/office/drawing/2014/main" id="{635A491C-787E-0CC8-E047-C6AFC095813C}"/>
              </a:ext>
            </a:extLst>
          </p:cNvPr>
          <p:cNvSpPr txBox="1"/>
          <p:nvPr/>
        </p:nvSpPr>
        <p:spPr>
          <a:xfrm>
            <a:off x="1125333" y="6262387"/>
            <a:ext cx="5046867" cy="230832"/>
          </a:xfrm>
          <a:prstGeom prst="rect">
            <a:avLst/>
          </a:prstGeom>
          <a:noFill/>
        </p:spPr>
        <p:txBody>
          <a:bodyPr wrap="square">
            <a:spAutoFit/>
          </a:bodyPr>
          <a:lstStyle/>
          <a:p>
            <a:r>
              <a:rPr lang="en-US" sz="900" dirty="0"/>
              <a:t>*For the introduction of  Deloitte’s Industry Print best practice process repository please see </a:t>
            </a:r>
            <a:r>
              <a:rPr lang="en-US" sz="900" dirty="0">
                <a:highlight>
                  <a:srgbClr val="FFFF00"/>
                </a:highlight>
              </a:rPr>
              <a:t>p11</a:t>
            </a:r>
          </a:p>
        </p:txBody>
      </p:sp>
      <p:sp>
        <p:nvSpPr>
          <p:cNvPr id="151" name="Rectangle 150">
            <a:extLst>
              <a:ext uri="{FF2B5EF4-FFF2-40B4-BE49-F238E27FC236}">
                <a16:creationId xmlns:a16="http://schemas.microsoft.com/office/drawing/2014/main" id="{88B8CFE7-AF26-3C5D-E8A6-9CE6AD28776E}"/>
              </a:ext>
            </a:extLst>
          </p:cNvPr>
          <p:cNvSpPr/>
          <p:nvPr/>
        </p:nvSpPr>
        <p:spPr bwMode="gray">
          <a:xfrm>
            <a:off x="7962900" y="6262387"/>
            <a:ext cx="3581400" cy="417398"/>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US" sz="800" dirty="0">
                <a:latin typeface="Open Sans" panose="020B0606030504020204" pitchFamily="34" charset="0"/>
                <a:ea typeface="Open Sans" panose="020B0606030504020204" pitchFamily="34" charset="0"/>
                <a:cs typeface="Open Sans" panose="020B0606030504020204" pitchFamily="34" charset="0"/>
              </a:rPr>
              <a:t>SIPOC**: Suppliers, Inputs, Process, Outputs, Customers</a:t>
            </a:r>
          </a:p>
          <a:p>
            <a:pPr>
              <a:lnSpc>
                <a:spcPct val="106000"/>
              </a:lnSpc>
              <a:buFont typeface="Wingdings 2" pitchFamily="18" charset="2"/>
              <a:buNone/>
            </a:pPr>
            <a:r>
              <a:rPr lang="en-US" sz="800" dirty="0">
                <a:latin typeface="Open Sans" panose="020B0606030504020204" pitchFamily="34" charset="0"/>
                <a:ea typeface="Open Sans" panose="020B0606030504020204" pitchFamily="34" charset="0"/>
                <a:cs typeface="Open Sans" panose="020B0606030504020204" pitchFamily="34" charset="0"/>
              </a:rPr>
              <a:t>RACI***: Responsible, Accountable, Consulted, Informed </a:t>
            </a:r>
          </a:p>
        </p:txBody>
      </p:sp>
      <p:grpSp>
        <p:nvGrpSpPr>
          <p:cNvPr id="152" name="Group 151">
            <a:extLst>
              <a:ext uri="{FF2B5EF4-FFF2-40B4-BE49-F238E27FC236}">
                <a16:creationId xmlns:a16="http://schemas.microsoft.com/office/drawing/2014/main" id="{1737F547-89AC-639E-C7E5-C8B50856E2D0}"/>
              </a:ext>
            </a:extLst>
          </p:cNvPr>
          <p:cNvGrpSpPr/>
          <p:nvPr/>
        </p:nvGrpSpPr>
        <p:grpSpPr>
          <a:xfrm>
            <a:off x="1106402" y="3449754"/>
            <a:ext cx="3347694" cy="855329"/>
            <a:chOff x="1669890" y="3250178"/>
            <a:chExt cx="3347694" cy="722472"/>
          </a:xfrm>
        </p:grpSpPr>
        <p:sp>
          <p:nvSpPr>
            <p:cNvPr id="153" name="Rounded Rectangle 175">
              <a:extLst>
                <a:ext uri="{FF2B5EF4-FFF2-40B4-BE49-F238E27FC236}">
                  <a16:creationId xmlns:a16="http://schemas.microsoft.com/office/drawing/2014/main" id="{7E39A64F-133F-3318-1CE3-F61A549C0A37}"/>
                </a:ext>
              </a:extLst>
            </p:cNvPr>
            <p:cNvSpPr/>
            <p:nvPr/>
          </p:nvSpPr>
          <p:spPr bwMode="gray">
            <a:xfrm>
              <a:off x="1669890" y="3250909"/>
              <a:ext cx="3347694" cy="721741"/>
            </a:xfrm>
            <a:prstGeom prst="roundRect">
              <a:avLst>
                <a:gd name="adj" fmla="val 6162"/>
              </a:avLst>
            </a:prstGeom>
            <a:solidFill>
              <a:srgbClr val="F7F7F7"/>
            </a:solidFill>
            <a:ln w="19050" algn="ctr">
              <a:noFill/>
              <a:miter lim="800000"/>
              <a:headEnd/>
              <a:tailEnd/>
            </a:ln>
          </p:spPr>
          <p:txBody>
            <a:bodyPr wrap="square" lIns="182880" tIns="88900" rIns="88900" bIns="88900" rtlCol="0" anchor="t"/>
            <a:lstStyle/>
            <a:p>
              <a:pPr>
                <a:lnSpc>
                  <a:spcPct val="106000"/>
                </a:lnSpc>
                <a:buFont typeface="Wingdings 2" pitchFamily="18" charset="2"/>
                <a:buNone/>
              </a:pPr>
              <a:r>
                <a:rPr lang="en-US" sz="1100" b="1" dirty="0"/>
                <a:t>Business Case Development</a:t>
              </a:r>
            </a:p>
            <a:p>
              <a:pPr marL="268288" indent="-171450">
                <a:lnSpc>
                  <a:spcPct val="106000"/>
                </a:lnSpc>
                <a:buFont typeface="Arial" panose="020B0604020202020204" pitchFamily="34" charset="0"/>
                <a:buChar char="•"/>
              </a:pPr>
              <a:r>
                <a:rPr lang="en-US" sz="1000" dirty="0"/>
                <a:t>Determining savings and business benefits; Assess cost elements and calculate expected return on investment</a:t>
              </a:r>
            </a:p>
          </p:txBody>
        </p:sp>
        <p:sp>
          <p:nvSpPr>
            <p:cNvPr id="154" name="Round Same Side Corner Rectangle 176">
              <a:extLst>
                <a:ext uri="{FF2B5EF4-FFF2-40B4-BE49-F238E27FC236}">
                  <a16:creationId xmlns:a16="http://schemas.microsoft.com/office/drawing/2014/main" id="{F78F1E82-1735-35B0-54FC-6DAC5E44765F}"/>
                </a:ext>
              </a:extLst>
            </p:cNvPr>
            <p:cNvSpPr/>
            <p:nvPr/>
          </p:nvSpPr>
          <p:spPr bwMode="gray">
            <a:xfrm rot="16200000">
              <a:off x="1365615" y="3554454"/>
              <a:ext cx="721741" cy="113189"/>
            </a:xfrm>
            <a:prstGeom prst="round2SameRect">
              <a:avLst>
                <a:gd name="adj1" fmla="val 50000"/>
                <a:gd name="adj2" fmla="val 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55" name="Oval 154">
            <a:extLst>
              <a:ext uri="{FF2B5EF4-FFF2-40B4-BE49-F238E27FC236}">
                <a16:creationId xmlns:a16="http://schemas.microsoft.com/office/drawing/2014/main" id="{A5B3A3A4-3859-45AD-9875-8CA35546E413}"/>
              </a:ext>
            </a:extLst>
          </p:cNvPr>
          <p:cNvSpPr>
            <a:spLocks noChangeAspect="1"/>
          </p:cNvSpPr>
          <p:nvPr/>
        </p:nvSpPr>
        <p:spPr bwMode="gray">
          <a:xfrm>
            <a:off x="636370" y="4660062"/>
            <a:ext cx="360000" cy="360000"/>
          </a:xfrm>
          <a:prstGeom prst="ellipse">
            <a:avLst/>
          </a:prstGeom>
          <a:solidFill>
            <a:schemeClr val="bg1"/>
          </a:solidFill>
          <a:ln w="28575" algn="ctr">
            <a:solidFill>
              <a:schemeClr val="accent1"/>
            </a:solidFill>
            <a:miter lim="800000"/>
            <a:headEnd/>
            <a:tailEnd/>
          </a:ln>
        </p:spPr>
        <p:txBody>
          <a:bodyPr wrap="square" lIns="0" tIns="88900" rIns="0" bIns="88900" rtlCol="0" anchor="ctr"/>
          <a:lstStyle/>
          <a:p>
            <a:pPr algn="ctr">
              <a:lnSpc>
                <a:spcPct val="106000"/>
              </a:lnSpc>
              <a:buFont typeface="Wingdings 2" pitchFamily="18" charset="2"/>
              <a:buNone/>
            </a:pPr>
            <a:r>
              <a:rPr lang="en-US" sz="1400" b="1" dirty="0"/>
              <a:t>3</a:t>
            </a:r>
          </a:p>
        </p:txBody>
      </p:sp>
      <p:sp>
        <p:nvSpPr>
          <p:cNvPr id="156" name="Oval 155">
            <a:extLst>
              <a:ext uri="{FF2B5EF4-FFF2-40B4-BE49-F238E27FC236}">
                <a16:creationId xmlns:a16="http://schemas.microsoft.com/office/drawing/2014/main" id="{3B2E5FE1-4CEB-FD81-634C-6BE873970981}"/>
              </a:ext>
            </a:extLst>
          </p:cNvPr>
          <p:cNvSpPr>
            <a:spLocks noChangeAspect="1"/>
          </p:cNvSpPr>
          <p:nvPr/>
        </p:nvSpPr>
        <p:spPr bwMode="gray">
          <a:xfrm>
            <a:off x="644565" y="2822405"/>
            <a:ext cx="360000" cy="360000"/>
          </a:xfrm>
          <a:prstGeom prst="ellipse">
            <a:avLst/>
          </a:prstGeom>
          <a:solidFill>
            <a:srgbClr val="F7F7F7"/>
          </a:solidFill>
          <a:ln w="28575" algn="ctr">
            <a:solidFill>
              <a:schemeClr val="accent1"/>
            </a:solidFill>
            <a:miter lim="800000"/>
            <a:headEnd/>
            <a:tailEnd/>
          </a:ln>
        </p:spPr>
        <p:txBody>
          <a:bodyPr wrap="square" lIns="0" tIns="88900" rIns="0" bIns="88900" rtlCol="0" anchor="ctr"/>
          <a:lstStyle/>
          <a:p>
            <a:pPr algn="ctr">
              <a:lnSpc>
                <a:spcPct val="106000"/>
              </a:lnSpc>
              <a:buFont typeface="Wingdings 2" pitchFamily="18" charset="2"/>
              <a:buNone/>
            </a:pPr>
            <a:r>
              <a:rPr lang="en-US" sz="1400" b="1" dirty="0"/>
              <a:t>1</a:t>
            </a:r>
          </a:p>
        </p:txBody>
      </p:sp>
    </p:spTree>
    <p:extLst>
      <p:ext uri="{BB962C8B-B14F-4D97-AF65-F5344CB8AC3E}">
        <p14:creationId xmlns:p14="http://schemas.microsoft.com/office/powerpoint/2010/main" val="337251500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think-cell data - do not delete" hidden="1">
            <a:extLst>
              <a:ext uri="{FF2B5EF4-FFF2-40B4-BE49-F238E27FC236}">
                <a16:creationId xmlns:a16="http://schemas.microsoft.com/office/drawing/2014/main" id="{ABB9ED3A-5002-C901-BDD5-37B5BC33F2B7}"/>
              </a:ext>
            </a:extLst>
          </p:cNvPr>
          <p:cNvGraphicFramePr>
            <a:graphicFrameLocks noChangeAspect="1"/>
          </p:cNvGraphicFramePr>
          <p:nvPr>
            <p:custDataLst>
              <p:tags r:id="rId1"/>
            </p:custDataLst>
            <p:extLst>
              <p:ext uri="{D42A27DB-BD31-4B8C-83A1-F6EECF244321}">
                <p14:modId xmlns:p14="http://schemas.microsoft.com/office/powerpoint/2010/main" val="4004065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4" name="think-cell data - do not delete" hidden="1">
                        <a:extLst>
                          <a:ext uri="{FF2B5EF4-FFF2-40B4-BE49-F238E27FC236}">
                            <a16:creationId xmlns:a16="http://schemas.microsoft.com/office/drawing/2014/main" id="{ABB9ED3A-5002-C901-BDD5-37B5BC33F2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93365EC-81FB-4707-7469-5737409BD487}"/>
              </a:ext>
            </a:extLst>
          </p:cNvPr>
          <p:cNvSpPr>
            <a:spLocks noGrp="1"/>
          </p:cNvSpPr>
          <p:nvPr>
            <p:ph type="body" sz="quarter" idx="22"/>
          </p:nvPr>
        </p:nvSpPr>
        <p:spPr/>
        <p:txBody>
          <a:bodyPr/>
          <a:lstStyle/>
          <a:p>
            <a:r>
              <a:rPr lang="en-US" dirty="0"/>
              <a:t>For the process analysis, Deloitte Industry Print’s (international knowledge base) models are used as benchmarks</a:t>
            </a:r>
          </a:p>
        </p:txBody>
      </p:sp>
      <p:sp>
        <p:nvSpPr>
          <p:cNvPr id="3" name="Title 2">
            <a:extLst>
              <a:ext uri="{FF2B5EF4-FFF2-40B4-BE49-F238E27FC236}">
                <a16:creationId xmlns:a16="http://schemas.microsoft.com/office/drawing/2014/main" id="{C9FBAD82-77BE-6841-F09A-8D59D0B9927C}"/>
              </a:ext>
            </a:extLst>
          </p:cNvPr>
          <p:cNvSpPr>
            <a:spLocks noGrp="1"/>
          </p:cNvSpPr>
          <p:nvPr>
            <p:ph type="title"/>
          </p:nvPr>
        </p:nvSpPr>
        <p:spPr/>
        <p:txBody>
          <a:bodyPr vert="horz"/>
          <a:lstStyle/>
          <a:p>
            <a:r>
              <a:rPr lang="en-US"/>
              <a:t>Deloitte Industry Print industry best practice </a:t>
            </a:r>
            <a:endParaRPr lang="en-US" dirty="0"/>
          </a:p>
        </p:txBody>
      </p:sp>
      <p:sp>
        <p:nvSpPr>
          <p:cNvPr id="23" name="Text Placeholder 1">
            <a:extLst>
              <a:ext uri="{FF2B5EF4-FFF2-40B4-BE49-F238E27FC236}">
                <a16:creationId xmlns:a16="http://schemas.microsoft.com/office/drawing/2014/main" id="{70197C98-1EA9-FF6A-CC6F-23EF7FA3A619}"/>
              </a:ext>
            </a:extLst>
          </p:cNvPr>
          <p:cNvSpPr txBox="1">
            <a:spLocks/>
          </p:cNvSpPr>
          <p:nvPr/>
        </p:nvSpPr>
        <p:spPr bwMode="auto">
          <a:xfrm>
            <a:off x="897418" y="4891204"/>
            <a:ext cx="3657600" cy="1132037"/>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11430">
              <a:defRPr sz="1000">
                <a:cs typeface="Open Sans"/>
              </a:defRPr>
            </a:lvl1pPr>
            <a:lvl2pPr marL="182880" lvl="1" indent="-171450">
              <a:lnSpc>
                <a:spcPct val="150000"/>
              </a:lnSpc>
              <a:buFont typeface="Arial" panose="020B0604020202020204" pitchFamily="34" charset="0"/>
              <a:buChar char="•"/>
              <a:defRPr sz="1000">
                <a:solidFill>
                  <a:schemeClr val="tx1"/>
                </a:solidFill>
                <a:cs typeface="Open Sans"/>
              </a:defRPr>
            </a:lvl2pPr>
          </a:lstStyle>
          <a:p>
            <a:pPr marL="11430" lvl="1" indent="0">
              <a:lnSpc>
                <a:spcPct val="100000"/>
              </a:lnSpc>
              <a:buNone/>
            </a:pPr>
            <a:r>
              <a:rPr lang="en-US" dirty="0"/>
              <a:t>Drawing on Deloitte's </a:t>
            </a:r>
            <a:r>
              <a:rPr lang="en-US" b="1" dirty="0"/>
              <a:t>significant experience </a:t>
            </a:r>
            <a:r>
              <a:rPr lang="en-US" dirty="0"/>
              <a:t>and</a:t>
            </a:r>
            <a:r>
              <a:rPr lang="en-US" b="1" dirty="0"/>
              <a:t> international knowledge base</a:t>
            </a:r>
            <a:r>
              <a:rPr lang="en-US" dirty="0"/>
              <a:t>, it helps identifying customer service sub-processes. Out of these, processes that cover 80% of the workforce capacity and/or critical (priority processes) are precisely analyzed and development needs are identified.</a:t>
            </a:r>
          </a:p>
        </p:txBody>
      </p:sp>
      <p:pic>
        <p:nvPicPr>
          <p:cNvPr id="68" name="Picture 67">
            <a:extLst>
              <a:ext uri="{FF2B5EF4-FFF2-40B4-BE49-F238E27FC236}">
                <a16:creationId xmlns:a16="http://schemas.microsoft.com/office/drawing/2014/main" id="{2A0EB04E-5CEA-89DF-1B1A-34D07587C480}"/>
              </a:ext>
            </a:extLst>
          </p:cNvPr>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60774" y="2207940"/>
            <a:ext cx="2038647" cy="1756063"/>
          </a:xfrm>
          <a:prstGeom prst="rect">
            <a:avLst/>
          </a:prstGeom>
          <a:ln>
            <a:solidFill>
              <a:schemeClr val="accent3"/>
            </a:solidFill>
          </a:ln>
        </p:spPr>
      </p:pic>
      <p:pic>
        <p:nvPicPr>
          <p:cNvPr id="69" name="Picture 68">
            <a:extLst>
              <a:ext uri="{FF2B5EF4-FFF2-40B4-BE49-F238E27FC236}">
                <a16:creationId xmlns:a16="http://schemas.microsoft.com/office/drawing/2014/main" id="{2E7F88FB-3B79-CFA9-A5ED-F19D43CFD6A1}"/>
              </a:ext>
            </a:extLst>
          </p:cNvPr>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778043" y="2741940"/>
            <a:ext cx="1422621" cy="1416359"/>
          </a:xfrm>
          <a:prstGeom prst="rect">
            <a:avLst/>
          </a:prstGeom>
          <a:ln>
            <a:solidFill>
              <a:schemeClr val="accent3"/>
            </a:solidFill>
          </a:ln>
        </p:spPr>
      </p:pic>
      <p:pic>
        <p:nvPicPr>
          <p:cNvPr id="74" name="Picture 73">
            <a:extLst>
              <a:ext uri="{FF2B5EF4-FFF2-40B4-BE49-F238E27FC236}">
                <a16:creationId xmlns:a16="http://schemas.microsoft.com/office/drawing/2014/main" id="{E8C01CE9-71FC-2500-446D-C8F0A7DAF861}"/>
              </a:ext>
            </a:extLst>
          </p:cNvPr>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491486" y="3121802"/>
            <a:ext cx="1434384" cy="1241255"/>
          </a:xfrm>
          <a:prstGeom prst="rect">
            <a:avLst/>
          </a:prstGeom>
          <a:ln>
            <a:solidFill>
              <a:schemeClr val="accent3"/>
            </a:solidFill>
          </a:ln>
        </p:spPr>
      </p:pic>
      <p:sp>
        <p:nvSpPr>
          <p:cNvPr id="75" name="Text Placeholder 1">
            <a:extLst>
              <a:ext uri="{FF2B5EF4-FFF2-40B4-BE49-F238E27FC236}">
                <a16:creationId xmlns:a16="http://schemas.microsoft.com/office/drawing/2014/main" id="{5BD7CA36-D31F-4610-F92E-B59B57B2190F}"/>
              </a:ext>
            </a:extLst>
          </p:cNvPr>
          <p:cNvSpPr txBox="1">
            <a:spLocks/>
          </p:cNvSpPr>
          <p:nvPr/>
        </p:nvSpPr>
        <p:spPr bwMode="auto">
          <a:xfrm>
            <a:off x="934846" y="4463699"/>
            <a:ext cx="3587372" cy="2792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defTabSz="957263" rtl="0" eaLnBrk="1" fontAlgn="base" hangingPunct="1">
              <a:lnSpc>
                <a:spcPts val="1500"/>
              </a:lnSpc>
              <a:spcBef>
                <a:spcPts val="0"/>
              </a:spcBef>
              <a:spcAft>
                <a:spcPts val="700"/>
              </a:spcAft>
              <a:tabLst/>
              <a:defRPr sz="1100" b="1">
                <a:solidFill>
                  <a:schemeClr val="accent3"/>
                </a:solidFill>
                <a:latin typeface="Arial" pitchFamily="34" charset="0"/>
                <a:ea typeface="+mn-ea"/>
                <a:cs typeface="Arial" pitchFamily="34" charset="0"/>
              </a:defRPr>
            </a:lvl1pPr>
            <a:lvl2pPr marL="0" indent="0" algn="l" defTabSz="957263" rtl="0" eaLnBrk="1" fontAlgn="base" hangingPunct="1">
              <a:lnSpc>
                <a:spcPts val="1500"/>
              </a:lnSpc>
              <a:spcBef>
                <a:spcPts val="0"/>
              </a:spcBef>
              <a:spcAft>
                <a:spcPts val="0"/>
              </a:spcAft>
              <a:tabLst/>
              <a:defRPr sz="1100" b="1">
                <a:solidFill>
                  <a:schemeClr val="accent2"/>
                </a:solidFill>
                <a:latin typeface="Arial" pitchFamily="34" charset="0"/>
                <a:cs typeface="Arial" pitchFamily="34" charset="0"/>
              </a:defRPr>
            </a:lvl2pPr>
            <a:lvl3pPr marL="0" indent="1588" algn="l" defTabSz="957263" rtl="0" eaLnBrk="1" fontAlgn="base" hangingPunct="1">
              <a:lnSpc>
                <a:spcPts val="1500"/>
              </a:lnSpc>
              <a:spcBef>
                <a:spcPts val="0"/>
              </a:spcBef>
              <a:spcAft>
                <a:spcPts val="500"/>
              </a:spcAft>
              <a:buNone/>
              <a:tabLst/>
              <a:defRPr sz="1100" b="0">
                <a:solidFill>
                  <a:schemeClr val="tx1"/>
                </a:solidFill>
                <a:latin typeface="Arial" pitchFamily="34" charset="0"/>
                <a:cs typeface="Arial" pitchFamily="34" charset="0"/>
              </a:defRPr>
            </a:lvl3pPr>
            <a:lvl4pPr marL="180000" indent="-180000" algn="l" defTabSz="957263" rtl="0" eaLnBrk="1" fontAlgn="base" hangingPunct="1">
              <a:lnSpc>
                <a:spcPts val="1500"/>
              </a:lnSpc>
              <a:spcBef>
                <a:spcPts val="0"/>
              </a:spcBef>
              <a:spcAft>
                <a:spcPts val="500"/>
              </a:spcAft>
              <a:buFont typeface="Arial"/>
              <a:buChar char="•"/>
              <a:tabLst/>
              <a:defRPr sz="1100" b="0" i="0">
                <a:solidFill>
                  <a:schemeClr val="tx1"/>
                </a:solidFill>
                <a:latin typeface="Arial" pitchFamily="34" charset="0"/>
                <a:cs typeface="Arial" pitchFamily="34" charset="0"/>
              </a:defRPr>
            </a:lvl4pPr>
            <a:lvl5pPr marL="358775" indent="-180000" algn="l" defTabSz="957263" rtl="0" eaLnBrk="1" fontAlgn="base" hangingPunct="1">
              <a:lnSpc>
                <a:spcPts val="1500"/>
              </a:lnSpc>
              <a:spcBef>
                <a:spcPts val="0"/>
              </a:spcBef>
              <a:spcAft>
                <a:spcPts val="500"/>
              </a:spcAft>
              <a:buFont typeface="Arial" pitchFamily="34" charset="0"/>
              <a:buChar char="‒"/>
              <a:tabLst/>
              <a:defRPr sz="1100" b="0" baseline="0">
                <a:solidFill>
                  <a:schemeClr val="tx1"/>
                </a:solidFill>
                <a:latin typeface="Arial" pitchFamily="34" charset="0"/>
                <a:cs typeface="Arial" pitchFamily="34" charset="0"/>
              </a:defRPr>
            </a:lvl5pPr>
            <a:lvl6pPr marL="540000" indent="-180000" algn="l" defTabSz="957776" rtl="0" eaLnBrk="1" fontAlgn="base" hangingPunct="1">
              <a:lnSpc>
                <a:spcPts val="1500"/>
              </a:lnSpc>
              <a:spcBef>
                <a:spcPct val="0"/>
              </a:spcBef>
              <a:spcAft>
                <a:spcPts val="500"/>
              </a:spcAft>
              <a:buFont typeface="Lucida Grande"/>
              <a:buChar char="‒"/>
              <a:tabLst>
                <a:tab pos="5987190" algn="l"/>
              </a:tabLst>
              <a:defRPr sz="1100">
                <a:solidFill>
                  <a:schemeClr val="tx1"/>
                </a:solidFill>
                <a:latin typeface="Arial" charset="0"/>
              </a:defRPr>
            </a:lvl6pPr>
            <a:lvl7pPr marL="2096318" indent="-195345" algn="l" defTabSz="957776" rtl="0" eaLnBrk="1" fontAlgn="base" hangingPunct="1">
              <a:spcBef>
                <a:spcPct val="0"/>
              </a:spcBef>
              <a:spcAft>
                <a:spcPct val="0"/>
              </a:spcAft>
              <a:tabLst>
                <a:tab pos="5987190" algn="l"/>
              </a:tabLst>
              <a:defRPr sz="1300">
                <a:solidFill>
                  <a:schemeClr val="tx1"/>
                </a:solidFill>
                <a:latin typeface="Arial" charset="0"/>
              </a:defRPr>
            </a:lvl7pPr>
            <a:lvl8pPr marL="2516165" indent="-195345" algn="l" defTabSz="957776" rtl="0" eaLnBrk="1" fontAlgn="base" hangingPunct="1">
              <a:spcBef>
                <a:spcPct val="0"/>
              </a:spcBef>
              <a:spcAft>
                <a:spcPct val="0"/>
              </a:spcAft>
              <a:tabLst>
                <a:tab pos="5987190" algn="l"/>
              </a:tabLst>
              <a:defRPr sz="1300">
                <a:solidFill>
                  <a:schemeClr val="tx1"/>
                </a:solidFill>
                <a:latin typeface="Arial" charset="0"/>
              </a:defRPr>
            </a:lvl8pPr>
            <a:lvl9pPr marL="2936012" indent="-195345" algn="l" defTabSz="957776" rtl="0" eaLnBrk="1" fontAlgn="base" hangingPunct="1">
              <a:spcBef>
                <a:spcPct val="0"/>
              </a:spcBef>
              <a:spcAft>
                <a:spcPct val="0"/>
              </a:spcAft>
              <a:tabLst>
                <a:tab pos="5987190" algn="l"/>
              </a:tabLst>
              <a:defRPr sz="1300">
                <a:solidFill>
                  <a:schemeClr val="tx1"/>
                </a:solidFill>
                <a:latin typeface="Arial" charset="0"/>
              </a:defRPr>
            </a:lvl9pPr>
          </a:lstStyle>
          <a:p>
            <a:pPr lvl="1">
              <a:defRPr/>
            </a:pPr>
            <a:r>
              <a:rPr lang="en-US" sz="1000" b="0" dirty="0">
                <a:solidFill>
                  <a:prstClr val="black"/>
                </a:solidFill>
                <a:latin typeface="+mn-lt"/>
                <a:cs typeface="Open Sans" panose="020B0606030504020204" pitchFamily="34" charset="0"/>
              </a:rPr>
              <a:t>Example of customer service processes based on Deloitte Industry Print ™ for utilities</a:t>
            </a:r>
            <a:endParaRPr kumimoji="0" lang="en-US" sz="1000" b="0" u="none" strike="noStrike" kern="1200" cap="none" spc="0" normalizeH="0" baseline="0" dirty="0">
              <a:ln>
                <a:noFill/>
              </a:ln>
              <a:solidFill>
                <a:prstClr val="black"/>
              </a:solidFill>
              <a:effectLst/>
              <a:uLnTx/>
              <a:uFillTx/>
              <a:latin typeface="+mn-lt"/>
              <a:ea typeface="+mn-ea"/>
              <a:cs typeface="Open Sans" panose="020B0606030504020204" pitchFamily="34" charset="0"/>
            </a:endParaRPr>
          </a:p>
        </p:txBody>
      </p:sp>
      <p:sp>
        <p:nvSpPr>
          <p:cNvPr id="76" name="Text Placeholder 1">
            <a:extLst>
              <a:ext uri="{FF2B5EF4-FFF2-40B4-BE49-F238E27FC236}">
                <a16:creationId xmlns:a16="http://schemas.microsoft.com/office/drawing/2014/main" id="{F0CC555C-D96E-B63F-9A71-A0186FACE37D}"/>
              </a:ext>
            </a:extLst>
          </p:cNvPr>
          <p:cNvSpPr txBox="1">
            <a:spLocks/>
          </p:cNvSpPr>
          <p:nvPr/>
        </p:nvSpPr>
        <p:spPr bwMode="auto">
          <a:xfrm>
            <a:off x="4909661" y="2193654"/>
            <a:ext cx="2926079" cy="3829588"/>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11430">
              <a:defRPr sz="1000">
                <a:cs typeface="Open San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82880" lvl="1" indent="-171450">
              <a:spcBef>
                <a:spcPts val="600"/>
              </a:spcBef>
              <a:buFont typeface="Arial" panose="020B0604020202020204" pitchFamily="34" charset="0"/>
              <a:buChar char="•"/>
            </a:pPr>
            <a:r>
              <a:rPr lang="en-US" sz="1000" dirty="0">
                <a:solidFill>
                  <a:schemeClr val="tx1"/>
                </a:solidFill>
                <a:cs typeface="Open Sans"/>
              </a:rPr>
              <a:t>The Industry Print repository includes detailed process maps based on “</a:t>
            </a:r>
            <a:r>
              <a:rPr lang="en-US" sz="1000" b="1" dirty="0">
                <a:solidFill>
                  <a:schemeClr val="tx1"/>
                </a:solidFill>
                <a:cs typeface="Open Sans"/>
              </a:rPr>
              <a:t>best practices</a:t>
            </a:r>
            <a:r>
              <a:rPr lang="en-US" sz="1000" dirty="0">
                <a:solidFill>
                  <a:schemeClr val="tx1"/>
                </a:solidFill>
                <a:cs typeface="Open Sans"/>
              </a:rPr>
              <a:t>” used in several industries, including a special process catalog for utility companies</a:t>
            </a:r>
          </a:p>
          <a:p>
            <a:pPr marL="182880" lvl="1" indent="-171450">
              <a:spcBef>
                <a:spcPts val="600"/>
              </a:spcBef>
              <a:buFont typeface="Arial" panose="020B0604020202020204" pitchFamily="34" charset="0"/>
              <a:buChar char="•"/>
            </a:pPr>
            <a:r>
              <a:rPr lang="en-US" sz="1000" dirty="0">
                <a:solidFill>
                  <a:schemeClr val="tx1"/>
                </a:solidFill>
                <a:cs typeface="Open Sans"/>
              </a:rPr>
              <a:t>The tool was created and developed by Deloitte </a:t>
            </a:r>
            <a:r>
              <a:rPr lang="en-US" sz="1000" b="1" dirty="0">
                <a:solidFill>
                  <a:schemeClr val="tx1"/>
                </a:solidFill>
                <a:cs typeface="Open Sans"/>
              </a:rPr>
              <a:t>leveraging the experience gained during hundreds of projects</a:t>
            </a:r>
          </a:p>
          <a:p>
            <a:pPr marL="182880" lvl="1" indent="-171450">
              <a:spcBef>
                <a:spcPts val="600"/>
              </a:spcBef>
              <a:buFont typeface="Arial" panose="020B0604020202020204" pitchFamily="34" charset="0"/>
              <a:buChar char="•"/>
            </a:pPr>
            <a:r>
              <a:rPr lang="en-US" sz="1000" dirty="0">
                <a:solidFill>
                  <a:schemeClr val="tx1"/>
                </a:solidFill>
                <a:cs typeface="Open Sans"/>
              </a:rPr>
              <a:t>Processes have been mapped to enterprise software packages to support </a:t>
            </a:r>
            <a:r>
              <a:rPr lang="en-US" sz="1000" b="1" dirty="0">
                <a:solidFill>
                  <a:schemeClr val="tx1"/>
                </a:solidFill>
                <a:cs typeface="Open Sans"/>
              </a:rPr>
              <a:t>technology-driven business transformation</a:t>
            </a:r>
          </a:p>
          <a:p>
            <a:pPr marL="182880" lvl="1" indent="-171450">
              <a:spcBef>
                <a:spcPts val="600"/>
              </a:spcBef>
              <a:buFont typeface="Arial" panose="020B0604020202020204" pitchFamily="34" charset="0"/>
              <a:buChar char="•"/>
            </a:pPr>
            <a:r>
              <a:rPr lang="en-US" sz="1000" dirty="0">
                <a:solidFill>
                  <a:schemeClr val="tx1"/>
                </a:solidFill>
                <a:cs typeface="Open Sans"/>
              </a:rPr>
              <a:t>The processes stored in the tool are presented at </a:t>
            </a:r>
            <a:r>
              <a:rPr lang="en-US" sz="1000" b="1" dirty="0">
                <a:solidFill>
                  <a:schemeClr val="tx1"/>
                </a:solidFill>
                <a:cs typeface="Open Sans"/>
              </a:rPr>
              <a:t>minimum 3 levels</a:t>
            </a:r>
          </a:p>
          <a:p>
            <a:pPr marL="182880" lvl="1" indent="-171450">
              <a:spcBef>
                <a:spcPts val="600"/>
              </a:spcBef>
              <a:buFont typeface="Arial" panose="020B0604020202020204" pitchFamily="34" charset="0"/>
              <a:buChar char="•"/>
            </a:pPr>
            <a:r>
              <a:rPr lang="en-US" sz="1000" dirty="0">
                <a:solidFill>
                  <a:schemeClr val="tx1"/>
                </a:solidFill>
                <a:cs typeface="Open Sans"/>
              </a:rPr>
              <a:t>All stored processes are visualized in </a:t>
            </a:r>
            <a:r>
              <a:rPr lang="en-US" sz="1000" b="1" dirty="0">
                <a:solidFill>
                  <a:schemeClr val="tx1"/>
                </a:solidFill>
                <a:cs typeface="Open Sans"/>
              </a:rPr>
              <a:t>BPMN format </a:t>
            </a:r>
            <a:r>
              <a:rPr lang="en-US" sz="1000" dirty="0">
                <a:solidFill>
                  <a:schemeClr val="tx1"/>
                </a:solidFill>
                <a:cs typeface="Open Sans"/>
              </a:rPr>
              <a:t>and available in </a:t>
            </a:r>
            <a:r>
              <a:rPr lang="en-US" sz="1000" b="1" dirty="0">
                <a:solidFill>
                  <a:schemeClr val="tx1"/>
                </a:solidFill>
                <a:cs typeface="Open Sans"/>
              </a:rPr>
              <a:t>Aris</a:t>
            </a:r>
          </a:p>
        </p:txBody>
      </p:sp>
      <p:sp>
        <p:nvSpPr>
          <p:cNvPr id="77" name="Rectangle 76">
            <a:extLst>
              <a:ext uri="{FF2B5EF4-FFF2-40B4-BE49-F238E27FC236}">
                <a16:creationId xmlns:a16="http://schemas.microsoft.com/office/drawing/2014/main" id="{DDA9478F-B3F8-C856-2E39-805F246013B7}"/>
              </a:ext>
            </a:extLst>
          </p:cNvPr>
          <p:cNvSpPr/>
          <p:nvPr/>
        </p:nvSpPr>
        <p:spPr>
          <a:xfrm>
            <a:off x="915042" y="1596382"/>
            <a:ext cx="3352157" cy="430887"/>
          </a:xfrm>
          <a:prstGeom prst="rect">
            <a:avLst/>
          </a:prstGeom>
        </p:spPr>
        <p:txBody>
          <a:bodyPr wrap="square" lIns="0" tIns="0" rIns="0" bIns="0" anchor="t" anchorCtr="0">
            <a:noAutofit/>
          </a:bodyPr>
          <a:lstStyle/>
          <a:p>
            <a:r>
              <a:rPr lang="en-US" sz="1200" b="1" dirty="0"/>
              <a:t>Industry Print’s applicability to the project</a:t>
            </a:r>
          </a:p>
        </p:txBody>
      </p:sp>
      <p:cxnSp>
        <p:nvCxnSpPr>
          <p:cNvPr id="78" name="Straight Connector 77">
            <a:extLst>
              <a:ext uri="{FF2B5EF4-FFF2-40B4-BE49-F238E27FC236}">
                <a16:creationId xmlns:a16="http://schemas.microsoft.com/office/drawing/2014/main" id="{95FCFD6B-5FB7-1697-D898-CC63488B9AE7}"/>
              </a:ext>
            </a:extLst>
          </p:cNvPr>
          <p:cNvCxnSpPr/>
          <p:nvPr/>
        </p:nvCxnSpPr>
        <p:spPr>
          <a:xfrm>
            <a:off x="897417" y="2047712"/>
            <a:ext cx="128016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545FFBA1-58D6-14AB-AD9F-BABA478D253D}"/>
              </a:ext>
            </a:extLst>
          </p:cNvPr>
          <p:cNvSpPr/>
          <p:nvPr/>
        </p:nvSpPr>
        <p:spPr>
          <a:xfrm>
            <a:off x="4927286" y="1596382"/>
            <a:ext cx="3148868" cy="430887"/>
          </a:xfrm>
          <a:prstGeom prst="rect">
            <a:avLst/>
          </a:prstGeom>
        </p:spPr>
        <p:txBody>
          <a:bodyPr wrap="square" lIns="0" tIns="0" rIns="0" bIns="0" anchor="t" anchorCtr="0">
            <a:noAutofit/>
          </a:bodyPr>
          <a:lstStyle/>
          <a:p>
            <a:r>
              <a:rPr lang="en-US" sz="1200" b="1" dirty="0"/>
              <a:t>Industry Print’s key features</a:t>
            </a:r>
          </a:p>
        </p:txBody>
      </p:sp>
      <p:cxnSp>
        <p:nvCxnSpPr>
          <p:cNvPr id="80" name="Straight Connector 79">
            <a:extLst>
              <a:ext uri="{FF2B5EF4-FFF2-40B4-BE49-F238E27FC236}">
                <a16:creationId xmlns:a16="http://schemas.microsoft.com/office/drawing/2014/main" id="{9084C8AB-2126-856E-B0A4-95659A0D9C55}"/>
              </a:ext>
            </a:extLst>
          </p:cNvPr>
          <p:cNvCxnSpPr/>
          <p:nvPr/>
        </p:nvCxnSpPr>
        <p:spPr>
          <a:xfrm>
            <a:off x="4909660" y="2047712"/>
            <a:ext cx="128016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A2CD09D7-0260-825C-3AAB-2DA0856DE64B}"/>
              </a:ext>
            </a:extLst>
          </p:cNvPr>
          <p:cNvSpPr/>
          <p:nvPr/>
        </p:nvSpPr>
        <p:spPr>
          <a:xfrm>
            <a:off x="8377717" y="1596382"/>
            <a:ext cx="3148868" cy="430887"/>
          </a:xfrm>
          <a:prstGeom prst="rect">
            <a:avLst/>
          </a:prstGeom>
        </p:spPr>
        <p:txBody>
          <a:bodyPr wrap="square" lIns="0" tIns="0" rIns="0" bIns="0" anchor="t" anchorCtr="0">
            <a:noAutofit/>
          </a:bodyPr>
          <a:lstStyle/>
          <a:p>
            <a:r>
              <a:rPr lang="en-US" sz="1200" b="1" dirty="0"/>
              <a:t>Industry Print’s benefits</a:t>
            </a:r>
          </a:p>
        </p:txBody>
      </p:sp>
      <p:cxnSp>
        <p:nvCxnSpPr>
          <p:cNvPr id="82" name="Straight Connector 81">
            <a:extLst>
              <a:ext uri="{FF2B5EF4-FFF2-40B4-BE49-F238E27FC236}">
                <a16:creationId xmlns:a16="http://schemas.microsoft.com/office/drawing/2014/main" id="{448A9C91-FDF7-C2CC-7BEB-2455908F3DB3}"/>
              </a:ext>
            </a:extLst>
          </p:cNvPr>
          <p:cNvCxnSpPr/>
          <p:nvPr/>
        </p:nvCxnSpPr>
        <p:spPr>
          <a:xfrm>
            <a:off x="8360091" y="2047712"/>
            <a:ext cx="128016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3" name="Isosceles Triangle 82">
            <a:extLst>
              <a:ext uri="{FF2B5EF4-FFF2-40B4-BE49-F238E27FC236}">
                <a16:creationId xmlns:a16="http://schemas.microsoft.com/office/drawing/2014/main" id="{6AD409F5-87E5-C1F8-C5AB-E1E4F20D0B72}"/>
              </a:ext>
            </a:extLst>
          </p:cNvPr>
          <p:cNvSpPr/>
          <p:nvPr/>
        </p:nvSpPr>
        <p:spPr>
          <a:xfrm rot="5400000">
            <a:off x="6101289" y="4048379"/>
            <a:ext cx="3812375" cy="137354"/>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nvGrpSpPr>
          <p:cNvPr id="85" name="Group 84">
            <a:extLst>
              <a:ext uri="{FF2B5EF4-FFF2-40B4-BE49-F238E27FC236}">
                <a16:creationId xmlns:a16="http://schemas.microsoft.com/office/drawing/2014/main" id="{2787F0C6-04E6-BE15-C21A-2A5F0BD57F32}"/>
              </a:ext>
            </a:extLst>
          </p:cNvPr>
          <p:cNvGrpSpPr/>
          <p:nvPr/>
        </p:nvGrpSpPr>
        <p:grpSpPr>
          <a:xfrm>
            <a:off x="8347420" y="3040673"/>
            <a:ext cx="2703519" cy="923330"/>
            <a:chOff x="8301179" y="2027269"/>
            <a:chExt cx="2703519" cy="923330"/>
          </a:xfrm>
        </p:grpSpPr>
        <p:sp>
          <p:nvSpPr>
            <p:cNvPr id="86" name="TextBox 85">
              <a:extLst>
                <a:ext uri="{FF2B5EF4-FFF2-40B4-BE49-F238E27FC236}">
                  <a16:creationId xmlns:a16="http://schemas.microsoft.com/office/drawing/2014/main" id="{676C67F3-BEA3-DF78-B267-EAA034F39EDB}"/>
                </a:ext>
              </a:extLst>
            </p:cNvPr>
            <p:cNvSpPr txBox="1"/>
            <p:nvPr/>
          </p:nvSpPr>
          <p:spPr>
            <a:xfrm>
              <a:off x="9318074" y="2264718"/>
              <a:ext cx="1686624" cy="447377"/>
            </a:xfrm>
            <a:prstGeom prst="rect">
              <a:avLst/>
            </a:prstGeom>
            <a:noFill/>
          </p:spPr>
          <p:txBody>
            <a:bodyPr wrap="square" lIns="0" tIns="0" rIns="0" bIns="0" rtlCol="0" anchor="ctr">
              <a:noAutofit/>
            </a:bodyPr>
            <a:lstStyle/>
            <a:p>
              <a:r>
                <a:rPr lang="en-US" sz="1000" b="1" dirty="0">
                  <a:solidFill>
                    <a:schemeClr val="tx1">
                      <a:lumMod val="95000"/>
                      <a:lumOff val="5000"/>
                    </a:schemeClr>
                  </a:solidFill>
                  <a:latin typeface="Verdana"/>
                </a:rPr>
                <a:t>Best practices from more than 30 industries</a:t>
              </a:r>
              <a:endParaRPr lang="en-US" sz="1000" dirty="0">
                <a:solidFill>
                  <a:schemeClr val="tx1">
                    <a:lumMod val="95000"/>
                    <a:lumOff val="5000"/>
                  </a:schemeClr>
                </a:solidFill>
                <a:latin typeface="Verdana"/>
              </a:endParaRPr>
            </a:p>
          </p:txBody>
        </p:sp>
        <p:sp>
          <p:nvSpPr>
            <p:cNvPr id="87" name="TextBox 86">
              <a:extLst>
                <a:ext uri="{FF2B5EF4-FFF2-40B4-BE49-F238E27FC236}">
                  <a16:creationId xmlns:a16="http://schemas.microsoft.com/office/drawing/2014/main" id="{35A32FB0-6AF1-A6DD-09BC-BA6D086B7854}"/>
                </a:ext>
              </a:extLst>
            </p:cNvPr>
            <p:cNvSpPr txBox="1"/>
            <p:nvPr/>
          </p:nvSpPr>
          <p:spPr>
            <a:xfrm>
              <a:off x="8301179" y="2027269"/>
              <a:ext cx="1105095" cy="923330"/>
            </a:xfrm>
            <a:prstGeom prst="rect">
              <a:avLst/>
            </a:prstGeom>
            <a:noFill/>
          </p:spPr>
          <p:txBody>
            <a:bodyPr wrap="square" lIns="0" tIns="0" rIns="0" bIns="0" rtlCol="0" anchor="ctr">
              <a:spAutoFit/>
            </a:bodyPr>
            <a:lstStyle/>
            <a:p>
              <a:pPr algn="ctr">
                <a:spcBef>
                  <a:spcPts val="600"/>
                </a:spcBef>
                <a:buSzPct val="100000"/>
              </a:pPr>
              <a:r>
                <a:rPr lang="en-US" sz="6000" dirty="0">
                  <a:solidFill>
                    <a:schemeClr val="accent3"/>
                  </a:solidFill>
                  <a:latin typeface="Verdana"/>
                </a:rPr>
                <a:t>01</a:t>
              </a:r>
            </a:p>
          </p:txBody>
        </p:sp>
      </p:grpSp>
      <p:grpSp>
        <p:nvGrpSpPr>
          <p:cNvPr id="88" name="Group 87">
            <a:extLst>
              <a:ext uri="{FF2B5EF4-FFF2-40B4-BE49-F238E27FC236}">
                <a16:creationId xmlns:a16="http://schemas.microsoft.com/office/drawing/2014/main" id="{78582C1F-6419-F153-059B-3F9E553681B6}"/>
              </a:ext>
            </a:extLst>
          </p:cNvPr>
          <p:cNvGrpSpPr/>
          <p:nvPr/>
        </p:nvGrpSpPr>
        <p:grpSpPr>
          <a:xfrm>
            <a:off x="8347420" y="4375616"/>
            <a:ext cx="2703518" cy="1077218"/>
            <a:chOff x="8301179" y="3413550"/>
            <a:chExt cx="2703518" cy="1077218"/>
          </a:xfrm>
        </p:grpSpPr>
        <p:sp>
          <p:nvSpPr>
            <p:cNvPr id="89" name="TextBox 88">
              <a:extLst>
                <a:ext uri="{FF2B5EF4-FFF2-40B4-BE49-F238E27FC236}">
                  <a16:creationId xmlns:a16="http://schemas.microsoft.com/office/drawing/2014/main" id="{CC62237D-35BA-9236-95D7-10FFF9B83EC3}"/>
                </a:ext>
              </a:extLst>
            </p:cNvPr>
            <p:cNvSpPr txBox="1"/>
            <p:nvPr/>
          </p:nvSpPr>
          <p:spPr>
            <a:xfrm>
              <a:off x="8301179" y="3490494"/>
              <a:ext cx="1105095" cy="923330"/>
            </a:xfrm>
            <a:prstGeom prst="rect">
              <a:avLst/>
            </a:prstGeom>
            <a:noFill/>
          </p:spPr>
          <p:txBody>
            <a:bodyPr wrap="square" lIns="0" tIns="0" rIns="0" bIns="0" rtlCol="0" anchor="ctr">
              <a:spAutoFit/>
            </a:bodyPr>
            <a:lstStyle/>
            <a:p>
              <a:pPr algn="ctr">
                <a:spcBef>
                  <a:spcPts val="600"/>
                </a:spcBef>
                <a:buSzPct val="100000"/>
              </a:pPr>
              <a:r>
                <a:rPr lang="en-US" sz="6000" dirty="0">
                  <a:solidFill>
                    <a:schemeClr val="accent3"/>
                  </a:solidFill>
                  <a:latin typeface="Verdana"/>
                </a:rPr>
                <a:t>02</a:t>
              </a:r>
            </a:p>
          </p:txBody>
        </p:sp>
        <p:sp>
          <p:nvSpPr>
            <p:cNvPr id="90" name="TextBox 89">
              <a:extLst>
                <a:ext uri="{FF2B5EF4-FFF2-40B4-BE49-F238E27FC236}">
                  <a16:creationId xmlns:a16="http://schemas.microsoft.com/office/drawing/2014/main" id="{5412DEBF-0307-014E-D0BE-B6156F57645D}"/>
                </a:ext>
              </a:extLst>
            </p:cNvPr>
            <p:cNvSpPr txBox="1"/>
            <p:nvPr/>
          </p:nvSpPr>
          <p:spPr>
            <a:xfrm>
              <a:off x="9406274" y="3413550"/>
              <a:ext cx="1598423" cy="1077218"/>
            </a:xfrm>
            <a:prstGeom prst="rect">
              <a:avLst/>
            </a:prstGeom>
            <a:noFill/>
          </p:spPr>
          <p:txBody>
            <a:bodyPr wrap="square" lIns="0" tIns="0" rIns="0" bIns="0" rtlCol="0" anchor="ctr">
              <a:noAutofit/>
            </a:bodyPr>
            <a:lstStyle/>
            <a:p>
              <a:r>
                <a:rPr lang="en-US" sz="1000" b="1" dirty="0">
                  <a:solidFill>
                    <a:schemeClr val="tx1">
                      <a:lumMod val="95000"/>
                      <a:lumOff val="5000"/>
                    </a:schemeClr>
                  </a:solidFill>
                  <a:latin typeface="Verdana"/>
                </a:rPr>
                <a:t>Ability to customize best-practice processes to suit project needs</a:t>
              </a:r>
              <a:endParaRPr lang="en-US" sz="1000" dirty="0">
                <a:solidFill>
                  <a:schemeClr val="tx1">
                    <a:lumMod val="95000"/>
                    <a:lumOff val="5000"/>
                  </a:schemeClr>
                </a:solidFill>
                <a:latin typeface="Verdana"/>
              </a:endParaRPr>
            </a:p>
          </p:txBody>
        </p:sp>
      </p:grpSp>
      <p:grpSp>
        <p:nvGrpSpPr>
          <p:cNvPr id="101" name="Group 100">
            <a:extLst>
              <a:ext uri="{FF2B5EF4-FFF2-40B4-BE49-F238E27FC236}">
                <a16:creationId xmlns:a16="http://schemas.microsoft.com/office/drawing/2014/main" id="{A013C4D6-D12E-FD66-5C24-5D46EAF1A673}"/>
              </a:ext>
            </a:extLst>
          </p:cNvPr>
          <p:cNvGrpSpPr/>
          <p:nvPr/>
        </p:nvGrpSpPr>
        <p:grpSpPr>
          <a:xfrm>
            <a:off x="9378489" y="265140"/>
            <a:ext cx="2364402" cy="411402"/>
            <a:chOff x="9378489" y="265140"/>
            <a:chExt cx="2364402" cy="411402"/>
          </a:xfrm>
        </p:grpSpPr>
        <p:sp>
          <p:nvSpPr>
            <p:cNvPr id="93" name="Arrow: Chevron 92">
              <a:extLst>
                <a:ext uri="{FF2B5EF4-FFF2-40B4-BE49-F238E27FC236}">
                  <a16:creationId xmlns:a16="http://schemas.microsoft.com/office/drawing/2014/main" id="{852CD17F-D433-78AE-A967-EA07B92B0087}"/>
                </a:ext>
              </a:extLst>
            </p:cNvPr>
            <p:cNvSpPr/>
            <p:nvPr/>
          </p:nvSpPr>
          <p:spPr bwMode="gray">
            <a:xfrm>
              <a:off x="9641214" y="265725"/>
              <a:ext cx="1643077" cy="406400"/>
            </a:xfrm>
            <a:prstGeom prst="chevron">
              <a:avLst>
                <a:gd name="adj" fmla="val 5577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Arrow: Chevron 93">
              <a:extLst>
                <a:ext uri="{FF2B5EF4-FFF2-40B4-BE49-F238E27FC236}">
                  <a16:creationId xmlns:a16="http://schemas.microsoft.com/office/drawing/2014/main" id="{3A766E69-5E04-40EF-BEBE-8637A5B627BE}"/>
                </a:ext>
              </a:extLst>
            </p:cNvPr>
            <p:cNvSpPr/>
            <p:nvPr/>
          </p:nvSpPr>
          <p:spPr bwMode="gray">
            <a:xfrm>
              <a:off x="9413117" y="269048"/>
              <a:ext cx="411480" cy="406400"/>
            </a:xfrm>
            <a:prstGeom prst="chevron">
              <a:avLst>
                <a:gd name="adj" fmla="val 56646"/>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Rectangle 94">
              <a:extLst>
                <a:ext uri="{FF2B5EF4-FFF2-40B4-BE49-F238E27FC236}">
                  <a16:creationId xmlns:a16="http://schemas.microsoft.com/office/drawing/2014/main" id="{3EAF4EF7-FC20-7A19-E16F-718EB2762C8A}"/>
                </a:ext>
              </a:extLst>
            </p:cNvPr>
            <p:cNvSpPr/>
            <p:nvPr/>
          </p:nvSpPr>
          <p:spPr bwMode="gray">
            <a:xfrm>
              <a:off x="9522064" y="273466"/>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IMPROVEMENTS</a:t>
              </a:r>
            </a:p>
          </p:txBody>
        </p:sp>
        <p:sp>
          <p:nvSpPr>
            <p:cNvPr id="97" name="Pentagon 7">
              <a:extLst>
                <a:ext uri="{FF2B5EF4-FFF2-40B4-BE49-F238E27FC236}">
                  <a16:creationId xmlns:a16="http://schemas.microsoft.com/office/drawing/2014/main" id="{BEAFF385-7291-A23B-E9EB-E656DD039120}"/>
                </a:ext>
              </a:extLst>
            </p:cNvPr>
            <p:cNvSpPr/>
            <p:nvPr/>
          </p:nvSpPr>
          <p:spPr bwMode="gray">
            <a:xfrm>
              <a:off x="9378489" y="270142"/>
              <a:ext cx="228097" cy="406400"/>
            </a:xfrm>
            <a:prstGeom prst="homePlate">
              <a:avLst>
                <a:gd name="adj" fmla="val 100000"/>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Rectangle 97">
              <a:extLst>
                <a:ext uri="{FF2B5EF4-FFF2-40B4-BE49-F238E27FC236}">
                  <a16:creationId xmlns:a16="http://schemas.microsoft.com/office/drawing/2014/main" id="{B6CEE0C8-B4FA-ADAF-48C0-DE4001B91B68}"/>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99" name="Arrow: Chevron 98">
              <a:extLst>
                <a:ext uri="{FF2B5EF4-FFF2-40B4-BE49-F238E27FC236}">
                  <a16:creationId xmlns:a16="http://schemas.microsoft.com/office/drawing/2014/main" id="{206B7860-8BAC-E8BB-95A3-AC683BFE164E}"/>
                </a:ext>
              </a:extLst>
            </p:cNvPr>
            <p:cNvSpPr/>
            <p:nvPr/>
          </p:nvSpPr>
          <p:spPr bwMode="gray">
            <a:xfrm>
              <a:off x="11104489" y="265725"/>
              <a:ext cx="411480"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Arrow: Chevron 99">
              <a:extLst>
                <a:ext uri="{FF2B5EF4-FFF2-40B4-BE49-F238E27FC236}">
                  <a16:creationId xmlns:a16="http://schemas.microsoft.com/office/drawing/2014/main" id="{89C54B6A-9D43-DFB5-030B-E5A163AEED07}"/>
                </a:ext>
              </a:extLst>
            </p:cNvPr>
            <p:cNvSpPr/>
            <p:nvPr/>
          </p:nvSpPr>
          <p:spPr bwMode="gray">
            <a:xfrm>
              <a:off x="11336166" y="265140"/>
              <a:ext cx="406725"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60075796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 name="think-cell data - do not delete" hidden="1">
            <a:extLst>
              <a:ext uri="{FF2B5EF4-FFF2-40B4-BE49-F238E27FC236}">
                <a16:creationId xmlns:a16="http://schemas.microsoft.com/office/drawing/2014/main" id="{ABB9ED3A-5002-C901-BDD5-37B5BC33F2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4" name="think-cell data - do not delete" hidden="1">
                        <a:extLst>
                          <a:ext uri="{FF2B5EF4-FFF2-40B4-BE49-F238E27FC236}">
                            <a16:creationId xmlns:a16="http://schemas.microsoft.com/office/drawing/2014/main" id="{ABB9ED3A-5002-C901-BDD5-37B5BC33F2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Rounded Corners 58">
            <a:extLst>
              <a:ext uri="{FF2B5EF4-FFF2-40B4-BE49-F238E27FC236}">
                <a16:creationId xmlns:a16="http://schemas.microsoft.com/office/drawing/2014/main" id="{BF4A8561-EE51-CFCE-953A-A7539C2D9492}"/>
              </a:ext>
            </a:extLst>
          </p:cNvPr>
          <p:cNvSpPr/>
          <p:nvPr/>
        </p:nvSpPr>
        <p:spPr bwMode="gray">
          <a:xfrm>
            <a:off x="505321" y="2410094"/>
            <a:ext cx="3320096" cy="329085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Rounded Corners 59">
            <a:extLst>
              <a:ext uri="{FF2B5EF4-FFF2-40B4-BE49-F238E27FC236}">
                <a16:creationId xmlns:a16="http://schemas.microsoft.com/office/drawing/2014/main" id="{C02B035B-051A-2EC3-A769-C37FD4C2066C}"/>
              </a:ext>
            </a:extLst>
          </p:cNvPr>
          <p:cNvSpPr/>
          <p:nvPr/>
        </p:nvSpPr>
        <p:spPr bwMode="gray">
          <a:xfrm>
            <a:off x="4356854" y="2410094"/>
            <a:ext cx="3320096" cy="329085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Rectangle: Rounded Corners 60">
            <a:extLst>
              <a:ext uri="{FF2B5EF4-FFF2-40B4-BE49-F238E27FC236}">
                <a16:creationId xmlns:a16="http://schemas.microsoft.com/office/drawing/2014/main" id="{C567ADEC-CEB7-5C89-F8B3-B3D8DA0A0BD9}"/>
              </a:ext>
            </a:extLst>
          </p:cNvPr>
          <p:cNvSpPr/>
          <p:nvPr/>
        </p:nvSpPr>
        <p:spPr bwMode="gray">
          <a:xfrm>
            <a:off x="8399617" y="2410094"/>
            <a:ext cx="3320096" cy="3290859"/>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 Placeholder 1">
            <a:extLst>
              <a:ext uri="{FF2B5EF4-FFF2-40B4-BE49-F238E27FC236}">
                <a16:creationId xmlns:a16="http://schemas.microsoft.com/office/drawing/2014/main" id="{093365EC-81FB-4707-7469-5737409BD487}"/>
              </a:ext>
            </a:extLst>
          </p:cNvPr>
          <p:cNvSpPr>
            <a:spLocks noGrp="1"/>
          </p:cNvSpPr>
          <p:nvPr>
            <p:ph type="body" sz="quarter" idx="22"/>
          </p:nvPr>
        </p:nvSpPr>
        <p:spPr/>
        <p:txBody>
          <a:bodyPr/>
          <a:lstStyle/>
          <a:p>
            <a:r>
              <a:rPr lang="en-US" dirty="0"/>
              <a:t>Calculating the return on investment is an important element in the analysis of developments, it can show what worth the development efforts and what not</a:t>
            </a:r>
          </a:p>
        </p:txBody>
      </p:sp>
      <p:sp>
        <p:nvSpPr>
          <p:cNvPr id="3" name="Title 2">
            <a:extLst>
              <a:ext uri="{FF2B5EF4-FFF2-40B4-BE49-F238E27FC236}">
                <a16:creationId xmlns:a16="http://schemas.microsoft.com/office/drawing/2014/main" id="{C9FBAD82-77BE-6841-F09A-8D59D0B9927C}"/>
              </a:ext>
            </a:extLst>
          </p:cNvPr>
          <p:cNvSpPr>
            <a:spLocks noGrp="1"/>
          </p:cNvSpPr>
          <p:nvPr>
            <p:ph type="title"/>
          </p:nvPr>
        </p:nvSpPr>
        <p:spPr/>
        <p:txBody>
          <a:bodyPr vert="horz"/>
          <a:lstStyle/>
          <a:p>
            <a:r>
              <a:rPr lang="en-GB" dirty="0"/>
              <a:t>Business case</a:t>
            </a:r>
            <a:endParaRPr lang="en-US" dirty="0"/>
          </a:p>
        </p:txBody>
      </p:sp>
      <p:grpSp>
        <p:nvGrpSpPr>
          <p:cNvPr id="101" name="Group 100">
            <a:extLst>
              <a:ext uri="{FF2B5EF4-FFF2-40B4-BE49-F238E27FC236}">
                <a16:creationId xmlns:a16="http://schemas.microsoft.com/office/drawing/2014/main" id="{A013C4D6-D12E-FD66-5C24-5D46EAF1A673}"/>
              </a:ext>
            </a:extLst>
          </p:cNvPr>
          <p:cNvGrpSpPr/>
          <p:nvPr/>
        </p:nvGrpSpPr>
        <p:grpSpPr>
          <a:xfrm>
            <a:off x="9378489" y="265140"/>
            <a:ext cx="2364402" cy="411402"/>
            <a:chOff x="9378489" y="265140"/>
            <a:chExt cx="2364402" cy="411402"/>
          </a:xfrm>
        </p:grpSpPr>
        <p:sp>
          <p:nvSpPr>
            <p:cNvPr id="93" name="Arrow: Chevron 92">
              <a:extLst>
                <a:ext uri="{FF2B5EF4-FFF2-40B4-BE49-F238E27FC236}">
                  <a16:creationId xmlns:a16="http://schemas.microsoft.com/office/drawing/2014/main" id="{852CD17F-D433-78AE-A967-EA07B92B0087}"/>
                </a:ext>
              </a:extLst>
            </p:cNvPr>
            <p:cNvSpPr/>
            <p:nvPr/>
          </p:nvSpPr>
          <p:spPr bwMode="gray">
            <a:xfrm>
              <a:off x="9641214" y="265725"/>
              <a:ext cx="1643077" cy="406400"/>
            </a:xfrm>
            <a:prstGeom prst="chevron">
              <a:avLst>
                <a:gd name="adj" fmla="val 5577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Arrow: Chevron 93">
              <a:extLst>
                <a:ext uri="{FF2B5EF4-FFF2-40B4-BE49-F238E27FC236}">
                  <a16:creationId xmlns:a16="http://schemas.microsoft.com/office/drawing/2014/main" id="{3A766E69-5E04-40EF-BEBE-8637A5B627BE}"/>
                </a:ext>
              </a:extLst>
            </p:cNvPr>
            <p:cNvSpPr/>
            <p:nvPr/>
          </p:nvSpPr>
          <p:spPr bwMode="gray">
            <a:xfrm>
              <a:off x="9413117" y="269048"/>
              <a:ext cx="411480" cy="406400"/>
            </a:xfrm>
            <a:prstGeom prst="chevron">
              <a:avLst>
                <a:gd name="adj" fmla="val 56646"/>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Rectangle 94">
              <a:extLst>
                <a:ext uri="{FF2B5EF4-FFF2-40B4-BE49-F238E27FC236}">
                  <a16:creationId xmlns:a16="http://schemas.microsoft.com/office/drawing/2014/main" id="{3EAF4EF7-FC20-7A19-E16F-718EB2762C8A}"/>
                </a:ext>
              </a:extLst>
            </p:cNvPr>
            <p:cNvSpPr/>
            <p:nvPr/>
          </p:nvSpPr>
          <p:spPr bwMode="gray">
            <a:xfrm>
              <a:off x="9522064" y="273466"/>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IMPROVEMENTS</a:t>
              </a:r>
            </a:p>
          </p:txBody>
        </p:sp>
        <p:sp>
          <p:nvSpPr>
            <p:cNvPr id="97" name="Pentagon 7">
              <a:extLst>
                <a:ext uri="{FF2B5EF4-FFF2-40B4-BE49-F238E27FC236}">
                  <a16:creationId xmlns:a16="http://schemas.microsoft.com/office/drawing/2014/main" id="{BEAFF385-7291-A23B-E9EB-E656DD039120}"/>
                </a:ext>
              </a:extLst>
            </p:cNvPr>
            <p:cNvSpPr/>
            <p:nvPr/>
          </p:nvSpPr>
          <p:spPr bwMode="gray">
            <a:xfrm>
              <a:off x="9378489" y="270142"/>
              <a:ext cx="228097" cy="406400"/>
            </a:xfrm>
            <a:prstGeom prst="homePlate">
              <a:avLst>
                <a:gd name="adj" fmla="val 100000"/>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Rectangle 97">
              <a:extLst>
                <a:ext uri="{FF2B5EF4-FFF2-40B4-BE49-F238E27FC236}">
                  <a16:creationId xmlns:a16="http://schemas.microsoft.com/office/drawing/2014/main" id="{B6CEE0C8-B4FA-ADAF-48C0-DE4001B91B68}"/>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99" name="Arrow: Chevron 98">
              <a:extLst>
                <a:ext uri="{FF2B5EF4-FFF2-40B4-BE49-F238E27FC236}">
                  <a16:creationId xmlns:a16="http://schemas.microsoft.com/office/drawing/2014/main" id="{206B7860-8BAC-E8BB-95A3-AC683BFE164E}"/>
                </a:ext>
              </a:extLst>
            </p:cNvPr>
            <p:cNvSpPr/>
            <p:nvPr/>
          </p:nvSpPr>
          <p:spPr bwMode="gray">
            <a:xfrm>
              <a:off x="11104489" y="265725"/>
              <a:ext cx="411480"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Arrow: Chevron 99">
              <a:extLst>
                <a:ext uri="{FF2B5EF4-FFF2-40B4-BE49-F238E27FC236}">
                  <a16:creationId xmlns:a16="http://schemas.microsoft.com/office/drawing/2014/main" id="{89C54B6A-9D43-DFB5-030B-E5A163AEED07}"/>
                </a:ext>
              </a:extLst>
            </p:cNvPr>
            <p:cNvSpPr/>
            <p:nvPr/>
          </p:nvSpPr>
          <p:spPr bwMode="gray">
            <a:xfrm>
              <a:off x="11336166" y="265140"/>
              <a:ext cx="406725"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 name="Rectangle 22">
            <a:extLst>
              <a:ext uri="{FF2B5EF4-FFF2-40B4-BE49-F238E27FC236}">
                <a16:creationId xmlns:a16="http://schemas.microsoft.com/office/drawing/2014/main" id="{D7F5C165-2810-CD0E-FB2D-76111BA9D9A1}"/>
              </a:ext>
            </a:extLst>
          </p:cNvPr>
          <p:cNvSpPr/>
          <p:nvPr/>
        </p:nvSpPr>
        <p:spPr bwMode="gray">
          <a:xfrm>
            <a:off x="1039091" y="1766425"/>
            <a:ext cx="10680622" cy="384691"/>
          </a:xfrm>
          <a:prstGeom prst="rect">
            <a:avLst/>
          </a:prstGeom>
          <a:solidFill>
            <a:schemeClr val="tx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hu-HU"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To get a full picture of the costs and benefits of the return on the investment</a:t>
            </a:r>
          </a:p>
        </p:txBody>
      </p:sp>
      <p:grpSp>
        <p:nvGrpSpPr>
          <p:cNvPr id="65" name="Group 64">
            <a:extLst>
              <a:ext uri="{FF2B5EF4-FFF2-40B4-BE49-F238E27FC236}">
                <a16:creationId xmlns:a16="http://schemas.microsoft.com/office/drawing/2014/main" id="{D536C3A7-6E34-FBC3-18FB-89C32A416DEF}"/>
              </a:ext>
            </a:extLst>
          </p:cNvPr>
          <p:cNvGrpSpPr/>
          <p:nvPr/>
        </p:nvGrpSpPr>
        <p:grpSpPr>
          <a:xfrm>
            <a:off x="506283" y="1620550"/>
            <a:ext cx="685800" cy="685800"/>
            <a:chOff x="117349" y="1593387"/>
            <a:chExt cx="685800" cy="685800"/>
          </a:xfrm>
        </p:grpSpPr>
        <p:sp>
          <p:nvSpPr>
            <p:cNvPr id="35" name="Oval 34">
              <a:extLst>
                <a:ext uri="{FF2B5EF4-FFF2-40B4-BE49-F238E27FC236}">
                  <a16:creationId xmlns:a16="http://schemas.microsoft.com/office/drawing/2014/main" id="{5B26BC62-083F-F611-EFB8-D810429C337B}"/>
                </a:ext>
              </a:extLst>
            </p:cNvPr>
            <p:cNvSpPr/>
            <p:nvPr/>
          </p:nvSpPr>
          <p:spPr bwMode="gray">
            <a:xfrm>
              <a:off x="117349" y="1593387"/>
              <a:ext cx="685800" cy="685800"/>
            </a:xfrm>
            <a:prstGeom prst="ellipse">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 name="Group 726">
              <a:extLst>
                <a:ext uri="{FF2B5EF4-FFF2-40B4-BE49-F238E27FC236}">
                  <a16:creationId xmlns:a16="http://schemas.microsoft.com/office/drawing/2014/main" id="{48C9D831-05AD-5945-C355-5926CFFD0569}"/>
                </a:ext>
              </a:extLst>
            </p:cNvPr>
            <p:cNvGrpSpPr>
              <a:grpSpLocks noChangeAspect="1"/>
            </p:cNvGrpSpPr>
            <p:nvPr/>
          </p:nvGrpSpPr>
          <p:grpSpPr bwMode="auto">
            <a:xfrm>
              <a:off x="134131" y="1608663"/>
              <a:ext cx="652236" cy="652236"/>
              <a:chOff x="5022" y="3403"/>
              <a:chExt cx="340" cy="340"/>
            </a:xfrm>
            <a:solidFill>
              <a:schemeClr val="accent3"/>
            </a:solidFill>
          </p:grpSpPr>
          <p:sp>
            <p:nvSpPr>
              <p:cNvPr id="37" name="Freeform 727">
                <a:extLst>
                  <a:ext uri="{FF2B5EF4-FFF2-40B4-BE49-F238E27FC236}">
                    <a16:creationId xmlns:a16="http://schemas.microsoft.com/office/drawing/2014/main" id="{6E289C13-9250-98F2-4AE0-55D9AB3AB4B3}"/>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728">
                <a:extLst>
                  <a:ext uri="{FF2B5EF4-FFF2-40B4-BE49-F238E27FC236}">
                    <a16:creationId xmlns:a16="http://schemas.microsoft.com/office/drawing/2014/main" id="{1CBEDD7B-F507-C246-71F8-CFCAE9F6D90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41" name="Rectangle 40">
            <a:extLst>
              <a:ext uri="{FF2B5EF4-FFF2-40B4-BE49-F238E27FC236}">
                <a16:creationId xmlns:a16="http://schemas.microsoft.com/office/drawing/2014/main" id="{67454332-EB72-4FAB-A500-695F46C0E247}"/>
              </a:ext>
            </a:extLst>
          </p:cNvPr>
          <p:cNvSpPr/>
          <p:nvPr/>
        </p:nvSpPr>
        <p:spPr>
          <a:xfrm>
            <a:off x="577512" y="3225749"/>
            <a:ext cx="3175714" cy="604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Calculating the savings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nuced</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by the improvement. See previous slide.</a:t>
            </a:r>
          </a:p>
          <a:p>
            <a:pPr marL="182880" indent="-171450">
              <a:spcBef>
                <a:spcPts val="400"/>
              </a:spcBef>
              <a:buFont typeface="Arial" panose="020B0604020202020204" pitchFamily="34" charset="0"/>
              <a:buChar char="•"/>
            </a:pP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Defining key KPIs</a:t>
            </a: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ing the average achievable improvement range for the selected KPIs</a:t>
            </a: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Defining future KPI targets </a:t>
            </a: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Summarizing of impacts and expected results, gained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romthe</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introduction of the improvement.</a:t>
            </a:r>
          </a:p>
        </p:txBody>
      </p:sp>
      <p:sp>
        <p:nvSpPr>
          <p:cNvPr id="42" name="Rectangle 41">
            <a:extLst>
              <a:ext uri="{FF2B5EF4-FFF2-40B4-BE49-F238E27FC236}">
                <a16:creationId xmlns:a16="http://schemas.microsoft.com/office/drawing/2014/main" id="{D366FFB1-7106-C904-F5F2-06EAF2FA41BE}"/>
              </a:ext>
            </a:extLst>
          </p:cNvPr>
          <p:cNvSpPr/>
          <p:nvPr/>
        </p:nvSpPr>
        <p:spPr>
          <a:xfrm>
            <a:off x="662646" y="2600427"/>
            <a:ext cx="3005447" cy="521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 algn="ct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ing savings, business benefits</a:t>
            </a:r>
          </a:p>
        </p:txBody>
      </p:sp>
      <p:sp>
        <p:nvSpPr>
          <p:cNvPr id="47" name="Rectangle 46">
            <a:extLst>
              <a:ext uri="{FF2B5EF4-FFF2-40B4-BE49-F238E27FC236}">
                <a16:creationId xmlns:a16="http://schemas.microsoft.com/office/drawing/2014/main" id="{D018CAE0-EE2A-2AF8-F07E-D778D6369DC3}"/>
              </a:ext>
            </a:extLst>
          </p:cNvPr>
          <p:cNvSpPr/>
          <p:nvPr/>
        </p:nvSpPr>
        <p:spPr>
          <a:xfrm>
            <a:off x="4429045" y="3237685"/>
            <a:ext cx="3175714" cy="604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
              <a:spcBef>
                <a:spcPts val="400"/>
              </a:spcBef>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ssess cost elements:</a:t>
            </a: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Gathering data from earlier stages of the project (e.g. platform selected, functionality chosen) to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nalyse</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costs</a:t>
            </a: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Analyzing of system criteria, deeper understanding of e.g. hardware, asset requirements</a:t>
            </a:r>
          </a:p>
          <a:p>
            <a:pPr marL="11430">
              <a:spcBef>
                <a:spcPts val="400"/>
              </a:spcBef>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ssessing non-IT cost elements</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Assessing external and internal resources</a:t>
            </a: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Assessing other costs</a:t>
            </a:r>
          </a:p>
        </p:txBody>
      </p:sp>
      <p:sp>
        <p:nvSpPr>
          <p:cNvPr id="48" name="Rectangle 47">
            <a:extLst>
              <a:ext uri="{FF2B5EF4-FFF2-40B4-BE49-F238E27FC236}">
                <a16:creationId xmlns:a16="http://schemas.microsoft.com/office/drawing/2014/main" id="{0945BC74-64AA-4F9B-E586-2E57F59E6F7C}"/>
              </a:ext>
            </a:extLst>
          </p:cNvPr>
          <p:cNvSpPr/>
          <p:nvPr/>
        </p:nvSpPr>
        <p:spPr>
          <a:xfrm>
            <a:off x="4467105" y="2594879"/>
            <a:ext cx="3099595" cy="521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 algn="ct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ssessment of cost elements</a:t>
            </a:r>
          </a:p>
        </p:txBody>
      </p:sp>
      <p:sp>
        <p:nvSpPr>
          <p:cNvPr id="53" name="Rectangle 52">
            <a:extLst>
              <a:ext uri="{FF2B5EF4-FFF2-40B4-BE49-F238E27FC236}">
                <a16:creationId xmlns:a16="http://schemas.microsoft.com/office/drawing/2014/main" id="{C5E7A9A0-487E-BFEB-19BA-4AC0234AD2D7}"/>
              </a:ext>
            </a:extLst>
          </p:cNvPr>
          <p:cNvSpPr/>
          <p:nvPr/>
        </p:nvSpPr>
        <p:spPr>
          <a:xfrm>
            <a:off x="8471808" y="3237685"/>
            <a:ext cx="3175714" cy="1506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Collecting the costs needed to calculate the return, expert estimate</a:t>
            </a:r>
          </a:p>
          <a:p>
            <a:pPr marL="182880" indent="-171450">
              <a:spcBef>
                <a:spcPts val="400"/>
              </a:spcBef>
              <a:buFont typeface="Arial" panose="020B0604020202020204" pitchFamily="34" charset="0"/>
              <a:buChar char="•"/>
            </a:pP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ummarising</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the full return analysis of the development for the management</a:t>
            </a:r>
          </a:p>
          <a:p>
            <a:pPr marL="182880" indent="-171450">
              <a:spcBef>
                <a:spcPts val="400"/>
              </a:spcBef>
              <a:buFont typeface="Arial" panose="020B0604020202020204" pitchFamily="34" charset="0"/>
              <a:buChar cha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Facilitating any necessary validation</a:t>
            </a:r>
          </a:p>
        </p:txBody>
      </p:sp>
      <p:sp>
        <p:nvSpPr>
          <p:cNvPr id="54" name="Rectangle 53">
            <a:extLst>
              <a:ext uri="{FF2B5EF4-FFF2-40B4-BE49-F238E27FC236}">
                <a16:creationId xmlns:a16="http://schemas.microsoft.com/office/drawing/2014/main" id="{113D639F-03C0-8126-F1E6-CEA8A72371E6}"/>
              </a:ext>
            </a:extLst>
          </p:cNvPr>
          <p:cNvSpPr/>
          <p:nvPr/>
        </p:nvSpPr>
        <p:spPr>
          <a:xfrm>
            <a:off x="8464372" y="2604080"/>
            <a:ext cx="3190586" cy="521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 algn="ct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turn calculation</a:t>
            </a:r>
          </a:p>
        </p:txBody>
      </p:sp>
      <p:sp>
        <p:nvSpPr>
          <p:cNvPr id="57" name="TextBox 56">
            <a:extLst>
              <a:ext uri="{FF2B5EF4-FFF2-40B4-BE49-F238E27FC236}">
                <a16:creationId xmlns:a16="http://schemas.microsoft.com/office/drawing/2014/main" id="{78E83597-FEF3-4C07-D733-5A5E1BF4FD84}"/>
              </a:ext>
            </a:extLst>
          </p:cNvPr>
          <p:cNvSpPr txBox="1"/>
          <p:nvPr/>
        </p:nvSpPr>
        <p:spPr>
          <a:xfrm>
            <a:off x="1841863" y="6098415"/>
            <a:ext cx="8508275" cy="461665"/>
          </a:xfrm>
          <a:prstGeom prst="rect">
            <a:avLst/>
          </a:prstGeom>
          <a:noFill/>
        </p:spPr>
        <p:txBody>
          <a:bodyPr wrap="square" rtlCol="0">
            <a:spAutoFit/>
          </a:bodyPr>
          <a:lstStyle/>
          <a:p>
            <a:pPr algn="ctr">
              <a:spcAft>
                <a:spcPts val="1200"/>
              </a:spcAft>
            </a:pPr>
            <a:r>
              <a:rPr lang="en-US" sz="1200" dirty="0">
                <a:latin typeface="Open Sans" panose="020B0606030504020204" pitchFamily="34" charset="0"/>
                <a:ea typeface="Open Sans" panose="020B0606030504020204" pitchFamily="34" charset="0"/>
                <a:cs typeface="Open Sans" panose="020B0606030504020204" pitchFamily="34" charset="0"/>
              </a:rPr>
              <a:t>Total cost-benefit analysis of the development containing business benefits and costs (</a:t>
            </a:r>
            <a:r>
              <a:rPr lang="en-US" sz="1200" b="1" dirty="0">
                <a:latin typeface="Open Sans" panose="020B0606030504020204" pitchFamily="34" charset="0"/>
                <a:ea typeface="Open Sans" panose="020B0606030504020204" pitchFamily="34" charset="0"/>
                <a:cs typeface="Open Sans" panose="020B0606030504020204" pitchFamily="34" charset="0"/>
              </a:rPr>
              <a:t>cost aggregation, yield aggregation, headcount impact)</a:t>
            </a:r>
          </a:p>
        </p:txBody>
      </p:sp>
      <p:sp>
        <p:nvSpPr>
          <p:cNvPr id="58" name="Isosceles Triangle 57">
            <a:extLst>
              <a:ext uri="{FF2B5EF4-FFF2-40B4-BE49-F238E27FC236}">
                <a16:creationId xmlns:a16="http://schemas.microsoft.com/office/drawing/2014/main" id="{002D4EBE-1B9F-EBC3-8C28-095F29EFDE65}"/>
              </a:ext>
            </a:extLst>
          </p:cNvPr>
          <p:cNvSpPr/>
          <p:nvPr/>
        </p:nvSpPr>
        <p:spPr>
          <a:xfrm rot="10800000">
            <a:off x="1347090" y="5850148"/>
            <a:ext cx="9497820" cy="14780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62" name="Flowchart: Manual Operation 61">
            <a:extLst>
              <a:ext uri="{FF2B5EF4-FFF2-40B4-BE49-F238E27FC236}">
                <a16:creationId xmlns:a16="http://schemas.microsoft.com/office/drawing/2014/main" id="{23807ED1-9693-CE16-D17A-B82234BC9F9F}"/>
              </a:ext>
            </a:extLst>
          </p:cNvPr>
          <p:cNvSpPr/>
          <p:nvPr/>
        </p:nvSpPr>
        <p:spPr bwMode="gray">
          <a:xfrm rot="16200000">
            <a:off x="2563673" y="3917067"/>
            <a:ext cx="3054927" cy="147802"/>
          </a:xfrm>
          <a:prstGeom prst="flowChartManualOperation">
            <a:avLst/>
          </a:prstGeom>
          <a:solidFill>
            <a:schemeClr val="tx2">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Flowchart: Manual Operation 62">
            <a:extLst>
              <a:ext uri="{FF2B5EF4-FFF2-40B4-BE49-F238E27FC236}">
                <a16:creationId xmlns:a16="http://schemas.microsoft.com/office/drawing/2014/main" id="{024FF3B1-F7D4-3099-1DFB-1CF4D8ACFA37}"/>
              </a:ext>
            </a:extLst>
          </p:cNvPr>
          <p:cNvSpPr/>
          <p:nvPr/>
        </p:nvSpPr>
        <p:spPr bwMode="gray">
          <a:xfrm rot="16200000">
            <a:off x="6510820" y="3917068"/>
            <a:ext cx="3054927" cy="147802"/>
          </a:xfrm>
          <a:prstGeom prst="flowChartManualOperation">
            <a:avLst/>
          </a:prstGeom>
          <a:solidFill>
            <a:schemeClr val="tx2">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26899916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52F65D02-BD28-39A1-C718-E550C94B59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3" name="think-cell data - do not delete" hidden="1">
                        <a:extLst>
                          <a:ext uri="{FF2B5EF4-FFF2-40B4-BE49-F238E27FC236}">
                            <a16:creationId xmlns:a16="http://schemas.microsoft.com/office/drawing/2014/main" id="{52F65D02-BD28-39A1-C718-E550C94B59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73EB670-03DD-13AE-6747-8393B25A13B8}"/>
              </a:ext>
            </a:extLst>
          </p:cNvPr>
          <p:cNvSpPr>
            <a:spLocks noGrp="1"/>
          </p:cNvSpPr>
          <p:nvPr>
            <p:ph type="body" sz="quarter" idx="22"/>
          </p:nvPr>
        </p:nvSpPr>
        <p:spPr/>
        <p:txBody>
          <a:bodyPr/>
          <a:lstStyle/>
          <a:p>
            <a:r>
              <a:rPr lang="en-US" dirty="0"/>
              <a:t>The implementation of improvements is preceded by thoughtful planning, but organized project implementation, coordination of streams and resources are also important at this stage</a:t>
            </a:r>
          </a:p>
        </p:txBody>
      </p:sp>
      <p:sp>
        <p:nvSpPr>
          <p:cNvPr id="3" name="Title 2">
            <a:extLst>
              <a:ext uri="{FF2B5EF4-FFF2-40B4-BE49-F238E27FC236}">
                <a16:creationId xmlns:a16="http://schemas.microsoft.com/office/drawing/2014/main" id="{7A562630-B7B7-D123-8112-002FF391FB8D}"/>
              </a:ext>
            </a:extLst>
          </p:cNvPr>
          <p:cNvSpPr>
            <a:spLocks noGrp="1"/>
          </p:cNvSpPr>
          <p:nvPr>
            <p:ph type="title"/>
          </p:nvPr>
        </p:nvSpPr>
        <p:spPr/>
        <p:txBody>
          <a:bodyPr vert="horz"/>
          <a:lstStyle/>
          <a:p>
            <a:r>
              <a:rPr lang="en-US" dirty="0"/>
              <a:t>Implementation</a:t>
            </a:r>
          </a:p>
        </p:txBody>
      </p:sp>
      <p:grpSp>
        <p:nvGrpSpPr>
          <p:cNvPr id="4" name="Group 3">
            <a:extLst>
              <a:ext uri="{FF2B5EF4-FFF2-40B4-BE49-F238E27FC236}">
                <a16:creationId xmlns:a16="http://schemas.microsoft.com/office/drawing/2014/main" id="{0EFA4DAD-58DF-2273-C822-EE53697B88E9}"/>
              </a:ext>
            </a:extLst>
          </p:cNvPr>
          <p:cNvGrpSpPr/>
          <p:nvPr/>
        </p:nvGrpSpPr>
        <p:grpSpPr>
          <a:xfrm>
            <a:off x="2713736" y="2871554"/>
            <a:ext cx="6961124" cy="3236275"/>
            <a:chOff x="2810256" y="2519680"/>
            <a:chExt cx="6961124" cy="4331438"/>
          </a:xfrm>
          <a:solidFill>
            <a:schemeClr val="tx2">
              <a:lumMod val="20000"/>
              <a:lumOff val="80000"/>
            </a:schemeClr>
          </a:solidFill>
        </p:grpSpPr>
        <p:sp>
          <p:nvSpPr>
            <p:cNvPr id="5" name="Rectangle 10">
              <a:extLst>
                <a:ext uri="{FF2B5EF4-FFF2-40B4-BE49-F238E27FC236}">
                  <a16:creationId xmlns:a16="http://schemas.microsoft.com/office/drawing/2014/main" id="{572D0DAE-1396-B1C3-5501-4FDBE808D9D9}"/>
                </a:ext>
              </a:extLst>
            </p:cNvPr>
            <p:cNvSpPr/>
            <p:nvPr/>
          </p:nvSpPr>
          <p:spPr bwMode="gray">
            <a:xfrm>
              <a:off x="2810256" y="4727424"/>
              <a:ext cx="5894832" cy="2123694"/>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3158490"/>
                <a:gd name="connsiteY0" fmla="*/ 0 h 914400"/>
                <a:gd name="connsiteX1" fmla="*/ 914400 w 3158490"/>
                <a:gd name="connsiteY1" fmla="*/ 0 h 914400"/>
                <a:gd name="connsiteX2" fmla="*/ 3158490 w 3158490"/>
                <a:gd name="connsiteY2" fmla="*/ 910590 h 914400"/>
                <a:gd name="connsiteX3" fmla="*/ 0 w 3158490"/>
                <a:gd name="connsiteY3" fmla="*/ 914400 h 914400"/>
                <a:gd name="connsiteX4" fmla="*/ 0 w 3158490"/>
                <a:gd name="connsiteY4" fmla="*/ 0 h 914400"/>
                <a:gd name="connsiteX0" fmla="*/ 0 w 5839968"/>
                <a:gd name="connsiteY0" fmla="*/ 1207008 h 2121408"/>
                <a:gd name="connsiteX1" fmla="*/ 5839968 w 5839968"/>
                <a:gd name="connsiteY1" fmla="*/ 0 h 2121408"/>
                <a:gd name="connsiteX2" fmla="*/ 3158490 w 5839968"/>
                <a:gd name="connsiteY2" fmla="*/ 2117598 h 2121408"/>
                <a:gd name="connsiteX3" fmla="*/ 0 w 5839968"/>
                <a:gd name="connsiteY3" fmla="*/ 2121408 h 2121408"/>
                <a:gd name="connsiteX4" fmla="*/ 0 w 5839968"/>
                <a:gd name="connsiteY4" fmla="*/ 1207008 h 2121408"/>
                <a:gd name="connsiteX0" fmla="*/ 5145024 w 5839968"/>
                <a:gd name="connsiteY0" fmla="*/ 0 h 2127504"/>
                <a:gd name="connsiteX1" fmla="*/ 5839968 w 5839968"/>
                <a:gd name="connsiteY1" fmla="*/ 6096 h 2127504"/>
                <a:gd name="connsiteX2" fmla="*/ 3158490 w 5839968"/>
                <a:gd name="connsiteY2" fmla="*/ 2123694 h 2127504"/>
                <a:gd name="connsiteX3" fmla="*/ 0 w 5839968"/>
                <a:gd name="connsiteY3" fmla="*/ 2127504 h 2127504"/>
                <a:gd name="connsiteX4" fmla="*/ 5145024 w 5839968"/>
                <a:gd name="connsiteY4" fmla="*/ 0 h 2127504"/>
                <a:gd name="connsiteX0" fmla="*/ 5199888 w 5894832"/>
                <a:gd name="connsiteY0" fmla="*/ 0 h 2123694"/>
                <a:gd name="connsiteX1" fmla="*/ 5894832 w 5894832"/>
                <a:gd name="connsiteY1" fmla="*/ 6096 h 2123694"/>
                <a:gd name="connsiteX2" fmla="*/ 3213354 w 5894832"/>
                <a:gd name="connsiteY2" fmla="*/ 2123694 h 2123694"/>
                <a:gd name="connsiteX3" fmla="*/ 0 w 5894832"/>
                <a:gd name="connsiteY3" fmla="*/ 2121408 h 2123694"/>
                <a:gd name="connsiteX4" fmla="*/ 5199888 w 5894832"/>
                <a:gd name="connsiteY4" fmla="*/ 0 h 2123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4832" h="2123694">
                  <a:moveTo>
                    <a:pt x="5199888" y="0"/>
                  </a:moveTo>
                  <a:lnTo>
                    <a:pt x="5894832" y="6096"/>
                  </a:lnTo>
                  <a:lnTo>
                    <a:pt x="3213354" y="2123694"/>
                  </a:lnTo>
                  <a:lnTo>
                    <a:pt x="0" y="2121408"/>
                  </a:lnTo>
                  <a:lnTo>
                    <a:pt x="5199888" y="0"/>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10">
              <a:extLst>
                <a:ext uri="{FF2B5EF4-FFF2-40B4-BE49-F238E27FC236}">
                  <a16:creationId xmlns:a16="http://schemas.microsoft.com/office/drawing/2014/main" id="{F09D6F80-0C91-3D22-8609-5631EA1D07AE}"/>
                </a:ext>
              </a:extLst>
            </p:cNvPr>
            <p:cNvSpPr/>
            <p:nvPr/>
          </p:nvSpPr>
          <p:spPr bwMode="gray">
            <a:xfrm>
              <a:off x="7998968" y="2921000"/>
              <a:ext cx="1542288" cy="1815314"/>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3158490"/>
                <a:gd name="connsiteY0" fmla="*/ 0 h 914400"/>
                <a:gd name="connsiteX1" fmla="*/ 914400 w 3158490"/>
                <a:gd name="connsiteY1" fmla="*/ 0 h 914400"/>
                <a:gd name="connsiteX2" fmla="*/ 3158490 w 3158490"/>
                <a:gd name="connsiteY2" fmla="*/ 910590 h 914400"/>
                <a:gd name="connsiteX3" fmla="*/ 0 w 3158490"/>
                <a:gd name="connsiteY3" fmla="*/ 914400 h 914400"/>
                <a:gd name="connsiteX4" fmla="*/ 0 w 3158490"/>
                <a:gd name="connsiteY4" fmla="*/ 0 h 914400"/>
                <a:gd name="connsiteX0" fmla="*/ 0 w 5839968"/>
                <a:gd name="connsiteY0" fmla="*/ 1207008 h 2121408"/>
                <a:gd name="connsiteX1" fmla="*/ 5839968 w 5839968"/>
                <a:gd name="connsiteY1" fmla="*/ 0 h 2121408"/>
                <a:gd name="connsiteX2" fmla="*/ 3158490 w 5839968"/>
                <a:gd name="connsiteY2" fmla="*/ 2117598 h 2121408"/>
                <a:gd name="connsiteX3" fmla="*/ 0 w 5839968"/>
                <a:gd name="connsiteY3" fmla="*/ 2121408 h 2121408"/>
                <a:gd name="connsiteX4" fmla="*/ 0 w 5839968"/>
                <a:gd name="connsiteY4" fmla="*/ 1207008 h 2121408"/>
                <a:gd name="connsiteX0" fmla="*/ 5145024 w 5839968"/>
                <a:gd name="connsiteY0" fmla="*/ 0 h 2127504"/>
                <a:gd name="connsiteX1" fmla="*/ 5839968 w 5839968"/>
                <a:gd name="connsiteY1" fmla="*/ 6096 h 2127504"/>
                <a:gd name="connsiteX2" fmla="*/ 3158490 w 5839968"/>
                <a:gd name="connsiteY2" fmla="*/ 2123694 h 2127504"/>
                <a:gd name="connsiteX3" fmla="*/ 0 w 5839968"/>
                <a:gd name="connsiteY3" fmla="*/ 2127504 h 2127504"/>
                <a:gd name="connsiteX4" fmla="*/ 5145024 w 5839968"/>
                <a:gd name="connsiteY4" fmla="*/ 0 h 2127504"/>
                <a:gd name="connsiteX0" fmla="*/ 5199888 w 5894832"/>
                <a:gd name="connsiteY0" fmla="*/ 0 h 2123694"/>
                <a:gd name="connsiteX1" fmla="*/ 5894832 w 5894832"/>
                <a:gd name="connsiteY1" fmla="*/ 6096 h 2123694"/>
                <a:gd name="connsiteX2" fmla="*/ 3213354 w 5894832"/>
                <a:gd name="connsiteY2" fmla="*/ 2123694 h 2123694"/>
                <a:gd name="connsiteX3" fmla="*/ 0 w 5894832"/>
                <a:gd name="connsiteY3" fmla="*/ 2121408 h 2123694"/>
                <a:gd name="connsiteX4" fmla="*/ 5199888 w 5894832"/>
                <a:gd name="connsiteY4" fmla="*/ 0 h 2123694"/>
                <a:gd name="connsiteX0" fmla="*/ 3596640 w 5894832"/>
                <a:gd name="connsiteY0" fmla="*/ 359664 h 2117598"/>
                <a:gd name="connsiteX1" fmla="*/ 5894832 w 5894832"/>
                <a:gd name="connsiteY1" fmla="*/ 0 h 2117598"/>
                <a:gd name="connsiteX2" fmla="*/ 3213354 w 5894832"/>
                <a:gd name="connsiteY2" fmla="*/ 2117598 h 2117598"/>
                <a:gd name="connsiteX3" fmla="*/ 0 w 5894832"/>
                <a:gd name="connsiteY3" fmla="*/ 2115312 h 2117598"/>
                <a:gd name="connsiteX4" fmla="*/ 3596640 w 5894832"/>
                <a:gd name="connsiteY4" fmla="*/ 359664 h 2117598"/>
                <a:gd name="connsiteX0" fmla="*/ 3596640 w 4011168"/>
                <a:gd name="connsiteY0" fmla="*/ 30480 h 1788414"/>
                <a:gd name="connsiteX1" fmla="*/ 4011168 w 4011168"/>
                <a:gd name="connsiteY1" fmla="*/ 0 h 1788414"/>
                <a:gd name="connsiteX2" fmla="*/ 3213354 w 4011168"/>
                <a:gd name="connsiteY2" fmla="*/ 1788414 h 1788414"/>
                <a:gd name="connsiteX3" fmla="*/ 0 w 4011168"/>
                <a:gd name="connsiteY3" fmla="*/ 1786128 h 1788414"/>
                <a:gd name="connsiteX4" fmla="*/ 3596640 w 4011168"/>
                <a:gd name="connsiteY4" fmla="*/ 30480 h 1788414"/>
                <a:gd name="connsiteX0" fmla="*/ 3596640 w 4047744"/>
                <a:gd name="connsiteY0" fmla="*/ 18288 h 1776222"/>
                <a:gd name="connsiteX1" fmla="*/ 4047744 w 4047744"/>
                <a:gd name="connsiteY1" fmla="*/ 0 h 1776222"/>
                <a:gd name="connsiteX2" fmla="*/ 3213354 w 4047744"/>
                <a:gd name="connsiteY2" fmla="*/ 1776222 h 1776222"/>
                <a:gd name="connsiteX3" fmla="*/ 0 w 4047744"/>
                <a:gd name="connsiteY3" fmla="*/ 1773936 h 1776222"/>
                <a:gd name="connsiteX4" fmla="*/ 3596640 w 4047744"/>
                <a:gd name="connsiteY4" fmla="*/ 18288 h 1776222"/>
                <a:gd name="connsiteX0" fmla="*/ 1066800 w 1517904"/>
                <a:gd name="connsiteY0" fmla="*/ 18288 h 1776222"/>
                <a:gd name="connsiteX1" fmla="*/ 1517904 w 1517904"/>
                <a:gd name="connsiteY1" fmla="*/ 0 h 1776222"/>
                <a:gd name="connsiteX2" fmla="*/ 683514 w 1517904"/>
                <a:gd name="connsiteY2" fmla="*/ 1776222 h 1776222"/>
                <a:gd name="connsiteX3" fmla="*/ 0 w 1517904"/>
                <a:gd name="connsiteY3" fmla="*/ 1749552 h 1776222"/>
                <a:gd name="connsiteX4" fmla="*/ 1066800 w 1517904"/>
                <a:gd name="connsiteY4" fmla="*/ 18288 h 1776222"/>
                <a:gd name="connsiteX0" fmla="*/ 902208 w 1353312"/>
                <a:gd name="connsiteY0" fmla="*/ 18288 h 1816608"/>
                <a:gd name="connsiteX1" fmla="*/ 1353312 w 1353312"/>
                <a:gd name="connsiteY1" fmla="*/ 0 h 1816608"/>
                <a:gd name="connsiteX2" fmla="*/ 518922 w 1353312"/>
                <a:gd name="connsiteY2" fmla="*/ 1776222 h 1816608"/>
                <a:gd name="connsiteX3" fmla="*/ 0 w 1353312"/>
                <a:gd name="connsiteY3" fmla="*/ 1816608 h 1816608"/>
                <a:gd name="connsiteX4" fmla="*/ 902208 w 1353312"/>
                <a:gd name="connsiteY4" fmla="*/ 18288 h 1816608"/>
                <a:gd name="connsiteX0" fmla="*/ 1097280 w 1548384"/>
                <a:gd name="connsiteY0" fmla="*/ 18288 h 1776222"/>
                <a:gd name="connsiteX1" fmla="*/ 1548384 w 1548384"/>
                <a:gd name="connsiteY1" fmla="*/ 0 h 1776222"/>
                <a:gd name="connsiteX2" fmla="*/ 713994 w 1548384"/>
                <a:gd name="connsiteY2" fmla="*/ 1776222 h 1776222"/>
                <a:gd name="connsiteX3" fmla="*/ 0 w 1548384"/>
                <a:gd name="connsiteY3" fmla="*/ 1737360 h 1776222"/>
                <a:gd name="connsiteX4" fmla="*/ 1097280 w 1548384"/>
                <a:gd name="connsiteY4" fmla="*/ 18288 h 1776222"/>
                <a:gd name="connsiteX0" fmla="*/ 1091184 w 1542288"/>
                <a:gd name="connsiteY0" fmla="*/ 18288 h 1780032"/>
                <a:gd name="connsiteX1" fmla="*/ 1542288 w 1542288"/>
                <a:gd name="connsiteY1" fmla="*/ 0 h 1780032"/>
                <a:gd name="connsiteX2" fmla="*/ 707898 w 1542288"/>
                <a:gd name="connsiteY2" fmla="*/ 1776222 h 1780032"/>
                <a:gd name="connsiteX3" fmla="*/ 0 w 1542288"/>
                <a:gd name="connsiteY3" fmla="*/ 1780032 h 1780032"/>
                <a:gd name="connsiteX4" fmla="*/ 1091184 w 1542288"/>
                <a:gd name="connsiteY4" fmla="*/ 18288 h 1780032"/>
                <a:gd name="connsiteX0" fmla="*/ 1121664 w 1542288"/>
                <a:gd name="connsiteY0" fmla="*/ 4953 h 1780032"/>
                <a:gd name="connsiteX1" fmla="*/ 1542288 w 1542288"/>
                <a:gd name="connsiteY1" fmla="*/ 0 h 1780032"/>
                <a:gd name="connsiteX2" fmla="*/ 707898 w 1542288"/>
                <a:gd name="connsiteY2" fmla="*/ 1776222 h 1780032"/>
                <a:gd name="connsiteX3" fmla="*/ 0 w 1542288"/>
                <a:gd name="connsiteY3" fmla="*/ 1780032 h 1780032"/>
                <a:gd name="connsiteX4" fmla="*/ 1121664 w 1542288"/>
                <a:gd name="connsiteY4" fmla="*/ 4953 h 1780032"/>
                <a:gd name="connsiteX0" fmla="*/ 1121664 w 1542288"/>
                <a:gd name="connsiteY0" fmla="*/ 4953 h 1780032"/>
                <a:gd name="connsiteX1" fmla="*/ 1542288 w 1542288"/>
                <a:gd name="connsiteY1" fmla="*/ 0 h 1780032"/>
                <a:gd name="connsiteX2" fmla="*/ 711708 w 1542288"/>
                <a:gd name="connsiteY2" fmla="*/ 1780032 h 1780032"/>
                <a:gd name="connsiteX3" fmla="*/ 0 w 1542288"/>
                <a:gd name="connsiteY3" fmla="*/ 1780032 h 1780032"/>
                <a:gd name="connsiteX4" fmla="*/ 1121664 w 1542288"/>
                <a:gd name="connsiteY4" fmla="*/ 4953 h 1780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288" h="1780032">
                  <a:moveTo>
                    <a:pt x="1121664" y="4953"/>
                  </a:moveTo>
                  <a:lnTo>
                    <a:pt x="1542288" y="0"/>
                  </a:lnTo>
                  <a:lnTo>
                    <a:pt x="711708" y="1780032"/>
                  </a:lnTo>
                  <a:lnTo>
                    <a:pt x="0" y="1780032"/>
                  </a:lnTo>
                  <a:lnTo>
                    <a:pt x="1121664" y="4953"/>
                  </a:lnTo>
                  <a:close/>
                </a:path>
              </a:pathLst>
            </a:cu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Isosceles Triangle 6">
              <a:extLst>
                <a:ext uri="{FF2B5EF4-FFF2-40B4-BE49-F238E27FC236}">
                  <a16:creationId xmlns:a16="http://schemas.microsoft.com/office/drawing/2014/main" id="{164B785E-6721-D3E2-8D6A-E3F1493BDA35}"/>
                </a:ext>
              </a:extLst>
            </p:cNvPr>
            <p:cNvSpPr/>
            <p:nvPr/>
          </p:nvSpPr>
          <p:spPr bwMode="gray">
            <a:xfrm>
              <a:off x="8923020" y="2519680"/>
              <a:ext cx="848360" cy="436602"/>
            </a:xfrm>
            <a:prstGeom prst="triangle">
              <a:avLst>
                <a:gd name="adj" fmla="val 7485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8" name="Rectangle 7">
            <a:extLst>
              <a:ext uri="{FF2B5EF4-FFF2-40B4-BE49-F238E27FC236}">
                <a16:creationId xmlns:a16="http://schemas.microsoft.com/office/drawing/2014/main" id="{9AAE6B77-4D2C-4CA6-B099-390EB5370218}"/>
              </a:ext>
            </a:extLst>
          </p:cNvPr>
          <p:cNvSpPr/>
          <p:nvPr/>
        </p:nvSpPr>
        <p:spPr>
          <a:xfrm>
            <a:off x="938960" y="3592722"/>
            <a:ext cx="2414845" cy="1938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
            <a:r>
              <a:rPr lang="en-US" sz="1400" b="1" dirty="0">
                <a:solidFill>
                  <a:srgbClr val="6FC2B4"/>
                </a:solidFill>
                <a:latin typeface="+mj-lt"/>
                <a:cs typeface="Open Sans"/>
              </a:rPr>
              <a:t>Implementation plan</a:t>
            </a:r>
          </a:p>
          <a:p>
            <a:pPr marL="11430"/>
            <a:endParaRPr lang="en-US" sz="1400" b="1">
              <a:solidFill>
                <a:srgbClr val="313131"/>
              </a:solidFill>
              <a:latin typeface="+mj-lt"/>
              <a:cs typeface="Open Sans"/>
            </a:endParaRPr>
          </a:p>
          <a:p>
            <a:pPr marL="11430"/>
            <a:r>
              <a:rPr lang="en-US" sz="1200">
                <a:solidFill>
                  <a:srgbClr val="313131"/>
                </a:solidFill>
                <a:latin typeface="+mj-lt"/>
                <a:cs typeface="Open Sans"/>
              </a:rPr>
              <a:t>We schedule prioritized development needs, develop a roadmap for them and involve the right people.</a:t>
            </a:r>
          </a:p>
          <a:p>
            <a:pPr marL="11430"/>
            <a:r>
              <a:rPr lang="en-US" sz="1200">
                <a:solidFill>
                  <a:srgbClr val="313131"/>
                </a:solidFill>
                <a:latin typeface="+mj-lt"/>
                <a:cs typeface="Open Sans"/>
              </a:rPr>
              <a:t>It makes sense to use roadmaps/sprints when you are launching new developments/improvement implementations</a:t>
            </a:r>
            <a:endParaRPr lang="en-US" sz="1200" i="1">
              <a:solidFill>
                <a:srgbClr val="313131"/>
              </a:solidFill>
              <a:latin typeface="+mj-lt"/>
              <a:cs typeface="Open Sans"/>
            </a:endParaRPr>
          </a:p>
        </p:txBody>
      </p:sp>
      <p:sp>
        <p:nvSpPr>
          <p:cNvPr id="9" name="Rectangle 8">
            <a:extLst>
              <a:ext uri="{FF2B5EF4-FFF2-40B4-BE49-F238E27FC236}">
                <a16:creationId xmlns:a16="http://schemas.microsoft.com/office/drawing/2014/main" id="{54CA8CDE-3AF7-DD70-DD3F-210AE0AFE172}"/>
              </a:ext>
            </a:extLst>
          </p:cNvPr>
          <p:cNvSpPr/>
          <p:nvPr/>
        </p:nvSpPr>
        <p:spPr>
          <a:xfrm>
            <a:off x="897714" y="1982634"/>
            <a:ext cx="2414845" cy="1938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
            <a:r>
              <a:rPr lang="en-US" sz="1400" b="1" dirty="0">
                <a:solidFill>
                  <a:schemeClr val="accent1"/>
                </a:solidFill>
                <a:latin typeface="+mj-lt"/>
                <a:cs typeface="Open Sans"/>
              </a:rPr>
              <a:t>Developing the methodology</a:t>
            </a:r>
          </a:p>
          <a:p>
            <a:pPr marL="11430"/>
            <a:endParaRPr lang="en-US" sz="1400" b="1" dirty="0">
              <a:solidFill>
                <a:srgbClr val="313131"/>
              </a:solidFill>
              <a:latin typeface="+mj-lt"/>
              <a:cs typeface="Open Sans"/>
            </a:endParaRPr>
          </a:p>
          <a:p>
            <a:pPr marL="11430"/>
            <a:r>
              <a:rPr lang="en-US" sz="1200" dirty="0">
                <a:solidFill>
                  <a:srgbClr val="313131"/>
                </a:solidFill>
                <a:latin typeface="+mj-lt"/>
                <a:cs typeface="Open Sans"/>
              </a:rPr>
              <a:t>A methodology for assessment and implementation along each development will be often needed to ensure successful implementation.</a:t>
            </a:r>
          </a:p>
        </p:txBody>
      </p:sp>
      <p:sp>
        <p:nvSpPr>
          <p:cNvPr id="10" name="Rectangle 9">
            <a:extLst>
              <a:ext uri="{FF2B5EF4-FFF2-40B4-BE49-F238E27FC236}">
                <a16:creationId xmlns:a16="http://schemas.microsoft.com/office/drawing/2014/main" id="{1BEAB235-30F2-18C1-07FE-A02F15730395}"/>
              </a:ext>
            </a:extLst>
          </p:cNvPr>
          <p:cNvSpPr/>
          <p:nvPr/>
        </p:nvSpPr>
        <p:spPr>
          <a:xfrm>
            <a:off x="4517220" y="1759069"/>
            <a:ext cx="2414845" cy="1938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
            <a:r>
              <a:rPr lang="en-US" sz="1400" b="1" dirty="0">
                <a:solidFill>
                  <a:schemeClr val="accent2"/>
                </a:solidFill>
                <a:latin typeface="+mj-lt"/>
                <a:cs typeface="Open Sans"/>
              </a:rPr>
              <a:t>Mobilization</a:t>
            </a:r>
          </a:p>
          <a:p>
            <a:pPr marL="11430"/>
            <a:endParaRPr lang="en-US" sz="1400" b="1">
              <a:solidFill>
                <a:srgbClr val="313131"/>
              </a:solidFill>
              <a:latin typeface="+mj-lt"/>
              <a:cs typeface="Open Sans"/>
            </a:endParaRPr>
          </a:p>
          <a:p>
            <a:pPr marL="11430"/>
            <a:r>
              <a:rPr lang="en-US" sz="1200">
                <a:solidFill>
                  <a:srgbClr val="313131"/>
                </a:solidFill>
                <a:latin typeface="+mj-lt"/>
                <a:cs typeface="Open Sans"/>
              </a:rPr>
              <a:t>To kick-off the development process, involve the allocated participants, hold workshops and develop the deliverables or concept.</a:t>
            </a:r>
            <a:endParaRPr lang="en-US" sz="1100">
              <a:solidFill>
                <a:srgbClr val="313131"/>
              </a:solidFill>
              <a:cs typeface="Open Sans"/>
            </a:endParaRPr>
          </a:p>
        </p:txBody>
      </p:sp>
      <p:sp>
        <p:nvSpPr>
          <p:cNvPr id="11" name="Rectangle 10">
            <a:extLst>
              <a:ext uri="{FF2B5EF4-FFF2-40B4-BE49-F238E27FC236}">
                <a16:creationId xmlns:a16="http://schemas.microsoft.com/office/drawing/2014/main" id="{5F704E1E-7CB1-15C0-4B96-DB94E6D1B4C9}"/>
              </a:ext>
            </a:extLst>
          </p:cNvPr>
          <p:cNvSpPr/>
          <p:nvPr/>
        </p:nvSpPr>
        <p:spPr>
          <a:xfrm>
            <a:off x="8015270" y="1795011"/>
            <a:ext cx="2937322" cy="1046400"/>
          </a:xfrm>
          <a:prstGeom prst="rect">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txBody>
          <a:bodyPr rtlCol="0" anchor="t"/>
          <a:lstStyle/>
          <a:p>
            <a:pPr marL="11430" algn="ctr">
              <a:spcAft>
                <a:spcPts val="600"/>
              </a:spcAft>
            </a:pPr>
            <a:r>
              <a:rPr lang="en-US" sz="1400" b="1" dirty="0">
                <a:solidFill>
                  <a:schemeClr val="accent3"/>
                </a:solidFill>
                <a:latin typeface="+mj-lt"/>
                <a:cs typeface="Open Sans"/>
              </a:rPr>
              <a:t>Introduction</a:t>
            </a:r>
            <a:endParaRPr lang="en-US" sz="1400" b="1" dirty="0">
              <a:solidFill>
                <a:srgbClr val="2C5234"/>
              </a:solidFill>
              <a:latin typeface="+mj-lt"/>
              <a:cs typeface="Open Sans"/>
            </a:endParaRPr>
          </a:p>
          <a:p>
            <a:pPr marL="11430" algn="ctr"/>
            <a:r>
              <a:rPr lang="en-US" sz="1200">
                <a:latin typeface="+mj-lt"/>
                <a:cs typeface="Open Sans"/>
              </a:rPr>
              <a:t>Fine-tuning is followed by putting the improvements into practice. Organizing training</a:t>
            </a:r>
            <a:r>
              <a:rPr lang="hu-HU" sz="1200" dirty="0">
                <a:latin typeface="+mj-lt"/>
                <a:cs typeface="Open Sans"/>
              </a:rPr>
              <a:t>s</a:t>
            </a:r>
            <a:r>
              <a:rPr lang="en-US" sz="1200">
                <a:latin typeface="+mj-lt"/>
                <a:cs typeface="Open Sans"/>
              </a:rPr>
              <a:t>, creating the infrastructure</a:t>
            </a:r>
            <a:r>
              <a:rPr lang="hu-HU" sz="1200" dirty="0">
                <a:latin typeface="+mj-lt"/>
                <a:cs typeface="Open Sans"/>
              </a:rPr>
              <a:t>.</a:t>
            </a:r>
            <a:endParaRPr lang="en-US" sz="1200" b="1">
              <a:latin typeface="+mj-lt"/>
              <a:cs typeface="Open Sans"/>
            </a:endParaRPr>
          </a:p>
        </p:txBody>
      </p:sp>
      <p:sp>
        <p:nvSpPr>
          <p:cNvPr id="12" name="Rectangle 11">
            <a:extLst>
              <a:ext uri="{FF2B5EF4-FFF2-40B4-BE49-F238E27FC236}">
                <a16:creationId xmlns:a16="http://schemas.microsoft.com/office/drawing/2014/main" id="{45F3973C-7043-04A8-F332-A39C5521A44A}"/>
              </a:ext>
            </a:extLst>
          </p:cNvPr>
          <p:cNvSpPr/>
          <p:nvPr/>
        </p:nvSpPr>
        <p:spPr>
          <a:xfrm>
            <a:off x="8631507" y="4700609"/>
            <a:ext cx="2414845" cy="1938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 algn="r"/>
            <a:r>
              <a:rPr lang="en-US" sz="1400" b="1" dirty="0">
                <a:solidFill>
                  <a:schemeClr val="accent2">
                    <a:lumMod val="75000"/>
                  </a:schemeClr>
                </a:solidFill>
                <a:latin typeface="+mj-lt"/>
                <a:cs typeface="Open Sans"/>
              </a:rPr>
              <a:t>Pilot (optional)</a:t>
            </a:r>
          </a:p>
          <a:p>
            <a:pPr marL="11430" algn="r"/>
            <a:endParaRPr lang="en-US" sz="1400" b="1" dirty="0">
              <a:solidFill>
                <a:schemeClr val="accent2">
                  <a:lumMod val="75000"/>
                </a:schemeClr>
              </a:solidFill>
              <a:latin typeface="+mj-lt"/>
              <a:cs typeface="Open Sans"/>
            </a:endParaRPr>
          </a:p>
          <a:p>
            <a:pPr marL="11430" algn="r"/>
            <a:r>
              <a:rPr lang="en-US" sz="1200">
                <a:solidFill>
                  <a:srgbClr val="313131"/>
                </a:solidFill>
                <a:latin typeface="+mj-lt"/>
                <a:cs typeface="Open Sans"/>
              </a:rPr>
              <a:t>Testing the developed concept in a designated area/subsidiary to explore further fine-tuning </a:t>
            </a:r>
            <a:r>
              <a:rPr lang="en-US" sz="1200" dirty="0">
                <a:solidFill>
                  <a:srgbClr val="313131"/>
                </a:solidFill>
                <a:latin typeface="+mj-lt"/>
                <a:cs typeface="Open Sans"/>
              </a:rPr>
              <a:t>intials</a:t>
            </a:r>
            <a:r>
              <a:rPr lang="en-US" sz="1200">
                <a:solidFill>
                  <a:srgbClr val="313131"/>
                </a:solidFill>
                <a:latin typeface="+mj-lt"/>
                <a:cs typeface="Open Sans"/>
              </a:rPr>
              <a:t>. </a:t>
            </a:r>
            <a:endParaRPr lang="en-US" sz="1200" b="1">
              <a:solidFill>
                <a:srgbClr val="313131"/>
              </a:solidFill>
              <a:latin typeface="+mj-lt"/>
              <a:cs typeface="Open Sans"/>
            </a:endParaRPr>
          </a:p>
        </p:txBody>
      </p:sp>
      <p:sp>
        <p:nvSpPr>
          <p:cNvPr id="13" name="Oval 12">
            <a:extLst>
              <a:ext uri="{FF2B5EF4-FFF2-40B4-BE49-F238E27FC236}">
                <a16:creationId xmlns:a16="http://schemas.microsoft.com/office/drawing/2014/main" id="{9B8B8D25-78CB-C5CF-5D2C-5CD740B4D258}"/>
              </a:ext>
            </a:extLst>
          </p:cNvPr>
          <p:cNvSpPr>
            <a:spLocks/>
          </p:cNvSpPr>
          <p:nvPr/>
        </p:nvSpPr>
        <p:spPr bwMode="gray">
          <a:xfrm>
            <a:off x="4489432" y="5900358"/>
            <a:ext cx="914400" cy="195391"/>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800" b="1">
              <a:solidFill>
                <a:schemeClr val="bg1"/>
              </a:solidFill>
            </a:endParaRPr>
          </a:p>
        </p:txBody>
      </p:sp>
      <p:sp>
        <p:nvSpPr>
          <p:cNvPr id="14" name="Oval 13">
            <a:extLst>
              <a:ext uri="{FF2B5EF4-FFF2-40B4-BE49-F238E27FC236}">
                <a16:creationId xmlns:a16="http://schemas.microsoft.com/office/drawing/2014/main" id="{66A4FFDE-1924-0796-53DC-0CA9D5E851F5}"/>
              </a:ext>
            </a:extLst>
          </p:cNvPr>
          <p:cNvSpPr>
            <a:spLocks/>
          </p:cNvSpPr>
          <p:nvPr/>
        </p:nvSpPr>
        <p:spPr bwMode="gray">
          <a:xfrm>
            <a:off x="5579084" y="5402081"/>
            <a:ext cx="731520" cy="195391"/>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800" b="1">
              <a:solidFill>
                <a:schemeClr val="bg1"/>
              </a:solidFill>
            </a:endParaRPr>
          </a:p>
        </p:txBody>
      </p:sp>
      <p:sp>
        <p:nvSpPr>
          <p:cNvPr id="15" name="Oval 14">
            <a:extLst>
              <a:ext uri="{FF2B5EF4-FFF2-40B4-BE49-F238E27FC236}">
                <a16:creationId xmlns:a16="http://schemas.microsoft.com/office/drawing/2014/main" id="{C188515D-F1B4-6192-3FFB-DF2F10EC7BCD}"/>
              </a:ext>
            </a:extLst>
          </p:cNvPr>
          <p:cNvSpPr>
            <a:spLocks/>
          </p:cNvSpPr>
          <p:nvPr/>
        </p:nvSpPr>
        <p:spPr bwMode="gray">
          <a:xfrm>
            <a:off x="6633483" y="4974655"/>
            <a:ext cx="548640" cy="178976"/>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800" b="1">
              <a:solidFill>
                <a:schemeClr val="bg1"/>
              </a:solidFill>
            </a:endParaRPr>
          </a:p>
        </p:txBody>
      </p:sp>
      <p:sp>
        <p:nvSpPr>
          <p:cNvPr id="16" name="Oval 15">
            <a:extLst>
              <a:ext uri="{FF2B5EF4-FFF2-40B4-BE49-F238E27FC236}">
                <a16:creationId xmlns:a16="http://schemas.microsoft.com/office/drawing/2014/main" id="{7C844969-B5B6-3E33-B776-91B2A6311512}"/>
              </a:ext>
            </a:extLst>
          </p:cNvPr>
          <p:cNvSpPr>
            <a:spLocks/>
          </p:cNvSpPr>
          <p:nvPr/>
        </p:nvSpPr>
        <p:spPr bwMode="gray">
          <a:xfrm>
            <a:off x="7529640" y="4586508"/>
            <a:ext cx="365760" cy="158471"/>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800" b="1">
              <a:solidFill>
                <a:schemeClr val="bg1"/>
              </a:solidFill>
            </a:endParaRPr>
          </a:p>
        </p:txBody>
      </p:sp>
      <p:sp>
        <p:nvSpPr>
          <p:cNvPr id="17" name="Oval 16">
            <a:extLst>
              <a:ext uri="{FF2B5EF4-FFF2-40B4-BE49-F238E27FC236}">
                <a16:creationId xmlns:a16="http://schemas.microsoft.com/office/drawing/2014/main" id="{D302BC64-4F7F-4DE9-3E80-B753B144EFAE}"/>
              </a:ext>
            </a:extLst>
          </p:cNvPr>
          <p:cNvSpPr>
            <a:spLocks noChangeAspect="1"/>
          </p:cNvSpPr>
          <p:nvPr/>
        </p:nvSpPr>
        <p:spPr bwMode="gray">
          <a:xfrm>
            <a:off x="4413232" y="4900337"/>
            <a:ext cx="1097280" cy="1097280"/>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b="1">
                <a:solidFill>
                  <a:schemeClr val="bg1"/>
                </a:solidFill>
              </a:rPr>
              <a:t>1</a:t>
            </a:r>
          </a:p>
        </p:txBody>
      </p:sp>
      <p:sp>
        <p:nvSpPr>
          <p:cNvPr id="18" name="Oval 17">
            <a:extLst>
              <a:ext uri="{FF2B5EF4-FFF2-40B4-BE49-F238E27FC236}">
                <a16:creationId xmlns:a16="http://schemas.microsoft.com/office/drawing/2014/main" id="{0DC8B51D-3378-1529-E250-5FB5CECC1867}"/>
              </a:ext>
            </a:extLst>
          </p:cNvPr>
          <p:cNvSpPr>
            <a:spLocks noChangeAspect="1"/>
          </p:cNvSpPr>
          <p:nvPr/>
        </p:nvSpPr>
        <p:spPr bwMode="gray">
          <a:xfrm>
            <a:off x="5487644" y="4534577"/>
            <a:ext cx="914400" cy="914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b="1">
                <a:solidFill>
                  <a:schemeClr val="bg1"/>
                </a:solidFill>
              </a:rPr>
              <a:t>2</a:t>
            </a:r>
          </a:p>
        </p:txBody>
      </p:sp>
      <p:sp>
        <p:nvSpPr>
          <p:cNvPr id="19" name="Oval 18">
            <a:extLst>
              <a:ext uri="{FF2B5EF4-FFF2-40B4-BE49-F238E27FC236}">
                <a16:creationId xmlns:a16="http://schemas.microsoft.com/office/drawing/2014/main" id="{4268BA62-15F5-89DD-5F1D-AA9B1102B92A}"/>
              </a:ext>
            </a:extLst>
          </p:cNvPr>
          <p:cNvSpPr>
            <a:spLocks noChangeAspect="1"/>
          </p:cNvSpPr>
          <p:nvPr/>
        </p:nvSpPr>
        <p:spPr bwMode="gray">
          <a:xfrm>
            <a:off x="6542043" y="4287859"/>
            <a:ext cx="731520" cy="73152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b="1">
                <a:solidFill>
                  <a:schemeClr val="bg1"/>
                </a:solidFill>
              </a:rPr>
              <a:t>3</a:t>
            </a:r>
          </a:p>
        </p:txBody>
      </p:sp>
      <p:sp>
        <p:nvSpPr>
          <p:cNvPr id="20" name="Oval 19">
            <a:extLst>
              <a:ext uri="{FF2B5EF4-FFF2-40B4-BE49-F238E27FC236}">
                <a16:creationId xmlns:a16="http://schemas.microsoft.com/office/drawing/2014/main" id="{6211C24B-8884-3436-1C13-6527297136A7}"/>
              </a:ext>
            </a:extLst>
          </p:cNvPr>
          <p:cNvSpPr>
            <a:spLocks noChangeAspect="1"/>
          </p:cNvSpPr>
          <p:nvPr/>
        </p:nvSpPr>
        <p:spPr bwMode="gray">
          <a:xfrm>
            <a:off x="7438200" y="4102454"/>
            <a:ext cx="548640" cy="548640"/>
          </a:xfrm>
          <a:prstGeom prst="ellipse">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b="1">
                <a:solidFill>
                  <a:schemeClr val="bg1"/>
                </a:solidFill>
              </a:rPr>
              <a:t>4</a:t>
            </a:r>
          </a:p>
        </p:txBody>
      </p:sp>
      <p:sp>
        <p:nvSpPr>
          <p:cNvPr id="21" name="Rounded Rectangle 31">
            <a:extLst>
              <a:ext uri="{FF2B5EF4-FFF2-40B4-BE49-F238E27FC236}">
                <a16:creationId xmlns:a16="http://schemas.microsoft.com/office/drawing/2014/main" id="{FD7CB011-DE9C-4B6A-D886-0AB4875E371D}"/>
              </a:ext>
            </a:extLst>
          </p:cNvPr>
          <p:cNvSpPr/>
          <p:nvPr/>
        </p:nvSpPr>
        <p:spPr bwMode="gray">
          <a:xfrm>
            <a:off x="1047877" y="3930780"/>
            <a:ext cx="283210" cy="81280"/>
          </a:xfrm>
          <a:prstGeom prst="roundRect">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Rounded Rectangle 32">
            <a:extLst>
              <a:ext uri="{FF2B5EF4-FFF2-40B4-BE49-F238E27FC236}">
                <a16:creationId xmlns:a16="http://schemas.microsoft.com/office/drawing/2014/main" id="{21C26B26-BDFC-C482-9973-937E052407E4}"/>
              </a:ext>
            </a:extLst>
          </p:cNvPr>
          <p:cNvSpPr/>
          <p:nvPr/>
        </p:nvSpPr>
        <p:spPr bwMode="gray">
          <a:xfrm>
            <a:off x="993454" y="2292834"/>
            <a:ext cx="283210" cy="81280"/>
          </a:xfrm>
          <a:prstGeom prst="round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 name="Rounded Rectangle 33">
            <a:extLst>
              <a:ext uri="{FF2B5EF4-FFF2-40B4-BE49-F238E27FC236}">
                <a16:creationId xmlns:a16="http://schemas.microsoft.com/office/drawing/2014/main" id="{369C6182-D8B2-5D1C-5C6E-91036267EB5F}"/>
              </a:ext>
            </a:extLst>
          </p:cNvPr>
          <p:cNvSpPr/>
          <p:nvPr/>
        </p:nvSpPr>
        <p:spPr bwMode="gray">
          <a:xfrm>
            <a:off x="4612961" y="2100900"/>
            <a:ext cx="283210" cy="81280"/>
          </a:xfrm>
          <a:prstGeom prst="round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Rounded Rectangle 34">
            <a:extLst>
              <a:ext uri="{FF2B5EF4-FFF2-40B4-BE49-F238E27FC236}">
                <a16:creationId xmlns:a16="http://schemas.microsoft.com/office/drawing/2014/main" id="{496A9DE1-00CF-8105-755B-3D9517836253}"/>
              </a:ext>
            </a:extLst>
          </p:cNvPr>
          <p:cNvSpPr/>
          <p:nvPr/>
        </p:nvSpPr>
        <p:spPr bwMode="gray">
          <a:xfrm>
            <a:off x="10669382" y="5019379"/>
            <a:ext cx="283210" cy="81280"/>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25" name="Straight Connector 24">
            <a:extLst>
              <a:ext uri="{FF2B5EF4-FFF2-40B4-BE49-F238E27FC236}">
                <a16:creationId xmlns:a16="http://schemas.microsoft.com/office/drawing/2014/main" id="{621719A8-DB57-49B1-F01D-1092D15116E3}"/>
              </a:ext>
            </a:extLst>
          </p:cNvPr>
          <p:cNvCxnSpPr>
            <a:cxnSpLocks/>
            <a:stCxn id="17" idx="1"/>
          </p:cNvCxnSpPr>
          <p:nvPr/>
        </p:nvCxnSpPr>
        <p:spPr>
          <a:xfrm flipH="1" flipV="1">
            <a:off x="3390111" y="3971420"/>
            <a:ext cx="1183814" cy="1089610"/>
          </a:xfrm>
          <a:prstGeom prst="line">
            <a:avLst/>
          </a:prstGeom>
          <a:ln w="19050">
            <a:solidFill>
              <a:srgbClr val="6FC2B4"/>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AB6E0EC-FA11-912F-1C3F-26C78A5DAA80}"/>
              </a:ext>
            </a:extLst>
          </p:cNvPr>
          <p:cNvCxnSpPr>
            <a:endCxn id="21" idx="3"/>
          </p:cNvCxnSpPr>
          <p:nvPr/>
        </p:nvCxnSpPr>
        <p:spPr>
          <a:xfrm flipH="1">
            <a:off x="1331087" y="3971420"/>
            <a:ext cx="2076136" cy="0"/>
          </a:xfrm>
          <a:prstGeom prst="line">
            <a:avLst/>
          </a:prstGeom>
          <a:ln w="19050">
            <a:solidFill>
              <a:srgbClr val="6FC2B4"/>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4393235-6B16-5CBF-D6BF-3329E6723D5D}"/>
              </a:ext>
            </a:extLst>
          </p:cNvPr>
          <p:cNvCxnSpPr>
            <a:endCxn id="22" idx="3"/>
          </p:cNvCxnSpPr>
          <p:nvPr/>
        </p:nvCxnSpPr>
        <p:spPr>
          <a:xfrm flipH="1">
            <a:off x="1276664" y="2333474"/>
            <a:ext cx="2076136"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04868FF-299F-EDB9-17F9-4D7EE19D5ED8}"/>
              </a:ext>
            </a:extLst>
          </p:cNvPr>
          <p:cNvCxnSpPr>
            <a:cxnSpLocks/>
            <a:stCxn id="18" idx="1"/>
          </p:cNvCxnSpPr>
          <p:nvPr/>
        </p:nvCxnSpPr>
        <p:spPr>
          <a:xfrm flipH="1" flipV="1">
            <a:off x="3353805" y="2333474"/>
            <a:ext cx="2267750" cy="2335014"/>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3A040B6-132D-AC06-5D41-9A1E91DE7393}"/>
              </a:ext>
            </a:extLst>
          </p:cNvPr>
          <p:cNvCxnSpPr>
            <a:cxnSpLocks/>
            <a:stCxn id="19" idx="0"/>
          </p:cNvCxnSpPr>
          <p:nvPr/>
        </p:nvCxnSpPr>
        <p:spPr>
          <a:xfrm flipV="1">
            <a:off x="6907803" y="2141540"/>
            <a:ext cx="0" cy="2146319"/>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53DD051-4966-A72B-C53C-D4D74ECA9894}"/>
              </a:ext>
            </a:extLst>
          </p:cNvPr>
          <p:cNvCxnSpPr>
            <a:cxnSpLocks/>
            <a:endCxn id="23" idx="3"/>
          </p:cNvCxnSpPr>
          <p:nvPr/>
        </p:nvCxnSpPr>
        <p:spPr>
          <a:xfrm flipH="1">
            <a:off x="4896171" y="2141540"/>
            <a:ext cx="2011632" cy="0"/>
          </a:xfrm>
          <a:prstGeom prst="line">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E40EB75-F3CF-7DAF-25D8-957E70F62F42}"/>
              </a:ext>
            </a:extLst>
          </p:cNvPr>
          <p:cNvCxnSpPr>
            <a:stCxn id="24" idx="1"/>
          </p:cNvCxnSpPr>
          <p:nvPr/>
        </p:nvCxnSpPr>
        <p:spPr>
          <a:xfrm flipH="1" flipV="1">
            <a:off x="8593246" y="5057309"/>
            <a:ext cx="2076136" cy="2710"/>
          </a:xfrm>
          <a:prstGeom prst="line">
            <a:avLst/>
          </a:prstGeom>
          <a:ln w="19050">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B498F78-BCB1-D72F-429C-7F7ECAB98D63}"/>
              </a:ext>
            </a:extLst>
          </p:cNvPr>
          <p:cNvCxnSpPr>
            <a:cxnSpLocks/>
            <a:endCxn id="20" idx="5"/>
          </p:cNvCxnSpPr>
          <p:nvPr/>
        </p:nvCxnSpPr>
        <p:spPr>
          <a:xfrm flipH="1" flipV="1">
            <a:off x="7906494" y="4570748"/>
            <a:ext cx="702074" cy="486561"/>
          </a:xfrm>
          <a:prstGeom prst="line">
            <a:avLst/>
          </a:prstGeom>
          <a:ln w="19050">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33A23210-E40F-E0DE-5A79-9C871A6F1619}"/>
              </a:ext>
            </a:extLst>
          </p:cNvPr>
          <p:cNvGrpSpPr/>
          <p:nvPr/>
        </p:nvGrpSpPr>
        <p:grpSpPr>
          <a:xfrm>
            <a:off x="9378489" y="265140"/>
            <a:ext cx="2364402" cy="411402"/>
            <a:chOff x="9378489" y="265140"/>
            <a:chExt cx="2364402" cy="411402"/>
          </a:xfrm>
        </p:grpSpPr>
        <p:sp>
          <p:nvSpPr>
            <p:cNvPr id="40" name="Arrow: Chevron 39">
              <a:extLst>
                <a:ext uri="{FF2B5EF4-FFF2-40B4-BE49-F238E27FC236}">
                  <a16:creationId xmlns:a16="http://schemas.microsoft.com/office/drawing/2014/main" id="{C63A83A9-F438-EEE0-548E-AA7B84D83108}"/>
                </a:ext>
              </a:extLst>
            </p:cNvPr>
            <p:cNvSpPr/>
            <p:nvPr/>
          </p:nvSpPr>
          <p:spPr bwMode="gray">
            <a:xfrm>
              <a:off x="9883450" y="265725"/>
              <a:ext cx="1634748" cy="406400"/>
            </a:xfrm>
            <a:prstGeom prst="chevron">
              <a:avLst>
                <a:gd name="adj" fmla="val 53194"/>
              </a:avLst>
            </a:prstGeom>
            <a:solidFill>
              <a:srgbClr val="3998A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Arrow: Chevron 33">
              <a:extLst>
                <a:ext uri="{FF2B5EF4-FFF2-40B4-BE49-F238E27FC236}">
                  <a16:creationId xmlns:a16="http://schemas.microsoft.com/office/drawing/2014/main" id="{2FCF0008-3920-995E-3121-FEDD4A75FF07}"/>
                </a:ext>
              </a:extLst>
            </p:cNvPr>
            <p:cNvSpPr/>
            <p:nvPr/>
          </p:nvSpPr>
          <p:spPr bwMode="gray">
            <a:xfrm>
              <a:off x="9654002" y="265725"/>
              <a:ext cx="411480" cy="406400"/>
            </a:xfrm>
            <a:prstGeom prst="chevron">
              <a:avLst>
                <a:gd name="adj" fmla="val 55772"/>
              </a:avLst>
            </a:prstGeom>
            <a:solidFill>
              <a:srgbClr val="2EB9B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Arrow: Chevron 34">
              <a:extLst>
                <a:ext uri="{FF2B5EF4-FFF2-40B4-BE49-F238E27FC236}">
                  <a16:creationId xmlns:a16="http://schemas.microsoft.com/office/drawing/2014/main" id="{FA735FCC-552B-345F-CCAD-F3D84C021FAB}"/>
                </a:ext>
              </a:extLst>
            </p:cNvPr>
            <p:cNvSpPr/>
            <p:nvPr/>
          </p:nvSpPr>
          <p:spPr bwMode="gray">
            <a:xfrm>
              <a:off x="9424554" y="269048"/>
              <a:ext cx="411480" cy="406400"/>
            </a:xfrm>
            <a:prstGeom prst="chevron">
              <a:avLst>
                <a:gd name="adj" fmla="val 56646"/>
              </a:avLst>
            </a:prstGeom>
            <a:solidFill>
              <a:srgbClr val="45B9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Rectangle 35">
              <a:extLst>
                <a:ext uri="{FF2B5EF4-FFF2-40B4-BE49-F238E27FC236}">
                  <a16:creationId xmlns:a16="http://schemas.microsoft.com/office/drawing/2014/main" id="{02C3750E-3BDA-7ABB-D3C0-145B86F64BC6}"/>
                </a:ext>
              </a:extLst>
            </p:cNvPr>
            <p:cNvSpPr/>
            <p:nvPr/>
          </p:nvSpPr>
          <p:spPr bwMode="gray">
            <a:xfrm>
              <a:off x="9729884" y="273466"/>
              <a:ext cx="1957678"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cap="all" dirty="0">
                  <a:solidFill>
                    <a:schemeClr val="bg1"/>
                  </a:solidFill>
                </a:rPr>
                <a:t>Implementation</a:t>
              </a:r>
            </a:p>
          </p:txBody>
        </p:sp>
        <p:sp>
          <p:nvSpPr>
            <p:cNvPr id="38" name="Pentagon 7">
              <a:extLst>
                <a:ext uri="{FF2B5EF4-FFF2-40B4-BE49-F238E27FC236}">
                  <a16:creationId xmlns:a16="http://schemas.microsoft.com/office/drawing/2014/main" id="{79998C6B-98AE-201E-A96F-0743781330F3}"/>
                </a:ext>
              </a:extLst>
            </p:cNvPr>
            <p:cNvSpPr/>
            <p:nvPr/>
          </p:nvSpPr>
          <p:spPr bwMode="gray">
            <a:xfrm>
              <a:off x="9378489" y="270142"/>
              <a:ext cx="228097" cy="406400"/>
            </a:xfrm>
            <a:prstGeom prst="homePlate">
              <a:avLst>
                <a:gd name="adj" fmla="val 100000"/>
              </a:avLst>
            </a:prstGeom>
            <a:solidFill>
              <a:srgbClr val="6FC9EB">
                <a:alpha val="81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Rectangle 38">
              <a:extLst>
                <a:ext uri="{FF2B5EF4-FFF2-40B4-BE49-F238E27FC236}">
                  <a16:creationId xmlns:a16="http://schemas.microsoft.com/office/drawing/2014/main" id="{883FCEC0-BE2C-8C20-19B1-6B81337C9922}"/>
                </a:ext>
              </a:extLst>
            </p:cNvPr>
            <p:cNvSpPr/>
            <p:nvPr/>
          </p:nvSpPr>
          <p:spPr bwMode="gray">
            <a:xfrm>
              <a:off x="9469741" y="274560"/>
              <a:ext cx="1957677" cy="39756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cap="all" dirty="0">
                <a:solidFill>
                  <a:schemeClr val="bg1"/>
                </a:solidFill>
              </a:endParaRPr>
            </a:p>
          </p:txBody>
        </p:sp>
        <p:sp>
          <p:nvSpPr>
            <p:cNvPr id="41" name="Arrow: Chevron 40">
              <a:extLst>
                <a:ext uri="{FF2B5EF4-FFF2-40B4-BE49-F238E27FC236}">
                  <a16:creationId xmlns:a16="http://schemas.microsoft.com/office/drawing/2014/main" id="{DBEE3F5B-D376-2F6B-8F12-01EA0A140CEE}"/>
                </a:ext>
              </a:extLst>
            </p:cNvPr>
            <p:cNvSpPr/>
            <p:nvPr/>
          </p:nvSpPr>
          <p:spPr bwMode="gray">
            <a:xfrm>
              <a:off x="11336166" y="265140"/>
              <a:ext cx="406725" cy="406400"/>
            </a:xfrm>
            <a:prstGeom prst="chevron">
              <a:avLst>
                <a:gd name="adj" fmla="val 54687"/>
              </a:avLst>
            </a:prstGeom>
            <a:solidFill>
              <a:srgbClr val="367E8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2493056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1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1.40624013257100011209E+00&quot;&gt;&lt;m_msothmcolidx val=&quot;0&quot;/&gt;&lt;m_rgb r=&quot;00&quot; g=&quot;B0&quot; b=&quot;F2&quot;/&gt;&lt;/elem&gt;&lt;elem m_fUsage=&quot;1.00000000000000000000E+00&quot;&gt;&lt;m_msothmcolidx val=&quot;0&quot;/&gt;&lt;m_rgb r=&quot;17&quot; g=&quot;B9&quot; b=&quot;DC&quot;/&gt;&lt;/elem&gt;&lt;elem m_fUsage=&quot;9.00000000000000022204E-01&quot;&gt;&lt;m_msothmcolidx val=&quot;0&quot;/&gt;&lt;m_rgb r=&quot;17&quot; g=&quot;B0&quot; b=&quot;DC&quot;/&gt;&lt;/elem&gt;&lt;elem m_fUsage=&quot;7.29000000000000092371E-01&quot;&gt;&lt;m_msothmcolidx val=&quot;0&quot;/&gt;&lt;m_rgb r=&quot;D6&quot; g=&quot;EF&quot; b=&quot;FE&quot;/&gt;&lt;/elem&gt;&lt;elem m_fUsage=&quot;6.56100000000000127542E-01&quot;&gt;&lt;m_msothmcolidx val=&quot;0&quot;/&gt;&lt;m_rgb r=&quot;D7&quot; g=&quot;EF&quot; b=&quot;FD&quot;/&gt;&lt;/elem&gt;&lt;elem m_fUsage=&quot;5.90490000000000181402E-01&quot;&gt;&lt;m_msothmcolidx val=&quot;0&quot;/&gt;&lt;m_rgb r=&quot;DA&quot; g=&quot;EF&quot; b=&quot;FA&quot;/&gt;&lt;/elem&gt;&lt;elem m_fUsage=&quot;5.31441000000000163261E-01&quot;&gt;&lt;m_msothmcolidx val=&quot;0&quot;/&gt;&lt;m_rgb r=&quot;DB&quot; g=&quot;EF&quot; b=&quot;F9&quot;/&gt;&lt;/elem&gt;&lt;elem m_fUsage=&quot;4.78296900000000135833E-01&quot;&gt;&lt;m_msothmcolidx val=&quot;0&quot;/&gt;&lt;m_rgb r=&quot;DB&quot; g=&quot;F2&quot; b=&quot;F9&quot;/&gt;&lt;/elem&gt;&lt;elem m_fUsage=&quot;4.30467210000000155556E-01&quot;&gt;&lt;m_msothmcolidx val=&quot;0&quot;/&gt;&lt;m_rgb r=&quot;D8&quot; g=&quot;FC&quot; b=&quot;FC&quot;/&gt;&lt;/elem&gt;&lt;elem m_fUsage=&quot;3.87420489000000145552E-01&quot;&gt;&lt;m_msothmcolidx val=&quot;0&quot;/&gt;&lt;m_rgb r=&quot;D8&quot; g=&quot;F4&quot; b=&quot;FC&quot;/&gt;&lt;/elem&gt;&lt;elem m_fUsage=&quot;3.48678440100000153201E-01&quot;&gt;&lt;m_msothmcolidx val=&quot;0&quot;/&gt;&lt;m_rgb r=&quot;D5&quot; g=&quot;F4&quot; b=&quot;FF&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1tXnooWCVtLcyIhSmLKR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yAI2CeshO9awV3iRDeE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GyWydi4akBr.q8e5sB8l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PQmRpVCAiuNPNoqkR2j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BRbYrrdVb8YfQAwGOAMC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EKneVgSH_miSEcHt2bhD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dtLLKCgH2rT0brF.nojR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NPpMD5I2oZDjzM1BEEIb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u4lyw95kkkvONNBL0gv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V9ETzogiJjq7u8nnQNDG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9WHmN9tL1NvtXJAh5OAw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SyzWZb38Gq1RYr5Y1Yh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zZKD0doCQM8fqZ9cjqI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rGI24_k09Ufff0WnIe_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ULaM6zJ.VZ8ZYabhdYE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hwqcdTvK1o5DJSbFkTl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w2CP_nlRtwIwL2RHgN6Z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BnURJMcqnkm1iUcLdhu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13.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14.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intervie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NUM" val="2"/>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3l0fZUWMqwGb_bazu63Q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uWQI5WdAPd9yWzCTinMLl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1GszL3A3Q8GGZGZvtWGh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IJnyCkR5U.9BsSKoX97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IJnyCkR5U.9BsSKoX97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cIJnyCkR5U.9BsSKoX97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cIJnyCkR5U.9BsSKoX97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IJnyCkR5U.9BsSKoX97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IJnyCkR5U.9BsSKoX97L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8mXpLrY2l0GbI1hNEJgBU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YoZn4Udp.oEYZfJxWyiK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uyIYIrTnsUnknUtWtwYBJ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viwLDGS2IphcU3aYNgRB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YbfIfhzGb2tTzAjV_BsC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63iuDByKIsgdcnpXdhVs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27.uPw1UwodAP1RuhZkc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2B5zMQkbUddomvRFeg2Y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5LhZBnwGnMle2g.JMF9yE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VcamTBnjkHWmCtNkm6SC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MmhXGxWpS3NjarqdaYQNr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a02H0rk9pBhZSb7SWKu_f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PvkbK3WR_9FQVyNAc7t7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yIYIrTnsUnknUtWtwYBJ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jUQIYMWAWPXzfRfm.ZC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viwLDGS2IphcU3aYNgRB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WYbfIfhzGb2tTzAjV_BsC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63iuDByKIsgdcnpXdhVs3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2B5zMQkbUddomvRFeg2YW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5LhZBnwGnMle2g.JMF9yE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VcamTBnjkHWmCtNkm6SC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mhXGxWpS3NjarqdaYQNr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3F_Ny0Qt742KhtZidCfoY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YoZn4Udp.oEYZfJxWyi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27.uPw1UwodAP1RuhZkc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uyIYIrTnsUnknUtWtwYBJ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nqUUL4uzQlg8MK3ofwzVm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Lfv0P08LOJ_qjcv4HSVGC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x_b18yndXupdbzq_TVUZ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TVV9EOLnBImaI9Gc6hIJg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avlLsxmkWlc35Yn._tGY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veaVkgfQc0wsEAya.Ksv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Ls98_LPM9BNu_zAZ93YpS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AKhQ6u8kbwGWws6I6Us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YoZn4Udp.oEYZfJxWyiK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uyIYIrTnsUnknUtWtwYBJ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ImC.UEMTc.prAJC3cIdA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MjUQIYMWAWPXzfRfm.ZCD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viwLDGS2IphcU3aYNgRB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WYbfIfhzGb2tTzAjV_BsC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3iuDByKIsgdcnpXdhVs3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2B5zMQkbUddomvRFeg2YW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5LhZBnwGnMle2g.JMF9y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VcamTBnjkHWmCtNkm6SC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mhXGxWpS3NjarqdaYQNr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O.Tj_I5CjBj82Vg3jP.l5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7fyivCyKQvbbo5rcpNLC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DTheme_21">
  <a:themeElements>
    <a:clrScheme name="Custom 1">
      <a:dk1>
        <a:sysClr val="windowText" lastClr="000000"/>
      </a:dk1>
      <a:lt1>
        <a:sysClr val="window" lastClr="FFFFFF"/>
      </a:lt1>
      <a:dk2>
        <a:srgbClr val="D0D0CE"/>
      </a:dk2>
      <a:lt2>
        <a:srgbClr val="53565A"/>
      </a:lt2>
      <a:accent1>
        <a:srgbClr val="E3E48D"/>
      </a:accent1>
      <a:accent2>
        <a:srgbClr val="A0DCFF"/>
      </a:accent2>
      <a:accent3>
        <a:srgbClr val="9DD4CF"/>
      </a:accent3>
      <a:accent4>
        <a:srgbClr val="62B5E5"/>
      </a:accent4>
      <a:accent5>
        <a:srgbClr val="6FC2B4"/>
      </a:accent5>
      <a:accent6>
        <a:srgbClr val="00ABAB"/>
      </a:accent6>
      <a:hlink>
        <a:srgbClr val="9DD4CF"/>
      </a:hlink>
      <a:folHlink>
        <a:srgbClr val="9DD4CF"/>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0" tIns="0" rIns="0" bIns="0" rtlCol="0" anchor="ct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spcBef>
            <a:spcPts val="600"/>
          </a:spcBef>
          <a:buSzPct val="100000"/>
          <a:defRPr sz="1200" dirty="0" smtClean="0"/>
        </a:defPPr>
      </a:lstStyle>
    </a:txDef>
  </a:objectDefaults>
  <a:extraClrSchemeLst/>
  <a:custClrLst>
    <a:custClr name="Blue 3">
      <a:srgbClr val="00A3E0"/>
    </a:custClr>
    <a:custClr name="Green 5">
      <a:srgbClr val="009A44"/>
    </a:custClr>
    <a:custClr name="Green 6">
      <a:srgbClr val="046A38"/>
    </a:custClr>
    <a:custClr name="Deloitte Green">
      <a:srgbClr val="86BC25"/>
    </a:custClr>
  </a:custClrLst>
  <a:extLst>
    <a:ext uri="{05A4C25C-085E-4340-85A3-A5531E510DB2}">
      <thm15:themeFamily xmlns:thm15="http://schemas.microsoft.com/office/thememl/2012/main" name="DDTheme_21" id="{3535F61C-6304-4539-8E23-AF7803474F6F}" vid="{A63669AA-1003-44F4-84E4-53CF395ABD99}"/>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vert="horz" wrap="square" lIns="91440" tIns="45720" rIns="91440" bIns="45720" numCol="1" anchor="t" anchorCtr="0" compatLnSpc="1">
        <a:prstTxWarp prst="textNoShape">
          <a:avLst/>
        </a:prstTxWarp>
      </a:bodyPr>
      <a:lstStyle>
        <a:defPPr>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oposal&amp;Report_A4 Print_HU.potx" id="{CB44D825-70A4-4B1E-8A48-7BD49F8C39E0}" vid="{4DBC934B-7950-448C-B9DD-D9CA0F0E1131}"/>
    </a:ext>
  </a:extLst>
</a:theme>
</file>

<file path=ppt/theme/theme3.xml><?xml version="1.0" encoding="utf-8"?>
<a:theme xmlns:a="http://schemas.openxmlformats.org/drawingml/2006/main" name="DDTheme_21">
  <a:themeElements>
    <a:clrScheme name="Custom 1">
      <a:dk1>
        <a:sysClr val="windowText" lastClr="000000"/>
      </a:dk1>
      <a:lt1>
        <a:sysClr val="window" lastClr="FFFFFF"/>
      </a:lt1>
      <a:dk2>
        <a:srgbClr val="D0D0CE"/>
      </a:dk2>
      <a:lt2>
        <a:srgbClr val="53565A"/>
      </a:lt2>
      <a:accent1>
        <a:srgbClr val="E3E48D"/>
      </a:accent1>
      <a:accent2>
        <a:srgbClr val="A0DCFF"/>
      </a:accent2>
      <a:accent3>
        <a:srgbClr val="9DD4CF"/>
      </a:accent3>
      <a:accent4>
        <a:srgbClr val="62B5E5"/>
      </a:accent4>
      <a:accent5>
        <a:srgbClr val="6FC2B4"/>
      </a:accent5>
      <a:accent6>
        <a:srgbClr val="00ABAB"/>
      </a:accent6>
      <a:hlink>
        <a:srgbClr val="9DD4CF"/>
      </a:hlink>
      <a:folHlink>
        <a:srgbClr val="9DD4CF"/>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0" tIns="0" rIns="0" bIns="0" rtlCol="0" anchor="ct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spcBef>
            <a:spcPts val="600"/>
          </a:spcBef>
          <a:buSzPct val="100000"/>
          <a:defRPr sz="1200" dirty="0" smtClean="0"/>
        </a:defPPr>
      </a:lstStyle>
    </a:txDef>
  </a:objectDefaults>
  <a:extraClrSchemeLst/>
  <a:custClrLst>
    <a:custClr name="Blue 3">
      <a:srgbClr val="00A3E0"/>
    </a:custClr>
    <a:custClr name="Green 5">
      <a:srgbClr val="009A44"/>
    </a:custClr>
    <a:custClr name="Green 6">
      <a:srgbClr val="046A38"/>
    </a:custClr>
    <a:custClr name="Deloitte Green">
      <a:srgbClr val="86BC25"/>
    </a:custClr>
  </a:custClrLst>
  <a:extLst>
    <a:ext uri="{05A4C25C-085E-4340-85A3-A5531E510DB2}">
      <thm15:themeFamily xmlns:thm15="http://schemas.microsoft.com/office/thememl/2012/main" name="DDTheme_21" id="{3535F61C-6304-4539-8E23-AF7803474F6F}" vid="{A63669AA-1003-44F4-84E4-53CF395ABD99}"/>
    </a:ext>
  </a:extLst>
</a:theme>
</file>

<file path=ppt/theme/theme4.xml><?xml version="1.0" encoding="utf-8"?>
<a:theme xmlns:a="http://schemas.openxmlformats.org/drawingml/2006/main" name="Deloitte Brand Theme">
  <a:themeElements>
    <a:clrScheme name="Deloitte IAD">
      <a:dk1>
        <a:srgbClr val="000000"/>
      </a:dk1>
      <a:lt1>
        <a:srgbClr val="FFFFFF"/>
      </a:lt1>
      <a:dk2>
        <a:srgbClr val="53565A"/>
      </a:dk2>
      <a:lt2>
        <a:srgbClr val="D0D0CE"/>
      </a:lt2>
      <a:accent1>
        <a:srgbClr val="00ABAB"/>
      </a:accent1>
      <a:accent2>
        <a:srgbClr val="0D8390"/>
      </a:accent2>
      <a:accent3>
        <a:srgbClr val="007CB0"/>
      </a:accent3>
      <a:accent4>
        <a:srgbClr val="046A38"/>
      </a:accent4>
      <a:accent5>
        <a:srgbClr val="42AF2A"/>
      </a:accent5>
      <a:accent6>
        <a:srgbClr val="25890D"/>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5.xml><?xml version="1.0" encoding="utf-8"?>
<a:theme xmlns:a="http://schemas.openxmlformats.org/drawingml/2006/main" name="Deloitte Brand Theme">
  <a:themeElements>
    <a:clrScheme name="Deloitte IAD">
      <a:dk1>
        <a:srgbClr val="000000"/>
      </a:dk1>
      <a:lt1>
        <a:srgbClr val="FFFFFF"/>
      </a:lt1>
      <a:dk2>
        <a:srgbClr val="53565A"/>
      </a:dk2>
      <a:lt2>
        <a:srgbClr val="D0D0CE"/>
      </a:lt2>
      <a:accent1>
        <a:srgbClr val="00ABAB"/>
      </a:accent1>
      <a:accent2>
        <a:srgbClr val="0D8390"/>
      </a:accent2>
      <a:accent3>
        <a:srgbClr val="007CB0"/>
      </a:accent3>
      <a:accent4>
        <a:srgbClr val="046A38"/>
      </a:accent4>
      <a:accent5>
        <a:srgbClr val="42AF2A"/>
      </a:accent5>
      <a:accent6>
        <a:srgbClr val="25890D"/>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
    <a:dk1>
      <a:sysClr val="windowText" lastClr="000000"/>
    </a:dk1>
    <a:lt1>
      <a:sysClr val="window" lastClr="FFFFFF"/>
    </a:lt1>
    <a:dk2>
      <a:srgbClr val="D0D0CE"/>
    </a:dk2>
    <a:lt2>
      <a:srgbClr val="53565A"/>
    </a:lt2>
    <a:accent1>
      <a:srgbClr val="E3E48D"/>
    </a:accent1>
    <a:accent2>
      <a:srgbClr val="A0DCFF"/>
    </a:accent2>
    <a:accent3>
      <a:srgbClr val="9DD4CF"/>
    </a:accent3>
    <a:accent4>
      <a:srgbClr val="62B5E5"/>
    </a:accent4>
    <a:accent5>
      <a:srgbClr val="6FC2B4"/>
    </a:accent5>
    <a:accent6>
      <a:srgbClr val="00ABAB"/>
    </a:accent6>
    <a:hlink>
      <a:srgbClr val="9DD4CF"/>
    </a:hlink>
    <a:folHlink>
      <a:srgbClr val="9DD4CF"/>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
    <a:dk1>
      <a:sysClr val="windowText" lastClr="000000"/>
    </a:dk1>
    <a:lt1>
      <a:sysClr val="window" lastClr="FFFFFF"/>
    </a:lt1>
    <a:dk2>
      <a:srgbClr val="D0D0CE"/>
    </a:dk2>
    <a:lt2>
      <a:srgbClr val="53565A"/>
    </a:lt2>
    <a:accent1>
      <a:srgbClr val="E3E48D"/>
    </a:accent1>
    <a:accent2>
      <a:srgbClr val="A0DCFF"/>
    </a:accent2>
    <a:accent3>
      <a:srgbClr val="9DD4CF"/>
    </a:accent3>
    <a:accent4>
      <a:srgbClr val="62B5E5"/>
    </a:accent4>
    <a:accent5>
      <a:srgbClr val="6FC2B4"/>
    </a:accent5>
    <a:accent6>
      <a:srgbClr val="00ABAB"/>
    </a:accent6>
    <a:hlink>
      <a:srgbClr val="9DD4CF"/>
    </a:hlink>
    <a:folHlink>
      <a:srgbClr val="9DD4CF"/>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
    <a:dk1>
      <a:sysClr val="windowText" lastClr="000000"/>
    </a:dk1>
    <a:lt1>
      <a:sysClr val="window" lastClr="FFFFFF"/>
    </a:lt1>
    <a:dk2>
      <a:srgbClr val="D0D0CE"/>
    </a:dk2>
    <a:lt2>
      <a:srgbClr val="53565A"/>
    </a:lt2>
    <a:accent1>
      <a:srgbClr val="E3E48D"/>
    </a:accent1>
    <a:accent2>
      <a:srgbClr val="A0DCFF"/>
    </a:accent2>
    <a:accent3>
      <a:srgbClr val="9DD4CF"/>
    </a:accent3>
    <a:accent4>
      <a:srgbClr val="62B5E5"/>
    </a:accent4>
    <a:accent5>
      <a:srgbClr val="6FC2B4"/>
    </a:accent5>
    <a:accent6>
      <a:srgbClr val="00ABAB"/>
    </a:accent6>
    <a:hlink>
      <a:srgbClr val="9DD4CF"/>
    </a:hlink>
    <a:folHlink>
      <a:srgbClr val="9DD4CF"/>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
    <a:dk1>
      <a:sysClr val="windowText" lastClr="000000"/>
    </a:dk1>
    <a:lt1>
      <a:sysClr val="window" lastClr="FFFFFF"/>
    </a:lt1>
    <a:dk2>
      <a:srgbClr val="D0D0CE"/>
    </a:dk2>
    <a:lt2>
      <a:srgbClr val="53565A"/>
    </a:lt2>
    <a:accent1>
      <a:srgbClr val="E3E48D"/>
    </a:accent1>
    <a:accent2>
      <a:srgbClr val="A0DCFF"/>
    </a:accent2>
    <a:accent3>
      <a:srgbClr val="9DD4CF"/>
    </a:accent3>
    <a:accent4>
      <a:srgbClr val="62B5E5"/>
    </a:accent4>
    <a:accent5>
      <a:srgbClr val="6FC2B4"/>
    </a:accent5>
    <a:accent6>
      <a:srgbClr val="00ABAB"/>
    </a:accent6>
    <a:hlink>
      <a:srgbClr val="9DD4CF"/>
    </a:hlink>
    <a:folHlink>
      <a:srgbClr val="9DD4CF"/>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DCB315AAF0AE41808EB6DA17F49805" ma:contentTypeVersion="11" ma:contentTypeDescription="Create a new document." ma:contentTypeScope="" ma:versionID="d312f3095f536efd3666bf98964053c8">
  <xsd:schema xmlns:xsd="http://www.w3.org/2001/XMLSchema" xmlns:xs="http://www.w3.org/2001/XMLSchema" xmlns:p="http://schemas.microsoft.com/office/2006/metadata/properties" xmlns:ns2="0feef60d-53d7-444e-9434-96e456125621" xmlns:ns3="aed4389e-2e35-4667-a5a6-5c5128487ba4" targetNamespace="http://schemas.microsoft.com/office/2006/metadata/properties" ma:root="true" ma:fieldsID="b2459398bbc9de78822c690b1dd78382" ns2:_="" ns3:_="">
    <xsd:import namespace="0feef60d-53d7-444e-9434-96e456125621"/>
    <xsd:import namespace="aed4389e-2e35-4667-a5a6-5c5128487ba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eef60d-53d7-444e-9434-96e4561256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d4389e-2e35-4667-a5a6-5c5128487ba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4b9f9cd-35e2-4444-b779-c760523f52d4}" ma:internalName="TaxCatchAll" ma:showField="CatchAllData" ma:web="aed4389e-2e35-4667-a5a6-5c5128487b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aed4389e-2e35-4667-a5a6-5c5128487ba4">
      <UserInfo>
        <DisplayName>Csepai, Martin</DisplayName>
        <AccountId>41</AccountId>
        <AccountType/>
      </UserInfo>
    </SharedWithUsers>
    <lcf76f155ced4ddcb4097134ff3c332f xmlns="0feef60d-53d7-444e-9434-96e456125621">
      <Terms xmlns="http://schemas.microsoft.com/office/infopath/2007/PartnerControls"/>
    </lcf76f155ced4ddcb4097134ff3c332f>
    <TaxCatchAll xmlns="aed4389e-2e35-4667-a5a6-5c5128487ba4" xsi:nil="true"/>
  </documentManagement>
</p:properties>
</file>

<file path=customXml/itemProps1.xml><?xml version="1.0" encoding="utf-8"?>
<ds:datastoreItem xmlns:ds="http://schemas.openxmlformats.org/officeDocument/2006/customXml" ds:itemID="{4E83307A-7B26-4777-93F1-536189CDD1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eef60d-53d7-444e-9434-96e456125621"/>
    <ds:schemaRef ds:uri="aed4389e-2e35-4667-a5a6-5c5128487b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2EEE0193-3346-4FA1-A6C3-2BE7C7DE3BC4}">
  <ds:schemaRefs>
    <ds:schemaRef ds:uri="http://schemas.microsoft.com/office/2006/documentManagement/types"/>
    <ds:schemaRef ds:uri="http://www.w3.org/XML/1998/namespace"/>
    <ds:schemaRef ds:uri="http://purl.org/dc/terms/"/>
    <ds:schemaRef ds:uri="http://purl.org/dc/dcmitype/"/>
    <ds:schemaRef ds:uri="http://purl.org/dc/elements/1.1/"/>
    <ds:schemaRef ds:uri="http://schemas.microsoft.com/office/infopath/2007/PartnerControls"/>
    <ds:schemaRef ds:uri="0feef60d-53d7-444e-9434-96e456125621"/>
    <ds:schemaRef ds:uri="aed4389e-2e35-4667-a5a6-5c5128487ba4"/>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52517</Words>
  <Application>Microsoft Macintosh PowerPoint</Application>
  <PresentationFormat>Widescreen</PresentationFormat>
  <Paragraphs>7272</Paragraphs>
  <Slides>252</Slides>
  <Notes>187</Notes>
  <HiddenSlides>3</HiddenSlides>
  <MMClips>0</MMClips>
  <ScaleCrop>false</ScaleCrop>
  <HeadingPairs>
    <vt:vector size="8" baseType="variant">
      <vt:variant>
        <vt:lpstr>Fonts Used</vt:lpstr>
      </vt:variant>
      <vt:variant>
        <vt:i4>28</vt:i4>
      </vt:variant>
      <vt:variant>
        <vt:lpstr>Theme</vt:lpstr>
      </vt:variant>
      <vt:variant>
        <vt:i4>5</vt:i4>
      </vt:variant>
      <vt:variant>
        <vt:lpstr>Embedded OLE Servers</vt:lpstr>
      </vt:variant>
      <vt:variant>
        <vt:i4>1</vt:i4>
      </vt:variant>
      <vt:variant>
        <vt:lpstr>Slide Titles</vt:lpstr>
      </vt:variant>
      <vt:variant>
        <vt:i4>252</vt:i4>
      </vt:variant>
    </vt:vector>
  </HeadingPairs>
  <TitlesOfParts>
    <vt:vector size="286" baseType="lpstr">
      <vt:lpstr>华文细黑</vt:lpstr>
      <vt:lpstr>Wingdings 2</vt:lpstr>
      <vt:lpstr>Open Sans Semibold</vt:lpstr>
      <vt:lpstr>Roboto</vt:lpstr>
      <vt:lpstr>Open Sans Extrabold</vt:lpstr>
      <vt:lpstr>Arial</vt:lpstr>
      <vt:lpstr>Open Sans Regular</vt:lpstr>
      <vt:lpstr>Open Sans Extrabold</vt:lpstr>
      <vt:lpstr>Open Sans (Body)</vt:lpstr>
      <vt:lpstr>Courier New</vt:lpstr>
      <vt:lpstr>Symbol</vt:lpstr>
      <vt:lpstr>Open Sans Semibold</vt:lpstr>
      <vt:lpstr>Calibri</vt:lpstr>
      <vt:lpstr>Helvetica Neue</vt:lpstr>
      <vt:lpstr>Verdana</vt:lpstr>
      <vt:lpstr>Chronicle Display Black</vt:lpstr>
      <vt:lpstr>Wingdings</vt:lpstr>
      <vt:lpstr>Open Sans Bold</vt:lpstr>
      <vt:lpstr>Segoe UI Semilight</vt:lpstr>
      <vt:lpstr>Arial,Sans-Serif</vt:lpstr>
      <vt:lpstr>Roboto Light</vt:lpstr>
      <vt:lpstr>Noto Sans</vt:lpstr>
      <vt:lpstr>Open Sans Light</vt:lpstr>
      <vt:lpstr>Calibri Light</vt:lpstr>
      <vt:lpstr>Arial Black</vt:lpstr>
      <vt:lpstr>Calibri Light (Body)</vt:lpstr>
      <vt:lpstr>Open Sans</vt:lpstr>
      <vt:lpstr>Times New Roman</vt:lpstr>
      <vt:lpstr>1_DDTheme_21</vt:lpstr>
      <vt:lpstr>Deloitte_US_Onscreen</vt:lpstr>
      <vt:lpstr>DDTheme_21</vt:lpstr>
      <vt:lpstr>Deloitte Brand Theme</vt:lpstr>
      <vt:lpstr>Deloitte Brand Theme</vt:lpstr>
      <vt:lpstr>think-cell Slide</vt:lpstr>
      <vt:lpstr>Business Solutions and Consulting Services</vt:lpstr>
      <vt:lpstr>We are delighted to share our proposal</vt:lpstr>
      <vt:lpstr>We are delighted to share our proposal</vt:lpstr>
      <vt:lpstr>Contents</vt:lpstr>
      <vt:lpstr>PowerPoint Presentation</vt:lpstr>
      <vt:lpstr>Deloitte is the world's largest professional services firm, with 744 offices and 410,000 professionals in more than 159 countries, all operating as „One Firm”</vt:lpstr>
      <vt:lpstr>In the CE region we have more than 2050 Consulting professionals across 12 countries to ensure that Deloitte Central Europe Consulting delivers value-added and relevant solutions .</vt:lpstr>
      <vt:lpstr>75% of our Consulting staff in Central Europe are technology practitioners, having deep expertise in a wide spectrum of technology domains</vt:lpstr>
      <vt:lpstr>PowerPoint Presentation</vt:lpstr>
      <vt:lpstr>Our local Consulting team helps client reimagine their core business functions, their workforce, their customers, their supply chain and many other areas</vt:lpstr>
      <vt:lpstr>PowerPoint Presentation</vt:lpstr>
      <vt:lpstr>PowerPoint Presentation</vt:lpstr>
      <vt:lpstr>PowerPoint Presentation</vt:lpstr>
      <vt:lpstr>PowerPoint Presentation</vt:lpstr>
      <vt:lpstr>PowerPoint Presentation</vt:lpstr>
      <vt:lpstr>Our global impact initiatives aim to promote ethical behavior, learning and culture, sustainable resourcing demonstrating all this by how we run our operations and our commitments to communities</vt:lpstr>
      <vt:lpstr>PowerPoint Presentation</vt:lpstr>
      <vt:lpstr>We serve a wide spectrum of global NGO clients, including most agencies of the United Nations</vt:lpstr>
      <vt:lpstr>Deloitte is a trusted advisor to the United Nations providing support in overcoming some of its biggest challenges </vt:lpstr>
      <vt:lpstr>Deloitte has a wide range of experience with various UN agencies across Europe</vt:lpstr>
      <vt:lpstr>Deloitte Hungary's previous project with UNHCR Budapest focused on the improvement of the talent acquisition process</vt:lpstr>
      <vt:lpstr>Deloitte Hungary is focusing on improving HR processes and operations in its current project with UNHCR Budapest</vt:lpstr>
      <vt:lpstr>Together with UNICEF Hungary, Deloitte has launched a successful climate protection campaign - the Climate heroes programme</vt:lpstr>
      <vt:lpstr>PowerPoint Presentation</vt:lpstr>
      <vt:lpstr>We are ready to address your needs in all 12 chapters of the RfP</vt:lpstr>
      <vt:lpstr>Map of Deloitte experts by chapter relevance</vt:lpstr>
      <vt:lpstr>Map of Deloitte experts by chapter relevance</vt:lpstr>
      <vt:lpstr>Map of Deloitte experts by chapter relevance</vt:lpstr>
      <vt:lpstr>Map of Deloitte experts by chapter relevance</vt:lpstr>
      <vt:lpstr>PowerPoint Presentation</vt:lpstr>
      <vt:lpstr>PowerPoint Presentation</vt:lpstr>
      <vt:lpstr>PowerPoint Presentation</vt:lpstr>
      <vt:lpstr>PowerPoint Presentation</vt:lpstr>
      <vt:lpstr>PowerPoint Presentation</vt:lpstr>
      <vt:lpstr>Deloitte has a strong Technology Services Team in Hungary, Budapest with a relevant service portfolio, leveraging a wide range of tools and methodologies to create solutions that are effective, efficient and sustainable.</vt:lpstr>
      <vt:lpstr>Deloitte has a strong Technology Services Team in Hungary, Budapest with a relevant service portfolio, leveraging a wide range of tools and methodologies to create solutions that are effective, efficient and sustainable.</vt:lpstr>
      <vt:lpstr>PowerPoint Presentation</vt:lpstr>
      <vt:lpstr>We provide end-to-end support across the AI Transformation journey, helping continuously capture new sources  of AI value and transform organizations with AI Strategy</vt:lpstr>
      <vt:lpstr>Our Machine Learning Methodology aids in implementing AI solutions that align with strategic objectives. By utilizing the appropriate tools at every stage, from pilot testing to broad deployment, we expedite the implementation timeline and amplify the immediate value to the public and stakeholders.</vt:lpstr>
      <vt:lpstr>We have a broad portfolio of relevant credentials in the field of Artificial Intelligence and Machine Learning Consulting Services</vt:lpstr>
      <vt:lpstr>PowerPoint Presentation</vt:lpstr>
      <vt:lpstr>PowerPoint Presentation</vt:lpstr>
      <vt:lpstr>PowerPoint Presentation</vt:lpstr>
      <vt:lpstr>PowerPoint Presentation</vt:lpstr>
      <vt:lpstr>Digital Identity by Deloitte integrates and operates the entire identity lifecycle under one umbrella.</vt:lpstr>
      <vt:lpstr>Digital Identity by Deloitte integrates and operates the entire identity lifecycle under one umbrella.</vt:lpstr>
      <vt:lpstr>We have a broad portfolio of relevant credentials in the field of Identity and Access Management</vt:lpstr>
      <vt:lpstr>PowerPoint Presentation</vt:lpstr>
      <vt:lpstr>PowerPoint Presentation</vt:lpstr>
      <vt:lpstr>We have a broad portfolio of relevant credentials in the field of Cyber strategy and information security governance services</vt:lpstr>
      <vt:lpstr>We have a broad portfolio of relevant credentials in the field of technical cyber security projects and services</vt:lpstr>
      <vt:lpstr>DevOps</vt:lpstr>
      <vt:lpstr>DevOps</vt:lpstr>
      <vt:lpstr>Data Operations</vt:lpstr>
      <vt:lpstr>PowerPoint Presentation</vt:lpstr>
      <vt:lpstr>We have a broad portfolio of relevant credentials in the field of Cloud Systems and Engineering Services</vt:lpstr>
      <vt:lpstr>Integration services: framework</vt:lpstr>
      <vt:lpstr>….</vt:lpstr>
      <vt:lpstr>PowerPoint Presentation</vt:lpstr>
      <vt:lpstr>Emerging technologies – Deloitte Tech Trends 2023</vt:lpstr>
      <vt:lpstr>PowerPoint Presentation</vt:lpstr>
      <vt:lpstr>Our Approach to Support &amp; Maintenance (Platform Maintenance)</vt:lpstr>
      <vt:lpstr>We have a broad portfolio of relevant credentials in the field of Support and Maintenance</vt:lpstr>
      <vt:lpstr>PowerPoint Presentation</vt:lpstr>
      <vt:lpstr>PowerPoint Presentation</vt:lpstr>
      <vt:lpstr>Evolving into an Insight Driven Organization</vt:lpstr>
      <vt:lpstr>Data Governance – a Deloitte framework</vt:lpstr>
      <vt:lpstr>PowerPoint Presentation</vt:lpstr>
      <vt:lpstr>PowerPoint Presentation</vt:lpstr>
      <vt:lpstr>Our Privacy Framework</vt:lpstr>
      <vt:lpstr>Overcoming challenges and ensuring sustainable data modernization, integration, and end-to-end solutions for enhanced business value and efficiency.</vt:lpstr>
      <vt:lpstr>Putting Heart into Numbers: Lovable Data Products at the Core of Analytics</vt:lpstr>
      <vt:lpstr>Rapid Prototyping</vt:lpstr>
      <vt:lpstr>What will happen to the prototypes?</vt:lpstr>
      <vt:lpstr>Design Thinking</vt:lpstr>
      <vt:lpstr>Our user-centric approach to data visualization design and Insight Generation</vt:lpstr>
      <vt:lpstr>Applying advanced algorithms and predictive modeling, turning raw data into deeper insights and foresight, enabling proactive business strategies and innovative solutions. By building talent in various subfields, out teams can apply the right tools and techniques to all challenges.</vt:lpstr>
      <vt:lpstr>Leveraging the TDSP (Team Data Science Process) framework, we ensure a systematic approach to transform raw data into actionable insights, optimizing every step for value delivery.</vt:lpstr>
      <vt:lpstr>A technology agnostic focus on winning insights</vt:lpstr>
      <vt:lpstr>Deloitte has a strong strategy and business design practitioner team in Hungary, Budapest with a relevant service portfolio, leveraging a wide range of tools and methodologies to create solutions that are effective, efficient and sustainable.</vt:lpstr>
      <vt:lpstr>…</vt:lpstr>
      <vt:lpstr>We have a broad portfolio of relevant credentials in the field of Strategy Consulting Services</vt:lpstr>
      <vt:lpstr>PowerPoint Presentation</vt:lpstr>
      <vt:lpstr>PowerPoint Presentation</vt:lpstr>
      <vt:lpstr>We have a broad portfolio of relevant credentials in the field of Data governance and DWH related projects</vt:lpstr>
      <vt:lpstr>PowerPoint Presentation</vt:lpstr>
      <vt:lpstr>PowerPoint Presentation</vt:lpstr>
      <vt:lpstr>PowerPoint Presentation</vt:lpstr>
      <vt:lpstr>PowerPoint Presentation</vt:lpstr>
      <vt:lpstr>PowerPoint Presentation</vt:lpstr>
      <vt:lpstr>Deloitte process improvement methodology</vt:lpstr>
      <vt:lpstr>Preparation - Planning a project</vt:lpstr>
      <vt:lpstr>As-Is analysis approach</vt:lpstr>
      <vt:lpstr>Typical process issues</vt:lpstr>
      <vt:lpstr>Improvement recommendations</vt:lpstr>
      <vt:lpstr>Designing a to-be process</vt:lpstr>
      <vt:lpstr>Deloitte Industry Print industry best practice </vt:lpstr>
      <vt:lpstr>Business case</vt:lpstr>
      <vt:lpstr>Implementation</vt:lpstr>
      <vt:lpstr>Monitoring</vt:lpstr>
      <vt:lpstr>PowerPoint Presentation</vt:lpstr>
      <vt:lpstr>Proposed customizable procedure management framework</vt:lpstr>
      <vt:lpstr>Regulatory documents</vt:lpstr>
      <vt:lpstr>PowerPoint Presentation</vt:lpstr>
      <vt:lpstr>RPA is ideal for activities with low specialization and a high amount of manual labor</vt:lpstr>
      <vt:lpstr>RPA opportunities in the finance function</vt:lpstr>
      <vt:lpstr>High-level Process Assessment approach</vt:lpstr>
      <vt:lpstr>Processes assessment methodology</vt:lpstr>
      <vt:lpstr>Business Case development methodology</vt:lpstr>
      <vt:lpstr>Short listing methodology</vt:lpstr>
      <vt:lpstr>Assessment deliverables</vt:lpstr>
      <vt:lpstr>Agile development process leads to highly interactive and iterative rollouts that build momentum and capability</vt:lpstr>
      <vt:lpstr>Development deliverables</vt:lpstr>
      <vt:lpstr>RPA vendor selection overview</vt:lpstr>
      <vt:lpstr>PowerPoint Presentation</vt:lpstr>
      <vt:lpstr>PowerPoint Presentation</vt:lpstr>
      <vt:lpstr>PowerPoint Presentation</vt:lpstr>
      <vt:lpstr>We apply a proven methodology across the UX/UI design process</vt:lpstr>
      <vt:lpstr>High-level overview of typical project activities &amp; deliverables </vt:lpstr>
      <vt:lpstr>UX/UI accelerators &amp; tools </vt:lpstr>
      <vt:lpstr>Getting to know your customers' perspectives will allow us to identify their needs </vt:lpstr>
      <vt:lpstr>During a co-creation workshops, we will set goals together and generate a vision of the digital product </vt:lpstr>
      <vt:lpstr>Assessing the usability of websites and applications enables identifying strengths and areas of improvement</vt:lpstr>
      <vt:lpstr>We will use our battle-tested framework for rapid prototyping to make sure the end-user feedback is incorporated into the solution</vt:lpstr>
      <vt:lpstr>Preparing a package of UI components will allow us to improve the  development of the digital product </vt:lpstr>
      <vt:lpstr>Deloitte has a strong design and user experience team in Budapest, Hungary and talented developers in Warsaw, Poland.  These accomplished teams provide an extensive design and development portfolio, harnessing a wide array of tools and methodologies to engineer solutions that exemplify effectiveness, efficiency, and enduring sustainability.</vt:lpstr>
      <vt:lpstr>We have a broad portfolio of relevant credentials in the field of Strategy Consulting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loitte’s Operate Business at-a-Glance</vt:lpstr>
      <vt:lpstr>Why our Clients operate with Deloitte?</vt:lpstr>
      <vt:lpstr>Advise, Implement, Operate (A-I-0) Engagement Model</vt:lpstr>
      <vt:lpstr>Delivery Approach</vt:lpstr>
      <vt:lpstr>Our Approach to Support &amp; Maintenance</vt:lpstr>
      <vt:lpstr>Agile based enhancements delivery</vt:lpstr>
      <vt:lpstr>DevOps Services</vt:lpstr>
      <vt:lpstr>DevOps Approach</vt:lpstr>
      <vt:lpstr>DevOps CICD</vt:lpstr>
      <vt:lpstr>Data Operations Services</vt:lpstr>
      <vt:lpstr>Data Operations Framework</vt:lpstr>
      <vt:lpstr>Continuous Improvement &amp; Innovation</vt:lpstr>
      <vt:lpstr>Deloitte is a leader in Operate</vt:lpstr>
      <vt:lpstr>Deloitte has an extensive support and maintenance team with significant scaling capabilities located in the CE region focusing on a wide range of market leading technologies with the range of tools and proven methodologies that provide our clients with value-add services through our customizable deployment models that includes local, near-shore or fully virtual support.</vt:lpstr>
      <vt:lpstr>We have a broad portfolio of relevant credentials in the field of Support and Maintenance</vt:lpstr>
      <vt:lpstr>PowerPoint Presentation</vt:lpstr>
      <vt:lpstr>PowerPoint Presentation</vt:lpstr>
      <vt:lpstr>Our primary approach to strategy development: the integrated set of choices are laid out in a cascade of strategic choices, building a strategy entails answering all of these 5 questions in a way that ensures consistency across all the answers </vt:lpstr>
      <vt:lpstr>Our StrategyByDesign process is appropriate to drive the analysis and decisions in the right order</vt:lpstr>
      <vt:lpstr>Strategic planning consulting services: IT strategy</vt:lpstr>
      <vt:lpstr>Strategic planning consulting services: IT strategy</vt:lpstr>
      <vt:lpstr>Deloitte defined 4 stages where organizations are in their digital transformation – we assess where our clients are, where they want to go to, and together with them, we build a strategy to continue their transformation journey and reach the next stage</vt:lpstr>
      <vt:lpstr>Deloitte defined a methodology where, starting from agenda setting, sustained innovation can be achieved for organizations with the help of 12 levers</vt:lpstr>
      <vt:lpstr>Deloitte has a strong strategy and business design practitioner team in Hungary, Budapest with a relevant service portfolio, leveraging a wide range of tools and methodologies to create solutions that are effective, efficient and sustainable.</vt:lpstr>
      <vt:lpstr>Deloitte has a strong IT strategy team in Hungary, Budapest with a relevant service portfolio, leveraging a wide range of tools and methodologies to create solutions that are effective, efficient and sustainable.</vt:lpstr>
      <vt:lpstr>We have a broad portfolio of relevant credentials in the field of Strategy Consulting Services</vt:lpstr>
      <vt:lpstr>We have a broad portfolio of relevant credentials in the field of IT Strategy</vt:lpstr>
      <vt:lpstr>PowerPoint Presentation</vt:lpstr>
      <vt:lpstr>PowerPoint Presentation</vt:lpstr>
      <vt:lpstr>Three pillars of Deloitte’s Transformation Nerve Center</vt:lpstr>
      <vt:lpstr>Characteristics of high-performing transformation teams</vt:lpstr>
      <vt:lpstr>Transformation Nerve Center (TNC) structure and key roles </vt:lpstr>
      <vt:lpstr>Major deliverables in project management</vt:lpstr>
      <vt:lpstr>Project Management Services Team</vt:lpstr>
      <vt:lpstr>PowerPoint Presentation</vt:lpstr>
      <vt:lpstr>PowerPoint Presentation</vt:lpstr>
      <vt:lpstr>Organizational design and development (1/2)</vt:lpstr>
      <vt:lpstr>Organizational design and development (2/2)</vt:lpstr>
      <vt:lpstr>Personnel engagement / People strategy</vt:lpstr>
      <vt:lpstr>Capability and skill assessment and development (1/3)</vt:lpstr>
      <vt:lpstr>Capability and skill assessment and development (2/3)</vt:lpstr>
      <vt:lpstr>Capability and skill assessment and development (3/3)</vt:lpstr>
      <vt:lpstr>Change Management Strategy (1/2)</vt:lpstr>
      <vt:lpstr>Change Management Strategy (2/2)</vt:lpstr>
      <vt:lpstr>PowerPoint Presentation</vt:lpstr>
      <vt:lpstr>PowerPoint Presentation</vt:lpstr>
      <vt:lpstr>PowerPoint Presentation</vt:lpstr>
      <vt:lpstr>PowerPoint Presentation</vt:lpstr>
      <vt:lpstr>PowerPoint Presentation</vt:lpstr>
      <vt:lpstr>Deloitte Enterprise Model Design (EMD) Methodology</vt:lpstr>
      <vt:lpstr>Deloitte Enterprise Model Design (EMD) Methodology</vt:lpstr>
      <vt:lpstr>Typical Operating Model options</vt:lpstr>
      <vt:lpstr>Operating model benefits and challenges (1/3)</vt:lpstr>
      <vt:lpstr>Operating model benefits and challenges (2/3)</vt:lpstr>
      <vt:lpstr>Operating model benefits and challenges (3/3)</vt:lpstr>
      <vt:lpstr>Organisational Strategy Approcah</vt:lpstr>
      <vt:lpstr>PowerPoint Presentation</vt:lpstr>
      <vt:lpstr>Scenario planning process</vt:lpstr>
      <vt:lpstr>Scenario planning process - Project approach</vt:lpstr>
      <vt:lpstr>PowerPoint Presentation</vt:lpstr>
      <vt:lpstr>Digital StrategyByDesign </vt:lpstr>
      <vt:lpstr>The 5s’ and 3 lenses  </vt:lpstr>
      <vt:lpstr>Connected Design for Products </vt:lpstr>
      <vt:lpstr>PowerPoint Presentation</vt:lpstr>
      <vt:lpstr>Purpose and key advantages of a business case (1/4)</vt:lpstr>
      <vt:lpstr>Components of a business case (2/4)</vt:lpstr>
      <vt:lpstr>Business case development (3/4)</vt:lpstr>
      <vt:lpstr>Key Deloitte asset - Enterprise Value Map Framework (4/4)</vt:lpstr>
      <vt:lpstr>PowerPoint Presentation</vt:lpstr>
      <vt:lpstr>Service Delivery Models</vt:lpstr>
      <vt:lpstr>Deloitte SSC and BPO Methodology – Define service delivery model​</vt:lpstr>
      <vt:lpstr>Deloitte SSC and BPO Methodology – Define service delivery model</vt:lpstr>
      <vt:lpstr>Sourcing strategy assessment matrix</vt:lpstr>
      <vt:lpstr>Shared services models</vt:lpstr>
      <vt:lpstr>PowerPoint Presentation</vt:lpstr>
      <vt:lpstr>9.7.1Deloitte Risk Strategy Methodology </vt:lpstr>
      <vt:lpstr>9.7.2 Deloitte Business Continuity Management (BCM) Methodology</vt:lpstr>
      <vt:lpstr>PowerPoint Presentation</vt:lpstr>
      <vt:lpstr>Business performance measurement and improvement</vt:lpstr>
      <vt:lpstr>Business performance measurement and improvement</vt:lpstr>
      <vt:lpstr>Business performance measurement and improvement</vt:lpstr>
      <vt:lpstr>How to create a comprehensive KPI long list?</vt:lpstr>
      <vt:lpstr>What is the Global Performance Management vision?</vt:lpstr>
      <vt:lpstr>How to create a fitting KPI short list?</vt:lpstr>
      <vt:lpstr>PowerPoint Presentation</vt:lpstr>
      <vt:lpstr>The cornerstones of the innovation</vt:lpstr>
      <vt:lpstr>How to achieve process excellence through Continuous Improvement</vt:lpstr>
      <vt:lpstr>Innovation and Continuous Improvement success factors</vt:lpstr>
      <vt:lpstr>Innovation focused strategic map</vt:lpstr>
      <vt:lpstr>Innovation pressure</vt:lpstr>
      <vt:lpstr>Operating model options</vt:lpstr>
      <vt:lpstr>Our innovation approach</vt:lpstr>
      <vt:lpstr>PowerPoint Presentation</vt:lpstr>
      <vt:lpstr>Planning, budgeting and forecasting trends</vt:lpstr>
      <vt:lpstr>Deloitte’s view on planning, budgeting and forecasting</vt:lpstr>
      <vt:lpstr>Planning and forecasting maturity ladder</vt:lpstr>
      <vt:lpstr>Planning and forecasting leading practices</vt:lpstr>
      <vt:lpstr>9.11 Planning and forecasting design principles</vt:lpstr>
      <vt:lpstr>PowerPoint Presentation</vt:lpstr>
      <vt:lpstr>9.12 Insurance advisory services</vt:lpstr>
      <vt:lpstr>PowerPoint Presentation</vt:lpstr>
      <vt:lpstr>PowerPoint Presentation</vt:lpstr>
      <vt:lpstr>Talent acquisition (1/2)</vt:lpstr>
      <vt:lpstr>Talent acquisition (2/2)</vt:lpstr>
      <vt:lpstr>Talent management</vt:lpstr>
      <vt:lpstr>PowerPoint Presentation</vt:lpstr>
      <vt:lpstr>PowerPoint Presentation</vt:lpstr>
      <vt:lpstr>PowerPoint Presentation</vt:lpstr>
      <vt:lpstr>Methodolgy – Risk Assessment</vt:lpstr>
      <vt:lpstr>Overview of Compliance – gap analysis methodology</vt:lpstr>
      <vt:lpstr>PowerPoint Presentation</vt:lpstr>
      <vt:lpstr>Relevant Experiences</vt:lpstr>
      <vt:lpstr>PowerPoint Presentation</vt:lpstr>
      <vt:lpstr>Deloitte has a strong strategy and business design practitioner team in Hungary, Budapest with a relevant service portfolio, leveraging a wide range of tools and methodologies to create solutions that are effective, efficient and sustainabl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GF-23-10 - Deloitte - Technical Proposal</dc:title>
  <dc:creator/>
  <cp:lastModifiedBy/>
  <cp:revision>52</cp:revision>
  <dcterms:created xsi:type="dcterms:W3CDTF">2020-04-09T19:50:51Z</dcterms:created>
  <dcterms:modified xsi:type="dcterms:W3CDTF">2023-11-08T20:0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45DCB315AAF0AE41808EB6DA17F49805</vt:lpwstr>
  </property>
  <property fmtid="{D5CDD505-2E9C-101B-9397-08002B2CF9AE}" pid="10" name="MediaServiceImageTags">
    <vt:lpwstr/>
  </property>
  <property fmtid="{D5CDD505-2E9C-101B-9397-08002B2CF9AE}" pid="11" name="_dlc_DocIdItemGuid">
    <vt:lpwstr>febf0c5a-947c-4532-8ebb-e56fd5362466</vt:lpwstr>
  </property>
</Properties>
</file>